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9.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0.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1.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13.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4.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5.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16.xml" ContentType="application/vnd.openxmlformats-officedocument.theme+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7.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 id="2147483685" r:id="rId6"/>
    <p:sldMasterId id="2147483810" r:id="rId7"/>
    <p:sldMasterId id="2147483959" r:id="rId8"/>
    <p:sldMasterId id="2147483972" r:id="rId9"/>
    <p:sldMasterId id="2147484212" r:id="rId10"/>
    <p:sldMasterId id="2147484279" r:id="rId11"/>
    <p:sldMasterId id="2147484517" r:id="rId12"/>
    <p:sldMasterId id="2147484666" r:id="rId13"/>
    <p:sldMasterId id="2147484683" r:id="rId14"/>
    <p:sldMasterId id="2147484700" r:id="rId15"/>
    <p:sldMasterId id="2147484717" r:id="rId16"/>
    <p:sldMasterId id="2147484737" r:id="rId17"/>
    <p:sldMasterId id="2147484751" r:id="rId18"/>
    <p:sldMasterId id="2147484782" r:id="rId19"/>
    <p:sldMasterId id="2147484794" r:id="rId20"/>
    <p:sldMasterId id="2147484907" r:id="rId21"/>
  </p:sldMasterIdLst>
  <p:notesMasterIdLst>
    <p:notesMasterId r:id="rId117"/>
  </p:notesMasterIdLst>
  <p:sldIdLst>
    <p:sldId id="257" r:id="rId22"/>
    <p:sldId id="400" r:id="rId23"/>
    <p:sldId id="398" r:id="rId24"/>
    <p:sldId id="260" r:id="rId25"/>
    <p:sldId id="509" r:id="rId26"/>
    <p:sldId id="510" r:id="rId27"/>
    <p:sldId id="465" r:id="rId28"/>
    <p:sldId id="466" r:id="rId29"/>
    <p:sldId id="467" r:id="rId30"/>
    <p:sldId id="468" r:id="rId31"/>
    <p:sldId id="469" r:id="rId32"/>
    <p:sldId id="470" r:id="rId33"/>
    <p:sldId id="471" r:id="rId34"/>
    <p:sldId id="472" r:id="rId35"/>
    <p:sldId id="473" r:id="rId36"/>
    <p:sldId id="474" r:id="rId37"/>
    <p:sldId id="475" r:id="rId38"/>
    <p:sldId id="476" r:id="rId39"/>
    <p:sldId id="477" r:id="rId40"/>
    <p:sldId id="512" r:id="rId41"/>
    <p:sldId id="478" r:id="rId42"/>
    <p:sldId id="479" r:id="rId43"/>
    <p:sldId id="480" r:id="rId44"/>
    <p:sldId id="481" r:id="rId45"/>
    <p:sldId id="482" r:id="rId46"/>
    <p:sldId id="483" r:id="rId47"/>
    <p:sldId id="484" r:id="rId48"/>
    <p:sldId id="485" r:id="rId49"/>
    <p:sldId id="486" r:id="rId50"/>
    <p:sldId id="487" r:id="rId51"/>
    <p:sldId id="488" r:id="rId52"/>
    <p:sldId id="489" r:id="rId53"/>
    <p:sldId id="490" r:id="rId54"/>
    <p:sldId id="491" r:id="rId55"/>
    <p:sldId id="511" r:id="rId56"/>
    <p:sldId id="493" r:id="rId57"/>
    <p:sldId id="494" r:id="rId58"/>
    <p:sldId id="514" r:id="rId59"/>
    <p:sldId id="515" r:id="rId60"/>
    <p:sldId id="497" r:id="rId61"/>
    <p:sldId id="498" r:id="rId62"/>
    <p:sldId id="499" r:id="rId63"/>
    <p:sldId id="500" r:id="rId64"/>
    <p:sldId id="501" r:id="rId65"/>
    <p:sldId id="502" r:id="rId66"/>
    <p:sldId id="503" r:id="rId67"/>
    <p:sldId id="504" r:id="rId68"/>
    <p:sldId id="508" r:id="rId69"/>
    <p:sldId id="507" r:id="rId70"/>
    <p:sldId id="261" r:id="rId71"/>
    <p:sldId id="262" r:id="rId72"/>
    <p:sldId id="263" r:id="rId73"/>
    <p:sldId id="264" r:id="rId74"/>
    <p:sldId id="449" r:id="rId75"/>
    <p:sldId id="513" r:id="rId76"/>
    <p:sldId id="266" r:id="rId77"/>
    <p:sldId id="414" r:id="rId78"/>
    <p:sldId id="268" r:id="rId79"/>
    <p:sldId id="269" r:id="rId80"/>
    <p:sldId id="430" r:id="rId81"/>
    <p:sldId id="450" r:id="rId82"/>
    <p:sldId id="274" r:id="rId83"/>
    <p:sldId id="451" r:id="rId84"/>
    <p:sldId id="276" r:id="rId85"/>
    <p:sldId id="277" r:id="rId86"/>
    <p:sldId id="278" r:id="rId87"/>
    <p:sldId id="279" r:id="rId88"/>
    <p:sldId id="280" r:id="rId89"/>
    <p:sldId id="435" r:id="rId90"/>
    <p:sldId id="283" r:id="rId91"/>
    <p:sldId id="284" r:id="rId92"/>
    <p:sldId id="285" r:id="rId93"/>
    <p:sldId id="287" r:id="rId94"/>
    <p:sldId id="289" r:id="rId95"/>
    <p:sldId id="443" r:id="rId96"/>
    <p:sldId id="452" r:id="rId97"/>
    <p:sldId id="453" r:id="rId98"/>
    <p:sldId id="456" r:id="rId99"/>
    <p:sldId id="291" r:id="rId100"/>
    <p:sldId id="463" r:id="rId101"/>
    <p:sldId id="438" r:id="rId102"/>
    <p:sldId id="437" r:id="rId103"/>
    <p:sldId id="431" r:id="rId104"/>
    <p:sldId id="432" r:id="rId105"/>
    <p:sldId id="434" r:id="rId106"/>
    <p:sldId id="307" r:id="rId107"/>
    <p:sldId id="454" r:id="rId108"/>
    <p:sldId id="439" r:id="rId109"/>
    <p:sldId id="440" r:id="rId110"/>
    <p:sldId id="441" r:id="rId111"/>
    <p:sldId id="310" r:id="rId112"/>
    <p:sldId id="312" r:id="rId113"/>
    <p:sldId id="446" r:id="rId114"/>
    <p:sldId id="448" r:id="rId115"/>
    <p:sldId id="455" r:id="rId1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2F2F2"/>
    <a:srgbClr val="4F81BD"/>
    <a:srgbClr val="1B21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03EC16-A796-4EF4-9B58-C001C76C7120}" v="18" dt="2022-12-02T03:15:52.5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364" autoAdjust="0"/>
  </p:normalViewPr>
  <p:slideViewPr>
    <p:cSldViewPr snapToGrid="0">
      <p:cViewPr varScale="1">
        <p:scale>
          <a:sx n="73" d="100"/>
          <a:sy n="73" d="100"/>
        </p:scale>
        <p:origin x="618"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117" Type="http://schemas.openxmlformats.org/officeDocument/2006/relationships/notesMaster" Target="notesMasters/notesMaster1.xml"/><Relationship Id="rId21" Type="http://schemas.openxmlformats.org/officeDocument/2006/relationships/slideMaster" Target="slideMasters/slideMaster18.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84" Type="http://schemas.openxmlformats.org/officeDocument/2006/relationships/slide" Target="slides/slide63.xml"/><Relationship Id="rId89" Type="http://schemas.openxmlformats.org/officeDocument/2006/relationships/slide" Target="slides/slide68.xml"/><Relationship Id="rId112" Type="http://schemas.openxmlformats.org/officeDocument/2006/relationships/slide" Target="slides/slide91.xml"/><Relationship Id="rId16" Type="http://schemas.openxmlformats.org/officeDocument/2006/relationships/slideMaster" Target="slideMasters/slideMaster13.xml"/><Relationship Id="rId107" Type="http://schemas.openxmlformats.org/officeDocument/2006/relationships/slide" Target="slides/slide86.xml"/><Relationship Id="rId11" Type="http://schemas.openxmlformats.org/officeDocument/2006/relationships/slideMaster" Target="slideMasters/slideMaster8.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slide" Target="slides/slide58.xml"/><Relationship Id="rId102" Type="http://schemas.openxmlformats.org/officeDocument/2006/relationships/slide" Target="slides/slide81.xml"/><Relationship Id="rId123" Type="http://schemas.microsoft.com/office/2015/10/relationships/revisionInfo" Target="revisionInfo.xml"/><Relationship Id="rId5" Type="http://schemas.openxmlformats.org/officeDocument/2006/relationships/slideMaster" Target="slideMasters/slideMaster2.xml"/><Relationship Id="rId90" Type="http://schemas.openxmlformats.org/officeDocument/2006/relationships/slide" Target="slides/slide69.xml"/><Relationship Id="rId95" Type="http://schemas.openxmlformats.org/officeDocument/2006/relationships/slide" Target="slides/slide74.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113" Type="http://schemas.openxmlformats.org/officeDocument/2006/relationships/slide" Target="slides/slide92.xml"/><Relationship Id="rId118" Type="http://schemas.openxmlformats.org/officeDocument/2006/relationships/presProps" Target="presProps.xml"/><Relationship Id="rId80" Type="http://schemas.openxmlformats.org/officeDocument/2006/relationships/slide" Target="slides/slide59.xml"/><Relationship Id="rId85" Type="http://schemas.openxmlformats.org/officeDocument/2006/relationships/slide" Target="slides/slide6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2.xml"/><Relationship Id="rId38" Type="http://schemas.openxmlformats.org/officeDocument/2006/relationships/slide" Target="slides/slide17.xml"/><Relationship Id="rId59" Type="http://schemas.openxmlformats.org/officeDocument/2006/relationships/slide" Target="slides/slide38.xml"/><Relationship Id="rId103" Type="http://schemas.openxmlformats.org/officeDocument/2006/relationships/slide" Target="slides/slide82.xml"/><Relationship Id="rId108" Type="http://schemas.openxmlformats.org/officeDocument/2006/relationships/slide" Target="slides/slide87.xml"/><Relationship Id="rId54" Type="http://schemas.openxmlformats.org/officeDocument/2006/relationships/slide" Target="slides/slide33.xml"/><Relationship Id="rId70" Type="http://schemas.openxmlformats.org/officeDocument/2006/relationships/slide" Target="slides/slide49.xml"/><Relationship Id="rId75" Type="http://schemas.openxmlformats.org/officeDocument/2006/relationships/slide" Target="slides/slide54.xml"/><Relationship Id="rId91" Type="http://schemas.openxmlformats.org/officeDocument/2006/relationships/slide" Target="slides/slide70.xml"/><Relationship Id="rId96" Type="http://schemas.openxmlformats.org/officeDocument/2006/relationships/slide" Target="slides/slide75.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2.xml"/><Relationship Id="rId28" Type="http://schemas.openxmlformats.org/officeDocument/2006/relationships/slide" Target="slides/slide7.xml"/><Relationship Id="rId49" Type="http://schemas.openxmlformats.org/officeDocument/2006/relationships/slide" Target="slides/slide28.xml"/><Relationship Id="rId114" Type="http://schemas.openxmlformats.org/officeDocument/2006/relationships/slide" Target="slides/slide93.xml"/><Relationship Id="rId119" Type="http://schemas.openxmlformats.org/officeDocument/2006/relationships/viewProps" Target="viewProps.xml"/><Relationship Id="rId44" Type="http://schemas.openxmlformats.org/officeDocument/2006/relationships/slide" Target="slides/slide23.xml"/><Relationship Id="rId60" Type="http://schemas.openxmlformats.org/officeDocument/2006/relationships/slide" Target="slides/slide39.xml"/><Relationship Id="rId65" Type="http://schemas.openxmlformats.org/officeDocument/2006/relationships/slide" Target="slides/slide44.xml"/><Relationship Id="rId81" Type="http://schemas.openxmlformats.org/officeDocument/2006/relationships/slide" Target="slides/slide60.xml"/><Relationship Id="rId86" Type="http://schemas.openxmlformats.org/officeDocument/2006/relationships/slide" Target="slides/slide65.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8.xml"/><Relationship Id="rId109" Type="http://schemas.openxmlformats.org/officeDocument/2006/relationships/slide" Target="slides/slide8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97" Type="http://schemas.openxmlformats.org/officeDocument/2006/relationships/slide" Target="slides/slide76.xml"/><Relationship Id="rId104" Type="http://schemas.openxmlformats.org/officeDocument/2006/relationships/slide" Target="slides/slide83.xml"/><Relationship Id="rId120"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50.xml"/><Relationship Id="rId92" Type="http://schemas.openxmlformats.org/officeDocument/2006/relationships/slide" Target="slides/slide71.xml"/><Relationship Id="rId2" Type="http://schemas.openxmlformats.org/officeDocument/2006/relationships/customXml" Target="../customXml/item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110" Type="http://schemas.openxmlformats.org/officeDocument/2006/relationships/slide" Target="slides/slide89.xml"/><Relationship Id="rId115" Type="http://schemas.openxmlformats.org/officeDocument/2006/relationships/slide" Target="slides/slide94.xml"/><Relationship Id="rId61" Type="http://schemas.openxmlformats.org/officeDocument/2006/relationships/slide" Target="slides/slide40.xml"/><Relationship Id="rId82" Type="http://schemas.openxmlformats.org/officeDocument/2006/relationships/slide" Target="slides/slide6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 Id="rId100" Type="http://schemas.openxmlformats.org/officeDocument/2006/relationships/slide" Target="slides/slide79.xml"/><Relationship Id="rId105" Type="http://schemas.openxmlformats.org/officeDocument/2006/relationships/slide" Target="slides/slide84.xml"/><Relationship Id="rId8" Type="http://schemas.openxmlformats.org/officeDocument/2006/relationships/slideMaster" Target="slideMasters/slideMaster5.xml"/><Relationship Id="rId51" Type="http://schemas.openxmlformats.org/officeDocument/2006/relationships/slide" Target="slides/slide30.xml"/><Relationship Id="rId72" Type="http://schemas.openxmlformats.org/officeDocument/2006/relationships/slide" Target="slides/slide51.xml"/><Relationship Id="rId93" Type="http://schemas.openxmlformats.org/officeDocument/2006/relationships/slide" Target="slides/slide72.xml"/><Relationship Id="rId98" Type="http://schemas.openxmlformats.org/officeDocument/2006/relationships/slide" Target="slides/slide77.xml"/><Relationship Id="rId121" Type="http://schemas.openxmlformats.org/officeDocument/2006/relationships/tableStyles" Target="tableStyles.xml"/><Relationship Id="rId3" Type="http://schemas.openxmlformats.org/officeDocument/2006/relationships/customXml" Target="../customXml/item3.xml"/><Relationship Id="rId25" Type="http://schemas.openxmlformats.org/officeDocument/2006/relationships/slide" Target="slides/slide4.xml"/><Relationship Id="rId46" Type="http://schemas.openxmlformats.org/officeDocument/2006/relationships/slide" Target="slides/slide25.xml"/><Relationship Id="rId67" Type="http://schemas.openxmlformats.org/officeDocument/2006/relationships/slide" Target="slides/slide46.xml"/><Relationship Id="rId116" Type="http://schemas.openxmlformats.org/officeDocument/2006/relationships/slide" Target="slides/slide95.xml"/><Relationship Id="rId20" Type="http://schemas.openxmlformats.org/officeDocument/2006/relationships/slideMaster" Target="slideMasters/slideMaster17.xml"/><Relationship Id="rId41" Type="http://schemas.openxmlformats.org/officeDocument/2006/relationships/slide" Target="slides/slide20.xml"/><Relationship Id="rId62" Type="http://schemas.openxmlformats.org/officeDocument/2006/relationships/slide" Target="slides/slide41.xml"/><Relationship Id="rId83" Type="http://schemas.openxmlformats.org/officeDocument/2006/relationships/slide" Target="slides/slide62.xml"/><Relationship Id="rId88" Type="http://schemas.openxmlformats.org/officeDocument/2006/relationships/slide" Target="slides/slide67.xml"/><Relationship Id="rId111" Type="http://schemas.openxmlformats.org/officeDocument/2006/relationships/slide" Target="slides/slide90.xml"/><Relationship Id="rId15" Type="http://schemas.openxmlformats.org/officeDocument/2006/relationships/slideMaster" Target="slideMasters/slideMaster12.xml"/><Relationship Id="rId36" Type="http://schemas.openxmlformats.org/officeDocument/2006/relationships/slide" Target="slides/slide15.xml"/><Relationship Id="rId57" Type="http://schemas.openxmlformats.org/officeDocument/2006/relationships/slide" Target="slides/slide36.xml"/><Relationship Id="rId106" Type="http://schemas.openxmlformats.org/officeDocument/2006/relationships/slide" Target="slides/slide85.xml"/><Relationship Id="rId10" Type="http://schemas.openxmlformats.org/officeDocument/2006/relationships/slideMaster" Target="slideMasters/slideMaster7.xml"/><Relationship Id="rId31" Type="http://schemas.openxmlformats.org/officeDocument/2006/relationships/slide" Target="slides/slide10.xml"/><Relationship Id="rId52" Type="http://schemas.openxmlformats.org/officeDocument/2006/relationships/slide" Target="slides/slide31.xml"/><Relationship Id="rId73" Type="http://schemas.openxmlformats.org/officeDocument/2006/relationships/slide" Target="slides/slide52.xml"/><Relationship Id="rId78" Type="http://schemas.openxmlformats.org/officeDocument/2006/relationships/slide" Target="slides/slide57.xml"/><Relationship Id="rId94" Type="http://schemas.openxmlformats.org/officeDocument/2006/relationships/slide" Target="slides/slide73.xml"/><Relationship Id="rId99" Type="http://schemas.openxmlformats.org/officeDocument/2006/relationships/slide" Target="slides/slide78.xml"/><Relationship Id="rId101" Type="http://schemas.openxmlformats.org/officeDocument/2006/relationships/slide" Target="slides/slide80.xml"/><Relationship Id="rId1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hana Priya G (Sales Training - Content Development)" userId="S::mohanapriya.g@ashokleyland.com::35a40cd9-eaa8-4f2b-b7ab-bfe1977708f7" providerId="AD" clId="Web-{1903EC16-A796-4EF4-9B58-C001C76C7120}"/>
    <pc:docChg chg="addSld delSld modSld sldOrd modMainMaster">
      <pc:chgData name="Mohana Priya G (Sales Training - Content Development)" userId="S::mohanapriya.g@ashokleyland.com::35a40cd9-eaa8-4f2b-b7ab-bfe1977708f7" providerId="AD" clId="Web-{1903EC16-A796-4EF4-9B58-C001C76C7120}" dt="2022-12-02T03:15:52.550" v="15"/>
      <pc:docMkLst>
        <pc:docMk/>
      </pc:docMkLst>
      <pc:sldChg chg="del">
        <pc:chgData name="Mohana Priya G (Sales Training - Content Development)" userId="S::mohanapriya.g@ashokleyland.com::35a40cd9-eaa8-4f2b-b7ab-bfe1977708f7" providerId="AD" clId="Web-{1903EC16-A796-4EF4-9B58-C001C76C7120}" dt="2022-12-02T03:15:52.550" v="15"/>
        <pc:sldMkLst>
          <pc:docMk/>
          <pc:sldMk cId="1148444881" sldId="506"/>
        </pc:sldMkLst>
      </pc:sldChg>
      <pc:sldChg chg="addSp delSp modSp">
        <pc:chgData name="Mohana Priya G (Sales Training - Content Development)" userId="S::mohanapriya.g@ashokleyland.com::35a40cd9-eaa8-4f2b-b7ab-bfe1977708f7" providerId="AD" clId="Web-{1903EC16-A796-4EF4-9B58-C001C76C7120}" dt="2022-12-02T03:14:45.002" v="8" actId="1076"/>
        <pc:sldMkLst>
          <pc:docMk/>
          <pc:sldMk cId="1698823537" sldId="507"/>
        </pc:sldMkLst>
        <pc:graphicFrameChg chg="del">
          <ac:chgData name="Mohana Priya G (Sales Training - Content Development)" userId="S::mohanapriya.g@ashokleyland.com::35a40cd9-eaa8-4f2b-b7ab-bfe1977708f7" providerId="AD" clId="Web-{1903EC16-A796-4EF4-9B58-C001C76C7120}" dt="2022-12-02T03:14:23.471" v="3"/>
          <ac:graphicFrameMkLst>
            <pc:docMk/>
            <pc:sldMk cId="1698823537" sldId="507"/>
            <ac:graphicFrameMk id="4" creationId="{9FB69306-9863-4C5F-B9CA-45623EC5BDB3}"/>
          </ac:graphicFrameMkLst>
        </pc:graphicFrameChg>
        <pc:picChg chg="add del mod">
          <ac:chgData name="Mohana Priya G (Sales Training - Content Development)" userId="S::mohanapriya.g@ashokleyland.com::35a40cd9-eaa8-4f2b-b7ab-bfe1977708f7" providerId="AD" clId="Web-{1903EC16-A796-4EF4-9B58-C001C76C7120}" dt="2022-12-02T03:14:31.737" v="4"/>
          <ac:picMkLst>
            <pc:docMk/>
            <pc:sldMk cId="1698823537" sldId="507"/>
            <ac:picMk id="203814" creationId="{DDF1AD02-793D-3F35-B383-10C7502050B8}"/>
          </ac:picMkLst>
        </pc:picChg>
        <pc:picChg chg="add mod">
          <ac:chgData name="Mohana Priya G (Sales Training - Content Development)" userId="S::mohanapriya.g@ashokleyland.com::35a40cd9-eaa8-4f2b-b7ab-bfe1977708f7" providerId="AD" clId="Web-{1903EC16-A796-4EF4-9B58-C001C76C7120}" dt="2022-12-02T03:14:45.002" v="8" actId="1076"/>
          <ac:picMkLst>
            <pc:docMk/>
            <pc:sldMk cId="1698823537" sldId="507"/>
            <ac:picMk id="203815" creationId="{506E4AAA-5443-9E00-E831-E73C04F38E84}"/>
          </ac:picMkLst>
        </pc:picChg>
      </pc:sldChg>
      <pc:sldChg chg="addSp delSp ord">
        <pc:chgData name="Mohana Priya G (Sales Training - Content Development)" userId="S::mohanapriya.g@ashokleyland.com::35a40cd9-eaa8-4f2b-b7ab-bfe1977708f7" providerId="AD" clId="Web-{1903EC16-A796-4EF4-9B58-C001C76C7120}" dt="2022-12-02T03:15:08.112" v="13"/>
        <pc:sldMkLst>
          <pc:docMk/>
          <pc:sldMk cId="363315634" sldId="508"/>
        </pc:sldMkLst>
        <pc:graphicFrameChg chg="del">
          <ac:chgData name="Mohana Priya G (Sales Training - Content Development)" userId="S::mohanapriya.g@ashokleyland.com::35a40cd9-eaa8-4f2b-b7ab-bfe1977708f7" providerId="AD" clId="Web-{1903EC16-A796-4EF4-9B58-C001C76C7120}" dt="2022-12-02T03:15:01.518" v="9"/>
          <ac:graphicFrameMkLst>
            <pc:docMk/>
            <pc:sldMk cId="363315634" sldId="508"/>
            <ac:graphicFrameMk id="8" creationId="{E0883F03-904C-48FA-A933-DDA678F73FEA}"/>
          </ac:graphicFrameMkLst>
        </pc:graphicFrameChg>
        <pc:graphicFrameChg chg="add">
          <ac:chgData name="Mohana Priya G (Sales Training - Content Development)" userId="S::mohanapriya.g@ashokleyland.com::35a40cd9-eaa8-4f2b-b7ab-bfe1977708f7" providerId="AD" clId="Web-{1903EC16-A796-4EF4-9B58-C001C76C7120}" dt="2022-12-02T03:15:03.206" v="10"/>
          <ac:graphicFrameMkLst>
            <pc:docMk/>
            <pc:sldMk cId="363315634" sldId="508"/>
            <ac:graphicFrameMk id="205869" creationId="{84EFEAA0-FD74-B2A0-2567-A6B147AD1D80}"/>
          </ac:graphicFrameMkLst>
        </pc:graphicFrameChg>
        <pc:picChg chg="add">
          <ac:chgData name="Mohana Priya G (Sales Training - Content Development)" userId="S::mohanapriya.g@ashokleyland.com::35a40cd9-eaa8-4f2b-b7ab-bfe1977708f7" providerId="AD" clId="Web-{1903EC16-A796-4EF4-9B58-C001C76C7120}" dt="2022-12-02T03:15:03.253" v="11"/>
          <ac:picMkLst>
            <pc:docMk/>
            <pc:sldMk cId="363315634" sldId="508"/>
            <ac:picMk id="205913" creationId="{B02AE649-AC4D-4DD0-6D41-3A11DE9A54A2}"/>
          </ac:picMkLst>
        </pc:picChg>
        <pc:picChg chg="add">
          <ac:chgData name="Mohana Priya G (Sales Training - Content Development)" userId="S::mohanapriya.g@ashokleyland.com::35a40cd9-eaa8-4f2b-b7ab-bfe1977708f7" providerId="AD" clId="Web-{1903EC16-A796-4EF4-9B58-C001C76C7120}" dt="2022-12-02T03:15:03.284" v="12"/>
          <ac:picMkLst>
            <pc:docMk/>
            <pc:sldMk cId="363315634" sldId="508"/>
            <ac:picMk id="205915" creationId="{A2ED1EED-EA37-B8A2-F652-4BBBC3DF3D51}"/>
          </ac:picMkLst>
        </pc:picChg>
      </pc:sldChg>
      <pc:sldChg chg="add del ord">
        <pc:chgData name="Mohana Priya G (Sales Training - Content Development)" userId="S::mohanapriya.g@ashokleyland.com::35a40cd9-eaa8-4f2b-b7ab-bfe1977708f7" providerId="AD" clId="Web-{1903EC16-A796-4EF4-9B58-C001C76C7120}" dt="2022-12-02T03:15:10.550" v="14"/>
        <pc:sldMkLst>
          <pc:docMk/>
          <pc:sldMk cId="3459127029" sldId="516"/>
        </pc:sldMkLst>
      </pc:sldChg>
      <pc:sldMasterChg chg="modSldLayout">
        <pc:chgData name="Mohana Priya G (Sales Training - Content Development)" userId="S::mohanapriya.g@ashokleyland.com::35a40cd9-eaa8-4f2b-b7ab-bfe1977708f7" providerId="AD" clId="Web-{1903EC16-A796-4EF4-9B58-C001C76C7120}" dt="2022-12-02T03:12:39.470" v="0"/>
        <pc:sldMasterMkLst>
          <pc:docMk/>
          <pc:sldMasterMk cId="1248723603" sldId="2147483810"/>
        </pc:sldMasterMkLst>
        <pc:sldLayoutChg chg="replId">
          <pc:chgData name="Mohana Priya G (Sales Training - Content Development)" userId="S::mohanapriya.g@ashokleyland.com::35a40cd9-eaa8-4f2b-b7ab-bfe1977708f7" providerId="AD" clId="Web-{1903EC16-A796-4EF4-9B58-C001C76C7120}" dt="2022-12-02T03:12:39.470" v="0"/>
          <pc:sldLayoutMkLst>
            <pc:docMk/>
            <pc:sldMasterMk cId="1248723603" sldId="2147483810"/>
            <pc:sldLayoutMk cId="2591823889" sldId="2147484919"/>
          </pc:sldLayoutMkLst>
        </pc:sldLayoutChg>
      </pc:sldMasterChg>
      <pc:sldMasterChg chg="addSldLayout">
        <pc:chgData name="Mohana Priya G (Sales Training - Content Development)" userId="S::mohanapriya.g@ashokleyland.com::35a40cd9-eaa8-4f2b-b7ab-bfe1977708f7" providerId="AD" clId="Web-{1903EC16-A796-4EF4-9B58-C001C76C7120}" dt="2022-12-02T03:12:39.470" v="0"/>
        <pc:sldMasterMkLst>
          <pc:docMk/>
          <pc:sldMasterMk cId="327945131" sldId="2147483972"/>
        </pc:sldMasterMkLst>
        <pc:sldLayoutChg chg="add">
          <pc:chgData name="Mohana Priya G (Sales Training - Content Development)" userId="S::mohanapriya.g@ashokleyland.com::35a40cd9-eaa8-4f2b-b7ab-bfe1977708f7" providerId="AD" clId="Web-{1903EC16-A796-4EF4-9B58-C001C76C7120}" dt="2022-12-02T03:12:39.470" v="0"/>
          <pc:sldLayoutMkLst>
            <pc:docMk/>
            <pc:sldMasterMk cId="327945131" sldId="2147483972"/>
            <pc:sldLayoutMk cId="3374764985" sldId="2147483814"/>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F9669E-A948-40B4-AA1F-9B97E3E3123A}" type="doc">
      <dgm:prSet loTypeId="urn:microsoft.com/office/officeart/2008/layout/HorizontalMultiLevelHierarchy" loCatId="hierarchy" qsTypeId="urn:microsoft.com/office/officeart/2005/8/quickstyle/3d3" qsCatId="3D" csTypeId="urn:microsoft.com/office/officeart/2005/8/colors/accent0_1" csCatId="mainScheme" phldr="1"/>
      <dgm:spPr/>
      <dgm:t>
        <a:bodyPr/>
        <a:lstStyle/>
        <a:p>
          <a:endParaRPr lang="en-US"/>
        </a:p>
      </dgm:t>
    </dgm:pt>
    <dgm:pt modelId="{0BE827C8-5F27-49DC-9FB2-DC395FA3EA3D}">
      <dgm:prSet phldrT="[Text]" custT="1"/>
      <dgm:spPr>
        <a:solidFill>
          <a:schemeClr val="bg2">
            <a:lumMod val="40000"/>
            <a:lumOff val="60000"/>
            <a:alpha val="90000"/>
          </a:schemeClr>
        </a:solidFill>
      </dgm:spPr>
      <dgm:t>
        <a:bodyPr/>
        <a:lstStyle/>
        <a:p>
          <a:r>
            <a:rPr lang="en-US" sz="1800" b="0" i="0" dirty="0">
              <a:solidFill>
                <a:schemeClr val="tx1"/>
              </a:solidFill>
              <a:latin typeface="Century Gothic" panose="020B0502020202020204" pitchFamily="34" charset="0"/>
              <a:cs typeface="Calibri" pitchFamily="34" charset="0"/>
            </a:rPr>
            <a:t>Verticals</a:t>
          </a:r>
        </a:p>
      </dgm:t>
    </dgm:pt>
    <dgm:pt modelId="{B1C7E5C5-028D-446C-9863-FCD1D8E1ABF9}" type="parTrans" cxnId="{648381E1-AC92-4BCC-B569-5AC82E1F3095}">
      <dgm:prSet/>
      <dgm:spPr/>
      <dgm:t>
        <a:bodyPr/>
        <a:lstStyle/>
        <a:p>
          <a:endParaRPr lang="en-US" b="0" i="0">
            <a:solidFill>
              <a:srgbClr val="002060"/>
            </a:solidFill>
            <a:latin typeface="Century Gothic" panose="020B0502020202020204" pitchFamily="34" charset="0"/>
            <a:cs typeface="Calibri" pitchFamily="34" charset="0"/>
          </a:endParaRPr>
        </a:p>
      </dgm:t>
    </dgm:pt>
    <dgm:pt modelId="{0E9B365B-68D8-4873-932F-9A6FDEFE5540}" type="sibTrans" cxnId="{648381E1-AC92-4BCC-B569-5AC82E1F3095}">
      <dgm:prSet/>
      <dgm:spPr/>
      <dgm:t>
        <a:bodyPr/>
        <a:lstStyle/>
        <a:p>
          <a:endParaRPr lang="en-US" b="0" i="0">
            <a:solidFill>
              <a:srgbClr val="002060"/>
            </a:solidFill>
            <a:latin typeface="Century Gothic" panose="020B0502020202020204" pitchFamily="34" charset="0"/>
            <a:cs typeface="Calibri" pitchFamily="34" charset="0"/>
          </a:endParaRPr>
        </a:p>
      </dgm:t>
    </dgm:pt>
    <dgm:pt modelId="{0173693E-B536-4D93-8AAD-70EDE01CE1B1}">
      <dgm:prSet phldrT="[Text]" custT="1"/>
      <dgm:spPr/>
      <dgm:t>
        <a:bodyPr/>
        <a:lstStyle/>
        <a:p>
          <a:r>
            <a:rPr lang="en-US" sz="1600" b="1" i="0" dirty="0">
              <a:latin typeface="Century Gothic" panose="020B0502020202020204" pitchFamily="34" charset="0"/>
              <a:cs typeface="Calibri" pitchFamily="34" charset="0"/>
            </a:rPr>
            <a:t>MDV</a:t>
          </a:r>
        </a:p>
      </dgm:t>
    </dgm:pt>
    <dgm:pt modelId="{A3181329-BCDF-4DB9-A871-5915A22FF339}" type="parTrans" cxnId="{036DC350-BB64-48CD-AA09-FA65D76DB131}">
      <dgm:prSet/>
      <dgm:spPr/>
      <dgm:t>
        <a:bodyPr/>
        <a:lstStyle/>
        <a:p>
          <a:endParaRPr lang="en-US" b="0" i="0">
            <a:solidFill>
              <a:srgbClr val="002060"/>
            </a:solidFill>
            <a:latin typeface="Century Gothic" panose="020B0502020202020204" pitchFamily="34" charset="0"/>
            <a:cs typeface="Calibri" pitchFamily="34" charset="0"/>
          </a:endParaRPr>
        </a:p>
      </dgm:t>
    </dgm:pt>
    <dgm:pt modelId="{4CE87FF5-5825-43D6-B2E6-435D51DB846B}" type="sibTrans" cxnId="{036DC350-BB64-48CD-AA09-FA65D76DB131}">
      <dgm:prSet/>
      <dgm:spPr/>
      <dgm:t>
        <a:bodyPr/>
        <a:lstStyle/>
        <a:p>
          <a:endParaRPr lang="en-US" b="0" i="0">
            <a:solidFill>
              <a:srgbClr val="002060"/>
            </a:solidFill>
            <a:latin typeface="Century Gothic" panose="020B0502020202020204" pitchFamily="34" charset="0"/>
            <a:cs typeface="Calibri" pitchFamily="34" charset="0"/>
          </a:endParaRPr>
        </a:p>
      </dgm:t>
    </dgm:pt>
    <dgm:pt modelId="{677DC5EA-AA83-46BB-B509-32544962B8FF}">
      <dgm:prSet phldrT="[Text]" custT="1"/>
      <dgm:spPr/>
      <dgm:t>
        <a:bodyPr/>
        <a:lstStyle/>
        <a:p>
          <a:r>
            <a:rPr lang="en-US" sz="1600" b="0" i="0" dirty="0">
              <a:latin typeface="Century Gothic" panose="020B0502020202020204" pitchFamily="34" charset="0"/>
              <a:cs typeface="Calibri" pitchFamily="34" charset="0"/>
            </a:rPr>
            <a:t>MAV</a:t>
          </a:r>
        </a:p>
      </dgm:t>
    </dgm:pt>
    <dgm:pt modelId="{CF2784EF-C24B-43EC-AFB6-6197E21C22A3}" type="parTrans" cxnId="{A40F2636-9964-4EDE-81B7-6642FE099A7C}">
      <dgm:prSet/>
      <dgm:spPr/>
      <dgm:t>
        <a:bodyPr/>
        <a:lstStyle/>
        <a:p>
          <a:endParaRPr lang="en-US" b="0" i="0">
            <a:solidFill>
              <a:srgbClr val="002060"/>
            </a:solidFill>
            <a:latin typeface="Century Gothic" panose="020B0502020202020204" pitchFamily="34" charset="0"/>
            <a:cs typeface="Calibri" pitchFamily="34" charset="0"/>
          </a:endParaRPr>
        </a:p>
      </dgm:t>
    </dgm:pt>
    <dgm:pt modelId="{22158A9D-7A3C-4737-88E1-6D6BA8B28932}" type="sibTrans" cxnId="{A40F2636-9964-4EDE-81B7-6642FE099A7C}">
      <dgm:prSet/>
      <dgm:spPr/>
      <dgm:t>
        <a:bodyPr/>
        <a:lstStyle/>
        <a:p>
          <a:endParaRPr lang="en-US" b="0" i="0">
            <a:solidFill>
              <a:srgbClr val="002060"/>
            </a:solidFill>
            <a:latin typeface="Century Gothic" panose="020B0502020202020204" pitchFamily="34" charset="0"/>
            <a:cs typeface="Calibri" pitchFamily="34" charset="0"/>
          </a:endParaRPr>
        </a:p>
      </dgm:t>
    </dgm:pt>
    <dgm:pt modelId="{8B1AD02C-FC2C-44D5-9BE2-2D8540C79F09}">
      <dgm:prSet phldrT="[Text]" custT="1"/>
      <dgm:spPr/>
      <dgm:t>
        <a:bodyPr/>
        <a:lstStyle/>
        <a:p>
          <a:r>
            <a:rPr lang="en-US" sz="1600" b="0" i="0" dirty="0">
              <a:latin typeface="Century Gothic" panose="020B0502020202020204" pitchFamily="34" charset="0"/>
              <a:cs typeface="Calibri" pitchFamily="34" charset="0"/>
            </a:rPr>
            <a:t>MDV Haulage</a:t>
          </a:r>
        </a:p>
      </dgm:t>
    </dgm:pt>
    <dgm:pt modelId="{7798AEC1-7F3B-4389-A4CB-3C2CCDE6522B}" type="parTrans" cxnId="{AAAFD10C-1987-46B0-8CC2-7250CE561238}">
      <dgm:prSet/>
      <dgm:spPr/>
      <dgm:t>
        <a:bodyPr/>
        <a:lstStyle/>
        <a:p>
          <a:endParaRPr lang="en-US" b="0" i="0">
            <a:solidFill>
              <a:srgbClr val="002060"/>
            </a:solidFill>
            <a:latin typeface="Century Gothic" panose="020B0502020202020204" pitchFamily="34" charset="0"/>
            <a:cs typeface="Calibri" pitchFamily="34" charset="0"/>
          </a:endParaRPr>
        </a:p>
      </dgm:t>
    </dgm:pt>
    <dgm:pt modelId="{3A771FE9-0635-4E83-94DA-915A9218EEE9}" type="sibTrans" cxnId="{AAAFD10C-1987-46B0-8CC2-7250CE561238}">
      <dgm:prSet/>
      <dgm:spPr/>
      <dgm:t>
        <a:bodyPr/>
        <a:lstStyle/>
        <a:p>
          <a:endParaRPr lang="en-US" b="0" i="0">
            <a:solidFill>
              <a:srgbClr val="002060"/>
            </a:solidFill>
            <a:latin typeface="Century Gothic" panose="020B0502020202020204" pitchFamily="34" charset="0"/>
            <a:cs typeface="Calibri" pitchFamily="34" charset="0"/>
          </a:endParaRPr>
        </a:p>
      </dgm:t>
    </dgm:pt>
    <dgm:pt modelId="{024620D8-6A28-476B-A8ED-CD779E8FF9BC}">
      <dgm:prSet custT="1"/>
      <dgm:spPr/>
      <dgm:t>
        <a:bodyPr/>
        <a:lstStyle/>
        <a:p>
          <a:r>
            <a:rPr lang="en-US" sz="1600" b="0" i="0" dirty="0">
              <a:latin typeface="Century Gothic" panose="020B0502020202020204" pitchFamily="34" charset="0"/>
              <a:cs typeface="Calibri" pitchFamily="34" charset="0"/>
            </a:rPr>
            <a:t>Tractor</a:t>
          </a:r>
        </a:p>
      </dgm:t>
    </dgm:pt>
    <dgm:pt modelId="{555ECAB1-1955-4E67-9F38-CC6CBB14F1F7}" type="parTrans" cxnId="{914A5153-BF81-4001-B343-570F2A29B9DA}">
      <dgm:prSet/>
      <dgm:spPr/>
      <dgm:t>
        <a:bodyPr/>
        <a:lstStyle/>
        <a:p>
          <a:endParaRPr lang="en-US" b="0" i="0">
            <a:solidFill>
              <a:srgbClr val="002060"/>
            </a:solidFill>
            <a:latin typeface="Century Gothic" panose="020B0502020202020204" pitchFamily="34" charset="0"/>
            <a:cs typeface="Calibri" pitchFamily="34" charset="0"/>
          </a:endParaRPr>
        </a:p>
      </dgm:t>
    </dgm:pt>
    <dgm:pt modelId="{677F6BDD-02DF-4AC5-9885-B39668CE480E}" type="sibTrans" cxnId="{914A5153-BF81-4001-B343-570F2A29B9DA}">
      <dgm:prSet/>
      <dgm:spPr/>
      <dgm:t>
        <a:bodyPr/>
        <a:lstStyle/>
        <a:p>
          <a:endParaRPr lang="en-US" b="0" i="0">
            <a:solidFill>
              <a:srgbClr val="002060"/>
            </a:solidFill>
            <a:latin typeface="Century Gothic" panose="020B0502020202020204" pitchFamily="34" charset="0"/>
            <a:cs typeface="Calibri" pitchFamily="34" charset="0"/>
          </a:endParaRPr>
        </a:p>
      </dgm:t>
    </dgm:pt>
    <dgm:pt modelId="{BA2FD9DF-8348-44E9-BC2C-90C3840E7B9E}">
      <dgm:prSet custT="1"/>
      <dgm:spPr>
        <a:solidFill>
          <a:schemeClr val="bg2">
            <a:lumMod val="40000"/>
            <a:lumOff val="60000"/>
            <a:alpha val="90000"/>
          </a:schemeClr>
        </a:solidFill>
      </dgm:spPr>
      <dgm:t>
        <a:bodyPr/>
        <a:lstStyle/>
        <a:p>
          <a:r>
            <a:rPr lang="en-US" sz="1800" b="0" i="0" dirty="0">
              <a:solidFill>
                <a:schemeClr val="tx1"/>
              </a:solidFill>
              <a:latin typeface="Century Gothic" panose="020B0502020202020204" pitchFamily="34" charset="0"/>
              <a:cs typeface="Calibri" pitchFamily="34" charset="0"/>
            </a:rPr>
            <a:t>Bus</a:t>
          </a:r>
        </a:p>
      </dgm:t>
    </dgm:pt>
    <dgm:pt modelId="{AE0820A0-F5AD-48A4-A635-2FDDBFCABBC0}" type="parTrans" cxnId="{5B6FC54C-3609-4EF1-B6F7-9A2098285FC4}">
      <dgm:prSet/>
      <dgm:spPr/>
      <dgm:t>
        <a:bodyPr/>
        <a:lstStyle/>
        <a:p>
          <a:endParaRPr lang="en-US" b="0" i="0">
            <a:latin typeface="Century Gothic" panose="020B0502020202020204" pitchFamily="34" charset="0"/>
          </a:endParaRPr>
        </a:p>
      </dgm:t>
    </dgm:pt>
    <dgm:pt modelId="{BC280BF8-3EA1-4E48-8312-CB9C3DABC5B5}" type="sibTrans" cxnId="{5B6FC54C-3609-4EF1-B6F7-9A2098285FC4}">
      <dgm:prSet/>
      <dgm:spPr/>
      <dgm:t>
        <a:bodyPr/>
        <a:lstStyle/>
        <a:p>
          <a:endParaRPr lang="en-US" b="0" i="0">
            <a:latin typeface="Century Gothic" panose="020B0502020202020204" pitchFamily="34" charset="0"/>
          </a:endParaRPr>
        </a:p>
      </dgm:t>
    </dgm:pt>
    <dgm:pt modelId="{B2F15D9E-615A-4A2C-BD52-0CBB5640F2B7}">
      <dgm:prSet phldrT="[Text]" custT="1"/>
      <dgm:spPr/>
      <dgm:t>
        <a:bodyPr/>
        <a:lstStyle/>
        <a:p>
          <a:r>
            <a:rPr lang="en-US" sz="1600" b="0" i="0">
              <a:latin typeface="Century Gothic" panose="020B0502020202020204" pitchFamily="34" charset="0"/>
              <a:cs typeface="Calibri" pitchFamily="34" charset="0"/>
            </a:rPr>
            <a:t>ICV</a:t>
          </a:r>
          <a:endParaRPr lang="en-US" sz="1600" b="0" i="0" dirty="0">
            <a:latin typeface="Century Gothic" panose="020B0502020202020204" pitchFamily="34" charset="0"/>
            <a:cs typeface="Calibri" pitchFamily="34" charset="0"/>
          </a:endParaRPr>
        </a:p>
      </dgm:t>
    </dgm:pt>
    <dgm:pt modelId="{03ACD197-7473-471D-8166-98C425889730}" type="parTrans" cxnId="{94D93AC5-367C-436B-8A2A-023F2CC39193}">
      <dgm:prSet/>
      <dgm:spPr/>
      <dgm:t>
        <a:bodyPr/>
        <a:lstStyle/>
        <a:p>
          <a:endParaRPr lang="en-US" b="0" i="0">
            <a:latin typeface="Century Gothic" panose="020B0502020202020204" pitchFamily="34" charset="0"/>
          </a:endParaRPr>
        </a:p>
      </dgm:t>
    </dgm:pt>
    <dgm:pt modelId="{5727FFCE-7EFF-43A0-9573-F0C04760D7B4}" type="sibTrans" cxnId="{94D93AC5-367C-436B-8A2A-023F2CC39193}">
      <dgm:prSet/>
      <dgm:spPr/>
      <dgm:t>
        <a:bodyPr/>
        <a:lstStyle/>
        <a:p>
          <a:endParaRPr lang="en-US" b="0" i="0">
            <a:latin typeface="Century Gothic" panose="020B0502020202020204" pitchFamily="34" charset="0"/>
          </a:endParaRPr>
        </a:p>
      </dgm:t>
    </dgm:pt>
    <dgm:pt modelId="{9C5ED564-0EEB-4B94-966A-D54A64482382}">
      <dgm:prSet custT="1"/>
      <dgm:spPr/>
      <dgm:t>
        <a:bodyPr/>
        <a:lstStyle/>
        <a:p>
          <a:r>
            <a:rPr lang="en-US" sz="1600" b="0" i="0">
              <a:latin typeface="Century Gothic" panose="020B0502020202020204" pitchFamily="34" charset="0"/>
              <a:cs typeface="Calibri" pitchFamily="34" charset="0"/>
            </a:rPr>
            <a:t>Tipper</a:t>
          </a:r>
          <a:endParaRPr lang="en-US" sz="1600" b="0" i="0" dirty="0">
            <a:latin typeface="Century Gothic" panose="020B0502020202020204" pitchFamily="34" charset="0"/>
            <a:cs typeface="Calibri" pitchFamily="34" charset="0"/>
          </a:endParaRPr>
        </a:p>
      </dgm:t>
    </dgm:pt>
    <dgm:pt modelId="{E2639076-6B36-4AC8-8BF6-78715ED4E721}" type="parTrans" cxnId="{63DF3E83-F663-4C68-AB60-00DD56E87F8A}">
      <dgm:prSet/>
      <dgm:spPr/>
      <dgm:t>
        <a:bodyPr/>
        <a:lstStyle/>
        <a:p>
          <a:endParaRPr lang="en-US" b="0" i="0">
            <a:latin typeface="Century Gothic" panose="020B0502020202020204" pitchFamily="34" charset="0"/>
          </a:endParaRPr>
        </a:p>
      </dgm:t>
    </dgm:pt>
    <dgm:pt modelId="{6F69185B-0F81-4AEC-9A50-73E0251CE9E5}" type="sibTrans" cxnId="{63DF3E83-F663-4C68-AB60-00DD56E87F8A}">
      <dgm:prSet/>
      <dgm:spPr/>
      <dgm:t>
        <a:bodyPr/>
        <a:lstStyle/>
        <a:p>
          <a:endParaRPr lang="en-US" b="0" i="0">
            <a:latin typeface="Century Gothic" panose="020B0502020202020204" pitchFamily="34" charset="0"/>
          </a:endParaRPr>
        </a:p>
      </dgm:t>
    </dgm:pt>
    <dgm:pt modelId="{2D5E84E3-6387-4C41-97C5-31404EF0F50F}">
      <dgm:prSet custT="1"/>
      <dgm:spPr>
        <a:solidFill>
          <a:schemeClr val="bg2">
            <a:lumMod val="40000"/>
            <a:lumOff val="60000"/>
            <a:alpha val="90000"/>
          </a:schemeClr>
        </a:solidFill>
      </dgm:spPr>
      <dgm:t>
        <a:bodyPr/>
        <a:lstStyle/>
        <a:p>
          <a:r>
            <a:rPr lang="en-US" sz="1800" b="0" i="0" dirty="0">
              <a:solidFill>
                <a:schemeClr val="tx1"/>
              </a:solidFill>
              <a:latin typeface="Century Gothic" panose="020B0502020202020204" pitchFamily="34" charset="0"/>
              <a:cs typeface="Calibri" pitchFamily="34" charset="0"/>
            </a:rPr>
            <a:t>Trucks</a:t>
          </a:r>
        </a:p>
      </dgm:t>
    </dgm:pt>
    <dgm:pt modelId="{1E9E4D4E-1BDB-4121-A8CB-8A5213DCD0F7}" type="sibTrans" cxnId="{92D7F071-2012-4A70-B91C-4DBA1F7B54D0}">
      <dgm:prSet/>
      <dgm:spPr/>
      <dgm:t>
        <a:bodyPr/>
        <a:lstStyle/>
        <a:p>
          <a:endParaRPr lang="en-US" b="0" i="0">
            <a:latin typeface="Century Gothic" panose="020B0502020202020204" pitchFamily="34" charset="0"/>
          </a:endParaRPr>
        </a:p>
      </dgm:t>
    </dgm:pt>
    <dgm:pt modelId="{4B993C10-75AC-4FBC-A989-67CA35B2D0FF}" type="parTrans" cxnId="{92D7F071-2012-4A70-B91C-4DBA1F7B54D0}">
      <dgm:prSet/>
      <dgm:spPr/>
      <dgm:t>
        <a:bodyPr/>
        <a:lstStyle/>
        <a:p>
          <a:endParaRPr lang="en-US" b="0" i="0">
            <a:latin typeface="Century Gothic" panose="020B0502020202020204" pitchFamily="34" charset="0"/>
          </a:endParaRPr>
        </a:p>
      </dgm:t>
    </dgm:pt>
    <dgm:pt modelId="{1DE6F683-4953-44E2-AE30-B408EEF5F5D8}">
      <dgm:prSet custT="1"/>
      <dgm:spPr/>
      <dgm:t>
        <a:bodyPr/>
        <a:lstStyle/>
        <a:p>
          <a:r>
            <a:rPr lang="en-US" sz="1600" b="0" i="0">
              <a:latin typeface="Century Gothic" panose="020B0502020202020204" pitchFamily="34" charset="0"/>
              <a:cs typeface="Calibri" pitchFamily="34" charset="0"/>
            </a:rPr>
            <a:t>MDV</a:t>
          </a:r>
          <a:endParaRPr lang="en-US" sz="1600" b="0" i="0" dirty="0">
            <a:latin typeface="Century Gothic" panose="020B0502020202020204" pitchFamily="34" charset="0"/>
            <a:cs typeface="Calibri" pitchFamily="34" charset="0"/>
          </a:endParaRPr>
        </a:p>
      </dgm:t>
    </dgm:pt>
    <dgm:pt modelId="{4E3561C2-1943-455E-90D4-7A692777BD75}" type="parTrans" cxnId="{967954F8-30A5-4438-AA6D-2E64002616D5}">
      <dgm:prSet/>
      <dgm:spPr/>
      <dgm:t>
        <a:bodyPr/>
        <a:lstStyle/>
        <a:p>
          <a:endParaRPr lang="en-US" b="0" i="0">
            <a:latin typeface="Century Gothic" panose="020B0502020202020204" pitchFamily="34" charset="0"/>
          </a:endParaRPr>
        </a:p>
      </dgm:t>
    </dgm:pt>
    <dgm:pt modelId="{2AB4EBAA-2C34-4339-9D70-D0A05948159D}" type="sibTrans" cxnId="{967954F8-30A5-4438-AA6D-2E64002616D5}">
      <dgm:prSet/>
      <dgm:spPr/>
      <dgm:t>
        <a:bodyPr/>
        <a:lstStyle/>
        <a:p>
          <a:endParaRPr lang="en-US" b="0" i="0">
            <a:latin typeface="Century Gothic" panose="020B0502020202020204" pitchFamily="34" charset="0"/>
          </a:endParaRPr>
        </a:p>
      </dgm:t>
    </dgm:pt>
    <dgm:pt modelId="{992D7F61-2D5F-4B2C-9E28-98951EAD4B13}">
      <dgm:prSet custT="1"/>
      <dgm:spPr/>
      <dgm:t>
        <a:bodyPr/>
        <a:lstStyle/>
        <a:p>
          <a:r>
            <a:rPr lang="en-US" sz="1600" b="0" i="0">
              <a:latin typeface="Century Gothic" panose="020B0502020202020204" pitchFamily="34" charset="0"/>
              <a:cs typeface="Calibri" pitchFamily="34" charset="0"/>
            </a:rPr>
            <a:t>ICV</a:t>
          </a:r>
          <a:endParaRPr lang="en-US" sz="1600" b="0" i="0" dirty="0">
            <a:latin typeface="Century Gothic" panose="020B0502020202020204" pitchFamily="34" charset="0"/>
            <a:cs typeface="Calibri" pitchFamily="34" charset="0"/>
          </a:endParaRPr>
        </a:p>
      </dgm:t>
    </dgm:pt>
    <dgm:pt modelId="{1A0FD549-A0BF-4D01-B7CC-A83FB2B2C0BE}" type="parTrans" cxnId="{3CC594D7-46A6-42FE-B0ED-FE103C673B7E}">
      <dgm:prSet/>
      <dgm:spPr/>
      <dgm:t>
        <a:bodyPr/>
        <a:lstStyle/>
        <a:p>
          <a:endParaRPr lang="en-US" b="0" i="0">
            <a:latin typeface="Century Gothic" panose="020B0502020202020204" pitchFamily="34" charset="0"/>
          </a:endParaRPr>
        </a:p>
      </dgm:t>
    </dgm:pt>
    <dgm:pt modelId="{E13693E9-A800-47D2-9BF9-0A69BB1F5976}" type="sibTrans" cxnId="{3CC594D7-46A6-42FE-B0ED-FE103C673B7E}">
      <dgm:prSet/>
      <dgm:spPr/>
      <dgm:t>
        <a:bodyPr/>
        <a:lstStyle/>
        <a:p>
          <a:endParaRPr lang="en-US" b="0" i="0">
            <a:latin typeface="Century Gothic" panose="020B0502020202020204" pitchFamily="34" charset="0"/>
          </a:endParaRPr>
        </a:p>
      </dgm:t>
    </dgm:pt>
    <dgm:pt modelId="{5BC5D2F0-E044-4B78-9AB8-648BA54E9FF9}" type="pres">
      <dgm:prSet presAssocID="{35F9669E-A948-40B4-AA1F-9B97E3E3123A}" presName="Name0" presStyleCnt="0">
        <dgm:presLayoutVars>
          <dgm:chPref val="1"/>
          <dgm:dir/>
          <dgm:animOne val="branch"/>
          <dgm:animLvl val="lvl"/>
          <dgm:resizeHandles val="exact"/>
        </dgm:presLayoutVars>
      </dgm:prSet>
      <dgm:spPr/>
    </dgm:pt>
    <dgm:pt modelId="{89E8A1FC-7DB3-4286-A65F-E0AA3205D8D5}" type="pres">
      <dgm:prSet presAssocID="{0BE827C8-5F27-49DC-9FB2-DC395FA3EA3D}" presName="root1" presStyleCnt="0"/>
      <dgm:spPr/>
    </dgm:pt>
    <dgm:pt modelId="{D53E9439-0D7B-40D8-B901-A4BBA0979F66}" type="pres">
      <dgm:prSet presAssocID="{0BE827C8-5F27-49DC-9FB2-DC395FA3EA3D}" presName="LevelOneTextNode" presStyleLbl="node0" presStyleIdx="0" presStyleCnt="1">
        <dgm:presLayoutVars>
          <dgm:chPref val="3"/>
        </dgm:presLayoutVars>
      </dgm:prSet>
      <dgm:spPr/>
    </dgm:pt>
    <dgm:pt modelId="{A85C84F2-B28C-47E6-B173-439F88C3A7C6}" type="pres">
      <dgm:prSet presAssocID="{0BE827C8-5F27-49DC-9FB2-DC395FA3EA3D}" presName="level2hierChild" presStyleCnt="0"/>
      <dgm:spPr/>
    </dgm:pt>
    <dgm:pt modelId="{717BDEA5-A096-4F33-A6BD-00B0958AC94F}" type="pres">
      <dgm:prSet presAssocID="{4B993C10-75AC-4FBC-A989-67CA35B2D0FF}" presName="conn2-1" presStyleLbl="parChTrans1D2" presStyleIdx="0" presStyleCnt="2"/>
      <dgm:spPr/>
    </dgm:pt>
    <dgm:pt modelId="{950EFD41-0487-477F-8657-C39315EFEDDD}" type="pres">
      <dgm:prSet presAssocID="{4B993C10-75AC-4FBC-A989-67CA35B2D0FF}" presName="connTx" presStyleLbl="parChTrans1D2" presStyleIdx="0" presStyleCnt="2"/>
      <dgm:spPr/>
    </dgm:pt>
    <dgm:pt modelId="{E1C62798-2234-4D26-BF9F-09A66C9AAECC}" type="pres">
      <dgm:prSet presAssocID="{2D5E84E3-6387-4C41-97C5-31404EF0F50F}" presName="root2" presStyleCnt="0"/>
      <dgm:spPr/>
    </dgm:pt>
    <dgm:pt modelId="{D251CDC6-473E-4C0C-8358-C62AFDD8A33A}" type="pres">
      <dgm:prSet presAssocID="{2D5E84E3-6387-4C41-97C5-31404EF0F50F}" presName="LevelTwoTextNode" presStyleLbl="node2" presStyleIdx="0" presStyleCnt="2">
        <dgm:presLayoutVars>
          <dgm:chPref val="3"/>
        </dgm:presLayoutVars>
      </dgm:prSet>
      <dgm:spPr/>
    </dgm:pt>
    <dgm:pt modelId="{B723176C-EFA4-4895-BCCE-AA600188CC82}" type="pres">
      <dgm:prSet presAssocID="{2D5E84E3-6387-4C41-97C5-31404EF0F50F}" presName="level3hierChild" presStyleCnt="0"/>
      <dgm:spPr/>
    </dgm:pt>
    <dgm:pt modelId="{2FF4D689-323F-4B28-A4D8-5108E2507D7D}" type="pres">
      <dgm:prSet presAssocID="{A3181329-BCDF-4DB9-A871-5915A22FF339}" presName="conn2-1" presStyleLbl="parChTrans1D3" presStyleIdx="0" presStyleCnt="5"/>
      <dgm:spPr/>
    </dgm:pt>
    <dgm:pt modelId="{22F51297-E784-4D0F-864B-4409011F06DE}" type="pres">
      <dgm:prSet presAssocID="{A3181329-BCDF-4DB9-A871-5915A22FF339}" presName="connTx" presStyleLbl="parChTrans1D3" presStyleIdx="0" presStyleCnt="5"/>
      <dgm:spPr/>
    </dgm:pt>
    <dgm:pt modelId="{01DD9B8A-FD42-44DB-A39A-1BDFC11FDC9B}" type="pres">
      <dgm:prSet presAssocID="{0173693E-B536-4D93-8AAD-70EDE01CE1B1}" presName="root2" presStyleCnt="0"/>
      <dgm:spPr/>
    </dgm:pt>
    <dgm:pt modelId="{5341277A-242B-4F93-82CB-B13CC0E6ACDF}" type="pres">
      <dgm:prSet presAssocID="{0173693E-B536-4D93-8AAD-70EDE01CE1B1}" presName="LevelTwoTextNode" presStyleLbl="node3" presStyleIdx="0" presStyleCnt="5">
        <dgm:presLayoutVars>
          <dgm:chPref val="3"/>
        </dgm:presLayoutVars>
      </dgm:prSet>
      <dgm:spPr/>
    </dgm:pt>
    <dgm:pt modelId="{0C7F0389-4D2F-4925-A9D7-8CFBB66BA557}" type="pres">
      <dgm:prSet presAssocID="{0173693E-B536-4D93-8AAD-70EDE01CE1B1}" presName="level3hierChild" presStyleCnt="0"/>
      <dgm:spPr/>
    </dgm:pt>
    <dgm:pt modelId="{092C0294-93F2-4EFF-89E2-F3E6F95ECBD6}" type="pres">
      <dgm:prSet presAssocID="{CF2784EF-C24B-43EC-AFB6-6197E21C22A3}" presName="conn2-1" presStyleLbl="parChTrans1D4" presStyleIdx="0" presStyleCnt="3"/>
      <dgm:spPr/>
    </dgm:pt>
    <dgm:pt modelId="{F5171271-6C9A-49F5-9F53-9BB009575086}" type="pres">
      <dgm:prSet presAssocID="{CF2784EF-C24B-43EC-AFB6-6197E21C22A3}" presName="connTx" presStyleLbl="parChTrans1D4" presStyleIdx="0" presStyleCnt="3"/>
      <dgm:spPr/>
    </dgm:pt>
    <dgm:pt modelId="{7E6A3C6B-9FC5-4329-A287-C61741A15906}" type="pres">
      <dgm:prSet presAssocID="{677DC5EA-AA83-46BB-B509-32544962B8FF}" presName="root2" presStyleCnt="0"/>
      <dgm:spPr/>
    </dgm:pt>
    <dgm:pt modelId="{1DCF50C8-6E8B-49E1-B1C0-3DD6AAEE0664}" type="pres">
      <dgm:prSet presAssocID="{677DC5EA-AA83-46BB-B509-32544962B8FF}" presName="LevelTwoTextNode" presStyleLbl="node4" presStyleIdx="0" presStyleCnt="3">
        <dgm:presLayoutVars>
          <dgm:chPref val="3"/>
        </dgm:presLayoutVars>
      </dgm:prSet>
      <dgm:spPr/>
    </dgm:pt>
    <dgm:pt modelId="{7FC7B932-FBCA-4FF0-BED9-51F8EDF411B7}" type="pres">
      <dgm:prSet presAssocID="{677DC5EA-AA83-46BB-B509-32544962B8FF}" presName="level3hierChild" presStyleCnt="0"/>
      <dgm:spPr/>
    </dgm:pt>
    <dgm:pt modelId="{30614BD2-8777-4D25-9563-23FAD973089F}" type="pres">
      <dgm:prSet presAssocID="{7798AEC1-7F3B-4389-A4CB-3C2CCDE6522B}" presName="conn2-1" presStyleLbl="parChTrans1D4" presStyleIdx="1" presStyleCnt="3"/>
      <dgm:spPr/>
    </dgm:pt>
    <dgm:pt modelId="{73ED3572-91B7-4216-B5B7-A40E2719327D}" type="pres">
      <dgm:prSet presAssocID="{7798AEC1-7F3B-4389-A4CB-3C2CCDE6522B}" presName="connTx" presStyleLbl="parChTrans1D4" presStyleIdx="1" presStyleCnt="3"/>
      <dgm:spPr/>
    </dgm:pt>
    <dgm:pt modelId="{BFFAC8F0-34F1-4D35-9E36-1B87D3B1B7BA}" type="pres">
      <dgm:prSet presAssocID="{8B1AD02C-FC2C-44D5-9BE2-2D8540C79F09}" presName="root2" presStyleCnt="0"/>
      <dgm:spPr/>
    </dgm:pt>
    <dgm:pt modelId="{F241F863-D788-4B29-91DB-425303EA9FED}" type="pres">
      <dgm:prSet presAssocID="{8B1AD02C-FC2C-44D5-9BE2-2D8540C79F09}" presName="LevelTwoTextNode" presStyleLbl="node4" presStyleIdx="1" presStyleCnt="3">
        <dgm:presLayoutVars>
          <dgm:chPref val="3"/>
        </dgm:presLayoutVars>
      </dgm:prSet>
      <dgm:spPr/>
    </dgm:pt>
    <dgm:pt modelId="{C798B320-0D30-440C-A70D-AA88C38B4A9E}" type="pres">
      <dgm:prSet presAssocID="{8B1AD02C-FC2C-44D5-9BE2-2D8540C79F09}" presName="level3hierChild" presStyleCnt="0"/>
      <dgm:spPr/>
    </dgm:pt>
    <dgm:pt modelId="{F3CDFDBA-318C-49CB-9A5E-4756C88BBBE0}" type="pres">
      <dgm:prSet presAssocID="{555ECAB1-1955-4E67-9F38-CC6CBB14F1F7}" presName="conn2-1" presStyleLbl="parChTrans1D4" presStyleIdx="2" presStyleCnt="3"/>
      <dgm:spPr/>
    </dgm:pt>
    <dgm:pt modelId="{63958213-6BA0-427F-AB36-7AE6CF3C24D8}" type="pres">
      <dgm:prSet presAssocID="{555ECAB1-1955-4E67-9F38-CC6CBB14F1F7}" presName="connTx" presStyleLbl="parChTrans1D4" presStyleIdx="2" presStyleCnt="3"/>
      <dgm:spPr/>
    </dgm:pt>
    <dgm:pt modelId="{1D131081-3B0F-4622-A05B-1B607C924260}" type="pres">
      <dgm:prSet presAssocID="{024620D8-6A28-476B-A8ED-CD779E8FF9BC}" presName="root2" presStyleCnt="0"/>
      <dgm:spPr/>
    </dgm:pt>
    <dgm:pt modelId="{DFC5266C-4520-422F-9199-6A18EF588B20}" type="pres">
      <dgm:prSet presAssocID="{024620D8-6A28-476B-A8ED-CD779E8FF9BC}" presName="LevelTwoTextNode" presStyleLbl="node4" presStyleIdx="2" presStyleCnt="3">
        <dgm:presLayoutVars>
          <dgm:chPref val="3"/>
        </dgm:presLayoutVars>
      </dgm:prSet>
      <dgm:spPr/>
    </dgm:pt>
    <dgm:pt modelId="{F38A67AD-D525-4F0C-9534-75D19794F783}" type="pres">
      <dgm:prSet presAssocID="{024620D8-6A28-476B-A8ED-CD779E8FF9BC}" presName="level3hierChild" presStyleCnt="0"/>
      <dgm:spPr/>
    </dgm:pt>
    <dgm:pt modelId="{2A1F2FD7-ABDB-4C79-A68F-52986F489F1C}" type="pres">
      <dgm:prSet presAssocID="{03ACD197-7473-471D-8166-98C425889730}" presName="conn2-1" presStyleLbl="parChTrans1D3" presStyleIdx="1" presStyleCnt="5"/>
      <dgm:spPr/>
    </dgm:pt>
    <dgm:pt modelId="{7E461053-43E3-4BA4-AA74-F9EDA1199766}" type="pres">
      <dgm:prSet presAssocID="{03ACD197-7473-471D-8166-98C425889730}" presName="connTx" presStyleLbl="parChTrans1D3" presStyleIdx="1" presStyleCnt="5"/>
      <dgm:spPr/>
    </dgm:pt>
    <dgm:pt modelId="{5EFE0FB9-F166-4490-AF21-F719541F8420}" type="pres">
      <dgm:prSet presAssocID="{B2F15D9E-615A-4A2C-BD52-0CBB5640F2B7}" presName="root2" presStyleCnt="0"/>
      <dgm:spPr/>
    </dgm:pt>
    <dgm:pt modelId="{038D1ADC-1484-436E-A870-F24713E6348D}" type="pres">
      <dgm:prSet presAssocID="{B2F15D9E-615A-4A2C-BD52-0CBB5640F2B7}" presName="LevelTwoTextNode" presStyleLbl="node3" presStyleIdx="1" presStyleCnt="5">
        <dgm:presLayoutVars>
          <dgm:chPref val="3"/>
        </dgm:presLayoutVars>
      </dgm:prSet>
      <dgm:spPr/>
    </dgm:pt>
    <dgm:pt modelId="{BEB6D6B0-E7B3-401A-80D0-A9FB88123A47}" type="pres">
      <dgm:prSet presAssocID="{B2F15D9E-615A-4A2C-BD52-0CBB5640F2B7}" presName="level3hierChild" presStyleCnt="0"/>
      <dgm:spPr/>
    </dgm:pt>
    <dgm:pt modelId="{3EA9F431-0BC8-4D92-922A-787F158A1EA2}" type="pres">
      <dgm:prSet presAssocID="{E2639076-6B36-4AC8-8BF6-78715ED4E721}" presName="conn2-1" presStyleLbl="parChTrans1D3" presStyleIdx="2" presStyleCnt="5"/>
      <dgm:spPr/>
    </dgm:pt>
    <dgm:pt modelId="{D177073E-9257-441D-8987-8CDE1A0E281E}" type="pres">
      <dgm:prSet presAssocID="{E2639076-6B36-4AC8-8BF6-78715ED4E721}" presName="connTx" presStyleLbl="parChTrans1D3" presStyleIdx="2" presStyleCnt="5"/>
      <dgm:spPr/>
    </dgm:pt>
    <dgm:pt modelId="{383523E3-F0DF-42AE-BA1F-409910FCD0B4}" type="pres">
      <dgm:prSet presAssocID="{9C5ED564-0EEB-4B94-966A-D54A64482382}" presName="root2" presStyleCnt="0"/>
      <dgm:spPr/>
    </dgm:pt>
    <dgm:pt modelId="{4FC1AC1E-DBA7-44A6-9E6D-33DDE0091D6D}" type="pres">
      <dgm:prSet presAssocID="{9C5ED564-0EEB-4B94-966A-D54A64482382}" presName="LevelTwoTextNode" presStyleLbl="node3" presStyleIdx="2" presStyleCnt="5">
        <dgm:presLayoutVars>
          <dgm:chPref val="3"/>
        </dgm:presLayoutVars>
      </dgm:prSet>
      <dgm:spPr/>
    </dgm:pt>
    <dgm:pt modelId="{7F539247-B118-4AA3-AE84-3A624762880A}" type="pres">
      <dgm:prSet presAssocID="{9C5ED564-0EEB-4B94-966A-D54A64482382}" presName="level3hierChild" presStyleCnt="0"/>
      <dgm:spPr/>
    </dgm:pt>
    <dgm:pt modelId="{DEED7496-39EF-4241-A041-E74A9CCAC5A2}" type="pres">
      <dgm:prSet presAssocID="{AE0820A0-F5AD-48A4-A635-2FDDBFCABBC0}" presName="conn2-1" presStyleLbl="parChTrans1D2" presStyleIdx="1" presStyleCnt="2"/>
      <dgm:spPr/>
    </dgm:pt>
    <dgm:pt modelId="{089C3E94-CED9-4EAF-9393-97663605FAE5}" type="pres">
      <dgm:prSet presAssocID="{AE0820A0-F5AD-48A4-A635-2FDDBFCABBC0}" presName="connTx" presStyleLbl="parChTrans1D2" presStyleIdx="1" presStyleCnt="2"/>
      <dgm:spPr/>
    </dgm:pt>
    <dgm:pt modelId="{00DC0786-E8DF-45FC-BFB4-5E26CD1A1672}" type="pres">
      <dgm:prSet presAssocID="{BA2FD9DF-8348-44E9-BC2C-90C3840E7B9E}" presName="root2" presStyleCnt="0"/>
      <dgm:spPr/>
    </dgm:pt>
    <dgm:pt modelId="{7B5BCB98-25D7-45FB-BAE0-E9E595DDBCD1}" type="pres">
      <dgm:prSet presAssocID="{BA2FD9DF-8348-44E9-BC2C-90C3840E7B9E}" presName="LevelTwoTextNode" presStyleLbl="node2" presStyleIdx="1" presStyleCnt="2">
        <dgm:presLayoutVars>
          <dgm:chPref val="3"/>
        </dgm:presLayoutVars>
      </dgm:prSet>
      <dgm:spPr/>
    </dgm:pt>
    <dgm:pt modelId="{5EECFB2E-CDBB-41CE-A1F3-29A8E51747FA}" type="pres">
      <dgm:prSet presAssocID="{BA2FD9DF-8348-44E9-BC2C-90C3840E7B9E}" presName="level3hierChild" presStyleCnt="0"/>
      <dgm:spPr/>
    </dgm:pt>
    <dgm:pt modelId="{7171028D-A4F2-4DDD-BA35-973361B081E6}" type="pres">
      <dgm:prSet presAssocID="{4E3561C2-1943-455E-90D4-7A692777BD75}" presName="conn2-1" presStyleLbl="parChTrans1D3" presStyleIdx="3" presStyleCnt="5"/>
      <dgm:spPr/>
    </dgm:pt>
    <dgm:pt modelId="{835DF156-A2E3-43E6-9648-07507852C0B4}" type="pres">
      <dgm:prSet presAssocID="{4E3561C2-1943-455E-90D4-7A692777BD75}" presName="connTx" presStyleLbl="parChTrans1D3" presStyleIdx="3" presStyleCnt="5"/>
      <dgm:spPr/>
    </dgm:pt>
    <dgm:pt modelId="{1156DAD3-B374-4ED2-BF5A-490F38A4BAD4}" type="pres">
      <dgm:prSet presAssocID="{1DE6F683-4953-44E2-AE30-B408EEF5F5D8}" presName="root2" presStyleCnt="0"/>
      <dgm:spPr/>
    </dgm:pt>
    <dgm:pt modelId="{97DDF086-9F53-49F6-968A-0C0F93498973}" type="pres">
      <dgm:prSet presAssocID="{1DE6F683-4953-44E2-AE30-B408EEF5F5D8}" presName="LevelTwoTextNode" presStyleLbl="node3" presStyleIdx="3" presStyleCnt="5">
        <dgm:presLayoutVars>
          <dgm:chPref val="3"/>
        </dgm:presLayoutVars>
      </dgm:prSet>
      <dgm:spPr/>
    </dgm:pt>
    <dgm:pt modelId="{43A49DC0-6D35-4D9F-8A5B-EC9D2352C13E}" type="pres">
      <dgm:prSet presAssocID="{1DE6F683-4953-44E2-AE30-B408EEF5F5D8}" presName="level3hierChild" presStyleCnt="0"/>
      <dgm:spPr/>
    </dgm:pt>
    <dgm:pt modelId="{5ABBF729-BA95-44DF-815B-E9A66C24E454}" type="pres">
      <dgm:prSet presAssocID="{1A0FD549-A0BF-4D01-B7CC-A83FB2B2C0BE}" presName="conn2-1" presStyleLbl="parChTrans1D3" presStyleIdx="4" presStyleCnt="5"/>
      <dgm:spPr/>
    </dgm:pt>
    <dgm:pt modelId="{D99CA88F-3F19-40C8-A17A-FC50F9FCA928}" type="pres">
      <dgm:prSet presAssocID="{1A0FD549-A0BF-4D01-B7CC-A83FB2B2C0BE}" presName="connTx" presStyleLbl="parChTrans1D3" presStyleIdx="4" presStyleCnt="5"/>
      <dgm:spPr/>
    </dgm:pt>
    <dgm:pt modelId="{2B849262-CB0F-4A07-B2AB-DFB431F0BC2C}" type="pres">
      <dgm:prSet presAssocID="{992D7F61-2D5F-4B2C-9E28-98951EAD4B13}" presName="root2" presStyleCnt="0"/>
      <dgm:spPr/>
    </dgm:pt>
    <dgm:pt modelId="{7D0ADB5D-F4EF-4406-B274-87C8BC093185}" type="pres">
      <dgm:prSet presAssocID="{992D7F61-2D5F-4B2C-9E28-98951EAD4B13}" presName="LevelTwoTextNode" presStyleLbl="node3" presStyleIdx="4" presStyleCnt="5">
        <dgm:presLayoutVars>
          <dgm:chPref val="3"/>
        </dgm:presLayoutVars>
      </dgm:prSet>
      <dgm:spPr/>
    </dgm:pt>
    <dgm:pt modelId="{BDEDA4C9-E4FF-4E1C-8750-08EFC1F2DF56}" type="pres">
      <dgm:prSet presAssocID="{992D7F61-2D5F-4B2C-9E28-98951EAD4B13}" presName="level3hierChild" presStyleCnt="0"/>
      <dgm:spPr/>
    </dgm:pt>
  </dgm:ptLst>
  <dgm:cxnLst>
    <dgm:cxn modelId="{073BB900-F400-4D1E-B540-96F497274662}" type="presOf" srcId="{4B993C10-75AC-4FBC-A989-67CA35B2D0FF}" destId="{950EFD41-0487-477F-8657-C39315EFEDDD}" srcOrd="1" destOrd="0" presId="urn:microsoft.com/office/officeart/2008/layout/HorizontalMultiLevelHierarchy"/>
    <dgm:cxn modelId="{D50E6502-2532-43CB-9157-48C2E74066F0}" type="presOf" srcId="{024620D8-6A28-476B-A8ED-CD779E8FF9BC}" destId="{DFC5266C-4520-422F-9199-6A18EF588B20}" srcOrd="0" destOrd="0" presId="urn:microsoft.com/office/officeart/2008/layout/HorizontalMultiLevelHierarchy"/>
    <dgm:cxn modelId="{F21E3C03-1F8B-477D-905C-CF0D53C940C1}" type="presOf" srcId="{AE0820A0-F5AD-48A4-A635-2FDDBFCABBC0}" destId="{DEED7496-39EF-4241-A041-E74A9CCAC5A2}" srcOrd="0" destOrd="0" presId="urn:microsoft.com/office/officeart/2008/layout/HorizontalMultiLevelHierarchy"/>
    <dgm:cxn modelId="{D9DBF609-2CE8-4950-A75C-943B9B0A1E73}" type="presOf" srcId="{4E3561C2-1943-455E-90D4-7A692777BD75}" destId="{7171028D-A4F2-4DDD-BA35-973361B081E6}" srcOrd="0" destOrd="0" presId="urn:microsoft.com/office/officeart/2008/layout/HorizontalMultiLevelHierarchy"/>
    <dgm:cxn modelId="{AAAFD10C-1987-46B0-8CC2-7250CE561238}" srcId="{0173693E-B536-4D93-8AAD-70EDE01CE1B1}" destId="{8B1AD02C-FC2C-44D5-9BE2-2D8540C79F09}" srcOrd="1" destOrd="0" parTransId="{7798AEC1-7F3B-4389-A4CB-3C2CCDE6522B}" sibTransId="{3A771FE9-0635-4E83-94DA-915A9218EEE9}"/>
    <dgm:cxn modelId="{F778C120-0274-4DAA-91FF-6225076926E8}" type="presOf" srcId="{A3181329-BCDF-4DB9-A871-5915A22FF339}" destId="{22F51297-E784-4D0F-864B-4409011F06DE}" srcOrd="1" destOrd="0" presId="urn:microsoft.com/office/officeart/2008/layout/HorizontalMultiLevelHierarchy"/>
    <dgm:cxn modelId="{C9C00022-CCB0-4627-BB12-7A8DE4D6D9AC}" type="presOf" srcId="{1A0FD549-A0BF-4D01-B7CC-A83FB2B2C0BE}" destId="{D99CA88F-3F19-40C8-A17A-FC50F9FCA928}" srcOrd="1" destOrd="0" presId="urn:microsoft.com/office/officeart/2008/layout/HorizontalMultiLevelHierarchy"/>
    <dgm:cxn modelId="{402E042A-3B08-4B43-9353-1E11C4F4503B}" type="presOf" srcId="{1A0FD549-A0BF-4D01-B7CC-A83FB2B2C0BE}" destId="{5ABBF729-BA95-44DF-815B-E9A66C24E454}" srcOrd="0" destOrd="0" presId="urn:microsoft.com/office/officeart/2008/layout/HorizontalMultiLevelHierarchy"/>
    <dgm:cxn modelId="{6A33B82B-DD08-441B-87B4-096B5C48D52A}" type="presOf" srcId="{4B993C10-75AC-4FBC-A989-67CA35B2D0FF}" destId="{717BDEA5-A096-4F33-A6BD-00B0958AC94F}" srcOrd="0" destOrd="0" presId="urn:microsoft.com/office/officeart/2008/layout/HorizontalMultiLevelHierarchy"/>
    <dgm:cxn modelId="{94402F2D-2AA4-4989-8A89-030FA991AF47}" type="presOf" srcId="{A3181329-BCDF-4DB9-A871-5915A22FF339}" destId="{2FF4D689-323F-4B28-A4D8-5108E2507D7D}" srcOrd="0" destOrd="0" presId="urn:microsoft.com/office/officeart/2008/layout/HorizontalMultiLevelHierarchy"/>
    <dgm:cxn modelId="{A40F2636-9964-4EDE-81B7-6642FE099A7C}" srcId="{0173693E-B536-4D93-8AAD-70EDE01CE1B1}" destId="{677DC5EA-AA83-46BB-B509-32544962B8FF}" srcOrd="0" destOrd="0" parTransId="{CF2784EF-C24B-43EC-AFB6-6197E21C22A3}" sibTransId="{22158A9D-7A3C-4737-88E1-6D6BA8B28932}"/>
    <dgm:cxn modelId="{14114162-4026-497A-BC08-EDDABBC98A3D}" type="presOf" srcId="{992D7F61-2D5F-4B2C-9E28-98951EAD4B13}" destId="{7D0ADB5D-F4EF-4406-B274-87C8BC093185}" srcOrd="0" destOrd="0" presId="urn:microsoft.com/office/officeart/2008/layout/HorizontalMultiLevelHierarchy"/>
    <dgm:cxn modelId="{445FD242-DAA9-4641-B719-ECA86E048D15}" type="presOf" srcId="{AE0820A0-F5AD-48A4-A635-2FDDBFCABBC0}" destId="{089C3E94-CED9-4EAF-9393-97663605FAE5}" srcOrd="1" destOrd="0" presId="urn:microsoft.com/office/officeart/2008/layout/HorizontalMultiLevelHierarchy"/>
    <dgm:cxn modelId="{6E677964-9D8C-4C0F-A11F-65A3EC880B0C}" type="presOf" srcId="{BA2FD9DF-8348-44E9-BC2C-90C3840E7B9E}" destId="{7B5BCB98-25D7-45FB-BAE0-E9E595DDBCD1}" srcOrd="0" destOrd="0" presId="urn:microsoft.com/office/officeart/2008/layout/HorizontalMultiLevelHierarchy"/>
    <dgm:cxn modelId="{823CA349-3683-42AF-B83D-09446915FF4C}" type="presOf" srcId="{B2F15D9E-615A-4A2C-BD52-0CBB5640F2B7}" destId="{038D1ADC-1484-436E-A870-F24713E6348D}" srcOrd="0" destOrd="0" presId="urn:microsoft.com/office/officeart/2008/layout/HorizontalMultiLevelHierarchy"/>
    <dgm:cxn modelId="{46F0364A-A051-48BD-B368-100C59488847}" type="presOf" srcId="{03ACD197-7473-471D-8166-98C425889730}" destId="{2A1F2FD7-ABDB-4C79-A68F-52986F489F1C}" srcOrd="0" destOrd="0" presId="urn:microsoft.com/office/officeart/2008/layout/HorizontalMultiLevelHierarchy"/>
    <dgm:cxn modelId="{5B6FC54C-3609-4EF1-B6F7-9A2098285FC4}" srcId="{0BE827C8-5F27-49DC-9FB2-DC395FA3EA3D}" destId="{BA2FD9DF-8348-44E9-BC2C-90C3840E7B9E}" srcOrd="1" destOrd="0" parTransId="{AE0820A0-F5AD-48A4-A635-2FDDBFCABBC0}" sibTransId="{BC280BF8-3EA1-4E48-8312-CB9C3DABC5B5}"/>
    <dgm:cxn modelId="{036DC350-BB64-48CD-AA09-FA65D76DB131}" srcId="{2D5E84E3-6387-4C41-97C5-31404EF0F50F}" destId="{0173693E-B536-4D93-8AAD-70EDE01CE1B1}" srcOrd="0" destOrd="0" parTransId="{A3181329-BCDF-4DB9-A871-5915A22FF339}" sibTransId="{4CE87FF5-5825-43D6-B2E6-435D51DB846B}"/>
    <dgm:cxn modelId="{92D7F071-2012-4A70-B91C-4DBA1F7B54D0}" srcId="{0BE827C8-5F27-49DC-9FB2-DC395FA3EA3D}" destId="{2D5E84E3-6387-4C41-97C5-31404EF0F50F}" srcOrd="0" destOrd="0" parTransId="{4B993C10-75AC-4FBC-A989-67CA35B2D0FF}" sibTransId="{1E9E4D4E-1BDB-4121-A8CB-8A5213DCD0F7}"/>
    <dgm:cxn modelId="{914A5153-BF81-4001-B343-570F2A29B9DA}" srcId="{0173693E-B536-4D93-8AAD-70EDE01CE1B1}" destId="{024620D8-6A28-476B-A8ED-CD779E8FF9BC}" srcOrd="2" destOrd="0" parTransId="{555ECAB1-1955-4E67-9F38-CC6CBB14F1F7}" sibTransId="{677F6BDD-02DF-4AC5-9885-B39668CE480E}"/>
    <dgm:cxn modelId="{A1F1B654-B16F-4216-A94E-BC0C8F1A3F23}" type="presOf" srcId="{2D5E84E3-6387-4C41-97C5-31404EF0F50F}" destId="{D251CDC6-473E-4C0C-8358-C62AFDD8A33A}" srcOrd="0" destOrd="0" presId="urn:microsoft.com/office/officeart/2008/layout/HorizontalMultiLevelHierarchy"/>
    <dgm:cxn modelId="{46FBFD77-DDBB-4FE3-BC5B-ECD64B29FEDB}" type="presOf" srcId="{CF2784EF-C24B-43EC-AFB6-6197E21C22A3}" destId="{092C0294-93F2-4EFF-89E2-F3E6F95ECBD6}" srcOrd="0" destOrd="0" presId="urn:microsoft.com/office/officeart/2008/layout/HorizontalMultiLevelHierarchy"/>
    <dgm:cxn modelId="{63DF3E83-F663-4C68-AB60-00DD56E87F8A}" srcId="{2D5E84E3-6387-4C41-97C5-31404EF0F50F}" destId="{9C5ED564-0EEB-4B94-966A-D54A64482382}" srcOrd="2" destOrd="0" parTransId="{E2639076-6B36-4AC8-8BF6-78715ED4E721}" sibTransId="{6F69185B-0F81-4AEC-9A50-73E0251CE9E5}"/>
    <dgm:cxn modelId="{E1EA1E89-498A-4200-A95F-18B5896A74FD}" type="presOf" srcId="{7798AEC1-7F3B-4389-A4CB-3C2CCDE6522B}" destId="{30614BD2-8777-4D25-9563-23FAD973089F}" srcOrd="0" destOrd="0" presId="urn:microsoft.com/office/officeart/2008/layout/HorizontalMultiLevelHierarchy"/>
    <dgm:cxn modelId="{03D63E97-B195-433E-A1E8-74D479645E4E}" type="presOf" srcId="{555ECAB1-1955-4E67-9F38-CC6CBB14F1F7}" destId="{63958213-6BA0-427F-AB36-7AE6CF3C24D8}" srcOrd="1" destOrd="0" presId="urn:microsoft.com/office/officeart/2008/layout/HorizontalMultiLevelHierarchy"/>
    <dgm:cxn modelId="{1EA7A0A3-5000-4B84-97BC-B2F527FBF83A}" type="presOf" srcId="{677DC5EA-AA83-46BB-B509-32544962B8FF}" destId="{1DCF50C8-6E8B-49E1-B1C0-3DD6AAEE0664}" srcOrd="0" destOrd="0" presId="urn:microsoft.com/office/officeart/2008/layout/HorizontalMultiLevelHierarchy"/>
    <dgm:cxn modelId="{456050B2-D6C5-4DE3-A72C-E70C7077CBB9}" type="presOf" srcId="{1DE6F683-4953-44E2-AE30-B408EEF5F5D8}" destId="{97DDF086-9F53-49F6-968A-0C0F93498973}" srcOrd="0" destOrd="0" presId="urn:microsoft.com/office/officeart/2008/layout/HorizontalMultiLevelHierarchy"/>
    <dgm:cxn modelId="{4D11ECB8-C2E6-4E56-886A-6E2376947044}" type="presOf" srcId="{E2639076-6B36-4AC8-8BF6-78715ED4E721}" destId="{3EA9F431-0BC8-4D92-922A-787F158A1EA2}" srcOrd="0" destOrd="0" presId="urn:microsoft.com/office/officeart/2008/layout/HorizontalMultiLevelHierarchy"/>
    <dgm:cxn modelId="{1FCD53BB-A015-4275-A7C1-D96D7AB774E8}" type="presOf" srcId="{E2639076-6B36-4AC8-8BF6-78715ED4E721}" destId="{D177073E-9257-441D-8987-8CDE1A0E281E}" srcOrd="1" destOrd="0" presId="urn:microsoft.com/office/officeart/2008/layout/HorizontalMultiLevelHierarchy"/>
    <dgm:cxn modelId="{C04D4EBC-F755-41CC-A2E8-208DC6894C41}" type="presOf" srcId="{0BE827C8-5F27-49DC-9FB2-DC395FA3EA3D}" destId="{D53E9439-0D7B-40D8-B901-A4BBA0979F66}" srcOrd="0" destOrd="0" presId="urn:microsoft.com/office/officeart/2008/layout/HorizontalMultiLevelHierarchy"/>
    <dgm:cxn modelId="{2848A9BC-2B55-44E8-9895-3FDC317A6857}" type="presOf" srcId="{03ACD197-7473-471D-8166-98C425889730}" destId="{7E461053-43E3-4BA4-AA74-F9EDA1199766}" srcOrd="1" destOrd="0" presId="urn:microsoft.com/office/officeart/2008/layout/HorizontalMultiLevelHierarchy"/>
    <dgm:cxn modelId="{94D93AC5-367C-436B-8A2A-023F2CC39193}" srcId="{2D5E84E3-6387-4C41-97C5-31404EF0F50F}" destId="{B2F15D9E-615A-4A2C-BD52-0CBB5640F2B7}" srcOrd="1" destOrd="0" parTransId="{03ACD197-7473-471D-8166-98C425889730}" sibTransId="{5727FFCE-7EFF-43A0-9573-F0C04760D7B4}"/>
    <dgm:cxn modelId="{B049AFCC-272F-4801-ADBC-4B8F863BFC86}" type="presOf" srcId="{CF2784EF-C24B-43EC-AFB6-6197E21C22A3}" destId="{F5171271-6C9A-49F5-9F53-9BB009575086}" srcOrd="1" destOrd="0" presId="urn:microsoft.com/office/officeart/2008/layout/HorizontalMultiLevelHierarchy"/>
    <dgm:cxn modelId="{E8CE09CF-571A-4683-9049-B7F9312905BC}" type="presOf" srcId="{4E3561C2-1943-455E-90D4-7A692777BD75}" destId="{835DF156-A2E3-43E6-9648-07507852C0B4}" srcOrd="1" destOrd="0" presId="urn:microsoft.com/office/officeart/2008/layout/HorizontalMultiLevelHierarchy"/>
    <dgm:cxn modelId="{FBA39CCF-0D72-40BB-8F9B-4A4B5EACF3D5}" type="presOf" srcId="{8B1AD02C-FC2C-44D5-9BE2-2D8540C79F09}" destId="{F241F863-D788-4B29-91DB-425303EA9FED}" srcOrd="0" destOrd="0" presId="urn:microsoft.com/office/officeart/2008/layout/HorizontalMultiLevelHierarchy"/>
    <dgm:cxn modelId="{03142AD2-D83D-4980-9AC9-F5B1CE02390F}" type="presOf" srcId="{7798AEC1-7F3B-4389-A4CB-3C2CCDE6522B}" destId="{73ED3572-91B7-4216-B5B7-A40E2719327D}" srcOrd="1" destOrd="0" presId="urn:microsoft.com/office/officeart/2008/layout/HorizontalMultiLevelHierarchy"/>
    <dgm:cxn modelId="{3CC594D7-46A6-42FE-B0ED-FE103C673B7E}" srcId="{BA2FD9DF-8348-44E9-BC2C-90C3840E7B9E}" destId="{992D7F61-2D5F-4B2C-9E28-98951EAD4B13}" srcOrd="1" destOrd="0" parTransId="{1A0FD549-A0BF-4D01-B7CC-A83FB2B2C0BE}" sibTransId="{E13693E9-A800-47D2-9BF9-0A69BB1F5976}"/>
    <dgm:cxn modelId="{2099C5D8-11BB-446D-AEBE-83FB25F4F68B}" type="presOf" srcId="{35F9669E-A948-40B4-AA1F-9B97E3E3123A}" destId="{5BC5D2F0-E044-4B78-9AB8-648BA54E9FF9}" srcOrd="0" destOrd="0" presId="urn:microsoft.com/office/officeart/2008/layout/HorizontalMultiLevelHierarchy"/>
    <dgm:cxn modelId="{F06823DA-1B94-46C6-9FE0-8667FE79992A}" type="presOf" srcId="{0173693E-B536-4D93-8AAD-70EDE01CE1B1}" destId="{5341277A-242B-4F93-82CB-B13CC0E6ACDF}" srcOrd="0" destOrd="0" presId="urn:microsoft.com/office/officeart/2008/layout/HorizontalMultiLevelHierarchy"/>
    <dgm:cxn modelId="{83765FDB-364E-47D5-8A2F-19FE4ACEF0BC}" type="presOf" srcId="{9C5ED564-0EEB-4B94-966A-D54A64482382}" destId="{4FC1AC1E-DBA7-44A6-9E6D-33DDE0091D6D}" srcOrd="0" destOrd="0" presId="urn:microsoft.com/office/officeart/2008/layout/HorizontalMultiLevelHierarchy"/>
    <dgm:cxn modelId="{648381E1-AC92-4BCC-B569-5AC82E1F3095}" srcId="{35F9669E-A948-40B4-AA1F-9B97E3E3123A}" destId="{0BE827C8-5F27-49DC-9FB2-DC395FA3EA3D}" srcOrd="0" destOrd="0" parTransId="{B1C7E5C5-028D-446C-9863-FCD1D8E1ABF9}" sibTransId="{0E9B365B-68D8-4873-932F-9A6FDEFE5540}"/>
    <dgm:cxn modelId="{967954F8-30A5-4438-AA6D-2E64002616D5}" srcId="{BA2FD9DF-8348-44E9-BC2C-90C3840E7B9E}" destId="{1DE6F683-4953-44E2-AE30-B408EEF5F5D8}" srcOrd="0" destOrd="0" parTransId="{4E3561C2-1943-455E-90D4-7A692777BD75}" sibTransId="{2AB4EBAA-2C34-4339-9D70-D0A05948159D}"/>
    <dgm:cxn modelId="{7AD1ACFB-3D76-489A-9B08-52EF48928361}" type="presOf" srcId="{555ECAB1-1955-4E67-9F38-CC6CBB14F1F7}" destId="{F3CDFDBA-318C-49CB-9A5E-4756C88BBBE0}" srcOrd="0" destOrd="0" presId="urn:microsoft.com/office/officeart/2008/layout/HorizontalMultiLevelHierarchy"/>
    <dgm:cxn modelId="{231E185F-2A0A-4831-A889-A167BBF9A7CE}" type="presParOf" srcId="{5BC5D2F0-E044-4B78-9AB8-648BA54E9FF9}" destId="{89E8A1FC-7DB3-4286-A65F-E0AA3205D8D5}" srcOrd="0" destOrd="0" presId="urn:microsoft.com/office/officeart/2008/layout/HorizontalMultiLevelHierarchy"/>
    <dgm:cxn modelId="{EF6ABF14-8F3C-48F8-9190-68BF6FCD5280}" type="presParOf" srcId="{89E8A1FC-7DB3-4286-A65F-E0AA3205D8D5}" destId="{D53E9439-0D7B-40D8-B901-A4BBA0979F66}" srcOrd="0" destOrd="0" presId="urn:microsoft.com/office/officeart/2008/layout/HorizontalMultiLevelHierarchy"/>
    <dgm:cxn modelId="{D6ED5F48-1AF8-4EE7-B2E0-CFDB7D69FE81}" type="presParOf" srcId="{89E8A1FC-7DB3-4286-A65F-E0AA3205D8D5}" destId="{A85C84F2-B28C-47E6-B173-439F88C3A7C6}" srcOrd="1" destOrd="0" presId="urn:microsoft.com/office/officeart/2008/layout/HorizontalMultiLevelHierarchy"/>
    <dgm:cxn modelId="{6A52F69A-FA2E-4808-AFE5-70331A6C7C95}" type="presParOf" srcId="{A85C84F2-B28C-47E6-B173-439F88C3A7C6}" destId="{717BDEA5-A096-4F33-A6BD-00B0958AC94F}" srcOrd="0" destOrd="0" presId="urn:microsoft.com/office/officeart/2008/layout/HorizontalMultiLevelHierarchy"/>
    <dgm:cxn modelId="{83FDDAF6-AD3B-46DF-B980-8E5057FFC4C4}" type="presParOf" srcId="{717BDEA5-A096-4F33-A6BD-00B0958AC94F}" destId="{950EFD41-0487-477F-8657-C39315EFEDDD}" srcOrd="0" destOrd="0" presId="urn:microsoft.com/office/officeart/2008/layout/HorizontalMultiLevelHierarchy"/>
    <dgm:cxn modelId="{C57F13CB-4367-4A83-8389-324A01714F75}" type="presParOf" srcId="{A85C84F2-B28C-47E6-B173-439F88C3A7C6}" destId="{E1C62798-2234-4D26-BF9F-09A66C9AAECC}" srcOrd="1" destOrd="0" presId="urn:microsoft.com/office/officeart/2008/layout/HorizontalMultiLevelHierarchy"/>
    <dgm:cxn modelId="{144EF0C4-CF69-4192-AF41-4D8443080375}" type="presParOf" srcId="{E1C62798-2234-4D26-BF9F-09A66C9AAECC}" destId="{D251CDC6-473E-4C0C-8358-C62AFDD8A33A}" srcOrd="0" destOrd="0" presId="urn:microsoft.com/office/officeart/2008/layout/HorizontalMultiLevelHierarchy"/>
    <dgm:cxn modelId="{2A74C83B-3C89-4B0B-AB9A-04356C80144D}" type="presParOf" srcId="{E1C62798-2234-4D26-BF9F-09A66C9AAECC}" destId="{B723176C-EFA4-4895-BCCE-AA600188CC82}" srcOrd="1" destOrd="0" presId="urn:microsoft.com/office/officeart/2008/layout/HorizontalMultiLevelHierarchy"/>
    <dgm:cxn modelId="{2C2E419C-B38F-4107-8635-3986D200C835}" type="presParOf" srcId="{B723176C-EFA4-4895-BCCE-AA600188CC82}" destId="{2FF4D689-323F-4B28-A4D8-5108E2507D7D}" srcOrd="0" destOrd="0" presId="urn:microsoft.com/office/officeart/2008/layout/HorizontalMultiLevelHierarchy"/>
    <dgm:cxn modelId="{78013250-9AA6-4757-A36D-9CBCCCC7EFEE}" type="presParOf" srcId="{2FF4D689-323F-4B28-A4D8-5108E2507D7D}" destId="{22F51297-E784-4D0F-864B-4409011F06DE}" srcOrd="0" destOrd="0" presId="urn:microsoft.com/office/officeart/2008/layout/HorizontalMultiLevelHierarchy"/>
    <dgm:cxn modelId="{C8E3B2AB-04D8-4CCD-A8DA-F877FCF8EAEA}" type="presParOf" srcId="{B723176C-EFA4-4895-BCCE-AA600188CC82}" destId="{01DD9B8A-FD42-44DB-A39A-1BDFC11FDC9B}" srcOrd="1" destOrd="0" presId="urn:microsoft.com/office/officeart/2008/layout/HorizontalMultiLevelHierarchy"/>
    <dgm:cxn modelId="{673EB377-DBBD-4402-87E2-E994D1F4F824}" type="presParOf" srcId="{01DD9B8A-FD42-44DB-A39A-1BDFC11FDC9B}" destId="{5341277A-242B-4F93-82CB-B13CC0E6ACDF}" srcOrd="0" destOrd="0" presId="urn:microsoft.com/office/officeart/2008/layout/HorizontalMultiLevelHierarchy"/>
    <dgm:cxn modelId="{9B442F12-D83F-4A52-9A2A-AC121528867D}" type="presParOf" srcId="{01DD9B8A-FD42-44DB-A39A-1BDFC11FDC9B}" destId="{0C7F0389-4D2F-4925-A9D7-8CFBB66BA557}" srcOrd="1" destOrd="0" presId="urn:microsoft.com/office/officeart/2008/layout/HorizontalMultiLevelHierarchy"/>
    <dgm:cxn modelId="{C61D5928-8496-4258-89DD-74BBD6873BD2}" type="presParOf" srcId="{0C7F0389-4D2F-4925-A9D7-8CFBB66BA557}" destId="{092C0294-93F2-4EFF-89E2-F3E6F95ECBD6}" srcOrd="0" destOrd="0" presId="urn:microsoft.com/office/officeart/2008/layout/HorizontalMultiLevelHierarchy"/>
    <dgm:cxn modelId="{B0CC0C85-224D-45F5-9367-97FB7065BECC}" type="presParOf" srcId="{092C0294-93F2-4EFF-89E2-F3E6F95ECBD6}" destId="{F5171271-6C9A-49F5-9F53-9BB009575086}" srcOrd="0" destOrd="0" presId="urn:microsoft.com/office/officeart/2008/layout/HorizontalMultiLevelHierarchy"/>
    <dgm:cxn modelId="{3EFC4A8F-B148-4D3B-9A63-34C4CCA48F66}" type="presParOf" srcId="{0C7F0389-4D2F-4925-A9D7-8CFBB66BA557}" destId="{7E6A3C6B-9FC5-4329-A287-C61741A15906}" srcOrd="1" destOrd="0" presId="urn:microsoft.com/office/officeart/2008/layout/HorizontalMultiLevelHierarchy"/>
    <dgm:cxn modelId="{7AF70A6C-97BB-4A43-A16D-8E113E4D809F}" type="presParOf" srcId="{7E6A3C6B-9FC5-4329-A287-C61741A15906}" destId="{1DCF50C8-6E8B-49E1-B1C0-3DD6AAEE0664}" srcOrd="0" destOrd="0" presId="urn:microsoft.com/office/officeart/2008/layout/HorizontalMultiLevelHierarchy"/>
    <dgm:cxn modelId="{189AFD41-E71A-4260-AA7D-DC235A9C3825}" type="presParOf" srcId="{7E6A3C6B-9FC5-4329-A287-C61741A15906}" destId="{7FC7B932-FBCA-4FF0-BED9-51F8EDF411B7}" srcOrd="1" destOrd="0" presId="urn:microsoft.com/office/officeart/2008/layout/HorizontalMultiLevelHierarchy"/>
    <dgm:cxn modelId="{241D503B-048D-498E-9105-E3E05E8F74EE}" type="presParOf" srcId="{0C7F0389-4D2F-4925-A9D7-8CFBB66BA557}" destId="{30614BD2-8777-4D25-9563-23FAD973089F}" srcOrd="2" destOrd="0" presId="urn:microsoft.com/office/officeart/2008/layout/HorizontalMultiLevelHierarchy"/>
    <dgm:cxn modelId="{F34D7FBC-FC18-4786-9412-CBC2DF539704}" type="presParOf" srcId="{30614BD2-8777-4D25-9563-23FAD973089F}" destId="{73ED3572-91B7-4216-B5B7-A40E2719327D}" srcOrd="0" destOrd="0" presId="urn:microsoft.com/office/officeart/2008/layout/HorizontalMultiLevelHierarchy"/>
    <dgm:cxn modelId="{32A38C11-6837-4E98-8613-0B4E4219781C}" type="presParOf" srcId="{0C7F0389-4D2F-4925-A9D7-8CFBB66BA557}" destId="{BFFAC8F0-34F1-4D35-9E36-1B87D3B1B7BA}" srcOrd="3" destOrd="0" presId="urn:microsoft.com/office/officeart/2008/layout/HorizontalMultiLevelHierarchy"/>
    <dgm:cxn modelId="{4504DBAA-39F5-43B5-9CB3-CD941220C6E8}" type="presParOf" srcId="{BFFAC8F0-34F1-4D35-9E36-1B87D3B1B7BA}" destId="{F241F863-D788-4B29-91DB-425303EA9FED}" srcOrd="0" destOrd="0" presId="urn:microsoft.com/office/officeart/2008/layout/HorizontalMultiLevelHierarchy"/>
    <dgm:cxn modelId="{374CA00E-152D-4371-A67C-C8B68182FD44}" type="presParOf" srcId="{BFFAC8F0-34F1-4D35-9E36-1B87D3B1B7BA}" destId="{C798B320-0D30-440C-A70D-AA88C38B4A9E}" srcOrd="1" destOrd="0" presId="urn:microsoft.com/office/officeart/2008/layout/HorizontalMultiLevelHierarchy"/>
    <dgm:cxn modelId="{5D2D3422-6CA4-4514-8C98-51852BBCEE2E}" type="presParOf" srcId="{0C7F0389-4D2F-4925-A9D7-8CFBB66BA557}" destId="{F3CDFDBA-318C-49CB-9A5E-4756C88BBBE0}" srcOrd="4" destOrd="0" presId="urn:microsoft.com/office/officeart/2008/layout/HorizontalMultiLevelHierarchy"/>
    <dgm:cxn modelId="{11507968-1FC2-4386-A58E-F91CD6779B28}" type="presParOf" srcId="{F3CDFDBA-318C-49CB-9A5E-4756C88BBBE0}" destId="{63958213-6BA0-427F-AB36-7AE6CF3C24D8}" srcOrd="0" destOrd="0" presId="urn:microsoft.com/office/officeart/2008/layout/HorizontalMultiLevelHierarchy"/>
    <dgm:cxn modelId="{3351BA67-618D-429B-B7C4-42C36FA3D5EB}" type="presParOf" srcId="{0C7F0389-4D2F-4925-A9D7-8CFBB66BA557}" destId="{1D131081-3B0F-4622-A05B-1B607C924260}" srcOrd="5" destOrd="0" presId="urn:microsoft.com/office/officeart/2008/layout/HorizontalMultiLevelHierarchy"/>
    <dgm:cxn modelId="{2AE9894A-1591-4614-800B-6A1CC9A35848}" type="presParOf" srcId="{1D131081-3B0F-4622-A05B-1B607C924260}" destId="{DFC5266C-4520-422F-9199-6A18EF588B20}" srcOrd="0" destOrd="0" presId="urn:microsoft.com/office/officeart/2008/layout/HorizontalMultiLevelHierarchy"/>
    <dgm:cxn modelId="{DB79517B-F6FA-4CAB-A450-A977E715A235}" type="presParOf" srcId="{1D131081-3B0F-4622-A05B-1B607C924260}" destId="{F38A67AD-D525-4F0C-9534-75D19794F783}" srcOrd="1" destOrd="0" presId="urn:microsoft.com/office/officeart/2008/layout/HorizontalMultiLevelHierarchy"/>
    <dgm:cxn modelId="{AACB2260-B86E-4CD6-B2CE-DB4B972D5314}" type="presParOf" srcId="{B723176C-EFA4-4895-BCCE-AA600188CC82}" destId="{2A1F2FD7-ABDB-4C79-A68F-52986F489F1C}" srcOrd="2" destOrd="0" presId="urn:microsoft.com/office/officeart/2008/layout/HorizontalMultiLevelHierarchy"/>
    <dgm:cxn modelId="{30DD1700-2911-4BCE-9E3D-3F00979207D9}" type="presParOf" srcId="{2A1F2FD7-ABDB-4C79-A68F-52986F489F1C}" destId="{7E461053-43E3-4BA4-AA74-F9EDA1199766}" srcOrd="0" destOrd="0" presId="urn:microsoft.com/office/officeart/2008/layout/HorizontalMultiLevelHierarchy"/>
    <dgm:cxn modelId="{8A724875-4224-4361-B7D1-8BD61C33D7A1}" type="presParOf" srcId="{B723176C-EFA4-4895-BCCE-AA600188CC82}" destId="{5EFE0FB9-F166-4490-AF21-F719541F8420}" srcOrd="3" destOrd="0" presId="urn:microsoft.com/office/officeart/2008/layout/HorizontalMultiLevelHierarchy"/>
    <dgm:cxn modelId="{D759E9D6-FE69-4C36-98D6-CEDFB37294BF}" type="presParOf" srcId="{5EFE0FB9-F166-4490-AF21-F719541F8420}" destId="{038D1ADC-1484-436E-A870-F24713E6348D}" srcOrd="0" destOrd="0" presId="urn:microsoft.com/office/officeart/2008/layout/HorizontalMultiLevelHierarchy"/>
    <dgm:cxn modelId="{61C67E6A-E26D-439D-8760-D72A83F764E0}" type="presParOf" srcId="{5EFE0FB9-F166-4490-AF21-F719541F8420}" destId="{BEB6D6B0-E7B3-401A-80D0-A9FB88123A47}" srcOrd="1" destOrd="0" presId="urn:microsoft.com/office/officeart/2008/layout/HorizontalMultiLevelHierarchy"/>
    <dgm:cxn modelId="{A74CB75C-2035-4DF4-A11C-C19AD122BBBB}" type="presParOf" srcId="{B723176C-EFA4-4895-BCCE-AA600188CC82}" destId="{3EA9F431-0BC8-4D92-922A-787F158A1EA2}" srcOrd="4" destOrd="0" presId="urn:microsoft.com/office/officeart/2008/layout/HorizontalMultiLevelHierarchy"/>
    <dgm:cxn modelId="{A90B4642-B1C6-45FB-95B5-89969B94F01D}" type="presParOf" srcId="{3EA9F431-0BC8-4D92-922A-787F158A1EA2}" destId="{D177073E-9257-441D-8987-8CDE1A0E281E}" srcOrd="0" destOrd="0" presId="urn:microsoft.com/office/officeart/2008/layout/HorizontalMultiLevelHierarchy"/>
    <dgm:cxn modelId="{7A7664B0-F2E7-4222-895D-ADE607587DF7}" type="presParOf" srcId="{B723176C-EFA4-4895-BCCE-AA600188CC82}" destId="{383523E3-F0DF-42AE-BA1F-409910FCD0B4}" srcOrd="5" destOrd="0" presId="urn:microsoft.com/office/officeart/2008/layout/HorizontalMultiLevelHierarchy"/>
    <dgm:cxn modelId="{C48F165B-FE2A-4B03-835A-A2F8358015E8}" type="presParOf" srcId="{383523E3-F0DF-42AE-BA1F-409910FCD0B4}" destId="{4FC1AC1E-DBA7-44A6-9E6D-33DDE0091D6D}" srcOrd="0" destOrd="0" presId="urn:microsoft.com/office/officeart/2008/layout/HorizontalMultiLevelHierarchy"/>
    <dgm:cxn modelId="{1A418840-A9F9-4B4A-BD1C-0BFB5FC3F408}" type="presParOf" srcId="{383523E3-F0DF-42AE-BA1F-409910FCD0B4}" destId="{7F539247-B118-4AA3-AE84-3A624762880A}" srcOrd="1" destOrd="0" presId="urn:microsoft.com/office/officeart/2008/layout/HorizontalMultiLevelHierarchy"/>
    <dgm:cxn modelId="{E39C553D-BE64-437C-A727-52472BE968F4}" type="presParOf" srcId="{A85C84F2-B28C-47E6-B173-439F88C3A7C6}" destId="{DEED7496-39EF-4241-A041-E74A9CCAC5A2}" srcOrd="2" destOrd="0" presId="urn:microsoft.com/office/officeart/2008/layout/HorizontalMultiLevelHierarchy"/>
    <dgm:cxn modelId="{B98D926D-EB0C-4C39-9411-B888EC56BB17}" type="presParOf" srcId="{DEED7496-39EF-4241-A041-E74A9CCAC5A2}" destId="{089C3E94-CED9-4EAF-9393-97663605FAE5}" srcOrd="0" destOrd="0" presId="urn:microsoft.com/office/officeart/2008/layout/HorizontalMultiLevelHierarchy"/>
    <dgm:cxn modelId="{0800EF01-9E3C-4701-9F9F-471DC1680662}" type="presParOf" srcId="{A85C84F2-B28C-47E6-B173-439F88C3A7C6}" destId="{00DC0786-E8DF-45FC-BFB4-5E26CD1A1672}" srcOrd="3" destOrd="0" presId="urn:microsoft.com/office/officeart/2008/layout/HorizontalMultiLevelHierarchy"/>
    <dgm:cxn modelId="{1FD0133A-F244-4C1B-8A4B-E2CF5A3895F2}" type="presParOf" srcId="{00DC0786-E8DF-45FC-BFB4-5E26CD1A1672}" destId="{7B5BCB98-25D7-45FB-BAE0-E9E595DDBCD1}" srcOrd="0" destOrd="0" presId="urn:microsoft.com/office/officeart/2008/layout/HorizontalMultiLevelHierarchy"/>
    <dgm:cxn modelId="{5BA37EAF-2DB0-49D5-AF72-A61C6D276F89}" type="presParOf" srcId="{00DC0786-E8DF-45FC-BFB4-5E26CD1A1672}" destId="{5EECFB2E-CDBB-41CE-A1F3-29A8E51747FA}" srcOrd="1" destOrd="0" presId="urn:microsoft.com/office/officeart/2008/layout/HorizontalMultiLevelHierarchy"/>
    <dgm:cxn modelId="{12706090-1BA4-4D1F-81C2-868B9546035E}" type="presParOf" srcId="{5EECFB2E-CDBB-41CE-A1F3-29A8E51747FA}" destId="{7171028D-A4F2-4DDD-BA35-973361B081E6}" srcOrd="0" destOrd="0" presId="urn:microsoft.com/office/officeart/2008/layout/HorizontalMultiLevelHierarchy"/>
    <dgm:cxn modelId="{14D593CC-2427-4CBE-9C20-2D1E2FCCC046}" type="presParOf" srcId="{7171028D-A4F2-4DDD-BA35-973361B081E6}" destId="{835DF156-A2E3-43E6-9648-07507852C0B4}" srcOrd="0" destOrd="0" presId="urn:microsoft.com/office/officeart/2008/layout/HorizontalMultiLevelHierarchy"/>
    <dgm:cxn modelId="{33C2620A-1A39-44F7-B3C4-00BC550BC320}" type="presParOf" srcId="{5EECFB2E-CDBB-41CE-A1F3-29A8E51747FA}" destId="{1156DAD3-B374-4ED2-BF5A-490F38A4BAD4}" srcOrd="1" destOrd="0" presId="urn:microsoft.com/office/officeart/2008/layout/HorizontalMultiLevelHierarchy"/>
    <dgm:cxn modelId="{9B7A4BEC-82C2-4456-8156-7990F99CE5DF}" type="presParOf" srcId="{1156DAD3-B374-4ED2-BF5A-490F38A4BAD4}" destId="{97DDF086-9F53-49F6-968A-0C0F93498973}" srcOrd="0" destOrd="0" presId="urn:microsoft.com/office/officeart/2008/layout/HorizontalMultiLevelHierarchy"/>
    <dgm:cxn modelId="{9248C47D-91B3-42A4-983E-B285E171FBB8}" type="presParOf" srcId="{1156DAD3-B374-4ED2-BF5A-490F38A4BAD4}" destId="{43A49DC0-6D35-4D9F-8A5B-EC9D2352C13E}" srcOrd="1" destOrd="0" presId="urn:microsoft.com/office/officeart/2008/layout/HorizontalMultiLevelHierarchy"/>
    <dgm:cxn modelId="{2EBD4A11-EE57-420C-8253-2B0AC8E6AB7E}" type="presParOf" srcId="{5EECFB2E-CDBB-41CE-A1F3-29A8E51747FA}" destId="{5ABBF729-BA95-44DF-815B-E9A66C24E454}" srcOrd="2" destOrd="0" presId="urn:microsoft.com/office/officeart/2008/layout/HorizontalMultiLevelHierarchy"/>
    <dgm:cxn modelId="{9B72869A-FB88-4E9E-B2DD-EDE25A673F2C}" type="presParOf" srcId="{5ABBF729-BA95-44DF-815B-E9A66C24E454}" destId="{D99CA88F-3F19-40C8-A17A-FC50F9FCA928}" srcOrd="0" destOrd="0" presId="urn:microsoft.com/office/officeart/2008/layout/HorizontalMultiLevelHierarchy"/>
    <dgm:cxn modelId="{817A0137-4FF2-49E2-9E91-42FC11911D6C}" type="presParOf" srcId="{5EECFB2E-CDBB-41CE-A1F3-29A8E51747FA}" destId="{2B849262-CB0F-4A07-B2AB-DFB431F0BC2C}" srcOrd="3" destOrd="0" presId="urn:microsoft.com/office/officeart/2008/layout/HorizontalMultiLevelHierarchy"/>
    <dgm:cxn modelId="{42BABCD6-54BB-4FEB-8543-2CAC577FAEDC}" type="presParOf" srcId="{2B849262-CB0F-4A07-B2AB-DFB431F0BC2C}" destId="{7D0ADB5D-F4EF-4406-B274-87C8BC093185}" srcOrd="0" destOrd="0" presId="urn:microsoft.com/office/officeart/2008/layout/HorizontalMultiLevelHierarchy"/>
    <dgm:cxn modelId="{DD057465-D9C0-4EC8-AA6C-826F25529E1B}" type="presParOf" srcId="{2B849262-CB0F-4A07-B2AB-DFB431F0BC2C}" destId="{BDEDA4C9-E4FF-4E1C-8750-08EFC1F2DF56}" srcOrd="1" destOrd="0" presId="urn:microsoft.com/office/officeart/2008/layout/HorizontalMultiLevelHierarchy"/>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E13C0BE-1EC7-46BD-9D3F-CFC2F4B470C7}" type="doc">
      <dgm:prSet loTypeId="urn:microsoft.com/office/officeart/2005/8/layout/orgChart1" loCatId="hierarchy" qsTypeId="urn:microsoft.com/office/officeart/2005/8/quickstyle/simple1" qsCatId="simple" csTypeId="urn:microsoft.com/office/officeart/2005/8/colors/accent1_1" csCatId="accent1" phldr="1"/>
      <dgm:spPr/>
      <dgm:t>
        <a:bodyPr/>
        <a:lstStyle/>
        <a:p>
          <a:endParaRPr lang="en-US"/>
        </a:p>
      </dgm:t>
    </dgm:pt>
    <dgm:pt modelId="{85B8E9C7-C3C2-4F47-8FF2-FF1957D8A2C9}">
      <dgm:prSet phldrT="[Text]" custT="1"/>
      <dgm:spPr/>
      <dgm:t>
        <a:bodyPr/>
        <a:lstStyle/>
        <a:p>
          <a:pPr algn="ctr"/>
          <a:r>
            <a:rPr lang="en-US" sz="1600" b="1" dirty="0">
              <a:latin typeface="Century Gothic" panose="020B0502020202020204" pitchFamily="34" charset="0"/>
            </a:rPr>
            <a:t>Synchromesh</a:t>
          </a:r>
        </a:p>
      </dgm:t>
    </dgm:pt>
    <dgm:pt modelId="{02764C56-CAD0-4CBD-B119-EE3A0919464F}" type="parTrans" cxnId="{335D81A4-8F64-446B-8901-24C819C99221}">
      <dgm:prSet/>
      <dgm:spPr/>
      <dgm:t>
        <a:bodyPr/>
        <a:lstStyle/>
        <a:p>
          <a:pPr algn="ctr"/>
          <a:endParaRPr lang="en-US" sz="1600" b="1">
            <a:latin typeface="Century Gothic" panose="020B0502020202020204" pitchFamily="34" charset="0"/>
          </a:endParaRPr>
        </a:p>
      </dgm:t>
    </dgm:pt>
    <dgm:pt modelId="{3DCB29F5-3E0E-4991-A7F2-141892436433}" type="sibTrans" cxnId="{335D81A4-8F64-446B-8901-24C819C99221}">
      <dgm:prSet/>
      <dgm:spPr/>
      <dgm:t>
        <a:bodyPr/>
        <a:lstStyle/>
        <a:p>
          <a:pPr algn="ctr"/>
          <a:endParaRPr lang="en-US" sz="1600" b="1">
            <a:latin typeface="Century Gothic" panose="020B0502020202020204" pitchFamily="34" charset="0"/>
          </a:endParaRPr>
        </a:p>
      </dgm:t>
    </dgm:pt>
    <dgm:pt modelId="{170C2C20-9E70-4353-B890-40BF6D3BCE14}">
      <dgm:prSet phldrT="[Text]" custT="1"/>
      <dgm:spPr/>
      <dgm:t>
        <a:bodyPr/>
        <a:lstStyle/>
        <a:p>
          <a:pPr algn="ctr"/>
          <a:r>
            <a:rPr lang="en-US" sz="1600" b="1" dirty="0">
              <a:latin typeface="Century Gothic" panose="020B0502020202020204" pitchFamily="34" charset="0"/>
            </a:rPr>
            <a:t>ZF</a:t>
          </a:r>
        </a:p>
      </dgm:t>
    </dgm:pt>
    <dgm:pt modelId="{1B307953-CD98-48F3-91B2-45DC66B30E19}" type="parTrans" cxnId="{DB23B08B-99D0-45F4-AAB8-8AE070AF2460}">
      <dgm:prSet/>
      <dgm:spPr/>
      <dgm:t>
        <a:bodyPr/>
        <a:lstStyle/>
        <a:p>
          <a:pPr algn="ctr"/>
          <a:endParaRPr lang="en-US" sz="1600" b="1">
            <a:latin typeface="Century Gothic" panose="020B0502020202020204" pitchFamily="34" charset="0"/>
          </a:endParaRPr>
        </a:p>
      </dgm:t>
    </dgm:pt>
    <dgm:pt modelId="{040F7114-24C4-4DB9-B05E-0933B39F8CD7}" type="sibTrans" cxnId="{DB23B08B-99D0-45F4-AAB8-8AE070AF2460}">
      <dgm:prSet/>
      <dgm:spPr/>
      <dgm:t>
        <a:bodyPr/>
        <a:lstStyle/>
        <a:p>
          <a:pPr algn="ctr"/>
          <a:endParaRPr lang="en-US" sz="1600" b="1">
            <a:latin typeface="Century Gothic" panose="020B0502020202020204" pitchFamily="34" charset="0"/>
          </a:endParaRPr>
        </a:p>
      </dgm:t>
    </dgm:pt>
    <dgm:pt modelId="{25B8CA0D-CDE5-4E25-A0C0-23381DCE82D8}">
      <dgm:prSet phldrT="[Text]" custT="1"/>
      <dgm:spPr/>
      <dgm:t>
        <a:bodyPr/>
        <a:lstStyle/>
        <a:p>
          <a:pPr algn="ctr"/>
          <a:r>
            <a:rPr lang="en-US" sz="1600" b="1" dirty="0">
              <a:latin typeface="Century Gothic" panose="020B0502020202020204" pitchFamily="34" charset="0"/>
            </a:rPr>
            <a:t>6MT 86</a:t>
          </a:r>
        </a:p>
      </dgm:t>
    </dgm:pt>
    <dgm:pt modelId="{0C7710DC-B93E-4792-9A94-EA37C736A370}" type="parTrans" cxnId="{448DA721-726D-484B-A9B1-E028137BDB9C}">
      <dgm:prSet/>
      <dgm:spPr/>
      <dgm:t>
        <a:bodyPr/>
        <a:lstStyle/>
        <a:p>
          <a:endParaRPr lang="en-US" sz="1600">
            <a:latin typeface="Century Gothic" panose="020B0502020202020204" pitchFamily="34" charset="0"/>
          </a:endParaRPr>
        </a:p>
      </dgm:t>
    </dgm:pt>
    <dgm:pt modelId="{11CFD39F-AA1B-4E5F-89A0-934C0D7AB072}" type="sibTrans" cxnId="{448DA721-726D-484B-A9B1-E028137BDB9C}">
      <dgm:prSet/>
      <dgm:spPr/>
      <dgm:t>
        <a:bodyPr/>
        <a:lstStyle/>
        <a:p>
          <a:endParaRPr lang="en-US" sz="1600">
            <a:latin typeface="Century Gothic" panose="020B0502020202020204" pitchFamily="34" charset="0"/>
          </a:endParaRPr>
        </a:p>
      </dgm:t>
    </dgm:pt>
    <dgm:pt modelId="{E6DFE12B-09BA-42F6-82E6-65F93648DB8B}">
      <dgm:prSet phldrT="[Text]" custT="1"/>
      <dgm:spPr/>
      <dgm:t>
        <a:bodyPr/>
        <a:lstStyle/>
        <a:p>
          <a:pPr algn="ctr"/>
          <a:r>
            <a:rPr lang="en-US" sz="1600" b="1" dirty="0">
              <a:latin typeface="Century Gothic" panose="020B0502020202020204" pitchFamily="34" charset="0"/>
            </a:rPr>
            <a:t>630 Nm</a:t>
          </a:r>
        </a:p>
      </dgm:t>
    </dgm:pt>
    <dgm:pt modelId="{CFCB6D28-69B2-4DB1-B0E6-F1B78F5FC88F}" type="parTrans" cxnId="{9FCE305B-0F0A-4A56-8E16-A002C83FC0DB}">
      <dgm:prSet/>
      <dgm:spPr/>
      <dgm:t>
        <a:bodyPr/>
        <a:lstStyle/>
        <a:p>
          <a:endParaRPr lang="en-US" sz="1600">
            <a:latin typeface="Century Gothic" panose="020B0502020202020204" pitchFamily="34" charset="0"/>
          </a:endParaRPr>
        </a:p>
      </dgm:t>
    </dgm:pt>
    <dgm:pt modelId="{972BE603-981E-4040-99D5-E665C6C046EE}" type="sibTrans" cxnId="{9FCE305B-0F0A-4A56-8E16-A002C83FC0DB}">
      <dgm:prSet/>
      <dgm:spPr/>
      <dgm:t>
        <a:bodyPr/>
        <a:lstStyle/>
        <a:p>
          <a:endParaRPr lang="en-US" sz="1600">
            <a:latin typeface="Century Gothic" panose="020B0502020202020204" pitchFamily="34" charset="0"/>
          </a:endParaRPr>
        </a:p>
      </dgm:t>
    </dgm:pt>
    <dgm:pt modelId="{3D823B65-C696-4598-BCD3-6D36A783D256}">
      <dgm:prSet phldrT="[Text]" custT="1"/>
      <dgm:spPr/>
      <dgm:t>
        <a:bodyPr/>
        <a:lstStyle/>
        <a:p>
          <a:pPr algn="ctr"/>
          <a:r>
            <a:rPr lang="en-US" sz="1600" b="1" dirty="0">
              <a:latin typeface="Century Gothic" panose="020B0502020202020204" pitchFamily="34" charset="0"/>
            </a:rPr>
            <a:t>850 Nm</a:t>
          </a:r>
        </a:p>
      </dgm:t>
    </dgm:pt>
    <dgm:pt modelId="{6D9604BA-72C2-4446-96D1-D430FB6BB817}" type="parTrans" cxnId="{18BC51F1-9908-4360-894B-8595E55951B2}">
      <dgm:prSet/>
      <dgm:spPr/>
      <dgm:t>
        <a:bodyPr/>
        <a:lstStyle/>
        <a:p>
          <a:endParaRPr lang="en-US" sz="1600">
            <a:latin typeface="Century Gothic" panose="020B0502020202020204" pitchFamily="34" charset="0"/>
          </a:endParaRPr>
        </a:p>
      </dgm:t>
    </dgm:pt>
    <dgm:pt modelId="{E6EA5F0A-B123-41D5-802F-14A28241D3C6}" type="sibTrans" cxnId="{18BC51F1-9908-4360-894B-8595E55951B2}">
      <dgm:prSet/>
      <dgm:spPr/>
      <dgm:t>
        <a:bodyPr/>
        <a:lstStyle/>
        <a:p>
          <a:endParaRPr lang="en-US" sz="1600">
            <a:latin typeface="Century Gothic" panose="020B0502020202020204" pitchFamily="34" charset="0"/>
          </a:endParaRPr>
        </a:p>
      </dgm:t>
    </dgm:pt>
    <dgm:pt modelId="{CEA2E164-5745-45EC-B603-F72F31477614}">
      <dgm:prSet phldrT="[Text]" custT="1"/>
      <dgm:spPr/>
      <dgm:t>
        <a:bodyPr/>
        <a:lstStyle/>
        <a:p>
          <a:pPr algn="ctr"/>
          <a:r>
            <a:rPr lang="en-US" sz="1600" b="1" dirty="0">
              <a:latin typeface="Century Gothic" panose="020B0502020202020204" pitchFamily="34" charset="0"/>
            </a:rPr>
            <a:t>1100 Nm</a:t>
          </a:r>
        </a:p>
      </dgm:t>
    </dgm:pt>
    <dgm:pt modelId="{E6B49580-AD9A-44FA-B8A0-397B3C6DF1A1}" type="parTrans" cxnId="{FA1ED26D-8F3E-43D5-AEDC-5A82875BBC25}">
      <dgm:prSet/>
      <dgm:spPr/>
      <dgm:t>
        <a:bodyPr/>
        <a:lstStyle/>
        <a:p>
          <a:endParaRPr lang="en-US" sz="1600">
            <a:latin typeface="Century Gothic" panose="020B0502020202020204" pitchFamily="34" charset="0"/>
          </a:endParaRPr>
        </a:p>
      </dgm:t>
    </dgm:pt>
    <dgm:pt modelId="{5F4E50BF-AE65-4924-972E-E490D00F2611}" type="sibTrans" cxnId="{FA1ED26D-8F3E-43D5-AEDC-5A82875BBC25}">
      <dgm:prSet/>
      <dgm:spPr/>
      <dgm:t>
        <a:bodyPr/>
        <a:lstStyle/>
        <a:p>
          <a:endParaRPr lang="en-US" sz="1600">
            <a:latin typeface="Century Gothic" panose="020B0502020202020204" pitchFamily="34" charset="0"/>
          </a:endParaRPr>
        </a:p>
      </dgm:t>
    </dgm:pt>
    <dgm:pt modelId="{D0C607B1-29F2-44B2-AA69-36FE5744E5F1}">
      <dgm:prSet phldrT="[Text]" custT="1"/>
      <dgm:spPr/>
      <dgm:t>
        <a:bodyPr/>
        <a:lstStyle/>
        <a:p>
          <a:pPr algn="ctr"/>
          <a:r>
            <a:rPr lang="en-US" sz="1600" b="0" dirty="0">
              <a:latin typeface="Century Gothic" panose="020B0502020202020204" pitchFamily="34" charset="0"/>
            </a:rPr>
            <a:t>8S 1100</a:t>
          </a:r>
        </a:p>
      </dgm:t>
    </dgm:pt>
    <dgm:pt modelId="{2BA89C03-D6B1-4788-9712-E66775693A70}" type="parTrans" cxnId="{4799F1B8-38DB-404D-9528-08CE334B12B7}">
      <dgm:prSet/>
      <dgm:spPr/>
      <dgm:t>
        <a:bodyPr/>
        <a:lstStyle/>
        <a:p>
          <a:endParaRPr lang="en-US" sz="1600">
            <a:latin typeface="Century Gothic" panose="020B0502020202020204" pitchFamily="34" charset="0"/>
          </a:endParaRPr>
        </a:p>
      </dgm:t>
    </dgm:pt>
    <dgm:pt modelId="{F20C09C0-EF7E-48FF-B8BC-96D1A19AD4B1}" type="sibTrans" cxnId="{4799F1B8-38DB-404D-9528-08CE334B12B7}">
      <dgm:prSet/>
      <dgm:spPr/>
      <dgm:t>
        <a:bodyPr/>
        <a:lstStyle/>
        <a:p>
          <a:endParaRPr lang="en-US" sz="1600">
            <a:latin typeface="Century Gothic" panose="020B0502020202020204" pitchFamily="34" charset="0"/>
          </a:endParaRPr>
        </a:p>
      </dgm:t>
    </dgm:pt>
    <dgm:pt modelId="{47463072-000B-414E-ADCC-B83E22E690F0}">
      <dgm:prSet phldrT="[Text]" custT="1"/>
      <dgm:spPr/>
      <dgm:t>
        <a:bodyPr/>
        <a:lstStyle/>
        <a:p>
          <a:pPr algn="ctr"/>
          <a:r>
            <a:rPr lang="en-US" sz="1600" b="0" dirty="0">
              <a:latin typeface="Century Gothic" panose="020B0502020202020204" pitchFamily="34" charset="0"/>
            </a:rPr>
            <a:t>9S 1100</a:t>
          </a:r>
        </a:p>
      </dgm:t>
    </dgm:pt>
    <dgm:pt modelId="{B86643C5-903D-4C28-8D6F-850715F0BC39}" type="parTrans" cxnId="{CDC1564E-B9E4-4409-8902-FB4A36EBCD30}">
      <dgm:prSet/>
      <dgm:spPr/>
      <dgm:t>
        <a:bodyPr/>
        <a:lstStyle/>
        <a:p>
          <a:endParaRPr lang="en-US" sz="1600">
            <a:latin typeface="Century Gothic" panose="020B0502020202020204" pitchFamily="34" charset="0"/>
          </a:endParaRPr>
        </a:p>
      </dgm:t>
    </dgm:pt>
    <dgm:pt modelId="{9CE46A91-069D-46B2-919D-4B3D25CA71AD}" type="sibTrans" cxnId="{CDC1564E-B9E4-4409-8902-FB4A36EBCD30}">
      <dgm:prSet/>
      <dgm:spPr/>
      <dgm:t>
        <a:bodyPr/>
        <a:lstStyle/>
        <a:p>
          <a:endParaRPr lang="en-US" sz="1600">
            <a:latin typeface="Century Gothic" panose="020B0502020202020204" pitchFamily="34" charset="0"/>
          </a:endParaRPr>
        </a:p>
      </dgm:t>
    </dgm:pt>
    <dgm:pt modelId="{1E4A85C2-04ED-4F98-8D7F-ACDBA99A0AB9}">
      <dgm:prSet phldrT="[Text]" custT="1"/>
      <dgm:spPr/>
      <dgm:t>
        <a:bodyPr/>
        <a:lstStyle/>
        <a:p>
          <a:pPr algn="ctr"/>
          <a:r>
            <a:rPr lang="en-US" sz="1600" b="0" dirty="0">
              <a:latin typeface="Century Gothic" panose="020B0502020202020204" pitchFamily="34" charset="0"/>
            </a:rPr>
            <a:t>6S 850 DD/OD</a:t>
          </a:r>
        </a:p>
      </dgm:t>
    </dgm:pt>
    <dgm:pt modelId="{5C6FA074-AEAA-40E9-860C-198A171C550B}" type="parTrans" cxnId="{7BEF3096-1C91-4E7F-A843-F596018C153B}">
      <dgm:prSet/>
      <dgm:spPr/>
      <dgm:t>
        <a:bodyPr/>
        <a:lstStyle/>
        <a:p>
          <a:endParaRPr lang="en-US" sz="1600">
            <a:latin typeface="Century Gothic" panose="020B0502020202020204" pitchFamily="34" charset="0"/>
          </a:endParaRPr>
        </a:p>
      </dgm:t>
    </dgm:pt>
    <dgm:pt modelId="{2AC839C8-4FFA-44AA-ABB9-8273F47B7E78}" type="sibTrans" cxnId="{7BEF3096-1C91-4E7F-A843-F596018C153B}">
      <dgm:prSet/>
      <dgm:spPr/>
      <dgm:t>
        <a:bodyPr/>
        <a:lstStyle/>
        <a:p>
          <a:endParaRPr lang="en-US" sz="1600">
            <a:latin typeface="Century Gothic" panose="020B0502020202020204" pitchFamily="34" charset="0"/>
          </a:endParaRPr>
        </a:p>
      </dgm:t>
    </dgm:pt>
    <dgm:pt modelId="{AFD2C8D2-E402-46BE-AFD1-9D6C773D76BF}">
      <dgm:prSet phldrT="[Text]" custT="1"/>
      <dgm:spPr/>
      <dgm:t>
        <a:bodyPr/>
        <a:lstStyle/>
        <a:p>
          <a:pPr algn="ctr"/>
          <a:r>
            <a:rPr lang="en-US" sz="1600" b="0" dirty="0">
              <a:latin typeface="Century Gothic" panose="020B0502020202020204" pitchFamily="34" charset="0"/>
            </a:rPr>
            <a:t>S5- 36 DD/OD</a:t>
          </a:r>
        </a:p>
      </dgm:t>
    </dgm:pt>
    <dgm:pt modelId="{4EE1317D-3464-4118-8F9A-468B60F8F1FC}" type="parTrans" cxnId="{D329DA0D-1997-47CC-82F8-6A66773382DC}">
      <dgm:prSet/>
      <dgm:spPr/>
      <dgm:t>
        <a:bodyPr/>
        <a:lstStyle/>
        <a:p>
          <a:endParaRPr lang="en-US" sz="1600">
            <a:latin typeface="Century Gothic" panose="020B0502020202020204" pitchFamily="34" charset="0"/>
          </a:endParaRPr>
        </a:p>
      </dgm:t>
    </dgm:pt>
    <dgm:pt modelId="{A1C0CE93-D75E-4508-BCE3-D4DE6598B709}" type="sibTrans" cxnId="{D329DA0D-1997-47CC-82F8-6A66773382DC}">
      <dgm:prSet/>
      <dgm:spPr/>
      <dgm:t>
        <a:bodyPr/>
        <a:lstStyle/>
        <a:p>
          <a:endParaRPr lang="en-US" sz="1600">
            <a:latin typeface="Century Gothic" panose="020B0502020202020204" pitchFamily="34" charset="0"/>
          </a:endParaRPr>
        </a:p>
      </dgm:t>
    </dgm:pt>
    <dgm:pt modelId="{B123A269-C63B-4F3F-8647-50E6CAA32275}">
      <dgm:prSet phldrT="[Text]" custT="1"/>
      <dgm:spPr/>
      <dgm:t>
        <a:bodyPr/>
        <a:lstStyle/>
        <a:p>
          <a:pPr algn="ctr"/>
          <a:r>
            <a:rPr lang="en-US" sz="1600" b="0" dirty="0">
              <a:latin typeface="Century Gothic" panose="020B0502020202020204" pitchFamily="34" charset="0"/>
            </a:rPr>
            <a:t>S6- 36 DD/OD</a:t>
          </a:r>
        </a:p>
      </dgm:t>
    </dgm:pt>
    <dgm:pt modelId="{2ED09ACF-0A97-4454-98F8-7A73C5B60545}" type="parTrans" cxnId="{23A2BA11-DA62-4476-9805-E2FC25AFB1C2}">
      <dgm:prSet/>
      <dgm:spPr/>
      <dgm:t>
        <a:bodyPr/>
        <a:lstStyle/>
        <a:p>
          <a:endParaRPr lang="en-US" sz="1600">
            <a:latin typeface="Century Gothic" panose="020B0502020202020204" pitchFamily="34" charset="0"/>
          </a:endParaRPr>
        </a:p>
      </dgm:t>
    </dgm:pt>
    <dgm:pt modelId="{7354AF2A-7CCC-4465-AF5A-2772CE9F8144}" type="sibTrans" cxnId="{23A2BA11-DA62-4476-9805-E2FC25AFB1C2}">
      <dgm:prSet/>
      <dgm:spPr/>
      <dgm:t>
        <a:bodyPr/>
        <a:lstStyle/>
        <a:p>
          <a:endParaRPr lang="en-US" sz="1600">
            <a:latin typeface="Century Gothic" panose="020B0502020202020204" pitchFamily="34" charset="0"/>
          </a:endParaRPr>
        </a:p>
      </dgm:t>
    </dgm:pt>
    <dgm:pt modelId="{2F701BB5-BD15-4C5E-A1A4-3AC98086A879}">
      <dgm:prSet phldrT="[Text]" custT="1"/>
      <dgm:spPr/>
      <dgm:t>
        <a:bodyPr/>
        <a:lstStyle/>
        <a:p>
          <a:pPr algn="ctr"/>
          <a:r>
            <a:rPr lang="en-US" sz="1600" b="1" dirty="0">
              <a:latin typeface="Century Gothic" panose="020B0502020202020204" pitchFamily="34" charset="0"/>
            </a:rPr>
            <a:t>Sliding Mesh (Obsolete) </a:t>
          </a:r>
        </a:p>
      </dgm:t>
    </dgm:pt>
    <dgm:pt modelId="{9BA8B008-5150-43A0-81D0-AA45B43719A7}" type="parTrans" cxnId="{950137B2-A894-4480-A125-ED4C6BDBE398}">
      <dgm:prSet/>
      <dgm:spPr/>
      <dgm:t>
        <a:bodyPr/>
        <a:lstStyle/>
        <a:p>
          <a:endParaRPr lang="en-US" sz="1600">
            <a:latin typeface="Century Gothic" panose="020B0502020202020204" pitchFamily="34" charset="0"/>
          </a:endParaRPr>
        </a:p>
      </dgm:t>
    </dgm:pt>
    <dgm:pt modelId="{320F9CA1-06F7-4ED4-89C6-4879EE6998C2}" type="sibTrans" cxnId="{950137B2-A894-4480-A125-ED4C6BDBE398}">
      <dgm:prSet/>
      <dgm:spPr/>
      <dgm:t>
        <a:bodyPr/>
        <a:lstStyle/>
        <a:p>
          <a:endParaRPr lang="en-US" sz="1600">
            <a:latin typeface="Century Gothic" panose="020B0502020202020204" pitchFamily="34" charset="0"/>
          </a:endParaRPr>
        </a:p>
      </dgm:t>
    </dgm:pt>
    <dgm:pt modelId="{7466164A-20E2-47C5-BD4E-79CB2A1655B0}">
      <dgm:prSet phldrT="[Text]" custT="1"/>
      <dgm:spPr/>
      <dgm:t>
        <a:bodyPr/>
        <a:lstStyle/>
        <a:p>
          <a:pPr algn="ctr"/>
          <a:r>
            <a:rPr lang="en-US" sz="1600" b="1" dirty="0">
              <a:latin typeface="Century Gothic" panose="020B0502020202020204" pitchFamily="34" charset="0"/>
            </a:rPr>
            <a:t>Constant Mesh</a:t>
          </a:r>
        </a:p>
        <a:p>
          <a:pPr algn="ctr"/>
          <a:r>
            <a:rPr lang="en-US" sz="1600" b="1" dirty="0">
              <a:latin typeface="Century Gothic" panose="020B0502020202020204" pitchFamily="34" charset="0"/>
            </a:rPr>
            <a:t>(Obsolete)</a:t>
          </a:r>
        </a:p>
      </dgm:t>
    </dgm:pt>
    <dgm:pt modelId="{8D589456-A9C9-47AE-82E8-32D57DBCECF0}" type="parTrans" cxnId="{5621CD09-FA6C-413B-BF1C-74A0655B8DBB}">
      <dgm:prSet/>
      <dgm:spPr/>
      <dgm:t>
        <a:bodyPr/>
        <a:lstStyle/>
        <a:p>
          <a:endParaRPr lang="en-US" sz="1600">
            <a:latin typeface="Century Gothic" panose="020B0502020202020204" pitchFamily="34" charset="0"/>
          </a:endParaRPr>
        </a:p>
      </dgm:t>
    </dgm:pt>
    <dgm:pt modelId="{48AF87DE-5324-4F1E-A05E-9EAB888DB2D1}" type="sibTrans" cxnId="{5621CD09-FA6C-413B-BF1C-74A0655B8DBB}">
      <dgm:prSet/>
      <dgm:spPr/>
      <dgm:t>
        <a:bodyPr/>
        <a:lstStyle/>
        <a:p>
          <a:endParaRPr lang="en-US" sz="1600">
            <a:latin typeface="Century Gothic" panose="020B0502020202020204" pitchFamily="34" charset="0"/>
          </a:endParaRPr>
        </a:p>
      </dgm:t>
    </dgm:pt>
    <dgm:pt modelId="{67ECEAAD-793F-41AC-8192-000716DA7A69}">
      <dgm:prSet phldrT="[Text]" custT="1"/>
      <dgm:spPr/>
      <dgm:t>
        <a:bodyPr/>
        <a:lstStyle/>
        <a:p>
          <a:pPr algn="ctr"/>
          <a:r>
            <a:rPr lang="en-US" sz="1600" b="1" dirty="0">
              <a:latin typeface="Century Gothic" panose="020B0502020202020204" pitchFamily="34" charset="0"/>
            </a:rPr>
            <a:t>GEAR BOX</a:t>
          </a:r>
        </a:p>
      </dgm:t>
    </dgm:pt>
    <dgm:pt modelId="{BB14D28F-D1C5-4CCC-BEF2-456FDAEF3BF1}" type="parTrans" cxnId="{288717EF-EA82-4432-875D-E0B50EFF9DCF}">
      <dgm:prSet/>
      <dgm:spPr/>
      <dgm:t>
        <a:bodyPr/>
        <a:lstStyle/>
        <a:p>
          <a:endParaRPr lang="en-US" sz="1600">
            <a:latin typeface="Century Gothic" panose="020B0502020202020204" pitchFamily="34" charset="0"/>
          </a:endParaRPr>
        </a:p>
      </dgm:t>
    </dgm:pt>
    <dgm:pt modelId="{2EB5F4CF-E816-4F18-AEC3-02B77EC937E7}" type="sibTrans" cxnId="{288717EF-EA82-4432-875D-E0B50EFF9DCF}">
      <dgm:prSet/>
      <dgm:spPr/>
      <dgm:t>
        <a:bodyPr/>
        <a:lstStyle/>
        <a:p>
          <a:endParaRPr lang="en-US" sz="1600">
            <a:latin typeface="Century Gothic" panose="020B0502020202020204" pitchFamily="34" charset="0"/>
          </a:endParaRPr>
        </a:p>
      </dgm:t>
    </dgm:pt>
    <dgm:pt modelId="{61F1040C-CA8A-4000-B6AF-59B47914EAB0}">
      <dgm:prSet phldrT="[Text]" custT="1"/>
      <dgm:spPr/>
      <dgm:t>
        <a:bodyPr/>
        <a:lstStyle/>
        <a:p>
          <a:pPr algn="ctr"/>
          <a:r>
            <a:rPr lang="en-US" sz="1600" b="1" dirty="0">
              <a:latin typeface="Century Gothic" panose="020B0502020202020204" pitchFamily="34" charset="0"/>
            </a:rPr>
            <a:t>AMT</a:t>
          </a:r>
        </a:p>
      </dgm:t>
    </dgm:pt>
    <dgm:pt modelId="{14ADC15C-C8BE-441E-A525-343EFC4057E9}" type="parTrans" cxnId="{D60C9D88-576B-446B-927A-220CFA2C9DFB}">
      <dgm:prSet/>
      <dgm:spPr/>
      <dgm:t>
        <a:bodyPr/>
        <a:lstStyle/>
        <a:p>
          <a:endParaRPr lang="en-US" sz="1600">
            <a:latin typeface="Century Gothic" panose="020B0502020202020204" pitchFamily="34" charset="0"/>
          </a:endParaRPr>
        </a:p>
      </dgm:t>
    </dgm:pt>
    <dgm:pt modelId="{10DAB3A4-C18B-4D06-A7F6-62E4EA7D14BF}" type="sibTrans" cxnId="{D60C9D88-576B-446B-927A-220CFA2C9DFB}">
      <dgm:prSet/>
      <dgm:spPr/>
      <dgm:t>
        <a:bodyPr/>
        <a:lstStyle/>
        <a:p>
          <a:endParaRPr lang="en-US" sz="1600">
            <a:latin typeface="Century Gothic" panose="020B0502020202020204" pitchFamily="34" charset="0"/>
          </a:endParaRPr>
        </a:p>
      </dgm:t>
    </dgm:pt>
    <dgm:pt modelId="{6760A39D-3975-48B4-A2FE-3F5FD015EEB4}">
      <dgm:prSet phldrT="[Text]" custT="1"/>
      <dgm:spPr/>
      <dgm:t>
        <a:bodyPr/>
        <a:lstStyle/>
        <a:p>
          <a:pPr algn="ctr"/>
          <a:r>
            <a:rPr lang="en-US" sz="1600" b="1" dirty="0">
              <a:latin typeface="Century Gothic" panose="020B0502020202020204" pitchFamily="34" charset="0"/>
            </a:rPr>
            <a:t>ZF 6S</a:t>
          </a:r>
        </a:p>
      </dgm:t>
    </dgm:pt>
    <dgm:pt modelId="{FCA9E796-7D29-4419-869D-2B5DCF44576D}" type="parTrans" cxnId="{0D7ACCEB-D6D7-4492-A6A1-6412D7FEB17D}">
      <dgm:prSet/>
      <dgm:spPr/>
      <dgm:t>
        <a:bodyPr/>
        <a:lstStyle/>
        <a:p>
          <a:endParaRPr lang="en-US" sz="1600">
            <a:latin typeface="Century Gothic" panose="020B0502020202020204" pitchFamily="34" charset="0"/>
          </a:endParaRPr>
        </a:p>
      </dgm:t>
    </dgm:pt>
    <dgm:pt modelId="{F956A24D-9631-416A-895D-32B51D54EC22}" type="sibTrans" cxnId="{0D7ACCEB-D6D7-4492-A6A1-6412D7FEB17D}">
      <dgm:prSet/>
      <dgm:spPr/>
      <dgm:t>
        <a:bodyPr/>
        <a:lstStyle/>
        <a:p>
          <a:endParaRPr lang="en-US" sz="1600">
            <a:latin typeface="Century Gothic" panose="020B0502020202020204" pitchFamily="34" charset="0"/>
          </a:endParaRPr>
        </a:p>
      </dgm:t>
    </dgm:pt>
    <dgm:pt modelId="{CC165776-AD3D-4DA5-9475-9D362464DBFB}">
      <dgm:prSet phldrT="[Text]" custT="1"/>
      <dgm:spPr/>
      <dgm:t>
        <a:bodyPr/>
        <a:lstStyle/>
        <a:p>
          <a:pPr algn="ctr"/>
          <a:r>
            <a:rPr lang="en-US" sz="1600" b="1" dirty="0">
              <a:latin typeface="Century Gothic" panose="020B0502020202020204" pitchFamily="34" charset="0"/>
            </a:rPr>
            <a:t>ZF 9S</a:t>
          </a:r>
        </a:p>
      </dgm:t>
    </dgm:pt>
    <dgm:pt modelId="{BD558841-1277-4FBA-AB6B-3EF4130533F6}" type="parTrans" cxnId="{F109B06D-E633-462E-A35C-F867399598B6}">
      <dgm:prSet/>
      <dgm:spPr/>
      <dgm:t>
        <a:bodyPr/>
        <a:lstStyle/>
        <a:p>
          <a:endParaRPr lang="en-US" sz="1600">
            <a:latin typeface="Century Gothic" panose="020B0502020202020204" pitchFamily="34" charset="0"/>
          </a:endParaRPr>
        </a:p>
      </dgm:t>
    </dgm:pt>
    <dgm:pt modelId="{30F3804B-6B20-4DD1-81DD-BAA595DB8E9F}" type="sibTrans" cxnId="{F109B06D-E633-462E-A35C-F867399598B6}">
      <dgm:prSet/>
      <dgm:spPr/>
      <dgm:t>
        <a:bodyPr/>
        <a:lstStyle/>
        <a:p>
          <a:endParaRPr lang="en-US" sz="1600">
            <a:latin typeface="Century Gothic" panose="020B0502020202020204" pitchFamily="34" charset="0"/>
          </a:endParaRPr>
        </a:p>
      </dgm:t>
    </dgm:pt>
    <dgm:pt modelId="{2FF34804-E8ED-46CA-B049-40DE79E56577}">
      <dgm:prSet phldrT="[Text]" custT="1"/>
      <dgm:spPr/>
      <dgm:t>
        <a:bodyPr/>
        <a:lstStyle/>
        <a:p>
          <a:pPr algn="ctr"/>
          <a:r>
            <a:rPr lang="en-US" sz="1600" b="1" dirty="0">
              <a:latin typeface="Century Gothic" panose="020B0502020202020204" pitchFamily="34" charset="0"/>
            </a:rPr>
            <a:t>ALGB 940</a:t>
          </a:r>
        </a:p>
      </dgm:t>
    </dgm:pt>
    <dgm:pt modelId="{DB22AC0C-38C8-4C5D-AA47-113D0B934129}" type="parTrans" cxnId="{2BB89F19-BA06-43A8-B578-00A5CCC8C16B}">
      <dgm:prSet/>
      <dgm:spPr/>
      <dgm:t>
        <a:bodyPr/>
        <a:lstStyle/>
        <a:p>
          <a:endParaRPr lang="en-US" sz="1600">
            <a:latin typeface="Century Gothic" panose="020B0502020202020204" pitchFamily="34" charset="0"/>
          </a:endParaRPr>
        </a:p>
      </dgm:t>
    </dgm:pt>
    <dgm:pt modelId="{EBD7BD71-39F9-4D54-A8AB-69F92B89C8EA}" type="sibTrans" cxnId="{2BB89F19-BA06-43A8-B578-00A5CCC8C16B}">
      <dgm:prSet/>
      <dgm:spPr/>
      <dgm:t>
        <a:bodyPr/>
        <a:lstStyle/>
        <a:p>
          <a:endParaRPr lang="en-US" sz="1600">
            <a:latin typeface="Century Gothic" panose="020B0502020202020204" pitchFamily="34" charset="0"/>
          </a:endParaRPr>
        </a:p>
      </dgm:t>
    </dgm:pt>
    <dgm:pt modelId="{03461173-AE03-4111-A186-25C2E136C6AC}" type="pres">
      <dgm:prSet presAssocID="{CE13C0BE-1EC7-46BD-9D3F-CFC2F4B470C7}" presName="hierChild1" presStyleCnt="0">
        <dgm:presLayoutVars>
          <dgm:orgChart val="1"/>
          <dgm:chPref val="1"/>
          <dgm:dir/>
          <dgm:animOne val="branch"/>
          <dgm:animLvl val="lvl"/>
          <dgm:resizeHandles/>
        </dgm:presLayoutVars>
      </dgm:prSet>
      <dgm:spPr/>
    </dgm:pt>
    <dgm:pt modelId="{AF9F1A6A-8471-4543-BFAA-BC762AAE4C56}" type="pres">
      <dgm:prSet presAssocID="{67ECEAAD-793F-41AC-8192-000716DA7A69}" presName="hierRoot1" presStyleCnt="0">
        <dgm:presLayoutVars>
          <dgm:hierBranch val="init"/>
        </dgm:presLayoutVars>
      </dgm:prSet>
      <dgm:spPr/>
    </dgm:pt>
    <dgm:pt modelId="{18162657-A8C4-4589-84EA-C0116CB65C2E}" type="pres">
      <dgm:prSet presAssocID="{67ECEAAD-793F-41AC-8192-000716DA7A69}" presName="rootComposite1" presStyleCnt="0"/>
      <dgm:spPr/>
    </dgm:pt>
    <dgm:pt modelId="{8A166E83-92E6-4ADE-9AEE-A4D700CED0DB}" type="pres">
      <dgm:prSet presAssocID="{67ECEAAD-793F-41AC-8192-000716DA7A69}" presName="rootText1" presStyleLbl="node0" presStyleIdx="0" presStyleCnt="1" custScaleX="65947" custScaleY="49831">
        <dgm:presLayoutVars>
          <dgm:chPref val="3"/>
        </dgm:presLayoutVars>
      </dgm:prSet>
      <dgm:spPr/>
    </dgm:pt>
    <dgm:pt modelId="{0D1C6531-1C4B-493E-AB79-E01DF3E3AC9E}" type="pres">
      <dgm:prSet presAssocID="{67ECEAAD-793F-41AC-8192-000716DA7A69}" presName="rootConnector1" presStyleLbl="node1" presStyleIdx="0" presStyleCnt="0"/>
      <dgm:spPr/>
    </dgm:pt>
    <dgm:pt modelId="{F855DB9D-69CC-4FD5-A76C-A5A56E7FD1C1}" type="pres">
      <dgm:prSet presAssocID="{67ECEAAD-793F-41AC-8192-000716DA7A69}" presName="hierChild2" presStyleCnt="0"/>
      <dgm:spPr/>
    </dgm:pt>
    <dgm:pt modelId="{EA72FF5C-B350-45F4-A8EF-AA2B8B0F5D48}" type="pres">
      <dgm:prSet presAssocID="{9BA8B008-5150-43A0-81D0-AA45B43719A7}" presName="Name37" presStyleLbl="parChTrans1D2" presStyleIdx="0" presStyleCnt="4"/>
      <dgm:spPr/>
    </dgm:pt>
    <dgm:pt modelId="{110A6770-48C0-4142-B1A2-84F1EC9D7093}" type="pres">
      <dgm:prSet presAssocID="{2F701BB5-BD15-4C5E-A1A4-3AC98086A879}" presName="hierRoot2" presStyleCnt="0">
        <dgm:presLayoutVars>
          <dgm:hierBranch val="init"/>
        </dgm:presLayoutVars>
      </dgm:prSet>
      <dgm:spPr/>
    </dgm:pt>
    <dgm:pt modelId="{D627EA6B-C0AB-41D5-9634-CCBC1E36DC04}" type="pres">
      <dgm:prSet presAssocID="{2F701BB5-BD15-4C5E-A1A4-3AC98086A879}" presName="rootComposite" presStyleCnt="0"/>
      <dgm:spPr/>
    </dgm:pt>
    <dgm:pt modelId="{170B73CF-DFB4-42D9-A670-E6E1A0F3EDB9}" type="pres">
      <dgm:prSet presAssocID="{2F701BB5-BD15-4C5E-A1A4-3AC98086A879}" presName="rootText" presStyleLbl="node2" presStyleIdx="0" presStyleCnt="4" custScaleX="75919" custScaleY="60648" custLinFactNeighborX="-19836" custLinFactNeighborY="-38">
        <dgm:presLayoutVars>
          <dgm:chPref val="3"/>
        </dgm:presLayoutVars>
      </dgm:prSet>
      <dgm:spPr/>
    </dgm:pt>
    <dgm:pt modelId="{F7501867-9189-4920-AB04-9942EFCCC835}" type="pres">
      <dgm:prSet presAssocID="{2F701BB5-BD15-4C5E-A1A4-3AC98086A879}" presName="rootConnector" presStyleLbl="node2" presStyleIdx="0" presStyleCnt="4"/>
      <dgm:spPr/>
    </dgm:pt>
    <dgm:pt modelId="{025784DC-D034-4EE7-A808-327E7A2101BE}" type="pres">
      <dgm:prSet presAssocID="{2F701BB5-BD15-4C5E-A1A4-3AC98086A879}" presName="hierChild4" presStyleCnt="0"/>
      <dgm:spPr/>
    </dgm:pt>
    <dgm:pt modelId="{BE900E70-E699-4207-8EFB-0E4848F6CF91}" type="pres">
      <dgm:prSet presAssocID="{2F701BB5-BD15-4C5E-A1A4-3AC98086A879}" presName="hierChild5" presStyleCnt="0"/>
      <dgm:spPr/>
    </dgm:pt>
    <dgm:pt modelId="{594D7BD2-9B8C-435F-9D56-7B9000DA4BD0}" type="pres">
      <dgm:prSet presAssocID="{8D589456-A9C9-47AE-82E8-32D57DBCECF0}" presName="Name37" presStyleLbl="parChTrans1D2" presStyleIdx="1" presStyleCnt="4"/>
      <dgm:spPr/>
    </dgm:pt>
    <dgm:pt modelId="{ACEAE95E-A6C4-4202-844E-132A6E29D20B}" type="pres">
      <dgm:prSet presAssocID="{7466164A-20E2-47C5-BD4E-79CB2A1655B0}" presName="hierRoot2" presStyleCnt="0">
        <dgm:presLayoutVars>
          <dgm:hierBranch val="init"/>
        </dgm:presLayoutVars>
      </dgm:prSet>
      <dgm:spPr/>
    </dgm:pt>
    <dgm:pt modelId="{BCE52B05-31C9-44AB-AC41-268C36F05089}" type="pres">
      <dgm:prSet presAssocID="{7466164A-20E2-47C5-BD4E-79CB2A1655B0}" presName="rootComposite" presStyleCnt="0"/>
      <dgm:spPr/>
    </dgm:pt>
    <dgm:pt modelId="{65FDF074-A94C-47BA-A310-D0760B8C7562}" type="pres">
      <dgm:prSet presAssocID="{7466164A-20E2-47C5-BD4E-79CB2A1655B0}" presName="rootText" presStyleLbl="node2" presStyleIdx="1" presStyleCnt="4" custScaleX="85225" custScaleY="67563" custLinFactNeighborX="-10242">
        <dgm:presLayoutVars>
          <dgm:chPref val="3"/>
        </dgm:presLayoutVars>
      </dgm:prSet>
      <dgm:spPr/>
    </dgm:pt>
    <dgm:pt modelId="{C16F4867-82FB-407D-8B7B-512C24DDF75E}" type="pres">
      <dgm:prSet presAssocID="{7466164A-20E2-47C5-BD4E-79CB2A1655B0}" presName="rootConnector" presStyleLbl="node2" presStyleIdx="1" presStyleCnt="4"/>
      <dgm:spPr/>
    </dgm:pt>
    <dgm:pt modelId="{B8E8EDE5-8E11-4C37-BC96-ECECB81D6A16}" type="pres">
      <dgm:prSet presAssocID="{7466164A-20E2-47C5-BD4E-79CB2A1655B0}" presName="hierChild4" presStyleCnt="0"/>
      <dgm:spPr/>
    </dgm:pt>
    <dgm:pt modelId="{F458B71F-A9B6-4A98-9FF4-CC20DAF06B2F}" type="pres">
      <dgm:prSet presAssocID="{7466164A-20E2-47C5-BD4E-79CB2A1655B0}" presName="hierChild5" presStyleCnt="0"/>
      <dgm:spPr/>
    </dgm:pt>
    <dgm:pt modelId="{1E616F07-481B-440C-B773-02A217F2AFBD}" type="pres">
      <dgm:prSet presAssocID="{02764C56-CAD0-4CBD-B119-EE3A0919464F}" presName="Name37" presStyleLbl="parChTrans1D2" presStyleIdx="2" presStyleCnt="4"/>
      <dgm:spPr/>
    </dgm:pt>
    <dgm:pt modelId="{C07B61B4-1359-40CA-9C6F-5FF3FAF1BED3}" type="pres">
      <dgm:prSet presAssocID="{85B8E9C7-C3C2-4F47-8FF2-FF1957D8A2C9}" presName="hierRoot2" presStyleCnt="0">
        <dgm:presLayoutVars>
          <dgm:hierBranch val="init"/>
        </dgm:presLayoutVars>
      </dgm:prSet>
      <dgm:spPr/>
    </dgm:pt>
    <dgm:pt modelId="{A0CB8787-7943-4961-9BDF-925CF739C22F}" type="pres">
      <dgm:prSet presAssocID="{85B8E9C7-C3C2-4F47-8FF2-FF1957D8A2C9}" presName="rootComposite" presStyleCnt="0"/>
      <dgm:spPr/>
    </dgm:pt>
    <dgm:pt modelId="{4628112D-BB39-45FA-8000-43A8A90EA310}" type="pres">
      <dgm:prSet presAssocID="{85B8E9C7-C3C2-4F47-8FF2-FF1957D8A2C9}" presName="rootText" presStyleLbl="node2" presStyleIdx="2" presStyleCnt="4" custScaleX="79580" custScaleY="51987" custLinFactNeighborX="-7125">
        <dgm:presLayoutVars>
          <dgm:chPref val="3"/>
        </dgm:presLayoutVars>
      </dgm:prSet>
      <dgm:spPr/>
    </dgm:pt>
    <dgm:pt modelId="{F5894059-2AC2-45B3-BBCC-83EB31A6A34C}" type="pres">
      <dgm:prSet presAssocID="{85B8E9C7-C3C2-4F47-8FF2-FF1957D8A2C9}" presName="rootConnector" presStyleLbl="node2" presStyleIdx="2" presStyleCnt="4"/>
      <dgm:spPr/>
    </dgm:pt>
    <dgm:pt modelId="{ACDC378F-39C9-45CE-9007-D34542BB2D98}" type="pres">
      <dgm:prSet presAssocID="{85B8E9C7-C3C2-4F47-8FF2-FF1957D8A2C9}" presName="hierChild4" presStyleCnt="0"/>
      <dgm:spPr/>
    </dgm:pt>
    <dgm:pt modelId="{0C66EF18-2EC3-474A-BDE2-8EE1449AF839}" type="pres">
      <dgm:prSet presAssocID="{DB22AC0C-38C8-4C5D-AA47-113D0B934129}" presName="Name37" presStyleLbl="parChTrans1D3" presStyleIdx="0" presStyleCnt="5"/>
      <dgm:spPr/>
    </dgm:pt>
    <dgm:pt modelId="{1F052C00-B77E-483B-8C8E-7797C40A37C1}" type="pres">
      <dgm:prSet presAssocID="{2FF34804-E8ED-46CA-B049-40DE79E56577}" presName="hierRoot2" presStyleCnt="0">
        <dgm:presLayoutVars>
          <dgm:hierBranch val="init"/>
        </dgm:presLayoutVars>
      </dgm:prSet>
      <dgm:spPr/>
    </dgm:pt>
    <dgm:pt modelId="{CA14B216-480F-4660-ADD3-15850F0DBDE0}" type="pres">
      <dgm:prSet presAssocID="{2FF34804-E8ED-46CA-B049-40DE79E56577}" presName="rootComposite" presStyleCnt="0"/>
      <dgm:spPr/>
    </dgm:pt>
    <dgm:pt modelId="{71B5AA8E-1B65-4EC2-89F1-DB9EA8A98E31}" type="pres">
      <dgm:prSet presAssocID="{2FF34804-E8ED-46CA-B049-40DE79E56577}" presName="rootText" presStyleLbl="node3" presStyleIdx="0" presStyleCnt="5" custScaleX="62673" custScaleY="41734" custLinFactX="-24069" custLinFactNeighborX="-100000" custLinFactNeighborY="16876">
        <dgm:presLayoutVars>
          <dgm:chPref val="3"/>
        </dgm:presLayoutVars>
      </dgm:prSet>
      <dgm:spPr/>
    </dgm:pt>
    <dgm:pt modelId="{32203E48-D9BA-4606-8EC1-049A6ECE64B3}" type="pres">
      <dgm:prSet presAssocID="{2FF34804-E8ED-46CA-B049-40DE79E56577}" presName="rootConnector" presStyleLbl="node3" presStyleIdx="0" presStyleCnt="5"/>
      <dgm:spPr/>
    </dgm:pt>
    <dgm:pt modelId="{D6BD0501-D8DA-46D0-86E4-44057F229CA8}" type="pres">
      <dgm:prSet presAssocID="{2FF34804-E8ED-46CA-B049-40DE79E56577}" presName="hierChild4" presStyleCnt="0"/>
      <dgm:spPr/>
    </dgm:pt>
    <dgm:pt modelId="{F4D2692E-937B-448B-AEF9-48002BD0A7E0}" type="pres">
      <dgm:prSet presAssocID="{2FF34804-E8ED-46CA-B049-40DE79E56577}" presName="hierChild5" presStyleCnt="0"/>
      <dgm:spPr/>
    </dgm:pt>
    <dgm:pt modelId="{AD6A1F3C-E249-4AF5-82A8-8824BCE21D28}" type="pres">
      <dgm:prSet presAssocID="{1B307953-CD98-48F3-91B2-45DC66B30E19}" presName="Name37" presStyleLbl="parChTrans1D3" presStyleIdx="1" presStyleCnt="5"/>
      <dgm:spPr/>
    </dgm:pt>
    <dgm:pt modelId="{468253EC-B23F-4C3F-9C12-BBF2D1C4BEF7}" type="pres">
      <dgm:prSet presAssocID="{170C2C20-9E70-4353-B890-40BF6D3BCE14}" presName="hierRoot2" presStyleCnt="0">
        <dgm:presLayoutVars>
          <dgm:hierBranch val="init"/>
        </dgm:presLayoutVars>
      </dgm:prSet>
      <dgm:spPr/>
    </dgm:pt>
    <dgm:pt modelId="{691FA654-8418-4850-A7A2-DC872FCEB820}" type="pres">
      <dgm:prSet presAssocID="{170C2C20-9E70-4353-B890-40BF6D3BCE14}" presName="rootComposite" presStyleCnt="0"/>
      <dgm:spPr/>
    </dgm:pt>
    <dgm:pt modelId="{DFB0CE57-CD7D-4121-BF74-EF6E13B31647}" type="pres">
      <dgm:prSet presAssocID="{170C2C20-9E70-4353-B890-40BF6D3BCE14}" presName="rootText" presStyleLbl="node3" presStyleIdx="1" presStyleCnt="5" custScaleX="53138" custScaleY="40784" custLinFactNeighborX="-78511" custLinFactNeighborY="17493">
        <dgm:presLayoutVars>
          <dgm:chPref val="3"/>
        </dgm:presLayoutVars>
      </dgm:prSet>
      <dgm:spPr/>
    </dgm:pt>
    <dgm:pt modelId="{B3B96511-AB0A-457B-81BE-3DE1D7675730}" type="pres">
      <dgm:prSet presAssocID="{170C2C20-9E70-4353-B890-40BF6D3BCE14}" presName="rootConnector" presStyleLbl="node3" presStyleIdx="1" presStyleCnt="5"/>
      <dgm:spPr/>
    </dgm:pt>
    <dgm:pt modelId="{23C6D1B7-EA0B-44BA-AC0B-D7DF9A9A203A}" type="pres">
      <dgm:prSet presAssocID="{170C2C20-9E70-4353-B890-40BF6D3BCE14}" presName="hierChild4" presStyleCnt="0"/>
      <dgm:spPr/>
    </dgm:pt>
    <dgm:pt modelId="{52A67BFE-47C8-4FC1-BE21-F18798718F2D}" type="pres">
      <dgm:prSet presAssocID="{CFCB6D28-69B2-4DB1-B0E6-F1B78F5FC88F}" presName="Name37" presStyleLbl="parChTrans1D4" presStyleIdx="0" presStyleCnt="8"/>
      <dgm:spPr/>
    </dgm:pt>
    <dgm:pt modelId="{EDBEE296-0F06-4248-92BD-6021E7DA68F7}" type="pres">
      <dgm:prSet presAssocID="{E6DFE12B-09BA-42F6-82E6-65F93648DB8B}" presName="hierRoot2" presStyleCnt="0">
        <dgm:presLayoutVars>
          <dgm:hierBranch val="init"/>
        </dgm:presLayoutVars>
      </dgm:prSet>
      <dgm:spPr/>
    </dgm:pt>
    <dgm:pt modelId="{6F29961B-F222-4EE0-B827-BA0BA5BE97EA}" type="pres">
      <dgm:prSet presAssocID="{E6DFE12B-09BA-42F6-82E6-65F93648DB8B}" presName="rootComposite" presStyleCnt="0"/>
      <dgm:spPr/>
    </dgm:pt>
    <dgm:pt modelId="{579ABAB3-7FDB-4A06-AB6F-359BBA8F6A57}" type="pres">
      <dgm:prSet presAssocID="{E6DFE12B-09BA-42F6-82E6-65F93648DB8B}" presName="rootText" presStyleLbl="node4" presStyleIdx="0" presStyleCnt="8" custScaleX="46597" custScaleY="41242" custLinFactNeighborX="-60192" custLinFactNeighborY="33777">
        <dgm:presLayoutVars>
          <dgm:chPref val="3"/>
        </dgm:presLayoutVars>
      </dgm:prSet>
      <dgm:spPr/>
    </dgm:pt>
    <dgm:pt modelId="{360A7827-25A4-473E-9F6D-6E13A2CEC6EE}" type="pres">
      <dgm:prSet presAssocID="{E6DFE12B-09BA-42F6-82E6-65F93648DB8B}" presName="rootConnector" presStyleLbl="node4" presStyleIdx="0" presStyleCnt="8"/>
      <dgm:spPr/>
    </dgm:pt>
    <dgm:pt modelId="{112370D4-ED46-485B-9AB5-EF3280F97CC7}" type="pres">
      <dgm:prSet presAssocID="{E6DFE12B-09BA-42F6-82E6-65F93648DB8B}" presName="hierChild4" presStyleCnt="0"/>
      <dgm:spPr/>
    </dgm:pt>
    <dgm:pt modelId="{C4947F25-0F2D-4D9D-9069-AA8D954A2B9A}" type="pres">
      <dgm:prSet presAssocID="{4EE1317D-3464-4118-8F9A-468B60F8F1FC}" presName="Name37" presStyleLbl="parChTrans1D4" presStyleIdx="1" presStyleCnt="8"/>
      <dgm:spPr/>
    </dgm:pt>
    <dgm:pt modelId="{BF12B0C1-DAA6-4AFB-9C8D-607C3093BE1A}" type="pres">
      <dgm:prSet presAssocID="{AFD2C8D2-E402-46BE-AFD1-9D6C773D76BF}" presName="hierRoot2" presStyleCnt="0">
        <dgm:presLayoutVars>
          <dgm:hierBranch val="init"/>
        </dgm:presLayoutVars>
      </dgm:prSet>
      <dgm:spPr/>
    </dgm:pt>
    <dgm:pt modelId="{4A0CE45F-0B7D-44B2-868A-09C495057707}" type="pres">
      <dgm:prSet presAssocID="{AFD2C8D2-E402-46BE-AFD1-9D6C773D76BF}" presName="rootComposite" presStyleCnt="0"/>
      <dgm:spPr/>
    </dgm:pt>
    <dgm:pt modelId="{E09D9BB1-1553-4026-9D02-92B9A0573521}" type="pres">
      <dgm:prSet presAssocID="{AFD2C8D2-E402-46BE-AFD1-9D6C773D76BF}" presName="rootText" presStyleLbl="node4" presStyleIdx="1" presStyleCnt="8" custScaleX="44288" custScaleY="56079" custLinFactNeighborX="-58209" custLinFactNeighborY="21422">
        <dgm:presLayoutVars>
          <dgm:chPref val="3"/>
        </dgm:presLayoutVars>
      </dgm:prSet>
      <dgm:spPr/>
    </dgm:pt>
    <dgm:pt modelId="{DAD6F175-EEDD-4794-AE29-D6E7ED39CA5A}" type="pres">
      <dgm:prSet presAssocID="{AFD2C8D2-E402-46BE-AFD1-9D6C773D76BF}" presName="rootConnector" presStyleLbl="node4" presStyleIdx="1" presStyleCnt="8"/>
      <dgm:spPr/>
    </dgm:pt>
    <dgm:pt modelId="{396FB115-70EF-4DB9-B908-F989EEAA8629}" type="pres">
      <dgm:prSet presAssocID="{AFD2C8D2-E402-46BE-AFD1-9D6C773D76BF}" presName="hierChild4" presStyleCnt="0"/>
      <dgm:spPr/>
    </dgm:pt>
    <dgm:pt modelId="{83BF8C7A-0CCC-4900-8454-651D23895655}" type="pres">
      <dgm:prSet presAssocID="{AFD2C8D2-E402-46BE-AFD1-9D6C773D76BF}" presName="hierChild5" presStyleCnt="0"/>
      <dgm:spPr/>
    </dgm:pt>
    <dgm:pt modelId="{896BFC72-C114-40A9-A674-0EC8EDC2E57E}" type="pres">
      <dgm:prSet presAssocID="{2ED09ACF-0A97-4454-98F8-7A73C5B60545}" presName="Name37" presStyleLbl="parChTrans1D4" presStyleIdx="2" presStyleCnt="8"/>
      <dgm:spPr/>
    </dgm:pt>
    <dgm:pt modelId="{E498CEA1-2E02-4301-962F-C38B687175E5}" type="pres">
      <dgm:prSet presAssocID="{B123A269-C63B-4F3F-8647-50E6CAA32275}" presName="hierRoot2" presStyleCnt="0">
        <dgm:presLayoutVars>
          <dgm:hierBranch val="init"/>
        </dgm:presLayoutVars>
      </dgm:prSet>
      <dgm:spPr/>
    </dgm:pt>
    <dgm:pt modelId="{87276BDA-6E7A-491D-86A1-57DB677BF9F6}" type="pres">
      <dgm:prSet presAssocID="{B123A269-C63B-4F3F-8647-50E6CAA32275}" presName="rootComposite" presStyleCnt="0"/>
      <dgm:spPr/>
    </dgm:pt>
    <dgm:pt modelId="{36643B4E-DA6D-49B3-9273-C3406DF4FCA5}" type="pres">
      <dgm:prSet presAssocID="{B123A269-C63B-4F3F-8647-50E6CAA32275}" presName="rootText" presStyleLbl="node4" presStyleIdx="2" presStyleCnt="8" custScaleX="43254" custScaleY="55608" custLinFactNeighborX="-57570" custLinFactNeighborY="150">
        <dgm:presLayoutVars>
          <dgm:chPref val="3"/>
        </dgm:presLayoutVars>
      </dgm:prSet>
      <dgm:spPr/>
    </dgm:pt>
    <dgm:pt modelId="{CBAEBC0B-4643-434D-947E-4F24883D3E0A}" type="pres">
      <dgm:prSet presAssocID="{B123A269-C63B-4F3F-8647-50E6CAA32275}" presName="rootConnector" presStyleLbl="node4" presStyleIdx="2" presStyleCnt="8"/>
      <dgm:spPr/>
    </dgm:pt>
    <dgm:pt modelId="{34EE1B54-1801-4814-BFFC-A08BFE98124A}" type="pres">
      <dgm:prSet presAssocID="{B123A269-C63B-4F3F-8647-50E6CAA32275}" presName="hierChild4" presStyleCnt="0"/>
      <dgm:spPr/>
    </dgm:pt>
    <dgm:pt modelId="{9AA9E0AF-7628-4751-8A6B-A20959697B22}" type="pres">
      <dgm:prSet presAssocID="{B123A269-C63B-4F3F-8647-50E6CAA32275}" presName="hierChild5" presStyleCnt="0"/>
      <dgm:spPr/>
    </dgm:pt>
    <dgm:pt modelId="{89170BAE-3594-495B-912C-AF4A1F3B4A5B}" type="pres">
      <dgm:prSet presAssocID="{E6DFE12B-09BA-42F6-82E6-65F93648DB8B}" presName="hierChild5" presStyleCnt="0"/>
      <dgm:spPr/>
    </dgm:pt>
    <dgm:pt modelId="{8E3E614E-CC65-4FF5-8736-25B03099ADC8}" type="pres">
      <dgm:prSet presAssocID="{6D9604BA-72C2-4446-96D1-D430FB6BB817}" presName="Name37" presStyleLbl="parChTrans1D4" presStyleIdx="3" presStyleCnt="8"/>
      <dgm:spPr/>
    </dgm:pt>
    <dgm:pt modelId="{0AFF9E49-B260-462B-87D1-C9BEC6F5E359}" type="pres">
      <dgm:prSet presAssocID="{3D823B65-C696-4598-BCD3-6D36A783D256}" presName="hierRoot2" presStyleCnt="0">
        <dgm:presLayoutVars>
          <dgm:hierBranch val="init"/>
        </dgm:presLayoutVars>
      </dgm:prSet>
      <dgm:spPr/>
    </dgm:pt>
    <dgm:pt modelId="{43ADD66E-6DCC-4643-98D2-119ADE7BFB01}" type="pres">
      <dgm:prSet presAssocID="{3D823B65-C696-4598-BCD3-6D36A783D256}" presName="rootComposite" presStyleCnt="0"/>
      <dgm:spPr/>
    </dgm:pt>
    <dgm:pt modelId="{0E1C4B60-1B8E-4FEA-84A6-96EA0B82240C}" type="pres">
      <dgm:prSet presAssocID="{3D823B65-C696-4598-BCD3-6D36A783D256}" presName="rootText" presStyleLbl="node4" presStyleIdx="3" presStyleCnt="8" custScaleX="47592" custScaleY="43296" custLinFactNeighborX="-57346" custLinFactNeighborY="33777">
        <dgm:presLayoutVars>
          <dgm:chPref val="3"/>
        </dgm:presLayoutVars>
      </dgm:prSet>
      <dgm:spPr/>
    </dgm:pt>
    <dgm:pt modelId="{12C101EF-5814-426B-9F4D-19F594C1933F}" type="pres">
      <dgm:prSet presAssocID="{3D823B65-C696-4598-BCD3-6D36A783D256}" presName="rootConnector" presStyleLbl="node4" presStyleIdx="3" presStyleCnt="8"/>
      <dgm:spPr/>
    </dgm:pt>
    <dgm:pt modelId="{6FA9F9D0-BF21-487E-B676-F21FE85C7884}" type="pres">
      <dgm:prSet presAssocID="{3D823B65-C696-4598-BCD3-6D36A783D256}" presName="hierChild4" presStyleCnt="0"/>
      <dgm:spPr/>
    </dgm:pt>
    <dgm:pt modelId="{C6A43CD3-A55C-41A1-B657-E89D246DF3E0}" type="pres">
      <dgm:prSet presAssocID="{5C6FA074-AEAA-40E9-860C-198A171C550B}" presName="Name37" presStyleLbl="parChTrans1D4" presStyleIdx="4" presStyleCnt="8"/>
      <dgm:spPr/>
    </dgm:pt>
    <dgm:pt modelId="{330A4DCE-58CA-4784-A7D1-66B8B2199F6E}" type="pres">
      <dgm:prSet presAssocID="{1E4A85C2-04ED-4F98-8D7F-ACDBA99A0AB9}" presName="hierRoot2" presStyleCnt="0">
        <dgm:presLayoutVars>
          <dgm:hierBranch val="init"/>
        </dgm:presLayoutVars>
      </dgm:prSet>
      <dgm:spPr/>
    </dgm:pt>
    <dgm:pt modelId="{6FBB0079-9397-469D-9496-41CF3D1F36B1}" type="pres">
      <dgm:prSet presAssocID="{1E4A85C2-04ED-4F98-8D7F-ACDBA99A0AB9}" presName="rootComposite" presStyleCnt="0"/>
      <dgm:spPr/>
    </dgm:pt>
    <dgm:pt modelId="{1ABC6B30-9DDF-4E45-AFEC-A9898407B0EF}" type="pres">
      <dgm:prSet presAssocID="{1E4A85C2-04ED-4F98-8D7F-ACDBA99A0AB9}" presName="rootText" presStyleLbl="node4" presStyleIdx="4" presStyleCnt="8" custScaleX="39399" custScaleY="61194" custLinFactNeighborX="-59435" custLinFactNeighborY="14064">
        <dgm:presLayoutVars>
          <dgm:chPref val="3"/>
        </dgm:presLayoutVars>
      </dgm:prSet>
      <dgm:spPr/>
    </dgm:pt>
    <dgm:pt modelId="{4528DAAF-4DC8-4F6E-B775-2BA38C11CBDE}" type="pres">
      <dgm:prSet presAssocID="{1E4A85C2-04ED-4F98-8D7F-ACDBA99A0AB9}" presName="rootConnector" presStyleLbl="node4" presStyleIdx="4" presStyleCnt="8"/>
      <dgm:spPr/>
    </dgm:pt>
    <dgm:pt modelId="{7DF8F816-918B-4342-BA5F-19129D739A5B}" type="pres">
      <dgm:prSet presAssocID="{1E4A85C2-04ED-4F98-8D7F-ACDBA99A0AB9}" presName="hierChild4" presStyleCnt="0"/>
      <dgm:spPr/>
    </dgm:pt>
    <dgm:pt modelId="{73E6CF15-C6D9-4DB3-992F-61D6B195D09F}" type="pres">
      <dgm:prSet presAssocID="{1E4A85C2-04ED-4F98-8D7F-ACDBA99A0AB9}" presName="hierChild5" presStyleCnt="0"/>
      <dgm:spPr/>
    </dgm:pt>
    <dgm:pt modelId="{3FA952A1-3013-413C-A8A0-2DC69686AEAA}" type="pres">
      <dgm:prSet presAssocID="{3D823B65-C696-4598-BCD3-6D36A783D256}" presName="hierChild5" presStyleCnt="0"/>
      <dgm:spPr/>
    </dgm:pt>
    <dgm:pt modelId="{3FE22B0B-8C59-4918-9451-B2ACB5ABBC53}" type="pres">
      <dgm:prSet presAssocID="{E6B49580-AD9A-44FA-B8A0-397B3C6DF1A1}" presName="Name37" presStyleLbl="parChTrans1D4" presStyleIdx="5" presStyleCnt="8"/>
      <dgm:spPr/>
    </dgm:pt>
    <dgm:pt modelId="{B877FC25-5367-4A35-8A17-300A4A2297FD}" type="pres">
      <dgm:prSet presAssocID="{CEA2E164-5745-45EC-B603-F72F31477614}" presName="hierRoot2" presStyleCnt="0">
        <dgm:presLayoutVars>
          <dgm:hierBranch val="init"/>
        </dgm:presLayoutVars>
      </dgm:prSet>
      <dgm:spPr/>
    </dgm:pt>
    <dgm:pt modelId="{0ED9AE49-05D6-47AF-93B0-B1C37179124D}" type="pres">
      <dgm:prSet presAssocID="{CEA2E164-5745-45EC-B603-F72F31477614}" presName="rootComposite" presStyleCnt="0"/>
      <dgm:spPr/>
    </dgm:pt>
    <dgm:pt modelId="{B84506F0-ED57-474D-BB7E-E1DE5706AC09}" type="pres">
      <dgm:prSet presAssocID="{CEA2E164-5745-45EC-B603-F72F31477614}" presName="rootText" presStyleLbl="node4" presStyleIdx="5" presStyleCnt="8" custScaleX="51453" custScaleY="39168" custLinFactNeighborX="-51464" custLinFactNeighborY="33688">
        <dgm:presLayoutVars>
          <dgm:chPref val="3"/>
        </dgm:presLayoutVars>
      </dgm:prSet>
      <dgm:spPr/>
    </dgm:pt>
    <dgm:pt modelId="{941B5F46-9E0F-485D-8D53-8857721DA604}" type="pres">
      <dgm:prSet presAssocID="{CEA2E164-5745-45EC-B603-F72F31477614}" presName="rootConnector" presStyleLbl="node4" presStyleIdx="5" presStyleCnt="8"/>
      <dgm:spPr/>
    </dgm:pt>
    <dgm:pt modelId="{C41FC0D4-F335-4375-A2ED-57B575CC2C6B}" type="pres">
      <dgm:prSet presAssocID="{CEA2E164-5745-45EC-B603-F72F31477614}" presName="hierChild4" presStyleCnt="0"/>
      <dgm:spPr/>
    </dgm:pt>
    <dgm:pt modelId="{0DBC5E7C-47DD-4909-BE31-0DE021274394}" type="pres">
      <dgm:prSet presAssocID="{2BA89C03-D6B1-4788-9712-E66775693A70}" presName="Name37" presStyleLbl="parChTrans1D4" presStyleIdx="6" presStyleCnt="8"/>
      <dgm:spPr/>
    </dgm:pt>
    <dgm:pt modelId="{63D87880-E78E-4CE8-9213-C4E8297EE777}" type="pres">
      <dgm:prSet presAssocID="{D0C607B1-29F2-44B2-AA69-36FE5744E5F1}" presName="hierRoot2" presStyleCnt="0">
        <dgm:presLayoutVars>
          <dgm:hierBranch val="init"/>
        </dgm:presLayoutVars>
      </dgm:prSet>
      <dgm:spPr/>
    </dgm:pt>
    <dgm:pt modelId="{8FEB95E4-183B-4D68-9102-BC79E3FB262A}" type="pres">
      <dgm:prSet presAssocID="{D0C607B1-29F2-44B2-AA69-36FE5744E5F1}" presName="rootComposite" presStyleCnt="0"/>
      <dgm:spPr/>
    </dgm:pt>
    <dgm:pt modelId="{04C453C7-929D-4C4C-A98C-135D48946723}" type="pres">
      <dgm:prSet presAssocID="{D0C607B1-29F2-44B2-AA69-36FE5744E5F1}" presName="rootText" presStyleLbl="node4" presStyleIdx="6" presStyleCnt="8" custScaleX="39425" custScaleY="41287" custLinFactNeighborX="-43384" custLinFactNeighborY="18803">
        <dgm:presLayoutVars>
          <dgm:chPref val="3"/>
        </dgm:presLayoutVars>
      </dgm:prSet>
      <dgm:spPr/>
    </dgm:pt>
    <dgm:pt modelId="{E0B8C465-45B6-4097-9679-E7B69893CE39}" type="pres">
      <dgm:prSet presAssocID="{D0C607B1-29F2-44B2-AA69-36FE5744E5F1}" presName="rootConnector" presStyleLbl="node4" presStyleIdx="6" presStyleCnt="8"/>
      <dgm:spPr/>
    </dgm:pt>
    <dgm:pt modelId="{E8FDE8A8-FA3C-4CE7-96D8-D1A689954378}" type="pres">
      <dgm:prSet presAssocID="{D0C607B1-29F2-44B2-AA69-36FE5744E5F1}" presName="hierChild4" presStyleCnt="0"/>
      <dgm:spPr/>
    </dgm:pt>
    <dgm:pt modelId="{6626E104-3E64-4843-ACD6-FB87E68BC48C}" type="pres">
      <dgm:prSet presAssocID="{D0C607B1-29F2-44B2-AA69-36FE5744E5F1}" presName="hierChild5" presStyleCnt="0"/>
      <dgm:spPr/>
    </dgm:pt>
    <dgm:pt modelId="{311FDA2B-1FC5-4387-8850-4157B38FC23D}" type="pres">
      <dgm:prSet presAssocID="{B86643C5-903D-4C28-8D6F-850715F0BC39}" presName="Name37" presStyleLbl="parChTrans1D4" presStyleIdx="7" presStyleCnt="8"/>
      <dgm:spPr/>
    </dgm:pt>
    <dgm:pt modelId="{F274EC14-F9EF-4C0C-B889-46A9F5A1DE4D}" type="pres">
      <dgm:prSet presAssocID="{47463072-000B-414E-ADCC-B83E22E690F0}" presName="hierRoot2" presStyleCnt="0">
        <dgm:presLayoutVars>
          <dgm:hierBranch val="init"/>
        </dgm:presLayoutVars>
      </dgm:prSet>
      <dgm:spPr/>
    </dgm:pt>
    <dgm:pt modelId="{97B89332-A64A-4130-A026-17B229B471B9}" type="pres">
      <dgm:prSet presAssocID="{47463072-000B-414E-ADCC-B83E22E690F0}" presName="rootComposite" presStyleCnt="0"/>
      <dgm:spPr/>
    </dgm:pt>
    <dgm:pt modelId="{C3492823-9447-49FA-9AFD-70BB609D369E}" type="pres">
      <dgm:prSet presAssocID="{47463072-000B-414E-ADCC-B83E22E690F0}" presName="rootText" presStyleLbl="node4" presStyleIdx="7" presStyleCnt="8" custScaleX="47554" custScaleY="36813" custLinFactNeighborX="-43914" custLinFactNeighborY="11386">
        <dgm:presLayoutVars>
          <dgm:chPref val="3"/>
        </dgm:presLayoutVars>
      </dgm:prSet>
      <dgm:spPr/>
    </dgm:pt>
    <dgm:pt modelId="{9A8A4B10-F552-49A4-9449-ED18AE81E2B7}" type="pres">
      <dgm:prSet presAssocID="{47463072-000B-414E-ADCC-B83E22E690F0}" presName="rootConnector" presStyleLbl="node4" presStyleIdx="7" presStyleCnt="8"/>
      <dgm:spPr/>
    </dgm:pt>
    <dgm:pt modelId="{C21258F1-94EC-41FE-AAB6-9683436B1838}" type="pres">
      <dgm:prSet presAssocID="{47463072-000B-414E-ADCC-B83E22E690F0}" presName="hierChild4" presStyleCnt="0"/>
      <dgm:spPr/>
    </dgm:pt>
    <dgm:pt modelId="{30858307-CDE8-4146-B15F-7FEC220ADDF3}" type="pres">
      <dgm:prSet presAssocID="{47463072-000B-414E-ADCC-B83E22E690F0}" presName="hierChild5" presStyleCnt="0"/>
      <dgm:spPr/>
    </dgm:pt>
    <dgm:pt modelId="{58D52686-9A57-4D8E-A79A-657A7AA0CE69}" type="pres">
      <dgm:prSet presAssocID="{CEA2E164-5745-45EC-B603-F72F31477614}" presName="hierChild5" presStyleCnt="0"/>
      <dgm:spPr/>
    </dgm:pt>
    <dgm:pt modelId="{DE811C5E-8605-479E-BA2D-7FAD57162AAA}" type="pres">
      <dgm:prSet presAssocID="{170C2C20-9E70-4353-B890-40BF6D3BCE14}" presName="hierChild5" presStyleCnt="0"/>
      <dgm:spPr/>
    </dgm:pt>
    <dgm:pt modelId="{4CA43917-9BC8-435D-A6AB-C1C254B57BAA}" type="pres">
      <dgm:prSet presAssocID="{0C7710DC-B93E-4792-9A94-EA37C736A370}" presName="Name37" presStyleLbl="parChTrans1D3" presStyleIdx="2" presStyleCnt="5"/>
      <dgm:spPr/>
    </dgm:pt>
    <dgm:pt modelId="{29D58F88-E9C6-499B-96EF-D26A4C3C9991}" type="pres">
      <dgm:prSet presAssocID="{25B8CA0D-CDE5-4E25-A0C0-23381DCE82D8}" presName="hierRoot2" presStyleCnt="0">
        <dgm:presLayoutVars>
          <dgm:hierBranch val="init"/>
        </dgm:presLayoutVars>
      </dgm:prSet>
      <dgm:spPr/>
    </dgm:pt>
    <dgm:pt modelId="{582A486D-E47C-42B8-9D99-C6EDF2699169}" type="pres">
      <dgm:prSet presAssocID="{25B8CA0D-CDE5-4E25-A0C0-23381DCE82D8}" presName="rootComposite" presStyleCnt="0"/>
      <dgm:spPr/>
    </dgm:pt>
    <dgm:pt modelId="{E726BD17-4AEB-4B9F-AB65-82D62255518F}" type="pres">
      <dgm:prSet presAssocID="{25B8CA0D-CDE5-4E25-A0C0-23381DCE82D8}" presName="rootText" presStyleLbl="node3" presStyleIdx="2" presStyleCnt="5" custScaleX="54723" custScaleY="38047" custLinFactNeighborX="-35233" custLinFactNeighborY="17454">
        <dgm:presLayoutVars>
          <dgm:chPref val="3"/>
        </dgm:presLayoutVars>
      </dgm:prSet>
      <dgm:spPr/>
    </dgm:pt>
    <dgm:pt modelId="{74AE750D-8514-4DC5-A570-2C9DF9A555F4}" type="pres">
      <dgm:prSet presAssocID="{25B8CA0D-CDE5-4E25-A0C0-23381DCE82D8}" presName="rootConnector" presStyleLbl="node3" presStyleIdx="2" presStyleCnt="5"/>
      <dgm:spPr/>
    </dgm:pt>
    <dgm:pt modelId="{4FD8AC05-9B6D-4856-AB20-3A99DBB98964}" type="pres">
      <dgm:prSet presAssocID="{25B8CA0D-CDE5-4E25-A0C0-23381DCE82D8}" presName="hierChild4" presStyleCnt="0"/>
      <dgm:spPr/>
    </dgm:pt>
    <dgm:pt modelId="{38D707A2-2838-440D-87C6-0612D22F1006}" type="pres">
      <dgm:prSet presAssocID="{25B8CA0D-CDE5-4E25-A0C0-23381DCE82D8}" presName="hierChild5" presStyleCnt="0"/>
      <dgm:spPr/>
    </dgm:pt>
    <dgm:pt modelId="{7DCFF685-FA70-46AD-BD7C-BE0ECD687CFF}" type="pres">
      <dgm:prSet presAssocID="{85B8E9C7-C3C2-4F47-8FF2-FF1957D8A2C9}" presName="hierChild5" presStyleCnt="0"/>
      <dgm:spPr/>
    </dgm:pt>
    <dgm:pt modelId="{AC123E51-27DD-4A95-AD91-08F9987D73B0}" type="pres">
      <dgm:prSet presAssocID="{14ADC15C-C8BE-441E-A525-343EFC4057E9}" presName="Name37" presStyleLbl="parChTrans1D2" presStyleIdx="3" presStyleCnt="4"/>
      <dgm:spPr/>
    </dgm:pt>
    <dgm:pt modelId="{199DFEEE-9970-4899-8428-69ACE6547CBD}" type="pres">
      <dgm:prSet presAssocID="{61F1040C-CA8A-4000-B6AF-59B47914EAB0}" presName="hierRoot2" presStyleCnt="0">
        <dgm:presLayoutVars>
          <dgm:hierBranch val="init"/>
        </dgm:presLayoutVars>
      </dgm:prSet>
      <dgm:spPr/>
    </dgm:pt>
    <dgm:pt modelId="{E7BBD827-7667-4A66-A679-6AED64C743E9}" type="pres">
      <dgm:prSet presAssocID="{61F1040C-CA8A-4000-B6AF-59B47914EAB0}" presName="rootComposite" presStyleCnt="0"/>
      <dgm:spPr/>
    </dgm:pt>
    <dgm:pt modelId="{30408474-F65B-46BA-8173-3D16B33F789A}" type="pres">
      <dgm:prSet presAssocID="{61F1040C-CA8A-4000-B6AF-59B47914EAB0}" presName="rootText" presStyleLbl="node2" presStyleIdx="3" presStyleCnt="4" custScaleX="72095" custScaleY="54802" custLinFactNeighborX="-4752">
        <dgm:presLayoutVars>
          <dgm:chPref val="3"/>
        </dgm:presLayoutVars>
      </dgm:prSet>
      <dgm:spPr/>
    </dgm:pt>
    <dgm:pt modelId="{66E6D99B-7E6D-4B39-BDAD-3AC15911A953}" type="pres">
      <dgm:prSet presAssocID="{61F1040C-CA8A-4000-B6AF-59B47914EAB0}" presName="rootConnector" presStyleLbl="node2" presStyleIdx="3" presStyleCnt="4"/>
      <dgm:spPr/>
    </dgm:pt>
    <dgm:pt modelId="{E9B7B0E5-737E-4A81-ACD1-88045100645A}" type="pres">
      <dgm:prSet presAssocID="{61F1040C-CA8A-4000-B6AF-59B47914EAB0}" presName="hierChild4" presStyleCnt="0"/>
      <dgm:spPr/>
    </dgm:pt>
    <dgm:pt modelId="{234E6BF3-90FE-4CD6-94CE-90B49F07F09E}" type="pres">
      <dgm:prSet presAssocID="{FCA9E796-7D29-4419-869D-2B5DCF44576D}" presName="Name37" presStyleLbl="parChTrans1D3" presStyleIdx="3" presStyleCnt="5"/>
      <dgm:spPr/>
    </dgm:pt>
    <dgm:pt modelId="{0011FEFA-D0FF-4A66-9EC6-789B9A80E4E2}" type="pres">
      <dgm:prSet presAssocID="{6760A39D-3975-48B4-A2FE-3F5FD015EEB4}" presName="hierRoot2" presStyleCnt="0">
        <dgm:presLayoutVars>
          <dgm:hierBranch val="init"/>
        </dgm:presLayoutVars>
      </dgm:prSet>
      <dgm:spPr/>
    </dgm:pt>
    <dgm:pt modelId="{D8756929-AC5A-4D92-A507-98728395E8D5}" type="pres">
      <dgm:prSet presAssocID="{6760A39D-3975-48B4-A2FE-3F5FD015EEB4}" presName="rootComposite" presStyleCnt="0"/>
      <dgm:spPr/>
    </dgm:pt>
    <dgm:pt modelId="{1061BDEB-22FD-42F7-9742-A371A2C4F44A}" type="pres">
      <dgm:prSet presAssocID="{6760A39D-3975-48B4-A2FE-3F5FD015EEB4}" presName="rootText" presStyleLbl="node3" presStyleIdx="3" presStyleCnt="5" custScaleX="39985" custScaleY="42382" custLinFactNeighborX="-1782">
        <dgm:presLayoutVars>
          <dgm:chPref val="3"/>
        </dgm:presLayoutVars>
      </dgm:prSet>
      <dgm:spPr/>
    </dgm:pt>
    <dgm:pt modelId="{B422AEEF-9AB6-44DA-9024-AA12F82675FF}" type="pres">
      <dgm:prSet presAssocID="{6760A39D-3975-48B4-A2FE-3F5FD015EEB4}" presName="rootConnector" presStyleLbl="node3" presStyleIdx="3" presStyleCnt="5"/>
      <dgm:spPr/>
    </dgm:pt>
    <dgm:pt modelId="{04B39540-7655-47B3-92FC-6A53721D453A}" type="pres">
      <dgm:prSet presAssocID="{6760A39D-3975-48B4-A2FE-3F5FD015EEB4}" presName="hierChild4" presStyleCnt="0"/>
      <dgm:spPr/>
    </dgm:pt>
    <dgm:pt modelId="{FB519AD1-C8A3-4D51-8A11-9AD3F31F5472}" type="pres">
      <dgm:prSet presAssocID="{6760A39D-3975-48B4-A2FE-3F5FD015EEB4}" presName="hierChild5" presStyleCnt="0"/>
      <dgm:spPr/>
    </dgm:pt>
    <dgm:pt modelId="{B28D6FF6-17AB-47D5-90CE-CC516374D57A}" type="pres">
      <dgm:prSet presAssocID="{BD558841-1277-4FBA-AB6B-3EF4130533F6}" presName="Name37" presStyleLbl="parChTrans1D3" presStyleIdx="4" presStyleCnt="5"/>
      <dgm:spPr/>
    </dgm:pt>
    <dgm:pt modelId="{7204DDB0-A4B3-494E-9C2F-C99CB3FC6C5E}" type="pres">
      <dgm:prSet presAssocID="{CC165776-AD3D-4DA5-9475-9D362464DBFB}" presName="hierRoot2" presStyleCnt="0">
        <dgm:presLayoutVars>
          <dgm:hierBranch val="init"/>
        </dgm:presLayoutVars>
      </dgm:prSet>
      <dgm:spPr/>
    </dgm:pt>
    <dgm:pt modelId="{5D8BBB0E-858E-4FA3-AF22-7023A3008B76}" type="pres">
      <dgm:prSet presAssocID="{CC165776-AD3D-4DA5-9475-9D362464DBFB}" presName="rootComposite" presStyleCnt="0"/>
      <dgm:spPr/>
    </dgm:pt>
    <dgm:pt modelId="{EA6420F6-A34E-4210-BBE6-1F0DA17E1E58}" type="pres">
      <dgm:prSet presAssocID="{CC165776-AD3D-4DA5-9475-9D362464DBFB}" presName="rootText" presStyleLbl="node3" presStyleIdx="4" presStyleCnt="5" custScaleX="39490" custScaleY="40662" custLinFactNeighborX="594">
        <dgm:presLayoutVars>
          <dgm:chPref val="3"/>
        </dgm:presLayoutVars>
      </dgm:prSet>
      <dgm:spPr/>
    </dgm:pt>
    <dgm:pt modelId="{5F0F510E-BF9C-4A2B-A09F-442AEFC33F72}" type="pres">
      <dgm:prSet presAssocID="{CC165776-AD3D-4DA5-9475-9D362464DBFB}" presName="rootConnector" presStyleLbl="node3" presStyleIdx="4" presStyleCnt="5"/>
      <dgm:spPr/>
    </dgm:pt>
    <dgm:pt modelId="{2C1A3743-7A4F-4F09-B3E0-9EC35145C7BE}" type="pres">
      <dgm:prSet presAssocID="{CC165776-AD3D-4DA5-9475-9D362464DBFB}" presName="hierChild4" presStyleCnt="0"/>
      <dgm:spPr/>
    </dgm:pt>
    <dgm:pt modelId="{25637172-1D27-4736-A686-C4C6BAE05793}" type="pres">
      <dgm:prSet presAssocID="{CC165776-AD3D-4DA5-9475-9D362464DBFB}" presName="hierChild5" presStyleCnt="0"/>
      <dgm:spPr/>
    </dgm:pt>
    <dgm:pt modelId="{AC3B9A9F-3D5A-42B3-A2DF-BEF47E1464C7}" type="pres">
      <dgm:prSet presAssocID="{61F1040C-CA8A-4000-B6AF-59B47914EAB0}" presName="hierChild5" presStyleCnt="0"/>
      <dgm:spPr/>
    </dgm:pt>
    <dgm:pt modelId="{80CDBEE6-9814-44F7-AEEF-93E82597878F}" type="pres">
      <dgm:prSet presAssocID="{67ECEAAD-793F-41AC-8192-000716DA7A69}" presName="hierChild3" presStyleCnt="0"/>
      <dgm:spPr/>
    </dgm:pt>
  </dgm:ptLst>
  <dgm:cxnLst>
    <dgm:cxn modelId="{E06EDD00-88A7-4340-B9E8-5887FFD9F7DA}" type="presOf" srcId="{FCA9E796-7D29-4419-869D-2B5DCF44576D}" destId="{234E6BF3-90FE-4CD6-94CE-90B49F07F09E}" srcOrd="0" destOrd="0" presId="urn:microsoft.com/office/officeart/2005/8/layout/orgChart1"/>
    <dgm:cxn modelId="{818C3C04-69DC-4930-A08D-D87529E2D9F0}" type="presOf" srcId="{3D823B65-C696-4598-BCD3-6D36A783D256}" destId="{0E1C4B60-1B8E-4FEA-84A6-96EA0B82240C}" srcOrd="0" destOrd="0" presId="urn:microsoft.com/office/officeart/2005/8/layout/orgChart1"/>
    <dgm:cxn modelId="{5A0A6109-3F07-44BC-BAE2-3919CDA7B883}" type="presOf" srcId="{2FF34804-E8ED-46CA-B049-40DE79E56577}" destId="{32203E48-D9BA-4606-8EC1-049A6ECE64B3}" srcOrd="1" destOrd="0" presId="urn:microsoft.com/office/officeart/2005/8/layout/orgChart1"/>
    <dgm:cxn modelId="{5621CD09-FA6C-413B-BF1C-74A0655B8DBB}" srcId="{67ECEAAD-793F-41AC-8192-000716DA7A69}" destId="{7466164A-20E2-47C5-BD4E-79CB2A1655B0}" srcOrd="1" destOrd="0" parTransId="{8D589456-A9C9-47AE-82E8-32D57DBCECF0}" sibTransId="{48AF87DE-5324-4F1E-A05E-9EAB888DB2D1}"/>
    <dgm:cxn modelId="{D329DA0D-1997-47CC-82F8-6A66773382DC}" srcId="{E6DFE12B-09BA-42F6-82E6-65F93648DB8B}" destId="{AFD2C8D2-E402-46BE-AFD1-9D6C773D76BF}" srcOrd="0" destOrd="0" parTransId="{4EE1317D-3464-4118-8F9A-468B60F8F1FC}" sibTransId="{A1C0CE93-D75E-4508-BCE3-D4DE6598B709}"/>
    <dgm:cxn modelId="{CD3A650E-2312-4636-AA1A-E3C5157A17C6}" type="presOf" srcId="{AFD2C8D2-E402-46BE-AFD1-9D6C773D76BF}" destId="{E09D9BB1-1553-4026-9D02-92B9A0573521}" srcOrd="0" destOrd="0" presId="urn:microsoft.com/office/officeart/2005/8/layout/orgChart1"/>
    <dgm:cxn modelId="{23A2BA11-DA62-4476-9805-E2FC25AFB1C2}" srcId="{E6DFE12B-09BA-42F6-82E6-65F93648DB8B}" destId="{B123A269-C63B-4F3F-8647-50E6CAA32275}" srcOrd="1" destOrd="0" parTransId="{2ED09ACF-0A97-4454-98F8-7A73C5B60545}" sibTransId="{7354AF2A-7CCC-4465-AF5A-2772CE9F8144}"/>
    <dgm:cxn modelId="{E117B312-3BE0-4BD1-9B8A-16296C9C031A}" type="presOf" srcId="{CFCB6D28-69B2-4DB1-B0E6-F1B78F5FC88F}" destId="{52A67BFE-47C8-4FC1-BE21-F18798718F2D}" srcOrd="0" destOrd="0" presId="urn:microsoft.com/office/officeart/2005/8/layout/orgChart1"/>
    <dgm:cxn modelId="{B9F54813-209C-4AF9-9512-F8D877D12D00}" type="presOf" srcId="{61F1040C-CA8A-4000-B6AF-59B47914EAB0}" destId="{30408474-F65B-46BA-8173-3D16B33F789A}" srcOrd="0" destOrd="0" presId="urn:microsoft.com/office/officeart/2005/8/layout/orgChart1"/>
    <dgm:cxn modelId="{2BB89F19-BA06-43A8-B578-00A5CCC8C16B}" srcId="{85B8E9C7-C3C2-4F47-8FF2-FF1957D8A2C9}" destId="{2FF34804-E8ED-46CA-B049-40DE79E56577}" srcOrd="0" destOrd="0" parTransId="{DB22AC0C-38C8-4C5D-AA47-113D0B934129}" sibTransId="{EBD7BD71-39F9-4D54-A8AB-69F92B89C8EA}"/>
    <dgm:cxn modelId="{448DA721-726D-484B-A9B1-E028137BDB9C}" srcId="{85B8E9C7-C3C2-4F47-8FF2-FF1957D8A2C9}" destId="{25B8CA0D-CDE5-4E25-A0C0-23381DCE82D8}" srcOrd="2" destOrd="0" parTransId="{0C7710DC-B93E-4792-9A94-EA37C736A370}" sibTransId="{11CFD39F-AA1B-4E5F-89A0-934C0D7AB072}"/>
    <dgm:cxn modelId="{050DD023-1615-42DE-BC06-2714DA07EEFD}" type="presOf" srcId="{1E4A85C2-04ED-4F98-8D7F-ACDBA99A0AB9}" destId="{1ABC6B30-9DDF-4E45-AFEC-A9898407B0EF}" srcOrd="0" destOrd="0" presId="urn:microsoft.com/office/officeart/2005/8/layout/orgChart1"/>
    <dgm:cxn modelId="{8B5CD127-632F-4BA2-883E-7BC8FF4572E5}" type="presOf" srcId="{47463072-000B-414E-ADCC-B83E22E690F0}" destId="{9A8A4B10-F552-49A4-9449-ED18AE81E2B7}" srcOrd="1" destOrd="0" presId="urn:microsoft.com/office/officeart/2005/8/layout/orgChart1"/>
    <dgm:cxn modelId="{E052C128-320D-40BE-AAE1-CC62AC3E1E00}" type="presOf" srcId="{25B8CA0D-CDE5-4E25-A0C0-23381DCE82D8}" destId="{74AE750D-8514-4DC5-A570-2C9DF9A555F4}" srcOrd="1" destOrd="0" presId="urn:microsoft.com/office/officeart/2005/8/layout/orgChart1"/>
    <dgm:cxn modelId="{0039C52B-6D00-493A-928E-FC123B3E25FD}" type="presOf" srcId="{170C2C20-9E70-4353-B890-40BF6D3BCE14}" destId="{B3B96511-AB0A-457B-81BE-3DE1D7675730}" srcOrd="1" destOrd="0" presId="urn:microsoft.com/office/officeart/2005/8/layout/orgChart1"/>
    <dgm:cxn modelId="{0F6FF22E-DF1A-4BF5-A62E-AAF75277BD1F}" type="presOf" srcId="{85B8E9C7-C3C2-4F47-8FF2-FF1957D8A2C9}" destId="{F5894059-2AC2-45B3-BBCC-83EB31A6A34C}" srcOrd="1" destOrd="0" presId="urn:microsoft.com/office/officeart/2005/8/layout/orgChart1"/>
    <dgm:cxn modelId="{5C895436-9ACF-46E0-973B-9326076D6F44}" type="presOf" srcId="{61F1040C-CA8A-4000-B6AF-59B47914EAB0}" destId="{66E6D99B-7E6D-4B39-BDAD-3AC15911A953}" srcOrd="1" destOrd="0" presId="urn:microsoft.com/office/officeart/2005/8/layout/orgChart1"/>
    <dgm:cxn modelId="{BFE58E3A-017C-4A23-A182-F9136E06C89E}" type="presOf" srcId="{E6DFE12B-09BA-42F6-82E6-65F93648DB8B}" destId="{360A7827-25A4-473E-9F6D-6E13A2CEC6EE}" srcOrd="1" destOrd="0" presId="urn:microsoft.com/office/officeart/2005/8/layout/orgChart1"/>
    <dgm:cxn modelId="{C113A63D-3CAB-46E8-9F73-41987803EAB6}" type="presOf" srcId="{B123A269-C63B-4F3F-8647-50E6CAA32275}" destId="{36643B4E-DA6D-49B3-9273-C3406DF4FCA5}" srcOrd="0" destOrd="0" presId="urn:microsoft.com/office/officeart/2005/8/layout/orgChart1"/>
    <dgm:cxn modelId="{9FCE305B-0F0A-4A56-8E16-A002C83FC0DB}" srcId="{170C2C20-9E70-4353-B890-40BF6D3BCE14}" destId="{E6DFE12B-09BA-42F6-82E6-65F93648DB8B}" srcOrd="0" destOrd="0" parTransId="{CFCB6D28-69B2-4DB1-B0E6-F1B78F5FC88F}" sibTransId="{972BE603-981E-4040-99D5-E665C6C046EE}"/>
    <dgm:cxn modelId="{357DC65B-E970-4512-8EA3-C74160A33FD1}" type="presOf" srcId="{67ECEAAD-793F-41AC-8192-000716DA7A69}" destId="{8A166E83-92E6-4ADE-9AEE-A4D700CED0DB}" srcOrd="0" destOrd="0" presId="urn:microsoft.com/office/officeart/2005/8/layout/orgChart1"/>
    <dgm:cxn modelId="{51A1225C-96BA-4EE6-9720-412C53CCEA36}" type="presOf" srcId="{1B307953-CD98-48F3-91B2-45DC66B30E19}" destId="{AD6A1F3C-E249-4AF5-82A8-8824BCE21D28}" srcOrd="0" destOrd="0" presId="urn:microsoft.com/office/officeart/2005/8/layout/orgChart1"/>
    <dgm:cxn modelId="{53937E5D-4081-4F85-B0F1-5372747CC502}" type="presOf" srcId="{8D589456-A9C9-47AE-82E8-32D57DBCECF0}" destId="{594D7BD2-9B8C-435F-9D56-7B9000DA4BD0}" srcOrd="0" destOrd="0" presId="urn:microsoft.com/office/officeart/2005/8/layout/orgChart1"/>
    <dgm:cxn modelId="{AE53FB5D-A5BA-467A-8C8C-AF7A98CE1AAC}" type="presOf" srcId="{170C2C20-9E70-4353-B890-40BF6D3BCE14}" destId="{DFB0CE57-CD7D-4121-BF74-EF6E13B31647}" srcOrd="0" destOrd="0" presId="urn:microsoft.com/office/officeart/2005/8/layout/orgChart1"/>
    <dgm:cxn modelId="{316FDA43-F9C0-4D03-9EDD-506A85932269}" type="presOf" srcId="{1E4A85C2-04ED-4F98-8D7F-ACDBA99A0AB9}" destId="{4528DAAF-4DC8-4F6E-B775-2BA38C11CBDE}" srcOrd="1" destOrd="0" presId="urn:microsoft.com/office/officeart/2005/8/layout/orgChart1"/>
    <dgm:cxn modelId="{254CE168-A4F7-438E-BBC6-6AADB2C46B95}" type="presOf" srcId="{AFD2C8D2-E402-46BE-AFD1-9D6C773D76BF}" destId="{DAD6F175-EEDD-4794-AE29-D6E7ED39CA5A}" srcOrd="1" destOrd="0" presId="urn:microsoft.com/office/officeart/2005/8/layout/orgChart1"/>
    <dgm:cxn modelId="{C9A1744A-5BAD-40C4-A74A-0714C997CDE8}" type="presOf" srcId="{CEA2E164-5745-45EC-B603-F72F31477614}" destId="{B84506F0-ED57-474D-BB7E-E1DE5706AC09}" srcOrd="0" destOrd="0" presId="urn:microsoft.com/office/officeart/2005/8/layout/orgChart1"/>
    <dgm:cxn modelId="{F109B06D-E633-462E-A35C-F867399598B6}" srcId="{61F1040C-CA8A-4000-B6AF-59B47914EAB0}" destId="{CC165776-AD3D-4DA5-9475-9D362464DBFB}" srcOrd="1" destOrd="0" parTransId="{BD558841-1277-4FBA-AB6B-3EF4130533F6}" sibTransId="{30F3804B-6B20-4DD1-81DD-BAA595DB8E9F}"/>
    <dgm:cxn modelId="{FA1ED26D-8F3E-43D5-AEDC-5A82875BBC25}" srcId="{170C2C20-9E70-4353-B890-40BF6D3BCE14}" destId="{CEA2E164-5745-45EC-B603-F72F31477614}" srcOrd="2" destOrd="0" parTransId="{E6B49580-AD9A-44FA-B8A0-397B3C6DF1A1}" sibTransId="{5F4E50BF-AE65-4924-972E-E490D00F2611}"/>
    <dgm:cxn modelId="{CDC1564E-B9E4-4409-8902-FB4A36EBCD30}" srcId="{CEA2E164-5745-45EC-B603-F72F31477614}" destId="{47463072-000B-414E-ADCC-B83E22E690F0}" srcOrd="1" destOrd="0" parTransId="{B86643C5-903D-4C28-8D6F-850715F0BC39}" sibTransId="{9CE46A91-069D-46B2-919D-4B3D25CA71AD}"/>
    <dgm:cxn modelId="{14ABEB50-017B-46CE-A676-34889BB5528A}" type="presOf" srcId="{CC165776-AD3D-4DA5-9475-9D362464DBFB}" destId="{5F0F510E-BF9C-4A2B-A09F-442AEFC33F72}" srcOrd="1" destOrd="0" presId="urn:microsoft.com/office/officeart/2005/8/layout/orgChart1"/>
    <dgm:cxn modelId="{773DEF76-9E44-4A6F-A249-D09E6F50E38F}" type="presOf" srcId="{D0C607B1-29F2-44B2-AA69-36FE5744E5F1}" destId="{E0B8C465-45B6-4097-9679-E7B69893CE39}" srcOrd="1" destOrd="0" presId="urn:microsoft.com/office/officeart/2005/8/layout/orgChart1"/>
    <dgm:cxn modelId="{CF30B758-FC8F-4568-8C18-A4E3399063EF}" type="presOf" srcId="{6760A39D-3975-48B4-A2FE-3F5FD015EEB4}" destId="{B422AEEF-9AB6-44DA-9024-AA12F82675FF}" srcOrd="1" destOrd="0" presId="urn:microsoft.com/office/officeart/2005/8/layout/orgChart1"/>
    <dgm:cxn modelId="{4772B879-23BE-4CD1-AE3F-DAD0C9D96B74}" type="presOf" srcId="{0C7710DC-B93E-4792-9A94-EA37C736A370}" destId="{4CA43917-9BC8-435D-A6AB-C1C254B57BAA}" srcOrd="0" destOrd="0" presId="urn:microsoft.com/office/officeart/2005/8/layout/orgChart1"/>
    <dgm:cxn modelId="{034ACB84-5E80-4963-8C38-A9D2342E25E1}" type="presOf" srcId="{CEA2E164-5745-45EC-B603-F72F31477614}" destId="{941B5F46-9E0F-485D-8D53-8857721DA604}" srcOrd="1" destOrd="0" presId="urn:microsoft.com/office/officeart/2005/8/layout/orgChart1"/>
    <dgm:cxn modelId="{D60C9D88-576B-446B-927A-220CFA2C9DFB}" srcId="{67ECEAAD-793F-41AC-8192-000716DA7A69}" destId="{61F1040C-CA8A-4000-B6AF-59B47914EAB0}" srcOrd="3" destOrd="0" parTransId="{14ADC15C-C8BE-441E-A525-343EFC4057E9}" sibTransId="{10DAB3A4-C18B-4D06-A7F6-62E4EA7D14BF}"/>
    <dgm:cxn modelId="{40D59189-E0F8-4C3B-B8ED-3A88E07FFBA0}" type="presOf" srcId="{2F701BB5-BD15-4C5E-A1A4-3AC98086A879}" destId="{F7501867-9189-4920-AB04-9942EFCCC835}" srcOrd="1" destOrd="0" presId="urn:microsoft.com/office/officeart/2005/8/layout/orgChart1"/>
    <dgm:cxn modelId="{9B8E818A-1BCF-48E6-AF34-CC26DE0F3427}" type="presOf" srcId="{B123A269-C63B-4F3F-8647-50E6CAA32275}" destId="{CBAEBC0B-4643-434D-947E-4F24883D3E0A}" srcOrd="1" destOrd="0" presId="urn:microsoft.com/office/officeart/2005/8/layout/orgChart1"/>
    <dgm:cxn modelId="{203B798B-48A3-416A-A5E6-9628E04B6E67}" type="presOf" srcId="{02764C56-CAD0-4CBD-B119-EE3A0919464F}" destId="{1E616F07-481B-440C-B773-02A217F2AFBD}" srcOrd="0" destOrd="0" presId="urn:microsoft.com/office/officeart/2005/8/layout/orgChart1"/>
    <dgm:cxn modelId="{DB23B08B-99D0-45F4-AAB8-8AE070AF2460}" srcId="{85B8E9C7-C3C2-4F47-8FF2-FF1957D8A2C9}" destId="{170C2C20-9E70-4353-B890-40BF6D3BCE14}" srcOrd="1" destOrd="0" parTransId="{1B307953-CD98-48F3-91B2-45DC66B30E19}" sibTransId="{040F7114-24C4-4DB9-B05E-0933B39F8CD7}"/>
    <dgm:cxn modelId="{FA605E8C-571D-4133-9D63-03214819AC8D}" type="presOf" srcId="{E6B49580-AD9A-44FA-B8A0-397B3C6DF1A1}" destId="{3FE22B0B-8C59-4918-9451-B2ACB5ABBC53}" srcOrd="0" destOrd="0" presId="urn:microsoft.com/office/officeart/2005/8/layout/orgChart1"/>
    <dgm:cxn modelId="{EC7C0E8E-ED17-41C8-A0B7-1AB7EADDCF70}" type="presOf" srcId="{4EE1317D-3464-4118-8F9A-468B60F8F1FC}" destId="{C4947F25-0F2D-4D9D-9069-AA8D954A2B9A}" srcOrd="0" destOrd="0" presId="urn:microsoft.com/office/officeart/2005/8/layout/orgChart1"/>
    <dgm:cxn modelId="{4FBE1295-451E-49EF-AB79-BE7CC3AE8E1A}" type="presOf" srcId="{25B8CA0D-CDE5-4E25-A0C0-23381DCE82D8}" destId="{E726BD17-4AEB-4B9F-AB65-82D62255518F}" srcOrd="0" destOrd="0" presId="urn:microsoft.com/office/officeart/2005/8/layout/orgChart1"/>
    <dgm:cxn modelId="{7BEF3096-1C91-4E7F-A843-F596018C153B}" srcId="{3D823B65-C696-4598-BCD3-6D36A783D256}" destId="{1E4A85C2-04ED-4F98-8D7F-ACDBA99A0AB9}" srcOrd="0" destOrd="0" parTransId="{5C6FA074-AEAA-40E9-860C-198A171C550B}" sibTransId="{2AC839C8-4FFA-44AA-ABB9-8273F47B7E78}"/>
    <dgm:cxn modelId="{B34997A2-759E-41C4-93E4-2A126B158F64}" type="presOf" srcId="{DB22AC0C-38C8-4C5D-AA47-113D0B934129}" destId="{0C66EF18-2EC3-474A-BDE2-8EE1449AF839}" srcOrd="0" destOrd="0" presId="urn:microsoft.com/office/officeart/2005/8/layout/orgChart1"/>
    <dgm:cxn modelId="{335D81A4-8F64-446B-8901-24C819C99221}" srcId="{67ECEAAD-793F-41AC-8192-000716DA7A69}" destId="{85B8E9C7-C3C2-4F47-8FF2-FF1957D8A2C9}" srcOrd="2" destOrd="0" parTransId="{02764C56-CAD0-4CBD-B119-EE3A0919464F}" sibTransId="{3DCB29F5-3E0E-4991-A7F2-141892436433}"/>
    <dgm:cxn modelId="{44C81DAC-335B-48B2-8F78-3FABF7BB18DE}" type="presOf" srcId="{9BA8B008-5150-43A0-81D0-AA45B43719A7}" destId="{EA72FF5C-B350-45F4-A8EF-AA2B8B0F5D48}" srcOrd="0" destOrd="0" presId="urn:microsoft.com/office/officeart/2005/8/layout/orgChart1"/>
    <dgm:cxn modelId="{6A37A2B0-572D-411E-BC7D-33915B0DBF82}" type="presOf" srcId="{BD558841-1277-4FBA-AB6B-3EF4130533F6}" destId="{B28D6FF6-17AB-47D5-90CE-CC516374D57A}" srcOrd="0" destOrd="0" presId="urn:microsoft.com/office/officeart/2005/8/layout/orgChart1"/>
    <dgm:cxn modelId="{950137B2-A894-4480-A125-ED4C6BDBE398}" srcId="{67ECEAAD-793F-41AC-8192-000716DA7A69}" destId="{2F701BB5-BD15-4C5E-A1A4-3AC98086A879}" srcOrd="0" destOrd="0" parTransId="{9BA8B008-5150-43A0-81D0-AA45B43719A7}" sibTransId="{320F9CA1-06F7-4ED4-89C6-4879EE6998C2}"/>
    <dgm:cxn modelId="{68A656B2-7E1C-4F5A-92C0-1AB39DDDE7FD}" type="presOf" srcId="{6D9604BA-72C2-4446-96D1-D430FB6BB817}" destId="{8E3E614E-CC65-4FF5-8736-25B03099ADC8}" srcOrd="0" destOrd="0" presId="urn:microsoft.com/office/officeart/2005/8/layout/orgChart1"/>
    <dgm:cxn modelId="{3596BFB4-27CC-4FAA-8E25-F430E49399A5}" type="presOf" srcId="{2F701BB5-BD15-4C5E-A1A4-3AC98086A879}" destId="{170B73CF-DFB4-42D9-A670-E6E1A0F3EDB9}" srcOrd="0" destOrd="0" presId="urn:microsoft.com/office/officeart/2005/8/layout/orgChart1"/>
    <dgm:cxn modelId="{7E250EB5-A00C-4D22-B378-F32948B70E12}" type="presOf" srcId="{14ADC15C-C8BE-441E-A525-343EFC4057E9}" destId="{AC123E51-27DD-4A95-AD91-08F9987D73B0}" srcOrd="0" destOrd="0" presId="urn:microsoft.com/office/officeart/2005/8/layout/orgChart1"/>
    <dgm:cxn modelId="{4799F1B8-38DB-404D-9528-08CE334B12B7}" srcId="{CEA2E164-5745-45EC-B603-F72F31477614}" destId="{D0C607B1-29F2-44B2-AA69-36FE5744E5F1}" srcOrd="0" destOrd="0" parTransId="{2BA89C03-D6B1-4788-9712-E66775693A70}" sibTransId="{F20C09C0-EF7E-48FF-B8BC-96D1A19AD4B1}"/>
    <dgm:cxn modelId="{54A8D6BC-53EF-4D6D-9C45-8121721C35B6}" type="presOf" srcId="{67ECEAAD-793F-41AC-8192-000716DA7A69}" destId="{0D1C6531-1C4B-493E-AB79-E01DF3E3AC9E}" srcOrd="1" destOrd="0" presId="urn:microsoft.com/office/officeart/2005/8/layout/orgChart1"/>
    <dgm:cxn modelId="{26491EBF-D58C-465F-91B3-4CB5917DB6D6}" type="presOf" srcId="{5C6FA074-AEAA-40E9-860C-198A171C550B}" destId="{C6A43CD3-A55C-41A1-B657-E89D246DF3E0}" srcOrd="0" destOrd="0" presId="urn:microsoft.com/office/officeart/2005/8/layout/orgChart1"/>
    <dgm:cxn modelId="{684557C1-37C2-45E4-A9E4-B772FD4887D4}" type="presOf" srcId="{E6DFE12B-09BA-42F6-82E6-65F93648DB8B}" destId="{579ABAB3-7FDB-4A06-AB6F-359BBA8F6A57}" srcOrd="0" destOrd="0" presId="urn:microsoft.com/office/officeart/2005/8/layout/orgChart1"/>
    <dgm:cxn modelId="{89B731C2-1E8E-4DAE-8058-75891412F786}" type="presOf" srcId="{2FF34804-E8ED-46CA-B049-40DE79E56577}" destId="{71B5AA8E-1B65-4EC2-89F1-DB9EA8A98E31}" srcOrd="0" destOrd="0" presId="urn:microsoft.com/office/officeart/2005/8/layout/orgChart1"/>
    <dgm:cxn modelId="{51CB6EC8-1A25-49F0-A8B7-92740283715B}" type="presOf" srcId="{7466164A-20E2-47C5-BD4E-79CB2A1655B0}" destId="{C16F4867-82FB-407D-8B7B-512C24DDF75E}" srcOrd="1" destOrd="0" presId="urn:microsoft.com/office/officeart/2005/8/layout/orgChart1"/>
    <dgm:cxn modelId="{6347B1C8-5087-4012-982B-5F687328D398}" type="presOf" srcId="{47463072-000B-414E-ADCC-B83E22E690F0}" destId="{C3492823-9447-49FA-9AFD-70BB609D369E}" srcOrd="0" destOrd="0" presId="urn:microsoft.com/office/officeart/2005/8/layout/orgChart1"/>
    <dgm:cxn modelId="{87DB89CF-33C9-4D63-8AB1-8C22A46E5AD6}" type="presOf" srcId="{CC165776-AD3D-4DA5-9475-9D362464DBFB}" destId="{EA6420F6-A34E-4210-BBE6-1F0DA17E1E58}" srcOrd="0" destOrd="0" presId="urn:microsoft.com/office/officeart/2005/8/layout/orgChart1"/>
    <dgm:cxn modelId="{2F9E48D5-1AE1-4986-B611-6EA2D7C22E9F}" type="presOf" srcId="{6760A39D-3975-48B4-A2FE-3F5FD015EEB4}" destId="{1061BDEB-22FD-42F7-9742-A371A2C4F44A}" srcOrd="0" destOrd="0" presId="urn:microsoft.com/office/officeart/2005/8/layout/orgChart1"/>
    <dgm:cxn modelId="{F31376D5-0215-40ED-B631-3857EFD7847D}" type="presOf" srcId="{7466164A-20E2-47C5-BD4E-79CB2A1655B0}" destId="{65FDF074-A94C-47BA-A310-D0760B8C7562}" srcOrd="0" destOrd="0" presId="urn:microsoft.com/office/officeart/2005/8/layout/orgChart1"/>
    <dgm:cxn modelId="{C993EBD7-2044-4772-B0AD-AA7AA7E7431E}" type="presOf" srcId="{B86643C5-903D-4C28-8D6F-850715F0BC39}" destId="{311FDA2B-1FC5-4387-8850-4157B38FC23D}" srcOrd="0" destOrd="0" presId="urn:microsoft.com/office/officeart/2005/8/layout/orgChart1"/>
    <dgm:cxn modelId="{8407B6D8-B4F7-47EF-9926-6B7FB0FDA701}" type="presOf" srcId="{2ED09ACF-0A97-4454-98F8-7A73C5B60545}" destId="{896BFC72-C114-40A9-A674-0EC8EDC2E57E}" srcOrd="0" destOrd="0" presId="urn:microsoft.com/office/officeart/2005/8/layout/orgChart1"/>
    <dgm:cxn modelId="{E6A4AFDF-3F10-493C-ADF3-08E8285A0912}" type="presOf" srcId="{3D823B65-C696-4598-BCD3-6D36A783D256}" destId="{12C101EF-5814-426B-9F4D-19F594C1933F}" srcOrd="1" destOrd="0" presId="urn:microsoft.com/office/officeart/2005/8/layout/orgChart1"/>
    <dgm:cxn modelId="{857189E5-4A75-4FBF-BC06-B14E481D99A9}" type="presOf" srcId="{CE13C0BE-1EC7-46BD-9D3F-CFC2F4B470C7}" destId="{03461173-AE03-4111-A186-25C2E136C6AC}" srcOrd="0" destOrd="0" presId="urn:microsoft.com/office/officeart/2005/8/layout/orgChart1"/>
    <dgm:cxn modelId="{0D7ACCEB-D6D7-4492-A6A1-6412D7FEB17D}" srcId="{61F1040C-CA8A-4000-B6AF-59B47914EAB0}" destId="{6760A39D-3975-48B4-A2FE-3F5FD015EEB4}" srcOrd="0" destOrd="0" parTransId="{FCA9E796-7D29-4419-869D-2B5DCF44576D}" sibTransId="{F956A24D-9631-416A-895D-32B51D54EC22}"/>
    <dgm:cxn modelId="{288717EF-EA82-4432-875D-E0B50EFF9DCF}" srcId="{CE13C0BE-1EC7-46BD-9D3F-CFC2F4B470C7}" destId="{67ECEAAD-793F-41AC-8192-000716DA7A69}" srcOrd="0" destOrd="0" parTransId="{BB14D28F-D1C5-4CCC-BEF2-456FDAEF3BF1}" sibTransId="{2EB5F4CF-E816-4F18-AEC3-02B77EC937E7}"/>
    <dgm:cxn modelId="{18BC51F1-9908-4360-894B-8595E55951B2}" srcId="{170C2C20-9E70-4353-B890-40BF6D3BCE14}" destId="{3D823B65-C696-4598-BCD3-6D36A783D256}" srcOrd="1" destOrd="0" parTransId="{6D9604BA-72C2-4446-96D1-D430FB6BB817}" sibTransId="{E6EA5F0A-B123-41D5-802F-14A28241D3C6}"/>
    <dgm:cxn modelId="{C17957F5-0974-41A0-89D3-AE9422491487}" type="presOf" srcId="{D0C607B1-29F2-44B2-AA69-36FE5744E5F1}" destId="{04C453C7-929D-4C4C-A98C-135D48946723}" srcOrd="0" destOrd="0" presId="urn:microsoft.com/office/officeart/2005/8/layout/orgChart1"/>
    <dgm:cxn modelId="{BBFEEEF7-450C-4BAD-95C7-FE4FABD1A83B}" type="presOf" srcId="{2BA89C03-D6B1-4788-9712-E66775693A70}" destId="{0DBC5E7C-47DD-4909-BE31-0DE021274394}" srcOrd="0" destOrd="0" presId="urn:microsoft.com/office/officeart/2005/8/layout/orgChart1"/>
    <dgm:cxn modelId="{91782AFB-7177-473A-8882-62F7DB49E9EC}" type="presOf" srcId="{85B8E9C7-C3C2-4F47-8FF2-FF1957D8A2C9}" destId="{4628112D-BB39-45FA-8000-43A8A90EA310}" srcOrd="0" destOrd="0" presId="urn:microsoft.com/office/officeart/2005/8/layout/orgChart1"/>
    <dgm:cxn modelId="{077D0862-E1C7-4642-BE42-A0DE37C773AB}" type="presParOf" srcId="{03461173-AE03-4111-A186-25C2E136C6AC}" destId="{AF9F1A6A-8471-4543-BFAA-BC762AAE4C56}" srcOrd="0" destOrd="0" presId="urn:microsoft.com/office/officeart/2005/8/layout/orgChart1"/>
    <dgm:cxn modelId="{88A782CF-94C9-4B8C-A892-D6D42A965B6B}" type="presParOf" srcId="{AF9F1A6A-8471-4543-BFAA-BC762AAE4C56}" destId="{18162657-A8C4-4589-84EA-C0116CB65C2E}" srcOrd="0" destOrd="0" presId="urn:microsoft.com/office/officeart/2005/8/layout/orgChart1"/>
    <dgm:cxn modelId="{35D91B22-ACC8-49C0-94EC-E88564D972BD}" type="presParOf" srcId="{18162657-A8C4-4589-84EA-C0116CB65C2E}" destId="{8A166E83-92E6-4ADE-9AEE-A4D700CED0DB}" srcOrd="0" destOrd="0" presId="urn:microsoft.com/office/officeart/2005/8/layout/orgChart1"/>
    <dgm:cxn modelId="{47169762-E3BA-4476-9522-F17B24BF9ECB}" type="presParOf" srcId="{18162657-A8C4-4589-84EA-C0116CB65C2E}" destId="{0D1C6531-1C4B-493E-AB79-E01DF3E3AC9E}" srcOrd="1" destOrd="0" presId="urn:microsoft.com/office/officeart/2005/8/layout/orgChart1"/>
    <dgm:cxn modelId="{6F4D5860-DA7F-4067-852A-9333FA67BFC6}" type="presParOf" srcId="{AF9F1A6A-8471-4543-BFAA-BC762AAE4C56}" destId="{F855DB9D-69CC-4FD5-A76C-A5A56E7FD1C1}" srcOrd="1" destOrd="0" presId="urn:microsoft.com/office/officeart/2005/8/layout/orgChart1"/>
    <dgm:cxn modelId="{12EA82E5-FE91-4207-8C78-E3CF97432413}" type="presParOf" srcId="{F855DB9D-69CC-4FD5-A76C-A5A56E7FD1C1}" destId="{EA72FF5C-B350-45F4-A8EF-AA2B8B0F5D48}" srcOrd="0" destOrd="0" presId="urn:microsoft.com/office/officeart/2005/8/layout/orgChart1"/>
    <dgm:cxn modelId="{B6B5DB9A-3F05-4BD5-8D3C-BA4DB4D63550}" type="presParOf" srcId="{F855DB9D-69CC-4FD5-A76C-A5A56E7FD1C1}" destId="{110A6770-48C0-4142-B1A2-84F1EC9D7093}" srcOrd="1" destOrd="0" presId="urn:microsoft.com/office/officeart/2005/8/layout/orgChart1"/>
    <dgm:cxn modelId="{B66741D4-A36E-4253-B4EF-9E7C1BC7482B}" type="presParOf" srcId="{110A6770-48C0-4142-B1A2-84F1EC9D7093}" destId="{D627EA6B-C0AB-41D5-9634-CCBC1E36DC04}" srcOrd="0" destOrd="0" presId="urn:microsoft.com/office/officeart/2005/8/layout/orgChart1"/>
    <dgm:cxn modelId="{6ECCCCE4-699E-4DC5-8945-951F4E9F5090}" type="presParOf" srcId="{D627EA6B-C0AB-41D5-9634-CCBC1E36DC04}" destId="{170B73CF-DFB4-42D9-A670-E6E1A0F3EDB9}" srcOrd="0" destOrd="0" presId="urn:microsoft.com/office/officeart/2005/8/layout/orgChart1"/>
    <dgm:cxn modelId="{A2DA9105-2EC9-4F51-AC02-F1E6ACE66D48}" type="presParOf" srcId="{D627EA6B-C0AB-41D5-9634-CCBC1E36DC04}" destId="{F7501867-9189-4920-AB04-9942EFCCC835}" srcOrd="1" destOrd="0" presId="urn:microsoft.com/office/officeart/2005/8/layout/orgChart1"/>
    <dgm:cxn modelId="{89012D21-1576-4B9F-B53D-D756CD5F24ED}" type="presParOf" srcId="{110A6770-48C0-4142-B1A2-84F1EC9D7093}" destId="{025784DC-D034-4EE7-A808-327E7A2101BE}" srcOrd="1" destOrd="0" presId="urn:microsoft.com/office/officeart/2005/8/layout/orgChart1"/>
    <dgm:cxn modelId="{04F682ED-A051-498F-8D01-72679C4C0FD5}" type="presParOf" srcId="{110A6770-48C0-4142-B1A2-84F1EC9D7093}" destId="{BE900E70-E699-4207-8EFB-0E4848F6CF91}" srcOrd="2" destOrd="0" presId="urn:microsoft.com/office/officeart/2005/8/layout/orgChart1"/>
    <dgm:cxn modelId="{07264EE7-43E0-41A0-9BBB-47AB07A8DB22}" type="presParOf" srcId="{F855DB9D-69CC-4FD5-A76C-A5A56E7FD1C1}" destId="{594D7BD2-9B8C-435F-9D56-7B9000DA4BD0}" srcOrd="2" destOrd="0" presId="urn:microsoft.com/office/officeart/2005/8/layout/orgChart1"/>
    <dgm:cxn modelId="{866ABB88-9D49-4E7A-A743-2C6EF635AE10}" type="presParOf" srcId="{F855DB9D-69CC-4FD5-A76C-A5A56E7FD1C1}" destId="{ACEAE95E-A6C4-4202-844E-132A6E29D20B}" srcOrd="3" destOrd="0" presId="urn:microsoft.com/office/officeart/2005/8/layout/orgChart1"/>
    <dgm:cxn modelId="{465C5384-D4ED-43F8-A35D-3AD5F90E83DA}" type="presParOf" srcId="{ACEAE95E-A6C4-4202-844E-132A6E29D20B}" destId="{BCE52B05-31C9-44AB-AC41-268C36F05089}" srcOrd="0" destOrd="0" presId="urn:microsoft.com/office/officeart/2005/8/layout/orgChart1"/>
    <dgm:cxn modelId="{1F20136E-0E19-4DFF-A4E4-1D8D74A9401F}" type="presParOf" srcId="{BCE52B05-31C9-44AB-AC41-268C36F05089}" destId="{65FDF074-A94C-47BA-A310-D0760B8C7562}" srcOrd="0" destOrd="0" presId="urn:microsoft.com/office/officeart/2005/8/layout/orgChart1"/>
    <dgm:cxn modelId="{421F3E12-EAEC-4806-B47E-E9708D2B3155}" type="presParOf" srcId="{BCE52B05-31C9-44AB-AC41-268C36F05089}" destId="{C16F4867-82FB-407D-8B7B-512C24DDF75E}" srcOrd="1" destOrd="0" presId="urn:microsoft.com/office/officeart/2005/8/layout/orgChart1"/>
    <dgm:cxn modelId="{4FD745E2-B6D9-4C6C-9C63-FD2ACFBFA3CC}" type="presParOf" srcId="{ACEAE95E-A6C4-4202-844E-132A6E29D20B}" destId="{B8E8EDE5-8E11-4C37-BC96-ECECB81D6A16}" srcOrd="1" destOrd="0" presId="urn:microsoft.com/office/officeart/2005/8/layout/orgChart1"/>
    <dgm:cxn modelId="{083CBCF0-1E71-4DB8-839A-6B1C7255EFD9}" type="presParOf" srcId="{ACEAE95E-A6C4-4202-844E-132A6E29D20B}" destId="{F458B71F-A9B6-4A98-9FF4-CC20DAF06B2F}" srcOrd="2" destOrd="0" presId="urn:microsoft.com/office/officeart/2005/8/layout/orgChart1"/>
    <dgm:cxn modelId="{8987C1A0-06FE-4A30-8550-58A84761321F}" type="presParOf" srcId="{F855DB9D-69CC-4FD5-A76C-A5A56E7FD1C1}" destId="{1E616F07-481B-440C-B773-02A217F2AFBD}" srcOrd="4" destOrd="0" presId="urn:microsoft.com/office/officeart/2005/8/layout/orgChart1"/>
    <dgm:cxn modelId="{4A79FE49-4430-44E1-99A6-17BBDDAEADBB}" type="presParOf" srcId="{F855DB9D-69CC-4FD5-A76C-A5A56E7FD1C1}" destId="{C07B61B4-1359-40CA-9C6F-5FF3FAF1BED3}" srcOrd="5" destOrd="0" presId="urn:microsoft.com/office/officeart/2005/8/layout/orgChart1"/>
    <dgm:cxn modelId="{A435603B-3A71-4E17-A74F-9EA3FC90BEFA}" type="presParOf" srcId="{C07B61B4-1359-40CA-9C6F-5FF3FAF1BED3}" destId="{A0CB8787-7943-4961-9BDF-925CF739C22F}" srcOrd="0" destOrd="0" presId="urn:microsoft.com/office/officeart/2005/8/layout/orgChart1"/>
    <dgm:cxn modelId="{C64F2E14-8089-4BF7-AFCF-0E7EC6B521D8}" type="presParOf" srcId="{A0CB8787-7943-4961-9BDF-925CF739C22F}" destId="{4628112D-BB39-45FA-8000-43A8A90EA310}" srcOrd="0" destOrd="0" presId="urn:microsoft.com/office/officeart/2005/8/layout/orgChart1"/>
    <dgm:cxn modelId="{ADEC0DFF-0712-4A3F-835F-6AA5139EAC87}" type="presParOf" srcId="{A0CB8787-7943-4961-9BDF-925CF739C22F}" destId="{F5894059-2AC2-45B3-BBCC-83EB31A6A34C}" srcOrd="1" destOrd="0" presId="urn:microsoft.com/office/officeart/2005/8/layout/orgChart1"/>
    <dgm:cxn modelId="{76CAB3A4-7568-4FF4-AD73-634B91B1BEA8}" type="presParOf" srcId="{C07B61B4-1359-40CA-9C6F-5FF3FAF1BED3}" destId="{ACDC378F-39C9-45CE-9007-D34542BB2D98}" srcOrd="1" destOrd="0" presId="urn:microsoft.com/office/officeart/2005/8/layout/orgChart1"/>
    <dgm:cxn modelId="{AD4CA6E3-EADC-405E-B852-DFEC2AA1E57C}" type="presParOf" srcId="{ACDC378F-39C9-45CE-9007-D34542BB2D98}" destId="{0C66EF18-2EC3-474A-BDE2-8EE1449AF839}" srcOrd="0" destOrd="0" presId="urn:microsoft.com/office/officeart/2005/8/layout/orgChart1"/>
    <dgm:cxn modelId="{A09F88D5-9F07-4F8F-8E3C-C29A708CCC8A}" type="presParOf" srcId="{ACDC378F-39C9-45CE-9007-D34542BB2D98}" destId="{1F052C00-B77E-483B-8C8E-7797C40A37C1}" srcOrd="1" destOrd="0" presId="urn:microsoft.com/office/officeart/2005/8/layout/orgChart1"/>
    <dgm:cxn modelId="{5E5AEF32-75D4-4777-BBE4-DBEEEC9C2B37}" type="presParOf" srcId="{1F052C00-B77E-483B-8C8E-7797C40A37C1}" destId="{CA14B216-480F-4660-ADD3-15850F0DBDE0}" srcOrd="0" destOrd="0" presId="urn:microsoft.com/office/officeart/2005/8/layout/orgChart1"/>
    <dgm:cxn modelId="{5F18E483-35E6-426C-BF7D-D1C995C4B186}" type="presParOf" srcId="{CA14B216-480F-4660-ADD3-15850F0DBDE0}" destId="{71B5AA8E-1B65-4EC2-89F1-DB9EA8A98E31}" srcOrd="0" destOrd="0" presId="urn:microsoft.com/office/officeart/2005/8/layout/orgChart1"/>
    <dgm:cxn modelId="{474847A3-9A55-41D8-8499-CE8B14E2E3DC}" type="presParOf" srcId="{CA14B216-480F-4660-ADD3-15850F0DBDE0}" destId="{32203E48-D9BA-4606-8EC1-049A6ECE64B3}" srcOrd="1" destOrd="0" presId="urn:microsoft.com/office/officeart/2005/8/layout/orgChart1"/>
    <dgm:cxn modelId="{ED487B02-F0A6-472E-AB2A-AAC5BDC128D0}" type="presParOf" srcId="{1F052C00-B77E-483B-8C8E-7797C40A37C1}" destId="{D6BD0501-D8DA-46D0-86E4-44057F229CA8}" srcOrd="1" destOrd="0" presId="urn:microsoft.com/office/officeart/2005/8/layout/orgChart1"/>
    <dgm:cxn modelId="{89C8BC50-0825-4119-8992-BC74777DC8EF}" type="presParOf" srcId="{1F052C00-B77E-483B-8C8E-7797C40A37C1}" destId="{F4D2692E-937B-448B-AEF9-48002BD0A7E0}" srcOrd="2" destOrd="0" presId="urn:microsoft.com/office/officeart/2005/8/layout/orgChart1"/>
    <dgm:cxn modelId="{C3A34DC0-95D1-4EC2-9E10-C830E5D54D33}" type="presParOf" srcId="{ACDC378F-39C9-45CE-9007-D34542BB2D98}" destId="{AD6A1F3C-E249-4AF5-82A8-8824BCE21D28}" srcOrd="2" destOrd="0" presId="urn:microsoft.com/office/officeart/2005/8/layout/orgChart1"/>
    <dgm:cxn modelId="{1DF73D5A-DEB4-4B26-9855-138AA7681CDD}" type="presParOf" srcId="{ACDC378F-39C9-45CE-9007-D34542BB2D98}" destId="{468253EC-B23F-4C3F-9C12-BBF2D1C4BEF7}" srcOrd="3" destOrd="0" presId="urn:microsoft.com/office/officeart/2005/8/layout/orgChart1"/>
    <dgm:cxn modelId="{42C823F6-8858-4694-8651-AB1348CFF683}" type="presParOf" srcId="{468253EC-B23F-4C3F-9C12-BBF2D1C4BEF7}" destId="{691FA654-8418-4850-A7A2-DC872FCEB820}" srcOrd="0" destOrd="0" presId="urn:microsoft.com/office/officeart/2005/8/layout/orgChart1"/>
    <dgm:cxn modelId="{A73DB444-EA6D-414E-95F9-6F1DCA98C34C}" type="presParOf" srcId="{691FA654-8418-4850-A7A2-DC872FCEB820}" destId="{DFB0CE57-CD7D-4121-BF74-EF6E13B31647}" srcOrd="0" destOrd="0" presId="urn:microsoft.com/office/officeart/2005/8/layout/orgChart1"/>
    <dgm:cxn modelId="{7A90B78A-A326-4BBF-AB4F-0B9829AE1C30}" type="presParOf" srcId="{691FA654-8418-4850-A7A2-DC872FCEB820}" destId="{B3B96511-AB0A-457B-81BE-3DE1D7675730}" srcOrd="1" destOrd="0" presId="urn:microsoft.com/office/officeart/2005/8/layout/orgChart1"/>
    <dgm:cxn modelId="{2501A181-B0ED-433F-8F9C-005E52AEB6C1}" type="presParOf" srcId="{468253EC-B23F-4C3F-9C12-BBF2D1C4BEF7}" destId="{23C6D1B7-EA0B-44BA-AC0B-D7DF9A9A203A}" srcOrd="1" destOrd="0" presId="urn:microsoft.com/office/officeart/2005/8/layout/orgChart1"/>
    <dgm:cxn modelId="{EAD1EEE7-8779-4D40-91C4-063032F310B9}" type="presParOf" srcId="{23C6D1B7-EA0B-44BA-AC0B-D7DF9A9A203A}" destId="{52A67BFE-47C8-4FC1-BE21-F18798718F2D}" srcOrd="0" destOrd="0" presId="urn:microsoft.com/office/officeart/2005/8/layout/orgChart1"/>
    <dgm:cxn modelId="{99445B05-2C0D-46AA-87C3-15147D69D788}" type="presParOf" srcId="{23C6D1B7-EA0B-44BA-AC0B-D7DF9A9A203A}" destId="{EDBEE296-0F06-4248-92BD-6021E7DA68F7}" srcOrd="1" destOrd="0" presId="urn:microsoft.com/office/officeart/2005/8/layout/orgChart1"/>
    <dgm:cxn modelId="{5E0E3F4B-6B58-4CCB-835B-42FE78490B89}" type="presParOf" srcId="{EDBEE296-0F06-4248-92BD-6021E7DA68F7}" destId="{6F29961B-F222-4EE0-B827-BA0BA5BE97EA}" srcOrd="0" destOrd="0" presId="urn:microsoft.com/office/officeart/2005/8/layout/orgChart1"/>
    <dgm:cxn modelId="{BA9FB696-44FF-4BAF-9242-E82E824EBB85}" type="presParOf" srcId="{6F29961B-F222-4EE0-B827-BA0BA5BE97EA}" destId="{579ABAB3-7FDB-4A06-AB6F-359BBA8F6A57}" srcOrd="0" destOrd="0" presId="urn:microsoft.com/office/officeart/2005/8/layout/orgChart1"/>
    <dgm:cxn modelId="{8100D7CA-7A20-4D80-878B-95C8DA94B1E7}" type="presParOf" srcId="{6F29961B-F222-4EE0-B827-BA0BA5BE97EA}" destId="{360A7827-25A4-473E-9F6D-6E13A2CEC6EE}" srcOrd="1" destOrd="0" presId="urn:microsoft.com/office/officeart/2005/8/layout/orgChart1"/>
    <dgm:cxn modelId="{4E0CB330-C74E-4775-B161-73CD16A1E555}" type="presParOf" srcId="{EDBEE296-0F06-4248-92BD-6021E7DA68F7}" destId="{112370D4-ED46-485B-9AB5-EF3280F97CC7}" srcOrd="1" destOrd="0" presId="urn:microsoft.com/office/officeart/2005/8/layout/orgChart1"/>
    <dgm:cxn modelId="{FE0F59DC-8F07-4640-B992-B9831DB3521C}" type="presParOf" srcId="{112370D4-ED46-485B-9AB5-EF3280F97CC7}" destId="{C4947F25-0F2D-4D9D-9069-AA8D954A2B9A}" srcOrd="0" destOrd="0" presId="urn:microsoft.com/office/officeart/2005/8/layout/orgChart1"/>
    <dgm:cxn modelId="{21A41CA0-433C-4FA8-82ED-C7B22B3C87F1}" type="presParOf" srcId="{112370D4-ED46-485B-9AB5-EF3280F97CC7}" destId="{BF12B0C1-DAA6-4AFB-9C8D-607C3093BE1A}" srcOrd="1" destOrd="0" presId="urn:microsoft.com/office/officeart/2005/8/layout/orgChart1"/>
    <dgm:cxn modelId="{70861495-E9E0-430E-8659-BAC0E3B6D0C4}" type="presParOf" srcId="{BF12B0C1-DAA6-4AFB-9C8D-607C3093BE1A}" destId="{4A0CE45F-0B7D-44B2-868A-09C495057707}" srcOrd="0" destOrd="0" presId="urn:microsoft.com/office/officeart/2005/8/layout/orgChart1"/>
    <dgm:cxn modelId="{9300FB69-21E6-41CC-A47D-5910EDC2AB29}" type="presParOf" srcId="{4A0CE45F-0B7D-44B2-868A-09C495057707}" destId="{E09D9BB1-1553-4026-9D02-92B9A0573521}" srcOrd="0" destOrd="0" presId="urn:microsoft.com/office/officeart/2005/8/layout/orgChart1"/>
    <dgm:cxn modelId="{853A68F6-CB57-4015-8B30-EB61C759E78B}" type="presParOf" srcId="{4A0CE45F-0B7D-44B2-868A-09C495057707}" destId="{DAD6F175-EEDD-4794-AE29-D6E7ED39CA5A}" srcOrd="1" destOrd="0" presId="urn:microsoft.com/office/officeart/2005/8/layout/orgChart1"/>
    <dgm:cxn modelId="{B81751AB-22FA-4EA2-B613-D2CD76B0FE4D}" type="presParOf" srcId="{BF12B0C1-DAA6-4AFB-9C8D-607C3093BE1A}" destId="{396FB115-70EF-4DB9-B908-F989EEAA8629}" srcOrd="1" destOrd="0" presId="urn:microsoft.com/office/officeart/2005/8/layout/orgChart1"/>
    <dgm:cxn modelId="{2BDB1FEA-A9C3-463D-A56D-266556C7D68B}" type="presParOf" srcId="{BF12B0C1-DAA6-4AFB-9C8D-607C3093BE1A}" destId="{83BF8C7A-0CCC-4900-8454-651D23895655}" srcOrd="2" destOrd="0" presId="urn:microsoft.com/office/officeart/2005/8/layout/orgChart1"/>
    <dgm:cxn modelId="{8712A58F-A98A-4EC7-8724-A2E067F54BA1}" type="presParOf" srcId="{112370D4-ED46-485B-9AB5-EF3280F97CC7}" destId="{896BFC72-C114-40A9-A674-0EC8EDC2E57E}" srcOrd="2" destOrd="0" presId="urn:microsoft.com/office/officeart/2005/8/layout/orgChart1"/>
    <dgm:cxn modelId="{8F0927EE-B38E-4D55-83C5-536B620FC24D}" type="presParOf" srcId="{112370D4-ED46-485B-9AB5-EF3280F97CC7}" destId="{E498CEA1-2E02-4301-962F-C38B687175E5}" srcOrd="3" destOrd="0" presId="urn:microsoft.com/office/officeart/2005/8/layout/orgChart1"/>
    <dgm:cxn modelId="{9ABBF111-1B0D-4020-B617-66301F45D248}" type="presParOf" srcId="{E498CEA1-2E02-4301-962F-C38B687175E5}" destId="{87276BDA-6E7A-491D-86A1-57DB677BF9F6}" srcOrd="0" destOrd="0" presId="urn:microsoft.com/office/officeart/2005/8/layout/orgChart1"/>
    <dgm:cxn modelId="{8F9C6071-3E03-4C12-967C-F58D7183968C}" type="presParOf" srcId="{87276BDA-6E7A-491D-86A1-57DB677BF9F6}" destId="{36643B4E-DA6D-49B3-9273-C3406DF4FCA5}" srcOrd="0" destOrd="0" presId="urn:microsoft.com/office/officeart/2005/8/layout/orgChart1"/>
    <dgm:cxn modelId="{8C50EE98-6E14-4C1A-81AD-46A4E34233FA}" type="presParOf" srcId="{87276BDA-6E7A-491D-86A1-57DB677BF9F6}" destId="{CBAEBC0B-4643-434D-947E-4F24883D3E0A}" srcOrd="1" destOrd="0" presId="urn:microsoft.com/office/officeart/2005/8/layout/orgChart1"/>
    <dgm:cxn modelId="{EAAD1A09-B2CC-4E39-8E30-C9C80C58A477}" type="presParOf" srcId="{E498CEA1-2E02-4301-962F-C38B687175E5}" destId="{34EE1B54-1801-4814-BFFC-A08BFE98124A}" srcOrd="1" destOrd="0" presId="urn:microsoft.com/office/officeart/2005/8/layout/orgChart1"/>
    <dgm:cxn modelId="{0A6597AA-6A6A-410D-9D8D-DEED8D47E56A}" type="presParOf" srcId="{E498CEA1-2E02-4301-962F-C38B687175E5}" destId="{9AA9E0AF-7628-4751-8A6B-A20959697B22}" srcOrd="2" destOrd="0" presId="urn:microsoft.com/office/officeart/2005/8/layout/orgChart1"/>
    <dgm:cxn modelId="{8333193A-E681-42F0-8660-31E8680A86CD}" type="presParOf" srcId="{EDBEE296-0F06-4248-92BD-6021E7DA68F7}" destId="{89170BAE-3594-495B-912C-AF4A1F3B4A5B}" srcOrd="2" destOrd="0" presId="urn:microsoft.com/office/officeart/2005/8/layout/orgChart1"/>
    <dgm:cxn modelId="{E8F8FE83-5E7E-4034-B2EB-5FACE7DD7748}" type="presParOf" srcId="{23C6D1B7-EA0B-44BA-AC0B-D7DF9A9A203A}" destId="{8E3E614E-CC65-4FF5-8736-25B03099ADC8}" srcOrd="2" destOrd="0" presId="urn:microsoft.com/office/officeart/2005/8/layout/orgChart1"/>
    <dgm:cxn modelId="{94CCEF84-7863-4B29-A7A6-82A307BD001B}" type="presParOf" srcId="{23C6D1B7-EA0B-44BA-AC0B-D7DF9A9A203A}" destId="{0AFF9E49-B260-462B-87D1-C9BEC6F5E359}" srcOrd="3" destOrd="0" presId="urn:microsoft.com/office/officeart/2005/8/layout/orgChart1"/>
    <dgm:cxn modelId="{DA48FFD8-B69E-44BF-9597-2AC2F4EE4721}" type="presParOf" srcId="{0AFF9E49-B260-462B-87D1-C9BEC6F5E359}" destId="{43ADD66E-6DCC-4643-98D2-119ADE7BFB01}" srcOrd="0" destOrd="0" presId="urn:microsoft.com/office/officeart/2005/8/layout/orgChart1"/>
    <dgm:cxn modelId="{86BCF0FB-CE4D-4273-820A-9468E62601E0}" type="presParOf" srcId="{43ADD66E-6DCC-4643-98D2-119ADE7BFB01}" destId="{0E1C4B60-1B8E-4FEA-84A6-96EA0B82240C}" srcOrd="0" destOrd="0" presId="urn:microsoft.com/office/officeart/2005/8/layout/orgChart1"/>
    <dgm:cxn modelId="{465EBAE3-C775-464A-8EA3-85F385501719}" type="presParOf" srcId="{43ADD66E-6DCC-4643-98D2-119ADE7BFB01}" destId="{12C101EF-5814-426B-9F4D-19F594C1933F}" srcOrd="1" destOrd="0" presId="urn:microsoft.com/office/officeart/2005/8/layout/orgChart1"/>
    <dgm:cxn modelId="{F7A4F61B-4114-457D-B594-970D3D3C0589}" type="presParOf" srcId="{0AFF9E49-B260-462B-87D1-C9BEC6F5E359}" destId="{6FA9F9D0-BF21-487E-B676-F21FE85C7884}" srcOrd="1" destOrd="0" presId="urn:microsoft.com/office/officeart/2005/8/layout/orgChart1"/>
    <dgm:cxn modelId="{42C318F0-F5C2-4CBE-BE1F-0787BBDE4E57}" type="presParOf" srcId="{6FA9F9D0-BF21-487E-B676-F21FE85C7884}" destId="{C6A43CD3-A55C-41A1-B657-E89D246DF3E0}" srcOrd="0" destOrd="0" presId="urn:microsoft.com/office/officeart/2005/8/layout/orgChart1"/>
    <dgm:cxn modelId="{D76C4713-4C5F-42E8-A2FD-8B0402476605}" type="presParOf" srcId="{6FA9F9D0-BF21-487E-B676-F21FE85C7884}" destId="{330A4DCE-58CA-4784-A7D1-66B8B2199F6E}" srcOrd="1" destOrd="0" presId="urn:microsoft.com/office/officeart/2005/8/layout/orgChart1"/>
    <dgm:cxn modelId="{0FE918AA-828B-484D-B06D-8D930AA3A0EB}" type="presParOf" srcId="{330A4DCE-58CA-4784-A7D1-66B8B2199F6E}" destId="{6FBB0079-9397-469D-9496-41CF3D1F36B1}" srcOrd="0" destOrd="0" presId="urn:microsoft.com/office/officeart/2005/8/layout/orgChart1"/>
    <dgm:cxn modelId="{932CF3A9-43D2-4D5C-8B2B-ADBE3E6E7F56}" type="presParOf" srcId="{6FBB0079-9397-469D-9496-41CF3D1F36B1}" destId="{1ABC6B30-9DDF-4E45-AFEC-A9898407B0EF}" srcOrd="0" destOrd="0" presId="urn:microsoft.com/office/officeart/2005/8/layout/orgChart1"/>
    <dgm:cxn modelId="{8AC1B73D-1D55-4B05-9207-2E51FB8C7924}" type="presParOf" srcId="{6FBB0079-9397-469D-9496-41CF3D1F36B1}" destId="{4528DAAF-4DC8-4F6E-B775-2BA38C11CBDE}" srcOrd="1" destOrd="0" presId="urn:microsoft.com/office/officeart/2005/8/layout/orgChart1"/>
    <dgm:cxn modelId="{95BDAD4D-7D05-4756-B79B-00C2C829CEC7}" type="presParOf" srcId="{330A4DCE-58CA-4784-A7D1-66B8B2199F6E}" destId="{7DF8F816-918B-4342-BA5F-19129D739A5B}" srcOrd="1" destOrd="0" presId="urn:microsoft.com/office/officeart/2005/8/layout/orgChart1"/>
    <dgm:cxn modelId="{33563DDB-5871-490F-A8A8-DDEB5A5E4D42}" type="presParOf" srcId="{330A4DCE-58CA-4784-A7D1-66B8B2199F6E}" destId="{73E6CF15-C6D9-4DB3-992F-61D6B195D09F}" srcOrd="2" destOrd="0" presId="urn:microsoft.com/office/officeart/2005/8/layout/orgChart1"/>
    <dgm:cxn modelId="{FCC9EA60-ACEC-4680-88FF-67A862930977}" type="presParOf" srcId="{0AFF9E49-B260-462B-87D1-C9BEC6F5E359}" destId="{3FA952A1-3013-413C-A8A0-2DC69686AEAA}" srcOrd="2" destOrd="0" presId="urn:microsoft.com/office/officeart/2005/8/layout/orgChart1"/>
    <dgm:cxn modelId="{EF129CFC-8A49-46BD-A5B1-0B3BB6DF55F0}" type="presParOf" srcId="{23C6D1B7-EA0B-44BA-AC0B-D7DF9A9A203A}" destId="{3FE22B0B-8C59-4918-9451-B2ACB5ABBC53}" srcOrd="4" destOrd="0" presId="urn:microsoft.com/office/officeart/2005/8/layout/orgChart1"/>
    <dgm:cxn modelId="{D5959A12-4D0B-4438-8505-02BA382CAD74}" type="presParOf" srcId="{23C6D1B7-EA0B-44BA-AC0B-D7DF9A9A203A}" destId="{B877FC25-5367-4A35-8A17-300A4A2297FD}" srcOrd="5" destOrd="0" presId="urn:microsoft.com/office/officeart/2005/8/layout/orgChart1"/>
    <dgm:cxn modelId="{D8FD2EC5-CA38-4F21-B9D4-09B7B31BC20F}" type="presParOf" srcId="{B877FC25-5367-4A35-8A17-300A4A2297FD}" destId="{0ED9AE49-05D6-47AF-93B0-B1C37179124D}" srcOrd="0" destOrd="0" presId="urn:microsoft.com/office/officeart/2005/8/layout/orgChart1"/>
    <dgm:cxn modelId="{C4233DC3-ED6A-463E-A1EE-5A1615EE92E3}" type="presParOf" srcId="{0ED9AE49-05D6-47AF-93B0-B1C37179124D}" destId="{B84506F0-ED57-474D-BB7E-E1DE5706AC09}" srcOrd="0" destOrd="0" presId="urn:microsoft.com/office/officeart/2005/8/layout/orgChart1"/>
    <dgm:cxn modelId="{54ED2231-012C-4AEF-946D-1456AA58CA54}" type="presParOf" srcId="{0ED9AE49-05D6-47AF-93B0-B1C37179124D}" destId="{941B5F46-9E0F-485D-8D53-8857721DA604}" srcOrd="1" destOrd="0" presId="urn:microsoft.com/office/officeart/2005/8/layout/orgChart1"/>
    <dgm:cxn modelId="{E3BC2C95-E388-4DD1-90CB-74A234B840D8}" type="presParOf" srcId="{B877FC25-5367-4A35-8A17-300A4A2297FD}" destId="{C41FC0D4-F335-4375-A2ED-57B575CC2C6B}" srcOrd="1" destOrd="0" presId="urn:microsoft.com/office/officeart/2005/8/layout/orgChart1"/>
    <dgm:cxn modelId="{2348097A-BE0B-411B-A8B8-8361A8A7D4C4}" type="presParOf" srcId="{C41FC0D4-F335-4375-A2ED-57B575CC2C6B}" destId="{0DBC5E7C-47DD-4909-BE31-0DE021274394}" srcOrd="0" destOrd="0" presId="urn:microsoft.com/office/officeart/2005/8/layout/orgChart1"/>
    <dgm:cxn modelId="{7D82F0F4-1391-40D1-8EB3-494B4B6D606E}" type="presParOf" srcId="{C41FC0D4-F335-4375-A2ED-57B575CC2C6B}" destId="{63D87880-E78E-4CE8-9213-C4E8297EE777}" srcOrd="1" destOrd="0" presId="urn:microsoft.com/office/officeart/2005/8/layout/orgChart1"/>
    <dgm:cxn modelId="{7DD3BE5A-E489-4D6D-AA39-ACDFE3325499}" type="presParOf" srcId="{63D87880-E78E-4CE8-9213-C4E8297EE777}" destId="{8FEB95E4-183B-4D68-9102-BC79E3FB262A}" srcOrd="0" destOrd="0" presId="urn:microsoft.com/office/officeart/2005/8/layout/orgChart1"/>
    <dgm:cxn modelId="{5072DB30-D049-4A33-8F67-A297C2507DFA}" type="presParOf" srcId="{8FEB95E4-183B-4D68-9102-BC79E3FB262A}" destId="{04C453C7-929D-4C4C-A98C-135D48946723}" srcOrd="0" destOrd="0" presId="urn:microsoft.com/office/officeart/2005/8/layout/orgChart1"/>
    <dgm:cxn modelId="{1ECDE884-7E81-4726-B828-A53B358105FD}" type="presParOf" srcId="{8FEB95E4-183B-4D68-9102-BC79E3FB262A}" destId="{E0B8C465-45B6-4097-9679-E7B69893CE39}" srcOrd="1" destOrd="0" presId="urn:microsoft.com/office/officeart/2005/8/layout/orgChart1"/>
    <dgm:cxn modelId="{980F2BDD-FC75-420B-8220-33C4A007FD5A}" type="presParOf" srcId="{63D87880-E78E-4CE8-9213-C4E8297EE777}" destId="{E8FDE8A8-FA3C-4CE7-96D8-D1A689954378}" srcOrd="1" destOrd="0" presId="urn:microsoft.com/office/officeart/2005/8/layout/orgChart1"/>
    <dgm:cxn modelId="{78244398-FF52-4846-B7A1-3400E2BCFF70}" type="presParOf" srcId="{63D87880-E78E-4CE8-9213-C4E8297EE777}" destId="{6626E104-3E64-4843-ACD6-FB87E68BC48C}" srcOrd="2" destOrd="0" presId="urn:microsoft.com/office/officeart/2005/8/layout/orgChart1"/>
    <dgm:cxn modelId="{6DDCC29A-04AB-44AE-9CEC-CFD443E6187D}" type="presParOf" srcId="{C41FC0D4-F335-4375-A2ED-57B575CC2C6B}" destId="{311FDA2B-1FC5-4387-8850-4157B38FC23D}" srcOrd="2" destOrd="0" presId="urn:microsoft.com/office/officeart/2005/8/layout/orgChart1"/>
    <dgm:cxn modelId="{1EF877F3-6D87-4EE2-B50C-326E7B382113}" type="presParOf" srcId="{C41FC0D4-F335-4375-A2ED-57B575CC2C6B}" destId="{F274EC14-F9EF-4C0C-B889-46A9F5A1DE4D}" srcOrd="3" destOrd="0" presId="urn:microsoft.com/office/officeart/2005/8/layout/orgChart1"/>
    <dgm:cxn modelId="{11EBC7D3-B4B8-4A7F-B6D2-339E594647C5}" type="presParOf" srcId="{F274EC14-F9EF-4C0C-B889-46A9F5A1DE4D}" destId="{97B89332-A64A-4130-A026-17B229B471B9}" srcOrd="0" destOrd="0" presId="urn:microsoft.com/office/officeart/2005/8/layout/orgChart1"/>
    <dgm:cxn modelId="{E31F1780-796B-4D6F-8AAF-5D06A8B59105}" type="presParOf" srcId="{97B89332-A64A-4130-A026-17B229B471B9}" destId="{C3492823-9447-49FA-9AFD-70BB609D369E}" srcOrd="0" destOrd="0" presId="urn:microsoft.com/office/officeart/2005/8/layout/orgChart1"/>
    <dgm:cxn modelId="{784457DE-6214-42BB-83A9-BE1A39D4BBB2}" type="presParOf" srcId="{97B89332-A64A-4130-A026-17B229B471B9}" destId="{9A8A4B10-F552-49A4-9449-ED18AE81E2B7}" srcOrd="1" destOrd="0" presId="urn:microsoft.com/office/officeart/2005/8/layout/orgChart1"/>
    <dgm:cxn modelId="{4558C477-13F3-4996-8AD0-0ED9D25A4F48}" type="presParOf" srcId="{F274EC14-F9EF-4C0C-B889-46A9F5A1DE4D}" destId="{C21258F1-94EC-41FE-AAB6-9683436B1838}" srcOrd="1" destOrd="0" presId="urn:microsoft.com/office/officeart/2005/8/layout/orgChart1"/>
    <dgm:cxn modelId="{BB0EA754-79C0-442D-8C26-4A2DDE313B9D}" type="presParOf" srcId="{F274EC14-F9EF-4C0C-B889-46A9F5A1DE4D}" destId="{30858307-CDE8-4146-B15F-7FEC220ADDF3}" srcOrd="2" destOrd="0" presId="urn:microsoft.com/office/officeart/2005/8/layout/orgChart1"/>
    <dgm:cxn modelId="{3C655004-EFD3-4997-9D2E-CBE4B872D973}" type="presParOf" srcId="{B877FC25-5367-4A35-8A17-300A4A2297FD}" destId="{58D52686-9A57-4D8E-A79A-657A7AA0CE69}" srcOrd="2" destOrd="0" presId="urn:microsoft.com/office/officeart/2005/8/layout/orgChart1"/>
    <dgm:cxn modelId="{70DFE72D-65F7-48D0-82E8-43D650BE7935}" type="presParOf" srcId="{468253EC-B23F-4C3F-9C12-BBF2D1C4BEF7}" destId="{DE811C5E-8605-479E-BA2D-7FAD57162AAA}" srcOrd="2" destOrd="0" presId="urn:microsoft.com/office/officeart/2005/8/layout/orgChart1"/>
    <dgm:cxn modelId="{9F401138-F099-45B9-9970-FBCD3277AF4F}" type="presParOf" srcId="{ACDC378F-39C9-45CE-9007-D34542BB2D98}" destId="{4CA43917-9BC8-435D-A6AB-C1C254B57BAA}" srcOrd="4" destOrd="0" presId="urn:microsoft.com/office/officeart/2005/8/layout/orgChart1"/>
    <dgm:cxn modelId="{022ACA27-C671-48B3-86D5-4D5850C9A37C}" type="presParOf" srcId="{ACDC378F-39C9-45CE-9007-D34542BB2D98}" destId="{29D58F88-E9C6-499B-96EF-D26A4C3C9991}" srcOrd="5" destOrd="0" presId="urn:microsoft.com/office/officeart/2005/8/layout/orgChart1"/>
    <dgm:cxn modelId="{57B728FB-B161-4318-B598-EB7A3A76F417}" type="presParOf" srcId="{29D58F88-E9C6-499B-96EF-D26A4C3C9991}" destId="{582A486D-E47C-42B8-9D99-C6EDF2699169}" srcOrd="0" destOrd="0" presId="urn:microsoft.com/office/officeart/2005/8/layout/orgChart1"/>
    <dgm:cxn modelId="{D9119102-EE58-4640-AD03-830289B972D4}" type="presParOf" srcId="{582A486D-E47C-42B8-9D99-C6EDF2699169}" destId="{E726BD17-4AEB-4B9F-AB65-82D62255518F}" srcOrd="0" destOrd="0" presId="urn:microsoft.com/office/officeart/2005/8/layout/orgChart1"/>
    <dgm:cxn modelId="{2850A7D1-5D4C-4B06-B8BD-92FEE08C0BEC}" type="presParOf" srcId="{582A486D-E47C-42B8-9D99-C6EDF2699169}" destId="{74AE750D-8514-4DC5-A570-2C9DF9A555F4}" srcOrd="1" destOrd="0" presId="urn:microsoft.com/office/officeart/2005/8/layout/orgChart1"/>
    <dgm:cxn modelId="{18FCD2C3-FA7F-4791-ACF5-BC0D9D063F8A}" type="presParOf" srcId="{29D58F88-E9C6-499B-96EF-D26A4C3C9991}" destId="{4FD8AC05-9B6D-4856-AB20-3A99DBB98964}" srcOrd="1" destOrd="0" presId="urn:microsoft.com/office/officeart/2005/8/layout/orgChart1"/>
    <dgm:cxn modelId="{10E78F87-90AA-4AD6-9B99-2D0F07D30F6C}" type="presParOf" srcId="{29D58F88-E9C6-499B-96EF-D26A4C3C9991}" destId="{38D707A2-2838-440D-87C6-0612D22F1006}" srcOrd="2" destOrd="0" presId="urn:microsoft.com/office/officeart/2005/8/layout/orgChart1"/>
    <dgm:cxn modelId="{C46492B3-A2E0-4046-B39A-C329F0B71FEC}" type="presParOf" srcId="{C07B61B4-1359-40CA-9C6F-5FF3FAF1BED3}" destId="{7DCFF685-FA70-46AD-BD7C-BE0ECD687CFF}" srcOrd="2" destOrd="0" presId="urn:microsoft.com/office/officeart/2005/8/layout/orgChart1"/>
    <dgm:cxn modelId="{CE7F6B26-9A5B-4BCF-A7F4-1365BB15F641}" type="presParOf" srcId="{F855DB9D-69CC-4FD5-A76C-A5A56E7FD1C1}" destId="{AC123E51-27DD-4A95-AD91-08F9987D73B0}" srcOrd="6" destOrd="0" presId="urn:microsoft.com/office/officeart/2005/8/layout/orgChart1"/>
    <dgm:cxn modelId="{9B9125A2-4FE7-4298-885D-F338C0360E50}" type="presParOf" srcId="{F855DB9D-69CC-4FD5-A76C-A5A56E7FD1C1}" destId="{199DFEEE-9970-4899-8428-69ACE6547CBD}" srcOrd="7" destOrd="0" presId="urn:microsoft.com/office/officeart/2005/8/layout/orgChart1"/>
    <dgm:cxn modelId="{64835FA7-F866-402C-9FF2-03B55EC0F8F7}" type="presParOf" srcId="{199DFEEE-9970-4899-8428-69ACE6547CBD}" destId="{E7BBD827-7667-4A66-A679-6AED64C743E9}" srcOrd="0" destOrd="0" presId="urn:microsoft.com/office/officeart/2005/8/layout/orgChart1"/>
    <dgm:cxn modelId="{197DAF05-7BFD-4F63-872E-DBBE353E02D9}" type="presParOf" srcId="{E7BBD827-7667-4A66-A679-6AED64C743E9}" destId="{30408474-F65B-46BA-8173-3D16B33F789A}" srcOrd="0" destOrd="0" presId="urn:microsoft.com/office/officeart/2005/8/layout/orgChart1"/>
    <dgm:cxn modelId="{28B2F2A5-624E-4D6B-B5D2-33E6D56F9FE1}" type="presParOf" srcId="{E7BBD827-7667-4A66-A679-6AED64C743E9}" destId="{66E6D99B-7E6D-4B39-BDAD-3AC15911A953}" srcOrd="1" destOrd="0" presId="urn:microsoft.com/office/officeart/2005/8/layout/orgChart1"/>
    <dgm:cxn modelId="{194D0A21-A82E-4B19-B92F-2545AC45528F}" type="presParOf" srcId="{199DFEEE-9970-4899-8428-69ACE6547CBD}" destId="{E9B7B0E5-737E-4A81-ACD1-88045100645A}" srcOrd="1" destOrd="0" presId="urn:microsoft.com/office/officeart/2005/8/layout/orgChart1"/>
    <dgm:cxn modelId="{DB983AF4-9A1D-44BA-A76D-3D80869CCF01}" type="presParOf" srcId="{E9B7B0E5-737E-4A81-ACD1-88045100645A}" destId="{234E6BF3-90FE-4CD6-94CE-90B49F07F09E}" srcOrd="0" destOrd="0" presId="urn:microsoft.com/office/officeart/2005/8/layout/orgChart1"/>
    <dgm:cxn modelId="{001642A3-DE0F-4165-98F4-78A713757734}" type="presParOf" srcId="{E9B7B0E5-737E-4A81-ACD1-88045100645A}" destId="{0011FEFA-D0FF-4A66-9EC6-789B9A80E4E2}" srcOrd="1" destOrd="0" presId="urn:microsoft.com/office/officeart/2005/8/layout/orgChart1"/>
    <dgm:cxn modelId="{9C1FBC1D-586F-413B-AA23-DC30523A938A}" type="presParOf" srcId="{0011FEFA-D0FF-4A66-9EC6-789B9A80E4E2}" destId="{D8756929-AC5A-4D92-A507-98728395E8D5}" srcOrd="0" destOrd="0" presId="urn:microsoft.com/office/officeart/2005/8/layout/orgChart1"/>
    <dgm:cxn modelId="{2D788C1E-719B-46C2-A177-81A2CBAE0956}" type="presParOf" srcId="{D8756929-AC5A-4D92-A507-98728395E8D5}" destId="{1061BDEB-22FD-42F7-9742-A371A2C4F44A}" srcOrd="0" destOrd="0" presId="urn:microsoft.com/office/officeart/2005/8/layout/orgChart1"/>
    <dgm:cxn modelId="{1DD001AB-850E-4C1F-8727-FEF30E9999E3}" type="presParOf" srcId="{D8756929-AC5A-4D92-A507-98728395E8D5}" destId="{B422AEEF-9AB6-44DA-9024-AA12F82675FF}" srcOrd="1" destOrd="0" presId="urn:microsoft.com/office/officeart/2005/8/layout/orgChart1"/>
    <dgm:cxn modelId="{52DDF1AD-6FB6-4BAF-A76E-A7AF4C4D42F6}" type="presParOf" srcId="{0011FEFA-D0FF-4A66-9EC6-789B9A80E4E2}" destId="{04B39540-7655-47B3-92FC-6A53721D453A}" srcOrd="1" destOrd="0" presId="urn:microsoft.com/office/officeart/2005/8/layout/orgChart1"/>
    <dgm:cxn modelId="{31B73538-07FD-4CEF-9DDD-332CBEED83EF}" type="presParOf" srcId="{0011FEFA-D0FF-4A66-9EC6-789B9A80E4E2}" destId="{FB519AD1-C8A3-4D51-8A11-9AD3F31F5472}" srcOrd="2" destOrd="0" presId="urn:microsoft.com/office/officeart/2005/8/layout/orgChart1"/>
    <dgm:cxn modelId="{92E2DC24-C1B1-4AA0-9145-B7108979E855}" type="presParOf" srcId="{E9B7B0E5-737E-4A81-ACD1-88045100645A}" destId="{B28D6FF6-17AB-47D5-90CE-CC516374D57A}" srcOrd="2" destOrd="0" presId="urn:microsoft.com/office/officeart/2005/8/layout/orgChart1"/>
    <dgm:cxn modelId="{E9D9B678-EB06-4533-AAD2-97CD1030AFCB}" type="presParOf" srcId="{E9B7B0E5-737E-4A81-ACD1-88045100645A}" destId="{7204DDB0-A4B3-494E-9C2F-C99CB3FC6C5E}" srcOrd="3" destOrd="0" presId="urn:microsoft.com/office/officeart/2005/8/layout/orgChart1"/>
    <dgm:cxn modelId="{76F64135-5015-4933-8BA8-5E3A7C4E8FA3}" type="presParOf" srcId="{7204DDB0-A4B3-494E-9C2F-C99CB3FC6C5E}" destId="{5D8BBB0E-858E-4FA3-AF22-7023A3008B76}" srcOrd="0" destOrd="0" presId="urn:microsoft.com/office/officeart/2005/8/layout/orgChart1"/>
    <dgm:cxn modelId="{FB1A4EE7-BFB3-4A0E-A36B-7D4C0A59C2FC}" type="presParOf" srcId="{5D8BBB0E-858E-4FA3-AF22-7023A3008B76}" destId="{EA6420F6-A34E-4210-BBE6-1F0DA17E1E58}" srcOrd="0" destOrd="0" presId="urn:microsoft.com/office/officeart/2005/8/layout/orgChart1"/>
    <dgm:cxn modelId="{5039D132-DAD5-4FD7-B5DC-F3A50783FE39}" type="presParOf" srcId="{5D8BBB0E-858E-4FA3-AF22-7023A3008B76}" destId="{5F0F510E-BF9C-4A2B-A09F-442AEFC33F72}" srcOrd="1" destOrd="0" presId="urn:microsoft.com/office/officeart/2005/8/layout/orgChart1"/>
    <dgm:cxn modelId="{4AE114F1-8A78-4462-AA82-B49202F8F059}" type="presParOf" srcId="{7204DDB0-A4B3-494E-9C2F-C99CB3FC6C5E}" destId="{2C1A3743-7A4F-4F09-B3E0-9EC35145C7BE}" srcOrd="1" destOrd="0" presId="urn:microsoft.com/office/officeart/2005/8/layout/orgChart1"/>
    <dgm:cxn modelId="{71E42F55-E399-4092-A9B1-70C51C073C80}" type="presParOf" srcId="{7204DDB0-A4B3-494E-9C2F-C99CB3FC6C5E}" destId="{25637172-1D27-4736-A686-C4C6BAE05793}" srcOrd="2" destOrd="0" presId="urn:microsoft.com/office/officeart/2005/8/layout/orgChart1"/>
    <dgm:cxn modelId="{E61DC08F-0681-43C0-B8E3-97F582265B3B}" type="presParOf" srcId="{199DFEEE-9970-4899-8428-69ACE6547CBD}" destId="{AC3B9A9F-3D5A-42B3-A2DF-BEF47E1464C7}" srcOrd="2" destOrd="0" presId="urn:microsoft.com/office/officeart/2005/8/layout/orgChart1"/>
    <dgm:cxn modelId="{DAA07CED-63B4-4527-9A28-2B6532A88484}" type="presParOf" srcId="{AF9F1A6A-8471-4543-BFAA-BC762AAE4C56}" destId="{80CDBEE6-9814-44F7-AEEF-93E82597878F}"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E13C0BE-1EC7-46BD-9D3F-CFC2F4B470C7}" type="doc">
      <dgm:prSet loTypeId="urn:microsoft.com/office/officeart/2005/8/layout/orgChart1" loCatId="hierarchy" qsTypeId="urn:microsoft.com/office/officeart/2005/8/quickstyle/simple1" qsCatId="simple" csTypeId="urn:microsoft.com/office/officeart/2005/8/colors/accent1_1" csCatId="accent1" phldr="1"/>
      <dgm:spPr/>
      <dgm:t>
        <a:bodyPr/>
        <a:lstStyle/>
        <a:p>
          <a:endParaRPr lang="en-US"/>
        </a:p>
      </dgm:t>
    </dgm:pt>
    <dgm:pt modelId="{85B8E9C7-C3C2-4F47-8FF2-FF1957D8A2C9}">
      <dgm:prSet phldrT="[Text]" custT="1"/>
      <dgm:spPr/>
      <dgm:t>
        <a:bodyPr/>
        <a:lstStyle/>
        <a:p>
          <a:pPr algn="ctr"/>
          <a:r>
            <a:rPr lang="en-US" sz="1200" b="1" dirty="0">
              <a:latin typeface="Century Gothic" panose="020B0502020202020204" pitchFamily="34" charset="0"/>
            </a:rPr>
            <a:t>REAR AXLE</a:t>
          </a:r>
        </a:p>
      </dgm:t>
    </dgm:pt>
    <dgm:pt modelId="{02764C56-CAD0-4CBD-B119-EE3A0919464F}" type="parTrans" cxnId="{335D81A4-8F64-446B-8901-24C819C99221}">
      <dgm:prSet/>
      <dgm:spPr/>
      <dgm:t>
        <a:bodyPr/>
        <a:lstStyle/>
        <a:p>
          <a:pPr algn="ctr"/>
          <a:endParaRPr lang="en-US" sz="1200" b="1">
            <a:latin typeface="Century Gothic" panose="020B0502020202020204" pitchFamily="34" charset="0"/>
          </a:endParaRPr>
        </a:p>
      </dgm:t>
    </dgm:pt>
    <dgm:pt modelId="{3DCB29F5-3E0E-4991-A7F2-141892436433}" type="sibTrans" cxnId="{335D81A4-8F64-446B-8901-24C819C99221}">
      <dgm:prSet/>
      <dgm:spPr/>
      <dgm:t>
        <a:bodyPr/>
        <a:lstStyle/>
        <a:p>
          <a:pPr algn="ctr"/>
          <a:endParaRPr lang="en-US" sz="1200" b="1">
            <a:latin typeface="Century Gothic" panose="020B0502020202020204" pitchFamily="34" charset="0"/>
          </a:endParaRPr>
        </a:p>
      </dgm:t>
    </dgm:pt>
    <dgm:pt modelId="{170C2C20-9E70-4353-B890-40BF6D3BCE14}">
      <dgm:prSet phldrT="[Text]" custT="1"/>
      <dgm:spPr/>
      <dgm:t>
        <a:bodyPr/>
        <a:lstStyle/>
        <a:p>
          <a:pPr algn="ctr"/>
          <a:r>
            <a:rPr lang="en-US" sz="1200" b="1" dirty="0">
              <a:latin typeface="Century Gothic" panose="020B0502020202020204" pitchFamily="34" charset="0"/>
            </a:rPr>
            <a:t>ICV</a:t>
          </a:r>
        </a:p>
      </dgm:t>
    </dgm:pt>
    <dgm:pt modelId="{1B307953-CD98-48F3-91B2-45DC66B30E19}" type="parTrans" cxnId="{DB23B08B-99D0-45F4-AAB8-8AE070AF2460}">
      <dgm:prSet/>
      <dgm:spPr/>
      <dgm:t>
        <a:bodyPr/>
        <a:lstStyle/>
        <a:p>
          <a:pPr algn="ctr"/>
          <a:endParaRPr lang="en-US" sz="1200" b="1">
            <a:latin typeface="Century Gothic" panose="020B0502020202020204" pitchFamily="34" charset="0"/>
          </a:endParaRPr>
        </a:p>
      </dgm:t>
    </dgm:pt>
    <dgm:pt modelId="{040F7114-24C4-4DB9-B05E-0933B39F8CD7}" type="sibTrans" cxnId="{DB23B08B-99D0-45F4-AAB8-8AE070AF2460}">
      <dgm:prSet/>
      <dgm:spPr/>
      <dgm:t>
        <a:bodyPr/>
        <a:lstStyle/>
        <a:p>
          <a:pPr algn="ctr"/>
          <a:endParaRPr lang="en-US" sz="1200" b="1">
            <a:latin typeface="Century Gothic" panose="020B0502020202020204" pitchFamily="34" charset="0"/>
          </a:endParaRPr>
        </a:p>
      </dgm:t>
    </dgm:pt>
    <dgm:pt modelId="{E6DFE12B-09BA-42F6-82E6-65F93648DB8B}">
      <dgm:prSet phldrT="[Text]" custT="1"/>
      <dgm:spPr/>
      <dgm:t>
        <a:bodyPr/>
        <a:lstStyle/>
        <a:p>
          <a:pPr algn="ctr"/>
          <a:r>
            <a:rPr lang="en-US" sz="1200" b="1" dirty="0">
              <a:latin typeface="Century Gothic" panose="020B0502020202020204" pitchFamily="34" charset="0"/>
            </a:rPr>
            <a:t>Meritor</a:t>
          </a:r>
        </a:p>
      </dgm:t>
    </dgm:pt>
    <dgm:pt modelId="{CFCB6D28-69B2-4DB1-B0E6-F1B78F5FC88F}" type="parTrans" cxnId="{9FCE305B-0F0A-4A56-8E16-A002C83FC0DB}">
      <dgm:prSet/>
      <dgm:spPr/>
      <dgm:t>
        <a:bodyPr/>
        <a:lstStyle/>
        <a:p>
          <a:endParaRPr lang="en-US" sz="1200">
            <a:latin typeface="Century Gothic" panose="020B0502020202020204" pitchFamily="34" charset="0"/>
          </a:endParaRPr>
        </a:p>
      </dgm:t>
    </dgm:pt>
    <dgm:pt modelId="{972BE603-981E-4040-99D5-E665C6C046EE}" type="sibTrans" cxnId="{9FCE305B-0F0A-4A56-8E16-A002C83FC0DB}">
      <dgm:prSet/>
      <dgm:spPr/>
      <dgm:t>
        <a:bodyPr/>
        <a:lstStyle/>
        <a:p>
          <a:endParaRPr lang="en-US" sz="1200">
            <a:latin typeface="Century Gothic" panose="020B0502020202020204" pitchFamily="34" charset="0"/>
          </a:endParaRPr>
        </a:p>
      </dgm:t>
    </dgm:pt>
    <dgm:pt modelId="{3D823B65-C696-4598-BCD3-6D36A783D256}">
      <dgm:prSet phldrT="[Text]" custT="1"/>
      <dgm:spPr/>
      <dgm:t>
        <a:bodyPr/>
        <a:lstStyle/>
        <a:p>
          <a:pPr algn="ctr"/>
          <a:r>
            <a:rPr lang="en-US" sz="1200" b="1" dirty="0">
              <a:latin typeface="Century Gothic" panose="020B0502020202020204" pitchFamily="34" charset="0"/>
            </a:rPr>
            <a:t>DANA</a:t>
          </a:r>
        </a:p>
      </dgm:t>
    </dgm:pt>
    <dgm:pt modelId="{6D9604BA-72C2-4446-96D1-D430FB6BB817}" type="parTrans" cxnId="{18BC51F1-9908-4360-894B-8595E55951B2}">
      <dgm:prSet/>
      <dgm:spPr/>
      <dgm:t>
        <a:bodyPr/>
        <a:lstStyle/>
        <a:p>
          <a:endParaRPr lang="en-US" sz="1200">
            <a:latin typeface="Century Gothic" panose="020B0502020202020204" pitchFamily="34" charset="0"/>
          </a:endParaRPr>
        </a:p>
      </dgm:t>
    </dgm:pt>
    <dgm:pt modelId="{E6EA5F0A-B123-41D5-802F-14A28241D3C6}" type="sibTrans" cxnId="{18BC51F1-9908-4360-894B-8595E55951B2}">
      <dgm:prSet/>
      <dgm:spPr/>
      <dgm:t>
        <a:bodyPr/>
        <a:lstStyle/>
        <a:p>
          <a:endParaRPr lang="en-US" sz="1200">
            <a:latin typeface="Century Gothic" panose="020B0502020202020204" pitchFamily="34" charset="0"/>
          </a:endParaRPr>
        </a:p>
      </dgm:t>
    </dgm:pt>
    <dgm:pt modelId="{B123A269-C63B-4F3F-8647-50E6CAA32275}">
      <dgm:prSet phldrT="[Text]" custT="1"/>
      <dgm:spPr/>
      <dgm:t>
        <a:bodyPr/>
        <a:lstStyle/>
        <a:p>
          <a:pPr algn="ctr"/>
          <a:r>
            <a:rPr lang="en-US" sz="1200" b="0" dirty="0">
              <a:latin typeface="Century Gothic" panose="020B0502020202020204" pitchFamily="34" charset="0"/>
            </a:rPr>
            <a:t>RS 120</a:t>
          </a:r>
        </a:p>
        <a:p>
          <a:pPr algn="ctr"/>
          <a:r>
            <a:rPr lang="en-US" sz="1200" b="0" dirty="0">
              <a:latin typeface="Century Gothic" panose="020B0502020202020204" pitchFamily="34" charset="0"/>
            </a:rPr>
            <a:t>C 100</a:t>
          </a:r>
        </a:p>
        <a:p>
          <a:pPr algn="ctr"/>
          <a:r>
            <a:rPr lang="en-US" sz="1200" b="0" dirty="0">
              <a:latin typeface="Century Gothic" panose="020B0502020202020204" pitchFamily="34" charset="0"/>
            </a:rPr>
            <a:t>MS13X</a:t>
          </a:r>
        </a:p>
      </dgm:t>
    </dgm:pt>
    <dgm:pt modelId="{2ED09ACF-0A97-4454-98F8-7A73C5B60545}" type="parTrans" cxnId="{23A2BA11-DA62-4476-9805-E2FC25AFB1C2}">
      <dgm:prSet/>
      <dgm:spPr/>
      <dgm:t>
        <a:bodyPr/>
        <a:lstStyle/>
        <a:p>
          <a:endParaRPr lang="en-US" sz="1200">
            <a:latin typeface="Century Gothic" panose="020B0502020202020204" pitchFamily="34" charset="0"/>
          </a:endParaRPr>
        </a:p>
      </dgm:t>
    </dgm:pt>
    <dgm:pt modelId="{7354AF2A-7CCC-4465-AF5A-2772CE9F8144}" type="sibTrans" cxnId="{23A2BA11-DA62-4476-9805-E2FC25AFB1C2}">
      <dgm:prSet/>
      <dgm:spPr/>
      <dgm:t>
        <a:bodyPr/>
        <a:lstStyle/>
        <a:p>
          <a:endParaRPr lang="en-US" sz="1200">
            <a:latin typeface="Century Gothic" panose="020B0502020202020204" pitchFamily="34" charset="0"/>
          </a:endParaRPr>
        </a:p>
      </dgm:t>
    </dgm:pt>
    <dgm:pt modelId="{1AAD6746-2022-446A-9906-E7FFFCC9975C}">
      <dgm:prSet phldrT="[Text]" custT="1"/>
      <dgm:spPr/>
      <dgm:t>
        <a:bodyPr/>
        <a:lstStyle/>
        <a:p>
          <a:pPr algn="ctr"/>
          <a:r>
            <a:rPr lang="en-US" sz="1200" b="0" dirty="0">
              <a:latin typeface="Century Gothic" panose="020B0502020202020204" pitchFamily="34" charset="0"/>
            </a:rPr>
            <a:t>AAM 12.6”</a:t>
          </a:r>
        </a:p>
        <a:p>
          <a:pPr algn="ctr"/>
          <a:r>
            <a:rPr lang="en-US" sz="1200" b="0" dirty="0">
              <a:latin typeface="Century Gothic" panose="020B0502020202020204" pitchFamily="34" charset="0"/>
            </a:rPr>
            <a:t>AAM 14.5”</a:t>
          </a:r>
        </a:p>
      </dgm:t>
    </dgm:pt>
    <dgm:pt modelId="{3EA769BB-79EF-44AC-9EBF-1CC9E9BF5C92}" type="parTrans" cxnId="{0098A4CE-9466-479A-889E-6BC2A4FB0045}">
      <dgm:prSet/>
      <dgm:spPr/>
      <dgm:t>
        <a:bodyPr/>
        <a:lstStyle/>
        <a:p>
          <a:endParaRPr lang="en-US" sz="1200">
            <a:latin typeface="Century Gothic" panose="020B0502020202020204" pitchFamily="34" charset="0"/>
          </a:endParaRPr>
        </a:p>
      </dgm:t>
    </dgm:pt>
    <dgm:pt modelId="{58EC297F-340B-4468-A16B-FC2D7CA7A80F}" type="sibTrans" cxnId="{0098A4CE-9466-479A-889E-6BC2A4FB0045}">
      <dgm:prSet/>
      <dgm:spPr/>
      <dgm:t>
        <a:bodyPr/>
        <a:lstStyle/>
        <a:p>
          <a:endParaRPr lang="en-US" sz="1200">
            <a:latin typeface="Century Gothic" panose="020B0502020202020204" pitchFamily="34" charset="0"/>
          </a:endParaRPr>
        </a:p>
      </dgm:t>
    </dgm:pt>
    <dgm:pt modelId="{A4537974-D0AD-44E0-8D5B-78CD364111B8}">
      <dgm:prSet phldrT="[Text]" custT="1"/>
      <dgm:spPr/>
      <dgm:t>
        <a:bodyPr/>
        <a:lstStyle/>
        <a:p>
          <a:pPr algn="ctr"/>
          <a:r>
            <a:rPr lang="en-US" sz="1200" b="1" dirty="0">
              <a:latin typeface="Century Gothic" panose="020B0502020202020204" pitchFamily="34" charset="0"/>
            </a:rPr>
            <a:t>MDV</a:t>
          </a:r>
        </a:p>
      </dgm:t>
    </dgm:pt>
    <dgm:pt modelId="{148A6EE5-694E-4D58-8B33-3FA4E817F554}" type="parTrans" cxnId="{69704F5B-F6A8-464C-A494-A399BEB237AD}">
      <dgm:prSet/>
      <dgm:spPr/>
      <dgm:t>
        <a:bodyPr/>
        <a:lstStyle/>
        <a:p>
          <a:endParaRPr lang="en-US" sz="1200">
            <a:latin typeface="Century Gothic" panose="020B0502020202020204" pitchFamily="34" charset="0"/>
          </a:endParaRPr>
        </a:p>
      </dgm:t>
    </dgm:pt>
    <dgm:pt modelId="{46DDEF15-AA5F-4800-9AB8-9DCFEA9EC79B}" type="sibTrans" cxnId="{69704F5B-F6A8-464C-A494-A399BEB237AD}">
      <dgm:prSet/>
      <dgm:spPr/>
      <dgm:t>
        <a:bodyPr/>
        <a:lstStyle/>
        <a:p>
          <a:endParaRPr lang="en-US" sz="1200">
            <a:latin typeface="Century Gothic" panose="020B0502020202020204" pitchFamily="34" charset="0"/>
          </a:endParaRPr>
        </a:p>
      </dgm:t>
    </dgm:pt>
    <dgm:pt modelId="{EA8E2D20-48B1-47B0-A25F-C0A5BE2256E0}">
      <dgm:prSet phldrT="[Text]" custT="1"/>
      <dgm:spPr/>
      <dgm:t>
        <a:bodyPr/>
        <a:lstStyle/>
        <a:p>
          <a:pPr algn="ctr"/>
          <a:r>
            <a:rPr lang="en-US" sz="1200" b="1" dirty="0">
              <a:latin typeface="Century Gothic" panose="020B0502020202020204" pitchFamily="34" charset="0"/>
            </a:rPr>
            <a:t>Meritor</a:t>
          </a:r>
        </a:p>
      </dgm:t>
    </dgm:pt>
    <dgm:pt modelId="{E0ADB764-6AE5-4A5E-9734-EAEE7C4B0988}" type="parTrans" cxnId="{4EB95C3F-E223-4DCB-802B-2A383379395D}">
      <dgm:prSet/>
      <dgm:spPr/>
      <dgm:t>
        <a:bodyPr/>
        <a:lstStyle/>
        <a:p>
          <a:endParaRPr lang="en-US" sz="1200">
            <a:latin typeface="Century Gothic" panose="020B0502020202020204" pitchFamily="34" charset="0"/>
          </a:endParaRPr>
        </a:p>
      </dgm:t>
    </dgm:pt>
    <dgm:pt modelId="{9CD00F1E-1086-4B97-AD64-54F208E5BE53}" type="sibTrans" cxnId="{4EB95C3F-E223-4DCB-802B-2A383379395D}">
      <dgm:prSet/>
      <dgm:spPr/>
      <dgm:t>
        <a:bodyPr/>
        <a:lstStyle/>
        <a:p>
          <a:endParaRPr lang="en-US" sz="1200">
            <a:latin typeface="Century Gothic" panose="020B0502020202020204" pitchFamily="34" charset="0"/>
          </a:endParaRPr>
        </a:p>
      </dgm:t>
    </dgm:pt>
    <dgm:pt modelId="{BE097830-0FA3-4C12-A842-8F39A0D2CE1D}">
      <dgm:prSet phldrT="[Text]" custT="1"/>
      <dgm:spPr/>
      <dgm:t>
        <a:bodyPr/>
        <a:lstStyle/>
        <a:p>
          <a:pPr algn="ctr"/>
          <a:r>
            <a:rPr lang="en-US" sz="1200" b="1" dirty="0">
              <a:latin typeface="Century Gothic" panose="020B0502020202020204" pitchFamily="34" charset="0"/>
            </a:rPr>
            <a:t>Dana</a:t>
          </a:r>
        </a:p>
      </dgm:t>
    </dgm:pt>
    <dgm:pt modelId="{9496DB9F-4908-470F-AC2F-1B781D46E9BC}" type="parTrans" cxnId="{676D83C1-654D-403A-9088-484329C8FD41}">
      <dgm:prSet/>
      <dgm:spPr/>
      <dgm:t>
        <a:bodyPr/>
        <a:lstStyle/>
        <a:p>
          <a:endParaRPr lang="en-US" sz="1200">
            <a:latin typeface="Century Gothic" panose="020B0502020202020204" pitchFamily="34" charset="0"/>
          </a:endParaRPr>
        </a:p>
      </dgm:t>
    </dgm:pt>
    <dgm:pt modelId="{C1463931-9637-4354-8A7B-818B5BE2A0D2}" type="sibTrans" cxnId="{676D83C1-654D-403A-9088-484329C8FD41}">
      <dgm:prSet/>
      <dgm:spPr/>
      <dgm:t>
        <a:bodyPr/>
        <a:lstStyle/>
        <a:p>
          <a:endParaRPr lang="en-US" sz="1200">
            <a:latin typeface="Century Gothic" panose="020B0502020202020204" pitchFamily="34" charset="0"/>
          </a:endParaRPr>
        </a:p>
      </dgm:t>
    </dgm:pt>
    <dgm:pt modelId="{3E54EEC2-9953-4E1F-A2D5-DB124DA5155C}">
      <dgm:prSet phldrT="[Text]" custT="1"/>
      <dgm:spPr/>
      <dgm:t>
        <a:bodyPr/>
        <a:lstStyle/>
        <a:p>
          <a:pPr algn="ctr"/>
          <a:r>
            <a:rPr lang="en-US" sz="1200" b="0" dirty="0">
              <a:latin typeface="Century Gothic" panose="020B0502020202020204" pitchFamily="34" charset="0"/>
            </a:rPr>
            <a:t>RS 145</a:t>
          </a:r>
        </a:p>
        <a:p>
          <a:pPr algn="ctr"/>
          <a:r>
            <a:rPr lang="en-US" sz="1200" b="0" dirty="0">
              <a:latin typeface="Century Gothic" panose="020B0502020202020204" pitchFamily="34" charset="0"/>
            </a:rPr>
            <a:t>R 149.7</a:t>
          </a:r>
        </a:p>
        <a:p>
          <a:pPr algn="ctr"/>
          <a:r>
            <a:rPr lang="en-US" sz="1200" b="0" dirty="0">
              <a:latin typeface="Century Gothic" panose="020B0502020202020204" pitchFamily="34" charset="0"/>
            </a:rPr>
            <a:t>R 160</a:t>
          </a:r>
        </a:p>
        <a:p>
          <a:pPr algn="ctr"/>
          <a:r>
            <a:rPr lang="en-US" sz="1200" b="0" dirty="0">
              <a:latin typeface="Century Gothic" panose="020B0502020202020204" pitchFamily="34" charset="0"/>
            </a:rPr>
            <a:t>MS 149</a:t>
          </a:r>
        </a:p>
        <a:p>
          <a:pPr algn="ctr"/>
          <a:r>
            <a:rPr lang="en-US" sz="1200" b="0" dirty="0">
              <a:latin typeface="Century Gothic" panose="020B0502020202020204" pitchFamily="34" charset="0"/>
            </a:rPr>
            <a:t>MT 149</a:t>
          </a:r>
        </a:p>
        <a:p>
          <a:pPr algn="ctr"/>
          <a:r>
            <a:rPr lang="en-US" sz="1200" b="0" dirty="0">
              <a:latin typeface="Century Gothic" panose="020B0502020202020204" pitchFamily="34" charset="0"/>
            </a:rPr>
            <a:t>MT 610 (HR)</a:t>
          </a:r>
        </a:p>
      </dgm:t>
    </dgm:pt>
    <dgm:pt modelId="{1E6399E4-D009-4AEC-9C8C-41628F882FE1}" type="parTrans" cxnId="{342302A0-DD66-4FB8-9F65-AFF74722CF62}">
      <dgm:prSet/>
      <dgm:spPr/>
      <dgm:t>
        <a:bodyPr/>
        <a:lstStyle/>
        <a:p>
          <a:endParaRPr lang="en-US" sz="1200">
            <a:latin typeface="Century Gothic" panose="020B0502020202020204" pitchFamily="34" charset="0"/>
          </a:endParaRPr>
        </a:p>
      </dgm:t>
    </dgm:pt>
    <dgm:pt modelId="{66C82B04-192C-438B-8F20-0C610837B4E0}" type="sibTrans" cxnId="{342302A0-DD66-4FB8-9F65-AFF74722CF62}">
      <dgm:prSet/>
      <dgm:spPr/>
      <dgm:t>
        <a:bodyPr/>
        <a:lstStyle/>
        <a:p>
          <a:endParaRPr lang="en-US" sz="1200">
            <a:latin typeface="Century Gothic" panose="020B0502020202020204" pitchFamily="34" charset="0"/>
          </a:endParaRPr>
        </a:p>
      </dgm:t>
    </dgm:pt>
    <dgm:pt modelId="{0063BEE8-25E6-4448-BAF6-68D58761F916}">
      <dgm:prSet phldrT="[Text]" custT="1"/>
      <dgm:spPr/>
      <dgm:t>
        <a:bodyPr/>
        <a:lstStyle/>
        <a:p>
          <a:pPr algn="ctr"/>
          <a:r>
            <a:rPr lang="en-US" sz="1200" b="1" dirty="0">
              <a:latin typeface="Century Gothic" panose="020B0502020202020204" pitchFamily="34" charset="0"/>
            </a:rPr>
            <a:t>AAM</a:t>
          </a:r>
        </a:p>
      </dgm:t>
    </dgm:pt>
    <dgm:pt modelId="{68A46478-642F-46C6-8C24-6715BA351E06}" type="parTrans" cxnId="{564937E9-4CD9-4E83-93DF-AB938E5A1CB0}">
      <dgm:prSet/>
      <dgm:spPr/>
      <dgm:t>
        <a:bodyPr/>
        <a:lstStyle/>
        <a:p>
          <a:endParaRPr lang="en-US" sz="1200">
            <a:latin typeface="Century Gothic" panose="020B0502020202020204" pitchFamily="34" charset="0"/>
          </a:endParaRPr>
        </a:p>
      </dgm:t>
    </dgm:pt>
    <dgm:pt modelId="{A91EAE75-87FD-4908-B9F4-6FCD43B31B25}" type="sibTrans" cxnId="{564937E9-4CD9-4E83-93DF-AB938E5A1CB0}">
      <dgm:prSet/>
      <dgm:spPr/>
      <dgm:t>
        <a:bodyPr/>
        <a:lstStyle/>
        <a:p>
          <a:endParaRPr lang="en-US" sz="1200">
            <a:latin typeface="Century Gothic" panose="020B0502020202020204" pitchFamily="34" charset="0"/>
          </a:endParaRPr>
        </a:p>
      </dgm:t>
    </dgm:pt>
    <dgm:pt modelId="{2E8698F6-BAFA-49F9-ACD1-345406E7A9B4}">
      <dgm:prSet phldrT="[Text]" custT="1"/>
      <dgm:spPr/>
      <dgm:t>
        <a:bodyPr/>
        <a:lstStyle/>
        <a:p>
          <a:pPr algn="ctr"/>
          <a:r>
            <a:rPr lang="en-US" sz="1200" b="0" dirty="0">
              <a:latin typeface="Century Gothic" panose="020B0502020202020204" pitchFamily="34" charset="0"/>
            </a:rPr>
            <a:t>60 SHO</a:t>
          </a:r>
        </a:p>
        <a:p>
          <a:pPr algn="ctr"/>
          <a:r>
            <a:rPr lang="en-US" sz="1200" b="0" dirty="0">
              <a:latin typeface="Century Gothic" panose="020B0502020202020204" pitchFamily="34" charset="0"/>
            </a:rPr>
            <a:t>DSHO 44</a:t>
          </a:r>
        </a:p>
        <a:p>
          <a:pPr algn="ctr"/>
          <a:r>
            <a:rPr lang="en-US" sz="1200" b="0" dirty="0">
              <a:latin typeface="Century Gothic" panose="020B0502020202020204" pitchFamily="34" charset="0"/>
            </a:rPr>
            <a:t>D92 S</a:t>
          </a:r>
        </a:p>
        <a:p>
          <a:pPr algn="ctr"/>
          <a:r>
            <a:rPr lang="en-US" sz="1200" b="0" dirty="0">
              <a:latin typeface="Century Gothic" panose="020B0502020202020204" pitchFamily="34" charset="0"/>
            </a:rPr>
            <a:t>HDS</a:t>
          </a:r>
        </a:p>
        <a:p>
          <a:pPr algn="ctr"/>
          <a:r>
            <a:rPr lang="en-US" sz="1200" b="0" dirty="0">
              <a:latin typeface="Century Gothic" panose="020B0502020202020204" pitchFamily="34" charset="0"/>
            </a:rPr>
            <a:t>HDT</a:t>
          </a:r>
        </a:p>
      </dgm:t>
    </dgm:pt>
    <dgm:pt modelId="{BA2A62D3-E712-4593-A162-3148B3175BB0}" type="parTrans" cxnId="{B23969CB-D08A-4C2E-9A00-DB1C57F055E4}">
      <dgm:prSet/>
      <dgm:spPr/>
      <dgm:t>
        <a:bodyPr/>
        <a:lstStyle/>
        <a:p>
          <a:endParaRPr lang="en-US" sz="1200">
            <a:latin typeface="Century Gothic" panose="020B0502020202020204" pitchFamily="34" charset="0"/>
          </a:endParaRPr>
        </a:p>
      </dgm:t>
    </dgm:pt>
    <dgm:pt modelId="{FBF49A23-D28C-46F3-9081-2C514A22C607}" type="sibTrans" cxnId="{B23969CB-D08A-4C2E-9A00-DB1C57F055E4}">
      <dgm:prSet/>
      <dgm:spPr/>
      <dgm:t>
        <a:bodyPr/>
        <a:lstStyle/>
        <a:p>
          <a:endParaRPr lang="en-US" sz="1200">
            <a:latin typeface="Century Gothic" panose="020B0502020202020204" pitchFamily="34" charset="0"/>
          </a:endParaRPr>
        </a:p>
      </dgm:t>
    </dgm:pt>
    <dgm:pt modelId="{A1F58EDB-3F53-4E91-9BFB-916805B7CAE0}">
      <dgm:prSet phldrT="[Text]" custT="1"/>
      <dgm:spPr/>
      <dgm:t>
        <a:bodyPr/>
        <a:lstStyle/>
        <a:p>
          <a:pPr algn="ctr"/>
          <a:r>
            <a:rPr lang="en-US" sz="1200" b="0" dirty="0">
              <a:latin typeface="Century Gothic" panose="020B0502020202020204" pitchFamily="34" charset="0"/>
            </a:rPr>
            <a:t>AAM 18”</a:t>
          </a:r>
        </a:p>
      </dgm:t>
    </dgm:pt>
    <dgm:pt modelId="{DBAD3CD8-1E48-45A9-9CB1-9A288DA64D1B}" type="parTrans" cxnId="{8E1EF77C-5C6A-4818-A23D-50D47F859ECE}">
      <dgm:prSet/>
      <dgm:spPr/>
      <dgm:t>
        <a:bodyPr/>
        <a:lstStyle/>
        <a:p>
          <a:endParaRPr lang="en-US" sz="1200">
            <a:latin typeface="Century Gothic" panose="020B0502020202020204" pitchFamily="34" charset="0"/>
          </a:endParaRPr>
        </a:p>
      </dgm:t>
    </dgm:pt>
    <dgm:pt modelId="{C7ED18E9-BFB1-4F64-ADB3-EAAA01F7D0A4}" type="sibTrans" cxnId="{8E1EF77C-5C6A-4818-A23D-50D47F859ECE}">
      <dgm:prSet/>
      <dgm:spPr/>
      <dgm:t>
        <a:bodyPr/>
        <a:lstStyle/>
        <a:p>
          <a:endParaRPr lang="en-US" sz="1200">
            <a:latin typeface="Century Gothic" panose="020B0502020202020204" pitchFamily="34" charset="0"/>
          </a:endParaRPr>
        </a:p>
      </dgm:t>
    </dgm:pt>
    <dgm:pt modelId="{472B048B-4EE4-4E04-B72C-12A7DCF1B832}">
      <dgm:prSet phldrT="[Text]" custT="1"/>
      <dgm:spPr/>
      <dgm:t>
        <a:bodyPr/>
        <a:lstStyle/>
        <a:p>
          <a:pPr algn="ctr"/>
          <a:r>
            <a:rPr lang="en-US" sz="1200" b="1" dirty="0">
              <a:latin typeface="Century Gothic" panose="020B0502020202020204" pitchFamily="34" charset="0"/>
            </a:rPr>
            <a:t>AAM</a:t>
          </a:r>
        </a:p>
      </dgm:t>
    </dgm:pt>
    <dgm:pt modelId="{C99C1018-3690-4B43-8487-670957DB27AC}" type="parTrans" cxnId="{77CC402A-7083-4528-A693-961B5225961A}">
      <dgm:prSet/>
      <dgm:spPr/>
      <dgm:t>
        <a:bodyPr/>
        <a:lstStyle/>
        <a:p>
          <a:endParaRPr lang="en-US" sz="1200">
            <a:latin typeface="Century Gothic" panose="020B0502020202020204" pitchFamily="34" charset="0"/>
          </a:endParaRPr>
        </a:p>
      </dgm:t>
    </dgm:pt>
    <dgm:pt modelId="{A801532E-FAB3-4063-97DF-6349A9234660}" type="sibTrans" cxnId="{77CC402A-7083-4528-A693-961B5225961A}">
      <dgm:prSet/>
      <dgm:spPr/>
      <dgm:t>
        <a:bodyPr/>
        <a:lstStyle/>
        <a:p>
          <a:endParaRPr lang="en-US" sz="1200">
            <a:latin typeface="Century Gothic" panose="020B0502020202020204" pitchFamily="34" charset="0"/>
          </a:endParaRPr>
        </a:p>
      </dgm:t>
    </dgm:pt>
    <dgm:pt modelId="{C3A51396-A5F2-4C3B-8FC8-F4CC48ABD092}">
      <dgm:prSet phldrT="[Text]" custT="1"/>
      <dgm:spPr/>
      <dgm:t>
        <a:bodyPr/>
        <a:lstStyle/>
        <a:p>
          <a:pPr algn="ctr"/>
          <a:r>
            <a:rPr lang="en-US" sz="1200" b="0" dirty="0">
              <a:latin typeface="Century Gothic" panose="020B0502020202020204" pitchFamily="34" charset="0"/>
            </a:rPr>
            <a:t>60 SHO</a:t>
          </a:r>
        </a:p>
        <a:p>
          <a:pPr algn="ctr"/>
          <a:r>
            <a:rPr lang="en-US" sz="1200" b="0" dirty="0">
              <a:latin typeface="Century Gothic" panose="020B0502020202020204" pitchFamily="34" charset="0"/>
            </a:rPr>
            <a:t>S 130</a:t>
          </a:r>
        </a:p>
      </dgm:t>
    </dgm:pt>
    <dgm:pt modelId="{DB16E4E8-3D1D-4666-BBE0-79D596531A49}" type="parTrans" cxnId="{4936F799-C91A-46ED-A10B-CC8A3D9205C9}">
      <dgm:prSet/>
      <dgm:spPr/>
      <dgm:t>
        <a:bodyPr/>
        <a:lstStyle/>
        <a:p>
          <a:endParaRPr lang="en-US" sz="1200">
            <a:latin typeface="Century Gothic" panose="020B0502020202020204" pitchFamily="34" charset="0"/>
          </a:endParaRPr>
        </a:p>
      </dgm:t>
    </dgm:pt>
    <dgm:pt modelId="{BADEA866-1BF5-4804-9EBD-C7E2812C62A6}" type="sibTrans" cxnId="{4936F799-C91A-46ED-A10B-CC8A3D9205C9}">
      <dgm:prSet/>
      <dgm:spPr/>
      <dgm:t>
        <a:bodyPr/>
        <a:lstStyle/>
        <a:p>
          <a:endParaRPr lang="en-US" sz="1200">
            <a:latin typeface="Century Gothic" panose="020B0502020202020204" pitchFamily="34" charset="0"/>
          </a:endParaRPr>
        </a:p>
      </dgm:t>
    </dgm:pt>
    <dgm:pt modelId="{03461173-AE03-4111-A186-25C2E136C6AC}" type="pres">
      <dgm:prSet presAssocID="{CE13C0BE-1EC7-46BD-9D3F-CFC2F4B470C7}" presName="hierChild1" presStyleCnt="0">
        <dgm:presLayoutVars>
          <dgm:orgChart val="1"/>
          <dgm:chPref val="1"/>
          <dgm:dir/>
          <dgm:animOne val="branch"/>
          <dgm:animLvl val="lvl"/>
          <dgm:resizeHandles/>
        </dgm:presLayoutVars>
      </dgm:prSet>
      <dgm:spPr/>
    </dgm:pt>
    <dgm:pt modelId="{8DDDA074-28DD-4AB6-95ED-4975F01FF48F}" type="pres">
      <dgm:prSet presAssocID="{85B8E9C7-C3C2-4F47-8FF2-FF1957D8A2C9}" presName="hierRoot1" presStyleCnt="0">
        <dgm:presLayoutVars>
          <dgm:hierBranch val="init"/>
        </dgm:presLayoutVars>
      </dgm:prSet>
      <dgm:spPr/>
    </dgm:pt>
    <dgm:pt modelId="{4B933D9D-37EA-468A-A1F1-6528C8A10F90}" type="pres">
      <dgm:prSet presAssocID="{85B8E9C7-C3C2-4F47-8FF2-FF1957D8A2C9}" presName="rootComposite1" presStyleCnt="0"/>
      <dgm:spPr/>
    </dgm:pt>
    <dgm:pt modelId="{59654EE1-1867-49AA-A3FE-025FB260536B}" type="pres">
      <dgm:prSet presAssocID="{85B8E9C7-C3C2-4F47-8FF2-FF1957D8A2C9}" presName="rootText1" presStyleLbl="node0" presStyleIdx="0" presStyleCnt="1" custScaleX="62673" custScaleY="29220" custLinFactNeighborX="-15309">
        <dgm:presLayoutVars>
          <dgm:chPref val="3"/>
        </dgm:presLayoutVars>
      </dgm:prSet>
      <dgm:spPr/>
    </dgm:pt>
    <dgm:pt modelId="{84AC7146-B6C5-4322-9CC5-431F5ECB4210}" type="pres">
      <dgm:prSet presAssocID="{85B8E9C7-C3C2-4F47-8FF2-FF1957D8A2C9}" presName="rootConnector1" presStyleLbl="node1" presStyleIdx="0" presStyleCnt="0"/>
      <dgm:spPr/>
    </dgm:pt>
    <dgm:pt modelId="{95621620-95C4-4FBF-B6CD-4272A8C5A1BD}" type="pres">
      <dgm:prSet presAssocID="{85B8E9C7-C3C2-4F47-8FF2-FF1957D8A2C9}" presName="hierChild2" presStyleCnt="0"/>
      <dgm:spPr/>
    </dgm:pt>
    <dgm:pt modelId="{AD6A1F3C-E249-4AF5-82A8-8824BCE21D28}" type="pres">
      <dgm:prSet presAssocID="{1B307953-CD98-48F3-91B2-45DC66B30E19}" presName="Name37" presStyleLbl="parChTrans1D2" presStyleIdx="0" presStyleCnt="2"/>
      <dgm:spPr/>
    </dgm:pt>
    <dgm:pt modelId="{468253EC-B23F-4C3F-9C12-BBF2D1C4BEF7}" type="pres">
      <dgm:prSet presAssocID="{170C2C20-9E70-4353-B890-40BF6D3BCE14}" presName="hierRoot2" presStyleCnt="0">
        <dgm:presLayoutVars>
          <dgm:hierBranch val="init"/>
        </dgm:presLayoutVars>
      </dgm:prSet>
      <dgm:spPr/>
    </dgm:pt>
    <dgm:pt modelId="{691FA654-8418-4850-A7A2-DC872FCEB820}" type="pres">
      <dgm:prSet presAssocID="{170C2C20-9E70-4353-B890-40BF6D3BCE14}" presName="rootComposite" presStyleCnt="0"/>
      <dgm:spPr/>
    </dgm:pt>
    <dgm:pt modelId="{DFB0CE57-CD7D-4121-BF74-EF6E13B31647}" type="pres">
      <dgm:prSet presAssocID="{170C2C20-9E70-4353-B890-40BF6D3BCE14}" presName="rootText" presStyleLbl="node2" presStyleIdx="0" presStyleCnt="2" custScaleX="33255" custScaleY="30497" custLinFactNeighborX="-19633" custLinFactNeighborY="-118">
        <dgm:presLayoutVars>
          <dgm:chPref val="3"/>
        </dgm:presLayoutVars>
      </dgm:prSet>
      <dgm:spPr/>
    </dgm:pt>
    <dgm:pt modelId="{B3B96511-AB0A-457B-81BE-3DE1D7675730}" type="pres">
      <dgm:prSet presAssocID="{170C2C20-9E70-4353-B890-40BF6D3BCE14}" presName="rootConnector" presStyleLbl="node2" presStyleIdx="0" presStyleCnt="2"/>
      <dgm:spPr/>
    </dgm:pt>
    <dgm:pt modelId="{23C6D1B7-EA0B-44BA-AC0B-D7DF9A9A203A}" type="pres">
      <dgm:prSet presAssocID="{170C2C20-9E70-4353-B890-40BF6D3BCE14}" presName="hierChild4" presStyleCnt="0"/>
      <dgm:spPr/>
    </dgm:pt>
    <dgm:pt modelId="{52A67BFE-47C8-4FC1-BE21-F18798718F2D}" type="pres">
      <dgm:prSet presAssocID="{CFCB6D28-69B2-4DB1-B0E6-F1B78F5FC88F}" presName="Name37" presStyleLbl="parChTrans1D3" presStyleIdx="0" presStyleCnt="6"/>
      <dgm:spPr/>
    </dgm:pt>
    <dgm:pt modelId="{EDBEE296-0F06-4248-92BD-6021E7DA68F7}" type="pres">
      <dgm:prSet presAssocID="{E6DFE12B-09BA-42F6-82E6-65F93648DB8B}" presName="hierRoot2" presStyleCnt="0">
        <dgm:presLayoutVars>
          <dgm:hierBranch val="init"/>
        </dgm:presLayoutVars>
      </dgm:prSet>
      <dgm:spPr/>
    </dgm:pt>
    <dgm:pt modelId="{6F29961B-F222-4EE0-B827-BA0BA5BE97EA}" type="pres">
      <dgm:prSet presAssocID="{E6DFE12B-09BA-42F6-82E6-65F93648DB8B}" presName="rootComposite" presStyleCnt="0"/>
      <dgm:spPr/>
    </dgm:pt>
    <dgm:pt modelId="{579ABAB3-7FDB-4A06-AB6F-359BBA8F6A57}" type="pres">
      <dgm:prSet presAssocID="{E6DFE12B-09BA-42F6-82E6-65F93648DB8B}" presName="rootText" presStyleLbl="node3" presStyleIdx="0" presStyleCnt="6" custScaleX="38952" custScaleY="31308" custLinFactNeighborX="-22428" custLinFactNeighborY="10175">
        <dgm:presLayoutVars>
          <dgm:chPref val="3"/>
        </dgm:presLayoutVars>
      </dgm:prSet>
      <dgm:spPr/>
    </dgm:pt>
    <dgm:pt modelId="{360A7827-25A4-473E-9F6D-6E13A2CEC6EE}" type="pres">
      <dgm:prSet presAssocID="{E6DFE12B-09BA-42F6-82E6-65F93648DB8B}" presName="rootConnector" presStyleLbl="node3" presStyleIdx="0" presStyleCnt="6"/>
      <dgm:spPr/>
    </dgm:pt>
    <dgm:pt modelId="{112370D4-ED46-485B-9AB5-EF3280F97CC7}" type="pres">
      <dgm:prSet presAssocID="{E6DFE12B-09BA-42F6-82E6-65F93648DB8B}" presName="hierChild4" presStyleCnt="0"/>
      <dgm:spPr/>
    </dgm:pt>
    <dgm:pt modelId="{896BFC72-C114-40A9-A674-0EC8EDC2E57E}" type="pres">
      <dgm:prSet presAssocID="{2ED09ACF-0A97-4454-98F8-7A73C5B60545}" presName="Name37" presStyleLbl="parChTrans1D4" presStyleIdx="0" presStyleCnt="6"/>
      <dgm:spPr/>
    </dgm:pt>
    <dgm:pt modelId="{E498CEA1-2E02-4301-962F-C38B687175E5}" type="pres">
      <dgm:prSet presAssocID="{B123A269-C63B-4F3F-8647-50E6CAA32275}" presName="hierRoot2" presStyleCnt="0">
        <dgm:presLayoutVars>
          <dgm:hierBranch val="init"/>
        </dgm:presLayoutVars>
      </dgm:prSet>
      <dgm:spPr/>
    </dgm:pt>
    <dgm:pt modelId="{87276BDA-6E7A-491D-86A1-57DB677BF9F6}" type="pres">
      <dgm:prSet presAssocID="{B123A269-C63B-4F3F-8647-50E6CAA32275}" presName="rootComposite" presStyleCnt="0"/>
      <dgm:spPr/>
    </dgm:pt>
    <dgm:pt modelId="{36643B4E-DA6D-49B3-9273-C3406DF4FCA5}" type="pres">
      <dgm:prSet presAssocID="{B123A269-C63B-4F3F-8647-50E6CAA32275}" presName="rootText" presStyleLbl="node4" presStyleIdx="0" presStyleCnt="6" custScaleX="27801" custScaleY="77163" custLinFactNeighborX="-7052" custLinFactNeighborY="-13734">
        <dgm:presLayoutVars>
          <dgm:chPref val="3"/>
        </dgm:presLayoutVars>
      </dgm:prSet>
      <dgm:spPr/>
    </dgm:pt>
    <dgm:pt modelId="{CBAEBC0B-4643-434D-947E-4F24883D3E0A}" type="pres">
      <dgm:prSet presAssocID="{B123A269-C63B-4F3F-8647-50E6CAA32275}" presName="rootConnector" presStyleLbl="node4" presStyleIdx="0" presStyleCnt="6"/>
      <dgm:spPr/>
    </dgm:pt>
    <dgm:pt modelId="{34EE1B54-1801-4814-BFFC-A08BFE98124A}" type="pres">
      <dgm:prSet presAssocID="{B123A269-C63B-4F3F-8647-50E6CAA32275}" presName="hierChild4" presStyleCnt="0"/>
      <dgm:spPr/>
    </dgm:pt>
    <dgm:pt modelId="{9AA9E0AF-7628-4751-8A6B-A20959697B22}" type="pres">
      <dgm:prSet presAssocID="{B123A269-C63B-4F3F-8647-50E6CAA32275}" presName="hierChild5" presStyleCnt="0"/>
      <dgm:spPr/>
    </dgm:pt>
    <dgm:pt modelId="{89170BAE-3594-495B-912C-AF4A1F3B4A5B}" type="pres">
      <dgm:prSet presAssocID="{E6DFE12B-09BA-42F6-82E6-65F93648DB8B}" presName="hierChild5" presStyleCnt="0"/>
      <dgm:spPr/>
    </dgm:pt>
    <dgm:pt modelId="{8E3E614E-CC65-4FF5-8736-25B03099ADC8}" type="pres">
      <dgm:prSet presAssocID="{6D9604BA-72C2-4446-96D1-D430FB6BB817}" presName="Name37" presStyleLbl="parChTrans1D3" presStyleIdx="1" presStyleCnt="6"/>
      <dgm:spPr/>
    </dgm:pt>
    <dgm:pt modelId="{0AFF9E49-B260-462B-87D1-C9BEC6F5E359}" type="pres">
      <dgm:prSet presAssocID="{3D823B65-C696-4598-BCD3-6D36A783D256}" presName="hierRoot2" presStyleCnt="0">
        <dgm:presLayoutVars>
          <dgm:hierBranch val="init"/>
        </dgm:presLayoutVars>
      </dgm:prSet>
      <dgm:spPr/>
    </dgm:pt>
    <dgm:pt modelId="{43ADD66E-6DCC-4643-98D2-119ADE7BFB01}" type="pres">
      <dgm:prSet presAssocID="{3D823B65-C696-4598-BCD3-6D36A783D256}" presName="rootComposite" presStyleCnt="0"/>
      <dgm:spPr/>
    </dgm:pt>
    <dgm:pt modelId="{0E1C4B60-1B8E-4FEA-84A6-96EA0B82240C}" type="pres">
      <dgm:prSet presAssocID="{3D823B65-C696-4598-BCD3-6D36A783D256}" presName="rootText" presStyleLbl="node3" presStyleIdx="1" presStyleCnt="6" custScaleX="26253" custScaleY="28141" custLinFactNeighborX="-1560" custLinFactNeighborY="9713">
        <dgm:presLayoutVars>
          <dgm:chPref val="3"/>
        </dgm:presLayoutVars>
      </dgm:prSet>
      <dgm:spPr/>
    </dgm:pt>
    <dgm:pt modelId="{12C101EF-5814-426B-9F4D-19F594C1933F}" type="pres">
      <dgm:prSet presAssocID="{3D823B65-C696-4598-BCD3-6D36A783D256}" presName="rootConnector" presStyleLbl="node3" presStyleIdx="1" presStyleCnt="6"/>
      <dgm:spPr/>
    </dgm:pt>
    <dgm:pt modelId="{6FA9F9D0-BF21-487E-B676-F21FE85C7884}" type="pres">
      <dgm:prSet presAssocID="{3D823B65-C696-4598-BCD3-6D36A783D256}" presName="hierChild4" presStyleCnt="0"/>
      <dgm:spPr/>
    </dgm:pt>
    <dgm:pt modelId="{133E6C6E-68CF-4856-9404-BC7DAF0257F9}" type="pres">
      <dgm:prSet presAssocID="{DB16E4E8-3D1D-4666-BBE0-79D596531A49}" presName="Name37" presStyleLbl="parChTrans1D4" presStyleIdx="1" presStyleCnt="6"/>
      <dgm:spPr/>
    </dgm:pt>
    <dgm:pt modelId="{6DCB87C7-06A1-48CD-AF72-AF3A1DAEFD03}" type="pres">
      <dgm:prSet presAssocID="{C3A51396-A5F2-4C3B-8FC8-F4CC48ABD092}" presName="hierRoot2" presStyleCnt="0">
        <dgm:presLayoutVars>
          <dgm:hierBranch val="init"/>
        </dgm:presLayoutVars>
      </dgm:prSet>
      <dgm:spPr/>
    </dgm:pt>
    <dgm:pt modelId="{198F98EC-0137-4177-925A-6D50B7E94030}" type="pres">
      <dgm:prSet presAssocID="{C3A51396-A5F2-4C3B-8FC8-F4CC48ABD092}" presName="rootComposite" presStyleCnt="0"/>
      <dgm:spPr/>
    </dgm:pt>
    <dgm:pt modelId="{F94DF553-D2F0-4741-8D68-B2DD5D62166E}" type="pres">
      <dgm:prSet presAssocID="{C3A51396-A5F2-4C3B-8FC8-F4CC48ABD092}" presName="rootText" presStyleLbl="node4" presStyleIdx="1" presStyleCnt="6" custScaleX="30014" custScaleY="45538" custLinFactNeighborX="-2394" custLinFactNeighborY="-13404">
        <dgm:presLayoutVars>
          <dgm:chPref val="3"/>
        </dgm:presLayoutVars>
      </dgm:prSet>
      <dgm:spPr/>
    </dgm:pt>
    <dgm:pt modelId="{28E53EB2-68C3-43BC-84C6-BDEF7710C357}" type="pres">
      <dgm:prSet presAssocID="{C3A51396-A5F2-4C3B-8FC8-F4CC48ABD092}" presName="rootConnector" presStyleLbl="node4" presStyleIdx="1" presStyleCnt="6"/>
      <dgm:spPr/>
    </dgm:pt>
    <dgm:pt modelId="{7A833954-6CE8-40B6-A3DB-1CFA29E52C09}" type="pres">
      <dgm:prSet presAssocID="{C3A51396-A5F2-4C3B-8FC8-F4CC48ABD092}" presName="hierChild4" presStyleCnt="0"/>
      <dgm:spPr/>
    </dgm:pt>
    <dgm:pt modelId="{F62C44F5-E031-4371-B7B8-3CD2A2A2DC2F}" type="pres">
      <dgm:prSet presAssocID="{C3A51396-A5F2-4C3B-8FC8-F4CC48ABD092}" presName="hierChild5" presStyleCnt="0"/>
      <dgm:spPr/>
    </dgm:pt>
    <dgm:pt modelId="{3FA952A1-3013-413C-A8A0-2DC69686AEAA}" type="pres">
      <dgm:prSet presAssocID="{3D823B65-C696-4598-BCD3-6D36A783D256}" presName="hierChild5" presStyleCnt="0"/>
      <dgm:spPr/>
    </dgm:pt>
    <dgm:pt modelId="{95C48CFA-BD3B-4752-AF28-8F4A402AC8B0}" type="pres">
      <dgm:prSet presAssocID="{C99C1018-3690-4B43-8487-670957DB27AC}" presName="Name37" presStyleLbl="parChTrans1D3" presStyleIdx="2" presStyleCnt="6"/>
      <dgm:spPr/>
    </dgm:pt>
    <dgm:pt modelId="{51D2F9C9-092A-49B8-8FAE-DE6C35F12A03}" type="pres">
      <dgm:prSet presAssocID="{472B048B-4EE4-4E04-B72C-12A7DCF1B832}" presName="hierRoot2" presStyleCnt="0">
        <dgm:presLayoutVars>
          <dgm:hierBranch val="init"/>
        </dgm:presLayoutVars>
      </dgm:prSet>
      <dgm:spPr/>
    </dgm:pt>
    <dgm:pt modelId="{8989F676-1ADF-44B6-89B1-70A445EE8BDE}" type="pres">
      <dgm:prSet presAssocID="{472B048B-4EE4-4E04-B72C-12A7DCF1B832}" presName="rootComposite" presStyleCnt="0"/>
      <dgm:spPr/>
    </dgm:pt>
    <dgm:pt modelId="{D2624134-F4AB-4300-827D-0F50067352CA}" type="pres">
      <dgm:prSet presAssocID="{472B048B-4EE4-4E04-B72C-12A7DCF1B832}" presName="rootText" presStyleLbl="node3" presStyleIdx="2" presStyleCnt="6" custScaleX="30069" custScaleY="28289" custLinFactNeighborY="10527">
        <dgm:presLayoutVars>
          <dgm:chPref val="3"/>
        </dgm:presLayoutVars>
      </dgm:prSet>
      <dgm:spPr/>
    </dgm:pt>
    <dgm:pt modelId="{02B68126-5762-4CDA-A021-778154943288}" type="pres">
      <dgm:prSet presAssocID="{472B048B-4EE4-4E04-B72C-12A7DCF1B832}" presName="rootConnector" presStyleLbl="node3" presStyleIdx="2" presStyleCnt="6"/>
      <dgm:spPr/>
    </dgm:pt>
    <dgm:pt modelId="{112909E3-AC1C-49EF-9020-9A9A77A1ABCD}" type="pres">
      <dgm:prSet presAssocID="{472B048B-4EE4-4E04-B72C-12A7DCF1B832}" presName="hierChild4" presStyleCnt="0"/>
      <dgm:spPr/>
    </dgm:pt>
    <dgm:pt modelId="{AA177D24-E9CF-4CEE-948F-CB88A05DD879}" type="pres">
      <dgm:prSet presAssocID="{3EA769BB-79EF-44AC-9EBF-1CC9E9BF5C92}" presName="Name37" presStyleLbl="parChTrans1D4" presStyleIdx="2" presStyleCnt="6"/>
      <dgm:spPr/>
    </dgm:pt>
    <dgm:pt modelId="{E8A4F6B2-B879-4F5D-B27C-C309F81C0515}" type="pres">
      <dgm:prSet presAssocID="{1AAD6746-2022-446A-9906-E7FFFCC9975C}" presName="hierRoot2" presStyleCnt="0">
        <dgm:presLayoutVars>
          <dgm:hierBranch val="init"/>
        </dgm:presLayoutVars>
      </dgm:prSet>
      <dgm:spPr/>
    </dgm:pt>
    <dgm:pt modelId="{508412A3-DFFF-4FE8-B878-CA583CF6AC13}" type="pres">
      <dgm:prSet presAssocID="{1AAD6746-2022-446A-9906-E7FFFCC9975C}" presName="rootComposite" presStyleCnt="0"/>
      <dgm:spPr/>
    </dgm:pt>
    <dgm:pt modelId="{A9177465-DD25-40A0-89CC-0F2F18184145}" type="pres">
      <dgm:prSet presAssocID="{1AAD6746-2022-446A-9906-E7FFFCC9975C}" presName="rootText" presStyleLbl="node4" presStyleIdx="2" presStyleCnt="6" custScaleX="43567" custScaleY="51523" custLinFactNeighborX="-2296" custLinFactNeighborY="-15061">
        <dgm:presLayoutVars>
          <dgm:chPref val="3"/>
        </dgm:presLayoutVars>
      </dgm:prSet>
      <dgm:spPr/>
    </dgm:pt>
    <dgm:pt modelId="{90A41607-A5D0-4F67-B1EA-AABFA47C16DF}" type="pres">
      <dgm:prSet presAssocID="{1AAD6746-2022-446A-9906-E7FFFCC9975C}" presName="rootConnector" presStyleLbl="node4" presStyleIdx="2" presStyleCnt="6"/>
      <dgm:spPr/>
    </dgm:pt>
    <dgm:pt modelId="{D40A1156-D5E5-419D-A767-EF7EC5A026D8}" type="pres">
      <dgm:prSet presAssocID="{1AAD6746-2022-446A-9906-E7FFFCC9975C}" presName="hierChild4" presStyleCnt="0"/>
      <dgm:spPr/>
    </dgm:pt>
    <dgm:pt modelId="{429DFFD5-C642-4171-8103-1DF5C4AC8ED8}" type="pres">
      <dgm:prSet presAssocID="{1AAD6746-2022-446A-9906-E7FFFCC9975C}" presName="hierChild5" presStyleCnt="0"/>
      <dgm:spPr/>
    </dgm:pt>
    <dgm:pt modelId="{13EB4D42-CADB-4DA9-8196-272C98078BB9}" type="pres">
      <dgm:prSet presAssocID="{472B048B-4EE4-4E04-B72C-12A7DCF1B832}" presName="hierChild5" presStyleCnt="0"/>
      <dgm:spPr/>
    </dgm:pt>
    <dgm:pt modelId="{DE811C5E-8605-479E-BA2D-7FAD57162AAA}" type="pres">
      <dgm:prSet presAssocID="{170C2C20-9E70-4353-B890-40BF6D3BCE14}" presName="hierChild5" presStyleCnt="0"/>
      <dgm:spPr/>
    </dgm:pt>
    <dgm:pt modelId="{C79447D0-C69F-4DEE-9D21-E3EEB57B647A}" type="pres">
      <dgm:prSet presAssocID="{148A6EE5-694E-4D58-8B33-3FA4E817F554}" presName="Name37" presStyleLbl="parChTrans1D2" presStyleIdx="1" presStyleCnt="2"/>
      <dgm:spPr/>
    </dgm:pt>
    <dgm:pt modelId="{3CBD8A31-FDA8-4DF4-8F01-B04738AFDA7F}" type="pres">
      <dgm:prSet presAssocID="{A4537974-D0AD-44E0-8D5B-78CD364111B8}" presName="hierRoot2" presStyleCnt="0">
        <dgm:presLayoutVars>
          <dgm:hierBranch val="init"/>
        </dgm:presLayoutVars>
      </dgm:prSet>
      <dgm:spPr/>
    </dgm:pt>
    <dgm:pt modelId="{506A58CB-3F17-4612-8EA8-7FC4C5B3D0FA}" type="pres">
      <dgm:prSet presAssocID="{A4537974-D0AD-44E0-8D5B-78CD364111B8}" presName="rootComposite" presStyleCnt="0"/>
      <dgm:spPr/>
    </dgm:pt>
    <dgm:pt modelId="{AE24E54F-A8EE-4213-8A5F-ED4DAAA7C72A}" type="pres">
      <dgm:prSet presAssocID="{A4537974-D0AD-44E0-8D5B-78CD364111B8}" presName="rootText" presStyleLbl="node2" presStyleIdx="1" presStyleCnt="2" custScaleX="32765" custScaleY="45523" custLinFactNeighborX="2395">
        <dgm:presLayoutVars>
          <dgm:chPref val="3"/>
        </dgm:presLayoutVars>
      </dgm:prSet>
      <dgm:spPr/>
    </dgm:pt>
    <dgm:pt modelId="{5AD4252B-4AE9-4650-BFDD-78A251B6FC45}" type="pres">
      <dgm:prSet presAssocID="{A4537974-D0AD-44E0-8D5B-78CD364111B8}" presName="rootConnector" presStyleLbl="node2" presStyleIdx="1" presStyleCnt="2"/>
      <dgm:spPr/>
    </dgm:pt>
    <dgm:pt modelId="{630281C4-B9F3-4369-B0BC-9286E216483E}" type="pres">
      <dgm:prSet presAssocID="{A4537974-D0AD-44E0-8D5B-78CD364111B8}" presName="hierChild4" presStyleCnt="0"/>
      <dgm:spPr/>
    </dgm:pt>
    <dgm:pt modelId="{B66F7693-27FD-462B-8A49-7165086AA609}" type="pres">
      <dgm:prSet presAssocID="{E0ADB764-6AE5-4A5E-9734-EAEE7C4B0988}" presName="Name37" presStyleLbl="parChTrans1D3" presStyleIdx="3" presStyleCnt="6"/>
      <dgm:spPr/>
    </dgm:pt>
    <dgm:pt modelId="{50A2E062-12BC-4BFC-9C13-D31F331DF6E7}" type="pres">
      <dgm:prSet presAssocID="{EA8E2D20-48B1-47B0-A25F-C0A5BE2256E0}" presName="hierRoot2" presStyleCnt="0">
        <dgm:presLayoutVars>
          <dgm:hierBranch val="init"/>
        </dgm:presLayoutVars>
      </dgm:prSet>
      <dgm:spPr/>
    </dgm:pt>
    <dgm:pt modelId="{297B5992-541A-45B8-BCFB-B0C40C2C15AC}" type="pres">
      <dgm:prSet presAssocID="{EA8E2D20-48B1-47B0-A25F-C0A5BE2256E0}" presName="rootComposite" presStyleCnt="0"/>
      <dgm:spPr/>
    </dgm:pt>
    <dgm:pt modelId="{F50CEFC3-432C-4C11-80D1-DCAB9EEC0CE8}" type="pres">
      <dgm:prSet presAssocID="{EA8E2D20-48B1-47B0-A25F-C0A5BE2256E0}" presName="rootText" presStyleLbl="node3" presStyleIdx="3" presStyleCnt="6" custScaleX="37177" custScaleY="29954">
        <dgm:presLayoutVars>
          <dgm:chPref val="3"/>
        </dgm:presLayoutVars>
      </dgm:prSet>
      <dgm:spPr/>
    </dgm:pt>
    <dgm:pt modelId="{E9791851-6E8F-43F3-BF38-812582E80902}" type="pres">
      <dgm:prSet presAssocID="{EA8E2D20-48B1-47B0-A25F-C0A5BE2256E0}" presName="rootConnector" presStyleLbl="node3" presStyleIdx="3" presStyleCnt="6"/>
      <dgm:spPr/>
    </dgm:pt>
    <dgm:pt modelId="{E43E377A-C749-4B70-ABC6-13756F8C91F8}" type="pres">
      <dgm:prSet presAssocID="{EA8E2D20-48B1-47B0-A25F-C0A5BE2256E0}" presName="hierChild4" presStyleCnt="0"/>
      <dgm:spPr/>
    </dgm:pt>
    <dgm:pt modelId="{C7FCF25B-BD66-4BA7-9D4D-9CCF56E99542}" type="pres">
      <dgm:prSet presAssocID="{1E6399E4-D009-4AEC-9C8C-41628F882FE1}" presName="Name37" presStyleLbl="parChTrans1D4" presStyleIdx="3" presStyleCnt="6"/>
      <dgm:spPr/>
    </dgm:pt>
    <dgm:pt modelId="{AC315AFC-45AF-45F6-9316-861277A99D95}" type="pres">
      <dgm:prSet presAssocID="{3E54EEC2-9953-4E1F-A2D5-DB124DA5155C}" presName="hierRoot2" presStyleCnt="0">
        <dgm:presLayoutVars>
          <dgm:hierBranch val="init"/>
        </dgm:presLayoutVars>
      </dgm:prSet>
      <dgm:spPr/>
    </dgm:pt>
    <dgm:pt modelId="{F75FB1A5-62F0-4C16-8919-FEB086C038F3}" type="pres">
      <dgm:prSet presAssocID="{3E54EEC2-9953-4E1F-A2D5-DB124DA5155C}" presName="rootComposite" presStyleCnt="0"/>
      <dgm:spPr/>
    </dgm:pt>
    <dgm:pt modelId="{EEE2EA4B-3515-4AC6-97B2-0DEE8F29ACB4}" type="pres">
      <dgm:prSet presAssocID="{3E54EEC2-9953-4E1F-A2D5-DB124DA5155C}" presName="rootText" presStyleLbl="node4" presStyleIdx="3" presStyleCnt="6" custScaleX="40626" custScaleY="172281" custLinFactNeighborX="-1237" custLinFactNeighborY="-23925">
        <dgm:presLayoutVars>
          <dgm:chPref val="3"/>
        </dgm:presLayoutVars>
      </dgm:prSet>
      <dgm:spPr/>
    </dgm:pt>
    <dgm:pt modelId="{2014C149-A033-42D8-8F8A-508281643EB5}" type="pres">
      <dgm:prSet presAssocID="{3E54EEC2-9953-4E1F-A2D5-DB124DA5155C}" presName="rootConnector" presStyleLbl="node4" presStyleIdx="3" presStyleCnt="6"/>
      <dgm:spPr/>
    </dgm:pt>
    <dgm:pt modelId="{3CA149E1-955E-4705-A58C-7A1C33012417}" type="pres">
      <dgm:prSet presAssocID="{3E54EEC2-9953-4E1F-A2D5-DB124DA5155C}" presName="hierChild4" presStyleCnt="0"/>
      <dgm:spPr/>
    </dgm:pt>
    <dgm:pt modelId="{98363EB5-EF9B-42C4-8F20-E389D952611A}" type="pres">
      <dgm:prSet presAssocID="{3E54EEC2-9953-4E1F-A2D5-DB124DA5155C}" presName="hierChild5" presStyleCnt="0"/>
      <dgm:spPr/>
    </dgm:pt>
    <dgm:pt modelId="{28BD3BB6-0AAD-4325-BE53-71C98710CC95}" type="pres">
      <dgm:prSet presAssocID="{EA8E2D20-48B1-47B0-A25F-C0A5BE2256E0}" presName="hierChild5" presStyleCnt="0"/>
      <dgm:spPr/>
    </dgm:pt>
    <dgm:pt modelId="{F0B796C5-3995-4073-BB00-92D2F49FC6FD}" type="pres">
      <dgm:prSet presAssocID="{9496DB9F-4908-470F-AC2F-1B781D46E9BC}" presName="Name37" presStyleLbl="parChTrans1D3" presStyleIdx="4" presStyleCnt="6"/>
      <dgm:spPr/>
    </dgm:pt>
    <dgm:pt modelId="{21C97ADE-8A17-48CD-9E48-FD437A5616E7}" type="pres">
      <dgm:prSet presAssocID="{BE097830-0FA3-4C12-A842-8F39A0D2CE1D}" presName="hierRoot2" presStyleCnt="0">
        <dgm:presLayoutVars>
          <dgm:hierBranch val="init"/>
        </dgm:presLayoutVars>
      </dgm:prSet>
      <dgm:spPr/>
    </dgm:pt>
    <dgm:pt modelId="{77ABC9CA-5797-44C6-9814-4762B49E6FD9}" type="pres">
      <dgm:prSet presAssocID="{BE097830-0FA3-4C12-A842-8F39A0D2CE1D}" presName="rootComposite" presStyleCnt="0"/>
      <dgm:spPr/>
    </dgm:pt>
    <dgm:pt modelId="{346CE09B-8833-41A4-969C-89D6CA8ABC0B}" type="pres">
      <dgm:prSet presAssocID="{BE097830-0FA3-4C12-A842-8F39A0D2CE1D}" presName="rootText" presStyleLbl="node3" presStyleIdx="4" presStyleCnt="6" custScaleX="33228" custScaleY="31295">
        <dgm:presLayoutVars>
          <dgm:chPref val="3"/>
        </dgm:presLayoutVars>
      </dgm:prSet>
      <dgm:spPr/>
    </dgm:pt>
    <dgm:pt modelId="{65F3B6CF-CEB8-454E-8D58-02BEC270C8BA}" type="pres">
      <dgm:prSet presAssocID="{BE097830-0FA3-4C12-A842-8F39A0D2CE1D}" presName="rootConnector" presStyleLbl="node3" presStyleIdx="4" presStyleCnt="6"/>
      <dgm:spPr/>
    </dgm:pt>
    <dgm:pt modelId="{EAB50D26-7725-43E0-8D62-FBD6D32EFEBA}" type="pres">
      <dgm:prSet presAssocID="{BE097830-0FA3-4C12-A842-8F39A0D2CE1D}" presName="hierChild4" presStyleCnt="0"/>
      <dgm:spPr/>
    </dgm:pt>
    <dgm:pt modelId="{52DE1765-B235-46E8-83F0-9BDCF67CC444}" type="pres">
      <dgm:prSet presAssocID="{BA2A62D3-E712-4593-A162-3148B3175BB0}" presName="Name37" presStyleLbl="parChTrans1D4" presStyleIdx="4" presStyleCnt="6"/>
      <dgm:spPr/>
    </dgm:pt>
    <dgm:pt modelId="{3C55DBC1-B123-4B35-AD22-EB1046323817}" type="pres">
      <dgm:prSet presAssocID="{2E8698F6-BAFA-49F9-ACD1-345406E7A9B4}" presName="hierRoot2" presStyleCnt="0">
        <dgm:presLayoutVars>
          <dgm:hierBranch val="init"/>
        </dgm:presLayoutVars>
      </dgm:prSet>
      <dgm:spPr/>
    </dgm:pt>
    <dgm:pt modelId="{62728122-5D89-43FE-9050-826D2D71D65F}" type="pres">
      <dgm:prSet presAssocID="{2E8698F6-BAFA-49F9-ACD1-345406E7A9B4}" presName="rootComposite" presStyleCnt="0"/>
      <dgm:spPr/>
    </dgm:pt>
    <dgm:pt modelId="{460772E0-7DE8-45C8-932E-2CDE16F8DF88}" type="pres">
      <dgm:prSet presAssocID="{2E8698F6-BAFA-49F9-ACD1-345406E7A9B4}" presName="rootText" presStyleLbl="node4" presStyleIdx="4" presStyleCnt="6" custScaleX="36734" custScaleY="138955" custLinFactNeighborX="-836" custLinFactNeighborY="-25921">
        <dgm:presLayoutVars>
          <dgm:chPref val="3"/>
        </dgm:presLayoutVars>
      </dgm:prSet>
      <dgm:spPr/>
    </dgm:pt>
    <dgm:pt modelId="{C36D9B27-2769-4021-BDF8-5A5CB60C93B7}" type="pres">
      <dgm:prSet presAssocID="{2E8698F6-BAFA-49F9-ACD1-345406E7A9B4}" presName="rootConnector" presStyleLbl="node4" presStyleIdx="4" presStyleCnt="6"/>
      <dgm:spPr/>
    </dgm:pt>
    <dgm:pt modelId="{3CE04C6C-B8F8-47DC-8C93-746234F019E1}" type="pres">
      <dgm:prSet presAssocID="{2E8698F6-BAFA-49F9-ACD1-345406E7A9B4}" presName="hierChild4" presStyleCnt="0"/>
      <dgm:spPr/>
    </dgm:pt>
    <dgm:pt modelId="{54223CB2-5D5E-4577-85A8-67B23D789722}" type="pres">
      <dgm:prSet presAssocID="{2E8698F6-BAFA-49F9-ACD1-345406E7A9B4}" presName="hierChild5" presStyleCnt="0"/>
      <dgm:spPr/>
    </dgm:pt>
    <dgm:pt modelId="{0EA16432-A432-4C8A-8022-8C596605EC67}" type="pres">
      <dgm:prSet presAssocID="{BE097830-0FA3-4C12-A842-8F39A0D2CE1D}" presName="hierChild5" presStyleCnt="0"/>
      <dgm:spPr/>
    </dgm:pt>
    <dgm:pt modelId="{13658B3E-AA47-498D-8F3C-D94267713534}" type="pres">
      <dgm:prSet presAssocID="{68A46478-642F-46C6-8C24-6715BA351E06}" presName="Name37" presStyleLbl="parChTrans1D3" presStyleIdx="5" presStyleCnt="6"/>
      <dgm:spPr/>
    </dgm:pt>
    <dgm:pt modelId="{BB2FEF32-7291-4B2B-8294-67F89C3A72A0}" type="pres">
      <dgm:prSet presAssocID="{0063BEE8-25E6-4448-BAF6-68D58761F916}" presName="hierRoot2" presStyleCnt="0">
        <dgm:presLayoutVars>
          <dgm:hierBranch val="init"/>
        </dgm:presLayoutVars>
      </dgm:prSet>
      <dgm:spPr/>
    </dgm:pt>
    <dgm:pt modelId="{E7488CD9-BF01-4765-A2A2-AB5D79552F1F}" type="pres">
      <dgm:prSet presAssocID="{0063BEE8-25E6-4448-BAF6-68D58761F916}" presName="rootComposite" presStyleCnt="0"/>
      <dgm:spPr/>
    </dgm:pt>
    <dgm:pt modelId="{7FEE0A30-FE3A-4CA0-987D-ADD6D5DF4179}" type="pres">
      <dgm:prSet presAssocID="{0063BEE8-25E6-4448-BAF6-68D58761F916}" presName="rootText" presStyleLbl="node3" presStyleIdx="5" presStyleCnt="6" custScaleX="29376" custScaleY="26395">
        <dgm:presLayoutVars>
          <dgm:chPref val="3"/>
        </dgm:presLayoutVars>
      </dgm:prSet>
      <dgm:spPr/>
    </dgm:pt>
    <dgm:pt modelId="{0DBA146D-A618-4B66-BC0A-FE54906EA67C}" type="pres">
      <dgm:prSet presAssocID="{0063BEE8-25E6-4448-BAF6-68D58761F916}" presName="rootConnector" presStyleLbl="node3" presStyleIdx="5" presStyleCnt="6"/>
      <dgm:spPr/>
    </dgm:pt>
    <dgm:pt modelId="{919193CF-DFE0-419F-8448-B91EB29793C5}" type="pres">
      <dgm:prSet presAssocID="{0063BEE8-25E6-4448-BAF6-68D58761F916}" presName="hierChild4" presStyleCnt="0"/>
      <dgm:spPr/>
    </dgm:pt>
    <dgm:pt modelId="{0ADD6A68-CB32-4958-8F97-410E6D86624F}" type="pres">
      <dgm:prSet presAssocID="{DBAD3CD8-1E48-45A9-9CB1-9A288DA64D1B}" presName="Name37" presStyleLbl="parChTrans1D4" presStyleIdx="5" presStyleCnt="6"/>
      <dgm:spPr/>
    </dgm:pt>
    <dgm:pt modelId="{F4D020A1-1BB1-4936-B455-B8F872E4DEB2}" type="pres">
      <dgm:prSet presAssocID="{A1F58EDB-3F53-4E91-9BFB-916805B7CAE0}" presName="hierRoot2" presStyleCnt="0">
        <dgm:presLayoutVars>
          <dgm:hierBranch val="init"/>
        </dgm:presLayoutVars>
      </dgm:prSet>
      <dgm:spPr/>
    </dgm:pt>
    <dgm:pt modelId="{2104F54A-82FE-47AB-BEC6-778502DD5C06}" type="pres">
      <dgm:prSet presAssocID="{A1F58EDB-3F53-4E91-9BFB-916805B7CAE0}" presName="rootComposite" presStyleCnt="0"/>
      <dgm:spPr/>
    </dgm:pt>
    <dgm:pt modelId="{CB096EA8-879D-4D52-9563-38C563B960C2}" type="pres">
      <dgm:prSet presAssocID="{A1F58EDB-3F53-4E91-9BFB-916805B7CAE0}" presName="rootText" presStyleLbl="node4" presStyleIdx="5" presStyleCnt="6" custScaleX="38525" custScaleY="25065">
        <dgm:presLayoutVars>
          <dgm:chPref val="3"/>
        </dgm:presLayoutVars>
      </dgm:prSet>
      <dgm:spPr/>
    </dgm:pt>
    <dgm:pt modelId="{E6BBEF7E-B5DD-4440-9E3A-790AB970C360}" type="pres">
      <dgm:prSet presAssocID="{A1F58EDB-3F53-4E91-9BFB-916805B7CAE0}" presName="rootConnector" presStyleLbl="node4" presStyleIdx="5" presStyleCnt="6"/>
      <dgm:spPr/>
    </dgm:pt>
    <dgm:pt modelId="{C3072415-8808-4AD9-8FD4-EFD89FE1E82C}" type="pres">
      <dgm:prSet presAssocID="{A1F58EDB-3F53-4E91-9BFB-916805B7CAE0}" presName="hierChild4" presStyleCnt="0"/>
      <dgm:spPr/>
    </dgm:pt>
    <dgm:pt modelId="{A597D381-E392-45AD-858F-4F994749E4C1}" type="pres">
      <dgm:prSet presAssocID="{A1F58EDB-3F53-4E91-9BFB-916805B7CAE0}" presName="hierChild5" presStyleCnt="0"/>
      <dgm:spPr/>
    </dgm:pt>
    <dgm:pt modelId="{0D1179F7-E0D6-47B3-A1FC-2E1254E9DB25}" type="pres">
      <dgm:prSet presAssocID="{0063BEE8-25E6-4448-BAF6-68D58761F916}" presName="hierChild5" presStyleCnt="0"/>
      <dgm:spPr/>
    </dgm:pt>
    <dgm:pt modelId="{51C674D4-44FC-499E-9F96-F05BFEB42142}" type="pres">
      <dgm:prSet presAssocID="{A4537974-D0AD-44E0-8D5B-78CD364111B8}" presName="hierChild5" presStyleCnt="0"/>
      <dgm:spPr/>
    </dgm:pt>
    <dgm:pt modelId="{25089B1C-99C1-4F6E-A44B-73C45FE92084}" type="pres">
      <dgm:prSet presAssocID="{85B8E9C7-C3C2-4F47-8FF2-FF1957D8A2C9}" presName="hierChild3" presStyleCnt="0"/>
      <dgm:spPr/>
    </dgm:pt>
  </dgm:ptLst>
  <dgm:cxnLst>
    <dgm:cxn modelId="{D091480B-FCD9-4347-B99C-83BA0DE19D65}" type="presOf" srcId="{A1F58EDB-3F53-4E91-9BFB-916805B7CAE0}" destId="{E6BBEF7E-B5DD-4440-9E3A-790AB970C360}" srcOrd="1" destOrd="0" presId="urn:microsoft.com/office/officeart/2005/8/layout/orgChart1"/>
    <dgm:cxn modelId="{1FBFC40D-880F-41AE-B125-3D8F79324D1D}" type="presOf" srcId="{BE097830-0FA3-4C12-A842-8F39A0D2CE1D}" destId="{65F3B6CF-CEB8-454E-8D58-02BEC270C8BA}" srcOrd="1" destOrd="0" presId="urn:microsoft.com/office/officeart/2005/8/layout/orgChart1"/>
    <dgm:cxn modelId="{7E4F610F-CDA4-472C-9DD8-398DF7FF9DFF}" type="presOf" srcId="{C3A51396-A5F2-4C3B-8FC8-F4CC48ABD092}" destId="{F94DF553-D2F0-4741-8D68-B2DD5D62166E}" srcOrd="0" destOrd="0" presId="urn:microsoft.com/office/officeart/2005/8/layout/orgChart1"/>
    <dgm:cxn modelId="{23A2BA11-DA62-4476-9805-E2FC25AFB1C2}" srcId="{E6DFE12B-09BA-42F6-82E6-65F93648DB8B}" destId="{B123A269-C63B-4F3F-8647-50E6CAA32275}" srcOrd="0" destOrd="0" parTransId="{2ED09ACF-0A97-4454-98F8-7A73C5B60545}" sibTransId="{7354AF2A-7CCC-4465-AF5A-2772CE9F8144}"/>
    <dgm:cxn modelId="{8B08DB14-ADCA-4BF3-8CF5-E4B3FD3D37D1}" type="presOf" srcId="{68A46478-642F-46C6-8C24-6715BA351E06}" destId="{13658B3E-AA47-498D-8F3C-D94267713534}" srcOrd="0" destOrd="0" presId="urn:microsoft.com/office/officeart/2005/8/layout/orgChart1"/>
    <dgm:cxn modelId="{7CD1122A-316A-4C7A-A01C-131B9B15A079}" type="presOf" srcId="{472B048B-4EE4-4E04-B72C-12A7DCF1B832}" destId="{02B68126-5762-4CDA-A021-778154943288}" srcOrd="1" destOrd="0" presId="urn:microsoft.com/office/officeart/2005/8/layout/orgChart1"/>
    <dgm:cxn modelId="{77CC402A-7083-4528-A693-961B5225961A}" srcId="{170C2C20-9E70-4353-B890-40BF6D3BCE14}" destId="{472B048B-4EE4-4E04-B72C-12A7DCF1B832}" srcOrd="2" destOrd="0" parTransId="{C99C1018-3690-4B43-8487-670957DB27AC}" sibTransId="{A801532E-FAB3-4063-97DF-6349A9234660}"/>
    <dgm:cxn modelId="{3366B62A-1B4C-4817-8BA8-42AA57E051CB}" type="presOf" srcId="{B123A269-C63B-4F3F-8647-50E6CAA32275}" destId="{36643B4E-DA6D-49B3-9273-C3406DF4FCA5}" srcOrd="0" destOrd="0" presId="urn:microsoft.com/office/officeart/2005/8/layout/orgChart1"/>
    <dgm:cxn modelId="{70239C2E-50CA-4241-A169-103E135059CA}" type="presOf" srcId="{3EA769BB-79EF-44AC-9EBF-1CC9E9BF5C92}" destId="{AA177D24-E9CF-4CEE-948F-CB88A05DD879}" srcOrd="0" destOrd="0" presId="urn:microsoft.com/office/officeart/2005/8/layout/orgChart1"/>
    <dgm:cxn modelId="{20064D31-6FD5-43C9-A813-AFECEE6530B1}" type="presOf" srcId="{3D823B65-C696-4598-BCD3-6D36A783D256}" destId="{12C101EF-5814-426B-9F4D-19F594C1933F}" srcOrd="1" destOrd="0" presId="urn:microsoft.com/office/officeart/2005/8/layout/orgChart1"/>
    <dgm:cxn modelId="{4EB95C3F-E223-4DCB-802B-2A383379395D}" srcId="{A4537974-D0AD-44E0-8D5B-78CD364111B8}" destId="{EA8E2D20-48B1-47B0-A25F-C0A5BE2256E0}" srcOrd="0" destOrd="0" parTransId="{E0ADB764-6AE5-4A5E-9734-EAEE7C4B0988}" sibTransId="{9CD00F1E-1086-4B97-AD64-54F208E5BE53}"/>
    <dgm:cxn modelId="{9FCE305B-0F0A-4A56-8E16-A002C83FC0DB}" srcId="{170C2C20-9E70-4353-B890-40BF6D3BCE14}" destId="{E6DFE12B-09BA-42F6-82E6-65F93648DB8B}" srcOrd="0" destOrd="0" parTransId="{CFCB6D28-69B2-4DB1-B0E6-F1B78F5FC88F}" sibTransId="{972BE603-981E-4040-99D5-E665C6C046EE}"/>
    <dgm:cxn modelId="{69704F5B-F6A8-464C-A494-A399BEB237AD}" srcId="{85B8E9C7-C3C2-4F47-8FF2-FF1957D8A2C9}" destId="{A4537974-D0AD-44E0-8D5B-78CD364111B8}" srcOrd="1" destOrd="0" parTransId="{148A6EE5-694E-4D58-8B33-3FA4E817F554}" sibTransId="{46DDEF15-AA5F-4800-9AB8-9DCFEA9EC79B}"/>
    <dgm:cxn modelId="{D4B47F5E-A9F9-42D1-85E0-3300F4177A77}" type="presOf" srcId="{170C2C20-9E70-4353-B890-40BF6D3BCE14}" destId="{B3B96511-AB0A-457B-81BE-3DE1D7675730}" srcOrd="1" destOrd="0" presId="urn:microsoft.com/office/officeart/2005/8/layout/orgChart1"/>
    <dgm:cxn modelId="{29F94063-2DE7-48AE-A439-E7A59B9786E2}" type="presOf" srcId="{B123A269-C63B-4F3F-8647-50E6CAA32275}" destId="{CBAEBC0B-4643-434D-947E-4F24883D3E0A}" srcOrd="1" destOrd="0" presId="urn:microsoft.com/office/officeart/2005/8/layout/orgChart1"/>
    <dgm:cxn modelId="{0004FB68-2F73-4796-BDC0-59F17F8462C6}" type="presOf" srcId="{EA8E2D20-48B1-47B0-A25F-C0A5BE2256E0}" destId="{F50CEFC3-432C-4C11-80D1-DCAB9EEC0CE8}" srcOrd="0" destOrd="0" presId="urn:microsoft.com/office/officeart/2005/8/layout/orgChart1"/>
    <dgm:cxn modelId="{9832B26B-576D-4EE6-B4EB-03633FD0D89F}" type="presOf" srcId="{A1F58EDB-3F53-4E91-9BFB-916805B7CAE0}" destId="{CB096EA8-879D-4D52-9563-38C563B960C2}" srcOrd="0" destOrd="0" presId="urn:microsoft.com/office/officeart/2005/8/layout/orgChart1"/>
    <dgm:cxn modelId="{18AE7C4C-4A4F-48C3-8DFB-F5574A440E98}" type="presOf" srcId="{1B307953-CD98-48F3-91B2-45DC66B30E19}" destId="{AD6A1F3C-E249-4AF5-82A8-8824BCE21D28}" srcOrd="0" destOrd="0" presId="urn:microsoft.com/office/officeart/2005/8/layout/orgChart1"/>
    <dgm:cxn modelId="{9BC6BE6C-0C90-4D0E-BF10-E8016D87A3F4}" type="presOf" srcId="{2E8698F6-BAFA-49F9-ACD1-345406E7A9B4}" destId="{460772E0-7DE8-45C8-932E-2CDE16F8DF88}" srcOrd="0" destOrd="0" presId="urn:microsoft.com/office/officeart/2005/8/layout/orgChart1"/>
    <dgm:cxn modelId="{4A1BDC6F-7347-4C46-B1F5-384D11B49F7A}" type="presOf" srcId="{1AAD6746-2022-446A-9906-E7FFFCC9975C}" destId="{90A41607-A5D0-4F67-B1EA-AABFA47C16DF}" srcOrd="1" destOrd="0" presId="urn:microsoft.com/office/officeart/2005/8/layout/orgChart1"/>
    <dgm:cxn modelId="{0963B373-2F87-463A-95C9-3FCF5BE63C4F}" type="presOf" srcId="{C99C1018-3690-4B43-8487-670957DB27AC}" destId="{95C48CFA-BD3B-4752-AF28-8F4A402AC8B0}" srcOrd="0" destOrd="0" presId="urn:microsoft.com/office/officeart/2005/8/layout/orgChart1"/>
    <dgm:cxn modelId="{819BB254-AF21-4F01-ACD4-E5D36399F7F7}" type="presOf" srcId="{A4537974-D0AD-44E0-8D5B-78CD364111B8}" destId="{5AD4252B-4AE9-4650-BFDD-78A251B6FC45}" srcOrd="1" destOrd="0" presId="urn:microsoft.com/office/officeart/2005/8/layout/orgChart1"/>
    <dgm:cxn modelId="{5F95F075-985E-4F29-848F-8EC3ED68F85F}" type="presOf" srcId="{2E8698F6-BAFA-49F9-ACD1-345406E7A9B4}" destId="{C36D9B27-2769-4021-BDF8-5A5CB60C93B7}" srcOrd="1" destOrd="0" presId="urn:microsoft.com/office/officeart/2005/8/layout/orgChart1"/>
    <dgm:cxn modelId="{3EE91778-521F-4EA4-9FD5-47A8539ABE63}" type="presOf" srcId="{3E54EEC2-9953-4E1F-A2D5-DB124DA5155C}" destId="{EEE2EA4B-3515-4AC6-97B2-0DEE8F29ACB4}" srcOrd="0" destOrd="0" presId="urn:microsoft.com/office/officeart/2005/8/layout/orgChart1"/>
    <dgm:cxn modelId="{C7607A79-D6AE-4859-BE36-41DE77B956F1}" type="presOf" srcId="{DBAD3CD8-1E48-45A9-9CB1-9A288DA64D1B}" destId="{0ADD6A68-CB32-4958-8F97-410E6D86624F}" srcOrd="0" destOrd="0" presId="urn:microsoft.com/office/officeart/2005/8/layout/orgChart1"/>
    <dgm:cxn modelId="{8E1EF77C-5C6A-4818-A23D-50D47F859ECE}" srcId="{0063BEE8-25E6-4448-BAF6-68D58761F916}" destId="{A1F58EDB-3F53-4E91-9BFB-916805B7CAE0}" srcOrd="0" destOrd="0" parTransId="{DBAD3CD8-1E48-45A9-9CB1-9A288DA64D1B}" sibTransId="{C7ED18E9-BFB1-4F64-ADB3-EAAA01F7D0A4}"/>
    <dgm:cxn modelId="{0FF9277E-AED2-4367-9F0D-C9E515EC3D45}" type="presOf" srcId="{E6DFE12B-09BA-42F6-82E6-65F93648DB8B}" destId="{360A7827-25A4-473E-9F6D-6E13A2CEC6EE}" srcOrd="1" destOrd="0" presId="urn:microsoft.com/office/officeart/2005/8/layout/orgChart1"/>
    <dgm:cxn modelId="{93790983-C425-4E7F-9F2C-E5CCC6D1ED15}" type="presOf" srcId="{148A6EE5-694E-4D58-8B33-3FA4E817F554}" destId="{C79447D0-C69F-4DEE-9D21-E3EEB57B647A}" srcOrd="0" destOrd="0" presId="urn:microsoft.com/office/officeart/2005/8/layout/orgChart1"/>
    <dgm:cxn modelId="{2D3DE189-8396-41EB-8E6E-D954B3365C28}" type="presOf" srcId="{BA2A62D3-E712-4593-A162-3148B3175BB0}" destId="{52DE1765-B235-46E8-83F0-9BDCF67CC444}" srcOrd="0" destOrd="0" presId="urn:microsoft.com/office/officeart/2005/8/layout/orgChart1"/>
    <dgm:cxn modelId="{DB23B08B-99D0-45F4-AAB8-8AE070AF2460}" srcId="{85B8E9C7-C3C2-4F47-8FF2-FF1957D8A2C9}" destId="{170C2C20-9E70-4353-B890-40BF6D3BCE14}" srcOrd="0" destOrd="0" parTransId="{1B307953-CD98-48F3-91B2-45DC66B30E19}" sibTransId="{040F7114-24C4-4DB9-B05E-0933B39F8CD7}"/>
    <dgm:cxn modelId="{8A2EEF8B-A19D-42E2-8EC5-A256266570EE}" type="presOf" srcId="{3D823B65-C696-4598-BCD3-6D36A783D256}" destId="{0E1C4B60-1B8E-4FEA-84A6-96EA0B82240C}" srcOrd="0" destOrd="0" presId="urn:microsoft.com/office/officeart/2005/8/layout/orgChart1"/>
    <dgm:cxn modelId="{8C9BA892-4EEB-42A4-9CD8-D01B06B0FBB2}" type="presOf" srcId="{1E6399E4-D009-4AEC-9C8C-41628F882FE1}" destId="{C7FCF25B-BD66-4BA7-9D4D-9CCF56E99542}" srcOrd="0" destOrd="0" presId="urn:microsoft.com/office/officeart/2005/8/layout/orgChart1"/>
    <dgm:cxn modelId="{39AAB796-9196-45C7-9316-AC5923D3FC72}" type="presOf" srcId="{C3A51396-A5F2-4C3B-8FC8-F4CC48ABD092}" destId="{28E53EB2-68C3-43BC-84C6-BDEF7710C357}" srcOrd="1" destOrd="0" presId="urn:microsoft.com/office/officeart/2005/8/layout/orgChart1"/>
    <dgm:cxn modelId="{4936F799-C91A-46ED-A10B-CC8A3D9205C9}" srcId="{3D823B65-C696-4598-BCD3-6D36A783D256}" destId="{C3A51396-A5F2-4C3B-8FC8-F4CC48ABD092}" srcOrd="0" destOrd="0" parTransId="{DB16E4E8-3D1D-4666-BBE0-79D596531A49}" sibTransId="{BADEA866-1BF5-4804-9EBD-C7E2812C62A6}"/>
    <dgm:cxn modelId="{342302A0-DD66-4FB8-9F65-AFF74722CF62}" srcId="{EA8E2D20-48B1-47B0-A25F-C0A5BE2256E0}" destId="{3E54EEC2-9953-4E1F-A2D5-DB124DA5155C}" srcOrd="0" destOrd="0" parTransId="{1E6399E4-D009-4AEC-9C8C-41628F882FE1}" sibTransId="{66C82B04-192C-438B-8F20-0C610837B4E0}"/>
    <dgm:cxn modelId="{481845A1-02F8-4337-9CA4-E1ECD7D5869A}" type="presOf" srcId="{A4537974-D0AD-44E0-8D5B-78CD364111B8}" destId="{AE24E54F-A8EE-4213-8A5F-ED4DAAA7C72A}" srcOrd="0" destOrd="0" presId="urn:microsoft.com/office/officeart/2005/8/layout/orgChart1"/>
    <dgm:cxn modelId="{335D81A4-8F64-446B-8901-24C819C99221}" srcId="{CE13C0BE-1EC7-46BD-9D3F-CFC2F4B470C7}" destId="{85B8E9C7-C3C2-4F47-8FF2-FF1957D8A2C9}" srcOrd="0" destOrd="0" parTransId="{02764C56-CAD0-4CBD-B119-EE3A0919464F}" sibTransId="{3DCB29F5-3E0E-4991-A7F2-141892436433}"/>
    <dgm:cxn modelId="{3CA2BAA6-227D-41F3-A6C9-EA77EFEDC3F1}" type="presOf" srcId="{85B8E9C7-C3C2-4F47-8FF2-FF1957D8A2C9}" destId="{84AC7146-B6C5-4322-9CC5-431F5ECB4210}" srcOrd="1" destOrd="0" presId="urn:microsoft.com/office/officeart/2005/8/layout/orgChart1"/>
    <dgm:cxn modelId="{93E635A7-674E-436D-BFF2-1BF9F0C99092}" type="presOf" srcId="{0063BEE8-25E6-4448-BAF6-68D58761F916}" destId="{0DBA146D-A618-4B66-BC0A-FE54906EA67C}" srcOrd="1" destOrd="0" presId="urn:microsoft.com/office/officeart/2005/8/layout/orgChart1"/>
    <dgm:cxn modelId="{210FD0B0-0B23-441C-A127-7F735CFCCF65}" type="presOf" srcId="{EA8E2D20-48B1-47B0-A25F-C0A5BE2256E0}" destId="{E9791851-6E8F-43F3-BF38-812582E80902}" srcOrd="1" destOrd="0" presId="urn:microsoft.com/office/officeart/2005/8/layout/orgChart1"/>
    <dgm:cxn modelId="{E441B7BF-2D0F-4577-B802-9C33EB271F8E}" type="presOf" srcId="{6D9604BA-72C2-4446-96D1-D430FB6BB817}" destId="{8E3E614E-CC65-4FF5-8736-25B03099ADC8}" srcOrd="0" destOrd="0" presId="urn:microsoft.com/office/officeart/2005/8/layout/orgChart1"/>
    <dgm:cxn modelId="{676D83C1-654D-403A-9088-484329C8FD41}" srcId="{A4537974-D0AD-44E0-8D5B-78CD364111B8}" destId="{BE097830-0FA3-4C12-A842-8F39A0D2CE1D}" srcOrd="1" destOrd="0" parTransId="{9496DB9F-4908-470F-AC2F-1B781D46E9BC}" sibTransId="{C1463931-9637-4354-8A7B-818B5BE2A0D2}"/>
    <dgm:cxn modelId="{F84664C6-2699-41B1-A9C3-B862B7B448D7}" type="presOf" srcId="{85B8E9C7-C3C2-4F47-8FF2-FF1957D8A2C9}" destId="{59654EE1-1867-49AA-A3FE-025FB260536B}" srcOrd="0" destOrd="0" presId="urn:microsoft.com/office/officeart/2005/8/layout/orgChart1"/>
    <dgm:cxn modelId="{B23969CB-D08A-4C2E-9A00-DB1C57F055E4}" srcId="{BE097830-0FA3-4C12-A842-8F39A0D2CE1D}" destId="{2E8698F6-BAFA-49F9-ACD1-345406E7A9B4}" srcOrd="0" destOrd="0" parTransId="{BA2A62D3-E712-4593-A162-3148B3175BB0}" sibTransId="{FBF49A23-D28C-46F3-9081-2C514A22C607}"/>
    <dgm:cxn modelId="{0098A4CE-9466-479A-889E-6BC2A4FB0045}" srcId="{472B048B-4EE4-4E04-B72C-12A7DCF1B832}" destId="{1AAD6746-2022-446A-9906-E7FFFCC9975C}" srcOrd="0" destOrd="0" parTransId="{3EA769BB-79EF-44AC-9EBF-1CC9E9BF5C92}" sibTransId="{58EC297F-340B-4468-A16B-FC2D7CA7A80F}"/>
    <dgm:cxn modelId="{89522CCF-B9EC-4DE6-ABBB-19EFD427EF76}" type="presOf" srcId="{0063BEE8-25E6-4448-BAF6-68D58761F916}" destId="{7FEE0A30-FE3A-4CA0-987D-ADD6D5DF4179}" srcOrd="0" destOrd="0" presId="urn:microsoft.com/office/officeart/2005/8/layout/orgChart1"/>
    <dgm:cxn modelId="{9072B3D3-6588-4680-BB19-DF4DF142236A}" type="presOf" srcId="{BE097830-0FA3-4C12-A842-8F39A0D2CE1D}" destId="{346CE09B-8833-41A4-969C-89D6CA8ABC0B}" srcOrd="0" destOrd="0" presId="urn:microsoft.com/office/officeart/2005/8/layout/orgChart1"/>
    <dgm:cxn modelId="{857189E5-4A75-4FBF-BC06-B14E481D99A9}" type="presOf" srcId="{CE13C0BE-1EC7-46BD-9D3F-CFC2F4B470C7}" destId="{03461173-AE03-4111-A186-25C2E136C6AC}" srcOrd="0" destOrd="0" presId="urn:microsoft.com/office/officeart/2005/8/layout/orgChart1"/>
    <dgm:cxn modelId="{55284DE7-98AC-4E29-AB88-410C7564D8FF}" type="presOf" srcId="{E6DFE12B-09BA-42F6-82E6-65F93648DB8B}" destId="{579ABAB3-7FDB-4A06-AB6F-359BBA8F6A57}" srcOrd="0" destOrd="0" presId="urn:microsoft.com/office/officeart/2005/8/layout/orgChart1"/>
    <dgm:cxn modelId="{564937E9-4CD9-4E83-93DF-AB938E5A1CB0}" srcId="{A4537974-D0AD-44E0-8D5B-78CD364111B8}" destId="{0063BEE8-25E6-4448-BAF6-68D58761F916}" srcOrd="2" destOrd="0" parTransId="{68A46478-642F-46C6-8C24-6715BA351E06}" sibTransId="{A91EAE75-87FD-4908-B9F4-6FCD43B31B25}"/>
    <dgm:cxn modelId="{51CF96EC-500D-42A2-9382-9307F03E5BF8}" type="presOf" srcId="{DB16E4E8-3D1D-4666-BBE0-79D596531A49}" destId="{133E6C6E-68CF-4856-9404-BC7DAF0257F9}" srcOrd="0" destOrd="0" presId="urn:microsoft.com/office/officeart/2005/8/layout/orgChart1"/>
    <dgm:cxn modelId="{DDC3BAF0-069D-4F32-B654-A6E17A40A74B}" type="presOf" srcId="{E0ADB764-6AE5-4A5E-9734-EAEE7C4B0988}" destId="{B66F7693-27FD-462B-8A49-7165086AA609}" srcOrd="0" destOrd="0" presId="urn:microsoft.com/office/officeart/2005/8/layout/orgChart1"/>
    <dgm:cxn modelId="{18BC51F1-9908-4360-894B-8595E55951B2}" srcId="{170C2C20-9E70-4353-B890-40BF6D3BCE14}" destId="{3D823B65-C696-4598-BCD3-6D36A783D256}" srcOrd="1" destOrd="0" parTransId="{6D9604BA-72C2-4446-96D1-D430FB6BB817}" sibTransId="{E6EA5F0A-B123-41D5-802F-14A28241D3C6}"/>
    <dgm:cxn modelId="{CCF1DEF7-03EB-4185-A487-5CD0AE29DFBF}" type="presOf" srcId="{2ED09ACF-0A97-4454-98F8-7A73C5B60545}" destId="{896BFC72-C114-40A9-A674-0EC8EDC2E57E}" srcOrd="0" destOrd="0" presId="urn:microsoft.com/office/officeart/2005/8/layout/orgChart1"/>
    <dgm:cxn modelId="{FA89B0F8-B538-4992-910F-11EFAC496F10}" type="presOf" srcId="{CFCB6D28-69B2-4DB1-B0E6-F1B78F5FC88F}" destId="{52A67BFE-47C8-4FC1-BE21-F18798718F2D}" srcOrd="0" destOrd="0" presId="urn:microsoft.com/office/officeart/2005/8/layout/orgChart1"/>
    <dgm:cxn modelId="{36AE34FA-BEF8-40EB-A0DD-70F4C2A22A07}" type="presOf" srcId="{1AAD6746-2022-446A-9906-E7FFFCC9975C}" destId="{A9177465-DD25-40A0-89CC-0F2F18184145}" srcOrd="0" destOrd="0" presId="urn:microsoft.com/office/officeart/2005/8/layout/orgChart1"/>
    <dgm:cxn modelId="{D9FFFFFB-D81F-4D9D-9CE8-2E425F3AF736}" type="presOf" srcId="{170C2C20-9E70-4353-B890-40BF6D3BCE14}" destId="{DFB0CE57-CD7D-4121-BF74-EF6E13B31647}" srcOrd="0" destOrd="0" presId="urn:microsoft.com/office/officeart/2005/8/layout/orgChart1"/>
    <dgm:cxn modelId="{945EB8FC-3A9D-43C0-8390-E15B8C5790B4}" type="presOf" srcId="{472B048B-4EE4-4E04-B72C-12A7DCF1B832}" destId="{D2624134-F4AB-4300-827D-0F50067352CA}" srcOrd="0" destOrd="0" presId="urn:microsoft.com/office/officeart/2005/8/layout/orgChart1"/>
    <dgm:cxn modelId="{D96463FE-140C-4DE9-8D51-FC169410DDA1}" type="presOf" srcId="{3E54EEC2-9953-4E1F-A2D5-DB124DA5155C}" destId="{2014C149-A033-42D8-8F8A-508281643EB5}" srcOrd="1" destOrd="0" presId="urn:microsoft.com/office/officeart/2005/8/layout/orgChart1"/>
    <dgm:cxn modelId="{642F4AFF-2348-452D-8ADC-1D73AB565388}" type="presOf" srcId="{9496DB9F-4908-470F-AC2F-1B781D46E9BC}" destId="{F0B796C5-3995-4073-BB00-92D2F49FC6FD}" srcOrd="0" destOrd="0" presId="urn:microsoft.com/office/officeart/2005/8/layout/orgChart1"/>
    <dgm:cxn modelId="{AB7DF73B-FC0B-45D4-8F57-14F694BF87E1}" type="presParOf" srcId="{03461173-AE03-4111-A186-25C2E136C6AC}" destId="{8DDDA074-28DD-4AB6-95ED-4975F01FF48F}" srcOrd="0" destOrd="0" presId="urn:microsoft.com/office/officeart/2005/8/layout/orgChart1"/>
    <dgm:cxn modelId="{2F6EA470-C5AC-4569-A0BF-955C48238395}" type="presParOf" srcId="{8DDDA074-28DD-4AB6-95ED-4975F01FF48F}" destId="{4B933D9D-37EA-468A-A1F1-6528C8A10F90}" srcOrd="0" destOrd="0" presId="urn:microsoft.com/office/officeart/2005/8/layout/orgChart1"/>
    <dgm:cxn modelId="{69AC79BE-CF2C-40F5-A1CF-CDCB893340B8}" type="presParOf" srcId="{4B933D9D-37EA-468A-A1F1-6528C8A10F90}" destId="{59654EE1-1867-49AA-A3FE-025FB260536B}" srcOrd="0" destOrd="0" presId="urn:microsoft.com/office/officeart/2005/8/layout/orgChart1"/>
    <dgm:cxn modelId="{61650C39-7070-4DD3-9F0C-723291906709}" type="presParOf" srcId="{4B933D9D-37EA-468A-A1F1-6528C8A10F90}" destId="{84AC7146-B6C5-4322-9CC5-431F5ECB4210}" srcOrd="1" destOrd="0" presId="urn:microsoft.com/office/officeart/2005/8/layout/orgChart1"/>
    <dgm:cxn modelId="{D15E8B33-B831-4AAC-868B-80418F4BD401}" type="presParOf" srcId="{8DDDA074-28DD-4AB6-95ED-4975F01FF48F}" destId="{95621620-95C4-4FBF-B6CD-4272A8C5A1BD}" srcOrd="1" destOrd="0" presId="urn:microsoft.com/office/officeart/2005/8/layout/orgChart1"/>
    <dgm:cxn modelId="{986BE7B7-C677-48F0-A524-1AF17A569AF0}" type="presParOf" srcId="{95621620-95C4-4FBF-B6CD-4272A8C5A1BD}" destId="{AD6A1F3C-E249-4AF5-82A8-8824BCE21D28}" srcOrd="0" destOrd="0" presId="urn:microsoft.com/office/officeart/2005/8/layout/orgChart1"/>
    <dgm:cxn modelId="{2EEC562E-EA91-4628-9074-8968150A4D4A}" type="presParOf" srcId="{95621620-95C4-4FBF-B6CD-4272A8C5A1BD}" destId="{468253EC-B23F-4C3F-9C12-BBF2D1C4BEF7}" srcOrd="1" destOrd="0" presId="urn:microsoft.com/office/officeart/2005/8/layout/orgChart1"/>
    <dgm:cxn modelId="{1E71C8B2-E79C-4191-AC56-1D9EDC855CF7}" type="presParOf" srcId="{468253EC-B23F-4C3F-9C12-BBF2D1C4BEF7}" destId="{691FA654-8418-4850-A7A2-DC872FCEB820}" srcOrd="0" destOrd="0" presId="urn:microsoft.com/office/officeart/2005/8/layout/orgChart1"/>
    <dgm:cxn modelId="{90CA6410-B7E7-436D-BD64-8BE146A73897}" type="presParOf" srcId="{691FA654-8418-4850-A7A2-DC872FCEB820}" destId="{DFB0CE57-CD7D-4121-BF74-EF6E13B31647}" srcOrd="0" destOrd="0" presId="urn:microsoft.com/office/officeart/2005/8/layout/orgChart1"/>
    <dgm:cxn modelId="{CE1D90A3-440E-49D1-9DD9-17BE4D8E279B}" type="presParOf" srcId="{691FA654-8418-4850-A7A2-DC872FCEB820}" destId="{B3B96511-AB0A-457B-81BE-3DE1D7675730}" srcOrd="1" destOrd="0" presId="urn:microsoft.com/office/officeart/2005/8/layout/orgChart1"/>
    <dgm:cxn modelId="{20461998-78E2-46C5-A2A4-BAA8855245E6}" type="presParOf" srcId="{468253EC-B23F-4C3F-9C12-BBF2D1C4BEF7}" destId="{23C6D1B7-EA0B-44BA-AC0B-D7DF9A9A203A}" srcOrd="1" destOrd="0" presId="urn:microsoft.com/office/officeart/2005/8/layout/orgChart1"/>
    <dgm:cxn modelId="{3B5BD7CE-2BC0-4E6E-9BFB-5296234337B9}" type="presParOf" srcId="{23C6D1B7-EA0B-44BA-AC0B-D7DF9A9A203A}" destId="{52A67BFE-47C8-4FC1-BE21-F18798718F2D}" srcOrd="0" destOrd="0" presId="urn:microsoft.com/office/officeart/2005/8/layout/orgChart1"/>
    <dgm:cxn modelId="{48E74C98-6552-4510-A1F1-88958C923190}" type="presParOf" srcId="{23C6D1B7-EA0B-44BA-AC0B-D7DF9A9A203A}" destId="{EDBEE296-0F06-4248-92BD-6021E7DA68F7}" srcOrd="1" destOrd="0" presId="urn:microsoft.com/office/officeart/2005/8/layout/orgChart1"/>
    <dgm:cxn modelId="{278BA774-D31E-4BFF-8B20-C98B2C0D7386}" type="presParOf" srcId="{EDBEE296-0F06-4248-92BD-6021E7DA68F7}" destId="{6F29961B-F222-4EE0-B827-BA0BA5BE97EA}" srcOrd="0" destOrd="0" presId="urn:microsoft.com/office/officeart/2005/8/layout/orgChart1"/>
    <dgm:cxn modelId="{0E2339D2-2980-44A7-AF8D-F26FFDD7362E}" type="presParOf" srcId="{6F29961B-F222-4EE0-B827-BA0BA5BE97EA}" destId="{579ABAB3-7FDB-4A06-AB6F-359BBA8F6A57}" srcOrd="0" destOrd="0" presId="urn:microsoft.com/office/officeart/2005/8/layout/orgChart1"/>
    <dgm:cxn modelId="{F54C719D-8D41-4E60-9264-B1D8BCE906B9}" type="presParOf" srcId="{6F29961B-F222-4EE0-B827-BA0BA5BE97EA}" destId="{360A7827-25A4-473E-9F6D-6E13A2CEC6EE}" srcOrd="1" destOrd="0" presId="urn:microsoft.com/office/officeart/2005/8/layout/orgChart1"/>
    <dgm:cxn modelId="{DCB7DFA3-A350-49E5-B613-3D6F0D38436A}" type="presParOf" srcId="{EDBEE296-0F06-4248-92BD-6021E7DA68F7}" destId="{112370D4-ED46-485B-9AB5-EF3280F97CC7}" srcOrd="1" destOrd="0" presId="urn:microsoft.com/office/officeart/2005/8/layout/orgChart1"/>
    <dgm:cxn modelId="{406124B3-EEAF-49E7-AB3C-8CDECE85B953}" type="presParOf" srcId="{112370D4-ED46-485B-9AB5-EF3280F97CC7}" destId="{896BFC72-C114-40A9-A674-0EC8EDC2E57E}" srcOrd="0" destOrd="0" presId="urn:microsoft.com/office/officeart/2005/8/layout/orgChart1"/>
    <dgm:cxn modelId="{DB134366-5399-43A6-AC3E-EE730BDECCA5}" type="presParOf" srcId="{112370D4-ED46-485B-9AB5-EF3280F97CC7}" destId="{E498CEA1-2E02-4301-962F-C38B687175E5}" srcOrd="1" destOrd="0" presId="urn:microsoft.com/office/officeart/2005/8/layout/orgChart1"/>
    <dgm:cxn modelId="{60801C96-C9D7-4637-B032-48B354F0FD8A}" type="presParOf" srcId="{E498CEA1-2E02-4301-962F-C38B687175E5}" destId="{87276BDA-6E7A-491D-86A1-57DB677BF9F6}" srcOrd="0" destOrd="0" presId="urn:microsoft.com/office/officeart/2005/8/layout/orgChart1"/>
    <dgm:cxn modelId="{A3615397-ED5A-4C68-99CB-DDA8A4B14C97}" type="presParOf" srcId="{87276BDA-6E7A-491D-86A1-57DB677BF9F6}" destId="{36643B4E-DA6D-49B3-9273-C3406DF4FCA5}" srcOrd="0" destOrd="0" presId="urn:microsoft.com/office/officeart/2005/8/layout/orgChart1"/>
    <dgm:cxn modelId="{A1985622-58A2-45CB-B22D-39842325D056}" type="presParOf" srcId="{87276BDA-6E7A-491D-86A1-57DB677BF9F6}" destId="{CBAEBC0B-4643-434D-947E-4F24883D3E0A}" srcOrd="1" destOrd="0" presId="urn:microsoft.com/office/officeart/2005/8/layout/orgChart1"/>
    <dgm:cxn modelId="{002573D7-26C7-48F2-8025-6D2FED578D1C}" type="presParOf" srcId="{E498CEA1-2E02-4301-962F-C38B687175E5}" destId="{34EE1B54-1801-4814-BFFC-A08BFE98124A}" srcOrd="1" destOrd="0" presId="urn:microsoft.com/office/officeart/2005/8/layout/orgChart1"/>
    <dgm:cxn modelId="{248CFE03-49CE-414D-8E73-837FD05339DF}" type="presParOf" srcId="{E498CEA1-2E02-4301-962F-C38B687175E5}" destId="{9AA9E0AF-7628-4751-8A6B-A20959697B22}" srcOrd="2" destOrd="0" presId="urn:microsoft.com/office/officeart/2005/8/layout/orgChart1"/>
    <dgm:cxn modelId="{C39D97CF-E8DC-4656-9D10-ECB144F7F253}" type="presParOf" srcId="{EDBEE296-0F06-4248-92BD-6021E7DA68F7}" destId="{89170BAE-3594-495B-912C-AF4A1F3B4A5B}" srcOrd="2" destOrd="0" presId="urn:microsoft.com/office/officeart/2005/8/layout/orgChart1"/>
    <dgm:cxn modelId="{84856D21-EA4A-41EC-97F4-7C1CA8C04BAB}" type="presParOf" srcId="{23C6D1B7-EA0B-44BA-AC0B-D7DF9A9A203A}" destId="{8E3E614E-CC65-4FF5-8736-25B03099ADC8}" srcOrd="2" destOrd="0" presId="urn:microsoft.com/office/officeart/2005/8/layout/orgChart1"/>
    <dgm:cxn modelId="{2B27D71F-3F3B-41D7-B7EB-67A942459FA8}" type="presParOf" srcId="{23C6D1B7-EA0B-44BA-AC0B-D7DF9A9A203A}" destId="{0AFF9E49-B260-462B-87D1-C9BEC6F5E359}" srcOrd="3" destOrd="0" presId="urn:microsoft.com/office/officeart/2005/8/layout/orgChart1"/>
    <dgm:cxn modelId="{675A9E2C-A6DE-46B9-98BA-40870B97E11B}" type="presParOf" srcId="{0AFF9E49-B260-462B-87D1-C9BEC6F5E359}" destId="{43ADD66E-6DCC-4643-98D2-119ADE7BFB01}" srcOrd="0" destOrd="0" presId="urn:microsoft.com/office/officeart/2005/8/layout/orgChart1"/>
    <dgm:cxn modelId="{01EC1852-A133-4DAE-9093-FD76C9558A7C}" type="presParOf" srcId="{43ADD66E-6DCC-4643-98D2-119ADE7BFB01}" destId="{0E1C4B60-1B8E-4FEA-84A6-96EA0B82240C}" srcOrd="0" destOrd="0" presId="urn:microsoft.com/office/officeart/2005/8/layout/orgChart1"/>
    <dgm:cxn modelId="{D17E0960-FB5E-4449-B35A-87F72D89A961}" type="presParOf" srcId="{43ADD66E-6DCC-4643-98D2-119ADE7BFB01}" destId="{12C101EF-5814-426B-9F4D-19F594C1933F}" srcOrd="1" destOrd="0" presId="urn:microsoft.com/office/officeart/2005/8/layout/orgChart1"/>
    <dgm:cxn modelId="{9AA04578-F0B1-408A-8524-F516DE7473F3}" type="presParOf" srcId="{0AFF9E49-B260-462B-87D1-C9BEC6F5E359}" destId="{6FA9F9D0-BF21-487E-B676-F21FE85C7884}" srcOrd="1" destOrd="0" presId="urn:microsoft.com/office/officeart/2005/8/layout/orgChart1"/>
    <dgm:cxn modelId="{5B0F2A72-C185-49E9-A732-662CA53D00D7}" type="presParOf" srcId="{6FA9F9D0-BF21-487E-B676-F21FE85C7884}" destId="{133E6C6E-68CF-4856-9404-BC7DAF0257F9}" srcOrd="0" destOrd="0" presId="urn:microsoft.com/office/officeart/2005/8/layout/orgChart1"/>
    <dgm:cxn modelId="{5EEC5B74-4B8B-4E6B-A00B-12B3575F5632}" type="presParOf" srcId="{6FA9F9D0-BF21-487E-B676-F21FE85C7884}" destId="{6DCB87C7-06A1-48CD-AF72-AF3A1DAEFD03}" srcOrd="1" destOrd="0" presId="urn:microsoft.com/office/officeart/2005/8/layout/orgChart1"/>
    <dgm:cxn modelId="{EA8F0AB5-EBE9-41D2-AE00-5F2F1BA65D2A}" type="presParOf" srcId="{6DCB87C7-06A1-48CD-AF72-AF3A1DAEFD03}" destId="{198F98EC-0137-4177-925A-6D50B7E94030}" srcOrd="0" destOrd="0" presId="urn:microsoft.com/office/officeart/2005/8/layout/orgChart1"/>
    <dgm:cxn modelId="{60F24B28-86B7-49F2-A534-7BB0E81951D8}" type="presParOf" srcId="{198F98EC-0137-4177-925A-6D50B7E94030}" destId="{F94DF553-D2F0-4741-8D68-B2DD5D62166E}" srcOrd="0" destOrd="0" presId="urn:microsoft.com/office/officeart/2005/8/layout/orgChart1"/>
    <dgm:cxn modelId="{65EFC7E8-FF54-45E5-8748-CA5F140F0BFB}" type="presParOf" srcId="{198F98EC-0137-4177-925A-6D50B7E94030}" destId="{28E53EB2-68C3-43BC-84C6-BDEF7710C357}" srcOrd="1" destOrd="0" presId="urn:microsoft.com/office/officeart/2005/8/layout/orgChart1"/>
    <dgm:cxn modelId="{B8B3E8E3-1E81-491C-8C8A-3C5DB41D9214}" type="presParOf" srcId="{6DCB87C7-06A1-48CD-AF72-AF3A1DAEFD03}" destId="{7A833954-6CE8-40B6-A3DB-1CFA29E52C09}" srcOrd="1" destOrd="0" presId="urn:microsoft.com/office/officeart/2005/8/layout/orgChart1"/>
    <dgm:cxn modelId="{84A025C7-DC86-470D-8461-2D485685FD4A}" type="presParOf" srcId="{6DCB87C7-06A1-48CD-AF72-AF3A1DAEFD03}" destId="{F62C44F5-E031-4371-B7B8-3CD2A2A2DC2F}" srcOrd="2" destOrd="0" presId="urn:microsoft.com/office/officeart/2005/8/layout/orgChart1"/>
    <dgm:cxn modelId="{6D5493DC-BA7A-4382-A527-BAAAC28460EC}" type="presParOf" srcId="{0AFF9E49-B260-462B-87D1-C9BEC6F5E359}" destId="{3FA952A1-3013-413C-A8A0-2DC69686AEAA}" srcOrd="2" destOrd="0" presId="urn:microsoft.com/office/officeart/2005/8/layout/orgChart1"/>
    <dgm:cxn modelId="{1B6C459D-889A-413E-8672-A224875FEC09}" type="presParOf" srcId="{23C6D1B7-EA0B-44BA-AC0B-D7DF9A9A203A}" destId="{95C48CFA-BD3B-4752-AF28-8F4A402AC8B0}" srcOrd="4" destOrd="0" presId="urn:microsoft.com/office/officeart/2005/8/layout/orgChart1"/>
    <dgm:cxn modelId="{FC106898-69F5-4980-B970-F7B15BE271B4}" type="presParOf" srcId="{23C6D1B7-EA0B-44BA-AC0B-D7DF9A9A203A}" destId="{51D2F9C9-092A-49B8-8FAE-DE6C35F12A03}" srcOrd="5" destOrd="0" presId="urn:microsoft.com/office/officeart/2005/8/layout/orgChart1"/>
    <dgm:cxn modelId="{F7DA74C0-0740-433D-82EA-2A3CE96F6EEF}" type="presParOf" srcId="{51D2F9C9-092A-49B8-8FAE-DE6C35F12A03}" destId="{8989F676-1ADF-44B6-89B1-70A445EE8BDE}" srcOrd="0" destOrd="0" presId="urn:microsoft.com/office/officeart/2005/8/layout/orgChart1"/>
    <dgm:cxn modelId="{46E87595-1E49-4D8D-A3B5-25D097FE89D1}" type="presParOf" srcId="{8989F676-1ADF-44B6-89B1-70A445EE8BDE}" destId="{D2624134-F4AB-4300-827D-0F50067352CA}" srcOrd="0" destOrd="0" presId="urn:microsoft.com/office/officeart/2005/8/layout/orgChart1"/>
    <dgm:cxn modelId="{8B6FEEE3-D6A8-48AF-A923-43B0712C7E3B}" type="presParOf" srcId="{8989F676-1ADF-44B6-89B1-70A445EE8BDE}" destId="{02B68126-5762-4CDA-A021-778154943288}" srcOrd="1" destOrd="0" presId="urn:microsoft.com/office/officeart/2005/8/layout/orgChart1"/>
    <dgm:cxn modelId="{9F3FC6F4-BDB9-4F45-877C-E912F504EF66}" type="presParOf" srcId="{51D2F9C9-092A-49B8-8FAE-DE6C35F12A03}" destId="{112909E3-AC1C-49EF-9020-9A9A77A1ABCD}" srcOrd="1" destOrd="0" presId="urn:microsoft.com/office/officeart/2005/8/layout/orgChart1"/>
    <dgm:cxn modelId="{3BE36938-5150-4899-B229-B702370277EA}" type="presParOf" srcId="{112909E3-AC1C-49EF-9020-9A9A77A1ABCD}" destId="{AA177D24-E9CF-4CEE-948F-CB88A05DD879}" srcOrd="0" destOrd="0" presId="urn:microsoft.com/office/officeart/2005/8/layout/orgChart1"/>
    <dgm:cxn modelId="{8A7244A9-F1CB-4D09-9D3B-154B83A1E36D}" type="presParOf" srcId="{112909E3-AC1C-49EF-9020-9A9A77A1ABCD}" destId="{E8A4F6B2-B879-4F5D-B27C-C309F81C0515}" srcOrd="1" destOrd="0" presId="urn:microsoft.com/office/officeart/2005/8/layout/orgChart1"/>
    <dgm:cxn modelId="{8B20122B-78AB-4815-937A-0F35491E5309}" type="presParOf" srcId="{E8A4F6B2-B879-4F5D-B27C-C309F81C0515}" destId="{508412A3-DFFF-4FE8-B878-CA583CF6AC13}" srcOrd="0" destOrd="0" presId="urn:microsoft.com/office/officeart/2005/8/layout/orgChart1"/>
    <dgm:cxn modelId="{2135228D-9572-43F1-B096-9ED2D2EA7E21}" type="presParOf" srcId="{508412A3-DFFF-4FE8-B878-CA583CF6AC13}" destId="{A9177465-DD25-40A0-89CC-0F2F18184145}" srcOrd="0" destOrd="0" presId="urn:microsoft.com/office/officeart/2005/8/layout/orgChart1"/>
    <dgm:cxn modelId="{3EDEDF6B-6735-42CD-9286-40D94BFBBBAC}" type="presParOf" srcId="{508412A3-DFFF-4FE8-B878-CA583CF6AC13}" destId="{90A41607-A5D0-4F67-B1EA-AABFA47C16DF}" srcOrd="1" destOrd="0" presId="urn:microsoft.com/office/officeart/2005/8/layout/orgChart1"/>
    <dgm:cxn modelId="{7E99D0C2-7D8D-412B-AE3E-2EF712892F23}" type="presParOf" srcId="{E8A4F6B2-B879-4F5D-B27C-C309F81C0515}" destId="{D40A1156-D5E5-419D-A767-EF7EC5A026D8}" srcOrd="1" destOrd="0" presId="urn:microsoft.com/office/officeart/2005/8/layout/orgChart1"/>
    <dgm:cxn modelId="{B8E13F80-073D-4253-8A92-196E3D47DF52}" type="presParOf" srcId="{E8A4F6B2-B879-4F5D-B27C-C309F81C0515}" destId="{429DFFD5-C642-4171-8103-1DF5C4AC8ED8}" srcOrd="2" destOrd="0" presId="urn:microsoft.com/office/officeart/2005/8/layout/orgChart1"/>
    <dgm:cxn modelId="{C182D388-1796-441E-8FC7-F04197837676}" type="presParOf" srcId="{51D2F9C9-092A-49B8-8FAE-DE6C35F12A03}" destId="{13EB4D42-CADB-4DA9-8196-272C98078BB9}" srcOrd="2" destOrd="0" presId="urn:microsoft.com/office/officeart/2005/8/layout/orgChart1"/>
    <dgm:cxn modelId="{1CD00E56-4286-4404-9A6F-28E900D38BC9}" type="presParOf" srcId="{468253EC-B23F-4C3F-9C12-BBF2D1C4BEF7}" destId="{DE811C5E-8605-479E-BA2D-7FAD57162AAA}" srcOrd="2" destOrd="0" presId="urn:microsoft.com/office/officeart/2005/8/layout/orgChart1"/>
    <dgm:cxn modelId="{020EA154-47F5-4273-82F6-A9A741894AF8}" type="presParOf" srcId="{95621620-95C4-4FBF-B6CD-4272A8C5A1BD}" destId="{C79447D0-C69F-4DEE-9D21-E3EEB57B647A}" srcOrd="2" destOrd="0" presId="urn:microsoft.com/office/officeart/2005/8/layout/orgChart1"/>
    <dgm:cxn modelId="{9EF6A355-5705-4361-8EBE-0B526FBE0719}" type="presParOf" srcId="{95621620-95C4-4FBF-B6CD-4272A8C5A1BD}" destId="{3CBD8A31-FDA8-4DF4-8F01-B04738AFDA7F}" srcOrd="3" destOrd="0" presId="urn:microsoft.com/office/officeart/2005/8/layout/orgChart1"/>
    <dgm:cxn modelId="{33B30B28-DC4F-47A9-A183-6622B8A60C35}" type="presParOf" srcId="{3CBD8A31-FDA8-4DF4-8F01-B04738AFDA7F}" destId="{506A58CB-3F17-4612-8EA8-7FC4C5B3D0FA}" srcOrd="0" destOrd="0" presId="urn:microsoft.com/office/officeart/2005/8/layout/orgChart1"/>
    <dgm:cxn modelId="{F83BD5FB-0AD6-4A68-8766-87986DF4C62C}" type="presParOf" srcId="{506A58CB-3F17-4612-8EA8-7FC4C5B3D0FA}" destId="{AE24E54F-A8EE-4213-8A5F-ED4DAAA7C72A}" srcOrd="0" destOrd="0" presId="urn:microsoft.com/office/officeart/2005/8/layout/orgChart1"/>
    <dgm:cxn modelId="{23B5DC9C-3756-4D51-98C1-1D7B03DE23E8}" type="presParOf" srcId="{506A58CB-3F17-4612-8EA8-7FC4C5B3D0FA}" destId="{5AD4252B-4AE9-4650-BFDD-78A251B6FC45}" srcOrd="1" destOrd="0" presId="urn:microsoft.com/office/officeart/2005/8/layout/orgChart1"/>
    <dgm:cxn modelId="{3AC35115-B05D-40E1-BD1D-18DA63D0C0F1}" type="presParOf" srcId="{3CBD8A31-FDA8-4DF4-8F01-B04738AFDA7F}" destId="{630281C4-B9F3-4369-B0BC-9286E216483E}" srcOrd="1" destOrd="0" presId="urn:microsoft.com/office/officeart/2005/8/layout/orgChart1"/>
    <dgm:cxn modelId="{7A9F96F3-9B85-40C5-8313-A15463D7BBD1}" type="presParOf" srcId="{630281C4-B9F3-4369-B0BC-9286E216483E}" destId="{B66F7693-27FD-462B-8A49-7165086AA609}" srcOrd="0" destOrd="0" presId="urn:microsoft.com/office/officeart/2005/8/layout/orgChart1"/>
    <dgm:cxn modelId="{086800CD-B59A-46DF-BF73-544D3821A507}" type="presParOf" srcId="{630281C4-B9F3-4369-B0BC-9286E216483E}" destId="{50A2E062-12BC-4BFC-9C13-D31F331DF6E7}" srcOrd="1" destOrd="0" presId="urn:microsoft.com/office/officeart/2005/8/layout/orgChart1"/>
    <dgm:cxn modelId="{FC1E479D-4F59-4D9E-BC93-EE601007EADC}" type="presParOf" srcId="{50A2E062-12BC-4BFC-9C13-D31F331DF6E7}" destId="{297B5992-541A-45B8-BCFB-B0C40C2C15AC}" srcOrd="0" destOrd="0" presId="urn:microsoft.com/office/officeart/2005/8/layout/orgChart1"/>
    <dgm:cxn modelId="{04329C90-AE5E-4CF5-96D7-FF3AD0158640}" type="presParOf" srcId="{297B5992-541A-45B8-BCFB-B0C40C2C15AC}" destId="{F50CEFC3-432C-4C11-80D1-DCAB9EEC0CE8}" srcOrd="0" destOrd="0" presId="urn:microsoft.com/office/officeart/2005/8/layout/orgChart1"/>
    <dgm:cxn modelId="{DF5F0C9C-0482-400D-B147-88EFE6FE7601}" type="presParOf" srcId="{297B5992-541A-45B8-BCFB-B0C40C2C15AC}" destId="{E9791851-6E8F-43F3-BF38-812582E80902}" srcOrd="1" destOrd="0" presId="urn:microsoft.com/office/officeart/2005/8/layout/orgChart1"/>
    <dgm:cxn modelId="{3C9A35E5-F5E8-4316-B142-4789E6B0F67E}" type="presParOf" srcId="{50A2E062-12BC-4BFC-9C13-D31F331DF6E7}" destId="{E43E377A-C749-4B70-ABC6-13756F8C91F8}" srcOrd="1" destOrd="0" presId="urn:microsoft.com/office/officeart/2005/8/layout/orgChart1"/>
    <dgm:cxn modelId="{B0D3BA7B-EE54-4EF2-B746-92AA795E705B}" type="presParOf" srcId="{E43E377A-C749-4B70-ABC6-13756F8C91F8}" destId="{C7FCF25B-BD66-4BA7-9D4D-9CCF56E99542}" srcOrd="0" destOrd="0" presId="urn:microsoft.com/office/officeart/2005/8/layout/orgChart1"/>
    <dgm:cxn modelId="{DFDE0552-E8F8-4676-916F-81D87DD5737B}" type="presParOf" srcId="{E43E377A-C749-4B70-ABC6-13756F8C91F8}" destId="{AC315AFC-45AF-45F6-9316-861277A99D95}" srcOrd="1" destOrd="0" presId="urn:microsoft.com/office/officeart/2005/8/layout/orgChart1"/>
    <dgm:cxn modelId="{9F0F1FD6-83E4-448D-820E-60A0BEC735D2}" type="presParOf" srcId="{AC315AFC-45AF-45F6-9316-861277A99D95}" destId="{F75FB1A5-62F0-4C16-8919-FEB086C038F3}" srcOrd="0" destOrd="0" presId="urn:microsoft.com/office/officeart/2005/8/layout/orgChart1"/>
    <dgm:cxn modelId="{871F4A3B-DEF7-4DF0-AB1B-EE2923985327}" type="presParOf" srcId="{F75FB1A5-62F0-4C16-8919-FEB086C038F3}" destId="{EEE2EA4B-3515-4AC6-97B2-0DEE8F29ACB4}" srcOrd="0" destOrd="0" presId="urn:microsoft.com/office/officeart/2005/8/layout/orgChart1"/>
    <dgm:cxn modelId="{4710C9B9-9F33-4053-A3FF-AFA0391ACFF3}" type="presParOf" srcId="{F75FB1A5-62F0-4C16-8919-FEB086C038F3}" destId="{2014C149-A033-42D8-8F8A-508281643EB5}" srcOrd="1" destOrd="0" presId="urn:microsoft.com/office/officeart/2005/8/layout/orgChart1"/>
    <dgm:cxn modelId="{EB503941-B996-4A61-B1DE-147BDB626F15}" type="presParOf" srcId="{AC315AFC-45AF-45F6-9316-861277A99D95}" destId="{3CA149E1-955E-4705-A58C-7A1C33012417}" srcOrd="1" destOrd="0" presId="urn:microsoft.com/office/officeart/2005/8/layout/orgChart1"/>
    <dgm:cxn modelId="{C2D0635A-A770-4425-8889-07EF7DA93B0A}" type="presParOf" srcId="{AC315AFC-45AF-45F6-9316-861277A99D95}" destId="{98363EB5-EF9B-42C4-8F20-E389D952611A}" srcOrd="2" destOrd="0" presId="urn:microsoft.com/office/officeart/2005/8/layout/orgChart1"/>
    <dgm:cxn modelId="{7D3CD75E-5C07-4163-8CEF-49406402F560}" type="presParOf" srcId="{50A2E062-12BC-4BFC-9C13-D31F331DF6E7}" destId="{28BD3BB6-0AAD-4325-BE53-71C98710CC95}" srcOrd="2" destOrd="0" presId="urn:microsoft.com/office/officeart/2005/8/layout/orgChart1"/>
    <dgm:cxn modelId="{86948638-9026-4776-B99E-FA88CD97F25A}" type="presParOf" srcId="{630281C4-B9F3-4369-B0BC-9286E216483E}" destId="{F0B796C5-3995-4073-BB00-92D2F49FC6FD}" srcOrd="2" destOrd="0" presId="urn:microsoft.com/office/officeart/2005/8/layout/orgChart1"/>
    <dgm:cxn modelId="{ECBBE9FB-88BF-4022-8ED8-DF2E16D52267}" type="presParOf" srcId="{630281C4-B9F3-4369-B0BC-9286E216483E}" destId="{21C97ADE-8A17-48CD-9E48-FD437A5616E7}" srcOrd="3" destOrd="0" presId="urn:microsoft.com/office/officeart/2005/8/layout/orgChart1"/>
    <dgm:cxn modelId="{4DC20A7F-A772-433E-A639-FBB5280E9BF9}" type="presParOf" srcId="{21C97ADE-8A17-48CD-9E48-FD437A5616E7}" destId="{77ABC9CA-5797-44C6-9814-4762B49E6FD9}" srcOrd="0" destOrd="0" presId="urn:microsoft.com/office/officeart/2005/8/layout/orgChart1"/>
    <dgm:cxn modelId="{D8D324CC-0F5B-4FF4-955E-6B469AFFD51B}" type="presParOf" srcId="{77ABC9CA-5797-44C6-9814-4762B49E6FD9}" destId="{346CE09B-8833-41A4-969C-89D6CA8ABC0B}" srcOrd="0" destOrd="0" presId="urn:microsoft.com/office/officeart/2005/8/layout/orgChart1"/>
    <dgm:cxn modelId="{48E965B3-1718-43DE-8E02-C86C39F05426}" type="presParOf" srcId="{77ABC9CA-5797-44C6-9814-4762B49E6FD9}" destId="{65F3B6CF-CEB8-454E-8D58-02BEC270C8BA}" srcOrd="1" destOrd="0" presId="urn:microsoft.com/office/officeart/2005/8/layout/orgChart1"/>
    <dgm:cxn modelId="{D252B646-05AC-48C9-89C4-0C3109E8B043}" type="presParOf" srcId="{21C97ADE-8A17-48CD-9E48-FD437A5616E7}" destId="{EAB50D26-7725-43E0-8D62-FBD6D32EFEBA}" srcOrd="1" destOrd="0" presId="urn:microsoft.com/office/officeart/2005/8/layout/orgChart1"/>
    <dgm:cxn modelId="{98DE0C2A-6C99-49F2-BCD3-0B3C410FDE48}" type="presParOf" srcId="{EAB50D26-7725-43E0-8D62-FBD6D32EFEBA}" destId="{52DE1765-B235-46E8-83F0-9BDCF67CC444}" srcOrd="0" destOrd="0" presId="urn:microsoft.com/office/officeart/2005/8/layout/orgChart1"/>
    <dgm:cxn modelId="{BEBE3BD9-139C-45E1-B331-E932FB787E5D}" type="presParOf" srcId="{EAB50D26-7725-43E0-8D62-FBD6D32EFEBA}" destId="{3C55DBC1-B123-4B35-AD22-EB1046323817}" srcOrd="1" destOrd="0" presId="urn:microsoft.com/office/officeart/2005/8/layout/orgChart1"/>
    <dgm:cxn modelId="{9DA614E9-D37E-4B23-983F-558AE9D59097}" type="presParOf" srcId="{3C55DBC1-B123-4B35-AD22-EB1046323817}" destId="{62728122-5D89-43FE-9050-826D2D71D65F}" srcOrd="0" destOrd="0" presId="urn:microsoft.com/office/officeart/2005/8/layout/orgChart1"/>
    <dgm:cxn modelId="{7B6F3DDF-5ED8-46E9-A8F6-DE1168275D13}" type="presParOf" srcId="{62728122-5D89-43FE-9050-826D2D71D65F}" destId="{460772E0-7DE8-45C8-932E-2CDE16F8DF88}" srcOrd="0" destOrd="0" presId="urn:microsoft.com/office/officeart/2005/8/layout/orgChart1"/>
    <dgm:cxn modelId="{9AB26A63-396D-4BD3-8F29-E78BDDFABA26}" type="presParOf" srcId="{62728122-5D89-43FE-9050-826D2D71D65F}" destId="{C36D9B27-2769-4021-BDF8-5A5CB60C93B7}" srcOrd="1" destOrd="0" presId="urn:microsoft.com/office/officeart/2005/8/layout/orgChart1"/>
    <dgm:cxn modelId="{FF15F8D1-B7F2-43A0-82AE-D9E6048D3B68}" type="presParOf" srcId="{3C55DBC1-B123-4B35-AD22-EB1046323817}" destId="{3CE04C6C-B8F8-47DC-8C93-746234F019E1}" srcOrd="1" destOrd="0" presId="urn:microsoft.com/office/officeart/2005/8/layout/orgChart1"/>
    <dgm:cxn modelId="{8EAF1E44-A1A6-4C04-8929-F330F9A719B0}" type="presParOf" srcId="{3C55DBC1-B123-4B35-AD22-EB1046323817}" destId="{54223CB2-5D5E-4577-85A8-67B23D789722}" srcOrd="2" destOrd="0" presId="urn:microsoft.com/office/officeart/2005/8/layout/orgChart1"/>
    <dgm:cxn modelId="{23D332EC-C02F-4230-8519-D48FF1BB43D2}" type="presParOf" srcId="{21C97ADE-8A17-48CD-9E48-FD437A5616E7}" destId="{0EA16432-A432-4C8A-8022-8C596605EC67}" srcOrd="2" destOrd="0" presId="urn:microsoft.com/office/officeart/2005/8/layout/orgChart1"/>
    <dgm:cxn modelId="{38E26B35-3A08-40CB-87BA-E33B9CE19D40}" type="presParOf" srcId="{630281C4-B9F3-4369-B0BC-9286E216483E}" destId="{13658B3E-AA47-498D-8F3C-D94267713534}" srcOrd="4" destOrd="0" presId="urn:microsoft.com/office/officeart/2005/8/layout/orgChart1"/>
    <dgm:cxn modelId="{6B5769EC-E380-4451-991F-6E676C22F758}" type="presParOf" srcId="{630281C4-B9F3-4369-B0BC-9286E216483E}" destId="{BB2FEF32-7291-4B2B-8294-67F89C3A72A0}" srcOrd="5" destOrd="0" presId="urn:microsoft.com/office/officeart/2005/8/layout/orgChart1"/>
    <dgm:cxn modelId="{F805D582-0EB8-4A6E-892C-DA890C7AF163}" type="presParOf" srcId="{BB2FEF32-7291-4B2B-8294-67F89C3A72A0}" destId="{E7488CD9-BF01-4765-A2A2-AB5D79552F1F}" srcOrd="0" destOrd="0" presId="urn:microsoft.com/office/officeart/2005/8/layout/orgChart1"/>
    <dgm:cxn modelId="{AF4017E3-05F5-4349-8EE9-B452CC911EF0}" type="presParOf" srcId="{E7488CD9-BF01-4765-A2A2-AB5D79552F1F}" destId="{7FEE0A30-FE3A-4CA0-987D-ADD6D5DF4179}" srcOrd="0" destOrd="0" presId="urn:microsoft.com/office/officeart/2005/8/layout/orgChart1"/>
    <dgm:cxn modelId="{62398483-0C7A-4A18-82D9-5B2F3A8EF17C}" type="presParOf" srcId="{E7488CD9-BF01-4765-A2A2-AB5D79552F1F}" destId="{0DBA146D-A618-4B66-BC0A-FE54906EA67C}" srcOrd="1" destOrd="0" presId="urn:microsoft.com/office/officeart/2005/8/layout/orgChart1"/>
    <dgm:cxn modelId="{B7C6322A-8D4F-4E86-94AA-6A90035E1544}" type="presParOf" srcId="{BB2FEF32-7291-4B2B-8294-67F89C3A72A0}" destId="{919193CF-DFE0-419F-8448-B91EB29793C5}" srcOrd="1" destOrd="0" presId="urn:microsoft.com/office/officeart/2005/8/layout/orgChart1"/>
    <dgm:cxn modelId="{3CCF6731-5080-4FCB-8E4B-0CFB48421F94}" type="presParOf" srcId="{919193CF-DFE0-419F-8448-B91EB29793C5}" destId="{0ADD6A68-CB32-4958-8F97-410E6D86624F}" srcOrd="0" destOrd="0" presId="urn:microsoft.com/office/officeart/2005/8/layout/orgChart1"/>
    <dgm:cxn modelId="{48056551-FED8-48CD-803A-49C61487F685}" type="presParOf" srcId="{919193CF-DFE0-419F-8448-B91EB29793C5}" destId="{F4D020A1-1BB1-4936-B455-B8F872E4DEB2}" srcOrd="1" destOrd="0" presId="urn:microsoft.com/office/officeart/2005/8/layout/orgChart1"/>
    <dgm:cxn modelId="{63C5C6B4-6DED-4CCC-BB7A-7B52022F2938}" type="presParOf" srcId="{F4D020A1-1BB1-4936-B455-B8F872E4DEB2}" destId="{2104F54A-82FE-47AB-BEC6-778502DD5C06}" srcOrd="0" destOrd="0" presId="urn:microsoft.com/office/officeart/2005/8/layout/orgChart1"/>
    <dgm:cxn modelId="{3C552A24-F6B9-4555-83FF-E53611B8CD8C}" type="presParOf" srcId="{2104F54A-82FE-47AB-BEC6-778502DD5C06}" destId="{CB096EA8-879D-4D52-9563-38C563B960C2}" srcOrd="0" destOrd="0" presId="urn:microsoft.com/office/officeart/2005/8/layout/orgChart1"/>
    <dgm:cxn modelId="{E51A8377-8DCB-42CF-97D4-5CC79F7F0214}" type="presParOf" srcId="{2104F54A-82FE-47AB-BEC6-778502DD5C06}" destId="{E6BBEF7E-B5DD-4440-9E3A-790AB970C360}" srcOrd="1" destOrd="0" presId="urn:microsoft.com/office/officeart/2005/8/layout/orgChart1"/>
    <dgm:cxn modelId="{F20ABE95-3F2B-4D12-9741-902BAA1A0AE8}" type="presParOf" srcId="{F4D020A1-1BB1-4936-B455-B8F872E4DEB2}" destId="{C3072415-8808-4AD9-8FD4-EFD89FE1E82C}" srcOrd="1" destOrd="0" presId="urn:microsoft.com/office/officeart/2005/8/layout/orgChart1"/>
    <dgm:cxn modelId="{729728A4-BE8E-48FD-8D12-1B50A183FF98}" type="presParOf" srcId="{F4D020A1-1BB1-4936-B455-B8F872E4DEB2}" destId="{A597D381-E392-45AD-858F-4F994749E4C1}" srcOrd="2" destOrd="0" presId="urn:microsoft.com/office/officeart/2005/8/layout/orgChart1"/>
    <dgm:cxn modelId="{8F73DFB2-27CD-4071-8E52-B1795628FC48}" type="presParOf" srcId="{BB2FEF32-7291-4B2B-8294-67F89C3A72A0}" destId="{0D1179F7-E0D6-47B3-A1FC-2E1254E9DB25}" srcOrd="2" destOrd="0" presId="urn:microsoft.com/office/officeart/2005/8/layout/orgChart1"/>
    <dgm:cxn modelId="{D0D416E7-D3D7-485C-B250-9A99463E0AA9}" type="presParOf" srcId="{3CBD8A31-FDA8-4DF4-8F01-B04738AFDA7F}" destId="{51C674D4-44FC-499E-9F96-F05BFEB42142}" srcOrd="2" destOrd="0" presId="urn:microsoft.com/office/officeart/2005/8/layout/orgChart1"/>
    <dgm:cxn modelId="{2A935EF8-5C25-41B3-9C52-2B3A0698DE51}" type="presParOf" srcId="{8DDDA074-28DD-4AB6-95ED-4975F01FF48F}" destId="{25089B1C-99C1-4F6E-A44B-73C45FE92084}" srcOrd="2" destOrd="0" presId="urn:microsoft.com/office/officeart/2005/8/layout/orgChar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E13C0BE-1EC7-46BD-9D3F-CFC2F4B470C7}" type="doc">
      <dgm:prSet loTypeId="urn:microsoft.com/office/officeart/2005/8/layout/orgChart1" loCatId="hierarchy" qsTypeId="urn:microsoft.com/office/officeart/2005/8/quickstyle/simple1" qsCatId="simple" csTypeId="urn:microsoft.com/office/officeart/2005/8/colors/accent1_1" csCatId="accent1" phldr="1"/>
      <dgm:spPr/>
      <dgm:t>
        <a:bodyPr/>
        <a:lstStyle/>
        <a:p>
          <a:endParaRPr lang="en-US"/>
        </a:p>
      </dgm:t>
    </dgm:pt>
    <dgm:pt modelId="{85B8E9C7-C3C2-4F47-8FF2-FF1957D8A2C9}">
      <dgm:prSet phldrT="[Text]" custT="1"/>
      <dgm:spPr/>
      <dgm:t>
        <a:bodyPr/>
        <a:lstStyle/>
        <a:p>
          <a:pPr algn="ctr"/>
          <a:r>
            <a:rPr lang="en-US" sz="1600" b="1" dirty="0">
              <a:latin typeface="Century Gothic" panose="020B0502020202020204" pitchFamily="34" charset="0"/>
            </a:rPr>
            <a:t>FRONT AXLE</a:t>
          </a:r>
        </a:p>
      </dgm:t>
    </dgm:pt>
    <dgm:pt modelId="{02764C56-CAD0-4CBD-B119-EE3A0919464F}" type="parTrans" cxnId="{335D81A4-8F64-446B-8901-24C819C99221}">
      <dgm:prSet/>
      <dgm:spPr/>
      <dgm:t>
        <a:bodyPr/>
        <a:lstStyle/>
        <a:p>
          <a:pPr algn="ctr"/>
          <a:endParaRPr lang="en-US" sz="1600" b="1">
            <a:latin typeface="Century Gothic" panose="020B0502020202020204" pitchFamily="34" charset="0"/>
          </a:endParaRPr>
        </a:p>
      </dgm:t>
    </dgm:pt>
    <dgm:pt modelId="{3DCB29F5-3E0E-4991-A7F2-141892436433}" type="sibTrans" cxnId="{335D81A4-8F64-446B-8901-24C819C99221}">
      <dgm:prSet/>
      <dgm:spPr/>
      <dgm:t>
        <a:bodyPr/>
        <a:lstStyle/>
        <a:p>
          <a:pPr algn="ctr"/>
          <a:endParaRPr lang="en-US" sz="1600" b="1">
            <a:latin typeface="Century Gothic" panose="020B0502020202020204" pitchFamily="34" charset="0"/>
          </a:endParaRPr>
        </a:p>
      </dgm:t>
    </dgm:pt>
    <dgm:pt modelId="{170C2C20-9E70-4353-B890-40BF6D3BCE14}">
      <dgm:prSet phldrT="[Text]" custT="1"/>
      <dgm:spPr/>
      <dgm:t>
        <a:bodyPr/>
        <a:lstStyle/>
        <a:p>
          <a:pPr algn="ctr"/>
          <a:r>
            <a:rPr lang="en-US" sz="1600" b="1" dirty="0">
              <a:latin typeface="Century Gothic" panose="020B0502020202020204" pitchFamily="34" charset="0"/>
            </a:rPr>
            <a:t>Elliot Type</a:t>
          </a:r>
        </a:p>
      </dgm:t>
    </dgm:pt>
    <dgm:pt modelId="{1B307953-CD98-48F3-91B2-45DC66B30E19}" type="parTrans" cxnId="{DB23B08B-99D0-45F4-AAB8-8AE070AF2460}">
      <dgm:prSet/>
      <dgm:spPr/>
      <dgm:t>
        <a:bodyPr/>
        <a:lstStyle/>
        <a:p>
          <a:pPr algn="ctr"/>
          <a:endParaRPr lang="en-US" sz="1600" b="1">
            <a:latin typeface="Century Gothic" panose="020B0502020202020204" pitchFamily="34" charset="0"/>
          </a:endParaRPr>
        </a:p>
      </dgm:t>
    </dgm:pt>
    <dgm:pt modelId="{040F7114-24C4-4DB9-B05E-0933B39F8CD7}" type="sibTrans" cxnId="{DB23B08B-99D0-45F4-AAB8-8AE070AF2460}">
      <dgm:prSet/>
      <dgm:spPr/>
      <dgm:t>
        <a:bodyPr/>
        <a:lstStyle/>
        <a:p>
          <a:pPr algn="ctr"/>
          <a:endParaRPr lang="en-US" sz="1600" b="1">
            <a:latin typeface="Century Gothic" panose="020B0502020202020204" pitchFamily="34" charset="0"/>
          </a:endParaRPr>
        </a:p>
      </dgm:t>
    </dgm:pt>
    <dgm:pt modelId="{A4537974-D0AD-44E0-8D5B-78CD364111B8}">
      <dgm:prSet phldrT="[Text]" custT="1"/>
      <dgm:spPr/>
      <dgm:t>
        <a:bodyPr/>
        <a:lstStyle/>
        <a:p>
          <a:pPr algn="ctr"/>
          <a:r>
            <a:rPr lang="en-US" sz="1600" b="1" dirty="0">
              <a:latin typeface="Century Gothic" panose="020B0502020202020204" pitchFamily="34" charset="0"/>
            </a:rPr>
            <a:t>Reverse Elliot Type</a:t>
          </a:r>
        </a:p>
      </dgm:t>
    </dgm:pt>
    <dgm:pt modelId="{148A6EE5-694E-4D58-8B33-3FA4E817F554}" type="parTrans" cxnId="{69704F5B-F6A8-464C-A494-A399BEB237AD}">
      <dgm:prSet/>
      <dgm:spPr/>
      <dgm:t>
        <a:bodyPr/>
        <a:lstStyle/>
        <a:p>
          <a:endParaRPr lang="en-US" sz="1600">
            <a:latin typeface="Century Gothic" panose="020B0502020202020204" pitchFamily="34" charset="0"/>
          </a:endParaRPr>
        </a:p>
      </dgm:t>
    </dgm:pt>
    <dgm:pt modelId="{46DDEF15-AA5F-4800-9AB8-9DCFEA9EC79B}" type="sibTrans" cxnId="{69704F5B-F6A8-464C-A494-A399BEB237AD}">
      <dgm:prSet/>
      <dgm:spPr/>
      <dgm:t>
        <a:bodyPr/>
        <a:lstStyle/>
        <a:p>
          <a:endParaRPr lang="en-US" sz="1600">
            <a:latin typeface="Century Gothic" panose="020B0502020202020204" pitchFamily="34" charset="0"/>
          </a:endParaRPr>
        </a:p>
      </dgm:t>
    </dgm:pt>
    <dgm:pt modelId="{EA8E2D20-48B1-47B0-A25F-C0A5BE2256E0}">
      <dgm:prSet phldrT="[Text]" custT="1"/>
      <dgm:spPr/>
      <dgm:t>
        <a:bodyPr/>
        <a:lstStyle/>
        <a:p>
          <a:pPr algn="ctr"/>
          <a:r>
            <a:rPr lang="en-US" sz="1600" b="1" dirty="0">
              <a:latin typeface="Century Gothic" panose="020B0502020202020204" pitchFamily="34" charset="0"/>
            </a:rPr>
            <a:t>A 36</a:t>
          </a:r>
        </a:p>
      </dgm:t>
    </dgm:pt>
    <dgm:pt modelId="{E0ADB764-6AE5-4A5E-9734-EAEE7C4B0988}" type="parTrans" cxnId="{4EB95C3F-E223-4DCB-802B-2A383379395D}">
      <dgm:prSet/>
      <dgm:spPr/>
      <dgm:t>
        <a:bodyPr/>
        <a:lstStyle/>
        <a:p>
          <a:endParaRPr lang="en-US" sz="1600">
            <a:latin typeface="Century Gothic" panose="020B0502020202020204" pitchFamily="34" charset="0"/>
          </a:endParaRPr>
        </a:p>
      </dgm:t>
    </dgm:pt>
    <dgm:pt modelId="{9CD00F1E-1086-4B97-AD64-54F208E5BE53}" type="sibTrans" cxnId="{4EB95C3F-E223-4DCB-802B-2A383379395D}">
      <dgm:prSet/>
      <dgm:spPr/>
      <dgm:t>
        <a:bodyPr/>
        <a:lstStyle/>
        <a:p>
          <a:endParaRPr lang="en-US" sz="1600">
            <a:latin typeface="Century Gothic" panose="020B0502020202020204" pitchFamily="34" charset="0"/>
          </a:endParaRPr>
        </a:p>
      </dgm:t>
    </dgm:pt>
    <dgm:pt modelId="{BE097830-0FA3-4C12-A842-8F39A0D2CE1D}">
      <dgm:prSet phldrT="[Text]" custT="1"/>
      <dgm:spPr/>
      <dgm:t>
        <a:bodyPr/>
        <a:lstStyle/>
        <a:p>
          <a:pPr algn="ctr"/>
          <a:r>
            <a:rPr lang="en-US" sz="1600" b="1" dirty="0">
              <a:latin typeface="Century Gothic" panose="020B0502020202020204" pitchFamily="34" charset="0"/>
            </a:rPr>
            <a:t>A 48</a:t>
          </a:r>
        </a:p>
      </dgm:t>
    </dgm:pt>
    <dgm:pt modelId="{9496DB9F-4908-470F-AC2F-1B781D46E9BC}" type="parTrans" cxnId="{676D83C1-654D-403A-9088-484329C8FD41}">
      <dgm:prSet/>
      <dgm:spPr/>
      <dgm:t>
        <a:bodyPr/>
        <a:lstStyle/>
        <a:p>
          <a:endParaRPr lang="en-US" sz="1600">
            <a:latin typeface="Century Gothic" panose="020B0502020202020204" pitchFamily="34" charset="0"/>
          </a:endParaRPr>
        </a:p>
      </dgm:t>
    </dgm:pt>
    <dgm:pt modelId="{C1463931-9637-4354-8A7B-818B5BE2A0D2}" type="sibTrans" cxnId="{676D83C1-654D-403A-9088-484329C8FD41}">
      <dgm:prSet/>
      <dgm:spPr/>
      <dgm:t>
        <a:bodyPr/>
        <a:lstStyle/>
        <a:p>
          <a:endParaRPr lang="en-US" sz="1600">
            <a:latin typeface="Century Gothic" panose="020B0502020202020204" pitchFamily="34" charset="0"/>
          </a:endParaRPr>
        </a:p>
      </dgm:t>
    </dgm:pt>
    <dgm:pt modelId="{61DB8677-3A43-44DC-8ACA-6E0C5F2A4CF6}">
      <dgm:prSet phldrT="[Text]" custT="1"/>
      <dgm:spPr/>
      <dgm:t>
        <a:bodyPr/>
        <a:lstStyle/>
        <a:p>
          <a:pPr algn="ctr"/>
          <a:r>
            <a:rPr lang="en-US" sz="1600" b="1" dirty="0">
              <a:latin typeface="Century Gothic" panose="020B0502020202020204" pitchFamily="34" charset="0"/>
            </a:rPr>
            <a:t>FA 91</a:t>
          </a:r>
        </a:p>
      </dgm:t>
    </dgm:pt>
    <dgm:pt modelId="{C7F24C03-2831-49CA-A269-0DFDE8D97BA3}" type="parTrans" cxnId="{A3C02D9A-ADE0-47C4-9617-0A069F69E5BC}">
      <dgm:prSet/>
      <dgm:spPr/>
      <dgm:t>
        <a:bodyPr/>
        <a:lstStyle/>
        <a:p>
          <a:endParaRPr lang="en-US" sz="1600">
            <a:latin typeface="Century Gothic" panose="020B0502020202020204" pitchFamily="34" charset="0"/>
          </a:endParaRPr>
        </a:p>
      </dgm:t>
    </dgm:pt>
    <dgm:pt modelId="{BC25E9C1-EB97-4F20-B5CE-B8811E7E84B5}" type="sibTrans" cxnId="{A3C02D9A-ADE0-47C4-9617-0A069F69E5BC}">
      <dgm:prSet/>
      <dgm:spPr/>
      <dgm:t>
        <a:bodyPr/>
        <a:lstStyle/>
        <a:p>
          <a:endParaRPr lang="en-US" sz="1600">
            <a:latin typeface="Century Gothic" panose="020B0502020202020204" pitchFamily="34" charset="0"/>
          </a:endParaRPr>
        </a:p>
      </dgm:t>
    </dgm:pt>
    <dgm:pt modelId="{45E0FA25-F2EC-4C09-8297-8F32DBC5CBBD}">
      <dgm:prSet phldrT="[Text]" custT="1"/>
      <dgm:spPr/>
      <dgm:t>
        <a:bodyPr/>
        <a:lstStyle/>
        <a:p>
          <a:pPr algn="ctr"/>
          <a:r>
            <a:rPr lang="en-US" sz="1600" b="1" dirty="0">
              <a:latin typeface="Century Gothic" panose="020B0502020202020204" pitchFamily="34" charset="0"/>
            </a:rPr>
            <a:t>FA 99</a:t>
          </a:r>
        </a:p>
      </dgm:t>
    </dgm:pt>
    <dgm:pt modelId="{3F5AC76F-2A3F-4EFA-B539-82FCF9DDA180}" type="parTrans" cxnId="{64894A6F-060B-4277-8DB9-D081CC8E8F98}">
      <dgm:prSet/>
      <dgm:spPr/>
      <dgm:t>
        <a:bodyPr/>
        <a:lstStyle/>
        <a:p>
          <a:endParaRPr lang="en-US" sz="1600">
            <a:latin typeface="Century Gothic" panose="020B0502020202020204" pitchFamily="34" charset="0"/>
          </a:endParaRPr>
        </a:p>
      </dgm:t>
    </dgm:pt>
    <dgm:pt modelId="{2DCF5F76-FA81-44F8-81CC-E398ABAF0A21}" type="sibTrans" cxnId="{64894A6F-060B-4277-8DB9-D081CC8E8F98}">
      <dgm:prSet/>
      <dgm:spPr/>
      <dgm:t>
        <a:bodyPr/>
        <a:lstStyle/>
        <a:p>
          <a:endParaRPr lang="en-US" sz="1600">
            <a:latin typeface="Century Gothic" panose="020B0502020202020204" pitchFamily="34" charset="0"/>
          </a:endParaRPr>
        </a:p>
      </dgm:t>
    </dgm:pt>
    <dgm:pt modelId="{A8876F0A-3D9B-40E0-A13A-9BEB5B1150CD}">
      <dgm:prSet phldrT="[Text]" custT="1"/>
      <dgm:spPr/>
      <dgm:t>
        <a:bodyPr/>
        <a:lstStyle/>
        <a:p>
          <a:pPr algn="ctr"/>
          <a:r>
            <a:rPr lang="en-US" sz="1600" b="0" dirty="0">
              <a:latin typeface="Century Gothic" panose="020B0502020202020204" pitchFamily="34" charset="0"/>
            </a:rPr>
            <a:t>Single Drop</a:t>
          </a:r>
        </a:p>
      </dgm:t>
    </dgm:pt>
    <dgm:pt modelId="{61D03F58-1211-4C7E-96DE-4420B398E62B}" type="parTrans" cxnId="{2E9098DC-DBA4-4C3D-889C-EBE8B2A35AA8}">
      <dgm:prSet/>
      <dgm:spPr/>
      <dgm:t>
        <a:bodyPr/>
        <a:lstStyle/>
        <a:p>
          <a:endParaRPr lang="en-US" sz="1600">
            <a:latin typeface="Century Gothic" panose="020B0502020202020204" pitchFamily="34" charset="0"/>
          </a:endParaRPr>
        </a:p>
      </dgm:t>
    </dgm:pt>
    <dgm:pt modelId="{72260A91-52FA-4C6F-8623-5739A8D7B15B}" type="sibTrans" cxnId="{2E9098DC-DBA4-4C3D-889C-EBE8B2A35AA8}">
      <dgm:prSet/>
      <dgm:spPr/>
      <dgm:t>
        <a:bodyPr/>
        <a:lstStyle/>
        <a:p>
          <a:endParaRPr lang="en-US" sz="1600">
            <a:latin typeface="Century Gothic" panose="020B0502020202020204" pitchFamily="34" charset="0"/>
          </a:endParaRPr>
        </a:p>
      </dgm:t>
    </dgm:pt>
    <dgm:pt modelId="{15E847AE-1C5D-4C89-9C5D-38AFC9BCBFF8}">
      <dgm:prSet phldrT="[Text]" custT="1"/>
      <dgm:spPr/>
      <dgm:t>
        <a:bodyPr/>
        <a:lstStyle/>
        <a:p>
          <a:pPr algn="ctr"/>
          <a:r>
            <a:rPr lang="en-US" sz="1600" b="0" dirty="0">
              <a:latin typeface="Century Gothic" panose="020B0502020202020204" pitchFamily="34" charset="0"/>
            </a:rPr>
            <a:t>Double Drop</a:t>
          </a:r>
        </a:p>
      </dgm:t>
    </dgm:pt>
    <dgm:pt modelId="{B43719DB-F972-4070-A474-8E1248C1F067}" type="parTrans" cxnId="{05DB4814-0ACA-4140-A7AA-3BD0271D49CC}">
      <dgm:prSet/>
      <dgm:spPr/>
      <dgm:t>
        <a:bodyPr/>
        <a:lstStyle/>
        <a:p>
          <a:endParaRPr lang="en-US" sz="1600">
            <a:latin typeface="Century Gothic" panose="020B0502020202020204" pitchFamily="34" charset="0"/>
          </a:endParaRPr>
        </a:p>
      </dgm:t>
    </dgm:pt>
    <dgm:pt modelId="{09F7E9D4-6D92-4D1E-B68A-DC74A678260B}" type="sibTrans" cxnId="{05DB4814-0ACA-4140-A7AA-3BD0271D49CC}">
      <dgm:prSet/>
      <dgm:spPr/>
      <dgm:t>
        <a:bodyPr/>
        <a:lstStyle/>
        <a:p>
          <a:endParaRPr lang="en-US" sz="1600">
            <a:latin typeface="Century Gothic" panose="020B0502020202020204" pitchFamily="34" charset="0"/>
          </a:endParaRPr>
        </a:p>
      </dgm:t>
    </dgm:pt>
    <dgm:pt modelId="{513086A6-5C6E-438E-AFF7-09497BD51E24}">
      <dgm:prSet phldrT="[Text]" custT="1"/>
      <dgm:spPr/>
      <dgm:t>
        <a:bodyPr/>
        <a:lstStyle/>
        <a:p>
          <a:pPr algn="ctr"/>
          <a:r>
            <a:rPr lang="en-US" sz="1600" b="0" dirty="0">
              <a:latin typeface="Century Gothic" panose="020B0502020202020204" pitchFamily="34" charset="0"/>
            </a:rPr>
            <a:t>Zero Drop</a:t>
          </a:r>
        </a:p>
      </dgm:t>
    </dgm:pt>
    <dgm:pt modelId="{5A0141C2-F64B-4A06-AF90-E5D9C40EC752}" type="parTrans" cxnId="{0EA44B67-48ED-4FAC-B473-8A57BD5684E2}">
      <dgm:prSet/>
      <dgm:spPr/>
      <dgm:t>
        <a:bodyPr/>
        <a:lstStyle/>
        <a:p>
          <a:endParaRPr lang="en-US" sz="1600">
            <a:latin typeface="Century Gothic" panose="020B0502020202020204" pitchFamily="34" charset="0"/>
          </a:endParaRPr>
        </a:p>
      </dgm:t>
    </dgm:pt>
    <dgm:pt modelId="{31C87097-07E6-4BE9-AA2C-EFF347B37C83}" type="sibTrans" cxnId="{0EA44B67-48ED-4FAC-B473-8A57BD5684E2}">
      <dgm:prSet/>
      <dgm:spPr/>
      <dgm:t>
        <a:bodyPr/>
        <a:lstStyle/>
        <a:p>
          <a:endParaRPr lang="en-US" sz="1600">
            <a:latin typeface="Century Gothic" panose="020B0502020202020204" pitchFamily="34" charset="0"/>
          </a:endParaRPr>
        </a:p>
      </dgm:t>
    </dgm:pt>
    <dgm:pt modelId="{03461173-AE03-4111-A186-25C2E136C6AC}" type="pres">
      <dgm:prSet presAssocID="{CE13C0BE-1EC7-46BD-9D3F-CFC2F4B470C7}" presName="hierChild1" presStyleCnt="0">
        <dgm:presLayoutVars>
          <dgm:orgChart val="1"/>
          <dgm:chPref val="1"/>
          <dgm:dir/>
          <dgm:animOne val="branch"/>
          <dgm:animLvl val="lvl"/>
          <dgm:resizeHandles/>
        </dgm:presLayoutVars>
      </dgm:prSet>
      <dgm:spPr/>
    </dgm:pt>
    <dgm:pt modelId="{8DDDA074-28DD-4AB6-95ED-4975F01FF48F}" type="pres">
      <dgm:prSet presAssocID="{85B8E9C7-C3C2-4F47-8FF2-FF1957D8A2C9}" presName="hierRoot1" presStyleCnt="0">
        <dgm:presLayoutVars>
          <dgm:hierBranch val="init"/>
        </dgm:presLayoutVars>
      </dgm:prSet>
      <dgm:spPr/>
    </dgm:pt>
    <dgm:pt modelId="{4B933D9D-37EA-468A-A1F1-6528C8A10F90}" type="pres">
      <dgm:prSet presAssocID="{85B8E9C7-C3C2-4F47-8FF2-FF1957D8A2C9}" presName="rootComposite1" presStyleCnt="0"/>
      <dgm:spPr/>
    </dgm:pt>
    <dgm:pt modelId="{59654EE1-1867-49AA-A3FE-025FB260536B}" type="pres">
      <dgm:prSet presAssocID="{85B8E9C7-C3C2-4F47-8FF2-FF1957D8A2C9}" presName="rootText1" presStyleLbl="node0" presStyleIdx="0" presStyleCnt="1" custScaleX="54789" custScaleY="49830" custLinFactNeighborX="42596">
        <dgm:presLayoutVars>
          <dgm:chPref val="3"/>
        </dgm:presLayoutVars>
      </dgm:prSet>
      <dgm:spPr/>
    </dgm:pt>
    <dgm:pt modelId="{84AC7146-B6C5-4322-9CC5-431F5ECB4210}" type="pres">
      <dgm:prSet presAssocID="{85B8E9C7-C3C2-4F47-8FF2-FF1957D8A2C9}" presName="rootConnector1" presStyleLbl="node1" presStyleIdx="0" presStyleCnt="0"/>
      <dgm:spPr/>
    </dgm:pt>
    <dgm:pt modelId="{95621620-95C4-4FBF-B6CD-4272A8C5A1BD}" type="pres">
      <dgm:prSet presAssocID="{85B8E9C7-C3C2-4F47-8FF2-FF1957D8A2C9}" presName="hierChild2" presStyleCnt="0"/>
      <dgm:spPr/>
    </dgm:pt>
    <dgm:pt modelId="{AD6A1F3C-E249-4AF5-82A8-8824BCE21D28}" type="pres">
      <dgm:prSet presAssocID="{1B307953-CD98-48F3-91B2-45DC66B30E19}" presName="Name37" presStyleLbl="parChTrans1D2" presStyleIdx="0" presStyleCnt="2"/>
      <dgm:spPr/>
    </dgm:pt>
    <dgm:pt modelId="{468253EC-B23F-4C3F-9C12-BBF2D1C4BEF7}" type="pres">
      <dgm:prSet presAssocID="{170C2C20-9E70-4353-B890-40BF6D3BCE14}" presName="hierRoot2" presStyleCnt="0">
        <dgm:presLayoutVars>
          <dgm:hierBranch val="init"/>
        </dgm:presLayoutVars>
      </dgm:prSet>
      <dgm:spPr/>
    </dgm:pt>
    <dgm:pt modelId="{691FA654-8418-4850-A7A2-DC872FCEB820}" type="pres">
      <dgm:prSet presAssocID="{170C2C20-9E70-4353-B890-40BF6D3BCE14}" presName="rootComposite" presStyleCnt="0"/>
      <dgm:spPr/>
    </dgm:pt>
    <dgm:pt modelId="{DFB0CE57-CD7D-4121-BF74-EF6E13B31647}" type="pres">
      <dgm:prSet presAssocID="{170C2C20-9E70-4353-B890-40BF6D3BCE14}" presName="rootText" presStyleLbl="node2" presStyleIdx="0" presStyleCnt="2" custScaleX="65538" custScaleY="31134" custLinFactNeighborX="-6329" custLinFactNeighborY="-118">
        <dgm:presLayoutVars>
          <dgm:chPref val="3"/>
        </dgm:presLayoutVars>
      </dgm:prSet>
      <dgm:spPr/>
    </dgm:pt>
    <dgm:pt modelId="{B3B96511-AB0A-457B-81BE-3DE1D7675730}" type="pres">
      <dgm:prSet presAssocID="{170C2C20-9E70-4353-B890-40BF6D3BCE14}" presName="rootConnector" presStyleLbl="node2" presStyleIdx="0" presStyleCnt="2"/>
      <dgm:spPr/>
    </dgm:pt>
    <dgm:pt modelId="{23C6D1B7-EA0B-44BA-AC0B-D7DF9A9A203A}" type="pres">
      <dgm:prSet presAssocID="{170C2C20-9E70-4353-B890-40BF6D3BCE14}" presName="hierChild4" presStyleCnt="0"/>
      <dgm:spPr/>
    </dgm:pt>
    <dgm:pt modelId="{DE811C5E-8605-479E-BA2D-7FAD57162AAA}" type="pres">
      <dgm:prSet presAssocID="{170C2C20-9E70-4353-B890-40BF6D3BCE14}" presName="hierChild5" presStyleCnt="0"/>
      <dgm:spPr/>
    </dgm:pt>
    <dgm:pt modelId="{C79447D0-C69F-4DEE-9D21-E3EEB57B647A}" type="pres">
      <dgm:prSet presAssocID="{148A6EE5-694E-4D58-8B33-3FA4E817F554}" presName="Name37" presStyleLbl="parChTrans1D2" presStyleIdx="1" presStyleCnt="2"/>
      <dgm:spPr/>
    </dgm:pt>
    <dgm:pt modelId="{3CBD8A31-FDA8-4DF4-8F01-B04738AFDA7F}" type="pres">
      <dgm:prSet presAssocID="{A4537974-D0AD-44E0-8D5B-78CD364111B8}" presName="hierRoot2" presStyleCnt="0">
        <dgm:presLayoutVars>
          <dgm:hierBranch val="init"/>
        </dgm:presLayoutVars>
      </dgm:prSet>
      <dgm:spPr/>
    </dgm:pt>
    <dgm:pt modelId="{506A58CB-3F17-4612-8EA8-7FC4C5B3D0FA}" type="pres">
      <dgm:prSet presAssocID="{A4537974-D0AD-44E0-8D5B-78CD364111B8}" presName="rootComposite" presStyleCnt="0"/>
      <dgm:spPr/>
    </dgm:pt>
    <dgm:pt modelId="{AE24E54F-A8EE-4213-8A5F-ED4DAAA7C72A}" type="pres">
      <dgm:prSet presAssocID="{A4537974-D0AD-44E0-8D5B-78CD364111B8}" presName="rootText" presStyleLbl="node2" presStyleIdx="1" presStyleCnt="2" custScaleX="92140" custScaleY="32073" custLinFactNeighborX="99897" custLinFactNeighborY="0">
        <dgm:presLayoutVars>
          <dgm:chPref val="3"/>
        </dgm:presLayoutVars>
      </dgm:prSet>
      <dgm:spPr/>
    </dgm:pt>
    <dgm:pt modelId="{5AD4252B-4AE9-4650-BFDD-78A251B6FC45}" type="pres">
      <dgm:prSet presAssocID="{A4537974-D0AD-44E0-8D5B-78CD364111B8}" presName="rootConnector" presStyleLbl="node2" presStyleIdx="1" presStyleCnt="2"/>
      <dgm:spPr/>
    </dgm:pt>
    <dgm:pt modelId="{630281C4-B9F3-4369-B0BC-9286E216483E}" type="pres">
      <dgm:prSet presAssocID="{A4537974-D0AD-44E0-8D5B-78CD364111B8}" presName="hierChild4" presStyleCnt="0"/>
      <dgm:spPr/>
    </dgm:pt>
    <dgm:pt modelId="{B66F7693-27FD-462B-8A49-7165086AA609}" type="pres">
      <dgm:prSet presAssocID="{E0ADB764-6AE5-4A5E-9734-EAEE7C4B0988}" presName="Name37" presStyleLbl="parChTrans1D3" presStyleIdx="0" presStyleCnt="4"/>
      <dgm:spPr/>
    </dgm:pt>
    <dgm:pt modelId="{50A2E062-12BC-4BFC-9C13-D31F331DF6E7}" type="pres">
      <dgm:prSet presAssocID="{EA8E2D20-48B1-47B0-A25F-C0A5BE2256E0}" presName="hierRoot2" presStyleCnt="0">
        <dgm:presLayoutVars>
          <dgm:hierBranch val="init"/>
        </dgm:presLayoutVars>
      </dgm:prSet>
      <dgm:spPr/>
    </dgm:pt>
    <dgm:pt modelId="{297B5992-541A-45B8-BCFB-B0C40C2C15AC}" type="pres">
      <dgm:prSet presAssocID="{EA8E2D20-48B1-47B0-A25F-C0A5BE2256E0}" presName="rootComposite" presStyleCnt="0"/>
      <dgm:spPr/>
    </dgm:pt>
    <dgm:pt modelId="{F50CEFC3-432C-4C11-80D1-DCAB9EEC0CE8}" type="pres">
      <dgm:prSet presAssocID="{EA8E2D20-48B1-47B0-A25F-C0A5BE2256E0}" presName="rootText" presStyleLbl="node3" presStyleIdx="0" presStyleCnt="4" custScaleX="28656" custScaleY="25226" custLinFactNeighborX="27732" custLinFactNeighborY="-816">
        <dgm:presLayoutVars>
          <dgm:chPref val="3"/>
        </dgm:presLayoutVars>
      </dgm:prSet>
      <dgm:spPr/>
    </dgm:pt>
    <dgm:pt modelId="{E9791851-6E8F-43F3-BF38-812582E80902}" type="pres">
      <dgm:prSet presAssocID="{EA8E2D20-48B1-47B0-A25F-C0A5BE2256E0}" presName="rootConnector" presStyleLbl="node3" presStyleIdx="0" presStyleCnt="4"/>
      <dgm:spPr/>
    </dgm:pt>
    <dgm:pt modelId="{E43E377A-C749-4B70-ABC6-13756F8C91F8}" type="pres">
      <dgm:prSet presAssocID="{EA8E2D20-48B1-47B0-A25F-C0A5BE2256E0}" presName="hierChild4" presStyleCnt="0"/>
      <dgm:spPr/>
    </dgm:pt>
    <dgm:pt modelId="{28BD3BB6-0AAD-4325-BE53-71C98710CC95}" type="pres">
      <dgm:prSet presAssocID="{EA8E2D20-48B1-47B0-A25F-C0A5BE2256E0}" presName="hierChild5" presStyleCnt="0"/>
      <dgm:spPr/>
    </dgm:pt>
    <dgm:pt modelId="{F0B796C5-3995-4073-BB00-92D2F49FC6FD}" type="pres">
      <dgm:prSet presAssocID="{9496DB9F-4908-470F-AC2F-1B781D46E9BC}" presName="Name37" presStyleLbl="parChTrans1D3" presStyleIdx="1" presStyleCnt="4"/>
      <dgm:spPr/>
    </dgm:pt>
    <dgm:pt modelId="{21C97ADE-8A17-48CD-9E48-FD437A5616E7}" type="pres">
      <dgm:prSet presAssocID="{BE097830-0FA3-4C12-A842-8F39A0D2CE1D}" presName="hierRoot2" presStyleCnt="0">
        <dgm:presLayoutVars>
          <dgm:hierBranch val="init"/>
        </dgm:presLayoutVars>
      </dgm:prSet>
      <dgm:spPr/>
    </dgm:pt>
    <dgm:pt modelId="{77ABC9CA-5797-44C6-9814-4762B49E6FD9}" type="pres">
      <dgm:prSet presAssocID="{BE097830-0FA3-4C12-A842-8F39A0D2CE1D}" presName="rootComposite" presStyleCnt="0"/>
      <dgm:spPr/>
    </dgm:pt>
    <dgm:pt modelId="{346CE09B-8833-41A4-969C-89D6CA8ABC0B}" type="pres">
      <dgm:prSet presAssocID="{BE097830-0FA3-4C12-A842-8F39A0D2CE1D}" presName="rootText" presStyleLbl="node3" presStyleIdx="1" presStyleCnt="4" custScaleX="34129" custScaleY="31920" custLinFactNeighborX="19346" custLinFactNeighborY="-1602">
        <dgm:presLayoutVars>
          <dgm:chPref val="3"/>
        </dgm:presLayoutVars>
      </dgm:prSet>
      <dgm:spPr/>
    </dgm:pt>
    <dgm:pt modelId="{65F3B6CF-CEB8-454E-8D58-02BEC270C8BA}" type="pres">
      <dgm:prSet presAssocID="{BE097830-0FA3-4C12-A842-8F39A0D2CE1D}" presName="rootConnector" presStyleLbl="node3" presStyleIdx="1" presStyleCnt="4"/>
      <dgm:spPr/>
    </dgm:pt>
    <dgm:pt modelId="{EAB50D26-7725-43E0-8D62-FBD6D32EFEBA}" type="pres">
      <dgm:prSet presAssocID="{BE097830-0FA3-4C12-A842-8F39A0D2CE1D}" presName="hierChild4" presStyleCnt="0"/>
      <dgm:spPr/>
    </dgm:pt>
    <dgm:pt modelId="{0EA16432-A432-4C8A-8022-8C596605EC67}" type="pres">
      <dgm:prSet presAssocID="{BE097830-0FA3-4C12-A842-8F39A0D2CE1D}" presName="hierChild5" presStyleCnt="0"/>
      <dgm:spPr/>
    </dgm:pt>
    <dgm:pt modelId="{EA44CFAA-0689-4BD7-85A0-E66CD1E7B332}" type="pres">
      <dgm:prSet presAssocID="{C7F24C03-2831-49CA-A269-0DFDE8D97BA3}" presName="Name37" presStyleLbl="parChTrans1D3" presStyleIdx="2" presStyleCnt="4"/>
      <dgm:spPr/>
    </dgm:pt>
    <dgm:pt modelId="{A8339557-2E99-4D3B-8F11-8A098E7F15C6}" type="pres">
      <dgm:prSet presAssocID="{61DB8677-3A43-44DC-8ACA-6E0C5F2A4CF6}" presName="hierRoot2" presStyleCnt="0">
        <dgm:presLayoutVars>
          <dgm:hierBranch val="init"/>
        </dgm:presLayoutVars>
      </dgm:prSet>
      <dgm:spPr/>
    </dgm:pt>
    <dgm:pt modelId="{EFD5F51A-FD72-4E2C-8AB1-2B6BB32547FD}" type="pres">
      <dgm:prSet presAssocID="{61DB8677-3A43-44DC-8ACA-6E0C5F2A4CF6}" presName="rootComposite" presStyleCnt="0"/>
      <dgm:spPr/>
    </dgm:pt>
    <dgm:pt modelId="{C76DFDAB-E0F0-4DA8-A67E-E1A799B2CAAE}" type="pres">
      <dgm:prSet presAssocID="{61DB8677-3A43-44DC-8ACA-6E0C5F2A4CF6}" presName="rootText" presStyleLbl="node3" presStyleIdx="2" presStyleCnt="4" custScaleX="35541" custScaleY="31960" custLinFactNeighborX="7749" custLinFactNeighborY="-816">
        <dgm:presLayoutVars>
          <dgm:chPref val="3"/>
        </dgm:presLayoutVars>
      </dgm:prSet>
      <dgm:spPr/>
    </dgm:pt>
    <dgm:pt modelId="{9EAAD39B-CDF6-41CA-A2E5-4CFF570CDF61}" type="pres">
      <dgm:prSet presAssocID="{61DB8677-3A43-44DC-8ACA-6E0C5F2A4CF6}" presName="rootConnector" presStyleLbl="node3" presStyleIdx="2" presStyleCnt="4"/>
      <dgm:spPr/>
    </dgm:pt>
    <dgm:pt modelId="{85F5A976-83D9-48E8-B9CA-D4A7DCBD3E7C}" type="pres">
      <dgm:prSet presAssocID="{61DB8677-3A43-44DC-8ACA-6E0C5F2A4CF6}" presName="hierChild4" presStyleCnt="0"/>
      <dgm:spPr/>
    </dgm:pt>
    <dgm:pt modelId="{E77F956E-631B-4468-A2DB-5FFC64D9F755}" type="pres">
      <dgm:prSet presAssocID="{61DB8677-3A43-44DC-8ACA-6E0C5F2A4CF6}" presName="hierChild5" presStyleCnt="0"/>
      <dgm:spPr/>
    </dgm:pt>
    <dgm:pt modelId="{6ADB6D51-E248-4716-AD9A-A615D98F1423}" type="pres">
      <dgm:prSet presAssocID="{3F5AC76F-2A3F-4EFA-B539-82FCF9DDA180}" presName="Name37" presStyleLbl="parChTrans1D3" presStyleIdx="3" presStyleCnt="4"/>
      <dgm:spPr/>
    </dgm:pt>
    <dgm:pt modelId="{138B0CB6-C371-49EE-AD09-B7526C659DBF}" type="pres">
      <dgm:prSet presAssocID="{45E0FA25-F2EC-4C09-8297-8F32DBC5CBBD}" presName="hierRoot2" presStyleCnt="0">
        <dgm:presLayoutVars>
          <dgm:hierBranch val="init"/>
        </dgm:presLayoutVars>
      </dgm:prSet>
      <dgm:spPr/>
    </dgm:pt>
    <dgm:pt modelId="{042740EC-476C-46C4-9BAE-66C4A96C137F}" type="pres">
      <dgm:prSet presAssocID="{45E0FA25-F2EC-4C09-8297-8F32DBC5CBBD}" presName="rootComposite" presStyleCnt="0"/>
      <dgm:spPr/>
    </dgm:pt>
    <dgm:pt modelId="{E0AEF09F-250B-437D-B3D6-6C490E7932A4}" type="pres">
      <dgm:prSet presAssocID="{45E0FA25-F2EC-4C09-8297-8F32DBC5CBBD}" presName="rootText" presStyleLbl="node3" presStyleIdx="3" presStyleCnt="4" custScaleX="29948" custScaleY="29420" custLinFactNeighborY="-789">
        <dgm:presLayoutVars>
          <dgm:chPref val="3"/>
        </dgm:presLayoutVars>
      </dgm:prSet>
      <dgm:spPr/>
    </dgm:pt>
    <dgm:pt modelId="{B061603B-E7F1-4A22-80CB-1EAC7A8AA735}" type="pres">
      <dgm:prSet presAssocID="{45E0FA25-F2EC-4C09-8297-8F32DBC5CBBD}" presName="rootConnector" presStyleLbl="node3" presStyleIdx="3" presStyleCnt="4"/>
      <dgm:spPr/>
    </dgm:pt>
    <dgm:pt modelId="{C293F7C0-70FD-4AE4-BB02-A4A839843D06}" type="pres">
      <dgm:prSet presAssocID="{45E0FA25-F2EC-4C09-8297-8F32DBC5CBBD}" presName="hierChild4" presStyleCnt="0"/>
      <dgm:spPr/>
    </dgm:pt>
    <dgm:pt modelId="{5324D903-0982-4BCF-8BCA-166C2EE9B55D}" type="pres">
      <dgm:prSet presAssocID="{61D03F58-1211-4C7E-96DE-4420B398E62B}" presName="Name37" presStyleLbl="parChTrans1D4" presStyleIdx="0" presStyleCnt="3"/>
      <dgm:spPr/>
    </dgm:pt>
    <dgm:pt modelId="{D8BA1239-1474-481F-B577-97F05D248540}" type="pres">
      <dgm:prSet presAssocID="{A8876F0A-3D9B-40E0-A13A-9BEB5B1150CD}" presName="hierRoot2" presStyleCnt="0">
        <dgm:presLayoutVars>
          <dgm:hierBranch val="r"/>
        </dgm:presLayoutVars>
      </dgm:prSet>
      <dgm:spPr/>
    </dgm:pt>
    <dgm:pt modelId="{431670F1-BD1D-4D71-AE41-E021D4C6BE9C}" type="pres">
      <dgm:prSet presAssocID="{A8876F0A-3D9B-40E0-A13A-9BEB5B1150CD}" presName="rootComposite" presStyleCnt="0"/>
      <dgm:spPr/>
    </dgm:pt>
    <dgm:pt modelId="{1784DEA6-7213-4B59-9CED-2322FEB4E6AF}" type="pres">
      <dgm:prSet presAssocID="{A8876F0A-3D9B-40E0-A13A-9BEB5B1150CD}" presName="rootText" presStyleLbl="node4" presStyleIdx="0" presStyleCnt="3" custScaleX="52947" custScaleY="29597" custLinFactNeighborX="1574" custLinFactNeighborY="27060">
        <dgm:presLayoutVars>
          <dgm:chPref val="3"/>
        </dgm:presLayoutVars>
      </dgm:prSet>
      <dgm:spPr/>
    </dgm:pt>
    <dgm:pt modelId="{A37146BD-5FA0-45C1-A7F3-48F056A47328}" type="pres">
      <dgm:prSet presAssocID="{A8876F0A-3D9B-40E0-A13A-9BEB5B1150CD}" presName="rootConnector" presStyleLbl="node4" presStyleIdx="0" presStyleCnt="3"/>
      <dgm:spPr/>
    </dgm:pt>
    <dgm:pt modelId="{AC9D8ED3-068F-4DB3-B357-A8A73668C02B}" type="pres">
      <dgm:prSet presAssocID="{A8876F0A-3D9B-40E0-A13A-9BEB5B1150CD}" presName="hierChild4" presStyleCnt="0"/>
      <dgm:spPr/>
    </dgm:pt>
    <dgm:pt modelId="{DD179772-AE91-4E99-826C-CD2F4BBAB2EE}" type="pres">
      <dgm:prSet presAssocID="{A8876F0A-3D9B-40E0-A13A-9BEB5B1150CD}" presName="hierChild5" presStyleCnt="0"/>
      <dgm:spPr/>
    </dgm:pt>
    <dgm:pt modelId="{DB2E72F9-0DF4-4F43-B07B-0F7169064CF3}" type="pres">
      <dgm:prSet presAssocID="{B43719DB-F972-4070-A474-8E1248C1F067}" presName="Name37" presStyleLbl="parChTrans1D4" presStyleIdx="1" presStyleCnt="3"/>
      <dgm:spPr/>
    </dgm:pt>
    <dgm:pt modelId="{73270B71-4052-467F-B7FF-4A4A0DF468FB}" type="pres">
      <dgm:prSet presAssocID="{15E847AE-1C5D-4C89-9C5D-38AFC9BCBFF8}" presName="hierRoot2" presStyleCnt="0">
        <dgm:presLayoutVars>
          <dgm:hierBranch val="r"/>
        </dgm:presLayoutVars>
      </dgm:prSet>
      <dgm:spPr/>
    </dgm:pt>
    <dgm:pt modelId="{E7937A6B-6161-4485-9765-A2E1FA267B25}" type="pres">
      <dgm:prSet presAssocID="{15E847AE-1C5D-4C89-9C5D-38AFC9BCBFF8}" presName="rootComposite" presStyleCnt="0"/>
      <dgm:spPr/>
    </dgm:pt>
    <dgm:pt modelId="{12935EF6-393F-451D-9D80-9DC2AE2F3B73}" type="pres">
      <dgm:prSet presAssocID="{15E847AE-1C5D-4C89-9C5D-38AFC9BCBFF8}" presName="rootText" presStyleLbl="node4" presStyleIdx="1" presStyleCnt="3" custScaleX="52947" custScaleY="29852" custLinFactNeighborX="2151" custLinFactNeighborY="-91340">
        <dgm:presLayoutVars>
          <dgm:chPref val="3"/>
        </dgm:presLayoutVars>
      </dgm:prSet>
      <dgm:spPr/>
    </dgm:pt>
    <dgm:pt modelId="{139D3DA6-3CC6-401D-AA59-D68233E44A89}" type="pres">
      <dgm:prSet presAssocID="{15E847AE-1C5D-4C89-9C5D-38AFC9BCBFF8}" presName="rootConnector" presStyleLbl="node4" presStyleIdx="1" presStyleCnt="3"/>
      <dgm:spPr/>
    </dgm:pt>
    <dgm:pt modelId="{9C4293CE-1997-435E-905D-53041DA9271E}" type="pres">
      <dgm:prSet presAssocID="{15E847AE-1C5D-4C89-9C5D-38AFC9BCBFF8}" presName="hierChild4" presStyleCnt="0"/>
      <dgm:spPr/>
    </dgm:pt>
    <dgm:pt modelId="{9FC44266-04A7-4207-BF4B-C320FB6474B0}" type="pres">
      <dgm:prSet presAssocID="{15E847AE-1C5D-4C89-9C5D-38AFC9BCBFF8}" presName="hierChild5" presStyleCnt="0"/>
      <dgm:spPr/>
    </dgm:pt>
    <dgm:pt modelId="{908CFE62-95E6-4B5D-80D2-99C864ED8F23}" type="pres">
      <dgm:prSet presAssocID="{5A0141C2-F64B-4A06-AF90-E5D9C40EC752}" presName="Name37" presStyleLbl="parChTrans1D4" presStyleIdx="2" presStyleCnt="3"/>
      <dgm:spPr/>
    </dgm:pt>
    <dgm:pt modelId="{5635013F-BD0C-4AB8-97A1-D99C4D1A7BF5}" type="pres">
      <dgm:prSet presAssocID="{513086A6-5C6E-438E-AFF7-09497BD51E24}" presName="hierRoot2" presStyleCnt="0">
        <dgm:presLayoutVars>
          <dgm:hierBranch val="r"/>
        </dgm:presLayoutVars>
      </dgm:prSet>
      <dgm:spPr/>
    </dgm:pt>
    <dgm:pt modelId="{A911B7AC-40B0-4E0E-AF3B-5EF4B279A2E5}" type="pres">
      <dgm:prSet presAssocID="{513086A6-5C6E-438E-AFF7-09497BD51E24}" presName="rootComposite" presStyleCnt="0"/>
      <dgm:spPr/>
    </dgm:pt>
    <dgm:pt modelId="{FCD7A6A3-C810-433C-BBC9-E7EE0FCD4A91}" type="pres">
      <dgm:prSet presAssocID="{513086A6-5C6E-438E-AFF7-09497BD51E24}" presName="rootText" presStyleLbl="node4" presStyleIdx="2" presStyleCnt="3" custScaleX="52043" custScaleY="27363" custLinFactNeighborX="1508" custLinFactNeighborY="-75400">
        <dgm:presLayoutVars>
          <dgm:chPref val="3"/>
        </dgm:presLayoutVars>
      </dgm:prSet>
      <dgm:spPr/>
    </dgm:pt>
    <dgm:pt modelId="{2D474568-2684-42C5-877A-9E8E5C825F90}" type="pres">
      <dgm:prSet presAssocID="{513086A6-5C6E-438E-AFF7-09497BD51E24}" presName="rootConnector" presStyleLbl="node4" presStyleIdx="2" presStyleCnt="3"/>
      <dgm:spPr/>
    </dgm:pt>
    <dgm:pt modelId="{13EE6ED1-37B6-416E-8059-3EF5672CE81A}" type="pres">
      <dgm:prSet presAssocID="{513086A6-5C6E-438E-AFF7-09497BD51E24}" presName="hierChild4" presStyleCnt="0"/>
      <dgm:spPr/>
    </dgm:pt>
    <dgm:pt modelId="{D140A2BD-56A3-4F38-9958-D297FEF96245}" type="pres">
      <dgm:prSet presAssocID="{513086A6-5C6E-438E-AFF7-09497BD51E24}" presName="hierChild5" presStyleCnt="0"/>
      <dgm:spPr/>
    </dgm:pt>
    <dgm:pt modelId="{9AAB40A7-354E-4319-AC61-B7EA0C471251}" type="pres">
      <dgm:prSet presAssocID="{45E0FA25-F2EC-4C09-8297-8F32DBC5CBBD}" presName="hierChild5" presStyleCnt="0"/>
      <dgm:spPr/>
    </dgm:pt>
    <dgm:pt modelId="{51C674D4-44FC-499E-9F96-F05BFEB42142}" type="pres">
      <dgm:prSet presAssocID="{A4537974-D0AD-44E0-8D5B-78CD364111B8}" presName="hierChild5" presStyleCnt="0"/>
      <dgm:spPr/>
    </dgm:pt>
    <dgm:pt modelId="{25089B1C-99C1-4F6E-A44B-73C45FE92084}" type="pres">
      <dgm:prSet presAssocID="{85B8E9C7-C3C2-4F47-8FF2-FF1957D8A2C9}" presName="hierChild3" presStyleCnt="0"/>
      <dgm:spPr/>
    </dgm:pt>
  </dgm:ptLst>
  <dgm:cxnLst>
    <dgm:cxn modelId="{1FBFC40D-880F-41AE-B125-3D8F79324D1D}" type="presOf" srcId="{BE097830-0FA3-4C12-A842-8F39A0D2CE1D}" destId="{65F3B6CF-CEB8-454E-8D58-02BEC270C8BA}" srcOrd="1" destOrd="0" presId="urn:microsoft.com/office/officeart/2005/8/layout/orgChart1"/>
    <dgm:cxn modelId="{05DB4814-0ACA-4140-A7AA-3BD0271D49CC}" srcId="{45E0FA25-F2EC-4C09-8297-8F32DBC5CBBD}" destId="{15E847AE-1C5D-4C89-9C5D-38AFC9BCBFF8}" srcOrd="1" destOrd="0" parTransId="{B43719DB-F972-4070-A474-8E1248C1F067}" sibTransId="{09F7E9D4-6D92-4D1E-B68A-DC74A678260B}"/>
    <dgm:cxn modelId="{16FA201F-078E-43FE-B05A-5A3280AB8955}" type="presOf" srcId="{513086A6-5C6E-438E-AFF7-09497BD51E24}" destId="{FCD7A6A3-C810-433C-BBC9-E7EE0FCD4A91}" srcOrd="0" destOrd="0" presId="urn:microsoft.com/office/officeart/2005/8/layout/orgChart1"/>
    <dgm:cxn modelId="{A8EB7025-6529-4E4B-B34C-2F192D45BB2A}" type="presOf" srcId="{3F5AC76F-2A3F-4EFA-B539-82FCF9DDA180}" destId="{6ADB6D51-E248-4716-AD9A-A615D98F1423}" srcOrd="0" destOrd="0" presId="urn:microsoft.com/office/officeart/2005/8/layout/orgChart1"/>
    <dgm:cxn modelId="{1A670229-CCA4-43C7-AD4D-E43EB46D4EAF}" type="presOf" srcId="{5A0141C2-F64B-4A06-AF90-E5D9C40EC752}" destId="{908CFE62-95E6-4B5D-80D2-99C864ED8F23}" srcOrd="0" destOrd="0" presId="urn:microsoft.com/office/officeart/2005/8/layout/orgChart1"/>
    <dgm:cxn modelId="{2B7B5C2E-2FAA-447A-9A59-1236AFA4DA9F}" type="presOf" srcId="{61D03F58-1211-4C7E-96DE-4420B398E62B}" destId="{5324D903-0982-4BCF-8BCA-166C2EE9B55D}" srcOrd="0" destOrd="0" presId="urn:microsoft.com/office/officeart/2005/8/layout/orgChart1"/>
    <dgm:cxn modelId="{03FB0534-9912-4B7C-B6BE-1951DF20AD62}" type="presOf" srcId="{15E847AE-1C5D-4C89-9C5D-38AFC9BCBFF8}" destId="{139D3DA6-3CC6-401D-AA59-D68233E44A89}" srcOrd="1" destOrd="0" presId="urn:microsoft.com/office/officeart/2005/8/layout/orgChart1"/>
    <dgm:cxn modelId="{043B363E-2207-4AF7-8A6D-B404935F4423}" type="presOf" srcId="{45E0FA25-F2EC-4C09-8297-8F32DBC5CBBD}" destId="{E0AEF09F-250B-437D-B3D6-6C490E7932A4}" srcOrd="0" destOrd="0" presId="urn:microsoft.com/office/officeart/2005/8/layout/orgChart1"/>
    <dgm:cxn modelId="{4EB95C3F-E223-4DCB-802B-2A383379395D}" srcId="{A4537974-D0AD-44E0-8D5B-78CD364111B8}" destId="{EA8E2D20-48B1-47B0-A25F-C0A5BE2256E0}" srcOrd="0" destOrd="0" parTransId="{E0ADB764-6AE5-4A5E-9734-EAEE7C4B0988}" sibTransId="{9CD00F1E-1086-4B97-AD64-54F208E5BE53}"/>
    <dgm:cxn modelId="{69704F5B-F6A8-464C-A494-A399BEB237AD}" srcId="{85B8E9C7-C3C2-4F47-8FF2-FF1957D8A2C9}" destId="{A4537974-D0AD-44E0-8D5B-78CD364111B8}" srcOrd="1" destOrd="0" parTransId="{148A6EE5-694E-4D58-8B33-3FA4E817F554}" sibTransId="{46DDEF15-AA5F-4800-9AB8-9DCFEA9EC79B}"/>
    <dgm:cxn modelId="{D4B47F5E-A9F9-42D1-85E0-3300F4177A77}" type="presOf" srcId="{170C2C20-9E70-4353-B890-40BF6D3BCE14}" destId="{B3B96511-AB0A-457B-81BE-3DE1D7675730}" srcOrd="1" destOrd="0" presId="urn:microsoft.com/office/officeart/2005/8/layout/orgChart1"/>
    <dgm:cxn modelId="{0EA44B67-48ED-4FAC-B473-8A57BD5684E2}" srcId="{45E0FA25-F2EC-4C09-8297-8F32DBC5CBBD}" destId="{513086A6-5C6E-438E-AFF7-09497BD51E24}" srcOrd="2" destOrd="0" parTransId="{5A0141C2-F64B-4A06-AF90-E5D9C40EC752}" sibTransId="{31C87097-07E6-4BE9-AA2C-EFF347B37C83}"/>
    <dgm:cxn modelId="{0004FB68-2F73-4796-BDC0-59F17F8462C6}" type="presOf" srcId="{EA8E2D20-48B1-47B0-A25F-C0A5BE2256E0}" destId="{F50CEFC3-432C-4C11-80D1-DCAB9EEC0CE8}" srcOrd="0" destOrd="0" presId="urn:microsoft.com/office/officeart/2005/8/layout/orgChart1"/>
    <dgm:cxn modelId="{18AE7C4C-4A4F-48C3-8DFB-F5574A440E98}" type="presOf" srcId="{1B307953-CD98-48F3-91B2-45DC66B30E19}" destId="{AD6A1F3C-E249-4AF5-82A8-8824BCE21D28}" srcOrd="0" destOrd="0" presId="urn:microsoft.com/office/officeart/2005/8/layout/orgChart1"/>
    <dgm:cxn modelId="{A192C56D-E5AF-4957-A06C-1B65E4C41957}" type="presOf" srcId="{C7F24C03-2831-49CA-A269-0DFDE8D97BA3}" destId="{EA44CFAA-0689-4BD7-85A0-E66CD1E7B332}" srcOrd="0" destOrd="0" presId="urn:microsoft.com/office/officeart/2005/8/layout/orgChart1"/>
    <dgm:cxn modelId="{64894A6F-060B-4277-8DB9-D081CC8E8F98}" srcId="{A4537974-D0AD-44E0-8D5B-78CD364111B8}" destId="{45E0FA25-F2EC-4C09-8297-8F32DBC5CBBD}" srcOrd="3" destOrd="0" parTransId="{3F5AC76F-2A3F-4EFA-B539-82FCF9DDA180}" sibTransId="{2DCF5F76-FA81-44F8-81CC-E398ABAF0A21}"/>
    <dgm:cxn modelId="{819BB254-AF21-4F01-ACD4-E5D36399F7F7}" type="presOf" srcId="{A4537974-D0AD-44E0-8D5B-78CD364111B8}" destId="{5AD4252B-4AE9-4650-BFDD-78A251B6FC45}" srcOrd="1" destOrd="0" presId="urn:microsoft.com/office/officeart/2005/8/layout/orgChart1"/>
    <dgm:cxn modelId="{96136C82-8A67-49BA-B7F7-A0272E5CC0DD}" type="presOf" srcId="{45E0FA25-F2EC-4C09-8297-8F32DBC5CBBD}" destId="{B061603B-E7F1-4A22-80CB-1EAC7A8AA735}" srcOrd="1" destOrd="0" presId="urn:microsoft.com/office/officeart/2005/8/layout/orgChart1"/>
    <dgm:cxn modelId="{93790983-C425-4E7F-9F2C-E5CCC6D1ED15}" type="presOf" srcId="{148A6EE5-694E-4D58-8B33-3FA4E817F554}" destId="{C79447D0-C69F-4DEE-9D21-E3EEB57B647A}" srcOrd="0" destOrd="0" presId="urn:microsoft.com/office/officeart/2005/8/layout/orgChart1"/>
    <dgm:cxn modelId="{DB23B08B-99D0-45F4-AAB8-8AE070AF2460}" srcId="{85B8E9C7-C3C2-4F47-8FF2-FF1957D8A2C9}" destId="{170C2C20-9E70-4353-B890-40BF6D3BCE14}" srcOrd="0" destOrd="0" parTransId="{1B307953-CD98-48F3-91B2-45DC66B30E19}" sibTransId="{040F7114-24C4-4DB9-B05E-0933B39F8CD7}"/>
    <dgm:cxn modelId="{A3C02D9A-ADE0-47C4-9617-0A069F69E5BC}" srcId="{A4537974-D0AD-44E0-8D5B-78CD364111B8}" destId="{61DB8677-3A43-44DC-8ACA-6E0C5F2A4CF6}" srcOrd="2" destOrd="0" parTransId="{C7F24C03-2831-49CA-A269-0DFDE8D97BA3}" sibTransId="{BC25E9C1-EB97-4F20-B5CE-B8811E7E84B5}"/>
    <dgm:cxn modelId="{481845A1-02F8-4337-9CA4-E1ECD7D5869A}" type="presOf" srcId="{A4537974-D0AD-44E0-8D5B-78CD364111B8}" destId="{AE24E54F-A8EE-4213-8A5F-ED4DAAA7C72A}" srcOrd="0" destOrd="0" presId="urn:microsoft.com/office/officeart/2005/8/layout/orgChart1"/>
    <dgm:cxn modelId="{335D81A4-8F64-446B-8901-24C819C99221}" srcId="{CE13C0BE-1EC7-46BD-9D3F-CFC2F4B470C7}" destId="{85B8E9C7-C3C2-4F47-8FF2-FF1957D8A2C9}" srcOrd="0" destOrd="0" parTransId="{02764C56-CAD0-4CBD-B119-EE3A0919464F}" sibTransId="{3DCB29F5-3E0E-4991-A7F2-141892436433}"/>
    <dgm:cxn modelId="{3CA2BAA6-227D-41F3-A6C9-EA77EFEDC3F1}" type="presOf" srcId="{85B8E9C7-C3C2-4F47-8FF2-FF1957D8A2C9}" destId="{84AC7146-B6C5-4322-9CC5-431F5ECB4210}" srcOrd="1" destOrd="0" presId="urn:microsoft.com/office/officeart/2005/8/layout/orgChart1"/>
    <dgm:cxn modelId="{210FD0B0-0B23-441C-A127-7F735CFCCF65}" type="presOf" srcId="{EA8E2D20-48B1-47B0-A25F-C0A5BE2256E0}" destId="{E9791851-6E8F-43F3-BF38-812582E80902}" srcOrd="1" destOrd="0" presId="urn:microsoft.com/office/officeart/2005/8/layout/orgChart1"/>
    <dgm:cxn modelId="{DACBCEB4-D22F-486B-9ED0-2413CA88A77E}" type="presOf" srcId="{A8876F0A-3D9B-40E0-A13A-9BEB5B1150CD}" destId="{1784DEA6-7213-4B59-9CED-2322FEB4E6AF}" srcOrd="0" destOrd="0" presId="urn:microsoft.com/office/officeart/2005/8/layout/orgChart1"/>
    <dgm:cxn modelId="{D9F247B5-8E19-4564-B553-0080F505F639}" type="presOf" srcId="{513086A6-5C6E-438E-AFF7-09497BD51E24}" destId="{2D474568-2684-42C5-877A-9E8E5C825F90}" srcOrd="1" destOrd="0" presId="urn:microsoft.com/office/officeart/2005/8/layout/orgChart1"/>
    <dgm:cxn modelId="{DAB0F6B7-72C9-4031-A855-A4F6F4ED7282}" type="presOf" srcId="{61DB8677-3A43-44DC-8ACA-6E0C5F2A4CF6}" destId="{C76DFDAB-E0F0-4DA8-A67E-E1A799B2CAAE}" srcOrd="0" destOrd="0" presId="urn:microsoft.com/office/officeart/2005/8/layout/orgChart1"/>
    <dgm:cxn modelId="{676D83C1-654D-403A-9088-484329C8FD41}" srcId="{A4537974-D0AD-44E0-8D5B-78CD364111B8}" destId="{BE097830-0FA3-4C12-A842-8F39A0D2CE1D}" srcOrd="1" destOrd="0" parTransId="{9496DB9F-4908-470F-AC2F-1B781D46E9BC}" sibTransId="{C1463931-9637-4354-8A7B-818B5BE2A0D2}"/>
    <dgm:cxn modelId="{F84664C6-2699-41B1-A9C3-B862B7B448D7}" type="presOf" srcId="{85B8E9C7-C3C2-4F47-8FF2-FF1957D8A2C9}" destId="{59654EE1-1867-49AA-A3FE-025FB260536B}" srcOrd="0" destOrd="0" presId="urn:microsoft.com/office/officeart/2005/8/layout/orgChart1"/>
    <dgm:cxn modelId="{FFBD21C9-9351-4B02-989E-1C2731728EFB}" type="presOf" srcId="{61DB8677-3A43-44DC-8ACA-6E0C5F2A4CF6}" destId="{9EAAD39B-CDF6-41CA-A2E5-4CFF570CDF61}" srcOrd="1" destOrd="0" presId="urn:microsoft.com/office/officeart/2005/8/layout/orgChart1"/>
    <dgm:cxn modelId="{1CF5F3D2-6F9D-4879-B852-730893786902}" type="presOf" srcId="{15E847AE-1C5D-4C89-9C5D-38AFC9BCBFF8}" destId="{12935EF6-393F-451D-9D80-9DC2AE2F3B73}" srcOrd="0" destOrd="0" presId="urn:microsoft.com/office/officeart/2005/8/layout/orgChart1"/>
    <dgm:cxn modelId="{9072B3D3-6588-4680-BB19-DF4DF142236A}" type="presOf" srcId="{BE097830-0FA3-4C12-A842-8F39A0D2CE1D}" destId="{346CE09B-8833-41A4-969C-89D6CA8ABC0B}" srcOrd="0" destOrd="0" presId="urn:microsoft.com/office/officeart/2005/8/layout/orgChart1"/>
    <dgm:cxn modelId="{2E9098DC-DBA4-4C3D-889C-EBE8B2A35AA8}" srcId="{45E0FA25-F2EC-4C09-8297-8F32DBC5CBBD}" destId="{A8876F0A-3D9B-40E0-A13A-9BEB5B1150CD}" srcOrd="0" destOrd="0" parTransId="{61D03F58-1211-4C7E-96DE-4420B398E62B}" sibTransId="{72260A91-52FA-4C6F-8623-5739A8D7B15B}"/>
    <dgm:cxn modelId="{D0BF0FE5-344F-4120-B9E3-B742D3330151}" type="presOf" srcId="{A8876F0A-3D9B-40E0-A13A-9BEB5B1150CD}" destId="{A37146BD-5FA0-45C1-A7F3-48F056A47328}" srcOrd="1" destOrd="0" presId="urn:microsoft.com/office/officeart/2005/8/layout/orgChart1"/>
    <dgm:cxn modelId="{857189E5-4A75-4FBF-BC06-B14E481D99A9}" type="presOf" srcId="{CE13C0BE-1EC7-46BD-9D3F-CFC2F4B470C7}" destId="{03461173-AE03-4111-A186-25C2E136C6AC}" srcOrd="0" destOrd="0" presId="urn:microsoft.com/office/officeart/2005/8/layout/orgChart1"/>
    <dgm:cxn modelId="{11FAE6E5-EB27-44D1-8DE1-C02DE4F7DF79}" type="presOf" srcId="{B43719DB-F972-4070-A474-8E1248C1F067}" destId="{DB2E72F9-0DF4-4F43-B07B-0F7169064CF3}" srcOrd="0" destOrd="0" presId="urn:microsoft.com/office/officeart/2005/8/layout/orgChart1"/>
    <dgm:cxn modelId="{DDC3BAF0-069D-4F32-B654-A6E17A40A74B}" type="presOf" srcId="{E0ADB764-6AE5-4A5E-9734-EAEE7C4B0988}" destId="{B66F7693-27FD-462B-8A49-7165086AA609}" srcOrd="0" destOrd="0" presId="urn:microsoft.com/office/officeart/2005/8/layout/orgChart1"/>
    <dgm:cxn modelId="{D9FFFFFB-D81F-4D9D-9CE8-2E425F3AF736}" type="presOf" srcId="{170C2C20-9E70-4353-B890-40BF6D3BCE14}" destId="{DFB0CE57-CD7D-4121-BF74-EF6E13B31647}" srcOrd="0" destOrd="0" presId="urn:microsoft.com/office/officeart/2005/8/layout/orgChart1"/>
    <dgm:cxn modelId="{642F4AFF-2348-452D-8ADC-1D73AB565388}" type="presOf" srcId="{9496DB9F-4908-470F-AC2F-1B781D46E9BC}" destId="{F0B796C5-3995-4073-BB00-92D2F49FC6FD}" srcOrd="0" destOrd="0" presId="urn:microsoft.com/office/officeart/2005/8/layout/orgChart1"/>
    <dgm:cxn modelId="{AB7DF73B-FC0B-45D4-8F57-14F694BF87E1}" type="presParOf" srcId="{03461173-AE03-4111-A186-25C2E136C6AC}" destId="{8DDDA074-28DD-4AB6-95ED-4975F01FF48F}" srcOrd="0" destOrd="0" presId="urn:microsoft.com/office/officeart/2005/8/layout/orgChart1"/>
    <dgm:cxn modelId="{2F6EA470-C5AC-4569-A0BF-955C48238395}" type="presParOf" srcId="{8DDDA074-28DD-4AB6-95ED-4975F01FF48F}" destId="{4B933D9D-37EA-468A-A1F1-6528C8A10F90}" srcOrd="0" destOrd="0" presId="urn:microsoft.com/office/officeart/2005/8/layout/orgChart1"/>
    <dgm:cxn modelId="{69AC79BE-CF2C-40F5-A1CF-CDCB893340B8}" type="presParOf" srcId="{4B933D9D-37EA-468A-A1F1-6528C8A10F90}" destId="{59654EE1-1867-49AA-A3FE-025FB260536B}" srcOrd="0" destOrd="0" presId="urn:microsoft.com/office/officeart/2005/8/layout/orgChart1"/>
    <dgm:cxn modelId="{61650C39-7070-4DD3-9F0C-723291906709}" type="presParOf" srcId="{4B933D9D-37EA-468A-A1F1-6528C8A10F90}" destId="{84AC7146-B6C5-4322-9CC5-431F5ECB4210}" srcOrd="1" destOrd="0" presId="urn:microsoft.com/office/officeart/2005/8/layout/orgChart1"/>
    <dgm:cxn modelId="{D15E8B33-B831-4AAC-868B-80418F4BD401}" type="presParOf" srcId="{8DDDA074-28DD-4AB6-95ED-4975F01FF48F}" destId="{95621620-95C4-4FBF-B6CD-4272A8C5A1BD}" srcOrd="1" destOrd="0" presId="urn:microsoft.com/office/officeart/2005/8/layout/orgChart1"/>
    <dgm:cxn modelId="{986BE7B7-C677-48F0-A524-1AF17A569AF0}" type="presParOf" srcId="{95621620-95C4-4FBF-B6CD-4272A8C5A1BD}" destId="{AD6A1F3C-E249-4AF5-82A8-8824BCE21D28}" srcOrd="0" destOrd="0" presId="urn:microsoft.com/office/officeart/2005/8/layout/orgChart1"/>
    <dgm:cxn modelId="{2EEC562E-EA91-4628-9074-8968150A4D4A}" type="presParOf" srcId="{95621620-95C4-4FBF-B6CD-4272A8C5A1BD}" destId="{468253EC-B23F-4C3F-9C12-BBF2D1C4BEF7}" srcOrd="1" destOrd="0" presId="urn:microsoft.com/office/officeart/2005/8/layout/orgChart1"/>
    <dgm:cxn modelId="{1E71C8B2-E79C-4191-AC56-1D9EDC855CF7}" type="presParOf" srcId="{468253EC-B23F-4C3F-9C12-BBF2D1C4BEF7}" destId="{691FA654-8418-4850-A7A2-DC872FCEB820}" srcOrd="0" destOrd="0" presId="urn:microsoft.com/office/officeart/2005/8/layout/orgChart1"/>
    <dgm:cxn modelId="{90CA6410-B7E7-436D-BD64-8BE146A73897}" type="presParOf" srcId="{691FA654-8418-4850-A7A2-DC872FCEB820}" destId="{DFB0CE57-CD7D-4121-BF74-EF6E13B31647}" srcOrd="0" destOrd="0" presId="urn:microsoft.com/office/officeart/2005/8/layout/orgChart1"/>
    <dgm:cxn modelId="{CE1D90A3-440E-49D1-9DD9-17BE4D8E279B}" type="presParOf" srcId="{691FA654-8418-4850-A7A2-DC872FCEB820}" destId="{B3B96511-AB0A-457B-81BE-3DE1D7675730}" srcOrd="1" destOrd="0" presId="urn:microsoft.com/office/officeart/2005/8/layout/orgChart1"/>
    <dgm:cxn modelId="{20461998-78E2-46C5-A2A4-BAA8855245E6}" type="presParOf" srcId="{468253EC-B23F-4C3F-9C12-BBF2D1C4BEF7}" destId="{23C6D1B7-EA0B-44BA-AC0B-D7DF9A9A203A}" srcOrd="1" destOrd="0" presId="urn:microsoft.com/office/officeart/2005/8/layout/orgChart1"/>
    <dgm:cxn modelId="{1CD00E56-4286-4404-9A6F-28E900D38BC9}" type="presParOf" srcId="{468253EC-B23F-4C3F-9C12-BBF2D1C4BEF7}" destId="{DE811C5E-8605-479E-BA2D-7FAD57162AAA}" srcOrd="2" destOrd="0" presId="urn:microsoft.com/office/officeart/2005/8/layout/orgChart1"/>
    <dgm:cxn modelId="{020EA154-47F5-4273-82F6-A9A741894AF8}" type="presParOf" srcId="{95621620-95C4-4FBF-B6CD-4272A8C5A1BD}" destId="{C79447D0-C69F-4DEE-9D21-E3EEB57B647A}" srcOrd="2" destOrd="0" presId="urn:microsoft.com/office/officeart/2005/8/layout/orgChart1"/>
    <dgm:cxn modelId="{9EF6A355-5705-4361-8EBE-0B526FBE0719}" type="presParOf" srcId="{95621620-95C4-4FBF-B6CD-4272A8C5A1BD}" destId="{3CBD8A31-FDA8-4DF4-8F01-B04738AFDA7F}" srcOrd="3" destOrd="0" presId="urn:microsoft.com/office/officeart/2005/8/layout/orgChart1"/>
    <dgm:cxn modelId="{33B30B28-DC4F-47A9-A183-6622B8A60C35}" type="presParOf" srcId="{3CBD8A31-FDA8-4DF4-8F01-B04738AFDA7F}" destId="{506A58CB-3F17-4612-8EA8-7FC4C5B3D0FA}" srcOrd="0" destOrd="0" presId="urn:microsoft.com/office/officeart/2005/8/layout/orgChart1"/>
    <dgm:cxn modelId="{F83BD5FB-0AD6-4A68-8766-87986DF4C62C}" type="presParOf" srcId="{506A58CB-3F17-4612-8EA8-7FC4C5B3D0FA}" destId="{AE24E54F-A8EE-4213-8A5F-ED4DAAA7C72A}" srcOrd="0" destOrd="0" presId="urn:microsoft.com/office/officeart/2005/8/layout/orgChart1"/>
    <dgm:cxn modelId="{23B5DC9C-3756-4D51-98C1-1D7B03DE23E8}" type="presParOf" srcId="{506A58CB-3F17-4612-8EA8-7FC4C5B3D0FA}" destId="{5AD4252B-4AE9-4650-BFDD-78A251B6FC45}" srcOrd="1" destOrd="0" presId="urn:microsoft.com/office/officeart/2005/8/layout/orgChart1"/>
    <dgm:cxn modelId="{3AC35115-B05D-40E1-BD1D-18DA63D0C0F1}" type="presParOf" srcId="{3CBD8A31-FDA8-4DF4-8F01-B04738AFDA7F}" destId="{630281C4-B9F3-4369-B0BC-9286E216483E}" srcOrd="1" destOrd="0" presId="urn:microsoft.com/office/officeart/2005/8/layout/orgChart1"/>
    <dgm:cxn modelId="{7A9F96F3-9B85-40C5-8313-A15463D7BBD1}" type="presParOf" srcId="{630281C4-B9F3-4369-B0BC-9286E216483E}" destId="{B66F7693-27FD-462B-8A49-7165086AA609}" srcOrd="0" destOrd="0" presId="urn:microsoft.com/office/officeart/2005/8/layout/orgChart1"/>
    <dgm:cxn modelId="{086800CD-B59A-46DF-BF73-544D3821A507}" type="presParOf" srcId="{630281C4-B9F3-4369-B0BC-9286E216483E}" destId="{50A2E062-12BC-4BFC-9C13-D31F331DF6E7}" srcOrd="1" destOrd="0" presId="urn:microsoft.com/office/officeart/2005/8/layout/orgChart1"/>
    <dgm:cxn modelId="{FC1E479D-4F59-4D9E-BC93-EE601007EADC}" type="presParOf" srcId="{50A2E062-12BC-4BFC-9C13-D31F331DF6E7}" destId="{297B5992-541A-45B8-BCFB-B0C40C2C15AC}" srcOrd="0" destOrd="0" presId="urn:microsoft.com/office/officeart/2005/8/layout/orgChart1"/>
    <dgm:cxn modelId="{04329C90-AE5E-4CF5-96D7-FF3AD0158640}" type="presParOf" srcId="{297B5992-541A-45B8-BCFB-B0C40C2C15AC}" destId="{F50CEFC3-432C-4C11-80D1-DCAB9EEC0CE8}" srcOrd="0" destOrd="0" presId="urn:microsoft.com/office/officeart/2005/8/layout/orgChart1"/>
    <dgm:cxn modelId="{DF5F0C9C-0482-400D-B147-88EFE6FE7601}" type="presParOf" srcId="{297B5992-541A-45B8-BCFB-B0C40C2C15AC}" destId="{E9791851-6E8F-43F3-BF38-812582E80902}" srcOrd="1" destOrd="0" presId="urn:microsoft.com/office/officeart/2005/8/layout/orgChart1"/>
    <dgm:cxn modelId="{3C9A35E5-F5E8-4316-B142-4789E6B0F67E}" type="presParOf" srcId="{50A2E062-12BC-4BFC-9C13-D31F331DF6E7}" destId="{E43E377A-C749-4B70-ABC6-13756F8C91F8}" srcOrd="1" destOrd="0" presId="urn:microsoft.com/office/officeart/2005/8/layout/orgChart1"/>
    <dgm:cxn modelId="{7D3CD75E-5C07-4163-8CEF-49406402F560}" type="presParOf" srcId="{50A2E062-12BC-4BFC-9C13-D31F331DF6E7}" destId="{28BD3BB6-0AAD-4325-BE53-71C98710CC95}" srcOrd="2" destOrd="0" presId="urn:microsoft.com/office/officeart/2005/8/layout/orgChart1"/>
    <dgm:cxn modelId="{86948638-9026-4776-B99E-FA88CD97F25A}" type="presParOf" srcId="{630281C4-B9F3-4369-B0BC-9286E216483E}" destId="{F0B796C5-3995-4073-BB00-92D2F49FC6FD}" srcOrd="2" destOrd="0" presId="urn:microsoft.com/office/officeart/2005/8/layout/orgChart1"/>
    <dgm:cxn modelId="{ECBBE9FB-88BF-4022-8ED8-DF2E16D52267}" type="presParOf" srcId="{630281C4-B9F3-4369-B0BC-9286E216483E}" destId="{21C97ADE-8A17-48CD-9E48-FD437A5616E7}" srcOrd="3" destOrd="0" presId="urn:microsoft.com/office/officeart/2005/8/layout/orgChart1"/>
    <dgm:cxn modelId="{4DC20A7F-A772-433E-A639-FBB5280E9BF9}" type="presParOf" srcId="{21C97ADE-8A17-48CD-9E48-FD437A5616E7}" destId="{77ABC9CA-5797-44C6-9814-4762B49E6FD9}" srcOrd="0" destOrd="0" presId="urn:microsoft.com/office/officeart/2005/8/layout/orgChart1"/>
    <dgm:cxn modelId="{D8D324CC-0F5B-4FF4-955E-6B469AFFD51B}" type="presParOf" srcId="{77ABC9CA-5797-44C6-9814-4762B49E6FD9}" destId="{346CE09B-8833-41A4-969C-89D6CA8ABC0B}" srcOrd="0" destOrd="0" presId="urn:microsoft.com/office/officeart/2005/8/layout/orgChart1"/>
    <dgm:cxn modelId="{48E965B3-1718-43DE-8E02-C86C39F05426}" type="presParOf" srcId="{77ABC9CA-5797-44C6-9814-4762B49E6FD9}" destId="{65F3B6CF-CEB8-454E-8D58-02BEC270C8BA}" srcOrd="1" destOrd="0" presId="urn:microsoft.com/office/officeart/2005/8/layout/orgChart1"/>
    <dgm:cxn modelId="{D252B646-05AC-48C9-89C4-0C3109E8B043}" type="presParOf" srcId="{21C97ADE-8A17-48CD-9E48-FD437A5616E7}" destId="{EAB50D26-7725-43E0-8D62-FBD6D32EFEBA}" srcOrd="1" destOrd="0" presId="urn:microsoft.com/office/officeart/2005/8/layout/orgChart1"/>
    <dgm:cxn modelId="{23D332EC-C02F-4230-8519-D48FF1BB43D2}" type="presParOf" srcId="{21C97ADE-8A17-48CD-9E48-FD437A5616E7}" destId="{0EA16432-A432-4C8A-8022-8C596605EC67}" srcOrd="2" destOrd="0" presId="urn:microsoft.com/office/officeart/2005/8/layout/orgChart1"/>
    <dgm:cxn modelId="{4E05980D-7046-45B0-8578-688BD913D3C2}" type="presParOf" srcId="{630281C4-B9F3-4369-B0BC-9286E216483E}" destId="{EA44CFAA-0689-4BD7-85A0-E66CD1E7B332}" srcOrd="4" destOrd="0" presId="urn:microsoft.com/office/officeart/2005/8/layout/orgChart1"/>
    <dgm:cxn modelId="{AC4D8E6E-AD79-4FD2-8040-2C5129B0EB08}" type="presParOf" srcId="{630281C4-B9F3-4369-B0BC-9286E216483E}" destId="{A8339557-2E99-4D3B-8F11-8A098E7F15C6}" srcOrd="5" destOrd="0" presId="urn:microsoft.com/office/officeart/2005/8/layout/orgChart1"/>
    <dgm:cxn modelId="{38693CF2-ADB1-4CF6-A685-ECA2BDD21145}" type="presParOf" srcId="{A8339557-2E99-4D3B-8F11-8A098E7F15C6}" destId="{EFD5F51A-FD72-4E2C-8AB1-2B6BB32547FD}" srcOrd="0" destOrd="0" presId="urn:microsoft.com/office/officeart/2005/8/layout/orgChart1"/>
    <dgm:cxn modelId="{E646053E-01C1-4421-827E-16A56F571F99}" type="presParOf" srcId="{EFD5F51A-FD72-4E2C-8AB1-2B6BB32547FD}" destId="{C76DFDAB-E0F0-4DA8-A67E-E1A799B2CAAE}" srcOrd="0" destOrd="0" presId="urn:microsoft.com/office/officeart/2005/8/layout/orgChart1"/>
    <dgm:cxn modelId="{344E4D10-AE8C-406B-BA27-CEEA76C1C894}" type="presParOf" srcId="{EFD5F51A-FD72-4E2C-8AB1-2B6BB32547FD}" destId="{9EAAD39B-CDF6-41CA-A2E5-4CFF570CDF61}" srcOrd="1" destOrd="0" presId="urn:microsoft.com/office/officeart/2005/8/layout/orgChart1"/>
    <dgm:cxn modelId="{3E636C71-BA41-44DC-BF9C-7E4CB0A4A968}" type="presParOf" srcId="{A8339557-2E99-4D3B-8F11-8A098E7F15C6}" destId="{85F5A976-83D9-48E8-B9CA-D4A7DCBD3E7C}" srcOrd="1" destOrd="0" presId="urn:microsoft.com/office/officeart/2005/8/layout/orgChart1"/>
    <dgm:cxn modelId="{71E49349-C2CD-4E14-8EEC-AAA27A0B9DDA}" type="presParOf" srcId="{A8339557-2E99-4D3B-8F11-8A098E7F15C6}" destId="{E77F956E-631B-4468-A2DB-5FFC64D9F755}" srcOrd="2" destOrd="0" presId="urn:microsoft.com/office/officeart/2005/8/layout/orgChart1"/>
    <dgm:cxn modelId="{384B5639-0281-4AC9-B41E-97E320AF4D6E}" type="presParOf" srcId="{630281C4-B9F3-4369-B0BC-9286E216483E}" destId="{6ADB6D51-E248-4716-AD9A-A615D98F1423}" srcOrd="6" destOrd="0" presId="urn:microsoft.com/office/officeart/2005/8/layout/orgChart1"/>
    <dgm:cxn modelId="{34EE86FF-8B3B-46CA-9539-8C1816475BDF}" type="presParOf" srcId="{630281C4-B9F3-4369-B0BC-9286E216483E}" destId="{138B0CB6-C371-49EE-AD09-B7526C659DBF}" srcOrd="7" destOrd="0" presId="urn:microsoft.com/office/officeart/2005/8/layout/orgChart1"/>
    <dgm:cxn modelId="{EBB66B7A-DC47-4B07-A9E8-DE10CF8EB672}" type="presParOf" srcId="{138B0CB6-C371-49EE-AD09-B7526C659DBF}" destId="{042740EC-476C-46C4-9BAE-66C4A96C137F}" srcOrd="0" destOrd="0" presId="urn:microsoft.com/office/officeart/2005/8/layout/orgChart1"/>
    <dgm:cxn modelId="{D4CD0DF9-C0E9-4441-9BD0-579E9FE14AEF}" type="presParOf" srcId="{042740EC-476C-46C4-9BAE-66C4A96C137F}" destId="{E0AEF09F-250B-437D-B3D6-6C490E7932A4}" srcOrd="0" destOrd="0" presId="urn:microsoft.com/office/officeart/2005/8/layout/orgChart1"/>
    <dgm:cxn modelId="{F3D3CF70-6B9B-4AC7-AE71-F32F0D1C0D61}" type="presParOf" srcId="{042740EC-476C-46C4-9BAE-66C4A96C137F}" destId="{B061603B-E7F1-4A22-80CB-1EAC7A8AA735}" srcOrd="1" destOrd="0" presId="urn:microsoft.com/office/officeart/2005/8/layout/orgChart1"/>
    <dgm:cxn modelId="{B099EE1A-0941-44D7-9624-78AFD031506C}" type="presParOf" srcId="{138B0CB6-C371-49EE-AD09-B7526C659DBF}" destId="{C293F7C0-70FD-4AE4-BB02-A4A839843D06}" srcOrd="1" destOrd="0" presId="urn:microsoft.com/office/officeart/2005/8/layout/orgChart1"/>
    <dgm:cxn modelId="{58DEE4A6-94CF-4F4D-B1A0-6641C7925A46}" type="presParOf" srcId="{C293F7C0-70FD-4AE4-BB02-A4A839843D06}" destId="{5324D903-0982-4BCF-8BCA-166C2EE9B55D}" srcOrd="0" destOrd="0" presId="urn:microsoft.com/office/officeart/2005/8/layout/orgChart1"/>
    <dgm:cxn modelId="{9C8E8E69-EE00-4D58-A6A2-C1716C35B93E}" type="presParOf" srcId="{C293F7C0-70FD-4AE4-BB02-A4A839843D06}" destId="{D8BA1239-1474-481F-B577-97F05D248540}" srcOrd="1" destOrd="0" presId="urn:microsoft.com/office/officeart/2005/8/layout/orgChart1"/>
    <dgm:cxn modelId="{FD55F6D8-3CEF-4FB4-A04A-4C7E5F3F202B}" type="presParOf" srcId="{D8BA1239-1474-481F-B577-97F05D248540}" destId="{431670F1-BD1D-4D71-AE41-E021D4C6BE9C}" srcOrd="0" destOrd="0" presId="urn:microsoft.com/office/officeart/2005/8/layout/orgChart1"/>
    <dgm:cxn modelId="{CFF2506C-5205-4696-8D28-70D9AFADA18A}" type="presParOf" srcId="{431670F1-BD1D-4D71-AE41-E021D4C6BE9C}" destId="{1784DEA6-7213-4B59-9CED-2322FEB4E6AF}" srcOrd="0" destOrd="0" presId="urn:microsoft.com/office/officeart/2005/8/layout/orgChart1"/>
    <dgm:cxn modelId="{576D8D58-A5A2-4E89-BD27-DA59F5FA57B8}" type="presParOf" srcId="{431670F1-BD1D-4D71-AE41-E021D4C6BE9C}" destId="{A37146BD-5FA0-45C1-A7F3-48F056A47328}" srcOrd="1" destOrd="0" presId="urn:microsoft.com/office/officeart/2005/8/layout/orgChart1"/>
    <dgm:cxn modelId="{A986D6B2-3AF9-4FDB-ADD3-619C24A91001}" type="presParOf" srcId="{D8BA1239-1474-481F-B577-97F05D248540}" destId="{AC9D8ED3-068F-4DB3-B357-A8A73668C02B}" srcOrd="1" destOrd="0" presId="urn:microsoft.com/office/officeart/2005/8/layout/orgChart1"/>
    <dgm:cxn modelId="{B2459048-99E9-42FD-A101-3155EBC74310}" type="presParOf" srcId="{D8BA1239-1474-481F-B577-97F05D248540}" destId="{DD179772-AE91-4E99-826C-CD2F4BBAB2EE}" srcOrd="2" destOrd="0" presId="urn:microsoft.com/office/officeart/2005/8/layout/orgChart1"/>
    <dgm:cxn modelId="{AE877401-7322-44A9-8BC5-E9506FDF6A50}" type="presParOf" srcId="{C293F7C0-70FD-4AE4-BB02-A4A839843D06}" destId="{DB2E72F9-0DF4-4F43-B07B-0F7169064CF3}" srcOrd="2" destOrd="0" presId="urn:microsoft.com/office/officeart/2005/8/layout/orgChart1"/>
    <dgm:cxn modelId="{774A8E58-757B-4AF5-A6EC-C47A630507FA}" type="presParOf" srcId="{C293F7C0-70FD-4AE4-BB02-A4A839843D06}" destId="{73270B71-4052-467F-B7FF-4A4A0DF468FB}" srcOrd="3" destOrd="0" presId="urn:microsoft.com/office/officeart/2005/8/layout/orgChart1"/>
    <dgm:cxn modelId="{586ECE40-D1FF-480F-879A-413BB380A47B}" type="presParOf" srcId="{73270B71-4052-467F-B7FF-4A4A0DF468FB}" destId="{E7937A6B-6161-4485-9765-A2E1FA267B25}" srcOrd="0" destOrd="0" presId="urn:microsoft.com/office/officeart/2005/8/layout/orgChart1"/>
    <dgm:cxn modelId="{1D51F740-A641-45F1-8545-9B1DE277914B}" type="presParOf" srcId="{E7937A6B-6161-4485-9765-A2E1FA267B25}" destId="{12935EF6-393F-451D-9D80-9DC2AE2F3B73}" srcOrd="0" destOrd="0" presId="urn:microsoft.com/office/officeart/2005/8/layout/orgChart1"/>
    <dgm:cxn modelId="{A53F1B2A-5504-4FF9-B4E0-900EE2A5B049}" type="presParOf" srcId="{E7937A6B-6161-4485-9765-A2E1FA267B25}" destId="{139D3DA6-3CC6-401D-AA59-D68233E44A89}" srcOrd="1" destOrd="0" presId="urn:microsoft.com/office/officeart/2005/8/layout/orgChart1"/>
    <dgm:cxn modelId="{BA404512-87F3-443C-9EB6-D89D1401CAA1}" type="presParOf" srcId="{73270B71-4052-467F-B7FF-4A4A0DF468FB}" destId="{9C4293CE-1997-435E-905D-53041DA9271E}" srcOrd="1" destOrd="0" presId="urn:microsoft.com/office/officeart/2005/8/layout/orgChart1"/>
    <dgm:cxn modelId="{9D0CCE16-F2A8-496E-8E4D-950655114664}" type="presParOf" srcId="{73270B71-4052-467F-B7FF-4A4A0DF468FB}" destId="{9FC44266-04A7-4207-BF4B-C320FB6474B0}" srcOrd="2" destOrd="0" presId="urn:microsoft.com/office/officeart/2005/8/layout/orgChart1"/>
    <dgm:cxn modelId="{492EB5ED-DFC2-4F18-8B08-D42E3C6CB8BA}" type="presParOf" srcId="{C293F7C0-70FD-4AE4-BB02-A4A839843D06}" destId="{908CFE62-95E6-4B5D-80D2-99C864ED8F23}" srcOrd="4" destOrd="0" presId="urn:microsoft.com/office/officeart/2005/8/layout/orgChart1"/>
    <dgm:cxn modelId="{7DB6A362-9400-4FD0-BD09-BC0D0D305F8F}" type="presParOf" srcId="{C293F7C0-70FD-4AE4-BB02-A4A839843D06}" destId="{5635013F-BD0C-4AB8-97A1-D99C4D1A7BF5}" srcOrd="5" destOrd="0" presId="urn:microsoft.com/office/officeart/2005/8/layout/orgChart1"/>
    <dgm:cxn modelId="{8BB7B18A-C044-413E-98A0-0B0FF549D0C0}" type="presParOf" srcId="{5635013F-BD0C-4AB8-97A1-D99C4D1A7BF5}" destId="{A911B7AC-40B0-4E0E-AF3B-5EF4B279A2E5}" srcOrd="0" destOrd="0" presId="urn:microsoft.com/office/officeart/2005/8/layout/orgChart1"/>
    <dgm:cxn modelId="{523BB808-0346-40DF-987D-1BA6324CCDC3}" type="presParOf" srcId="{A911B7AC-40B0-4E0E-AF3B-5EF4B279A2E5}" destId="{FCD7A6A3-C810-433C-BBC9-E7EE0FCD4A91}" srcOrd="0" destOrd="0" presId="urn:microsoft.com/office/officeart/2005/8/layout/orgChart1"/>
    <dgm:cxn modelId="{66251F0F-7522-4A52-9AC2-D1C0860552D2}" type="presParOf" srcId="{A911B7AC-40B0-4E0E-AF3B-5EF4B279A2E5}" destId="{2D474568-2684-42C5-877A-9E8E5C825F90}" srcOrd="1" destOrd="0" presId="urn:microsoft.com/office/officeart/2005/8/layout/orgChart1"/>
    <dgm:cxn modelId="{B80A9470-6E95-48FD-91E3-54777820AAC0}" type="presParOf" srcId="{5635013F-BD0C-4AB8-97A1-D99C4D1A7BF5}" destId="{13EE6ED1-37B6-416E-8059-3EF5672CE81A}" srcOrd="1" destOrd="0" presId="urn:microsoft.com/office/officeart/2005/8/layout/orgChart1"/>
    <dgm:cxn modelId="{AB842972-0E77-4B99-A5E4-8D418E168C02}" type="presParOf" srcId="{5635013F-BD0C-4AB8-97A1-D99C4D1A7BF5}" destId="{D140A2BD-56A3-4F38-9958-D297FEF96245}" srcOrd="2" destOrd="0" presId="urn:microsoft.com/office/officeart/2005/8/layout/orgChart1"/>
    <dgm:cxn modelId="{EAA56A21-DA40-493B-820C-BD67C3116BCC}" type="presParOf" srcId="{138B0CB6-C371-49EE-AD09-B7526C659DBF}" destId="{9AAB40A7-354E-4319-AC61-B7EA0C471251}" srcOrd="2" destOrd="0" presId="urn:microsoft.com/office/officeart/2005/8/layout/orgChart1"/>
    <dgm:cxn modelId="{D0D416E7-D3D7-485C-B250-9A99463E0AA9}" type="presParOf" srcId="{3CBD8A31-FDA8-4DF4-8F01-B04738AFDA7F}" destId="{51C674D4-44FC-499E-9F96-F05BFEB42142}" srcOrd="2" destOrd="0" presId="urn:microsoft.com/office/officeart/2005/8/layout/orgChart1"/>
    <dgm:cxn modelId="{2A935EF8-5C25-41B3-9C52-2B3A0698DE51}" type="presParOf" srcId="{8DDDA074-28DD-4AB6-95ED-4975F01FF48F}" destId="{25089B1C-99C1-4F6E-A44B-73C45FE92084}"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5349F89F-0946-41AE-9F5E-8E04E0769FCA}" type="doc">
      <dgm:prSet loTypeId="urn:microsoft.com/office/officeart/2005/8/layout/radial3" loCatId="cycle" qsTypeId="urn:microsoft.com/office/officeart/2005/8/quickstyle/simple1" qsCatId="simple" csTypeId="urn:microsoft.com/office/officeart/2005/8/colors/accent2_1" csCatId="accent2" phldr="1"/>
      <dgm:spPr/>
      <dgm:t>
        <a:bodyPr/>
        <a:lstStyle/>
        <a:p>
          <a:endParaRPr lang="en-US"/>
        </a:p>
      </dgm:t>
    </dgm:pt>
    <dgm:pt modelId="{5374A1D9-8377-46D8-A87C-5F112011959E}">
      <dgm:prSet phldrT="[Text]" custT="1"/>
      <dgm:spPr/>
      <dgm:t>
        <a:bodyPr/>
        <a:lstStyle/>
        <a:p>
          <a:endParaRPr lang="en-US" sz="6000" dirty="0">
            <a:latin typeface="Century Gothic" panose="020B0502020202020204" pitchFamily="34" charset="0"/>
            <a:cs typeface="Calibri" panose="020F0502020204030204" pitchFamily="34" charset="0"/>
          </a:endParaRPr>
        </a:p>
      </dgm:t>
    </dgm:pt>
    <dgm:pt modelId="{923237E5-988A-4DAF-AE31-C43FD85E8F43}" type="parTrans" cxnId="{D5A54998-E7CC-4F74-AC37-3BBCBD043499}">
      <dgm:prSet/>
      <dgm:spPr/>
      <dgm:t>
        <a:bodyPr/>
        <a:lstStyle/>
        <a:p>
          <a:endParaRPr lang="en-US" sz="1600">
            <a:latin typeface="Century Gothic" panose="020B0502020202020204" pitchFamily="34" charset="0"/>
            <a:cs typeface="Calibri" panose="020F0502020204030204" pitchFamily="34" charset="0"/>
          </a:endParaRPr>
        </a:p>
      </dgm:t>
    </dgm:pt>
    <dgm:pt modelId="{425A47CE-7711-4595-9439-ED64310FBDC7}" type="sibTrans" cxnId="{D5A54998-E7CC-4F74-AC37-3BBCBD043499}">
      <dgm:prSet/>
      <dgm:spPr/>
      <dgm:t>
        <a:bodyPr/>
        <a:lstStyle/>
        <a:p>
          <a:endParaRPr lang="en-US" sz="1600">
            <a:latin typeface="Century Gothic" panose="020B0502020202020204" pitchFamily="34" charset="0"/>
            <a:cs typeface="Calibri" panose="020F0502020204030204" pitchFamily="34" charset="0"/>
          </a:endParaRPr>
        </a:p>
      </dgm:t>
    </dgm:pt>
    <dgm:pt modelId="{A7F95BAE-937C-4E5F-A978-416F2244CD9A}">
      <dgm:prSet phldrT="[Text]" custT="1"/>
      <dgm:spPr/>
      <dgm:t>
        <a:bodyPr/>
        <a:lstStyle/>
        <a:p>
          <a:r>
            <a:rPr kumimoji="0" lang="en-US" sz="1200" b="1" i="0" u="none" strike="noStrike"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Ergonomic designed shifter position</a:t>
          </a:r>
          <a:endParaRPr lang="en-US" sz="1200" dirty="0">
            <a:latin typeface="Century Gothic" panose="020B0502020202020204" pitchFamily="34" charset="0"/>
            <a:cs typeface="Calibri" panose="020F0502020204030204" pitchFamily="34" charset="0"/>
          </a:endParaRPr>
        </a:p>
      </dgm:t>
    </dgm:pt>
    <dgm:pt modelId="{4585EE28-046E-42C8-ABF7-25C50250D0AE}" type="parTrans" cxnId="{E7A2904F-EA1E-4A59-816F-045BF20DDD6B}">
      <dgm:prSet/>
      <dgm:spPr/>
      <dgm:t>
        <a:bodyPr/>
        <a:lstStyle/>
        <a:p>
          <a:endParaRPr lang="en-US" sz="1600">
            <a:latin typeface="Century Gothic" panose="020B0502020202020204" pitchFamily="34" charset="0"/>
            <a:cs typeface="Calibri" panose="020F0502020204030204" pitchFamily="34" charset="0"/>
          </a:endParaRPr>
        </a:p>
      </dgm:t>
    </dgm:pt>
    <dgm:pt modelId="{DA712A42-CCE5-4763-8EBB-9B3A89106FC5}" type="sibTrans" cxnId="{E7A2904F-EA1E-4A59-816F-045BF20DDD6B}">
      <dgm:prSet/>
      <dgm:spPr/>
      <dgm:t>
        <a:bodyPr/>
        <a:lstStyle/>
        <a:p>
          <a:endParaRPr lang="en-US" sz="1600">
            <a:latin typeface="Century Gothic" panose="020B0502020202020204" pitchFamily="34" charset="0"/>
            <a:cs typeface="Calibri" panose="020F0502020204030204" pitchFamily="34" charset="0"/>
          </a:endParaRPr>
        </a:p>
      </dgm:t>
    </dgm:pt>
    <dgm:pt modelId="{B0EEF652-9E6B-4FFF-B5FF-468A8DE1E1C8}">
      <dgm:prSet phldrT="[Text]" custT="1"/>
      <dgm:spPr/>
      <dgm:t>
        <a:bodyPr/>
        <a:lstStyle/>
        <a:p>
          <a:r>
            <a:rPr kumimoji="0" lang="en-US" sz="1100" b="1" i="0" u="none" strike="noStrike"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   </a:t>
          </a:r>
          <a:r>
            <a:rPr kumimoji="0" lang="en-US" sz="1200" b="1" i="0" u="none" strike="noStrike"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Current gear display on the instrumental cluster </a:t>
          </a:r>
          <a:endParaRPr lang="en-US" sz="1200" dirty="0">
            <a:latin typeface="Century Gothic" panose="020B0502020202020204" pitchFamily="34" charset="0"/>
            <a:cs typeface="Calibri" panose="020F0502020204030204" pitchFamily="34" charset="0"/>
          </a:endParaRPr>
        </a:p>
      </dgm:t>
    </dgm:pt>
    <dgm:pt modelId="{A9276FEF-0F22-4406-AC88-EE7988DCCED0}" type="parTrans" cxnId="{6F1CA162-44BE-4830-A57E-7AFC4DF913C2}">
      <dgm:prSet/>
      <dgm:spPr/>
      <dgm:t>
        <a:bodyPr/>
        <a:lstStyle/>
        <a:p>
          <a:endParaRPr lang="en-US" sz="1600">
            <a:latin typeface="Century Gothic" panose="020B0502020202020204" pitchFamily="34" charset="0"/>
            <a:cs typeface="Calibri" panose="020F0502020204030204" pitchFamily="34" charset="0"/>
          </a:endParaRPr>
        </a:p>
      </dgm:t>
    </dgm:pt>
    <dgm:pt modelId="{9A0D0ABB-C4B6-42D0-BD4C-2FDA9E67017C}" type="sibTrans" cxnId="{6F1CA162-44BE-4830-A57E-7AFC4DF913C2}">
      <dgm:prSet/>
      <dgm:spPr/>
      <dgm:t>
        <a:bodyPr/>
        <a:lstStyle/>
        <a:p>
          <a:endParaRPr lang="en-US" sz="1600">
            <a:latin typeface="Century Gothic" panose="020B0502020202020204" pitchFamily="34" charset="0"/>
            <a:cs typeface="Calibri" panose="020F0502020204030204" pitchFamily="34" charset="0"/>
          </a:endParaRPr>
        </a:p>
      </dgm:t>
    </dgm:pt>
    <dgm:pt modelId="{80C49DF0-C348-49AC-9B52-1152E523CD3A}">
      <dgm:prSet phldrT="[Text]" custT="1"/>
      <dgm:spPr/>
      <dgm:t>
        <a:bodyPr/>
        <a:lstStyle/>
        <a:p>
          <a:r>
            <a:rPr kumimoji="0" lang="en-US" sz="1100" b="1" i="0" u="none" strike="noStrike"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 </a:t>
          </a:r>
          <a:r>
            <a:rPr kumimoji="0" lang="en-US" sz="1200" b="1" i="0" u="none" strike="noStrike"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Compact gear shifter </a:t>
          </a:r>
          <a:endParaRPr lang="en-US" sz="1200" dirty="0">
            <a:latin typeface="Century Gothic" panose="020B0502020202020204" pitchFamily="34" charset="0"/>
            <a:cs typeface="Calibri" panose="020F0502020204030204" pitchFamily="34" charset="0"/>
          </a:endParaRPr>
        </a:p>
      </dgm:t>
    </dgm:pt>
    <dgm:pt modelId="{AAF6A835-F5EB-4FBA-B7F5-1DC7E6068A78}" type="parTrans" cxnId="{A675CCDD-1918-4B42-B1A4-41727551EA04}">
      <dgm:prSet/>
      <dgm:spPr/>
      <dgm:t>
        <a:bodyPr/>
        <a:lstStyle/>
        <a:p>
          <a:endParaRPr lang="en-US" sz="1600">
            <a:latin typeface="Century Gothic" panose="020B0502020202020204" pitchFamily="34" charset="0"/>
            <a:cs typeface="Calibri" panose="020F0502020204030204" pitchFamily="34" charset="0"/>
          </a:endParaRPr>
        </a:p>
      </dgm:t>
    </dgm:pt>
    <dgm:pt modelId="{BA924446-2FD3-4C25-8855-A669CF000DF1}" type="sibTrans" cxnId="{A675CCDD-1918-4B42-B1A4-41727551EA04}">
      <dgm:prSet/>
      <dgm:spPr/>
      <dgm:t>
        <a:bodyPr/>
        <a:lstStyle/>
        <a:p>
          <a:endParaRPr lang="en-US" sz="1600">
            <a:latin typeface="Century Gothic" panose="020B0502020202020204" pitchFamily="34" charset="0"/>
            <a:cs typeface="Calibri" panose="020F0502020204030204" pitchFamily="34" charset="0"/>
          </a:endParaRPr>
        </a:p>
      </dgm:t>
    </dgm:pt>
    <dgm:pt modelId="{2451F73C-9106-4191-A344-DDE69458A446}">
      <dgm:prSet phldrT="[Text]" custT="1"/>
      <dgm:spPr/>
      <dgm:t>
        <a:bodyPr/>
        <a:lstStyle/>
        <a:p>
          <a:r>
            <a:rPr kumimoji="0" lang="en-US" sz="1200" b="1" i="0" u="none" strike="noStrike"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Hill start aid </a:t>
          </a:r>
          <a:endParaRPr lang="en-US" sz="1200" dirty="0">
            <a:latin typeface="Century Gothic" panose="020B0502020202020204" pitchFamily="34" charset="0"/>
            <a:cs typeface="Calibri" panose="020F0502020204030204" pitchFamily="34" charset="0"/>
          </a:endParaRPr>
        </a:p>
      </dgm:t>
    </dgm:pt>
    <dgm:pt modelId="{8F4BD915-4F54-492E-A19A-1F92C5BFCCE9}" type="parTrans" cxnId="{504A6557-7C90-4F0E-A75B-CE0B498009E7}">
      <dgm:prSet/>
      <dgm:spPr/>
      <dgm:t>
        <a:bodyPr/>
        <a:lstStyle/>
        <a:p>
          <a:endParaRPr lang="en-US" sz="1600">
            <a:latin typeface="Century Gothic" panose="020B0502020202020204" pitchFamily="34" charset="0"/>
            <a:cs typeface="Calibri" panose="020F0502020204030204" pitchFamily="34" charset="0"/>
          </a:endParaRPr>
        </a:p>
      </dgm:t>
    </dgm:pt>
    <dgm:pt modelId="{8FA246B8-D14E-430E-8F01-6C6DBF2AFBB4}" type="sibTrans" cxnId="{504A6557-7C90-4F0E-A75B-CE0B498009E7}">
      <dgm:prSet/>
      <dgm:spPr/>
      <dgm:t>
        <a:bodyPr/>
        <a:lstStyle/>
        <a:p>
          <a:endParaRPr lang="en-US" sz="1600">
            <a:latin typeface="Century Gothic" panose="020B0502020202020204" pitchFamily="34" charset="0"/>
            <a:cs typeface="Calibri" panose="020F0502020204030204" pitchFamily="34" charset="0"/>
          </a:endParaRPr>
        </a:p>
      </dgm:t>
    </dgm:pt>
    <dgm:pt modelId="{0C109CCE-C5A8-48CE-AA5F-FC65F4E7B037}">
      <dgm:prSet phldrT="[Text]" custT="1"/>
      <dgm:spPr/>
      <dgm:t>
        <a:bodyPr/>
        <a:lstStyle/>
        <a:p>
          <a:r>
            <a:rPr kumimoji="0" lang="en-US" sz="1200" b="1" i="0" u="none" strike="noStrike"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Automatic gear shifting</a:t>
          </a:r>
          <a:endParaRPr lang="en-US" sz="1200" dirty="0">
            <a:latin typeface="Century Gothic" panose="020B0502020202020204" pitchFamily="34" charset="0"/>
            <a:cs typeface="Calibri" panose="020F0502020204030204" pitchFamily="34" charset="0"/>
          </a:endParaRPr>
        </a:p>
      </dgm:t>
    </dgm:pt>
    <dgm:pt modelId="{6E0BD7A2-ED91-427A-8FB1-135CEFA2C5F1}" type="parTrans" cxnId="{427F8CEA-9DA0-44DB-8B18-1C5B5CC572D3}">
      <dgm:prSet/>
      <dgm:spPr/>
      <dgm:t>
        <a:bodyPr/>
        <a:lstStyle/>
        <a:p>
          <a:endParaRPr lang="en-US" sz="1600">
            <a:latin typeface="Century Gothic" panose="020B0502020202020204" pitchFamily="34" charset="0"/>
            <a:cs typeface="Calibri" panose="020F0502020204030204" pitchFamily="34" charset="0"/>
          </a:endParaRPr>
        </a:p>
      </dgm:t>
    </dgm:pt>
    <dgm:pt modelId="{C998F4F0-9C75-4060-BA03-058010CAD12A}" type="sibTrans" cxnId="{427F8CEA-9DA0-44DB-8B18-1C5B5CC572D3}">
      <dgm:prSet/>
      <dgm:spPr/>
      <dgm:t>
        <a:bodyPr/>
        <a:lstStyle/>
        <a:p>
          <a:endParaRPr lang="en-US" sz="1600">
            <a:latin typeface="Century Gothic" panose="020B0502020202020204" pitchFamily="34" charset="0"/>
            <a:cs typeface="Calibri" panose="020F0502020204030204" pitchFamily="34" charset="0"/>
          </a:endParaRPr>
        </a:p>
      </dgm:t>
    </dgm:pt>
    <dgm:pt modelId="{8FF899FC-ED9B-44F3-97DC-887410CFB46C}">
      <dgm:prSet phldrT="[Text]" custT="1"/>
      <dgm:spPr/>
      <dgm:t>
        <a:bodyPr/>
        <a:lstStyle/>
        <a:p>
          <a:r>
            <a:rPr kumimoji="0" lang="en-US" sz="1200" b="1" i="0" u="none" strike="noStrike"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Manual</a:t>
          </a:r>
        </a:p>
        <a:p>
          <a:r>
            <a:rPr kumimoji="0" lang="en-US" sz="1200" b="1" i="0" u="none" strike="noStrike"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Intervention possible  </a:t>
          </a:r>
          <a:endParaRPr lang="en-US" sz="1200" dirty="0">
            <a:latin typeface="Century Gothic" panose="020B0502020202020204" pitchFamily="34" charset="0"/>
            <a:cs typeface="Calibri" panose="020F0502020204030204" pitchFamily="34" charset="0"/>
          </a:endParaRPr>
        </a:p>
      </dgm:t>
    </dgm:pt>
    <dgm:pt modelId="{E43A1403-F9A9-49C6-BE87-A63F2D37D213}" type="parTrans" cxnId="{DACC4D64-A613-471D-81F0-02CB060AFC0B}">
      <dgm:prSet/>
      <dgm:spPr/>
      <dgm:t>
        <a:bodyPr/>
        <a:lstStyle/>
        <a:p>
          <a:endParaRPr lang="en-US" sz="1600">
            <a:latin typeface="Century Gothic" panose="020B0502020202020204" pitchFamily="34" charset="0"/>
            <a:cs typeface="Calibri" panose="020F0502020204030204" pitchFamily="34" charset="0"/>
          </a:endParaRPr>
        </a:p>
      </dgm:t>
    </dgm:pt>
    <dgm:pt modelId="{A86EB341-F609-4934-961A-CBFBB71941AE}" type="sibTrans" cxnId="{DACC4D64-A613-471D-81F0-02CB060AFC0B}">
      <dgm:prSet/>
      <dgm:spPr/>
      <dgm:t>
        <a:bodyPr/>
        <a:lstStyle/>
        <a:p>
          <a:endParaRPr lang="en-US" sz="1600">
            <a:latin typeface="Century Gothic" panose="020B0502020202020204" pitchFamily="34" charset="0"/>
            <a:cs typeface="Calibri" panose="020F0502020204030204" pitchFamily="34" charset="0"/>
          </a:endParaRPr>
        </a:p>
      </dgm:t>
    </dgm:pt>
    <dgm:pt modelId="{7CDA9A42-43B2-4E8A-8040-152096EF02B0}">
      <dgm:prSet phldrT="[Text]" custT="1"/>
      <dgm:spPr/>
      <dgm:t>
        <a:bodyPr/>
        <a:lstStyle/>
        <a:p>
          <a:endParaRPr kumimoji="0" lang="en-US" sz="1100" b="1" i="0" u="none" strike="noStrike"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endParaRPr>
        </a:p>
        <a:p>
          <a:r>
            <a:rPr kumimoji="0" lang="en-US" sz="1200" b="1" i="0" u="none" strike="noStrike"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Skip shifting based on load &amp; grade </a:t>
          </a:r>
          <a:endParaRPr lang="en-US" sz="1200" dirty="0">
            <a:latin typeface="Century Gothic" panose="020B0502020202020204" pitchFamily="34" charset="0"/>
            <a:cs typeface="Calibri" panose="020F0502020204030204" pitchFamily="34" charset="0"/>
          </a:endParaRPr>
        </a:p>
      </dgm:t>
    </dgm:pt>
    <dgm:pt modelId="{4B5E706E-DA38-43C5-9F2C-BB623A7D5459}" type="parTrans" cxnId="{EE0ABF06-0607-427F-9D64-AEE0687196CA}">
      <dgm:prSet/>
      <dgm:spPr/>
      <dgm:t>
        <a:bodyPr/>
        <a:lstStyle/>
        <a:p>
          <a:endParaRPr lang="en-US" sz="1600">
            <a:latin typeface="Century Gothic" panose="020B0502020202020204" pitchFamily="34" charset="0"/>
            <a:cs typeface="Calibri" panose="020F0502020204030204" pitchFamily="34" charset="0"/>
          </a:endParaRPr>
        </a:p>
      </dgm:t>
    </dgm:pt>
    <dgm:pt modelId="{24DB0229-2C7B-4A7F-93D2-DA5554C7D91A}" type="sibTrans" cxnId="{EE0ABF06-0607-427F-9D64-AEE0687196CA}">
      <dgm:prSet/>
      <dgm:spPr/>
      <dgm:t>
        <a:bodyPr/>
        <a:lstStyle/>
        <a:p>
          <a:endParaRPr lang="en-US" sz="1600">
            <a:latin typeface="Century Gothic" panose="020B0502020202020204" pitchFamily="34" charset="0"/>
            <a:cs typeface="Calibri" panose="020F0502020204030204" pitchFamily="34" charset="0"/>
          </a:endParaRPr>
        </a:p>
      </dgm:t>
    </dgm:pt>
    <dgm:pt modelId="{0232640A-DB09-4340-9FC7-84B557288B55}">
      <dgm:prSet phldrT="[Text]" custT="1"/>
      <dgm:spPr/>
      <dgm:t>
        <a:bodyPr/>
        <a:lstStyle/>
        <a:p>
          <a:r>
            <a:rPr kumimoji="0" lang="en-US" sz="1200" b="1" i="0" u="none" strike="noStrike"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  Engine overrun protection</a:t>
          </a:r>
          <a:endParaRPr lang="en-US" sz="1200" dirty="0">
            <a:latin typeface="Century Gothic" panose="020B0502020202020204" pitchFamily="34" charset="0"/>
            <a:cs typeface="Calibri" panose="020F0502020204030204" pitchFamily="34" charset="0"/>
          </a:endParaRPr>
        </a:p>
      </dgm:t>
    </dgm:pt>
    <dgm:pt modelId="{C9F690FA-1349-4EA1-8F7A-A61AC325C261}" type="parTrans" cxnId="{6660E948-DDE6-44AD-91B5-9E9CC74261E4}">
      <dgm:prSet/>
      <dgm:spPr/>
      <dgm:t>
        <a:bodyPr/>
        <a:lstStyle/>
        <a:p>
          <a:endParaRPr lang="en-US" sz="1600">
            <a:latin typeface="Century Gothic" panose="020B0502020202020204" pitchFamily="34" charset="0"/>
            <a:cs typeface="Calibri" panose="020F0502020204030204" pitchFamily="34" charset="0"/>
          </a:endParaRPr>
        </a:p>
      </dgm:t>
    </dgm:pt>
    <dgm:pt modelId="{208F64FF-3331-4A86-A158-609101EB05E2}" type="sibTrans" cxnId="{6660E948-DDE6-44AD-91B5-9E9CC74261E4}">
      <dgm:prSet/>
      <dgm:spPr/>
      <dgm:t>
        <a:bodyPr/>
        <a:lstStyle/>
        <a:p>
          <a:endParaRPr lang="en-US" sz="1600">
            <a:latin typeface="Century Gothic" panose="020B0502020202020204" pitchFamily="34" charset="0"/>
            <a:cs typeface="Calibri" panose="020F0502020204030204" pitchFamily="34" charset="0"/>
          </a:endParaRPr>
        </a:p>
      </dgm:t>
    </dgm:pt>
    <dgm:pt modelId="{21369E81-A23B-4C66-8A51-72EE65EE9576}">
      <dgm:prSet phldrT="[Text]" custT="1"/>
      <dgm:spPr/>
      <dgm:t>
        <a:bodyPr/>
        <a:lstStyle/>
        <a:p>
          <a:r>
            <a:rPr kumimoji="0" lang="en-US" sz="1200" b="1" i="0" u="none" strike="noStrike"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Rock free mode</a:t>
          </a:r>
          <a:r>
            <a:rPr kumimoji="0" lang="en-US" sz="1100" b="1" i="0" u="none" strike="noStrike"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 </a:t>
          </a:r>
          <a:endParaRPr lang="en-US" sz="1100" dirty="0">
            <a:latin typeface="Century Gothic" panose="020B0502020202020204" pitchFamily="34" charset="0"/>
            <a:cs typeface="Calibri" panose="020F0502020204030204" pitchFamily="34" charset="0"/>
          </a:endParaRPr>
        </a:p>
      </dgm:t>
    </dgm:pt>
    <dgm:pt modelId="{49398A47-20F6-4681-9D3D-DFF02C3AD288}" type="parTrans" cxnId="{5732AF70-9BC9-4933-825B-D8F72B4E6074}">
      <dgm:prSet/>
      <dgm:spPr/>
      <dgm:t>
        <a:bodyPr/>
        <a:lstStyle/>
        <a:p>
          <a:endParaRPr lang="en-US" sz="1600">
            <a:latin typeface="Century Gothic" panose="020B0502020202020204" pitchFamily="34" charset="0"/>
            <a:cs typeface="Calibri" panose="020F0502020204030204" pitchFamily="34" charset="0"/>
          </a:endParaRPr>
        </a:p>
      </dgm:t>
    </dgm:pt>
    <dgm:pt modelId="{CC6042B4-0335-4E8E-A5C9-56E7D03873CA}" type="sibTrans" cxnId="{5732AF70-9BC9-4933-825B-D8F72B4E6074}">
      <dgm:prSet/>
      <dgm:spPr/>
      <dgm:t>
        <a:bodyPr/>
        <a:lstStyle/>
        <a:p>
          <a:endParaRPr lang="en-US" sz="1600">
            <a:latin typeface="Century Gothic" panose="020B0502020202020204" pitchFamily="34" charset="0"/>
            <a:cs typeface="Calibri" panose="020F0502020204030204" pitchFamily="34" charset="0"/>
          </a:endParaRPr>
        </a:p>
      </dgm:t>
    </dgm:pt>
    <dgm:pt modelId="{BFD9E2B3-9FCC-430D-BD7E-587F4902A7EE}">
      <dgm:prSet phldrT="[Text]" custT="1"/>
      <dgm:spPr/>
      <dgm:t>
        <a:bodyPr/>
        <a:lstStyle/>
        <a:p>
          <a:r>
            <a:rPr kumimoji="0" lang="en-US" sz="1200" b="1" i="0" u="none" strike="noStrike"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Forward and reverse maneuvering</a:t>
          </a:r>
          <a:endParaRPr lang="en-US" sz="1200" dirty="0">
            <a:latin typeface="Century Gothic" panose="020B0502020202020204" pitchFamily="34" charset="0"/>
            <a:cs typeface="Calibri" panose="020F0502020204030204" pitchFamily="34" charset="0"/>
          </a:endParaRPr>
        </a:p>
      </dgm:t>
    </dgm:pt>
    <dgm:pt modelId="{F2D4CB45-41B9-48EC-8F0A-AB2E41FCC453}" type="parTrans" cxnId="{92F22262-9B79-4F72-A150-30814FF28838}">
      <dgm:prSet/>
      <dgm:spPr/>
      <dgm:t>
        <a:bodyPr/>
        <a:lstStyle/>
        <a:p>
          <a:endParaRPr lang="en-US" sz="1600">
            <a:latin typeface="Century Gothic" panose="020B0502020202020204" pitchFamily="34" charset="0"/>
            <a:cs typeface="Calibri" panose="020F0502020204030204" pitchFamily="34" charset="0"/>
          </a:endParaRPr>
        </a:p>
      </dgm:t>
    </dgm:pt>
    <dgm:pt modelId="{47638906-858B-422F-B2E6-9A4F5BB89F21}" type="sibTrans" cxnId="{92F22262-9B79-4F72-A150-30814FF28838}">
      <dgm:prSet/>
      <dgm:spPr/>
      <dgm:t>
        <a:bodyPr/>
        <a:lstStyle/>
        <a:p>
          <a:endParaRPr lang="en-US" sz="1600">
            <a:latin typeface="Century Gothic" panose="020B0502020202020204" pitchFamily="34" charset="0"/>
            <a:cs typeface="Calibri" panose="020F0502020204030204" pitchFamily="34" charset="0"/>
          </a:endParaRPr>
        </a:p>
      </dgm:t>
    </dgm:pt>
    <dgm:pt modelId="{6F5C2FF2-E84A-4D3E-B944-9CFBD263D604}">
      <dgm:prSet phldrT="[Text]" custT="1"/>
      <dgm:spPr/>
      <dgm:t>
        <a:bodyPr/>
        <a:lstStyle/>
        <a:p>
          <a:r>
            <a:rPr kumimoji="0" lang="en-US" sz="1200" b="1" i="0" u="none" strike="noStrike"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Auto economy / Auto power mode</a:t>
          </a:r>
          <a:endParaRPr lang="en-US" sz="1200" dirty="0">
            <a:latin typeface="Century Gothic" panose="020B0502020202020204" pitchFamily="34" charset="0"/>
            <a:cs typeface="Calibri" panose="020F0502020204030204" pitchFamily="34" charset="0"/>
          </a:endParaRPr>
        </a:p>
      </dgm:t>
    </dgm:pt>
    <dgm:pt modelId="{F1A8EC40-BD3E-49B5-AED9-C0C3C324DCCC}" type="parTrans" cxnId="{505A046D-27CF-4376-82D5-203E85D77EFF}">
      <dgm:prSet/>
      <dgm:spPr/>
      <dgm:t>
        <a:bodyPr/>
        <a:lstStyle/>
        <a:p>
          <a:endParaRPr lang="en-US" sz="1600">
            <a:latin typeface="Century Gothic" panose="020B0502020202020204" pitchFamily="34" charset="0"/>
            <a:cs typeface="Calibri" panose="020F0502020204030204" pitchFamily="34" charset="0"/>
          </a:endParaRPr>
        </a:p>
      </dgm:t>
    </dgm:pt>
    <dgm:pt modelId="{46268DC4-F223-403B-933A-D921F074DEB6}" type="sibTrans" cxnId="{505A046D-27CF-4376-82D5-203E85D77EFF}">
      <dgm:prSet/>
      <dgm:spPr/>
      <dgm:t>
        <a:bodyPr/>
        <a:lstStyle/>
        <a:p>
          <a:endParaRPr lang="en-US" sz="1600">
            <a:latin typeface="Century Gothic" panose="020B0502020202020204" pitchFamily="34" charset="0"/>
            <a:cs typeface="Calibri" panose="020F0502020204030204" pitchFamily="34" charset="0"/>
          </a:endParaRPr>
        </a:p>
      </dgm:t>
    </dgm:pt>
    <dgm:pt modelId="{D9735576-2FD8-4646-8B83-D4A8DC7201E9}">
      <dgm:prSet phldrT="[Text]" custT="1"/>
      <dgm:spPr/>
      <dgm:t>
        <a:bodyPr/>
        <a:lstStyle/>
        <a:p>
          <a:r>
            <a:rPr kumimoji="0" lang="en-US" sz="1200" b="1" i="0" u="none" strike="noStrike"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Manual </a:t>
          </a:r>
        </a:p>
        <a:p>
          <a:r>
            <a:rPr kumimoji="0" lang="en-US" sz="1200" b="1" i="0" u="none" strike="noStrike"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mode</a:t>
          </a:r>
          <a:endParaRPr lang="en-US" sz="1200" dirty="0">
            <a:latin typeface="Century Gothic" panose="020B0502020202020204" pitchFamily="34" charset="0"/>
            <a:cs typeface="Calibri" panose="020F0502020204030204" pitchFamily="34" charset="0"/>
          </a:endParaRPr>
        </a:p>
      </dgm:t>
    </dgm:pt>
    <dgm:pt modelId="{AE894D5B-AE6B-4539-9B3B-7781AC57F9E0}" type="parTrans" cxnId="{B1ACF7F3-A0BB-498C-BDA8-1186F6EB8AD4}">
      <dgm:prSet/>
      <dgm:spPr/>
      <dgm:t>
        <a:bodyPr/>
        <a:lstStyle/>
        <a:p>
          <a:endParaRPr lang="en-US" sz="1600">
            <a:latin typeface="Century Gothic" panose="020B0502020202020204" pitchFamily="34" charset="0"/>
            <a:cs typeface="Calibri" panose="020F0502020204030204" pitchFamily="34" charset="0"/>
          </a:endParaRPr>
        </a:p>
      </dgm:t>
    </dgm:pt>
    <dgm:pt modelId="{CC32F2B7-42B9-4C75-B30C-84DEBCF690BF}" type="sibTrans" cxnId="{B1ACF7F3-A0BB-498C-BDA8-1186F6EB8AD4}">
      <dgm:prSet/>
      <dgm:spPr/>
      <dgm:t>
        <a:bodyPr/>
        <a:lstStyle/>
        <a:p>
          <a:endParaRPr lang="en-US" sz="1600">
            <a:latin typeface="Century Gothic" panose="020B0502020202020204" pitchFamily="34" charset="0"/>
            <a:cs typeface="Calibri" panose="020F0502020204030204" pitchFamily="34" charset="0"/>
          </a:endParaRPr>
        </a:p>
      </dgm:t>
    </dgm:pt>
    <dgm:pt modelId="{DF078D16-4591-4959-92B8-2D052DA33ED6}">
      <dgm:prSet phldrT="[Text]" custT="1"/>
      <dgm:spPr/>
      <dgm:t>
        <a:bodyPr/>
        <a:lstStyle/>
        <a:p>
          <a:r>
            <a:rPr kumimoji="0" lang="en-US" sz="1200" b="1" i="0" u="none" strike="noStrike"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Variable upshift &amp; downshift rpms </a:t>
          </a:r>
          <a:endParaRPr lang="en-US" sz="1200" dirty="0">
            <a:latin typeface="Century Gothic" panose="020B0502020202020204" pitchFamily="34" charset="0"/>
            <a:cs typeface="Calibri" panose="020F0502020204030204" pitchFamily="34" charset="0"/>
          </a:endParaRPr>
        </a:p>
      </dgm:t>
    </dgm:pt>
    <dgm:pt modelId="{30308CCA-7223-433E-AE23-6510F9381FD2}" type="parTrans" cxnId="{F731B0C4-7092-4CDA-9422-8D45429A3CE3}">
      <dgm:prSet/>
      <dgm:spPr/>
      <dgm:t>
        <a:bodyPr/>
        <a:lstStyle/>
        <a:p>
          <a:endParaRPr lang="en-US" sz="1600">
            <a:latin typeface="Century Gothic" panose="020B0502020202020204" pitchFamily="34" charset="0"/>
          </a:endParaRPr>
        </a:p>
      </dgm:t>
    </dgm:pt>
    <dgm:pt modelId="{EAEA4B51-B1A7-4050-A08D-D5160783C0C1}" type="sibTrans" cxnId="{F731B0C4-7092-4CDA-9422-8D45429A3CE3}">
      <dgm:prSet/>
      <dgm:spPr/>
      <dgm:t>
        <a:bodyPr/>
        <a:lstStyle/>
        <a:p>
          <a:endParaRPr lang="en-US" sz="1600">
            <a:latin typeface="Century Gothic" panose="020B0502020202020204" pitchFamily="34" charset="0"/>
          </a:endParaRPr>
        </a:p>
      </dgm:t>
    </dgm:pt>
    <dgm:pt modelId="{87817A32-1FA6-45BD-AB30-4A311D09BB3C}" type="pres">
      <dgm:prSet presAssocID="{5349F89F-0946-41AE-9F5E-8E04E0769FCA}" presName="composite" presStyleCnt="0">
        <dgm:presLayoutVars>
          <dgm:chMax val="1"/>
          <dgm:dir/>
          <dgm:resizeHandles val="exact"/>
        </dgm:presLayoutVars>
      </dgm:prSet>
      <dgm:spPr/>
    </dgm:pt>
    <dgm:pt modelId="{4623497D-01C8-4EB2-A37E-51FDA7273DFF}" type="pres">
      <dgm:prSet presAssocID="{5349F89F-0946-41AE-9F5E-8E04E0769FCA}" presName="radial" presStyleCnt="0">
        <dgm:presLayoutVars>
          <dgm:animLvl val="ctr"/>
        </dgm:presLayoutVars>
      </dgm:prSet>
      <dgm:spPr/>
    </dgm:pt>
    <dgm:pt modelId="{97E4D897-6E14-40BD-8206-9FA90A376C08}" type="pres">
      <dgm:prSet presAssocID="{5374A1D9-8377-46D8-A87C-5F112011959E}" presName="centerShape" presStyleLbl="vennNode1" presStyleIdx="0" presStyleCnt="14"/>
      <dgm:spPr/>
    </dgm:pt>
    <dgm:pt modelId="{A1A757E9-2DC1-4883-B258-BEBE982FD22A}" type="pres">
      <dgm:prSet presAssocID="{A7F95BAE-937C-4E5F-A978-416F2244CD9A}" presName="node" presStyleLbl="vennNode1" presStyleIdx="1" presStyleCnt="14" custRadScaleRad="99636" custRadScaleInc="-646">
        <dgm:presLayoutVars>
          <dgm:bulletEnabled val="1"/>
        </dgm:presLayoutVars>
      </dgm:prSet>
      <dgm:spPr/>
    </dgm:pt>
    <dgm:pt modelId="{7F52E60A-E243-4F48-995E-E0617F27892D}" type="pres">
      <dgm:prSet presAssocID="{B0EEF652-9E6B-4FFF-B5FF-468A8DE1E1C8}" presName="node" presStyleLbl="vennNode1" presStyleIdx="2" presStyleCnt="14" custRadScaleRad="107074" custRadScaleInc="-3294">
        <dgm:presLayoutVars>
          <dgm:bulletEnabled val="1"/>
        </dgm:presLayoutVars>
      </dgm:prSet>
      <dgm:spPr/>
    </dgm:pt>
    <dgm:pt modelId="{EB072983-73BF-47A4-997F-22656C872A1A}" type="pres">
      <dgm:prSet presAssocID="{80C49DF0-C348-49AC-9B52-1152E523CD3A}" presName="node" presStyleLbl="vennNode1" presStyleIdx="3" presStyleCnt="14" custRadScaleRad="102017" custRadScaleInc="-3156">
        <dgm:presLayoutVars>
          <dgm:bulletEnabled val="1"/>
        </dgm:presLayoutVars>
      </dgm:prSet>
      <dgm:spPr/>
    </dgm:pt>
    <dgm:pt modelId="{331CF0DA-EBAA-4F63-BF01-D499F9F7D699}" type="pres">
      <dgm:prSet presAssocID="{2451F73C-9106-4191-A344-DDE69458A446}" presName="node" presStyleLbl="vennNode1" presStyleIdx="4" presStyleCnt="14" custRadScaleRad="97405" custRadScaleInc="-195">
        <dgm:presLayoutVars>
          <dgm:bulletEnabled val="1"/>
        </dgm:presLayoutVars>
      </dgm:prSet>
      <dgm:spPr/>
    </dgm:pt>
    <dgm:pt modelId="{82FF4EE7-C5BA-4DBA-936E-FCD67560ADCE}" type="pres">
      <dgm:prSet presAssocID="{0C109CCE-C5A8-48CE-AA5F-FC65F4E7B037}" presName="node" presStyleLbl="vennNode1" presStyleIdx="5" presStyleCnt="14">
        <dgm:presLayoutVars>
          <dgm:bulletEnabled val="1"/>
        </dgm:presLayoutVars>
      </dgm:prSet>
      <dgm:spPr/>
    </dgm:pt>
    <dgm:pt modelId="{388FD116-85F1-4694-B25B-A722928E14AC}" type="pres">
      <dgm:prSet presAssocID="{8FF899FC-ED9B-44F3-97DC-887410CFB46C}" presName="node" presStyleLbl="vennNode1" presStyleIdx="6" presStyleCnt="14" custRadScaleRad="99426" custRadScaleInc="-4817">
        <dgm:presLayoutVars>
          <dgm:bulletEnabled val="1"/>
        </dgm:presLayoutVars>
      </dgm:prSet>
      <dgm:spPr/>
    </dgm:pt>
    <dgm:pt modelId="{3162DC8E-8302-418D-B6CD-C9AA1AF1AF9A}" type="pres">
      <dgm:prSet presAssocID="{7CDA9A42-43B2-4E8A-8040-152096EF02B0}" presName="node" presStyleLbl="vennNode1" presStyleIdx="7" presStyleCnt="14" custRadScaleRad="96653" custRadScaleInc="5363">
        <dgm:presLayoutVars>
          <dgm:bulletEnabled val="1"/>
        </dgm:presLayoutVars>
      </dgm:prSet>
      <dgm:spPr/>
    </dgm:pt>
    <dgm:pt modelId="{5759964A-04D2-4A5C-A47C-441EEC5012C0}" type="pres">
      <dgm:prSet presAssocID="{0232640A-DB09-4340-9FC7-84B557288B55}" presName="node" presStyleLbl="vennNode1" presStyleIdx="8" presStyleCnt="14" custRadScaleRad="101864" custRadScaleInc="8226">
        <dgm:presLayoutVars>
          <dgm:bulletEnabled val="1"/>
        </dgm:presLayoutVars>
      </dgm:prSet>
      <dgm:spPr/>
    </dgm:pt>
    <dgm:pt modelId="{C0951838-45A4-4D62-BB84-E3EC09BC3BB5}" type="pres">
      <dgm:prSet presAssocID="{21369E81-A23B-4C66-8A51-72EE65EE9576}" presName="node" presStyleLbl="vennNode1" presStyleIdx="9" presStyleCnt="14">
        <dgm:presLayoutVars>
          <dgm:bulletEnabled val="1"/>
        </dgm:presLayoutVars>
      </dgm:prSet>
      <dgm:spPr/>
    </dgm:pt>
    <dgm:pt modelId="{293DBD05-5818-4014-BFC4-0BA1233738AD}" type="pres">
      <dgm:prSet presAssocID="{BFD9E2B3-9FCC-430D-BD7E-587F4902A7EE}" presName="node" presStyleLbl="vennNode1" presStyleIdx="10" presStyleCnt="14" custRadScaleRad="100741" custRadScaleInc="6811">
        <dgm:presLayoutVars>
          <dgm:bulletEnabled val="1"/>
        </dgm:presLayoutVars>
      </dgm:prSet>
      <dgm:spPr/>
    </dgm:pt>
    <dgm:pt modelId="{D1A6C131-EC8C-40FB-A030-18DAEBBFAACE}" type="pres">
      <dgm:prSet presAssocID="{6F5C2FF2-E84A-4D3E-B944-9CFBD263D604}" presName="node" presStyleLbl="vennNode1" presStyleIdx="11" presStyleCnt="14" custRadScaleRad="96347" custRadScaleInc="9084">
        <dgm:presLayoutVars>
          <dgm:bulletEnabled val="1"/>
        </dgm:presLayoutVars>
      </dgm:prSet>
      <dgm:spPr/>
    </dgm:pt>
    <dgm:pt modelId="{9ACEFBF6-63CC-4A6D-B93D-20D0CC993DD5}" type="pres">
      <dgm:prSet presAssocID="{D9735576-2FD8-4646-8B83-D4A8DC7201E9}" presName="node" presStyleLbl="vennNode1" presStyleIdx="12" presStyleCnt="14" custRadScaleRad="101105" custRadScaleInc="7149">
        <dgm:presLayoutVars>
          <dgm:bulletEnabled val="1"/>
        </dgm:presLayoutVars>
      </dgm:prSet>
      <dgm:spPr/>
    </dgm:pt>
    <dgm:pt modelId="{6CFCB412-C4CD-46A3-8774-D4F9F83AB7CB}" type="pres">
      <dgm:prSet presAssocID="{DF078D16-4591-4959-92B8-2D052DA33ED6}" presName="node" presStyleLbl="vennNode1" presStyleIdx="13" presStyleCnt="14" custRadScaleRad="102428" custRadScaleInc="1597">
        <dgm:presLayoutVars>
          <dgm:bulletEnabled val="1"/>
        </dgm:presLayoutVars>
      </dgm:prSet>
      <dgm:spPr/>
    </dgm:pt>
  </dgm:ptLst>
  <dgm:cxnLst>
    <dgm:cxn modelId="{EE0ABF06-0607-427F-9D64-AEE0687196CA}" srcId="{5374A1D9-8377-46D8-A87C-5F112011959E}" destId="{7CDA9A42-43B2-4E8A-8040-152096EF02B0}" srcOrd="6" destOrd="0" parTransId="{4B5E706E-DA38-43C5-9F2C-BB623A7D5459}" sibTransId="{24DB0229-2C7B-4A7F-93D2-DA5554C7D91A}"/>
    <dgm:cxn modelId="{D5BB8511-1F7A-4430-B914-472734E0531A}" type="presOf" srcId="{D9735576-2FD8-4646-8B83-D4A8DC7201E9}" destId="{9ACEFBF6-63CC-4A6D-B93D-20D0CC993DD5}" srcOrd="0" destOrd="0" presId="urn:microsoft.com/office/officeart/2005/8/layout/radial3"/>
    <dgm:cxn modelId="{F0A8B716-2308-4356-ACAE-7C7AF6317228}" type="presOf" srcId="{6F5C2FF2-E84A-4D3E-B944-9CFBD263D604}" destId="{D1A6C131-EC8C-40FB-A030-18DAEBBFAACE}" srcOrd="0" destOrd="0" presId="urn:microsoft.com/office/officeart/2005/8/layout/radial3"/>
    <dgm:cxn modelId="{4376B234-B0E3-492B-AB3D-62B1B2DB2EF2}" type="presOf" srcId="{8FF899FC-ED9B-44F3-97DC-887410CFB46C}" destId="{388FD116-85F1-4694-B25B-A722928E14AC}" srcOrd="0" destOrd="0" presId="urn:microsoft.com/office/officeart/2005/8/layout/radial3"/>
    <dgm:cxn modelId="{92F22262-9B79-4F72-A150-30814FF28838}" srcId="{5374A1D9-8377-46D8-A87C-5F112011959E}" destId="{BFD9E2B3-9FCC-430D-BD7E-587F4902A7EE}" srcOrd="9" destOrd="0" parTransId="{F2D4CB45-41B9-48EC-8F0A-AB2E41FCC453}" sibTransId="{47638906-858B-422F-B2E6-9A4F5BB89F21}"/>
    <dgm:cxn modelId="{6F1CA162-44BE-4830-A57E-7AFC4DF913C2}" srcId="{5374A1D9-8377-46D8-A87C-5F112011959E}" destId="{B0EEF652-9E6B-4FFF-B5FF-468A8DE1E1C8}" srcOrd="1" destOrd="0" parTransId="{A9276FEF-0F22-4406-AC88-EE7988DCCED0}" sibTransId="{9A0D0ABB-C4B6-42D0-BD4C-2FDA9E67017C}"/>
    <dgm:cxn modelId="{DACC4D64-A613-471D-81F0-02CB060AFC0B}" srcId="{5374A1D9-8377-46D8-A87C-5F112011959E}" destId="{8FF899FC-ED9B-44F3-97DC-887410CFB46C}" srcOrd="5" destOrd="0" parTransId="{E43A1403-F9A9-49C6-BE87-A63F2D37D213}" sibTransId="{A86EB341-F609-4934-961A-CBFBB71941AE}"/>
    <dgm:cxn modelId="{6660E948-DDE6-44AD-91B5-9E9CC74261E4}" srcId="{5374A1D9-8377-46D8-A87C-5F112011959E}" destId="{0232640A-DB09-4340-9FC7-84B557288B55}" srcOrd="7" destOrd="0" parTransId="{C9F690FA-1349-4EA1-8F7A-A61AC325C261}" sibTransId="{208F64FF-3331-4A86-A158-609101EB05E2}"/>
    <dgm:cxn modelId="{505A046D-27CF-4376-82D5-203E85D77EFF}" srcId="{5374A1D9-8377-46D8-A87C-5F112011959E}" destId="{6F5C2FF2-E84A-4D3E-B944-9CFBD263D604}" srcOrd="10" destOrd="0" parTransId="{F1A8EC40-BD3E-49B5-AED9-C0C3C324DCCC}" sibTransId="{46268DC4-F223-403B-933A-D921F074DEB6}"/>
    <dgm:cxn modelId="{9A6C126E-0063-42E2-95B5-CB1496CF8F10}" type="presOf" srcId="{80C49DF0-C348-49AC-9B52-1152E523CD3A}" destId="{EB072983-73BF-47A4-997F-22656C872A1A}" srcOrd="0" destOrd="0" presId="urn:microsoft.com/office/officeart/2005/8/layout/radial3"/>
    <dgm:cxn modelId="{E7A2904F-EA1E-4A59-816F-045BF20DDD6B}" srcId="{5374A1D9-8377-46D8-A87C-5F112011959E}" destId="{A7F95BAE-937C-4E5F-A978-416F2244CD9A}" srcOrd="0" destOrd="0" parTransId="{4585EE28-046E-42C8-ABF7-25C50250D0AE}" sibTransId="{DA712A42-CCE5-4763-8EBB-9B3A89106FC5}"/>
    <dgm:cxn modelId="{5732AF70-9BC9-4933-825B-D8F72B4E6074}" srcId="{5374A1D9-8377-46D8-A87C-5F112011959E}" destId="{21369E81-A23B-4C66-8A51-72EE65EE9576}" srcOrd="8" destOrd="0" parTransId="{49398A47-20F6-4681-9D3D-DFF02C3AD288}" sibTransId="{CC6042B4-0335-4E8E-A5C9-56E7D03873CA}"/>
    <dgm:cxn modelId="{665BD376-217C-4367-87DE-DCF657B66D2D}" type="presOf" srcId="{2451F73C-9106-4191-A344-DDE69458A446}" destId="{331CF0DA-EBAA-4F63-BF01-D499F9F7D699}" srcOrd="0" destOrd="0" presId="urn:microsoft.com/office/officeart/2005/8/layout/radial3"/>
    <dgm:cxn modelId="{504A6557-7C90-4F0E-A75B-CE0B498009E7}" srcId="{5374A1D9-8377-46D8-A87C-5F112011959E}" destId="{2451F73C-9106-4191-A344-DDE69458A446}" srcOrd="3" destOrd="0" parTransId="{8F4BD915-4F54-492E-A19A-1F92C5BFCCE9}" sibTransId="{8FA246B8-D14E-430E-8F01-6C6DBF2AFBB4}"/>
    <dgm:cxn modelId="{5A3E5159-9640-4065-99D5-D4C113254AD7}" type="presOf" srcId="{B0EEF652-9E6B-4FFF-B5FF-468A8DE1E1C8}" destId="{7F52E60A-E243-4F48-995E-E0617F27892D}" srcOrd="0" destOrd="0" presId="urn:microsoft.com/office/officeart/2005/8/layout/radial3"/>
    <dgm:cxn modelId="{D5A54998-E7CC-4F74-AC37-3BBCBD043499}" srcId="{5349F89F-0946-41AE-9F5E-8E04E0769FCA}" destId="{5374A1D9-8377-46D8-A87C-5F112011959E}" srcOrd="0" destOrd="0" parTransId="{923237E5-988A-4DAF-AE31-C43FD85E8F43}" sibTransId="{425A47CE-7711-4595-9439-ED64310FBDC7}"/>
    <dgm:cxn modelId="{20446A99-1B88-4954-885F-32603E9BD802}" type="presOf" srcId="{DF078D16-4591-4959-92B8-2D052DA33ED6}" destId="{6CFCB412-C4CD-46A3-8774-D4F9F83AB7CB}" srcOrd="0" destOrd="0" presId="urn:microsoft.com/office/officeart/2005/8/layout/radial3"/>
    <dgm:cxn modelId="{A80133A3-9FB9-4C56-B3D1-E496743D2AC1}" type="presOf" srcId="{0232640A-DB09-4340-9FC7-84B557288B55}" destId="{5759964A-04D2-4A5C-A47C-441EEC5012C0}" srcOrd="0" destOrd="0" presId="urn:microsoft.com/office/officeart/2005/8/layout/radial3"/>
    <dgm:cxn modelId="{2D92E3A7-70A0-49A2-A720-F75F9CE98E87}" type="presOf" srcId="{0C109CCE-C5A8-48CE-AA5F-FC65F4E7B037}" destId="{82FF4EE7-C5BA-4DBA-936E-FCD67560ADCE}" srcOrd="0" destOrd="0" presId="urn:microsoft.com/office/officeart/2005/8/layout/radial3"/>
    <dgm:cxn modelId="{358253B2-EB35-42BE-8E09-C174A75ED29C}" type="presOf" srcId="{21369E81-A23B-4C66-8A51-72EE65EE9576}" destId="{C0951838-45A4-4D62-BB84-E3EC09BC3BB5}" srcOrd="0" destOrd="0" presId="urn:microsoft.com/office/officeart/2005/8/layout/radial3"/>
    <dgm:cxn modelId="{F731B0C4-7092-4CDA-9422-8D45429A3CE3}" srcId="{5374A1D9-8377-46D8-A87C-5F112011959E}" destId="{DF078D16-4591-4959-92B8-2D052DA33ED6}" srcOrd="12" destOrd="0" parTransId="{30308CCA-7223-433E-AE23-6510F9381FD2}" sibTransId="{EAEA4B51-B1A7-4050-A08D-D5160783C0C1}"/>
    <dgm:cxn modelId="{CFE15CD2-2EBD-4B19-996A-ADF65244037E}" type="presOf" srcId="{5374A1D9-8377-46D8-A87C-5F112011959E}" destId="{97E4D897-6E14-40BD-8206-9FA90A376C08}" srcOrd="0" destOrd="0" presId="urn:microsoft.com/office/officeart/2005/8/layout/radial3"/>
    <dgm:cxn modelId="{A675CCDD-1918-4B42-B1A4-41727551EA04}" srcId="{5374A1D9-8377-46D8-A87C-5F112011959E}" destId="{80C49DF0-C348-49AC-9B52-1152E523CD3A}" srcOrd="2" destOrd="0" parTransId="{AAF6A835-F5EB-4FBA-B7F5-1DC7E6068A78}" sibTransId="{BA924446-2FD3-4C25-8855-A669CF000DF1}"/>
    <dgm:cxn modelId="{5A4AFDE8-5D18-4E3B-BEED-ADAD16C70E99}" type="presOf" srcId="{7CDA9A42-43B2-4E8A-8040-152096EF02B0}" destId="{3162DC8E-8302-418D-B6CD-C9AA1AF1AF9A}" srcOrd="0" destOrd="0" presId="urn:microsoft.com/office/officeart/2005/8/layout/radial3"/>
    <dgm:cxn modelId="{427F8CEA-9DA0-44DB-8B18-1C5B5CC572D3}" srcId="{5374A1D9-8377-46D8-A87C-5F112011959E}" destId="{0C109CCE-C5A8-48CE-AA5F-FC65F4E7B037}" srcOrd="4" destOrd="0" parTransId="{6E0BD7A2-ED91-427A-8FB1-135CEFA2C5F1}" sibTransId="{C998F4F0-9C75-4060-BA03-058010CAD12A}"/>
    <dgm:cxn modelId="{1B7E6CEE-912B-457B-B271-E46CD225DE15}" type="presOf" srcId="{BFD9E2B3-9FCC-430D-BD7E-587F4902A7EE}" destId="{293DBD05-5818-4014-BFC4-0BA1233738AD}" srcOrd="0" destOrd="0" presId="urn:microsoft.com/office/officeart/2005/8/layout/radial3"/>
    <dgm:cxn modelId="{BFE771F2-8D81-404C-8BE4-8062EAEEBA99}" type="presOf" srcId="{A7F95BAE-937C-4E5F-A978-416F2244CD9A}" destId="{A1A757E9-2DC1-4883-B258-BEBE982FD22A}" srcOrd="0" destOrd="0" presId="urn:microsoft.com/office/officeart/2005/8/layout/radial3"/>
    <dgm:cxn modelId="{B1ACF7F3-A0BB-498C-BDA8-1186F6EB8AD4}" srcId="{5374A1D9-8377-46D8-A87C-5F112011959E}" destId="{D9735576-2FD8-4646-8B83-D4A8DC7201E9}" srcOrd="11" destOrd="0" parTransId="{AE894D5B-AE6B-4539-9B3B-7781AC57F9E0}" sibTransId="{CC32F2B7-42B9-4C75-B30C-84DEBCF690BF}"/>
    <dgm:cxn modelId="{C364CAFB-09C3-4B84-8B67-95DA5B76A557}" type="presOf" srcId="{5349F89F-0946-41AE-9F5E-8E04E0769FCA}" destId="{87817A32-1FA6-45BD-AB30-4A311D09BB3C}" srcOrd="0" destOrd="0" presId="urn:microsoft.com/office/officeart/2005/8/layout/radial3"/>
    <dgm:cxn modelId="{673CB1D8-FD9B-4C0A-978A-04CFA57ACACE}" type="presParOf" srcId="{87817A32-1FA6-45BD-AB30-4A311D09BB3C}" destId="{4623497D-01C8-4EB2-A37E-51FDA7273DFF}" srcOrd="0" destOrd="0" presId="urn:microsoft.com/office/officeart/2005/8/layout/radial3"/>
    <dgm:cxn modelId="{D95A504E-AD64-43E3-93EF-7AA5BD6EE9F0}" type="presParOf" srcId="{4623497D-01C8-4EB2-A37E-51FDA7273DFF}" destId="{97E4D897-6E14-40BD-8206-9FA90A376C08}" srcOrd="0" destOrd="0" presId="urn:microsoft.com/office/officeart/2005/8/layout/radial3"/>
    <dgm:cxn modelId="{15ADF326-7E70-4CAA-B48B-C571B07DAB7C}" type="presParOf" srcId="{4623497D-01C8-4EB2-A37E-51FDA7273DFF}" destId="{A1A757E9-2DC1-4883-B258-BEBE982FD22A}" srcOrd="1" destOrd="0" presId="urn:microsoft.com/office/officeart/2005/8/layout/radial3"/>
    <dgm:cxn modelId="{17907489-D442-4EC5-87CE-4452FA2818E8}" type="presParOf" srcId="{4623497D-01C8-4EB2-A37E-51FDA7273DFF}" destId="{7F52E60A-E243-4F48-995E-E0617F27892D}" srcOrd="2" destOrd="0" presId="urn:microsoft.com/office/officeart/2005/8/layout/radial3"/>
    <dgm:cxn modelId="{5D48271A-B4C3-4E21-BA8D-29C00AB5DF72}" type="presParOf" srcId="{4623497D-01C8-4EB2-A37E-51FDA7273DFF}" destId="{EB072983-73BF-47A4-997F-22656C872A1A}" srcOrd="3" destOrd="0" presId="urn:microsoft.com/office/officeart/2005/8/layout/radial3"/>
    <dgm:cxn modelId="{B3670381-75A3-4CCB-B5F2-73B35CDF235E}" type="presParOf" srcId="{4623497D-01C8-4EB2-A37E-51FDA7273DFF}" destId="{331CF0DA-EBAA-4F63-BF01-D499F9F7D699}" srcOrd="4" destOrd="0" presId="urn:microsoft.com/office/officeart/2005/8/layout/radial3"/>
    <dgm:cxn modelId="{D790F205-8588-41CE-B776-58482F8DB112}" type="presParOf" srcId="{4623497D-01C8-4EB2-A37E-51FDA7273DFF}" destId="{82FF4EE7-C5BA-4DBA-936E-FCD67560ADCE}" srcOrd="5" destOrd="0" presId="urn:microsoft.com/office/officeart/2005/8/layout/radial3"/>
    <dgm:cxn modelId="{D1142977-6085-4B74-8892-4A4DD7214515}" type="presParOf" srcId="{4623497D-01C8-4EB2-A37E-51FDA7273DFF}" destId="{388FD116-85F1-4694-B25B-A722928E14AC}" srcOrd="6" destOrd="0" presId="urn:microsoft.com/office/officeart/2005/8/layout/radial3"/>
    <dgm:cxn modelId="{8D2681FB-C1B6-4D1A-BB10-C4DD69F4BE76}" type="presParOf" srcId="{4623497D-01C8-4EB2-A37E-51FDA7273DFF}" destId="{3162DC8E-8302-418D-B6CD-C9AA1AF1AF9A}" srcOrd="7" destOrd="0" presId="urn:microsoft.com/office/officeart/2005/8/layout/radial3"/>
    <dgm:cxn modelId="{6B301EC9-7360-47CF-A5DB-35A66197543A}" type="presParOf" srcId="{4623497D-01C8-4EB2-A37E-51FDA7273DFF}" destId="{5759964A-04D2-4A5C-A47C-441EEC5012C0}" srcOrd="8" destOrd="0" presId="urn:microsoft.com/office/officeart/2005/8/layout/radial3"/>
    <dgm:cxn modelId="{7B02BDCA-D56F-46D0-B1C0-1376268CF770}" type="presParOf" srcId="{4623497D-01C8-4EB2-A37E-51FDA7273DFF}" destId="{C0951838-45A4-4D62-BB84-E3EC09BC3BB5}" srcOrd="9" destOrd="0" presId="urn:microsoft.com/office/officeart/2005/8/layout/radial3"/>
    <dgm:cxn modelId="{55ED4750-2228-4571-B533-FE01866E3440}" type="presParOf" srcId="{4623497D-01C8-4EB2-A37E-51FDA7273DFF}" destId="{293DBD05-5818-4014-BFC4-0BA1233738AD}" srcOrd="10" destOrd="0" presId="urn:microsoft.com/office/officeart/2005/8/layout/radial3"/>
    <dgm:cxn modelId="{C0BE4EBB-A7D9-4EA1-9BBA-56D8A8BA952A}" type="presParOf" srcId="{4623497D-01C8-4EB2-A37E-51FDA7273DFF}" destId="{D1A6C131-EC8C-40FB-A030-18DAEBBFAACE}" srcOrd="11" destOrd="0" presId="urn:microsoft.com/office/officeart/2005/8/layout/radial3"/>
    <dgm:cxn modelId="{D8AAB4F4-3D34-46A7-A85C-C8151E323FC4}" type="presParOf" srcId="{4623497D-01C8-4EB2-A37E-51FDA7273DFF}" destId="{9ACEFBF6-63CC-4A6D-B93D-20D0CC993DD5}" srcOrd="12" destOrd="0" presId="urn:microsoft.com/office/officeart/2005/8/layout/radial3"/>
    <dgm:cxn modelId="{052410D9-61EA-40CB-87E7-7E2ACBD2F23E}" type="presParOf" srcId="{4623497D-01C8-4EB2-A37E-51FDA7273DFF}" destId="{6CFCB412-C4CD-46A3-8774-D4F9F83AB7CB}" srcOrd="13" destOrd="0" presId="urn:microsoft.com/office/officeart/2005/8/layout/radial3"/>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16A15AD-3C47-43A9-B57D-F106FF89BA7B}" type="doc">
      <dgm:prSet loTypeId="urn:microsoft.com/office/officeart/2008/layout/HorizontalMultiLevelHierarchy" loCatId="hierarchy" qsTypeId="urn:microsoft.com/office/officeart/2005/8/quickstyle/simple3" qsCatId="simple" csTypeId="urn:microsoft.com/office/officeart/2005/8/colors/accent0_2" csCatId="mainScheme" phldr="1"/>
      <dgm:spPr/>
      <dgm:t>
        <a:bodyPr/>
        <a:lstStyle/>
        <a:p>
          <a:endParaRPr lang="en-US"/>
        </a:p>
      </dgm:t>
    </dgm:pt>
    <dgm:pt modelId="{A62BB9FA-47A4-4980-8DD1-3930800BA586}">
      <dgm:prSet phldrT="[Text]" custT="1"/>
      <dgm:spPr/>
      <dgm:t>
        <a:bodyPr/>
        <a:lstStyle/>
        <a:p>
          <a:r>
            <a:rPr lang="en-US" sz="2000" b="1" i="0" dirty="0">
              <a:solidFill>
                <a:schemeClr val="tx1"/>
              </a:solidFill>
              <a:latin typeface="Century Gothic" panose="020B0502020202020204" pitchFamily="34" charset="0"/>
              <a:cs typeface="Calibri" pitchFamily="34" charset="0"/>
            </a:rPr>
            <a:t>Verticals</a:t>
          </a:r>
        </a:p>
      </dgm:t>
    </dgm:pt>
    <dgm:pt modelId="{74E6ADA9-33AB-4D5D-868A-B1C9B5D2C3F9}" type="parTrans" cxnId="{1D978E46-F51E-48C6-97AB-0593749CD0D7}">
      <dgm:prSet/>
      <dgm:spPr/>
      <dgm:t>
        <a:bodyPr/>
        <a:lstStyle/>
        <a:p>
          <a:endParaRPr lang="en-US" sz="2000" b="0" i="0">
            <a:solidFill>
              <a:schemeClr val="tx1"/>
            </a:solidFill>
            <a:latin typeface="Century Gothic" panose="020B0502020202020204" pitchFamily="34" charset="0"/>
            <a:cs typeface="Calibri" pitchFamily="34" charset="0"/>
          </a:endParaRPr>
        </a:p>
      </dgm:t>
    </dgm:pt>
    <dgm:pt modelId="{BD97D11C-E396-435D-B023-9A3FC46AA302}" type="sibTrans" cxnId="{1D978E46-F51E-48C6-97AB-0593749CD0D7}">
      <dgm:prSet/>
      <dgm:spPr/>
      <dgm:t>
        <a:bodyPr/>
        <a:lstStyle/>
        <a:p>
          <a:endParaRPr lang="en-US" sz="2000" b="0" i="0">
            <a:solidFill>
              <a:schemeClr val="tx1"/>
            </a:solidFill>
            <a:latin typeface="Century Gothic" panose="020B0502020202020204" pitchFamily="34" charset="0"/>
            <a:cs typeface="Calibri" pitchFamily="34" charset="0"/>
          </a:endParaRPr>
        </a:p>
      </dgm:t>
    </dgm:pt>
    <dgm:pt modelId="{2E541449-2B6D-45D4-9D9A-9A12F003F9C5}">
      <dgm:prSet phldrT="[Text]" custT="1"/>
      <dgm:spPr/>
      <dgm:t>
        <a:bodyPr/>
        <a:lstStyle/>
        <a:p>
          <a:r>
            <a:rPr lang="en-US" sz="2000" b="1" i="0" dirty="0">
              <a:solidFill>
                <a:schemeClr val="tx1"/>
              </a:solidFill>
              <a:latin typeface="Century Gothic" panose="020B0502020202020204" pitchFamily="34" charset="0"/>
              <a:cs typeface="Calibri" pitchFamily="34" charset="0"/>
            </a:rPr>
            <a:t>Trucks</a:t>
          </a:r>
        </a:p>
      </dgm:t>
    </dgm:pt>
    <dgm:pt modelId="{6071CDF7-9D34-4E18-BA4A-9BB589D29FA4}" type="parTrans" cxnId="{95FE05C9-80B2-42B7-86D9-2E1D52662682}">
      <dgm:prSet/>
      <dgm:spPr>
        <a:ln>
          <a:solidFill>
            <a:schemeClr val="tx1"/>
          </a:solidFill>
        </a:ln>
      </dgm:spPr>
      <dgm:t>
        <a:bodyPr/>
        <a:lstStyle/>
        <a:p>
          <a:endParaRPr lang="en-US" sz="2000" b="0" i="0">
            <a:solidFill>
              <a:schemeClr val="tx1"/>
            </a:solidFill>
            <a:latin typeface="Century Gothic" panose="020B0502020202020204" pitchFamily="34" charset="0"/>
            <a:cs typeface="Calibri" pitchFamily="34" charset="0"/>
          </a:endParaRPr>
        </a:p>
      </dgm:t>
    </dgm:pt>
    <dgm:pt modelId="{C645BCF1-E6F2-4089-AD21-18CE7D439C6B}" type="sibTrans" cxnId="{95FE05C9-80B2-42B7-86D9-2E1D52662682}">
      <dgm:prSet/>
      <dgm:spPr/>
      <dgm:t>
        <a:bodyPr/>
        <a:lstStyle/>
        <a:p>
          <a:endParaRPr lang="en-US" sz="2000" b="0" i="0">
            <a:solidFill>
              <a:schemeClr val="tx1"/>
            </a:solidFill>
            <a:latin typeface="Century Gothic" panose="020B0502020202020204" pitchFamily="34" charset="0"/>
            <a:cs typeface="Calibri" pitchFamily="34" charset="0"/>
          </a:endParaRPr>
        </a:p>
      </dgm:t>
    </dgm:pt>
    <dgm:pt modelId="{DB14D919-14E5-4A9C-A10D-1CE0DF1FB957}">
      <dgm:prSet phldrT="[Text]" custT="1"/>
      <dgm:spPr/>
      <dgm:t>
        <a:bodyPr/>
        <a:lstStyle/>
        <a:p>
          <a:r>
            <a:rPr lang="en-US" sz="2000" b="0" i="0" dirty="0">
              <a:solidFill>
                <a:schemeClr val="tx1"/>
              </a:solidFill>
              <a:latin typeface="Century Gothic" panose="020B0502020202020204" pitchFamily="34" charset="0"/>
              <a:cs typeface="Calibri" pitchFamily="34" charset="0"/>
            </a:rPr>
            <a:t>Bus</a:t>
          </a:r>
        </a:p>
      </dgm:t>
    </dgm:pt>
    <dgm:pt modelId="{BBA57654-A8F9-4423-A435-EE7F529ECF8B}" type="parTrans" cxnId="{D3041FEC-772A-465E-ACAC-ECEC9F68995F}">
      <dgm:prSet/>
      <dgm:spPr>
        <a:ln>
          <a:solidFill>
            <a:schemeClr val="tx1"/>
          </a:solidFill>
        </a:ln>
      </dgm:spPr>
      <dgm:t>
        <a:bodyPr/>
        <a:lstStyle/>
        <a:p>
          <a:endParaRPr lang="en-US" sz="2000" b="0" i="0">
            <a:solidFill>
              <a:schemeClr val="tx1"/>
            </a:solidFill>
            <a:latin typeface="Century Gothic" panose="020B0502020202020204" pitchFamily="34" charset="0"/>
            <a:cs typeface="Calibri" pitchFamily="34" charset="0"/>
          </a:endParaRPr>
        </a:p>
      </dgm:t>
    </dgm:pt>
    <dgm:pt modelId="{20CF0EC1-26B9-46A3-8F28-4E0727C8D75C}" type="sibTrans" cxnId="{D3041FEC-772A-465E-ACAC-ECEC9F68995F}">
      <dgm:prSet/>
      <dgm:spPr/>
      <dgm:t>
        <a:bodyPr/>
        <a:lstStyle/>
        <a:p>
          <a:endParaRPr lang="en-US" sz="2000" b="0" i="0">
            <a:solidFill>
              <a:schemeClr val="tx1"/>
            </a:solidFill>
            <a:latin typeface="Century Gothic" panose="020B0502020202020204" pitchFamily="34" charset="0"/>
            <a:cs typeface="Calibri" pitchFamily="34" charset="0"/>
          </a:endParaRPr>
        </a:p>
      </dgm:t>
    </dgm:pt>
    <dgm:pt modelId="{B3E289A3-4E13-4607-BA96-468D48C70776}">
      <dgm:prSet custT="1"/>
      <dgm:spPr/>
      <dgm:t>
        <a:bodyPr/>
        <a:lstStyle/>
        <a:p>
          <a:pPr marL="0" marR="0" indent="0" defTabSz="914400" eaLnBrk="1" fontAlgn="auto" latinLnBrk="0" hangingPunct="1">
            <a:lnSpc>
              <a:spcPct val="100000"/>
            </a:lnSpc>
            <a:spcBef>
              <a:spcPts val="0"/>
            </a:spcBef>
            <a:spcAft>
              <a:spcPts val="0"/>
            </a:spcAft>
            <a:buClrTx/>
            <a:buSzTx/>
            <a:buFontTx/>
            <a:buNone/>
            <a:tabLst/>
            <a:defRPr/>
          </a:pPr>
          <a:endParaRPr lang="en-US" sz="2000" b="0" i="0" dirty="0">
            <a:solidFill>
              <a:schemeClr val="tx1"/>
            </a:solidFill>
            <a:latin typeface="Century Gothic" panose="020B0502020202020204" pitchFamily="34" charset="0"/>
            <a:cs typeface="Calibri" pitchFamily="34" charset="0"/>
          </a:endParaRPr>
        </a:p>
        <a:p>
          <a:pPr marL="0" marR="0" indent="0" defTabSz="914400" eaLnBrk="1" fontAlgn="auto" latinLnBrk="0" hangingPunct="1">
            <a:lnSpc>
              <a:spcPct val="100000"/>
            </a:lnSpc>
            <a:spcBef>
              <a:spcPts val="0"/>
            </a:spcBef>
            <a:spcAft>
              <a:spcPts val="0"/>
            </a:spcAft>
            <a:buClrTx/>
            <a:buSzTx/>
            <a:buFontTx/>
            <a:buNone/>
            <a:tabLst/>
            <a:defRPr/>
          </a:pPr>
          <a:r>
            <a:rPr lang="en-US" sz="2000" b="0" i="0" dirty="0">
              <a:solidFill>
                <a:schemeClr val="tx1"/>
              </a:solidFill>
              <a:latin typeface="Century Gothic" panose="020B0502020202020204" pitchFamily="34" charset="0"/>
              <a:cs typeface="Calibri" pitchFamily="34" charset="0"/>
            </a:rPr>
            <a:t>Distribution Trucks</a:t>
          </a:r>
        </a:p>
        <a:p>
          <a:pPr defTabSz="1066800">
            <a:lnSpc>
              <a:spcPct val="90000"/>
            </a:lnSpc>
            <a:spcBef>
              <a:spcPct val="0"/>
            </a:spcBef>
            <a:spcAft>
              <a:spcPct val="35000"/>
            </a:spcAft>
          </a:pPr>
          <a:endParaRPr lang="en-US" sz="2000" b="0" i="0" dirty="0">
            <a:solidFill>
              <a:schemeClr val="tx1"/>
            </a:solidFill>
            <a:latin typeface="Century Gothic" panose="020B0502020202020204" pitchFamily="34" charset="0"/>
            <a:cs typeface="Calibri" pitchFamily="34" charset="0"/>
          </a:endParaRPr>
        </a:p>
      </dgm:t>
    </dgm:pt>
    <dgm:pt modelId="{63B2736F-AB84-42F8-8BAE-3F6590967CC3}" type="parTrans" cxnId="{9268F916-7B14-4812-9027-596E14A58C90}">
      <dgm:prSet/>
      <dgm:spPr>
        <a:ln>
          <a:solidFill>
            <a:schemeClr val="tx1"/>
          </a:solidFill>
        </a:ln>
      </dgm:spPr>
      <dgm:t>
        <a:bodyPr/>
        <a:lstStyle/>
        <a:p>
          <a:endParaRPr lang="en-US" sz="2000" b="0" i="0">
            <a:solidFill>
              <a:schemeClr val="tx1"/>
            </a:solidFill>
            <a:latin typeface="Century Gothic" panose="020B0502020202020204" pitchFamily="34" charset="0"/>
            <a:cs typeface="Calibri" pitchFamily="34" charset="0"/>
          </a:endParaRPr>
        </a:p>
      </dgm:t>
    </dgm:pt>
    <dgm:pt modelId="{84F4A3D6-6274-421F-8101-C07D9C1FB3E8}" type="sibTrans" cxnId="{9268F916-7B14-4812-9027-596E14A58C90}">
      <dgm:prSet/>
      <dgm:spPr/>
      <dgm:t>
        <a:bodyPr/>
        <a:lstStyle/>
        <a:p>
          <a:endParaRPr lang="en-US" sz="2000" b="0" i="0">
            <a:solidFill>
              <a:schemeClr val="tx1"/>
            </a:solidFill>
            <a:latin typeface="Century Gothic" panose="020B0502020202020204" pitchFamily="34" charset="0"/>
            <a:cs typeface="Calibri" pitchFamily="34" charset="0"/>
          </a:endParaRPr>
        </a:p>
      </dgm:t>
    </dgm:pt>
    <dgm:pt modelId="{A189AA0D-D652-4335-80E4-AC3D7D85057B}">
      <dgm:prSet custT="1"/>
      <dgm:spPr/>
      <dgm:t>
        <a:bodyPr/>
        <a:lstStyle/>
        <a:p>
          <a:pPr marL="0" marR="0" indent="0" defTabSz="914400" eaLnBrk="1" fontAlgn="auto" latinLnBrk="0" hangingPunct="1">
            <a:lnSpc>
              <a:spcPct val="100000"/>
            </a:lnSpc>
            <a:spcBef>
              <a:spcPts val="0"/>
            </a:spcBef>
            <a:spcAft>
              <a:spcPts val="0"/>
            </a:spcAft>
            <a:buClrTx/>
            <a:buSzTx/>
            <a:buFontTx/>
            <a:buNone/>
            <a:tabLst/>
            <a:defRPr/>
          </a:pPr>
          <a:endParaRPr lang="en-US" sz="2000" b="0" i="0" dirty="0">
            <a:solidFill>
              <a:schemeClr val="tx1"/>
            </a:solidFill>
            <a:latin typeface="Century Gothic" panose="020B0502020202020204" pitchFamily="34" charset="0"/>
            <a:cs typeface="Calibri" pitchFamily="34" charset="0"/>
          </a:endParaRPr>
        </a:p>
        <a:p>
          <a:pPr marL="0" marR="0" indent="0" defTabSz="914400" eaLnBrk="1" fontAlgn="auto" latinLnBrk="0" hangingPunct="1">
            <a:lnSpc>
              <a:spcPct val="100000"/>
            </a:lnSpc>
            <a:spcBef>
              <a:spcPts val="0"/>
            </a:spcBef>
            <a:spcAft>
              <a:spcPts val="0"/>
            </a:spcAft>
            <a:buClrTx/>
            <a:buSzTx/>
            <a:buFontTx/>
            <a:buNone/>
            <a:tabLst/>
            <a:defRPr/>
          </a:pPr>
          <a:r>
            <a:rPr lang="en-US" sz="2000" b="0" i="0" dirty="0">
              <a:solidFill>
                <a:schemeClr val="tx1"/>
              </a:solidFill>
              <a:latin typeface="Century Gothic" panose="020B0502020202020204" pitchFamily="34" charset="0"/>
              <a:cs typeface="Calibri" pitchFamily="34" charset="0"/>
            </a:rPr>
            <a:t>Long Haulage</a:t>
          </a:r>
        </a:p>
        <a:p>
          <a:pPr defTabSz="977900">
            <a:lnSpc>
              <a:spcPct val="90000"/>
            </a:lnSpc>
            <a:spcBef>
              <a:spcPct val="0"/>
            </a:spcBef>
            <a:spcAft>
              <a:spcPct val="35000"/>
            </a:spcAft>
          </a:pPr>
          <a:endParaRPr lang="en-US" sz="2000" b="0" i="0" dirty="0">
            <a:solidFill>
              <a:schemeClr val="tx1"/>
            </a:solidFill>
            <a:latin typeface="Century Gothic" panose="020B0502020202020204" pitchFamily="34" charset="0"/>
            <a:cs typeface="Calibri" pitchFamily="34" charset="0"/>
          </a:endParaRPr>
        </a:p>
      </dgm:t>
    </dgm:pt>
    <dgm:pt modelId="{3B1779E3-E6C7-440A-8A69-C46C54AB9EBB}" type="parTrans" cxnId="{9F0F9A2A-A1F5-42CC-A09D-41A375725C5B}">
      <dgm:prSet/>
      <dgm:spPr/>
      <dgm:t>
        <a:bodyPr/>
        <a:lstStyle/>
        <a:p>
          <a:endParaRPr lang="en-US" sz="2000" b="0" i="0">
            <a:solidFill>
              <a:schemeClr val="tx1"/>
            </a:solidFill>
            <a:latin typeface="Century Gothic" panose="020B0502020202020204" pitchFamily="34" charset="0"/>
            <a:cs typeface="Calibri" pitchFamily="34" charset="0"/>
          </a:endParaRPr>
        </a:p>
      </dgm:t>
    </dgm:pt>
    <dgm:pt modelId="{A7987A95-EB16-46AC-A441-FB1E19DC85CA}" type="sibTrans" cxnId="{9F0F9A2A-A1F5-42CC-A09D-41A375725C5B}">
      <dgm:prSet/>
      <dgm:spPr/>
      <dgm:t>
        <a:bodyPr/>
        <a:lstStyle/>
        <a:p>
          <a:endParaRPr lang="en-US" sz="2000" b="0" i="0">
            <a:solidFill>
              <a:schemeClr val="tx1"/>
            </a:solidFill>
            <a:latin typeface="Century Gothic" panose="020B0502020202020204" pitchFamily="34" charset="0"/>
            <a:cs typeface="Calibri" pitchFamily="34" charset="0"/>
          </a:endParaRPr>
        </a:p>
      </dgm:t>
    </dgm:pt>
    <dgm:pt modelId="{0A9EAA12-030F-4F50-9F30-4541E17BFC35}">
      <dgm:prSet custT="1"/>
      <dgm:spPr/>
      <dgm:t>
        <a:bodyPr/>
        <a:lstStyle/>
        <a:p>
          <a:r>
            <a:rPr lang="en-US" sz="2000" b="0" i="0" dirty="0">
              <a:solidFill>
                <a:schemeClr val="tx1"/>
              </a:solidFill>
              <a:latin typeface="Century Gothic" panose="020B0502020202020204" pitchFamily="34" charset="0"/>
              <a:cs typeface="Calibri" pitchFamily="34" charset="0"/>
            </a:rPr>
            <a:t>Construction &amp; Mining</a:t>
          </a:r>
        </a:p>
      </dgm:t>
    </dgm:pt>
    <dgm:pt modelId="{11C541D7-853D-442C-8554-CDC78657876D}" type="parTrans" cxnId="{7EB6D166-6A98-4021-ADBE-42E1CC039DD7}">
      <dgm:prSet/>
      <dgm:spPr>
        <a:ln>
          <a:solidFill>
            <a:schemeClr val="tx1"/>
          </a:solidFill>
        </a:ln>
      </dgm:spPr>
      <dgm:t>
        <a:bodyPr/>
        <a:lstStyle/>
        <a:p>
          <a:endParaRPr lang="en-US" sz="2000" b="0" i="0">
            <a:solidFill>
              <a:schemeClr val="tx1"/>
            </a:solidFill>
            <a:latin typeface="Century Gothic" panose="020B0502020202020204" pitchFamily="34" charset="0"/>
            <a:cs typeface="Calibri" pitchFamily="34" charset="0"/>
          </a:endParaRPr>
        </a:p>
      </dgm:t>
    </dgm:pt>
    <dgm:pt modelId="{70EFD6DD-7377-4C3C-AF2C-75B1F8BB5F87}" type="sibTrans" cxnId="{7EB6D166-6A98-4021-ADBE-42E1CC039DD7}">
      <dgm:prSet/>
      <dgm:spPr/>
      <dgm:t>
        <a:bodyPr/>
        <a:lstStyle/>
        <a:p>
          <a:endParaRPr lang="en-US" sz="2000" b="0" i="0">
            <a:solidFill>
              <a:schemeClr val="tx1"/>
            </a:solidFill>
            <a:latin typeface="Century Gothic" panose="020B0502020202020204" pitchFamily="34" charset="0"/>
            <a:cs typeface="Calibri" pitchFamily="34" charset="0"/>
          </a:endParaRPr>
        </a:p>
      </dgm:t>
    </dgm:pt>
    <dgm:pt modelId="{E1B3ED61-1449-440A-BED5-1A7B3D77CCCD}" type="pres">
      <dgm:prSet presAssocID="{516A15AD-3C47-43A9-B57D-F106FF89BA7B}" presName="Name0" presStyleCnt="0">
        <dgm:presLayoutVars>
          <dgm:chPref val="1"/>
          <dgm:dir/>
          <dgm:animOne val="branch"/>
          <dgm:animLvl val="lvl"/>
          <dgm:resizeHandles val="exact"/>
        </dgm:presLayoutVars>
      </dgm:prSet>
      <dgm:spPr/>
    </dgm:pt>
    <dgm:pt modelId="{2E586228-792E-44E5-907D-EE12B2D47975}" type="pres">
      <dgm:prSet presAssocID="{A62BB9FA-47A4-4980-8DD1-3930800BA586}" presName="root1" presStyleCnt="0"/>
      <dgm:spPr/>
    </dgm:pt>
    <dgm:pt modelId="{C0A15AFC-5515-460F-850E-53C5CDAC5B56}" type="pres">
      <dgm:prSet presAssocID="{A62BB9FA-47A4-4980-8DD1-3930800BA586}" presName="LevelOneTextNode" presStyleLbl="node0" presStyleIdx="0" presStyleCnt="1">
        <dgm:presLayoutVars>
          <dgm:chPref val="3"/>
        </dgm:presLayoutVars>
      </dgm:prSet>
      <dgm:spPr/>
    </dgm:pt>
    <dgm:pt modelId="{A6D9399A-D3F8-4E7A-A54F-A1C138CFFA16}" type="pres">
      <dgm:prSet presAssocID="{A62BB9FA-47A4-4980-8DD1-3930800BA586}" presName="level2hierChild" presStyleCnt="0"/>
      <dgm:spPr/>
    </dgm:pt>
    <dgm:pt modelId="{4ED16203-8AD1-4ABD-97EE-7973A9D3FB37}" type="pres">
      <dgm:prSet presAssocID="{6071CDF7-9D34-4E18-BA4A-9BB589D29FA4}" presName="conn2-1" presStyleLbl="parChTrans1D2" presStyleIdx="0" presStyleCnt="2"/>
      <dgm:spPr/>
    </dgm:pt>
    <dgm:pt modelId="{8FE18CC1-229E-446E-BFB9-62C0E6F757A3}" type="pres">
      <dgm:prSet presAssocID="{6071CDF7-9D34-4E18-BA4A-9BB589D29FA4}" presName="connTx" presStyleLbl="parChTrans1D2" presStyleIdx="0" presStyleCnt="2"/>
      <dgm:spPr/>
    </dgm:pt>
    <dgm:pt modelId="{FA186672-11AA-42FB-A821-D024B17D3897}" type="pres">
      <dgm:prSet presAssocID="{2E541449-2B6D-45D4-9D9A-9A12F003F9C5}" presName="root2" presStyleCnt="0"/>
      <dgm:spPr/>
    </dgm:pt>
    <dgm:pt modelId="{2D0C8AF7-8E9C-47D0-B50D-118A659842C3}" type="pres">
      <dgm:prSet presAssocID="{2E541449-2B6D-45D4-9D9A-9A12F003F9C5}" presName="LevelTwoTextNode" presStyleLbl="node2" presStyleIdx="0" presStyleCnt="2">
        <dgm:presLayoutVars>
          <dgm:chPref val="3"/>
        </dgm:presLayoutVars>
      </dgm:prSet>
      <dgm:spPr/>
    </dgm:pt>
    <dgm:pt modelId="{6FE01FA6-98A4-409D-B1CD-4BCA480C27C9}" type="pres">
      <dgm:prSet presAssocID="{2E541449-2B6D-45D4-9D9A-9A12F003F9C5}" presName="level3hierChild" presStyleCnt="0"/>
      <dgm:spPr/>
    </dgm:pt>
    <dgm:pt modelId="{8CA4B478-2CA9-4E7D-A2E7-F615ACE94B74}" type="pres">
      <dgm:prSet presAssocID="{63B2736F-AB84-42F8-8BAE-3F6590967CC3}" presName="conn2-1" presStyleLbl="parChTrans1D3" presStyleIdx="0" presStyleCnt="3"/>
      <dgm:spPr/>
    </dgm:pt>
    <dgm:pt modelId="{A8C9E54E-88BE-4BA3-AAE8-7B448C256902}" type="pres">
      <dgm:prSet presAssocID="{63B2736F-AB84-42F8-8BAE-3F6590967CC3}" presName="connTx" presStyleLbl="parChTrans1D3" presStyleIdx="0" presStyleCnt="3"/>
      <dgm:spPr/>
    </dgm:pt>
    <dgm:pt modelId="{9CBA4F5D-D294-47CB-8FFB-33A299B72F7B}" type="pres">
      <dgm:prSet presAssocID="{B3E289A3-4E13-4607-BA96-468D48C70776}" presName="root2" presStyleCnt="0"/>
      <dgm:spPr/>
    </dgm:pt>
    <dgm:pt modelId="{175FF41F-1CBA-4132-AAB5-1A766BE35B0A}" type="pres">
      <dgm:prSet presAssocID="{B3E289A3-4E13-4607-BA96-468D48C70776}" presName="LevelTwoTextNode" presStyleLbl="node3" presStyleIdx="0" presStyleCnt="3" custScaleX="137381">
        <dgm:presLayoutVars>
          <dgm:chPref val="3"/>
        </dgm:presLayoutVars>
      </dgm:prSet>
      <dgm:spPr/>
    </dgm:pt>
    <dgm:pt modelId="{9A388AA2-7D94-4FD0-AC24-2DA4CEEB6925}" type="pres">
      <dgm:prSet presAssocID="{B3E289A3-4E13-4607-BA96-468D48C70776}" presName="level3hierChild" presStyleCnt="0"/>
      <dgm:spPr/>
    </dgm:pt>
    <dgm:pt modelId="{32CB3A15-F536-4912-88D0-548D07D3313D}" type="pres">
      <dgm:prSet presAssocID="{3B1779E3-E6C7-440A-8A69-C46C54AB9EBB}" presName="conn2-1" presStyleLbl="parChTrans1D3" presStyleIdx="1" presStyleCnt="3"/>
      <dgm:spPr/>
    </dgm:pt>
    <dgm:pt modelId="{7FB8A7EE-3877-4EEE-B25C-CB91A691672D}" type="pres">
      <dgm:prSet presAssocID="{3B1779E3-E6C7-440A-8A69-C46C54AB9EBB}" presName="connTx" presStyleLbl="parChTrans1D3" presStyleIdx="1" presStyleCnt="3"/>
      <dgm:spPr/>
    </dgm:pt>
    <dgm:pt modelId="{0F96F7D0-C01E-45E4-80F0-7CA18B52CB76}" type="pres">
      <dgm:prSet presAssocID="{A189AA0D-D652-4335-80E4-AC3D7D85057B}" presName="root2" presStyleCnt="0"/>
      <dgm:spPr/>
    </dgm:pt>
    <dgm:pt modelId="{A857D84D-4C6E-4650-A39C-A6CCF3377C00}" type="pres">
      <dgm:prSet presAssocID="{A189AA0D-D652-4335-80E4-AC3D7D85057B}" presName="LevelTwoTextNode" presStyleLbl="node3" presStyleIdx="1" presStyleCnt="3" custScaleX="137381">
        <dgm:presLayoutVars>
          <dgm:chPref val="3"/>
        </dgm:presLayoutVars>
      </dgm:prSet>
      <dgm:spPr/>
    </dgm:pt>
    <dgm:pt modelId="{C4ECAE6D-12DE-4F6A-9DCF-6CAB9236A5D7}" type="pres">
      <dgm:prSet presAssocID="{A189AA0D-D652-4335-80E4-AC3D7D85057B}" presName="level3hierChild" presStyleCnt="0"/>
      <dgm:spPr/>
    </dgm:pt>
    <dgm:pt modelId="{B77E5F7B-B78B-4378-A328-EFBCDDCE7127}" type="pres">
      <dgm:prSet presAssocID="{11C541D7-853D-442C-8554-CDC78657876D}" presName="conn2-1" presStyleLbl="parChTrans1D3" presStyleIdx="2" presStyleCnt="3"/>
      <dgm:spPr/>
    </dgm:pt>
    <dgm:pt modelId="{7027494F-E6BC-41A2-8658-591EBCF673B8}" type="pres">
      <dgm:prSet presAssocID="{11C541D7-853D-442C-8554-CDC78657876D}" presName="connTx" presStyleLbl="parChTrans1D3" presStyleIdx="2" presStyleCnt="3"/>
      <dgm:spPr/>
    </dgm:pt>
    <dgm:pt modelId="{3907DD15-0656-4B6A-92E0-CC96940C5E56}" type="pres">
      <dgm:prSet presAssocID="{0A9EAA12-030F-4F50-9F30-4541E17BFC35}" presName="root2" presStyleCnt="0"/>
      <dgm:spPr/>
    </dgm:pt>
    <dgm:pt modelId="{9202F49A-8917-4CBC-8B9E-81681DAC3892}" type="pres">
      <dgm:prSet presAssocID="{0A9EAA12-030F-4F50-9F30-4541E17BFC35}" presName="LevelTwoTextNode" presStyleLbl="node3" presStyleIdx="2" presStyleCnt="3" custScaleX="137381">
        <dgm:presLayoutVars>
          <dgm:chPref val="3"/>
        </dgm:presLayoutVars>
      </dgm:prSet>
      <dgm:spPr/>
    </dgm:pt>
    <dgm:pt modelId="{41B8327A-E137-441F-9605-91BFDDB46733}" type="pres">
      <dgm:prSet presAssocID="{0A9EAA12-030F-4F50-9F30-4541E17BFC35}" presName="level3hierChild" presStyleCnt="0"/>
      <dgm:spPr/>
    </dgm:pt>
    <dgm:pt modelId="{AC62810A-E262-45E5-AC44-D547E11D17DC}" type="pres">
      <dgm:prSet presAssocID="{BBA57654-A8F9-4423-A435-EE7F529ECF8B}" presName="conn2-1" presStyleLbl="parChTrans1D2" presStyleIdx="1" presStyleCnt="2"/>
      <dgm:spPr/>
    </dgm:pt>
    <dgm:pt modelId="{49E0D885-D90A-4EBF-8859-59AA5E93CF0E}" type="pres">
      <dgm:prSet presAssocID="{BBA57654-A8F9-4423-A435-EE7F529ECF8B}" presName="connTx" presStyleLbl="parChTrans1D2" presStyleIdx="1" presStyleCnt="2"/>
      <dgm:spPr/>
    </dgm:pt>
    <dgm:pt modelId="{2037274D-FCCC-45EA-AC2A-AB0FB9C5C3D7}" type="pres">
      <dgm:prSet presAssocID="{DB14D919-14E5-4A9C-A10D-1CE0DF1FB957}" presName="root2" presStyleCnt="0"/>
      <dgm:spPr/>
    </dgm:pt>
    <dgm:pt modelId="{1B39954A-11A9-4D6D-AD84-55213F2068D4}" type="pres">
      <dgm:prSet presAssocID="{DB14D919-14E5-4A9C-A10D-1CE0DF1FB957}" presName="LevelTwoTextNode" presStyleLbl="node2" presStyleIdx="1" presStyleCnt="2">
        <dgm:presLayoutVars>
          <dgm:chPref val="3"/>
        </dgm:presLayoutVars>
      </dgm:prSet>
      <dgm:spPr/>
    </dgm:pt>
    <dgm:pt modelId="{0FCFAACB-9E2F-4102-B862-958CB138E79B}" type="pres">
      <dgm:prSet presAssocID="{DB14D919-14E5-4A9C-A10D-1CE0DF1FB957}" presName="level3hierChild" presStyleCnt="0"/>
      <dgm:spPr/>
    </dgm:pt>
  </dgm:ptLst>
  <dgm:cxnLst>
    <dgm:cxn modelId="{F82E1200-27CC-48A6-BFFF-257D14603455}" type="presOf" srcId="{B3E289A3-4E13-4607-BA96-468D48C70776}" destId="{175FF41F-1CBA-4132-AAB5-1A766BE35B0A}" srcOrd="0" destOrd="0" presId="urn:microsoft.com/office/officeart/2008/layout/HorizontalMultiLevelHierarchy"/>
    <dgm:cxn modelId="{4545B209-36ED-4037-A308-75C50C36F38C}" type="presOf" srcId="{11C541D7-853D-442C-8554-CDC78657876D}" destId="{7027494F-E6BC-41A2-8658-591EBCF673B8}" srcOrd="1" destOrd="0" presId="urn:microsoft.com/office/officeart/2008/layout/HorizontalMultiLevelHierarchy"/>
    <dgm:cxn modelId="{9268F916-7B14-4812-9027-596E14A58C90}" srcId="{2E541449-2B6D-45D4-9D9A-9A12F003F9C5}" destId="{B3E289A3-4E13-4607-BA96-468D48C70776}" srcOrd="0" destOrd="0" parTransId="{63B2736F-AB84-42F8-8BAE-3F6590967CC3}" sibTransId="{84F4A3D6-6274-421F-8101-C07D9C1FB3E8}"/>
    <dgm:cxn modelId="{1AF63B26-27A2-4B4E-8418-BAA7A3D30E6C}" type="presOf" srcId="{3B1779E3-E6C7-440A-8A69-C46C54AB9EBB}" destId="{7FB8A7EE-3877-4EEE-B25C-CB91A691672D}" srcOrd="1" destOrd="0" presId="urn:microsoft.com/office/officeart/2008/layout/HorizontalMultiLevelHierarchy"/>
    <dgm:cxn modelId="{9F0F9A2A-A1F5-42CC-A09D-41A375725C5B}" srcId="{2E541449-2B6D-45D4-9D9A-9A12F003F9C5}" destId="{A189AA0D-D652-4335-80E4-AC3D7D85057B}" srcOrd="1" destOrd="0" parTransId="{3B1779E3-E6C7-440A-8A69-C46C54AB9EBB}" sibTransId="{A7987A95-EB16-46AC-A441-FB1E19DC85CA}"/>
    <dgm:cxn modelId="{6AEC3440-1A40-4FC2-AD82-2745CFD0AF91}" type="presOf" srcId="{63B2736F-AB84-42F8-8BAE-3F6590967CC3}" destId="{8CA4B478-2CA9-4E7D-A2E7-F615ACE94B74}" srcOrd="0" destOrd="0" presId="urn:microsoft.com/office/officeart/2008/layout/HorizontalMultiLevelHierarchy"/>
    <dgm:cxn modelId="{66922C5D-8ECE-4955-B975-DE3DBB627B47}" type="presOf" srcId="{A62BB9FA-47A4-4980-8DD1-3930800BA586}" destId="{C0A15AFC-5515-460F-850E-53C5CDAC5B56}" srcOrd="0" destOrd="0" presId="urn:microsoft.com/office/officeart/2008/layout/HorizontalMultiLevelHierarchy"/>
    <dgm:cxn modelId="{1D978E46-F51E-48C6-97AB-0593749CD0D7}" srcId="{516A15AD-3C47-43A9-B57D-F106FF89BA7B}" destId="{A62BB9FA-47A4-4980-8DD1-3930800BA586}" srcOrd="0" destOrd="0" parTransId="{74E6ADA9-33AB-4D5D-868A-B1C9B5D2C3F9}" sibTransId="{BD97D11C-E396-435D-B023-9A3FC46AA302}"/>
    <dgm:cxn modelId="{7EB6D166-6A98-4021-ADBE-42E1CC039DD7}" srcId="{2E541449-2B6D-45D4-9D9A-9A12F003F9C5}" destId="{0A9EAA12-030F-4F50-9F30-4541E17BFC35}" srcOrd="2" destOrd="0" parTransId="{11C541D7-853D-442C-8554-CDC78657876D}" sibTransId="{70EFD6DD-7377-4C3C-AF2C-75B1F8BB5F87}"/>
    <dgm:cxn modelId="{9F730954-320D-497B-A672-11D8828748EF}" type="presOf" srcId="{63B2736F-AB84-42F8-8BAE-3F6590967CC3}" destId="{A8C9E54E-88BE-4BA3-AAE8-7B448C256902}" srcOrd="1" destOrd="0" presId="urn:microsoft.com/office/officeart/2008/layout/HorizontalMultiLevelHierarchy"/>
    <dgm:cxn modelId="{68571054-F13A-4D47-853B-8D7BAF8B70F3}" type="presOf" srcId="{3B1779E3-E6C7-440A-8A69-C46C54AB9EBB}" destId="{32CB3A15-F536-4912-88D0-548D07D3313D}" srcOrd="0" destOrd="0" presId="urn:microsoft.com/office/officeart/2008/layout/HorizontalMultiLevelHierarchy"/>
    <dgm:cxn modelId="{D96B6677-CAF0-472A-9384-E38D3F6B082E}" type="presOf" srcId="{BBA57654-A8F9-4423-A435-EE7F529ECF8B}" destId="{49E0D885-D90A-4EBF-8859-59AA5E93CF0E}" srcOrd="1" destOrd="0" presId="urn:microsoft.com/office/officeart/2008/layout/HorizontalMultiLevelHierarchy"/>
    <dgm:cxn modelId="{E2C47C81-0EC0-4B56-B1BD-93E0338FF8F6}" type="presOf" srcId="{6071CDF7-9D34-4E18-BA4A-9BB589D29FA4}" destId="{4ED16203-8AD1-4ABD-97EE-7973A9D3FB37}" srcOrd="0" destOrd="0" presId="urn:microsoft.com/office/officeart/2008/layout/HorizontalMultiLevelHierarchy"/>
    <dgm:cxn modelId="{B39B1A89-624A-4F0F-B714-35104073766F}" type="presOf" srcId="{A189AA0D-D652-4335-80E4-AC3D7D85057B}" destId="{A857D84D-4C6E-4650-A39C-A6CCF3377C00}" srcOrd="0" destOrd="0" presId="urn:microsoft.com/office/officeart/2008/layout/HorizontalMultiLevelHierarchy"/>
    <dgm:cxn modelId="{AA1C3A8B-8A1F-4967-8B26-D408823F365B}" type="presOf" srcId="{11C541D7-853D-442C-8554-CDC78657876D}" destId="{B77E5F7B-B78B-4378-A328-EFBCDDCE7127}" srcOrd="0" destOrd="0" presId="urn:microsoft.com/office/officeart/2008/layout/HorizontalMultiLevelHierarchy"/>
    <dgm:cxn modelId="{1408FC9D-F69D-40E1-A6EC-7E720B360416}" type="presOf" srcId="{0A9EAA12-030F-4F50-9F30-4541E17BFC35}" destId="{9202F49A-8917-4CBC-8B9E-81681DAC3892}" srcOrd="0" destOrd="0" presId="urn:microsoft.com/office/officeart/2008/layout/HorizontalMultiLevelHierarchy"/>
    <dgm:cxn modelId="{C77CE5A8-BE62-44B0-83C7-733A85298C2A}" type="presOf" srcId="{BBA57654-A8F9-4423-A435-EE7F529ECF8B}" destId="{AC62810A-E262-45E5-AC44-D547E11D17DC}" srcOrd="0" destOrd="0" presId="urn:microsoft.com/office/officeart/2008/layout/HorizontalMultiLevelHierarchy"/>
    <dgm:cxn modelId="{8EB7BCB1-4BBC-4AB4-A9E9-5BFDF3CC8615}" type="presOf" srcId="{516A15AD-3C47-43A9-B57D-F106FF89BA7B}" destId="{E1B3ED61-1449-440A-BED5-1A7B3D77CCCD}" srcOrd="0" destOrd="0" presId="urn:microsoft.com/office/officeart/2008/layout/HorizontalMultiLevelHierarchy"/>
    <dgm:cxn modelId="{CC14C2B5-7CDA-46FB-9452-4051FD23420C}" type="presOf" srcId="{6071CDF7-9D34-4E18-BA4A-9BB589D29FA4}" destId="{8FE18CC1-229E-446E-BFB9-62C0E6F757A3}" srcOrd="1" destOrd="0" presId="urn:microsoft.com/office/officeart/2008/layout/HorizontalMultiLevelHierarchy"/>
    <dgm:cxn modelId="{95FE05C9-80B2-42B7-86D9-2E1D52662682}" srcId="{A62BB9FA-47A4-4980-8DD1-3930800BA586}" destId="{2E541449-2B6D-45D4-9D9A-9A12F003F9C5}" srcOrd="0" destOrd="0" parTransId="{6071CDF7-9D34-4E18-BA4A-9BB589D29FA4}" sibTransId="{C645BCF1-E6F2-4089-AD21-18CE7D439C6B}"/>
    <dgm:cxn modelId="{949223CE-9ED3-45ED-AA09-9A05D63363E5}" type="presOf" srcId="{DB14D919-14E5-4A9C-A10D-1CE0DF1FB957}" destId="{1B39954A-11A9-4D6D-AD84-55213F2068D4}" srcOrd="0" destOrd="0" presId="urn:microsoft.com/office/officeart/2008/layout/HorizontalMultiLevelHierarchy"/>
    <dgm:cxn modelId="{0F5CD8CE-0AA4-41BE-8A7C-A75B088352CA}" type="presOf" srcId="{2E541449-2B6D-45D4-9D9A-9A12F003F9C5}" destId="{2D0C8AF7-8E9C-47D0-B50D-118A659842C3}" srcOrd="0" destOrd="0" presId="urn:microsoft.com/office/officeart/2008/layout/HorizontalMultiLevelHierarchy"/>
    <dgm:cxn modelId="{D3041FEC-772A-465E-ACAC-ECEC9F68995F}" srcId="{A62BB9FA-47A4-4980-8DD1-3930800BA586}" destId="{DB14D919-14E5-4A9C-A10D-1CE0DF1FB957}" srcOrd="1" destOrd="0" parTransId="{BBA57654-A8F9-4423-A435-EE7F529ECF8B}" sibTransId="{20CF0EC1-26B9-46A3-8F28-4E0727C8D75C}"/>
    <dgm:cxn modelId="{40C0F9C6-11BE-4099-8F65-46382CB44B48}" type="presParOf" srcId="{E1B3ED61-1449-440A-BED5-1A7B3D77CCCD}" destId="{2E586228-792E-44E5-907D-EE12B2D47975}" srcOrd="0" destOrd="0" presId="urn:microsoft.com/office/officeart/2008/layout/HorizontalMultiLevelHierarchy"/>
    <dgm:cxn modelId="{9B5B962A-C254-4783-AE29-FCB21DA76F77}" type="presParOf" srcId="{2E586228-792E-44E5-907D-EE12B2D47975}" destId="{C0A15AFC-5515-460F-850E-53C5CDAC5B56}" srcOrd="0" destOrd="0" presId="urn:microsoft.com/office/officeart/2008/layout/HorizontalMultiLevelHierarchy"/>
    <dgm:cxn modelId="{0A248F55-50D2-4A15-8C32-87A21B47706E}" type="presParOf" srcId="{2E586228-792E-44E5-907D-EE12B2D47975}" destId="{A6D9399A-D3F8-4E7A-A54F-A1C138CFFA16}" srcOrd="1" destOrd="0" presId="urn:microsoft.com/office/officeart/2008/layout/HorizontalMultiLevelHierarchy"/>
    <dgm:cxn modelId="{F8E9D892-88D3-454E-8E08-37020DA8B703}" type="presParOf" srcId="{A6D9399A-D3F8-4E7A-A54F-A1C138CFFA16}" destId="{4ED16203-8AD1-4ABD-97EE-7973A9D3FB37}" srcOrd="0" destOrd="0" presId="urn:microsoft.com/office/officeart/2008/layout/HorizontalMultiLevelHierarchy"/>
    <dgm:cxn modelId="{BEBC1A2F-81EA-4C0D-BACC-3E746DDA99E6}" type="presParOf" srcId="{4ED16203-8AD1-4ABD-97EE-7973A9D3FB37}" destId="{8FE18CC1-229E-446E-BFB9-62C0E6F757A3}" srcOrd="0" destOrd="0" presId="urn:microsoft.com/office/officeart/2008/layout/HorizontalMultiLevelHierarchy"/>
    <dgm:cxn modelId="{5572F133-DF1A-4825-830A-F442431DEAFE}" type="presParOf" srcId="{A6D9399A-D3F8-4E7A-A54F-A1C138CFFA16}" destId="{FA186672-11AA-42FB-A821-D024B17D3897}" srcOrd="1" destOrd="0" presId="urn:microsoft.com/office/officeart/2008/layout/HorizontalMultiLevelHierarchy"/>
    <dgm:cxn modelId="{30290127-626C-4DC9-BF61-AAEE6AF8D644}" type="presParOf" srcId="{FA186672-11AA-42FB-A821-D024B17D3897}" destId="{2D0C8AF7-8E9C-47D0-B50D-118A659842C3}" srcOrd="0" destOrd="0" presId="urn:microsoft.com/office/officeart/2008/layout/HorizontalMultiLevelHierarchy"/>
    <dgm:cxn modelId="{EBF5C4AF-9C1D-4BAB-955C-51234936DD21}" type="presParOf" srcId="{FA186672-11AA-42FB-A821-D024B17D3897}" destId="{6FE01FA6-98A4-409D-B1CD-4BCA480C27C9}" srcOrd="1" destOrd="0" presId="urn:microsoft.com/office/officeart/2008/layout/HorizontalMultiLevelHierarchy"/>
    <dgm:cxn modelId="{EB4F2A3A-3C07-4F54-BBA7-FA3FFF58C2DA}" type="presParOf" srcId="{6FE01FA6-98A4-409D-B1CD-4BCA480C27C9}" destId="{8CA4B478-2CA9-4E7D-A2E7-F615ACE94B74}" srcOrd="0" destOrd="0" presId="urn:microsoft.com/office/officeart/2008/layout/HorizontalMultiLevelHierarchy"/>
    <dgm:cxn modelId="{693052A6-B42C-4A51-9071-33CDE9533B76}" type="presParOf" srcId="{8CA4B478-2CA9-4E7D-A2E7-F615ACE94B74}" destId="{A8C9E54E-88BE-4BA3-AAE8-7B448C256902}" srcOrd="0" destOrd="0" presId="urn:microsoft.com/office/officeart/2008/layout/HorizontalMultiLevelHierarchy"/>
    <dgm:cxn modelId="{0D243D10-9F83-48D2-9C70-5E9DF0402D87}" type="presParOf" srcId="{6FE01FA6-98A4-409D-B1CD-4BCA480C27C9}" destId="{9CBA4F5D-D294-47CB-8FFB-33A299B72F7B}" srcOrd="1" destOrd="0" presId="urn:microsoft.com/office/officeart/2008/layout/HorizontalMultiLevelHierarchy"/>
    <dgm:cxn modelId="{E077532E-17AB-4F0F-85FD-88FE8EF853EB}" type="presParOf" srcId="{9CBA4F5D-D294-47CB-8FFB-33A299B72F7B}" destId="{175FF41F-1CBA-4132-AAB5-1A766BE35B0A}" srcOrd="0" destOrd="0" presId="urn:microsoft.com/office/officeart/2008/layout/HorizontalMultiLevelHierarchy"/>
    <dgm:cxn modelId="{49070AFF-8052-4814-AEBB-27508C117636}" type="presParOf" srcId="{9CBA4F5D-D294-47CB-8FFB-33A299B72F7B}" destId="{9A388AA2-7D94-4FD0-AC24-2DA4CEEB6925}" srcOrd="1" destOrd="0" presId="urn:microsoft.com/office/officeart/2008/layout/HorizontalMultiLevelHierarchy"/>
    <dgm:cxn modelId="{FA4635D2-4DBD-4F11-8DD6-20FA109E76F7}" type="presParOf" srcId="{6FE01FA6-98A4-409D-B1CD-4BCA480C27C9}" destId="{32CB3A15-F536-4912-88D0-548D07D3313D}" srcOrd="2" destOrd="0" presId="urn:microsoft.com/office/officeart/2008/layout/HorizontalMultiLevelHierarchy"/>
    <dgm:cxn modelId="{83793B27-26A5-42BF-A3C5-A73DBBC62423}" type="presParOf" srcId="{32CB3A15-F536-4912-88D0-548D07D3313D}" destId="{7FB8A7EE-3877-4EEE-B25C-CB91A691672D}" srcOrd="0" destOrd="0" presId="urn:microsoft.com/office/officeart/2008/layout/HorizontalMultiLevelHierarchy"/>
    <dgm:cxn modelId="{C9E22618-4635-4B94-829D-D76FBB6EF366}" type="presParOf" srcId="{6FE01FA6-98A4-409D-B1CD-4BCA480C27C9}" destId="{0F96F7D0-C01E-45E4-80F0-7CA18B52CB76}" srcOrd="3" destOrd="0" presId="urn:microsoft.com/office/officeart/2008/layout/HorizontalMultiLevelHierarchy"/>
    <dgm:cxn modelId="{187B0A7A-9F6C-4885-BCA1-CD10878EA5A1}" type="presParOf" srcId="{0F96F7D0-C01E-45E4-80F0-7CA18B52CB76}" destId="{A857D84D-4C6E-4650-A39C-A6CCF3377C00}" srcOrd="0" destOrd="0" presId="urn:microsoft.com/office/officeart/2008/layout/HorizontalMultiLevelHierarchy"/>
    <dgm:cxn modelId="{46C393C0-0776-4D8D-AFDC-DA58023B3119}" type="presParOf" srcId="{0F96F7D0-C01E-45E4-80F0-7CA18B52CB76}" destId="{C4ECAE6D-12DE-4F6A-9DCF-6CAB9236A5D7}" srcOrd="1" destOrd="0" presId="urn:microsoft.com/office/officeart/2008/layout/HorizontalMultiLevelHierarchy"/>
    <dgm:cxn modelId="{15B36479-EFF3-42DE-B6F4-14DD27A0ED3D}" type="presParOf" srcId="{6FE01FA6-98A4-409D-B1CD-4BCA480C27C9}" destId="{B77E5F7B-B78B-4378-A328-EFBCDDCE7127}" srcOrd="4" destOrd="0" presId="urn:microsoft.com/office/officeart/2008/layout/HorizontalMultiLevelHierarchy"/>
    <dgm:cxn modelId="{28AEAC1D-C173-40CB-8C12-C3E83EA98FDD}" type="presParOf" srcId="{B77E5F7B-B78B-4378-A328-EFBCDDCE7127}" destId="{7027494F-E6BC-41A2-8658-591EBCF673B8}" srcOrd="0" destOrd="0" presId="urn:microsoft.com/office/officeart/2008/layout/HorizontalMultiLevelHierarchy"/>
    <dgm:cxn modelId="{5529B6CA-A1F4-4404-A2FE-21338E29E883}" type="presParOf" srcId="{6FE01FA6-98A4-409D-B1CD-4BCA480C27C9}" destId="{3907DD15-0656-4B6A-92E0-CC96940C5E56}" srcOrd="5" destOrd="0" presId="urn:microsoft.com/office/officeart/2008/layout/HorizontalMultiLevelHierarchy"/>
    <dgm:cxn modelId="{E7F4D1C5-97C7-40B0-BCFF-FE5E2AFD4EEC}" type="presParOf" srcId="{3907DD15-0656-4B6A-92E0-CC96940C5E56}" destId="{9202F49A-8917-4CBC-8B9E-81681DAC3892}" srcOrd="0" destOrd="0" presId="urn:microsoft.com/office/officeart/2008/layout/HorizontalMultiLevelHierarchy"/>
    <dgm:cxn modelId="{5E9D833D-2499-4143-9915-59B0AB54F4BE}" type="presParOf" srcId="{3907DD15-0656-4B6A-92E0-CC96940C5E56}" destId="{41B8327A-E137-441F-9605-91BFDDB46733}" srcOrd="1" destOrd="0" presId="urn:microsoft.com/office/officeart/2008/layout/HorizontalMultiLevelHierarchy"/>
    <dgm:cxn modelId="{CC0ADB1A-B91A-4772-A259-E489EDBC19B2}" type="presParOf" srcId="{A6D9399A-D3F8-4E7A-A54F-A1C138CFFA16}" destId="{AC62810A-E262-45E5-AC44-D547E11D17DC}" srcOrd="2" destOrd="0" presId="urn:microsoft.com/office/officeart/2008/layout/HorizontalMultiLevelHierarchy"/>
    <dgm:cxn modelId="{2C73F866-2350-4D11-85B6-195E7583C3AB}" type="presParOf" srcId="{AC62810A-E262-45E5-AC44-D547E11D17DC}" destId="{49E0D885-D90A-4EBF-8859-59AA5E93CF0E}" srcOrd="0" destOrd="0" presId="urn:microsoft.com/office/officeart/2008/layout/HorizontalMultiLevelHierarchy"/>
    <dgm:cxn modelId="{983C8CC3-FAC9-446C-A1CE-567E9B50117F}" type="presParOf" srcId="{A6D9399A-D3F8-4E7A-A54F-A1C138CFFA16}" destId="{2037274D-FCCC-45EA-AC2A-AB0FB9C5C3D7}" srcOrd="3" destOrd="0" presId="urn:microsoft.com/office/officeart/2008/layout/HorizontalMultiLevelHierarchy"/>
    <dgm:cxn modelId="{06E1F63A-755C-4112-9382-0DD56D9361A1}" type="presParOf" srcId="{2037274D-FCCC-45EA-AC2A-AB0FB9C5C3D7}" destId="{1B39954A-11A9-4D6D-AD84-55213F2068D4}" srcOrd="0" destOrd="0" presId="urn:microsoft.com/office/officeart/2008/layout/HorizontalMultiLevelHierarchy"/>
    <dgm:cxn modelId="{A8FCC4FE-56B7-4032-8C4F-39721597A4CD}" type="presParOf" srcId="{2037274D-FCCC-45EA-AC2A-AB0FB9C5C3D7}" destId="{0FCFAACB-9E2F-4102-B862-958CB138E79B}"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8859148-DC55-4246-BB7E-8001B8E3929F}" type="doc">
      <dgm:prSet loTypeId="urn:microsoft.com/office/officeart/2005/8/layout/hierarchy1" loCatId="hierarchy" qsTypeId="urn:microsoft.com/office/officeart/2005/8/quickstyle/simple1" qsCatId="simple" csTypeId="urn:microsoft.com/office/officeart/2005/8/colors/accent6_2" csCatId="accent6" phldr="1"/>
      <dgm:spPr/>
      <dgm:t>
        <a:bodyPr/>
        <a:lstStyle/>
        <a:p>
          <a:endParaRPr lang="en-US"/>
        </a:p>
      </dgm:t>
    </dgm:pt>
    <dgm:pt modelId="{EEA9F174-9A29-4D54-A6E9-454693A4ABE8}">
      <dgm:prSet phldrT="[Text]" custT="1"/>
      <dgm:spPr/>
      <dgm:t>
        <a:bodyPr/>
        <a:lstStyle/>
        <a:p>
          <a:r>
            <a:rPr lang="en-US" sz="1400" b="1" dirty="0">
              <a:latin typeface="Cambria" panose="02040503050406030204" pitchFamily="18" charset="0"/>
              <a:ea typeface="Cambria" panose="02040503050406030204" pitchFamily="18" charset="0"/>
            </a:rPr>
            <a:t>N2832</a:t>
          </a:r>
        </a:p>
      </dgm:t>
    </dgm:pt>
    <dgm:pt modelId="{2F21B2AE-79B9-4480-AA08-91796F0EC38B}" type="parTrans" cxnId="{266C4A9C-D8B6-42D1-881A-134E342BD5CD}">
      <dgm:prSet/>
      <dgm:spPr/>
      <dgm:t>
        <a:bodyPr/>
        <a:lstStyle/>
        <a:p>
          <a:endParaRPr lang="en-US" sz="1200" b="1">
            <a:latin typeface="Cambria" panose="02040503050406030204" pitchFamily="18" charset="0"/>
            <a:ea typeface="Cambria" panose="02040503050406030204" pitchFamily="18" charset="0"/>
          </a:endParaRPr>
        </a:p>
      </dgm:t>
    </dgm:pt>
    <dgm:pt modelId="{F24D0553-B374-4A16-8A12-1120EF8B9320}" type="sibTrans" cxnId="{266C4A9C-D8B6-42D1-881A-134E342BD5CD}">
      <dgm:prSet/>
      <dgm:spPr/>
      <dgm:t>
        <a:bodyPr/>
        <a:lstStyle/>
        <a:p>
          <a:endParaRPr lang="en-US" sz="1200" b="1">
            <a:latin typeface="Cambria" panose="02040503050406030204" pitchFamily="18" charset="0"/>
            <a:ea typeface="Cambria" panose="02040503050406030204" pitchFamily="18" charset="0"/>
          </a:endParaRPr>
        </a:p>
      </dgm:t>
    </dgm:pt>
    <dgm:pt modelId="{D0D30B79-0355-499D-B173-969EB15BABA6}">
      <dgm:prSet phldrT="[Text]" custT="1"/>
      <dgm:spPr/>
      <dgm:t>
        <a:bodyPr/>
        <a:lstStyle/>
        <a:p>
          <a:r>
            <a:rPr lang="en-US" sz="1200" b="1" dirty="0">
              <a:latin typeface="Cambria" panose="02040503050406030204" pitchFamily="18" charset="0"/>
              <a:ea typeface="Cambria" panose="02040503050406030204" pitchFamily="18" charset="0"/>
            </a:rPr>
            <a:t>Mining , OB and Irrigation, Port</a:t>
          </a:r>
        </a:p>
      </dgm:t>
    </dgm:pt>
    <dgm:pt modelId="{79CBF1F4-ABF1-4E29-AF9B-0123EEE14DAF}" type="parTrans" cxnId="{0A68D9D7-6317-4FAD-9548-7E64F729F633}">
      <dgm:prSet/>
      <dgm:spPr/>
      <dgm:t>
        <a:bodyPr/>
        <a:lstStyle/>
        <a:p>
          <a:endParaRPr lang="en-US" sz="1200" b="1">
            <a:latin typeface="Cambria" panose="02040503050406030204" pitchFamily="18" charset="0"/>
            <a:ea typeface="Cambria" panose="02040503050406030204" pitchFamily="18" charset="0"/>
          </a:endParaRPr>
        </a:p>
      </dgm:t>
    </dgm:pt>
    <dgm:pt modelId="{99557DFC-8166-4FCC-9174-CD58F75F5CFC}" type="sibTrans" cxnId="{0A68D9D7-6317-4FAD-9548-7E64F729F633}">
      <dgm:prSet/>
      <dgm:spPr/>
      <dgm:t>
        <a:bodyPr/>
        <a:lstStyle/>
        <a:p>
          <a:endParaRPr lang="en-US" sz="1200" b="1">
            <a:latin typeface="Cambria" panose="02040503050406030204" pitchFamily="18" charset="0"/>
            <a:ea typeface="Cambria" panose="02040503050406030204" pitchFamily="18" charset="0"/>
          </a:endParaRPr>
        </a:p>
      </dgm:t>
    </dgm:pt>
    <dgm:pt modelId="{398A8809-9E4C-4D9C-85E5-4E19A70DB26B}">
      <dgm:prSet phldrT="[Text]" custT="1"/>
      <dgm:spPr/>
      <dgm:t>
        <a:bodyPr/>
        <a:lstStyle/>
        <a:p>
          <a:r>
            <a:rPr lang="en-US" sz="1200" b="1" dirty="0">
              <a:latin typeface="Cambria" panose="02040503050406030204" pitchFamily="18" charset="0"/>
              <a:ea typeface="Cambria" panose="02040503050406030204" pitchFamily="18" charset="0"/>
            </a:rPr>
            <a:t>16/18 Box with 25% Canopy</a:t>
          </a:r>
        </a:p>
      </dgm:t>
    </dgm:pt>
    <dgm:pt modelId="{D61BDFFC-2951-46F5-8692-078C4C60C6A0}" type="parTrans" cxnId="{676B8C73-7CE0-4E37-9BBC-CC5AA17FD259}">
      <dgm:prSet/>
      <dgm:spPr/>
      <dgm:t>
        <a:bodyPr/>
        <a:lstStyle/>
        <a:p>
          <a:endParaRPr lang="en-US" sz="1200" b="1">
            <a:latin typeface="Cambria" panose="02040503050406030204" pitchFamily="18" charset="0"/>
            <a:ea typeface="Cambria" panose="02040503050406030204" pitchFamily="18" charset="0"/>
          </a:endParaRPr>
        </a:p>
      </dgm:t>
    </dgm:pt>
    <dgm:pt modelId="{08BD512A-7AE0-4191-9C3C-734504BCF5D2}" type="sibTrans" cxnId="{676B8C73-7CE0-4E37-9BBC-CC5AA17FD259}">
      <dgm:prSet/>
      <dgm:spPr/>
      <dgm:t>
        <a:bodyPr/>
        <a:lstStyle/>
        <a:p>
          <a:endParaRPr lang="en-US" sz="1200" b="1">
            <a:latin typeface="Cambria" panose="02040503050406030204" pitchFamily="18" charset="0"/>
            <a:ea typeface="Cambria" panose="02040503050406030204" pitchFamily="18" charset="0"/>
          </a:endParaRPr>
        </a:p>
      </dgm:t>
    </dgm:pt>
    <dgm:pt modelId="{C7131179-FFA5-43A2-B732-9EAC0571BD29}">
      <dgm:prSet phldrT="[Text]" custT="1"/>
      <dgm:spPr/>
      <dgm:t>
        <a:bodyPr/>
        <a:lstStyle/>
        <a:p>
          <a:r>
            <a:rPr lang="en-US" sz="1200" b="1" dirty="0">
              <a:latin typeface="Cambria" panose="02040503050406030204" pitchFamily="18" charset="0"/>
              <a:ea typeface="Cambria" panose="02040503050406030204" pitchFamily="18" charset="0"/>
            </a:rPr>
            <a:t>16 Rock  with  100% Canopy</a:t>
          </a:r>
        </a:p>
      </dgm:t>
    </dgm:pt>
    <dgm:pt modelId="{82667D8F-76F8-4C7F-9B30-64CF23B5D682}" type="parTrans" cxnId="{F4463798-2D36-453D-B5DC-B2A91F2C3D6B}">
      <dgm:prSet/>
      <dgm:spPr/>
      <dgm:t>
        <a:bodyPr/>
        <a:lstStyle/>
        <a:p>
          <a:endParaRPr lang="en-US" sz="1200" b="1">
            <a:latin typeface="Cambria" panose="02040503050406030204" pitchFamily="18" charset="0"/>
            <a:ea typeface="Cambria" panose="02040503050406030204" pitchFamily="18" charset="0"/>
          </a:endParaRPr>
        </a:p>
      </dgm:t>
    </dgm:pt>
    <dgm:pt modelId="{46DB3CE6-E94B-48BF-89C8-10EB7D430A07}" type="sibTrans" cxnId="{F4463798-2D36-453D-B5DC-B2A91F2C3D6B}">
      <dgm:prSet/>
      <dgm:spPr/>
      <dgm:t>
        <a:bodyPr/>
        <a:lstStyle/>
        <a:p>
          <a:endParaRPr lang="en-US" sz="1200" b="1">
            <a:latin typeface="Cambria" panose="02040503050406030204" pitchFamily="18" charset="0"/>
            <a:ea typeface="Cambria" panose="02040503050406030204" pitchFamily="18" charset="0"/>
          </a:endParaRPr>
        </a:p>
      </dgm:t>
    </dgm:pt>
    <dgm:pt modelId="{11CE6025-6EDD-4803-B551-AAC5CD8C48FB}">
      <dgm:prSet phldrT="[Text]" custT="1"/>
      <dgm:spPr/>
      <dgm:t>
        <a:bodyPr/>
        <a:lstStyle/>
        <a:p>
          <a:r>
            <a:rPr lang="en-US" sz="1200" b="1" dirty="0">
              <a:latin typeface="Cambria" panose="02040503050406030204" pitchFamily="18" charset="0"/>
              <a:ea typeface="Cambria" panose="02040503050406030204" pitchFamily="18" charset="0"/>
            </a:rPr>
            <a:t>Quarry and Construction</a:t>
          </a:r>
        </a:p>
      </dgm:t>
    </dgm:pt>
    <dgm:pt modelId="{DE68D42A-5130-4177-9240-24D384397C8E}" type="parTrans" cxnId="{9CE390A7-B3D3-4F80-BA8B-A4FED19FC6A3}">
      <dgm:prSet/>
      <dgm:spPr/>
      <dgm:t>
        <a:bodyPr/>
        <a:lstStyle/>
        <a:p>
          <a:endParaRPr lang="en-US" sz="1200" b="1">
            <a:latin typeface="Cambria" panose="02040503050406030204" pitchFamily="18" charset="0"/>
            <a:ea typeface="Cambria" panose="02040503050406030204" pitchFamily="18" charset="0"/>
          </a:endParaRPr>
        </a:p>
      </dgm:t>
    </dgm:pt>
    <dgm:pt modelId="{01DB74DA-F615-4733-AD5A-DADC60495020}" type="sibTrans" cxnId="{9CE390A7-B3D3-4F80-BA8B-A4FED19FC6A3}">
      <dgm:prSet/>
      <dgm:spPr/>
      <dgm:t>
        <a:bodyPr/>
        <a:lstStyle/>
        <a:p>
          <a:endParaRPr lang="en-US" sz="1200" b="1">
            <a:latin typeface="Cambria" panose="02040503050406030204" pitchFamily="18" charset="0"/>
            <a:ea typeface="Cambria" panose="02040503050406030204" pitchFamily="18" charset="0"/>
          </a:endParaRPr>
        </a:p>
      </dgm:t>
    </dgm:pt>
    <dgm:pt modelId="{8E10F182-1ACA-4865-B641-1914A99721A3}">
      <dgm:prSet phldrT="[Text]" custT="1"/>
      <dgm:spPr/>
      <dgm:t>
        <a:bodyPr/>
        <a:lstStyle/>
        <a:p>
          <a:r>
            <a:rPr lang="en-US" sz="1200" b="1" dirty="0">
              <a:latin typeface="Cambria" panose="02040503050406030204" pitchFamily="18" charset="0"/>
              <a:ea typeface="Cambria" panose="02040503050406030204" pitchFamily="18" charset="0"/>
            </a:rPr>
            <a:t>16/18 Box with 25% Canopy</a:t>
          </a:r>
        </a:p>
      </dgm:t>
    </dgm:pt>
    <dgm:pt modelId="{DE4DDFA5-27F9-4E9B-BBA7-F1956C0B85F6}" type="parTrans" cxnId="{39E03C94-9A68-4252-BAB0-AD839146A785}">
      <dgm:prSet/>
      <dgm:spPr/>
      <dgm:t>
        <a:bodyPr/>
        <a:lstStyle/>
        <a:p>
          <a:endParaRPr lang="en-US" sz="1200" b="1">
            <a:latin typeface="Cambria" panose="02040503050406030204" pitchFamily="18" charset="0"/>
            <a:ea typeface="Cambria" panose="02040503050406030204" pitchFamily="18" charset="0"/>
          </a:endParaRPr>
        </a:p>
      </dgm:t>
    </dgm:pt>
    <dgm:pt modelId="{46C94504-4DB9-4EFA-8374-A758FCC23BF0}" type="sibTrans" cxnId="{39E03C94-9A68-4252-BAB0-AD839146A785}">
      <dgm:prSet/>
      <dgm:spPr/>
      <dgm:t>
        <a:bodyPr/>
        <a:lstStyle/>
        <a:p>
          <a:endParaRPr lang="en-US" sz="1200" b="1">
            <a:latin typeface="Cambria" panose="02040503050406030204" pitchFamily="18" charset="0"/>
            <a:ea typeface="Cambria" panose="02040503050406030204" pitchFamily="18" charset="0"/>
          </a:endParaRPr>
        </a:p>
      </dgm:t>
    </dgm:pt>
    <dgm:pt modelId="{F9B46C15-63CA-46DE-8E23-E0EEFFDE6989}">
      <dgm:prSet phldrT="[Text]" custT="1"/>
      <dgm:spPr/>
      <dgm:t>
        <a:bodyPr/>
        <a:lstStyle/>
        <a:p>
          <a:r>
            <a:rPr lang="en-US" sz="1200" b="1" dirty="0">
              <a:latin typeface="Cambria" panose="02040503050406030204" pitchFamily="18" charset="0"/>
              <a:ea typeface="Cambria" panose="02040503050406030204" pitchFamily="18" charset="0"/>
            </a:rPr>
            <a:t>16 Rock with 100% Canopy</a:t>
          </a:r>
        </a:p>
      </dgm:t>
    </dgm:pt>
    <dgm:pt modelId="{F9905F81-C6FF-4070-892D-8E65AE18BB25}" type="parTrans" cxnId="{27086899-4687-4170-9548-F9B7A25829CA}">
      <dgm:prSet/>
      <dgm:spPr/>
      <dgm:t>
        <a:bodyPr/>
        <a:lstStyle/>
        <a:p>
          <a:endParaRPr lang="en-US" sz="1200" b="1">
            <a:latin typeface="Cambria" panose="02040503050406030204" pitchFamily="18" charset="0"/>
            <a:ea typeface="Cambria" panose="02040503050406030204" pitchFamily="18" charset="0"/>
          </a:endParaRPr>
        </a:p>
      </dgm:t>
    </dgm:pt>
    <dgm:pt modelId="{EBC5F948-84EA-41A8-862A-60B1184BFE54}" type="sibTrans" cxnId="{27086899-4687-4170-9548-F9B7A25829CA}">
      <dgm:prSet/>
      <dgm:spPr/>
      <dgm:t>
        <a:bodyPr/>
        <a:lstStyle/>
        <a:p>
          <a:endParaRPr lang="en-US" sz="1200" b="1">
            <a:latin typeface="Cambria" panose="02040503050406030204" pitchFamily="18" charset="0"/>
            <a:ea typeface="Cambria" panose="02040503050406030204" pitchFamily="18" charset="0"/>
          </a:endParaRPr>
        </a:p>
      </dgm:t>
    </dgm:pt>
    <dgm:pt modelId="{8943604C-C494-4760-A04E-0DE37503916E}">
      <dgm:prSet phldrT="[Text]" custT="1"/>
      <dgm:spPr/>
      <dgm:t>
        <a:bodyPr/>
        <a:lstStyle/>
        <a:p>
          <a:r>
            <a:rPr lang="en-US" sz="1100" b="1" dirty="0">
              <a:latin typeface="Cambria" panose="02040503050406030204" pitchFamily="18" charset="0"/>
              <a:ea typeface="Cambria" panose="02040503050406030204" pitchFamily="18" charset="0"/>
            </a:rPr>
            <a:t>11x20 Mine Lug</a:t>
          </a:r>
        </a:p>
        <a:p>
          <a:r>
            <a:rPr lang="en-US" sz="1100" b="1" dirty="0">
              <a:latin typeface="Cambria" panose="02040503050406030204" pitchFamily="18" charset="0"/>
              <a:ea typeface="Cambria" panose="02040503050406030204" pitchFamily="18" charset="0"/>
            </a:rPr>
            <a:t>12x20 Mine lug opt.</a:t>
          </a:r>
        </a:p>
      </dgm:t>
    </dgm:pt>
    <dgm:pt modelId="{BCC53F54-8B28-4EB8-9B8B-CCBBCC748366}" type="parTrans" cxnId="{7E43780F-00A6-42D3-8260-D91FEB6FD211}">
      <dgm:prSet/>
      <dgm:spPr/>
      <dgm:t>
        <a:bodyPr/>
        <a:lstStyle/>
        <a:p>
          <a:endParaRPr lang="en-US" sz="1200" b="1">
            <a:latin typeface="Cambria" panose="02040503050406030204" pitchFamily="18" charset="0"/>
            <a:ea typeface="Cambria" panose="02040503050406030204" pitchFamily="18" charset="0"/>
          </a:endParaRPr>
        </a:p>
      </dgm:t>
    </dgm:pt>
    <dgm:pt modelId="{0C784266-A17A-4F07-ABB5-176D13402E2C}" type="sibTrans" cxnId="{7E43780F-00A6-42D3-8260-D91FEB6FD211}">
      <dgm:prSet/>
      <dgm:spPr/>
      <dgm:t>
        <a:bodyPr/>
        <a:lstStyle/>
        <a:p>
          <a:endParaRPr lang="en-US" sz="1200" b="1">
            <a:latin typeface="Cambria" panose="02040503050406030204" pitchFamily="18" charset="0"/>
            <a:ea typeface="Cambria" panose="02040503050406030204" pitchFamily="18" charset="0"/>
          </a:endParaRPr>
        </a:p>
      </dgm:t>
    </dgm:pt>
    <dgm:pt modelId="{E21C073A-F37C-4A83-BF09-B5E0A2D05FD2}">
      <dgm:prSet phldrT="[Text]" custT="1"/>
      <dgm:spPr/>
      <dgm:t>
        <a:bodyPr/>
        <a:lstStyle/>
        <a:p>
          <a:r>
            <a:rPr lang="en-US" sz="1100" b="1" dirty="0">
              <a:latin typeface="Cambria" panose="02040503050406030204" pitchFamily="18" charset="0"/>
              <a:ea typeface="Cambria" panose="02040503050406030204" pitchFamily="18" charset="0"/>
            </a:rPr>
            <a:t>11x20 Mine Lug</a:t>
          </a:r>
        </a:p>
        <a:p>
          <a:r>
            <a:rPr lang="en-US" sz="1100" b="1" dirty="0">
              <a:latin typeface="Cambria" panose="02040503050406030204" pitchFamily="18" charset="0"/>
              <a:ea typeface="Cambria" panose="02040503050406030204" pitchFamily="18" charset="0"/>
            </a:rPr>
            <a:t>12x20 Mine lug opt.</a:t>
          </a:r>
        </a:p>
      </dgm:t>
    </dgm:pt>
    <dgm:pt modelId="{AACA3F34-876D-41BB-B723-0C13BA318331}" type="parTrans" cxnId="{AD577423-72C7-4628-B0FC-EE69ED27566F}">
      <dgm:prSet/>
      <dgm:spPr/>
      <dgm:t>
        <a:bodyPr/>
        <a:lstStyle/>
        <a:p>
          <a:endParaRPr lang="en-US" sz="1200" b="1">
            <a:latin typeface="Cambria" panose="02040503050406030204" pitchFamily="18" charset="0"/>
            <a:ea typeface="Cambria" panose="02040503050406030204" pitchFamily="18" charset="0"/>
          </a:endParaRPr>
        </a:p>
      </dgm:t>
    </dgm:pt>
    <dgm:pt modelId="{6E144C90-5C8B-4684-9B39-299769B30717}" type="sibTrans" cxnId="{AD577423-72C7-4628-B0FC-EE69ED27566F}">
      <dgm:prSet/>
      <dgm:spPr/>
      <dgm:t>
        <a:bodyPr/>
        <a:lstStyle/>
        <a:p>
          <a:endParaRPr lang="en-US" sz="1200" b="1">
            <a:latin typeface="Cambria" panose="02040503050406030204" pitchFamily="18" charset="0"/>
            <a:ea typeface="Cambria" panose="02040503050406030204" pitchFamily="18" charset="0"/>
          </a:endParaRPr>
        </a:p>
      </dgm:t>
    </dgm:pt>
    <dgm:pt modelId="{E9F066BD-DFA5-4F9C-81AC-7C1F03D16FEB}">
      <dgm:prSet phldrT="[Text]" custT="1"/>
      <dgm:spPr/>
      <dgm:t>
        <a:bodyPr/>
        <a:lstStyle/>
        <a:p>
          <a:r>
            <a:rPr lang="en-US" sz="1100" b="1" dirty="0">
              <a:latin typeface="Cambria" panose="02040503050406030204" pitchFamily="18" charset="0"/>
              <a:ea typeface="Cambria" panose="02040503050406030204" pitchFamily="18" charset="0"/>
            </a:rPr>
            <a:t>11x20 Mine Lug</a:t>
          </a:r>
        </a:p>
        <a:p>
          <a:r>
            <a:rPr lang="en-US" sz="1100" b="1" dirty="0">
              <a:latin typeface="Cambria" panose="02040503050406030204" pitchFamily="18" charset="0"/>
              <a:ea typeface="Cambria" panose="02040503050406030204" pitchFamily="18" charset="0"/>
            </a:rPr>
            <a:t>12x20 Mine lug opt.</a:t>
          </a:r>
        </a:p>
      </dgm:t>
    </dgm:pt>
    <dgm:pt modelId="{39E18A7C-5381-412B-9203-A24F76D577B7}" type="parTrans" cxnId="{8AF731CB-C989-473A-A1F9-6299F9342517}">
      <dgm:prSet/>
      <dgm:spPr/>
      <dgm:t>
        <a:bodyPr/>
        <a:lstStyle/>
        <a:p>
          <a:endParaRPr lang="en-US" sz="1200" b="1">
            <a:latin typeface="Cambria" panose="02040503050406030204" pitchFamily="18" charset="0"/>
            <a:ea typeface="Cambria" panose="02040503050406030204" pitchFamily="18" charset="0"/>
          </a:endParaRPr>
        </a:p>
      </dgm:t>
    </dgm:pt>
    <dgm:pt modelId="{6BF08958-2A8F-4365-9CEF-96130546A656}" type="sibTrans" cxnId="{8AF731CB-C989-473A-A1F9-6299F9342517}">
      <dgm:prSet/>
      <dgm:spPr/>
      <dgm:t>
        <a:bodyPr/>
        <a:lstStyle/>
        <a:p>
          <a:endParaRPr lang="en-US" sz="1200" b="1">
            <a:latin typeface="Cambria" panose="02040503050406030204" pitchFamily="18" charset="0"/>
            <a:ea typeface="Cambria" panose="02040503050406030204" pitchFamily="18" charset="0"/>
          </a:endParaRPr>
        </a:p>
      </dgm:t>
    </dgm:pt>
    <dgm:pt modelId="{E23CC43F-C8EE-45D5-8BBB-A95B0E4760B7}">
      <dgm:prSet phldrT="[Text]" custT="1"/>
      <dgm:spPr/>
      <dgm:t>
        <a:bodyPr/>
        <a:lstStyle/>
        <a:p>
          <a:r>
            <a:rPr lang="en-US" sz="1100" b="1" dirty="0">
              <a:latin typeface="Cambria" panose="02040503050406030204" pitchFamily="18" charset="0"/>
              <a:ea typeface="Cambria" panose="02040503050406030204" pitchFamily="18" charset="0"/>
            </a:rPr>
            <a:t>11x20 Mine Lug</a:t>
          </a:r>
        </a:p>
        <a:p>
          <a:r>
            <a:rPr lang="en-US" sz="1100" b="1" dirty="0">
              <a:latin typeface="Cambria" panose="02040503050406030204" pitchFamily="18" charset="0"/>
              <a:ea typeface="Cambria" panose="02040503050406030204" pitchFamily="18" charset="0"/>
            </a:rPr>
            <a:t>12x20 Mine lug opt.</a:t>
          </a:r>
        </a:p>
      </dgm:t>
    </dgm:pt>
    <dgm:pt modelId="{877E8BC7-9892-47F4-95F2-C6093DF40BD9}" type="parTrans" cxnId="{E0D0E8C9-4E73-4B53-AAF0-99AB01CBF4C3}">
      <dgm:prSet/>
      <dgm:spPr/>
      <dgm:t>
        <a:bodyPr/>
        <a:lstStyle/>
        <a:p>
          <a:endParaRPr lang="en-US" sz="1200" b="1">
            <a:latin typeface="Cambria" panose="02040503050406030204" pitchFamily="18" charset="0"/>
            <a:ea typeface="Cambria" panose="02040503050406030204" pitchFamily="18" charset="0"/>
          </a:endParaRPr>
        </a:p>
      </dgm:t>
    </dgm:pt>
    <dgm:pt modelId="{A36E70E9-793C-487F-B223-1AD99671FC62}" type="sibTrans" cxnId="{E0D0E8C9-4E73-4B53-AAF0-99AB01CBF4C3}">
      <dgm:prSet/>
      <dgm:spPr/>
      <dgm:t>
        <a:bodyPr/>
        <a:lstStyle/>
        <a:p>
          <a:endParaRPr lang="en-US" sz="1200" b="1">
            <a:latin typeface="Cambria" panose="02040503050406030204" pitchFamily="18" charset="0"/>
            <a:ea typeface="Cambria" panose="02040503050406030204" pitchFamily="18" charset="0"/>
          </a:endParaRPr>
        </a:p>
      </dgm:t>
    </dgm:pt>
    <dgm:pt modelId="{915C5133-2D6D-461C-A2D5-15D0DC45B931}">
      <dgm:prSet phldrT="[Text]" custT="1"/>
      <dgm:spPr/>
      <dgm:t>
        <a:bodyPr/>
        <a:lstStyle/>
        <a:p>
          <a:r>
            <a:rPr lang="en-US" sz="1200" b="1" dirty="0">
              <a:latin typeface="Cambria" panose="02040503050406030204" pitchFamily="18" charset="0"/>
              <a:ea typeface="Cambria" panose="02040503050406030204" pitchFamily="18" charset="0"/>
            </a:rPr>
            <a:t>Earth, OB,Limesstone</a:t>
          </a:r>
        </a:p>
      </dgm:t>
    </dgm:pt>
    <dgm:pt modelId="{50249AB6-A577-4201-A345-05C09B784186}" type="parTrans" cxnId="{D38FD118-B0C7-4522-A3FD-94FDBA34525C}">
      <dgm:prSet/>
      <dgm:spPr/>
      <dgm:t>
        <a:bodyPr/>
        <a:lstStyle/>
        <a:p>
          <a:endParaRPr lang="en-US" sz="1200" b="1">
            <a:latin typeface="Cambria" panose="02040503050406030204" pitchFamily="18" charset="0"/>
            <a:ea typeface="Cambria" panose="02040503050406030204" pitchFamily="18" charset="0"/>
          </a:endParaRPr>
        </a:p>
      </dgm:t>
    </dgm:pt>
    <dgm:pt modelId="{5A0330B5-7186-4137-B5CE-6A04494D9839}" type="sibTrans" cxnId="{D38FD118-B0C7-4522-A3FD-94FDBA34525C}">
      <dgm:prSet/>
      <dgm:spPr/>
      <dgm:t>
        <a:bodyPr/>
        <a:lstStyle/>
        <a:p>
          <a:endParaRPr lang="en-US" sz="1200" b="1">
            <a:latin typeface="Cambria" panose="02040503050406030204" pitchFamily="18" charset="0"/>
            <a:ea typeface="Cambria" panose="02040503050406030204" pitchFamily="18" charset="0"/>
          </a:endParaRPr>
        </a:p>
      </dgm:t>
    </dgm:pt>
    <dgm:pt modelId="{58EEF041-09F4-476A-9EEB-BFC9DF9D7261}">
      <dgm:prSet phldrT="[Text]" custT="1"/>
      <dgm:spPr/>
      <dgm:t>
        <a:bodyPr/>
        <a:lstStyle/>
        <a:p>
          <a:r>
            <a:rPr lang="en-US" sz="1200" b="1" dirty="0">
              <a:latin typeface="Cambria" panose="02040503050406030204" pitchFamily="18" charset="0"/>
              <a:ea typeface="Cambria" panose="02040503050406030204" pitchFamily="18" charset="0"/>
            </a:rPr>
            <a:t>OB, Coal, Iron, Stone</a:t>
          </a:r>
        </a:p>
      </dgm:t>
    </dgm:pt>
    <dgm:pt modelId="{37BD3216-C93D-480F-8E66-E9E69C4EF75B}" type="parTrans" cxnId="{B451C773-1D50-4C46-9E31-A6BE37AA8484}">
      <dgm:prSet/>
      <dgm:spPr/>
      <dgm:t>
        <a:bodyPr/>
        <a:lstStyle/>
        <a:p>
          <a:endParaRPr lang="en-US" sz="1200" b="1">
            <a:latin typeface="Cambria" panose="02040503050406030204" pitchFamily="18" charset="0"/>
            <a:ea typeface="Cambria" panose="02040503050406030204" pitchFamily="18" charset="0"/>
          </a:endParaRPr>
        </a:p>
      </dgm:t>
    </dgm:pt>
    <dgm:pt modelId="{9A97889D-E3A6-4186-BBF3-2A12B4F2E742}" type="sibTrans" cxnId="{B451C773-1D50-4C46-9E31-A6BE37AA8484}">
      <dgm:prSet/>
      <dgm:spPr/>
      <dgm:t>
        <a:bodyPr/>
        <a:lstStyle/>
        <a:p>
          <a:endParaRPr lang="en-US" sz="1200" b="1">
            <a:latin typeface="Cambria" panose="02040503050406030204" pitchFamily="18" charset="0"/>
            <a:ea typeface="Cambria" panose="02040503050406030204" pitchFamily="18" charset="0"/>
          </a:endParaRPr>
        </a:p>
      </dgm:t>
    </dgm:pt>
    <dgm:pt modelId="{0E934C6A-767D-4290-9D09-2706A60899D4}">
      <dgm:prSet phldrT="[Text]" custT="1"/>
      <dgm:spPr/>
      <dgm:t>
        <a:bodyPr/>
        <a:lstStyle/>
        <a:p>
          <a:r>
            <a:rPr lang="en-US" sz="1200" b="1" dirty="0">
              <a:latin typeface="Cambria" panose="02040503050406030204" pitchFamily="18" charset="0"/>
              <a:ea typeface="Cambria" panose="02040503050406030204" pitchFamily="18" charset="0"/>
            </a:rPr>
            <a:t>Bluemetal, Sand</a:t>
          </a:r>
        </a:p>
      </dgm:t>
    </dgm:pt>
    <dgm:pt modelId="{83C06409-5778-4700-B30B-B92C2C0BB1BD}" type="parTrans" cxnId="{A429463C-ECC7-48B8-B832-460F0585FD46}">
      <dgm:prSet/>
      <dgm:spPr/>
      <dgm:t>
        <a:bodyPr/>
        <a:lstStyle/>
        <a:p>
          <a:endParaRPr lang="en-US" sz="1200" b="1">
            <a:latin typeface="Cambria" panose="02040503050406030204" pitchFamily="18" charset="0"/>
            <a:ea typeface="Cambria" panose="02040503050406030204" pitchFamily="18" charset="0"/>
          </a:endParaRPr>
        </a:p>
      </dgm:t>
    </dgm:pt>
    <dgm:pt modelId="{4CF87FCC-2F70-4F30-AA9B-6B4BDD86A0F1}" type="sibTrans" cxnId="{A429463C-ECC7-48B8-B832-460F0585FD46}">
      <dgm:prSet/>
      <dgm:spPr/>
      <dgm:t>
        <a:bodyPr/>
        <a:lstStyle/>
        <a:p>
          <a:endParaRPr lang="en-US" sz="1200" b="1">
            <a:latin typeface="Cambria" panose="02040503050406030204" pitchFamily="18" charset="0"/>
            <a:ea typeface="Cambria" panose="02040503050406030204" pitchFamily="18" charset="0"/>
          </a:endParaRPr>
        </a:p>
      </dgm:t>
    </dgm:pt>
    <dgm:pt modelId="{5EAD7547-CFE8-40CA-9DC8-A824D1EF4F30}">
      <dgm:prSet phldrT="[Text]" custT="1"/>
      <dgm:spPr/>
      <dgm:t>
        <a:bodyPr/>
        <a:lstStyle/>
        <a:p>
          <a:r>
            <a:rPr lang="en-US" sz="1200" b="1" dirty="0">
              <a:latin typeface="Cambria" panose="02040503050406030204" pitchFamily="18" charset="0"/>
              <a:ea typeface="Cambria" panose="02040503050406030204" pitchFamily="18" charset="0"/>
            </a:rPr>
            <a:t>Boulder</a:t>
          </a:r>
        </a:p>
      </dgm:t>
    </dgm:pt>
    <dgm:pt modelId="{34809DF8-400E-4F72-86A1-1737D8B4A929}" type="parTrans" cxnId="{3B19A913-681C-4A29-AD88-B2ECFFDFB6D0}">
      <dgm:prSet/>
      <dgm:spPr/>
      <dgm:t>
        <a:bodyPr/>
        <a:lstStyle/>
        <a:p>
          <a:endParaRPr lang="en-US" sz="1200" b="1">
            <a:latin typeface="Cambria" panose="02040503050406030204" pitchFamily="18" charset="0"/>
            <a:ea typeface="Cambria" panose="02040503050406030204" pitchFamily="18" charset="0"/>
          </a:endParaRPr>
        </a:p>
      </dgm:t>
    </dgm:pt>
    <dgm:pt modelId="{0F275DE4-B91E-4026-B9E4-EEEA55961ADC}" type="sibTrans" cxnId="{3B19A913-681C-4A29-AD88-B2ECFFDFB6D0}">
      <dgm:prSet/>
      <dgm:spPr/>
      <dgm:t>
        <a:bodyPr/>
        <a:lstStyle/>
        <a:p>
          <a:endParaRPr lang="en-US" sz="1200" b="1">
            <a:latin typeface="Cambria" panose="02040503050406030204" pitchFamily="18" charset="0"/>
            <a:ea typeface="Cambria" panose="02040503050406030204" pitchFamily="18" charset="0"/>
          </a:endParaRPr>
        </a:p>
      </dgm:t>
    </dgm:pt>
    <dgm:pt modelId="{18249420-1B06-49F0-9615-AFD83A809FBC}" type="pres">
      <dgm:prSet presAssocID="{28859148-DC55-4246-BB7E-8001B8E3929F}" presName="hierChild1" presStyleCnt="0">
        <dgm:presLayoutVars>
          <dgm:chPref val="1"/>
          <dgm:dir/>
          <dgm:animOne val="branch"/>
          <dgm:animLvl val="lvl"/>
          <dgm:resizeHandles/>
        </dgm:presLayoutVars>
      </dgm:prSet>
      <dgm:spPr/>
    </dgm:pt>
    <dgm:pt modelId="{A277B225-AB88-4411-8830-2FC3FF4A6017}" type="pres">
      <dgm:prSet presAssocID="{EEA9F174-9A29-4D54-A6E9-454693A4ABE8}" presName="hierRoot1" presStyleCnt="0"/>
      <dgm:spPr/>
    </dgm:pt>
    <dgm:pt modelId="{C4B01C5C-2180-44C1-9323-131EFE73412A}" type="pres">
      <dgm:prSet presAssocID="{EEA9F174-9A29-4D54-A6E9-454693A4ABE8}" presName="composite" presStyleCnt="0"/>
      <dgm:spPr/>
    </dgm:pt>
    <dgm:pt modelId="{C1BF5AAD-4F46-40B5-B0AB-627F2BBE6FB6}" type="pres">
      <dgm:prSet presAssocID="{EEA9F174-9A29-4D54-A6E9-454693A4ABE8}" presName="background" presStyleLbl="node0" presStyleIdx="0" presStyleCnt="1"/>
      <dgm:spPr/>
    </dgm:pt>
    <dgm:pt modelId="{483B5F85-4661-46C9-95E0-5CF8EE813468}" type="pres">
      <dgm:prSet presAssocID="{EEA9F174-9A29-4D54-A6E9-454693A4ABE8}" presName="text" presStyleLbl="fgAcc0" presStyleIdx="0" presStyleCnt="1">
        <dgm:presLayoutVars>
          <dgm:chPref val="3"/>
        </dgm:presLayoutVars>
      </dgm:prSet>
      <dgm:spPr/>
    </dgm:pt>
    <dgm:pt modelId="{5F81F6B5-29A2-4AAD-B4AC-7CBF35A87FE8}" type="pres">
      <dgm:prSet presAssocID="{EEA9F174-9A29-4D54-A6E9-454693A4ABE8}" presName="hierChild2" presStyleCnt="0"/>
      <dgm:spPr/>
    </dgm:pt>
    <dgm:pt modelId="{5FA7AC25-D0B8-4B2A-9EFD-057FB109498D}" type="pres">
      <dgm:prSet presAssocID="{79CBF1F4-ABF1-4E29-AF9B-0123EEE14DAF}" presName="Name10" presStyleLbl="parChTrans1D2" presStyleIdx="0" presStyleCnt="2"/>
      <dgm:spPr/>
    </dgm:pt>
    <dgm:pt modelId="{2F0FA721-CF60-4D83-96B6-E438E5A7A769}" type="pres">
      <dgm:prSet presAssocID="{D0D30B79-0355-499D-B173-969EB15BABA6}" presName="hierRoot2" presStyleCnt="0"/>
      <dgm:spPr/>
    </dgm:pt>
    <dgm:pt modelId="{D29D1FC1-924B-4075-9707-C80323FC9C33}" type="pres">
      <dgm:prSet presAssocID="{D0D30B79-0355-499D-B173-969EB15BABA6}" presName="composite2" presStyleCnt="0"/>
      <dgm:spPr/>
    </dgm:pt>
    <dgm:pt modelId="{9B06B5C9-D833-4EA6-A935-5634D9B2CB29}" type="pres">
      <dgm:prSet presAssocID="{D0D30B79-0355-499D-B173-969EB15BABA6}" presName="background2" presStyleLbl="node2" presStyleIdx="0" presStyleCnt="2"/>
      <dgm:spPr/>
    </dgm:pt>
    <dgm:pt modelId="{4EA2C3AD-F362-4183-9BA0-603029BE619C}" type="pres">
      <dgm:prSet presAssocID="{D0D30B79-0355-499D-B173-969EB15BABA6}" presName="text2" presStyleLbl="fgAcc2" presStyleIdx="0" presStyleCnt="2">
        <dgm:presLayoutVars>
          <dgm:chPref val="3"/>
        </dgm:presLayoutVars>
      </dgm:prSet>
      <dgm:spPr/>
    </dgm:pt>
    <dgm:pt modelId="{E11160DB-C713-4A04-9DEB-27E0F973439E}" type="pres">
      <dgm:prSet presAssocID="{D0D30B79-0355-499D-B173-969EB15BABA6}" presName="hierChild3" presStyleCnt="0"/>
      <dgm:spPr/>
    </dgm:pt>
    <dgm:pt modelId="{0F23E36A-E155-4F15-9798-E8CFC5398393}" type="pres">
      <dgm:prSet presAssocID="{D61BDFFC-2951-46F5-8692-078C4C60C6A0}" presName="Name17" presStyleLbl="parChTrans1D3" presStyleIdx="0" presStyleCnt="4"/>
      <dgm:spPr/>
    </dgm:pt>
    <dgm:pt modelId="{6A7ABEB6-4BBA-47D4-AA98-6624E95B2A07}" type="pres">
      <dgm:prSet presAssocID="{398A8809-9E4C-4D9C-85E5-4E19A70DB26B}" presName="hierRoot3" presStyleCnt="0"/>
      <dgm:spPr/>
    </dgm:pt>
    <dgm:pt modelId="{87785CE8-73CF-4012-97E7-28C5CB383E97}" type="pres">
      <dgm:prSet presAssocID="{398A8809-9E4C-4D9C-85E5-4E19A70DB26B}" presName="composite3" presStyleCnt="0"/>
      <dgm:spPr/>
    </dgm:pt>
    <dgm:pt modelId="{2D8D67ED-920A-4138-BD23-9DA009252F29}" type="pres">
      <dgm:prSet presAssocID="{398A8809-9E4C-4D9C-85E5-4E19A70DB26B}" presName="background3" presStyleLbl="node3" presStyleIdx="0" presStyleCnt="4"/>
      <dgm:spPr/>
    </dgm:pt>
    <dgm:pt modelId="{CDA74406-B975-492B-B5CD-6F6B24E2169D}" type="pres">
      <dgm:prSet presAssocID="{398A8809-9E4C-4D9C-85E5-4E19A70DB26B}" presName="text3" presStyleLbl="fgAcc3" presStyleIdx="0" presStyleCnt="4">
        <dgm:presLayoutVars>
          <dgm:chPref val="3"/>
        </dgm:presLayoutVars>
      </dgm:prSet>
      <dgm:spPr/>
    </dgm:pt>
    <dgm:pt modelId="{C07C2032-C6E3-45B5-BB10-A06EB9433C80}" type="pres">
      <dgm:prSet presAssocID="{398A8809-9E4C-4D9C-85E5-4E19A70DB26B}" presName="hierChild4" presStyleCnt="0"/>
      <dgm:spPr/>
    </dgm:pt>
    <dgm:pt modelId="{84692E20-54D8-4B7A-94CE-8B76E4A531E4}" type="pres">
      <dgm:prSet presAssocID="{BCC53F54-8B28-4EB8-9B8B-CCBBCC748366}" presName="Name23" presStyleLbl="parChTrans1D4" presStyleIdx="0" presStyleCnt="8"/>
      <dgm:spPr/>
    </dgm:pt>
    <dgm:pt modelId="{D2423300-507C-401D-851E-ACF4DA5BF7F5}" type="pres">
      <dgm:prSet presAssocID="{8943604C-C494-4760-A04E-0DE37503916E}" presName="hierRoot4" presStyleCnt="0"/>
      <dgm:spPr/>
    </dgm:pt>
    <dgm:pt modelId="{73E8EF96-2955-4344-95AE-B545F1012F2A}" type="pres">
      <dgm:prSet presAssocID="{8943604C-C494-4760-A04E-0DE37503916E}" presName="composite4" presStyleCnt="0"/>
      <dgm:spPr/>
    </dgm:pt>
    <dgm:pt modelId="{16D23F0B-003C-4BB1-8B46-3E1FD3EF3B35}" type="pres">
      <dgm:prSet presAssocID="{8943604C-C494-4760-A04E-0DE37503916E}" presName="background4" presStyleLbl="node4" presStyleIdx="0" presStyleCnt="8"/>
      <dgm:spPr/>
    </dgm:pt>
    <dgm:pt modelId="{5B8D8B43-CF71-42AD-9198-668AEA04B271}" type="pres">
      <dgm:prSet presAssocID="{8943604C-C494-4760-A04E-0DE37503916E}" presName="text4" presStyleLbl="fgAcc4" presStyleIdx="0" presStyleCnt="8">
        <dgm:presLayoutVars>
          <dgm:chPref val="3"/>
        </dgm:presLayoutVars>
      </dgm:prSet>
      <dgm:spPr/>
    </dgm:pt>
    <dgm:pt modelId="{132FE476-B1F2-499B-A035-5A7C7BFB0BE6}" type="pres">
      <dgm:prSet presAssocID="{8943604C-C494-4760-A04E-0DE37503916E}" presName="hierChild5" presStyleCnt="0"/>
      <dgm:spPr/>
    </dgm:pt>
    <dgm:pt modelId="{2DEFDF2B-9624-487C-B112-52D884A38274}" type="pres">
      <dgm:prSet presAssocID="{50249AB6-A577-4201-A345-05C09B784186}" presName="Name23" presStyleLbl="parChTrans1D4" presStyleIdx="1" presStyleCnt="8"/>
      <dgm:spPr/>
    </dgm:pt>
    <dgm:pt modelId="{8880196F-41E1-469E-A442-83497662BA11}" type="pres">
      <dgm:prSet presAssocID="{915C5133-2D6D-461C-A2D5-15D0DC45B931}" presName="hierRoot4" presStyleCnt="0"/>
      <dgm:spPr/>
    </dgm:pt>
    <dgm:pt modelId="{98A723F1-5306-4958-905F-E77C2C7629DC}" type="pres">
      <dgm:prSet presAssocID="{915C5133-2D6D-461C-A2D5-15D0DC45B931}" presName="composite4" presStyleCnt="0"/>
      <dgm:spPr/>
    </dgm:pt>
    <dgm:pt modelId="{B9DF0A1D-2C14-4999-975B-EA341510F5AD}" type="pres">
      <dgm:prSet presAssocID="{915C5133-2D6D-461C-A2D5-15D0DC45B931}" presName="background4" presStyleLbl="node4" presStyleIdx="1" presStyleCnt="8"/>
      <dgm:spPr/>
    </dgm:pt>
    <dgm:pt modelId="{E59F16E5-D6CA-41AB-8D5B-C9E5EF7139D1}" type="pres">
      <dgm:prSet presAssocID="{915C5133-2D6D-461C-A2D5-15D0DC45B931}" presName="text4" presStyleLbl="fgAcc4" presStyleIdx="1" presStyleCnt="8">
        <dgm:presLayoutVars>
          <dgm:chPref val="3"/>
        </dgm:presLayoutVars>
      </dgm:prSet>
      <dgm:spPr/>
    </dgm:pt>
    <dgm:pt modelId="{E61229A8-E14D-455C-9F24-1E98A78650F8}" type="pres">
      <dgm:prSet presAssocID="{915C5133-2D6D-461C-A2D5-15D0DC45B931}" presName="hierChild5" presStyleCnt="0"/>
      <dgm:spPr/>
    </dgm:pt>
    <dgm:pt modelId="{A438D59E-F2C4-40EC-82E0-617C329002F1}" type="pres">
      <dgm:prSet presAssocID="{82667D8F-76F8-4C7F-9B30-64CF23B5D682}" presName="Name17" presStyleLbl="parChTrans1D3" presStyleIdx="1" presStyleCnt="4"/>
      <dgm:spPr/>
    </dgm:pt>
    <dgm:pt modelId="{FFE6F0F7-F388-497F-BD14-62CEE960A778}" type="pres">
      <dgm:prSet presAssocID="{C7131179-FFA5-43A2-B732-9EAC0571BD29}" presName="hierRoot3" presStyleCnt="0"/>
      <dgm:spPr/>
    </dgm:pt>
    <dgm:pt modelId="{73FDE958-6F98-41B6-8784-9C0205088ECE}" type="pres">
      <dgm:prSet presAssocID="{C7131179-FFA5-43A2-B732-9EAC0571BD29}" presName="composite3" presStyleCnt="0"/>
      <dgm:spPr/>
    </dgm:pt>
    <dgm:pt modelId="{48A68B87-8597-427A-AEE0-4AC1B6D02175}" type="pres">
      <dgm:prSet presAssocID="{C7131179-FFA5-43A2-B732-9EAC0571BD29}" presName="background3" presStyleLbl="node3" presStyleIdx="1" presStyleCnt="4"/>
      <dgm:spPr/>
    </dgm:pt>
    <dgm:pt modelId="{244EEF2F-EBDA-46A4-A025-C2DE6C2889FF}" type="pres">
      <dgm:prSet presAssocID="{C7131179-FFA5-43A2-B732-9EAC0571BD29}" presName="text3" presStyleLbl="fgAcc3" presStyleIdx="1" presStyleCnt="4">
        <dgm:presLayoutVars>
          <dgm:chPref val="3"/>
        </dgm:presLayoutVars>
      </dgm:prSet>
      <dgm:spPr/>
    </dgm:pt>
    <dgm:pt modelId="{3101BB51-E432-4087-8432-6A5A1013CA96}" type="pres">
      <dgm:prSet presAssocID="{C7131179-FFA5-43A2-B732-9EAC0571BD29}" presName="hierChild4" presStyleCnt="0"/>
      <dgm:spPr/>
    </dgm:pt>
    <dgm:pt modelId="{AC82A640-E87F-4F69-8788-C6D628D1F9C6}" type="pres">
      <dgm:prSet presAssocID="{AACA3F34-876D-41BB-B723-0C13BA318331}" presName="Name23" presStyleLbl="parChTrans1D4" presStyleIdx="2" presStyleCnt="8"/>
      <dgm:spPr/>
    </dgm:pt>
    <dgm:pt modelId="{92B03782-15CE-45A4-BDFC-7CDE3A3B6A6C}" type="pres">
      <dgm:prSet presAssocID="{E21C073A-F37C-4A83-BF09-B5E0A2D05FD2}" presName="hierRoot4" presStyleCnt="0"/>
      <dgm:spPr/>
    </dgm:pt>
    <dgm:pt modelId="{62E5B31F-EAFE-4DD6-9447-A4C8AB3B817A}" type="pres">
      <dgm:prSet presAssocID="{E21C073A-F37C-4A83-BF09-B5E0A2D05FD2}" presName="composite4" presStyleCnt="0"/>
      <dgm:spPr/>
    </dgm:pt>
    <dgm:pt modelId="{BC8EB294-6443-4B0C-9F70-4E15751B5767}" type="pres">
      <dgm:prSet presAssocID="{E21C073A-F37C-4A83-BF09-B5E0A2D05FD2}" presName="background4" presStyleLbl="node4" presStyleIdx="2" presStyleCnt="8"/>
      <dgm:spPr/>
    </dgm:pt>
    <dgm:pt modelId="{53947971-2F65-4994-BE5F-A90B32534965}" type="pres">
      <dgm:prSet presAssocID="{E21C073A-F37C-4A83-BF09-B5E0A2D05FD2}" presName="text4" presStyleLbl="fgAcc4" presStyleIdx="2" presStyleCnt="8">
        <dgm:presLayoutVars>
          <dgm:chPref val="3"/>
        </dgm:presLayoutVars>
      </dgm:prSet>
      <dgm:spPr/>
    </dgm:pt>
    <dgm:pt modelId="{25C1CA33-0310-48C7-AFA6-A716E53446A8}" type="pres">
      <dgm:prSet presAssocID="{E21C073A-F37C-4A83-BF09-B5E0A2D05FD2}" presName="hierChild5" presStyleCnt="0"/>
      <dgm:spPr/>
    </dgm:pt>
    <dgm:pt modelId="{A3C15912-BDA1-4A62-A133-6EFEF4E6CF3C}" type="pres">
      <dgm:prSet presAssocID="{37BD3216-C93D-480F-8E66-E9E69C4EF75B}" presName="Name23" presStyleLbl="parChTrans1D4" presStyleIdx="3" presStyleCnt="8"/>
      <dgm:spPr/>
    </dgm:pt>
    <dgm:pt modelId="{81C77BA7-FF60-46A2-9E2D-47A9838A6531}" type="pres">
      <dgm:prSet presAssocID="{58EEF041-09F4-476A-9EEB-BFC9DF9D7261}" presName="hierRoot4" presStyleCnt="0"/>
      <dgm:spPr/>
    </dgm:pt>
    <dgm:pt modelId="{B2562B96-E447-4808-9DD4-C198CB0A0E83}" type="pres">
      <dgm:prSet presAssocID="{58EEF041-09F4-476A-9EEB-BFC9DF9D7261}" presName="composite4" presStyleCnt="0"/>
      <dgm:spPr/>
    </dgm:pt>
    <dgm:pt modelId="{C754130F-D528-4022-B612-2D649C998CC5}" type="pres">
      <dgm:prSet presAssocID="{58EEF041-09F4-476A-9EEB-BFC9DF9D7261}" presName="background4" presStyleLbl="node4" presStyleIdx="3" presStyleCnt="8"/>
      <dgm:spPr/>
    </dgm:pt>
    <dgm:pt modelId="{4219811B-CCCC-4CC4-91E4-8F91885881DE}" type="pres">
      <dgm:prSet presAssocID="{58EEF041-09F4-476A-9EEB-BFC9DF9D7261}" presName="text4" presStyleLbl="fgAcc4" presStyleIdx="3" presStyleCnt="8">
        <dgm:presLayoutVars>
          <dgm:chPref val="3"/>
        </dgm:presLayoutVars>
      </dgm:prSet>
      <dgm:spPr/>
    </dgm:pt>
    <dgm:pt modelId="{1ACEA287-5220-41B6-BD28-8CBE60304C72}" type="pres">
      <dgm:prSet presAssocID="{58EEF041-09F4-476A-9EEB-BFC9DF9D7261}" presName="hierChild5" presStyleCnt="0"/>
      <dgm:spPr/>
    </dgm:pt>
    <dgm:pt modelId="{660D064B-2F6F-4956-B6FC-9A94D7AEE3D0}" type="pres">
      <dgm:prSet presAssocID="{DE68D42A-5130-4177-9240-24D384397C8E}" presName="Name10" presStyleLbl="parChTrans1D2" presStyleIdx="1" presStyleCnt="2"/>
      <dgm:spPr/>
    </dgm:pt>
    <dgm:pt modelId="{CBFD7171-1239-487D-BC4F-6774057BDF4D}" type="pres">
      <dgm:prSet presAssocID="{11CE6025-6EDD-4803-B551-AAC5CD8C48FB}" presName="hierRoot2" presStyleCnt="0"/>
      <dgm:spPr/>
    </dgm:pt>
    <dgm:pt modelId="{E39559D3-C7CA-463E-BF34-CC914CC7165B}" type="pres">
      <dgm:prSet presAssocID="{11CE6025-6EDD-4803-B551-AAC5CD8C48FB}" presName="composite2" presStyleCnt="0"/>
      <dgm:spPr/>
    </dgm:pt>
    <dgm:pt modelId="{0280BCFA-2950-4B22-980F-25C3D49F86C5}" type="pres">
      <dgm:prSet presAssocID="{11CE6025-6EDD-4803-B551-AAC5CD8C48FB}" presName="background2" presStyleLbl="node2" presStyleIdx="1" presStyleCnt="2"/>
      <dgm:spPr/>
    </dgm:pt>
    <dgm:pt modelId="{542004F5-91AA-47E7-8D0C-3188A7342222}" type="pres">
      <dgm:prSet presAssocID="{11CE6025-6EDD-4803-B551-AAC5CD8C48FB}" presName="text2" presStyleLbl="fgAcc2" presStyleIdx="1" presStyleCnt="2">
        <dgm:presLayoutVars>
          <dgm:chPref val="3"/>
        </dgm:presLayoutVars>
      </dgm:prSet>
      <dgm:spPr/>
    </dgm:pt>
    <dgm:pt modelId="{AA3FF267-7CDE-4307-A9B9-950AC43BD6E1}" type="pres">
      <dgm:prSet presAssocID="{11CE6025-6EDD-4803-B551-AAC5CD8C48FB}" presName="hierChild3" presStyleCnt="0"/>
      <dgm:spPr/>
    </dgm:pt>
    <dgm:pt modelId="{7DCF7F3E-A2D8-42C3-9305-FDA73DF1D08C}" type="pres">
      <dgm:prSet presAssocID="{DE4DDFA5-27F9-4E9B-BBA7-F1956C0B85F6}" presName="Name17" presStyleLbl="parChTrans1D3" presStyleIdx="2" presStyleCnt="4"/>
      <dgm:spPr/>
    </dgm:pt>
    <dgm:pt modelId="{7AC1B5C9-E68D-4ACB-A45B-6CDBEC95A90B}" type="pres">
      <dgm:prSet presAssocID="{8E10F182-1ACA-4865-B641-1914A99721A3}" presName="hierRoot3" presStyleCnt="0"/>
      <dgm:spPr/>
    </dgm:pt>
    <dgm:pt modelId="{DF1D98D7-0138-4E98-A3F2-233D21EBB78B}" type="pres">
      <dgm:prSet presAssocID="{8E10F182-1ACA-4865-B641-1914A99721A3}" presName="composite3" presStyleCnt="0"/>
      <dgm:spPr/>
    </dgm:pt>
    <dgm:pt modelId="{989CD059-5E11-4B29-9444-F46CE8A13ADC}" type="pres">
      <dgm:prSet presAssocID="{8E10F182-1ACA-4865-B641-1914A99721A3}" presName="background3" presStyleLbl="node3" presStyleIdx="2" presStyleCnt="4"/>
      <dgm:spPr/>
    </dgm:pt>
    <dgm:pt modelId="{CC7D6C45-7D13-4DA9-ADAB-FD715CCA32D0}" type="pres">
      <dgm:prSet presAssocID="{8E10F182-1ACA-4865-B641-1914A99721A3}" presName="text3" presStyleLbl="fgAcc3" presStyleIdx="2" presStyleCnt="4">
        <dgm:presLayoutVars>
          <dgm:chPref val="3"/>
        </dgm:presLayoutVars>
      </dgm:prSet>
      <dgm:spPr/>
    </dgm:pt>
    <dgm:pt modelId="{74C27FC9-5FB0-45D9-80EE-665748E6C877}" type="pres">
      <dgm:prSet presAssocID="{8E10F182-1ACA-4865-B641-1914A99721A3}" presName="hierChild4" presStyleCnt="0"/>
      <dgm:spPr/>
    </dgm:pt>
    <dgm:pt modelId="{E98C3AF5-8FC9-40AA-B76D-160D1D27E90D}" type="pres">
      <dgm:prSet presAssocID="{39E18A7C-5381-412B-9203-A24F76D577B7}" presName="Name23" presStyleLbl="parChTrans1D4" presStyleIdx="4" presStyleCnt="8"/>
      <dgm:spPr/>
    </dgm:pt>
    <dgm:pt modelId="{37C997B3-596C-474E-B4CB-3D213C750291}" type="pres">
      <dgm:prSet presAssocID="{E9F066BD-DFA5-4F9C-81AC-7C1F03D16FEB}" presName="hierRoot4" presStyleCnt="0"/>
      <dgm:spPr/>
    </dgm:pt>
    <dgm:pt modelId="{AA047AE7-15BE-479F-B9BF-6F207E8ACC26}" type="pres">
      <dgm:prSet presAssocID="{E9F066BD-DFA5-4F9C-81AC-7C1F03D16FEB}" presName="composite4" presStyleCnt="0"/>
      <dgm:spPr/>
    </dgm:pt>
    <dgm:pt modelId="{3EE818D2-E665-4AF5-B02F-48CF906D0E0E}" type="pres">
      <dgm:prSet presAssocID="{E9F066BD-DFA5-4F9C-81AC-7C1F03D16FEB}" presName="background4" presStyleLbl="node4" presStyleIdx="4" presStyleCnt="8"/>
      <dgm:spPr/>
    </dgm:pt>
    <dgm:pt modelId="{0298B4FF-EC89-4CB6-8569-2AD21BB005B7}" type="pres">
      <dgm:prSet presAssocID="{E9F066BD-DFA5-4F9C-81AC-7C1F03D16FEB}" presName="text4" presStyleLbl="fgAcc4" presStyleIdx="4" presStyleCnt="8">
        <dgm:presLayoutVars>
          <dgm:chPref val="3"/>
        </dgm:presLayoutVars>
      </dgm:prSet>
      <dgm:spPr/>
    </dgm:pt>
    <dgm:pt modelId="{7E3DB9D0-4819-4BB0-9777-0D907986CBEB}" type="pres">
      <dgm:prSet presAssocID="{E9F066BD-DFA5-4F9C-81AC-7C1F03D16FEB}" presName="hierChild5" presStyleCnt="0"/>
      <dgm:spPr/>
    </dgm:pt>
    <dgm:pt modelId="{4034CCD1-479E-4B20-9948-92B5CBBBDEE8}" type="pres">
      <dgm:prSet presAssocID="{83C06409-5778-4700-B30B-B92C2C0BB1BD}" presName="Name23" presStyleLbl="parChTrans1D4" presStyleIdx="5" presStyleCnt="8"/>
      <dgm:spPr/>
    </dgm:pt>
    <dgm:pt modelId="{4A8657FB-6CD1-4BAD-8504-DC2153CD6378}" type="pres">
      <dgm:prSet presAssocID="{0E934C6A-767D-4290-9D09-2706A60899D4}" presName="hierRoot4" presStyleCnt="0"/>
      <dgm:spPr/>
    </dgm:pt>
    <dgm:pt modelId="{EA96E4AE-8447-443E-A04E-40A649235D60}" type="pres">
      <dgm:prSet presAssocID="{0E934C6A-767D-4290-9D09-2706A60899D4}" presName="composite4" presStyleCnt="0"/>
      <dgm:spPr/>
    </dgm:pt>
    <dgm:pt modelId="{0ECF104F-D70E-4EFE-ADA1-7527CD077919}" type="pres">
      <dgm:prSet presAssocID="{0E934C6A-767D-4290-9D09-2706A60899D4}" presName="background4" presStyleLbl="node4" presStyleIdx="5" presStyleCnt="8"/>
      <dgm:spPr/>
    </dgm:pt>
    <dgm:pt modelId="{F5D12DD6-6C91-482C-973D-060DF33FB557}" type="pres">
      <dgm:prSet presAssocID="{0E934C6A-767D-4290-9D09-2706A60899D4}" presName="text4" presStyleLbl="fgAcc4" presStyleIdx="5" presStyleCnt="8">
        <dgm:presLayoutVars>
          <dgm:chPref val="3"/>
        </dgm:presLayoutVars>
      </dgm:prSet>
      <dgm:spPr/>
    </dgm:pt>
    <dgm:pt modelId="{3C63477E-BA8F-4DD7-9885-F5F58CCDEB62}" type="pres">
      <dgm:prSet presAssocID="{0E934C6A-767D-4290-9D09-2706A60899D4}" presName="hierChild5" presStyleCnt="0"/>
      <dgm:spPr/>
    </dgm:pt>
    <dgm:pt modelId="{DB4EACA8-B0B1-4715-BF2B-A6765B34581C}" type="pres">
      <dgm:prSet presAssocID="{F9905F81-C6FF-4070-892D-8E65AE18BB25}" presName="Name17" presStyleLbl="parChTrans1D3" presStyleIdx="3" presStyleCnt="4"/>
      <dgm:spPr/>
    </dgm:pt>
    <dgm:pt modelId="{2812BC50-EEF4-499D-91EF-1C27DF911118}" type="pres">
      <dgm:prSet presAssocID="{F9B46C15-63CA-46DE-8E23-E0EEFFDE6989}" presName="hierRoot3" presStyleCnt="0"/>
      <dgm:spPr/>
    </dgm:pt>
    <dgm:pt modelId="{ADE6DC1B-A703-44A5-A040-A93ACF200E28}" type="pres">
      <dgm:prSet presAssocID="{F9B46C15-63CA-46DE-8E23-E0EEFFDE6989}" presName="composite3" presStyleCnt="0"/>
      <dgm:spPr/>
    </dgm:pt>
    <dgm:pt modelId="{A7A5660F-AAC2-4219-957F-4DED38090C89}" type="pres">
      <dgm:prSet presAssocID="{F9B46C15-63CA-46DE-8E23-E0EEFFDE6989}" presName="background3" presStyleLbl="node3" presStyleIdx="3" presStyleCnt="4"/>
      <dgm:spPr/>
    </dgm:pt>
    <dgm:pt modelId="{3E73AB7B-7B9F-4818-8A98-8907C9FD69B0}" type="pres">
      <dgm:prSet presAssocID="{F9B46C15-63CA-46DE-8E23-E0EEFFDE6989}" presName="text3" presStyleLbl="fgAcc3" presStyleIdx="3" presStyleCnt="4">
        <dgm:presLayoutVars>
          <dgm:chPref val="3"/>
        </dgm:presLayoutVars>
      </dgm:prSet>
      <dgm:spPr/>
    </dgm:pt>
    <dgm:pt modelId="{3792BA0B-479F-4DC1-A6B9-9A54B128B8CD}" type="pres">
      <dgm:prSet presAssocID="{F9B46C15-63CA-46DE-8E23-E0EEFFDE6989}" presName="hierChild4" presStyleCnt="0"/>
      <dgm:spPr/>
    </dgm:pt>
    <dgm:pt modelId="{A320C6C5-3285-4CDE-BA46-6D0943D9D596}" type="pres">
      <dgm:prSet presAssocID="{877E8BC7-9892-47F4-95F2-C6093DF40BD9}" presName="Name23" presStyleLbl="parChTrans1D4" presStyleIdx="6" presStyleCnt="8"/>
      <dgm:spPr/>
    </dgm:pt>
    <dgm:pt modelId="{395102BF-7A87-49AF-B94F-1505E8F36CDF}" type="pres">
      <dgm:prSet presAssocID="{E23CC43F-C8EE-45D5-8BBB-A95B0E4760B7}" presName="hierRoot4" presStyleCnt="0"/>
      <dgm:spPr/>
    </dgm:pt>
    <dgm:pt modelId="{425D4C73-ED05-4C82-94AC-2A5F8A5C98EB}" type="pres">
      <dgm:prSet presAssocID="{E23CC43F-C8EE-45D5-8BBB-A95B0E4760B7}" presName="composite4" presStyleCnt="0"/>
      <dgm:spPr/>
    </dgm:pt>
    <dgm:pt modelId="{00C8F16C-243D-4D34-8E10-5ED1A454AFB5}" type="pres">
      <dgm:prSet presAssocID="{E23CC43F-C8EE-45D5-8BBB-A95B0E4760B7}" presName="background4" presStyleLbl="node4" presStyleIdx="6" presStyleCnt="8"/>
      <dgm:spPr/>
    </dgm:pt>
    <dgm:pt modelId="{90F48572-0C51-4336-911E-B2925768C07F}" type="pres">
      <dgm:prSet presAssocID="{E23CC43F-C8EE-45D5-8BBB-A95B0E4760B7}" presName="text4" presStyleLbl="fgAcc4" presStyleIdx="6" presStyleCnt="8">
        <dgm:presLayoutVars>
          <dgm:chPref val="3"/>
        </dgm:presLayoutVars>
      </dgm:prSet>
      <dgm:spPr/>
    </dgm:pt>
    <dgm:pt modelId="{428D117F-CE6A-4311-8E55-6C8D285A120C}" type="pres">
      <dgm:prSet presAssocID="{E23CC43F-C8EE-45D5-8BBB-A95B0E4760B7}" presName="hierChild5" presStyleCnt="0"/>
      <dgm:spPr/>
    </dgm:pt>
    <dgm:pt modelId="{B813AC8B-2894-4DFD-A72F-A3F267B24606}" type="pres">
      <dgm:prSet presAssocID="{34809DF8-400E-4F72-86A1-1737D8B4A929}" presName="Name23" presStyleLbl="parChTrans1D4" presStyleIdx="7" presStyleCnt="8"/>
      <dgm:spPr/>
    </dgm:pt>
    <dgm:pt modelId="{BBA4F76D-44A4-4DD0-9BD4-38C8D8EE423B}" type="pres">
      <dgm:prSet presAssocID="{5EAD7547-CFE8-40CA-9DC8-A824D1EF4F30}" presName="hierRoot4" presStyleCnt="0"/>
      <dgm:spPr/>
    </dgm:pt>
    <dgm:pt modelId="{BD69830A-3359-4CE2-B6AD-B5F2A7A5B884}" type="pres">
      <dgm:prSet presAssocID="{5EAD7547-CFE8-40CA-9DC8-A824D1EF4F30}" presName="composite4" presStyleCnt="0"/>
      <dgm:spPr/>
    </dgm:pt>
    <dgm:pt modelId="{64D5F178-51BD-4202-9C02-3B1238743525}" type="pres">
      <dgm:prSet presAssocID="{5EAD7547-CFE8-40CA-9DC8-A824D1EF4F30}" presName="background4" presStyleLbl="node4" presStyleIdx="7" presStyleCnt="8"/>
      <dgm:spPr/>
    </dgm:pt>
    <dgm:pt modelId="{06B6C756-63D8-41D5-B2BB-41C0207DDFED}" type="pres">
      <dgm:prSet presAssocID="{5EAD7547-CFE8-40CA-9DC8-A824D1EF4F30}" presName="text4" presStyleLbl="fgAcc4" presStyleIdx="7" presStyleCnt="8">
        <dgm:presLayoutVars>
          <dgm:chPref val="3"/>
        </dgm:presLayoutVars>
      </dgm:prSet>
      <dgm:spPr/>
    </dgm:pt>
    <dgm:pt modelId="{5E69BFA5-68EC-4B65-B057-17B845CEDA79}" type="pres">
      <dgm:prSet presAssocID="{5EAD7547-CFE8-40CA-9DC8-A824D1EF4F30}" presName="hierChild5" presStyleCnt="0"/>
      <dgm:spPr/>
    </dgm:pt>
  </dgm:ptLst>
  <dgm:cxnLst>
    <dgm:cxn modelId="{AAC3EC05-9776-4089-9012-E98C1F6F1BB7}" type="presOf" srcId="{11CE6025-6EDD-4803-B551-AAC5CD8C48FB}" destId="{542004F5-91AA-47E7-8D0C-3188A7342222}" srcOrd="0" destOrd="0" presId="urn:microsoft.com/office/officeart/2005/8/layout/hierarchy1"/>
    <dgm:cxn modelId="{AD73900D-CC4A-4BAA-A732-5E1ADE1885D2}" type="presOf" srcId="{D61BDFFC-2951-46F5-8692-078C4C60C6A0}" destId="{0F23E36A-E155-4F15-9798-E8CFC5398393}" srcOrd="0" destOrd="0" presId="urn:microsoft.com/office/officeart/2005/8/layout/hierarchy1"/>
    <dgm:cxn modelId="{25A3F60D-DF1E-4779-8C9C-803B7252A911}" type="presOf" srcId="{E9F066BD-DFA5-4F9C-81AC-7C1F03D16FEB}" destId="{0298B4FF-EC89-4CB6-8569-2AD21BB005B7}" srcOrd="0" destOrd="0" presId="urn:microsoft.com/office/officeart/2005/8/layout/hierarchy1"/>
    <dgm:cxn modelId="{998B6E0F-1E3D-4DE9-B56C-0D0B288F8EC6}" type="presOf" srcId="{F9B46C15-63CA-46DE-8E23-E0EEFFDE6989}" destId="{3E73AB7B-7B9F-4818-8A98-8907C9FD69B0}" srcOrd="0" destOrd="0" presId="urn:microsoft.com/office/officeart/2005/8/layout/hierarchy1"/>
    <dgm:cxn modelId="{7E43780F-00A6-42D3-8260-D91FEB6FD211}" srcId="{398A8809-9E4C-4D9C-85E5-4E19A70DB26B}" destId="{8943604C-C494-4760-A04E-0DE37503916E}" srcOrd="0" destOrd="0" parTransId="{BCC53F54-8B28-4EB8-9B8B-CCBBCC748366}" sibTransId="{0C784266-A17A-4F07-ABB5-176D13402E2C}"/>
    <dgm:cxn modelId="{3B19A913-681C-4A29-AD88-B2ECFFDFB6D0}" srcId="{E23CC43F-C8EE-45D5-8BBB-A95B0E4760B7}" destId="{5EAD7547-CFE8-40CA-9DC8-A824D1EF4F30}" srcOrd="0" destOrd="0" parTransId="{34809DF8-400E-4F72-86A1-1737D8B4A929}" sibTransId="{0F275DE4-B91E-4026-B9E4-EEEA55961ADC}"/>
    <dgm:cxn modelId="{D38FD118-B0C7-4522-A3FD-94FDBA34525C}" srcId="{8943604C-C494-4760-A04E-0DE37503916E}" destId="{915C5133-2D6D-461C-A2D5-15D0DC45B931}" srcOrd="0" destOrd="0" parTransId="{50249AB6-A577-4201-A345-05C09B784186}" sibTransId="{5A0330B5-7186-4137-B5CE-6A04494D9839}"/>
    <dgm:cxn modelId="{3B59AC1D-F481-4C70-80DE-E9CCD8F836BB}" type="presOf" srcId="{DE68D42A-5130-4177-9240-24D384397C8E}" destId="{660D064B-2F6F-4956-B6FC-9A94D7AEE3D0}" srcOrd="0" destOrd="0" presId="urn:microsoft.com/office/officeart/2005/8/layout/hierarchy1"/>
    <dgm:cxn modelId="{0E438F1E-B8FA-44DB-A544-FB5F1F5BDE08}" type="presOf" srcId="{BCC53F54-8B28-4EB8-9B8B-CCBBCC748366}" destId="{84692E20-54D8-4B7A-94CE-8B76E4A531E4}" srcOrd="0" destOrd="0" presId="urn:microsoft.com/office/officeart/2005/8/layout/hierarchy1"/>
    <dgm:cxn modelId="{AD577423-72C7-4628-B0FC-EE69ED27566F}" srcId="{C7131179-FFA5-43A2-B732-9EAC0571BD29}" destId="{E21C073A-F37C-4A83-BF09-B5E0A2D05FD2}" srcOrd="0" destOrd="0" parTransId="{AACA3F34-876D-41BB-B723-0C13BA318331}" sibTransId="{6E144C90-5C8B-4684-9B39-299769B30717}"/>
    <dgm:cxn modelId="{FBFCFC35-BEB8-4AA8-B107-EFB3C24EA7CE}" type="presOf" srcId="{AACA3F34-876D-41BB-B723-0C13BA318331}" destId="{AC82A640-E87F-4F69-8788-C6D628D1F9C6}" srcOrd="0" destOrd="0" presId="urn:microsoft.com/office/officeart/2005/8/layout/hierarchy1"/>
    <dgm:cxn modelId="{5E46D938-5D36-4B90-BD51-97A3C8CD0FF7}" type="presOf" srcId="{DE4DDFA5-27F9-4E9B-BBA7-F1956C0B85F6}" destId="{7DCF7F3E-A2D8-42C3-9305-FDA73DF1D08C}" srcOrd="0" destOrd="0" presId="urn:microsoft.com/office/officeart/2005/8/layout/hierarchy1"/>
    <dgm:cxn modelId="{A429463C-ECC7-48B8-B832-460F0585FD46}" srcId="{E9F066BD-DFA5-4F9C-81AC-7C1F03D16FEB}" destId="{0E934C6A-767D-4290-9D09-2706A60899D4}" srcOrd="0" destOrd="0" parTransId="{83C06409-5778-4700-B30B-B92C2C0BB1BD}" sibTransId="{4CF87FCC-2F70-4F30-AA9B-6B4BDD86A0F1}"/>
    <dgm:cxn modelId="{AD92CA3D-72B0-4B6C-B71B-C257D3462F1F}" type="presOf" srcId="{E21C073A-F37C-4A83-BF09-B5E0A2D05FD2}" destId="{53947971-2F65-4994-BE5F-A90B32534965}" srcOrd="0" destOrd="0" presId="urn:microsoft.com/office/officeart/2005/8/layout/hierarchy1"/>
    <dgm:cxn modelId="{4AE11B47-EEDA-4DC7-B023-8A83B79970BA}" type="presOf" srcId="{5EAD7547-CFE8-40CA-9DC8-A824D1EF4F30}" destId="{06B6C756-63D8-41D5-B2BB-41C0207DDFED}" srcOrd="0" destOrd="0" presId="urn:microsoft.com/office/officeart/2005/8/layout/hierarchy1"/>
    <dgm:cxn modelId="{62541B4F-9CE7-482F-9E6A-E25490EB6D4B}" type="presOf" srcId="{0E934C6A-767D-4290-9D09-2706A60899D4}" destId="{F5D12DD6-6C91-482C-973D-060DF33FB557}" srcOrd="0" destOrd="0" presId="urn:microsoft.com/office/officeart/2005/8/layout/hierarchy1"/>
    <dgm:cxn modelId="{676B8C73-7CE0-4E37-9BBC-CC5AA17FD259}" srcId="{D0D30B79-0355-499D-B173-969EB15BABA6}" destId="{398A8809-9E4C-4D9C-85E5-4E19A70DB26B}" srcOrd="0" destOrd="0" parTransId="{D61BDFFC-2951-46F5-8692-078C4C60C6A0}" sibTransId="{08BD512A-7AE0-4191-9C3C-734504BCF5D2}"/>
    <dgm:cxn modelId="{B451C773-1D50-4C46-9E31-A6BE37AA8484}" srcId="{E21C073A-F37C-4A83-BF09-B5E0A2D05FD2}" destId="{58EEF041-09F4-476A-9EEB-BFC9DF9D7261}" srcOrd="0" destOrd="0" parTransId="{37BD3216-C93D-480F-8E66-E9E69C4EF75B}" sibTransId="{9A97889D-E3A6-4186-BBF3-2A12B4F2E742}"/>
    <dgm:cxn modelId="{AE7C9A55-AE64-4845-9536-08B477B10C1C}" type="presOf" srcId="{8943604C-C494-4760-A04E-0DE37503916E}" destId="{5B8D8B43-CF71-42AD-9198-668AEA04B271}" srcOrd="0" destOrd="0" presId="urn:microsoft.com/office/officeart/2005/8/layout/hierarchy1"/>
    <dgm:cxn modelId="{0672AB77-2A81-4702-9B9B-8A355A37153C}" type="presOf" srcId="{82667D8F-76F8-4C7F-9B30-64CF23B5D682}" destId="{A438D59E-F2C4-40EC-82E0-617C329002F1}" srcOrd="0" destOrd="0" presId="urn:microsoft.com/office/officeart/2005/8/layout/hierarchy1"/>
    <dgm:cxn modelId="{58B55C84-25DB-4AA7-8A68-8FB0BDDF3F9C}" type="presOf" srcId="{79CBF1F4-ABF1-4E29-AF9B-0123EEE14DAF}" destId="{5FA7AC25-D0B8-4B2A-9EFD-057FB109498D}" srcOrd="0" destOrd="0" presId="urn:microsoft.com/office/officeart/2005/8/layout/hierarchy1"/>
    <dgm:cxn modelId="{60B7BD8E-F3A1-4C67-BD7F-93FD4F41CFF8}" type="presOf" srcId="{EEA9F174-9A29-4D54-A6E9-454693A4ABE8}" destId="{483B5F85-4661-46C9-95E0-5CF8EE813468}" srcOrd="0" destOrd="0" presId="urn:microsoft.com/office/officeart/2005/8/layout/hierarchy1"/>
    <dgm:cxn modelId="{58BE3390-872A-43DE-9D5F-1FB9831FA87C}" type="presOf" srcId="{8E10F182-1ACA-4865-B641-1914A99721A3}" destId="{CC7D6C45-7D13-4DA9-ADAB-FD715CCA32D0}" srcOrd="0" destOrd="0" presId="urn:microsoft.com/office/officeart/2005/8/layout/hierarchy1"/>
    <dgm:cxn modelId="{39E03C94-9A68-4252-BAB0-AD839146A785}" srcId="{11CE6025-6EDD-4803-B551-AAC5CD8C48FB}" destId="{8E10F182-1ACA-4865-B641-1914A99721A3}" srcOrd="0" destOrd="0" parTransId="{DE4DDFA5-27F9-4E9B-BBA7-F1956C0B85F6}" sibTransId="{46C94504-4DB9-4EFA-8374-A758FCC23BF0}"/>
    <dgm:cxn modelId="{F179C797-A03D-4C44-A415-3AF7B573F9CE}" type="presOf" srcId="{83C06409-5778-4700-B30B-B92C2C0BB1BD}" destId="{4034CCD1-479E-4B20-9948-92B5CBBBDEE8}" srcOrd="0" destOrd="0" presId="urn:microsoft.com/office/officeart/2005/8/layout/hierarchy1"/>
    <dgm:cxn modelId="{F4463798-2D36-453D-B5DC-B2A91F2C3D6B}" srcId="{D0D30B79-0355-499D-B173-969EB15BABA6}" destId="{C7131179-FFA5-43A2-B732-9EAC0571BD29}" srcOrd="1" destOrd="0" parTransId="{82667D8F-76F8-4C7F-9B30-64CF23B5D682}" sibTransId="{46DB3CE6-E94B-48BF-89C8-10EB7D430A07}"/>
    <dgm:cxn modelId="{27086899-4687-4170-9548-F9B7A25829CA}" srcId="{11CE6025-6EDD-4803-B551-AAC5CD8C48FB}" destId="{F9B46C15-63CA-46DE-8E23-E0EEFFDE6989}" srcOrd="1" destOrd="0" parTransId="{F9905F81-C6FF-4070-892D-8E65AE18BB25}" sibTransId="{EBC5F948-84EA-41A8-862A-60B1184BFE54}"/>
    <dgm:cxn modelId="{266C4A9C-D8B6-42D1-881A-134E342BD5CD}" srcId="{28859148-DC55-4246-BB7E-8001B8E3929F}" destId="{EEA9F174-9A29-4D54-A6E9-454693A4ABE8}" srcOrd="0" destOrd="0" parTransId="{2F21B2AE-79B9-4480-AA08-91796F0EC38B}" sibTransId="{F24D0553-B374-4A16-8A12-1120EF8B9320}"/>
    <dgm:cxn modelId="{9CEF319D-4CDB-42F1-A5AD-FD73D5DF04C4}" type="presOf" srcId="{E23CC43F-C8EE-45D5-8BBB-A95B0E4760B7}" destId="{90F48572-0C51-4336-911E-B2925768C07F}" srcOrd="0" destOrd="0" presId="urn:microsoft.com/office/officeart/2005/8/layout/hierarchy1"/>
    <dgm:cxn modelId="{F4FDBEA0-49B6-49ED-96F3-BDDCAFA89B2B}" type="presOf" srcId="{50249AB6-A577-4201-A345-05C09B784186}" destId="{2DEFDF2B-9624-487C-B112-52D884A38274}" srcOrd="0" destOrd="0" presId="urn:microsoft.com/office/officeart/2005/8/layout/hierarchy1"/>
    <dgm:cxn modelId="{E7DA06A3-3BE7-4DA5-8398-3744A505288F}" type="presOf" srcId="{398A8809-9E4C-4D9C-85E5-4E19A70DB26B}" destId="{CDA74406-B975-492B-B5CD-6F6B24E2169D}" srcOrd="0" destOrd="0" presId="urn:microsoft.com/office/officeart/2005/8/layout/hierarchy1"/>
    <dgm:cxn modelId="{9CE390A7-B3D3-4F80-BA8B-A4FED19FC6A3}" srcId="{EEA9F174-9A29-4D54-A6E9-454693A4ABE8}" destId="{11CE6025-6EDD-4803-B551-AAC5CD8C48FB}" srcOrd="1" destOrd="0" parTransId="{DE68D42A-5130-4177-9240-24D384397C8E}" sibTransId="{01DB74DA-F615-4733-AD5A-DADC60495020}"/>
    <dgm:cxn modelId="{1B2BE1AE-1F94-412B-ABE2-F114931B83E1}" type="presOf" srcId="{28859148-DC55-4246-BB7E-8001B8E3929F}" destId="{18249420-1B06-49F0-9615-AFD83A809FBC}" srcOrd="0" destOrd="0" presId="urn:microsoft.com/office/officeart/2005/8/layout/hierarchy1"/>
    <dgm:cxn modelId="{E0D0E8C9-4E73-4B53-AAF0-99AB01CBF4C3}" srcId="{F9B46C15-63CA-46DE-8E23-E0EEFFDE6989}" destId="{E23CC43F-C8EE-45D5-8BBB-A95B0E4760B7}" srcOrd="0" destOrd="0" parTransId="{877E8BC7-9892-47F4-95F2-C6093DF40BD9}" sibTransId="{A36E70E9-793C-487F-B223-1AD99671FC62}"/>
    <dgm:cxn modelId="{093323CA-772C-4343-AAC2-F87BED3FECBF}" type="presOf" srcId="{D0D30B79-0355-499D-B173-969EB15BABA6}" destId="{4EA2C3AD-F362-4183-9BA0-603029BE619C}" srcOrd="0" destOrd="0" presId="urn:microsoft.com/office/officeart/2005/8/layout/hierarchy1"/>
    <dgm:cxn modelId="{C43A68CA-83BA-4A2F-918C-721831560FC1}" type="presOf" srcId="{37BD3216-C93D-480F-8E66-E9E69C4EF75B}" destId="{A3C15912-BDA1-4A62-A133-6EFEF4E6CF3C}" srcOrd="0" destOrd="0" presId="urn:microsoft.com/office/officeart/2005/8/layout/hierarchy1"/>
    <dgm:cxn modelId="{8AF731CB-C989-473A-A1F9-6299F9342517}" srcId="{8E10F182-1ACA-4865-B641-1914A99721A3}" destId="{E9F066BD-DFA5-4F9C-81AC-7C1F03D16FEB}" srcOrd="0" destOrd="0" parTransId="{39E18A7C-5381-412B-9203-A24F76D577B7}" sibTransId="{6BF08958-2A8F-4365-9CEF-96130546A656}"/>
    <dgm:cxn modelId="{E9F4EECC-6030-4F93-A06E-48FA7F1DE972}" type="presOf" srcId="{915C5133-2D6D-461C-A2D5-15D0DC45B931}" destId="{E59F16E5-D6CA-41AB-8D5B-C9E5EF7139D1}" srcOrd="0" destOrd="0" presId="urn:microsoft.com/office/officeart/2005/8/layout/hierarchy1"/>
    <dgm:cxn modelId="{D4ACE9D2-CB8F-4D43-B861-F0184EB35FCD}" type="presOf" srcId="{C7131179-FFA5-43A2-B732-9EAC0571BD29}" destId="{244EEF2F-EBDA-46A4-A025-C2DE6C2889FF}" srcOrd="0" destOrd="0" presId="urn:microsoft.com/office/officeart/2005/8/layout/hierarchy1"/>
    <dgm:cxn modelId="{0A68D9D7-6317-4FAD-9548-7E64F729F633}" srcId="{EEA9F174-9A29-4D54-A6E9-454693A4ABE8}" destId="{D0D30B79-0355-499D-B173-969EB15BABA6}" srcOrd="0" destOrd="0" parTransId="{79CBF1F4-ABF1-4E29-AF9B-0123EEE14DAF}" sibTransId="{99557DFC-8166-4FCC-9174-CD58F75F5CFC}"/>
    <dgm:cxn modelId="{1033FEE2-420E-45F0-B17B-EFEAD905F16C}" type="presOf" srcId="{F9905F81-C6FF-4070-892D-8E65AE18BB25}" destId="{DB4EACA8-B0B1-4715-BF2B-A6765B34581C}" srcOrd="0" destOrd="0" presId="urn:microsoft.com/office/officeart/2005/8/layout/hierarchy1"/>
    <dgm:cxn modelId="{782EFBE7-1A59-4060-A569-7A5FD2560518}" type="presOf" srcId="{58EEF041-09F4-476A-9EEB-BFC9DF9D7261}" destId="{4219811B-CCCC-4CC4-91E4-8F91885881DE}" srcOrd="0" destOrd="0" presId="urn:microsoft.com/office/officeart/2005/8/layout/hierarchy1"/>
    <dgm:cxn modelId="{335A67F0-6BFF-444F-BE94-E5C082E1592B}" type="presOf" srcId="{877E8BC7-9892-47F4-95F2-C6093DF40BD9}" destId="{A320C6C5-3285-4CDE-BA46-6D0943D9D596}" srcOrd="0" destOrd="0" presId="urn:microsoft.com/office/officeart/2005/8/layout/hierarchy1"/>
    <dgm:cxn modelId="{9C1528FE-F337-443F-A071-17DBC11E9305}" type="presOf" srcId="{39E18A7C-5381-412B-9203-A24F76D577B7}" destId="{E98C3AF5-8FC9-40AA-B76D-160D1D27E90D}" srcOrd="0" destOrd="0" presId="urn:microsoft.com/office/officeart/2005/8/layout/hierarchy1"/>
    <dgm:cxn modelId="{CBF9A4FE-7D93-4512-A195-B31963FEFB1C}" type="presOf" srcId="{34809DF8-400E-4F72-86A1-1737D8B4A929}" destId="{B813AC8B-2894-4DFD-A72F-A3F267B24606}" srcOrd="0" destOrd="0" presId="urn:microsoft.com/office/officeart/2005/8/layout/hierarchy1"/>
    <dgm:cxn modelId="{C149C542-219F-4244-A05B-EE7A66BCBB99}" type="presParOf" srcId="{18249420-1B06-49F0-9615-AFD83A809FBC}" destId="{A277B225-AB88-4411-8830-2FC3FF4A6017}" srcOrd="0" destOrd="0" presId="urn:microsoft.com/office/officeart/2005/8/layout/hierarchy1"/>
    <dgm:cxn modelId="{C2B5C5B5-9825-4EE7-B1DE-2D498BE2B513}" type="presParOf" srcId="{A277B225-AB88-4411-8830-2FC3FF4A6017}" destId="{C4B01C5C-2180-44C1-9323-131EFE73412A}" srcOrd="0" destOrd="0" presId="urn:microsoft.com/office/officeart/2005/8/layout/hierarchy1"/>
    <dgm:cxn modelId="{2DA93C12-F786-4F68-BE17-3DCBDB0B4768}" type="presParOf" srcId="{C4B01C5C-2180-44C1-9323-131EFE73412A}" destId="{C1BF5AAD-4F46-40B5-B0AB-627F2BBE6FB6}" srcOrd="0" destOrd="0" presId="urn:microsoft.com/office/officeart/2005/8/layout/hierarchy1"/>
    <dgm:cxn modelId="{029C13E0-ABF4-493A-9BC2-33ABE7552A87}" type="presParOf" srcId="{C4B01C5C-2180-44C1-9323-131EFE73412A}" destId="{483B5F85-4661-46C9-95E0-5CF8EE813468}" srcOrd="1" destOrd="0" presId="urn:microsoft.com/office/officeart/2005/8/layout/hierarchy1"/>
    <dgm:cxn modelId="{2C35992C-AE07-48D1-BAAE-24626F0535C9}" type="presParOf" srcId="{A277B225-AB88-4411-8830-2FC3FF4A6017}" destId="{5F81F6B5-29A2-4AAD-B4AC-7CBF35A87FE8}" srcOrd="1" destOrd="0" presId="urn:microsoft.com/office/officeart/2005/8/layout/hierarchy1"/>
    <dgm:cxn modelId="{C35FB5E0-43F3-4F32-AD5C-01B3DEFC8906}" type="presParOf" srcId="{5F81F6B5-29A2-4AAD-B4AC-7CBF35A87FE8}" destId="{5FA7AC25-D0B8-4B2A-9EFD-057FB109498D}" srcOrd="0" destOrd="0" presId="urn:microsoft.com/office/officeart/2005/8/layout/hierarchy1"/>
    <dgm:cxn modelId="{15BF50EE-5901-41A6-AE44-2FC6A62C2454}" type="presParOf" srcId="{5F81F6B5-29A2-4AAD-B4AC-7CBF35A87FE8}" destId="{2F0FA721-CF60-4D83-96B6-E438E5A7A769}" srcOrd="1" destOrd="0" presId="urn:microsoft.com/office/officeart/2005/8/layout/hierarchy1"/>
    <dgm:cxn modelId="{E06EC77D-DBC8-4655-A69E-B2E012491CA6}" type="presParOf" srcId="{2F0FA721-CF60-4D83-96B6-E438E5A7A769}" destId="{D29D1FC1-924B-4075-9707-C80323FC9C33}" srcOrd="0" destOrd="0" presId="urn:microsoft.com/office/officeart/2005/8/layout/hierarchy1"/>
    <dgm:cxn modelId="{63D8131F-DF20-4226-B00B-3D2949016279}" type="presParOf" srcId="{D29D1FC1-924B-4075-9707-C80323FC9C33}" destId="{9B06B5C9-D833-4EA6-A935-5634D9B2CB29}" srcOrd="0" destOrd="0" presId="urn:microsoft.com/office/officeart/2005/8/layout/hierarchy1"/>
    <dgm:cxn modelId="{ACECBA43-6B59-4F8C-8F28-67D259E33464}" type="presParOf" srcId="{D29D1FC1-924B-4075-9707-C80323FC9C33}" destId="{4EA2C3AD-F362-4183-9BA0-603029BE619C}" srcOrd="1" destOrd="0" presId="urn:microsoft.com/office/officeart/2005/8/layout/hierarchy1"/>
    <dgm:cxn modelId="{DE0ECC34-7349-4A0D-96C1-4CE4C40056B1}" type="presParOf" srcId="{2F0FA721-CF60-4D83-96B6-E438E5A7A769}" destId="{E11160DB-C713-4A04-9DEB-27E0F973439E}" srcOrd="1" destOrd="0" presId="urn:microsoft.com/office/officeart/2005/8/layout/hierarchy1"/>
    <dgm:cxn modelId="{EAA3B1FA-688A-464F-BB4F-84347927A10D}" type="presParOf" srcId="{E11160DB-C713-4A04-9DEB-27E0F973439E}" destId="{0F23E36A-E155-4F15-9798-E8CFC5398393}" srcOrd="0" destOrd="0" presId="urn:microsoft.com/office/officeart/2005/8/layout/hierarchy1"/>
    <dgm:cxn modelId="{F597B17E-FCB3-4F4F-A4A8-B68792473A4C}" type="presParOf" srcId="{E11160DB-C713-4A04-9DEB-27E0F973439E}" destId="{6A7ABEB6-4BBA-47D4-AA98-6624E95B2A07}" srcOrd="1" destOrd="0" presId="urn:microsoft.com/office/officeart/2005/8/layout/hierarchy1"/>
    <dgm:cxn modelId="{308C3364-58BB-4DDC-AC96-850309E7E61E}" type="presParOf" srcId="{6A7ABEB6-4BBA-47D4-AA98-6624E95B2A07}" destId="{87785CE8-73CF-4012-97E7-28C5CB383E97}" srcOrd="0" destOrd="0" presId="urn:microsoft.com/office/officeart/2005/8/layout/hierarchy1"/>
    <dgm:cxn modelId="{A567A69A-8541-4EAA-8EA5-C32DB30D6810}" type="presParOf" srcId="{87785CE8-73CF-4012-97E7-28C5CB383E97}" destId="{2D8D67ED-920A-4138-BD23-9DA009252F29}" srcOrd="0" destOrd="0" presId="urn:microsoft.com/office/officeart/2005/8/layout/hierarchy1"/>
    <dgm:cxn modelId="{75358FCD-3B28-47B2-B543-CB4115527508}" type="presParOf" srcId="{87785CE8-73CF-4012-97E7-28C5CB383E97}" destId="{CDA74406-B975-492B-B5CD-6F6B24E2169D}" srcOrd="1" destOrd="0" presId="urn:microsoft.com/office/officeart/2005/8/layout/hierarchy1"/>
    <dgm:cxn modelId="{0229CED8-9B64-4C93-8D69-15813BFC2EED}" type="presParOf" srcId="{6A7ABEB6-4BBA-47D4-AA98-6624E95B2A07}" destId="{C07C2032-C6E3-45B5-BB10-A06EB9433C80}" srcOrd="1" destOrd="0" presId="urn:microsoft.com/office/officeart/2005/8/layout/hierarchy1"/>
    <dgm:cxn modelId="{4AC2F2F5-BE0F-43DB-B698-3CFF1A6A6F60}" type="presParOf" srcId="{C07C2032-C6E3-45B5-BB10-A06EB9433C80}" destId="{84692E20-54D8-4B7A-94CE-8B76E4A531E4}" srcOrd="0" destOrd="0" presId="urn:microsoft.com/office/officeart/2005/8/layout/hierarchy1"/>
    <dgm:cxn modelId="{F75FE47A-B22D-4001-B2CC-9F1AE2F8A0C8}" type="presParOf" srcId="{C07C2032-C6E3-45B5-BB10-A06EB9433C80}" destId="{D2423300-507C-401D-851E-ACF4DA5BF7F5}" srcOrd="1" destOrd="0" presId="urn:microsoft.com/office/officeart/2005/8/layout/hierarchy1"/>
    <dgm:cxn modelId="{D5B096E6-667D-4331-AAAA-555A2B6369A3}" type="presParOf" srcId="{D2423300-507C-401D-851E-ACF4DA5BF7F5}" destId="{73E8EF96-2955-4344-95AE-B545F1012F2A}" srcOrd="0" destOrd="0" presId="urn:microsoft.com/office/officeart/2005/8/layout/hierarchy1"/>
    <dgm:cxn modelId="{6F7A8039-00B6-45DC-89A0-3E18131A31A8}" type="presParOf" srcId="{73E8EF96-2955-4344-95AE-B545F1012F2A}" destId="{16D23F0B-003C-4BB1-8B46-3E1FD3EF3B35}" srcOrd="0" destOrd="0" presId="urn:microsoft.com/office/officeart/2005/8/layout/hierarchy1"/>
    <dgm:cxn modelId="{D3B6C603-4A93-4014-B31D-0557365A3CE4}" type="presParOf" srcId="{73E8EF96-2955-4344-95AE-B545F1012F2A}" destId="{5B8D8B43-CF71-42AD-9198-668AEA04B271}" srcOrd="1" destOrd="0" presId="urn:microsoft.com/office/officeart/2005/8/layout/hierarchy1"/>
    <dgm:cxn modelId="{BB6379BE-6661-4444-AA36-5AF99EB09605}" type="presParOf" srcId="{D2423300-507C-401D-851E-ACF4DA5BF7F5}" destId="{132FE476-B1F2-499B-A035-5A7C7BFB0BE6}" srcOrd="1" destOrd="0" presId="urn:microsoft.com/office/officeart/2005/8/layout/hierarchy1"/>
    <dgm:cxn modelId="{B4E5E92D-D7C7-4553-9559-F1B46AA2E228}" type="presParOf" srcId="{132FE476-B1F2-499B-A035-5A7C7BFB0BE6}" destId="{2DEFDF2B-9624-487C-B112-52D884A38274}" srcOrd="0" destOrd="0" presId="urn:microsoft.com/office/officeart/2005/8/layout/hierarchy1"/>
    <dgm:cxn modelId="{41AF4A41-4B6F-4C2F-822D-28FA8C0D8346}" type="presParOf" srcId="{132FE476-B1F2-499B-A035-5A7C7BFB0BE6}" destId="{8880196F-41E1-469E-A442-83497662BA11}" srcOrd="1" destOrd="0" presId="urn:microsoft.com/office/officeart/2005/8/layout/hierarchy1"/>
    <dgm:cxn modelId="{86799409-FDA9-4637-A159-AD9E69E583D8}" type="presParOf" srcId="{8880196F-41E1-469E-A442-83497662BA11}" destId="{98A723F1-5306-4958-905F-E77C2C7629DC}" srcOrd="0" destOrd="0" presId="urn:microsoft.com/office/officeart/2005/8/layout/hierarchy1"/>
    <dgm:cxn modelId="{8D8A834B-7BBB-426B-B028-CA52C5AF267D}" type="presParOf" srcId="{98A723F1-5306-4958-905F-E77C2C7629DC}" destId="{B9DF0A1D-2C14-4999-975B-EA341510F5AD}" srcOrd="0" destOrd="0" presId="urn:microsoft.com/office/officeart/2005/8/layout/hierarchy1"/>
    <dgm:cxn modelId="{87C93E96-28B7-4C44-8382-71C8DBB6456E}" type="presParOf" srcId="{98A723F1-5306-4958-905F-E77C2C7629DC}" destId="{E59F16E5-D6CA-41AB-8D5B-C9E5EF7139D1}" srcOrd="1" destOrd="0" presId="urn:microsoft.com/office/officeart/2005/8/layout/hierarchy1"/>
    <dgm:cxn modelId="{74C6C68B-DC6D-412B-B74D-28E8F5069C1F}" type="presParOf" srcId="{8880196F-41E1-469E-A442-83497662BA11}" destId="{E61229A8-E14D-455C-9F24-1E98A78650F8}" srcOrd="1" destOrd="0" presId="urn:microsoft.com/office/officeart/2005/8/layout/hierarchy1"/>
    <dgm:cxn modelId="{E4A2F571-1BA5-4D81-A890-E4E8BE764350}" type="presParOf" srcId="{E11160DB-C713-4A04-9DEB-27E0F973439E}" destId="{A438D59E-F2C4-40EC-82E0-617C329002F1}" srcOrd="2" destOrd="0" presId="urn:microsoft.com/office/officeart/2005/8/layout/hierarchy1"/>
    <dgm:cxn modelId="{BE898E69-6A8C-4BEE-B9DF-CFE0B0C1BCD9}" type="presParOf" srcId="{E11160DB-C713-4A04-9DEB-27E0F973439E}" destId="{FFE6F0F7-F388-497F-BD14-62CEE960A778}" srcOrd="3" destOrd="0" presId="urn:microsoft.com/office/officeart/2005/8/layout/hierarchy1"/>
    <dgm:cxn modelId="{A0E479F0-F8E7-46C7-A5F0-D7F96F70DBAD}" type="presParOf" srcId="{FFE6F0F7-F388-497F-BD14-62CEE960A778}" destId="{73FDE958-6F98-41B6-8784-9C0205088ECE}" srcOrd="0" destOrd="0" presId="urn:microsoft.com/office/officeart/2005/8/layout/hierarchy1"/>
    <dgm:cxn modelId="{7AB6E160-D7D3-4EA7-9B41-EB3DF26B28A9}" type="presParOf" srcId="{73FDE958-6F98-41B6-8784-9C0205088ECE}" destId="{48A68B87-8597-427A-AEE0-4AC1B6D02175}" srcOrd="0" destOrd="0" presId="urn:microsoft.com/office/officeart/2005/8/layout/hierarchy1"/>
    <dgm:cxn modelId="{64F52C1E-DE3F-4DA9-BFBD-64707A72F380}" type="presParOf" srcId="{73FDE958-6F98-41B6-8784-9C0205088ECE}" destId="{244EEF2F-EBDA-46A4-A025-C2DE6C2889FF}" srcOrd="1" destOrd="0" presId="urn:microsoft.com/office/officeart/2005/8/layout/hierarchy1"/>
    <dgm:cxn modelId="{BD9CD570-00AF-41AE-B9DE-08752F75A505}" type="presParOf" srcId="{FFE6F0F7-F388-497F-BD14-62CEE960A778}" destId="{3101BB51-E432-4087-8432-6A5A1013CA96}" srcOrd="1" destOrd="0" presId="urn:microsoft.com/office/officeart/2005/8/layout/hierarchy1"/>
    <dgm:cxn modelId="{9DB74184-8C19-424D-B068-1AD221FD0742}" type="presParOf" srcId="{3101BB51-E432-4087-8432-6A5A1013CA96}" destId="{AC82A640-E87F-4F69-8788-C6D628D1F9C6}" srcOrd="0" destOrd="0" presId="urn:microsoft.com/office/officeart/2005/8/layout/hierarchy1"/>
    <dgm:cxn modelId="{98FAEC45-68CA-420F-96FF-2C4F7AFD539B}" type="presParOf" srcId="{3101BB51-E432-4087-8432-6A5A1013CA96}" destId="{92B03782-15CE-45A4-BDFC-7CDE3A3B6A6C}" srcOrd="1" destOrd="0" presId="urn:microsoft.com/office/officeart/2005/8/layout/hierarchy1"/>
    <dgm:cxn modelId="{96280657-567B-4969-9B41-52976EF7CC2B}" type="presParOf" srcId="{92B03782-15CE-45A4-BDFC-7CDE3A3B6A6C}" destId="{62E5B31F-EAFE-4DD6-9447-A4C8AB3B817A}" srcOrd="0" destOrd="0" presId="urn:microsoft.com/office/officeart/2005/8/layout/hierarchy1"/>
    <dgm:cxn modelId="{F0F1C19D-5AC4-40BC-B2B8-48783E7017A5}" type="presParOf" srcId="{62E5B31F-EAFE-4DD6-9447-A4C8AB3B817A}" destId="{BC8EB294-6443-4B0C-9F70-4E15751B5767}" srcOrd="0" destOrd="0" presId="urn:microsoft.com/office/officeart/2005/8/layout/hierarchy1"/>
    <dgm:cxn modelId="{C4E8D132-0BFA-4D6E-826A-8C0F770C01C9}" type="presParOf" srcId="{62E5B31F-EAFE-4DD6-9447-A4C8AB3B817A}" destId="{53947971-2F65-4994-BE5F-A90B32534965}" srcOrd="1" destOrd="0" presId="urn:microsoft.com/office/officeart/2005/8/layout/hierarchy1"/>
    <dgm:cxn modelId="{9BDA6126-4680-4C73-8420-001861661D4B}" type="presParOf" srcId="{92B03782-15CE-45A4-BDFC-7CDE3A3B6A6C}" destId="{25C1CA33-0310-48C7-AFA6-A716E53446A8}" srcOrd="1" destOrd="0" presId="urn:microsoft.com/office/officeart/2005/8/layout/hierarchy1"/>
    <dgm:cxn modelId="{AD3CF85A-9108-483F-820E-2EDE0A8600B5}" type="presParOf" srcId="{25C1CA33-0310-48C7-AFA6-A716E53446A8}" destId="{A3C15912-BDA1-4A62-A133-6EFEF4E6CF3C}" srcOrd="0" destOrd="0" presId="urn:microsoft.com/office/officeart/2005/8/layout/hierarchy1"/>
    <dgm:cxn modelId="{ADC40020-45DA-42AD-A755-883B23870CFB}" type="presParOf" srcId="{25C1CA33-0310-48C7-AFA6-A716E53446A8}" destId="{81C77BA7-FF60-46A2-9E2D-47A9838A6531}" srcOrd="1" destOrd="0" presId="urn:microsoft.com/office/officeart/2005/8/layout/hierarchy1"/>
    <dgm:cxn modelId="{E2A1D034-BB91-4904-A2D3-DF3910662E6A}" type="presParOf" srcId="{81C77BA7-FF60-46A2-9E2D-47A9838A6531}" destId="{B2562B96-E447-4808-9DD4-C198CB0A0E83}" srcOrd="0" destOrd="0" presId="urn:microsoft.com/office/officeart/2005/8/layout/hierarchy1"/>
    <dgm:cxn modelId="{A636C998-ADFA-46A1-96B4-C9426B65CC18}" type="presParOf" srcId="{B2562B96-E447-4808-9DD4-C198CB0A0E83}" destId="{C754130F-D528-4022-B612-2D649C998CC5}" srcOrd="0" destOrd="0" presId="urn:microsoft.com/office/officeart/2005/8/layout/hierarchy1"/>
    <dgm:cxn modelId="{8BDA3438-308B-4B4D-872E-0AC2F551305F}" type="presParOf" srcId="{B2562B96-E447-4808-9DD4-C198CB0A0E83}" destId="{4219811B-CCCC-4CC4-91E4-8F91885881DE}" srcOrd="1" destOrd="0" presId="urn:microsoft.com/office/officeart/2005/8/layout/hierarchy1"/>
    <dgm:cxn modelId="{16DEE5CB-CF37-4999-9EC3-F98800AE2C5D}" type="presParOf" srcId="{81C77BA7-FF60-46A2-9E2D-47A9838A6531}" destId="{1ACEA287-5220-41B6-BD28-8CBE60304C72}" srcOrd="1" destOrd="0" presId="urn:microsoft.com/office/officeart/2005/8/layout/hierarchy1"/>
    <dgm:cxn modelId="{4624A029-1BAB-4782-A02D-3246312E45E1}" type="presParOf" srcId="{5F81F6B5-29A2-4AAD-B4AC-7CBF35A87FE8}" destId="{660D064B-2F6F-4956-B6FC-9A94D7AEE3D0}" srcOrd="2" destOrd="0" presId="urn:microsoft.com/office/officeart/2005/8/layout/hierarchy1"/>
    <dgm:cxn modelId="{6957A257-7D5A-49DE-AB2D-92E7432E5970}" type="presParOf" srcId="{5F81F6B5-29A2-4AAD-B4AC-7CBF35A87FE8}" destId="{CBFD7171-1239-487D-BC4F-6774057BDF4D}" srcOrd="3" destOrd="0" presId="urn:microsoft.com/office/officeart/2005/8/layout/hierarchy1"/>
    <dgm:cxn modelId="{08231B78-B4D6-44CC-93A5-BD27ED133A20}" type="presParOf" srcId="{CBFD7171-1239-487D-BC4F-6774057BDF4D}" destId="{E39559D3-C7CA-463E-BF34-CC914CC7165B}" srcOrd="0" destOrd="0" presId="urn:microsoft.com/office/officeart/2005/8/layout/hierarchy1"/>
    <dgm:cxn modelId="{0E29C7B9-8CAE-42A6-B544-F140A98EE998}" type="presParOf" srcId="{E39559D3-C7CA-463E-BF34-CC914CC7165B}" destId="{0280BCFA-2950-4B22-980F-25C3D49F86C5}" srcOrd="0" destOrd="0" presId="urn:microsoft.com/office/officeart/2005/8/layout/hierarchy1"/>
    <dgm:cxn modelId="{E00AEB1B-6ECA-48EB-B40E-2D9AB8E5E10D}" type="presParOf" srcId="{E39559D3-C7CA-463E-BF34-CC914CC7165B}" destId="{542004F5-91AA-47E7-8D0C-3188A7342222}" srcOrd="1" destOrd="0" presId="urn:microsoft.com/office/officeart/2005/8/layout/hierarchy1"/>
    <dgm:cxn modelId="{4954120A-42B8-4CE6-AA49-4E1E2A4DAF52}" type="presParOf" srcId="{CBFD7171-1239-487D-BC4F-6774057BDF4D}" destId="{AA3FF267-7CDE-4307-A9B9-950AC43BD6E1}" srcOrd="1" destOrd="0" presId="urn:microsoft.com/office/officeart/2005/8/layout/hierarchy1"/>
    <dgm:cxn modelId="{BBA44D13-A353-4BAA-97AA-A45FEEAE7855}" type="presParOf" srcId="{AA3FF267-7CDE-4307-A9B9-950AC43BD6E1}" destId="{7DCF7F3E-A2D8-42C3-9305-FDA73DF1D08C}" srcOrd="0" destOrd="0" presId="urn:microsoft.com/office/officeart/2005/8/layout/hierarchy1"/>
    <dgm:cxn modelId="{6D580330-8164-412F-9D91-CAC2379E5347}" type="presParOf" srcId="{AA3FF267-7CDE-4307-A9B9-950AC43BD6E1}" destId="{7AC1B5C9-E68D-4ACB-A45B-6CDBEC95A90B}" srcOrd="1" destOrd="0" presId="urn:microsoft.com/office/officeart/2005/8/layout/hierarchy1"/>
    <dgm:cxn modelId="{0C47C47F-FA13-471B-AD84-3B5258245D00}" type="presParOf" srcId="{7AC1B5C9-E68D-4ACB-A45B-6CDBEC95A90B}" destId="{DF1D98D7-0138-4E98-A3F2-233D21EBB78B}" srcOrd="0" destOrd="0" presId="urn:microsoft.com/office/officeart/2005/8/layout/hierarchy1"/>
    <dgm:cxn modelId="{48C3AB64-2823-440A-A6C2-A9A72184AB27}" type="presParOf" srcId="{DF1D98D7-0138-4E98-A3F2-233D21EBB78B}" destId="{989CD059-5E11-4B29-9444-F46CE8A13ADC}" srcOrd="0" destOrd="0" presId="urn:microsoft.com/office/officeart/2005/8/layout/hierarchy1"/>
    <dgm:cxn modelId="{FF198E7B-B3BF-462F-AE44-79E69B7DDF71}" type="presParOf" srcId="{DF1D98D7-0138-4E98-A3F2-233D21EBB78B}" destId="{CC7D6C45-7D13-4DA9-ADAB-FD715CCA32D0}" srcOrd="1" destOrd="0" presId="urn:microsoft.com/office/officeart/2005/8/layout/hierarchy1"/>
    <dgm:cxn modelId="{4EB5E143-56D9-4967-BAC6-DE3B1FE5BF0B}" type="presParOf" srcId="{7AC1B5C9-E68D-4ACB-A45B-6CDBEC95A90B}" destId="{74C27FC9-5FB0-45D9-80EE-665748E6C877}" srcOrd="1" destOrd="0" presId="urn:microsoft.com/office/officeart/2005/8/layout/hierarchy1"/>
    <dgm:cxn modelId="{BFE45CC1-88C8-4984-8CAF-F6EB9EDF94D4}" type="presParOf" srcId="{74C27FC9-5FB0-45D9-80EE-665748E6C877}" destId="{E98C3AF5-8FC9-40AA-B76D-160D1D27E90D}" srcOrd="0" destOrd="0" presId="urn:microsoft.com/office/officeart/2005/8/layout/hierarchy1"/>
    <dgm:cxn modelId="{4AE3FDAE-1A64-4D6D-AFCA-CA9815BA7C25}" type="presParOf" srcId="{74C27FC9-5FB0-45D9-80EE-665748E6C877}" destId="{37C997B3-596C-474E-B4CB-3D213C750291}" srcOrd="1" destOrd="0" presId="urn:microsoft.com/office/officeart/2005/8/layout/hierarchy1"/>
    <dgm:cxn modelId="{816C4603-87AA-41F0-A713-5D2302BDD1D0}" type="presParOf" srcId="{37C997B3-596C-474E-B4CB-3D213C750291}" destId="{AA047AE7-15BE-479F-B9BF-6F207E8ACC26}" srcOrd="0" destOrd="0" presId="urn:microsoft.com/office/officeart/2005/8/layout/hierarchy1"/>
    <dgm:cxn modelId="{0584DB6F-81AD-48C0-866B-C98EEDAE3BC4}" type="presParOf" srcId="{AA047AE7-15BE-479F-B9BF-6F207E8ACC26}" destId="{3EE818D2-E665-4AF5-B02F-48CF906D0E0E}" srcOrd="0" destOrd="0" presId="urn:microsoft.com/office/officeart/2005/8/layout/hierarchy1"/>
    <dgm:cxn modelId="{98DEE6C2-9645-4E03-9CE9-1A095E1116A6}" type="presParOf" srcId="{AA047AE7-15BE-479F-B9BF-6F207E8ACC26}" destId="{0298B4FF-EC89-4CB6-8569-2AD21BB005B7}" srcOrd="1" destOrd="0" presId="urn:microsoft.com/office/officeart/2005/8/layout/hierarchy1"/>
    <dgm:cxn modelId="{90B2250F-F4F1-4D1A-9B51-E390D863C535}" type="presParOf" srcId="{37C997B3-596C-474E-B4CB-3D213C750291}" destId="{7E3DB9D0-4819-4BB0-9777-0D907986CBEB}" srcOrd="1" destOrd="0" presId="urn:microsoft.com/office/officeart/2005/8/layout/hierarchy1"/>
    <dgm:cxn modelId="{9145CD5B-0634-4467-8D91-5B264692F9F9}" type="presParOf" srcId="{7E3DB9D0-4819-4BB0-9777-0D907986CBEB}" destId="{4034CCD1-479E-4B20-9948-92B5CBBBDEE8}" srcOrd="0" destOrd="0" presId="urn:microsoft.com/office/officeart/2005/8/layout/hierarchy1"/>
    <dgm:cxn modelId="{F51807C7-3D32-4723-80C1-19EE3C24CAEC}" type="presParOf" srcId="{7E3DB9D0-4819-4BB0-9777-0D907986CBEB}" destId="{4A8657FB-6CD1-4BAD-8504-DC2153CD6378}" srcOrd="1" destOrd="0" presId="urn:microsoft.com/office/officeart/2005/8/layout/hierarchy1"/>
    <dgm:cxn modelId="{E83A6FD8-7916-42EB-9BD1-BE6093A83836}" type="presParOf" srcId="{4A8657FB-6CD1-4BAD-8504-DC2153CD6378}" destId="{EA96E4AE-8447-443E-A04E-40A649235D60}" srcOrd="0" destOrd="0" presId="urn:microsoft.com/office/officeart/2005/8/layout/hierarchy1"/>
    <dgm:cxn modelId="{0ED34A09-8935-4725-8F75-3AA0B9B846DC}" type="presParOf" srcId="{EA96E4AE-8447-443E-A04E-40A649235D60}" destId="{0ECF104F-D70E-4EFE-ADA1-7527CD077919}" srcOrd="0" destOrd="0" presId="urn:microsoft.com/office/officeart/2005/8/layout/hierarchy1"/>
    <dgm:cxn modelId="{C526C135-7811-41A8-98AE-A25411875F49}" type="presParOf" srcId="{EA96E4AE-8447-443E-A04E-40A649235D60}" destId="{F5D12DD6-6C91-482C-973D-060DF33FB557}" srcOrd="1" destOrd="0" presId="urn:microsoft.com/office/officeart/2005/8/layout/hierarchy1"/>
    <dgm:cxn modelId="{4D9D5AFA-E5F2-47BA-819A-9C63FEAA9D17}" type="presParOf" srcId="{4A8657FB-6CD1-4BAD-8504-DC2153CD6378}" destId="{3C63477E-BA8F-4DD7-9885-F5F58CCDEB62}" srcOrd="1" destOrd="0" presId="urn:microsoft.com/office/officeart/2005/8/layout/hierarchy1"/>
    <dgm:cxn modelId="{9E6938F6-540C-4C87-AB8D-D264368D6949}" type="presParOf" srcId="{AA3FF267-7CDE-4307-A9B9-950AC43BD6E1}" destId="{DB4EACA8-B0B1-4715-BF2B-A6765B34581C}" srcOrd="2" destOrd="0" presId="urn:microsoft.com/office/officeart/2005/8/layout/hierarchy1"/>
    <dgm:cxn modelId="{8D80B39A-4ED6-4981-833E-5E8909DCF75E}" type="presParOf" srcId="{AA3FF267-7CDE-4307-A9B9-950AC43BD6E1}" destId="{2812BC50-EEF4-499D-91EF-1C27DF911118}" srcOrd="3" destOrd="0" presId="urn:microsoft.com/office/officeart/2005/8/layout/hierarchy1"/>
    <dgm:cxn modelId="{73277270-1798-4958-8877-B0AB5B6E078E}" type="presParOf" srcId="{2812BC50-EEF4-499D-91EF-1C27DF911118}" destId="{ADE6DC1B-A703-44A5-A040-A93ACF200E28}" srcOrd="0" destOrd="0" presId="urn:microsoft.com/office/officeart/2005/8/layout/hierarchy1"/>
    <dgm:cxn modelId="{41E450A0-670E-4D3B-ABFC-4FC270977046}" type="presParOf" srcId="{ADE6DC1B-A703-44A5-A040-A93ACF200E28}" destId="{A7A5660F-AAC2-4219-957F-4DED38090C89}" srcOrd="0" destOrd="0" presId="urn:microsoft.com/office/officeart/2005/8/layout/hierarchy1"/>
    <dgm:cxn modelId="{4A6388E6-36AE-4F87-9E64-9738359A236A}" type="presParOf" srcId="{ADE6DC1B-A703-44A5-A040-A93ACF200E28}" destId="{3E73AB7B-7B9F-4818-8A98-8907C9FD69B0}" srcOrd="1" destOrd="0" presId="urn:microsoft.com/office/officeart/2005/8/layout/hierarchy1"/>
    <dgm:cxn modelId="{E5806F78-4045-4A3B-8747-AA8A0D7EBBAC}" type="presParOf" srcId="{2812BC50-EEF4-499D-91EF-1C27DF911118}" destId="{3792BA0B-479F-4DC1-A6B9-9A54B128B8CD}" srcOrd="1" destOrd="0" presId="urn:microsoft.com/office/officeart/2005/8/layout/hierarchy1"/>
    <dgm:cxn modelId="{8CBC2630-89AC-4A1C-A626-76701B9E24DE}" type="presParOf" srcId="{3792BA0B-479F-4DC1-A6B9-9A54B128B8CD}" destId="{A320C6C5-3285-4CDE-BA46-6D0943D9D596}" srcOrd="0" destOrd="0" presId="urn:microsoft.com/office/officeart/2005/8/layout/hierarchy1"/>
    <dgm:cxn modelId="{618E738A-6CF6-4929-A587-107ADE6E55A7}" type="presParOf" srcId="{3792BA0B-479F-4DC1-A6B9-9A54B128B8CD}" destId="{395102BF-7A87-49AF-B94F-1505E8F36CDF}" srcOrd="1" destOrd="0" presId="urn:microsoft.com/office/officeart/2005/8/layout/hierarchy1"/>
    <dgm:cxn modelId="{88074C21-5682-4610-BEAE-201E637337C7}" type="presParOf" srcId="{395102BF-7A87-49AF-B94F-1505E8F36CDF}" destId="{425D4C73-ED05-4C82-94AC-2A5F8A5C98EB}" srcOrd="0" destOrd="0" presId="urn:microsoft.com/office/officeart/2005/8/layout/hierarchy1"/>
    <dgm:cxn modelId="{724C6454-4CC0-444A-9881-54E17F26488B}" type="presParOf" srcId="{425D4C73-ED05-4C82-94AC-2A5F8A5C98EB}" destId="{00C8F16C-243D-4D34-8E10-5ED1A454AFB5}" srcOrd="0" destOrd="0" presId="urn:microsoft.com/office/officeart/2005/8/layout/hierarchy1"/>
    <dgm:cxn modelId="{E4C2D212-3F5F-4DAC-8361-109F2A80E8C8}" type="presParOf" srcId="{425D4C73-ED05-4C82-94AC-2A5F8A5C98EB}" destId="{90F48572-0C51-4336-911E-B2925768C07F}" srcOrd="1" destOrd="0" presId="urn:microsoft.com/office/officeart/2005/8/layout/hierarchy1"/>
    <dgm:cxn modelId="{4E0C4CA8-605C-40BD-9DB3-1FCC8D7CEC66}" type="presParOf" srcId="{395102BF-7A87-49AF-B94F-1505E8F36CDF}" destId="{428D117F-CE6A-4311-8E55-6C8D285A120C}" srcOrd="1" destOrd="0" presId="urn:microsoft.com/office/officeart/2005/8/layout/hierarchy1"/>
    <dgm:cxn modelId="{4160FC15-81B9-44FB-89C8-5AAB35A40428}" type="presParOf" srcId="{428D117F-CE6A-4311-8E55-6C8D285A120C}" destId="{B813AC8B-2894-4DFD-A72F-A3F267B24606}" srcOrd="0" destOrd="0" presId="urn:microsoft.com/office/officeart/2005/8/layout/hierarchy1"/>
    <dgm:cxn modelId="{AF855779-6525-4D41-8C47-4529209F8C2F}" type="presParOf" srcId="{428D117F-CE6A-4311-8E55-6C8D285A120C}" destId="{BBA4F76D-44A4-4DD0-9BD4-38C8D8EE423B}" srcOrd="1" destOrd="0" presId="urn:microsoft.com/office/officeart/2005/8/layout/hierarchy1"/>
    <dgm:cxn modelId="{12EBADDB-9791-4F29-A15D-45B6F3A02F94}" type="presParOf" srcId="{BBA4F76D-44A4-4DD0-9BD4-38C8D8EE423B}" destId="{BD69830A-3359-4CE2-B6AD-B5F2A7A5B884}" srcOrd="0" destOrd="0" presId="urn:microsoft.com/office/officeart/2005/8/layout/hierarchy1"/>
    <dgm:cxn modelId="{BE2ED3B5-C1DE-4E51-BA27-5947D25A870B}" type="presParOf" srcId="{BD69830A-3359-4CE2-B6AD-B5F2A7A5B884}" destId="{64D5F178-51BD-4202-9C02-3B1238743525}" srcOrd="0" destOrd="0" presId="urn:microsoft.com/office/officeart/2005/8/layout/hierarchy1"/>
    <dgm:cxn modelId="{232BB2A3-8013-4233-93AA-07E84ACF3DCB}" type="presParOf" srcId="{BD69830A-3359-4CE2-B6AD-B5F2A7A5B884}" destId="{06B6C756-63D8-41D5-B2BB-41C0207DDFED}" srcOrd="1" destOrd="0" presId="urn:microsoft.com/office/officeart/2005/8/layout/hierarchy1"/>
    <dgm:cxn modelId="{4997183F-8086-4F4B-86C2-E2E1F46FE743}" type="presParOf" srcId="{BBA4F76D-44A4-4DD0-9BD4-38C8D8EE423B}" destId="{5E69BFA5-68EC-4B65-B057-17B845CEDA79}" srcOrd="1" destOrd="0" presId="urn:microsoft.com/office/officeart/2005/8/layout/hierarchy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8859148-DC55-4246-BB7E-8001B8E3929F}"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EEA9F174-9A29-4D54-A6E9-454693A4ABE8}">
      <dgm:prSet phldrT="[Text]" custT="1"/>
      <dgm:spPr/>
      <dgm:t>
        <a:bodyPr/>
        <a:lstStyle/>
        <a:p>
          <a:r>
            <a:rPr lang="en-US" sz="1400" b="1" dirty="0">
              <a:latin typeface="Cambria" panose="02040503050406030204" pitchFamily="18" charset="0"/>
              <a:ea typeface="Cambria" panose="02040503050406030204" pitchFamily="18" charset="0"/>
            </a:rPr>
            <a:t>N3532</a:t>
          </a:r>
        </a:p>
      </dgm:t>
    </dgm:pt>
    <dgm:pt modelId="{2F21B2AE-79B9-4480-AA08-91796F0EC38B}" type="parTrans" cxnId="{266C4A9C-D8B6-42D1-881A-134E342BD5CD}">
      <dgm:prSet/>
      <dgm:spPr/>
      <dgm:t>
        <a:bodyPr/>
        <a:lstStyle/>
        <a:p>
          <a:endParaRPr lang="en-US" sz="1200" b="1">
            <a:latin typeface="Cambria" panose="02040503050406030204" pitchFamily="18" charset="0"/>
            <a:ea typeface="Cambria" panose="02040503050406030204" pitchFamily="18" charset="0"/>
          </a:endParaRPr>
        </a:p>
      </dgm:t>
    </dgm:pt>
    <dgm:pt modelId="{F24D0553-B374-4A16-8A12-1120EF8B9320}" type="sibTrans" cxnId="{266C4A9C-D8B6-42D1-881A-134E342BD5CD}">
      <dgm:prSet/>
      <dgm:spPr/>
      <dgm:t>
        <a:bodyPr/>
        <a:lstStyle/>
        <a:p>
          <a:endParaRPr lang="en-US" sz="1200" b="1">
            <a:latin typeface="Cambria" panose="02040503050406030204" pitchFamily="18" charset="0"/>
            <a:ea typeface="Cambria" panose="02040503050406030204" pitchFamily="18" charset="0"/>
          </a:endParaRPr>
        </a:p>
      </dgm:t>
    </dgm:pt>
    <dgm:pt modelId="{D0D30B79-0355-499D-B173-969EB15BABA6}">
      <dgm:prSet phldrT="[Text]" custT="1"/>
      <dgm:spPr/>
      <dgm:t>
        <a:bodyPr/>
        <a:lstStyle/>
        <a:p>
          <a:r>
            <a:rPr lang="en-US" sz="1200" b="1" dirty="0">
              <a:latin typeface="Cambria" panose="02040503050406030204" pitchFamily="18" charset="0"/>
              <a:ea typeface="Cambria" panose="02040503050406030204" pitchFamily="18" charset="0"/>
            </a:rPr>
            <a:t>Mining , OB and Irrigation, Port</a:t>
          </a:r>
        </a:p>
      </dgm:t>
    </dgm:pt>
    <dgm:pt modelId="{79CBF1F4-ABF1-4E29-AF9B-0123EEE14DAF}" type="parTrans" cxnId="{0A68D9D7-6317-4FAD-9548-7E64F729F633}">
      <dgm:prSet/>
      <dgm:spPr/>
      <dgm:t>
        <a:bodyPr/>
        <a:lstStyle/>
        <a:p>
          <a:endParaRPr lang="en-US" sz="1200" b="1">
            <a:latin typeface="Cambria" panose="02040503050406030204" pitchFamily="18" charset="0"/>
            <a:ea typeface="Cambria" panose="02040503050406030204" pitchFamily="18" charset="0"/>
          </a:endParaRPr>
        </a:p>
      </dgm:t>
    </dgm:pt>
    <dgm:pt modelId="{99557DFC-8166-4FCC-9174-CD58F75F5CFC}" type="sibTrans" cxnId="{0A68D9D7-6317-4FAD-9548-7E64F729F633}">
      <dgm:prSet/>
      <dgm:spPr/>
      <dgm:t>
        <a:bodyPr/>
        <a:lstStyle/>
        <a:p>
          <a:endParaRPr lang="en-US" sz="1200" b="1">
            <a:latin typeface="Cambria" panose="02040503050406030204" pitchFamily="18" charset="0"/>
            <a:ea typeface="Cambria" panose="02040503050406030204" pitchFamily="18" charset="0"/>
          </a:endParaRPr>
        </a:p>
      </dgm:t>
    </dgm:pt>
    <dgm:pt modelId="{398A8809-9E4C-4D9C-85E5-4E19A70DB26B}">
      <dgm:prSet phldrT="[Text]" custT="1"/>
      <dgm:spPr/>
      <dgm:t>
        <a:bodyPr/>
        <a:lstStyle/>
        <a:p>
          <a:r>
            <a:rPr lang="en-US" sz="1200" b="1" dirty="0">
              <a:latin typeface="Cambria" panose="02040503050406030204" pitchFamily="18" charset="0"/>
              <a:ea typeface="Cambria" panose="02040503050406030204" pitchFamily="18" charset="0"/>
            </a:rPr>
            <a:t>23 Box with 25% Canopy</a:t>
          </a:r>
        </a:p>
      </dgm:t>
    </dgm:pt>
    <dgm:pt modelId="{D61BDFFC-2951-46F5-8692-078C4C60C6A0}" type="parTrans" cxnId="{676B8C73-7CE0-4E37-9BBC-CC5AA17FD259}">
      <dgm:prSet/>
      <dgm:spPr/>
      <dgm:t>
        <a:bodyPr/>
        <a:lstStyle/>
        <a:p>
          <a:endParaRPr lang="en-US" sz="1200" b="1">
            <a:latin typeface="Cambria" panose="02040503050406030204" pitchFamily="18" charset="0"/>
            <a:ea typeface="Cambria" panose="02040503050406030204" pitchFamily="18" charset="0"/>
          </a:endParaRPr>
        </a:p>
      </dgm:t>
    </dgm:pt>
    <dgm:pt modelId="{08BD512A-7AE0-4191-9C3C-734504BCF5D2}" type="sibTrans" cxnId="{676B8C73-7CE0-4E37-9BBC-CC5AA17FD259}">
      <dgm:prSet/>
      <dgm:spPr/>
      <dgm:t>
        <a:bodyPr/>
        <a:lstStyle/>
        <a:p>
          <a:endParaRPr lang="en-US" sz="1200" b="1">
            <a:latin typeface="Cambria" panose="02040503050406030204" pitchFamily="18" charset="0"/>
            <a:ea typeface="Cambria" panose="02040503050406030204" pitchFamily="18" charset="0"/>
          </a:endParaRPr>
        </a:p>
      </dgm:t>
    </dgm:pt>
    <dgm:pt modelId="{C7131179-FFA5-43A2-B732-9EAC0571BD29}">
      <dgm:prSet phldrT="[Text]" custT="1"/>
      <dgm:spPr/>
      <dgm:t>
        <a:bodyPr/>
        <a:lstStyle/>
        <a:p>
          <a:r>
            <a:rPr lang="en-US" sz="1200" b="1" dirty="0">
              <a:latin typeface="Cambria" panose="02040503050406030204" pitchFamily="18" charset="0"/>
              <a:ea typeface="Cambria" panose="02040503050406030204" pitchFamily="18" charset="0"/>
            </a:rPr>
            <a:t>19 Rock  with 100% Canopy</a:t>
          </a:r>
        </a:p>
      </dgm:t>
    </dgm:pt>
    <dgm:pt modelId="{82667D8F-76F8-4C7F-9B30-64CF23B5D682}" type="parTrans" cxnId="{F4463798-2D36-453D-B5DC-B2A91F2C3D6B}">
      <dgm:prSet/>
      <dgm:spPr/>
      <dgm:t>
        <a:bodyPr/>
        <a:lstStyle/>
        <a:p>
          <a:endParaRPr lang="en-US" sz="1200" b="1">
            <a:latin typeface="Cambria" panose="02040503050406030204" pitchFamily="18" charset="0"/>
            <a:ea typeface="Cambria" panose="02040503050406030204" pitchFamily="18" charset="0"/>
          </a:endParaRPr>
        </a:p>
      </dgm:t>
    </dgm:pt>
    <dgm:pt modelId="{46DB3CE6-E94B-48BF-89C8-10EB7D430A07}" type="sibTrans" cxnId="{F4463798-2D36-453D-B5DC-B2A91F2C3D6B}">
      <dgm:prSet/>
      <dgm:spPr/>
      <dgm:t>
        <a:bodyPr/>
        <a:lstStyle/>
        <a:p>
          <a:endParaRPr lang="en-US" sz="1200" b="1">
            <a:latin typeface="Cambria" panose="02040503050406030204" pitchFamily="18" charset="0"/>
            <a:ea typeface="Cambria" panose="02040503050406030204" pitchFamily="18" charset="0"/>
          </a:endParaRPr>
        </a:p>
      </dgm:t>
    </dgm:pt>
    <dgm:pt modelId="{11CE6025-6EDD-4803-B551-AAC5CD8C48FB}">
      <dgm:prSet phldrT="[Text]" custT="1"/>
      <dgm:spPr/>
      <dgm:t>
        <a:bodyPr/>
        <a:lstStyle/>
        <a:p>
          <a:r>
            <a:rPr lang="en-US" sz="1200" b="1" dirty="0">
              <a:latin typeface="Cambria" panose="02040503050406030204" pitchFamily="18" charset="0"/>
              <a:ea typeface="Cambria" panose="02040503050406030204" pitchFamily="18" charset="0"/>
            </a:rPr>
            <a:t>Quarry and Construction</a:t>
          </a:r>
        </a:p>
      </dgm:t>
    </dgm:pt>
    <dgm:pt modelId="{DE68D42A-5130-4177-9240-24D384397C8E}" type="parTrans" cxnId="{9CE390A7-B3D3-4F80-BA8B-A4FED19FC6A3}">
      <dgm:prSet/>
      <dgm:spPr/>
      <dgm:t>
        <a:bodyPr/>
        <a:lstStyle/>
        <a:p>
          <a:endParaRPr lang="en-US" sz="1200" b="1">
            <a:latin typeface="Cambria" panose="02040503050406030204" pitchFamily="18" charset="0"/>
            <a:ea typeface="Cambria" panose="02040503050406030204" pitchFamily="18" charset="0"/>
          </a:endParaRPr>
        </a:p>
      </dgm:t>
    </dgm:pt>
    <dgm:pt modelId="{01DB74DA-F615-4733-AD5A-DADC60495020}" type="sibTrans" cxnId="{9CE390A7-B3D3-4F80-BA8B-A4FED19FC6A3}">
      <dgm:prSet/>
      <dgm:spPr/>
      <dgm:t>
        <a:bodyPr/>
        <a:lstStyle/>
        <a:p>
          <a:endParaRPr lang="en-US" sz="1200" b="1">
            <a:latin typeface="Cambria" panose="02040503050406030204" pitchFamily="18" charset="0"/>
            <a:ea typeface="Cambria" panose="02040503050406030204" pitchFamily="18" charset="0"/>
          </a:endParaRPr>
        </a:p>
      </dgm:t>
    </dgm:pt>
    <dgm:pt modelId="{8E10F182-1ACA-4865-B641-1914A99721A3}">
      <dgm:prSet phldrT="[Text]" custT="1"/>
      <dgm:spPr/>
      <dgm:t>
        <a:bodyPr/>
        <a:lstStyle/>
        <a:p>
          <a:r>
            <a:rPr lang="en-US" sz="1200" b="1" dirty="0">
              <a:latin typeface="Cambria" panose="02040503050406030204" pitchFamily="18" charset="0"/>
              <a:ea typeface="Cambria" panose="02040503050406030204" pitchFamily="18" charset="0"/>
            </a:rPr>
            <a:t>23 Box with 25% Canopy</a:t>
          </a:r>
        </a:p>
      </dgm:t>
    </dgm:pt>
    <dgm:pt modelId="{DE4DDFA5-27F9-4E9B-BBA7-F1956C0B85F6}" type="parTrans" cxnId="{39E03C94-9A68-4252-BAB0-AD839146A785}">
      <dgm:prSet/>
      <dgm:spPr/>
      <dgm:t>
        <a:bodyPr/>
        <a:lstStyle/>
        <a:p>
          <a:endParaRPr lang="en-US" sz="1200" b="1">
            <a:latin typeface="Cambria" panose="02040503050406030204" pitchFamily="18" charset="0"/>
            <a:ea typeface="Cambria" panose="02040503050406030204" pitchFamily="18" charset="0"/>
          </a:endParaRPr>
        </a:p>
      </dgm:t>
    </dgm:pt>
    <dgm:pt modelId="{46C94504-4DB9-4EFA-8374-A758FCC23BF0}" type="sibTrans" cxnId="{39E03C94-9A68-4252-BAB0-AD839146A785}">
      <dgm:prSet/>
      <dgm:spPr/>
      <dgm:t>
        <a:bodyPr/>
        <a:lstStyle/>
        <a:p>
          <a:endParaRPr lang="en-US" sz="1200" b="1">
            <a:latin typeface="Cambria" panose="02040503050406030204" pitchFamily="18" charset="0"/>
            <a:ea typeface="Cambria" panose="02040503050406030204" pitchFamily="18" charset="0"/>
          </a:endParaRPr>
        </a:p>
      </dgm:t>
    </dgm:pt>
    <dgm:pt modelId="{F9B46C15-63CA-46DE-8E23-E0EEFFDE6989}">
      <dgm:prSet phldrT="[Text]" custT="1"/>
      <dgm:spPr/>
      <dgm:t>
        <a:bodyPr/>
        <a:lstStyle/>
        <a:p>
          <a:r>
            <a:rPr lang="en-US" sz="1200" b="1" dirty="0">
              <a:latin typeface="Cambria" panose="02040503050406030204" pitchFamily="18" charset="0"/>
              <a:ea typeface="Cambria" panose="02040503050406030204" pitchFamily="18" charset="0"/>
            </a:rPr>
            <a:t>19 Rock with 100% Canopy</a:t>
          </a:r>
        </a:p>
      </dgm:t>
    </dgm:pt>
    <dgm:pt modelId="{F9905F81-C6FF-4070-892D-8E65AE18BB25}" type="parTrans" cxnId="{27086899-4687-4170-9548-F9B7A25829CA}">
      <dgm:prSet/>
      <dgm:spPr/>
      <dgm:t>
        <a:bodyPr/>
        <a:lstStyle/>
        <a:p>
          <a:endParaRPr lang="en-US" sz="1200" b="1">
            <a:latin typeface="Cambria" panose="02040503050406030204" pitchFamily="18" charset="0"/>
            <a:ea typeface="Cambria" panose="02040503050406030204" pitchFamily="18" charset="0"/>
          </a:endParaRPr>
        </a:p>
      </dgm:t>
    </dgm:pt>
    <dgm:pt modelId="{EBC5F948-84EA-41A8-862A-60B1184BFE54}" type="sibTrans" cxnId="{27086899-4687-4170-9548-F9B7A25829CA}">
      <dgm:prSet/>
      <dgm:spPr/>
      <dgm:t>
        <a:bodyPr/>
        <a:lstStyle/>
        <a:p>
          <a:endParaRPr lang="en-US" sz="1200" b="1">
            <a:latin typeface="Cambria" panose="02040503050406030204" pitchFamily="18" charset="0"/>
            <a:ea typeface="Cambria" panose="02040503050406030204" pitchFamily="18" charset="0"/>
          </a:endParaRPr>
        </a:p>
      </dgm:t>
    </dgm:pt>
    <dgm:pt modelId="{8943604C-C494-4760-A04E-0DE37503916E}">
      <dgm:prSet phldrT="[Text]" custT="1"/>
      <dgm:spPr/>
      <dgm:t>
        <a:bodyPr/>
        <a:lstStyle/>
        <a:p>
          <a:r>
            <a:rPr lang="en-US" sz="1050" b="1" dirty="0">
              <a:latin typeface="Cambria" panose="02040503050406030204" pitchFamily="18" charset="0"/>
              <a:ea typeface="Cambria" panose="02040503050406030204" pitchFamily="18" charset="0"/>
            </a:rPr>
            <a:t>12x20 Mine Lug</a:t>
          </a:r>
        </a:p>
        <a:p>
          <a:r>
            <a:rPr lang="en-US" sz="1050" b="1" dirty="0">
              <a:latin typeface="Cambria" panose="02040503050406030204" pitchFamily="18" charset="0"/>
              <a:ea typeface="Cambria" panose="02040503050406030204" pitchFamily="18" charset="0"/>
            </a:rPr>
            <a:t>11x20 Mine Lug, </a:t>
          </a:r>
        </a:p>
      </dgm:t>
    </dgm:pt>
    <dgm:pt modelId="{BCC53F54-8B28-4EB8-9B8B-CCBBCC748366}" type="parTrans" cxnId="{7E43780F-00A6-42D3-8260-D91FEB6FD211}">
      <dgm:prSet/>
      <dgm:spPr/>
      <dgm:t>
        <a:bodyPr/>
        <a:lstStyle/>
        <a:p>
          <a:endParaRPr lang="en-US" sz="1200" b="1">
            <a:latin typeface="Cambria" panose="02040503050406030204" pitchFamily="18" charset="0"/>
            <a:ea typeface="Cambria" panose="02040503050406030204" pitchFamily="18" charset="0"/>
          </a:endParaRPr>
        </a:p>
      </dgm:t>
    </dgm:pt>
    <dgm:pt modelId="{0C784266-A17A-4F07-ABB5-176D13402E2C}" type="sibTrans" cxnId="{7E43780F-00A6-42D3-8260-D91FEB6FD211}">
      <dgm:prSet/>
      <dgm:spPr/>
      <dgm:t>
        <a:bodyPr/>
        <a:lstStyle/>
        <a:p>
          <a:endParaRPr lang="en-US" sz="1200" b="1">
            <a:latin typeface="Cambria" panose="02040503050406030204" pitchFamily="18" charset="0"/>
            <a:ea typeface="Cambria" panose="02040503050406030204" pitchFamily="18" charset="0"/>
          </a:endParaRPr>
        </a:p>
      </dgm:t>
    </dgm:pt>
    <dgm:pt modelId="{E21C073A-F37C-4A83-BF09-B5E0A2D05FD2}">
      <dgm:prSet phldrT="[Text]" custT="1"/>
      <dgm:spPr/>
      <dgm:t>
        <a:bodyPr/>
        <a:lstStyle/>
        <a:p>
          <a:r>
            <a:rPr lang="en-US" sz="1050" b="1" dirty="0">
              <a:latin typeface="Cambria" panose="02040503050406030204" pitchFamily="18" charset="0"/>
              <a:ea typeface="Cambria" panose="02040503050406030204" pitchFamily="18" charset="0"/>
            </a:rPr>
            <a:t>12x20 Mine Lug</a:t>
          </a:r>
        </a:p>
        <a:p>
          <a:r>
            <a:rPr lang="en-US" sz="1050" b="1" dirty="0">
              <a:latin typeface="Cambria" panose="02040503050406030204" pitchFamily="18" charset="0"/>
              <a:ea typeface="Cambria" panose="02040503050406030204" pitchFamily="18" charset="0"/>
            </a:rPr>
            <a:t>11x20 Mine Lug, </a:t>
          </a:r>
        </a:p>
      </dgm:t>
    </dgm:pt>
    <dgm:pt modelId="{AACA3F34-876D-41BB-B723-0C13BA318331}" type="parTrans" cxnId="{AD577423-72C7-4628-B0FC-EE69ED27566F}">
      <dgm:prSet/>
      <dgm:spPr/>
      <dgm:t>
        <a:bodyPr/>
        <a:lstStyle/>
        <a:p>
          <a:endParaRPr lang="en-US" sz="1200" b="1">
            <a:latin typeface="Cambria" panose="02040503050406030204" pitchFamily="18" charset="0"/>
            <a:ea typeface="Cambria" panose="02040503050406030204" pitchFamily="18" charset="0"/>
          </a:endParaRPr>
        </a:p>
      </dgm:t>
    </dgm:pt>
    <dgm:pt modelId="{6E144C90-5C8B-4684-9B39-299769B30717}" type="sibTrans" cxnId="{AD577423-72C7-4628-B0FC-EE69ED27566F}">
      <dgm:prSet/>
      <dgm:spPr/>
      <dgm:t>
        <a:bodyPr/>
        <a:lstStyle/>
        <a:p>
          <a:endParaRPr lang="en-US" sz="1200" b="1">
            <a:latin typeface="Cambria" panose="02040503050406030204" pitchFamily="18" charset="0"/>
            <a:ea typeface="Cambria" panose="02040503050406030204" pitchFamily="18" charset="0"/>
          </a:endParaRPr>
        </a:p>
      </dgm:t>
    </dgm:pt>
    <dgm:pt modelId="{E9F066BD-DFA5-4F9C-81AC-7C1F03D16FEB}">
      <dgm:prSet phldrT="[Text]" custT="1"/>
      <dgm:spPr/>
      <dgm:t>
        <a:bodyPr/>
        <a:lstStyle/>
        <a:p>
          <a:r>
            <a:rPr lang="en-US" sz="1050" b="1" dirty="0">
              <a:latin typeface="Cambria" panose="02040503050406030204" pitchFamily="18" charset="0"/>
              <a:ea typeface="Cambria" panose="02040503050406030204" pitchFamily="18" charset="0"/>
            </a:rPr>
            <a:t>12x20 Mine Lug</a:t>
          </a:r>
        </a:p>
        <a:p>
          <a:r>
            <a:rPr lang="en-US" sz="1050" b="1" dirty="0">
              <a:latin typeface="Cambria" panose="02040503050406030204" pitchFamily="18" charset="0"/>
              <a:ea typeface="Cambria" panose="02040503050406030204" pitchFamily="18" charset="0"/>
            </a:rPr>
            <a:t>11x20 Mine Lug, </a:t>
          </a:r>
        </a:p>
      </dgm:t>
    </dgm:pt>
    <dgm:pt modelId="{39E18A7C-5381-412B-9203-A24F76D577B7}" type="parTrans" cxnId="{8AF731CB-C989-473A-A1F9-6299F9342517}">
      <dgm:prSet/>
      <dgm:spPr/>
      <dgm:t>
        <a:bodyPr/>
        <a:lstStyle/>
        <a:p>
          <a:endParaRPr lang="en-US" sz="1200" b="1">
            <a:latin typeface="Cambria" panose="02040503050406030204" pitchFamily="18" charset="0"/>
            <a:ea typeface="Cambria" panose="02040503050406030204" pitchFamily="18" charset="0"/>
          </a:endParaRPr>
        </a:p>
      </dgm:t>
    </dgm:pt>
    <dgm:pt modelId="{6BF08958-2A8F-4365-9CEF-96130546A656}" type="sibTrans" cxnId="{8AF731CB-C989-473A-A1F9-6299F9342517}">
      <dgm:prSet/>
      <dgm:spPr/>
      <dgm:t>
        <a:bodyPr/>
        <a:lstStyle/>
        <a:p>
          <a:endParaRPr lang="en-US" sz="1200" b="1">
            <a:latin typeface="Cambria" panose="02040503050406030204" pitchFamily="18" charset="0"/>
            <a:ea typeface="Cambria" panose="02040503050406030204" pitchFamily="18" charset="0"/>
          </a:endParaRPr>
        </a:p>
      </dgm:t>
    </dgm:pt>
    <dgm:pt modelId="{E23CC43F-C8EE-45D5-8BBB-A95B0E4760B7}">
      <dgm:prSet phldrT="[Text]" custT="1"/>
      <dgm:spPr/>
      <dgm:t>
        <a:bodyPr/>
        <a:lstStyle/>
        <a:p>
          <a:r>
            <a:rPr lang="en-US" sz="1050" b="1" dirty="0">
              <a:latin typeface="Cambria" panose="02040503050406030204" pitchFamily="18" charset="0"/>
              <a:ea typeface="Cambria" panose="02040503050406030204" pitchFamily="18" charset="0"/>
            </a:rPr>
            <a:t>12x20 Mine Lug</a:t>
          </a:r>
        </a:p>
        <a:p>
          <a:r>
            <a:rPr lang="en-US" sz="1050" b="1" dirty="0">
              <a:latin typeface="Cambria" panose="02040503050406030204" pitchFamily="18" charset="0"/>
              <a:ea typeface="Cambria" panose="02040503050406030204" pitchFamily="18" charset="0"/>
            </a:rPr>
            <a:t>11x20 Mine Lug, </a:t>
          </a:r>
        </a:p>
      </dgm:t>
    </dgm:pt>
    <dgm:pt modelId="{877E8BC7-9892-47F4-95F2-C6093DF40BD9}" type="parTrans" cxnId="{E0D0E8C9-4E73-4B53-AAF0-99AB01CBF4C3}">
      <dgm:prSet/>
      <dgm:spPr/>
      <dgm:t>
        <a:bodyPr/>
        <a:lstStyle/>
        <a:p>
          <a:endParaRPr lang="en-US" sz="1200" b="1">
            <a:latin typeface="Cambria" panose="02040503050406030204" pitchFamily="18" charset="0"/>
            <a:ea typeface="Cambria" panose="02040503050406030204" pitchFamily="18" charset="0"/>
          </a:endParaRPr>
        </a:p>
      </dgm:t>
    </dgm:pt>
    <dgm:pt modelId="{A36E70E9-793C-487F-B223-1AD99671FC62}" type="sibTrans" cxnId="{E0D0E8C9-4E73-4B53-AAF0-99AB01CBF4C3}">
      <dgm:prSet/>
      <dgm:spPr/>
      <dgm:t>
        <a:bodyPr/>
        <a:lstStyle/>
        <a:p>
          <a:endParaRPr lang="en-US" sz="1200" b="1">
            <a:latin typeface="Cambria" panose="02040503050406030204" pitchFamily="18" charset="0"/>
            <a:ea typeface="Cambria" panose="02040503050406030204" pitchFamily="18" charset="0"/>
          </a:endParaRPr>
        </a:p>
      </dgm:t>
    </dgm:pt>
    <dgm:pt modelId="{915C5133-2D6D-461C-A2D5-15D0DC45B931}">
      <dgm:prSet phldrT="[Text]" custT="1"/>
      <dgm:spPr/>
      <dgm:t>
        <a:bodyPr/>
        <a:lstStyle/>
        <a:p>
          <a:r>
            <a:rPr lang="en-US" sz="1200" b="1" dirty="0">
              <a:latin typeface="Cambria" panose="02040503050406030204" pitchFamily="18" charset="0"/>
              <a:ea typeface="Cambria" panose="02040503050406030204" pitchFamily="18" charset="0"/>
            </a:rPr>
            <a:t>Earth, OB,Limesstone</a:t>
          </a:r>
        </a:p>
      </dgm:t>
    </dgm:pt>
    <dgm:pt modelId="{50249AB6-A577-4201-A345-05C09B784186}" type="parTrans" cxnId="{D38FD118-B0C7-4522-A3FD-94FDBA34525C}">
      <dgm:prSet/>
      <dgm:spPr/>
      <dgm:t>
        <a:bodyPr/>
        <a:lstStyle/>
        <a:p>
          <a:endParaRPr lang="en-US" sz="1200" b="1">
            <a:latin typeface="Cambria" panose="02040503050406030204" pitchFamily="18" charset="0"/>
            <a:ea typeface="Cambria" panose="02040503050406030204" pitchFamily="18" charset="0"/>
          </a:endParaRPr>
        </a:p>
      </dgm:t>
    </dgm:pt>
    <dgm:pt modelId="{5A0330B5-7186-4137-B5CE-6A04494D9839}" type="sibTrans" cxnId="{D38FD118-B0C7-4522-A3FD-94FDBA34525C}">
      <dgm:prSet/>
      <dgm:spPr/>
      <dgm:t>
        <a:bodyPr/>
        <a:lstStyle/>
        <a:p>
          <a:endParaRPr lang="en-US" sz="1200" b="1">
            <a:latin typeface="Cambria" panose="02040503050406030204" pitchFamily="18" charset="0"/>
            <a:ea typeface="Cambria" panose="02040503050406030204" pitchFamily="18" charset="0"/>
          </a:endParaRPr>
        </a:p>
      </dgm:t>
    </dgm:pt>
    <dgm:pt modelId="{58EEF041-09F4-476A-9EEB-BFC9DF9D7261}">
      <dgm:prSet phldrT="[Text]" custT="1"/>
      <dgm:spPr/>
      <dgm:t>
        <a:bodyPr/>
        <a:lstStyle/>
        <a:p>
          <a:r>
            <a:rPr lang="en-US" sz="1200" b="1" dirty="0">
              <a:latin typeface="Cambria" panose="02040503050406030204" pitchFamily="18" charset="0"/>
              <a:ea typeface="Cambria" panose="02040503050406030204" pitchFamily="18" charset="0"/>
            </a:rPr>
            <a:t>OB, Coal, Iron, Stone</a:t>
          </a:r>
        </a:p>
      </dgm:t>
    </dgm:pt>
    <dgm:pt modelId="{37BD3216-C93D-480F-8E66-E9E69C4EF75B}" type="parTrans" cxnId="{B451C773-1D50-4C46-9E31-A6BE37AA8484}">
      <dgm:prSet/>
      <dgm:spPr/>
      <dgm:t>
        <a:bodyPr/>
        <a:lstStyle/>
        <a:p>
          <a:endParaRPr lang="en-US" sz="1200" b="1">
            <a:latin typeface="Cambria" panose="02040503050406030204" pitchFamily="18" charset="0"/>
            <a:ea typeface="Cambria" panose="02040503050406030204" pitchFamily="18" charset="0"/>
          </a:endParaRPr>
        </a:p>
      </dgm:t>
    </dgm:pt>
    <dgm:pt modelId="{9A97889D-E3A6-4186-BBF3-2A12B4F2E742}" type="sibTrans" cxnId="{B451C773-1D50-4C46-9E31-A6BE37AA8484}">
      <dgm:prSet/>
      <dgm:spPr/>
      <dgm:t>
        <a:bodyPr/>
        <a:lstStyle/>
        <a:p>
          <a:endParaRPr lang="en-US" sz="1200" b="1">
            <a:latin typeface="Cambria" panose="02040503050406030204" pitchFamily="18" charset="0"/>
            <a:ea typeface="Cambria" panose="02040503050406030204" pitchFamily="18" charset="0"/>
          </a:endParaRPr>
        </a:p>
      </dgm:t>
    </dgm:pt>
    <dgm:pt modelId="{0E934C6A-767D-4290-9D09-2706A60899D4}">
      <dgm:prSet phldrT="[Text]" custT="1"/>
      <dgm:spPr/>
      <dgm:t>
        <a:bodyPr/>
        <a:lstStyle/>
        <a:p>
          <a:r>
            <a:rPr lang="en-US" sz="1200" b="1" dirty="0">
              <a:latin typeface="Cambria" panose="02040503050406030204" pitchFamily="18" charset="0"/>
              <a:ea typeface="Cambria" panose="02040503050406030204" pitchFamily="18" charset="0"/>
            </a:rPr>
            <a:t>Bluemetal, Sand</a:t>
          </a:r>
        </a:p>
      </dgm:t>
    </dgm:pt>
    <dgm:pt modelId="{83C06409-5778-4700-B30B-B92C2C0BB1BD}" type="parTrans" cxnId="{A429463C-ECC7-48B8-B832-460F0585FD46}">
      <dgm:prSet/>
      <dgm:spPr/>
      <dgm:t>
        <a:bodyPr/>
        <a:lstStyle/>
        <a:p>
          <a:endParaRPr lang="en-US" sz="1200" b="1">
            <a:latin typeface="Cambria" panose="02040503050406030204" pitchFamily="18" charset="0"/>
            <a:ea typeface="Cambria" panose="02040503050406030204" pitchFamily="18" charset="0"/>
          </a:endParaRPr>
        </a:p>
      </dgm:t>
    </dgm:pt>
    <dgm:pt modelId="{4CF87FCC-2F70-4F30-AA9B-6B4BDD86A0F1}" type="sibTrans" cxnId="{A429463C-ECC7-48B8-B832-460F0585FD46}">
      <dgm:prSet/>
      <dgm:spPr/>
      <dgm:t>
        <a:bodyPr/>
        <a:lstStyle/>
        <a:p>
          <a:endParaRPr lang="en-US" sz="1200" b="1">
            <a:latin typeface="Cambria" panose="02040503050406030204" pitchFamily="18" charset="0"/>
            <a:ea typeface="Cambria" panose="02040503050406030204" pitchFamily="18" charset="0"/>
          </a:endParaRPr>
        </a:p>
      </dgm:t>
    </dgm:pt>
    <dgm:pt modelId="{5EAD7547-CFE8-40CA-9DC8-A824D1EF4F30}">
      <dgm:prSet phldrT="[Text]" custT="1"/>
      <dgm:spPr/>
      <dgm:t>
        <a:bodyPr/>
        <a:lstStyle/>
        <a:p>
          <a:r>
            <a:rPr lang="en-US" sz="1200" b="1" dirty="0">
              <a:latin typeface="Cambria" panose="02040503050406030204" pitchFamily="18" charset="0"/>
              <a:ea typeface="Cambria" panose="02040503050406030204" pitchFamily="18" charset="0"/>
            </a:rPr>
            <a:t>Boulder</a:t>
          </a:r>
        </a:p>
      </dgm:t>
    </dgm:pt>
    <dgm:pt modelId="{34809DF8-400E-4F72-86A1-1737D8B4A929}" type="parTrans" cxnId="{3B19A913-681C-4A29-AD88-B2ECFFDFB6D0}">
      <dgm:prSet/>
      <dgm:spPr/>
      <dgm:t>
        <a:bodyPr/>
        <a:lstStyle/>
        <a:p>
          <a:endParaRPr lang="en-US" sz="1200" b="1">
            <a:latin typeface="Cambria" panose="02040503050406030204" pitchFamily="18" charset="0"/>
            <a:ea typeface="Cambria" panose="02040503050406030204" pitchFamily="18" charset="0"/>
          </a:endParaRPr>
        </a:p>
      </dgm:t>
    </dgm:pt>
    <dgm:pt modelId="{0F275DE4-B91E-4026-B9E4-EEEA55961ADC}" type="sibTrans" cxnId="{3B19A913-681C-4A29-AD88-B2ECFFDFB6D0}">
      <dgm:prSet/>
      <dgm:spPr/>
      <dgm:t>
        <a:bodyPr/>
        <a:lstStyle/>
        <a:p>
          <a:endParaRPr lang="en-US" sz="1200" b="1">
            <a:latin typeface="Cambria" panose="02040503050406030204" pitchFamily="18" charset="0"/>
            <a:ea typeface="Cambria" panose="02040503050406030204" pitchFamily="18" charset="0"/>
          </a:endParaRPr>
        </a:p>
      </dgm:t>
    </dgm:pt>
    <dgm:pt modelId="{18249420-1B06-49F0-9615-AFD83A809FBC}" type="pres">
      <dgm:prSet presAssocID="{28859148-DC55-4246-BB7E-8001B8E3929F}" presName="hierChild1" presStyleCnt="0">
        <dgm:presLayoutVars>
          <dgm:chPref val="1"/>
          <dgm:dir/>
          <dgm:animOne val="branch"/>
          <dgm:animLvl val="lvl"/>
          <dgm:resizeHandles/>
        </dgm:presLayoutVars>
      </dgm:prSet>
      <dgm:spPr/>
    </dgm:pt>
    <dgm:pt modelId="{A277B225-AB88-4411-8830-2FC3FF4A6017}" type="pres">
      <dgm:prSet presAssocID="{EEA9F174-9A29-4D54-A6E9-454693A4ABE8}" presName="hierRoot1" presStyleCnt="0"/>
      <dgm:spPr/>
    </dgm:pt>
    <dgm:pt modelId="{C4B01C5C-2180-44C1-9323-131EFE73412A}" type="pres">
      <dgm:prSet presAssocID="{EEA9F174-9A29-4D54-A6E9-454693A4ABE8}" presName="composite" presStyleCnt="0"/>
      <dgm:spPr/>
    </dgm:pt>
    <dgm:pt modelId="{C1BF5AAD-4F46-40B5-B0AB-627F2BBE6FB6}" type="pres">
      <dgm:prSet presAssocID="{EEA9F174-9A29-4D54-A6E9-454693A4ABE8}" presName="background" presStyleLbl="node0" presStyleIdx="0" presStyleCnt="1"/>
      <dgm:spPr/>
    </dgm:pt>
    <dgm:pt modelId="{483B5F85-4661-46C9-95E0-5CF8EE813468}" type="pres">
      <dgm:prSet presAssocID="{EEA9F174-9A29-4D54-A6E9-454693A4ABE8}" presName="text" presStyleLbl="fgAcc0" presStyleIdx="0" presStyleCnt="1">
        <dgm:presLayoutVars>
          <dgm:chPref val="3"/>
        </dgm:presLayoutVars>
      </dgm:prSet>
      <dgm:spPr/>
    </dgm:pt>
    <dgm:pt modelId="{5F81F6B5-29A2-4AAD-B4AC-7CBF35A87FE8}" type="pres">
      <dgm:prSet presAssocID="{EEA9F174-9A29-4D54-A6E9-454693A4ABE8}" presName="hierChild2" presStyleCnt="0"/>
      <dgm:spPr/>
    </dgm:pt>
    <dgm:pt modelId="{5FA7AC25-D0B8-4B2A-9EFD-057FB109498D}" type="pres">
      <dgm:prSet presAssocID="{79CBF1F4-ABF1-4E29-AF9B-0123EEE14DAF}" presName="Name10" presStyleLbl="parChTrans1D2" presStyleIdx="0" presStyleCnt="2"/>
      <dgm:spPr/>
    </dgm:pt>
    <dgm:pt modelId="{2F0FA721-CF60-4D83-96B6-E438E5A7A769}" type="pres">
      <dgm:prSet presAssocID="{D0D30B79-0355-499D-B173-969EB15BABA6}" presName="hierRoot2" presStyleCnt="0"/>
      <dgm:spPr/>
    </dgm:pt>
    <dgm:pt modelId="{D29D1FC1-924B-4075-9707-C80323FC9C33}" type="pres">
      <dgm:prSet presAssocID="{D0D30B79-0355-499D-B173-969EB15BABA6}" presName="composite2" presStyleCnt="0"/>
      <dgm:spPr/>
    </dgm:pt>
    <dgm:pt modelId="{9B06B5C9-D833-4EA6-A935-5634D9B2CB29}" type="pres">
      <dgm:prSet presAssocID="{D0D30B79-0355-499D-B173-969EB15BABA6}" presName="background2" presStyleLbl="node2" presStyleIdx="0" presStyleCnt="2"/>
      <dgm:spPr/>
    </dgm:pt>
    <dgm:pt modelId="{4EA2C3AD-F362-4183-9BA0-603029BE619C}" type="pres">
      <dgm:prSet presAssocID="{D0D30B79-0355-499D-B173-969EB15BABA6}" presName="text2" presStyleLbl="fgAcc2" presStyleIdx="0" presStyleCnt="2" custScaleX="121910">
        <dgm:presLayoutVars>
          <dgm:chPref val="3"/>
        </dgm:presLayoutVars>
      </dgm:prSet>
      <dgm:spPr/>
    </dgm:pt>
    <dgm:pt modelId="{E11160DB-C713-4A04-9DEB-27E0F973439E}" type="pres">
      <dgm:prSet presAssocID="{D0D30B79-0355-499D-B173-969EB15BABA6}" presName="hierChild3" presStyleCnt="0"/>
      <dgm:spPr/>
    </dgm:pt>
    <dgm:pt modelId="{0F23E36A-E155-4F15-9798-E8CFC5398393}" type="pres">
      <dgm:prSet presAssocID="{D61BDFFC-2951-46F5-8692-078C4C60C6A0}" presName="Name17" presStyleLbl="parChTrans1D3" presStyleIdx="0" presStyleCnt="4"/>
      <dgm:spPr/>
    </dgm:pt>
    <dgm:pt modelId="{6A7ABEB6-4BBA-47D4-AA98-6624E95B2A07}" type="pres">
      <dgm:prSet presAssocID="{398A8809-9E4C-4D9C-85E5-4E19A70DB26B}" presName="hierRoot3" presStyleCnt="0"/>
      <dgm:spPr/>
    </dgm:pt>
    <dgm:pt modelId="{87785CE8-73CF-4012-97E7-28C5CB383E97}" type="pres">
      <dgm:prSet presAssocID="{398A8809-9E4C-4D9C-85E5-4E19A70DB26B}" presName="composite3" presStyleCnt="0"/>
      <dgm:spPr/>
    </dgm:pt>
    <dgm:pt modelId="{2D8D67ED-920A-4138-BD23-9DA009252F29}" type="pres">
      <dgm:prSet presAssocID="{398A8809-9E4C-4D9C-85E5-4E19A70DB26B}" presName="background3" presStyleLbl="node3" presStyleIdx="0" presStyleCnt="4"/>
      <dgm:spPr/>
    </dgm:pt>
    <dgm:pt modelId="{CDA74406-B975-492B-B5CD-6F6B24E2169D}" type="pres">
      <dgm:prSet presAssocID="{398A8809-9E4C-4D9C-85E5-4E19A70DB26B}" presName="text3" presStyleLbl="fgAcc3" presStyleIdx="0" presStyleCnt="4">
        <dgm:presLayoutVars>
          <dgm:chPref val="3"/>
        </dgm:presLayoutVars>
      </dgm:prSet>
      <dgm:spPr/>
    </dgm:pt>
    <dgm:pt modelId="{C07C2032-C6E3-45B5-BB10-A06EB9433C80}" type="pres">
      <dgm:prSet presAssocID="{398A8809-9E4C-4D9C-85E5-4E19A70DB26B}" presName="hierChild4" presStyleCnt="0"/>
      <dgm:spPr/>
    </dgm:pt>
    <dgm:pt modelId="{84692E20-54D8-4B7A-94CE-8B76E4A531E4}" type="pres">
      <dgm:prSet presAssocID="{BCC53F54-8B28-4EB8-9B8B-CCBBCC748366}" presName="Name23" presStyleLbl="parChTrans1D4" presStyleIdx="0" presStyleCnt="8"/>
      <dgm:spPr/>
    </dgm:pt>
    <dgm:pt modelId="{D2423300-507C-401D-851E-ACF4DA5BF7F5}" type="pres">
      <dgm:prSet presAssocID="{8943604C-C494-4760-A04E-0DE37503916E}" presName="hierRoot4" presStyleCnt="0"/>
      <dgm:spPr/>
    </dgm:pt>
    <dgm:pt modelId="{73E8EF96-2955-4344-95AE-B545F1012F2A}" type="pres">
      <dgm:prSet presAssocID="{8943604C-C494-4760-A04E-0DE37503916E}" presName="composite4" presStyleCnt="0"/>
      <dgm:spPr/>
    </dgm:pt>
    <dgm:pt modelId="{16D23F0B-003C-4BB1-8B46-3E1FD3EF3B35}" type="pres">
      <dgm:prSet presAssocID="{8943604C-C494-4760-A04E-0DE37503916E}" presName="background4" presStyleLbl="node4" presStyleIdx="0" presStyleCnt="8"/>
      <dgm:spPr/>
    </dgm:pt>
    <dgm:pt modelId="{5B8D8B43-CF71-42AD-9198-668AEA04B271}" type="pres">
      <dgm:prSet presAssocID="{8943604C-C494-4760-A04E-0DE37503916E}" presName="text4" presStyleLbl="fgAcc4" presStyleIdx="0" presStyleCnt="8">
        <dgm:presLayoutVars>
          <dgm:chPref val="3"/>
        </dgm:presLayoutVars>
      </dgm:prSet>
      <dgm:spPr/>
    </dgm:pt>
    <dgm:pt modelId="{132FE476-B1F2-499B-A035-5A7C7BFB0BE6}" type="pres">
      <dgm:prSet presAssocID="{8943604C-C494-4760-A04E-0DE37503916E}" presName="hierChild5" presStyleCnt="0"/>
      <dgm:spPr/>
    </dgm:pt>
    <dgm:pt modelId="{2DEFDF2B-9624-487C-B112-52D884A38274}" type="pres">
      <dgm:prSet presAssocID="{50249AB6-A577-4201-A345-05C09B784186}" presName="Name23" presStyleLbl="parChTrans1D4" presStyleIdx="1" presStyleCnt="8"/>
      <dgm:spPr/>
    </dgm:pt>
    <dgm:pt modelId="{8880196F-41E1-469E-A442-83497662BA11}" type="pres">
      <dgm:prSet presAssocID="{915C5133-2D6D-461C-A2D5-15D0DC45B931}" presName="hierRoot4" presStyleCnt="0"/>
      <dgm:spPr/>
    </dgm:pt>
    <dgm:pt modelId="{98A723F1-5306-4958-905F-E77C2C7629DC}" type="pres">
      <dgm:prSet presAssocID="{915C5133-2D6D-461C-A2D5-15D0DC45B931}" presName="composite4" presStyleCnt="0"/>
      <dgm:spPr/>
    </dgm:pt>
    <dgm:pt modelId="{B9DF0A1D-2C14-4999-975B-EA341510F5AD}" type="pres">
      <dgm:prSet presAssocID="{915C5133-2D6D-461C-A2D5-15D0DC45B931}" presName="background4" presStyleLbl="node4" presStyleIdx="1" presStyleCnt="8"/>
      <dgm:spPr/>
    </dgm:pt>
    <dgm:pt modelId="{E59F16E5-D6CA-41AB-8D5B-C9E5EF7139D1}" type="pres">
      <dgm:prSet presAssocID="{915C5133-2D6D-461C-A2D5-15D0DC45B931}" presName="text4" presStyleLbl="fgAcc4" presStyleIdx="1" presStyleCnt="8">
        <dgm:presLayoutVars>
          <dgm:chPref val="3"/>
        </dgm:presLayoutVars>
      </dgm:prSet>
      <dgm:spPr/>
    </dgm:pt>
    <dgm:pt modelId="{E61229A8-E14D-455C-9F24-1E98A78650F8}" type="pres">
      <dgm:prSet presAssocID="{915C5133-2D6D-461C-A2D5-15D0DC45B931}" presName="hierChild5" presStyleCnt="0"/>
      <dgm:spPr/>
    </dgm:pt>
    <dgm:pt modelId="{A438D59E-F2C4-40EC-82E0-617C329002F1}" type="pres">
      <dgm:prSet presAssocID="{82667D8F-76F8-4C7F-9B30-64CF23B5D682}" presName="Name17" presStyleLbl="parChTrans1D3" presStyleIdx="1" presStyleCnt="4"/>
      <dgm:spPr/>
    </dgm:pt>
    <dgm:pt modelId="{FFE6F0F7-F388-497F-BD14-62CEE960A778}" type="pres">
      <dgm:prSet presAssocID="{C7131179-FFA5-43A2-B732-9EAC0571BD29}" presName="hierRoot3" presStyleCnt="0"/>
      <dgm:spPr/>
    </dgm:pt>
    <dgm:pt modelId="{73FDE958-6F98-41B6-8784-9C0205088ECE}" type="pres">
      <dgm:prSet presAssocID="{C7131179-FFA5-43A2-B732-9EAC0571BD29}" presName="composite3" presStyleCnt="0"/>
      <dgm:spPr/>
    </dgm:pt>
    <dgm:pt modelId="{48A68B87-8597-427A-AEE0-4AC1B6D02175}" type="pres">
      <dgm:prSet presAssocID="{C7131179-FFA5-43A2-B732-9EAC0571BD29}" presName="background3" presStyleLbl="node3" presStyleIdx="1" presStyleCnt="4"/>
      <dgm:spPr/>
    </dgm:pt>
    <dgm:pt modelId="{244EEF2F-EBDA-46A4-A025-C2DE6C2889FF}" type="pres">
      <dgm:prSet presAssocID="{C7131179-FFA5-43A2-B732-9EAC0571BD29}" presName="text3" presStyleLbl="fgAcc3" presStyleIdx="1" presStyleCnt="4">
        <dgm:presLayoutVars>
          <dgm:chPref val="3"/>
        </dgm:presLayoutVars>
      </dgm:prSet>
      <dgm:spPr/>
    </dgm:pt>
    <dgm:pt modelId="{3101BB51-E432-4087-8432-6A5A1013CA96}" type="pres">
      <dgm:prSet presAssocID="{C7131179-FFA5-43A2-B732-9EAC0571BD29}" presName="hierChild4" presStyleCnt="0"/>
      <dgm:spPr/>
    </dgm:pt>
    <dgm:pt modelId="{AC82A640-E87F-4F69-8788-C6D628D1F9C6}" type="pres">
      <dgm:prSet presAssocID="{AACA3F34-876D-41BB-B723-0C13BA318331}" presName="Name23" presStyleLbl="parChTrans1D4" presStyleIdx="2" presStyleCnt="8"/>
      <dgm:spPr/>
    </dgm:pt>
    <dgm:pt modelId="{92B03782-15CE-45A4-BDFC-7CDE3A3B6A6C}" type="pres">
      <dgm:prSet presAssocID="{E21C073A-F37C-4A83-BF09-B5E0A2D05FD2}" presName="hierRoot4" presStyleCnt="0"/>
      <dgm:spPr/>
    </dgm:pt>
    <dgm:pt modelId="{62E5B31F-EAFE-4DD6-9447-A4C8AB3B817A}" type="pres">
      <dgm:prSet presAssocID="{E21C073A-F37C-4A83-BF09-B5E0A2D05FD2}" presName="composite4" presStyleCnt="0"/>
      <dgm:spPr/>
    </dgm:pt>
    <dgm:pt modelId="{BC8EB294-6443-4B0C-9F70-4E15751B5767}" type="pres">
      <dgm:prSet presAssocID="{E21C073A-F37C-4A83-BF09-B5E0A2D05FD2}" presName="background4" presStyleLbl="node4" presStyleIdx="2" presStyleCnt="8"/>
      <dgm:spPr/>
    </dgm:pt>
    <dgm:pt modelId="{53947971-2F65-4994-BE5F-A90B32534965}" type="pres">
      <dgm:prSet presAssocID="{E21C073A-F37C-4A83-BF09-B5E0A2D05FD2}" presName="text4" presStyleLbl="fgAcc4" presStyleIdx="2" presStyleCnt="8">
        <dgm:presLayoutVars>
          <dgm:chPref val="3"/>
        </dgm:presLayoutVars>
      </dgm:prSet>
      <dgm:spPr/>
    </dgm:pt>
    <dgm:pt modelId="{25C1CA33-0310-48C7-AFA6-A716E53446A8}" type="pres">
      <dgm:prSet presAssocID="{E21C073A-F37C-4A83-BF09-B5E0A2D05FD2}" presName="hierChild5" presStyleCnt="0"/>
      <dgm:spPr/>
    </dgm:pt>
    <dgm:pt modelId="{A3C15912-BDA1-4A62-A133-6EFEF4E6CF3C}" type="pres">
      <dgm:prSet presAssocID="{37BD3216-C93D-480F-8E66-E9E69C4EF75B}" presName="Name23" presStyleLbl="parChTrans1D4" presStyleIdx="3" presStyleCnt="8"/>
      <dgm:spPr/>
    </dgm:pt>
    <dgm:pt modelId="{81C77BA7-FF60-46A2-9E2D-47A9838A6531}" type="pres">
      <dgm:prSet presAssocID="{58EEF041-09F4-476A-9EEB-BFC9DF9D7261}" presName="hierRoot4" presStyleCnt="0"/>
      <dgm:spPr/>
    </dgm:pt>
    <dgm:pt modelId="{B2562B96-E447-4808-9DD4-C198CB0A0E83}" type="pres">
      <dgm:prSet presAssocID="{58EEF041-09F4-476A-9EEB-BFC9DF9D7261}" presName="composite4" presStyleCnt="0"/>
      <dgm:spPr/>
    </dgm:pt>
    <dgm:pt modelId="{C754130F-D528-4022-B612-2D649C998CC5}" type="pres">
      <dgm:prSet presAssocID="{58EEF041-09F4-476A-9EEB-BFC9DF9D7261}" presName="background4" presStyleLbl="node4" presStyleIdx="3" presStyleCnt="8"/>
      <dgm:spPr/>
    </dgm:pt>
    <dgm:pt modelId="{4219811B-CCCC-4CC4-91E4-8F91885881DE}" type="pres">
      <dgm:prSet presAssocID="{58EEF041-09F4-476A-9EEB-BFC9DF9D7261}" presName="text4" presStyleLbl="fgAcc4" presStyleIdx="3" presStyleCnt="8">
        <dgm:presLayoutVars>
          <dgm:chPref val="3"/>
        </dgm:presLayoutVars>
      </dgm:prSet>
      <dgm:spPr/>
    </dgm:pt>
    <dgm:pt modelId="{1ACEA287-5220-41B6-BD28-8CBE60304C72}" type="pres">
      <dgm:prSet presAssocID="{58EEF041-09F4-476A-9EEB-BFC9DF9D7261}" presName="hierChild5" presStyleCnt="0"/>
      <dgm:spPr/>
    </dgm:pt>
    <dgm:pt modelId="{660D064B-2F6F-4956-B6FC-9A94D7AEE3D0}" type="pres">
      <dgm:prSet presAssocID="{DE68D42A-5130-4177-9240-24D384397C8E}" presName="Name10" presStyleLbl="parChTrans1D2" presStyleIdx="1" presStyleCnt="2"/>
      <dgm:spPr/>
    </dgm:pt>
    <dgm:pt modelId="{CBFD7171-1239-487D-BC4F-6774057BDF4D}" type="pres">
      <dgm:prSet presAssocID="{11CE6025-6EDD-4803-B551-AAC5CD8C48FB}" presName="hierRoot2" presStyleCnt="0"/>
      <dgm:spPr/>
    </dgm:pt>
    <dgm:pt modelId="{E39559D3-C7CA-463E-BF34-CC914CC7165B}" type="pres">
      <dgm:prSet presAssocID="{11CE6025-6EDD-4803-B551-AAC5CD8C48FB}" presName="composite2" presStyleCnt="0"/>
      <dgm:spPr/>
    </dgm:pt>
    <dgm:pt modelId="{0280BCFA-2950-4B22-980F-25C3D49F86C5}" type="pres">
      <dgm:prSet presAssocID="{11CE6025-6EDD-4803-B551-AAC5CD8C48FB}" presName="background2" presStyleLbl="node2" presStyleIdx="1" presStyleCnt="2"/>
      <dgm:spPr/>
    </dgm:pt>
    <dgm:pt modelId="{542004F5-91AA-47E7-8D0C-3188A7342222}" type="pres">
      <dgm:prSet presAssocID="{11CE6025-6EDD-4803-B551-AAC5CD8C48FB}" presName="text2" presStyleLbl="fgAcc2" presStyleIdx="1" presStyleCnt="2">
        <dgm:presLayoutVars>
          <dgm:chPref val="3"/>
        </dgm:presLayoutVars>
      </dgm:prSet>
      <dgm:spPr/>
    </dgm:pt>
    <dgm:pt modelId="{AA3FF267-7CDE-4307-A9B9-950AC43BD6E1}" type="pres">
      <dgm:prSet presAssocID="{11CE6025-6EDD-4803-B551-AAC5CD8C48FB}" presName="hierChild3" presStyleCnt="0"/>
      <dgm:spPr/>
    </dgm:pt>
    <dgm:pt modelId="{7DCF7F3E-A2D8-42C3-9305-FDA73DF1D08C}" type="pres">
      <dgm:prSet presAssocID="{DE4DDFA5-27F9-4E9B-BBA7-F1956C0B85F6}" presName="Name17" presStyleLbl="parChTrans1D3" presStyleIdx="2" presStyleCnt="4"/>
      <dgm:spPr/>
    </dgm:pt>
    <dgm:pt modelId="{7AC1B5C9-E68D-4ACB-A45B-6CDBEC95A90B}" type="pres">
      <dgm:prSet presAssocID="{8E10F182-1ACA-4865-B641-1914A99721A3}" presName="hierRoot3" presStyleCnt="0"/>
      <dgm:spPr/>
    </dgm:pt>
    <dgm:pt modelId="{DF1D98D7-0138-4E98-A3F2-233D21EBB78B}" type="pres">
      <dgm:prSet presAssocID="{8E10F182-1ACA-4865-B641-1914A99721A3}" presName="composite3" presStyleCnt="0"/>
      <dgm:spPr/>
    </dgm:pt>
    <dgm:pt modelId="{989CD059-5E11-4B29-9444-F46CE8A13ADC}" type="pres">
      <dgm:prSet presAssocID="{8E10F182-1ACA-4865-B641-1914A99721A3}" presName="background3" presStyleLbl="node3" presStyleIdx="2" presStyleCnt="4"/>
      <dgm:spPr/>
    </dgm:pt>
    <dgm:pt modelId="{CC7D6C45-7D13-4DA9-ADAB-FD715CCA32D0}" type="pres">
      <dgm:prSet presAssocID="{8E10F182-1ACA-4865-B641-1914A99721A3}" presName="text3" presStyleLbl="fgAcc3" presStyleIdx="2" presStyleCnt="4">
        <dgm:presLayoutVars>
          <dgm:chPref val="3"/>
        </dgm:presLayoutVars>
      </dgm:prSet>
      <dgm:spPr/>
    </dgm:pt>
    <dgm:pt modelId="{74C27FC9-5FB0-45D9-80EE-665748E6C877}" type="pres">
      <dgm:prSet presAssocID="{8E10F182-1ACA-4865-B641-1914A99721A3}" presName="hierChild4" presStyleCnt="0"/>
      <dgm:spPr/>
    </dgm:pt>
    <dgm:pt modelId="{E98C3AF5-8FC9-40AA-B76D-160D1D27E90D}" type="pres">
      <dgm:prSet presAssocID="{39E18A7C-5381-412B-9203-A24F76D577B7}" presName="Name23" presStyleLbl="parChTrans1D4" presStyleIdx="4" presStyleCnt="8"/>
      <dgm:spPr/>
    </dgm:pt>
    <dgm:pt modelId="{37C997B3-596C-474E-B4CB-3D213C750291}" type="pres">
      <dgm:prSet presAssocID="{E9F066BD-DFA5-4F9C-81AC-7C1F03D16FEB}" presName="hierRoot4" presStyleCnt="0"/>
      <dgm:spPr/>
    </dgm:pt>
    <dgm:pt modelId="{AA047AE7-15BE-479F-B9BF-6F207E8ACC26}" type="pres">
      <dgm:prSet presAssocID="{E9F066BD-DFA5-4F9C-81AC-7C1F03D16FEB}" presName="composite4" presStyleCnt="0"/>
      <dgm:spPr/>
    </dgm:pt>
    <dgm:pt modelId="{3EE818D2-E665-4AF5-B02F-48CF906D0E0E}" type="pres">
      <dgm:prSet presAssocID="{E9F066BD-DFA5-4F9C-81AC-7C1F03D16FEB}" presName="background4" presStyleLbl="node4" presStyleIdx="4" presStyleCnt="8"/>
      <dgm:spPr/>
    </dgm:pt>
    <dgm:pt modelId="{0298B4FF-EC89-4CB6-8569-2AD21BB005B7}" type="pres">
      <dgm:prSet presAssocID="{E9F066BD-DFA5-4F9C-81AC-7C1F03D16FEB}" presName="text4" presStyleLbl="fgAcc4" presStyleIdx="4" presStyleCnt="8">
        <dgm:presLayoutVars>
          <dgm:chPref val="3"/>
        </dgm:presLayoutVars>
      </dgm:prSet>
      <dgm:spPr/>
    </dgm:pt>
    <dgm:pt modelId="{7E3DB9D0-4819-4BB0-9777-0D907986CBEB}" type="pres">
      <dgm:prSet presAssocID="{E9F066BD-DFA5-4F9C-81AC-7C1F03D16FEB}" presName="hierChild5" presStyleCnt="0"/>
      <dgm:spPr/>
    </dgm:pt>
    <dgm:pt modelId="{4034CCD1-479E-4B20-9948-92B5CBBBDEE8}" type="pres">
      <dgm:prSet presAssocID="{83C06409-5778-4700-B30B-B92C2C0BB1BD}" presName="Name23" presStyleLbl="parChTrans1D4" presStyleIdx="5" presStyleCnt="8"/>
      <dgm:spPr/>
    </dgm:pt>
    <dgm:pt modelId="{4A8657FB-6CD1-4BAD-8504-DC2153CD6378}" type="pres">
      <dgm:prSet presAssocID="{0E934C6A-767D-4290-9D09-2706A60899D4}" presName="hierRoot4" presStyleCnt="0"/>
      <dgm:spPr/>
    </dgm:pt>
    <dgm:pt modelId="{EA96E4AE-8447-443E-A04E-40A649235D60}" type="pres">
      <dgm:prSet presAssocID="{0E934C6A-767D-4290-9D09-2706A60899D4}" presName="composite4" presStyleCnt="0"/>
      <dgm:spPr/>
    </dgm:pt>
    <dgm:pt modelId="{0ECF104F-D70E-4EFE-ADA1-7527CD077919}" type="pres">
      <dgm:prSet presAssocID="{0E934C6A-767D-4290-9D09-2706A60899D4}" presName="background4" presStyleLbl="node4" presStyleIdx="5" presStyleCnt="8"/>
      <dgm:spPr/>
    </dgm:pt>
    <dgm:pt modelId="{F5D12DD6-6C91-482C-973D-060DF33FB557}" type="pres">
      <dgm:prSet presAssocID="{0E934C6A-767D-4290-9D09-2706A60899D4}" presName="text4" presStyleLbl="fgAcc4" presStyleIdx="5" presStyleCnt="8">
        <dgm:presLayoutVars>
          <dgm:chPref val="3"/>
        </dgm:presLayoutVars>
      </dgm:prSet>
      <dgm:spPr/>
    </dgm:pt>
    <dgm:pt modelId="{3C63477E-BA8F-4DD7-9885-F5F58CCDEB62}" type="pres">
      <dgm:prSet presAssocID="{0E934C6A-767D-4290-9D09-2706A60899D4}" presName="hierChild5" presStyleCnt="0"/>
      <dgm:spPr/>
    </dgm:pt>
    <dgm:pt modelId="{DB4EACA8-B0B1-4715-BF2B-A6765B34581C}" type="pres">
      <dgm:prSet presAssocID="{F9905F81-C6FF-4070-892D-8E65AE18BB25}" presName="Name17" presStyleLbl="parChTrans1D3" presStyleIdx="3" presStyleCnt="4"/>
      <dgm:spPr/>
    </dgm:pt>
    <dgm:pt modelId="{2812BC50-EEF4-499D-91EF-1C27DF911118}" type="pres">
      <dgm:prSet presAssocID="{F9B46C15-63CA-46DE-8E23-E0EEFFDE6989}" presName="hierRoot3" presStyleCnt="0"/>
      <dgm:spPr/>
    </dgm:pt>
    <dgm:pt modelId="{ADE6DC1B-A703-44A5-A040-A93ACF200E28}" type="pres">
      <dgm:prSet presAssocID="{F9B46C15-63CA-46DE-8E23-E0EEFFDE6989}" presName="composite3" presStyleCnt="0"/>
      <dgm:spPr/>
    </dgm:pt>
    <dgm:pt modelId="{A7A5660F-AAC2-4219-957F-4DED38090C89}" type="pres">
      <dgm:prSet presAssocID="{F9B46C15-63CA-46DE-8E23-E0EEFFDE6989}" presName="background3" presStyleLbl="node3" presStyleIdx="3" presStyleCnt="4"/>
      <dgm:spPr/>
    </dgm:pt>
    <dgm:pt modelId="{3E73AB7B-7B9F-4818-8A98-8907C9FD69B0}" type="pres">
      <dgm:prSet presAssocID="{F9B46C15-63CA-46DE-8E23-E0EEFFDE6989}" presName="text3" presStyleLbl="fgAcc3" presStyleIdx="3" presStyleCnt="4">
        <dgm:presLayoutVars>
          <dgm:chPref val="3"/>
        </dgm:presLayoutVars>
      </dgm:prSet>
      <dgm:spPr/>
    </dgm:pt>
    <dgm:pt modelId="{3792BA0B-479F-4DC1-A6B9-9A54B128B8CD}" type="pres">
      <dgm:prSet presAssocID="{F9B46C15-63CA-46DE-8E23-E0EEFFDE6989}" presName="hierChild4" presStyleCnt="0"/>
      <dgm:spPr/>
    </dgm:pt>
    <dgm:pt modelId="{A320C6C5-3285-4CDE-BA46-6D0943D9D596}" type="pres">
      <dgm:prSet presAssocID="{877E8BC7-9892-47F4-95F2-C6093DF40BD9}" presName="Name23" presStyleLbl="parChTrans1D4" presStyleIdx="6" presStyleCnt="8"/>
      <dgm:spPr/>
    </dgm:pt>
    <dgm:pt modelId="{395102BF-7A87-49AF-B94F-1505E8F36CDF}" type="pres">
      <dgm:prSet presAssocID="{E23CC43F-C8EE-45D5-8BBB-A95B0E4760B7}" presName="hierRoot4" presStyleCnt="0"/>
      <dgm:spPr/>
    </dgm:pt>
    <dgm:pt modelId="{425D4C73-ED05-4C82-94AC-2A5F8A5C98EB}" type="pres">
      <dgm:prSet presAssocID="{E23CC43F-C8EE-45D5-8BBB-A95B0E4760B7}" presName="composite4" presStyleCnt="0"/>
      <dgm:spPr/>
    </dgm:pt>
    <dgm:pt modelId="{00C8F16C-243D-4D34-8E10-5ED1A454AFB5}" type="pres">
      <dgm:prSet presAssocID="{E23CC43F-C8EE-45D5-8BBB-A95B0E4760B7}" presName="background4" presStyleLbl="node4" presStyleIdx="6" presStyleCnt="8"/>
      <dgm:spPr/>
    </dgm:pt>
    <dgm:pt modelId="{90F48572-0C51-4336-911E-B2925768C07F}" type="pres">
      <dgm:prSet presAssocID="{E23CC43F-C8EE-45D5-8BBB-A95B0E4760B7}" presName="text4" presStyleLbl="fgAcc4" presStyleIdx="6" presStyleCnt="8">
        <dgm:presLayoutVars>
          <dgm:chPref val="3"/>
        </dgm:presLayoutVars>
      </dgm:prSet>
      <dgm:spPr/>
    </dgm:pt>
    <dgm:pt modelId="{428D117F-CE6A-4311-8E55-6C8D285A120C}" type="pres">
      <dgm:prSet presAssocID="{E23CC43F-C8EE-45D5-8BBB-A95B0E4760B7}" presName="hierChild5" presStyleCnt="0"/>
      <dgm:spPr/>
    </dgm:pt>
    <dgm:pt modelId="{B813AC8B-2894-4DFD-A72F-A3F267B24606}" type="pres">
      <dgm:prSet presAssocID="{34809DF8-400E-4F72-86A1-1737D8B4A929}" presName="Name23" presStyleLbl="parChTrans1D4" presStyleIdx="7" presStyleCnt="8"/>
      <dgm:spPr/>
    </dgm:pt>
    <dgm:pt modelId="{BBA4F76D-44A4-4DD0-9BD4-38C8D8EE423B}" type="pres">
      <dgm:prSet presAssocID="{5EAD7547-CFE8-40CA-9DC8-A824D1EF4F30}" presName="hierRoot4" presStyleCnt="0"/>
      <dgm:spPr/>
    </dgm:pt>
    <dgm:pt modelId="{BD69830A-3359-4CE2-B6AD-B5F2A7A5B884}" type="pres">
      <dgm:prSet presAssocID="{5EAD7547-CFE8-40CA-9DC8-A824D1EF4F30}" presName="composite4" presStyleCnt="0"/>
      <dgm:spPr/>
    </dgm:pt>
    <dgm:pt modelId="{64D5F178-51BD-4202-9C02-3B1238743525}" type="pres">
      <dgm:prSet presAssocID="{5EAD7547-CFE8-40CA-9DC8-A824D1EF4F30}" presName="background4" presStyleLbl="node4" presStyleIdx="7" presStyleCnt="8"/>
      <dgm:spPr/>
    </dgm:pt>
    <dgm:pt modelId="{06B6C756-63D8-41D5-B2BB-41C0207DDFED}" type="pres">
      <dgm:prSet presAssocID="{5EAD7547-CFE8-40CA-9DC8-A824D1EF4F30}" presName="text4" presStyleLbl="fgAcc4" presStyleIdx="7" presStyleCnt="8">
        <dgm:presLayoutVars>
          <dgm:chPref val="3"/>
        </dgm:presLayoutVars>
      </dgm:prSet>
      <dgm:spPr/>
    </dgm:pt>
    <dgm:pt modelId="{5E69BFA5-68EC-4B65-B057-17B845CEDA79}" type="pres">
      <dgm:prSet presAssocID="{5EAD7547-CFE8-40CA-9DC8-A824D1EF4F30}" presName="hierChild5" presStyleCnt="0"/>
      <dgm:spPr/>
    </dgm:pt>
  </dgm:ptLst>
  <dgm:cxnLst>
    <dgm:cxn modelId="{AAC3EC05-9776-4089-9012-E98C1F6F1BB7}" type="presOf" srcId="{11CE6025-6EDD-4803-B551-AAC5CD8C48FB}" destId="{542004F5-91AA-47E7-8D0C-3188A7342222}" srcOrd="0" destOrd="0" presId="urn:microsoft.com/office/officeart/2005/8/layout/hierarchy1"/>
    <dgm:cxn modelId="{AD73900D-CC4A-4BAA-A732-5E1ADE1885D2}" type="presOf" srcId="{D61BDFFC-2951-46F5-8692-078C4C60C6A0}" destId="{0F23E36A-E155-4F15-9798-E8CFC5398393}" srcOrd="0" destOrd="0" presId="urn:microsoft.com/office/officeart/2005/8/layout/hierarchy1"/>
    <dgm:cxn modelId="{25A3F60D-DF1E-4779-8C9C-803B7252A911}" type="presOf" srcId="{E9F066BD-DFA5-4F9C-81AC-7C1F03D16FEB}" destId="{0298B4FF-EC89-4CB6-8569-2AD21BB005B7}" srcOrd="0" destOrd="0" presId="urn:microsoft.com/office/officeart/2005/8/layout/hierarchy1"/>
    <dgm:cxn modelId="{998B6E0F-1E3D-4DE9-B56C-0D0B288F8EC6}" type="presOf" srcId="{F9B46C15-63CA-46DE-8E23-E0EEFFDE6989}" destId="{3E73AB7B-7B9F-4818-8A98-8907C9FD69B0}" srcOrd="0" destOrd="0" presId="urn:microsoft.com/office/officeart/2005/8/layout/hierarchy1"/>
    <dgm:cxn modelId="{7E43780F-00A6-42D3-8260-D91FEB6FD211}" srcId="{398A8809-9E4C-4D9C-85E5-4E19A70DB26B}" destId="{8943604C-C494-4760-A04E-0DE37503916E}" srcOrd="0" destOrd="0" parTransId="{BCC53F54-8B28-4EB8-9B8B-CCBBCC748366}" sibTransId="{0C784266-A17A-4F07-ABB5-176D13402E2C}"/>
    <dgm:cxn modelId="{3B19A913-681C-4A29-AD88-B2ECFFDFB6D0}" srcId="{E23CC43F-C8EE-45D5-8BBB-A95B0E4760B7}" destId="{5EAD7547-CFE8-40CA-9DC8-A824D1EF4F30}" srcOrd="0" destOrd="0" parTransId="{34809DF8-400E-4F72-86A1-1737D8B4A929}" sibTransId="{0F275DE4-B91E-4026-B9E4-EEEA55961ADC}"/>
    <dgm:cxn modelId="{D38FD118-B0C7-4522-A3FD-94FDBA34525C}" srcId="{8943604C-C494-4760-A04E-0DE37503916E}" destId="{915C5133-2D6D-461C-A2D5-15D0DC45B931}" srcOrd="0" destOrd="0" parTransId="{50249AB6-A577-4201-A345-05C09B784186}" sibTransId="{5A0330B5-7186-4137-B5CE-6A04494D9839}"/>
    <dgm:cxn modelId="{3B59AC1D-F481-4C70-80DE-E9CCD8F836BB}" type="presOf" srcId="{DE68D42A-5130-4177-9240-24D384397C8E}" destId="{660D064B-2F6F-4956-B6FC-9A94D7AEE3D0}" srcOrd="0" destOrd="0" presId="urn:microsoft.com/office/officeart/2005/8/layout/hierarchy1"/>
    <dgm:cxn modelId="{0E438F1E-B8FA-44DB-A544-FB5F1F5BDE08}" type="presOf" srcId="{BCC53F54-8B28-4EB8-9B8B-CCBBCC748366}" destId="{84692E20-54D8-4B7A-94CE-8B76E4A531E4}" srcOrd="0" destOrd="0" presId="urn:microsoft.com/office/officeart/2005/8/layout/hierarchy1"/>
    <dgm:cxn modelId="{AD577423-72C7-4628-B0FC-EE69ED27566F}" srcId="{C7131179-FFA5-43A2-B732-9EAC0571BD29}" destId="{E21C073A-F37C-4A83-BF09-B5E0A2D05FD2}" srcOrd="0" destOrd="0" parTransId="{AACA3F34-876D-41BB-B723-0C13BA318331}" sibTransId="{6E144C90-5C8B-4684-9B39-299769B30717}"/>
    <dgm:cxn modelId="{FBFCFC35-BEB8-4AA8-B107-EFB3C24EA7CE}" type="presOf" srcId="{AACA3F34-876D-41BB-B723-0C13BA318331}" destId="{AC82A640-E87F-4F69-8788-C6D628D1F9C6}" srcOrd="0" destOrd="0" presId="urn:microsoft.com/office/officeart/2005/8/layout/hierarchy1"/>
    <dgm:cxn modelId="{5E46D938-5D36-4B90-BD51-97A3C8CD0FF7}" type="presOf" srcId="{DE4DDFA5-27F9-4E9B-BBA7-F1956C0B85F6}" destId="{7DCF7F3E-A2D8-42C3-9305-FDA73DF1D08C}" srcOrd="0" destOrd="0" presId="urn:microsoft.com/office/officeart/2005/8/layout/hierarchy1"/>
    <dgm:cxn modelId="{A429463C-ECC7-48B8-B832-460F0585FD46}" srcId="{E9F066BD-DFA5-4F9C-81AC-7C1F03D16FEB}" destId="{0E934C6A-767D-4290-9D09-2706A60899D4}" srcOrd="0" destOrd="0" parTransId="{83C06409-5778-4700-B30B-B92C2C0BB1BD}" sibTransId="{4CF87FCC-2F70-4F30-AA9B-6B4BDD86A0F1}"/>
    <dgm:cxn modelId="{AD92CA3D-72B0-4B6C-B71B-C257D3462F1F}" type="presOf" srcId="{E21C073A-F37C-4A83-BF09-B5E0A2D05FD2}" destId="{53947971-2F65-4994-BE5F-A90B32534965}" srcOrd="0" destOrd="0" presId="urn:microsoft.com/office/officeart/2005/8/layout/hierarchy1"/>
    <dgm:cxn modelId="{4AE11B47-EEDA-4DC7-B023-8A83B79970BA}" type="presOf" srcId="{5EAD7547-CFE8-40CA-9DC8-A824D1EF4F30}" destId="{06B6C756-63D8-41D5-B2BB-41C0207DDFED}" srcOrd="0" destOrd="0" presId="urn:microsoft.com/office/officeart/2005/8/layout/hierarchy1"/>
    <dgm:cxn modelId="{62541B4F-9CE7-482F-9E6A-E25490EB6D4B}" type="presOf" srcId="{0E934C6A-767D-4290-9D09-2706A60899D4}" destId="{F5D12DD6-6C91-482C-973D-060DF33FB557}" srcOrd="0" destOrd="0" presId="urn:microsoft.com/office/officeart/2005/8/layout/hierarchy1"/>
    <dgm:cxn modelId="{676B8C73-7CE0-4E37-9BBC-CC5AA17FD259}" srcId="{D0D30B79-0355-499D-B173-969EB15BABA6}" destId="{398A8809-9E4C-4D9C-85E5-4E19A70DB26B}" srcOrd="0" destOrd="0" parTransId="{D61BDFFC-2951-46F5-8692-078C4C60C6A0}" sibTransId="{08BD512A-7AE0-4191-9C3C-734504BCF5D2}"/>
    <dgm:cxn modelId="{B451C773-1D50-4C46-9E31-A6BE37AA8484}" srcId="{E21C073A-F37C-4A83-BF09-B5E0A2D05FD2}" destId="{58EEF041-09F4-476A-9EEB-BFC9DF9D7261}" srcOrd="0" destOrd="0" parTransId="{37BD3216-C93D-480F-8E66-E9E69C4EF75B}" sibTransId="{9A97889D-E3A6-4186-BBF3-2A12B4F2E742}"/>
    <dgm:cxn modelId="{AE7C9A55-AE64-4845-9536-08B477B10C1C}" type="presOf" srcId="{8943604C-C494-4760-A04E-0DE37503916E}" destId="{5B8D8B43-CF71-42AD-9198-668AEA04B271}" srcOrd="0" destOrd="0" presId="urn:microsoft.com/office/officeart/2005/8/layout/hierarchy1"/>
    <dgm:cxn modelId="{0672AB77-2A81-4702-9B9B-8A355A37153C}" type="presOf" srcId="{82667D8F-76F8-4C7F-9B30-64CF23B5D682}" destId="{A438D59E-F2C4-40EC-82E0-617C329002F1}" srcOrd="0" destOrd="0" presId="urn:microsoft.com/office/officeart/2005/8/layout/hierarchy1"/>
    <dgm:cxn modelId="{58B55C84-25DB-4AA7-8A68-8FB0BDDF3F9C}" type="presOf" srcId="{79CBF1F4-ABF1-4E29-AF9B-0123EEE14DAF}" destId="{5FA7AC25-D0B8-4B2A-9EFD-057FB109498D}" srcOrd="0" destOrd="0" presId="urn:microsoft.com/office/officeart/2005/8/layout/hierarchy1"/>
    <dgm:cxn modelId="{60B7BD8E-F3A1-4C67-BD7F-93FD4F41CFF8}" type="presOf" srcId="{EEA9F174-9A29-4D54-A6E9-454693A4ABE8}" destId="{483B5F85-4661-46C9-95E0-5CF8EE813468}" srcOrd="0" destOrd="0" presId="urn:microsoft.com/office/officeart/2005/8/layout/hierarchy1"/>
    <dgm:cxn modelId="{58BE3390-872A-43DE-9D5F-1FB9831FA87C}" type="presOf" srcId="{8E10F182-1ACA-4865-B641-1914A99721A3}" destId="{CC7D6C45-7D13-4DA9-ADAB-FD715CCA32D0}" srcOrd="0" destOrd="0" presId="urn:microsoft.com/office/officeart/2005/8/layout/hierarchy1"/>
    <dgm:cxn modelId="{39E03C94-9A68-4252-BAB0-AD839146A785}" srcId="{11CE6025-6EDD-4803-B551-AAC5CD8C48FB}" destId="{8E10F182-1ACA-4865-B641-1914A99721A3}" srcOrd="0" destOrd="0" parTransId="{DE4DDFA5-27F9-4E9B-BBA7-F1956C0B85F6}" sibTransId="{46C94504-4DB9-4EFA-8374-A758FCC23BF0}"/>
    <dgm:cxn modelId="{F179C797-A03D-4C44-A415-3AF7B573F9CE}" type="presOf" srcId="{83C06409-5778-4700-B30B-B92C2C0BB1BD}" destId="{4034CCD1-479E-4B20-9948-92B5CBBBDEE8}" srcOrd="0" destOrd="0" presId="urn:microsoft.com/office/officeart/2005/8/layout/hierarchy1"/>
    <dgm:cxn modelId="{F4463798-2D36-453D-B5DC-B2A91F2C3D6B}" srcId="{D0D30B79-0355-499D-B173-969EB15BABA6}" destId="{C7131179-FFA5-43A2-B732-9EAC0571BD29}" srcOrd="1" destOrd="0" parTransId="{82667D8F-76F8-4C7F-9B30-64CF23B5D682}" sibTransId="{46DB3CE6-E94B-48BF-89C8-10EB7D430A07}"/>
    <dgm:cxn modelId="{27086899-4687-4170-9548-F9B7A25829CA}" srcId="{11CE6025-6EDD-4803-B551-AAC5CD8C48FB}" destId="{F9B46C15-63CA-46DE-8E23-E0EEFFDE6989}" srcOrd="1" destOrd="0" parTransId="{F9905F81-C6FF-4070-892D-8E65AE18BB25}" sibTransId="{EBC5F948-84EA-41A8-862A-60B1184BFE54}"/>
    <dgm:cxn modelId="{266C4A9C-D8B6-42D1-881A-134E342BD5CD}" srcId="{28859148-DC55-4246-BB7E-8001B8E3929F}" destId="{EEA9F174-9A29-4D54-A6E9-454693A4ABE8}" srcOrd="0" destOrd="0" parTransId="{2F21B2AE-79B9-4480-AA08-91796F0EC38B}" sibTransId="{F24D0553-B374-4A16-8A12-1120EF8B9320}"/>
    <dgm:cxn modelId="{9CEF319D-4CDB-42F1-A5AD-FD73D5DF04C4}" type="presOf" srcId="{E23CC43F-C8EE-45D5-8BBB-A95B0E4760B7}" destId="{90F48572-0C51-4336-911E-B2925768C07F}" srcOrd="0" destOrd="0" presId="urn:microsoft.com/office/officeart/2005/8/layout/hierarchy1"/>
    <dgm:cxn modelId="{F4FDBEA0-49B6-49ED-96F3-BDDCAFA89B2B}" type="presOf" srcId="{50249AB6-A577-4201-A345-05C09B784186}" destId="{2DEFDF2B-9624-487C-B112-52D884A38274}" srcOrd="0" destOrd="0" presId="urn:microsoft.com/office/officeart/2005/8/layout/hierarchy1"/>
    <dgm:cxn modelId="{E7DA06A3-3BE7-4DA5-8398-3744A505288F}" type="presOf" srcId="{398A8809-9E4C-4D9C-85E5-4E19A70DB26B}" destId="{CDA74406-B975-492B-B5CD-6F6B24E2169D}" srcOrd="0" destOrd="0" presId="urn:microsoft.com/office/officeart/2005/8/layout/hierarchy1"/>
    <dgm:cxn modelId="{9CE390A7-B3D3-4F80-BA8B-A4FED19FC6A3}" srcId="{EEA9F174-9A29-4D54-A6E9-454693A4ABE8}" destId="{11CE6025-6EDD-4803-B551-AAC5CD8C48FB}" srcOrd="1" destOrd="0" parTransId="{DE68D42A-5130-4177-9240-24D384397C8E}" sibTransId="{01DB74DA-F615-4733-AD5A-DADC60495020}"/>
    <dgm:cxn modelId="{1B2BE1AE-1F94-412B-ABE2-F114931B83E1}" type="presOf" srcId="{28859148-DC55-4246-BB7E-8001B8E3929F}" destId="{18249420-1B06-49F0-9615-AFD83A809FBC}" srcOrd="0" destOrd="0" presId="urn:microsoft.com/office/officeart/2005/8/layout/hierarchy1"/>
    <dgm:cxn modelId="{E0D0E8C9-4E73-4B53-AAF0-99AB01CBF4C3}" srcId="{F9B46C15-63CA-46DE-8E23-E0EEFFDE6989}" destId="{E23CC43F-C8EE-45D5-8BBB-A95B0E4760B7}" srcOrd="0" destOrd="0" parTransId="{877E8BC7-9892-47F4-95F2-C6093DF40BD9}" sibTransId="{A36E70E9-793C-487F-B223-1AD99671FC62}"/>
    <dgm:cxn modelId="{093323CA-772C-4343-AAC2-F87BED3FECBF}" type="presOf" srcId="{D0D30B79-0355-499D-B173-969EB15BABA6}" destId="{4EA2C3AD-F362-4183-9BA0-603029BE619C}" srcOrd="0" destOrd="0" presId="urn:microsoft.com/office/officeart/2005/8/layout/hierarchy1"/>
    <dgm:cxn modelId="{C43A68CA-83BA-4A2F-918C-721831560FC1}" type="presOf" srcId="{37BD3216-C93D-480F-8E66-E9E69C4EF75B}" destId="{A3C15912-BDA1-4A62-A133-6EFEF4E6CF3C}" srcOrd="0" destOrd="0" presId="urn:microsoft.com/office/officeart/2005/8/layout/hierarchy1"/>
    <dgm:cxn modelId="{8AF731CB-C989-473A-A1F9-6299F9342517}" srcId="{8E10F182-1ACA-4865-B641-1914A99721A3}" destId="{E9F066BD-DFA5-4F9C-81AC-7C1F03D16FEB}" srcOrd="0" destOrd="0" parTransId="{39E18A7C-5381-412B-9203-A24F76D577B7}" sibTransId="{6BF08958-2A8F-4365-9CEF-96130546A656}"/>
    <dgm:cxn modelId="{E9F4EECC-6030-4F93-A06E-48FA7F1DE972}" type="presOf" srcId="{915C5133-2D6D-461C-A2D5-15D0DC45B931}" destId="{E59F16E5-D6CA-41AB-8D5B-C9E5EF7139D1}" srcOrd="0" destOrd="0" presId="urn:microsoft.com/office/officeart/2005/8/layout/hierarchy1"/>
    <dgm:cxn modelId="{D4ACE9D2-CB8F-4D43-B861-F0184EB35FCD}" type="presOf" srcId="{C7131179-FFA5-43A2-B732-9EAC0571BD29}" destId="{244EEF2F-EBDA-46A4-A025-C2DE6C2889FF}" srcOrd="0" destOrd="0" presId="urn:microsoft.com/office/officeart/2005/8/layout/hierarchy1"/>
    <dgm:cxn modelId="{0A68D9D7-6317-4FAD-9548-7E64F729F633}" srcId="{EEA9F174-9A29-4D54-A6E9-454693A4ABE8}" destId="{D0D30B79-0355-499D-B173-969EB15BABA6}" srcOrd="0" destOrd="0" parTransId="{79CBF1F4-ABF1-4E29-AF9B-0123EEE14DAF}" sibTransId="{99557DFC-8166-4FCC-9174-CD58F75F5CFC}"/>
    <dgm:cxn modelId="{1033FEE2-420E-45F0-B17B-EFEAD905F16C}" type="presOf" srcId="{F9905F81-C6FF-4070-892D-8E65AE18BB25}" destId="{DB4EACA8-B0B1-4715-BF2B-A6765B34581C}" srcOrd="0" destOrd="0" presId="urn:microsoft.com/office/officeart/2005/8/layout/hierarchy1"/>
    <dgm:cxn modelId="{782EFBE7-1A59-4060-A569-7A5FD2560518}" type="presOf" srcId="{58EEF041-09F4-476A-9EEB-BFC9DF9D7261}" destId="{4219811B-CCCC-4CC4-91E4-8F91885881DE}" srcOrd="0" destOrd="0" presId="urn:microsoft.com/office/officeart/2005/8/layout/hierarchy1"/>
    <dgm:cxn modelId="{335A67F0-6BFF-444F-BE94-E5C082E1592B}" type="presOf" srcId="{877E8BC7-9892-47F4-95F2-C6093DF40BD9}" destId="{A320C6C5-3285-4CDE-BA46-6D0943D9D596}" srcOrd="0" destOrd="0" presId="urn:microsoft.com/office/officeart/2005/8/layout/hierarchy1"/>
    <dgm:cxn modelId="{9C1528FE-F337-443F-A071-17DBC11E9305}" type="presOf" srcId="{39E18A7C-5381-412B-9203-A24F76D577B7}" destId="{E98C3AF5-8FC9-40AA-B76D-160D1D27E90D}" srcOrd="0" destOrd="0" presId="urn:microsoft.com/office/officeart/2005/8/layout/hierarchy1"/>
    <dgm:cxn modelId="{CBF9A4FE-7D93-4512-A195-B31963FEFB1C}" type="presOf" srcId="{34809DF8-400E-4F72-86A1-1737D8B4A929}" destId="{B813AC8B-2894-4DFD-A72F-A3F267B24606}" srcOrd="0" destOrd="0" presId="urn:microsoft.com/office/officeart/2005/8/layout/hierarchy1"/>
    <dgm:cxn modelId="{C149C542-219F-4244-A05B-EE7A66BCBB99}" type="presParOf" srcId="{18249420-1B06-49F0-9615-AFD83A809FBC}" destId="{A277B225-AB88-4411-8830-2FC3FF4A6017}" srcOrd="0" destOrd="0" presId="urn:microsoft.com/office/officeart/2005/8/layout/hierarchy1"/>
    <dgm:cxn modelId="{C2B5C5B5-9825-4EE7-B1DE-2D498BE2B513}" type="presParOf" srcId="{A277B225-AB88-4411-8830-2FC3FF4A6017}" destId="{C4B01C5C-2180-44C1-9323-131EFE73412A}" srcOrd="0" destOrd="0" presId="urn:microsoft.com/office/officeart/2005/8/layout/hierarchy1"/>
    <dgm:cxn modelId="{2DA93C12-F786-4F68-BE17-3DCBDB0B4768}" type="presParOf" srcId="{C4B01C5C-2180-44C1-9323-131EFE73412A}" destId="{C1BF5AAD-4F46-40B5-B0AB-627F2BBE6FB6}" srcOrd="0" destOrd="0" presId="urn:microsoft.com/office/officeart/2005/8/layout/hierarchy1"/>
    <dgm:cxn modelId="{029C13E0-ABF4-493A-9BC2-33ABE7552A87}" type="presParOf" srcId="{C4B01C5C-2180-44C1-9323-131EFE73412A}" destId="{483B5F85-4661-46C9-95E0-5CF8EE813468}" srcOrd="1" destOrd="0" presId="urn:microsoft.com/office/officeart/2005/8/layout/hierarchy1"/>
    <dgm:cxn modelId="{2C35992C-AE07-48D1-BAAE-24626F0535C9}" type="presParOf" srcId="{A277B225-AB88-4411-8830-2FC3FF4A6017}" destId="{5F81F6B5-29A2-4AAD-B4AC-7CBF35A87FE8}" srcOrd="1" destOrd="0" presId="urn:microsoft.com/office/officeart/2005/8/layout/hierarchy1"/>
    <dgm:cxn modelId="{C35FB5E0-43F3-4F32-AD5C-01B3DEFC8906}" type="presParOf" srcId="{5F81F6B5-29A2-4AAD-B4AC-7CBF35A87FE8}" destId="{5FA7AC25-D0B8-4B2A-9EFD-057FB109498D}" srcOrd="0" destOrd="0" presId="urn:microsoft.com/office/officeart/2005/8/layout/hierarchy1"/>
    <dgm:cxn modelId="{15BF50EE-5901-41A6-AE44-2FC6A62C2454}" type="presParOf" srcId="{5F81F6B5-29A2-4AAD-B4AC-7CBF35A87FE8}" destId="{2F0FA721-CF60-4D83-96B6-E438E5A7A769}" srcOrd="1" destOrd="0" presId="urn:microsoft.com/office/officeart/2005/8/layout/hierarchy1"/>
    <dgm:cxn modelId="{E06EC77D-DBC8-4655-A69E-B2E012491CA6}" type="presParOf" srcId="{2F0FA721-CF60-4D83-96B6-E438E5A7A769}" destId="{D29D1FC1-924B-4075-9707-C80323FC9C33}" srcOrd="0" destOrd="0" presId="urn:microsoft.com/office/officeart/2005/8/layout/hierarchy1"/>
    <dgm:cxn modelId="{63D8131F-DF20-4226-B00B-3D2949016279}" type="presParOf" srcId="{D29D1FC1-924B-4075-9707-C80323FC9C33}" destId="{9B06B5C9-D833-4EA6-A935-5634D9B2CB29}" srcOrd="0" destOrd="0" presId="urn:microsoft.com/office/officeart/2005/8/layout/hierarchy1"/>
    <dgm:cxn modelId="{ACECBA43-6B59-4F8C-8F28-67D259E33464}" type="presParOf" srcId="{D29D1FC1-924B-4075-9707-C80323FC9C33}" destId="{4EA2C3AD-F362-4183-9BA0-603029BE619C}" srcOrd="1" destOrd="0" presId="urn:microsoft.com/office/officeart/2005/8/layout/hierarchy1"/>
    <dgm:cxn modelId="{DE0ECC34-7349-4A0D-96C1-4CE4C40056B1}" type="presParOf" srcId="{2F0FA721-CF60-4D83-96B6-E438E5A7A769}" destId="{E11160DB-C713-4A04-9DEB-27E0F973439E}" srcOrd="1" destOrd="0" presId="urn:microsoft.com/office/officeart/2005/8/layout/hierarchy1"/>
    <dgm:cxn modelId="{EAA3B1FA-688A-464F-BB4F-84347927A10D}" type="presParOf" srcId="{E11160DB-C713-4A04-9DEB-27E0F973439E}" destId="{0F23E36A-E155-4F15-9798-E8CFC5398393}" srcOrd="0" destOrd="0" presId="urn:microsoft.com/office/officeart/2005/8/layout/hierarchy1"/>
    <dgm:cxn modelId="{F597B17E-FCB3-4F4F-A4A8-B68792473A4C}" type="presParOf" srcId="{E11160DB-C713-4A04-9DEB-27E0F973439E}" destId="{6A7ABEB6-4BBA-47D4-AA98-6624E95B2A07}" srcOrd="1" destOrd="0" presId="urn:microsoft.com/office/officeart/2005/8/layout/hierarchy1"/>
    <dgm:cxn modelId="{308C3364-58BB-4DDC-AC96-850309E7E61E}" type="presParOf" srcId="{6A7ABEB6-4BBA-47D4-AA98-6624E95B2A07}" destId="{87785CE8-73CF-4012-97E7-28C5CB383E97}" srcOrd="0" destOrd="0" presId="urn:microsoft.com/office/officeart/2005/8/layout/hierarchy1"/>
    <dgm:cxn modelId="{A567A69A-8541-4EAA-8EA5-C32DB30D6810}" type="presParOf" srcId="{87785CE8-73CF-4012-97E7-28C5CB383E97}" destId="{2D8D67ED-920A-4138-BD23-9DA009252F29}" srcOrd="0" destOrd="0" presId="urn:microsoft.com/office/officeart/2005/8/layout/hierarchy1"/>
    <dgm:cxn modelId="{75358FCD-3B28-47B2-B543-CB4115527508}" type="presParOf" srcId="{87785CE8-73CF-4012-97E7-28C5CB383E97}" destId="{CDA74406-B975-492B-B5CD-6F6B24E2169D}" srcOrd="1" destOrd="0" presId="urn:microsoft.com/office/officeart/2005/8/layout/hierarchy1"/>
    <dgm:cxn modelId="{0229CED8-9B64-4C93-8D69-15813BFC2EED}" type="presParOf" srcId="{6A7ABEB6-4BBA-47D4-AA98-6624E95B2A07}" destId="{C07C2032-C6E3-45B5-BB10-A06EB9433C80}" srcOrd="1" destOrd="0" presId="urn:microsoft.com/office/officeart/2005/8/layout/hierarchy1"/>
    <dgm:cxn modelId="{4AC2F2F5-BE0F-43DB-B698-3CFF1A6A6F60}" type="presParOf" srcId="{C07C2032-C6E3-45B5-BB10-A06EB9433C80}" destId="{84692E20-54D8-4B7A-94CE-8B76E4A531E4}" srcOrd="0" destOrd="0" presId="urn:microsoft.com/office/officeart/2005/8/layout/hierarchy1"/>
    <dgm:cxn modelId="{F75FE47A-B22D-4001-B2CC-9F1AE2F8A0C8}" type="presParOf" srcId="{C07C2032-C6E3-45B5-BB10-A06EB9433C80}" destId="{D2423300-507C-401D-851E-ACF4DA5BF7F5}" srcOrd="1" destOrd="0" presId="urn:microsoft.com/office/officeart/2005/8/layout/hierarchy1"/>
    <dgm:cxn modelId="{D5B096E6-667D-4331-AAAA-555A2B6369A3}" type="presParOf" srcId="{D2423300-507C-401D-851E-ACF4DA5BF7F5}" destId="{73E8EF96-2955-4344-95AE-B545F1012F2A}" srcOrd="0" destOrd="0" presId="urn:microsoft.com/office/officeart/2005/8/layout/hierarchy1"/>
    <dgm:cxn modelId="{6F7A8039-00B6-45DC-89A0-3E18131A31A8}" type="presParOf" srcId="{73E8EF96-2955-4344-95AE-B545F1012F2A}" destId="{16D23F0B-003C-4BB1-8B46-3E1FD3EF3B35}" srcOrd="0" destOrd="0" presId="urn:microsoft.com/office/officeart/2005/8/layout/hierarchy1"/>
    <dgm:cxn modelId="{D3B6C603-4A93-4014-B31D-0557365A3CE4}" type="presParOf" srcId="{73E8EF96-2955-4344-95AE-B545F1012F2A}" destId="{5B8D8B43-CF71-42AD-9198-668AEA04B271}" srcOrd="1" destOrd="0" presId="urn:microsoft.com/office/officeart/2005/8/layout/hierarchy1"/>
    <dgm:cxn modelId="{BB6379BE-6661-4444-AA36-5AF99EB09605}" type="presParOf" srcId="{D2423300-507C-401D-851E-ACF4DA5BF7F5}" destId="{132FE476-B1F2-499B-A035-5A7C7BFB0BE6}" srcOrd="1" destOrd="0" presId="urn:microsoft.com/office/officeart/2005/8/layout/hierarchy1"/>
    <dgm:cxn modelId="{B4E5E92D-D7C7-4553-9559-F1B46AA2E228}" type="presParOf" srcId="{132FE476-B1F2-499B-A035-5A7C7BFB0BE6}" destId="{2DEFDF2B-9624-487C-B112-52D884A38274}" srcOrd="0" destOrd="0" presId="urn:microsoft.com/office/officeart/2005/8/layout/hierarchy1"/>
    <dgm:cxn modelId="{41AF4A41-4B6F-4C2F-822D-28FA8C0D8346}" type="presParOf" srcId="{132FE476-B1F2-499B-A035-5A7C7BFB0BE6}" destId="{8880196F-41E1-469E-A442-83497662BA11}" srcOrd="1" destOrd="0" presId="urn:microsoft.com/office/officeart/2005/8/layout/hierarchy1"/>
    <dgm:cxn modelId="{86799409-FDA9-4637-A159-AD9E69E583D8}" type="presParOf" srcId="{8880196F-41E1-469E-A442-83497662BA11}" destId="{98A723F1-5306-4958-905F-E77C2C7629DC}" srcOrd="0" destOrd="0" presId="urn:microsoft.com/office/officeart/2005/8/layout/hierarchy1"/>
    <dgm:cxn modelId="{8D8A834B-7BBB-426B-B028-CA52C5AF267D}" type="presParOf" srcId="{98A723F1-5306-4958-905F-E77C2C7629DC}" destId="{B9DF0A1D-2C14-4999-975B-EA341510F5AD}" srcOrd="0" destOrd="0" presId="urn:microsoft.com/office/officeart/2005/8/layout/hierarchy1"/>
    <dgm:cxn modelId="{87C93E96-28B7-4C44-8382-71C8DBB6456E}" type="presParOf" srcId="{98A723F1-5306-4958-905F-E77C2C7629DC}" destId="{E59F16E5-D6CA-41AB-8D5B-C9E5EF7139D1}" srcOrd="1" destOrd="0" presId="urn:microsoft.com/office/officeart/2005/8/layout/hierarchy1"/>
    <dgm:cxn modelId="{74C6C68B-DC6D-412B-B74D-28E8F5069C1F}" type="presParOf" srcId="{8880196F-41E1-469E-A442-83497662BA11}" destId="{E61229A8-E14D-455C-9F24-1E98A78650F8}" srcOrd="1" destOrd="0" presId="urn:microsoft.com/office/officeart/2005/8/layout/hierarchy1"/>
    <dgm:cxn modelId="{E4A2F571-1BA5-4D81-A890-E4E8BE764350}" type="presParOf" srcId="{E11160DB-C713-4A04-9DEB-27E0F973439E}" destId="{A438D59E-F2C4-40EC-82E0-617C329002F1}" srcOrd="2" destOrd="0" presId="urn:microsoft.com/office/officeart/2005/8/layout/hierarchy1"/>
    <dgm:cxn modelId="{BE898E69-6A8C-4BEE-B9DF-CFE0B0C1BCD9}" type="presParOf" srcId="{E11160DB-C713-4A04-9DEB-27E0F973439E}" destId="{FFE6F0F7-F388-497F-BD14-62CEE960A778}" srcOrd="3" destOrd="0" presId="urn:microsoft.com/office/officeart/2005/8/layout/hierarchy1"/>
    <dgm:cxn modelId="{A0E479F0-F8E7-46C7-A5F0-D7F96F70DBAD}" type="presParOf" srcId="{FFE6F0F7-F388-497F-BD14-62CEE960A778}" destId="{73FDE958-6F98-41B6-8784-9C0205088ECE}" srcOrd="0" destOrd="0" presId="urn:microsoft.com/office/officeart/2005/8/layout/hierarchy1"/>
    <dgm:cxn modelId="{7AB6E160-D7D3-4EA7-9B41-EB3DF26B28A9}" type="presParOf" srcId="{73FDE958-6F98-41B6-8784-9C0205088ECE}" destId="{48A68B87-8597-427A-AEE0-4AC1B6D02175}" srcOrd="0" destOrd="0" presId="urn:microsoft.com/office/officeart/2005/8/layout/hierarchy1"/>
    <dgm:cxn modelId="{64F52C1E-DE3F-4DA9-BFBD-64707A72F380}" type="presParOf" srcId="{73FDE958-6F98-41B6-8784-9C0205088ECE}" destId="{244EEF2F-EBDA-46A4-A025-C2DE6C2889FF}" srcOrd="1" destOrd="0" presId="urn:microsoft.com/office/officeart/2005/8/layout/hierarchy1"/>
    <dgm:cxn modelId="{BD9CD570-00AF-41AE-B9DE-08752F75A505}" type="presParOf" srcId="{FFE6F0F7-F388-497F-BD14-62CEE960A778}" destId="{3101BB51-E432-4087-8432-6A5A1013CA96}" srcOrd="1" destOrd="0" presId="urn:microsoft.com/office/officeart/2005/8/layout/hierarchy1"/>
    <dgm:cxn modelId="{9DB74184-8C19-424D-B068-1AD221FD0742}" type="presParOf" srcId="{3101BB51-E432-4087-8432-6A5A1013CA96}" destId="{AC82A640-E87F-4F69-8788-C6D628D1F9C6}" srcOrd="0" destOrd="0" presId="urn:microsoft.com/office/officeart/2005/8/layout/hierarchy1"/>
    <dgm:cxn modelId="{98FAEC45-68CA-420F-96FF-2C4F7AFD539B}" type="presParOf" srcId="{3101BB51-E432-4087-8432-6A5A1013CA96}" destId="{92B03782-15CE-45A4-BDFC-7CDE3A3B6A6C}" srcOrd="1" destOrd="0" presId="urn:microsoft.com/office/officeart/2005/8/layout/hierarchy1"/>
    <dgm:cxn modelId="{96280657-567B-4969-9B41-52976EF7CC2B}" type="presParOf" srcId="{92B03782-15CE-45A4-BDFC-7CDE3A3B6A6C}" destId="{62E5B31F-EAFE-4DD6-9447-A4C8AB3B817A}" srcOrd="0" destOrd="0" presId="urn:microsoft.com/office/officeart/2005/8/layout/hierarchy1"/>
    <dgm:cxn modelId="{F0F1C19D-5AC4-40BC-B2B8-48783E7017A5}" type="presParOf" srcId="{62E5B31F-EAFE-4DD6-9447-A4C8AB3B817A}" destId="{BC8EB294-6443-4B0C-9F70-4E15751B5767}" srcOrd="0" destOrd="0" presId="urn:microsoft.com/office/officeart/2005/8/layout/hierarchy1"/>
    <dgm:cxn modelId="{C4E8D132-0BFA-4D6E-826A-8C0F770C01C9}" type="presParOf" srcId="{62E5B31F-EAFE-4DD6-9447-A4C8AB3B817A}" destId="{53947971-2F65-4994-BE5F-A90B32534965}" srcOrd="1" destOrd="0" presId="urn:microsoft.com/office/officeart/2005/8/layout/hierarchy1"/>
    <dgm:cxn modelId="{9BDA6126-4680-4C73-8420-001861661D4B}" type="presParOf" srcId="{92B03782-15CE-45A4-BDFC-7CDE3A3B6A6C}" destId="{25C1CA33-0310-48C7-AFA6-A716E53446A8}" srcOrd="1" destOrd="0" presId="urn:microsoft.com/office/officeart/2005/8/layout/hierarchy1"/>
    <dgm:cxn modelId="{AD3CF85A-9108-483F-820E-2EDE0A8600B5}" type="presParOf" srcId="{25C1CA33-0310-48C7-AFA6-A716E53446A8}" destId="{A3C15912-BDA1-4A62-A133-6EFEF4E6CF3C}" srcOrd="0" destOrd="0" presId="urn:microsoft.com/office/officeart/2005/8/layout/hierarchy1"/>
    <dgm:cxn modelId="{ADC40020-45DA-42AD-A755-883B23870CFB}" type="presParOf" srcId="{25C1CA33-0310-48C7-AFA6-A716E53446A8}" destId="{81C77BA7-FF60-46A2-9E2D-47A9838A6531}" srcOrd="1" destOrd="0" presId="urn:microsoft.com/office/officeart/2005/8/layout/hierarchy1"/>
    <dgm:cxn modelId="{E2A1D034-BB91-4904-A2D3-DF3910662E6A}" type="presParOf" srcId="{81C77BA7-FF60-46A2-9E2D-47A9838A6531}" destId="{B2562B96-E447-4808-9DD4-C198CB0A0E83}" srcOrd="0" destOrd="0" presId="urn:microsoft.com/office/officeart/2005/8/layout/hierarchy1"/>
    <dgm:cxn modelId="{A636C998-ADFA-46A1-96B4-C9426B65CC18}" type="presParOf" srcId="{B2562B96-E447-4808-9DD4-C198CB0A0E83}" destId="{C754130F-D528-4022-B612-2D649C998CC5}" srcOrd="0" destOrd="0" presId="urn:microsoft.com/office/officeart/2005/8/layout/hierarchy1"/>
    <dgm:cxn modelId="{8BDA3438-308B-4B4D-872E-0AC2F551305F}" type="presParOf" srcId="{B2562B96-E447-4808-9DD4-C198CB0A0E83}" destId="{4219811B-CCCC-4CC4-91E4-8F91885881DE}" srcOrd="1" destOrd="0" presId="urn:microsoft.com/office/officeart/2005/8/layout/hierarchy1"/>
    <dgm:cxn modelId="{16DEE5CB-CF37-4999-9EC3-F98800AE2C5D}" type="presParOf" srcId="{81C77BA7-FF60-46A2-9E2D-47A9838A6531}" destId="{1ACEA287-5220-41B6-BD28-8CBE60304C72}" srcOrd="1" destOrd="0" presId="urn:microsoft.com/office/officeart/2005/8/layout/hierarchy1"/>
    <dgm:cxn modelId="{4624A029-1BAB-4782-A02D-3246312E45E1}" type="presParOf" srcId="{5F81F6B5-29A2-4AAD-B4AC-7CBF35A87FE8}" destId="{660D064B-2F6F-4956-B6FC-9A94D7AEE3D0}" srcOrd="2" destOrd="0" presId="urn:microsoft.com/office/officeart/2005/8/layout/hierarchy1"/>
    <dgm:cxn modelId="{6957A257-7D5A-49DE-AB2D-92E7432E5970}" type="presParOf" srcId="{5F81F6B5-29A2-4AAD-B4AC-7CBF35A87FE8}" destId="{CBFD7171-1239-487D-BC4F-6774057BDF4D}" srcOrd="3" destOrd="0" presId="urn:microsoft.com/office/officeart/2005/8/layout/hierarchy1"/>
    <dgm:cxn modelId="{08231B78-B4D6-44CC-93A5-BD27ED133A20}" type="presParOf" srcId="{CBFD7171-1239-487D-BC4F-6774057BDF4D}" destId="{E39559D3-C7CA-463E-BF34-CC914CC7165B}" srcOrd="0" destOrd="0" presId="urn:microsoft.com/office/officeart/2005/8/layout/hierarchy1"/>
    <dgm:cxn modelId="{0E29C7B9-8CAE-42A6-B544-F140A98EE998}" type="presParOf" srcId="{E39559D3-C7CA-463E-BF34-CC914CC7165B}" destId="{0280BCFA-2950-4B22-980F-25C3D49F86C5}" srcOrd="0" destOrd="0" presId="urn:microsoft.com/office/officeart/2005/8/layout/hierarchy1"/>
    <dgm:cxn modelId="{E00AEB1B-6ECA-48EB-B40E-2D9AB8E5E10D}" type="presParOf" srcId="{E39559D3-C7CA-463E-BF34-CC914CC7165B}" destId="{542004F5-91AA-47E7-8D0C-3188A7342222}" srcOrd="1" destOrd="0" presId="urn:microsoft.com/office/officeart/2005/8/layout/hierarchy1"/>
    <dgm:cxn modelId="{4954120A-42B8-4CE6-AA49-4E1E2A4DAF52}" type="presParOf" srcId="{CBFD7171-1239-487D-BC4F-6774057BDF4D}" destId="{AA3FF267-7CDE-4307-A9B9-950AC43BD6E1}" srcOrd="1" destOrd="0" presId="urn:microsoft.com/office/officeart/2005/8/layout/hierarchy1"/>
    <dgm:cxn modelId="{BBA44D13-A353-4BAA-97AA-A45FEEAE7855}" type="presParOf" srcId="{AA3FF267-7CDE-4307-A9B9-950AC43BD6E1}" destId="{7DCF7F3E-A2D8-42C3-9305-FDA73DF1D08C}" srcOrd="0" destOrd="0" presId="urn:microsoft.com/office/officeart/2005/8/layout/hierarchy1"/>
    <dgm:cxn modelId="{6D580330-8164-412F-9D91-CAC2379E5347}" type="presParOf" srcId="{AA3FF267-7CDE-4307-A9B9-950AC43BD6E1}" destId="{7AC1B5C9-E68D-4ACB-A45B-6CDBEC95A90B}" srcOrd="1" destOrd="0" presId="urn:microsoft.com/office/officeart/2005/8/layout/hierarchy1"/>
    <dgm:cxn modelId="{0C47C47F-FA13-471B-AD84-3B5258245D00}" type="presParOf" srcId="{7AC1B5C9-E68D-4ACB-A45B-6CDBEC95A90B}" destId="{DF1D98D7-0138-4E98-A3F2-233D21EBB78B}" srcOrd="0" destOrd="0" presId="urn:microsoft.com/office/officeart/2005/8/layout/hierarchy1"/>
    <dgm:cxn modelId="{48C3AB64-2823-440A-A6C2-A9A72184AB27}" type="presParOf" srcId="{DF1D98D7-0138-4E98-A3F2-233D21EBB78B}" destId="{989CD059-5E11-4B29-9444-F46CE8A13ADC}" srcOrd="0" destOrd="0" presId="urn:microsoft.com/office/officeart/2005/8/layout/hierarchy1"/>
    <dgm:cxn modelId="{FF198E7B-B3BF-462F-AE44-79E69B7DDF71}" type="presParOf" srcId="{DF1D98D7-0138-4E98-A3F2-233D21EBB78B}" destId="{CC7D6C45-7D13-4DA9-ADAB-FD715CCA32D0}" srcOrd="1" destOrd="0" presId="urn:microsoft.com/office/officeart/2005/8/layout/hierarchy1"/>
    <dgm:cxn modelId="{4EB5E143-56D9-4967-BAC6-DE3B1FE5BF0B}" type="presParOf" srcId="{7AC1B5C9-E68D-4ACB-A45B-6CDBEC95A90B}" destId="{74C27FC9-5FB0-45D9-80EE-665748E6C877}" srcOrd="1" destOrd="0" presId="urn:microsoft.com/office/officeart/2005/8/layout/hierarchy1"/>
    <dgm:cxn modelId="{BFE45CC1-88C8-4984-8CAF-F6EB9EDF94D4}" type="presParOf" srcId="{74C27FC9-5FB0-45D9-80EE-665748E6C877}" destId="{E98C3AF5-8FC9-40AA-B76D-160D1D27E90D}" srcOrd="0" destOrd="0" presId="urn:microsoft.com/office/officeart/2005/8/layout/hierarchy1"/>
    <dgm:cxn modelId="{4AE3FDAE-1A64-4D6D-AFCA-CA9815BA7C25}" type="presParOf" srcId="{74C27FC9-5FB0-45D9-80EE-665748E6C877}" destId="{37C997B3-596C-474E-B4CB-3D213C750291}" srcOrd="1" destOrd="0" presId="urn:microsoft.com/office/officeart/2005/8/layout/hierarchy1"/>
    <dgm:cxn modelId="{816C4603-87AA-41F0-A713-5D2302BDD1D0}" type="presParOf" srcId="{37C997B3-596C-474E-B4CB-3D213C750291}" destId="{AA047AE7-15BE-479F-B9BF-6F207E8ACC26}" srcOrd="0" destOrd="0" presId="urn:microsoft.com/office/officeart/2005/8/layout/hierarchy1"/>
    <dgm:cxn modelId="{0584DB6F-81AD-48C0-866B-C98EEDAE3BC4}" type="presParOf" srcId="{AA047AE7-15BE-479F-B9BF-6F207E8ACC26}" destId="{3EE818D2-E665-4AF5-B02F-48CF906D0E0E}" srcOrd="0" destOrd="0" presId="urn:microsoft.com/office/officeart/2005/8/layout/hierarchy1"/>
    <dgm:cxn modelId="{98DEE6C2-9645-4E03-9CE9-1A095E1116A6}" type="presParOf" srcId="{AA047AE7-15BE-479F-B9BF-6F207E8ACC26}" destId="{0298B4FF-EC89-4CB6-8569-2AD21BB005B7}" srcOrd="1" destOrd="0" presId="urn:microsoft.com/office/officeart/2005/8/layout/hierarchy1"/>
    <dgm:cxn modelId="{90B2250F-F4F1-4D1A-9B51-E390D863C535}" type="presParOf" srcId="{37C997B3-596C-474E-B4CB-3D213C750291}" destId="{7E3DB9D0-4819-4BB0-9777-0D907986CBEB}" srcOrd="1" destOrd="0" presId="urn:microsoft.com/office/officeart/2005/8/layout/hierarchy1"/>
    <dgm:cxn modelId="{9145CD5B-0634-4467-8D91-5B264692F9F9}" type="presParOf" srcId="{7E3DB9D0-4819-4BB0-9777-0D907986CBEB}" destId="{4034CCD1-479E-4B20-9948-92B5CBBBDEE8}" srcOrd="0" destOrd="0" presId="urn:microsoft.com/office/officeart/2005/8/layout/hierarchy1"/>
    <dgm:cxn modelId="{F51807C7-3D32-4723-80C1-19EE3C24CAEC}" type="presParOf" srcId="{7E3DB9D0-4819-4BB0-9777-0D907986CBEB}" destId="{4A8657FB-6CD1-4BAD-8504-DC2153CD6378}" srcOrd="1" destOrd="0" presId="urn:microsoft.com/office/officeart/2005/8/layout/hierarchy1"/>
    <dgm:cxn modelId="{E83A6FD8-7916-42EB-9BD1-BE6093A83836}" type="presParOf" srcId="{4A8657FB-6CD1-4BAD-8504-DC2153CD6378}" destId="{EA96E4AE-8447-443E-A04E-40A649235D60}" srcOrd="0" destOrd="0" presId="urn:microsoft.com/office/officeart/2005/8/layout/hierarchy1"/>
    <dgm:cxn modelId="{0ED34A09-8935-4725-8F75-3AA0B9B846DC}" type="presParOf" srcId="{EA96E4AE-8447-443E-A04E-40A649235D60}" destId="{0ECF104F-D70E-4EFE-ADA1-7527CD077919}" srcOrd="0" destOrd="0" presId="urn:microsoft.com/office/officeart/2005/8/layout/hierarchy1"/>
    <dgm:cxn modelId="{C526C135-7811-41A8-98AE-A25411875F49}" type="presParOf" srcId="{EA96E4AE-8447-443E-A04E-40A649235D60}" destId="{F5D12DD6-6C91-482C-973D-060DF33FB557}" srcOrd="1" destOrd="0" presId="urn:microsoft.com/office/officeart/2005/8/layout/hierarchy1"/>
    <dgm:cxn modelId="{4D9D5AFA-E5F2-47BA-819A-9C63FEAA9D17}" type="presParOf" srcId="{4A8657FB-6CD1-4BAD-8504-DC2153CD6378}" destId="{3C63477E-BA8F-4DD7-9885-F5F58CCDEB62}" srcOrd="1" destOrd="0" presId="urn:microsoft.com/office/officeart/2005/8/layout/hierarchy1"/>
    <dgm:cxn modelId="{9E6938F6-540C-4C87-AB8D-D264368D6949}" type="presParOf" srcId="{AA3FF267-7CDE-4307-A9B9-950AC43BD6E1}" destId="{DB4EACA8-B0B1-4715-BF2B-A6765B34581C}" srcOrd="2" destOrd="0" presId="urn:microsoft.com/office/officeart/2005/8/layout/hierarchy1"/>
    <dgm:cxn modelId="{8D80B39A-4ED6-4981-833E-5E8909DCF75E}" type="presParOf" srcId="{AA3FF267-7CDE-4307-A9B9-950AC43BD6E1}" destId="{2812BC50-EEF4-499D-91EF-1C27DF911118}" srcOrd="3" destOrd="0" presId="urn:microsoft.com/office/officeart/2005/8/layout/hierarchy1"/>
    <dgm:cxn modelId="{73277270-1798-4958-8877-B0AB5B6E078E}" type="presParOf" srcId="{2812BC50-EEF4-499D-91EF-1C27DF911118}" destId="{ADE6DC1B-A703-44A5-A040-A93ACF200E28}" srcOrd="0" destOrd="0" presId="urn:microsoft.com/office/officeart/2005/8/layout/hierarchy1"/>
    <dgm:cxn modelId="{41E450A0-670E-4D3B-ABFC-4FC270977046}" type="presParOf" srcId="{ADE6DC1B-A703-44A5-A040-A93ACF200E28}" destId="{A7A5660F-AAC2-4219-957F-4DED38090C89}" srcOrd="0" destOrd="0" presId="urn:microsoft.com/office/officeart/2005/8/layout/hierarchy1"/>
    <dgm:cxn modelId="{4A6388E6-36AE-4F87-9E64-9738359A236A}" type="presParOf" srcId="{ADE6DC1B-A703-44A5-A040-A93ACF200E28}" destId="{3E73AB7B-7B9F-4818-8A98-8907C9FD69B0}" srcOrd="1" destOrd="0" presId="urn:microsoft.com/office/officeart/2005/8/layout/hierarchy1"/>
    <dgm:cxn modelId="{E5806F78-4045-4A3B-8747-AA8A0D7EBBAC}" type="presParOf" srcId="{2812BC50-EEF4-499D-91EF-1C27DF911118}" destId="{3792BA0B-479F-4DC1-A6B9-9A54B128B8CD}" srcOrd="1" destOrd="0" presId="urn:microsoft.com/office/officeart/2005/8/layout/hierarchy1"/>
    <dgm:cxn modelId="{8CBC2630-89AC-4A1C-A626-76701B9E24DE}" type="presParOf" srcId="{3792BA0B-479F-4DC1-A6B9-9A54B128B8CD}" destId="{A320C6C5-3285-4CDE-BA46-6D0943D9D596}" srcOrd="0" destOrd="0" presId="urn:microsoft.com/office/officeart/2005/8/layout/hierarchy1"/>
    <dgm:cxn modelId="{618E738A-6CF6-4929-A587-107ADE6E55A7}" type="presParOf" srcId="{3792BA0B-479F-4DC1-A6B9-9A54B128B8CD}" destId="{395102BF-7A87-49AF-B94F-1505E8F36CDF}" srcOrd="1" destOrd="0" presId="urn:microsoft.com/office/officeart/2005/8/layout/hierarchy1"/>
    <dgm:cxn modelId="{88074C21-5682-4610-BEAE-201E637337C7}" type="presParOf" srcId="{395102BF-7A87-49AF-B94F-1505E8F36CDF}" destId="{425D4C73-ED05-4C82-94AC-2A5F8A5C98EB}" srcOrd="0" destOrd="0" presId="urn:microsoft.com/office/officeart/2005/8/layout/hierarchy1"/>
    <dgm:cxn modelId="{724C6454-4CC0-444A-9881-54E17F26488B}" type="presParOf" srcId="{425D4C73-ED05-4C82-94AC-2A5F8A5C98EB}" destId="{00C8F16C-243D-4D34-8E10-5ED1A454AFB5}" srcOrd="0" destOrd="0" presId="urn:microsoft.com/office/officeart/2005/8/layout/hierarchy1"/>
    <dgm:cxn modelId="{E4C2D212-3F5F-4DAC-8361-109F2A80E8C8}" type="presParOf" srcId="{425D4C73-ED05-4C82-94AC-2A5F8A5C98EB}" destId="{90F48572-0C51-4336-911E-B2925768C07F}" srcOrd="1" destOrd="0" presId="urn:microsoft.com/office/officeart/2005/8/layout/hierarchy1"/>
    <dgm:cxn modelId="{4E0C4CA8-605C-40BD-9DB3-1FCC8D7CEC66}" type="presParOf" srcId="{395102BF-7A87-49AF-B94F-1505E8F36CDF}" destId="{428D117F-CE6A-4311-8E55-6C8D285A120C}" srcOrd="1" destOrd="0" presId="urn:microsoft.com/office/officeart/2005/8/layout/hierarchy1"/>
    <dgm:cxn modelId="{4160FC15-81B9-44FB-89C8-5AAB35A40428}" type="presParOf" srcId="{428D117F-CE6A-4311-8E55-6C8D285A120C}" destId="{B813AC8B-2894-4DFD-A72F-A3F267B24606}" srcOrd="0" destOrd="0" presId="urn:microsoft.com/office/officeart/2005/8/layout/hierarchy1"/>
    <dgm:cxn modelId="{AF855779-6525-4D41-8C47-4529209F8C2F}" type="presParOf" srcId="{428D117F-CE6A-4311-8E55-6C8D285A120C}" destId="{BBA4F76D-44A4-4DD0-9BD4-38C8D8EE423B}" srcOrd="1" destOrd="0" presId="urn:microsoft.com/office/officeart/2005/8/layout/hierarchy1"/>
    <dgm:cxn modelId="{12EBADDB-9791-4F29-A15D-45B6F3A02F94}" type="presParOf" srcId="{BBA4F76D-44A4-4DD0-9BD4-38C8D8EE423B}" destId="{BD69830A-3359-4CE2-B6AD-B5F2A7A5B884}" srcOrd="0" destOrd="0" presId="urn:microsoft.com/office/officeart/2005/8/layout/hierarchy1"/>
    <dgm:cxn modelId="{BE2ED3B5-C1DE-4E51-BA27-5947D25A870B}" type="presParOf" srcId="{BD69830A-3359-4CE2-B6AD-B5F2A7A5B884}" destId="{64D5F178-51BD-4202-9C02-3B1238743525}" srcOrd="0" destOrd="0" presId="urn:microsoft.com/office/officeart/2005/8/layout/hierarchy1"/>
    <dgm:cxn modelId="{232BB2A3-8013-4233-93AA-07E84ACF3DCB}" type="presParOf" srcId="{BD69830A-3359-4CE2-B6AD-B5F2A7A5B884}" destId="{06B6C756-63D8-41D5-B2BB-41C0207DDFED}" srcOrd="1" destOrd="0" presId="urn:microsoft.com/office/officeart/2005/8/layout/hierarchy1"/>
    <dgm:cxn modelId="{4997183F-8086-4F4B-86C2-E2E1F46FE743}" type="presParOf" srcId="{BBA4F76D-44A4-4DD0-9BD4-38C8D8EE423B}" destId="{5E69BFA5-68EC-4B65-B057-17B845CEDA79}" srcOrd="1" destOrd="0" presId="urn:microsoft.com/office/officeart/2005/8/layout/hierarchy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28319DE-6729-4F63-B3CC-DC25855D337F}" type="doc">
      <dgm:prSet loTypeId="urn:microsoft.com/office/officeart/2005/8/layout/orgChart1" loCatId="hierarchy" qsTypeId="urn:microsoft.com/office/officeart/2005/8/quickstyle/simple1" qsCatId="simple" csTypeId="urn:microsoft.com/office/officeart/2005/8/colors/colorful2" csCatId="colorful" phldr="1"/>
      <dgm:spPr/>
      <dgm:t>
        <a:bodyPr/>
        <a:lstStyle/>
        <a:p>
          <a:endParaRPr lang="en-IN"/>
        </a:p>
      </dgm:t>
    </dgm:pt>
    <dgm:pt modelId="{E38B1CA5-4BC2-4520-8E1B-6F162A2F8AB5}">
      <dgm:prSet phldrT="[Text]" custT="1"/>
      <dgm:spPr>
        <a:solidFill>
          <a:schemeClr val="accent6">
            <a:lumMod val="50000"/>
          </a:schemeClr>
        </a:solidFill>
        <a:effectLst>
          <a:outerShdw blurRad="63500" sx="102000" sy="102000" algn="ctr" rotWithShape="0">
            <a:prstClr val="black">
              <a:alpha val="40000"/>
            </a:prstClr>
          </a:outerShdw>
        </a:effectLst>
      </dgm:spPr>
      <dgm:t>
        <a:bodyPr/>
        <a:lstStyle/>
        <a:p>
          <a:r>
            <a:rPr lang="en-IN" sz="2400" b="1" dirty="0" err="1">
              <a:latin typeface="Century Gothic" panose="020B0502020202020204" pitchFamily="34" charset="0"/>
              <a:cs typeface="Calibri" panose="020F0502020204030204" pitchFamily="34" charset="0"/>
            </a:rPr>
            <a:t>Ecomet</a:t>
          </a:r>
          <a:endParaRPr lang="en-IN" sz="2400" b="1" dirty="0">
            <a:latin typeface="Century Gothic" panose="020B0502020202020204" pitchFamily="34" charset="0"/>
            <a:cs typeface="Calibri" panose="020F0502020204030204" pitchFamily="34" charset="0"/>
          </a:endParaRPr>
        </a:p>
      </dgm:t>
    </dgm:pt>
    <dgm:pt modelId="{941A653A-B70E-4E86-8512-C141503E974A}" type="parTrans" cxnId="{7E4A66B9-C527-477C-BB62-5ED274A83425}">
      <dgm:prSet/>
      <dgm:spPr/>
      <dgm:t>
        <a:bodyPr/>
        <a:lstStyle/>
        <a:p>
          <a:endParaRPr lang="en-IN" sz="1600" b="1">
            <a:latin typeface="Century Gothic" panose="020B0502020202020204" pitchFamily="34" charset="0"/>
            <a:cs typeface="Calibri" panose="020F0502020204030204" pitchFamily="34" charset="0"/>
          </a:endParaRPr>
        </a:p>
      </dgm:t>
    </dgm:pt>
    <dgm:pt modelId="{A16A5867-F66C-45B7-97ED-1EFF15F04ABB}" type="sibTrans" cxnId="{7E4A66B9-C527-477C-BB62-5ED274A83425}">
      <dgm:prSet/>
      <dgm:spPr/>
      <dgm:t>
        <a:bodyPr/>
        <a:lstStyle/>
        <a:p>
          <a:endParaRPr lang="en-IN" sz="1600" b="1">
            <a:latin typeface="Century Gothic" panose="020B0502020202020204" pitchFamily="34" charset="0"/>
            <a:cs typeface="Calibri" panose="020F0502020204030204" pitchFamily="34" charset="0"/>
          </a:endParaRPr>
        </a:p>
      </dgm:t>
    </dgm:pt>
    <dgm:pt modelId="{6FAC41FE-31ED-4BA3-93BD-7FB974E6784A}">
      <dgm:prSet phldrT="[Text]" custT="1"/>
      <dgm:spPr>
        <a:solidFill>
          <a:schemeClr val="accent6">
            <a:lumMod val="40000"/>
            <a:lumOff val="60000"/>
          </a:schemeClr>
        </a:solidFill>
        <a:ln>
          <a:solidFill>
            <a:schemeClr val="bg2"/>
          </a:solidFill>
        </a:ln>
        <a:effectLst>
          <a:outerShdw blurRad="50800" dist="38100" dir="5400000" algn="t" rotWithShape="0">
            <a:prstClr val="black">
              <a:alpha val="40000"/>
            </a:prstClr>
          </a:outerShdw>
        </a:effectLst>
      </dgm:spPr>
      <dgm:t>
        <a:bodyPr/>
        <a:lstStyle/>
        <a:p>
          <a:r>
            <a:rPr lang="en-IN" sz="1600" b="1" dirty="0">
              <a:solidFill>
                <a:schemeClr val="tx1"/>
              </a:solidFill>
              <a:latin typeface="Century Gothic" panose="020B0502020202020204" pitchFamily="34" charset="0"/>
              <a:cs typeface="Calibri" panose="020F0502020204030204" pitchFamily="34" charset="0"/>
            </a:rPr>
            <a:t>1115 (11.44T)</a:t>
          </a:r>
        </a:p>
      </dgm:t>
    </dgm:pt>
    <dgm:pt modelId="{34CCF529-7DA1-4B47-8158-6837921DB000}" type="parTrans" cxnId="{20797773-EB97-4C32-8EBD-F682CB3C0CD7}">
      <dgm:prSet/>
      <dgm:spPr>
        <a:ln>
          <a:solidFill>
            <a:schemeClr val="bg2">
              <a:lumMod val="25000"/>
            </a:schemeClr>
          </a:solidFill>
        </a:ln>
      </dgm:spPr>
      <dgm:t>
        <a:bodyPr/>
        <a:lstStyle/>
        <a:p>
          <a:endParaRPr lang="en-IN" sz="1600" b="1">
            <a:latin typeface="Century Gothic" panose="020B0502020202020204" pitchFamily="34" charset="0"/>
            <a:cs typeface="Calibri" panose="020F0502020204030204" pitchFamily="34" charset="0"/>
          </a:endParaRPr>
        </a:p>
      </dgm:t>
    </dgm:pt>
    <dgm:pt modelId="{B643F0C8-0A53-4FAE-850F-9DAC00510047}" type="sibTrans" cxnId="{20797773-EB97-4C32-8EBD-F682CB3C0CD7}">
      <dgm:prSet/>
      <dgm:spPr/>
      <dgm:t>
        <a:bodyPr/>
        <a:lstStyle/>
        <a:p>
          <a:endParaRPr lang="en-IN" sz="1600" b="1">
            <a:latin typeface="Century Gothic" panose="020B0502020202020204" pitchFamily="34" charset="0"/>
            <a:cs typeface="Calibri" panose="020F0502020204030204" pitchFamily="34" charset="0"/>
          </a:endParaRPr>
        </a:p>
      </dgm:t>
    </dgm:pt>
    <dgm:pt modelId="{73B4EDEB-B342-4A40-BB8F-A9BD60E4CC93}">
      <dgm:prSet phldrT="[Text]" custT="1"/>
      <dgm:spPr>
        <a:solidFill>
          <a:schemeClr val="accent6">
            <a:lumMod val="40000"/>
            <a:lumOff val="60000"/>
          </a:schemeClr>
        </a:solidFill>
        <a:ln>
          <a:solidFill>
            <a:schemeClr val="bg2"/>
          </a:solidFill>
        </a:ln>
        <a:effectLst>
          <a:outerShdw blurRad="50800" dist="38100" dir="5400000" algn="t" rotWithShape="0">
            <a:prstClr val="black">
              <a:alpha val="40000"/>
            </a:prstClr>
          </a:outerShdw>
        </a:effectLst>
      </dgm:spPr>
      <dgm:t>
        <a:bodyPr/>
        <a:lstStyle/>
        <a:p>
          <a:r>
            <a:rPr lang="en-IN" sz="1600" b="1" dirty="0">
              <a:solidFill>
                <a:schemeClr val="tx1"/>
              </a:solidFill>
              <a:latin typeface="Century Gothic" panose="020B0502020202020204" pitchFamily="34" charset="0"/>
              <a:cs typeface="Calibri" panose="020F0502020204030204" pitchFamily="34" charset="0"/>
            </a:rPr>
            <a:t>1415 (14.25T)</a:t>
          </a:r>
        </a:p>
      </dgm:t>
    </dgm:pt>
    <dgm:pt modelId="{EFDDD1CC-27FD-40B2-8549-4ADAC18C12E4}" type="parTrans" cxnId="{4C6B98B3-1DA2-456C-9AE2-9DC6144C78B1}">
      <dgm:prSet/>
      <dgm:spPr>
        <a:ln>
          <a:solidFill>
            <a:schemeClr val="bg2">
              <a:lumMod val="25000"/>
            </a:schemeClr>
          </a:solidFill>
        </a:ln>
      </dgm:spPr>
      <dgm:t>
        <a:bodyPr/>
        <a:lstStyle/>
        <a:p>
          <a:endParaRPr lang="en-IN" sz="1600" b="1">
            <a:latin typeface="Century Gothic" panose="020B0502020202020204" pitchFamily="34" charset="0"/>
            <a:cs typeface="Calibri" panose="020F0502020204030204" pitchFamily="34" charset="0"/>
          </a:endParaRPr>
        </a:p>
      </dgm:t>
    </dgm:pt>
    <dgm:pt modelId="{5D5F6EEF-2037-4F9A-B3D6-6D1DEBEAD5D4}" type="sibTrans" cxnId="{4C6B98B3-1DA2-456C-9AE2-9DC6144C78B1}">
      <dgm:prSet/>
      <dgm:spPr/>
      <dgm:t>
        <a:bodyPr/>
        <a:lstStyle/>
        <a:p>
          <a:endParaRPr lang="en-IN" sz="1600" b="1">
            <a:latin typeface="Century Gothic" panose="020B0502020202020204" pitchFamily="34" charset="0"/>
            <a:cs typeface="Calibri" panose="020F0502020204030204" pitchFamily="34" charset="0"/>
          </a:endParaRPr>
        </a:p>
      </dgm:t>
    </dgm:pt>
    <dgm:pt modelId="{AF22B52D-E12A-4FE0-A026-D03A63D5B14D}">
      <dgm:prSet custT="1"/>
      <dgm:spPr>
        <a:solidFill>
          <a:schemeClr val="accent6">
            <a:lumMod val="40000"/>
            <a:lumOff val="60000"/>
          </a:schemeClr>
        </a:solidFill>
        <a:ln>
          <a:solidFill>
            <a:schemeClr val="bg2"/>
          </a:solidFill>
        </a:ln>
        <a:effectLst>
          <a:outerShdw blurRad="50800" dist="38100" dir="5400000" algn="t" rotWithShape="0">
            <a:prstClr val="black">
              <a:alpha val="40000"/>
            </a:prstClr>
          </a:outerShdw>
        </a:effectLst>
      </dgm:spPr>
      <dgm:t>
        <a:bodyPr/>
        <a:lstStyle/>
        <a:p>
          <a:r>
            <a:rPr lang="en-IN" sz="1600" b="1" dirty="0">
              <a:solidFill>
                <a:schemeClr val="tx1"/>
              </a:solidFill>
              <a:latin typeface="Century Gothic" panose="020B0502020202020204" pitchFamily="34" charset="0"/>
              <a:cs typeface="Calibri" panose="020F0502020204030204" pitchFamily="34" charset="0"/>
            </a:rPr>
            <a:t>1615 (16.1T)</a:t>
          </a:r>
        </a:p>
      </dgm:t>
    </dgm:pt>
    <dgm:pt modelId="{E342C92F-E49D-4D40-BEA7-8DDA3D7EFAAF}" type="parTrans" cxnId="{E6FF6AA9-FCB0-40C6-AF3B-5D68D8741D92}">
      <dgm:prSet/>
      <dgm:spPr>
        <a:ln>
          <a:solidFill>
            <a:schemeClr val="bg2">
              <a:lumMod val="25000"/>
            </a:schemeClr>
          </a:solidFill>
        </a:ln>
      </dgm:spPr>
      <dgm:t>
        <a:bodyPr/>
        <a:lstStyle/>
        <a:p>
          <a:endParaRPr lang="en-IN" sz="1600" b="1">
            <a:latin typeface="Century Gothic" panose="020B0502020202020204" pitchFamily="34" charset="0"/>
            <a:cs typeface="Calibri" panose="020F0502020204030204" pitchFamily="34" charset="0"/>
          </a:endParaRPr>
        </a:p>
      </dgm:t>
    </dgm:pt>
    <dgm:pt modelId="{AD90C176-1B00-4EEE-9026-1B04353B5A66}" type="sibTrans" cxnId="{E6FF6AA9-FCB0-40C6-AF3B-5D68D8741D92}">
      <dgm:prSet/>
      <dgm:spPr/>
      <dgm:t>
        <a:bodyPr/>
        <a:lstStyle/>
        <a:p>
          <a:endParaRPr lang="en-IN" sz="1600" b="1">
            <a:latin typeface="Century Gothic" panose="020B0502020202020204" pitchFamily="34" charset="0"/>
            <a:cs typeface="Calibri" panose="020F0502020204030204" pitchFamily="34" charset="0"/>
          </a:endParaRPr>
        </a:p>
      </dgm:t>
    </dgm:pt>
    <dgm:pt modelId="{3579D454-CA8D-4708-82B6-8706E6A6E4CB}">
      <dgm:prSet custT="1"/>
      <dgm:spPr>
        <a:solidFill>
          <a:schemeClr val="accent6">
            <a:lumMod val="60000"/>
            <a:lumOff val="40000"/>
          </a:schemeClr>
        </a:solidFill>
        <a:effectLst>
          <a:outerShdw blurRad="50800" dist="38100" dir="5400000" algn="t" rotWithShape="0">
            <a:prstClr val="black">
              <a:alpha val="40000"/>
            </a:prstClr>
          </a:outerShdw>
        </a:effectLst>
      </dgm:spPr>
      <dgm:t>
        <a:bodyPr/>
        <a:lstStyle/>
        <a:p>
          <a:r>
            <a:rPr lang="en-IN" sz="1600" dirty="0">
              <a:solidFill>
                <a:schemeClr val="tx1"/>
              </a:solidFill>
              <a:latin typeface="Century Gothic" panose="020B0502020202020204" pitchFamily="34" charset="0"/>
              <a:cs typeface="Calibri" panose="020F0502020204030204" pitchFamily="34" charset="0"/>
            </a:rPr>
            <a:t>17’ – 3970 WB</a:t>
          </a:r>
        </a:p>
      </dgm:t>
    </dgm:pt>
    <dgm:pt modelId="{74188EBA-0084-4561-8B14-4AF22763D6ED}" type="parTrans" cxnId="{7CBDC696-5210-4377-A111-174E85A597F5}">
      <dgm:prSet/>
      <dgm:spPr>
        <a:ln>
          <a:solidFill>
            <a:schemeClr val="bg2">
              <a:lumMod val="25000"/>
            </a:schemeClr>
          </a:solidFill>
        </a:ln>
      </dgm:spPr>
      <dgm:t>
        <a:bodyPr/>
        <a:lstStyle/>
        <a:p>
          <a:endParaRPr lang="en-IN" sz="1600">
            <a:latin typeface="Century Gothic" panose="020B0502020202020204" pitchFamily="34" charset="0"/>
            <a:cs typeface="Calibri" panose="020F0502020204030204" pitchFamily="34" charset="0"/>
          </a:endParaRPr>
        </a:p>
      </dgm:t>
    </dgm:pt>
    <dgm:pt modelId="{585BFFD2-168B-4834-ABF3-3AA10B0B4942}" type="sibTrans" cxnId="{7CBDC696-5210-4377-A111-174E85A597F5}">
      <dgm:prSet/>
      <dgm:spPr/>
      <dgm:t>
        <a:bodyPr/>
        <a:lstStyle/>
        <a:p>
          <a:endParaRPr lang="en-IN" sz="1600">
            <a:latin typeface="Century Gothic" panose="020B0502020202020204" pitchFamily="34" charset="0"/>
            <a:cs typeface="Calibri" panose="020F0502020204030204" pitchFamily="34" charset="0"/>
          </a:endParaRPr>
        </a:p>
      </dgm:t>
    </dgm:pt>
    <dgm:pt modelId="{EA938781-D580-47E6-ADCF-1FD88FD74000}">
      <dgm:prSet custT="1"/>
      <dgm:spPr>
        <a:solidFill>
          <a:schemeClr val="accent6">
            <a:lumMod val="75000"/>
          </a:schemeClr>
        </a:solidFill>
        <a:effectLst>
          <a:outerShdw blurRad="50800" dist="38100" dir="5400000" algn="t" rotWithShape="0">
            <a:prstClr val="black">
              <a:alpha val="40000"/>
            </a:prstClr>
          </a:outerShdw>
        </a:effectLst>
      </dgm:spPr>
      <dgm:t>
        <a:bodyPr/>
        <a:lstStyle/>
        <a:p>
          <a:r>
            <a:rPr lang="en-IN" sz="1600" dirty="0">
              <a:solidFill>
                <a:schemeClr val="bg1"/>
              </a:solidFill>
              <a:latin typeface="Century Gothic" panose="020B0502020202020204" pitchFamily="34" charset="0"/>
              <a:cs typeface="Calibri" panose="020F0502020204030204" pitchFamily="34" charset="0"/>
            </a:rPr>
            <a:t>20’ – 4200 WB</a:t>
          </a:r>
        </a:p>
      </dgm:t>
    </dgm:pt>
    <dgm:pt modelId="{1F9A9AD6-BE7C-4D38-A8F4-BBFC448934EB}" type="parTrans" cxnId="{F8855864-DA6C-46D1-BAD1-7B3B45B883F3}">
      <dgm:prSet/>
      <dgm:spPr>
        <a:ln>
          <a:solidFill>
            <a:schemeClr val="bg2">
              <a:lumMod val="25000"/>
            </a:schemeClr>
          </a:solidFill>
        </a:ln>
      </dgm:spPr>
      <dgm:t>
        <a:bodyPr/>
        <a:lstStyle/>
        <a:p>
          <a:endParaRPr lang="en-IN" sz="1600">
            <a:latin typeface="Century Gothic" panose="020B0502020202020204" pitchFamily="34" charset="0"/>
            <a:cs typeface="Calibri" panose="020F0502020204030204" pitchFamily="34" charset="0"/>
          </a:endParaRPr>
        </a:p>
      </dgm:t>
    </dgm:pt>
    <dgm:pt modelId="{8936709F-04EF-46A3-9912-39DCA599D05D}" type="sibTrans" cxnId="{F8855864-DA6C-46D1-BAD1-7B3B45B883F3}">
      <dgm:prSet/>
      <dgm:spPr/>
      <dgm:t>
        <a:bodyPr/>
        <a:lstStyle/>
        <a:p>
          <a:endParaRPr lang="en-IN" sz="1600">
            <a:latin typeface="Century Gothic" panose="020B0502020202020204" pitchFamily="34" charset="0"/>
            <a:cs typeface="Calibri" panose="020F0502020204030204" pitchFamily="34" charset="0"/>
          </a:endParaRPr>
        </a:p>
      </dgm:t>
    </dgm:pt>
    <dgm:pt modelId="{1AA8EA4D-E9B7-41C1-AB26-B5B875E5ED8D}">
      <dgm:prSet custT="1"/>
      <dgm:spPr>
        <a:solidFill>
          <a:schemeClr val="accent6">
            <a:lumMod val="60000"/>
            <a:lumOff val="40000"/>
          </a:schemeClr>
        </a:solidFill>
        <a:effectLst>
          <a:outerShdw blurRad="50800" dist="38100" dir="5400000" algn="t" rotWithShape="0">
            <a:prstClr val="black">
              <a:alpha val="40000"/>
            </a:prstClr>
          </a:outerShdw>
        </a:effectLst>
      </dgm:spPr>
      <dgm:t>
        <a:bodyPr/>
        <a:lstStyle/>
        <a:p>
          <a:r>
            <a:rPr lang="en-IN" sz="1600" dirty="0">
              <a:solidFill>
                <a:schemeClr val="tx1"/>
              </a:solidFill>
              <a:latin typeface="Century Gothic" panose="020B0502020202020204" pitchFamily="34" charset="0"/>
              <a:cs typeface="Calibri" panose="020F0502020204030204" pitchFamily="34" charset="0"/>
            </a:rPr>
            <a:t>22’ – 4750 WB</a:t>
          </a:r>
        </a:p>
      </dgm:t>
    </dgm:pt>
    <dgm:pt modelId="{B114371E-5F54-4600-A11E-58C623E439A5}" type="parTrans" cxnId="{E62385F5-D729-40AE-9CF5-A3232826BFE0}">
      <dgm:prSet/>
      <dgm:spPr>
        <a:ln>
          <a:solidFill>
            <a:schemeClr val="bg2">
              <a:lumMod val="25000"/>
            </a:schemeClr>
          </a:solidFill>
        </a:ln>
      </dgm:spPr>
      <dgm:t>
        <a:bodyPr/>
        <a:lstStyle/>
        <a:p>
          <a:endParaRPr lang="en-IN" sz="1600">
            <a:latin typeface="Century Gothic" panose="020B0502020202020204" pitchFamily="34" charset="0"/>
            <a:cs typeface="Calibri" panose="020F0502020204030204" pitchFamily="34" charset="0"/>
          </a:endParaRPr>
        </a:p>
      </dgm:t>
    </dgm:pt>
    <dgm:pt modelId="{9C085AF7-E519-4809-B0BD-F9FBF238CFB7}" type="sibTrans" cxnId="{E62385F5-D729-40AE-9CF5-A3232826BFE0}">
      <dgm:prSet/>
      <dgm:spPr/>
      <dgm:t>
        <a:bodyPr/>
        <a:lstStyle/>
        <a:p>
          <a:endParaRPr lang="en-IN" sz="1600">
            <a:latin typeface="Century Gothic" panose="020B0502020202020204" pitchFamily="34" charset="0"/>
            <a:cs typeface="Calibri" panose="020F0502020204030204" pitchFamily="34" charset="0"/>
          </a:endParaRPr>
        </a:p>
      </dgm:t>
    </dgm:pt>
    <dgm:pt modelId="{B3C11583-361F-4B96-8A71-B92A81E22211}">
      <dgm:prSet custT="1"/>
      <dgm:spPr>
        <a:solidFill>
          <a:schemeClr val="accent6">
            <a:lumMod val="75000"/>
          </a:schemeClr>
        </a:solidFill>
        <a:effectLst>
          <a:outerShdw blurRad="50800" dist="38100" dir="5400000" algn="t" rotWithShape="0">
            <a:prstClr val="black">
              <a:alpha val="40000"/>
            </a:prstClr>
          </a:outerShdw>
        </a:effectLst>
      </dgm:spPr>
      <dgm:t>
        <a:bodyPr/>
        <a:lstStyle/>
        <a:p>
          <a:r>
            <a:rPr lang="en-IN" sz="1600" dirty="0">
              <a:latin typeface="Century Gothic" panose="020B0502020202020204" pitchFamily="34" charset="0"/>
              <a:cs typeface="Calibri" panose="020F0502020204030204" pitchFamily="34" charset="0"/>
            </a:rPr>
            <a:t>17’- 3970 WB </a:t>
          </a:r>
        </a:p>
      </dgm:t>
    </dgm:pt>
    <dgm:pt modelId="{94DB319B-C0F6-4F07-A0A3-5B14C3D75082}" type="parTrans" cxnId="{CAE3ABB8-A57C-40B2-A137-A656FE6CE313}">
      <dgm:prSet/>
      <dgm:spPr>
        <a:ln>
          <a:solidFill>
            <a:schemeClr val="bg2">
              <a:lumMod val="25000"/>
            </a:schemeClr>
          </a:solidFill>
        </a:ln>
      </dgm:spPr>
      <dgm:t>
        <a:bodyPr/>
        <a:lstStyle/>
        <a:p>
          <a:endParaRPr lang="en-IN" sz="1600">
            <a:latin typeface="Century Gothic" panose="020B0502020202020204" pitchFamily="34" charset="0"/>
            <a:cs typeface="Calibri" panose="020F0502020204030204" pitchFamily="34" charset="0"/>
          </a:endParaRPr>
        </a:p>
      </dgm:t>
    </dgm:pt>
    <dgm:pt modelId="{287166F6-C7F0-4FA8-BFD9-8AFC6D4B34F1}" type="sibTrans" cxnId="{CAE3ABB8-A57C-40B2-A137-A656FE6CE313}">
      <dgm:prSet/>
      <dgm:spPr/>
      <dgm:t>
        <a:bodyPr/>
        <a:lstStyle/>
        <a:p>
          <a:endParaRPr lang="en-IN" sz="1600">
            <a:latin typeface="Century Gothic" panose="020B0502020202020204" pitchFamily="34" charset="0"/>
            <a:cs typeface="Calibri" panose="020F0502020204030204" pitchFamily="34" charset="0"/>
          </a:endParaRPr>
        </a:p>
      </dgm:t>
    </dgm:pt>
    <dgm:pt modelId="{CC5CD078-B740-44A9-AC9D-80501AB04FDE}">
      <dgm:prSet custT="1"/>
      <dgm:spPr>
        <a:solidFill>
          <a:schemeClr val="accent6">
            <a:lumMod val="60000"/>
            <a:lumOff val="40000"/>
          </a:schemeClr>
        </a:solidFill>
        <a:effectLst>
          <a:outerShdw blurRad="50800" dist="38100" dir="5400000" algn="t" rotWithShape="0">
            <a:prstClr val="black">
              <a:alpha val="40000"/>
            </a:prstClr>
          </a:outerShdw>
        </a:effectLst>
      </dgm:spPr>
      <dgm:t>
        <a:bodyPr/>
        <a:lstStyle/>
        <a:p>
          <a:r>
            <a:rPr lang="en-IN" sz="1600" dirty="0">
              <a:solidFill>
                <a:schemeClr val="tx1"/>
              </a:solidFill>
              <a:latin typeface="Century Gothic" panose="020B0502020202020204" pitchFamily="34" charset="0"/>
              <a:cs typeface="Calibri" panose="020F0502020204030204" pitchFamily="34" charset="0"/>
            </a:rPr>
            <a:t>17’- 3970 WB </a:t>
          </a:r>
        </a:p>
      </dgm:t>
    </dgm:pt>
    <dgm:pt modelId="{7BCB6082-FBA0-4B79-93CB-6133C58599E3}" type="sibTrans" cxnId="{63249AAA-24AA-4B39-B528-2D0CCB1E4BEC}">
      <dgm:prSet/>
      <dgm:spPr/>
      <dgm:t>
        <a:bodyPr/>
        <a:lstStyle/>
        <a:p>
          <a:endParaRPr lang="en-IN" sz="1600">
            <a:latin typeface="Century Gothic" panose="020B0502020202020204" pitchFamily="34" charset="0"/>
            <a:cs typeface="Calibri" panose="020F0502020204030204" pitchFamily="34" charset="0"/>
          </a:endParaRPr>
        </a:p>
      </dgm:t>
    </dgm:pt>
    <dgm:pt modelId="{9338652A-7095-40B7-A210-DE28A12286DB}" type="parTrans" cxnId="{63249AAA-24AA-4B39-B528-2D0CCB1E4BEC}">
      <dgm:prSet/>
      <dgm:spPr>
        <a:ln>
          <a:solidFill>
            <a:schemeClr val="bg2">
              <a:lumMod val="25000"/>
            </a:schemeClr>
          </a:solidFill>
        </a:ln>
      </dgm:spPr>
      <dgm:t>
        <a:bodyPr/>
        <a:lstStyle/>
        <a:p>
          <a:endParaRPr lang="en-IN" sz="1600">
            <a:latin typeface="Century Gothic" panose="020B0502020202020204" pitchFamily="34" charset="0"/>
            <a:cs typeface="Calibri" panose="020F0502020204030204" pitchFamily="34" charset="0"/>
          </a:endParaRPr>
        </a:p>
      </dgm:t>
    </dgm:pt>
    <dgm:pt modelId="{6A48F2F6-5742-4B5D-8A8A-B75F030BFF98}">
      <dgm:prSet custT="1"/>
      <dgm:spPr>
        <a:solidFill>
          <a:schemeClr val="accent6">
            <a:lumMod val="75000"/>
          </a:schemeClr>
        </a:solidFill>
        <a:effectLst>
          <a:outerShdw blurRad="50800" dist="38100" dir="5400000" algn="t" rotWithShape="0">
            <a:prstClr val="black">
              <a:alpha val="40000"/>
            </a:prstClr>
          </a:outerShdw>
        </a:effectLst>
      </dgm:spPr>
      <dgm:t>
        <a:bodyPr/>
        <a:lstStyle/>
        <a:p>
          <a:r>
            <a:rPr lang="en-IN" sz="1600" dirty="0">
              <a:solidFill>
                <a:schemeClr val="bg1"/>
              </a:solidFill>
              <a:latin typeface="Century Gothic" panose="020B0502020202020204" pitchFamily="34" charset="0"/>
              <a:cs typeface="Calibri" panose="020F0502020204030204" pitchFamily="34" charset="0"/>
            </a:rPr>
            <a:t>20’ – 4200 WB</a:t>
          </a:r>
        </a:p>
      </dgm:t>
    </dgm:pt>
    <dgm:pt modelId="{5663A2C4-D6A0-4CE7-B9DD-07791DF47D53}" type="sibTrans" cxnId="{DEF86FEC-5AA6-4C61-9562-DC41CCC4B7EB}">
      <dgm:prSet/>
      <dgm:spPr/>
      <dgm:t>
        <a:bodyPr/>
        <a:lstStyle/>
        <a:p>
          <a:endParaRPr lang="en-IN" sz="1600">
            <a:latin typeface="Century Gothic" panose="020B0502020202020204" pitchFamily="34" charset="0"/>
            <a:cs typeface="Calibri" panose="020F0502020204030204" pitchFamily="34" charset="0"/>
          </a:endParaRPr>
        </a:p>
      </dgm:t>
    </dgm:pt>
    <dgm:pt modelId="{969DBA26-5196-4601-9589-4426A7C79563}" type="parTrans" cxnId="{DEF86FEC-5AA6-4C61-9562-DC41CCC4B7EB}">
      <dgm:prSet/>
      <dgm:spPr>
        <a:ln>
          <a:solidFill>
            <a:schemeClr val="bg2">
              <a:lumMod val="25000"/>
            </a:schemeClr>
          </a:solidFill>
        </a:ln>
      </dgm:spPr>
      <dgm:t>
        <a:bodyPr/>
        <a:lstStyle/>
        <a:p>
          <a:endParaRPr lang="en-IN" sz="1600">
            <a:latin typeface="Century Gothic" panose="020B0502020202020204" pitchFamily="34" charset="0"/>
            <a:cs typeface="Calibri" panose="020F0502020204030204" pitchFamily="34" charset="0"/>
          </a:endParaRPr>
        </a:p>
      </dgm:t>
    </dgm:pt>
    <dgm:pt modelId="{3EF0C92C-F904-4933-8D6E-4B3A974FC6ED}">
      <dgm:prSet custT="1"/>
      <dgm:spPr>
        <a:solidFill>
          <a:schemeClr val="accent6">
            <a:lumMod val="60000"/>
            <a:lumOff val="40000"/>
          </a:schemeClr>
        </a:solidFill>
        <a:effectLst>
          <a:outerShdw blurRad="50800" dist="38100" dir="5400000" algn="t" rotWithShape="0">
            <a:prstClr val="black">
              <a:alpha val="40000"/>
            </a:prstClr>
          </a:outerShdw>
        </a:effectLst>
      </dgm:spPr>
      <dgm:t>
        <a:bodyPr/>
        <a:lstStyle/>
        <a:p>
          <a:r>
            <a:rPr lang="en-IN" sz="1600" dirty="0">
              <a:solidFill>
                <a:schemeClr val="tx1"/>
              </a:solidFill>
              <a:latin typeface="Century Gothic" panose="020B0502020202020204" pitchFamily="34" charset="0"/>
              <a:cs typeface="Calibri" panose="020F0502020204030204" pitchFamily="34" charset="0"/>
            </a:rPr>
            <a:t>22’ – 4750 WB</a:t>
          </a:r>
        </a:p>
      </dgm:t>
    </dgm:pt>
    <dgm:pt modelId="{ABF77CC0-A5D1-4F7A-B65F-F4E011A8C915}" type="sibTrans" cxnId="{80185DE3-CB78-4005-A4AD-66E515D041DD}">
      <dgm:prSet/>
      <dgm:spPr/>
      <dgm:t>
        <a:bodyPr/>
        <a:lstStyle/>
        <a:p>
          <a:endParaRPr lang="en-IN" sz="1600">
            <a:latin typeface="Century Gothic" panose="020B0502020202020204" pitchFamily="34" charset="0"/>
            <a:cs typeface="Calibri" panose="020F0502020204030204" pitchFamily="34" charset="0"/>
          </a:endParaRPr>
        </a:p>
      </dgm:t>
    </dgm:pt>
    <dgm:pt modelId="{632450AE-6EC2-447D-9053-7D67E33ED3BF}" type="parTrans" cxnId="{80185DE3-CB78-4005-A4AD-66E515D041DD}">
      <dgm:prSet/>
      <dgm:spPr>
        <a:ln>
          <a:solidFill>
            <a:schemeClr val="bg2">
              <a:lumMod val="25000"/>
            </a:schemeClr>
          </a:solidFill>
        </a:ln>
      </dgm:spPr>
      <dgm:t>
        <a:bodyPr/>
        <a:lstStyle/>
        <a:p>
          <a:endParaRPr lang="en-IN" sz="1600">
            <a:latin typeface="Century Gothic" panose="020B0502020202020204" pitchFamily="34" charset="0"/>
            <a:cs typeface="Calibri" panose="020F0502020204030204" pitchFamily="34" charset="0"/>
          </a:endParaRPr>
        </a:p>
      </dgm:t>
    </dgm:pt>
    <dgm:pt modelId="{B706C405-5E5E-45F5-9BB0-54944FBF51BB}">
      <dgm:prSet custT="1"/>
      <dgm:spPr>
        <a:solidFill>
          <a:schemeClr val="accent6">
            <a:lumMod val="75000"/>
          </a:schemeClr>
        </a:solidFill>
        <a:effectLst>
          <a:outerShdw blurRad="50800" dist="38100" dir="5400000" algn="t" rotWithShape="0">
            <a:prstClr val="black">
              <a:alpha val="40000"/>
            </a:prstClr>
          </a:outerShdw>
        </a:effectLst>
      </dgm:spPr>
      <dgm:t>
        <a:bodyPr spcFirstLastPara="0" vert="horz" wrap="square" lIns="10160" tIns="10160" rIns="10160" bIns="10160" numCol="1" spcCol="1270" anchor="ctr" anchorCtr="0"/>
        <a:lstStyle/>
        <a:p>
          <a:r>
            <a:rPr lang="en-IN" sz="1600" dirty="0">
              <a:solidFill>
                <a:schemeClr val="bg1"/>
              </a:solidFill>
              <a:latin typeface="Century Gothic" panose="020B0502020202020204" pitchFamily="34" charset="0"/>
              <a:cs typeface="Calibri" panose="020F0502020204030204" pitchFamily="34" charset="0"/>
            </a:rPr>
            <a:t>24’ – 5200 WB</a:t>
          </a:r>
        </a:p>
      </dgm:t>
    </dgm:pt>
    <dgm:pt modelId="{58E66837-959D-465A-A94D-5441ADAD5D8B}" type="sibTrans" cxnId="{BA44DBBC-5663-433D-A8DC-A6B5B059CA8D}">
      <dgm:prSet/>
      <dgm:spPr/>
      <dgm:t>
        <a:bodyPr/>
        <a:lstStyle/>
        <a:p>
          <a:endParaRPr lang="en-IN" sz="1600">
            <a:latin typeface="Century Gothic" panose="020B0502020202020204" pitchFamily="34" charset="0"/>
            <a:cs typeface="Calibri" panose="020F0502020204030204" pitchFamily="34" charset="0"/>
          </a:endParaRPr>
        </a:p>
      </dgm:t>
    </dgm:pt>
    <dgm:pt modelId="{6B3C2D56-FD3F-42D7-909B-94932A02B089}" type="parTrans" cxnId="{BA44DBBC-5663-433D-A8DC-A6B5B059CA8D}">
      <dgm:prSet/>
      <dgm:spPr>
        <a:ln>
          <a:solidFill>
            <a:schemeClr val="bg2">
              <a:lumMod val="25000"/>
            </a:schemeClr>
          </a:solidFill>
        </a:ln>
      </dgm:spPr>
      <dgm:t>
        <a:bodyPr/>
        <a:lstStyle/>
        <a:p>
          <a:endParaRPr lang="en-IN" sz="1600">
            <a:latin typeface="Century Gothic" panose="020B0502020202020204" pitchFamily="34" charset="0"/>
            <a:cs typeface="Calibri" panose="020F0502020204030204" pitchFamily="34" charset="0"/>
          </a:endParaRPr>
        </a:p>
      </dgm:t>
    </dgm:pt>
    <dgm:pt modelId="{B54657AD-2E8D-4823-93DD-326FD9B9FFF1}">
      <dgm:prSet custT="1"/>
      <dgm:spPr>
        <a:solidFill>
          <a:schemeClr val="accent6">
            <a:lumMod val="60000"/>
            <a:lumOff val="40000"/>
          </a:schemeClr>
        </a:solidFill>
        <a:effectLst>
          <a:outerShdw blurRad="50800" dist="38100" dir="5400000" algn="t" rotWithShape="0">
            <a:prstClr val="black">
              <a:alpha val="40000"/>
            </a:prstClr>
          </a:outerShdw>
        </a:effectLst>
      </dgm:spPr>
      <dgm:t>
        <a:bodyPr/>
        <a:lstStyle/>
        <a:p>
          <a:r>
            <a:rPr lang="en-IN" sz="1600" dirty="0">
              <a:solidFill>
                <a:schemeClr val="tx1"/>
              </a:solidFill>
              <a:latin typeface="Century Gothic" panose="020B0502020202020204" pitchFamily="34" charset="0"/>
              <a:cs typeface="Calibri" panose="020F0502020204030204" pitchFamily="34" charset="0"/>
            </a:rPr>
            <a:t>20’ – 4200 WB</a:t>
          </a:r>
        </a:p>
      </dgm:t>
    </dgm:pt>
    <dgm:pt modelId="{31833211-D528-41E3-8B02-280FA5FC4501}" type="sibTrans" cxnId="{2DE6DB1E-84B0-4A99-B73C-8814AA0A3D70}">
      <dgm:prSet/>
      <dgm:spPr/>
      <dgm:t>
        <a:bodyPr/>
        <a:lstStyle/>
        <a:p>
          <a:endParaRPr lang="en-IN" sz="1600">
            <a:latin typeface="Century Gothic" panose="020B0502020202020204" pitchFamily="34" charset="0"/>
            <a:cs typeface="Calibri" panose="020F0502020204030204" pitchFamily="34" charset="0"/>
          </a:endParaRPr>
        </a:p>
      </dgm:t>
    </dgm:pt>
    <dgm:pt modelId="{0D1B5F04-E396-4234-ACF8-F23BA036F89A}" type="parTrans" cxnId="{2DE6DB1E-84B0-4A99-B73C-8814AA0A3D70}">
      <dgm:prSet/>
      <dgm:spPr>
        <a:ln>
          <a:solidFill>
            <a:schemeClr val="bg2">
              <a:lumMod val="25000"/>
            </a:schemeClr>
          </a:solidFill>
        </a:ln>
      </dgm:spPr>
      <dgm:t>
        <a:bodyPr/>
        <a:lstStyle/>
        <a:p>
          <a:endParaRPr lang="en-IN" sz="1600">
            <a:latin typeface="Century Gothic" panose="020B0502020202020204" pitchFamily="34" charset="0"/>
            <a:cs typeface="Calibri" panose="020F0502020204030204" pitchFamily="34" charset="0"/>
          </a:endParaRPr>
        </a:p>
      </dgm:t>
    </dgm:pt>
    <dgm:pt modelId="{FB89B3C2-2B20-4B66-A9F1-734D3A72F84A}">
      <dgm:prSet custT="1"/>
      <dgm:spPr>
        <a:solidFill>
          <a:schemeClr val="accent6">
            <a:lumMod val="75000"/>
          </a:schemeClr>
        </a:solidFill>
        <a:effectLst>
          <a:outerShdw blurRad="50800" dist="38100" dir="5400000" algn="t" rotWithShape="0">
            <a:prstClr val="black">
              <a:alpha val="40000"/>
            </a:prstClr>
          </a:outerShdw>
        </a:effectLst>
      </dgm:spPr>
      <dgm:t>
        <a:bodyPr/>
        <a:lstStyle/>
        <a:p>
          <a:r>
            <a:rPr lang="en-IN" sz="1600" dirty="0">
              <a:latin typeface="Century Gothic" panose="020B0502020202020204" pitchFamily="34" charset="0"/>
              <a:cs typeface="Calibri" panose="020F0502020204030204" pitchFamily="34" charset="0"/>
            </a:rPr>
            <a:t>22’ – 4750 WB</a:t>
          </a:r>
        </a:p>
      </dgm:t>
    </dgm:pt>
    <dgm:pt modelId="{AD263A0B-F574-4F8B-A6EC-1A7B2FE63485}" type="sibTrans" cxnId="{52E530C4-F462-4A6D-9E8E-B52D8958BFAB}">
      <dgm:prSet/>
      <dgm:spPr/>
      <dgm:t>
        <a:bodyPr/>
        <a:lstStyle/>
        <a:p>
          <a:endParaRPr lang="en-IN" sz="1600">
            <a:latin typeface="Century Gothic" panose="020B0502020202020204" pitchFamily="34" charset="0"/>
            <a:cs typeface="Calibri" panose="020F0502020204030204" pitchFamily="34" charset="0"/>
          </a:endParaRPr>
        </a:p>
      </dgm:t>
    </dgm:pt>
    <dgm:pt modelId="{35CD9E49-CDE1-47E7-BA7B-EF6865B55C24}" type="parTrans" cxnId="{52E530C4-F462-4A6D-9E8E-B52D8958BFAB}">
      <dgm:prSet/>
      <dgm:spPr>
        <a:ln>
          <a:solidFill>
            <a:schemeClr val="bg2">
              <a:lumMod val="25000"/>
            </a:schemeClr>
          </a:solidFill>
        </a:ln>
      </dgm:spPr>
      <dgm:t>
        <a:bodyPr/>
        <a:lstStyle/>
        <a:p>
          <a:endParaRPr lang="en-IN" sz="1600">
            <a:latin typeface="Century Gothic" panose="020B0502020202020204" pitchFamily="34" charset="0"/>
            <a:cs typeface="Calibri" panose="020F0502020204030204" pitchFamily="34" charset="0"/>
          </a:endParaRPr>
        </a:p>
      </dgm:t>
    </dgm:pt>
    <dgm:pt modelId="{6615097A-3035-46E9-81BA-0A1223D8BC96}">
      <dgm:prSet custT="1"/>
      <dgm:spPr>
        <a:solidFill>
          <a:schemeClr val="accent6">
            <a:lumMod val="60000"/>
            <a:lumOff val="40000"/>
          </a:schemeClr>
        </a:solidFill>
        <a:effectLst>
          <a:outerShdw blurRad="50800" dist="38100" dir="5400000" algn="t" rotWithShape="0">
            <a:prstClr val="black">
              <a:alpha val="40000"/>
            </a:prstClr>
          </a:outerShdw>
        </a:effectLst>
      </dgm:spPr>
      <dgm:t>
        <a:bodyPr/>
        <a:lstStyle/>
        <a:p>
          <a:r>
            <a:rPr lang="en-IN" sz="1600" dirty="0">
              <a:solidFill>
                <a:schemeClr val="tx1"/>
              </a:solidFill>
              <a:latin typeface="Century Gothic" panose="020B0502020202020204" pitchFamily="34" charset="0"/>
              <a:cs typeface="Calibri" panose="020F0502020204030204" pitchFamily="34" charset="0"/>
            </a:rPr>
            <a:t>24’ – 5200 WB</a:t>
          </a:r>
        </a:p>
      </dgm:t>
    </dgm:pt>
    <dgm:pt modelId="{85827EEF-B65E-4210-BFAE-841A88F77A0B}" type="sibTrans" cxnId="{1F5791B8-B3C1-49CF-9501-9506E9010AA9}">
      <dgm:prSet/>
      <dgm:spPr/>
      <dgm:t>
        <a:bodyPr/>
        <a:lstStyle/>
        <a:p>
          <a:endParaRPr lang="en-IN" sz="1600">
            <a:latin typeface="Century Gothic" panose="020B0502020202020204" pitchFamily="34" charset="0"/>
            <a:cs typeface="Calibri" panose="020F0502020204030204" pitchFamily="34" charset="0"/>
          </a:endParaRPr>
        </a:p>
      </dgm:t>
    </dgm:pt>
    <dgm:pt modelId="{A9A7B73E-0C84-4478-BA64-63C0B5D8F50D}" type="parTrans" cxnId="{1F5791B8-B3C1-49CF-9501-9506E9010AA9}">
      <dgm:prSet/>
      <dgm:spPr>
        <a:ln>
          <a:solidFill>
            <a:schemeClr val="bg2">
              <a:lumMod val="25000"/>
            </a:schemeClr>
          </a:solidFill>
        </a:ln>
      </dgm:spPr>
      <dgm:t>
        <a:bodyPr/>
        <a:lstStyle/>
        <a:p>
          <a:endParaRPr lang="en-IN" sz="1600">
            <a:latin typeface="Century Gothic" panose="020B0502020202020204" pitchFamily="34" charset="0"/>
            <a:cs typeface="Calibri" panose="020F0502020204030204" pitchFamily="34" charset="0"/>
          </a:endParaRPr>
        </a:p>
      </dgm:t>
    </dgm:pt>
    <dgm:pt modelId="{48D67E2C-DD93-4011-9DA7-B47FF54FB2F3}" type="pres">
      <dgm:prSet presAssocID="{028319DE-6729-4F63-B3CC-DC25855D337F}" presName="hierChild1" presStyleCnt="0">
        <dgm:presLayoutVars>
          <dgm:orgChart val="1"/>
          <dgm:chPref val="1"/>
          <dgm:dir/>
          <dgm:animOne val="branch"/>
          <dgm:animLvl val="lvl"/>
          <dgm:resizeHandles/>
        </dgm:presLayoutVars>
      </dgm:prSet>
      <dgm:spPr/>
    </dgm:pt>
    <dgm:pt modelId="{0E4E3522-5C61-476D-96A4-E04E03D11441}" type="pres">
      <dgm:prSet presAssocID="{E38B1CA5-4BC2-4520-8E1B-6F162A2F8AB5}" presName="hierRoot1" presStyleCnt="0">
        <dgm:presLayoutVars>
          <dgm:hierBranch val="init"/>
        </dgm:presLayoutVars>
      </dgm:prSet>
      <dgm:spPr/>
    </dgm:pt>
    <dgm:pt modelId="{4EE49220-33AA-4F5F-85B0-69A921CA940A}" type="pres">
      <dgm:prSet presAssocID="{E38B1CA5-4BC2-4520-8E1B-6F162A2F8AB5}" presName="rootComposite1" presStyleCnt="0"/>
      <dgm:spPr/>
    </dgm:pt>
    <dgm:pt modelId="{4EF83B75-9158-43A7-BAEF-B19F07FDB950}" type="pres">
      <dgm:prSet presAssocID="{E38B1CA5-4BC2-4520-8E1B-6F162A2F8AB5}" presName="rootText1" presStyleLbl="node0" presStyleIdx="0" presStyleCnt="1" custScaleX="175419">
        <dgm:presLayoutVars>
          <dgm:chPref val="3"/>
        </dgm:presLayoutVars>
      </dgm:prSet>
      <dgm:spPr/>
    </dgm:pt>
    <dgm:pt modelId="{03002940-FA7A-477D-BED0-131E8033E02E}" type="pres">
      <dgm:prSet presAssocID="{E38B1CA5-4BC2-4520-8E1B-6F162A2F8AB5}" presName="rootConnector1" presStyleLbl="node1" presStyleIdx="0" presStyleCnt="0"/>
      <dgm:spPr/>
    </dgm:pt>
    <dgm:pt modelId="{CA822035-7BEB-447D-9F46-140D33B8AEDF}" type="pres">
      <dgm:prSet presAssocID="{E38B1CA5-4BC2-4520-8E1B-6F162A2F8AB5}" presName="hierChild2" presStyleCnt="0"/>
      <dgm:spPr/>
    </dgm:pt>
    <dgm:pt modelId="{2FD0F99C-3B2B-40E8-A227-F4E01839F4ED}" type="pres">
      <dgm:prSet presAssocID="{34CCF529-7DA1-4B47-8158-6837921DB000}" presName="Name37" presStyleLbl="parChTrans1D2" presStyleIdx="0" presStyleCnt="3"/>
      <dgm:spPr/>
    </dgm:pt>
    <dgm:pt modelId="{D739ABDF-C65D-4533-BB00-DC30B3F4530B}" type="pres">
      <dgm:prSet presAssocID="{6FAC41FE-31ED-4BA3-93BD-7FB974E6784A}" presName="hierRoot2" presStyleCnt="0">
        <dgm:presLayoutVars>
          <dgm:hierBranch val="init"/>
        </dgm:presLayoutVars>
      </dgm:prSet>
      <dgm:spPr/>
    </dgm:pt>
    <dgm:pt modelId="{8D4999B4-2529-475A-B4E6-83D59777EF71}" type="pres">
      <dgm:prSet presAssocID="{6FAC41FE-31ED-4BA3-93BD-7FB974E6784A}" presName="rootComposite" presStyleCnt="0"/>
      <dgm:spPr/>
    </dgm:pt>
    <dgm:pt modelId="{52218C76-1E89-408B-A563-BDB10982DBF3}" type="pres">
      <dgm:prSet presAssocID="{6FAC41FE-31ED-4BA3-93BD-7FB974E6784A}" presName="rootText" presStyleLbl="node2" presStyleIdx="0" presStyleCnt="3">
        <dgm:presLayoutVars>
          <dgm:chPref val="3"/>
        </dgm:presLayoutVars>
      </dgm:prSet>
      <dgm:spPr/>
    </dgm:pt>
    <dgm:pt modelId="{D339BDCB-9BE8-4260-8774-015651B6B4E6}" type="pres">
      <dgm:prSet presAssocID="{6FAC41FE-31ED-4BA3-93BD-7FB974E6784A}" presName="rootConnector" presStyleLbl="node2" presStyleIdx="0" presStyleCnt="3"/>
      <dgm:spPr/>
    </dgm:pt>
    <dgm:pt modelId="{D1292E50-4411-442E-B239-AE35C5EBFC66}" type="pres">
      <dgm:prSet presAssocID="{6FAC41FE-31ED-4BA3-93BD-7FB974E6784A}" presName="hierChild4" presStyleCnt="0"/>
      <dgm:spPr/>
    </dgm:pt>
    <dgm:pt modelId="{CCA79C15-712E-48E2-A6CA-EE32F1D92AD3}" type="pres">
      <dgm:prSet presAssocID="{74188EBA-0084-4561-8B14-4AF22763D6ED}" presName="Name37" presStyleLbl="parChTrans1D3" presStyleIdx="0" presStyleCnt="11"/>
      <dgm:spPr/>
    </dgm:pt>
    <dgm:pt modelId="{A15F215A-E6F8-45E3-B6E8-F1DC2EE04D48}" type="pres">
      <dgm:prSet presAssocID="{3579D454-CA8D-4708-82B6-8706E6A6E4CB}" presName="hierRoot2" presStyleCnt="0">
        <dgm:presLayoutVars>
          <dgm:hierBranch val="init"/>
        </dgm:presLayoutVars>
      </dgm:prSet>
      <dgm:spPr/>
    </dgm:pt>
    <dgm:pt modelId="{376AC177-CA38-42FD-ACDA-18DEEA7C9F8F}" type="pres">
      <dgm:prSet presAssocID="{3579D454-CA8D-4708-82B6-8706E6A6E4CB}" presName="rootComposite" presStyleCnt="0"/>
      <dgm:spPr/>
    </dgm:pt>
    <dgm:pt modelId="{6CDB4180-BD35-4432-91DF-E5E894A4E501}" type="pres">
      <dgm:prSet presAssocID="{3579D454-CA8D-4708-82B6-8706E6A6E4CB}" presName="rootText" presStyleLbl="node3" presStyleIdx="0" presStyleCnt="11">
        <dgm:presLayoutVars>
          <dgm:chPref val="3"/>
        </dgm:presLayoutVars>
      </dgm:prSet>
      <dgm:spPr/>
    </dgm:pt>
    <dgm:pt modelId="{A45A3892-0A82-4BBD-9FF9-F02426F7E86A}" type="pres">
      <dgm:prSet presAssocID="{3579D454-CA8D-4708-82B6-8706E6A6E4CB}" presName="rootConnector" presStyleLbl="node3" presStyleIdx="0" presStyleCnt="11"/>
      <dgm:spPr/>
    </dgm:pt>
    <dgm:pt modelId="{49973CCF-8868-4E74-83A2-B17243FDFA71}" type="pres">
      <dgm:prSet presAssocID="{3579D454-CA8D-4708-82B6-8706E6A6E4CB}" presName="hierChild4" presStyleCnt="0"/>
      <dgm:spPr/>
    </dgm:pt>
    <dgm:pt modelId="{8C7DB405-5CAE-4CB4-8412-F12F98668571}" type="pres">
      <dgm:prSet presAssocID="{3579D454-CA8D-4708-82B6-8706E6A6E4CB}" presName="hierChild5" presStyleCnt="0"/>
      <dgm:spPr/>
    </dgm:pt>
    <dgm:pt modelId="{2AA77337-0DDA-4EE3-9FC3-7CAC538999B2}" type="pres">
      <dgm:prSet presAssocID="{1F9A9AD6-BE7C-4D38-A8F4-BBFC448934EB}" presName="Name37" presStyleLbl="parChTrans1D3" presStyleIdx="1" presStyleCnt="11"/>
      <dgm:spPr/>
    </dgm:pt>
    <dgm:pt modelId="{18A6AE19-F699-4329-8544-577882CB4C61}" type="pres">
      <dgm:prSet presAssocID="{EA938781-D580-47E6-ADCF-1FD88FD74000}" presName="hierRoot2" presStyleCnt="0">
        <dgm:presLayoutVars>
          <dgm:hierBranch val="init"/>
        </dgm:presLayoutVars>
      </dgm:prSet>
      <dgm:spPr/>
    </dgm:pt>
    <dgm:pt modelId="{BA6573F0-41DE-452F-AEA8-321C1DFA2F65}" type="pres">
      <dgm:prSet presAssocID="{EA938781-D580-47E6-ADCF-1FD88FD74000}" presName="rootComposite" presStyleCnt="0"/>
      <dgm:spPr/>
    </dgm:pt>
    <dgm:pt modelId="{DFEC2F2B-3A93-401C-9580-C6EB2514E836}" type="pres">
      <dgm:prSet presAssocID="{EA938781-D580-47E6-ADCF-1FD88FD74000}" presName="rootText" presStyleLbl="node3" presStyleIdx="1" presStyleCnt="11">
        <dgm:presLayoutVars>
          <dgm:chPref val="3"/>
        </dgm:presLayoutVars>
      </dgm:prSet>
      <dgm:spPr/>
    </dgm:pt>
    <dgm:pt modelId="{689FC13C-0249-4BEE-BE5E-0379E2127972}" type="pres">
      <dgm:prSet presAssocID="{EA938781-D580-47E6-ADCF-1FD88FD74000}" presName="rootConnector" presStyleLbl="node3" presStyleIdx="1" presStyleCnt="11"/>
      <dgm:spPr/>
    </dgm:pt>
    <dgm:pt modelId="{2FB595E3-6AF1-41A4-B5A3-B024D8C7670B}" type="pres">
      <dgm:prSet presAssocID="{EA938781-D580-47E6-ADCF-1FD88FD74000}" presName="hierChild4" presStyleCnt="0"/>
      <dgm:spPr/>
    </dgm:pt>
    <dgm:pt modelId="{249FB124-5DE4-4041-8C36-D0CF2F5C5A7E}" type="pres">
      <dgm:prSet presAssocID="{EA938781-D580-47E6-ADCF-1FD88FD74000}" presName="hierChild5" presStyleCnt="0"/>
      <dgm:spPr/>
    </dgm:pt>
    <dgm:pt modelId="{DB0D58DD-FABF-430D-8C8E-6D86D9168413}" type="pres">
      <dgm:prSet presAssocID="{B114371E-5F54-4600-A11E-58C623E439A5}" presName="Name37" presStyleLbl="parChTrans1D3" presStyleIdx="2" presStyleCnt="11"/>
      <dgm:spPr/>
    </dgm:pt>
    <dgm:pt modelId="{BE99CD53-A2D4-4846-B320-58E364B28AAD}" type="pres">
      <dgm:prSet presAssocID="{1AA8EA4D-E9B7-41C1-AB26-B5B875E5ED8D}" presName="hierRoot2" presStyleCnt="0">
        <dgm:presLayoutVars>
          <dgm:hierBranch val="init"/>
        </dgm:presLayoutVars>
      </dgm:prSet>
      <dgm:spPr/>
    </dgm:pt>
    <dgm:pt modelId="{C4EF5016-5DA8-4500-85FF-B346CC8C68F8}" type="pres">
      <dgm:prSet presAssocID="{1AA8EA4D-E9B7-41C1-AB26-B5B875E5ED8D}" presName="rootComposite" presStyleCnt="0"/>
      <dgm:spPr/>
    </dgm:pt>
    <dgm:pt modelId="{E43CC8B8-E901-444D-BE3E-EC3CFCFCC1E3}" type="pres">
      <dgm:prSet presAssocID="{1AA8EA4D-E9B7-41C1-AB26-B5B875E5ED8D}" presName="rootText" presStyleLbl="node3" presStyleIdx="2" presStyleCnt="11">
        <dgm:presLayoutVars>
          <dgm:chPref val="3"/>
        </dgm:presLayoutVars>
      </dgm:prSet>
      <dgm:spPr/>
    </dgm:pt>
    <dgm:pt modelId="{8FFDE2CC-18F1-4B0F-89EB-FDA815C9C038}" type="pres">
      <dgm:prSet presAssocID="{1AA8EA4D-E9B7-41C1-AB26-B5B875E5ED8D}" presName="rootConnector" presStyleLbl="node3" presStyleIdx="2" presStyleCnt="11"/>
      <dgm:spPr/>
    </dgm:pt>
    <dgm:pt modelId="{54ED655A-1B1A-4BE8-9C2C-6AE957F6431C}" type="pres">
      <dgm:prSet presAssocID="{1AA8EA4D-E9B7-41C1-AB26-B5B875E5ED8D}" presName="hierChild4" presStyleCnt="0"/>
      <dgm:spPr/>
    </dgm:pt>
    <dgm:pt modelId="{71448BBA-1650-4B0F-9055-43D1575D618B}" type="pres">
      <dgm:prSet presAssocID="{1AA8EA4D-E9B7-41C1-AB26-B5B875E5ED8D}" presName="hierChild5" presStyleCnt="0"/>
      <dgm:spPr/>
    </dgm:pt>
    <dgm:pt modelId="{9D065D10-0074-4CD3-A7F3-FB8A80EAF913}" type="pres">
      <dgm:prSet presAssocID="{6FAC41FE-31ED-4BA3-93BD-7FB974E6784A}" presName="hierChild5" presStyleCnt="0"/>
      <dgm:spPr/>
    </dgm:pt>
    <dgm:pt modelId="{D0B75A22-3D72-4C2A-904C-17F060D50799}" type="pres">
      <dgm:prSet presAssocID="{EFDDD1CC-27FD-40B2-8549-4ADAC18C12E4}" presName="Name37" presStyleLbl="parChTrans1D2" presStyleIdx="1" presStyleCnt="3"/>
      <dgm:spPr/>
    </dgm:pt>
    <dgm:pt modelId="{35D6DEA2-8CDB-45B0-9440-6FED41772516}" type="pres">
      <dgm:prSet presAssocID="{73B4EDEB-B342-4A40-BB8F-A9BD60E4CC93}" presName="hierRoot2" presStyleCnt="0">
        <dgm:presLayoutVars>
          <dgm:hierBranch val="init"/>
        </dgm:presLayoutVars>
      </dgm:prSet>
      <dgm:spPr/>
    </dgm:pt>
    <dgm:pt modelId="{A7251ABA-B07C-465C-ADA8-149650302545}" type="pres">
      <dgm:prSet presAssocID="{73B4EDEB-B342-4A40-BB8F-A9BD60E4CC93}" presName="rootComposite" presStyleCnt="0"/>
      <dgm:spPr/>
    </dgm:pt>
    <dgm:pt modelId="{591808E9-BA4A-4F46-8A43-4F02198286F8}" type="pres">
      <dgm:prSet presAssocID="{73B4EDEB-B342-4A40-BB8F-A9BD60E4CC93}" presName="rootText" presStyleLbl="node2" presStyleIdx="1" presStyleCnt="3">
        <dgm:presLayoutVars>
          <dgm:chPref val="3"/>
        </dgm:presLayoutVars>
      </dgm:prSet>
      <dgm:spPr/>
    </dgm:pt>
    <dgm:pt modelId="{E6DB5683-914E-4C59-BB98-507F65E8963E}" type="pres">
      <dgm:prSet presAssocID="{73B4EDEB-B342-4A40-BB8F-A9BD60E4CC93}" presName="rootConnector" presStyleLbl="node2" presStyleIdx="1" presStyleCnt="3"/>
      <dgm:spPr/>
    </dgm:pt>
    <dgm:pt modelId="{52A97A38-06F9-4F37-AFC1-8EE84E39125B}" type="pres">
      <dgm:prSet presAssocID="{73B4EDEB-B342-4A40-BB8F-A9BD60E4CC93}" presName="hierChild4" presStyleCnt="0"/>
      <dgm:spPr/>
    </dgm:pt>
    <dgm:pt modelId="{2F26A465-879D-406D-912D-12A156B2E726}" type="pres">
      <dgm:prSet presAssocID="{9338652A-7095-40B7-A210-DE28A12286DB}" presName="Name37" presStyleLbl="parChTrans1D3" presStyleIdx="3" presStyleCnt="11"/>
      <dgm:spPr/>
    </dgm:pt>
    <dgm:pt modelId="{CC9E181D-B393-48DD-B007-177DE8C0DA05}" type="pres">
      <dgm:prSet presAssocID="{CC5CD078-B740-44A9-AC9D-80501AB04FDE}" presName="hierRoot2" presStyleCnt="0">
        <dgm:presLayoutVars>
          <dgm:hierBranch val="init"/>
        </dgm:presLayoutVars>
      </dgm:prSet>
      <dgm:spPr/>
    </dgm:pt>
    <dgm:pt modelId="{D764B984-8D31-48AA-A1F4-112FACC28034}" type="pres">
      <dgm:prSet presAssocID="{CC5CD078-B740-44A9-AC9D-80501AB04FDE}" presName="rootComposite" presStyleCnt="0"/>
      <dgm:spPr/>
    </dgm:pt>
    <dgm:pt modelId="{4BBB7BDB-2626-49B8-9C45-F860E158693F}" type="pres">
      <dgm:prSet presAssocID="{CC5CD078-B740-44A9-AC9D-80501AB04FDE}" presName="rootText" presStyleLbl="node3" presStyleIdx="3" presStyleCnt="11">
        <dgm:presLayoutVars>
          <dgm:chPref val="3"/>
        </dgm:presLayoutVars>
      </dgm:prSet>
      <dgm:spPr/>
    </dgm:pt>
    <dgm:pt modelId="{2203A6F2-E9E7-4998-B1B6-F1004FD1D177}" type="pres">
      <dgm:prSet presAssocID="{CC5CD078-B740-44A9-AC9D-80501AB04FDE}" presName="rootConnector" presStyleLbl="node3" presStyleIdx="3" presStyleCnt="11"/>
      <dgm:spPr/>
    </dgm:pt>
    <dgm:pt modelId="{0512D519-A229-4848-9580-CEB7E683E896}" type="pres">
      <dgm:prSet presAssocID="{CC5CD078-B740-44A9-AC9D-80501AB04FDE}" presName="hierChild4" presStyleCnt="0"/>
      <dgm:spPr/>
    </dgm:pt>
    <dgm:pt modelId="{A41165A3-CDC2-471B-9D71-3E4A53438029}" type="pres">
      <dgm:prSet presAssocID="{CC5CD078-B740-44A9-AC9D-80501AB04FDE}" presName="hierChild5" presStyleCnt="0"/>
      <dgm:spPr/>
    </dgm:pt>
    <dgm:pt modelId="{4BD747F0-74C1-4FD2-9B29-3DDB6A43336C}" type="pres">
      <dgm:prSet presAssocID="{969DBA26-5196-4601-9589-4426A7C79563}" presName="Name37" presStyleLbl="parChTrans1D3" presStyleIdx="4" presStyleCnt="11"/>
      <dgm:spPr/>
    </dgm:pt>
    <dgm:pt modelId="{50C4C4AA-B0B8-4BFE-8356-EFDD4DE9C1A7}" type="pres">
      <dgm:prSet presAssocID="{6A48F2F6-5742-4B5D-8A8A-B75F030BFF98}" presName="hierRoot2" presStyleCnt="0">
        <dgm:presLayoutVars>
          <dgm:hierBranch val="init"/>
        </dgm:presLayoutVars>
      </dgm:prSet>
      <dgm:spPr/>
    </dgm:pt>
    <dgm:pt modelId="{A4891A10-9621-4BAD-846E-FB6831ED7260}" type="pres">
      <dgm:prSet presAssocID="{6A48F2F6-5742-4B5D-8A8A-B75F030BFF98}" presName="rootComposite" presStyleCnt="0"/>
      <dgm:spPr/>
    </dgm:pt>
    <dgm:pt modelId="{2E3C9156-8889-45FF-9EB8-0E518B438EFB}" type="pres">
      <dgm:prSet presAssocID="{6A48F2F6-5742-4B5D-8A8A-B75F030BFF98}" presName="rootText" presStyleLbl="node3" presStyleIdx="4" presStyleCnt="11">
        <dgm:presLayoutVars>
          <dgm:chPref val="3"/>
        </dgm:presLayoutVars>
      </dgm:prSet>
      <dgm:spPr/>
    </dgm:pt>
    <dgm:pt modelId="{EEC794DB-5729-4BAD-9191-B265780BEDBF}" type="pres">
      <dgm:prSet presAssocID="{6A48F2F6-5742-4B5D-8A8A-B75F030BFF98}" presName="rootConnector" presStyleLbl="node3" presStyleIdx="4" presStyleCnt="11"/>
      <dgm:spPr/>
    </dgm:pt>
    <dgm:pt modelId="{DAF1C916-D917-4C9F-B26B-A33C13AF0855}" type="pres">
      <dgm:prSet presAssocID="{6A48F2F6-5742-4B5D-8A8A-B75F030BFF98}" presName="hierChild4" presStyleCnt="0"/>
      <dgm:spPr/>
    </dgm:pt>
    <dgm:pt modelId="{7EC8F7B9-4E20-4474-A3AD-AD14E852AD58}" type="pres">
      <dgm:prSet presAssocID="{6A48F2F6-5742-4B5D-8A8A-B75F030BFF98}" presName="hierChild5" presStyleCnt="0"/>
      <dgm:spPr/>
    </dgm:pt>
    <dgm:pt modelId="{BB7F919D-FE48-47EC-8324-CA8735E98438}" type="pres">
      <dgm:prSet presAssocID="{632450AE-6EC2-447D-9053-7D67E33ED3BF}" presName="Name37" presStyleLbl="parChTrans1D3" presStyleIdx="5" presStyleCnt="11"/>
      <dgm:spPr/>
    </dgm:pt>
    <dgm:pt modelId="{42341E44-5565-4F45-AC41-F363D85E9AFC}" type="pres">
      <dgm:prSet presAssocID="{3EF0C92C-F904-4933-8D6E-4B3A974FC6ED}" presName="hierRoot2" presStyleCnt="0">
        <dgm:presLayoutVars>
          <dgm:hierBranch val="init"/>
        </dgm:presLayoutVars>
      </dgm:prSet>
      <dgm:spPr/>
    </dgm:pt>
    <dgm:pt modelId="{93607473-A924-433A-9122-7C6ED1C87952}" type="pres">
      <dgm:prSet presAssocID="{3EF0C92C-F904-4933-8D6E-4B3A974FC6ED}" presName="rootComposite" presStyleCnt="0"/>
      <dgm:spPr/>
    </dgm:pt>
    <dgm:pt modelId="{74E4902C-B9CE-4560-9E7B-7441B48EE5C3}" type="pres">
      <dgm:prSet presAssocID="{3EF0C92C-F904-4933-8D6E-4B3A974FC6ED}" presName="rootText" presStyleLbl="node3" presStyleIdx="5" presStyleCnt="11">
        <dgm:presLayoutVars>
          <dgm:chPref val="3"/>
        </dgm:presLayoutVars>
      </dgm:prSet>
      <dgm:spPr/>
    </dgm:pt>
    <dgm:pt modelId="{C5DA8EF8-4F53-43DE-9DAA-190B5AC7B38C}" type="pres">
      <dgm:prSet presAssocID="{3EF0C92C-F904-4933-8D6E-4B3A974FC6ED}" presName="rootConnector" presStyleLbl="node3" presStyleIdx="5" presStyleCnt="11"/>
      <dgm:spPr/>
    </dgm:pt>
    <dgm:pt modelId="{CA88D517-5A95-45E9-B75D-60FF529FEC3C}" type="pres">
      <dgm:prSet presAssocID="{3EF0C92C-F904-4933-8D6E-4B3A974FC6ED}" presName="hierChild4" presStyleCnt="0"/>
      <dgm:spPr/>
    </dgm:pt>
    <dgm:pt modelId="{606AFB84-57A0-4B37-9A07-740822499447}" type="pres">
      <dgm:prSet presAssocID="{3EF0C92C-F904-4933-8D6E-4B3A974FC6ED}" presName="hierChild5" presStyleCnt="0"/>
      <dgm:spPr/>
    </dgm:pt>
    <dgm:pt modelId="{A0BEA156-ECCF-4239-A317-73625B1E1342}" type="pres">
      <dgm:prSet presAssocID="{6B3C2D56-FD3F-42D7-909B-94932A02B089}" presName="Name37" presStyleLbl="parChTrans1D3" presStyleIdx="6" presStyleCnt="11"/>
      <dgm:spPr/>
    </dgm:pt>
    <dgm:pt modelId="{0DC96522-3668-4255-98E6-5BD38BD3302E}" type="pres">
      <dgm:prSet presAssocID="{B706C405-5E5E-45F5-9BB0-54944FBF51BB}" presName="hierRoot2" presStyleCnt="0">
        <dgm:presLayoutVars>
          <dgm:hierBranch val="init"/>
        </dgm:presLayoutVars>
      </dgm:prSet>
      <dgm:spPr/>
    </dgm:pt>
    <dgm:pt modelId="{26D300DB-E46C-4030-A997-47DF2EF18E19}" type="pres">
      <dgm:prSet presAssocID="{B706C405-5E5E-45F5-9BB0-54944FBF51BB}" presName="rootComposite" presStyleCnt="0"/>
      <dgm:spPr/>
    </dgm:pt>
    <dgm:pt modelId="{237F3405-A2B9-49BC-909A-C59170F37284}" type="pres">
      <dgm:prSet presAssocID="{B706C405-5E5E-45F5-9BB0-54944FBF51BB}" presName="rootText" presStyleLbl="node3" presStyleIdx="6" presStyleCnt="11">
        <dgm:presLayoutVars>
          <dgm:chPref val="3"/>
        </dgm:presLayoutVars>
      </dgm:prSet>
      <dgm:spPr>
        <a:xfrm>
          <a:off x="6854919" y="5400913"/>
          <a:ext cx="950738" cy="475369"/>
        </a:xfrm>
        <a:prstGeom prst="rect">
          <a:avLst/>
        </a:prstGeom>
      </dgm:spPr>
    </dgm:pt>
    <dgm:pt modelId="{1D253BC7-DCC8-4E3A-B459-392177C33DAC}" type="pres">
      <dgm:prSet presAssocID="{B706C405-5E5E-45F5-9BB0-54944FBF51BB}" presName="rootConnector" presStyleLbl="node3" presStyleIdx="6" presStyleCnt="11"/>
      <dgm:spPr/>
    </dgm:pt>
    <dgm:pt modelId="{D77138C9-B93C-4508-9EFC-B6B9A6887162}" type="pres">
      <dgm:prSet presAssocID="{B706C405-5E5E-45F5-9BB0-54944FBF51BB}" presName="hierChild4" presStyleCnt="0"/>
      <dgm:spPr/>
    </dgm:pt>
    <dgm:pt modelId="{13B4496F-3F6C-4A58-BBEC-FA7E2B2E344C}" type="pres">
      <dgm:prSet presAssocID="{B706C405-5E5E-45F5-9BB0-54944FBF51BB}" presName="hierChild5" presStyleCnt="0"/>
      <dgm:spPr/>
    </dgm:pt>
    <dgm:pt modelId="{B7603629-13D7-4A09-AD37-801962CFE87C}" type="pres">
      <dgm:prSet presAssocID="{73B4EDEB-B342-4A40-BB8F-A9BD60E4CC93}" presName="hierChild5" presStyleCnt="0"/>
      <dgm:spPr/>
    </dgm:pt>
    <dgm:pt modelId="{91E5345A-8EDC-46D8-A550-F15570D5FE34}" type="pres">
      <dgm:prSet presAssocID="{E342C92F-E49D-4D40-BEA7-8DDA3D7EFAAF}" presName="Name37" presStyleLbl="parChTrans1D2" presStyleIdx="2" presStyleCnt="3"/>
      <dgm:spPr/>
    </dgm:pt>
    <dgm:pt modelId="{42B3B942-8319-45C5-8E2E-485805502891}" type="pres">
      <dgm:prSet presAssocID="{AF22B52D-E12A-4FE0-A026-D03A63D5B14D}" presName="hierRoot2" presStyleCnt="0">
        <dgm:presLayoutVars>
          <dgm:hierBranch val="init"/>
        </dgm:presLayoutVars>
      </dgm:prSet>
      <dgm:spPr/>
    </dgm:pt>
    <dgm:pt modelId="{3E591267-2AB3-43D2-859E-1971E902BFBC}" type="pres">
      <dgm:prSet presAssocID="{AF22B52D-E12A-4FE0-A026-D03A63D5B14D}" presName="rootComposite" presStyleCnt="0"/>
      <dgm:spPr/>
    </dgm:pt>
    <dgm:pt modelId="{91D18BC6-84A8-46F6-AACA-66A51F65B7C7}" type="pres">
      <dgm:prSet presAssocID="{AF22B52D-E12A-4FE0-A026-D03A63D5B14D}" presName="rootText" presStyleLbl="node2" presStyleIdx="2" presStyleCnt="3">
        <dgm:presLayoutVars>
          <dgm:chPref val="3"/>
        </dgm:presLayoutVars>
      </dgm:prSet>
      <dgm:spPr/>
    </dgm:pt>
    <dgm:pt modelId="{93E42B49-767C-4CB6-ABA0-596F61737D83}" type="pres">
      <dgm:prSet presAssocID="{AF22B52D-E12A-4FE0-A026-D03A63D5B14D}" presName="rootConnector" presStyleLbl="node2" presStyleIdx="2" presStyleCnt="3"/>
      <dgm:spPr/>
    </dgm:pt>
    <dgm:pt modelId="{FBAF0FFD-7C5C-414A-9331-0B607E98E593}" type="pres">
      <dgm:prSet presAssocID="{AF22B52D-E12A-4FE0-A026-D03A63D5B14D}" presName="hierChild4" presStyleCnt="0"/>
      <dgm:spPr/>
    </dgm:pt>
    <dgm:pt modelId="{9D2B0197-98A0-4B10-86A0-B7C061E13047}" type="pres">
      <dgm:prSet presAssocID="{94DB319B-C0F6-4F07-A0A3-5B14C3D75082}" presName="Name37" presStyleLbl="parChTrans1D3" presStyleIdx="7" presStyleCnt="11"/>
      <dgm:spPr/>
    </dgm:pt>
    <dgm:pt modelId="{DEFBF53A-22F0-4CD7-BAC2-EF32346DE785}" type="pres">
      <dgm:prSet presAssocID="{B3C11583-361F-4B96-8A71-B92A81E22211}" presName="hierRoot2" presStyleCnt="0">
        <dgm:presLayoutVars>
          <dgm:hierBranch val="init"/>
        </dgm:presLayoutVars>
      </dgm:prSet>
      <dgm:spPr/>
    </dgm:pt>
    <dgm:pt modelId="{633C8836-DA09-40A1-8671-98F12904E3E4}" type="pres">
      <dgm:prSet presAssocID="{B3C11583-361F-4B96-8A71-B92A81E22211}" presName="rootComposite" presStyleCnt="0"/>
      <dgm:spPr/>
    </dgm:pt>
    <dgm:pt modelId="{3A3B1FA7-5701-43A7-866E-BDB6D4EFED63}" type="pres">
      <dgm:prSet presAssocID="{B3C11583-361F-4B96-8A71-B92A81E22211}" presName="rootText" presStyleLbl="node3" presStyleIdx="7" presStyleCnt="11">
        <dgm:presLayoutVars>
          <dgm:chPref val="3"/>
        </dgm:presLayoutVars>
      </dgm:prSet>
      <dgm:spPr/>
    </dgm:pt>
    <dgm:pt modelId="{53B40C02-8788-48E4-90D8-C4B30F0558A0}" type="pres">
      <dgm:prSet presAssocID="{B3C11583-361F-4B96-8A71-B92A81E22211}" presName="rootConnector" presStyleLbl="node3" presStyleIdx="7" presStyleCnt="11"/>
      <dgm:spPr/>
    </dgm:pt>
    <dgm:pt modelId="{378B0773-4FC7-4A53-93A8-C8F3AC1ECF33}" type="pres">
      <dgm:prSet presAssocID="{B3C11583-361F-4B96-8A71-B92A81E22211}" presName="hierChild4" presStyleCnt="0"/>
      <dgm:spPr/>
    </dgm:pt>
    <dgm:pt modelId="{A0D94B40-7342-49BE-836E-F6AD94487F24}" type="pres">
      <dgm:prSet presAssocID="{B3C11583-361F-4B96-8A71-B92A81E22211}" presName="hierChild5" presStyleCnt="0"/>
      <dgm:spPr/>
    </dgm:pt>
    <dgm:pt modelId="{76723A5C-B773-402D-A371-2FAEEA6EEFD6}" type="pres">
      <dgm:prSet presAssocID="{0D1B5F04-E396-4234-ACF8-F23BA036F89A}" presName="Name37" presStyleLbl="parChTrans1D3" presStyleIdx="8" presStyleCnt="11"/>
      <dgm:spPr/>
    </dgm:pt>
    <dgm:pt modelId="{329F48F6-5D41-4E0A-A06E-EA68FA0B4E3D}" type="pres">
      <dgm:prSet presAssocID="{B54657AD-2E8D-4823-93DD-326FD9B9FFF1}" presName="hierRoot2" presStyleCnt="0">
        <dgm:presLayoutVars>
          <dgm:hierBranch val="init"/>
        </dgm:presLayoutVars>
      </dgm:prSet>
      <dgm:spPr/>
    </dgm:pt>
    <dgm:pt modelId="{0C02E5F4-E0DB-4C47-AB3B-8EAAAE563831}" type="pres">
      <dgm:prSet presAssocID="{B54657AD-2E8D-4823-93DD-326FD9B9FFF1}" presName="rootComposite" presStyleCnt="0"/>
      <dgm:spPr/>
    </dgm:pt>
    <dgm:pt modelId="{455CAEBE-A923-4494-BE59-7DAEC9E25CE4}" type="pres">
      <dgm:prSet presAssocID="{B54657AD-2E8D-4823-93DD-326FD9B9FFF1}" presName="rootText" presStyleLbl="node3" presStyleIdx="8" presStyleCnt="11">
        <dgm:presLayoutVars>
          <dgm:chPref val="3"/>
        </dgm:presLayoutVars>
      </dgm:prSet>
      <dgm:spPr/>
    </dgm:pt>
    <dgm:pt modelId="{F1EAD2DE-8158-4546-9969-16787DA3D6A7}" type="pres">
      <dgm:prSet presAssocID="{B54657AD-2E8D-4823-93DD-326FD9B9FFF1}" presName="rootConnector" presStyleLbl="node3" presStyleIdx="8" presStyleCnt="11"/>
      <dgm:spPr/>
    </dgm:pt>
    <dgm:pt modelId="{3888CA46-0F71-4AEE-853F-BDDEAA356B49}" type="pres">
      <dgm:prSet presAssocID="{B54657AD-2E8D-4823-93DD-326FD9B9FFF1}" presName="hierChild4" presStyleCnt="0"/>
      <dgm:spPr/>
    </dgm:pt>
    <dgm:pt modelId="{0CC72246-DB7A-4CE5-981A-10AEA3A8B23A}" type="pres">
      <dgm:prSet presAssocID="{B54657AD-2E8D-4823-93DD-326FD9B9FFF1}" presName="hierChild5" presStyleCnt="0"/>
      <dgm:spPr/>
    </dgm:pt>
    <dgm:pt modelId="{40423CBF-2FEE-4522-9530-354121784106}" type="pres">
      <dgm:prSet presAssocID="{35CD9E49-CDE1-47E7-BA7B-EF6865B55C24}" presName="Name37" presStyleLbl="parChTrans1D3" presStyleIdx="9" presStyleCnt="11"/>
      <dgm:spPr/>
    </dgm:pt>
    <dgm:pt modelId="{DDFC38C9-6C0C-4F18-83B2-C8B63312A951}" type="pres">
      <dgm:prSet presAssocID="{FB89B3C2-2B20-4B66-A9F1-734D3A72F84A}" presName="hierRoot2" presStyleCnt="0">
        <dgm:presLayoutVars>
          <dgm:hierBranch val="init"/>
        </dgm:presLayoutVars>
      </dgm:prSet>
      <dgm:spPr/>
    </dgm:pt>
    <dgm:pt modelId="{612DCE91-3CD7-4A80-8FE6-EAC04348F6CE}" type="pres">
      <dgm:prSet presAssocID="{FB89B3C2-2B20-4B66-A9F1-734D3A72F84A}" presName="rootComposite" presStyleCnt="0"/>
      <dgm:spPr/>
    </dgm:pt>
    <dgm:pt modelId="{91893F05-4F97-4DE1-AC35-A3FD03AB1003}" type="pres">
      <dgm:prSet presAssocID="{FB89B3C2-2B20-4B66-A9F1-734D3A72F84A}" presName="rootText" presStyleLbl="node3" presStyleIdx="9" presStyleCnt="11">
        <dgm:presLayoutVars>
          <dgm:chPref val="3"/>
        </dgm:presLayoutVars>
      </dgm:prSet>
      <dgm:spPr/>
    </dgm:pt>
    <dgm:pt modelId="{58D6B554-FF8B-4779-9985-06C082A0C4DD}" type="pres">
      <dgm:prSet presAssocID="{FB89B3C2-2B20-4B66-A9F1-734D3A72F84A}" presName="rootConnector" presStyleLbl="node3" presStyleIdx="9" presStyleCnt="11"/>
      <dgm:spPr/>
    </dgm:pt>
    <dgm:pt modelId="{8C9823E9-EBE0-45FF-82D8-11A01667E35A}" type="pres">
      <dgm:prSet presAssocID="{FB89B3C2-2B20-4B66-A9F1-734D3A72F84A}" presName="hierChild4" presStyleCnt="0"/>
      <dgm:spPr/>
    </dgm:pt>
    <dgm:pt modelId="{6CCE54D1-C9BD-4AE9-A0F1-7842D816F880}" type="pres">
      <dgm:prSet presAssocID="{FB89B3C2-2B20-4B66-A9F1-734D3A72F84A}" presName="hierChild5" presStyleCnt="0"/>
      <dgm:spPr/>
    </dgm:pt>
    <dgm:pt modelId="{E2038159-00B7-42F4-9843-2176862D5A48}" type="pres">
      <dgm:prSet presAssocID="{A9A7B73E-0C84-4478-BA64-63C0B5D8F50D}" presName="Name37" presStyleLbl="parChTrans1D3" presStyleIdx="10" presStyleCnt="11"/>
      <dgm:spPr/>
    </dgm:pt>
    <dgm:pt modelId="{377CCA4B-CDFE-477C-AD9C-617E1EFC4640}" type="pres">
      <dgm:prSet presAssocID="{6615097A-3035-46E9-81BA-0A1223D8BC96}" presName="hierRoot2" presStyleCnt="0">
        <dgm:presLayoutVars>
          <dgm:hierBranch val="init"/>
        </dgm:presLayoutVars>
      </dgm:prSet>
      <dgm:spPr/>
    </dgm:pt>
    <dgm:pt modelId="{8A4EE17E-611F-4A7D-B571-EC88C6AFB729}" type="pres">
      <dgm:prSet presAssocID="{6615097A-3035-46E9-81BA-0A1223D8BC96}" presName="rootComposite" presStyleCnt="0"/>
      <dgm:spPr/>
    </dgm:pt>
    <dgm:pt modelId="{951E3E53-BC2F-4245-B79C-B2187531E7DE}" type="pres">
      <dgm:prSet presAssocID="{6615097A-3035-46E9-81BA-0A1223D8BC96}" presName="rootText" presStyleLbl="node3" presStyleIdx="10" presStyleCnt="11">
        <dgm:presLayoutVars>
          <dgm:chPref val="3"/>
        </dgm:presLayoutVars>
      </dgm:prSet>
      <dgm:spPr/>
    </dgm:pt>
    <dgm:pt modelId="{14CAB009-50FB-4162-8534-5C800001989E}" type="pres">
      <dgm:prSet presAssocID="{6615097A-3035-46E9-81BA-0A1223D8BC96}" presName="rootConnector" presStyleLbl="node3" presStyleIdx="10" presStyleCnt="11"/>
      <dgm:spPr/>
    </dgm:pt>
    <dgm:pt modelId="{0CBC5C3F-B634-4375-A91D-E034392A3ED7}" type="pres">
      <dgm:prSet presAssocID="{6615097A-3035-46E9-81BA-0A1223D8BC96}" presName="hierChild4" presStyleCnt="0"/>
      <dgm:spPr/>
    </dgm:pt>
    <dgm:pt modelId="{1DBA6F90-C3DA-4690-A268-D6E6557F86AB}" type="pres">
      <dgm:prSet presAssocID="{6615097A-3035-46E9-81BA-0A1223D8BC96}" presName="hierChild5" presStyleCnt="0"/>
      <dgm:spPr/>
    </dgm:pt>
    <dgm:pt modelId="{4879E6D0-9213-4820-AD2F-37F6ABD0EDF2}" type="pres">
      <dgm:prSet presAssocID="{AF22B52D-E12A-4FE0-A026-D03A63D5B14D}" presName="hierChild5" presStyleCnt="0"/>
      <dgm:spPr/>
    </dgm:pt>
    <dgm:pt modelId="{5E3C21A8-634A-44B4-BD6E-CC897C86C15A}" type="pres">
      <dgm:prSet presAssocID="{E38B1CA5-4BC2-4520-8E1B-6F162A2F8AB5}" presName="hierChild3" presStyleCnt="0"/>
      <dgm:spPr/>
    </dgm:pt>
  </dgm:ptLst>
  <dgm:cxnLst>
    <dgm:cxn modelId="{F8027202-DB16-4FCE-871D-FFA39D793F27}" type="presOf" srcId="{6FAC41FE-31ED-4BA3-93BD-7FB974E6784A}" destId="{52218C76-1E89-408B-A563-BDB10982DBF3}" srcOrd="0" destOrd="0" presId="urn:microsoft.com/office/officeart/2005/8/layout/orgChart1"/>
    <dgm:cxn modelId="{6D5B9B04-558A-427E-B16A-D83BE9A96B5D}" type="presOf" srcId="{34CCF529-7DA1-4B47-8158-6837921DB000}" destId="{2FD0F99C-3B2B-40E8-A227-F4E01839F4ED}" srcOrd="0" destOrd="0" presId="urn:microsoft.com/office/officeart/2005/8/layout/orgChart1"/>
    <dgm:cxn modelId="{199C9107-81CA-4FA1-978D-CA55E4B35C36}" type="presOf" srcId="{35CD9E49-CDE1-47E7-BA7B-EF6865B55C24}" destId="{40423CBF-2FEE-4522-9530-354121784106}" srcOrd="0" destOrd="0" presId="urn:microsoft.com/office/officeart/2005/8/layout/orgChart1"/>
    <dgm:cxn modelId="{B180090E-E09A-46D3-A1C2-6EA3E56A9E08}" type="presOf" srcId="{B706C405-5E5E-45F5-9BB0-54944FBF51BB}" destId="{237F3405-A2B9-49BC-909A-C59170F37284}" srcOrd="0" destOrd="0" presId="urn:microsoft.com/office/officeart/2005/8/layout/orgChart1"/>
    <dgm:cxn modelId="{A12BD011-C3A3-41F8-BCA2-D7DC8BED79CF}" type="presOf" srcId="{9338652A-7095-40B7-A210-DE28A12286DB}" destId="{2F26A465-879D-406D-912D-12A156B2E726}" srcOrd="0" destOrd="0" presId="urn:microsoft.com/office/officeart/2005/8/layout/orgChart1"/>
    <dgm:cxn modelId="{9F4EF614-6870-433F-AEE3-8C9484C88838}" type="presOf" srcId="{EFDDD1CC-27FD-40B2-8549-4ADAC18C12E4}" destId="{D0B75A22-3D72-4C2A-904C-17F060D50799}" srcOrd="0" destOrd="0" presId="urn:microsoft.com/office/officeart/2005/8/layout/orgChart1"/>
    <dgm:cxn modelId="{B8137D16-FB02-451D-B837-6D0147330257}" type="presOf" srcId="{CC5CD078-B740-44A9-AC9D-80501AB04FDE}" destId="{4BBB7BDB-2626-49B8-9C45-F860E158693F}" srcOrd="0" destOrd="0" presId="urn:microsoft.com/office/officeart/2005/8/layout/orgChart1"/>
    <dgm:cxn modelId="{2DE6DB1E-84B0-4A99-B73C-8814AA0A3D70}" srcId="{AF22B52D-E12A-4FE0-A026-D03A63D5B14D}" destId="{B54657AD-2E8D-4823-93DD-326FD9B9FFF1}" srcOrd="1" destOrd="0" parTransId="{0D1B5F04-E396-4234-ACF8-F23BA036F89A}" sibTransId="{31833211-D528-41E3-8B02-280FA5FC4501}"/>
    <dgm:cxn modelId="{8F01CB23-F487-4348-A02D-C0B2718520CC}" type="presOf" srcId="{1AA8EA4D-E9B7-41C1-AB26-B5B875E5ED8D}" destId="{8FFDE2CC-18F1-4B0F-89EB-FDA815C9C038}" srcOrd="1" destOrd="0" presId="urn:microsoft.com/office/officeart/2005/8/layout/orgChart1"/>
    <dgm:cxn modelId="{B0C53B2A-339D-4317-8890-E9AA6E70F075}" type="presOf" srcId="{1F9A9AD6-BE7C-4D38-A8F4-BBFC448934EB}" destId="{2AA77337-0DDA-4EE3-9FC3-7CAC538999B2}" srcOrd="0" destOrd="0" presId="urn:microsoft.com/office/officeart/2005/8/layout/orgChart1"/>
    <dgm:cxn modelId="{C597F035-C988-4F98-8C00-6BD9B1D0BE6F}" type="presOf" srcId="{AF22B52D-E12A-4FE0-A026-D03A63D5B14D}" destId="{91D18BC6-84A8-46F6-AACA-66A51F65B7C7}" srcOrd="0" destOrd="0" presId="urn:microsoft.com/office/officeart/2005/8/layout/orgChart1"/>
    <dgm:cxn modelId="{F8855864-DA6C-46D1-BAD1-7B3B45B883F3}" srcId="{6FAC41FE-31ED-4BA3-93BD-7FB974E6784A}" destId="{EA938781-D580-47E6-ADCF-1FD88FD74000}" srcOrd="1" destOrd="0" parTransId="{1F9A9AD6-BE7C-4D38-A8F4-BBFC448934EB}" sibTransId="{8936709F-04EF-46A3-9912-39DCA599D05D}"/>
    <dgm:cxn modelId="{88D4D846-B759-476A-8633-8BA5E538D382}" type="presOf" srcId="{EA938781-D580-47E6-ADCF-1FD88FD74000}" destId="{DFEC2F2B-3A93-401C-9580-C6EB2514E836}" srcOrd="0" destOrd="0" presId="urn:microsoft.com/office/officeart/2005/8/layout/orgChart1"/>
    <dgm:cxn modelId="{3211116B-636E-4E03-81AE-7FF75E34FF87}" type="presOf" srcId="{B706C405-5E5E-45F5-9BB0-54944FBF51BB}" destId="{1D253BC7-DCC8-4E3A-B459-392177C33DAC}" srcOrd="1" destOrd="0" presId="urn:microsoft.com/office/officeart/2005/8/layout/orgChart1"/>
    <dgm:cxn modelId="{20797773-EB97-4C32-8EBD-F682CB3C0CD7}" srcId="{E38B1CA5-4BC2-4520-8E1B-6F162A2F8AB5}" destId="{6FAC41FE-31ED-4BA3-93BD-7FB974E6784A}" srcOrd="0" destOrd="0" parTransId="{34CCF529-7DA1-4B47-8158-6837921DB000}" sibTransId="{B643F0C8-0A53-4FAE-850F-9DAC00510047}"/>
    <dgm:cxn modelId="{67A18D53-0333-4061-934C-674BDE0D7184}" type="presOf" srcId="{A9A7B73E-0C84-4478-BA64-63C0B5D8F50D}" destId="{E2038159-00B7-42F4-9843-2176862D5A48}" srcOrd="0" destOrd="0" presId="urn:microsoft.com/office/officeart/2005/8/layout/orgChart1"/>
    <dgm:cxn modelId="{0C57CB53-B983-4C3A-A8BA-366ACA4EED54}" type="presOf" srcId="{AF22B52D-E12A-4FE0-A026-D03A63D5B14D}" destId="{93E42B49-767C-4CB6-ABA0-596F61737D83}" srcOrd="1" destOrd="0" presId="urn:microsoft.com/office/officeart/2005/8/layout/orgChart1"/>
    <dgm:cxn modelId="{0EC36059-E030-4636-92DC-C23ED8B6C5F5}" type="presOf" srcId="{3579D454-CA8D-4708-82B6-8706E6A6E4CB}" destId="{A45A3892-0A82-4BBD-9FF9-F02426F7E86A}" srcOrd="1" destOrd="0" presId="urn:microsoft.com/office/officeart/2005/8/layout/orgChart1"/>
    <dgm:cxn modelId="{EF27C67E-4ABF-43B5-A369-D89AC434E71C}" type="presOf" srcId="{E38B1CA5-4BC2-4520-8E1B-6F162A2F8AB5}" destId="{4EF83B75-9158-43A7-BAEF-B19F07FDB950}" srcOrd="0" destOrd="0" presId="urn:microsoft.com/office/officeart/2005/8/layout/orgChart1"/>
    <dgm:cxn modelId="{E0974982-9D55-4035-9108-DFA7DB1E032C}" type="presOf" srcId="{3579D454-CA8D-4708-82B6-8706E6A6E4CB}" destId="{6CDB4180-BD35-4432-91DF-E5E894A4E501}" srcOrd="0" destOrd="0" presId="urn:microsoft.com/office/officeart/2005/8/layout/orgChart1"/>
    <dgm:cxn modelId="{330BB083-05DE-45EE-A207-261819A6B008}" type="presOf" srcId="{FB89B3C2-2B20-4B66-A9F1-734D3A72F84A}" destId="{91893F05-4F97-4DE1-AC35-A3FD03AB1003}" srcOrd="0" destOrd="0" presId="urn:microsoft.com/office/officeart/2005/8/layout/orgChart1"/>
    <dgm:cxn modelId="{CE6D6785-8633-4CE2-BEC1-8C304BFC7B23}" type="presOf" srcId="{3EF0C92C-F904-4933-8D6E-4B3A974FC6ED}" destId="{C5DA8EF8-4F53-43DE-9DAA-190B5AC7B38C}" srcOrd="1" destOrd="0" presId="urn:microsoft.com/office/officeart/2005/8/layout/orgChart1"/>
    <dgm:cxn modelId="{70B2AA85-6B3E-402E-A2A9-28D90E13B515}" type="presOf" srcId="{B3C11583-361F-4B96-8A71-B92A81E22211}" destId="{3A3B1FA7-5701-43A7-866E-BDB6D4EFED63}" srcOrd="0" destOrd="0" presId="urn:microsoft.com/office/officeart/2005/8/layout/orgChart1"/>
    <dgm:cxn modelId="{DCEB1E88-F9CA-4518-AFBB-3E3217B4EE40}" type="presOf" srcId="{6FAC41FE-31ED-4BA3-93BD-7FB974E6784A}" destId="{D339BDCB-9BE8-4260-8774-015651B6B4E6}" srcOrd="1" destOrd="0" presId="urn:microsoft.com/office/officeart/2005/8/layout/orgChart1"/>
    <dgm:cxn modelId="{885A338B-1195-4CA4-8C9B-FEA9C5110017}" type="presOf" srcId="{CC5CD078-B740-44A9-AC9D-80501AB04FDE}" destId="{2203A6F2-E9E7-4998-B1B6-F1004FD1D177}" srcOrd="1" destOrd="0" presId="urn:microsoft.com/office/officeart/2005/8/layout/orgChart1"/>
    <dgm:cxn modelId="{06FD1C92-C4B4-488E-97EA-030941676F2A}" type="presOf" srcId="{0D1B5F04-E396-4234-ACF8-F23BA036F89A}" destId="{76723A5C-B773-402D-A371-2FAEEA6EEFD6}" srcOrd="0" destOrd="0" presId="urn:microsoft.com/office/officeart/2005/8/layout/orgChart1"/>
    <dgm:cxn modelId="{EDC85194-8C99-4C7B-B71E-87C15DA1E36A}" type="presOf" srcId="{B3C11583-361F-4B96-8A71-B92A81E22211}" destId="{53B40C02-8788-48E4-90D8-C4B30F0558A0}" srcOrd="1" destOrd="0" presId="urn:microsoft.com/office/officeart/2005/8/layout/orgChart1"/>
    <dgm:cxn modelId="{7CBDC696-5210-4377-A111-174E85A597F5}" srcId="{6FAC41FE-31ED-4BA3-93BD-7FB974E6784A}" destId="{3579D454-CA8D-4708-82B6-8706E6A6E4CB}" srcOrd="0" destOrd="0" parTransId="{74188EBA-0084-4561-8B14-4AF22763D6ED}" sibTransId="{585BFFD2-168B-4834-ABF3-3AA10B0B4942}"/>
    <dgm:cxn modelId="{A483409A-02F7-4DC9-B16F-B8B716A6BEB5}" type="presOf" srcId="{1AA8EA4D-E9B7-41C1-AB26-B5B875E5ED8D}" destId="{E43CC8B8-E901-444D-BE3E-EC3CFCFCC1E3}" srcOrd="0" destOrd="0" presId="urn:microsoft.com/office/officeart/2005/8/layout/orgChart1"/>
    <dgm:cxn modelId="{8761E19A-75D0-46D1-8718-9A9DDA796E7C}" type="presOf" srcId="{E38B1CA5-4BC2-4520-8E1B-6F162A2F8AB5}" destId="{03002940-FA7A-477D-BED0-131E8033E02E}" srcOrd="1" destOrd="0" presId="urn:microsoft.com/office/officeart/2005/8/layout/orgChart1"/>
    <dgm:cxn modelId="{E6FF6AA9-FCB0-40C6-AF3B-5D68D8741D92}" srcId="{E38B1CA5-4BC2-4520-8E1B-6F162A2F8AB5}" destId="{AF22B52D-E12A-4FE0-A026-D03A63D5B14D}" srcOrd="2" destOrd="0" parTransId="{E342C92F-E49D-4D40-BEA7-8DDA3D7EFAAF}" sibTransId="{AD90C176-1B00-4EEE-9026-1B04353B5A66}"/>
    <dgm:cxn modelId="{7DB728AA-FD70-40A0-AB6C-EC26F4B4DDD5}" type="presOf" srcId="{EA938781-D580-47E6-ADCF-1FD88FD74000}" destId="{689FC13C-0249-4BEE-BE5E-0379E2127972}" srcOrd="1" destOrd="0" presId="urn:microsoft.com/office/officeart/2005/8/layout/orgChart1"/>
    <dgm:cxn modelId="{63249AAA-24AA-4B39-B528-2D0CCB1E4BEC}" srcId="{73B4EDEB-B342-4A40-BB8F-A9BD60E4CC93}" destId="{CC5CD078-B740-44A9-AC9D-80501AB04FDE}" srcOrd="0" destOrd="0" parTransId="{9338652A-7095-40B7-A210-DE28A12286DB}" sibTransId="{7BCB6082-FBA0-4B79-93CB-6133C58599E3}"/>
    <dgm:cxn modelId="{30B73CAC-C636-4B9C-9C58-575C5ADC680A}" type="presOf" srcId="{B114371E-5F54-4600-A11E-58C623E439A5}" destId="{DB0D58DD-FABF-430D-8C8E-6D86D9168413}" srcOrd="0" destOrd="0" presId="urn:microsoft.com/office/officeart/2005/8/layout/orgChart1"/>
    <dgm:cxn modelId="{25FD44AE-A89F-4211-87A9-87FCCE7F8FB3}" type="presOf" srcId="{6A48F2F6-5742-4B5D-8A8A-B75F030BFF98}" destId="{EEC794DB-5729-4BAD-9191-B265780BEDBF}" srcOrd="1" destOrd="0" presId="urn:microsoft.com/office/officeart/2005/8/layout/orgChart1"/>
    <dgm:cxn modelId="{4C6B98B3-1DA2-456C-9AE2-9DC6144C78B1}" srcId="{E38B1CA5-4BC2-4520-8E1B-6F162A2F8AB5}" destId="{73B4EDEB-B342-4A40-BB8F-A9BD60E4CC93}" srcOrd="1" destOrd="0" parTransId="{EFDDD1CC-27FD-40B2-8549-4ADAC18C12E4}" sibTransId="{5D5F6EEF-2037-4F9A-B3D6-6D1DEBEAD5D4}"/>
    <dgm:cxn modelId="{C64EDDB7-B216-4A64-A612-766BFB4DEDDC}" type="presOf" srcId="{73B4EDEB-B342-4A40-BB8F-A9BD60E4CC93}" destId="{E6DB5683-914E-4C59-BB98-507F65E8963E}" srcOrd="1" destOrd="0" presId="urn:microsoft.com/office/officeart/2005/8/layout/orgChart1"/>
    <dgm:cxn modelId="{1F5791B8-B3C1-49CF-9501-9506E9010AA9}" srcId="{AF22B52D-E12A-4FE0-A026-D03A63D5B14D}" destId="{6615097A-3035-46E9-81BA-0A1223D8BC96}" srcOrd="3" destOrd="0" parTransId="{A9A7B73E-0C84-4478-BA64-63C0B5D8F50D}" sibTransId="{85827EEF-B65E-4210-BFAE-841A88F77A0B}"/>
    <dgm:cxn modelId="{CAE3ABB8-A57C-40B2-A137-A656FE6CE313}" srcId="{AF22B52D-E12A-4FE0-A026-D03A63D5B14D}" destId="{B3C11583-361F-4B96-8A71-B92A81E22211}" srcOrd="0" destOrd="0" parTransId="{94DB319B-C0F6-4F07-A0A3-5B14C3D75082}" sibTransId="{287166F6-C7F0-4FA8-BFD9-8AFC6D4B34F1}"/>
    <dgm:cxn modelId="{7E4A66B9-C527-477C-BB62-5ED274A83425}" srcId="{028319DE-6729-4F63-B3CC-DC25855D337F}" destId="{E38B1CA5-4BC2-4520-8E1B-6F162A2F8AB5}" srcOrd="0" destOrd="0" parTransId="{941A653A-B70E-4E86-8512-C141503E974A}" sibTransId="{A16A5867-F66C-45B7-97ED-1EFF15F04ABB}"/>
    <dgm:cxn modelId="{BA44DBBC-5663-433D-A8DC-A6B5B059CA8D}" srcId="{73B4EDEB-B342-4A40-BB8F-A9BD60E4CC93}" destId="{B706C405-5E5E-45F5-9BB0-54944FBF51BB}" srcOrd="3" destOrd="0" parTransId="{6B3C2D56-FD3F-42D7-909B-94932A02B089}" sibTransId="{58E66837-959D-465A-A94D-5441ADAD5D8B}"/>
    <dgm:cxn modelId="{F036DCC0-8EED-40A2-92C6-E5B48CBED903}" type="presOf" srcId="{6B3C2D56-FD3F-42D7-909B-94932A02B089}" destId="{A0BEA156-ECCF-4239-A317-73625B1E1342}" srcOrd="0" destOrd="0" presId="urn:microsoft.com/office/officeart/2005/8/layout/orgChart1"/>
    <dgm:cxn modelId="{52E530C4-F462-4A6D-9E8E-B52D8958BFAB}" srcId="{AF22B52D-E12A-4FE0-A026-D03A63D5B14D}" destId="{FB89B3C2-2B20-4B66-A9F1-734D3A72F84A}" srcOrd="2" destOrd="0" parTransId="{35CD9E49-CDE1-47E7-BA7B-EF6865B55C24}" sibTransId="{AD263A0B-F574-4F8B-A6EC-1A7B2FE63485}"/>
    <dgm:cxn modelId="{A5EE8CC5-600D-49C7-8056-8E04A571ECBA}" type="presOf" srcId="{B54657AD-2E8D-4823-93DD-326FD9B9FFF1}" destId="{F1EAD2DE-8158-4546-9969-16787DA3D6A7}" srcOrd="1" destOrd="0" presId="urn:microsoft.com/office/officeart/2005/8/layout/orgChart1"/>
    <dgm:cxn modelId="{B9299FC5-AD3C-4D67-BF58-E83AF13CB1D2}" type="presOf" srcId="{969DBA26-5196-4601-9589-4426A7C79563}" destId="{4BD747F0-74C1-4FD2-9B29-3DDB6A43336C}" srcOrd="0" destOrd="0" presId="urn:microsoft.com/office/officeart/2005/8/layout/orgChart1"/>
    <dgm:cxn modelId="{067398D1-BA2C-4648-A354-5FFBD6859693}" type="presOf" srcId="{6615097A-3035-46E9-81BA-0A1223D8BC96}" destId="{951E3E53-BC2F-4245-B79C-B2187531E7DE}" srcOrd="0" destOrd="0" presId="urn:microsoft.com/office/officeart/2005/8/layout/orgChart1"/>
    <dgm:cxn modelId="{963B2ED4-05DC-44DF-BE4A-F33A2248E55D}" type="presOf" srcId="{6615097A-3035-46E9-81BA-0A1223D8BC96}" destId="{14CAB009-50FB-4162-8534-5C800001989E}" srcOrd="1" destOrd="0" presId="urn:microsoft.com/office/officeart/2005/8/layout/orgChart1"/>
    <dgm:cxn modelId="{31CE92D4-2535-4ECD-9903-10280FC49848}" type="presOf" srcId="{FB89B3C2-2B20-4B66-A9F1-734D3A72F84A}" destId="{58D6B554-FF8B-4779-9985-06C082A0C4DD}" srcOrd="1" destOrd="0" presId="urn:microsoft.com/office/officeart/2005/8/layout/orgChart1"/>
    <dgm:cxn modelId="{A2B91ED6-F5CF-4074-8E51-A2FD77CAE964}" type="presOf" srcId="{74188EBA-0084-4561-8B14-4AF22763D6ED}" destId="{CCA79C15-712E-48E2-A6CA-EE32F1D92AD3}" srcOrd="0" destOrd="0" presId="urn:microsoft.com/office/officeart/2005/8/layout/orgChart1"/>
    <dgm:cxn modelId="{D1C5FCDF-23AF-4D8C-9211-7F57026F14C0}" type="presOf" srcId="{3EF0C92C-F904-4933-8D6E-4B3A974FC6ED}" destId="{74E4902C-B9CE-4560-9E7B-7441B48EE5C3}" srcOrd="0" destOrd="0" presId="urn:microsoft.com/office/officeart/2005/8/layout/orgChart1"/>
    <dgm:cxn modelId="{F50DA5E2-49AC-4D5E-919D-EA30AA92EDF2}" type="presOf" srcId="{B54657AD-2E8D-4823-93DD-326FD9B9FFF1}" destId="{455CAEBE-A923-4494-BE59-7DAEC9E25CE4}" srcOrd="0" destOrd="0" presId="urn:microsoft.com/office/officeart/2005/8/layout/orgChart1"/>
    <dgm:cxn modelId="{80185DE3-CB78-4005-A4AD-66E515D041DD}" srcId="{73B4EDEB-B342-4A40-BB8F-A9BD60E4CC93}" destId="{3EF0C92C-F904-4933-8D6E-4B3A974FC6ED}" srcOrd="2" destOrd="0" parTransId="{632450AE-6EC2-447D-9053-7D67E33ED3BF}" sibTransId="{ABF77CC0-A5D1-4F7A-B65F-F4E011A8C915}"/>
    <dgm:cxn modelId="{DED4E4E4-FB2A-4658-B0B3-E2029E9FC8F6}" type="presOf" srcId="{632450AE-6EC2-447D-9053-7D67E33ED3BF}" destId="{BB7F919D-FE48-47EC-8324-CA8735E98438}" srcOrd="0" destOrd="0" presId="urn:microsoft.com/office/officeart/2005/8/layout/orgChart1"/>
    <dgm:cxn modelId="{C750ABE5-4179-4CFA-A23E-54D352708DE7}" type="presOf" srcId="{6A48F2F6-5742-4B5D-8A8A-B75F030BFF98}" destId="{2E3C9156-8889-45FF-9EB8-0E518B438EFB}" srcOrd="0" destOrd="0" presId="urn:microsoft.com/office/officeart/2005/8/layout/orgChart1"/>
    <dgm:cxn modelId="{6A2B2AE6-9DE0-491D-AEA2-18E808796DD4}" type="presOf" srcId="{73B4EDEB-B342-4A40-BB8F-A9BD60E4CC93}" destId="{591808E9-BA4A-4F46-8A43-4F02198286F8}" srcOrd="0" destOrd="0" presId="urn:microsoft.com/office/officeart/2005/8/layout/orgChart1"/>
    <dgm:cxn modelId="{DEF86FEC-5AA6-4C61-9562-DC41CCC4B7EB}" srcId="{73B4EDEB-B342-4A40-BB8F-A9BD60E4CC93}" destId="{6A48F2F6-5742-4B5D-8A8A-B75F030BFF98}" srcOrd="1" destOrd="0" parTransId="{969DBA26-5196-4601-9589-4426A7C79563}" sibTransId="{5663A2C4-D6A0-4CE7-B9DD-07791DF47D53}"/>
    <dgm:cxn modelId="{9531CFF1-F796-41E2-BF10-49AC6A9E3FF4}" type="presOf" srcId="{94DB319B-C0F6-4F07-A0A3-5B14C3D75082}" destId="{9D2B0197-98A0-4B10-86A0-B7C061E13047}" srcOrd="0" destOrd="0" presId="urn:microsoft.com/office/officeart/2005/8/layout/orgChart1"/>
    <dgm:cxn modelId="{E62385F5-D729-40AE-9CF5-A3232826BFE0}" srcId="{6FAC41FE-31ED-4BA3-93BD-7FB974E6784A}" destId="{1AA8EA4D-E9B7-41C1-AB26-B5B875E5ED8D}" srcOrd="2" destOrd="0" parTransId="{B114371E-5F54-4600-A11E-58C623E439A5}" sibTransId="{9C085AF7-E519-4809-B0BD-F9FBF238CFB7}"/>
    <dgm:cxn modelId="{3D221BFB-349B-4B46-9362-C675C7215752}" type="presOf" srcId="{028319DE-6729-4F63-B3CC-DC25855D337F}" destId="{48D67E2C-DD93-4011-9DA7-B47FF54FB2F3}" srcOrd="0" destOrd="0" presId="urn:microsoft.com/office/officeart/2005/8/layout/orgChart1"/>
    <dgm:cxn modelId="{A31540FD-1FFC-4507-8BC3-D9B59905C9A5}" type="presOf" srcId="{E342C92F-E49D-4D40-BEA7-8DDA3D7EFAAF}" destId="{91E5345A-8EDC-46D8-A550-F15570D5FE34}" srcOrd="0" destOrd="0" presId="urn:microsoft.com/office/officeart/2005/8/layout/orgChart1"/>
    <dgm:cxn modelId="{8C7B17AC-3CF6-4056-B5CC-3835AB368AC4}" type="presParOf" srcId="{48D67E2C-DD93-4011-9DA7-B47FF54FB2F3}" destId="{0E4E3522-5C61-476D-96A4-E04E03D11441}" srcOrd="0" destOrd="0" presId="urn:microsoft.com/office/officeart/2005/8/layout/orgChart1"/>
    <dgm:cxn modelId="{99E6E5B7-8A17-4B64-9EAA-EBBF3B37A30C}" type="presParOf" srcId="{0E4E3522-5C61-476D-96A4-E04E03D11441}" destId="{4EE49220-33AA-4F5F-85B0-69A921CA940A}" srcOrd="0" destOrd="0" presId="urn:microsoft.com/office/officeart/2005/8/layout/orgChart1"/>
    <dgm:cxn modelId="{B4183A42-BA09-4E06-89F5-B63FC1ACB38F}" type="presParOf" srcId="{4EE49220-33AA-4F5F-85B0-69A921CA940A}" destId="{4EF83B75-9158-43A7-BAEF-B19F07FDB950}" srcOrd="0" destOrd="0" presId="urn:microsoft.com/office/officeart/2005/8/layout/orgChart1"/>
    <dgm:cxn modelId="{E1CCBE91-1875-4C1A-B770-B81F92DF9292}" type="presParOf" srcId="{4EE49220-33AA-4F5F-85B0-69A921CA940A}" destId="{03002940-FA7A-477D-BED0-131E8033E02E}" srcOrd="1" destOrd="0" presId="urn:microsoft.com/office/officeart/2005/8/layout/orgChart1"/>
    <dgm:cxn modelId="{4FB1F8CC-C4B6-43AC-8ECF-6457A43E4EF5}" type="presParOf" srcId="{0E4E3522-5C61-476D-96A4-E04E03D11441}" destId="{CA822035-7BEB-447D-9F46-140D33B8AEDF}" srcOrd="1" destOrd="0" presId="urn:microsoft.com/office/officeart/2005/8/layout/orgChart1"/>
    <dgm:cxn modelId="{F29C2B09-7F92-4E40-8F59-05ED42792B68}" type="presParOf" srcId="{CA822035-7BEB-447D-9F46-140D33B8AEDF}" destId="{2FD0F99C-3B2B-40E8-A227-F4E01839F4ED}" srcOrd="0" destOrd="0" presId="urn:microsoft.com/office/officeart/2005/8/layout/orgChart1"/>
    <dgm:cxn modelId="{664CEE69-CF18-4E39-B3DC-63BF85820658}" type="presParOf" srcId="{CA822035-7BEB-447D-9F46-140D33B8AEDF}" destId="{D739ABDF-C65D-4533-BB00-DC30B3F4530B}" srcOrd="1" destOrd="0" presId="urn:microsoft.com/office/officeart/2005/8/layout/orgChart1"/>
    <dgm:cxn modelId="{BE1C4AA8-6E1A-4327-A30B-2C6D34542367}" type="presParOf" srcId="{D739ABDF-C65D-4533-BB00-DC30B3F4530B}" destId="{8D4999B4-2529-475A-B4E6-83D59777EF71}" srcOrd="0" destOrd="0" presId="urn:microsoft.com/office/officeart/2005/8/layout/orgChart1"/>
    <dgm:cxn modelId="{C014C753-ED46-44EE-80EA-6AFFEA494548}" type="presParOf" srcId="{8D4999B4-2529-475A-B4E6-83D59777EF71}" destId="{52218C76-1E89-408B-A563-BDB10982DBF3}" srcOrd="0" destOrd="0" presId="urn:microsoft.com/office/officeart/2005/8/layout/orgChart1"/>
    <dgm:cxn modelId="{EE87A218-1030-43D5-9646-00E215B8A7C8}" type="presParOf" srcId="{8D4999B4-2529-475A-B4E6-83D59777EF71}" destId="{D339BDCB-9BE8-4260-8774-015651B6B4E6}" srcOrd="1" destOrd="0" presId="urn:microsoft.com/office/officeart/2005/8/layout/orgChart1"/>
    <dgm:cxn modelId="{5491A574-6D6F-4E0D-ACD6-B8DBA6B0CC59}" type="presParOf" srcId="{D739ABDF-C65D-4533-BB00-DC30B3F4530B}" destId="{D1292E50-4411-442E-B239-AE35C5EBFC66}" srcOrd="1" destOrd="0" presId="urn:microsoft.com/office/officeart/2005/8/layout/orgChart1"/>
    <dgm:cxn modelId="{89B00A9B-AE3C-4743-A171-86F0751D7409}" type="presParOf" srcId="{D1292E50-4411-442E-B239-AE35C5EBFC66}" destId="{CCA79C15-712E-48E2-A6CA-EE32F1D92AD3}" srcOrd="0" destOrd="0" presId="urn:microsoft.com/office/officeart/2005/8/layout/orgChart1"/>
    <dgm:cxn modelId="{7C9C831C-FB40-4021-91E4-D473F89FF4C5}" type="presParOf" srcId="{D1292E50-4411-442E-B239-AE35C5EBFC66}" destId="{A15F215A-E6F8-45E3-B6E8-F1DC2EE04D48}" srcOrd="1" destOrd="0" presId="urn:microsoft.com/office/officeart/2005/8/layout/orgChart1"/>
    <dgm:cxn modelId="{06416E29-3903-4FB6-BC8B-4E8D06256C4C}" type="presParOf" srcId="{A15F215A-E6F8-45E3-B6E8-F1DC2EE04D48}" destId="{376AC177-CA38-42FD-ACDA-18DEEA7C9F8F}" srcOrd="0" destOrd="0" presId="urn:microsoft.com/office/officeart/2005/8/layout/orgChart1"/>
    <dgm:cxn modelId="{6B0F18C5-3D7A-4344-8718-2CE4A7033BE8}" type="presParOf" srcId="{376AC177-CA38-42FD-ACDA-18DEEA7C9F8F}" destId="{6CDB4180-BD35-4432-91DF-E5E894A4E501}" srcOrd="0" destOrd="0" presId="urn:microsoft.com/office/officeart/2005/8/layout/orgChart1"/>
    <dgm:cxn modelId="{68E2B6AC-44B9-4EF1-869B-01623F914741}" type="presParOf" srcId="{376AC177-CA38-42FD-ACDA-18DEEA7C9F8F}" destId="{A45A3892-0A82-4BBD-9FF9-F02426F7E86A}" srcOrd="1" destOrd="0" presId="urn:microsoft.com/office/officeart/2005/8/layout/orgChart1"/>
    <dgm:cxn modelId="{80C0C5AC-92A4-4C03-97DD-0DF7CFE3297F}" type="presParOf" srcId="{A15F215A-E6F8-45E3-B6E8-F1DC2EE04D48}" destId="{49973CCF-8868-4E74-83A2-B17243FDFA71}" srcOrd="1" destOrd="0" presId="urn:microsoft.com/office/officeart/2005/8/layout/orgChart1"/>
    <dgm:cxn modelId="{886C0136-84CE-4A2B-A67E-53933CF9A5E5}" type="presParOf" srcId="{A15F215A-E6F8-45E3-B6E8-F1DC2EE04D48}" destId="{8C7DB405-5CAE-4CB4-8412-F12F98668571}" srcOrd="2" destOrd="0" presId="urn:microsoft.com/office/officeart/2005/8/layout/orgChart1"/>
    <dgm:cxn modelId="{C11642BA-8137-474F-BF26-6D178815C4BC}" type="presParOf" srcId="{D1292E50-4411-442E-B239-AE35C5EBFC66}" destId="{2AA77337-0DDA-4EE3-9FC3-7CAC538999B2}" srcOrd="2" destOrd="0" presId="urn:microsoft.com/office/officeart/2005/8/layout/orgChart1"/>
    <dgm:cxn modelId="{3CDC4D0B-EC24-42DB-8EA6-CBE3532B31B5}" type="presParOf" srcId="{D1292E50-4411-442E-B239-AE35C5EBFC66}" destId="{18A6AE19-F699-4329-8544-577882CB4C61}" srcOrd="3" destOrd="0" presId="urn:microsoft.com/office/officeart/2005/8/layout/orgChart1"/>
    <dgm:cxn modelId="{AD4F237B-822C-4FDD-9FFE-E206D1023C2D}" type="presParOf" srcId="{18A6AE19-F699-4329-8544-577882CB4C61}" destId="{BA6573F0-41DE-452F-AEA8-321C1DFA2F65}" srcOrd="0" destOrd="0" presId="urn:microsoft.com/office/officeart/2005/8/layout/orgChart1"/>
    <dgm:cxn modelId="{3EE360F8-CC36-48DA-9535-D6A36C962856}" type="presParOf" srcId="{BA6573F0-41DE-452F-AEA8-321C1DFA2F65}" destId="{DFEC2F2B-3A93-401C-9580-C6EB2514E836}" srcOrd="0" destOrd="0" presId="urn:microsoft.com/office/officeart/2005/8/layout/orgChart1"/>
    <dgm:cxn modelId="{7F9767DC-ACE9-45ED-B504-B00CFBCC2598}" type="presParOf" srcId="{BA6573F0-41DE-452F-AEA8-321C1DFA2F65}" destId="{689FC13C-0249-4BEE-BE5E-0379E2127972}" srcOrd="1" destOrd="0" presId="urn:microsoft.com/office/officeart/2005/8/layout/orgChart1"/>
    <dgm:cxn modelId="{99F1A429-36E2-4BE9-AF2E-6C3C47B8FD94}" type="presParOf" srcId="{18A6AE19-F699-4329-8544-577882CB4C61}" destId="{2FB595E3-6AF1-41A4-B5A3-B024D8C7670B}" srcOrd="1" destOrd="0" presId="urn:microsoft.com/office/officeart/2005/8/layout/orgChart1"/>
    <dgm:cxn modelId="{CE7D8E70-AB3E-4650-BCBC-47279FE63AA5}" type="presParOf" srcId="{18A6AE19-F699-4329-8544-577882CB4C61}" destId="{249FB124-5DE4-4041-8C36-D0CF2F5C5A7E}" srcOrd="2" destOrd="0" presId="urn:microsoft.com/office/officeart/2005/8/layout/orgChart1"/>
    <dgm:cxn modelId="{EAFA8CDA-4CCB-47CA-9798-69FD9786B7AC}" type="presParOf" srcId="{D1292E50-4411-442E-B239-AE35C5EBFC66}" destId="{DB0D58DD-FABF-430D-8C8E-6D86D9168413}" srcOrd="4" destOrd="0" presId="urn:microsoft.com/office/officeart/2005/8/layout/orgChart1"/>
    <dgm:cxn modelId="{361BBF0E-74BF-42B0-A5DF-39F8071943BA}" type="presParOf" srcId="{D1292E50-4411-442E-B239-AE35C5EBFC66}" destId="{BE99CD53-A2D4-4846-B320-58E364B28AAD}" srcOrd="5" destOrd="0" presId="urn:microsoft.com/office/officeart/2005/8/layout/orgChart1"/>
    <dgm:cxn modelId="{BF5DDE7C-FC99-4AC4-9504-82B5B7B1C3A1}" type="presParOf" srcId="{BE99CD53-A2D4-4846-B320-58E364B28AAD}" destId="{C4EF5016-5DA8-4500-85FF-B346CC8C68F8}" srcOrd="0" destOrd="0" presId="urn:microsoft.com/office/officeart/2005/8/layout/orgChart1"/>
    <dgm:cxn modelId="{B4693FFE-4142-4300-BA2C-F625A370A659}" type="presParOf" srcId="{C4EF5016-5DA8-4500-85FF-B346CC8C68F8}" destId="{E43CC8B8-E901-444D-BE3E-EC3CFCFCC1E3}" srcOrd="0" destOrd="0" presId="urn:microsoft.com/office/officeart/2005/8/layout/orgChart1"/>
    <dgm:cxn modelId="{5FD783B8-D74E-4F20-A887-929169615791}" type="presParOf" srcId="{C4EF5016-5DA8-4500-85FF-B346CC8C68F8}" destId="{8FFDE2CC-18F1-4B0F-89EB-FDA815C9C038}" srcOrd="1" destOrd="0" presId="urn:microsoft.com/office/officeart/2005/8/layout/orgChart1"/>
    <dgm:cxn modelId="{5C8C0AC8-7BB6-4831-930B-7D29A82F9919}" type="presParOf" srcId="{BE99CD53-A2D4-4846-B320-58E364B28AAD}" destId="{54ED655A-1B1A-4BE8-9C2C-6AE957F6431C}" srcOrd="1" destOrd="0" presId="urn:microsoft.com/office/officeart/2005/8/layout/orgChart1"/>
    <dgm:cxn modelId="{BE7E5E33-9CDE-4291-BB2A-5C127562B62F}" type="presParOf" srcId="{BE99CD53-A2D4-4846-B320-58E364B28AAD}" destId="{71448BBA-1650-4B0F-9055-43D1575D618B}" srcOrd="2" destOrd="0" presId="urn:microsoft.com/office/officeart/2005/8/layout/orgChart1"/>
    <dgm:cxn modelId="{4776F750-778A-4C95-A52D-60B9287F3F99}" type="presParOf" srcId="{D739ABDF-C65D-4533-BB00-DC30B3F4530B}" destId="{9D065D10-0074-4CD3-A7F3-FB8A80EAF913}" srcOrd="2" destOrd="0" presId="urn:microsoft.com/office/officeart/2005/8/layout/orgChart1"/>
    <dgm:cxn modelId="{F8497215-AABE-42F6-9853-145800B05399}" type="presParOf" srcId="{CA822035-7BEB-447D-9F46-140D33B8AEDF}" destId="{D0B75A22-3D72-4C2A-904C-17F060D50799}" srcOrd="2" destOrd="0" presId="urn:microsoft.com/office/officeart/2005/8/layout/orgChart1"/>
    <dgm:cxn modelId="{F62D55B5-AF95-46FA-B817-04B4C3C7CC02}" type="presParOf" srcId="{CA822035-7BEB-447D-9F46-140D33B8AEDF}" destId="{35D6DEA2-8CDB-45B0-9440-6FED41772516}" srcOrd="3" destOrd="0" presId="urn:microsoft.com/office/officeart/2005/8/layout/orgChart1"/>
    <dgm:cxn modelId="{0FC98195-9582-4052-93D5-80C50A24754F}" type="presParOf" srcId="{35D6DEA2-8CDB-45B0-9440-6FED41772516}" destId="{A7251ABA-B07C-465C-ADA8-149650302545}" srcOrd="0" destOrd="0" presId="urn:microsoft.com/office/officeart/2005/8/layout/orgChart1"/>
    <dgm:cxn modelId="{A3E0D947-C1CA-4738-A82E-75145C860590}" type="presParOf" srcId="{A7251ABA-B07C-465C-ADA8-149650302545}" destId="{591808E9-BA4A-4F46-8A43-4F02198286F8}" srcOrd="0" destOrd="0" presId="urn:microsoft.com/office/officeart/2005/8/layout/orgChart1"/>
    <dgm:cxn modelId="{A2ABB01C-372E-4271-B1C1-1ED1A5B8EE6E}" type="presParOf" srcId="{A7251ABA-B07C-465C-ADA8-149650302545}" destId="{E6DB5683-914E-4C59-BB98-507F65E8963E}" srcOrd="1" destOrd="0" presId="urn:microsoft.com/office/officeart/2005/8/layout/orgChart1"/>
    <dgm:cxn modelId="{55F1E45F-B8FB-47AA-9F6B-9C81B88D8C1F}" type="presParOf" srcId="{35D6DEA2-8CDB-45B0-9440-6FED41772516}" destId="{52A97A38-06F9-4F37-AFC1-8EE84E39125B}" srcOrd="1" destOrd="0" presId="urn:microsoft.com/office/officeart/2005/8/layout/orgChart1"/>
    <dgm:cxn modelId="{93C9C1B1-DD3B-44DE-9623-7DE4345B0505}" type="presParOf" srcId="{52A97A38-06F9-4F37-AFC1-8EE84E39125B}" destId="{2F26A465-879D-406D-912D-12A156B2E726}" srcOrd="0" destOrd="0" presId="urn:microsoft.com/office/officeart/2005/8/layout/orgChart1"/>
    <dgm:cxn modelId="{45B3139D-17E1-4A82-87C5-AD1E96FBDC49}" type="presParOf" srcId="{52A97A38-06F9-4F37-AFC1-8EE84E39125B}" destId="{CC9E181D-B393-48DD-B007-177DE8C0DA05}" srcOrd="1" destOrd="0" presId="urn:microsoft.com/office/officeart/2005/8/layout/orgChart1"/>
    <dgm:cxn modelId="{3A8F8F71-71E7-4869-8CEB-1D8D524489AC}" type="presParOf" srcId="{CC9E181D-B393-48DD-B007-177DE8C0DA05}" destId="{D764B984-8D31-48AA-A1F4-112FACC28034}" srcOrd="0" destOrd="0" presId="urn:microsoft.com/office/officeart/2005/8/layout/orgChart1"/>
    <dgm:cxn modelId="{0D387E2E-CAB3-4163-B052-5DE64F863831}" type="presParOf" srcId="{D764B984-8D31-48AA-A1F4-112FACC28034}" destId="{4BBB7BDB-2626-49B8-9C45-F860E158693F}" srcOrd="0" destOrd="0" presId="urn:microsoft.com/office/officeart/2005/8/layout/orgChart1"/>
    <dgm:cxn modelId="{2E25916A-51A8-4B14-B155-E8D9626B29FD}" type="presParOf" srcId="{D764B984-8D31-48AA-A1F4-112FACC28034}" destId="{2203A6F2-E9E7-4998-B1B6-F1004FD1D177}" srcOrd="1" destOrd="0" presId="urn:microsoft.com/office/officeart/2005/8/layout/orgChart1"/>
    <dgm:cxn modelId="{C7B8CE75-D90F-4FA3-9C81-83876EF4F164}" type="presParOf" srcId="{CC9E181D-B393-48DD-B007-177DE8C0DA05}" destId="{0512D519-A229-4848-9580-CEB7E683E896}" srcOrd="1" destOrd="0" presId="urn:microsoft.com/office/officeart/2005/8/layout/orgChart1"/>
    <dgm:cxn modelId="{4AD18F19-4212-4278-9F74-1F2618BF9B41}" type="presParOf" srcId="{CC9E181D-B393-48DD-B007-177DE8C0DA05}" destId="{A41165A3-CDC2-471B-9D71-3E4A53438029}" srcOrd="2" destOrd="0" presId="urn:microsoft.com/office/officeart/2005/8/layout/orgChart1"/>
    <dgm:cxn modelId="{7B22AEDD-5E4A-4950-B353-C7485DD2F060}" type="presParOf" srcId="{52A97A38-06F9-4F37-AFC1-8EE84E39125B}" destId="{4BD747F0-74C1-4FD2-9B29-3DDB6A43336C}" srcOrd="2" destOrd="0" presId="urn:microsoft.com/office/officeart/2005/8/layout/orgChart1"/>
    <dgm:cxn modelId="{027D6827-05EB-402F-B6BE-5ACF7919FA6C}" type="presParOf" srcId="{52A97A38-06F9-4F37-AFC1-8EE84E39125B}" destId="{50C4C4AA-B0B8-4BFE-8356-EFDD4DE9C1A7}" srcOrd="3" destOrd="0" presId="urn:microsoft.com/office/officeart/2005/8/layout/orgChart1"/>
    <dgm:cxn modelId="{91211F15-5D1F-4712-A4AC-C1C2037AAAEA}" type="presParOf" srcId="{50C4C4AA-B0B8-4BFE-8356-EFDD4DE9C1A7}" destId="{A4891A10-9621-4BAD-846E-FB6831ED7260}" srcOrd="0" destOrd="0" presId="urn:microsoft.com/office/officeart/2005/8/layout/orgChart1"/>
    <dgm:cxn modelId="{7B00846D-BAF1-409D-B236-15938B141956}" type="presParOf" srcId="{A4891A10-9621-4BAD-846E-FB6831ED7260}" destId="{2E3C9156-8889-45FF-9EB8-0E518B438EFB}" srcOrd="0" destOrd="0" presId="urn:microsoft.com/office/officeart/2005/8/layout/orgChart1"/>
    <dgm:cxn modelId="{3B30E541-9005-4AA6-8849-58F195162BDF}" type="presParOf" srcId="{A4891A10-9621-4BAD-846E-FB6831ED7260}" destId="{EEC794DB-5729-4BAD-9191-B265780BEDBF}" srcOrd="1" destOrd="0" presId="urn:microsoft.com/office/officeart/2005/8/layout/orgChart1"/>
    <dgm:cxn modelId="{E4285358-876E-4204-9746-AB7A98E84F39}" type="presParOf" srcId="{50C4C4AA-B0B8-4BFE-8356-EFDD4DE9C1A7}" destId="{DAF1C916-D917-4C9F-B26B-A33C13AF0855}" srcOrd="1" destOrd="0" presId="urn:microsoft.com/office/officeart/2005/8/layout/orgChart1"/>
    <dgm:cxn modelId="{CB1692F6-88ED-4183-A56D-8EF8CC2ED5F8}" type="presParOf" srcId="{50C4C4AA-B0B8-4BFE-8356-EFDD4DE9C1A7}" destId="{7EC8F7B9-4E20-4474-A3AD-AD14E852AD58}" srcOrd="2" destOrd="0" presId="urn:microsoft.com/office/officeart/2005/8/layout/orgChart1"/>
    <dgm:cxn modelId="{5B745197-73A5-4D47-9A13-F4DCE2F8B3A7}" type="presParOf" srcId="{52A97A38-06F9-4F37-AFC1-8EE84E39125B}" destId="{BB7F919D-FE48-47EC-8324-CA8735E98438}" srcOrd="4" destOrd="0" presId="urn:microsoft.com/office/officeart/2005/8/layout/orgChart1"/>
    <dgm:cxn modelId="{9ACFE950-E049-4854-9396-F9331852388A}" type="presParOf" srcId="{52A97A38-06F9-4F37-AFC1-8EE84E39125B}" destId="{42341E44-5565-4F45-AC41-F363D85E9AFC}" srcOrd="5" destOrd="0" presId="urn:microsoft.com/office/officeart/2005/8/layout/orgChart1"/>
    <dgm:cxn modelId="{FF06357F-DE79-42BF-BB1B-2004DE9BA595}" type="presParOf" srcId="{42341E44-5565-4F45-AC41-F363D85E9AFC}" destId="{93607473-A924-433A-9122-7C6ED1C87952}" srcOrd="0" destOrd="0" presId="urn:microsoft.com/office/officeart/2005/8/layout/orgChart1"/>
    <dgm:cxn modelId="{A50F0D6D-F8D5-4BC1-AA4F-09FD42EC9107}" type="presParOf" srcId="{93607473-A924-433A-9122-7C6ED1C87952}" destId="{74E4902C-B9CE-4560-9E7B-7441B48EE5C3}" srcOrd="0" destOrd="0" presId="urn:microsoft.com/office/officeart/2005/8/layout/orgChart1"/>
    <dgm:cxn modelId="{B75B92E5-0B3A-4036-8915-45D51F878B00}" type="presParOf" srcId="{93607473-A924-433A-9122-7C6ED1C87952}" destId="{C5DA8EF8-4F53-43DE-9DAA-190B5AC7B38C}" srcOrd="1" destOrd="0" presId="urn:microsoft.com/office/officeart/2005/8/layout/orgChart1"/>
    <dgm:cxn modelId="{A33D6F93-B475-47B6-8A00-9DD24B7E09D1}" type="presParOf" srcId="{42341E44-5565-4F45-AC41-F363D85E9AFC}" destId="{CA88D517-5A95-45E9-B75D-60FF529FEC3C}" srcOrd="1" destOrd="0" presId="urn:microsoft.com/office/officeart/2005/8/layout/orgChart1"/>
    <dgm:cxn modelId="{90FDE15C-4710-402B-9ADE-78A0C44672B1}" type="presParOf" srcId="{42341E44-5565-4F45-AC41-F363D85E9AFC}" destId="{606AFB84-57A0-4B37-9A07-740822499447}" srcOrd="2" destOrd="0" presId="urn:microsoft.com/office/officeart/2005/8/layout/orgChart1"/>
    <dgm:cxn modelId="{79900CDF-E9F0-4B07-86C6-80715184D48B}" type="presParOf" srcId="{52A97A38-06F9-4F37-AFC1-8EE84E39125B}" destId="{A0BEA156-ECCF-4239-A317-73625B1E1342}" srcOrd="6" destOrd="0" presId="urn:microsoft.com/office/officeart/2005/8/layout/orgChart1"/>
    <dgm:cxn modelId="{28A76ADD-38D0-4A41-9110-75C41D3418E1}" type="presParOf" srcId="{52A97A38-06F9-4F37-AFC1-8EE84E39125B}" destId="{0DC96522-3668-4255-98E6-5BD38BD3302E}" srcOrd="7" destOrd="0" presId="urn:microsoft.com/office/officeart/2005/8/layout/orgChart1"/>
    <dgm:cxn modelId="{02034B08-698E-41F8-BA1A-B30CF93F0B4E}" type="presParOf" srcId="{0DC96522-3668-4255-98E6-5BD38BD3302E}" destId="{26D300DB-E46C-4030-A997-47DF2EF18E19}" srcOrd="0" destOrd="0" presId="urn:microsoft.com/office/officeart/2005/8/layout/orgChart1"/>
    <dgm:cxn modelId="{0BDE16CD-687B-412E-A0DC-7DF88B586C33}" type="presParOf" srcId="{26D300DB-E46C-4030-A997-47DF2EF18E19}" destId="{237F3405-A2B9-49BC-909A-C59170F37284}" srcOrd="0" destOrd="0" presId="urn:microsoft.com/office/officeart/2005/8/layout/orgChart1"/>
    <dgm:cxn modelId="{296DC4E4-C1B2-4F1C-AC0D-7A74A2496318}" type="presParOf" srcId="{26D300DB-E46C-4030-A997-47DF2EF18E19}" destId="{1D253BC7-DCC8-4E3A-B459-392177C33DAC}" srcOrd="1" destOrd="0" presId="urn:microsoft.com/office/officeart/2005/8/layout/orgChart1"/>
    <dgm:cxn modelId="{B38C783E-FAD7-460E-B754-5A28FF0E27E9}" type="presParOf" srcId="{0DC96522-3668-4255-98E6-5BD38BD3302E}" destId="{D77138C9-B93C-4508-9EFC-B6B9A6887162}" srcOrd="1" destOrd="0" presId="urn:microsoft.com/office/officeart/2005/8/layout/orgChart1"/>
    <dgm:cxn modelId="{F9B7009B-B5F3-4241-A5CB-DD90F556EEEA}" type="presParOf" srcId="{0DC96522-3668-4255-98E6-5BD38BD3302E}" destId="{13B4496F-3F6C-4A58-BBEC-FA7E2B2E344C}" srcOrd="2" destOrd="0" presId="urn:microsoft.com/office/officeart/2005/8/layout/orgChart1"/>
    <dgm:cxn modelId="{3819FA81-E00D-4EE7-8EC1-6BB399789E07}" type="presParOf" srcId="{35D6DEA2-8CDB-45B0-9440-6FED41772516}" destId="{B7603629-13D7-4A09-AD37-801962CFE87C}" srcOrd="2" destOrd="0" presId="urn:microsoft.com/office/officeart/2005/8/layout/orgChart1"/>
    <dgm:cxn modelId="{F2FEF6B2-AF8B-4BE6-BEB1-3D4134346E9A}" type="presParOf" srcId="{CA822035-7BEB-447D-9F46-140D33B8AEDF}" destId="{91E5345A-8EDC-46D8-A550-F15570D5FE34}" srcOrd="4" destOrd="0" presId="urn:microsoft.com/office/officeart/2005/8/layout/orgChart1"/>
    <dgm:cxn modelId="{56DFD9F1-FA11-412C-9554-91487FD6E31C}" type="presParOf" srcId="{CA822035-7BEB-447D-9F46-140D33B8AEDF}" destId="{42B3B942-8319-45C5-8E2E-485805502891}" srcOrd="5" destOrd="0" presId="urn:microsoft.com/office/officeart/2005/8/layout/orgChart1"/>
    <dgm:cxn modelId="{AB24F6ED-7498-437D-8603-2509D667AEE2}" type="presParOf" srcId="{42B3B942-8319-45C5-8E2E-485805502891}" destId="{3E591267-2AB3-43D2-859E-1971E902BFBC}" srcOrd="0" destOrd="0" presId="urn:microsoft.com/office/officeart/2005/8/layout/orgChart1"/>
    <dgm:cxn modelId="{DD6A35A6-7DF3-47FA-BDDF-9F626A73FC57}" type="presParOf" srcId="{3E591267-2AB3-43D2-859E-1971E902BFBC}" destId="{91D18BC6-84A8-46F6-AACA-66A51F65B7C7}" srcOrd="0" destOrd="0" presId="urn:microsoft.com/office/officeart/2005/8/layout/orgChart1"/>
    <dgm:cxn modelId="{85337C84-C8FA-407A-9348-F9C019C96E19}" type="presParOf" srcId="{3E591267-2AB3-43D2-859E-1971E902BFBC}" destId="{93E42B49-767C-4CB6-ABA0-596F61737D83}" srcOrd="1" destOrd="0" presId="urn:microsoft.com/office/officeart/2005/8/layout/orgChart1"/>
    <dgm:cxn modelId="{6F4DCD25-5472-4540-B760-C84B4CDF6DA7}" type="presParOf" srcId="{42B3B942-8319-45C5-8E2E-485805502891}" destId="{FBAF0FFD-7C5C-414A-9331-0B607E98E593}" srcOrd="1" destOrd="0" presId="urn:microsoft.com/office/officeart/2005/8/layout/orgChart1"/>
    <dgm:cxn modelId="{E4C32A6F-7FBA-49CB-B9A7-583BCA14F2C5}" type="presParOf" srcId="{FBAF0FFD-7C5C-414A-9331-0B607E98E593}" destId="{9D2B0197-98A0-4B10-86A0-B7C061E13047}" srcOrd="0" destOrd="0" presId="urn:microsoft.com/office/officeart/2005/8/layout/orgChart1"/>
    <dgm:cxn modelId="{5A0779B0-7B1D-4213-9F9F-7AAF91BF15E1}" type="presParOf" srcId="{FBAF0FFD-7C5C-414A-9331-0B607E98E593}" destId="{DEFBF53A-22F0-4CD7-BAC2-EF32346DE785}" srcOrd="1" destOrd="0" presId="urn:microsoft.com/office/officeart/2005/8/layout/orgChart1"/>
    <dgm:cxn modelId="{BCBCB19C-B686-4B05-9F80-3A0953DEAF88}" type="presParOf" srcId="{DEFBF53A-22F0-4CD7-BAC2-EF32346DE785}" destId="{633C8836-DA09-40A1-8671-98F12904E3E4}" srcOrd="0" destOrd="0" presId="urn:microsoft.com/office/officeart/2005/8/layout/orgChart1"/>
    <dgm:cxn modelId="{DA12A794-4E70-4049-8FD5-CA672161A5B4}" type="presParOf" srcId="{633C8836-DA09-40A1-8671-98F12904E3E4}" destId="{3A3B1FA7-5701-43A7-866E-BDB6D4EFED63}" srcOrd="0" destOrd="0" presId="urn:microsoft.com/office/officeart/2005/8/layout/orgChart1"/>
    <dgm:cxn modelId="{7A878C8B-D0A2-433E-9D58-2377711C8069}" type="presParOf" srcId="{633C8836-DA09-40A1-8671-98F12904E3E4}" destId="{53B40C02-8788-48E4-90D8-C4B30F0558A0}" srcOrd="1" destOrd="0" presId="urn:microsoft.com/office/officeart/2005/8/layout/orgChart1"/>
    <dgm:cxn modelId="{5D83FB5E-9792-4412-AFA8-75F8C360F009}" type="presParOf" srcId="{DEFBF53A-22F0-4CD7-BAC2-EF32346DE785}" destId="{378B0773-4FC7-4A53-93A8-C8F3AC1ECF33}" srcOrd="1" destOrd="0" presId="urn:microsoft.com/office/officeart/2005/8/layout/orgChart1"/>
    <dgm:cxn modelId="{980A5E42-F92F-4004-B3B2-9697ECF87DC4}" type="presParOf" srcId="{DEFBF53A-22F0-4CD7-BAC2-EF32346DE785}" destId="{A0D94B40-7342-49BE-836E-F6AD94487F24}" srcOrd="2" destOrd="0" presId="urn:microsoft.com/office/officeart/2005/8/layout/orgChart1"/>
    <dgm:cxn modelId="{9D508BDE-0123-45E8-A804-82010006A73C}" type="presParOf" srcId="{FBAF0FFD-7C5C-414A-9331-0B607E98E593}" destId="{76723A5C-B773-402D-A371-2FAEEA6EEFD6}" srcOrd="2" destOrd="0" presId="urn:microsoft.com/office/officeart/2005/8/layout/orgChart1"/>
    <dgm:cxn modelId="{70381183-E988-4ACF-8FD3-B7C55E54A466}" type="presParOf" srcId="{FBAF0FFD-7C5C-414A-9331-0B607E98E593}" destId="{329F48F6-5D41-4E0A-A06E-EA68FA0B4E3D}" srcOrd="3" destOrd="0" presId="urn:microsoft.com/office/officeart/2005/8/layout/orgChart1"/>
    <dgm:cxn modelId="{0F39DDE0-DD62-4034-8859-F41677793FBA}" type="presParOf" srcId="{329F48F6-5D41-4E0A-A06E-EA68FA0B4E3D}" destId="{0C02E5F4-E0DB-4C47-AB3B-8EAAAE563831}" srcOrd="0" destOrd="0" presId="urn:microsoft.com/office/officeart/2005/8/layout/orgChart1"/>
    <dgm:cxn modelId="{845CEC80-9E94-45CD-999F-EC299E837E30}" type="presParOf" srcId="{0C02E5F4-E0DB-4C47-AB3B-8EAAAE563831}" destId="{455CAEBE-A923-4494-BE59-7DAEC9E25CE4}" srcOrd="0" destOrd="0" presId="urn:microsoft.com/office/officeart/2005/8/layout/orgChart1"/>
    <dgm:cxn modelId="{32A3E7D1-C410-49F3-913B-5B9776F2F3FC}" type="presParOf" srcId="{0C02E5F4-E0DB-4C47-AB3B-8EAAAE563831}" destId="{F1EAD2DE-8158-4546-9969-16787DA3D6A7}" srcOrd="1" destOrd="0" presId="urn:microsoft.com/office/officeart/2005/8/layout/orgChart1"/>
    <dgm:cxn modelId="{8F429162-3304-4ED8-876A-D8CC1A72DCCA}" type="presParOf" srcId="{329F48F6-5D41-4E0A-A06E-EA68FA0B4E3D}" destId="{3888CA46-0F71-4AEE-853F-BDDEAA356B49}" srcOrd="1" destOrd="0" presId="urn:microsoft.com/office/officeart/2005/8/layout/orgChart1"/>
    <dgm:cxn modelId="{9E892E43-EE99-4A0D-87C9-BF9DD522EA42}" type="presParOf" srcId="{329F48F6-5D41-4E0A-A06E-EA68FA0B4E3D}" destId="{0CC72246-DB7A-4CE5-981A-10AEA3A8B23A}" srcOrd="2" destOrd="0" presId="urn:microsoft.com/office/officeart/2005/8/layout/orgChart1"/>
    <dgm:cxn modelId="{A58E5F27-1BE2-4B78-B6A9-0CE82A6EB0E9}" type="presParOf" srcId="{FBAF0FFD-7C5C-414A-9331-0B607E98E593}" destId="{40423CBF-2FEE-4522-9530-354121784106}" srcOrd="4" destOrd="0" presId="urn:microsoft.com/office/officeart/2005/8/layout/orgChart1"/>
    <dgm:cxn modelId="{C19AAA30-0EF7-43DF-B78B-41CFF9695E69}" type="presParOf" srcId="{FBAF0FFD-7C5C-414A-9331-0B607E98E593}" destId="{DDFC38C9-6C0C-4F18-83B2-C8B63312A951}" srcOrd="5" destOrd="0" presId="urn:microsoft.com/office/officeart/2005/8/layout/orgChart1"/>
    <dgm:cxn modelId="{1F3F5C10-46BE-4E27-8E6A-B8F50003E89D}" type="presParOf" srcId="{DDFC38C9-6C0C-4F18-83B2-C8B63312A951}" destId="{612DCE91-3CD7-4A80-8FE6-EAC04348F6CE}" srcOrd="0" destOrd="0" presId="urn:microsoft.com/office/officeart/2005/8/layout/orgChart1"/>
    <dgm:cxn modelId="{EBB208B4-591D-482D-9D9B-E136B4601D8C}" type="presParOf" srcId="{612DCE91-3CD7-4A80-8FE6-EAC04348F6CE}" destId="{91893F05-4F97-4DE1-AC35-A3FD03AB1003}" srcOrd="0" destOrd="0" presId="urn:microsoft.com/office/officeart/2005/8/layout/orgChart1"/>
    <dgm:cxn modelId="{699BEDA6-79AC-4079-9C6C-97D015F94F4F}" type="presParOf" srcId="{612DCE91-3CD7-4A80-8FE6-EAC04348F6CE}" destId="{58D6B554-FF8B-4779-9985-06C082A0C4DD}" srcOrd="1" destOrd="0" presId="urn:microsoft.com/office/officeart/2005/8/layout/orgChart1"/>
    <dgm:cxn modelId="{6AAB9804-02A1-4FDD-B6C7-341177B2D3CB}" type="presParOf" srcId="{DDFC38C9-6C0C-4F18-83B2-C8B63312A951}" destId="{8C9823E9-EBE0-45FF-82D8-11A01667E35A}" srcOrd="1" destOrd="0" presId="urn:microsoft.com/office/officeart/2005/8/layout/orgChart1"/>
    <dgm:cxn modelId="{2EC59F95-5D40-416D-9DEA-FDF7A85EFF24}" type="presParOf" srcId="{DDFC38C9-6C0C-4F18-83B2-C8B63312A951}" destId="{6CCE54D1-C9BD-4AE9-A0F1-7842D816F880}" srcOrd="2" destOrd="0" presId="urn:microsoft.com/office/officeart/2005/8/layout/orgChart1"/>
    <dgm:cxn modelId="{18ABAACD-0D70-4F12-9D2C-061DB469E380}" type="presParOf" srcId="{FBAF0FFD-7C5C-414A-9331-0B607E98E593}" destId="{E2038159-00B7-42F4-9843-2176862D5A48}" srcOrd="6" destOrd="0" presId="urn:microsoft.com/office/officeart/2005/8/layout/orgChart1"/>
    <dgm:cxn modelId="{6260ACE8-144A-42E1-A192-259723D1A076}" type="presParOf" srcId="{FBAF0FFD-7C5C-414A-9331-0B607E98E593}" destId="{377CCA4B-CDFE-477C-AD9C-617E1EFC4640}" srcOrd="7" destOrd="0" presId="urn:microsoft.com/office/officeart/2005/8/layout/orgChart1"/>
    <dgm:cxn modelId="{0F38AD0D-F9F8-41F9-BA40-6DEFD3B19587}" type="presParOf" srcId="{377CCA4B-CDFE-477C-AD9C-617E1EFC4640}" destId="{8A4EE17E-611F-4A7D-B571-EC88C6AFB729}" srcOrd="0" destOrd="0" presId="urn:microsoft.com/office/officeart/2005/8/layout/orgChart1"/>
    <dgm:cxn modelId="{1F59E6B2-39ED-4E52-B4B5-526D22793A37}" type="presParOf" srcId="{8A4EE17E-611F-4A7D-B571-EC88C6AFB729}" destId="{951E3E53-BC2F-4245-B79C-B2187531E7DE}" srcOrd="0" destOrd="0" presId="urn:microsoft.com/office/officeart/2005/8/layout/orgChart1"/>
    <dgm:cxn modelId="{A6F2BA7E-1534-45CE-B664-ACCD9A6AD322}" type="presParOf" srcId="{8A4EE17E-611F-4A7D-B571-EC88C6AFB729}" destId="{14CAB009-50FB-4162-8534-5C800001989E}" srcOrd="1" destOrd="0" presId="urn:microsoft.com/office/officeart/2005/8/layout/orgChart1"/>
    <dgm:cxn modelId="{B519877C-105D-44A6-BAE7-41D5239F3686}" type="presParOf" srcId="{377CCA4B-CDFE-477C-AD9C-617E1EFC4640}" destId="{0CBC5C3F-B634-4375-A91D-E034392A3ED7}" srcOrd="1" destOrd="0" presId="urn:microsoft.com/office/officeart/2005/8/layout/orgChart1"/>
    <dgm:cxn modelId="{D5059338-58BF-4A14-BBDE-82644CFF75C9}" type="presParOf" srcId="{377CCA4B-CDFE-477C-AD9C-617E1EFC4640}" destId="{1DBA6F90-C3DA-4690-A268-D6E6557F86AB}" srcOrd="2" destOrd="0" presId="urn:microsoft.com/office/officeart/2005/8/layout/orgChart1"/>
    <dgm:cxn modelId="{AA0D65D7-B6A2-4D15-870A-C0C92156B16E}" type="presParOf" srcId="{42B3B942-8319-45C5-8E2E-485805502891}" destId="{4879E6D0-9213-4820-AD2F-37F6ABD0EDF2}" srcOrd="2" destOrd="0" presId="urn:microsoft.com/office/officeart/2005/8/layout/orgChart1"/>
    <dgm:cxn modelId="{BC0231B3-6CB7-4758-A45E-53326C2CFE55}" type="presParOf" srcId="{0E4E3522-5C61-476D-96A4-E04E03D11441}" destId="{5E3C21A8-634A-44B4-BD6E-CC897C86C15A}"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28319DE-6729-4F63-B3CC-DC25855D337F}" type="doc">
      <dgm:prSet loTypeId="urn:microsoft.com/office/officeart/2005/8/layout/orgChart1" loCatId="hierarchy" qsTypeId="urn:microsoft.com/office/officeart/2005/8/quickstyle/simple1" qsCatId="simple" csTypeId="urn:microsoft.com/office/officeart/2005/8/colors/colorful2" csCatId="colorful" phldr="1"/>
      <dgm:spPr/>
      <dgm:t>
        <a:bodyPr/>
        <a:lstStyle/>
        <a:p>
          <a:endParaRPr lang="en-IN"/>
        </a:p>
      </dgm:t>
    </dgm:pt>
    <dgm:pt modelId="{E38B1CA5-4BC2-4520-8E1B-6F162A2F8AB5}">
      <dgm:prSet phldrT="[Text]" custT="1"/>
      <dgm:spPr>
        <a:solidFill>
          <a:schemeClr val="accent5">
            <a:lumMod val="50000"/>
          </a:schemeClr>
        </a:solidFill>
        <a:effectLst>
          <a:outerShdw blurRad="63500" sx="102000" sy="102000" algn="ctr" rotWithShape="0">
            <a:prstClr val="black">
              <a:alpha val="40000"/>
            </a:prstClr>
          </a:outerShdw>
        </a:effectLst>
      </dgm:spPr>
      <dgm:t>
        <a:bodyPr/>
        <a:lstStyle/>
        <a:p>
          <a:r>
            <a:rPr lang="en-IN" sz="1800" b="1" dirty="0">
              <a:latin typeface="Century Gothic" panose="020B0502020202020204" pitchFamily="34" charset="0"/>
              <a:cs typeface="Calibri" panose="020F0502020204030204" pitchFamily="34" charset="0"/>
            </a:rPr>
            <a:t>BOSS</a:t>
          </a:r>
        </a:p>
      </dgm:t>
    </dgm:pt>
    <dgm:pt modelId="{941A653A-B70E-4E86-8512-C141503E974A}" type="parTrans" cxnId="{7E4A66B9-C527-477C-BB62-5ED274A83425}">
      <dgm:prSet/>
      <dgm:spPr/>
      <dgm:t>
        <a:bodyPr/>
        <a:lstStyle/>
        <a:p>
          <a:endParaRPr lang="en-IN" sz="1200" b="1">
            <a:latin typeface="Century Gothic" panose="020B0502020202020204" pitchFamily="34" charset="0"/>
            <a:cs typeface="Calibri" panose="020F0502020204030204" pitchFamily="34" charset="0"/>
          </a:endParaRPr>
        </a:p>
      </dgm:t>
    </dgm:pt>
    <dgm:pt modelId="{A16A5867-F66C-45B7-97ED-1EFF15F04ABB}" type="sibTrans" cxnId="{7E4A66B9-C527-477C-BB62-5ED274A83425}">
      <dgm:prSet/>
      <dgm:spPr/>
      <dgm:t>
        <a:bodyPr/>
        <a:lstStyle/>
        <a:p>
          <a:endParaRPr lang="en-IN" sz="1200" b="1">
            <a:latin typeface="Century Gothic" panose="020B0502020202020204" pitchFamily="34" charset="0"/>
            <a:cs typeface="Calibri" panose="020F0502020204030204" pitchFamily="34" charset="0"/>
          </a:endParaRPr>
        </a:p>
      </dgm:t>
    </dgm:pt>
    <dgm:pt modelId="{6FAC41FE-31ED-4BA3-93BD-7FB974E6784A}">
      <dgm:prSet phldrT="[Text]" custT="1"/>
      <dgm:spPr>
        <a:solidFill>
          <a:schemeClr val="bg2"/>
        </a:solidFill>
        <a:ln>
          <a:solidFill>
            <a:schemeClr val="bg2"/>
          </a:solidFill>
        </a:ln>
        <a:effectLst>
          <a:outerShdw blurRad="50800" dist="38100" dir="5400000" algn="t" rotWithShape="0">
            <a:prstClr val="black">
              <a:alpha val="40000"/>
            </a:prstClr>
          </a:outerShdw>
        </a:effectLst>
      </dgm:spPr>
      <dgm:t>
        <a:bodyPr/>
        <a:lstStyle/>
        <a:p>
          <a:r>
            <a:rPr lang="en-IN" sz="1200" b="1" dirty="0">
              <a:solidFill>
                <a:schemeClr val="tx1"/>
              </a:solidFill>
              <a:latin typeface="Century Gothic" panose="020B0502020202020204" pitchFamily="34" charset="0"/>
              <a:cs typeface="Calibri" panose="020F0502020204030204" pitchFamily="34" charset="0"/>
            </a:rPr>
            <a:t>1115 (11.1T)</a:t>
          </a:r>
        </a:p>
      </dgm:t>
    </dgm:pt>
    <dgm:pt modelId="{34CCF529-7DA1-4B47-8158-6837921DB000}" type="parTrans" cxnId="{20797773-EB97-4C32-8EBD-F682CB3C0CD7}">
      <dgm:prSet/>
      <dgm:spPr>
        <a:ln>
          <a:solidFill>
            <a:schemeClr val="bg2">
              <a:lumMod val="25000"/>
            </a:schemeClr>
          </a:solidFill>
        </a:ln>
      </dgm:spPr>
      <dgm:t>
        <a:bodyPr/>
        <a:lstStyle/>
        <a:p>
          <a:endParaRPr lang="en-IN" sz="1200" b="1">
            <a:latin typeface="Century Gothic" panose="020B0502020202020204" pitchFamily="34" charset="0"/>
            <a:cs typeface="Calibri" panose="020F0502020204030204" pitchFamily="34" charset="0"/>
          </a:endParaRPr>
        </a:p>
      </dgm:t>
    </dgm:pt>
    <dgm:pt modelId="{B643F0C8-0A53-4FAE-850F-9DAC00510047}" type="sibTrans" cxnId="{20797773-EB97-4C32-8EBD-F682CB3C0CD7}">
      <dgm:prSet/>
      <dgm:spPr/>
      <dgm:t>
        <a:bodyPr/>
        <a:lstStyle/>
        <a:p>
          <a:endParaRPr lang="en-IN" sz="1200" b="1">
            <a:latin typeface="Century Gothic" panose="020B0502020202020204" pitchFamily="34" charset="0"/>
            <a:cs typeface="Calibri" panose="020F0502020204030204" pitchFamily="34" charset="0"/>
          </a:endParaRPr>
        </a:p>
      </dgm:t>
    </dgm:pt>
    <dgm:pt modelId="{A9A38E9F-799C-49F3-A3E5-E10488228A3F}">
      <dgm:prSet phldrT="[Text]" custT="1"/>
      <dgm:spPr>
        <a:solidFill>
          <a:schemeClr val="bg2"/>
        </a:solidFill>
        <a:ln>
          <a:solidFill>
            <a:schemeClr val="bg2"/>
          </a:solidFill>
        </a:ln>
        <a:effectLst>
          <a:outerShdw blurRad="50800" dist="38100" dir="5400000" algn="t" rotWithShape="0">
            <a:prstClr val="black">
              <a:alpha val="40000"/>
            </a:prstClr>
          </a:outerShdw>
        </a:effectLst>
      </dgm:spPr>
      <dgm:t>
        <a:bodyPr/>
        <a:lstStyle/>
        <a:p>
          <a:r>
            <a:rPr lang="en-IN" sz="1200" b="1" dirty="0">
              <a:solidFill>
                <a:schemeClr val="tx1"/>
              </a:solidFill>
              <a:latin typeface="Century Gothic" panose="020B0502020202020204" pitchFamily="34" charset="0"/>
              <a:cs typeface="Calibri" panose="020F0502020204030204" pitchFamily="34" charset="0"/>
            </a:rPr>
            <a:t>1215 (11.9T)</a:t>
          </a:r>
        </a:p>
      </dgm:t>
    </dgm:pt>
    <dgm:pt modelId="{8E076D2D-0202-4F8C-93B8-ED12421D3118}" type="parTrans" cxnId="{DCE8DCBF-5F96-45C0-B25D-13E8F81522A1}">
      <dgm:prSet/>
      <dgm:spPr>
        <a:ln>
          <a:solidFill>
            <a:schemeClr val="bg2">
              <a:lumMod val="25000"/>
            </a:schemeClr>
          </a:solidFill>
        </a:ln>
      </dgm:spPr>
      <dgm:t>
        <a:bodyPr/>
        <a:lstStyle/>
        <a:p>
          <a:endParaRPr lang="en-IN" sz="1200" b="1">
            <a:latin typeface="Century Gothic" panose="020B0502020202020204" pitchFamily="34" charset="0"/>
            <a:cs typeface="Calibri" panose="020F0502020204030204" pitchFamily="34" charset="0"/>
          </a:endParaRPr>
        </a:p>
      </dgm:t>
    </dgm:pt>
    <dgm:pt modelId="{216091B7-1290-4F6F-BF47-9975A02C6ADD}" type="sibTrans" cxnId="{DCE8DCBF-5F96-45C0-B25D-13E8F81522A1}">
      <dgm:prSet/>
      <dgm:spPr/>
      <dgm:t>
        <a:bodyPr/>
        <a:lstStyle/>
        <a:p>
          <a:endParaRPr lang="en-IN" sz="1200" b="1">
            <a:latin typeface="Century Gothic" panose="020B0502020202020204" pitchFamily="34" charset="0"/>
            <a:cs typeface="Calibri" panose="020F0502020204030204" pitchFamily="34" charset="0"/>
          </a:endParaRPr>
        </a:p>
      </dgm:t>
    </dgm:pt>
    <dgm:pt modelId="{73B4EDEB-B342-4A40-BB8F-A9BD60E4CC93}">
      <dgm:prSet phldrT="[Text]" custT="1"/>
      <dgm:spPr>
        <a:solidFill>
          <a:schemeClr val="bg2"/>
        </a:solidFill>
        <a:ln>
          <a:solidFill>
            <a:schemeClr val="bg2"/>
          </a:solidFill>
        </a:ln>
        <a:effectLst>
          <a:outerShdw blurRad="50800" dist="38100" dir="5400000" algn="t" rotWithShape="0">
            <a:prstClr val="black">
              <a:alpha val="40000"/>
            </a:prstClr>
          </a:outerShdw>
        </a:effectLst>
      </dgm:spPr>
      <dgm:t>
        <a:bodyPr/>
        <a:lstStyle/>
        <a:p>
          <a:r>
            <a:rPr lang="en-IN" sz="1200" b="1" dirty="0">
              <a:solidFill>
                <a:schemeClr val="tx1"/>
              </a:solidFill>
              <a:latin typeface="Century Gothic" panose="020B0502020202020204" pitchFamily="34" charset="0"/>
              <a:cs typeface="Calibri" panose="020F0502020204030204" pitchFamily="34" charset="0"/>
            </a:rPr>
            <a:t>1315 (13.1T)</a:t>
          </a:r>
        </a:p>
      </dgm:t>
    </dgm:pt>
    <dgm:pt modelId="{EFDDD1CC-27FD-40B2-8549-4ADAC18C12E4}" type="parTrans" cxnId="{4C6B98B3-1DA2-456C-9AE2-9DC6144C78B1}">
      <dgm:prSet/>
      <dgm:spPr>
        <a:ln>
          <a:solidFill>
            <a:schemeClr val="bg2">
              <a:lumMod val="25000"/>
            </a:schemeClr>
          </a:solidFill>
        </a:ln>
      </dgm:spPr>
      <dgm:t>
        <a:bodyPr/>
        <a:lstStyle/>
        <a:p>
          <a:endParaRPr lang="en-IN" sz="1200" b="1">
            <a:latin typeface="Century Gothic" panose="020B0502020202020204" pitchFamily="34" charset="0"/>
            <a:cs typeface="Calibri" panose="020F0502020204030204" pitchFamily="34" charset="0"/>
          </a:endParaRPr>
        </a:p>
      </dgm:t>
    </dgm:pt>
    <dgm:pt modelId="{5D5F6EEF-2037-4F9A-B3D6-6D1DEBEAD5D4}" type="sibTrans" cxnId="{4C6B98B3-1DA2-456C-9AE2-9DC6144C78B1}">
      <dgm:prSet/>
      <dgm:spPr/>
      <dgm:t>
        <a:bodyPr/>
        <a:lstStyle/>
        <a:p>
          <a:endParaRPr lang="en-IN" sz="1200" b="1">
            <a:latin typeface="Century Gothic" panose="020B0502020202020204" pitchFamily="34" charset="0"/>
            <a:cs typeface="Calibri" panose="020F0502020204030204" pitchFamily="34" charset="0"/>
          </a:endParaRPr>
        </a:p>
      </dgm:t>
    </dgm:pt>
    <dgm:pt modelId="{AF22B52D-E12A-4FE0-A026-D03A63D5B14D}">
      <dgm:prSet custT="1"/>
      <dgm:spPr>
        <a:solidFill>
          <a:schemeClr val="bg2"/>
        </a:solidFill>
        <a:ln>
          <a:solidFill>
            <a:schemeClr val="bg2"/>
          </a:solidFill>
        </a:ln>
        <a:effectLst>
          <a:outerShdw blurRad="50800" dist="38100" dir="5400000" algn="t" rotWithShape="0">
            <a:prstClr val="black">
              <a:alpha val="40000"/>
            </a:prstClr>
          </a:outerShdw>
        </a:effectLst>
      </dgm:spPr>
      <dgm:t>
        <a:bodyPr/>
        <a:lstStyle/>
        <a:p>
          <a:r>
            <a:rPr lang="en-IN" sz="1200" b="1" dirty="0">
              <a:solidFill>
                <a:schemeClr val="tx1"/>
              </a:solidFill>
              <a:latin typeface="Century Gothic" panose="020B0502020202020204" pitchFamily="34" charset="0"/>
              <a:cs typeface="Calibri" panose="020F0502020204030204" pitchFamily="34" charset="0"/>
            </a:rPr>
            <a:t>1415 (14T)</a:t>
          </a:r>
        </a:p>
      </dgm:t>
    </dgm:pt>
    <dgm:pt modelId="{E342C92F-E49D-4D40-BEA7-8DDA3D7EFAAF}" type="parTrans" cxnId="{E6FF6AA9-FCB0-40C6-AF3B-5D68D8741D92}">
      <dgm:prSet/>
      <dgm:spPr>
        <a:ln>
          <a:solidFill>
            <a:schemeClr val="bg2">
              <a:lumMod val="25000"/>
            </a:schemeClr>
          </a:solidFill>
        </a:ln>
      </dgm:spPr>
      <dgm:t>
        <a:bodyPr/>
        <a:lstStyle/>
        <a:p>
          <a:endParaRPr lang="en-IN" sz="1200" b="1">
            <a:latin typeface="Century Gothic" panose="020B0502020202020204" pitchFamily="34" charset="0"/>
            <a:cs typeface="Calibri" panose="020F0502020204030204" pitchFamily="34" charset="0"/>
          </a:endParaRPr>
        </a:p>
      </dgm:t>
    </dgm:pt>
    <dgm:pt modelId="{AD90C176-1B00-4EEE-9026-1B04353B5A66}" type="sibTrans" cxnId="{E6FF6AA9-FCB0-40C6-AF3B-5D68D8741D92}">
      <dgm:prSet/>
      <dgm:spPr/>
      <dgm:t>
        <a:bodyPr/>
        <a:lstStyle/>
        <a:p>
          <a:endParaRPr lang="en-IN" sz="1200" b="1">
            <a:latin typeface="Century Gothic" panose="020B0502020202020204" pitchFamily="34" charset="0"/>
            <a:cs typeface="Calibri" panose="020F0502020204030204" pitchFamily="34" charset="0"/>
          </a:endParaRPr>
        </a:p>
      </dgm:t>
    </dgm:pt>
    <dgm:pt modelId="{7382B4A1-3769-4B67-AF1B-ED96ACB129F6}">
      <dgm:prSet custT="1"/>
      <dgm:spPr>
        <a:solidFill>
          <a:schemeClr val="accent5">
            <a:lumMod val="50000"/>
          </a:schemeClr>
        </a:solidFill>
        <a:effectLst>
          <a:outerShdw blurRad="50800" dist="38100" dir="5400000" algn="t" rotWithShape="0">
            <a:prstClr val="black">
              <a:alpha val="40000"/>
            </a:prstClr>
          </a:outerShdw>
        </a:effectLst>
      </dgm:spPr>
      <dgm:t>
        <a:bodyPr/>
        <a:lstStyle/>
        <a:p>
          <a:r>
            <a:rPr lang="en-IN" sz="1200" b="1" dirty="0">
              <a:latin typeface="Century Gothic" panose="020B0502020202020204" pitchFamily="34" charset="0"/>
              <a:cs typeface="Calibri" panose="020F0502020204030204" pitchFamily="34" charset="0"/>
            </a:rPr>
            <a:t>TIPPER</a:t>
          </a:r>
        </a:p>
      </dgm:t>
    </dgm:pt>
    <dgm:pt modelId="{5A7B0401-B7DE-49AE-9481-2B8E95B37391}" type="parTrans" cxnId="{F940130A-960F-4E98-B51E-26C3BD513001}">
      <dgm:prSet/>
      <dgm:spPr>
        <a:ln>
          <a:solidFill>
            <a:schemeClr val="bg2">
              <a:lumMod val="25000"/>
            </a:schemeClr>
          </a:solidFill>
        </a:ln>
      </dgm:spPr>
      <dgm:t>
        <a:bodyPr/>
        <a:lstStyle/>
        <a:p>
          <a:endParaRPr lang="en-IN" sz="1200" b="1">
            <a:latin typeface="Century Gothic" panose="020B0502020202020204" pitchFamily="34" charset="0"/>
            <a:cs typeface="Calibri" panose="020F0502020204030204" pitchFamily="34" charset="0"/>
          </a:endParaRPr>
        </a:p>
      </dgm:t>
    </dgm:pt>
    <dgm:pt modelId="{522094CB-D9A6-4F87-AD1B-D44A4CAADD71}" type="sibTrans" cxnId="{F940130A-960F-4E98-B51E-26C3BD513001}">
      <dgm:prSet/>
      <dgm:spPr/>
      <dgm:t>
        <a:bodyPr/>
        <a:lstStyle/>
        <a:p>
          <a:endParaRPr lang="en-IN" sz="1200" b="1">
            <a:latin typeface="Century Gothic" panose="020B0502020202020204" pitchFamily="34" charset="0"/>
            <a:cs typeface="Calibri" panose="020F0502020204030204" pitchFamily="34" charset="0"/>
          </a:endParaRPr>
        </a:p>
      </dgm:t>
    </dgm:pt>
    <dgm:pt modelId="{A1CCD5AF-65CF-41FA-A074-336CD47E51B1}">
      <dgm:prSet custT="1"/>
      <dgm:spPr>
        <a:solidFill>
          <a:schemeClr val="accent5">
            <a:lumMod val="50000"/>
          </a:schemeClr>
        </a:solidFill>
        <a:effectLst>
          <a:outerShdw blurRad="50800" dist="38100" dir="5400000" algn="t" rotWithShape="0">
            <a:prstClr val="black">
              <a:alpha val="40000"/>
            </a:prstClr>
          </a:outerShdw>
        </a:effectLst>
      </dgm:spPr>
      <dgm:t>
        <a:bodyPr/>
        <a:lstStyle/>
        <a:p>
          <a:r>
            <a:rPr lang="en-IN" sz="1200" b="1" dirty="0">
              <a:latin typeface="Century Gothic" panose="020B0502020202020204" pitchFamily="34" charset="0"/>
              <a:cs typeface="Calibri" panose="020F0502020204030204" pitchFamily="34" charset="0"/>
            </a:rPr>
            <a:t>HAUL</a:t>
          </a:r>
        </a:p>
      </dgm:t>
    </dgm:pt>
    <dgm:pt modelId="{F0891EA1-4C71-4739-B131-2AF0BCAD8E40}" type="parTrans" cxnId="{71E34682-2D41-4C11-AEA6-00934F00A00A}">
      <dgm:prSet/>
      <dgm:spPr>
        <a:ln>
          <a:solidFill>
            <a:schemeClr val="bg2">
              <a:lumMod val="25000"/>
            </a:schemeClr>
          </a:solidFill>
        </a:ln>
      </dgm:spPr>
      <dgm:t>
        <a:bodyPr/>
        <a:lstStyle/>
        <a:p>
          <a:endParaRPr lang="en-IN" sz="1200" b="1">
            <a:latin typeface="Century Gothic" panose="020B0502020202020204" pitchFamily="34" charset="0"/>
            <a:cs typeface="Calibri" panose="020F0502020204030204" pitchFamily="34" charset="0"/>
          </a:endParaRPr>
        </a:p>
      </dgm:t>
    </dgm:pt>
    <dgm:pt modelId="{B2BB9A5D-691A-41E3-99BE-78E7038BA3C8}" type="sibTrans" cxnId="{71E34682-2D41-4C11-AEA6-00934F00A00A}">
      <dgm:prSet/>
      <dgm:spPr/>
      <dgm:t>
        <a:bodyPr/>
        <a:lstStyle/>
        <a:p>
          <a:endParaRPr lang="en-IN" sz="1200" b="1">
            <a:latin typeface="Century Gothic" panose="020B0502020202020204" pitchFamily="34" charset="0"/>
            <a:cs typeface="Calibri" panose="020F0502020204030204" pitchFamily="34" charset="0"/>
          </a:endParaRPr>
        </a:p>
      </dgm:t>
    </dgm:pt>
    <dgm:pt modelId="{0EFB1B8C-2628-482B-A661-E942E3CA2807}">
      <dgm:prSet custT="1"/>
      <dgm:spPr>
        <a:solidFill>
          <a:schemeClr val="accent5">
            <a:lumMod val="50000"/>
          </a:schemeClr>
        </a:solidFill>
        <a:effectLst>
          <a:outerShdw blurRad="50800" dist="38100" dir="5400000" algn="t" rotWithShape="0">
            <a:prstClr val="black">
              <a:alpha val="40000"/>
            </a:prstClr>
          </a:outerShdw>
        </a:effectLst>
      </dgm:spPr>
      <dgm:t>
        <a:bodyPr/>
        <a:lstStyle/>
        <a:p>
          <a:r>
            <a:rPr lang="en-IN" sz="1200" b="1" dirty="0">
              <a:latin typeface="Century Gothic" panose="020B0502020202020204" pitchFamily="34" charset="0"/>
              <a:cs typeface="Calibri" panose="020F0502020204030204" pitchFamily="34" charset="0"/>
            </a:rPr>
            <a:t>HAUL</a:t>
          </a:r>
        </a:p>
      </dgm:t>
    </dgm:pt>
    <dgm:pt modelId="{EBA03A76-395C-4CB7-9F49-451FF6702E5C}" type="parTrans" cxnId="{B7125BF3-3992-4918-B387-DB01F6D4A51C}">
      <dgm:prSet/>
      <dgm:spPr>
        <a:ln>
          <a:solidFill>
            <a:schemeClr val="bg2">
              <a:lumMod val="25000"/>
            </a:schemeClr>
          </a:solidFill>
        </a:ln>
      </dgm:spPr>
      <dgm:t>
        <a:bodyPr/>
        <a:lstStyle/>
        <a:p>
          <a:endParaRPr lang="en-IN" sz="1200" b="1">
            <a:latin typeface="Century Gothic" panose="020B0502020202020204" pitchFamily="34" charset="0"/>
            <a:cs typeface="Calibri" panose="020F0502020204030204" pitchFamily="34" charset="0"/>
          </a:endParaRPr>
        </a:p>
      </dgm:t>
    </dgm:pt>
    <dgm:pt modelId="{6C42FA60-1682-49B2-B522-03945D1E0C2C}" type="sibTrans" cxnId="{B7125BF3-3992-4918-B387-DB01F6D4A51C}">
      <dgm:prSet/>
      <dgm:spPr/>
      <dgm:t>
        <a:bodyPr/>
        <a:lstStyle/>
        <a:p>
          <a:endParaRPr lang="en-IN" sz="1200" b="1">
            <a:latin typeface="Century Gothic" panose="020B0502020202020204" pitchFamily="34" charset="0"/>
            <a:cs typeface="Calibri" panose="020F0502020204030204" pitchFamily="34" charset="0"/>
          </a:endParaRPr>
        </a:p>
      </dgm:t>
    </dgm:pt>
    <dgm:pt modelId="{5ED9EB76-71F7-4A7B-9919-A05AAECD493D}">
      <dgm:prSet custT="1"/>
      <dgm:spPr>
        <a:solidFill>
          <a:schemeClr val="accent5">
            <a:lumMod val="50000"/>
          </a:schemeClr>
        </a:solidFill>
        <a:effectLst>
          <a:outerShdw blurRad="50800" dist="38100" dir="5400000" algn="t" rotWithShape="0">
            <a:prstClr val="black">
              <a:alpha val="40000"/>
            </a:prstClr>
          </a:outerShdw>
        </a:effectLst>
      </dgm:spPr>
      <dgm:t>
        <a:bodyPr/>
        <a:lstStyle/>
        <a:p>
          <a:r>
            <a:rPr lang="en-IN" sz="1200" b="1" dirty="0">
              <a:latin typeface="Century Gothic" panose="020B0502020202020204" pitchFamily="34" charset="0"/>
              <a:cs typeface="Calibri" panose="020F0502020204030204" pitchFamily="34" charset="0"/>
            </a:rPr>
            <a:t>HAUL</a:t>
          </a:r>
        </a:p>
      </dgm:t>
    </dgm:pt>
    <dgm:pt modelId="{7DB2A198-DB51-4052-934E-7B442274273C}" type="parTrans" cxnId="{822C930A-87E2-45C8-82E1-AD175E9424F5}">
      <dgm:prSet/>
      <dgm:spPr>
        <a:ln>
          <a:solidFill>
            <a:schemeClr val="bg2">
              <a:lumMod val="25000"/>
            </a:schemeClr>
          </a:solidFill>
        </a:ln>
      </dgm:spPr>
      <dgm:t>
        <a:bodyPr/>
        <a:lstStyle/>
        <a:p>
          <a:endParaRPr lang="en-IN" sz="1200" b="1">
            <a:latin typeface="Century Gothic" panose="020B0502020202020204" pitchFamily="34" charset="0"/>
            <a:cs typeface="Calibri" panose="020F0502020204030204" pitchFamily="34" charset="0"/>
          </a:endParaRPr>
        </a:p>
      </dgm:t>
    </dgm:pt>
    <dgm:pt modelId="{AD43BF56-97A8-4BD0-A78E-1BC5970B521C}" type="sibTrans" cxnId="{822C930A-87E2-45C8-82E1-AD175E9424F5}">
      <dgm:prSet/>
      <dgm:spPr/>
      <dgm:t>
        <a:bodyPr/>
        <a:lstStyle/>
        <a:p>
          <a:endParaRPr lang="en-IN" sz="1200" b="1">
            <a:latin typeface="Century Gothic" panose="020B0502020202020204" pitchFamily="34" charset="0"/>
            <a:cs typeface="Calibri" panose="020F0502020204030204" pitchFamily="34" charset="0"/>
          </a:endParaRPr>
        </a:p>
      </dgm:t>
    </dgm:pt>
    <dgm:pt modelId="{3B381816-0702-4102-96D3-D07BEFC78F0B}">
      <dgm:prSet custT="1"/>
      <dgm:spPr>
        <a:solidFill>
          <a:schemeClr val="bg2"/>
        </a:solidFill>
        <a:effectLst>
          <a:outerShdw blurRad="50800" dist="38100" dir="5400000" algn="t" rotWithShape="0">
            <a:prstClr val="black">
              <a:alpha val="40000"/>
            </a:prstClr>
          </a:outerShdw>
        </a:effectLst>
      </dgm:spPr>
      <dgm:t>
        <a:bodyPr/>
        <a:lstStyle/>
        <a:p>
          <a:r>
            <a:rPr lang="en-IN" sz="1200" dirty="0">
              <a:solidFill>
                <a:schemeClr val="tx1"/>
              </a:solidFill>
              <a:latin typeface="Century Gothic" panose="020B0502020202020204" pitchFamily="34" charset="0"/>
              <a:cs typeface="Calibri" panose="020F0502020204030204" pitchFamily="34" charset="0"/>
            </a:rPr>
            <a:t>14’ – 3400 WB</a:t>
          </a:r>
          <a:endParaRPr lang="en-IN" sz="1200" b="1" dirty="0">
            <a:solidFill>
              <a:schemeClr val="tx1"/>
            </a:solidFill>
            <a:latin typeface="Century Gothic" panose="020B0502020202020204" pitchFamily="34" charset="0"/>
            <a:cs typeface="Calibri" panose="020F0502020204030204" pitchFamily="34" charset="0"/>
          </a:endParaRPr>
        </a:p>
      </dgm:t>
    </dgm:pt>
    <dgm:pt modelId="{6A3CCA62-DE52-47B0-8342-38B846AEADBB}" type="parTrans" cxnId="{DDB19918-B1F4-4491-95CE-2D53C433D458}">
      <dgm:prSet/>
      <dgm:spPr>
        <a:ln>
          <a:solidFill>
            <a:schemeClr val="bg2">
              <a:lumMod val="25000"/>
            </a:schemeClr>
          </a:solidFill>
        </a:ln>
      </dgm:spPr>
      <dgm:t>
        <a:bodyPr/>
        <a:lstStyle/>
        <a:p>
          <a:endParaRPr lang="en-IN" sz="1200" b="1">
            <a:latin typeface="Century Gothic" panose="020B0502020202020204" pitchFamily="34" charset="0"/>
            <a:cs typeface="Calibri" panose="020F0502020204030204" pitchFamily="34" charset="0"/>
          </a:endParaRPr>
        </a:p>
      </dgm:t>
    </dgm:pt>
    <dgm:pt modelId="{C90D6144-5AF5-459F-9BF3-8AED6408A70B}" type="sibTrans" cxnId="{DDB19918-B1F4-4491-95CE-2D53C433D458}">
      <dgm:prSet/>
      <dgm:spPr/>
      <dgm:t>
        <a:bodyPr/>
        <a:lstStyle/>
        <a:p>
          <a:endParaRPr lang="en-IN" sz="1200" b="1">
            <a:latin typeface="Century Gothic" panose="020B0502020202020204" pitchFamily="34" charset="0"/>
            <a:cs typeface="Calibri" panose="020F0502020204030204" pitchFamily="34" charset="0"/>
          </a:endParaRPr>
        </a:p>
      </dgm:t>
    </dgm:pt>
    <dgm:pt modelId="{2399F154-E8BD-41B6-B5F8-E5A02E2F7BB0}">
      <dgm:prSet custT="1"/>
      <dgm:spPr>
        <a:solidFill>
          <a:schemeClr val="bg2"/>
        </a:solidFill>
        <a:effectLst>
          <a:outerShdw blurRad="50800" dist="38100" dir="5400000" algn="t" rotWithShape="0">
            <a:prstClr val="black">
              <a:alpha val="40000"/>
            </a:prstClr>
          </a:outerShdw>
        </a:effectLst>
      </dgm:spPr>
      <dgm:t>
        <a:bodyPr/>
        <a:lstStyle/>
        <a:p>
          <a:r>
            <a:rPr lang="en-IN" sz="1200" dirty="0">
              <a:solidFill>
                <a:schemeClr val="tx1"/>
              </a:solidFill>
              <a:latin typeface="Century Gothic" panose="020B0502020202020204" pitchFamily="34" charset="0"/>
              <a:cs typeface="Calibri" panose="020F0502020204030204" pitchFamily="34" charset="0"/>
            </a:rPr>
            <a:t>14’ – 3400 WB</a:t>
          </a:r>
          <a:endParaRPr lang="en-IN" sz="1200" b="1" dirty="0">
            <a:solidFill>
              <a:schemeClr val="tx1"/>
            </a:solidFill>
            <a:latin typeface="Century Gothic" panose="020B0502020202020204" pitchFamily="34" charset="0"/>
            <a:cs typeface="Calibri" panose="020F0502020204030204" pitchFamily="34" charset="0"/>
          </a:endParaRPr>
        </a:p>
      </dgm:t>
    </dgm:pt>
    <dgm:pt modelId="{6E20C829-094E-4082-8ED0-7FEDC6CB5F35}" type="parTrans" cxnId="{6DD9166A-FE73-4165-9641-6C2A597A36FD}">
      <dgm:prSet/>
      <dgm:spPr>
        <a:ln>
          <a:solidFill>
            <a:schemeClr val="bg2">
              <a:lumMod val="25000"/>
            </a:schemeClr>
          </a:solidFill>
        </a:ln>
      </dgm:spPr>
      <dgm:t>
        <a:bodyPr/>
        <a:lstStyle/>
        <a:p>
          <a:endParaRPr lang="en-IN" sz="1200" b="1">
            <a:latin typeface="Century Gothic" panose="020B0502020202020204" pitchFamily="34" charset="0"/>
            <a:cs typeface="Calibri" panose="020F0502020204030204" pitchFamily="34" charset="0"/>
          </a:endParaRPr>
        </a:p>
      </dgm:t>
    </dgm:pt>
    <dgm:pt modelId="{C122CD9F-CB2F-4C78-8B26-90D2DB7337B2}" type="sibTrans" cxnId="{6DD9166A-FE73-4165-9641-6C2A597A36FD}">
      <dgm:prSet/>
      <dgm:spPr/>
      <dgm:t>
        <a:bodyPr/>
        <a:lstStyle/>
        <a:p>
          <a:endParaRPr lang="en-IN" sz="1200" b="1">
            <a:latin typeface="Century Gothic" panose="020B0502020202020204" pitchFamily="34" charset="0"/>
            <a:cs typeface="Calibri" panose="020F0502020204030204" pitchFamily="34" charset="0"/>
          </a:endParaRPr>
        </a:p>
      </dgm:t>
    </dgm:pt>
    <dgm:pt modelId="{E0094BAB-15FE-4CFC-81DE-843796C6C246}">
      <dgm:prSet custT="1"/>
      <dgm:spPr>
        <a:solidFill>
          <a:schemeClr val="bg2"/>
        </a:solidFill>
        <a:effectLst>
          <a:outerShdw blurRad="50800" dist="38100" dir="5400000" algn="t" rotWithShape="0">
            <a:prstClr val="black">
              <a:alpha val="40000"/>
            </a:prstClr>
          </a:outerShdw>
        </a:effectLst>
      </dgm:spPr>
      <dgm:t>
        <a:bodyPr/>
        <a:lstStyle/>
        <a:p>
          <a:r>
            <a:rPr lang="en-IN" sz="1200" dirty="0">
              <a:solidFill>
                <a:schemeClr val="tx1"/>
              </a:solidFill>
              <a:latin typeface="Century Gothic" panose="020B0502020202020204" pitchFamily="34" charset="0"/>
              <a:cs typeface="Calibri" panose="020F0502020204030204" pitchFamily="34" charset="0"/>
            </a:rPr>
            <a:t>5 CUM – 2990 WB</a:t>
          </a:r>
          <a:endParaRPr lang="en-IN" sz="1200" b="1" dirty="0">
            <a:solidFill>
              <a:schemeClr val="tx1"/>
            </a:solidFill>
            <a:latin typeface="Century Gothic" panose="020B0502020202020204" pitchFamily="34" charset="0"/>
            <a:cs typeface="Calibri" panose="020F0502020204030204" pitchFamily="34" charset="0"/>
          </a:endParaRPr>
        </a:p>
      </dgm:t>
    </dgm:pt>
    <dgm:pt modelId="{9BB41D52-1F23-4FB5-BE04-7DE729064FA7}" type="parTrans" cxnId="{AA43CDED-45D6-4C05-A111-DB7E1EBFEC6F}">
      <dgm:prSet/>
      <dgm:spPr>
        <a:ln>
          <a:solidFill>
            <a:schemeClr val="bg2">
              <a:lumMod val="25000"/>
            </a:schemeClr>
          </a:solidFill>
        </a:ln>
      </dgm:spPr>
      <dgm:t>
        <a:bodyPr/>
        <a:lstStyle/>
        <a:p>
          <a:endParaRPr lang="en-IN" sz="1200" b="1">
            <a:latin typeface="Century Gothic" panose="020B0502020202020204" pitchFamily="34" charset="0"/>
            <a:cs typeface="Calibri" panose="020F0502020204030204" pitchFamily="34" charset="0"/>
          </a:endParaRPr>
        </a:p>
      </dgm:t>
    </dgm:pt>
    <dgm:pt modelId="{18BC9F16-2124-402E-A512-D3C442538B8A}" type="sibTrans" cxnId="{AA43CDED-45D6-4C05-A111-DB7E1EBFEC6F}">
      <dgm:prSet/>
      <dgm:spPr/>
      <dgm:t>
        <a:bodyPr/>
        <a:lstStyle/>
        <a:p>
          <a:endParaRPr lang="en-IN" sz="1200" b="1">
            <a:latin typeface="Century Gothic" panose="020B0502020202020204" pitchFamily="34" charset="0"/>
            <a:cs typeface="Calibri" panose="020F0502020204030204" pitchFamily="34" charset="0"/>
          </a:endParaRPr>
        </a:p>
      </dgm:t>
    </dgm:pt>
    <dgm:pt modelId="{01E63030-53E7-421D-B1CC-52A9ADA27195}">
      <dgm:prSet custT="1"/>
      <dgm:spPr>
        <a:solidFill>
          <a:schemeClr val="accent5">
            <a:lumMod val="50000"/>
          </a:schemeClr>
        </a:solidFill>
        <a:effectLst>
          <a:outerShdw blurRad="50800" dist="38100" dir="5400000" algn="t" rotWithShape="0">
            <a:prstClr val="black">
              <a:alpha val="40000"/>
            </a:prstClr>
          </a:outerShdw>
        </a:effectLst>
      </dgm:spPr>
      <dgm:t>
        <a:bodyPr/>
        <a:lstStyle/>
        <a:p>
          <a:r>
            <a:rPr lang="en-IN" sz="1200" b="1" dirty="0">
              <a:latin typeface="Century Gothic" panose="020B0502020202020204" pitchFamily="34" charset="0"/>
              <a:cs typeface="Calibri" panose="020F0502020204030204" pitchFamily="34" charset="0"/>
            </a:rPr>
            <a:t>HAUL</a:t>
          </a:r>
        </a:p>
      </dgm:t>
    </dgm:pt>
    <dgm:pt modelId="{53D35800-1F83-4932-98F0-DB2596FC54CB}" type="parTrans" cxnId="{543176B9-902B-4112-A85B-296798CB17EC}">
      <dgm:prSet/>
      <dgm:spPr>
        <a:ln>
          <a:solidFill>
            <a:schemeClr val="bg2">
              <a:lumMod val="25000"/>
            </a:schemeClr>
          </a:solidFill>
        </a:ln>
      </dgm:spPr>
      <dgm:t>
        <a:bodyPr/>
        <a:lstStyle/>
        <a:p>
          <a:endParaRPr lang="en-IN" sz="1200" b="1">
            <a:latin typeface="Century Gothic" panose="020B0502020202020204" pitchFamily="34" charset="0"/>
            <a:cs typeface="Calibri" panose="020F0502020204030204" pitchFamily="34" charset="0"/>
          </a:endParaRPr>
        </a:p>
      </dgm:t>
    </dgm:pt>
    <dgm:pt modelId="{A0468CA4-0E73-412B-A81B-3579251B4250}" type="sibTrans" cxnId="{543176B9-902B-4112-A85B-296798CB17EC}">
      <dgm:prSet/>
      <dgm:spPr/>
      <dgm:t>
        <a:bodyPr/>
        <a:lstStyle/>
        <a:p>
          <a:endParaRPr lang="en-IN" sz="1200" b="1">
            <a:latin typeface="Century Gothic" panose="020B0502020202020204" pitchFamily="34" charset="0"/>
            <a:cs typeface="Calibri" panose="020F0502020204030204" pitchFamily="34" charset="0"/>
          </a:endParaRPr>
        </a:p>
      </dgm:t>
    </dgm:pt>
    <dgm:pt modelId="{3579D454-CA8D-4708-82B6-8706E6A6E4CB}">
      <dgm:prSet custT="1"/>
      <dgm:spPr>
        <a:solidFill>
          <a:schemeClr val="accent5">
            <a:lumMod val="50000"/>
          </a:schemeClr>
        </a:solidFill>
        <a:effectLst>
          <a:outerShdw blurRad="50800" dist="38100" dir="5400000" algn="t" rotWithShape="0">
            <a:prstClr val="black">
              <a:alpha val="40000"/>
            </a:prstClr>
          </a:outerShdw>
        </a:effectLst>
      </dgm:spPr>
      <dgm:t>
        <a:bodyPr/>
        <a:lstStyle/>
        <a:p>
          <a:r>
            <a:rPr lang="en-IN" sz="1200" dirty="0">
              <a:latin typeface="Century Gothic" panose="020B0502020202020204" pitchFamily="34" charset="0"/>
              <a:cs typeface="Calibri" panose="020F0502020204030204" pitchFamily="34" charset="0"/>
            </a:rPr>
            <a:t>17’ – 3940 WB</a:t>
          </a:r>
        </a:p>
      </dgm:t>
    </dgm:pt>
    <dgm:pt modelId="{74188EBA-0084-4561-8B14-4AF22763D6ED}" type="parTrans" cxnId="{7CBDC696-5210-4377-A111-174E85A597F5}">
      <dgm:prSet/>
      <dgm:spPr>
        <a:ln>
          <a:solidFill>
            <a:schemeClr val="bg2">
              <a:lumMod val="25000"/>
            </a:schemeClr>
          </a:solidFill>
        </a:ln>
      </dgm:spPr>
      <dgm:t>
        <a:bodyPr/>
        <a:lstStyle/>
        <a:p>
          <a:endParaRPr lang="en-IN" sz="1200">
            <a:latin typeface="Century Gothic" panose="020B0502020202020204" pitchFamily="34" charset="0"/>
            <a:cs typeface="Calibri" panose="020F0502020204030204" pitchFamily="34" charset="0"/>
          </a:endParaRPr>
        </a:p>
      </dgm:t>
    </dgm:pt>
    <dgm:pt modelId="{585BFFD2-168B-4834-ABF3-3AA10B0B4942}" type="sibTrans" cxnId="{7CBDC696-5210-4377-A111-174E85A597F5}">
      <dgm:prSet/>
      <dgm:spPr/>
      <dgm:t>
        <a:bodyPr/>
        <a:lstStyle/>
        <a:p>
          <a:endParaRPr lang="en-IN" sz="1200">
            <a:latin typeface="Century Gothic" panose="020B0502020202020204" pitchFamily="34" charset="0"/>
            <a:cs typeface="Calibri" panose="020F0502020204030204" pitchFamily="34" charset="0"/>
          </a:endParaRPr>
        </a:p>
      </dgm:t>
    </dgm:pt>
    <dgm:pt modelId="{EA938781-D580-47E6-ADCF-1FD88FD74000}">
      <dgm:prSet custT="1"/>
      <dgm:spPr>
        <a:solidFill>
          <a:schemeClr val="bg2"/>
        </a:solidFill>
        <a:effectLst>
          <a:outerShdw blurRad="50800" dist="38100" dir="5400000" algn="t" rotWithShape="0">
            <a:prstClr val="black">
              <a:alpha val="40000"/>
            </a:prstClr>
          </a:outerShdw>
        </a:effectLst>
      </dgm:spPr>
      <dgm:t>
        <a:bodyPr/>
        <a:lstStyle/>
        <a:p>
          <a:r>
            <a:rPr lang="en-IN" sz="1200" dirty="0">
              <a:solidFill>
                <a:schemeClr val="tx1"/>
              </a:solidFill>
              <a:latin typeface="Century Gothic" panose="020B0502020202020204" pitchFamily="34" charset="0"/>
              <a:cs typeface="Calibri" panose="020F0502020204030204" pitchFamily="34" charset="0"/>
            </a:rPr>
            <a:t>20’ – 4540 WB</a:t>
          </a:r>
        </a:p>
      </dgm:t>
    </dgm:pt>
    <dgm:pt modelId="{1F9A9AD6-BE7C-4D38-A8F4-BBFC448934EB}" type="parTrans" cxnId="{F8855864-DA6C-46D1-BAD1-7B3B45B883F3}">
      <dgm:prSet/>
      <dgm:spPr>
        <a:ln>
          <a:solidFill>
            <a:schemeClr val="bg2">
              <a:lumMod val="25000"/>
            </a:schemeClr>
          </a:solidFill>
        </a:ln>
      </dgm:spPr>
      <dgm:t>
        <a:bodyPr/>
        <a:lstStyle/>
        <a:p>
          <a:endParaRPr lang="en-IN" sz="1200">
            <a:latin typeface="Century Gothic" panose="020B0502020202020204" pitchFamily="34" charset="0"/>
            <a:cs typeface="Calibri" panose="020F0502020204030204" pitchFamily="34" charset="0"/>
          </a:endParaRPr>
        </a:p>
      </dgm:t>
    </dgm:pt>
    <dgm:pt modelId="{8936709F-04EF-46A3-9912-39DCA599D05D}" type="sibTrans" cxnId="{F8855864-DA6C-46D1-BAD1-7B3B45B883F3}">
      <dgm:prSet/>
      <dgm:spPr/>
      <dgm:t>
        <a:bodyPr/>
        <a:lstStyle/>
        <a:p>
          <a:endParaRPr lang="en-IN" sz="1200">
            <a:latin typeface="Century Gothic" panose="020B0502020202020204" pitchFamily="34" charset="0"/>
            <a:cs typeface="Calibri" panose="020F0502020204030204" pitchFamily="34" charset="0"/>
          </a:endParaRPr>
        </a:p>
      </dgm:t>
    </dgm:pt>
    <dgm:pt modelId="{1AA8EA4D-E9B7-41C1-AB26-B5B875E5ED8D}">
      <dgm:prSet custT="1"/>
      <dgm:spPr>
        <a:solidFill>
          <a:schemeClr val="accent5">
            <a:lumMod val="50000"/>
          </a:schemeClr>
        </a:solidFill>
        <a:effectLst>
          <a:outerShdw blurRad="50800" dist="38100" dir="5400000" algn="t" rotWithShape="0">
            <a:prstClr val="black">
              <a:alpha val="40000"/>
            </a:prstClr>
          </a:outerShdw>
        </a:effectLst>
      </dgm:spPr>
      <dgm:t>
        <a:bodyPr/>
        <a:lstStyle/>
        <a:p>
          <a:r>
            <a:rPr lang="en-IN" sz="1200" dirty="0">
              <a:latin typeface="Century Gothic" panose="020B0502020202020204" pitchFamily="34" charset="0"/>
              <a:cs typeface="Calibri" panose="020F0502020204030204" pitchFamily="34" charset="0"/>
            </a:rPr>
            <a:t>22’ – 4940 WB</a:t>
          </a:r>
        </a:p>
      </dgm:t>
    </dgm:pt>
    <dgm:pt modelId="{B114371E-5F54-4600-A11E-58C623E439A5}" type="parTrans" cxnId="{E62385F5-D729-40AE-9CF5-A3232826BFE0}">
      <dgm:prSet/>
      <dgm:spPr>
        <a:ln>
          <a:solidFill>
            <a:schemeClr val="bg2">
              <a:lumMod val="25000"/>
            </a:schemeClr>
          </a:solidFill>
        </a:ln>
      </dgm:spPr>
      <dgm:t>
        <a:bodyPr/>
        <a:lstStyle/>
        <a:p>
          <a:endParaRPr lang="en-IN" sz="1200">
            <a:latin typeface="Century Gothic" panose="020B0502020202020204" pitchFamily="34" charset="0"/>
            <a:cs typeface="Calibri" panose="020F0502020204030204" pitchFamily="34" charset="0"/>
          </a:endParaRPr>
        </a:p>
      </dgm:t>
    </dgm:pt>
    <dgm:pt modelId="{9C085AF7-E519-4809-B0BD-F9FBF238CFB7}" type="sibTrans" cxnId="{E62385F5-D729-40AE-9CF5-A3232826BFE0}">
      <dgm:prSet/>
      <dgm:spPr/>
      <dgm:t>
        <a:bodyPr/>
        <a:lstStyle/>
        <a:p>
          <a:endParaRPr lang="en-IN" sz="1200">
            <a:latin typeface="Century Gothic" panose="020B0502020202020204" pitchFamily="34" charset="0"/>
            <a:cs typeface="Calibri" panose="020F0502020204030204" pitchFamily="34" charset="0"/>
          </a:endParaRPr>
        </a:p>
      </dgm:t>
    </dgm:pt>
    <dgm:pt modelId="{1814DF67-EDC8-4E93-902A-E34AE723B645}">
      <dgm:prSet custT="1"/>
      <dgm:spPr>
        <a:solidFill>
          <a:schemeClr val="bg2"/>
        </a:solidFill>
        <a:effectLst>
          <a:outerShdw blurRad="50800" dist="38100" dir="5400000" algn="t" rotWithShape="0">
            <a:prstClr val="black">
              <a:alpha val="40000"/>
            </a:prstClr>
          </a:outerShdw>
        </a:effectLst>
      </dgm:spPr>
      <dgm:t>
        <a:bodyPr/>
        <a:lstStyle/>
        <a:p>
          <a:r>
            <a:rPr lang="en-IN" sz="1200" dirty="0">
              <a:solidFill>
                <a:schemeClr val="tx1"/>
              </a:solidFill>
              <a:latin typeface="Century Gothic" panose="020B0502020202020204" pitchFamily="34" charset="0"/>
              <a:cs typeface="Calibri" panose="020F0502020204030204" pitchFamily="34" charset="0"/>
            </a:rPr>
            <a:t>17’- 3900 WB </a:t>
          </a:r>
        </a:p>
      </dgm:t>
    </dgm:pt>
    <dgm:pt modelId="{79766BD7-DCD0-491D-A8F1-BF49C2918EE4}" type="parTrans" cxnId="{705CFA3F-5309-40AA-B2B9-C8526E1C9ABB}">
      <dgm:prSet/>
      <dgm:spPr>
        <a:ln>
          <a:solidFill>
            <a:schemeClr val="bg2">
              <a:lumMod val="25000"/>
            </a:schemeClr>
          </a:solidFill>
        </a:ln>
      </dgm:spPr>
      <dgm:t>
        <a:bodyPr/>
        <a:lstStyle/>
        <a:p>
          <a:endParaRPr lang="en-IN" sz="1200">
            <a:latin typeface="Century Gothic" panose="020B0502020202020204" pitchFamily="34" charset="0"/>
            <a:cs typeface="Calibri" panose="020F0502020204030204" pitchFamily="34" charset="0"/>
          </a:endParaRPr>
        </a:p>
      </dgm:t>
    </dgm:pt>
    <dgm:pt modelId="{93DA7734-F12B-4BBE-B91E-1D44977F5E0E}" type="sibTrans" cxnId="{705CFA3F-5309-40AA-B2B9-C8526E1C9ABB}">
      <dgm:prSet/>
      <dgm:spPr/>
      <dgm:t>
        <a:bodyPr/>
        <a:lstStyle/>
        <a:p>
          <a:endParaRPr lang="en-IN" sz="1200">
            <a:latin typeface="Century Gothic" panose="020B0502020202020204" pitchFamily="34" charset="0"/>
            <a:cs typeface="Calibri" panose="020F0502020204030204" pitchFamily="34" charset="0"/>
          </a:endParaRPr>
        </a:p>
      </dgm:t>
    </dgm:pt>
    <dgm:pt modelId="{56D94BA8-AF09-4F8B-9F9B-F13DE085E15F}">
      <dgm:prSet custT="1"/>
      <dgm:spPr>
        <a:solidFill>
          <a:schemeClr val="accent5">
            <a:lumMod val="50000"/>
          </a:schemeClr>
        </a:solidFill>
        <a:effectLst>
          <a:outerShdw blurRad="50800" dist="38100" dir="5400000" algn="t" rotWithShape="0">
            <a:prstClr val="black">
              <a:alpha val="40000"/>
            </a:prstClr>
          </a:outerShdw>
        </a:effectLst>
      </dgm:spPr>
      <dgm:t>
        <a:bodyPr/>
        <a:lstStyle/>
        <a:p>
          <a:r>
            <a:rPr lang="en-IN" sz="1200" dirty="0">
              <a:latin typeface="Century Gothic" panose="020B0502020202020204" pitchFamily="34" charset="0"/>
              <a:cs typeface="Calibri" panose="020F0502020204030204" pitchFamily="34" charset="0"/>
            </a:rPr>
            <a:t>20’ – 4500 WB</a:t>
          </a:r>
        </a:p>
      </dgm:t>
    </dgm:pt>
    <dgm:pt modelId="{6EF16A4A-22F0-44B1-BAE4-41C5C425DD2F}" type="parTrans" cxnId="{E3506ECA-F48C-4B7F-8827-DEBAA4888A1E}">
      <dgm:prSet/>
      <dgm:spPr>
        <a:ln>
          <a:solidFill>
            <a:schemeClr val="bg2">
              <a:lumMod val="25000"/>
            </a:schemeClr>
          </a:solidFill>
        </a:ln>
      </dgm:spPr>
      <dgm:t>
        <a:bodyPr/>
        <a:lstStyle/>
        <a:p>
          <a:endParaRPr lang="en-IN" sz="1200">
            <a:latin typeface="Century Gothic" panose="020B0502020202020204" pitchFamily="34" charset="0"/>
            <a:cs typeface="Calibri" panose="020F0502020204030204" pitchFamily="34" charset="0"/>
          </a:endParaRPr>
        </a:p>
      </dgm:t>
    </dgm:pt>
    <dgm:pt modelId="{CEFA408A-B52A-4D3E-AEED-3BAEBA410C67}" type="sibTrans" cxnId="{E3506ECA-F48C-4B7F-8827-DEBAA4888A1E}">
      <dgm:prSet/>
      <dgm:spPr/>
      <dgm:t>
        <a:bodyPr/>
        <a:lstStyle/>
        <a:p>
          <a:endParaRPr lang="en-IN" sz="1200">
            <a:latin typeface="Century Gothic" panose="020B0502020202020204" pitchFamily="34" charset="0"/>
            <a:cs typeface="Calibri" panose="020F0502020204030204" pitchFamily="34" charset="0"/>
          </a:endParaRPr>
        </a:p>
      </dgm:t>
    </dgm:pt>
    <dgm:pt modelId="{B4EA6D86-327C-426C-9CC9-139CB133A108}">
      <dgm:prSet custT="1"/>
      <dgm:spPr>
        <a:solidFill>
          <a:schemeClr val="bg2"/>
        </a:solidFill>
        <a:effectLst>
          <a:outerShdw blurRad="50800" dist="38100" dir="5400000" algn="t" rotWithShape="0">
            <a:prstClr val="black">
              <a:alpha val="40000"/>
            </a:prstClr>
          </a:outerShdw>
        </a:effectLst>
      </dgm:spPr>
      <dgm:t>
        <a:bodyPr/>
        <a:lstStyle/>
        <a:p>
          <a:r>
            <a:rPr lang="en-IN" sz="1200" dirty="0">
              <a:solidFill>
                <a:schemeClr val="tx1"/>
              </a:solidFill>
              <a:latin typeface="Century Gothic" panose="020B0502020202020204" pitchFamily="34" charset="0"/>
              <a:cs typeface="Calibri" panose="020F0502020204030204" pitchFamily="34" charset="0"/>
            </a:rPr>
            <a:t>22’ – 4900 WB</a:t>
          </a:r>
        </a:p>
      </dgm:t>
    </dgm:pt>
    <dgm:pt modelId="{EE194438-4AE5-4726-B49C-52974EEA10A7}" type="parTrans" cxnId="{F8C974AA-18F8-45E0-80D3-96465C2D4537}">
      <dgm:prSet/>
      <dgm:spPr>
        <a:ln>
          <a:solidFill>
            <a:schemeClr val="bg2">
              <a:lumMod val="25000"/>
            </a:schemeClr>
          </a:solidFill>
        </a:ln>
      </dgm:spPr>
      <dgm:t>
        <a:bodyPr/>
        <a:lstStyle/>
        <a:p>
          <a:endParaRPr lang="en-IN" sz="1200">
            <a:latin typeface="Century Gothic" panose="020B0502020202020204" pitchFamily="34" charset="0"/>
            <a:cs typeface="Calibri" panose="020F0502020204030204" pitchFamily="34" charset="0"/>
          </a:endParaRPr>
        </a:p>
      </dgm:t>
    </dgm:pt>
    <dgm:pt modelId="{D6F0F4B4-06C3-4D42-B930-1FD1DD1D8ED7}" type="sibTrans" cxnId="{F8C974AA-18F8-45E0-80D3-96465C2D4537}">
      <dgm:prSet/>
      <dgm:spPr/>
      <dgm:t>
        <a:bodyPr/>
        <a:lstStyle/>
        <a:p>
          <a:endParaRPr lang="en-IN" sz="1200">
            <a:latin typeface="Century Gothic" panose="020B0502020202020204" pitchFamily="34" charset="0"/>
            <a:cs typeface="Calibri" panose="020F0502020204030204" pitchFamily="34" charset="0"/>
          </a:endParaRPr>
        </a:p>
      </dgm:t>
    </dgm:pt>
    <dgm:pt modelId="{6615097A-3035-46E9-81BA-0A1223D8BC96}">
      <dgm:prSet custT="1"/>
      <dgm:spPr>
        <a:solidFill>
          <a:schemeClr val="bg2"/>
        </a:solidFill>
        <a:effectLst>
          <a:outerShdw blurRad="50800" dist="38100" dir="5400000" algn="t" rotWithShape="0">
            <a:prstClr val="black">
              <a:alpha val="40000"/>
            </a:prstClr>
          </a:outerShdw>
        </a:effectLst>
      </dgm:spPr>
      <dgm:t>
        <a:bodyPr/>
        <a:lstStyle/>
        <a:p>
          <a:r>
            <a:rPr lang="en-IN" sz="1200" dirty="0">
              <a:solidFill>
                <a:schemeClr val="tx1"/>
              </a:solidFill>
              <a:latin typeface="Century Gothic" panose="020B0502020202020204" pitchFamily="34" charset="0"/>
              <a:cs typeface="Calibri" panose="020F0502020204030204" pitchFamily="34" charset="0"/>
            </a:rPr>
            <a:t>24’ – 5200 WB</a:t>
          </a:r>
        </a:p>
      </dgm:t>
    </dgm:pt>
    <dgm:pt modelId="{A9A7B73E-0C84-4478-BA64-63C0B5D8F50D}" type="parTrans" cxnId="{1F5791B8-B3C1-49CF-9501-9506E9010AA9}">
      <dgm:prSet/>
      <dgm:spPr>
        <a:ln>
          <a:solidFill>
            <a:schemeClr val="bg2">
              <a:lumMod val="25000"/>
            </a:schemeClr>
          </a:solidFill>
        </a:ln>
      </dgm:spPr>
      <dgm:t>
        <a:bodyPr/>
        <a:lstStyle/>
        <a:p>
          <a:endParaRPr lang="en-IN" sz="1200">
            <a:latin typeface="Century Gothic" panose="020B0502020202020204" pitchFamily="34" charset="0"/>
            <a:cs typeface="Calibri" panose="020F0502020204030204" pitchFamily="34" charset="0"/>
          </a:endParaRPr>
        </a:p>
      </dgm:t>
    </dgm:pt>
    <dgm:pt modelId="{85827EEF-B65E-4210-BFAE-841A88F77A0B}" type="sibTrans" cxnId="{1F5791B8-B3C1-49CF-9501-9506E9010AA9}">
      <dgm:prSet/>
      <dgm:spPr/>
      <dgm:t>
        <a:bodyPr/>
        <a:lstStyle/>
        <a:p>
          <a:endParaRPr lang="en-IN" sz="1200">
            <a:latin typeface="Century Gothic" panose="020B0502020202020204" pitchFamily="34" charset="0"/>
            <a:cs typeface="Calibri" panose="020F0502020204030204" pitchFamily="34" charset="0"/>
          </a:endParaRPr>
        </a:p>
      </dgm:t>
    </dgm:pt>
    <dgm:pt modelId="{CC5CD078-B740-44A9-AC9D-80501AB04FDE}">
      <dgm:prSet custT="1"/>
      <dgm:spPr>
        <a:solidFill>
          <a:schemeClr val="accent5">
            <a:lumMod val="50000"/>
          </a:schemeClr>
        </a:solidFill>
        <a:effectLst>
          <a:outerShdw blurRad="50800" dist="38100" dir="5400000" algn="t" rotWithShape="0">
            <a:prstClr val="black">
              <a:alpha val="40000"/>
            </a:prstClr>
          </a:outerShdw>
        </a:effectLst>
      </dgm:spPr>
      <dgm:t>
        <a:bodyPr/>
        <a:lstStyle/>
        <a:p>
          <a:r>
            <a:rPr lang="en-IN" sz="1200" dirty="0">
              <a:latin typeface="Century Gothic" panose="020B0502020202020204" pitchFamily="34" charset="0"/>
              <a:cs typeface="Calibri" panose="020F0502020204030204" pitchFamily="34" charset="0"/>
            </a:rPr>
            <a:t>17’- 3900 WB </a:t>
          </a:r>
        </a:p>
      </dgm:t>
    </dgm:pt>
    <dgm:pt modelId="{9338652A-7095-40B7-A210-DE28A12286DB}" type="parTrans" cxnId="{63249AAA-24AA-4B39-B528-2D0CCB1E4BEC}">
      <dgm:prSet/>
      <dgm:spPr>
        <a:ln>
          <a:solidFill>
            <a:schemeClr val="bg2">
              <a:lumMod val="25000"/>
            </a:schemeClr>
          </a:solidFill>
        </a:ln>
      </dgm:spPr>
      <dgm:t>
        <a:bodyPr/>
        <a:lstStyle/>
        <a:p>
          <a:endParaRPr lang="en-IN" sz="1200">
            <a:latin typeface="Century Gothic" panose="020B0502020202020204" pitchFamily="34" charset="0"/>
            <a:cs typeface="Calibri" panose="020F0502020204030204" pitchFamily="34" charset="0"/>
          </a:endParaRPr>
        </a:p>
      </dgm:t>
    </dgm:pt>
    <dgm:pt modelId="{7BCB6082-FBA0-4B79-93CB-6133C58599E3}" type="sibTrans" cxnId="{63249AAA-24AA-4B39-B528-2D0CCB1E4BEC}">
      <dgm:prSet/>
      <dgm:spPr/>
      <dgm:t>
        <a:bodyPr/>
        <a:lstStyle/>
        <a:p>
          <a:endParaRPr lang="en-IN" sz="1200">
            <a:latin typeface="Century Gothic" panose="020B0502020202020204" pitchFamily="34" charset="0"/>
            <a:cs typeface="Calibri" panose="020F0502020204030204" pitchFamily="34" charset="0"/>
          </a:endParaRPr>
        </a:p>
      </dgm:t>
    </dgm:pt>
    <dgm:pt modelId="{6A48F2F6-5742-4B5D-8A8A-B75F030BFF98}">
      <dgm:prSet custT="1"/>
      <dgm:spPr>
        <a:solidFill>
          <a:schemeClr val="bg2"/>
        </a:solidFill>
        <a:effectLst>
          <a:outerShdw blurRad="50800" dist="38100" dir="5400000" algn="t" rotWithShape="0">
            <a:prstClr val="black">
              <a:alpha val="40000"/>
            </a:prstClr>
          </a:outerShdw>
        </a:effectLst>
      </dgm:spPr>
      <dgm:t>
        <a:bodyPr/>
        <a:lstStyle/>
        <a:p>
          <a:r>
            <a:rPr lang="en-IN" sz="1200" dirty="0">
              <a:solidFill>
                <a:schemeClr val="tx1"/>
              </a:solidFill>
              <a:latin typeface="Century Gothic" panose="020B0502020202020204" pitchFamily="34" charset="0"/>
              <a:cs typeface="Calibri" panose="020F0502020204030204" pitchFamily="34" charset="0"/>
            </a:rPr>
            <a:t>20’ – 4500 WB</a:t>
          </a:r>
        </a:p>
      </dgm:t>
    </dgm:pt>
    <dgm:pt modelId="{969DBA26-5196-4601-9589-4426A7C79563}" type="parTrans" cxnId="{DEF86FEC-5AA6-4C61-9562-DC41CCC4B7EB}">
      <dgm:prSet/>
      <dgm:spPr>
        <a:ln>
          <a:solidFill>
            <a:schemeClr val="bg2">
              <a:lumMod val="25000"/>
            </a:schemeClr>
          </a:solidFill>
        </a:ln>
      </dgm:spPr>
      <dgm:t>
        <a:bodyPr/>
        <a:lstStyle/>
        <a:p>
          <a:endParaRPr lang="en-IN" sz="1200">
            <a:latin typeface="Century Gothic" panose="020B0502020202020204" pitchFamily="34" charset="0"/>
            <a:cs typeface="Calibri" panose="020F0502020204030204" pitchFamily="34" charset="0"/>
          </a:endParaRPr>
        </a:p>
      </dgm:t>
    </dgm:pt>
    <dgm:pt modelId="{5663A2C4-D6A0-4CE7-B9DD-07791DF47D53}" type="sibTrans" cxnId="{DEF86FEC-5AA6-4C61-9562-DC41CCC4B7EB}">
      <dgm:prSet/>
      <dgm:spPr/>
      <dgm:t>
        <a:bodyPr/>
        <a:lstStyle/>
        <a:p>
          <a:endParaRPr lang="en-IN" sz="1200">
            <a:latin typeface="Century Gothic" panose="020B0502020202020204" pitchFamily="34" charset="0"/>
            <a:cs typeface="Calibri" panose="020F0502020204030204" pitchFamily="34" charset="0"/>
          </a:endParaRPr>
        </a:p>
      </dgm:t>
    </dgm:pt>
    <dgm:pt modelId="{3EF0C92C-F904-4933-8D6E-4B3A974FC6ED}">
      <dgm:prSet custT="1"/>
      <dgm:spPr>
        <a:solidFill>
          <a:schemeClr val="accent5">
            <a:lumMod val="50000"/>
          </a:schemeClr>
        </a:solidFill>
        <a:effectLst>
          <a:outerShdw blurRad="50800" dist="38100" dir="5400000" algn="t" rotWithShape="0">
            <a:prstClr val="black">
              <a:alpha val="40000"/>
            </a:prstClr>
          </a:outerShdw>
        </a:effectLst>
      </dgm:spPr>
      <dgm:t>
        <a:bodyPr/>
        <a:lstStyle/>
        <a:p>
          <a:r>
            <a:rPr lang="en-IN" sz="1200" dirty="0">
              <a:latin typeface="Century Gothic" panose="020B0502020202020204" pitchFamily="34" charset="0"/>
              <a:cs typeface="Calibri" panose="020F0502020204030204" pitchFamily="34" charset="0"/>
            </a:rPr>
            <a:t>22’ – 4900 WB</a:t>
          </a:r>
        </a:p>
      </dgm:t>
    </dgm:pt>
    <dgm:pt modelId="{632450AE-6EC2-447D-9053-7D67E33ED3BF}" type="parTrans" cxnId="{80185DE3-CB78-4005-A4AD-66E515D041DD}">
      <dgm:prSet/>
      <dgm:spPr>
        <a:ln>
          <a:solidFill>
            <a:schemeClr val="bg2">
              <a:lumMod val="25000"/>
            </a:schemeClr>
          </a:solidFill>
        </a:ln>
      </dgm:spPr>
      <dgm:t>
        <a:bodyPr/>
        <a:lstStyle/>
        <a:p>
          <a:endParaRPr lang="en-IN" sz="1200">
            <a:latin typeface="Century Gothic" panose="020B0502020202020204" pitchFamily="34" charset="0"/>
            <a:cs typeface="Calibri" panose="020F0502020204030204" pitchFamily="34" charset="0"/>
          </a:endParaRPr>
        </a:p>
      </dgm:t>
    </dgm:pt>
    <dgm:pt modelId="{ABF77CC0-A5D1-4F7A-B65F-F4E011A8C915}" type="sibTrans" cxnId="{80185DE3-CB78-4005-A4AD-66E515D041DD}">
      <dgm:prSet/>
      <dgm:spPr/>
      <dgm:t>
        <a:bodyPr/>
        <a:lstStyle/>
        <a:p>
          <a:endParaRPr lang="en-IN" sz="1200">
            <a:latin typeface="Century Gothic" panose="020B0502020202020204" pitchFamily="34" charset="0"/>
            <a:cs typeface="Calibri" panose="020F0502020204030204" pitchFamily="34" charset="0"/>
          </a:endParaRPr>
        </a:p>
      </dgm:t>
    </dgm:pt>
    <dgm:pt modelId="{B3C11583-361F-4B96-8A71-B92A81E22211}">
      <dgm:prSet custT="1"/>
      <dgm:spPr>
        <a:solidFill>
          <a:schemeClr val="accent5">
            <a:lumMod val="50000"/>
          </a:schemeClr>
        </a:solidFill>
        <a:effectLst>
          <a:outerShdw blurRad="50800" dist="38100" dir="5400000" algn="t" rotWithShape="0">
            <a:prstClr val="black">
              <a:alpha val="40000"/>
            </a:prstClr>
          </a:outerShdw>
        </a:effectLst>
      </dgm:spPr>
      <dgm:t>
        <a:bodyPr/>
        <a:lstStyle/>
        <a:p>
          <a:r>
            <a:rPr lang="en-IN" sz="1200" dirty="0">
              <a:latin typeface="Century Gothic" panose="020B0502020202020204" pitchFamily="34" charset="0"/>
              <a:cs typeface="Calibri" panose="020F0502020204030204" pitchFamily="34" charset="0"/>
            </a:rPr>
            <a:t>17’- 3900 WB </a:t>
          </a:r>
        </a:p>
      </dgm:t>
    </dgm:pt>
    <dgm:pt modelId="{94DB319B-C0F6-4F07-A0A3-5B14C3D75082}" type="parTrans" cxnId="{CAE3ABB8-A57C-40B2-A137-A656FE6CE313}">
      <dgm:prSet/>
      <dgm:spPr>
        <a:ln>
          <a:solidFill>
            <a:schemeClr val="bg2">
              <a:lumMod val="25000"/>
            </a:schemeClr>
          </a:solidFill>
        </a:ln>
      </dgm:spPr>
      <dgm:t>
        <a:bodyPr/>
        <a:lstStyle/>
        <a:p>
          <a:endParaRPr lang="en-IN" sz="1200">
            <a:latin typeface="Century Gothic" panose="020B0502020202020204" pitchFamily="34" charset="0"/>
            <a:cs typeface="Calibri" panose="020F0502020204030204" pitchFamily="34" charset="0"/>
          </a:endParaRPr>
        </a:p>
      </dgm:t>
    </dgm:pt>
    <dgm:pt modelId="{287166F6-C7F0-4FA8-BFD9-8AFC6D4B34F1}" type="sibTrans" cxnId="{CAE3ABB8-A57C-40B2-A137-A656FE6CE313}">
      <dgm:prSet/>
      <dgm:spPr/>
      <dgm:t>
        <a:bodyPr/>
        <a:lstStyle/>
        <a:p>
          <a:endParaRPr lang="en-IN" sz="1200">
            <a:latin typeface="Century Gothic" panose="020B0502020202020204" pitchFamily="34" charset="0"/>
            <a:cs typeface="Calibri" panose="020F0502020204030204" pitchFamily="34" charset="0"/>
          </a:endParaRPr>
        </a:p>
      </dgm:t>
    </dgm:pt>
    <dgm:pt modelId="{B54657AD-2E8D-4823-93DD-326FD9B9FFF1}">
      <dgm:prSet custT="1"/>
      <dgm:spPr>
        <a:solidFill>
          <a:schemeClr val="bg2"/>
        </a:solidFill>
        <a:effectLst>
          <a:outerShdw blurRad="50800" dist="38100" dir="5400000" algn="t" rotWithShape="0">
            <a:prstClr val="black">
              <a:alpha val="40000"/>
            </a:prstClr>
          </a:outerShdw>
        </a:effectLst>
      </dgm:spPr>
      <dgm:t>
        <a:bodyPr/>
        <a:lstStyle/>
        <a:p>
          <a:r>
            <a:rPr lang="en-IN" sz="1200" dirty="0">
              <a:solidFill>
                <a:schemeClr val="tx1"/>
              </a:solidFill>
              <a:latin typeface="Century Gothic" panose="020B0502020202020204" pitchFamily="34" charset="0"/>
              <a:cs typeface="Calibri" panose="020F0502020204030204" pitchFamily="34" charset="0"/>
            </a:rPr>
            <a:t>20’ – 4500 WB</a:t>
          </a:r>
        </a:p>
      </dgm:t>
    </dgm:pt>
    <dgm:pt modelId="{0D1B5F04-E396-4234-ACF8-F23BA036F89A}" type="parTrans" cxnId="{2DE6DB1E-84B0-4A99-B73C-8814AA0A3D70}">
      <dgm:prSet/>
      <dgm:spPr>
        <a:ln>
          <a:solidFill>
            <a:schemeClr val="bg2">
              <a:lumMod val="25000"/>
            </a:schemeClr>
          </a:solidFill>
        </a:ln>
      </dgm:spPr>
      <dgm:t>
        <a:bodyPr/>
        <a:lstStyle/>
        <a:p>
          <a:endParaRPr lang="en-IN" sz="1200">
            <a:latin typeface="Century Gothic" panose="020B0502020202020204" pitchFamily="34" charset="0"/>
            <a:cs typeface="Calibri" panose="020F0502020204030204" pitchFamily="34" charset="0"/>
          </a:endParaRPr>
        </a:p>
      </dgm:t>
    </dgm:pt>
    <dgm:pt modelId="{31833211-D528-41E3-8B02-280FA5FC4501}" type="sibTrans" cxnId="{2DE6DB1E-84B0-4A99-B73C-8814AA0A3D70}">
      <dgm:prSet/>
      <dgm:spPr/>
      <dgm:t>
        <a:bodyPr/>
        <a:lstStyle/>
        <a:p>
          <a:endParaRPr lang="en-IN" sz="1200">
            <a:latin typeface="Century Gothic" panose="020B0502020202020204" pitchFamily="34" charset="0"/>
            <a:cs typeface="Calibri" panose="020F0502020204030204" pitchFamily="34" charset="0"/>
          </a:endParaRPr>
        </a:p>
      </dgm:t>
    </dgm:pt>
    <dgm:pt modelId="{FB89B3C2-2B20-4B66-A9F1-734D3A72F84A}">
      <dgm:prSet custT="1"/>
      <dgm:spPr>
        <a:solidFill>
          <a:schemeClr val="accent5">
            <a:lumMod val="50000"/>
          </a:schemeClr>
        </a:solidFill>
        <a:effectLst>
          <a:outerShdw blurRad="50800" dist="38100" dir="5400000" algn="t" rotWithShape="0">
            <a:prstClr val="black">
              <a:alpha val="40000"/>
            </a:prstClr>
          </a:outerShdw>
        </a:effectLst>
      </dgm:spPr>
      <dgm:t>
        <a:bodyPr/>
        <a:lstStyle/>
        <a:p>
          <a:r>
            <a:rPr lang="en-IN" sz="1200" dirty="0">
              <a:latin typeface="Century Gothic" panose="020B0502020202020204" pitchFamily="34" charset="0"/>
              <a:cs typeface="Calibri" panose="020F0502020204030204" pitchFamily="34" charset="0"/>
            </a:rPr>
            <a:t>22’ – 4900 WB</a:t>
          </a:r>
        </a:p>
      </dgm:t>
    </dgm:pt>
    <dgm:pt modelId="{35CD9E49-CDE1-47E7-BA7B-EF6865B55C24}" type="parTrans" cxnId="{52E530C4-F462-4A6D-9E8E-B52D8958BFAB}">
      <dgm:prSet/>
      <dgm:spPr>
        <a:ln>
          <a:solidFill>
            <a:schemeClr val="bg2">
              <a:lumMod val="25000"/>
            </a:schemeClr>
          </a:solidFill>
        </a:ln>
      </dgm:spPr>
      <dgm:t>
        <a:bodyPr/>
        <a:lstStyle/>
        <a:p>
          <a:endParaRPr lang="en-IN" sz="1200">
            <a:latin typeface="Century Gothic" panose="020B0502020202020204" pitchFamily="34" charset="0"/>
            <a:cs typeface="Calibri" panose="020F0502020204030204" pitchFamily="34" charset="0"/>
          </a:endParaRPr>
        </a:p>
      </dgm:t>
    </dgm:pt>
    <dgm:pt modelId="{AD263A0B-F574-4F8B-A6EC-1A7B2FE63485}" type="sibTrans" cxnId="{52E530C4-F462-4A6D-9E8E-B52D8958BFAB}">
      <dgm:prSet/>
      <dgm:spPr/>
      <dgm:t>
        <a:bodyPr/>
        <a:lstStyle/>
        <a:p>
          <a:endParaRPr lang="en-IN" sz="1200">
            <a:latin typeface="Century Gothic" panose="020B0502020202020204" pitchFamily="34" charset="0"/>
            <a:cs typeface="Calibri" panose="020F0502020204030204" pitchFamily="34" charset="0"/>
          </a:endParaRPr>
        </a:p>
      </dgm:t>
    </dgm:pt>
    <dgm:pt modelId="{B706C405-5E5E-45F5-9BB0-54944FBF51BB}">
      <dgm:prSet custT="1"/>
      <dgm:spPr>
        <a:solidFill>
          <a:schemeClr val="bg2"/>
        </a:solidFill>
        <a:effectLst>
          <a:outerShdw blurRad="50800" dist="38100" dir="5400000" algn="t" rotWithShape="0">
            <a:prstClr val="black">
              <a:alpha val="40000"/>
            </a:prstClr>
          </a:outerShdw>
        </a:effectLst>
      </dgm:spPr>
      <dgm:t>
        <a:bodyPr spcFirstLastPara="0" vert="horz" wrap="square" lIns="10160" tIns="10160" rIns="10160" bIns="10160" numCol="1" spcCol="1270" anchor="ctr" anchorCtr="0"/>
        <a:lstStyle/>
        <a:p>
          <a:r>
            <a:rPr lang="en-IN" sz="1200" dirty="0">
              <a:solidFill>
                <a:schemeClr val="tx1"/>
              </a:solidFill>
              <a:latin typeface="Century Gothic" panose="020B0502020202020204" pitchFamily="34" charset="0"/>
              <a:cs typeface="Calibri" panose="020F0502020204030204" pitchFamily="34" charset="0"/>
            </a:rPr>
            <a:t>24’ – 5200 WB</a:t>
          </a:r>
        </a:p>
      </dgm:t>
    </dgm:pt>
    <dgm:pt modelId="{6B3C2D56-FD3F-42D7-909B-94932A02B089}" type="parTrans" cxnId="{BA44DBBC-5663-433D-A8DC-A6B5B059CA8D}">
      <dgm:prSet/>
      <dgm:spPr>
        <a:ln>
          <a:solidFill>
            <a:schemeClr val="bg2">
              <a:lumMod val="25000"/>
            </a:schemeClr>
          </a:solidFill>
        </a:ln>
      </dgm:spPr>
      <dgm:t>
        <a:bodyPr/>
        <a:lstStyle/>
        <a:p>
          <a:endParaRPr lang="en-IN" sz="1200">
            <a:latin typeface="Century Gothic" panose="020B0502020202020204" pitchFamily="34" charset="0"/>
            <a:cs typeface="Calibri" panose="020F0502020204030204" pitchFamily="34" charset="0"/>
          </a:endParaRPr>
        </a:p>
      </dgm:t>
    </dgm:pt>
    <dgm:pt modelId="{58E66837-959D-465A-A94D-5441ADAD5D8B}" type="sibTrans" cxnId="{BA44DBBC-5663-433D-A8DC-A6B5B059CA8D}">
      <dgm:prSet/>
      <dgm:spPr/>
      <dgm:t>
        <a:bodyPr/>
        <a:lstStyle/>
        <a:p>
          <a:endParaRPr lang="en-IN" sz="1200">
            <a:latin typeface="Century Gothic" panose="020B0502020202020204" pitchFamily="34" charset="0"/>
            <a:cs typeface="Calibri" panose="020F0502020204030204" pitchFamily="34" charset="0"/>
          </a:endParaRPr>
        </a:p>
      </dgm:t>
    </dgm:pt>
    <dgm:pt modelId="{24DD6AF4-6BE1-4F18-9DB7-CA71FEEED6D7}">
      <dgm:prSet custT="1"/>
      <dgm:spPr>
        <a:solidFill>
          <a:schemeClr val="bg2"/>
        </a:solidFill>
        <a:effectLst>
          <a:outerShdw blurRad="50800" dist="38100" dir="5400000" algn="t" rotWithShape="0">
            <a:prstClr val="black">
              <a:alpha val="40000"/>
            </a:prstClr>
          </a:outerShdw>
        </a:effectLst>
      </dgm:spPr>
      <dgm:t>
        <a:bodyPr/>
        <a:lstStyle/>
        <a:p>
          <a:r>
            <a:rPr lang="en-IN" sz="1200" dirty="0">
              <a:solidFill>
                <a:schemeClr val="tx1"/>
              </a:solidFill>
              <a:latin typeface="Century Gothic" panose="020B0502020202020204" pitchFamily="34" charset="0"/>
              <a:cs typeface="Calibri" panose="020F0502020204030204" pitchFamily="34" charset="0"/>
            </a:rPr>
            <a:t>14’ – 3440 WB</a:t>
          </a:r>
          <a:endParaRPr lang="en-IN" sz="1200" b="1" dirty="0">
            <a:solidFill>
              <a:schemeClr val="tx1"/>
            </a:solidFill>
            <a:latin typeface="Century Gothic" panose="020B0502020202020204" pitchFamily="34" charset="0"/>
            <a:cs typeface="Calibri" panose="020F0502020204030204" pitchFamily="34" charset="0"/>
          </a:endParaRPr>
        </a:p>
      </dgm:t>
    </dgm:pt>
    <dgm:pt modelId="{D94A32CB-8870-4F32-A7C4-81D0FB349AFA}" type="sibTrans" cxnId="{FE3ED5A3-9CF7-4454-99A6-73B0D5F4D4A5}">
      <dgm:prSet/>
      <dgm:spPr/>
      <dgm:t>
        <a:bodyPr/>
        <a:lstStyle/>
        <a:p>
          <a:endParaRPr lang="en-IN" sz="1200" b="1">
            <a:latin typeface="Century Gothic" panose="020B0502020202020204" pitchFamily="34" charset="0"/>
            <a:cs typeface="Calibri" panose="020F0502020204030204" pitchFamily="34" charset="0"/>
          </a:endParaRPr>
        </a:p>
      </dgm:t>
    </dgm:pt>
    <dgm:pt modelId="{1911C8A3-C40D-4014-83B4-0974AF8455FF}" type="parTrans" cxnId="{FE3ED5A3-9CF7-4454-99A6-73B0D5F4D4A5}">
      <dgm:prSet/>
      <dgm:spPr>
        <a:ln>
          <a:solidFill>
            <a:schemeClr val="bg2">
              <a:lumMod val="25000"/>
            </a:schemeClr>
          </a:solidFill>
        </a:ln>
      </dgm:spPr>
      <dgm:t>
        <a:bodyPr/>
        <a:lstStyle/>
        <a:p>
          <a:endParaRPr lang="en-IN" sz="1200" b="1">
            <a:latin typeface="Century Gothic" panose="020B0502020202020204" pitchFamily="34" charset="0"/>
            <a:cs typeface="Calibri" panose="020F0502020204030204" pitchFamily="34" charset="0"/>
          </a:endParaRPr>
        </a:p>
      </dgm:t>
    </dgm:pt>
    <dgm:pt modelId="{48D67E2C-DD93-4011-9DA7-B47FF54FB2F3}" type="pres">
      <dgm:prSet presAssocID="{028319DE-6729-4F63-B3CC-DC25855D337F}" presName="hierChild1" presStyleCnt="0">
        <dgm:presLayoutVars>
          <dgm:orgChart val="1"/>
          <dgm:chPref val="1"/>
          <dgm:dir/>
          <dgm:animOne val="branch"/>
          <dgm:animLvl val="lvl"/>
          <dgm:resizeHandles/>
        </dgm:presLayoutVars>
      </dgm:prSet>
      <dgm:spPr/>
    </dgm:pt>
    <dgm:pt modelId="{0E4E3522-5C61-476D-96A4-E04E03D11441}" type="pres">
      <dgm:prSet presAssocID="{E38B1CA5-4BC2-4520-8E1B-6F162A2F8AB5}" presName="hierRoot1" presStyleCnt="0">
        <dgm:presLayoutVars>
          <dgm:hierBranch val="init"/>
        </dgm:presLayoutVars>
      </dgm:prSet>
      <dgm:spPr/>
    </dgm:pt>
    <dgm:pt modelId="{4EE49220-33AA-4F5F-85B0-69A921CA940A}" type="pres">
      <dgm:prSet presAssocID="{E38B1CA5-4BC2-4520-8E1B-6F162A2F8AB5}" presName="rootComposite1" presStyleCnt="0"/>
      <dgm:spPr/>
    </dgm:pt>
    <dgm:pt modelId="{4EF83B75-9158-43A7-BAEF-B19F07FDB950}" type="pres">
      <dgm:prSet presAssocID="{E38B1CA5-4BC2-4520-8E1B-6F162A2F8AB5}" presName="rootText1" presStyleLbl="node0" presStyleIdx="0" presStyleCnt="1">
        <dgm:presLayoutVars>
          <dgm:chPref val="3"/>
        </dgm:presLayoutVars>
      </dgm:prSet>
      <dgm:spPr/>
    </dgm:pt>
    <dgm:pt modelId="{03002940-FA7A-477D-BED0-131E8033E02E}" type="pres">
      <dgm:prSet presAssocID="{E38B1CA5-4BC2-4520-8E1B-6F162A2F8AB5}" presName="rootConnector1" presStyleLbl="node1" presStyleIdx="0" presStyleCnt="0"/>
      <dgm:spPr/>
    </dgm:pt>
    <dgm:pt modelId="{CA822035-7BEB-447D-9F46-140D33B8AEDF}" type="pres">
      <dgm:prSet presAssocID="{E38B1CA5-4BC2-4520-8E1B-6F162A2F8AB5}" presName="hierChild2" presStyleCnt="0"/>
      <dgm:spPr/>
    </dgm:pt>
    <dgm:pt modelId="{2FD0F99C-3B2B-40E8-A227-F4E01839F4ED}" type="pres">
      <dgm:prSet presAssocID="{34CCF529-7DA1-4B47-8158-6837921DB000}" presName="Name37" presStyleLbl="parChTrans1D2" presStyleIdx="0" presStyleCnt="4"/>
      <dgm:spPr/>
    </dgm:pt>
    <dgm:pt modelId="{D739ABDF-C65D-4533-BB00-DC30B3F4530B}" type="pres">
      <dgm:prSet presAssocID="{6FAC41FE-31ED-4BA3-93BD-7FB974E6784A}" presName="hierRoot2" presStyleCnt="0">
        <dgm:presLayoutVars>
          <dgm:hierBranch val="init"/>
        </dgm:presLayoutVars>
      </dgm:prSet>
      <dgm:spPr/>
    </dgm:pt>
    <dgm:pt modelId="{8D4999B4-2529-475A-B4E6-83D59777EF71}" type="pres">
      <dgm:prSet presAssocID="{6FAC41FE-31ED-4BA3-93BD-7FB974E6784A}" presName="rootComposite" presStyleCnt="0"/>
      <dgm:spPr/>
    </dgm:pt>
    <dgm:pt modelId="{52218C76-1E89-408B-A563-BDB10982DBF3}" type="pres">
      <dgm:prSet presAssocID="{6FAC41FE-31ED-4BA3-93BD-7FB974E6784A}" presName="rootText" presStyleLbl="node2" presStyleIdx="0" presStyleCnt="4">
        <dgm:presLayoutVars>
          <dgm:chPref val="3"/>
        </dgm:presLayoutVars>
      </dgm:prSet>
      <dgm:spPr/>
    </dgm:pt>
    <dgm:pt modelId="{D339BDCB-9BE8-4260-8774-015651B6B4E6}" type="pres">
      <dgm:prSet presAssocID="{6FAC41FE-31ED-4BA3-93BD-7FB974E6784A}" presName="rootConnector" presStyleLbl="node2" presStyleIdx="0" presStyleCnt="4"/>
      <dgm:spPr/>
    </dgm:pt>
    <dgm:pt modelId="{D1292E50-4411-442E-B239-AE35C5EBFC66}" type="pres">
      <dgm:prSet presAssocID="{6FAC41FE-31ED-4BA3-93BD-7FB974E6784A}" presName="hierChild4" presStyleCnt="0"/>
      <dgm:spPr/>
    </dgm:pt>
    <dgm:pt modelId="{745BFE19-8260-4A83-89A1-4DBBD9FB3C25}" type="pres">
      <dgm:prSet presAssocID="{5A7B0401-B7DE-49AE-9481-2B8E95B37391}" presName="Name37" presStyleLbl="parChTrans1D3" presStyleIdx="0" presStyleCnt="15"/>
      <dgm:spPr/>
    </dgm:pt>
    <dgm:pt modelId="{DE5809DE-E7C3-426C-81F5-6B937895DFD8}" type="pres">
      <dgm:prSet presAssocID="{7382B4A1-3769-4B67-AF1B-ED96ACB129F6}" presName="hierRoot2" presStyleCnt="0">
        <dgm:presLayoutVars>
          <dgm:hierBranch val="init"/>
        </dgm:presLayoutVars>
      </dgm:prSet>
      <dgm:spPr/>
    </dgm:pt>
    <dgm:pt modelId="{BF215451-DE8F-41E9-8183-DD71A891A695}" type="pres">
      <dgm:prSet presAssocID="{7382B4A1-3769-4B67-AF1B-ED96ACB129F6}" presName="rootComposite" presStyleCnt="0"/>
      <dgm:spPr/>
    </dgm:pt>
    <dgm:pt modelId="{75A4447A-43FF-4464-B6BD-08A2F2C5F99C}" type="pres">
      <dgm:prSet presAssocID="{7382B4A1-3769-4B67-AF1B-ED96ACB129F6}" presName="rootText" presStyleLbl="node3" presStyleIdx="0" presStyleCnt="15" custLinFactNeighborX="-41975">
        <dgm:presLayoutVars>
          <dgm:chPref val="3"/>
        </dgm:presLayoutVars>
      </dgm:prSet>
      <dgm:spPr/>
    </dgm:pt>
    <dgm:pt modelId="{9306DC9E-8737-44EC-AA34-1865E8A54723}" type="pres">
      <dgm:prSet presAssocID="{7382B4A1-3769-4B67-AF1B-ED96ACB129F6}" presName="rootConnector" presStyleLbl="node3" presStyleIdx="0" presStyleCnt="15"/>
      <dgm:spPr/>
    </dgm:pt>
    <dgm:pt modelId="{750C4F41-CE4E-40DA-9B83-2F22EDCBAB12}" type="pres">
      <dgm:prSet presAssocID="{7382B4A1-3769-4B67-AF1B-ED96ACB129F6}" presName="hierChild4" presStyleCnt="0"/>
      <dgm:spPr/>
    </dgm:pt>
    <dgm:pt modelId="{39ABBB4E-E81D-40D5-965A-3A49A1C40456}" type="pres">
      <dgm:prSet presAssocID="{9BB41D52-1F23-4FB5-BE04-7DE729064FA7}" presName="Name37" presStyleLbl="parChTrans1D4" presStyleIdx="0" presStyleCnt="8"/>
      <dgm:spPr/>
    </dgm:pt>
    <dgm:pt modelId="{48AD3779-F61D-4E42-A67F-F53DA3178C78}" type="pres">
      <dgm:prSet presAssocID="{E0094BAB-15FE-4CFC-81DE-843796C6C246}" presName="hierRoot2" presStyleCnt="0">
        <dgm:presLayoutVars>
          <dgm:hierBranch val="init"/>
        </dgm:presLayoutVars>
      </dgm:prSet>
      <dgm:spPr/>
    </dgm:pt>
    <dgm:pt modelId="{EBDACA03-FEE0-4E3B-B279-B956773273E7}" type="pres">
      <dgm:prSet presAssocID="{E0094BAB-15FE-4CFC-81DE-843796C6C246}" presName="rootComposite" presStyleCnt="0"/>
      <dgm:spPr/>
    </dgm:pt>
    <dgm:pt modelId="{748E36B0-B107-4FE0-BA29-2FFED2B1D32D}" type="pres">
      <dgm:prSet presAssocID="{E0094BAB-15FE-4CFC-81DE-843796C6C246}" presName="rootText" presStyleLbl="node4" presStyleIdx="0" presStyleCnt="8" custLinFactNeighborX="-43115" custLinFactNeighborY="9950">
        <dgm:presLayoutVars>
          <dgm:chPref val="3"/>
        </dgm:presLayoutVars>
      </dgm:prSet>
      <dgm:spPr/>
    </dgm:pt>
    <dgm:pt modelId="{319E5F39-8802-44E1-AFD7-396882594168}" type="pres">
      <dgm:prSet presAssocID="{E0094BAB-15FE-4CFC-81DE-843796C6C246}" presName="rootConnector" presStyleLbl="node4" presStyleIdx="0" presStyleCnt="8"/>
      <dgm:spPr/>
    </dgm:pt>
    <dgm:pt modelId="{FB73E1E0-EF53-4326-A94A-9C6C956A5E0E}" type="pres">
      <dgm:prSet presAssocID="{E0094BAB-15FE-4CFC-81DE-843796C6C246}" presName="hierChild4" presStyleCnt="0"/>
      <dgm:spPr/>
    </dgm:pt>
    <dgm:pt modelId="{AFE7F2AD-5356-4851-A704-CF2E260F86DD}" type="pres">
      <dgm:prSet presAssocID="{E0094BAB-15FE-4CFC-81DE-843796C6C246}" presName="hierChild5" presStyleCnt="0"/>
      <dgm:spPr/>
    </dgm:pt>
    <dgm:pt modelId="{317D395E-8257-41D8-8048-E87C52B1E564}" type="pres">
      <dgm:prSet presAssocID="{7382B4A1-3769-4B67-AF1B-ED96ACB129F6}" presName="hierChild5" presStyleCnt="0"/>
      <dgm:spPr/>
    </dgm:pt>
    <dgm:pt modelId="{C3C9EA2D-F136-4542-AA45-AD7D9BEB87B5}" type="pres">
      <dgm:prSet presAssocID="{53D35800-1F83-4932-98F0-DB2596FC54CB}" presName="Name37" presStyleLbl="parChTrans1D3" presStyleIdx="1" presStyleCnt="15"/>
      <dgm:spPr/>
    </dgm:pt>
    <dgm:pt modelId="{8DBB5652-AF75-4B34-91AA-1A199F193213}" type="pres">
      <dgm:prSet presAssocID="{01E63030-53E7-421D-B1CC-52A9ADA27195}" presName="hierRoot2" presStyleCnt="0">
        <dgm:presLayoutVars>
          <dgm:hierBranch val="init"/>
        </dgm:presLayoutVars>
      </dgm:prSet>
      <dgm:spPr/>
    </dgm:pt>
    <dgm:pt modelId="{9F759A56-436A-4FD6-89E9-29A9CC195412}" type="pres">
      <dgm:prSet presAssocID="{01E63030-53E7-421D-B1CC-52A9ADA27195}" presName="rootComposite" presStyleCnt="0"/>
      <dgm:spPr/>
    </dgm:pt>
    <dgm:pt modelId="{B58A599F-9C1C-46E8-82C0-DA24E4DD94CB}" type="pres">
      <dgm:prSet presAssocID="{01E63030-53E7-421D-B1CC-52A9ADA27195}" presName="rootText" presStyleLbl="node3" presStyleIdx="1" presStyleCnt="15">
        <dgm:presLayoutVars>
          <dgm:chPref val="3"/>
        </dgm:presLayoutVars>
      </dgm:prSet>
      <dgm:spPr/>
    </dgm:pt>
    <dgm:pt modelId="{D0207512-DCDC-41F2-9AB4-A05E5B0CA555}" type="pres">
      <dgm:prSet presAssocID="{01E63030-53E7-421D-B1CC-52A9ADA27195}" presName="rootConnector" presStyleLbl="node3" presStyleIdx="1" presStyleCnt="15"/>
      <dgm:spPr/>
    </dgm:pt>
    <dgm:pt modelId="{ACBFAFB4-6814-415F-B1F1-FFC9FDD49BF1}" type="pres">
      <dgm:prSet presAssocID="{01E63030-53E7-421D-B1CC-52A9ADA27195}" presName="hierChild4" presStyleCnt="0"/>
      <dgm:spPr/>
    </dgm:pt>
    <dgm:pt modelId="{ED4522D6-EAB4-4AB6-9B68-2C9D1638851E}" type="pres">
      <dgm:prSet presAssocID="{1911C8A3-C40D-4014-83B4-0974AF8455FF}" presName="Name37" presStyleLbl="parChTrans1D4" presStyleIdx="1" presStyleCnt="8"/>
      <dgm:spPr/>
    </dgm:pt>
    <dgm:pt modelId="{20EC26A7-20B6-49B9-A445-27BECDAD97BE}" type="pres">
      <dgm:prSet presAssocID="{24DD6AF4-6BE1-4F18-9DB7-CA71FEEED6D7}" presName="hierRoot2" presStyleCnt="0">
        <dgm:presLayoutVars>
          <dgm:hierBranch val="init"/>
        </dgm:presLayoutVars>
      </dgm:prSet>
      <dgm:spPr/>
    </dgm:pt>
    <dgm:pt modelId="{DA4E193B-8977-4017-B224-71A2F624A705}" type="pres">
      <dgm:prSet presAssocID="{24DD6AF4-6BE1-4F18-9DB7-CA71FEEED6D7}" presName="rootComposite" presStyleCnt="0"/>
      <dgm:spPr/>
    </dgm:pt>
    <dgm:pt modelId="{1D1C17C5-1531-419F-B597-6109DA82E819}" type="pres">
      <dgm:prSet presAssocID="{24DD6AF4-6BE1-4F18-9DB7-CA71FEEED6D7}" presName="rootText" presStyleLbl="node4" presStyleIdx="1" presStyleCnt="8">
        <dgm:presLayoutVars>
          <dgm:chPref val="3"/>
        </dgm:presLayoutVars>
      </dgm:prSet>
      <dgm:spPr/>
    </dgm:pt>
    <dgm:pt modelId="{9D214C3C-E3B9-41A6-9852-64A51D4A1123}" type="pres">
      <dgm:prSet presAssocID="{24DD6AF4-6BE1-4F18-9DB7-CA71FEEED6D7}" presName="rootConnector" presStyleLbl="node4" presStyleIdx="1" presStyleCnt="8"/>
      <dgm:spPr/>
    </dgm:pt>
    <dgm:pt modelId="{836BA9BB-42F7-4B92-942F-266A60B778EA}" type="pres">
      <dgm:prSet presAssocID="{24DD6AF4-6BE1-4F18-9DB7-CA71FEEED6D7}" presName="hierChild4" presStyleCnt="0"/>
      <dgm:spPr/>
    </dgm:pt>
    <dgm:pt modelId="{712922F4-2E6A-4F3E-832E-109C2DECD6EE}" type="pres">
      <dgm:prSet presAssocID="{24DD6AF4-6BE1-4F18-9DB7-CA71FEEED6D7}" presName="hierChild5" presStyleCnt="0"/>
      <dgm:spPr/>
    </dgm:pt>
    <dgm:pt modelId="{CCA79C15-712E-48E2-A6CA-EE32F1D92AD3}" type="pres">
      <dgm:prSet presAssocID="{74188EBA-0084-4561-8B14-4AF22763D6ED}" presName="Name37" presStyleLbl="parChTrans1D4" presStyleIdx="2" presStyleCnt="8"/>
      <dgm:spPr/>
    </dgm:pt>
    <dgm:pt modelId="{A15F215A-E6F8-45E3-B6E8-F1DC2EE04D48}" type="pres">
      <dgm:prSet presAssocID="{3579D454-CA8D-4708-82B6-8706E6A6E4CB}" presName="hierRoot2" presStyleCnt="0">
        <dgm:presLayoutVars>
          <dgm:hierBranch val="init"/>
        </dgm:presLayoutVars>
      </dgm:prSet>
      <dgm:spPr/>
    </dgm:pt>
    <dgm:pt modelId="{376AC177-CA38-42FD-ACDA-18DEEA7C9F8F}" type="pres">
      <dgm:prSet presAssocID="{3579D454-CA8D-4708-82B6-8706E6A6E4CB}" presName="rootComposite" presStyleCnt="0"/>
      <dgm:spPr/>
    </dgm:pt>
    <dgm:pt modelId="{6CDB4180-BD35-4432-91DF-E5E894A4E501}" type="pres">
      <dgm:prSet presAssocID="{3579D454-CA8D-4708-82B6-8706E6A6E4CB}" presName="rootText" presStyleLbl="node4" presStyleIdx="2" presStyleCnt="8">
        <dgm:presLayoutVars>
          <dgm:chPref val="3"/>
        </dgm:presLayoutVars>
      </dgm:prSet>
      <dgm:spPr/>
    </dgm:pt>
    <dgm:pt modelId="{A45A3892-0A82-4BBD-9FF9-F02426F7E86A}" type="pres">
      <dgm:prSet presAssocID="{3579D454-CA8D-4708-82B6-8706E6A6E4CB}" presName="rootConnector" presStyleLbl="node4" presStyleIdx="2" presStyleCnt="8"/>
      <dgm:spPr/>
    </dgm:pt>
    <dgm:pt modelId="{49973CCF-8868-4E74-83A2-B17243FDFA71}" type="pres">
      <dgm:prSet presAssocID="{3579D454-CA8D-4708-82B6-8706E6A6E4CB}" presName="hierChild4" presStyleCnt="0"/>
      <dgm:spPr/>
    </dgm:pt>
    <dgm:pt modelId="{8C7DB405-5CAE-4CB4-8412-F12F98668571}" type="pres">
      <dgm:prSet presAssocID="{3579D454-CA8D-4708-82B6-8706E6A6E4CB}" presName="hierChild5" presStyleCnt="0"/>
      <dgm:spPr/>
    </dgm:pt>
    <dgm:pt modelId="{2AA77337-0DDA-4EE3-9FC3-7CAC538999B2}" type="pres">
      <dgm:prSet presAssocID="{1F9A9AD6-BE7C-4D38-A8F4-BBFC448934EB}" presName="Name37" presStyleLbl="parChTrans1D4" presStyleIdx="3" presStyleCnt="8"/>
      <dgm:spPr/>
    </dgm:pt>
    <dgm:pt modelId="{18A6AE19-F699-4329-8544-577882CB4C61}" type="pres">
      <dgm:prSet presAssocID="{EA938781-D580-47E6-ADCF-1FD88FD74000}" presName="hierRoot2" presStyleCnt="0">
        <dgm:presLayoutVars>
          <dgm:hierBranch val="init"/>
        </dgm:presLayoutVars>
      </dgm:prSet>
      <dgm:spPr/>
    </dgm:pt>
    <dgm:pt modelId="{BA6573F0-41DE-452F-AEA8-321C1DFA2F65}" type="pres">
      <dgm:prSet presAssocID="{EA938781-D580-47E6-ADCF-1FD88FD74000}" presName="rootComposite" presStyleCnt="0"/>
      <dgm:spPr/>
    </dgm:pt>
    <dgm:pt modelId="{DFEC2F2B-3A93-401C-9580-C6EB2514E836}" type="pres">
      <dgm:prSet presAssocID="{EA938781-D580-47E6-ADCF-1FD88FD74000}" presName="rootText" presStyleLbl="node4" presStyleIdx="3" presStyleCnt="8">
        <dgm:presLayoutVars>
          <dgm:chPref val="3"/>
        </dgm:presLayoutVars>
      </dgm:prSet>
      <dgm:spPr/>
    </dgm:pt>
    <dgm:pt modelId="{689FC13C-0249-4BEE-BE5E-0379E2127972}" type="pres">
      <dgm:prSet presAssocID="{EA938781-D580-47E6-ADCF-1FD88FD74000}" presName="rootConnector" presStyleLbl="node4" presStyleIdx="3" presStyleCnt="8"/>
      <dgm:spPr/>
    </dgm:pt>
    <dgm:pt modelId="{2FB595E3-6AF1-41A4-B5A3-B024D8C7670B}" type="pres">
      <dgm:prSet presAssocID="{EA938781-D580-47E6-ADCF-1FD88FD74000}" presName="hierChild4" presStyleCnt="0"/>
      <dgm:spPr/>
    </dgm:pt>
    <dgm:pt modelId="{249FB124-5DE4-4041-8C36-D0CF2F5C5A7E}" type="pres">
      <dgm:prSet presAssocID="{EA938781-D580-47E6-ADCF-1FD88FD74000}" presName="hierChild5" presStyleCnt="0"/>
      <dgm:spPr/>
    </dgm:pt>
    <dgm:pt modelId="{DB0D58DD-FABF-430D-8C8E-6D86D9168413}" type="pres">
      <dgm:prSet presAssocID="{B114371E-5F54-4600-A11E-58C623E439A5}" presName="Name37" presStyleLbl="parChTrans1D4" presStyleIdx="4" presStyleCnt="8"/>
      <dgm:spPr/>
    </dgm:pt>
    <dgm:pt modelId="{BE99CD53-A2D4-4846-B320-58E364B28AAD}" type="pres">
      <dgm:prSet presAssocID="{1AA8EA4D-E9B7-41C1-AB26-B5B875E5ED8D}" presName="hierRoot2" presStyleCnt="0">
        <dgm:presLayoutVars>
          <dgm:hierBranch val="init"/>
        </dgm:presLayoutVars>
      </dgm:prSet>
      <dgm:spPr/>
    </dgm:pt>
    <dgm:pt modelId="{C4EF5016-5DA8-4500-85FF-B346CC8C68F8}" type="pres">
      <dgm:prSet presAssocID="{1AA8EA4D-E9B7-41C1-AB26-B5B875E5ED8D}" presName="rootComposite" presStyleCnt="0"/>
      <dgm:spPr/>
    </dgm:pt>
    <dgm:pt modelId="{E43CC8B8-E901-444D-BE3E-EC3CFCFCC1E3}" type="pres">
      <dgm:prSet presAssocID="{1AA8EA4D-E9B7-41C1-AB26-B5B875E5ED8D}" presName="rootText" presStyleLbl="node4" presStyleIdx="4" presStyleCnt="8">
        <dgm:presLayoutVars>
          <dgm:chPref val="3"/>
        </dgm:presLayoutVars>
      </dgm:prSet>
      <dgm:spPr/>
    </dgm:pt>
    <dgm:pt modelId="{8FFDE2CC-18F1-4B0F-89EB-FDA815C9C038}" type="pres">
      <dgm:prSet presAssocID="{1AA8EA4D-E9B7-41C1-AB26-B5B875E5ED8D}" presName="rootConnector" presStyleLbl="node4" presStyleIdx="4" presStyleCnt="8"/>
      <dgm:spPr/>
    </dgm:pt>
    <dgm:pt modelId="{54ED655A-1B1A-4BE8-9C2C-6AE957F6431C}" type="pres">
      <dgm:prSet presAssocID="{1AA8EA4D-E9B7-41C1-AB26-B5B875E5ED8D}" presName="hierChild4" presStyleCnt="0"/>
      <dgm:spPr/>
    </dgm:pt>
    <dgm:pt modelId="{71448BBA-1650-4B0F-9055-43D1575D618B}" type="pres">
      <dgm:prSet presAssocID="{1AA8EA4D-E9B7-41C1-AB26-B5B875E5ED8D}" presName="hierChild5" presStyleCnt="0"/>
      <dgm:spPr/>
    </dgm:pt>
    <dgm:pt modelId="{86771AF7-35B6-41CE-BA3D-34D161089EA4}" type="pres">
      <dgm:prSet presAssocID="{01E63030-53E7-421D-B1CC-52A9ADA27195}" presName="hierChild5" presStyleCnt="0"/>
      <dgm:spPr/>
    </dgm:pt>
    <dgm:pt modelId="{9D065D10-0074-4CD3-A7F3-FB8A80EAF913}" type="pres">
      <dgm:prSet presAssocID="{6FAC41FE-31ED-4BA3-93BD-7FB974E6784A}" presName="hierChild5" presStyleCnt="0"/>
      <dgm:spPr/>
    </dgm:pt>
    <dgm:pt modelId="{55045DD3-3BA4-4614-B18F-294F9E912C34}" type="pres">
      <dgm:prSet presAssocID="{8E076D2D-0202-4F8C-93B8-ED12421D3118}" presName="Name37" presStyleLbl="parChTrans1D2" presStyleIdx="1" presStyleCnt="4"/>
      <dgm:spPr/>
    </dgm:pt>
    <dgm:pt modelId="{0930199E-5753-4D3B-A84B-13351BAEA6D2}" type="pres">
      <dgm:prSet presAssocID="{A9A38E9F-799C-49F3-A3E5-E10488228A3F}" presName="hierRoot2" presStyleCnt="0">
        <dgm:presLayoutVars>
          <dgm:hierBranch val="init"/>
        </dgm:presLayoutVars>
      </dgm:prSet>
      <dgm:spPr/>
    </dgm:pt>
    <dgm:pt modelId="{92BB5157-5F1A-46D7-AC68-2C66492DA26E}" type="pres">
      <dgm:prSet presAssocID="{A9A38E9F-799C-49F3-A3E5-E10488228A3F}" presName="rootComposite" presStyleCnt="0"/>
      <dgm:spPr/>
    </dgm:pt>
    <dgm:pt modelId="{5F24EF4A-5914-47F0-8353-3E5F19A99734}" type="pres">
      <dgm:prSet presAssocID="{A9A38E9F-799C-49F3-A3E5-E10488228A3F}" presName="rootText" presStyleLbl="node2" presStyleIdx="1" presStyleCnt="4">
        <dgm:presLayoutVars>
          <dgm:chPref val="3"/>
        </dgm:presLayoutVars>
      </dgm:prSet>
      <dgm:spPr/>
    </dgm:pt>
    <dgm:pt modelId="{3A8E30D0-7851-42A8-86DB-55F5EA187CD0}" type="pres">
      <dgm:prSet presAssocID="{A9A38E9F-799C-49F3-A3E5-E10488228A3F}" presName="rootConnector" presStyleLbl="node2" presStyleIdx="1" presStyleCnt="4"/>
      <dgm:spPr/>
    </dgm:pt>
    <dgm:pt modelId="{C05C0D71-6A3A-4BC6-9022-13E4E808B539}" type="pres">
      <dgm:prSet presAssocID="{A9A38E9F-799C-49F3-A3E5-E10488228A3F}" presName="hierChild4" presStyleCnt="0"/>
      <dgm:spPr/>
    </dgm:pt>
    <dgm:pt modelId="{CB730DEE-B392-4EB4-9E0A-BB5DB4433BE5}" type="pres">
      <dgm:prSet presAssocID="{F0891EA1-4C71-4739-B131-2AF0BCAD8E40}" presName="Name37" presStyleLbl="parChTrans1D3" presStyleIdx="2" presStyleCnt="15"/>
      <dgm:spPr/>
    </dgm:pt>
    <dgm:pt modelId="{731ED3AA-43F6-4678-BE47-FFF74A0D35A8}" type="pres">
      <dgm:prSet presAssocID="{A1CCD5AF-65CF-41FA-A074-336CD47E51B1}" presName="hierRoot2" presStyleCnt="0">
        <dgm:presLayoutVars>
          <dgm:hierBranch val="init"/>
        </dgm:presLayoutVars>
      </dgm:prSet>
      <dgm:spPr/>
    </dgm:pt>
    <dgm:pt modelId="{C082FF1F-DB96-4D5D-8085-E1AB8CFAB66A}" type="pres">
      <dgm:prSet presAssocID="{A1CCD5AF-65CF-41FA-A074-336CD47E51B1}" presName="rootComposite" presStyleCnt="0"/>
      <dgm:spPr/>
    </dgm:pt>
    <dgm:pt modelId="{F120AB4B-A2AF-4D49-8D60-DE0715A8732D}" type="pres">
      <dgm:prSet presAssocID="{A1CCD5AF-65CF-41FA-A074-336CD47E51B1}" presName="rootText" presStyleLbl="node3" presStyleIdx="2" presStyleCnt="15">
        <dgm:presLayoutVars>
          <dgm:chPref val="3"/>
        </dgm:presLayoutVars>
      </dgm:prSet>
      <dgm:spPr/>
    </dgm:pt>
    <dgm:pt modelId="{93CAF70E-5CC4-46E2-B952-73C763556CFB}" type="pres">
      <dgm:prSet presAssocID="{A1CCD5AF-65CF-41FA-A074-336CD47E51B1}" presName="rootConnector" presStyleLbl="node3" presStyleIdx="2" presStyleCnt="15"/>
      <dgm:spPr/>
    </dgm:pt>
    <dgm:pt modelId="{65C4CDA5-D76C-4F14-9BCA-D2BE4FCA0CA0}" type="pres">
      <dgm:prSet presAssocID="{A1CCD5AF-65CF-41FA-A074-336CD47E51B1}" presName="hierChild4" presStyleCnt="0"/>
      <dgm:spPr/>
    </dgm:pt>
    <dgm:pt modelId="{7C1FA5F9-6432-495B-BD62-E3BBEE65A089}" type="pres">
      <dgm:prSet presAssocID="{79766BD7-DCD0-491D-A8F1-BF49C2918EE4}" presName="Name37" presStyleLbl="parChTrans1D4" presStyleIdx="5" presStyleCnt="8"/>
      <dgm:spPr/>
    </dgm:pt>
    <dgm:pt modelId="{A54169E0-FC72-40EE-ACDD-F4A6F4701AA3}" type="pres">
      <dgm:prSet presAssocID="{1814DF67-EDC8-4E93-902A-E34AE723B645}" presName="hierRoot2" presStyleCnt="0">
        <dgm:presLayoutVars>
          <dgm:hierBranch val="init"/>
        </dgm:presLayoutVars>
      </dgm:prSet>
      <dgm:spPr/>
    </dgm:pt>
    <dgm:pt modelId="{4057EA2A-9A63-4721-849E-AA35CD8B918B}" type="pres">
      <dgm:prSet presAssocID="{1814DF67-EDC8-4E93-902A-E34AE723B645}" presName="rootComposite" presStyleCnt="0"/>
      <dgm:spPr/>
    </dgm:pt>
    <dgm:pt modelId="{683079DF-80E8-4F07-9C1E-226B9616B4BE}" type="pres">
      <dgm:prSet presAssocID="{1814DF67-EDC8-4E93-902A-E34AE723B645}" presName="rootText" presStyleLbl="node4" presStyleIdx="5" presStyleCnt="8">
        <dgm:presLayoutVars>
          <dgm:chPref val="3"/>
        </dgm:presLayoutVars>
      </dgm:prSet>
      <dgm:spPr/>
    </dgm:pt>
    <dgm:pt modelId="{5D118952-E0F7-4941-98DE-29EB56802890}" type="pres">
      <dgm:prSet presAssocID="{1814DF67-EDC8-4E93-902A-E34AE723B645}" presName="rootConnector" presStyleLbl="node4" presStyleIdx="5" presStyleCnt="8"/>
      <dgm:spPr/>
    </dgm:pt>
    <dgm:pt modelId="{E4C4EA82-0A6E-441E-B225-7DE21A15EEBA}" type="pres">
      <dgm:prSet presAssocID="{1814DF67-EDC8-4E93-902A-E34AE723B645}" presName="hierChild4" presStyleCnt="0"/>
      <dgm:spPr/>
    </dgm:pt>
    <dgm:pt modelId="{E1905DCF-2D4D-4D0F-BE6D-0C3A4E6E83CA}" type="pres">
      <dgm:prSet presAssocID="{1814DF67-EDC8-4E93-902A-E34AE723B645}" presName="hierChild5" presStyleCnt="0"/>
      <dgm:spPr/>
    </dgm:pt>
    <dgm:pt modelId="{17A41EC8-2CDE-4F44-8125-3FF37D228618}" type="pres">
      <dgm:prSet presAssocID="{6EF16A4A-22F0-44B1-BAE4-41C5C425DD2F}" presName="Name37" presStyleLbl="parChTrans1D4" presStyleIdx="6" presStyleCnt="8"/>
      <dgm:spPr/>
    </dgm:pt>
    <dgm:pt modelId="{DFBF03DC-4268-49DE-9D68-9F157A9040B1}" type="pres">
      <dgm:prSet presAssocID="{56D94BA8-AF09-4F8B-9F9B-F13DE085E15F}" presName="hierRoot2" presStyleCnt="0">
        <dgm:presLayoutVars>
          <dgm:hierBranch val="init"/>
        </dgm:presLayoutVars>
      </dgm:prSet>
      <dgm:spPr/>
    </dgm:pt>
    <dgm:pt modelId="{ED59B2F8-FBCF-4C48-9326-F07C0D9AA68D}" type="pres">
      <dgm:prSet presAssocID="{56D94BA8-AF09-4F8B-9F9B-F13DE085E15F}" presName="rootComposite" presStyleCnt="0"/>
      <dgm:spPr/>
    </dgm:pt>
    <dgm:pt modelId="{C8B07A7B-0C33-40AB-961A-51357DD8AFD3}" type="pres">
      <dgm:prSet presAssocID="{56D94BA8-AF09-4F8B-9F9B-F13DE085E15F}" presName="rootText" presStyleLbl="node4" presStyleIdx="6" presStyleCnt="8">
        <dgm:presLayoutVars>
          <dgm:chPref val="3"/>
        </dgm:presLayoutVars>
      </dgm:prSet>
      <dgm:spPr/>
    </dgm:pt>
    <dgm:pt modelId="{3D8D8F5B-9A3B-452C-839C-866A08E76A78}" type="pres">
      <dgm:prSet presAssocID="{56D94BA8-AF09-4F8B-9F9B-F13DE085E15F}" presName="rootConnector" presStyleLbl="node4" presStyleIdx="6" presStyleCnt="8"/>
      <dgm:spPr/>
    </dgm:pt>
    <dgm:pt modelId="{BE5B6488-9E3C-4586-A0BE-E6FACBABDED8}" type="pres">
      <dgm:prSet presAssocID="{56D94BA8-AF09-4F8B-9F9B-F13DE085E15F}" presName="hierChild4" presStyleCnt="0"/>
      <dgm:spPr/>
    </dgm:pt>
    <dgm:pt modelId="{8C9A71A0-46F8-4B01-B6E7-BFF480CB60DD}" type="pres">
      <dgm:prSet presAssocID="{56D94BA8-AF09-4F8B-9F9B-F13DE085E15F}" presName="hierChild5" presStyleCnt="0"/>
      <dgm:spPr/>
    </dgm:pt>
    <dgm:pt modelId="{2D547170-6BFB-43A5-BDD2-20710A11F5AA}" type="pres">
      <dgm:prSet presAssocID="{EE194438-4AE5-4726-B49C-52974EEA10A7}" presName="Name37" presStyleLbl="parChTrans1D4" presStyleIdx="7" presStyleCnt="8"/>
      <dgm:spPr/>
    </dgm:pt>
    <dgm:pt modelId="{CB921C66-D3D6-4EB6-820C-3492375C3FAD}" type="pres">
      <dgm:prSet presAssocID="{B4EA6D86-327C-426C-9CC9-139CB133A108}" presName="hierRoot2" presStyleCnt="0">
        <dgm:presLayoutVars>
          <dgm:hierBranch val="init"/>
        </dgm:presLayoutVars>
      </dgm:prSet>
      <dgm:spPr/>
    </dgm:pt>
    <dgm:pt modelId="{F06B192B-CF56-4471-8AE6-B1A2B2472D2C}" type="pres">
      <dgm:prSet presAssocID="{B4EA6D86-327C-426C-9CC9-139CB133A108}" presName="rootComposite" presStyleCnt="0"/>
      <dgm:spPr/>
    </dgm:pt>
    <dgm:pt modelId="{DE18CD41-1488-4600-AC60-8EB3F1CC6A09}" type="pres">
      <dgm:prSet presAssocID="{B4EA6D86-327C-426C-9CC9-139CB133A108}" presName="rootText" presStyleLbl="node4" presStyleIdx="7" presStyleCnt="8">
        <dgm:presLayoutVars>
          <dgm:chPref val="3"/>
        </dgm:presLayoutVars>
      </dgm:prSet>
      <dgm:spPr/>
    </dgm:pt>
    <dgm:pt modelId="{CCDFE1D1-B66A-4969-A0DF-A743D36C3CED}" type="pres">
      <dgm:prSet presAssocID="{B4EA6D86-327C-426C-9CC9-139CB133A108}" presName="rootConnector" presStyleLbl="node4" presStyleIdx="7" presStyleCnt="8"/>
      <dgm:spPr/>
    </dgm:pt>
    <dgm:pt modelId="{341738BE-1E08-49CC-858E-84185A0DF20E}" type="pres">
      <dgm:prSet presAssocID="{B4EA6D86-327C-426C-9CC9-139CB133A108}" presName="hierChild4" presStyleCnt="0"/>
      <dgm:spPr/>
    </dgm:pt>
    <dgm:pt modelId="{1F304ECB-5BF5-4654-A844-9110FBE0B6BB}" type="pres">
      <dgm:prSet presAssocID="{B4EA6D86-327C-426C-9CC9-139CB133A108}" presName="hierChild5" presStyleCnt="0"/>
      <dgm:spPr/>
    </dgm:pt>
    <dgm:pt modelId="{EFDA295A-5AA9-44A8-9BAB-5697754FC70D}" type="pres">
      <dgm:prSet presAssocID="{A1CCD5AF-65CF-41FA-A074-336CD47E51B1}" presName="hierChild5" presStyleCnt="0"/>
      <dgm:spPr/>
    </dgm:pt>
    <dgm:pt modelId="{CDA7EDD1-C3D3-416B-BC15-8768C91BDF28}" type="pres">
      <dgm:prSet presAssocID="{A9A38E9F-799C-49F3-A3E5-E10488228A3F}" presName="hierChild5" presStyleCnt="0"/>
      <dgm:spPr/>
    </dgm:pt>
    <dgm:pt modelId="{D0B75A22-3D72-4C2A-904C-17F060D50799}" type="pres">
      <dgm:prSet presAssocID="{EFDDD1CC-27FD-40B2-8549-4ADAC18C12E4}" presName="Name37" presStyleLbl="parChTrans1D2" presStyleIdx="2" presStyleCnt="4"/>
      <dgm:spPr/>
    </dgm:pt>
    <dgm:pt modelId="{35D6DEA2-8CDB-45B0-9440-6FED41772516}" type="pres">
      <dgm:prSet presAssocID="{73B4EDEB-B342-4A40-BB8F-A9BD60E4CC93}" presName="hierRoot2" presStyleCnt="0">
        <dgm:presLayoutVars>
          <dgm:hierBranch val="init"/>
        </dgm:presLayoutVars>
      </dgm:prSet>
      <dgm:spPr/>
    </dgm:pt>
    <dgm:pt modelId="{A7251ABA-B07C-465C-ADA8-149650302545}" type="pres">
      <dgm:prSet presAssocID="{73B4EDEB-B342-4A40-BB8F-A9BD60E4CC93}" presName="rootComposite" presStyleCnt="0"/>
      <dgm:spPr/>
    </dgm:pt>
    <dgm:pt modelId="{591808E9-BA4A-4F46-8A43-4F02198286F8}" type="pres">
      <dgm:prSet presAssocID="{73B4EDEB-B342-4A40-BB8F-A9BD60E4CC93}" presName="rootText" presStyleLbl="node2" presStyleIdx="2" presStyleCnt="4">
        <dgm:presLayoutVars>
          <dgm:chPref val="3"/>
        </dgm:presLayoutVars>
      </dgm:prSet>
      <dgm:spPr/>
    </dgm:pt>
    <dgm:pt modelId="{E6DB5683-914E-4C59-BB98-507F65E8963E}" type="pres">
      <dgm:prSet presAssocID="{73B4EDEB-B342-4A40-BB8F-A9BD60E4CC93}" presName="rootConnector" presStyleLbl="node2" presStyleIdx="2" presStyleCnt="4"/>
      <dgm:spPr/>
    </dgm:pt>
    <dgm:pt modelId="{52A97A38-06F9-4F37-AFC1-8EE84E39125B}" type="pres">
      <dgm:prSet presAssocID="{73B4EDEB-B342-4A40-BB8F-A9BD60E4CC93}" presName="hierChild4" presStyleCnt="0"/>
      <dgm:spPr/>
    </dgm:pt>
    <dgm:pt modelId="{968E41AD-9C0F-48CB-873F-E5893A5AED2E}" type="pres">
      <dgm:prSet presAssocID="{EBA03A76-395C-4CB7-9F49-451FF6702E5C}" presName="Name37" presStyleLbl="parChTrans1D3" presStyleIdx="3" presStyleCnt="15"/>
      <dgm:spPr/>
    </dgm:pt>
    <dgm:pt modelId="{BF3A6607-CA42-4E7E-90B1-AF62D7A88B49}" type="pres">
      <dgm:prSet presAssocID="{0EFB1B8C-2628-482B-A661-E942E3CA2807}" presName="hierRoot2" presStyleCnt="0">
        <dgm:presLayoutVars>
          <dgm:hierBranch val="init"/>
        </dgm:presLayoutVars>
      </dgm:prSet>
      <dgm:spPr/>
    </dgm:pt>
    <dgm:pt modelId="{2C88C65C-5833-4414-A15A-B81F31DCE9FD}" type="pres">
      <dgm:prSet presAssocID="{0EFB1B8C-2628-482B-A661-E942E3CA2807}" presName="rootComposite" presStyleCnt="0"/>
      <dgm:spPr/>
    </dgm:pt>
    <dgm:pt modelId="{D578D6B3-E95B-44BC-A80B-35E1A98DD1E3}" type="pres">
      <dgm:prSet presAssocID="{0EFB1B8C-2628-482B-A661-E942E3CA2807}" presName="rootText" presStyleLbl="node3" presStyleIdx="3" presStyleCnt="15">
        <dgm:presLayoutVars>
          <dgm:chPref val="3"/>
        </dgm:presLayoutVars>
      </dgm:prSet>
      <dgm:spPr/>
    </dgm:pt>
    <dgm:pt modelId="{B7F11240-4674-408C-A019-A540E56CA022}" type="pres">
      <dgm:prSet presAssocID="{0EFB1B8C-2628-482B-A661-E942E3CA2807}" presName="rootConnector" presStyleLbl="node3" presStyleIdx="3" presStyleCnt="15"/>
      <dgm:spPr/>
    </dgm:pt>
    <dgm:pt modelId="{51D27D29-6523-460A-82D3-AED949FA5353}" type="pres">
      <dgm:prSet presAssocID="{0EFB1B8C-2628-482B-A661-E942E3CA2807}" presName="hierChild4" presStyleCnt="0"/>
      <dgm:spPr/>
    </dgm:pt>
    <dgm:pt modelId="{4D7F8A88-7CE8-4B01-BED0-DCBE4FC5CB5C}" type="pres">
      <dgm:prSet presAssocID="{0EFB1B8C-2628-482B-A661-E942E3CA2807}" presName="hierChild5" presStyleCnt="0"/>
      <dgm:spPr/>
    </dgm:pt>
    <dgm:pt modelId="{A6EAF44D-B301-4094-9BC6-7DFCECEA01E3}" type="pres">
      <dgm:prSet presAssocID="{6A3CCA62-DE52-47B0-8342-38B846AEADBB}" presName="Name37" presStyleLbl="parChTrans1D3" presStyleIdx="4" presStyleCnt="15"/>
      <dgm:spPr/>
    </dgm:pt>
    <dgm:pt modelId="{5102316F-0693-43EA-8C22-DD6E37F0ECFD}" type="pres">
      <dgm:prSet presAssocID="{3B381816-0702-4102-96D3-D07BEFC78F0B}" presName="hierRoot2" presStyleCnt="0">
        <dgm:presLayoutVars>
          <dgm:hierBranch val="init"/>
        </dgm:presLayoutVars>
      </dgm:prSet>
      <dgm:spPr/>
    </dgm:pt>
    <dgm:pt modelId="{6F5D2B19-DF00-4904-A3A4-15C8738CCD00}" type="pres">
      <dgm:prSet presAssocID="{3B381816-0702-4102-96D3-D07BEFC78F0B}" presName="rootComposite" presStyleCnt="0"/>
      <dgm:spPr/>
    </dgm:pt>
    <dgm:pt modelId="{C5324160-1919-4624-8B94-EA2934C07C6E}" type="pres">
      <dgm:prSet presAssocID="{3B381816-0702-4102-96D3-D07BEFC78F0B}" presName="rootText" presStyleLbl="node3" presStyleIdx="4" presStyleCnt="15">
        <dgm:presLayoutVars>
          <dgm:chPref val="3"/>
        </dgm:presLayoutVars>
      </dgm:prSet>
      <dgm:spPr/>
    </dgm:pt>
    <dgm:pt modelId="{D8BD7AE5-F8E8-4078-ADB3-BDC64947C0D8}" type="pres">
      <dgm:prSet presAssocID="{3B381816-0702-4102-96D3-D07BEFC78F0B}" presName="rootConnector" presStyleLbl="node3" presStyleIdx="4" presStyleCnt="15"/>
      <dgm:spPr/>
    </dgm:pt>
    <dgm:pt modelId="{18F80158-384B-4854-9383-C4A2B772F622}" type="pres">
      <dgm:prSet presAssocID="{3B381816-0702-4102-96D3-D07BEFC78F0B}" presName="hierChild4" presStyleCnt="0"/>
      <dgm:spPr/>
    </dgm:pt>
    <dgm:pt modelId="{94A4C630-9C7A-4FDB-9D31-FC627E83E937}" type="pres">
      <dgm:prSet presAssocID="{3B381816-0702-4102-96D3-D07BEFC78F0B}" presName="hierChild5" presStyleCnt="0"/>
      <dgm:spPr/>
    </dgm:pt>
    <dgm:pt modelId="{2F26A465-879D-406D-912D-12A156B2E726}" type="pres">
      <dgm:prSet presAssocID="{9338652A-7095-40B7-A210-DE28A12286DB}" presName="Name37" presStyleLbl="parChTrans1D3" presStyleIdx="5" presStyleCnt="15"/>
      <dgm:spPr/>
    </dgm:pt>
    <dgm:pt modelId="{CC9E181D-B393-48DD-B007-177DE8C0DA05}" type="pres">
      <dgm:prSet presAssocID="{CC5CD078-B740-44A9-AC9D-80501AB04FDE}" presName="hierRoot2" presStyleCnt="0">
        <dgm:presLayoutVars>
          <dgm:hierBranch val="init"/>
        </dgm:presLayoutVars>
      </dgm:prSet>
      <dgm:spPr/>
    </dgm:pt>
    <dgm:pt modelId="{D764B984-8D31-48AA-A1F4-112FACC28034}" type="pres">
      <dgm:prSet presAssocID="{CC5CD078-B740-44A9-AC9D-80501AB04FDE}" presName="rootComposite" presStyleCnt="0"/>
      <dgm:spPr/>
    </dgm:pt>
    <dgm:pt modelId="{4BBB7BDB-2626-49B8-9C45-F860E158693F}" type="pres">
      <dgm:prSet presAssocID="{CC5CD078-B740-44A9-AC9D-80501AB04FDE}" presName="rootText" presStyleLbl="node3" presStyleIdx="5" presStyleCnt="15">
        <dgm:presLayoutVars>
          <dgm:chPref val="3"/>
        </dgm:presLayoutVars>
      </dgm:prSet>
      <dgm:spPr/>
    </dgm:pt>
    <dgm:pt modelId="{2203A6F2-E9E7-4998-B1B6-F1004FD1D177}" type="pres">
      <dgm:prSet presAssocID="{CC5CD078-B740-44A9-AC9D-80501AB04FDE}" presName="rootConnector" presStyleLbl="node3" presStyleIdx="5" presStyleCnt="15"/>
      <dgm:spPr/>
    </dgm:pt>
    <dgm:pt modelId="{0512D519-A229-4848-9580-CEB7E683E896}" type="pres">
      <dgm:prSet presAssocID="{CC5CD078-B740-44A9-AC9D-80501AB04FDE}" presName="hierChild4" presStyleCnt="0"/>
      <dgm:spPr/>
    </dgm:pt>
    <dgm:pt modelId="{A41165A3-CDC2-471B-9D71-3E4A53438029}" type="pres">
      <dgm:prSet presAssocID="{CC5CD078-B740-44A9-AC9D-80501AB04FDE}" presName="hierChild5" presStyleCnt="0"/>
      <dgm:spPr/>
    </dgm:pt>
    <dgm:pt modelId="{4BD747F0-74C1-4FD2-9B29-3DDB6A43336C}" type="pres">
      <dgm:prSet presAssocID="{969DBA26-5196-4601-9589-4426A7C79563}" presName="Name37" presStyleLbl="parChTrans1D3" presStyleIdx="6" presStyleCnt="15"/>
      <dgm:spPr/>
    </dgm:pt>
    <dgm:pt modelId="{50C4C4AA-B0B8-4BFE-8356-EFDD4DE9C1A7}" type="pres">
      <dgm:prSet presAssocID="{6A48F2F6-5742-4B5D-8A8A-B75F030BFF98}" presName="hierRoot2" presStyleCnt="0">
        <dgm:presLayoutVars>
          <dgm:hierBranch val="init"/>
        </dgm:presLayoutVars>
      </dgm:prSet>
      <dgm:spPr/>
    </dgm:pt>
    <dgm:pt modelId="{A4891A10-9621-4BAD-846E-FB6831ED7260}" type="pres">
      <dgm:prSet presAssocID="{6A48F2F6-5742-4B5D-8A8A-B75F030BFF98}" presName="rootComposite" presStyleCnt="0"/>
      <dgm:spPr/>
    </dgm:pt>
    <dgm:pt modelId="{2E3C9156-8889-45FF-9EB8-0E518B438EFB}" type="pres">
      <dgm:prSet presAssocID="{6A48F2F6-5742-4B5D-8A8A-B75F030BFF98}" presName="rootText" presStyleLbl="node3" presStyleIdx="6" presStyleCnt="15">
        <dgm:presLayoutVars>
          <dgm:chPref val="3"/>
        </dgm:presLayoutVars>
      </dgm:prSet>
      <dgm:spPr/>
    </dgm:pt>
    <dgm:pt modelId="{EEC794DB-5729-4BAD-9191-B265780BEDBF}" type="pres">
      <dgm:prSet presAssocID="{6A48F2F6-5742-4B5D-8A8A-B75F030BFF98}" presName="rootConnector" presStyleLbl="node3" presStyleIdx="6" presStyleCnt="15"/>
      <dgm:spPr/>
    </dgm:pt>
    <dgm:pt modelId="{DAF1C916-D917-4C9F-B26B-A33C13AF0855}" type="pres">
      <dgm:prSet presAssocID="{6A48F2F6-5742-4B5D-8A8A-B75F030BFF98}" presName="hierChild4" presStyleCnt="0"/>
      <dgm:spPr/>
    </dgm:pt>
    <dgm:pt modelId="{7EC8F7B9-4E20-4474-A3AD-AD14E852AD58}" type="pres">
      <dgm:prSet presAssocID="{6A48F2F6-5742-4B5D-8A8A-B75F030BFF98}" presName="hierChild5" presStyleCnt="0"/>
      <dgm:spPr/>
    </dgm:pt>
    <dgm:pt modelId="{BB7F919D-FE48-47EC-8324-CA8735E98438}" type="pres">
      <dgm:prSet presAssocID="{632450AE-6EC2-447D-9053-7D67E33ED3BF}" presName="Name37" presStyleLbl="parChTrans1D3" presStyleIdx="7" presStyleCnt="15"/>
      <dgm:spPr/>
    </dgm:pt>
    <dgm:pt modelId="{42341E44-5565-4F45-AC41-F363D85E9AFC}" type="pres">
      <dgm:prSet presAssocID="{3EF0C92C-F904-4933-8D6E-4B3A974FC6ED}" presName="hierRoot2" presStyleCnt="0">
        <dgm:presLayoutVars>
          <dgm:hierBranch val="init"/>
        </dgm:presLayoutVars>
      </dgm:prSet>
      <dgm:spPr/>
    </dgm:pt>
    <dgm:pt modelId="{93607473-A924-433A-9122-7C6ED1C87952}" type="pres">
      <dgm:prSet presAssocID="{3EF0C92C-F904-4933-8D6E-4B3A974FC6ED}" presName="rootComposite" presStyleCnt="0"/>
      <dgm:spPr/>
    </dgm:pt>
    <dgm:pt modelId="{74E4902C-B9CE-4560-9E7B-7441B48EE5C3}" type="pres">
      <dgm:prSet presAssocID="{3EF0C92C-F904-4933-8D6E-4B3A974FC6ED}" presName="rootText" presStyleLbl="node3" presStyleIdx="7" presStyleCnt="15">
        <dgm:presLayoutVars>
          <dgm:chPref val="3"/>
        </dgm:presLayoutVars>
      </dgm:prSet>
      <dgm:spPr/>
    </dgm:pt>
    <dgm:pt modelId="{C5DA8EF8-4F53-43DE-9DAA-190B5AC7B38C}" type="pres">
      <dgm:prSet presAssocID="{3EF0C92C-F904-4933-8D6E-4B3A974FC6ED}" presName="rootConnector" presStyleLbl="node3" presStyleIdx="7" presStyleCnt="15"/>
      <dgm:spPr/>
    </dgm:pt>
    <dgm:pt modelId="{CA88D517-5A95-45E9-B75D-60FF529FEC3C}" type="pres">
      <dgm:prSet presAssocID="{3EF0C92C-F904-4933-8D6E-4B3A974FC6ED}" presName="hierChild4" presStyleCnt="0"/>
      <dgm:spPr/>
    </dgm:pt>
    <dgm:pt modelId="{606AFB84-57A0-4B37-9A07-740822499447}" type="pres">
      <dgm:prSet presAssocID="{3EF0C92C-F904-4933-8D6E-4B3A974FC6ED}" presName="hierChild5" presStyleCnt="0"/>
      <dgm:spPr/>
    </dgm:pt>
    <dgm:pt modelId="{A0BEA156-ECCF-4239-A317-73625B1E1342}" type="pres">
      <dgm:prSet presAssocID="{6B3C2D56-FD3F-42D7-909B-94932A02B089}" presName="Name37" presStyleLbl="parChTrans1D3" presStyleIdx="8" presStyleCnt="15"/>
      <dgm:spPr/>
    </dgm:pt>
    <dgm:pt modelId="{0DC96522-3668-4255-98E6-5BD38BD3302E}" type="pres">
      <dgm:prSet presAssocID="{B706C405-5E5E-45F5-9BB0-54944FBF51BB}" presName="hierRoot2" presStyleCnt="0">
        <dgm:presLayoutVars>
          <dgm:hierBranch val="init"/>
        </dgm:presLayoutVars>
      </dgm:prSet>
      <dgm:spPr/>
    </dgm:pt>
    <dgm:pt modelId="{26D300DB-E46C-4030-A997-47DF2EF18E19}" type="pres">
      <dgm:prSet presAssocID="{B706C405-5E5E-45F5-9BB0-54944FBF51BB}" presName="rootComposite" presStyleCnt="0"/>
      <dgm:spPr/>
    </dgm:pt>
    <dgm:pt modelId="{237F3405-A2B9-49BC-909A-C59170F37284}" type="pres">
      <dgm:prSet presAssocID="{B706C405-5E5E-45F5-9BB0-54944FBF51BB}" presName="rootText" presStyleLbl="node3" presStyleIdx="8" presStyleCnt="15">
        <dgm:presLayoutVars>
          <dgm:chPref val="3"/>
        </dgm:presLayoutVars>
      </dgm:prSet>
      <dgm:spPr>
        <a:xfrm>
          <a:off x="6854919" y="5400913"/>
          <a:ext cx="950738" cy="475369"/>
        </a:xfrm>
        <a:prstGeom prst="rect">
          <a:avLst/>
        </a:prstGeom>
      </dgm:spPr>
    </dgm:pt>
    <dgm:pt modelId="{1D253BC7-DCC8-4E3A-B459-392177C33DAC}" type="pres">
      <dgm:prSet presAssocID="{B706C405-5E5E-45F5-9BB0-54944FBF51BB}" presName="rootConnector" presStyleLbl="node3" presStyleIdx="8" presStyleCnt="15"/>
      <dgm:spPr/>
    </dgm:pt>
    <dgm:pt modelId="{D77138C9-B93C-4508-9EFC-B6B9A6887162}" type="pres">
      <dgm:prSet presAssocID="{B706C405-5E5E-45F5-9BB0-54944FBF51BB}" presName="hierChild4" presStyleCnt="0"/>
      <dgm:spPr/>
    </dgm:pt>
    <dgm:pt modelId="{13B4496F-3F6C-4A58-BBEC-FA7E2B2E344C}" type="pres">
      <dgm:prSet presAssocID="{B706C405-5E5E-45F5-9BB0-54944FBF51BB}" presName="hierChild5" presStyleCnt="0"/>
      <dgm:spPr/>
    </dgm:pt>
    <dgm:pt modelId="{B7603629-13D7-4A09-AD37-801962CFE87C}" type="pres">
      <dgm:prSet presAssocID="{73B4EDEB-B342-4A40-BB8F-A9BD60E4CC93}" presName="hierChild5" presStyleCnt="0"/>
      <dgm:spPr/>
    </dgm:pt>
    <dgm:pt modelId="{91E5345A-8EDC-46D8-A550-F15570D5FE34}" type="pres">
      <dgm:prSet presAssocID="{E342C92F-E49D-4D40-BEA7-8DDA3D7EFAAF}" presName="Name37" presStyleLbl="parChTrans1D2" presStyleIdx="3" presStyleCnt="4"/>
      <dgm:spPr/>
    </dgm:pt>
    <dgm:pt modelId="{42B3B942-8319-45C5-8E2E-485805502891}" type="pres">
      <dgm:prSet presAssocID="{AF22B52D-E12A-4FE0-A026-D03A63D5B14D}" presName="hierRoot2" presStyleCnt="0">
        <dgm:presLayoutVars>
          <dgm:hierBranch val="init"/>
        </dgm:presLayoutVars>
      </dgm:prSet>
      <dgm:spPr/>
    </dgm:pt>
    <dgm:pt modelId="{3E591267-2AB3-43D2-859E-1971E902BFBC}" type="pres">
      <dgm:prSet presAssocID="{AF22B52D-E12A-4FE0-A026-D03A63D5B14D}" presName="rootComposite" presStyleCnt="0"/>
      <dgm:spPr/>
    </dgm:pt>
    <dgm:pt modelId="{91D18BC6-84A8-46F6-AACA-66A51F65B7C7}" type="pres">
      <dgm:prSet presAssocID="{AF22B52D-E12A-4FE0-A026-D03A63D5B14D}" presName="rootText" presStyleLbl="node2" presStyleIdx="3" presStyleCnt="4">
        <dgm:presLayoutVars>
          <dgm:chPref val="3"/>
        </dgm:presLayoutVars>
      </dgm:prSet>
      <dgm:spPr/>
    </dgm:pt>
    <dgm:pt modelId="{93E42B49-767C-4CB6-ABA0-596F61737D83}" type="pres">
      <dgm:prSet presAssocID="{AF22B52D-E12A-4FE0-A026-D03A63D5B14D}" presName="rootConnector" presStyleLbl="node2" presStyleIdx="3" presStyleCnt="4"/>
      <dgm:spPr/>
    </dgm:pt>
    <dgm:pt modelId="{FBAF0FFD-7C5C-414A-9331-0B607E98E593}" type="pres">
      <dgm:prSet presAssocID="{AF22B52D-E12A-4FE0-A026-D03A63D5B14D}" presName="hierChild4" presStyleCnt="0"/>
      <dgm:spPr/>
    </dgm:pt>
    <dgm:pt modelId="{A9C88D3D-7DB4-4E0C-B617-D87070980AE9}" type="pres">
      <dgm:prSet presAssocID="{7DB2A198-DB51-4052-934E-7B442274273C}" presName="Name37" presStyleLbl="parChTrans1D3" presStyleIdx="9" presStyleCnt="15"/>
      <dgm:spPr/>
    </dgm:pt>
    <dgm:pt modelId="{CDACC9C8-6F97-4B1A-ACF5-C08FB4910858}" type="pres">
      <dgm:prSet presAssocID="{5ED9EB76-71F7-4A7B-9919-A05AAECD493D}" presName="hierRoot2" presStyleCnt="0">
        <dgm:presLayoutVars>
          <dgm:hierBranch val="init"/>
        </dgm:presLayoutVars>
      </dgm:prSet>
      <dgm:spPr/>
    </dgm:pt>
    <dgm:pt modelId="{FC206D2F-440E-4E21-802D-4C0C1AE1C76B}" type="pres">
      <dgm:prSet presAssocID="{5ED9EB76-71F7-4A7B-9919-A05AAECD493D}" presName="rootComposite" presStyleCnt="0"/>
      <dgm:spPr/>
    </dgm:pt>
    <dgm:pt modelId="{5CEC28E3-35A5-4F43-A8A4-305B35280045}" type="pres">
      <dgm:prSet presAssocID="{5ED9EB76-71F7-4A7B-9919-A05AAECD493D}" presName="rootText" presStyleLbl="node3" presStyleIdx="9" presStyleCnt="15">
        <dgm:presLayoutVars>
          <dgm:chPref val="3"/>
        </dgm:presLayoutVars>
      </dgm:prSet>
      <dgm:spPr/>
    </dgm:pt>
    <dgm:pt modelId="{FA7B7DFC-6CCE-4E57-A384-EEB6EA4AD22F}" type="pres">
      <dgm:prSet presAssocID="{5ED9EB76-71F7-4A7B-9919-A05AAECD493D}" presName="rootConnector" presStyleLbl="node3" presStyleIdx="9" presStyleCnt="15"/>
      <dgm:spPr/>
    </dgm:pt>
    <dgm:pt modelId="{BA372BE8-EC2B-41D6-979E-3DCFC0795A65}" type="pres">
      <dgm:prSet presAssocID="{5ED9EB76-71F7-4A7B-9919-A05AAECD493D}" presName="hierChild4" presStyleCnt="0"/>
      <dgm:spPr/>
    </dgm:pt>
    <dgm:pt modelId="{0DD4734C-2A61-4951-A530-313CCE4FD4BC}" type="pres">
      <dgm:prSet presAssocID="{5ED9EB76-71F7-4A7B-9919-A05AAECD493D}" presName="hierChild5" presStyleCnt="0"/>
      <dgm:spPr/>
    </dgm:pt>
    <dgm:pt modelId="{72BE23B4-D2EF-4EC7-88FB-3AA91AF3244F}" type="pres">
      <dgm:prSet presAssocID="{6E20C829-094E-4082-8ED0-7FEDC6CB5F35}" presName="Name37" presStyleLbl="parChTrans1D3" presStyleIdx="10" presStyleCnt="15"/>
      <dgm:spPr/>
    </dgm:pt>
    <dgm:pt modelId="{59669073-35C2-4A3E-958C-8694C9100FBE}" type="pres">
      <dgm:prSet presAssocID="{2399F154-E8BD-41B6-B5F8-E5A02E2F7BB0}" presName="hierRoot2" presStyleCnt="0">
        <dgm:presLayoutVars>
          <dgm:hierBranch val="init"/>
        </dgm:presLayoutVars>
      </dgm:prSet>
      <dgm:spPr/>
    </dgm:pt>
    <dgm:pt modelId="{54F1BA4E-D802-4F30-A806-DFC010160558}" type="pres">
      <dgm:prSet presAssocID="{2399F154-E8BD-41B6-B5F8-E5A02E2F7BB0}" presName="rootComposite" presStyleCnt="0"/>
      <dgm:spPr/>
    </dgm:pt>
    <dgm:pt modelId="{BF764DE7-EEE7-420C-9F49-12F1D53AFEC5}" type="pres">
      <dgm:prSet presAssocID="{2399F154-E8BD-41B6-B5F8-E5A02E2F7BB0}" presName="rootText" presStyleLbl="node3" presStyleIdx="10" presStyleCnt="15">
        <dgm:presLayoutVars>
          <dgm:chPref val="3"/>
        </dgm:presLayoutVars>
      </dgm:prSet>
      <dgm:spPr/>
    </dgm:pt>
    <dgm:pt modelId="{DC373A90-5437-4E47-A750-04D015D43C39}" type="pres">
      <dgm:prSet presAssocID="{2399F154-E8BD-41B6-B5F8-E5A02E2F7BB0}" presName="rootConnector" presStyleLbl="node3" presStyleIdx="10" presStyleCnt="15"/>
      <dgm:spPr/>
    </dgm:pt>
    <dgm:pt modelId="{9BD4B88A-9DAE-4D34-B67C-689CA9E1BDCA}" type="pres">
      <dgm:prSet presAssocID="{2399F154-E8BD-41B6-B5F8-E5A02E2F7BB0}" presName="hierChild4" presStyleCnt="0"/>
      <dgm:spPr/>
    </dgm:pt>
    <dgm:pt modelId="{62019800-3F4E-4377-BA19-9E83229A1B0C}" type="pres">
      <dgm:prSet presAssocID="{2399F154-E8BD-41B6-B5F8-E5A02E2F7BB0}" presName="hierChild5" presStyleCnt="0"/>
      <dgm:spPr/>
    </dgm:pt>
    <dgm:pt modelId="{9D2B0197-98A0-4B10-86A0-B7C061E13047}" type="pres">
      <dgm:prSet presAssocID="{94DB319B-C0F6-4F07-A0A3-5B14C3D75082}" presName="Name37" presStyleLbl="parChTrans1D3" presStyleIdx="11" presStyleCnt="15"/>
      <dgm:spPr/>
    </dgm:pt>
    <dgm:pt modelId="{DEFBF53A-22F0-4CD7-BAC2-EF32346DE785}" type="pres">
      <dgm:prSet presAssocID="{B3C11583-361F-4B96-8A71-B92A81E22211}" presName="hierRoot2" presStyleCnt="0">
        <dgm:presLayoutVars>
          <dgm:hierBranch val="init"/>
        </dgm:presLayoutVars>
      </dgm:prSet>
      <dgm:spPr/>
    </dgm:pt>
    <dgm:pt modelId="{633C8836-DA09-40A1-8671-98F12904E3E4}" type="pres">
      <dgm:prSet presAssocID="{B3C11583-361F-4B96-8A71-B92A81E22211}" presName="rootComposite" presStyleCnt="0"/>
      <dgm:spPr/>
    </dgm:pt>
    <dgm:pt modelId="{3A3B1FA7-5701-43A7-866E-BDB6D4EFED63}" type="pres">
      <dgm:prSet presAssocID="{B3C11583-361F-4B96-8A71-B92A81E22211}" presName="rootText" presStyleLbl="node3" presStyleIdx="11" presStyleCnt="15">
        <dgm:presLayoutVars>
          <dgm:chPref val="3"/>
        </dgm:presLayoutVars>
      </dgm:prSet>
      <dgm:spPr/>
    </dgm:pt>
    <dgm:pt modelId="{53B40C02-8788-48E4-90D8-C4B30F0558A0}" type="pres">
      <dgm:prSet presAssocID="{B3C11583-361F-4B96-8A71-B92A81E22211}" presName="rootConnector" presStyleLbl="node3" presStyleIdx="11" presStyleCnt="15"/>
      <dgm:spPr/>
    </dgm:pt>
    <dgm:pt modelId="{378B0773-4FC7-4A53-93A8-C8F3AC1ECF33}" type="pres">
      <dgm:prSet presAssocID="{B3C11583-361F-4B96-8A71-B92A81E22211}" presName="hierChild4" presStyleCnt="0"/>
      <dgm:spPr/>
    </dgm:pt>
    <dgm:pt modelId="{A0D94B40-7342-49BE-836E-F6AD94487F24}" type="pres">
      <dgm:prSet presAssocID="{B3C11583-361F-4B96-8A71-B92A81E22211}" presName="hierChild5" presStyleCnt="0"/>
      <dgm:spPr/>
    </dgm:pt>
    <dgm:pt modelId="{76723A5C-B773-402D-A371-2FAEEA6EEFD6}" type="pres">
      <dgm:prSet presAssocID="{0D1B5F04-E396-4234-ACF8-F23BA036F89A}" presName="Name37" presStyleLbl="parChTrans1D3" presStyleIdx="12" presStyleCnt="15"/>
      <dgm:spPr/>
    </dgm:pt>
    <dgm:pt modelId="{329F48F6-5D41-4E0A-A06E-EA68FA0B4E3D}" type="pres">
      <dgm:prSet presAssocID="{B54657AD-2E8D-4823-93DD-326FD9B9FFF1}" presName="hierRoot2" presStyleCnt="0">
        <dgm:presLayoutVars>
          <dgm:hierBranch val="init"/>
        </dgm:presLayoutVars>
      </dgm:prSet>
      <dgm:spPr/>
    </dgm:pt>
    <dgm:pt modelId="{0C02E5F4-E0DB-4C47-AB3B-8EAAAE563831}" type="pres">
      <dgm:prSet presAssocID="{B54657AD-2E8D-4823-93DD-326FD9B9FFF1}" presName="rootComposite" presStyleCnt="0"/>
      <dgm:spPr/>
    </dgm:pt>
    <dgm:pt modelId="{455CAEBE-A923-4494-BE59-7DAEC9E25CE4}" type="pres">
      <dgm:prSet presAssocID="{B54657AD-2E8D-4823-93DD-326FD9B9FFF1}" presName="rootText" presStyleLbl="node3" presStyleIdx="12" presStyleCnt="15">
        <dgm:presLayoutVars>
          <dgm:chPref val="3"/>
        </dgm:presLayoutVars>
      </dgm:prSet>
      <dgm:spPr/>
    </dgm:pt>
    <dgm:pt modelId="{F1EAD2DE-8158-4546-9969-16787DA3D6A7}" type="pres">
      <dgm:prSet presAssocID="{B54657AD-2E8D-4823-93DD-326FD9B9FFF1}" presName="rootConnector" presStyleLbl="node3" presStyleIdx="12" presStyleCnt="15"/>
      <dgm:spPr/>
    </dgm:pt>
    <dgm:pt modelId="{3888CA46-0F71-4AEE-853F-BDDEAA356B49}" type="pres">
      <dgm:prSet presAssocID="{B54657AD-2E8D-4823-93DD-326FD9B9FFF1}" presName="hierChild4" presStyleCnt="0"/>
      <dgm:spPr/>
    </dgm:pt>
    <dgm:pt modelId="{0CC72246-DB7A-4CE5-981A-10AEA3A8B23A}" type="pres">
      <dgm:prSet presAssocID="{B54657AD-2E8D-4823-93DD-326FD9B9FFF1}" presName="hierChild5" presStyleCnt="0"/>
      <dgm:spPr/>
    </dgm:pt>
    <dgm:pt modelId="{40423CBF-2FEE-4522-9530-354121784106}" type="pres">
      <dgm:prSet presAssocID="{35CD9E49-CDE1-47E7-BA7B-EF6865B55C24}" presName="Name37" presStyleLbl="parChTrans1D3" presStyleIdx="13" presStyleCnt="15"/>
      <dgm:spPr/>
    </dgm:pt>
    <dgm:pt modelId="{DDFC38C9-6C0C-4F18-83B2-C8B63312A951}" type="pres">
      <dgm:prSet presAssocID="{FB89B3C2-2B20-4B66-A9F1-734D3A72F84A}" presName="hierRoot2" presStyleCnt="0">
        <dgm:presLayoutVars>
          <dgm:hierBranch val="init"/>
        </dgm:presLayoutVars>
      </dgm:prSet>
      <dgm:spPr/>
    </dgm:pt>
    <dgm:pt modelId="{612DCE91-3CD7-4A80-8FE6-EAC04348F6CE}" type="pres">
      <dgm:prSet presAssocID="{FB89B3C2-2B20-4B66-A9F1-734D3A72F84A}" presName="rootComposite" presStyleCnt="0"/>
      <dgm:spPr/>
    </dgm:pt>
    <dgm:pt modelId="{91893F05-4F97-4DE1-AC35-A3FD03AB1003}" type="pres">
      <dgm:prSet presAssocID="{FB89B3C2-2B20-4B66-A9F1-734D3A72F84A}" presName="rootText" presStyleLbl="node3" presStyleIdx="13" presStyleCnt="15">
        <dgm:presLayoutVars>
          <dgm:chPref val="3"/>
        </dgm:presLayoutVars>
      </dgm:prSet>
      <dgm:spPr/>
    </dgm:pt>
    <dgm:pt modelId="{58D6B554-FF8B-4779-9985-06C082A0C4DD}" type="pres">
      <dgm:prSet presAssocID="{FB89B3C2-2B20-4B66-A9F1-734D3A72F84A}" presName="rootConnector" presStyleLbl="node3" presStyleIdx="13" presStyleCnt="15"/>
      <dgm:spPr/>
    </dgm:pt>
    <dgm:pt modelId="{8C9823E9-EBE0-45FF-82D8-11A01667E35A}" type="pres">
      <dgm:prSet presAssocID="{FB89B3C2-2B20-4B66-A9F1-734D3A72F84A}" presName="hierChild4" presStyleCnt="0"/>
      <dgm:spPr/>
    </dgm:pt>
    <dgm:pt modelId="{6CCE54D1-C9BD-4AE9-A0F1-7842D816F880}" type="pres">
      <dgm:prSet presAssocID="{FB89B3C2-2B20-4B66-A9F1-734D3A72F84A}" presName="hierChild5" presStyleCnt="0"/>
      <dgm:spPr/>
    </dgm:pt>
    <dgm:pt modelId="{E2038159-00B7-42F4-9843-2176862D5A48}" type="pres">
      <dgm:prSet presAssocID="{A9A7B73E-0C84-4478-BA64-63C0B5D8F50D}" presName="Name37" presStyleLbl="parChTrans1D3" presStyleIdx="14" presStyleCnt="15"/>
      <dgm:spPr/>
    </dgm:pt>
    <dgm:pt modelId="{377CCA4B-CDFE-477C-AD9C-617E1EFC4640}" type="pres">
      <dgm:prSet presAssocID="{6615097A-3035-46E9-81BA-0A1223D8BC96}" presName="hierRoot2" presStyleCnt="0">
        <dgm:presLayoutVars>
          <dgm:hierBranch val="init"/>
        </dgm:presLayoutVars>
      </dgm:prSet>
      <dgm:spPr/>
    </dgm:pt>
    <dgm:pt modelId="{8A4EE17E-611F-4A7D-B571-EC88C6AFB729}" type="pres">
      <dgm:prSet presAssocID="{6615097A-3035-46E9-81BA-0A1223D8BC96}" presName="rootComposite" presStyleCnt="0"/>
      <dgm:spPr/>
    </dgm:pt>
    <dgm:pt modelId="{951E3E53-BC2F-4245-B79C-B2187531E7DE}" type="pres">
      <dgm:prSet presAssocID="{6615097A-3035-46E9-81BA-0A1223D8BC96}" presName="rootText" presStyleLbl="node3" presStyleIdx="14" presStyleCnt="15">
        <dgm:presLayoutVars>
          <dgm:chPref val="3"/>
        </dgm:presLayoutVars>
      </dgm:prSet>
      <dgm:spPr/>
    </dgm:pt>
    <dgm:pt modelId="{14CAB009-50FB-4162-8534-5C800001989E}" type="pres">
      <dgm:prSet presAssocID="{6615097A-3035-46E9-81BA-0A1223D8BC96}" presName="rootConnector" presStyleLbl="node3" presStyleIdx="14" presStyleCnt="15"/>
      <dgm:spPr/>
    </dgm:pt>
    <dgm:pt modelId="{0CBC5C3F-B634-4375-A91D-E034392A3ED7}" type="pres">
      <dgm:prSet presAssocID="{6615097A-3035-46E9-81BA-0A1223D8BC96}" presName="hierChild4" presStyleCnt="0"/>
      <dgm:spPr/>
    </dgm:pt>
    <dgm:pt modelId="{1DBA6F90-C3DA-4690-A268-D6E6557F86AB}" type="pres">
      <dgm:prSet presAssocID="{6615097A-3035-46E9-81BA-0A1223D8BC96}" presName="hierChild5" presStyleCnt="0"/>
      <dgm:spPr/>
    </dgm:pt>
    <dgm:pt modelId="{4879E6D0-9213-4820-AD2F-37F6ABD0EDF2}" type="pres">
      <dgm:prSet presAssocID="{AF22B52D-E12A-4FE0-A026-D03A63D5B14D}" presName="hierChild5" presStyleCnt="0"/>
      <dgm:spPr/>
    </dgm:pt>
    <dgm:pt modelId="{5E3C21A8-634A-44B4-BD6E-CC897C86C15A}" type="pres">
      <dgm:prSet presAssocID="{E38B1CA5-4BC2-4520-8E1B-6F162A2F8AB5}" presName="hierChild3" presStyleCnt="0"/>
      <dgm:spPr/>
    </dgm:pt>
  </dgm:ptLst>
  <dgm:cxnLst>
    <dgm:cxn modelId="{F8027202-DB16-4FCE-871D-FFA39D793F27}" type="presOf" srcId="{6FAC41FE-31ED-4BA3-93BD-7FB974E6784A}" destId="{52218C76-1E89-408B-A563-BDB10982DBF3}" srcOrd="0" destOrd="0" presId="urn:microsoft.com/office/officeart/2005/8/layout/orgChart1"/>
    <dgm:cxn modelId="{9F653903-E801-43FA-B3C9-6B9B343BA8D1}" type="presOf" srcId="{6615097A-3035-46E9-81BA-0A1223D8BC96}" destId="{14CAB009-50FB-4162-8534-5C800001989E}" srcOrd="1" destOrd="0" presId="urn:microsoft.com/office/officeart/2005/8/layout/orgChart1"/>
    <dgm:cxn modelId="{6D5B9B04-558A-427E-B16A-D83BE9A96B5D}" type="presOf" srcId="{34CCF529-7DA1-4B47-8158-6837921DB000}" destId="{2FD0F99C-3B2B-40E8-A227-F4E01839F4ED}" srcOrd="0" destOrd="0" presId="urn:microsoft.com/office/officeart/2005/8/layout/orgChart1"/>
    <dgm:cxn modelId="{3C1FF707-7062-4857-811D-CCF7FE549D42}" type="presOf" srcId="{0EFB1B8C-2628-482B-A661-E942E3CA2807}" destId="{B7F11240-4674-408C-A019-A540E56CA022}" srcOrd="1" destOrd="0" presId="urn:microsoft.com/office/officeart/2005/8/layout/orgChart1"/>
    <dgm:cxn modelId="{E9A38408-ABD9-43D5-AF19-3053337EE7AE}" type="presOf" srcId="{24DD6AF4-6BE1-4F18-9DB7-CA71FEEED6D7}" destId="{1D1C17C5-1531-419F-B597-6109DA82E819}" srcOrd="0" destOrd="0" presId="urn:microsoft.com/office/officeart/2005/8/layout/orgChart1"/>
    <dgm:cxn modelId="{F940130A-960F-4E98-B51E-26C3BD513001}" srcId="{6FAC41FE-31ED-4BA3-93BD-7FB974E6784A}" destId="{7382B4A1-3769-4B67-AF1B-ED96ACB129F6}" srcOrd="0" destOrd="0" parTransId="{5A7B0401-B7DE-49AE-9481-2B8E95B37391}" sibTransId="{522094CB-D9A6-4F87-AD1B-D44A4CAADD71}"/>
    <dgm:cxn modelId="{822C930A-87E2-45C8-82E1-AD175E9424F5}" srcId="{AF22B52D-E12A-4FE0-A026-D03A63D5B14D}" destId="{5ED9EB76-71F7-4A7B-9919-A05AAECD493D}" srcOrd="0" destOrd="0" parTransId="{7DB2A198-DB51-4052-934E-7B442274273C}" sibTransId="{AD43BF56-97A8-4BD0-A78E-1BC5970B521C}"/>
    <dgm:cxn modelId="{BD4DAE0A-1F8F-4339-B927-6D08CDEA1B35}" type="presOf" srcId="{1814DF67-EDC8-4E93-902A-E34AE723B645}" destId="{683079DF-80E8-4F07-9C1E-226B9616B4BE}" srcOrd="0" destOrd="0" presId="urn:microsoft.com/office/officeart/2005/8/layout/orgChart1"/>
    <dgm:cxn modelId="{B81C520E-D6C8-48A2-8E4F-F4CF0BB4644A}" type="presOf" srcId="{24DD6AF4-6BE1-4F18-9DB7-CA71FEEED6D7}" destId="{9D214C3C-E3B9-41A6-9852-64A51D4A1123}" srcOrd="1" destOrd="0" presId="urn:microsoft.com/office/officeart/2005/8/layout/orgChart1"/>
    <dgm:cxn modelId="{2E07BD0F-4FFF-4DF6-BE08-F7C9BD861245}" type="presOf" srcId="{1AA8EA4D-E9B7-41C1-AB26-B5B875E5ED8D}" destId="{E43CC8B8-E901-444D-BE3E-EC3CFCFCC1E3}" srcOrd="0" destOrd="0" presId="urn:microsoft.com/office/officeart/2005/8/layout/orgChart1"/>
    <dgm:cxn modelId="{9990E012-E77C-4799-97B6-10157CB2256B}" type="presOf" srcId="{AF22B52D-E12A-4FE0-A026-D03A63D5B14D}" destId="{93E42B49-767C-4CB6-ABA0-596F61737D83}" srcOrd="1" destOrd="0" presId="urn:microsoft.com/office/officeart/2005/8/layout/orgChart1"/>
    <dgm:cxn modelId="{B2E96218-E9E8-45F8-9BC9-798C0FC616C8}" type="presOf" srcId="{01E63030-53E7-421D-B1CC-52A9ADA27195}" destId="{D0207512-DCDC-41F2-9AB4-A05E5B0CA555}" srcOrd="1" destOrd="0" presId="urn:microsoft.com/office/officeart/2005/8/layout/orgChart1"/>
    <dgm:cxn modelId="{DDB19918-B1F4-4491-95CE-2D53C433D458}" srcId="{73B4EDEB-B342-4A40-BB8F-A9BD60E4CC93}" destId="{3B381816-0702-4102-96D3-D07BEFC78F0B}" srcOrd="1" destOrd="0" parTransId="{6A3CCA62-DE52-47B0-8342-38B846AEADBB}" sibTransId="{C90D6144-5AF5-459F-9BF3-8AED6408A70B}"/>
    <dgm:cxn modelId="{D296CD19-CF5C-44C4-B466-097BF0D58A9C}" type="presOf" srcId="{B706C405-5E5E-45F5-9BB0-54944FBF51BB}" destId="{1D253BC7-DCC8-4E3A-B459-392177C33DAC}" srcOrd="1" destOrd="0" presId="urn:microsoft.com/office/officeart/2005/8/layout/orgChart1"/>
    <dgm:cxn modelId="{5B88B31B-ABA1-4753-8525-E9630DF14356}" type="presOf" srcId="{8E076D2D-0202-4F8C-93B8-ED12421D3118}" destId="{55045DD3-3BA4-4614-B18F-294F9E912C34}" srcOrd="0" destOrd="0" presId="urn:microsoft.com/office/officeart/2005/8/layout/orgChart1"/>
    <dgm:cxn modelId="{4B3BDE1D-ECC6-4485-9D44-7CE3F50DBE0C}" type="presOf" srcId="{B54657AD-2E8D-4823-93DD-326FD9B9FFF1}" destId="{455CAEBE-A923-4494-BE59-7DAEC9E25CE4}" srcOrd="0" destOrd="0" presId="urn:microsoft.com/office/officeart/2005/8/layout/orgChart1"/>
    <dgm:cxn modelId="{2DE6DB1E-84B0-4A99-B73C-8814AA0A3D70}" srcId="{AF22B52D-E12A-4FE0-A026-D03A63D5B14D}" destId="{B54657AD-2E8D-4823-93DD-326FD9B9FFF1}" srcOrd="3" destOrd="0" parTransId="{0D1B5F04-E396-4234-ACF8-F23BA036F89A}" sibTransId="{31833211-D528-41E3-8B02-280FA5FC4501}"/>
    <dgm:cxn modelId="{7AF02120-39B8-4C27-88D1-83596B000A33}" type="presOf" srcId="{56D94BA8-AF09-4F8B-9F9B-F13DE085E15F}" destId="{3D8D8F5B-9A3B-452C-839C-866A08E76A78}" srcOrd="1" destOrd="0" presId="urn:microsoft.com/office/officeart/2005/8/layout/orgChart1"/>
    <dgm:cxn modelId="{5CE88120-9C17-42D5-92C9-23D2747928DE}" type="presOf" srcId="{6B3C2D56-FD3F-42D7-909B-94932A02B089}" destId="{A0BEA156-ECCF-4239-A317-73625B1E1342}" srcOrd="0" destOrd="0" presId="urn:microsoft.com/office/officeart/2005/8/layout/orgChart1"/>
    <dgm:cxn modelId="{6B50AC20-E447-46B8-8D92-DD8E71BC1026}" type="presOf" srcId="{CC5CD078-B740-44A9-AC9D-80501AB04FDE}" destId="{2203A6F2-E9E7-4998-B1B6-F1004FD1D177}" srcOrd="1" destOrd="0" presId="urn:microsoft.com/office/officeart/2005/8/layout/orgChart1"/>
    <dgm:cxn modelId="{EFF0DF21-894A-454B-A29B-BD5018DBBF42}" type="presOf" srcId="{3B381816-0702-4102-96D3-D07BEFC78F0B}" destId="{C5324160-1919-4624-8B94-EA2934C07C6E}" srcOrd="0" destOrd="0" presId="urn:microsoft.com/office/officeart/2005/8/layout/orgChart1"/>
    <dgm:cxn modelId="{A9396B22-7279-4329-89BD-8EF4BB1B35A6}" type="presOf" srcId="{6A48F2F6-5742-4B5D-8A8A-B75F030BFF98}" destId="{2E3C9156-8889-45FF-9EB8-0E518B438EFB}" srcOrd="0" destOrd="0" presId="urn:microsoft.com/office/officeart/2005/8/layout/orgChart1"/>
    <dgm:cxn modelId="{22420F25-BEEE-438F-B30E-6905B9E36CFD}" type="presOf" srcId="{EA938781-D580-47E6-ADCF-1FD88FD74000}" destId="{DFEC2F2B-3A93-401C-9580-C6EB2514E836}" srcOrd="0" destOrd="0" presId="urn:microsoft.com/office/officeart/2005/8/layout/orgChart1"/>
    <dgm:cxn modelId="{BCF2DB2C-03ED-4339-8386-A65A42AB86EF}" type="presOf" srcId="{7DB2A198-DB51-4052-934E-7B442274273C}" destId="{A9C88D3D-7DB4-4E0C-B617-D87070980AE9}" srcOrd="0" destOrd="0" presId="urn:microsoft.com/office/officeart/2005/8/layout/orgChart1"/>
    <dgm:cxn modelId="{2DA36F2D-8F1B-4151-929F-CABA60886E93}" type="presOf" srcId="{6E20C829-094E-4082-8ED0-7FEDC6CB5F35}" destId="{72BE23B4-D2EF-4EC7-88FB-3AA91AF3244F}" srcOrd="0" destOrd="0" presId="urn:microsoft.com/office/officeart/2005/8/layout/orgChart1"/>
    <dgm:cxn modelId="{88934D34-A326-4C98-A060-084143DF3CE9}" type="presOf" srcId="{0EFB1B8C-2628-482B-A661-E942E3CA2807}" destId="{D578D6B3-E95B-44BC-A80B-35E1A98DD1E3}" srcOrd="0" destOrd="0" presId="urn:microsoft.com/office/officeart/2005/8/layout/orgChart1"/>
    <dgm:cxn modelId="{74002736-EBB5-49C7-82C7-2765B0C40774}" type="presOf" srcId="{FB89B3C2-2B20-4B66-A9F1-734D3A72F84A}" destId="{58D6B554-FF8B-4779-9985-06C082A0C4DD}" srcOrd="1" destOrd="0" presId="urn:microsoft.com/office/officeart/2005/8/layout/orgChart1"/>
    <dgm:cxn modelId="{145B483E-0372-45AE-9144-D8B4AE3A1987}" type="presOf" srcId="{B114371E-5F54-4600-A11E-58C623E439A5}" destId="{DB0D58DD-FABF-430D-8C8E-6D86D9168413}" srcOrd="0" destOrd="0" presId="urn:microsoft.com/office/officeart/2005/8/layout/orgChart1"/>
    <dgm:cxn modelId="{705CFA3F-5309-40AA-B2B9-C8526E1C9ABB}" srcId="{A1CCD5AF-65CF-41FA-A074-336CD47E51B1}" destId="{1814DF67-EDC8-4E93-902A-E34AE723B645}" srcOrd="0" destOrd="0" parTransId="{79766BD7-DCD0-491D-A8F1-BF49C2918EE4}" sibTransId="{93DA7734-F12B-4BBE-B91E-1D44977F5E0E}"/>
    <dgm:cxn modelId="{852E8E40-CDFE-4234-A30D-CB4C0BC529C7}" type="presOf" srcId="{5ED9EB76-71F7-4A7B-9919-A05AAECD493D}" destId="{FA7B7DFC-6CCE-4E57-A384-EEB6EA4AD22F}" srcOrd="1" destOrd="0" presId="urn:microsoft.com/office/officeart/2005/8/layout/orgChart1"/>
    <dgm:cxn modelId="{850DAC5C-9292-49C6-9B44-8E9DC8F53442}" type="presOf" srcId="{EBA03A76-395C-4CB7-9F49-451FF6702E5C}" destId="{968E41AD-9C0F-48CB-873F-E5893A5AED2E}" srcOrd="0" destOrd="0" presId="urn:microsoft.com/office/officeart/2005/8/layout/orgChart1"/>
    <dgm:cxn modelId="{30FEA05D-374C-4B72-9AD3-A9B57A2D3542}" type="presOf" srcId="{6EF16A4A-22F0-44B1-BAE4-41C5C425DD2F}" destId="{17A41EC8-2CDE-4F44-8125-3FF37D228618}" srcOrd="0" destOrd="0" presId="urn:microsoft.com/office/officeart/2005/8/layout/orgChart1"/>
    <dgm:cxn modelId="{C699E05E-FBD7-4802-B964-DFB194995C25}" type="presOf" srcId="{7382B4A1-3769-4B67-AF1B-ED96ACB129F6}" destId="{75A4447A-43FF-4464-B6BD-08A2F2C5F99C}" srcOrd="0" destOrd="0" presId="urn:microsoft.com/office/officeart/2005/8/layout/orgChart1"/>
    <dgm:cxn modelId="{75AE8A41-8F6D-4FD4-8BEC-85EE76B34BEA}" type="presOf" srcId="{1F9A9AD6-BE7C-4D38-A8F4-BBFC448934EB}" destId="{2AA77337-0DDA-4EE3-9FC3-7CAC538999B2}" srcOrd="0" destOrd="0" presId="urn:microsoft.com/office/officeart/2005/8/layout/orgChart1"/>
    <dgm:cxn modelId="{E9775063-7B95-417A-91E2-0C903466A14F}" type="presOf" srcId="{E342C92F-E49D-4D40-BEA7-8DDA3D7EFAAF}" destId="{91E5345A-8EDC-46D8-A550-F15570D5FE34}" srcOrd="0" destOrd="0" presId="urn:microsoft.com/office/officeart/2005/8/layout/orgChart1"/>
    <dgm:cxn modelId="{F8855864-DA6C-46D1-BAD1-7B3B45B883F3}" srcId="{01E63030-53E7-421D-B1CC-52A9ADA27195}" destId="{EA938781-D580-47E6-ADCF-1FD88FD74000}" srcOrd="2" destOrd="0" parTransId="{1F9A9AD6-BE7C-4D38-A8F4-BBFC448934EB}" sibTransId="{8936709F-04EF-46A3-9912-39DCA599D05D}"/>
    <dgm:cxn modelId="{6DD9166A-FE73-4165-9641-6C2A597A36FD}" srcId="{AF22B52D-E12A-4FE0-A026-D03A63D5B14D}" destId="{2399F154-E8BD-41B6-B5F8-E5A02E2F7BB0}" srcOrd="1" destOrd="0" parTransId="{6E20C829-094E-4082-8ED0-7FEDC6CB5F35}" sibTransId="{C122CD9F-CB2F-4C78-8B26-90D2DB7337B2}"/>
    <dgm:cxn modelId="{C5E2AA4B-0E36-43DA-A07C-77DC8D2D8C84}" type="presOf" srcId="{6A48F2F6-5742-4B5D-8A8A-B75F030BFF98}" destId="{EEC794DB-5729-4BAD-9191-B265780BEDBF}" srcOrd="1" destOrd="0" presId="urn:microsoft.com/office/officeart/2005/8/layout/orgChart1"/>
    <dgm:cxn modelId="{8CEC5B6C-C283-46B7-9A5E-9DE7858068B0}" type="presOf" srcId="{9338652A-7095-40B7-A210-DE28A12286DB}" destId="{2F26A465-879D-406D-912D-12A156B2E726}" srcOrd="0" destOrd="0" presId="urn:microsoft.com/office/officeart/2005/8/layout/orgChart1"/>
    <dgm:cxn modelId="{1955754D-0552-4029-B412-291798E2D6AC}" type="presOf" srcId="{3EF0C92C-F904-4933-8D6E-4B3A974FC6ED}" destId="{C5DA8EF8-4F53-43DE-9DAA-190B5AC7B38C}" srcOrd="1" destOrd="0" presId="urn:microsoft.com/office/officeart/2005/8/layout/orgChart1"/>
    <dgm:cxn modelId="{E903524F-266A-4046-9780-88659D898669}" type="presOf" srcId="{A9A38E9F-799C-49F3-A3E5-E10488228A3F}" destId="{3A8E30D0-7851-42A8-86DB-55F5EA187CD0}" srcOrd="1" destOrd="0" presId="urn:microsoft.com/office/officeart/2005/8/layout/orgChart1"/>
    <dgm:cxn modelId="{952C6952-08FA-4E2E-BAA0-DC9C6C445B86}" type="presOf" srcId="{EE194438-4AE5-4726-B49C-52974EEA10A7}" destId="{2D547170-6BFB-43A5-BDD2-20710A11F5AA}" srcOrd="0" destOrd="0" presId="urn:microsoft.com/office/officeart/2005/8/layout/orgChart1"/>
    <dgm:cxn modelId="{365E3B73-9B05-491C-B9C7-3EDDF928BD55}" type="presOf" srcId="{2399F154-E8BD-41B6-B5F8-E5A02E2F7BB0}" destId="{DC373A90-5437-4E47-A750-04D015D43C39}" srcOrd="1" destOrd="0" presId="urn:microsoft.com/office/officeart/2005/8/layout/orgChart1"/>
    <dgm:cxn modelId="{20797773-EB97-4C32-8EBD-F682CB3C0CD7}" srcId="{E38B1CA5-4BC2-4520-8E1B-6F162A2F8AB5}" destId="{6FAC41FE-31ED-4BA3-93BD-7FB974E6784A}" srcOrd="0" destOrd="0" parTransId="{34CCF529-7DA1-4B47-8158-6837921DB000}" sibTransId="{B643F0C8-0A53-4FAE-850F-9DAC00510047}"/>
    <dgm:cxn modelId="{D88D0C54-EDDF-4A39-893B-5576E5F77560}" type="presOf" srcId="{3579D454-CA8D-4708-82B6-8706E6A6E4CB}" destId="{6CDB4180-BD35-4432-91DF-E5E894A4E501}" srcOrd="0" destOrd="0" presId="urn:microsoft.com/office/officeart/2005/8/layout/orgChart1"/>
    <dgm:cxn modelId="{55D77254-5383-4ADD-80F7-A4FDFBD9C69C}" type="presOf" srcId="{A1CCD5AF-65CF-41FA-A074-336CD47E51B1}" destId="{93CAF70E-5CC4-46E2-B952-73C763556CFB}" srcOrd="1" destOrd="0" presId="urn:microsoft.com/office/officeart/2005/8/layout/orgChart1"/>
    <dgm:cxn modelId="{79261F56-BF3D-4627-A9AE-36360A1B24E8}" type="presOf" srcId="{B54657AD-2E8D-4823-93DD-326FD9B9FFF1}" destId="{F1EAD2DE-8158-4546-9969-16787DA3D6A7}" srcOrd="1" destOrd="0" presId="urn:microsoft.com/office/officeart/2005/8/layout/orgChart1"/>
    <dgm:cxn modelId="{7084A15A-916D-4F61-A205-69B5F8A9B68A}" type="presOf" srcId="{E0094BAB-15FE-4CFC-81DE-843796C6C246}" destId="{748E36B0-B107-4FE0-BA29-2FFED2B1D32D}" srcOrd="0" destOrd="0" presId="urn:microsoft.com/office/officeart/2005/8/layout/orgChart1"/>
    <dgm:cxn modelId="{EF27C67E-4ABF-43B5-A369-D89AC434E71C}" type="presOf" srcId="{E38B1CA5-4BC2-4520-8E1B-6F162A2F8AB5}" destId="{4EF83B75-9158-43A7-BAEF-B19F07FDB950}" srcOrd="0" destOrd="0" presId="urn:microsoft.com/office/officeart/2005/8/layout/orgChart1"/>
    <dgm:cxn modelId="{07CB2081-8838-4A84-A55E-55D7FB542A72}" type="presOf" srcId="{3EF0C92C-F904-4933-8D6E-4B3A974FC6ED}" destId="{74E4902C-B9CE-4560-9E7B-7441B48EE5C3}" srcOrd="0" destOrd="0" presId="urn:microsoft.com/office/officeart/2005/8/layout/orgChart1"/>
    <dgm:cxn modelId="{C7EC2781-7DF4-440B-A9B8-BA19E8000BDF}" type="presOf" srcId="{EA938781-D580-47E6-ADCF-1FD88FD74000}" destId="{689FC13C-0249-4BEE-BE5E-0379E2127972}" srcOrd="1" destOrd="0" presId="urn:microsoft.com/office/officeart/2005/8/layout/orgChart1"/>
    <dgm:cxn modelId="{71E34682-2D41-4C11-AEA6-00934F00A00A}" srcId="{A9A38E9F-799C-49F3-A3E5-E10488228A3F}" destId="{A1CCD5AF-65CF-41FA-A074-336CD47E51B1}" srcOrd="0" destOrd="0" parTransId="{F0891EA1-4C71-4739-B131-2AF0BCAD8E40}" sibTransId="{B2BB9A5D-691A-41E3-99BE-78E7038BA3C8}"/>
    <dgm:cxn modelId="{1EF9A383-2367-4E26-BFD9-5887F8C207F2}" type="presOf" srcId="{0D1B5F04-E396-4234-ACF8-F23BA036F89A}" destId="{76723A5C-B773-402D-A371-2FAEEA6EEFD6}" srcOrd="0" destOrd="0" presId="urn:microsoft.com/office/officeart/2005/8/layout/orgChart1"/>
    <dgm:cxn modelId="{BA7CFE85-CDC3-4228-9658-8CD92B2EE0AD}" type="presOf" srcId="{1911C8A3-C40D-4014-83B4-0974AF8455FF}" destId="{ED4522D6-EAB4-4AB6-9B68-2C9D1638851E}" srcOrd="0" destOrd="0" presId="urn:microsoft.com/office/officeart/2005/8/layout/orgChart1"/>
    <dgm:cxn modelId="{0B323F86-B071-4EF5-8B69-133FE20A53D2}" type="presOf" srcId="{EFDDD1CC-27FD-40B2-8549-4ADAC18C12E4}" destId="{D0B75A22-3D72-4C2A-904C-17F060D50799}" srcOrd="0" destOrd="0" presId="urn:microsoft.com/office/officeart/2005/8/layout/orgChart1"/>
    <dgm:cxn modelId="{5AFCD787-B649-4B25-8E53-B50F5BE210E3}" type="presOf" srcId="{1814DF67-EDC8-4E93-902A-E34AE723B645}" destId="{5D118952-E0F7-4941-98DE-29EB56802890}" srcOrd="1" destOrd="0" presId="urn:microsoft.com/office/officeart/2005/8/layout/orgChart1"/>
    <dgm:cxn modelId="{DCEB1E88-F9CA-4518-AFBB-3E3217B4EE40}" type="presOf" srcId="{6FAC41FE-31ED-4BA3-93BD-7FB974E6784A}" destId="{D339BDCB-9BE8-4260-8774-015651B6B4E6}" srcOrd="1" destOrd="0" presId="urn:microsoft.com/office/officeart/2005/8/layout/orgChart1"/>
    <dgm:cxn modelId="{69DC3A8C-81E9-47FD-B7DD-8C64F8D4836E}" type="presOf" srcId="{B3C11583-361F-4B96-8A71-B92A81E22211}" destId="{3A3B1FA7-5701-43A7-866E-BDB6D4EFED63}" srcOrd="0" destOrd="0" presId="urn:microsoft.com/office/officeart/2005/8/layout/orgChart1"/>
    <dgm:cxn modelId="{B44BB58D-CFA3-4C46-BF38-BE6538F6A060}" type="presOf" srcId="{FB89B3C2-2B20-4B66-A9F1-734D3A72F84A}" destId="{91893F05-4F97-4DE1-AC35-A3FD03AB1003}" srcOrd="0" destOrd="0" presId="urn:microsoft.com/office/officeart/2005/8/layout/orgChart1"/>
    <dgm:cxn modelId="{9B23268F-62E9-4F21-8A65-1ED39512DD76}" type="presOf" srcId="{01E63030-53E7-421D-B1CC-52A9ADA27195}" destId="{B58A599F-9C1C-46E8-82C0-DA24E4DD94CB}" srcOrd="0" destOrd="0" presId="urn:microsoft.com/office/officeart/2005/8/layout/orgChart1"/>
    <dgm:cxn modelId="{9F93BF93-E297-4F82-AC5D-CB24DACE93D4}" type="presOf" srcId="{B3C11583-361F-4B96-8A71-B92A81E22211}" destId="{53B40C02-8788-48E4-90D8-C4B30F0558A0}" srcOrd="1" destOrd="0" presId="urn:microsoft.com/office/officeart/2005/8/layout/orgChart1"/>
    <dgm:cxn modelId="{F9063595-A079-4092-AA24-679087112CE7}" type="presOf" srcId="{B4EA6D86-327C-426C-9CC9-139CB133A108}" destId="{DE18CD41-1488-4600-AC60-8EB3F1CC6A09}" srcOrd="0" destOrd="0" presId="urn:microsoft.com/office/officeart/2005/8/layout/orgChart1"/>
    <dgm:cxn modelId="{7CBDC696-5210-4377-A111-174E85A597F5}" srcId="{01E63030-53E7-421D-B1CC-52A9ADA27195}" destId="{3579D454-CA8D-4708-82B6-8706E6A6E4CB}" srcOrd="1" destOrd="0" parTransId="{74188EBA-0084-4561-8B14-4AF22763D6ED}" sibTransId="{585BFFD2-168B-4834-ABF3-3AA10B0B4942}"/>
    <dgm:cxn modelId="{682E3697-2C2E-4C8D-8423-07EF01C101D4}" type="presOf" srcId="{73B4EDEB-B342-4A40-BB8F-A9BD60E4CC93}" destId="{E6DB5683-914E-4C59-BB98-507F65E8963E}" srcOrd="1" destOrd="0" presId="urn:microsoft.com/office/officeart/2005/8/layout/orgChart1"/>
    <dgm:cxn modelId="{B972B69A-C475-46B7-8711-E766BC22CD17}" type="presOf" srcId="{B706C405-5E5E-45F5-9BB0-54944FBF51BB}" destId="{237F3405-A2B9-49BC-909A-C59170F37284}" srcOrd="0" destOrd="0" presId="urn:microsoft.com/office/officeart/2005/8/layout/orgChart1"/>
    <dgm:cxn modelId="{8761E19A-75D0-46D1-8718-9A9DDA796E7C}" type="presOf" srcId="{E38B1CA5-4BC2-4520-8E1B-6F162A2F8AB5}" destId="{03002940-FA7A-477D-BED0-131E8033E02E}" srcOrd="1" destOrd="0" presId="urn:microsoft.com/office/officeart/2005/8/layout/orgChart1"/>
    <dgm:cxn modelId="{49FA8F9B-0B89-4590-A1EF-0480643E791F}" type="presOf" srcId="{9BB41D52-1F23-4FB5-BE04-7DE729064FA7}" destId="{39ABBB4E-E81D-40D5-965A-3A49A1C40456}" srcOrd="0" destOrd="0" presId="urn:microsoft.com/office/officeart/2005/8/layout/orgChart1"/>
    <dgm:cxn modelId="{6B7B2E9C-4D16-4524-970D-87182714C0A2}" type="presOf" srcId="{CC5CD078-B740-44A9-AC9D-80501AB04FDE}" destId="{4BBB7BDB-2626-49B8-9C45-F860E158693F}" srcOrd="0" destOrd="0" presId="urn:microsoft.com/office/officeart/2005/8/layout/orgChart1"/>
    <dgm:cxn modelId="{17F36DA0-0538-4E8C-A6A8-D36D1DAE666D}" type="presOf" srcId="{AF22B52D-E12A-4FE0-A026-D03A63D5B14D}" destId="{91D18BC6-84A8-46F6-AACA-66A51F65B7C7}" srcOrd="0" destOrd="0" presId="urn:microsoft.com/office/officeart/2005/8/layout/orgChart1"/>
    <dgm:cxn modelId="{FE3ED5A3-9CF7-4454-99A6-73B0D5F4D4A5}" srcId="{01E63030-53E7-421D-B1CC-52A9ADA27195}" destId="{24DD6AF4-6BE1-4F18-9DB7-CA71FEEED6D7}" srcOrd="0" destOrd="0" parTransId="{1911C8A3-C40D-4014-83B4-0974AF8455FF}" sibTransId="{D94A32CB-8870-4F32-A7C4-81D0FB349AFA}"/>
    <dgm:cxn modelId="{D51223A8-67DF-48FE-8E34-71F0095AD0EE}" type="presOf" srcId="{6615097A-3035-46E9-81BA-0A1223D8BC96}" destId="{951E3E53-BC2F-4245-B79C-B2187531E7DE}" srcOrd="0" destOrd="0" presId="urn:microsoft.com/office/officeart/2005/8/layout/orgChart1"/>
    <dgm:cxn modelId="{E6FF6AA9-FCB0-40C6-AF3B-5D68D8741D92}" srcId="{E38B1CA5-4BC2-4520-8E1B-6F162A2F8AB5}" destId="{AF22B52D-E12A-4FE0-A026-D03A63D5B14D}" srcOrd="3" destOrd="0" parTransId="{E342C92F-E49D-4D40-BEA7-8DDA3D7EFAAF}" sibTransId="{AD90C176-1B00-4EEE-9026-1B04353B5A66}"/>
    <dgm:cxn modelId="{F8C974AA-18F8-45E0-80D3-96465C2D4537}" srcId="{A1CCD5AF-65CF-41FA-A074-336CD47E51B1}" destId="{B4EA6D86-327C-426C-9CC9-139CB133A108}" srcOrd="2" destOrd="0" parTransId="{EE194438-4AE5-4726-B49C-52974EEA10A7}" sibTransId="{D6F0F4B4-06C3-4D42-B930-1FD1DD1D8ED7}"/>
    <dgm:cxn modelId="{63249AAA-24AA-4B39-B528-2D0CCB1E4BEC}" srcId="{73B4EDEB-B342-4A40-BB8F-A9BD60E4CC93}" destId="{CC5CD078-B740-44A9-AC9D-80501AB04FDE}" srcOrd="2" destOrd="0" parTransId="{9338652A-7095-40B7-A210-DE28A12286DB}" sibTransId="{7BCB6082-FBA0-4B79-93CB-6133C58599E3}"/>
    <dgm:cxn modelId="{DC724EAD-9EE7-4703-894F-DC26607DFBED}" type="presOf" srcId="{5ED9EB76-71F7-4A7B-9919-A05AAECD493D}" destId="{5CEC28E3-35A5-4F43-A8A4-305B35280045}" srcOrd="0" destOrd="0" presId="urn:microsoft.com/office/officeart/2005/8/layout/orgChart1"/>
    <dgm:cxn modelId="{DECD58B0-AB46-4A2D-9304-091F0DDA8D86}" type="presOf" srcId="{A1CCD5AF-65CF-41FA-A074-336CD47E51B1}" destId="{F120AB4B-A2AF-4D49-8D60-DE0715A8732D}" srcOrd="0" destOrd="0" presId="urn:microsoft.com/office/officeart/2005/8/layout/orgChart1"/>
    <dgm:cxn modelId="{4C6B98B3-1DA2-456C-9AE2-9DC6144C78B1}" srcId="{E38B1CA5-4BC2-4520-8E1B-6F162A2F8AB5}" destId="{73B4EDEB-B342-4A40-BB8F-A9BD60E4CC93}" srcOrd="2" destOrd="0" parTransId="{EFDDD1CC-27FD-40B2-8549-4ADAC18C12E4}" sibTransId="{5D5F6EEF-2037-4F9A-B3D6-6D1DEBEAD5D4}"/>
    <dgm:cxn modelId="{D2332BB4-6889-4361-82C7-4073CA32FE8D}" type="presOf" srcId="{2399F154-E8BD-41B6-B5F8-E5A02E2F7BB0}" destId="{BF764DE7-EEE7-420C-9F49-12F1D53AFEC5}" srcOrd="0" destOrd="0" presId="urn:microsoft.com/office/officeart/2005/8/layout/orgChart1"/>
    <dgm:cxn modelId="{1F5791B8-B3C1-49CF-9501-9506E9010AA9}" srcId="{AF22B52D-E12A-4FE0-A026-D03A63D5B14D}" destId="{6615097A-3035-46E9-81BA-0A1223D8BC96}" srcOrd="5" destOrd="0" parTransId="{A9A7B73E-0C84-4478-BA64-63C0B5D8F50D}" sibTransId="{85827EEF-B65E-4210-BFAE-841A88F77A0B}"/>
    <dgm:cxn modelId="{CAE3ABB8-A57C-40B2-A137-A656FE6CE313}" srcId="{AF22B52D-E12A-4FE0-A026-D03A63D5B14D}" destId="{B3C11583-361F-4B96-8A71-B92A81E22211}" srcOrd="2" destOrd="0" parTransId="{94DB319B-C0F6-4F07-A0A3-5B14C3D75082}" sibTransId="{287166F6-C7F0-4FA8-BFD9-8AFC6D4B34F1}"/>
    <dgm:cxn modelId="{7E4A66B9-C527-477C-BB62-5ED274A83425}" srcId="{028319DE-6729-4F63-B3CC-DC25855D337F}" destId="{E38B1CA5-4BC2-4520-8E1B-6F162A2F8AB5}" srcOrd="0" destOrd="0" parTransId="{941A653A-B70E-4E86-8512-C141503E974A}" sibTransId="{A16A5867-F66C-45B7-97ED-1EFF15F04ABB}"/>
    <dgm:cxn modelId="{543176B9-902B-4112-A85B-296798CB17EC}" srcId="{6FAC41FE-31ED-4BA3-93BD-7FB974E6784A}" destId="{01E63030-53E7-421D-B1CC-52A9ADA27195}" srcOrd="1" destOrd="0" parTransId="{53D35800-1F83-4932-98F0-DB2596FC54CB}" sibTransId="{A0468CA4-0E73-412B-A81B-3579251B4250}"/>
    <dgm:cxn modelId="{3CB20EBA-688D-4EE7-BEEE-ADAF50ACE37B}" type="presOf" srcId="{73B4EDEB-B342-4A40-BB8F-A9BD60E4CC93}" destId="{591808E9-BA4A-4F46-8A43-4F02198286F8}" srcOrd="0" destOrd="0" presId="urn:microsoft.com/office/officeart/2005/8/layout/orgChart1"/>
    <dgm:cxn modelId="{BA44DBBC-5663-433D-A8DC-A6B5B059CA8D}" srcId="{73B4EDEB-B342-4A40-BB8F-A9BD60E4CC93}" destId="{B706C405-5E5E-45F5-9BB0-54944FBF51BB}" srcOrd="5" destOrd="0" parTransId="{6B3C2D56-FD3F-42D7-909B-94932A02B089}" sibTransId="{58E66837-959D-465A-A94D-5441ADAD5D8B}"/>
    <dgm:cxn modelId="{6EE560BF-2FA7-4284-9A47-9530AD8E37D0}" type="presOf" srcId="{7382B4A1-3769-4B67-AF1B-ED96ACB129F6}" destId="{9306DC9E-8737-44EC-AA34-1865E8A54723}" srcOrd="1" destOrd="0" presId="urn:microsoft.com/office/officeart/2005/8/layout/orgChart1"/>
    <dgm:cxn modelId="{DCE8DCBF-5F96-45C0-B25D-13E8F81522A1}" srcId="{E38B1CA5-4BC2-4520-8E1B-6F162A2F8AB5}" destId="{A9A38E9F-799C-49F3-A3E5-E10488228A3F}" srcOrd="1" destOrd="0" parTransId="{8E076D2D-0202-4F8C-93B8-ED12421D3118}" sibTransId="{216091B7-1290-4F6F-BF47-9975A02C6ADD}"/>
    <dgm:cxn modelId="{52E530C4-F462-4A6D-9E8E-B52D8958BFAB}" srcId="{AF22B52D-E12A-4FE0-A026-D03A63D5B14D}" destId="{FB89B3C2-2B20-4B66-A9F1-734D3A72F84A}" srcOrd="4" destOrd="0" parTransId="{35CD9E49-CDE1-47E7-BA7B-EF6865B55C24}" sibTransId="{AD263A0B-F574-4F8B-A6EC-1A7B2FE63485}"/>
    <dgm:cxn modelId="{5F57E9C8-8F2E-42F2-A196-8E02F61AA314}" type="presOf" srcId="{1AA8EA4D-E9B7-41C1-AB26-B5B875E5ED8D}" destId="{8FFDE2CC-18F1-4B0F-89EB-FDA815C9C038}" srcOrd="1" destOrd="0" presId="urn:microsoft.com/office/officeart/2005/8/layout/orgChart1"/>
    <dgm:cxn modelId="{E3506ECA-F48C-4B7F-8827-DEBAA4888A1E}" srcId="{A1CCD5AF-65CF-41FA-A074-336CD47E51B1}" destId="{56D94BA8-AF09-4F8B-9F9B-F13DE085E15F}" srcOrd="1" destOrd="0" parTransId="{6EF16A4A-22F0-44B1-BAE4-41C5C425DD2F}" sibTransId="{CEFA408A-B52A-4D3E-AEED-3BAEBA410C67}"/>
    <dgm:cxn modelId="{F7DF69CD-43EB-4A44-B08F-242984551467}" type="presOf" srcId="{53D35800-1F83-4932-98F0-DB2596FC54CB}" destId="{C3C9EA2D-F136-4542-AA45-AD7D9BEB87B5}" srcOrd="0" destOrd="0" presId="urn:microsoft.com/office/officeart/2005/8/layout/orgChart1"/>
    <dgm:cxn modelId="{078D5BCE-5168-4D0E-A612-967327CFE521}" type="presOf" srcId="{3B381816-0702-4102-96D3-D07BEFC78F0B}" destId="{D8BD7AE5-F8E8-4078-ADB3-BDC64947C0D8}" srcOrd="1" destOrd="0" presId="urn:microsoft.com/office/officeart/2005/8/layout/orgChart1"/>
    <dgm:cxn modelId="{3D0F0CD1-4E90-4B85-B750-F8626D5CF45B}" type="presOf" srcId="{74188EBA-0084-4561-8B14-4AF22763D6ED}" destId="{CCA79C15-712E-48E2-A6CA-EE32F1D92AD3}" srcOrd="0" destOrd="0" presId="urn:microsoft.com/office/officeart/2005/8/layout/orgChart1"/>
    <dgm:cxn modelId="{DB38C0D3-D93F-4149-ABE1-D18219BD60DE}" type="presOf" srcId="{632450AE-6EC2-447D-9053-7D67E33ED3BF}" destId="{BB7F919D-FE48-47EC-8324-CA8735E98438}" srcOrd="0" destOrd="0" presId="urn:microsoft.com/office/officeart/2005/8/layout/orgChart1"/>
    <dgm:cxn modelId="{3BA0FDD3-B8D4-43CE-B6CD-E1ED7531B097}" type="presOf" srcId="{969DBA26-5196-4601-9589-4426A7C79563}" destId="{4BD747F0-74C1-4FD2-9B29-3DDB6A43336C}" srcOrd="0" destOrd="0" presId="urn:microsoft.com/office/officeart/2005/8/layout/orgChart1"/>
    <dgm:cxn modelId="{8E0E4ED4-F665-42A1-8408-EDDD299E120C}" type="presOf" srcId="{E0094BAB-15FE-4CFC-81DE-843796C6C246}" destId="{319E5F39-8802-44E1-AFD7-396882594168}" srcOrd="1" destOrd="0" presId="urn:microsoft.com/office/officeart/2005/8/layout/orgChart1"/>
    <dgm:cxn modelId="{513DE5D4-D2B9-4CA9-8C9D-922DB6EC00AB}" type="presOf" srcId="{5A7B0401-B7DE-49AE-9481-2B8E95B37391}" destId="{745BFE19-8260-4A83-89A1-4DBBD9FB3C25}" srcOrd="0" destOrd="0" presId="urn:microsoft.com/office/officeart/2005/8/layout/orgChart1"/>
    <dgm:cxn modelId="{660A45D5-4A25-4115-8394-39381332DD59}" type="presOf" srcId="{35CD9E49-CDE1-47E7-BA7B-EF6865B55C24}" destId="{40423CBF-2FEE-4522-9530-354121784106}" srcOrd="0" destOrd="0" presId="urn:microsoft.com/office/officeart/2005/8/layout/orgChart1"/>
    <dgm:cxn modelId="{80185DE3-CB78-4005-A4AD-66E515D041DD}" srcId="{73B4EDEB-B342-4A40-BB8F-A9BD60E4CC93}" destId="{3EF0C92C-F904-4933-8D6E-4B3A974FC6ED}" srcOrd="4" destOrd="0" parTransId="{632450AE-6EC2-447D-9053-7D67E33ED3BF}" sibTransId="{ABF77CC0-A5D1-4F7A-B65F-F4E011A8C915}"/>
    <dgm:cxn modelId="{EF2B64E3-DD13-4D14-AA7D-1F1DADEFAACC}" type="presOf" srcId="{3579D454-CA8D-4708-82B6-8706E6A6E4CB}" destId="{A45A3892-0A82-4BBD-9FF9-F02426F7E86A}" srcOrd="1" destOrd="0" presId="urn:microsoft.com/office/officeart/2005/8/layout/orgChart1"/>
    <dgm:cxn modelId="{AAFE94E3-0493-4969-8165-2D295B387AF9}" type="presOf" srcId="{B4EA6D86-327C-426C-9CC9-139CB133A108}" destId="{CCDFE1D1-B66A-4969-A0DF-A743D36C3CED}" srcOrd="1" destOrd="0" presId="urn:microsoft.com/office/officeart/2005/8/layout/orgChart1"/>
    <dgm:cxn modelId="{58C772E4-B79E-4C45-8928-BE381EC95522}" type="presOf" srcId="{A9A7B73E-0C84-4478-BA64-63C0B5D8F50D}" destId="{E2038159-00B7-42F4-9843-2176862D5A48}" srcOrd="0" destOrd="0" presId="urn:microsoft.com/office/officeart/2005/8/layout/orgChart1"/>
    <dgm:cxn modelId="{6D61CCE9-FC73-459F-8C9C-C5F9EC8AB077}" type="presOf" srcId="{6A3CCA62-DE52-47B0-8342-38B846AEADBB}" destId="{A6EAF44D-B301-4094-9BC6-7DFCECEA01E3}" srcOrd="0" destOrd="0" presId="urn:microsoft.com/office/officeart/2005/8/layout/orgChart1"/>
    <dgm:cxn modelId="{C23CC8EB-92CD-4786-9A6E-2DBD5F77EF22}" type="presOf" srcId="{94DB319B-C0F6-4F07-A0A3-5B14C3D75082}" destId="{9D2B0197-98A0-4B10-86A0-B7C061E13047}" srcOrd="0" destOrd="0" presId="urn:microsoft.com/office/officeart/2005/8/layout/orgChart1"/>
    <dgm:cxn modelId="{DEF86FEC-5AA6-4C61-9562-DC41CCC4B7EB}" srcId="{73B4EDEB-B342-4A40-BB8F-A9BD60E4CC93}" destId="{6A48F2F6-5742-4B5D-8A8A-B75F030BFF98}" srcOrd="3" destOrd="0" parTransId="{969DBA26-5196-4601-9589-4426A7C79563}" sibTransId="{5663A2C4-D6A0-4CE7-B9DD-07791DF47D53}"/>
    <dgm:cxn modelId="{AA43CDED-45D6-4C05-A111-DB7E1EBFEC6F}" srcId="{7382B4A1-3769-4B67-AF1B-ED96ACB129F6}" destId="{E0094BAB-15FE-4CFC-81DE-843796C6C246}" srcOrd="0" destOrd="0" parTransId="{9BB41D52-1F23-4FB5-BE04-7DE729064FA7}" sibTransId="{18BC9F16-2124-402E-A512-D3C442538B8A}"/>
    <dgm:cxn modelId="{92E1DAEF-449D-4E6E-A7BE-7EF8DE023C86}" type="presOf" srcId="{F0891EA1-4C71-4739-B131-2AF0BCAD8E40}" destId="{CB730DEE-B392-4EB4-9E0A-BB5DB4433BE5}" srcOrd="0" destOrd="0" presId="urn:microsoft.com/office/officeart/2005/8/layout/orgChart1"/>
    <dgm:cxn modelId="{B7125BF3-3992-4918-B387-DB01F6D4A51C}" srcId="{73B4EDEB-B342-4A40-BB8F-A9BD60E4CC93}" destId="{0EFB1B8C-2628-482B-A661-E942E3CA2807}" srcOrd="0" destOrd="0" parTransId="{EBA03A76-395C-4CB7-9F49-451FF6702E5C}" sibTransId="{6C42FA60-1682-49B2-B522-03945D1E0C2C}"/>
    <dgm:cxn modelId="{350FA3F3-CDF3-4FB8-9570-3E9276A2B3F3}" type="presOf" srcId="{A9A38E9F-799C-49F3-A3E5-E10488228A3F}" destId="{5F24EF4A-5914-47F0-8353-3E5F19A99734}" srcOrd="0" destOrd="0" presId="urn:microsoft.com/office/officeart/2005/8/layout/orgChart1"/>
    <dgm:cxn modelId="{E62385F5-D729-40AE-9CF5-A3232826BFE0}" srcId="{01E63030-53E7-421D-B1CC-52A9ADA27195}" destId="{1AA8EA4D-E9B7-41C1-AB26-B5B875E5ED8D}" srcOrd="3" destOrd="0" parTransId="{B114371E-5F54-4600-A11E-58C623E439A5}" sibTransId="{9C085AF7-E519-4809-B0BD-F9FBF238CFB7}"/>
    <dgm:cxn modelId="{147AF8F8-A866-4650-A442-31C98DC5FB5E}" type="presOf" srcId="{79766BD7-DCD0-491D-A8F1-BF49C2918EE4}" destId="{7C1FA5F9-6432-495B-BD62-E3BBEE65A089}" srcOrd="0" destOrd="0" presId="urn:microsoft.com/office/officeart/2005/8/layout/orgChart1"/>
    <dgm:cxn modelId="{3D221BFB-349B-4B46-9362-C675C7215752}" type="presOf" srcId="{028319DE-6729-4F63-B3CC-DC25855D337F}" destId="{48D67E2C-DD93-4011-9DA7-B47FF54FB2F3}" srcOrd="0" destOrd="0" presId="urn:microsoft.com/office/officeart/2005/8/layout/orgChart1"/>
    <dgm:cxn modelId="{13CE27FE-564F-4F3E-81FF-A0698446F8AF}" type="presOf" srcId="{56D94BA8-AF09-4F8B-9F9B-F13DE085E15F}" destId="{C8B07A7B-0C33-40AB-961A-51357DD8AFD3}" srcOrd="0" destOrd="0" presId="urn:microsoft.com/office/officeart/2005/8/layout/orgChart1"/>
    <dgm:cxn modelId="{8C7B17AC-3CF6-4056-B5CC-3835AB368AC4}" type="presParOf" srcId="{48D67E2C-DD93-4011-9DA7-B47FF54FB2F3}" destId="{0E4E3522-5C61-476D-96A4-E04E03D11441}" srcOrd="0" destOrd="0" presId="urn:microsoft.com/office/officeart/2005/8/layout/orgChart1"/>
    <dgm:cxn modelId="{99E6E5B7-8A17-4B64-9EAA-EBBF3B37A30C}" type="presParOf" srcId="{0E4E3522-5C61-476D-96A4-E04E03D11441}" destId="{4EE49220-33AA-4F5F-85B0-69A921CA940A}" srcOrd="0" destOrd="0" presId="urn:microsoft.com/office/officeart/2005/8/layout/orgChart1"/>
    <dgm:cxn modelId="{B4183A42-BA09-4E06-89F5-B63FC1ACB38F}" type="presParOf" srcId="{4EE49220-33AA-4F5F-85B0-69A921CA940A}" destId="{4EF83B75-9158-43A7-BAEF-B19F07FDB950}" srcOrd="0" destOrd="0" presId="urn:microsoft.com/office/officeart/2005/8/layout/orgChart1"/>
    <dgm:cxn modelId="{E1CCBE91-1875-4C1A-B770-B81F92DF9292}" type="presParOf" srcId="{4EE49220-33AA-4F5F-85B0-69A921CA940A}" destId="{03002940-FA7A-477D-BED0-131E8033E02E}" srcOrd="1" destOrd="0" presId="urn:microsoft.com/office/officeart/2005/8/layout/orgChart1"/>
    <dgm:cxn modelId="{4FB1F8CC-C4B6-43AC-8ECF-6457A43E4EF5}" type="presParOf" srcId="{0E4E3522-5C61-476D-96A4-E04E03D11441}" destId="{CA822035-7BEB-447D-9F46-140D33B8AEDF}" srcOrd="1" destOrd="0" presId="urn:microsoft.com/office/officeart/2005/8/layout/orgChart1"/>
    <dgm:cxn modelId="{F29C2B09-7F92-4E40-8F59-05ED42792B68}" type="presParOf" srcId="{CA822035-7BEB-447D-9F46-140D33B8AEDF}" destId="{2FD0F99C-3B2B-40E8-A227-F4E01839F4ED}" srcOrd="0" destOrd="0" presId="urn:microsoft.com/office/officeart/2005/8/layout/orgChart1"/>
    <dgm:cxn modelId="{664CEE69-CF18-4E39-B3DC-63BF85820658}" type="presParOf" srcId="{CA822035-7BEB-447D-9F46-140D33B8AEDF}" destId="{D739ABDF-C65D-4533-BB00-DC30B3F4530B}" srcOrd="1" destOrd="0" presId="urn:microsoft.com/office/officeart/2005/8/layout/orgChart1"/>
    <dgm:cxn modelId="{BE1C4AA8-6E1A-4327-A30B-2C6D34542367}" type="presParOf" srcId="{D739ABDF-C65D-4533-BB00-DC30B3F4530B}" destId="{8D4999B4-2529-475A-B4E6-83D59777EF71}" srcOrd="0" destOrd="0" presId="urn:microsoft.com/office/officeart/2005/8/layout/orgChart1"/>
    <dgm:cxn modelId="{C014C753-ED46-44EE-80EA-6AFFEA494548}" type="presParOf" srcId="{8D4999B4-2529-475A-B4E6-83D59777EF71}" destId="{52218C76-1E89-408B-A563-BDB10982DBF3}" srcOrd="0" destOrd="0" presId="urn:microsoft.com/office/officeart/2005/8/layout/orgChart1"/>
    <dgm:cxn modelId="{EE87A218-1030-43D5-9646-00E215B8A7C8}" type="presParOf" srcId="{8D4999B4-2529-475A-B4E6-83D59777EF71}" destId="{D339BDCB-9BE8-4260-8774-015651B6B4E6}" srcOrd="1" destOrd="0" presId="urn:microsoft.com/office/officeart/2005/8/layout/orgChart1"/>
    <dgm:cxn modelId="{5491A574-6D6F-4E0D-ACD6-B8DBA6B0CC59}" type="presParOf" srcId="{D739ABDF-C65D-4533-BB00-DC30B3F4530B}" destId="{D1292E50-4411-442E-B239-AE35C5EBFC66}" srcOrd="1" destOrd="0" presId="urn:microsoft.com/office/officeart/2005/8/layout/orgChart1"/>
    <dgm:cxn modelId="{CF9C71FB-86F1-40D4-8508-C4052771D834}" type="presParOf" srcId="{D1292E50-4411-442E-B239-AE35C5EBFC66}" destId="{745BFE19-8260-4A83-89A1-4DBBD9FB3C25}" srcOrd="0" destOrd="0" presId="urn:microsoft.com/office/officeart/2005/8/layout/orgChart1"/>
    <dgm:cxn modelId="{84679C8B-3A5F-4634-A9BB-EBBAD2A936D4}" type="presParOf" srcId="{D1292E50-4411-442E-B239-AE35C5EBFC66}" destId="{DE5809DE-E7C3-426C-81F5-6B937895DFD8}" srcOrd="1" destOrd="0" presId="urn:microsoft.com/office/officeart/2005/8/layout/orgChart1"/>
    <dgm:cxn modelId="{B746471F-613B-47E6-8616-131FC5B5D0C8}" type="presParOf" srcId="{DE5809DE-E7C3-426C-81F5-6B937895DFD8}" destId="{BF215451-DE8F-41E9-8183-DD71A891A695}" srcOrd="0" destOrd="0" presId="urn:microsoft.com/office/officeart/2005/8/layout/orgChart1"/>
    <dgm:cxn modelId="{0B996DE1-6935-4171-B243-A894DEFCC01F}" type="presParOf" srcId="{BF215451-DE8F-41E9-8183-DD71A891A695}" destId="{75A4447A-43FF-4464-B6BD-08A2F2C5F99C}" srcOrd="0" destOrd="0" presId="urn:microsoft.com/office/officeart/2005/8/layout/orgChart1"/>
    <dgm:cxn modelId="{AF95A550-38F8-461A-A6B6-797E5C7E0FD1}" type="presParOf" srcId="{BF215451-DE8F-41E9-8183-DD71A891A695}" destId="{9306DC9E-8737-44EC-AA34-1865E8A54723}" srcOrd="1" destOrd="0" presId="urn:microsoft.com/office/officeart/2005/8/layout/orgChart1"/>
    <dgm:cxn modelId="{4B16AF1B-31C0-4E4B-872F-F002289CACD2}" type="presParOf" srcId="{DE5809DE-E7C3-426C-81F5-6B937895DFD8}" destId="{750C4F41-CE4E-40DA-9B83-2F22EDCBAB12}" srcOrd="1" destOrd="0" presId="urn:microsoft.com/office/officeart/2005/8/layout/orgChart1"/>
    <dgm:cxn modelId="{67EACD0C-437D-4180-88A3-09F2E9904B49}" type="presParOf" srcId="{750C4F41-CE4E-40DA-9B83-2F22EDCBAB12}" destId="{39ABBB4E-E81D-40D5-965A-3A49A1C40456}" srcOrd="0" destOrd="0" presId="urn:microsoft.com/office/officeart/2005/8/layout/orgChart1"/>
    <dgm:cxn modelId="{134E4343-F1CA-4A31-8EC1-FD3941F8A2B7}" type="presParOf" srcId="{750C4F41-CE4E-40DA-9B83-2F22EDCBAB12}" destId="{48AD3779-F61D-4E42-A67F-F53DA3178C78}" srcOrd="1" destOrd="0" presId="urn:microsoft.com/office/officeart/2005/8/layout/orgChart1"/>
    <dgm:cxn modelId="{FA6B4B6B-4337-4551-969F-BD938C71726A}" type="presParOf" srcId="{48AD3779-F61D-4E42-A67F-F53DA3178C78}" destId="{EBDACA03-FEE0-4E3B-B279-B956773273E7}" srcOrd="0" destOrd="0" presId="urn:microsoft.com/office/officeart/2005/8/layout/orgChart1"/>
    <dgm:cxn modelId="{DA8D2D66-113D-4B77-9A3A-38F5016557EC}" type="presParOf" srcId="{EBDACA03-FEE0-4E3B-B279-B956773273E7}" destId="{748E36B0-B107-4FE0-BA29-2FFED2B1D32D}" srcOrd="0" destOrd="0" presId="urn:microsoft.com/office/officeart/2005/8/layout/orgChart1"/>
    <dgm:cxn modelId="{79B1F77B-81CC-4B2E-B774-8850BA02EBE8}" type="presParOf" srcId="{EBDACA03-FEE0-4E3B-B279-B956773273E7}" destId="{319E5F39-8802-44E1-AFD7-396882594168}" srcOrd="1" destOrd="0" presId="urn:microsoft.com/office/officeart/2005/8/layout/orgChart1"/>
    <dgm:cxn modelId="{AEC7CFB6-3F08-4718-A898-037C7C3B870B}" type="presParOf" srcId="{48AD3779-F61D-4E42-A67F-F53DA3178C78}" destId="{FB73E1E0-EF53-4326-A94A-9C6C956A5E0E}" srcOrd="1" destOrd="0" presId="urn:microsoft.com/office/officeart/2005/8/layout/orgChart1"/>
    <dgm:cxn modelId="{AB4C6248-0DEF-4A52-AA53-59E6C84DD325}" type="presParOf" srcId="{48AD3779-F61D-4E42-A67F-F53DA3178C78}" destId="{AFE7F2AD-5356-4851-A704-CF2E260F86DD}" srcOrd="2" destOrd="0" presId="urn:microsoft.com/office/officeart/2005/8/layout/orgChart1"/>
    <dgm:cxn modelId="{CB2A4B55-943E-4704-BABB-FEECC6998653}" type="presParOf" srcId="{DE5809DE-E7C3-426C-81F5-6B937895DFD8}" destId="{317D395E-8257-41D8-8048-E87C52B1E564}" srcOrd="2" destOrd="0" presId="urn:microsoft.com/office/officeart/2005/8/layout/orgChart1"/>
    <dgm:cxn modelId="{BA9C8124-FF87-46F4-BD4A-977084B5D22C}" type="presParOf" srcId="{D1292E50-4411-442E-B239-AE35C5EBFC66}" destId="{C3C9EA2D-F136-4542-AA45-AD7D9BEB87B5}" srcOrd="2" destOrd="0" presId="urn:microsoft.com/office/officeart/2005/8/layout/orgChart1"/>
    <dgm:cxn modelId="{D87572C7-555E-4BB8-8828-154865E0F733}" type="presParOf" srcId="{D1292E50-4411-442E-B239-AE35C5EBFC66}" destId="{8DBB5652-AF75-4B34-91AA-1A199F193213}" srcOrd="3" destOrd="0" presId="urn:microsoft.com/office/officeart/2005/8/layout/orgChart1"/>
    <dgm:cxn modelId="{5B809C6D-7DC6-4B3D-B373-FB16299AE9E2}" type="presParOf" srcId="{8DBB5652-AF75-4B34-91AA-1A199F193213}" destId="{9F759A56-436A-4FD6-89E9-29A9CC195412}" srcOrd="0" destOrd="0" presId="urn:microsoft.com/office/officeart/2005/8/layout/orgChart1"/>
    <dgm:cxn modelId="{6EBD4434-F168-4163-9230-535B224ED35D}" type="presParOf" srcId="{9F759A56-436A-4FD6-89E9-29A9CC195412}" destId="{B58A599F-9C1C-46E8-82C0-DA24E4DD94CB}" srcOrd="0" destOrd="0" presId="urn:microsoft.com/office/officeart/2005/8/layout/orgChart1"/>
    <dgm:cxn modelId="{3205512C-3CA4-4B7B-8BBF-754443C870DB}" type="presParOf" srcId="{9F759A56-436A-4FD6-89E9-29A9CC195412}" destId="{D0207512-DCDC-41F2-9AB4-A05E5B0CA555}" srcOrd="1" destOrd="0" presId="urn:microsoft.com/office/officeart/2005/8/layout/orgChart1"/>
    <dgm:cxn modelId="{2950B6A1-571F-4B71-89F2-982DE7D861B3}" type="presParOf" srcId="{8DBB5652-AF75-4B34-91AA-1A199F193213}" destId="{ACBFAFB4-6814-415F-B1F1-FFC9FDD49BF1}" srcOrd="1" destOrd="0" presId="urn:microsoft.com/office/officeart/2005/8/layout/orgChart1"/>
    <dgm:cxn modelId="{52A3EED5-1851-4F23-927E-84AA948B1165}" type="presParOf" srcId="{ACBFAFB4-6814-415F-B1F1-FFC9FDD49BF1}" destId="{ED4522D6-EAB4-4AB6-9B68-2C9D1638851E}" srcOrd="0" destOrd="0" presId="urn:microsoft.com/office/officeart/2005/8/layout/orgChart1"/>
    <dgm:cxn modelId="{82BAA14B-83EA-4F01-AC34-3A2C178DF988}" type="presParOf" srcId="{ACBFAFB4-6814-415F-B1F1-FFC9FDD49BF1}" destId="{20EC26A7-20B6-49B9-A445-27BECDAD97BE}" srcOrd="1" destOrd="0" presId="urn:microsoft.com/office/officeart/2005/8/layout/orgChart1"/>
    <dgm:cxn modelId="{DA6BA153-4DE5-4354-BE08-1F199874E2BF}" type="presParOf" srcId="{20EC26A7-20B6-49B9-A445-27BECDAD97BE}" destId="{DA4E193B-8977-4017-B224-71A2F624A705}" srcOrd="0" destOrd="0" presId="urn:microsoft.com/office/officeart/2005/8/layout/orgChart1"/>
    <dgm:cxn modelId="{D705A320-7FCC-4E48-9A88-AFC582BDD58B}" type="presParOf" srcId="{DA4E193B-8977-4017-B224-71A2F624A705}" destId="{1D1C17C5-1531-419F-B597-6109DA82E819}" srcOrd="0" destOrd="0" presId="urn:microsoft.com/office/officeart/2005/8/layout/orgChart1"/>
    <dgm:cxn modelId="{68B019AD-544D-4F5D-9377-7684013135DA}" type="presParOf" srcId="{DA4E193B-8977-4017-B224-71A2F624A705}" destId="{9D214C3C-E3B9-41A6-9852-64A51D4A1123}" srcOrd="1" destOrd="0" presId="urn:microsoft.com/office/officeart/2005/8/layout/orgChart1"/>
    <dgm:cxn modelId="{132A9B50-F43E-4419-9B8E-2C7CA77ED286}" type="presParOf" srcId="{20EC26A7-20B6-49B9-A445-27BECDAD97BE}" destId="{836BA9BB-42F7-4B92-942F-266A60B778EA}" srcOrd="1" destOrd="0" presId="urn:microsoft.com/office/officeart/2005/8/layout/orgChart1"/>
    <dgm:cxn modelId="{1BFA8917-2EAB-4E78-B312-BCF0E30E83A7}" type="presParOf" srcId="{20EC26A7-20B6-49B9-A445-27BECDAD97BE}" destId="{712922F4-2E6A-4F3E-832E-109C2DECD6EE}" srcOrd="2" destOrd="0" presId="urn:microsoft.com/office/officeart/2005/8/layout/orgChart1"/>
    <dgm:cxn modelId="{5E6B8E87-54AA-4869-86FE-15700DE14540}" type="presParOf" srcId="{ACBFAFB4-6814-415F-B1F1-FFC9FDD49BF1}" destId="{CCA79C15-712E-48E2-A6CA-EE32F1D92AD3}" srcOrd="2" destOrd="0" presId="urn:microsoft.com/office/officeart/2005/8/layout/orgChart1"/>
    <dgm:cxn modelId="{65068DB4-40B8-4E87-9EA9-10444AFDB4A8}" type="presParOf" srcId="{ACBFAFB4-6814-415F-B1F1-FFC9FDD49BF1}" destId="{A15F215A-E6F8-45E3-B6E8-F1DC2EE04D48}" srcOrd="3" destOrd="0" presId="urn:microsoft.com/office/officeart/2005/8/layout/orgChart1"/>
    <dgm:cxn modelId="{11907D49-A986-4528-B6ED-11D5E6013A82}" type="presParOf" srcId="{A15F215A-E6F8-45E3-B6E8-F1DC2EE04D48}" destId="{376AC177-CA38-42FD-ACDA-18DEEA7C9F8F}" srcOrd="0" destOrd="0" presId="urn:microsoft.com/office/officeart/2005/8/layout/orgChart1"/>
    <dgm:cxn modelId="{454578B2-40CC-47F1-9CC8-E06CC947980D}" type="presParOf" srcId="{376AC177-CA38-42FD-ACDA-18DEEA7C9F8F}" destId="{6CDB4180-BD35-4432-91DF-E5E894A4E501}" srcOrd="0" destOrd="0" presId="urn:microsoft.com/office/officeart/2005/8/layout/orgChart1"/>
    <dgm:cxn modelId="{DF8E4B25-7747-4199-9513-FED5A2F82979}" type="presParOf" srcId="{376AC177-CA38-42FD-ACDA-18DEEA7C9F8F}" destId="{A45A3892-0A82-4BBD-9FF9-F02426F7E86A}" srcOrd="1" destOrd="0" presId="urn:microsoft.com/office/officeart/2005/8/layout/orgChart1"/>
    <dgm:cxn modelId="{CF6DCA52-85D8-4C9C-8039-64090FE364DA}" type="presParOf" srcId="{A15F215A-E6F8-45E3-B6E8-F1DC2EE04D48}" destId="{49973CCF-8868-4E74-83A2-B17243FDFA71}" srcOrd="1" destOrd="0" presId="urn:microsoft.com/office/officeart/2005/8/layout/orgChart1"/>
    <dgm:cxn modelId="{58028F83-F506-4555-B142-CE8A8C9FF42A}" type="presParOf" srcId="{A15F215A-E6F8-45E3-B6E8-F1DC2EE04D48}" destId="{8C7DB405-5CAE-4CB4-8412-F12F98668571}" srcOrd="2" destOrd="0" presId="urn:microsoft.com/office/officeart/2005/8/layout/orgChart1"/>
    <dgm:cxn modelId="{D27EE616-73EE-4CD6-B838-BC238DC2241D}" type="presParOf" srcId="{ACBFAFB4-6814-415F-B1F1-FFC9FDD49BF1}" destId="{2AA77337-0DDA-4EE3-9FC3-7CAC538999B2}" srcOrd="4" destOrd="0" presId="urn:microsoft.com/office/officeart/2005/8/layout/orgChart1"/>
    <dgm:cxn modelId="{B6EDB202-A4A0-4E6E-B345-B80BD0592BF2}" type="presParOf" srcId="{ACBFAFB4-6814-415F-B1F1-FFC9FDD49BF1}" destId="{18A6AE19-F699-4329-8544-577882CB4C61}" srcOrd="5" destOrd="0" presId="urn:microsoft.com/office/officeart/2005/8/layout/orgChart1"/>
    <dgm:cxn modelId="{C27AE24E-CC41-4BCD-9D4C-7D53758719FE}" type="presParOf" srcId="{18A6AE19-F699-4329-8544-577882CB4C61}" destId="{BA6573F0-41DE-452F-AEA8-321C1DFA2F65}" srcOrd="0" destOrd="0" presId="urn:microsoft.com/office/officeart/2005/8/layout/orgChart1"/>
    <dgm:cxn modelId="{4C17207F-C416-470E-B45C-BB2B5FB56123}" type="presParOf" srcId="{BA6573F0-41DE-452F-AEA8-321C1DFA2F65}" destId="{DFEC2F2B-3A93-401C-9580-C6EB2514E836}" srcOrd="0" destOrd="0" presId="urn:microsoft.com/office/officeart/2005/8/layout/orgChart1"/>
    <dgm:cxn modelId="{F56472D1-6E36-4B09-962F-01C0DFFEECA2}" type="presParOf" srcId="{BA6573F0-41DE-452F-AEA8-321C1DFA2F65}" destId="{689FC13C-0249-4BEE-BE5E-0379E2127972}" srcOrd="1" destOrd="0" presId="urn:microsoft.com/office/officeart/2005/8/layout/orgChart1"/>
    <dgm:cxn modelId="{C2F2E6B4-0008-42A7-A5EB-981027B8132D}" type="presParOf" srcId="{18A6AE19-F699-4329-8544-577882CB4C61}" destId="{2FB595E3-6AF1-41A4-B5A3-B024D8C7670B}" srcOrd="1" destOrd="0" presId="urn:microsoft.com/office/officeart/2005/8/layout/orgChart1"/>
    <dgm:cxn modelId="{73AF8EF1-C56F-4E52-BD33-1DF6CE0873F2}" type="presParOf" srcId="{18A6AE19-F699-4329-8544-577882CB4C61}" destId="{249FB124-5DE4-4041-8C36-D0CF2F5C5A7E}" srcOrd="2" destOrd="0" presId="urn:microsoft.com/office/officeart/2005/8/layout/orgChart1"/>
    <dgm:cxn modelId="{5BCA9217-B4EB-43C2-9EE9-D95B2AEED5B4}" type="presParOf" srcId="{ACBFAFB4-6814-415F-B1F1-FFC9FDD49BF1}" destId="{DB0D58DD-FABF-430D-8C8E-6D86D9168413}" srcOrd="6" destOrd="0" presId="urn:microsoft.com/office/officeart/2005/8/layout/orgChart1"/>
    <dgm:cxn modelId="{567EC4BA-F8A8-4E87-941E-ECF9194FD354}" type="presParOf" srcId="{ACBFAFB4-6814-415F-B1F1-FFC9FDD49BF1}" destId="{BE99CD53-A2D4-4846-B320-58E364B28AAD}" srcOrd="7" destOrd="0" presId="urn:microsoft.com/office/officeart/2005/8/layout/orgChart1"/>
    <dgm:cxn modelId="{3A20C04D-F096-4ABD-92BD-107D58EBC5A9}" type="presParOf" srcId="{BE99CD53-A2D4-4846-B320-58E364B28AAD}" destId="{C4EF5016-5DA8-4500-85FF-B346CC8C68F8}" srcOrd="0" destOrd="0" presId="urn:microsoft.com/office/officeart/2005/8/layout/orgChart1"/>
    <dgm:cxn modelId="{66167C48-7BA3-4ECE-ACC4-6C9BF8AAB6F0}" type="presParOf" srcId="{C4EF5016-5DA8-4500-85FF-B346CC8C68F8}" destId="{E43CC8B8-E901-444D-BE3E-EC3CFCFCC1E3}" srcOrd="0" destOrd="0" presId="urn:microsoft.com/office/officeart/2005/8/layout/orgChart1"/>
    <dgm:cxn modelId="{FC7E6EEB-0C3E-4572-A6B3-86356D8069A2}" type="presParOf" srcId="{C4EF5016-5DA8-4500-85FF-B346CC8C68F8}" destId="{8FFDE2CC-18F1-4B0F-89EB-FDA815C9C038}" srcOrd="1" destOrd="0" presId="urn:microsoft.com/office/officeart/2005/8/layout/orgChart1"/>
    <dgm:cxn modelId="{62973A57-7DAE-495F-A9F4-ECEB21ED1C9C}" type="presParOf" srcId="{BE99CD53-A2D4-4846-B320-58E364B28AAD}" destId="{54ED655A-1B1A-4BE8-9C2C-6AE957F6431C}" srcOrd="1" destOrd="0" presId="urn:microsoft.com/office/officeart/2005/8/layout/orgChart1"/>
    <dgm:cxn modelId="{D202C080-168D-4444-BA02-BA248698A1E2}" type="presParOf" srcId="{BE99CD53-A2D4-4846-B320-58E364B28AAD}" destId="{71448BBA-1650-4B0F-9055-43D1575D618B}" srcOrd="2" destOrd="0" presId="urn:microsoft.com/office/officeart/2005/8/layout/orgChart1"/>
    <dgm:cxn modelId="{2DE63776-F729-4917-B5BE-44C18DCB7805}" type="presParOf" srcId="{8DBB5652-AF75-4B34-91AA-1A199F193213}" destId="{86771AF7-35B6-41CE-BA3D-34D161089EA4}" srcOrd="2" destOrd="0" presId="urn:microsoft.com/office/officeart/2005/8/layout/orgChart1"/>
    <dgm:cxn modelId="{4776F750-778A-4C95-A52D-60B9287F3F99}" type="presParOf" srcId="{D739ABDF-C65D-4533-BB00-DC30B3F4530B}" destId="{9D065D10-0074-4CD3-A7F3-FB8A80EAF913}" srcOrd="2" destOrd="0" presId="urn:microsoft.com/office/officeart/2005/8/layout/orgChart1"/>
    <dgm:cxn modelId="{417AADEA-7BD6-46B5-99A6-A620C3A5D88A}" type="presParOf" srcId="{CA822035-7BEB-447D-9F46-140D33B8AEDF}" destId="{55045DD3-3BA4-4614-B18F-294F9E912C34}" srcOrd="2" destOrd="0" presId="urn:microsoft.com/office/officeart/2005/8/layout/orgChart1"/>
    <dgm:cxn modelId="{466CA11F-B5FD-44A0-A505-F1A5EE20E598}" type="presParOf" srcId="{CA822035-7BEB-447D-9F46-140D33B8AEDF}" destId="{0930199E-5753-4D3B-A84B-13351BAEA6D2}" srcOrd="3" destOrd="0" presId="urn:microsoft.com/office/officeart/2005/8/layout/orgChart1"/>
    <dgm:cxn modelId="{B2825BE6-9C61-4983-A465-197699F52009}" type="presParOf" srcId="{0930199E-5753-4D3B-A84B-13351BAEA6D2}" destId="{92BB5157-5F1A-46D7-AC68-2C66492DA26E}" srcOrd="0" destOrd="0" presId="urn:microsoft.com/office/officeart/2005/8/layout/orgChart1"/>
    <dgm:cxn modelId="{BFD86D6D-060A-4E18-A61B-3009B0DE1B5F}" type="presParOf" srcId="{92BB5157-5F1A-46D7-AC68-2C66492DA26E}" destId="{5F24EF4A-5914-47F0-8353-3E5F19A99734}" srcOrd="0" destOrd="0" presId="urn:microsoft.com/office/officeart/2005/8/layout/orgChart1"/>
    <dgm:cxn modelId="{EB85EADC-616B-446A-A6E0-6135024FACE5}" type="presParOf" srcId="{92BB5157-5F1A-46D7-AC68-2C66492DA26E}" destId="{3A8E30D0-7851-42A8-86DB-55F5EA187CD0}" srcOrd="1" destOrd="0" presId="urn:microsoft.com/office/officeart/2005/8/layout/orgChart1"/>
    <dgm:cxn modelId="{54B4D2C8-08A7-4123-B9C4-97C58B8F7371}" type="presParOf" srcId="{0930199E-5753-4D3B-A84B-13351BAEA6D2}" destId="{C05C0D71-6A3A-4BC6-9022-13E4E808B539}" srcOrd="1" destOrd="0" presId="urn:microsoft.com/office/officeart/2005/8/layout/orgChart1"/>
    <dgm:cxn modelId="{4EBC5549-5393-4AF8-8FEE-85CCEE3849A2}" type="presParOf" srcId="{C05C0D71-6A3A-4BC6-9022-13E4E808B539}" destId="{CB730DEE-B392-4EB4-9E0A-BB5DB4433BE5}" srcOrd="0" destOrd="0" presId="urn:microsoft.com/office/officeart/2005/8/layout/orgChart1"/>
    <dgm:cxn modelId="{36B991F6-E1BE-49D8-84CA-8573C2EA42B0}" type="presParOf" srcId="{C05C0D71-6A3A-4BC6-9022-13E4E808B539}" destId="{731ED3AA-43F6-4678-BE47-FFF74A0D35A8}" srcOrd="1" destOrd="0" presId="urn:microsoft.com/office/officeart/2005/8/layout/orgChart1"/>
    <dgm:cxn modelId="{F5B90AA4-BC09-4DB8-AE42-90098BE550FE}" type="presParOf" srcId="{731ED3AA-43F6-4678-BE47-FFF74A0D35A8}" destId="{C082FF1F-DB96-4D5D-8085-E1AB8CFAB66A}" srcOrd="0" destOrd="0" presId="urn:microsoft.com/office/officeart/2005/8/layout/orgChart1"/>
    <dgm:cxn modelId="{87AC41DB-DA73-45D3-BB9E-70892E25F09F}" type="presParOf" srcId="{C082FF1F-DB96-4D5D-8085-E1AB8CFAB66A}" destId="{F120AB4B-A2AF-4D49-8D60-DE0715A8732D}" srcOrd="0" destOrd="0" presId="urn:microsoft.com/office/officeart/2005/8/layout/orgChart1"/>
    <dgm:cxn modelId="{9C934956-50BC-4EA8-A250-67CF5B76B898}" type="presParOf" srcId="{C082FF1F-DB96-4D5D-8085-E1AB8CFAB66A}" destId="{93CAF70E-5CC4-46E2-B952-73C763556CFB}" srcOrd="1" destOrd="0" presId="urn:microsoft.com/office/officeart/2005/8/layout/orgChart1"/>
    <dgm:cxn modelId="{9BCC6C95-29AB-4BB0-B215-CB0ACA3B7934}" type="presParOf" srcId="{731ED3AA-43F6-4678-BE47-FFF74A0D35A8}" destId="{65C4CDA5-D76C-4F14-9BCA-D2BE4FCA0CA0}" srcOrd="1" destOrd="0" presId="urn:microsoft.com/office/officeart/2005/8/layout/orgChart1"/>
    <dgm:cxn modelId="{614A6D17-DBF2-41A0-B160-0CA6DA35DB92}" type="presParOf" srcId="{65C4CDA5-D76C-4F14-9BCA-D2BE4FCA0CA0}" destId="{7C1FA5F9-6432-495B-BD62-E3BBEE65A089}" srcOrd="0" destOrd="0" presId="urn:microsoft.com/office/officeart/2005/8/layout/orgChart1"/>
    <dgm:cxn modelId="{BFA5739C-C4B2-411F-84F8-6C7AAEEC46C9}" type="presParOf" srcId="{65C4CDA5-D76C-4F14-9BCA-D2BE4FCA0CA0}" destId="{A54169E0-FC72-40EE-ACDD-F4A6F4701AA3}" srcOrd="1" destOrd="0" presId="urn:microsoft.com/office/officeart/2005/8/layout/orgChart1"/>
    <dgm:cxn modelId="{43571395-D348-4B1F-91F7-0F15FF3161F3}" type="presParOf" srcId="{A54169E0-FC72-40EE-ACDD-F4A6F4701AA3}" destId="{4057EA2A-9A63-4721-849E-AA35CD8B918B}" srcOrd="0" destOrd="0" presId="urn:microsoft.com/office/officeart/2005/8/layout/orgChart1"/>
    <dgm:cxn modelId="{0BF19364-44E9-4E21-BE19-80CFAC370EFE}" type="presParOf" srcId="{4057EA2A-9A63-4721-849E-AA35CD8B918B}" destId="{683079DF-80E8-4F07-9C1E-226B9616B4BE}" srcOrd="0" destOrd="0" presId="urn:microsoft.com/office/officeart/2005/8/layout/orgChart1"/>
    <dgm:cxn modelId="{0AA7F9AA-9E10-4479-AD2D-E8DDD47AA805}" type="presParOf" srcId="{4057EA2A-9A63-4721-849E-AA35CD8B918B}" destId="{5D118952-E0F7-4941-98DE-29EB56802890}" srcOrd="1" destOrd="0" presId="urn:microsoft.com/office/officeart/2005/8/layout/orgChart1"/>
    <dgm:cxn modelId="{A3676C41-AB35-4431-BCEA-60B4CAC92D37}" type="presParOf" srcId="{A54169E0-FC72-40EE-ACDD-F4A6F4701AA3}" destId="{E4C4EA82-0A6E-441E-B225-7DE21A15EEBA}" srcOrd="1" destOrd="0" presId="urn:microsoft.com/office/officeart/2005/8/layout/orgChart1"/>
    <dgm:cxn modelId="{BF3F79FA-DAFD-44C7-A9F1-218654C4F373}" type="presParOf" srcId="{A54169E0-FC72-40EE-ACDD-F4A6F4701AA3}" destId="{E1905DCF-2D4D-4D0F-BE6D-0C3A4E6E83CA}" srcOrd="2" destOrd="0" presId="urn:microsoft.com/office/officeart/2005/8/layout/orgChart1"/>
    <dgm:cxn modelId="{F10AE1F9-2760-4F52-A03B-EA48BF52CE6E}" type="presParOf" srcId="{65C4CDA5-D76C-4F14-9BCA-D2BE4FCA0CA0}" destId="{17A41EC8-2CDE-4F44-8125-3FF37D228618}" srcOrd="2" destOrd="0" presId="urn:microsoft.com/office/officeart/2005/8/layout/orgChart1"/>
    <dgm:cxn modelId="{9B66ABDB-BF43-4211-AD9B-CE3C962AD9D4}" type="presParOf" srcId="{65C4CDA5-D76C-4F14-9BCA-D2BE4FCA0CA0}" destId="{DFBF03DC-4268-49DE-9D68-9F157A9040B1}" srcOrd="3" destOrd="0" presId="urn:microsoft.com/office/officeart/2005/8/layout/orgChart1"/>
    <dgm:cxn modelId="{5AF0336E-675B-4733-AE1F-99D6F08042A1}" type="presParOf" srcId="{DFBF03DC-4268-49DE-9D68-9F157A9040B1}" destId="{ED59B2F8-FBCF-4C48-9326-F07C0D9AA68D}" srcOrd="0" destOrd="0" presId="urn:microsoft.com/office/officeart/2005/8/layout/orgChart1"/>
    <dgm:cxn modelId="{92456A1E-A81C-4B13-8388-DAC5868D51D6}" type="presParOf" srcId="{ED59B2F8-FBCF-4C48-9326-F07C0D9AA68D}" destId="{C8B07A7B-0C33-40AB-961A-51357DD8AFD3}" srcOrd="0" destOrd="0" presId="urn:microsoft.com/office/officeart/2005/8/layout/orgChart1"/>
    <dgm:cxn modelId="{E316EBC7-C80F-4673-B5A5-B646BA460105}" type="presParOf" srcId="{ED59B2F8-FBCF-4C48-9326-F07C0D9AA68D}" destId="{3D8D8F5B-9A3B-452C-839C-866A08E76A78}" srcOrd="1" destOrd="0" presId="urn:microsoft.com/office/officeart/2005/8/layout/orgChart1"/>
    <dgm:cxn modelId="{57473ABE-E66B-49E8-BA53-2E01B702AD14}" type="presParOf" srcId="{DFBF03DC-4268-49DE-9D68-9F157A9040B1}" destId="{BE5B6488-9E3C-4586-A0BE-E6FACBABDED8}" srcOrd="1" destOrd="0" presId="urn:microsoft.com/office/officeart/2005/8/layout/orgChart1"/>
    <dgm:cxn modelId="{A0CC765B-65A8-4EED-AE64-A3CD5CE01036}" type="presParOf" srcId="{DFBF03DC-4268-49DE-9D68-9F157A9040B1}" destId="{8C9A71A0-46F8-4B01-B6E7-BFF480CB60DD}" srcOrd="2" destOrd="0" presId="urn:microsoft.com/office/officeart/2005/8/layout/orgChart1"/>
    <dgm:cxn modelId="{58F4CAD1-FF7E-4219-BEB6-7BBFF0DC27EE}" type="presParOf" srcId="{65C4CDA5-D76C-4F14-9BCA-D2BE4FCA0CA0}" destId="{2D547170-6BFB-43A5-BDD2-20710A11F5AA}" srcOrd="4" destOrd="0" presId="urn:microsoft.com/office/officeart/2005/8/layout/orgChart1"/>
    <dgm:cxn modelId="{21A89A8A-278A-445B-AF5C-3C5D1F176873}" type="presParOf" srcId="{65C4CDA5-D76C-4F14-9BCA-D2BE4FCA0CA0}" destId="{CB921C66-D3D6-4EB6-820C-3492375C3FAD}" srcOrd="5" destOrd="0" presId="urn:microsoft.com/office/officeart/2005/8/layout/orgChart1"/>
    <dgm:cxn modelId="{6C2431AF-8C2F-4AB0-B118-2ABD8C87A8E8}" type="presParOf" srcId="{CB921C66-D3D6-4EB6-820C-3492375C3FAD}" destId="{F06B192B-CF56-4471-8AE6-B1A2B2472D2C}" srcOrd="0" destOrd="0" presId="urn:microsoft.com/office/officeart/2005/8/layout/orgChart1"/>
    <dgm:cxn modelId="{3CDE5AB6-F24B-468E-BB1F-9C72F225E33D}" type="presParOf" srcId="{F06B192B-CF56-4471-8AE6-B1A2B2472D2C}" destId="{DE18CD41-1488-4600-AC60-8EB3F1CC6A09}" srcOrd="0" destOrd="0" presId="urn:microsoft.com/office/officeart/2005/8/layout/orgChart1"/>
    <dgm:cxn modelId="{CD79D37B-5235-4BEA-A096-F3BAF126D6F0}" type="presParOf" srcId="{F06B192B-CF56-4471-8AE6-B1A2B2472D2C}" destId="{CCDFE1D1-B66A-4969-A0DF-A743D36C3CED}" srcOrd="1" destOrd="0" presId="urn:microsoft.com/office/officeart/2005/8/layout/orgChart1"/>
    <dgm:cxn modelId="{8DCAC638-21EE-4149-B82B-D9E574501299}" type="presParOf" srcId="{CB921C66-D3D6-4EB6-820C-3492375C3FAD}" destId="{341738BE-1E08-49CC-858E-84185A0DF20E}" srcOrd="1" destOrd="0" presId="urn:microsoft.com/office/officeart/2005/8/layout/orgChart1"/>
    <dgm:cxn modelId="{702CCBEB-7E4B-4743-9DD0-B622C2F82E3D}" type="presParOf" srcId="{CB921C66-D3D6-4EB6-820C-3492375C3FAD}" destId="{1F304ECB-5BF5-4654-A844-9110FBE0B6BB}" srcOrd="2" destOrd="0" presId="urn:microsoft.com/office/officeart/2005/8/layout/orgChart1"/>
    <dgm:cxn modelId="{AB7E6D15-25CE-4A30-A5D6-50153E21A8E8}" type="presParOf" srcId="{731ED3AA-43F6-4678-BE47-FFF74A0D35A8}" destId="{EFDA295A-5AA9-44A8-9BAB-5697754FC70D}" srcOrd="2" destOrd="0" presId="urn:microsoft.com/office/officeart/2005/8/layout/orgChart1"/>
    <dgm:cxn modelId="{2D0A8152-3997-449A-9F27-28CBFF0C87A2}" type="presParOf" srcId="{0930199E-5753-4D3B-A84B-13351BAEA6D2}" destId="{CDA7EDD1-C3D3-416B-BC15-8768C91BDF28}" srcOrd="2" destOrd="0" presId="urn:microsoft.com/office/officeart/2005/8/layout/orgChart1"/>
    <dgm:cxn modelId="{88E86E56-A66C-4833-B407-C3BB05E2CD0E}" type="presParOf" srcId="{CA822035-7BEB-447D-9F46-140D33B8AEDF}" destId="{D0B75A22-3D72-4C2A-904C-17F060D50799}" srcOrd="4" destOrd="0" presId="urn:microsoft.com/office/officeart/2005/8/layout/orgChart1"/>
    <dgm:cxn modelId="{32A18FB3-50A6-474F-955D-52D434C7D89F}" type="presParOf" srcId="{CA822035-7BEB-447D-9F46-140D33B8AEDF}" destId="{35D6DEA2-8CDB-45B0-9440-6FED41772516}" srcOrd="5" destOrd="0" presId="urn:microsoft.com/office/officeart/2005/8/layout/orgChart1"/>
    <dgm:cxn modelId="{3523BF68-0A6F-42D4-8475-51909099B932}" type="presParOf" srcId="{35D6DEA2-8CDB-45B0-9440-6FED41772516}" destId="{A7251ABA-B07C-465C-ADA8-149650302545}" srcOrd="0" destOrd="0" presId="urn:microsoft.com/office/officeart/2005/8/layout/orgChart1"/>
    <dgm:cxn modelId="{9400C162-D4E3-4711-84F8-C6E51416CF7C}" type="presParOf" srcId="{A7251ABA-B07C-465C-ADA8-149650302545}" destId="{591808E9-BA4A-4F46-8A43-4F02198286F8}" srcOrd="0" destOrd="0" presId="urn:microsoft.com/office/officeart/2005/8/layout/orgChart1"/>
    <dgm:cxn modelId="{4AED06E2-C541-4E84-BC02-FBB09371DFAA}" type="presParOf" srcId="{A7251ABA-B07C-465C-ADA8-149650302545}" destId="{E6DB5683-914E-4C59-BB98-507F65E8963E}" srcOrd="1" destOrd="0" presId="urn:microsoft.com/office/officeart/2005/8/layout/orgChart1"/>
    <dgm:cxn modelId="{1C1DC81D-9188-4210-9FB8-974934A8DDE6}" type="presParOf" srcId="{35D6DEA2-8CDB-45B0-9440-6FED41772516}" destId="{52A97A38-06F9-4F37-AFC1-8EE84E39125B}" srcOrd="1" destOrd="0" presId="urn:microsoft.com/office/officeart/2005/8/layout/orgChart1"/>
    <dgm:cxn modelId="{E4D27C43-FE9F-498E-9F18-0B2C44D8DD0B}" type="presParOf" srcId="{52A97A38-06F9-4F37-AFC1-8EE84E39125B}" destId="{968E41AD-9C0F-48CB-873F-E5893A5AED2E}" srcOrd="0" destOrd="0" presId="urn:microsoft.com/office/officeart/2005/8/layout/orgChart1"/>
    <dgm:cxn modelId="{C810CAF1-AA8F-4184-B3ED-70BEE9697F36}" type="presParOf" srcId="{52A97A38-06F9-4F37-AFC1-8EE84E39125B}" destId="{BF3A6607-CA42-4E7E-90B1-AF62D7A88B49}" srcOrd="1" destOrd="0" presId="urn:microsoft.com/office/officeart/2005/8/layout/orgChart1"/>
    <dgm:cxn modelId="{EA063F3E-9BAA-4B6D-8C4C-B406E4A478F9}" type="presParOf" srcId="{BF3A6607-CA42-4E7E-90B1-AF62D7A88B49}" destId="{2C88C65C-5833-4414-A15A-B81F31DCE9FD}" srcOrd="0" destOrd="0" presId="urn:microsoft.com/office/officeart/2005/8/layout/orgChart1"/>
    <dgm:cxn modelId="{84DF81BE-DCA0-49CB-9BC4-E22E687D3D46}" type="presParOf" srcId="{2C88C65C-5833-4414-A15A-B81F31DCE9FD}" destId="{D578D6B3-E95B-44BC-A80B-35E1A98DD1E3}" srcOrd="0" destOrd="0" presId="urn:microsoft.com/office/officeart/2005/8/layout/orgChart1"/>
    <dgm:cxn modelId="{B29F455A-B408-4013-89F7-436F48C2E191}" type="presParOf" srcId="{2C88C65C-5833-4414-A15A-B81F31DCE9FD}" destId="{B7F11240-4674-408C-A019-A540E56CA022}" srcOrd="1" destOrd="0" presId="urn:microsoft.com/office/officeart/2005/8/layout/orgChart1"/>
    <dgm:cxn modelId="{5D9F1FC4-8C02-4898-8FFC-6900DAEE175C}" type="presParOf" srcId="{BF3A6607-CA42-4E7E-90B1-AF62D7A88B49}" destId="{51D27D29-6523-460A-82D3-AED949FA5353}" srcOrd="1" destOrd="0" presId="urn:microsoft.com/office/officeart/2005/8/layout/orgChart1"/>
    <dgm:cxn modelId="{07BB1A81-2D52-4ABD-9229-EDE9DD327B12}" type="presParOf" srcId="{BF3A6607-CA42-4E7E-90B1-AF62D7A88B49}" destId="{4D7F8A88-7CE8-4B01-BED0-DCBE4FC5CB5C}" srcOrd="2" destOrd="0" presId="urn:microsoft.com/office/officeart/2005/8/layout/orgChart1"/>
    <dgm:cxn modelId="{4EE8A3CD-250D-46F4-AC59-1AFB301E681C}" type="presParOf" srcId="{52A97A38-06F9-4F37-AFC1-8EE84E39125B}" destId="{A6EAF44D-B301-4094-9BC6-7DFCECEA01E3}" srcOrd="2" destOrd="0" presId="urn:microsoft.com/office/officeart/2005/8/layout/orgChart1"/>
    <dgm:cxn modelId="{75750BB7-CAF8-46EB-8959-828FCFEC01B0}" type="presParOf" srcId="{52A97A38-06F9-4F37-AFC1-8EE84E39125B}" destId="{5102316F-0693-43EA-8C22-DD6E37F0ECFD}" srcOrd="3" destOrd="0" presId="urn:microsoft.com/office/officeart/2005/8/layout/orgChart1"/>
    <dgm:cxn modelId="{ED021A50-9475-4D07-8C55-EF638ADFBFB5}" type="presParOf" srcId="{5102316F-0693-43EA-8C22-DD6E37F0ECFD}" destId="{6F5D2B19-DF00-4904-A3A4-15C8738CCD00}" srcOrd="0" destOrd="0" presId="urn:microsoft.com/office/officeart/2005/8/layout/orgChart1"/>
    <dgm:cxn modelId="{9FD5A64E-09E6-4AA4-B37A-F0D68F4AD4B9}" type="presParOf" srcId="{6F5D2B19-DF00-4904-A3A4-15C8738CCD00}" destId="{C5324160-1919-4624-8B94-EA2934C07C6E}" srcOrd="0" destOrd="0" presId="urn:microsoft.com/office/officeart/2005/8/layout/orgChart1"/>
    <dgm:cxn modelId="{BA08F3A9-32F1-4B41-93B2-DA49BFF1AC3C}" type="presParOf" srcId="{6F5D2B19-DF00-4904-A3A4-15C8738CCD00}" destId="{D8BD7AE5-F8E8-4078-ADB3-BDC64947C0D8}" srcOrd="1" destOrd="0" presId="urn:microsoft.com/office/officeart/2005/8/layout/orgChart1"/>
    <dgm:cxn modelId="{CB18912B-3B56-44BB-BC8A-FEAED097104C}" type="presParOf" srcId="{5102316F-0693-43EA-8C22-DD6E37F0ECFD}" destId="{18F80158-384B-4854-9383-C4A2B772F622}" srcOrd="1" destOrd="0" presId="urn:microsoft.com/office/officeart/2005/8/layout/orgChart1"/>
    <dgm:cxn modelId="{234CCB80-F337-486A-8CC8-99FCDADC87CF}" type="presParOf" srcId="{5102316F-0693-43EA-8C22-DD6E37F0ECFD}" destId="{94A4C630-9C7A-4FDB-9D31-FC627E83E937}" srcOrd="2" destOrd="0" presId="urn:microsoft.com/office/officeart/2005/8/layout/orgChart1"/>
    <dgm:cxn modelId="{52A6FFE1-F82C-45DB-B6A4-476189EEC5D7}" type="presParOf" srcId="{52A97A38-06F9-4F37-AFC1-8EE84E39125B}" destId="{2F26A465-879D-406D-912D-12A156B2E726}" srcOrd="4" destOrd="0" presId="urn:microsoft.com/office/officeart/2005/8/layout/orgChart1"/>
    <dgm:cxn modelId="{6A29D2CD-B774-452A-9C77-B91F74BC3214}" type="presParOf" srcId="{52A97A38-06F9-4F37-AFC1-8EE84E39125B}" destId="{CC9E181D-B393-48DD-B007-177DE8C0DA05}" srcOrd="5" destOrd="0" presId="urn:microsoft.com/office/officeart/2005/8/layout/orgChart1"/>
    <dgm:cxn modelId="{0B3A2770-C447-4260-ABA6-0A37B86FE294}" type="presParOf" srcId="{CC9E181D-B393-48DD-B007-177DE8C0DA05}" destId="{D764B984-8D31-48AA-A1F4-112FACC28034}" srcOrd="0" destOrd="0" presId="urn:microsoft.com/office/officeart/2005/8/layout/orgChart1"/>
    <dgm:cxn modelId="{83511D8C-44F4-4B71-B52B-3546456D961F}" type="presParOf" srcId="{D764B984-8D31-48AA-A1F4-112FACC28034}" destId="{4BBB7BDB-2626-49B8-9C45-F860E158693F}" srcOrd="0" destOrd="0" presId="urn:microsoft.com/office/officeart/2005/8/layout/orgChart1"/>
    <dgm:cxn modelId="{2979AD98-33DC-490E-8107-E7A6713F131B}" type="presParOf" srcId="{D764B984-8D31-48AA-A1F4-112FACC28034}" destId="{2203A6F2-E9E7-4998-B1B6-F1004FD1D177}" srcOrd="1" destOrd="0" presId="urn:microsoft.com/office/officeart/2005/8/layout/orgChart1"/>
    <dgm:cxn modelId="{4DB64DBE-0916-45AE-810D-80FC8791A9DA}" type="presParOf" srcId="{CC9E181D-B393-48DD-B007-177DE8C0DA05}" destId="{0512D519-A229-4848-9580-CEB7E683E896}" srcOrd="1" destOrd="0" presId="urn:microsoft.com/office/officeart/2005/8/layout/orgChart1"/>
    <dgm:cxn modelId="{E59B4C0E-B559-4233-AEEE-E3DC8B66448E}" type="presParOf" srcId="{CC9E181D-B393-48DD-B007-177DE8C0DA05}" destId="{A41165A3-CDC2-471B-9D71-3E4A53438029}" srcOrd="2" destOrd="0" presId="urn:microsoft.com/office/officeart/2005/8/layout/orgChart1"/>
    <dgm:cxn modelId="{229403EA-CEDF-4C7A-B409-D524D5936CBB}" type="presParOf" srcId="{52A97A38-06F9-4F37-AFC1-8EE84E39125B}" destId="{4BD747F0-74C1-4FD2-9B29-3DDB6A43336C}" srcOrd="6" destOrd="0" presId="urn:microsoft.com/office/officeart/2005/8/layout/orgChart1"/>
    <dgm:cxn modelId="{CABB7984-8CA0-4997-9F6B-35A312B2BEAD}" type="presParOf" srcId="{52A97A38-06F9-4F37-AFC1-8EE84E39125B}" destId="{50C4C4AA-B0B8-4BFE-8356-EFDD4DE9C1A7}" srcOrd="7" destOrd="0" presId="urn:microsoft.com/office/officeart/2005/8/layout/orgChart1"/>
    <dgm:cxn modelId="{652BAC8F-8754-4CA8-8E4B-4CB9A35F1A95}" type="presParOf" srcId="{50C4C4AA-B0B8-4BFE-8356-EFDD4DE9C1A7}" destId="{A4891A10-9621-4BAD-846E-FB6831ED7260}" srcOrd="0" destOrd="0" presId="urn:microsoft.com/office/officeart/2005/8/layout/orgChart1"/>
    <dgm:cxn modelId="{3E986ABE-8360-4F88-A5CE-FEA401221637}" type="presParOf" srcId="{A4891A10-9621-4BAD-846E-FB6831ED7260}" destId="{2E3C9156-8889-45FF-9EB8-0E518B438EFB}" srcOrd="0" destOrd="0" presId="urn:microsoft.com/office/officeart/2005/8/layout/orgChart1"/>
    <dgm:cxn modelId="{5738A3BD-952E-4009-8E55-CA70D5EF3932}" type="presParOf" srcId="{A4891A10-9621-4BAD-846E-FB6831ED7260}" destId="{EEC794DB-5729-4BAD-9191-B265780BEDBF}" srcOrd="1" destOrd="0" presId="urn:microsoft.com/office/officeart/2005/8/layout/orgChart1"/>
    <dgm:cxn modelId="{866DAC55-ED8C-48DC-9805-EF05975EDB5A}" type="presParOf" srcId="{50C4C4AA-B0B8-4BFE-8356-EFDD4DE9C1A7}" destId="{DAF1C916-D917-4C9F-B26B-A33C13AF0855}" srcOrd="1" destOrd="0" presId="urn:microsoft.com/office/officeart/2005/8/layout/orgChart1"/>
    <dgm:cxn modelId="{16B34752-217C-491E-8A89-D6865F191716}" type="presParOf" srcId="{50C4C4AA-B0B8-4BFE-8356-EFDD4DE9C1A7}" destId="{7EC8F7B9-4E20-4474-A3AD-AD14E852AD58}" srcOrd="2" destOrd="0" presId="urn:microsoft.com/office/officeart/2005/8/layout/orgChart1"/>
    <dgm:cxn modelId="{FF7703C2-EA37-4E88-AE60-20B56823C43E}" type="presParOf" srcId="{52A97A38-06F9-4F37-AFC1-8EE84E39125B}" destId="{BB7F919D-FE48-47EC-8324-CA8735E98438}" srcOrd="8" destOrd="0" presId="urn:microsoft.com/office/officeart/2005/8/layout/orgChart1"/>
    <dgm:cxn modelId="{2882FC28-C079-4FCA-BB12-B75585E3B2CA}" type="presParOf" srcId="{52A97A38-06F9-4F37-AFC1-8EE84E39125B}" destId="{42341E44-5565-4F45-AC41-F363D85E9AFC}" srcOrd="9" destOrd="0" presId="urn:microsoft.com/office/officeart/2005/8/layout/orgChart1"/>
    <dgm:cxn modelId="{CED82E37-51DC-488A-8558-2036218E9B98}" type="presParOf" srcId="{42341E44-5565-4F45-AC41-F363D85E9AFC}" destId="{93607473-A924-433A-9122-7C6ED1C87952}" srcOrd="0" destOrd="0" presId="urn:microsoft.com/office/officeart/2005/8/layout/orgChart1"/>
    <dgm:cxn modelId="{C9B36E7C-4D65-40D8-9714-31B9E61A79AA}" type="presParOf" srcId="{93607473-A924-433A-9122-7C6ED1C87952}" destId="{74E4902C-B9CE-4560-9E7B-7441B48EE5C3}" srcOrd="0" destOrd="0" presId="urn:microsoft.com/office/officeart/2005/8/layout/orgChart1"/>
    <dgm:cxn modelId="{500AFD03-C631-4590-BC7D-F40F5DCB0BCC}" type="presParOf" srcId="{93607473-A924-433A-9122-7C6ED1C87952}" destId="{C5DA8EF8-4F53-43DE-9DAA-190B5AC7B38C}" srcOrd="1" destOrd="0" presId="urn:microsoft.com/office/officeart/2005/8/layout/orgChart1"/>
    <dgm:cxn modelId="{2825A5EB-A78B-4B5A-8443-749653462F56}" type="presParOf" srcId="{42341E44-5565-4F45-AC41-F363D85E9AFC}" destId="{CA88D517-5A95-45E9-B75D-60FF529FEC3C}" srcOrd="1" destOrd="0" presId="urn:microsoft.com/office/officeart/2005/8/layout/orgChart1"/>
    <dgm:cxn modelId="{2A9CC0BF-CF88-468B-B59E-D02C9F8CFD33}" type="presParOf" srcId="{42341E44-5565-4F45-AC41-F363D85E9AFC}" destId="{606AFB84-57A0-4B37-9A07-740822499447}" srcOrd="2" destOrd="0" presId="urn:microsoft.com/office/officeart/2005/8/layout/orgChart1"/>
    <dgm:cxn modelId="{38F3045A-F842-42F8-8D0A-28CAB076457E}" type="presParOf" srcId="{52A97A38-06F9-4F37-AFC1-8EE84E39125B}" destId="{A0BEA156-ECCF-4239-A317-73625B1E1342}" srcOrd="10" destOrd="0" presId="urn:microsoft.com/office/officeart/2005/8/layout/orgChart1"/>
    <dgm:cxn modelId="{15CC564D-5773-4007-AB97-E8BCC9B018E2}" type="presParOf" srcId="{52A97A38-06F9-4F37-AFC1-8EE84E39125B}" destId="{0DC96522-3668-4255-98E6-5BD38BD3302E}" srcOrd="11" destOrd="0" presId="urn:microsoft.com/office/officeart/2005/8/layout/orgChart1"/>
    <dgm:cxn modelId="{F0124D47-61C8-40FF-AC17-8758AF51C22A}" type="presParOf" srcId="{0DC96522-3668-4255-98E6-5BD38BD3302E}" destId="{26D300DB-E46C-4030-A997-47DF2EF18E19}" srcOrd="0" destOrd="0" presId="urn:microsoft.com/office/officeart/2005/8/layout/orgChart1"/>
    <dgm:cxn modelId="{372E84C9-BC9F-461C-A826-01DF40F3640E}" type="presParOf" srcId="{26D300DB-E46C-4030-A997-47DF2EF18E19}" destId="{237F3405-A2B9-49BC-909A-C59170F37284}" srcOrd="0" destOrd="0" presId="urn:microsoft.com/office/officeart/2005/8/layout/orgChart1"/>
    <dgm:cxn modelId="{5350298E-D182-4345-8555-70C304400EF2}" type="presParOf" srcId="{26D300DB-E46C-4030-A997-47DF2EF18E19}" destId="{1D253BC7-DCC8-4E3A-B459-392177C33DAC}" srcOrd="1" destOrd="0" presId="urn:microsoft.com/office/officeart/2005/8/layout/orgChart1"/>
    <dgm:cxn modelId="{3A255C7C-1BBE-4EA5-9A04-47AA92D5371E}" type="presParOf" srcId="{0DC96522-3668-4255-98E6-5BD38BD3302E}" destId="{D77138C9-B93C-4508-9EFC-B6B9A6887162}" srcOrd="1" destOrd="0" presId="urn:microsoft.com/office/officeart/2005/8/layout/orgChart1"/>
    <dgm:cxn modelId="{6963073C-57AF-42C3-A127-CA064D37BBA8}" type="presParOf" srcId="{0DC96522-3668-4255-98E6-5BD38BD3302E}" destId="{13B4496F-3F6C-4A58-BBEC-FA7E2B2E344C}" srcOrd="2" destOrd="0" presId="urn:microsoft.com/office/officeart/2005/8/layout/orgChart1"/>
    <dgm:cxn modelId="{A2AEED49-C39A-4267-8793-52515995FBA3}" type="presParOf" srcId="{35D6DEA2-8CDB-45B0-9440-6FED41772516}" destId="{B7603629-13D7-4A09-AD37-801962CFE87C}" srcOrd="2" destOrd="0" presId="urn:microsoft.com/office/officeart/2005/8/layout/orgChart1"/>
    <dgm:cxn modelId="{9E339030-47A0-48A1-A86A-FA18CF497A4C}" type="presParOf" srcId="{CA822035-7BEB-447D-9F46-140D33B8AEDF}" destId="{91E5345A-8EDC-46D8-A550-F15570D5FE34}" srcOrd="6" destOrd="0" presId="urn:microsoft.com/office/officeart/2005/8/layout/orgChart1"/>
    <dgm:cxn modelId="{BE4337B3-6EE3-4725-83E9-2288D97241A6}" type="presParOf" srcId="{CA822035-7BEB-447D-9F46-140D33B8AEDF}" destId="{42B3B942-8319-45C5-8E2E-485805502891}" srcOrd="7" destOrd="0" presId="urn:microsoft.com/office/officeart/2005/8/layout/orgChart1"/>
    <dgm:cxn modelId="{6D5EB6EC-4CA4-4419-B9E6-60ECE6735C00}" type="presParOf" srcId="{42B3B942-8319-45C5-8E2E-485805502891}" destId="{3E591267-2AB3-43D2-859E-1971E902BFBC}" srcOrd="0" destOrd="0" presId="urn:microsoft.com/office/officeart/2005/8/layout/orgChart1"/>
    <dgm:cxn modelId="{40D2D40C-EBE5-4C46-A454-04EE1FF4897B}" type="presParOf" srcId="{3E591267-2AB3-43D2-859E-1971E902BFBC}" destId="{91D18BC6-84A8-46F6-AACA-66A51F65B7C7}" srcOrd="0" destOrd="0" presId="urn:microsoft.com/office/officeart/2005/8/layout/orgChart1"/>
    <dgm:cxn modelId="{78B43196-877F-46A0-80F4-608C4C6D130F}" type="presParOf" srcId="{3E591267-2AB3-43D2-859E-1971E902BFBC}" destId="{93E42B49-767C-4CB6-ABA0-596F61737D83}" srcOrd="1" destOrd="0" presId="urn:microsoft.com/office/officeart/2005/8/layout/orgChart1"/>
    <dgm:cxn modelId="{3BE96F62-7D8F-48D5-831C-CB3CDF706A47}" type="presParOf" srcId="{42B3B942-8319-45C5-8E2E-485805502891}" destId="{FBAF0FFD-7C5C-414A-9331-0B607E98E593}" srcOrd="1" destOrd="0" presId="urn:microsoft.com/office/officeart/2005/8/layout/orgChart1"/>
    <dgm:cxn modelId="{99A7BA37-7F07-4FB0-8B1B-8C3CAFBFB377}" type="presParOf" srcId="{FBAF0FFD-7C5C-414A-9331-0B607E98E593}" destId="{A9C88D3D-7DB4-4E0C-B617-D87070980AE9}" srcOrd="0" destOrd="0" presId="urn:microsoft.com/office/officeart/2005/8/layout/orgChart1"/>
    <dgm:cxn modelId="{6B8AF963-1433-404A-80F1-3E8B1B8A243A}" type="presParOf" srcId="{FBAF0FFD-7C5C-414A-9331-0B607E98E593}" destId="{CDACC9C8-6F97-4B1A-ACF5-C08FB4910858}" srcOrd="1" destOrd="0" presId="urn:microsoft.com/office/officeart/2005/8/layout/orgChart1"/>
    <dgm:cxn modelId="{FE9CFA68-22FC-4865-AE37-415F8420B9C1}" type="presParOf" srcId="{CDACC9C8-6F97-4B1A-ACF5-C08FB4910858}" destId="{FC206D2F-440E-4E21-802D-4C0C1AE1C76B}" srcOrd="0" destOrd="0" presId="urn:microsoft.com/office/officeart/2005/8/layout/orgChart1"/>
    <dgm:cxn modelId="{C54B9576-4BDC-4FFA-A64A-6D1C1E8CDA7D}" type="presParOf" srcId="{FC206D2F-440E-4E21-802D-4C0C1AE1C76B}" destId="{5CEC28E3-35A5-4F43-A8A4-305B35280045}" srcOrd="0" destOrd="0" presId="urn:microsoft.com/office/officeart/2005/8/layout/orgChart1"/>
    <dgm:cxn modelId="{2D3CA5F7-0081-4B90-B0EF-FA533D140093}" type="presParOf" srcId="{FC206D2F-440E-4E21-802D-4C0C1AE1C76B}" destId="{FA7B7DFC-6CCE-4E57-A384-EEB6EA4AD22F}" srcOrd="1" destOrd="0" presId="urn:microsoft.com/office/officeart/2005/8/layout/orgChart1"/>
    <dgm:cxn modelId="{11E239D8-AE1A-4952-8489-52B15869330F}" type="presParOf" srcId="{CDACC9C8-6F97-4B1A-ACF5-C08FB4910858}" destId="{BA372BE8-EC2B-41D6-979E-3DCFC0795A65}" srcOrd="1" destOrd="0" presId="urn:microsoft.com/office/officeart/2005/8/layout/orgChart1"/>
    <dgm:cxn modelId="{BDCC0976-22A9-4F9B-A20F-B78FAD9A7A84}" type="presParOf" srcId="{CDACC9C8-6F97-4B1A-ACF5-C08FB4910858}" destId="{0DD4734C-2A61-4951-A530-313CCE4FD4BC}" srcOrd="2" destOrd="0" presId="urn:microsoft.com/office/officeart/2005/8/layout/orgChart1"/>
    <dgm:cxn modelId="{43DB58DC-9EB8-4ECD-A329-199DD7CB46E2}" type="presParOf" srcId="{FBAF0FFD-7C5C-414A-9331-0B607E98E593}" destId="{72BE23B4-D2EF-4EC7-88FB-3AA91AF3244F}" srcOrd="2" destOrd="0" presId="urn:microsoft.com/office/officeart/2005/8/layout/orgChart1"/>
    <dgm:cxn modelId="{B35D05FE-6873-449A-8B5F-FF35852D44ED}" type="presParOf" srcId="{FBAF0FFD-7C5C-414A-9331-0B607E98E593}" destId="{59669073-35C2-4A3E-958C-8694C9100FBE}" srcOrd="3" destOrd="0" presId="urn:microsoft.com/office/officeart/2005/8/layout/orgChart1"/>
    <dgm:cxn modelId="{2DC08A5F-478C-4323-A90F-F159F234B358}" type="presParOf" srcId="{59669073-35C2-4A3E-958C-8694C9100FBE}" destId="{54F1BA4E-D802-4F30-A806-DFC010160558}" srcOrd="0" destOrd="0" presId="urn:microsoft.com/office/officeart/2005/8/layout/orgChart1"/>
    <dgm:cxn modelId="{60E8BB71-4493-40E2-9A77-B0729C8DF408}" type="presParOf" srcId="{54F1BA4E-D802-4F30-A806-DFC010160558}" destId="{BF764DE7-EEE7-420C-9F49-12F1D53AFEC5}" srcOrd="0" destOrd="0" presId="urn:microsoft.com/office/officeart/2005/8/layout/orgChart1"/>
    <dgm:cxn modelId="{B679F59A-5F8E-4643-8392-9E69866E9110}" type="presParOf" srcId="{54F1BA4E-D802-4F30-A806-DFC010160558}" destId="{DC373A90-5437-4E47-A750-04D015D43C39}" srcOrd="1" destOrd="0" presId="urn:microsoft.com/office/officeart/2005/8/layout/orgChart1"/>
    <dgm:cxn modelId="{243B4457-7535-47F3-8AA5-E16567C4933E}" type="presParOf" srcId="{59669073-35C2-4A3E-958C-8694C9100FBE}" destId="{9BD4B88A-9DAE-4D34-B67C-689CA9E1BDCA}" srcOrd="1" destOrd="0" presId="urn:microsoft.com/office/officeart/2005/8/layout/orgChart1"/>
    <dgm:cxn modelId="{8A5D4D1F-BEB9-4FAE-87B1-0BAE7DE8FA13}" type="presParOf" srcId="{59669073-35C2-4A3E-958C-8694C9100FBE}" destId="{62019800-3F4E-4377-BA19-9E83229A1B0C}" srcOrd="2" destOrd="0" presId="urn:microsoft.com/office/officeart/2005/8/layout/orgChart1"/>
    <dgm:cxn modelId="{D1E25752-B822-4E19-A575-54535B16CDA3}" type="presParOf" srcId="{FBAF0FFD-7C5C-414A-9331-0B607E98E593}" destId="{9D2B0197-98A0-4B10-86A0-B7C061E13047}" srcOrd="4" destOrd="0" presId="urn:microsoft.com/office/officeart/2005/8/layout/orgChart1"/>
    <dgm:cxn modelId="{3DF19723-4B22-4F95-858D-40D543533BEB}" type="presParOf" srcId="{FBAF0FFD-7C5C-414A-9331-0B607E98E593}" destId="{DEFBF53A-22F0-4CD7-BAC2-EF32346DE785}" srcOrd="5" destOrd="0" presId="urn:microsoft.com/office/officeart/2005/8/layout/orgChart1"/>
    <dgm:cxn modelId="{2C9590FE-BCB1-4A8E-91B6-1DFFFA860ABD}" type="presParOf" srcId="{DEFBF53A-22F0-4CD7-BAC2-EF32346DE785}" destId="{633C8836-DA09-40A1-8671-98F12904E3E4}" srcOrd="0" destOrd="0" presId="urn:microsoft.com/office/officeart/2005/8/layout/orgChart1"/>
    <dgm:cxn modelId="{3631FEA9-ED75-4A41-AC23-D2EC6B001E6F}" type="presParOf" srcId="{633C8836-DA09-40A1-8671-98F12904E3E4}" destId="{3A3B1FA7-5701-43A7-866E-BDB6D4EFED63}" srcOrd="0" destOrd="0" presId="urn:microsoft.com/office/officeart/2005/8/layout/orgChart1"/>
    <dgm:cxn modelId="{BE9C6995-E07B-40F4-BCA6-74B737187718}" type="presParOf" srcId="{633C8836-DA09-40A1-8671-98F12904E3E4}" destId="{53B40C02-8788-48E4-90D8-C4B30F0558A0}" srcOrd="1" destOrd="0" presId="urn:microsoft.com/office/officeart/2005/8/layout/orgChart1"/>
    <dgm:cxn modelId="{B8622654-FCF5-4599-BF37-A3A1A80068B0}" type="presParOf" srcId="{DEFBF53A-22F0-4CD7-BAC2-EF32346DE785}" destId="{378B0773-4FC7-4A53-93A8-C8F3AC1ECF33}" srcOrd="1" destOrd="0" presId="urn:microsoft.com/office/officeart/2005/8/layout/orgChart1"/>
    <dgm:cxn modelId="{379BBF08-46E5-47BF-8905-F2AD035E63F8}" type="presParOf" srcId="{DEFBF53A-22F0-4CD7-BAC2-EF32346DE785}" destId="{A0D94B40-7342-49BE-836E-F6AD94487F24}" srcOrd="2" destOrd="0" presId="urn:microsoft.com/office/officeart/2005/8/layout/orgChart1"/>
    <dgm:cxn modelId="{E519D2AE-898B-4350-8CC1-25BB73308C18}" type="presParOf" srcId="{FBAF0FFD-7C5C-414A-9331-0B607E98E593}" destId="{76723A5C-B773-402D-A371-2FAEEA6EEFD6}" srcOrd="6" destOrd="0" presId="urn:microsoft.com/office/officeart/2005/8/layout/orgChart1"/>
    <dgm:cxn modelId="{0A5D350E-0D2E-479F-BB7D-D98DAC9543FB}" type="presParOf" srcId="{FBAF0FFD-7C5C-414A-9331-0B607E98E593}" destId="{329F48F6-5D41-4E0A-A06E-EA68FA0B4E3D}" srcOrd="7" destOrd="0" presId="urn:microsoft.com/office/officeart/2005/8/layout/orgChart1"/>
    <dgm:cxn modelId="{0B5DAC4E-F4FE-4B1D-B2A3-4C5D4723044A}" type="presParOf" srcId="{329F48F6-5D41-4E0A-A06E-EA68FA0B4E3D}" destId="{0C02E5F4-E0DB-4C47-AB3B-8EAAAE563831}" srcOrd="0" destOrd="0" presId="urn:microsoft.com/office/officeart/2005/8/layout/orgChart1"/>
    <dgm:cxn modelId="{14B74D7B-EE40-41CE-A34A-D05D38FD57AF}" type="presParOf" srcId="{0C02E5F4-E0DB-4C47-AB3B-8EAAAE563831}" destId="{455CAEBE-A923-4494-BE59-7DAEC9E25CE4}" srcOrd="0" destOrd="0" presId="urn:microsoft.com/office/officeart/2005/8/layout/orgChart1"/>
    <dgm:cxn modelId="{9152A905-6BFD-4FAD-9AE1-14FF6D04B603}" type="presParOf" srcId="{0C02E5F4-E0DB-4C47-AB3B-8EAAAE563831}" destId="{F1EAD2DE-8158-4546-9969-16787DA3D6A7}" srcOrd="1" destOrd="0" presId="urn:microsoft.com/office/officeart/2005/8/layout/orgChart1"/>
    <dgm:cxn modelId="{2665EBCC-7F0F-4EEE-965D-3AC7A64DCE68}" type="presParOf" srcId="{329F48F6-5D41-4E0A-A06E-EA68FA0B4E3D}" destId="{3888CA46-0F71-4AEE-853F-BDDEAA356B49}" srcOrd="1" destOrd="0" presId="urn:microsoft.com/office/officeart/2005/8/layout/orgChart1"/>
    <dgm:cxn modelId="{500FBFD5-2DF4-4BB6-9B79-B449D5C13E7B}" type="presParOf" srcId="{329F48F6-5D41-4E0A-A06E-EA68FA0B4E3D}" destId="{0CC72246-DB7A-4CE5-981A-10AEA3A8B23A}" srcOrd="2" destOrd="0" presId="urn:microsoft.com/office/officeart/2005/8/layout/orgChart1"/>
    <dgm:cxn modelId="{6C83AD5F-0243-465B-AA5C-03B1B91EB678}" type="presParOf" srcId="{FBAF0FFD-7C5C-414A-9331-0B607E98E593}" destId="{40423CBF-2FEE-4522-9530-354121784106}" srcOrd="8" destOrd="0" presId="urn:microsoft.com/office/officeart/2005/8/layout/orgChart1"/>
    <dgm:cxn modelId="{9553C6F3-CBE4-4185-828C-C9E30D723C62}" type="presParOf" srcId="{FBAF0FFD-7C5C-414A-9331-0B607E98E593}" destId="{DDFC38C9-6C0C-4F18-83B2-C8B63312A951}" srcOrd="9" destOrd="0" presId="urn:microsoft.com/office/officeart/2005/8/layout/orgChart1"/>
    <dgm:cxn modelId="{717CBBF2-85F2-4ED2-BF75-D07B1F1617D6}" type="presParOf" srcId="{DDFC38C9-6C0C-4F18-83B2-C8B63312A951}" destId="{612DCE91-3CD7-4A80-8FE6-EAC04348F6CE}" srcOrd="0" destOrd="0" presId="urn:microsoft.com/office/officeart/2005/8/layout/orgChart1"/>
    <dgm:cxn modelId="{20E07C68-DFC7-4D40-B8E6-B94550AB48B0}" type="presParOf" srcId="{612DCE91-3CD7-4A80-8FE6-EAC04348F6CE}" destId="{91893F05-4F97-4DE1-AC35-A3FD03AB1003}" srcOrd="0" destOrd="0" presId="urn:microsoft.com/office/officeart/2005/8/layout/orgChart1"/>
    <dgm:cxn modelId="{FE377A2E-2B98-4DE3-B473-8A1BE054E6E1}" type="presParOf" srcId="{612DCE91-3CD7-4A80-8FE6-EAC04348F6CE}" destId="{58D6B554-FF8B-4779-9985-06C082A0C4DD}" srcOrd="1" destOrd="0" presId="urn:microsoft.com/office/officeart/2005/8/layout/orgChart1"/>
    <dgm:cxn modelId="{5E4082CE-2E2C-4E24-885A-E7392D28DCEA}" type="presParOf" srcId="{DDFC38C9-6C0C-4F18-83B2-C8B63312A951}" destId="{8C9823E9-EBE0-45FF-82D8-11A01667E35A}" srcOrd="1" destOrd="0" presId="urn:microsoft.com/office/officeart/2005/8/layout/orgChart1"/>
    <dgm:cxn modelId="{90EE753E-4AA1-4EE1-8867-720193759FFE}" type="presParOf" srcId="{DDFC38C9-6C0C-4F18-83B2-C8B63312A951}" destId="{6CCE54D1-C9BD-4AE9-A0F1-7842D816F880}" srcOrd="2" destOrd="0" presId="urn:microsoft.com/office/officeart/2005/8/layout/orgChart1"/>
    <dgm:cxn modelId="{BAA50023-A976-4960-8F1D-6AB15E5A69F2}" type="presParOf" srcId="{FBAF0FFD-7C5C-414A-9331-0B607E98E593}" destId="{E2038159-00B7-42F4-9843-2176862D5A48}" srcOrd="10" destOrd="0" presId="urn:microsoft.com/office/officeart/2005/8/layout/orgChart1"/>
    <dgm:cxn modelId="{6BA4A6DC-4F0D-45C2-84DD-944E2DFC76D1}" type="presParOf" srcId="{FBAF0FFD-7C5C-414A-9331-0B607E98E593}" destId="{377CCA4B-CDFE-477C-AD9C-617E1EFC4640}" srcOrd="11" destOrd="0" presId="urn:microsoft.com/office/officeart/2005/8/layout/orgChart1"/>
    <dgm:cxn modelId="{AD3080C4-D6AA-4833-AC94-20ADB6831B2E}" type="presParOf" srcId="{377CCA4B-CDFE-477C-AD9C-617E1EFC4640}" destId="{8A4EE17E-611F-4A7D-B571-EC88C6AFB729}" srcOrd="0" destOrd="0" presId="urn:microsoft.com/office/officeart/2005/8/layout/orgChart1"/>
    <dgm:cxn modelId="{5ADDDE62-1B62-4D73-8E05-6EEFD36913CD}" type="presParOf" srcId="{8A4EE17E-611F-4A7D-B571-EC88C6AFB729}" destId="{951E3E53-BC2F-4245-B79C-B2187531E7DE}" srcOrd="0" destOrd="0" presId="urn:microsoft.com/office/officeart/2005/8/layout/orgChart1"/>
    <dgm:cxn modelId="{61CD49C2-54C4-439D-AC4A-5169850F7DDB}" type="presParOf" srcId="{8A4EE17E-611F-4A7D-B571-EC88C6AFB729}" destId="{14CAB009-50FB-4162-8534-5C800001989E}" srcOrd="1" destOrd="0" presId="urn:microsoft.com/office/officeart/2005/8/layout/orgChart1"/>
    <dgm:cxn modelId="{0CE89BB3-E520-4D65-AC8B-A6FF5BBC4A90}" type="presParOf" srcId="{377CCA4B-CDFE-477C-AD9C-617E1EFC4640}" destId="{0CBC5C3F-B634-4375-A91D-E034392A3ED7}" srcOrd="1" destOrd="0" presId="urn:microsoft.com/office/officeart/2005/8/layout/orgChart1"/>
    <dgm:cxn modelId="{F817388E-9303-45B9-BDB3-49A6245BB714}" type="presParOf" srcId="{377CCA4B-CDFE-477C-AD9C-617E1EFC4640}" destId="{1DBA6F90-C3DA-4690-A268-D6E6557F86AB}" srcOrd="2" destOrd="0" presId="urn:microsoft.com/office/officeart/2005/8/layout/orgChart1"/>
    <dgm:cxn modelId="{24C24AA2-1228-455E-9874-C4D20017DB61}" type="presParOf" srcId="{42B3B942-8319-45C5-8E2E-485805502891}" destId="{4879E6D0-9213-4820-AD2F-37F6ABD0EDF2}" srcOrd="2" destOrd="0" presId="urn:microsoft.com/office/officeart/2005/8/layout/orgChart1"/>
    <dgm:cxn modelId="{BC0231B3-6CB7-4758-A45E-53326C2CFE55}" type="presParOf" srcId="{0E4E3522-5C61-476D-96A4-E04E03D11441}" destId="{5E3C21A8-634A-44B4-BD6E-CC897C86C15A}"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6BE5173-42AA-4ADD-AE99-54AFF747C984}" type="doc">
      <dgm:prSet loTypeId="urn:microsoft.com/office/officeart/2005/8/layout/orgChart1" loCatId="hierarchy" qsTypeId="urn:microsoft.com/office/officeart/2005/8/quickstyle/simple5" qsCatId="simple" csTypeId="urn:microsoft.com/office/officeart/2005/8/colors/accent3_1" csCatId="accent3" phldr="1"/>
      <dgm:spPr/>
      <dgm:t>
        <a:bodyPr/>
        <a:lstStyle/>
        <a:p>
          <a:endParaRPr lang="en-US"/>
        </a:p>
      </dgm:t>
    </dgm:pt>
    <dgm:pt modelId="{B4EDA48B-14EF-4CEB-A204-56BD09392C12}">
      <dgm:prSet phldrT="[Text]" custT="1"/>
      <dgm:spPr/>
      <dgm:t>
        <a:bodyPr/>
        <a:lstStyle/>
        <a:p>
          <a:r>
            <a:rPr lang="en-US" sz="1600" b="1" dirty="0">
              <a:latin typeface="Century Gothic" panose="020B0502020202020204" pitchFamily="34" charset="0"/>
              <a:cs typeface="Calibri" pitchFamily="34" charset="0"/>
            </a:rPr>
            <a:t>Partner Super</a:t>
          </a:r>
        </a:p>
      </dgm:t>
    </dgm:pt>
    <dgm:pt modelId="{B2F1A534-16F5-425A-9356-BD6BC345FFC2}" type="parTrans" cxnId="{E0F54ABF-F1B1-495C-86A5-96F1EE82A2FB}">
      <dgm:prSet/>
      <dgm:spPr/>
      <dgm:t>
        <a:bodyPr/>
        <a:lstStyle/>
        <a:p>
          <a:endParaRPr lang="en-US" sz="1600" b="1">
            <a:latin typeface="Century Gothic" panose="020B0502020202020204" pitchFamily="34" charset="0"/>
            <a:cs typeface="Calibri" pitchFamily="34" charset="0"/>
          </a:endParaRPr>
        </a:p>
      </dgm:t>
    </dgm:pt>
    <dgm:pt modelId="{55012494-AECD-4153-975C-38A5F3D55044}" type="sibTrans" cxnId="{E0F54ABF-F1B1-495C-86A5-96F1EE82A2FB}">
      <dgm:prSet/>
      <dgm:spPr/>
      <dgm:t>
        <a:bodyPr/>
        <a:lstStyle/>
        <a:p>
          <a:endParaRPr lang="en-US" sz="1600" b="1">
            <a:latin typeface="Century Gothic" panose="020B0502020202020204" pitchFamily="34" charset="0"/>
            <a:cs typeface="Calibri" pitchFamily="34" charset="0"/>
          </a:endParaRPr>
        </a:p>
      </dgm:t>
    </dgm:pt>
    <dgm:pt modelId="{3E4B0800-563D-4C2E-994B-A5B8F242A6C2}">
      <dgm:prSet phldrT="[Text]" custT="1"/>
      <dgm:spPr/>
      <dgm:t>
        <a:bodyPr/>
        <a:lstStyle/>
        <a:p>
          <a:r>
            <a:rPr lang="en-US" sz="1600" b="1" dirty="0">
              <a:latin typeface="Century Gothic" panose="020B0502020202020204" pitchFamily="34" charset="0"/>
              <a:cs typeface="Calibri" pitchFamily="34" charset="0"/>
            </a:rPr>
            <a:t>10 T</a:t>
          </a:r>
        </a:p>
      </dgm:t>
    </dgm:pt>
    <dgm:pt modelId="{7ED1547E-FDEE-45DD-B8B2-F82B8B99E96A}" type="parTrans" cxnId="{EB378534-E8B6-4DEE-A164-34F0C71182AF}">
      <dgm:prSet/>
      <dgm:spPr/>
      <dgm:t>
        <a:bodyPr/>
        <a:lstStyle/>
        <a:p>
          <a:endParaRPr lang="en-US" sz="1600" b="1">
            <a:latin typeface="Century Gothic" panose="020B0502020202020204" pitchFamily="34" charset="0"/>
            <a:cs typeface="Calibri" pitchFamily="34" charset="0"/>
          </a:endParaRPr>
        </a:p>
      </dgm:t>
    </dgm:pt>
    <dgm:pt modelId="{AECCB558-C2BD-45BF-9AF3-CE66BB6130DF}" type="sibTrans" cxnId="{EB378534-E8B6-4DEE-A164-34F0C71182AF}">
      <dgm:prSet/>
      <dgm:spPr/>
      <dgm:t>
        <a:bodyPr/>
        <a:lstStyle/>
        <a:p>
          <a:endParaRPr lang="en-US" sz="1600" b="1">
            <a:latin typeface="Century Gothic" panose="020B0502020202020204" pitchFamily="34" charset="0"/>
            <a:cs typeface="Calibri" pitchFamily="34" charset="0"/>
          </a:endParaRPr>
        </a:p>
      </dgm:t>
    </dgm:pt>
    <dgm:pt modelId="{A4F3CB2E-1B38-4B04-9E8F-BAE3FB4028E0}">
      <dgm:prSet phldrT="[Text]" custT="1"/>
      <dgm:spPr/>
      <dgm:t>
        <a:bodyPr/>
        <a:lstStyle/>
        <a:p>
          <a:r>
            <a:rPr lang="en-US" sz="1600" b="1" dirty="0">
              <a:latin typeface="Century Gothic" panose="020B0502020202020204" pitchFamily="34" charset="0"/>
              <a:cs typeface="Calibri" pitchFamily="34" charset="0"/>
            </a:rPr>
            <a:t>11T</a:t>
          </a:r>
        </a:p>
      </dgm:t>
    </dgm:pt>
    <dgm:pt modelId="{2B5F5A8C-3980-48AC-9FD8-68CB7F72D1B6}" type="parTrans" cxnId="{8AF9D82D-36E4-451F-BDCE-560F74AA1AC6}">
      <dgm:prSet/>
      <dgm:spPr/>
      <dgm:t>
        <a:bodyPr/>
        <a:lstStyle/>
        <a:p>
          <a:endParaRPr lang="en-US" sz="1600" b="1">
            <a:latin typeface="Century Gothic" panose="020B0502020202020204" pitchFamily="34" charset="0"/>
            <a:cs typeface="Calibri" pitchFamily="34" charset="0"/>
          </a:endParaRPr>
        </a:p>
      </dgm:t>
    </dgm:pt>
    <dgm:pt modelId="{E1E875C2-69B9-479A-B3E2-BFD8A7E31814}" type="sibTrans" cxnId="{8AF9D82D-36E4-451F-BDCE-560F74AA1AC6}">
      <dgm:prSet/>
      <dgm:spPr/>
      <dgm:t>
        <a:bodyPr/>
        <a:lstStyle/>
        <a:p>
          <a:endParaRPr lang="en-US" sz="1600" b="1">
            <a:latin typeface="Century Gothic" panose="020B0502020202020204" pitchFamily="34" charset="0"/>
            <a:cs typeface="Calibri" pitchFamily="34" charset="0"/>
          </a:endParaRPr>
        </a:p>
      </dgm:t>
    </dgm:pt>
    <dgm:pt modelId="{370830BE-8FD2-4276-8151-FB395B5AD7B4}">
      <dgm:prSet phldrT="[Text]" custT="1"/>
      <dgm:spPr/>
      <dgm:t>
        <a:bodyPr/>
        <a:lstStyle/>
        <a:p>
          <a:r>
            <a:rPr lang="en-US" sz="1600" b="1" dirty="0">
              <a:latin typeface="Century Gothic" panose="020B0502020202020204" pitchFamily="34" charset="0"/>
              <a:cs typeface="Calibri" pitchFamily="34" charset="0"/>
            </a:rPr>
            <a:t>9T</a:t>
          </a:r>
        </a:p>
      </dgm:t>
    </dgm:pt>
    <dgm:pt modelId="{64235E44-450B-45F2-839C-FEC7005067D8}" type="parTrans" cxnId="{A0F1A329-B433-4140-98EB-AB03F273D3DF}">
      <dgm:prSet/>
      <dgm:spPr/>
      <dgm:t>
        <a:bodyPr/>
        <a:lstStyle/>
        <a:p>
          <a:endParaRPr lang="en-US" sz="1600"/>
        </a:p>
      </dgm:t>
    </dgm:pt>
    <dgm:pt modelId="{87F7105B-2DB6-4F1A-B499-1805F67E456D}" type="sibTrans" cxnId="{A0F1A329-B433-4140-98EB-AB03F273D3DF}">
      <dgm:prSet/>
      <dgm:spPr/>
      <dgm:t>
        <a:bodyPr/>
        <a:lstStyle/>
        <a:p>
          <a:endParaRPr lang="en-US" sz="1600"/>
        </a:p>
      </dgm:t>
    </dgm:pt>
    <dgm:pt modelId="{4D269F7E-36CD-4C27-A7BB-2E02EFAEF4F3}">
      <dgm:prSet phldrT="[Text]" custT="1"/>
      <dgm:spPr/>
      <dgm:t>
        <a:bodyPr/>
        <a:lstStyle/>
        <a:p>
          <a:r>
            <a:rPr lang="en-US" sz="1600" b="1" dirty="0">
              <a:latin typeface="Century Gothic" panose="020B0502020202020204" pitchFamily="34" charset="0"/>
              <a:cs typeface="Calibri" pitchFamily="34" charset="0"/>
            </a:rPr>
            <a:t>8.25X16</a:t>
          </a:r>
        </a:p>
      </dgm:t>
    </dgm:pt>
    <dgm:pt modelId="{162099D6-E6D9-4F2A-881D-52EC6D015268}" type="parTrans" cxnId="{7FA93C26-4721-42F4-A8C9-9A15CB8451C8}">
      <dgm:prSet/>
      <dgm:spPr/>
      <dgm:t>
        <a:bodyPr/>
        <a:lstStyle/>
        <a:p>
          <a:endParaRPr lang="en-US" sz="1600"/>
        </a:p>
      </dgm:t>
    </dgm:pt>
    <dgm:pt modelId="{8D422214-60B1-4C25-ABC2-95665BF3F2E5}" type="sibTrans" cxnId="{7FA93C26-4721-42F4-A8C9-9A15CB8451C8}">
      <dgm:prSet/>
      <dgm:spPr/>
      <dgm:t>
        <a:bodyPr/>
        <a:lstStyle/>
        <a:p>
          <a:endParaRPr lang="en-US" sz="1600"/>
        </a:p>
      </dgm:t>
    </dgm:pt>
    <dgm:pt modelId="{20A3093F-B6A8-4080-9FD5-76064589B12C}">
      <dgm:prSet phldrT="[Text]" custT="1"/>
      <dgm:spPr/>
      <dgm:t>
        <a:bodyPr/>
        <a:lstStyle/>
        <a:p>
          <a:r>
            <a:rPr lang="en-US" sz="1600" b="1" dirty="0">
              <a:latin typeface="Century Gothic" panose="020B0502020202020204" pitchFamily="34" charset="0"/>
              <a:cs typeface="Calibri" pitchFamily="34" charset="0"/>
            </a:rPr>
            <a:t>8.25X16</a:t>
          </a:r>
        </a:p>
      </dgm:t>
    </dgm:pt>
    <dgm:pt modelId="{4A2DF58D-C0E8-4E59-A040-E3DFCBAC482A}" type="parTrans" cxnId="{879084CD-E9C0-4897-9204-84415B00A80A}">
      <dgm:prSet/>
      <dgm:spPr/>
      <dgm:t>
        <a:bodyPr/>
        <a:lstStyle/>
        <a:p>
          <a:endParaRPr lang="en-US" sz="1600"/>
        </a:p>
      </dgm:t>
    </dgm:pt>
    <dgm:pt modelId="{25F6826C-8B9F-45A1-BBFD-7951B1583815}" type="sibTrans" cxnId="{879084CD-E9C0-4897-9204-84415B00A80A}">
      <dgm:prSet/>
      <dgm:spPr/>
      <dgm:t>
        <a:bodyPr/>
        <a:lstStyle/>
        <a:p>
          <a:endParaRPr lang="en-US" sz="1600"/>
        </a:p>
      </dgm:t>
    </dgm:pt>
    <dgm:pt modelId="{F57176CA-E231-4710-AA17-BA753DA31249}">
      <dgm:prSet phldrT="[Text]" custT="1"/>
      <dgm:spPr/>
      <dgm:t>
        <a:bodyPr/>
        <a:lstStyle/>
        <a:p>
          <a:r>
            <a:rPr lang="en-US" sz="1600" b="1" dirty="0">
              <a:latin typeface="Century Gothic" panose="020B0502020202020204" pitchFamily="34" charset="0"/>
              <a:cs typeface="Calibri" pitchFamily="34" charset="0"/>
            </a:rPr>
            <a:t>14’ HSD</a:t>
          </a:r>
        </a:p>
      </dgm:t>
    </dgm:pt>
    <dgm:pt modelId="{537E5373-DADB-45E7-B84E-C986F8B03B56}" type="parTrans" cxnId="{D5844AD9-35EA-4BC8-8CB6-39632737E939}">
      <dgm:prSet/>
      <dgm:spPr/>
      <dgm:t>
        <a:bodyPr/>
        <a:lstStyle/>
        <a:p>
          <a:endParaRPr lang="en-US" sz="1600"/>
        </a:p>
      </dgm:t>
    </dgm:pt>
    <dgm:pt modelId="{82E96B47-1C77-4601-A55D-047E50F80AE1}" type="sibTrans" cxnId="{D5844AD9-35EA-4BC8-8CB6-39632737E939}">
      <dgm:prSet/>
      <dgm:spPr/>
      <dgm:t>
        <a:bodyPr/>
        <a:lstStyle/>
        <a:p>
          <a:endParaRPr lang="en-US" sz="1600"/>
        </a:p>
      </dgm:t>
    </dgm:pt>
    <dgm:pt modelId="{171B3365-0E24-4AE4-BBD0-092EB1A7B0F5}">
      <dgm:prSet phldrT="[Text]" custT="1"/>
      <dgm:spPr>
        <a:solidFill>
          <a:schemeClr val="bg1"/>
        </a:solidFill>
      </dgm:spPr>
      <dgm:t>
        <a:bodyPr/>
        <a:lstStyle/>
        <a:p>
          <a:r>
            <a:rPr lang="en-US" sz="1600" b="1" dirty="0">
              <a:latin typeface="Century Gothic" panose="020B0502020202020204" pitchFamily="34" charset="0"/>
              <a:cs typeface="Calibri" pitchFamily="34" charset="0"/>
            </a:rPr>
            <a:t>17’ HSD </a:t>
          </a:r>
        </a:p>
      </dgm:t>
    </dgm:pt>
    <dgm:pt modelId="{68BB3B19-29EA-43BD-ACAE-379709371974}" type="parTrans" cxnId="{CFB0EE23-13EA-4E48-B32B-5B2577381863}">
      <dgm:prSet/>
      <dgm:spPr/>
      <dgm:t>
        <a:bodyPr/>
        <a:lstStyle/>
        <a:p>
          <a:endParaRPr lang="en-US" sz="1600"/>
        </a:p>
      </dgm:t>
    </dgm:pt>
    <dgm:pt modelId="{1335F49A-77BA-4927-B034-EF2B3F5FF4F7}" type="sibTrans" cxnId="{CFB0EE23-13EA-4E48-B32B-5B2577381863}">
      <dgm:prSet/>
      <dgm:spPr/>
      <dgm:t>
        <a:bodyPr/>
        <a:lstStyle/>
        <a:p>
          <a:endParaRPr lang="en-US" sz="1600"/>
        </a:p>
      </dgm:t>
    </dgm:pt>
    <dgm:pt modelId="{BBFE14DD-5302-4F02-94B7-DF49461AB877}">
      <dgm:prSet phldrT="[Text]" custT="1"/>
      <dgm:spPr>
        <a:solidFill>
          <a:schemeClr val="bg1"/>
        </a:solidFill>
      </dgm:spPr>
      <dgm:t>
        <a:bodyPr/>
        <a:lstStyle/>
        <a:p>
          <a:r>
            <a:rPr lang="en-US" sz="1600" b="1" dirty="0">
              <a:latin typeface="Century Gothic" panose="020B0502020202020204" pitchFamily="34" charset="0"/>
              <a:cs typeface="Calibri" pitchFamily="34" charset="0"/>
            </a:rPr>
            <a:t>20’ HSD</a:t>
          </a:r>
        </a:p>
      </dgm:t>
    </dgm:pt>
    <dgm:pt modelId="{9B5DCC2C-B65A-4219-B0EF-F196CCA24B3B}" type="parTrans" cxnId="{1B91FA66-9C21-4F54-9C3D-2177A9831A44}">
      <dgm:prSet/>
      <dgm:spPr/>
      <dgm:t>
        <a:bodyPr/>
        <a:lstStyle/>
        <a:p>
          <a:endParaRPr lang="en-US" sz="1600"/>
        </a:p>
      </dgm:t>
    </dgm:pt>
    <dgm:pt modelId="{1042E91F-1A7B-49D4-BFAE-2A37B987DA0A}" type="sibTrans" cxnId="{1B91FA66-9C21-4F54-9C3D-2177A9831A44}">
      <dgm:prSet/>
      <dgm:spPr/>
      <dgm:t>
        <a:bodyPr/>
        <a:lstStyle/>
        <a:p>
          <a:endParaRPr lang="en-US" sz="1600"/>
        </a:p>
      </dgm:t>
    </dgm:pt>
    <dgm:pt modelId="{AE8D84EC-5723-4E70-82C0-278F08BA7CB7}">
      <dgm:prSet phldrT="[Text]" custT="1"/>
      <dgm:spPr>
        <a:solidFill>
          <a:schemeClr val="bg1"/>
        </a:solidFill>
      </dgm:spPr>
      <dgm:t>
        <a:bodyPr/>
        <a:lstStyle/>
        <a:p>
          <a:r>
            <a:rPr lang="en-US" sz="1600" b="1" dirty="0">
              <a:latin typeface="Century Gothic" panose="020B0502020202020204" pitchFamily="34" charset="0"/>
              <a:cs typeface="Calibri" pitchFamily="34" charset="0"/>
            </a:rPr>
            <a:t>22’ HSD</a:t>
          </a:r>
        </a:p>
      </dgm:t>
    </dgm:pt>
    <dgm:pt modelId="{2F7608ED-20AF-4261-BF52-008AC1C4716C}" type="parTrans" cxnId="{F0292B4E-C878-4E0C-9720-8CD4519FB8D8}">
      <dgm:prSet/>
      <dgm:spPr/>
      <dgm:t>
        <a:bodyPr/>
        <a:lstStyle/>
        <a:p>
          <a:endParaRPr lang="en-US" sz="1600"/>
        </a:p>
      </dgm:t>
    </dgm:pt>
    <dgm:pt modelId="{E1A39F60-F431-4EC5-BA59-5E60E22C87E2}" type="sibTrans" cxnId="{F0292B4E-C878-4E0C-9720-8CD4519FB8D8}">
      <dgm:prSet/>
      <dgm:spPr/>
      <dgm:t>
        <a:bodyPr/>
        <a:lstStyle/>
        <a:p>
          <a:endParaRPr lang="en-US" sz="1600"/>
        </a:p>
      </dgm:t>
    </dgm:pt>
    <dgm:pt modelId="{47DDA215-7E87-42C8-8F89-99BDABE92420}">
      <dgm:prSet phldrT="[Text]" custT="1"/>
      <dgm:spPr/>
      <dgm:t>
        <a:bodyPr/>
        <a:lstStyle/>
        <a:p>
          <a:r>
            <a:rPr lang="en-US" sz="1600" b="1" dirty="0">
              <a:latin typeface="Century Gothic" panose="020B0502020202020204" pitchFamily="34" charset="0"/>
              <a:cs typeface="Calibri" pitchFamily="34" charset="0"/>
            </a:rPr>
            <a:t>14’ HSD</a:t>
          </a:r>
        </a:p>
      </dgm:t>
    </dgm:pt>
    <dgm:pt modelId="{C49289AF-BFB5-4B8E-852E-EDF462FC02B4}" type="parTrans" cxnId="{E65C443C-00DF-4A33-B1FC-7821100BBD60}">
      <dgm:prSet/>
      <dgm:spPr/>
      <dgm:t>
        <a:bodyPr/>
        <a:lstStyle/>
        <a:p>
          <a:endParaRPr lang="en-US" sz="1600"/>
        </a:p>
      </dgm:t>
    </dgm:pt>
    <dgm:pt modelId="{23B6AB65-5484-4257-9626-C03597E64F47}" type="sibTrans" cxnId="{E65C443C-00DF-4A33-B1FC-7821100BBD60}">
      <dgm:prSet/>
      <dgm:spPr/>
      <dgm:t>
        <a:bodyPr/>
        <a:lstStyle/>
        <a:p>
          <a:endParaRPr lang="en-US" sz="1600"/>
        </a:p>
      </dgm:t>
    </dgm:pt>
    <dgm:pt modelId="{7A3340B5-7CC3-4BE9-AFFF-65CC2989375C}">
      <dgm:prSet phldrT="[Text]" custT="1"/>
      <dgm:spPr>
        <a:solidFill>
          <a:schemeClr val="bg1"/>
        </a:solidFill>
        <a:ln>
          <a:noFill/>
        </a:ln>
      </dgm:spPr>
      <dgm:t>
        <a:bodyPr/>
        <a:lstStyle/>
        <a:p>
          <a:r>
            <a:rPr lang="en-US" sz="1600" b="1" dirty="0">
              <a:latin typeface="Century Gothic" panose="020B0502020202020204" pitchFamily="34" charset="0"/>
              <a:cs typeface="Calibri" pitchFamily="34" charset="0"/>
            </a:rPr>
            <a:t>17’ HSD </a:t>
          </a:r>
        </a:p>
      </dgm:t>
    </dgm:pt>
    <dgm:pt modelId="{3BE0094B-BCCD-4925-9561-8962453B70DF}" type="parTrans" cxnId="{E1991020-203A-4D85-A717-146240365C7E}">
      <dgm:prSet/>
      <dgm:spPr/>
      <dgm:t>
        <a:bodyPr/>
        <a:lstStyle/>
        <a:p>
          <a:endParaRPr lang="en-US" sz="1600"/>
        </a:p>
      </dgm:t>
    </dgm:pt>
    <dgm:pt modelId="{44E8A7BC-54CF-417F-8513-BD0CF4B537AD}" type="sibTrans" cxnId="{E1991020-203A-4D85-A717-146240365C7E}">
      <dgm:prSet/>
      <dgm:spPr/>
      <dgm:t>
        <a:bodyPr/>
        <a:lstStyle/>
        <a:p>
          <a:endParaRPr lang="en-US" sz="1600"/>
        </a:p>
      </dgm:t>
    </dgm:pt>
    <dgm:pt modelId="{48E3D868-0A55-41B1-AF3C-59F36C3BA059}">
      <dgm:prSet phldrT="[Text]" custT="1"/>
      <dgm:spPr>
        <a:solidFill>
          <a:schemeClr val="bg1"/>
        </a:solidFill>
      </dgm:spPr>
      <dgm:t>
        <a:bodyPr/>
        <a:lstStyle/>
        <a:p>
          <a:r>
            <a:rPr lang="en-US" sz="1600" b="1" dirty="0">
              <a:latin typeface="Century Gothic" panose="020B0502020202020204" pitchFamily="34" charset="0"/>
              <a:cs typeface="Calibri" pitchFamily="34" charset="0"/>
            </a:rPr>
            <a:t>20’ HSD</a:t>
          </a:r>
        </a:p>
      </dgm:t>
    </dgm:pt>
    <dgm:pt modelId="{6EF3DF2F-7D17-42E1-BD75-2544A3002A2E}" type="parTrans" cxnId="{C692ED0D-56F1-4CBF-B76B-9155603B9A5E}">
      <dgm:prSet/>
      <dgm:spPr/>
      <dgm:t>
        <a:bodyPr/>
        <a:lstStyle/>
        <a:p>
          <a:endParaRPr lang="en-US" sz="1600"/>
        </a:p>
      </dgm:t>
    </dgm:pt>
    <dgm:pt modelId="{20588E51-230F-4C91-BFF3-8FD9A0F6C70E}" type="sibTrans" cxnId="{C692ED0D-56F1-4CBF-B76B-9155603B9A5E}">
      <dgm:prSet/>
      <dgm:spPr/>
      <dgm:t>
        <a:bodyPr/>
        <a:lstStyle/>
        <a:p>
          <a:endParaRPr lang="en-US" sz="1600"/>
        </a:p>
      </dgm:t>
    </dgm:pt>
    <dgm:pt modelId="{5C20C522-B038-4AEA-A5CB-7A6639FD41F5}">
      <dgm:prSet phldrT="[Text]" custT="1"/>
      <dgm:spPr>
        <a:solidFill>
          <a:schemeClr val="bg1"/>
        </a:solidFill>
      </dgm:spPr>
      <dgm:t>
        <a:bodyPr/>
        <a:lstStyle/>
        <a:p>
          <a:r>
            <a:rPr lang="en-US" sz="1600" b="1" dirty="0">
              <a:latin typeface="Century Gothic" panose="020B0502020202020204" pitchFamily="34" charset="0"/>
              <a:cs typeface="Calibri" pitchFamily="34" charset="0"/>
            </a:rPr>
            <a:t>22’ HSD</a:t>
          </a:r>
        </a:p>
      </dgm:t>
    </dgm:pt>
    <dgm:pt modelId="{A70EA753-D44D-4A2D-B3C1-277E96EFF016}" type="parTrans" cxnId="{A2F88ECB-72EC-42D4-A8A7-0EAF12242415}">
      <dgm:prSet/>
      <dgm:spPr/>
      <dgm:t>
        <a:bodyPr/>
        <a:lstStyle/>
        <a:p>
          <a:endParaRPr lang="en-US" sz="1600"/>
        </a:p>
      </dgm:t>
    </dgm:pt>
    <dgm:pt modelId="{782D527F-B241-41BF-9BAF-5B663EBBF12C}" type="sibTrans" cxnId="{A2F88ECB-72EC-42D4-A8A7-0EAF12242415}">
      <dgm:prSet/>
      <dgm:spPr/>
      <dgm:t>
        <a:bodyPr/>
        <a:lstStyle/>
        <a:p>
          <a:endParaRPr lang="en-US" sz="1600"/>
        </a:p>
      </dgm:t>
    </dgm:pt>
    <dgm:pt modelId="{2D28169C-6775-4DB2-8331-647006AEFB5F}">
      <dgm:prSet phldrT="[Text]" custT="1"/>
      <dgm:spPr/>
      <dgm:t>
        <a:bodyPr/>
        <a:lstStyle/>
        <a:p>
          <a:r>
            <a:rPr lang="en-US" sz="1600" b="1" dirty="0">
              <a:latin typeface="Century Gothic" panose="020B0502020202020204" pitchFamily="34" charset="0"/>
              <a:cs typeface="Calibri" pitchFamily="34" charset="0"/>
            </a:rPr>
            <a:t>7.50X16</a:t>
          </a:r>
        </a:p>
      </dgm:t>
    </dgm:pt>
    <dgm:pt modelId="{D48BAEDC-DA29-471C-9D29-726560BE5721}" type="parTrans" cxnId="{489F679A-8999-4200-BCEF-1D7D23B729BF}">
      <dgm:prSet/>
      <dgm:spPr/>
      <dgm:t>
        <a:bodyPr/>
        <a:lstStyle/>
        <a:p>
          <a:endParaRPr lang="en-US" sz="1600"/>
        </a:p>
      </dgm:t>
    </dgm:pt>
    <dgm:pt modelId="{FBB11CEF-3982-4916-A13D-E5111182D2B3}" type="sibTrans" cxnId="{489F679A-8999-4200-BCEF-1D7D23B729BF}">
      <dgm:prSet/>
      <dgm:spPr/>
      <dgm:t>
        <a:bodyPr/>
        <a:lstStyle/>
        <a:p>
          <a:endParaRPr lang="en-US" sz="1600"/>
        </a:p>
      </dgm:t>
    </dgm:pt>
    <dgm:pt modelId="{1D12B59F-F23A-42F1-807C-8BC50B329EAF}">
      <dgm:prSet phldrT="[Text]" custT="1"/>
      <dgm:spPr/>
      <dgm:t>
        <a:bodyPr/>
        <a:lstStyle/>
        <a:p>
          <a:r>
            <a:rPr lang="en-US" sz="1600" b="1" dirty="0">
              <a:latin typeface="Century Gothic" panose="020B0502020202020204" pitchFamily="34" charset="0"/>
              <a:cs typeface="Calibri" pitchFamily="34" charset="0"/>
            </a:rPr>
            <a:t>14’ HSD</a:t>
          </a:r>
        </a:p>
      </dgm:t>
    </dgm:pt>
    <dgm:pt modelId="{7E1C32CF-E338-4C36-B6A9-756454882470}" type="parTrans" cxnId="{0E8D555C-7E90-4DA4-9FC4-C7764D41D2BB}">
      <dgm:prSet/>
      <dgm:spPr/>
      <dgm:t>
        <a:bodyPr/>
        <a:lstStyle/>
        <a:p>
          <a:endParaRPr lang="en-US" sz="1600"/>
        </a:p>
      </dgm:t>
    </dgm:pt>
    <dgm:pt modelId="{FB358033-AF8D-4398-B96E-6DC4A1B94499}" type="sibTrans" cxnId="{0E8D555C-7E90-4DA4-9FC4-C7764D41D2BB}">
      <dgm:prSet/>
      <dgm:spPr/>
      <dgm:t>
        <a:bodyPr/>
        <a:lstStyle/>
        <a:p>
          <a:endParaRPr lang="en-US" sz="1600"/>
        </a:p>
      </dgm:t>
    </dgm:pt>
    <dgm:pt modelId="{B73CC65B-DE37-462A-8F1C-EC9C024E2ED9}">
      <dgm:prSet phldrT="[Text]" custT="1"/>
      <dgm:spPr>
        <a:solidFill>
          <a:schemeClr val="bg1"/>
        </a:solidFill>
      </dgm:spPr>
      <dgm:t>
        <a:bodyPr/>
        <a:lstStyle/>
        <a:p>
          <a:r>
            <a:rPr lang="en-US" sz="1600" b="1" dirty="0">
              <a:latin typeface="Century Gothic" panose="020B0502020202020204" pitchFamily="34" charset="0"/>
              <a:cs typeface="Calibri" pitchFamily="34" charset="0"/>
            </a:rPr>
            <a:t>17’ HSD </a:t>
          </a:r>
        </a:p>
      </dgm:t>
    </dgm:pt>
    <dgm:pt modelId="{4BFFF529-3499-4109-809D-968712C11F28}" type="parTrans" cxnId="{3A4C8658-5276-4A9F-AD80-B6EE379843AF}">
      <dgm:prSet/>
      <dgm:spPr/>
      <dgm:t>
        <a:bodyPr/>
        <a:lstStyle/>
        <a:p>
          <a:endParaRPr lang="en-US" sz="1600"/>
        </a:p>
      </dgm:t>
    </dgm:pt>
    <dgm:pt modelId="{E740CAE5-5D50-4ED9-BA22-05B434F94AAB}" type="sibTrans" cxnId="{3A4C8658-5276-4A9F-AD80-B6EE379843AF}">
      <dgm:prSet/>
      <dgm:spPr/>
      <dgm:t>
        <a:bodyPr/>
        <a:lstStyle/>
        <a:p>
          <a:endParaRPr lang="en-US" sz="1600"/>
        </a:p>
      </dgm:t>
    </dgm:pt>
    <dgm:pt modelId="{8F7BB710-4074-48F5-BB7D-4E37D0166961}">
      <dgm:prSet phldrT="[Text]" custT="1"/>
      <dgm:spPr/>
      <dgm:t>
        <a:bodyPr/>
        <a:lstStyle/>
        <a:p>
          <a:r>
            <a:rPr lang="en-US" sz="1600" b="1" dirty="0">
              <a:latin typeface="Century Gothic" panose="020B0502020202020204" pitchFamily="34" charset="0"/>
              <a:cs typeface="Calibri" pitchFamily="34" charset="0"/>
            </a:rPr>
            <a:t>20’ HSD</a:t>
          </a:r>
        </a:p>
      </dgm:t>
    </dgm:pt>
    <dgm:pt modelId="{8CE34781-3EE9-4A73-8C10-84BCFC060EED}" type="parTrans" cxnId="{0AEA712E-8D1A-41B3-A3BD-AAA0F1D30830}">
      <dgm:prSet/>
      <dgm:spPr/>
      <dgm:t>
        <a:bodyPr/>
        <a:lstStyle/>
        <a:p>
          <a:endParaRPr lang="en-US" sz="1600"/>
        </a:p>
      </dgm:t>
    </dgm:pt>
    <dgm:pt modelId="{12A882E0-B8B0-435E-BF61-54748C9B2FCA}" type="sibTrans" cxnId="{0AEA712E-8D1A-41B3-A3BD-AAA0F1D30830}">
      <dgm:prSet/>
      <dgm:spPr/>
      <dgm:t>
        <a:bodyPr/>
        <a:lstStyle/>
        <a:p>
          <a:endParaRPr lang="en-US" sz="1600"/>
        </a:p>
      </dgm:t>
    </dgm:pt>
    <dgm:pt modelId="{679316DC-91AD-4342-8D87-3F99AD7B276E}">
      <dgm:prSet phldrT="[Text]" custT="1"/>
      <dgm:spPr/>
      <dgm:t>
        <a:bodyPr/>
        <a:lstStyle/>
        <a:p>
          <a:r>
            <a:rPr lang="en-US" sz="1600" b="1" dirty="0">
              <a:latin typeface="Century Gothic" panose="020B0502020202020204" pitchFamily="34" charset="0"/>
              <a:cs typeface="Calibri" pitchFamily="34" charset="0"/>
            </a:rPr>
            <a:t>22’ HSD</a:t>
          </a:r>
        </a:p>
      </dgm:t>
    </dgm:pt>
    <dgm:pt modelId="{B568B885-C95C-4EB2-B92C-6350960CF5B5}" type="parTrans" cxnId="{40A35C6D-17DD-4A85-A7EB-D010157D5E30}">
      <dgm:prSet/>
      <dgm:spPr/>
      <dgm:t>
        <a:bodyPr/>
        <a:lstStyle/>
        <a:p>
          <a:endParaRPr lang="en-US" sz="1600"/>
        </a:p>
      </dgm:t>
    </dgm:pt>
    <dgm:pt modelId="{B87F0DF5-9D62-4512-8D8D-CFB877E1E7EA}" type="sibTrans" cxnId="{40A35C6D-17DD-4A85-A7EB-D010157D5E30}">
      <dgm:prSet/>
      <dgm:spPr/>
      <dgm:t>
        <a:bodyPr/>
        <a:lstStyle/>
        <a:p>
          <a:endParaRPr lang="en-US" sz="1600"/>
        </a:p>
      </dgm:t>
    </dgm:pt>
    <dgm:pt modelId="{0CD358A5-62BB-416C-840E-EC04ACDD151F}">
      <dgm:prSet phldrT="[Text]" custT="1"/>
      <dgm:spPr/>
      <dgm:t>
        <a:bodyPr/>
        <a:lstStyle/>
        <a:p>
          <a:r>
            <a:rPr lang="en-US" sz="1600" b="1" dirty="0">
              <a:latin typeface="Century Gothic" panose="020B0502020202020204" pitchFamily="34" charset="0"/>
              <a:cs typeface="Calibri" pitchFamily="34" charset="0"/>
            </a:rPr>
            <a:t>ZD30 BSVI</a:t>
          </a:r>
        </a:p>
      </dgm:t>
    </dgm:pt>
    <dgm:pt modelId="{E5B74BAC-2F1C-457D-ACE4-FE572A5A374D}" type="parTrans" cxnId="{B95C2B60-6349-4280-8A74-213D1FEAF303}">
      <dgm:prSet/>
      <dgm:spPr/>
      <dgm:t>
        <a:bodyPr/>
        <a:lstStyle/>
        <a:p>
          <a:endParaRPr lang="en-US"/>
        </a:p>
      </dgm:t>
    </dgm:pt>
    <dgm:pt modelId="{56A31784-2083-4484-AA29-885C91B856AA}" type="sibTrans" cxnId="{B95C2B60-6349-4280-8A74-213D1FEAF303}">
      <dgm:prSet/>
      <dgm:spPr/>
      <dgm:t>
        <a:bodyPr/>
        <a:lstStyle/>
        <a:p>
          <a:endParaRPr lang="en-US"/>
        </a:p>
      </dgm:t>
    </dgm:pt>
    <dgm:pt modelId="{6033F925-C53C-432F-B322-748BA49B9BBC}">
      <dgm:prSet phldrT="[Text]" custT="1"/>
      <dgm:spPr/>
      <dgm:t>
        <a:bodyPr/>
        <a:lstStyle/>
        <a:p>
          <a:r>
            <a:rPr lang="en-US" sz="1600" b="1" dirty="0">
              <a:latin typeface="Century Gothic" panose="020B0502020202020204" pitchFamily="34" charset="0"/>
              <a:cs typeface="Calibri" pitchFamily="34" charset="0"/>
            </a:rPr>
            <a:t>ZF 6S OD GB FGR:8.28</a:t>
          </a:r>
        </a:p>
      </dgm:t>
    </dgm:pt>
    <dgm:pt modelId="{8E015318-E212-471B-B2D4-E70C3303F311}" type="parTrans" cxnId="{AB9EA6BD-9834-4A18-A2BA-6C32511307FA}">
      <dgm:prSet/>
      <dgm:spPr/>
      <dgm:t>
        <a:bodyPr/>
        <a:lstStyle/>
        <a:p>
          <a:endParaRPr lang="en-US"/>
        </a:p>
      </dgm:t>
    </dgm:pt>
    <dgm:pt modelId="{74650E20-6812-42A3-B468-ECEB4B7DC924}" type="sibTrans" cxnId="{AB9EA6BD-9834-4A18-A2BA-6C32511307FA}">
      <dgm:prSet/>
      <dgm:spPr/>
      <dgm:t>
        <a:bodyPr/>
        <a:lstStyle/>
        <a:p>
          <a:endParaRPr lang="en-US"/>
        </a:p>
      </dgm:t>
    </dgm:pt>
    <dgm:pt modelId="{B62CF897-FF24-428A-8007-DE8EFE13BAC6}" type="pres">
      <dgm:prSet presAssocID="{B6BE5173-42AA-4ADD-AE99-54AFF747C984}" presName="hierChild1" presStyleCnt="0">
        <dgm:presLayoutVars>
          <dgm:orgChart val="1"/>
          <dgm:chPref val="1"/>
          <dgm:dir/>
          <dgm:animOne val="branch"/>
          <dgm:animLvl val="lvl"/>
          <dgm:resizeHandles/>
        </dgm:presLayoutVars>
      </dgm:prSet>
      <dgm:spPr/>
    </dgm:pt>
    <dgm:pt modelId="{0C694B68-9BA9-490E-B975-E606AFC83594}" type="pres">
      <dgm:prSet presAssocID="{B4EDA48B-14EF-4CEB-A204-56BD09392C12}" presName="hierRoot1" presStyleCnt="0">
        <dgm:presLayoutVars>
          <dgm:hierBranch val="init"/>
        </dgm:presLayoutVars>
      </dgm:prSet>
      <dgm:spPr/>
    </dgm:pt>
    <dgm:pt modelId="{D79B72DF-9650-472F-84E5-271222F9C12B}" type="pres">
      <dgm:prSet presAssocID="{B4EDA48B-14EF-4CEB-A204-56BD09392C12}" presName="rootComposite1" presStyleCnt="0"/>
      <dgm:spPr/>
    </dgm:pt>
    <dgm:pt modelId="{FAD97DF2-A9D4-4384-B2E7-0D75EA2AAE91}" type="pres">
      <dgm:prSet presAssocID="{B4EDA48B-14EF-4CEB-A204-56BD09392C12}" presName="rootText1" presStyleLbl="node0" presStyleIdx="0" presStyleCnt="1" custScaleX="199565">
        <dgm:presLayoutVars>
          <dgm:chPref val="3"/>
        </dgm:presLayoutVars>
      </dgm:prSet>
      <dgm:spPr/>
    </dgm:pt>
    <dgm:pt modelId="{F71BE3E8-4B1F-46E9-B26E-28A360C6F087}" type="pres">
      <dgm:prSet presAssocID="{B4EDA48B-14EF-4CEB-A204-56BD09392C12}" presName="rootConnector1" presStyleLbl="node1" presStyleIdx="0" presStyleCnt="0"/>
      <dgm:spPr/>
    </dgm:pt>
    <dgm:pt modelId="{5FBA8AD4-41E5-4B0D-AE09-A6B4AC944B57}" type="pres">
      <dgm:prSet presAssocID="{B4EDA48B-14EF-4CEB-A204-56BD09392C12}" presName="hierChild2" presStyleCnt="0"/>
      <dgm:spPr/>
    </dgm:pt>
    <dgm:pt modelId="{339D4512-AE7A-420F-BFD1-6AADC17BBDD9}" type="pres">
      <dgm:prSet presAssocID="{E5B74BAC-2F1C-457D-ACE4-FE572A5A374D}" presName="Name37" presStyleLbl="parChTrans1D2" presStyleIdx="0" presStyleCnt="1"/>
      <dgm:spPr/>
    </dgm:pt>
    <dgm:pt modelId="{91B4B17D-F861-496D-8EEB-A01FE89392E3}" type="pres">
      <dgm:prSet presAssocID="{0CD358A5-62BB-416C-840E-EC04ACDD151F}" presName="hierRoot2" presStyleCnt="0">
        <dgm:presLayoutVars>
          <dgm:hierBranch val="init"/>
        </dgm:presLayoutVars>
      </dgm:prSet>
      <dgm:spPr/>
    </dgm:pt>
    <dgm:pt modelId="{7825E60E-F338-40C4-8073-E92F0F1F7B63}" type="pres">
      <dgm:prSet presAssocID="{0CD358A5-62BB-416C-840E-EC04ACDD151F}" presName="rootComposite" presStyleCnt="0"/>
      <dgm:spPr/>
    </dgm:pt>
    <dgm:pt modelId="{28A756FE-6153-41B4-B3D7-1F287F16B4D8}" type="pres">
      <dgm:prSet presAssocID="{0CD358A5-62BB-416C-840E-EC04ACDD151F}" presName="rootText" presStyleLbl="node2" presStyleIdx="0" presStyleCnt="1" custScaleX="224249">
        <dgm:presLayoutVars>
          <dgm:chPref val="3"/>
        </dgm:presLayoutVars>
      </dgm:prSet>
      <dgm:spPr/>
    </dgm:pt>
    <dgm:pt modelId="{DEDD84E5-B40E-43CC-8555-D82A27F29977}" type="pres">
      <dgm:prSet presAssocID="{0CD358A5-62BB-416C-840E-EC04ACDD151F}" presName="rootConnector" presStyleLbl="node2" presStyleIdx="0" presStyleCnt="1"/>
      <dgm:spPr/>
    </dgm:pt>
    <dgm:pt modelId="{CC66FBD7-C816-4526-895E-5D8DE4602B92}" type="pres">
      <dgm:prSet presAssocID="{0CD358A5-62BB-416C-840E-EC04ACDD151F}" presName="hierChild4" presStyleCnt="0"/>
      <dgm:spPr/>
    </dgm:pt>
    <dgm:pt modelId="{3610267B-B086-49CD-B914-EE8E364CD8F5}" type="pres">
      <dgm:prSet presAssocID="{8E015318-E212-471B-B2D4-E70C3303F311}" presName="Name37" presStyleLbl="parChTrans1D3" presStyleIdx="0" presStyleCnt="1"/>
      <dgm:spPr/>
    </dgm:pt>
    <dgm:pt modelId="{734A3444-2EC5-44B9-BD84-610A35CF7DE2}" type="pres">
      <dgm:prSet presAssocID="{6033F925-C53C-432F-B322-748BA49B9BBC}" presName="hierRoot2" presStyleCnt="0">
        <dgm:presLayoutVars>
          <dgm:hierBranch val="init"/>
        </dgm:presLayoutVars>
      </dgm:prSet>
      <dgm:spPr/>
    </dgm:pt>
    <dgm:pt modelId="{1818DE9E-3BC0-4CB1-A375-FEA8FD2154B2}" type="pres">
      <dgm:prSet presAssocID="{6033F925-C53C-432F-B322-748BA49B9BBC}" presName="rootComposite" presStyleCnt="0"/>
      <dgm:spPr/>
    </dgm:pt>
    <dgm:pt modelId="{4C9A916C-80F0-47F6-B85C-D0EFE9D3C5D4}" type="pres">
      <dgm:prSet presAssocID="{6033F925-C53C-432F-B322-748BA49B9BBC}" presName="rootText" presStyleLbl="node3" presStyleIdx="0" presStyleCnt="1" custScaleX="344965">
        <dgm:presLayoutVars>
          <dgm:chPref val="3"/>
        </dgm:presLayoutVars>
      </dgm:prSet>
      <dgm:spPr/>
    </dgm:pt>
    <dgm:pt modelId="{71C91BE9-CA70-48E7-873C-1AB5C3E230D2}" type="pres">
      <dgm:prSet presAssocID="{6033F925-C53C-432F-B322-748BA49B9BBC}" presName="rootConnector" presStyleLbl="node3" presStyleIdx="0" presStyleCnt="1"/>
      <dgm:spPr/>
    </dgm:pt>
    <dgm:pt modelId="{D9432D3B-F92D-4EDC-8A5E-5218E3F71751}" type="pres">
      <dgm:prSet presAssocID="{6033F925-C53C-432F-B322-748BA49B9BBC}" presName="hierChild4" presStyleCnt="0"/>
      <dgm:spPr/>
    </dgm:pt>
    <dgm:pt modelId="{0BC44771-798B-430F-9446-68210B605177}" type="pres">
      <dgm:prSet presAssocID="{64235E44-450B-45F2-839C-FEC7005067D8}" presName="Name37" presStyleLbl="parChTrans1D4" presStyleIdx="0" presStyleCnt="18"/>
      <dgm:spPr/>
    </dgm:pt>
    <dgm:pt modelId="{AE452DCC-627F-4339-83DD-9BB596D1ADC7}" type="pres">
      <dgm:prSet presAssocID="{370830BE-8FD2-4276-8151-FB395B5AD7B4}" presName="hierRoot2" presStyleCnt="0">
        <dgm:presLayoutVars>
          <dgm:hierBranch val="init"/>
        </dgm:presLayoutVars>
      </dgm:prSet>
      <dgm:spPr/>
    </dgm:pt>
    <dgm:pt modelId="{3AE7DC45-D42F-4446-9AC5-C43CF0B45933}" type="pres">
      <dgm:prSet presAssocID="{370830BE-8FD2-4276-8151-FB395B5AD7B4}" presName="rootComposite" presStyleCnt="0"/>
      <dgm:spPr/>
    </dgm:pt>
    <dgm:pt modelId="{95F6754E-AE7C-4F2E-AE00-EC4D98BA605C}" type="pres">
      <dgm:prSet presAssocID="{370830BE-8FD2-4276-8151-FB395B5AD7B4}" presName="rootText" presStyleLbl="node4" presStyleIdx="0" presStyleCnt="18">
        <dgm:presLayoutVars>
          <dgm:chPref val="3"/>
        </dgm:presLayoutVars>
      </dgm:prSet>
      <dgm:spPr/>
    </dgm:pt>
    <dgm:pt modelId="{A3225CC5-1E03-4405-9FF1-406D3724E171}" type="pres">
      <dgm:prSet presAssocID="{370830BE-8FD2-4276-8151-FB395B5AD7B4}" presName="rootConnector" presStyleLbl="node4" presStyleIdx="0" presStyleCnt="18"/>
      <dgm:spPr/>
    </dgm:pt>
    <dgm:pt modelId="{9BD37FFB-3871-4484-A7AB-16DA6DF0ED75}" type="pres">
      <dgm:prSet presAssocID="{370830BE-8FD2-4276-8151-FB395B5AD7B4}" presName="hierChild4" presStyleCnt="0"/>
      <dgm:spPr/>
    </dgm:pt>
    <dgm:pt modelId="{E4C0E45F-BB4B-4CE2-9AD0-83EF8BF1E420}" type="pres">
      <dgm:prSet presAssocID="{D48BAEDC-DA29-471C-9D29-726560BE5721}" presName="Name37" presStyleLbl="parChTrans1D4" presStyleIdx="1" presStyleCnt="18"/>
      <dgm:spPr/>
    </dgm:pt>
    <dgm:pt modelId="{AD614697-EFC5-4394-96CA-3377CBABE125}" type="pres">
      <dgm:prSet presAssocID="{2D28169C-6775-4DB2-8331-647006AEFB5F}" presName="hierRoot2" presStyleCnt="0">
        <dgm:presLayoutVars>
          <dgm:hierBranch val="init"/>
        </dgm:presLayoutVars>
      </dgm:prSet>
      <dgm:spPr/>
    </dgm:pt>
    <dgm:pt modelId="{F8E8078B-4935-4117-991D-90DEE55CB1CF}" type="pres">
      <dgm:prSet presAssocID="{2D28169C-6775-4DB2-8331-647006AEFB5F}" presName="rootComposite" presStyleCnt="0"/>
      <dgm:spPr/>
    </dgm:pt>
    <dgm:pt modelId="{840C9610-7C05-430C-9C8F-B8B7678AC015}" type="pres">
      <dgm:prSet presAssocID="{2D28169C-6775-4DB2-8331-647006AEFB5F}" presName="rootText" presStyleLbl="node4" presStyleIdx="1" presStyleCnt="18">
        <dgm:presLayoutVars>
          <dgm:chPref val="3"/>
        </dgm:presLayoutVars>
      </dgm:prSet>
      <dgm:spPr/>
    </dgm:pt>
    <dgm:pt modelId="{889D2D26-1370-4F81-BCA7-87E274FEDF7B}" type="pres">
      <dgm:prSet presAssocID="{2D28169C-6775-4DB2-8331-647006AEFB5F}" presName="rootConnector" presStyleLbl="node4" presStyleIdx="1" presStyleCnt="18"/>
      <dgm:spPr/>
    </dgm:pt>
    <dgm:pt modelId="{CD5512BE-BF5C-431C-B9F0-BF6827BA8A97}" type="pres">
      <dgm:prSet presAssocID="{2D28169C-6775-4DB2-8331-647006AEFB5F}" presName="hierChild4" presStyleCnt="0"/>
      <dgm:spPr/>
    </dgm:pt>
    <dgm:pt modelId="{2C5FACD0-9E70-405B-8F0F-48B527B3F46C}" type="pres">
      <dgm:prSet presAssocID="{7E1C32CF-E338-4C36-B6A9-756454882470}" presName="Name37" presStyleLbl="parChTrans1D4" presStyleIdx="2" presStyleCnt="18"/>
      <dgm:spPr/>
    </dgm:pt>
    <dgm:pt modelId="{61E1B015-91D0-41A1-BB94-538C885BF306}" type="pres">
      <dgm:prSet presAssocID="{1D12B59F-F23A-42F1-807C-8BC50B329EAF}" presName="hierRoot2" presStyleCnt="0">
        <dgm:presLayoutVars>
          <dgm:hierBranch val="init"/>
        </dgm:presLayoutVars>
      </dgm:prSet>
      <dgm:spPr/>
    </dgm:pt>
    <dgm:pt modelId="{FBC71788-DBB2-4677-924E-19F31D8C8FFF}" type="pres">
      <dgm:prSet presAssocID="{1D12B59F-F23A-42F1-807C-8BC50B329EAF}" presName="rootComposite" presStyleCnt="0"/>
      <dgm:spPr/>
    </dgm:pt>
    <dgm:pt modelId="{BD555D5C-EDE1-41FF-90DE-96CBFC375080}" type="pres">
      <dgm:prSet presAssocID="{1D12B59F-F23A-42F1-807C-8BC50B329EAF}" presName="rootText" presStyleLbl="node4" presStyleIdx="2" presStyleCnt="18">
        <dgm:presLayoutVars>
          <dgm:chPref val="3"/>
        </dgm:presLayoutVars>
      </dgm:prSet>
      <dgm:spPr/>
    </dgm:pt>
    <dgm:pt modelId="{EC68F809-1D68-45BB-BEF6-54F3BB50FDD6}" type="pres">
      <dgm:prSet presAssocID="{1D12B59F-F23A-42F1-807C-8BC50B329EAF}" presName="rootConnector" presStyleLbl="node4" presStyleIdx="2" presStyleCnt="18"/>
      <dgm:spPr/>
    </dgm:pt>
    <dgm:pt modelId="{F1306A4F-AA32-4A1F-88C4-0E8AFBDE8922}" type="pres">
      <dgm:prSet presAssocID="{1D12B59F-F23A-42F1-807C-8BC50B329EAF}" presName="hierChild4" presStyleCnt="0"/>
      <dgm:spPr/>
    </dgm:pt>
    <dgm:pt modelId="{42658FEF-65BC-4738-958E-07D55111BDDD}" type="pres">
      <dgm:prSet presAssocID="{1D12B59F-F23A-42F1-807C-8BC50B329EAF}" presName="hierChild5" presStyleCnt="0"/>
      <dgm:spPr/>
    </dgm:pt>
    <dgm:pt modelId="{31A8F4D5-4232-422D-9E88-58F4703111E7}" type="pres">
      <dgm:prSet presAssocID="{4BFFF529-3499-4109-809D-968712C11F28}" presName="Name37" presStyleLbl="parChTrans1D4" presStyleIdx="3" presStyleCnt="18"/>
      <dgm:spPr/>
    </dgm:pt>
    <dgm:pt modelId="{A4077AA2-63FA-4367-800B-25C4F971335F}" type="pres">
      <dgm:prSet presAssocID="{B73CC65B-DE37-462A-8F1C-EC9C024E2ED9}" presName="hierRoot2" presStyleCnt="0">
        <dgm:presLayoutVars>
          <dgm:hierBranch val="init"/>
        </dgm:presLayoutVars>
      </dgm:prSet>
      <dgm:spPr/>
    </dgm:pt>
    <dgm:pt modelId="{1ACBF14B-9358-412D-B875-CB09769BF444}" type="pres">
      <dgm:prSet presAssocID="{B73CC65B-DE37-462A-8F1C-EC9C024E2ED9}" presName="rootComposite" presStyleCnt="0"/>
      <dgm:spPr/>
    </dgm:pt>
    <dgm:pt modelId="{1367BF24-E2ED-4C3F-B2C7-E02DAAE7F706}" type="pres">
      <dgm:prSet presAssocID="{B73CC65B-DE37-462A-8F1C-EC9C024E2ED9}" presName="rootText" presStyleLbl="node4" presStyleIdx="3" presStyleCnt="18">
        <dgm:presLayoutVars>
          <dgm:chPref val="3"/>
        </dgm:presLayoutVars>
      </dgm:prSet>
      <dgm:spPr/>
    </dgm:pt>
    <dgm:pt modelId="{4C532352-B15F-45D5-B03E-8A9825D09DE6}" type="pres">
      <dgm:prSet presAssocID="{B73CC65B-DE37-462A-8F1C-EC9C024E2ED9}" presName="rootConnector" presStyleLbl="node4" presStyleIdx="3" presStyleCnt="18"/>
      <dgm:spPr/>
    </dgm:pt>
    <dgm:pt modelId="{F92D5F1E-0E35-418C-AA95-346C0136047D}" type="pres">
      <dgm:prSet presAssocID="{B73CC65B-DE37-462A-8F1C-EC9C024E2ED9}" presName="hierChild4" presStyleCnt="0"/>
      <dgm:spPr/>
    </dgm:pt>
    <dgm:pt modelId="{89DCD3DB-D9C5-49C2-BCCB-11EC4D4B3D8B}" type="pres">
      <dgm:prSet presAssocID="{B73CC65B-DE37-462A-8F1C-EC9C024E2ED9}" presName="hierChild5" presStyleCnt="0"/>
      <dgm:spPr/>
    </dgm:pt>
    <dgm:pt modelId="{21E99B23-DE71-4E77-BF57-CE2BD4A2185B}" type="pres">
      <dgm:prSet presAssocID="{8CE34781-3EE9-4A73-8C10-84BCFC060EED}" presName="Name37" presStyleLbl="parChTrans1D4" presStyleIdx="4" presStyleCnt="18"/>
      <dgm:spPr/>
    </dgm:pt>
    <dgm:pt modelId="{727E44E1-17B5-4006-8355-C3EA4B4B670A}" type="pres">
      <dgm:prSet presAssocID="{8F7BB710-4074-48F5-BB7D-4E37D0166961}" presName="hierRoot2" presStyleCnt="0">
        <dgm:presLayoutVars>
          <dgm:hierBranch val="init"/>
        </dgm:presLayoutVars>
      </dgm:prSet>
      <dgm:spPr/>
    </dgm:pt>
    <dgm:pt modelId="{07F77F47-F184-4B67-B3D4-B74254D6BAC3}" type="pres">
      <dgm:prSet presAssocID="{8F7BB710-4074-48F5-BB7D-4E37D0166961}" presName="rootComposite" presStyleCnt="0"/>
      <dgm:spPr/>
    </dgm:pt>
    <dgm:pt modelId="{A476FEAF-592A-40EA-A65A-B12B83B89B6D}" type="pres">
      <dgm:prSet presAssocID="{8F7BB710-4074-48F5-BB7D-4E37D0166961}" presName="rootText" presStyleLbl="node4" presStyleIdx="4" presStyleCnt="18">
        <dgm:presLayoutVars>
          <dgm:chPref val="3"/>
        </dgm:presLayoutVars>
      </dgm:prSet>
      <dgm:spPr/>
    </dgm:pt>
    <dgm:pt modelId="{17F880D3-E136-4DFC-AC08-680BB522123D}" type="pres">
      <dgm:prSet presAssocID="{8F7BB710-4074-48F5-BB7D-4E37D0166961}" presName="rootConnector" presStyleLbl="node4" presStyleIdx="4" presStyleCnt="18"/>
      <dgm:spPr/>
    </dgm:pt>
    <dgm:pt modelId="{130B2FCD-3BF9-48CC-9F99-F87912F3D659}" type="pres">
      <dgm:prSet presAssocID="{8F7BB710-4074-48F5-BB7D-4E37D0166961}" presName="hierChild4" presStyleCnt="0"/>
      <dgm:spPr/>
    </dgm:pt>
    <dgm:pt modelId="{EB137A97-F209-4F3E-A8C5-1899DC61A33A}" type="pres">
      <dgm:prSet presAssocID="{8F7BB710-4074-48F5-BB7D-4E37D0166961}" presName="hierChild5" presStyleCnt="0"/>
      <dgm:spPr/>
    </dgm:pt>
    <dgm:pt modelId="{D622134D-D035-4737-A9FF-290E9ECB2CD2}" type="pres">
      <dgm:prSet presAssocID="{B568B885-C95C-4EB2-B92C-6350960CF5B5}" presName="Name37" presStyleLbl="parChTrans1D4" presStyleIdx="5" presStyleCnt="18"/>
      <dgm:spPr/>
    </dgm:pt>
    <dgm:pt modelId="{F6583B76-C03C-4BE8-A447-3033327E4490}" type="pres">
      <dgm:prSet presAssocID="{679316DC-91AD-4342-8D87-3F99AD7B276E}" presName="hierRoot2" presStyleCnt="0">
        <dgm:presLayoutVars>
          <dgm:hierBranch val="init"/>
        </dgm:presLayoutVars>
      </dgm:prSet>
      <dgm:spPr/>
    </dgm:pt>
    <dgm:pt modelId="{9076CE14-B50A-4CBE-AF18-EA572BC4B334}" type="pres">
      <dgm:prSet presAssocID="{679316DC-91AD-4342-8D87-3F99AD7B276E}" presName="rootComposite" presStyleCnt="0"/>
      <dgm:spPr/>
    </dgm:pt>
    <dgm:pt modelId="{D5C4B290-E84D-4762-9527-694E16B29AC1}" type="pres">
      <dgm:prSet presAssocID="{679316DC-91AD-4342-8D87-3F99AD7B276E}" presName="rootText" presStyleLbl="node4" presStyleIdx="5" presStyleCnt="18">
        <dgm:presLayoutVars>
          <dgm:chPref val="3"/>
        </dgm:presLayoutVars>
      </dgm:prSet>
      <dgm:spPr/>
    </dgm:pt>
    <dgm:pt modelId="{CBCEDAA4-2C2B-4E1E-942C-1EECFAFFEF03}" type="pres">
      <dgm:prSet presAssocID="{679316DC-91AD-4342-8D87-3F99AD7B276E}" presName="rootConnector" presStyleLbl="node4" presStyleIdx="5" presStyleCnt="18"/>
      <dgm:spPr/>
    </dgm:pt>
    <dgm:pt modelId="{2D902A9C-8AC4-4D38-ABAF-766C968FB5ED}" type="pres">
      <dgm:prSet presAssocID="{679316DC-91AD-4342-8D87-3F99AD7B276E}" presName="hierChild4" presStyleCnt="0"/>
      <dgm:spPr/>
    </dgm:pt>
    <dgm:pt modelId="{A4191365-8BA9-47F0-8E2E-79ADF935855D}" type="pres">
      <dgm:prSet presAssocID="{679316DC-91AD-4342-8D87-3F99AD7B276E}" presName="hierChild5" presStyleCnt="0"/>
      <dgm:spPr/>
    </dgm:pt>
    <dgm:pt modelId="{0797A3EE-DC82-48D1-8B21-431C0B1F2AE8}" type="pres">
      <dgm:prSet presAssocID="{2D28169C-6775-4DB2-8331-647006AEFB5F}" presName="hierChild5" presStyleCnt="0"/>
      <dgm:spPr/>
    </dgm:pt>
    <dgm:pt modelId="{49D6A125-6E6E-4C54-A53D-17F9D284403A}" type="pres">
      <dgm:prSet presAssocID="{370830BE-8FD2-4276-8151-FB395B5AD7B4}" presName="hierChild5" presStyleCnt="0"/>
      <dgm:spPr/>
    </dgm:pt>
    <dgm:pt modelId="{F2DC3334-CF21-40DF-86EE-3C8AA0D88195}" type="pres">
      <dgm:prSet presAssocID="{7ED1547E-FDEE-45DD-B8B2-F82B8B99E96A}" presName="Name37" presStyleLbl="parChTrans1D4" presStyleIdx="6" presStyleCnt="18"/>
      <dgm:spPr/>
    </dgm:pt>
    <dgm:pt modelId="{D2413B43-4235-41F3-9B41-250D48D6C12C}" type="pres">
      <dgm:prSet presAssocID="{3E4B0800-563D-4C2E-994B-A5B8F242A6C2}" presName="hierRoot2" presStyleCnt="0">
        <dgm:presLayoutVars>
          <dgm:hierBranch val="init"/>
        </dgm:presLayoutVars>
      </dgm:prSet>
      <dgm:spPr/>
    </dgm:pt>
    <dgm:pt modelId="{49C7E869-67DD-4A0F-B998-6F05131C1720}" type="pres">
      <dgm:prSet presAssocID="{3E4B0800-563D-4C2E-994B-A5B8F242A6C2}" presName="rootComposite" presStyleCnt="0"/>
      <dgm:spPr/>
    </dgm:pt>
    <dgm:pt modelId="{E2D866C7-038A-4F9D-993F-C40F9FA6F478}" type="pres">
      <dgm:prSet presAssocID="{3E4B0800-563D-4C2E-994B-A5B8F242A6C2}" presName="rootText" presStyleLbl="node4" presStyleIdx="6" presStyleCnt="18">
        <dgm:presLayoutVars>
          <dgm:chPref val="3"/>
        </dgm:presLayoutVars>
      </dgm:prSet>
      <dgm:spPr/>
    </dgm:pt>
    <dgm:pt modelId="{09DCCB4D-8D0D-4CC4-8174-BF511F7C8967}" type="pres">
      <dgm:prSet presAssocID="{3E4B0800-563D-4C2E-994B-A5B8F242A6C2}" presName="rootConnector" presStyleLbl="node4" presStyleIdx="6" presStyleCnt="18"/>
      <dgm:spPr/>
    </dgm:pt>
    <dgm:pt modelId="{82B16F0B-C5BD-4879-9EAF-83461B41C947}" type="pres">
      <dgm:prSet presAssocID="{3E4B0800-563D-4C2E-994B-A5B8F242A6C2}" presName="hierChild4" presStyleCnt="0"/>
      <dgm:spPr/>
    </dgm:pt>
    <dgm:pt modelId="{D3FE98AD-AB5B-42E1-A107-8B6F9AE24316}" type="pres">
      <dgm:prSet presAssocID="{162099D6-E6D9-4F2A-881D-52EC6D015268}" presName="Name37" presStyleLbl="parChTrans1D4" presStyleIdx="7" presStyleCnt="18"/>
      <dgm:spPr/>
    </dgm:pt>
    <dgm:pt modelId="{43549396-D3C7-4365-82C9-168D83BDFC41}" type="pres">
      <dgm:prSet presAssocID="{4D269F7E-36CD-4C27-A7BB-2E02EFAEF4F3}" presName="hierRoot2" presStyleCnt="0">
        <dgm:presLayoutVars>
          <dgm:hierBranch val="init"/>
        </dgm:presLayoutVars>
      </dgm:prSet>
      <dgm:spPr/>
    </dgm:pt>
    <dgm:pt modelId="{F1C3499F-011D-4BDE-B19B-8362664FEF38}" type="pres">
      <dgm:prSet presAssocID="{4D269F7E-36CD-4C27-A7BB-2E02EFAEF4F3}" presName="rootComposite" presStyleCnt="0"/>
      <dgm:spPr/>
    </dgm:pt>
    <dgm:pt modelId="{5E1E403E-8218-4B31-BB6F-79C2B29045B8}" type="pres">
      <dgm:prSet presAssocID="{4D269F7E-36CD-4C27-A7BB-2E02EFAEF4F3}" presName="rootText" presStyleLbl="node4" presStyleIdx="7" presStyleCnt="18">
        <dgm:presLayoutVars>
          <dgm:chPref val="3"/>
        </dgm:presLayoutVars>
      </dgm:prSet>
      <dgm:spPr/>
    </dgm:pt>
    <dgm:pt modelId="{E6B7816D-A25C-4BF1-8162-297A9EC771D7}" type="pres">
      <dgm:prSet presAssocID="{4D269F7E-36CD-4C27-A7BB-2E02EFAEF4F3}" presName="rootConnector" presStyleLbl="node4" presStyleIdx="7" presStyleCnt="18"/>
      <dgm:spPr/>
    </dgm:pt>
    <dgm:pt modelId="{FB9958C9-6814-4ADB-8CBC-F881F19EC7F4}" type="pres">
      <dgm:prSet presAssocID="{4D269F7E-36CD-4C27-A7BB-2E02EFAEF4F3}" presName="hierChild4" presStyleCnt="0"/>
      <dgm:spPr/>
    </dgm:pt>
    <dgm:pt modelId="{E82776DF-4D08-439E-A1E9-52733CA2DE33}" type="pres">
      <dgm:prSet presAssocID="{537E5373-DADB-45E7-B84E-C986F8B03B56}" presName="Name37" presStyleLbl="parChTrans1D4" presStyleIdx="8" presStyleCnt="18"/>
      <dgm:spPr/>
    </dgm:pt>
    <dgm:pt modelId="{5BD43F85-B0A2-4CA5-8AA6-663D80D4B51B}" type="pres">
      <dgm:prSet presAssocID="{F57176CA-E231-4710-AA17-BA753DA31249}" presName="hierRoot2" presStyleCnt="0">
        <dgm:presLayoutVars>
          <dgm:hierBranch val="init"/>
        </dgm:presLayoutVars>
      </dgm:prSet>
      <dgm:spPr/>
    </dgm:pt>
    <dgm:pt modelId="{2EB72AC0-24D7-426C-BAAD-A5752428B414}" type="pres">
      <dgm:prSet presAssocID="{F57176CA-E231-4710-AA17-BA753DA31249}" presName="rootComposite" presStyleCnt="0"/>
      <dgm:spPr/>
    </dgm:pt>
    <dgm:pt modelId="{98147B7A-A00F-4AA0-8FCC-A8E7B49AC212}" type="pres">
      <dgm:prSet presAssocID="{F57176CA-E231-4710-AA17-BA753DA31249}" presName="rootText" presStyleLbl="node4" presStyleIdx="8" presStyleCnt="18">
        <dgm:presLayoutVars>
          <dgm:chPref val="3"/>
        </dgm:presLayoutVars>
      </dgm:prSet>
      <dgm:spPr/>
    </dgm:pt>
    <dgm:pt modelId="{464F63E3-17F5-4980-AB26-3DA5D1C7A474}" type="pres">
      <dgm:prSet presAssocID="{F57176CA-E231-4710-AA17-BA753DA31249}" presName="rootConnector" presStyleLbl="node4" presStyleIdx="8" presStyleCnt="18"/>
      <dgm:spPr/>
    </dgm:pt>
    <dgm:pt modelId="{E021D325-E50F-4455-9125-591922704EE2}" type="pres">
      <dgm:prSet presAssocID="{F57176CA-E231-4710-AA17-BA753DA31249}" presName="hierChild4" presStyleCnt="0"/>
      <dgm:spPr/>
    </dgm:pt>
    <dgm:pt modelId="{30C18DF6-BBBB-41C8-8E1B-25C07FE4BB40}" type="pres">
      <dgm:prSet presAssocID="{F57176CA-E231-4710-AA17-BA753DA31249}" presName="hierChild5" presStyleCnt="0"/>
      <dgm:spPr/>
    </dgm:pt>
    <dgm:pt modelId="{70E6D663-3A4F-4F47-B190-B4D8B964D0F3}" type="pres">
      <dgm:prSet presAssocID="{68BB3B19-29EA-43BD-ACAE-379709371974}" presName="Name37" presStyleLbl="parChTrans1D4" presStyleIdx="9" presStyleCnt="18"/>
      <dgm:spPr/>
    </dgm:pt>
    <dgm:pt modelId="{D9A87BE5-F087-4857-8412-64DED3DA43CE}" type="pres">
      <dgm:prSet presAssocID="{171B3365-0E24-4AE4-BBD0-092EB1A7B0F5}" presName="hierRoot2" presStyleCnt="0">
        <dgm:presLayoutVars>
          <dgm:hierBranch val="init"/>
        </dgm:presLayoutVars>
      </dgm:prSet>
      <dgm:spPr/>
    </dgm:pt>
    <dgm:pt modelId="{39ED6C87-2681-4C90-BB01-662E7D510561}" type="pres">
      <dgm:prSet presAssocID="{171B3365-0E24-4AE4-BBD0-092EB1A7B0F5}" presName="rootComposite" presStyleCnt="0"/>
      <dgm:spPr/>
    </dgm:pt>
    <dgm:pt modelId="{28745BDD-B2AD-442D-89E6-60B79CDE6840}" type="pres">
      <dgm:prSet presAssocID="{171B3365-0E24-4AE4-BBD0-092EB1A7B0F5}" presName="rootText" presStyleLbl="node4" presStyleIdx="9" presStyleCnt="18">
        <dgm:presLayoutVars>
          <dgm:chPref val="3"/>
        </dgm:presLayoutVars>
      </dgm:prSet>
      <dgm:spPr/>
    </dgm:pt>
    <dgm:pt modelId="{EC108F7A-F01B-4F90-B20F-3BEAE19BFCBB}" type="pres">
      <dgm:prSet presAssocID="{171B3365-0E24-4AE4-BBD0-092EB1A7B0F5}" presName="rootConnector" presStyleLbl="node4" presStyleIdx="9" presStyleCnt="18"/>
      <dgm:spPr/>
    </dgm:pt>
    <dgm:pt modelId="{7E5FD2A7-F807-4B3E-BAE2-47B1F1D4C02C}" type="pres">
      <dgm:prSet presAssocID="{171B3365-0E24-4AE4-BBD0-092EB1A7B0F5}" presName="hierChild4" presStyleCnt="0"/>
      <dgm:spPr/>
    </dgm:pt>
    <dgm:pt modelId="{86BCB39B-F0DE-42C9-BA3C-B282E3168DEF}" type="pres">
      <dgm:prSet presAssocID="{171B3365-0E24-4AE4-BBD0-092EB1A7B0F5}" presName="hierChild5" presStyleCnt="0"/>
      <dgm:spPr/>
    </dgm:pt>
    <dgm:pt modelId="{DCF3BD96-AB64-4C3E-BD49-3D22A0E82948}" type="pres">
      <dgm:prSet presAssocID="{9B5DCC2C-B65A-4219-B0EF-F196CCA24B3B}" presName="Name37" presStyleLbl="parChTrans1D4" presStyleIdx="10" presStyleCnt="18"/>
      <dgm:spPr/>
    </dgm:pt>
    <dgm:pt modelId="{4206FF81-ECE7-485B-B551-75750066251B}" type="pres">
      <dgm:prSet presAssocID="{BBFE14DD-5302-4F02-94B7-DF49461AB877}" presName="hierRoot2" presStyleCnt="0">
        <dgm:presLayoutVars>
          <dgm:hierBranch val="init"/>
        </dgm:presLayoutVars>
      </dgm:prSet>
      <dgm:spPr/>
    </dgm:pt>
    <dgm:pt modelId="{9DF1544E-1363-4FF1-BB6B-B5ACB5BFD88D}" type="pres">
      <dgm:prSet presAssocID="{BBFE14DD-5302-4F02-94B7-DF49461AB877}" presName="rootComposite" presStyleCnt="0"/>
      <dgm:spPr/>
    </dgm:pt>
    <dgm:pt modelId="{B0E46D24-881B-4BFC-8DC6-072A831B5EAE}" type="pres">
      <dgm:prSet presAssocID="{BBFE14DD-5302-4F02-94B7-DF49461AB877}" presName="rootText" presStyleLbl="node4" presStyleIdx="10" presStyleCnt="18">
        <dgm:presLayoutVars>
          <dgm:chPref val="3"/>
        </dgm:presLayoutVars>
      </dgm:prSet>
      <dgm:spPr/>
    </dgm:pt>
    <dgm:pt modelId="{277C39E1-F142-47FE-8B86-FE0B7867A1E6}" type="pres">
      <dgm:prSet presAssocID="{BBFE14DD-5302-4F02-94B7-DF49461AB877}" presName="rootConnector" presStyleLbl="node4" presStyleIdx="10" presStyleCnt="18"/>
      <dgm:spPr/>
    </dgm:pt>
    <dgm:pt modelId="{F621886D-0138-4D84-89F7-64018DD28BB5}" type="pres">
      <dgm:prSet presAssocID="{BBFE14DD-5302-4F02-94B7-DF49461AB877}" presName="hierChild4" presStyleCnt="0"/>
      <dgm:spPr/>
    </dgm:pt>
    <dgm:pt modelId="{EF13A429-2849-4291-A098-036C6C183F31}" type="pres">
      <dgm:prSet presAssocID="{BBFE14DD-5302-4F02-94B7-DF49461AB877}" presName="hierChild5" presStyleCnt="0"/>
      <dgm:spPr/>
    </dgm:pt>
    <dgm:pt modelId="{F58FF637-EEB3-4E77-8D9E-0F3F5DFFD066}" type="pres">
      <dgm:prSet presAssocID="{2F7608ED-20AF-4261-BF52-008AC1C4716C}" presName="Name37" presStyleLbl="parChTrans1D4" presStyleIdx="11" presStyleCnt="18"/>
      <dgm:spPr/>
    </dgm:pt>
    <dgm:pt modelId="{7702D588-ABB1-4FDF-A87F-796247848864}" type="pres">
      <dgm:prSet presAssocID="{AE8D84EC-5723-4E70-82C0-278F08BA7CB7}" presName="hierRoot2" presStyleCnt="0">
        <dgm:presLayoutVars>
          <dgm:hierBranch val="init"/>
        </dgm:presLayoutVars>
      </dgm:prSet>
      <dgm:spPr/>
    </dgm:pt>
    <dgm:pt modelId="{CAF74905-AA42-4F19-AC7F-FD48EC52D653}" type="pres">
      <dgm:prSet presAssocID="{AE8D84EC-5723-4E70-82C0-278F08BA7CB7}" presName="rootComposite" presStyleCnt="0"/>
      <dgm:spPr/>
    </dgm:pt>
    <dgm:pt modelId="{49DF325D-BE4D-44F2-9D6D-0B125E5F3AB9}" type="pres">
      <dgm:prSet presAssocID="{AE8D84EC-5723-4E70-82C0-278F08BA7CB7}" presName="rootText" presStyleLbl="node4" presStyleIdx="11" presStyleCnt="18">
        <dgm:presLayoutVars>
          <dgm:chPref val="3"/>
        </dgm:presLayoutVars>
      </dgm:prSet>
      <dgm:spPr/>
    </dgm:pt>
    <dgm:pt modelId="{A29826AB-C7AF-495F-91EE-98BD40B094D1}" type="pres">
      <dgm:prSet presAssocID="{AE8D84EC-5723-4E70-82C0-278F08BA7CB7}" presName="rootConnector" presStyleLbl="node4" presStyleIdx="11" presStyleCnt="18"/>
      <dgm:spPr/>
    </dgm:pt>
    <dgm:pt modelId="{2FF67FC8-C9E9-422E-A539-51FFCD684423}" type="pres">
      <dgm:prSet presAssocID="{AE8D84EC-5723-4E70-82C0-278F08BA7CB7}" presName="hierChild4" presStyleCnt="0"/>
      <dgm:spPr/>
    </dgm:pt>
    <dgm:pt modelId="{D58A9905-2186-45A8-8604-926898AADCAC}" type="pres">
      <dgm:prSet presAssocID="{AE8D84EC-5723-4E70-82C0-278F08BA7CB7}" presName="hierChild5" presStyleCnt="0"/>
      <dgm:spPr/>
    </dgm:pt>
    <dgm:pt modelId="{A9A2E65A-9EE1-4223-88F2-EDEA23DD54AD}" type="pres">
      <dgm:prSet presAssocID="{4D269F7E-36CD-4C27-A7BB-2E02EFAEF4F3}" presName="hierChild5" presStyleCnt="0"/>
      <dgm:spPr/>
    </dgm:pt>
    <dgm:pt modelId="{DC375D88-D09A-4C25-ACA0-8673CDA2EE5A}" type="pres">
      <dgm:prSet presAssocID="{3E4B0800-563D-4C2E-994B-A5B8F242A6C2}" presName="hierChild5" presStyleCnt="0"/>
      <dgm:spPr/>
    </dgm:pt>
    <dgm:pt modelId="{EC095FEF-F6D4-4A2C-BCC4-5625B4BE6379}" type="pres">
      <dgm:prSet presAssocID="{2B5F5A8C-3980-48AC-9FD8-68CB7F72D1B6}" presName="Name37" presStyleLbl="parChTrans1D4" presStyleIdx="12" presStyleCnt="18"/>
      <dgm:spPr/>
    </dgm:pt>
    <dgm:pt modelId="{9F5105A1-968F-46B2-9DA5-334855223F3D}" type="pres">
      <dgm:prSet presAssocID="{A4F3CB2E-1B38-4B04-9E8F-BAE3FB4028E0}" presName="hierRoot2" presStyleCnt="0">
        <dgm:presLayoutVars>
          <dgm:hierBranch val="init"/>
        </dgm:presLayoutVars>
      </dgm:prSet>
      <dgm:spPr/>
    </dgm:pt>
    <dgm:pt modelId="{77C76408-36DA-49D2-BDA7-ACBCFF7A3B67}" type="pres">
      <dgm:prSet presAssocID="{A4F3CB2E-1B38-4B04-9E8F-BAE3FB4028E0}" presName="rootComposite" presStyleCnt="0"/>
      <dgm:spPr/>
    </dgm:pt>
    <dgm:pt modelId="{A5C187CB-AA7F-4DCB-AEB3-96B3DE30EBC5}" type="pres">
      <dgm:prSet presAssocID="{A4F3CB2E-1B38-4B04-9E8F-BAE3FB4028E0}" presName="rootText" presStyleLbl="node4" presStyleIdx="12" presStyleCnt="18">
        <dgm:presLayoutVars>
          <dgm:chPref val="3"/>
        </dgm:presLayoutVars>
      </dgm:prSet>
      <dgm:spPr/>
    </dgm:pt>
    <dgm:pt modelId="{66FFD305-C62B-457E-8864-15D521895810}" type="pres">
      <dgm:prSet presAssocID="{A4F3CB2E-1B38-4B04-9E8F-BAE3FB4028E0}" presName="rootConnector" presStyleLbl="node4" presStyleIdx="12" presStyleCnt="18"/>
      <dgm:spPr/>
    </dgm:pt>
    <dgm:pt modelId="{49D08461-6874-447F-85A6-E6D462C16DAE}" type="pres">
      <dgm:prSet presAssocID="{A4F3CB2E-1B38-4B04-9E8F-BAE3FB4028E0}" presName="hierChild4" presStyleCnt="0"/>
      <dgm:spPr/>
    </dgm:pt>
    <dgm:pt modelId="{0AD3E218-D896-4A66-9B13-FAB5A3EFAB51}" type="pres">
      <dgm:prSet presAssocID="{4A2DF58D-C0E8-4E59-A040-E3DFCBAC482A}" presName="Name37" presStyleLbl="parChTrans1D4" presStyleIdx="13" presStyleCnt="18"/>
      <dgm:spPr/>
    </dgm:pt>
    <dgm:pt modelId="{1F27A33E-7E71-4D20-B8B0-5F3EBAB52A98}" type="pres">
      <dgm:prSet presAssocID="{20A3093F-B6A8-4080-9FD5-76064589B12C}" presName="hierRoot2" presStyleCnt="0">
        <dgm:presLayoutVars>
          <dgm:hierBranch val="init"/>
        </dgm:presLayoutVars>
      </dgm:prSet>
      <dgm:spPr/>
    </dgm:pt>
    <dgm:pt modelId="{7840FBA1-71B1-4DFC-9375-FB9CDB4E0EBA}" type="pres">
      <dgm:prSet presAssocID="{20A3093F-B6A8-4080-9FD5-76064589B12C}" presName="rootComposite" presStyleCnt="0"/>
      <dgm:spPr/>
    </dgm:pt>
    <dgm:pt modelId="{A4E294B2-912F-431D-9926-FC1C1089F297}" type="pres">
      <dgm:prSet presAssocID="{20A3093F-B6A8-4080-9FD5-76064589B12C}" presName="rootText" presStyleLbl="node4" presStyleIdx="13" presStyleCnt="18">
        <dgm:presLayoutVars>
          <dgm:chPref val="3"/>
        </dgm:presLayoutVars>
      </dgm:prSet>
      <dgm:spPr/>
    </dgm:pt>
    <dgm:pt modelId="{9AE4758F-F30A-408E-9809-8F3F58289D1C}" type="pres">
      <dgm:prSet presAssocID="{20A3093F-B6A8-4080-9FD5-76064589B12C}" presName="rootConnector" presStyleLbl="node4" presStyleIdx="13" presStyleCnt="18"/>
      <dgm:spPr/>
    </dgm:pt>
    <dgm:pt modelId="{6C581061-383C-4068-A4E5-234EB59D739F}" type="pres">
      <dgm:prSet presAssocID="{20A3093F-B6A8-4080-9FD5-76064589B12C}" presName="hierChild4" presStyleCnt="0"/>
      <dgm:spPr/>
    </dgm:pt>
    <dgm:pt modelId="{73CB9A27-6B0F-4481-8072-9B46E424F45A}" type="pres">
      <dgm:prSet presAssocID="{C49289AF-BFB5-4B8E-852E-EDF462FC02B4}" presName="Name37" presStyleLbl="parChTrans1D4" presStyleIdx="14" presStyleCnt="18"/>
      <dgm:spPr/>
    </dgm:pt>
    <dgm:pt modelId="{63A1BFD0-15D5-4A64-A953-54042DD8B43C}" type="pres">
      <dgm:prSet presAssocID="{47DDA215-7E87-42C8-8F89-99BDABE92420}" presName="hierRoot2" presStyleCnt="0">
        <dgm:presLayoutVars>
          <dgm:hierBranch val="init"/>
        </dgm:presLayoutVars>
      </dgm:prSet>
      <dgm:spPr/>
    </dgm:pt>
    <dgm:pt modelId="{0E1BAAEB-1818-4B34-A933-1E7D2E04B683}" type="pres">
      <dgm:prSet presAssocID="{47DDA215-7E87-42C8-8F89-99BDABE92420}" presName="rootComposite" presStyleCnt="0"/>
      <dgm:spPr/>
    </dgm:pt>
    <dgm:pt modelId="{9ED85F64-90FE-49CE-8E48-2745EA207C02}" type="pres">
      <dgm:prSet presAssocID="{47DDA215-7E87-42C8-8F89-99BDABE92420}" presName="rootText" presStyleLbl="node4" presStyleIdx="14" presStyleCnt="18">
        <dgm:presLayoutVars>
          <dgm:chPref val="3"/>
        </dgm:presLayoutVars>
      </dgm:prSet>
      <dgm:spPr/>
    </dgm:pt>
    <dgm:pt modelId="{C771289B-C3EC-4A46-8684-2B88DD7D8E62}" type="pres">
      <dgm:prSet presAssocID="{47DDA215-7E87-42C8-8F89-99BDABE92420}" presName="rootConnector" presStyleLbl="node4" presStyleIdx="14" presStyleCnt="18"/>
      <dgm:spPr/>
    </dgm:pt>
    <dgm:pt modelId="{04C9BD8E-F2A8-414A-8323-4A725A43359E}" type="pres">
      <dgm:prSet presAssocID="{47DDA215-7E87-42C8-8F89-99BDABE92420}" presName="hierChild4" presStyleCnt="0"/>
      <dgm:spPr/>
    </dgm:pt>
    <dgm:pt modelId="{295C3782-AD13-4FDA-97A2-026F5F7F657A}" type="pres">
      <dgm:prSet presAssocID="{47DDA215-7E87-42C8-8F89-99BDABE92420}" presName="hierChild5" presStyleCnt="0"/>
      <dgm:spPr/>
    </dgm:pt>
    <dgm:pt modelId="{068E9964-253E-4DE4-9739-8E5F26FF91EA}" type="pres">
      <dgm:prSet presAssocID="{3BE0094B-BCCD-4925-9561-8962453B70DF}" presName="Name37" presStyleLbl="parChTrans1D4" presStyleIdx="15" presStyleCnt="18"/>
      <dgm:spPr/>
    </dgm:pt>
    <dgm:pt modelId="{D6385EC9-6BC9-4895-9165-93C115C9D246}" type="pres">
      <dgm:prSet presAssocID="{7A3340B5-7CC3-4BE9-AFFF-65CC2989375C}" presName="hierRoot2" presStyleCnt="0">
        <dgm:presLayoutVars>
          <dgm:hierBranch val="init"/>
        </dgm:presLayoutVars>
      </dgm:prSet>
      <dgm:spPr/>
    </dgm:pt>
    <dgm:pt modelId="{9A2CF9D8-59B1-4B77-8AED-A5A8831F3CD6}" type="pres">
      <dgm:prSet presAssocID="{7A3340B5-7CC3-4BE9-AFFF-65CC2989375C}" presName="rootComposite" presStyleCnt="0"/>
      <dgm:spPr/>
    </dgm:pt>
    <dgm:pt modelId="{FF60B2C5-9870-406D-B7BE-8700FF11B940}" type="pres">
      <dgm:prSet presAssocID="{7A3340B5-7CC3-4BE9-AFFF-65CC2989375C}" presName="rootText" presStyleLbl="node4" presStyleIdx="15" presStyleCnt="18">
        <dgm:presLayoutVars>
          <dgm:chPref val="3"/>
        </dgm:presLayoutVars>
      </dgm:prSet>
      <dgm:spPr/>
    </dgm:pt>
    <dgm:pt modelId="{44EC8DB5-DA2B-42AA-A160-000251C5BF59}" type="pres">
      <dgm:prSet presAssocID="{7A3340B5-7CC3-4BE9-AFFF-65CC2989375C}" presName="rootConnector" presStyleLbl="node4" presStyleIdx="15" presStyleCnt="18"/>
      <dgm:spPr/>
    </dgm:pt>
    <dgm:pt modelId="{E2C253D1-2F81-426F-98BB-2614E3937403}" type="pres">
      <dgm:prSet presAssocID="{7A3340B5-7CC3-4BE9-AFFF-65CC2989375C}" presName="hierChild4" presStyleCnt="0"/>
      <dgm:spPr/>
    </dgm:pt>
    <dgm:pt modelId="{9933F1CD-A74F-4517-8A9F-4BAF0797C912}" type="pres">
      <dgm:prSet presAssocID="{7A3340B5-7CC3-4BE9-AFFF-65CC2989375C}" presName="hierChild5" presStyleCnt="0"/>
      <dgm:spPr/>
    </dgm:pt>
    <dgm:pt modelId="{75D538CB-C1B8-4306-BB87-D382455616C1}" type="pres">
      <dgm:prSet presAssocID="{6EF3DF2F-7D17-42E1-BD75-2544A3002A2E}" presName="Name37" presStyleLbl="parChTrans1D4" presStyleIdx="16" presStyleCnt="18"/>
      <dgm:spPr/>
    </dgm:pt>
    <dgm:pt modelId="{7A20B48F-C459-4100-AF87-D2E8F8F84606}" type="pres">
      <dgm:prSet presAssocID="{48E3D868-0A55-41B1-AF3C-59F36C3BA059}" presName="hierRoot2" presStyleCnt="0">
        <dgm:presLayoutVars>
          <dgm:hierBranch val="init"/>
        </dgm:presLayoutVars>
      </dgm:prSet>
      <dgm:spPr/>
    </dgm:pt>
    <dgm:pt modelId="{878BCBF9-EDD8-42FB-B3E8-85418E75748E}" type="pres">
      <dgm:prSet presAssocID="{48E3D868-0A55-41B1-AF3C-59F36C3BA059}" presName="rootComposite" presStyleCnt="0"/>
      <dgm:spPr/>
    </dgm:pt>
    <dgm:pt modelId="{A0A3BEB1-EE10-49C5-8165-0923ECF1DB4C}" type="pres">
      <dgm:prSet presAssocID="{48E3D868-0A55-41B1-AF3C-59F36C3BA059}" presName="rootText" presStyleLbl="node4" presStyleIdx="16" presStyleCnt="18">
        <dgm:presLayoutVars>
          <dgm:chPref val="3"/>
        </dgm:presLayoutVars>
      </dgm:prSet>
      <dgm:spPr/>
    </dgm:pt>
    <dgm:pt modelId="{9BE4EABB-22B2-47B4-A379-FFC6DFF907CF}" type="pres">
      <dgm:prSet presAssocID="{48E3D868-0A55-41B1-AF3C-59F36C3BA059}" presName="rootConnector" presStyleLbl="node4" presStyleIdx="16" presStyleCnt="18"/>
      <dgm:spPr/>
    </dgm:pt>
    <dgm:pt modelId="{099FFC0E-5C01-4952-9945-370B98C651CE}" type="pres">
      <dgm:prSet presAssocID="{48E3D868-0A55-41B1-AF3C-59F36C3BA059}" presName="hierChild4" presStyleCnt="0"/>
      <dgm:spPr/>
    </dgm:pt>
    <dgm:pt modelId="{01E59540-DF54-486D-9509-7780D3C57C88}" type="pres">
      <dgm:prSet presAssocID="{48E3D868-0A55-41B1-AF3C-59F36C3BA059}" presName="hierChild5" presStyleCnt="0"/>
      <dgm:spPr/>
    </dgm:pt>
    <dgm:pt modelId="{8718B2DC-A7CB-427D-B3C6-1788CB44125B}" type="pres">
      <dgm:prSet presAssocID="{A70EA753-D44D-4A2D-B3C1-277E96EFF016}" presName="Name37" presStyleLbl="parChTrans1D4" presStyleIdx="17" presStyleCnt="18"/>
      <dgm:spPr/>
    </dgm:pt>
    <dgm:pt modelId="{7BEE5AAB-62D0-4BAD-9FDA-F4570CEC6F6D}" type="pres">
      <dgm:prSet presAssocID="{5C20C522-B038-4AEA-A5CB-7A6639FD41F5}" presName="hierRoot2" presStyleCnt="0">
        <dgm:presLayoutVars>
          <dgm:hierBranch val="init"/>
        </dgm:presLayoutVars>
      </dgm:prSet>
      <dgm:spPr/>
    </dgm:pt>
    <dgm:pt modelId="{FD695140-5D68-4E33-96C3-3A581EAD4E71}" type="pres">
      <dgm:prSet presAssocID="{5C20C522-B038-4AEA-A5CB-7A6639FD41F5}" presName="rootComposite" presStyleCnt="0"/>
      <dgm:spPr/>
    </dgm:pt>
    <dgm:pt modelId="{683C0244-C852-481F-BB20-BB84A5DB59B4}" type="pres">
      <dgm:prSet presAssocID="{5C20C522-B038-4AEA-A5CB-7A6639FD41F5}" presName="rootText" presStyleLbl="node4" presStyleIdx="17" presStyleCnt="18">
        <dgm:presLayoutVars>
          <dgm:chPref val="3"/>
        </dgm:presLayoutVars>
      </dgm:prSet>
      <dgm:spPr/>
    </dgm:pt>
    <dgm:pt modelId="{558D1C93-E72F-4D93-8D94-BE51EAFA6E47}" type="pres">
      <dgm:prSet presAssocID="{5C20C522-B038-4AEA-A5CB-7A6639FD41F5}" presName="rootConnector" presStyleLbl="node4" presStyleIdx="17" presStyleCnt="18"/>
      <dgm:spPr/>
    </dgm:pt>
    <dgm:pt modelId="{7ED0828A-9834-4C2A-A51E-3470B39E1D42}" type="pres">
      <dgm:prSet presAssocID="{5C20C522-B038-4AEA-A5CB-7A6639FD41F5}" presName="hierChild4" presStyleCnt="0"/>
      <dgm:spPr/>
    </dgm:pt>
    <dgm:pt modelId="{07B70CBC-B693-48B6-B3CC-FFE78E7BF5E4}" type="pres">
      <dgm:prSet presAssocID="{5C20C522-B038-4AEA-A5CB-7A6639FD41F5}" presName="hierChild5" presStyleCnt="0"/>
      <dgm:spPr/>
    </dgm:pt>
    <dgm:pt modelId="{0DB4F985-5538-4ED7-95A6-9073F7995800}" type="pres">
      <dgm:prSet presAssocID="{20A3093F-B6A8-4080-9FD5-76064589B12C}" presName="hierChild5" presStyleCnt="0"/>
      <dgm:spPr/>
    </dgm:pt>
    <dgm:pt modelId="{8F80488D-1853-42C2-BC2D-7E854B45D9D2}" type="pres">
      <dgm:prSet presAssocID="{A4F3CB2E-1B38-4B04-9E8F-BAE3FB4028E0}" presName="hierChild5" presStyleCnt="0"/>
      <dgm:spPr/>
    </dgm:pt>
    <dgm:pt modelId="{130C22DF-7E08-4417-B71B-B65BACF32249}" type="pres">
      <dgm:prSet presAssocID="{6033F925-C53C-432F-B322-748BA49B9BBC}" presName="hierChild5" presStyleCnt="0"/>
      <dgm:spPr/>
    </dgm:pt>
    <dgm:pt modelId="{58B9D199-3F1D-4BAD-8146-BE5F52690279}" type="pres">
      <dgm:prSet presAssocID="{0CD358A5-62BB-416C-840E-EC04ACDD151F}" presName="hierChild5" presStyleCnt="0"/>
      <dgm:spPr/>
    </dgm:pt>
    <dgm:pt modelId="{B884C415-CF1F-472E-942E-625764AA78A6}" type="pres">
      <dgm:prSet presAssocID="{B4EDA48B-14EF-4CEB-A204-56BD09392C12}" presName="hierChild3" presStyleCnt="0"/>
      <dgm:spPr/>
    </dgm:pt>
  </dgm:ptLst>
  <dgm:cxnLst>
    <dgm:cxn modelId="{8CF3F700-8B12-449C-A999-FA40164CCE78}" type="presOf" srcId="{1D12B59F-F23A-42F1-807C-8BC50B329EAF}" destId="{BD555D5C-EDE1-41FF-90DE-96CBFC375080}" srcOrd="0" destOrd="0" presId="urn:microsoft.com/office/officeart/2005/8/layout/orgChart1"/>
    <dgm:cxn modelId="{E83FC101-688A-4F86-86C0-35BE627BB498}" type="presOf" srcId="{68BB3B19-29EA-43BD-ACAE-379709371974}" destId="{70E6D663-3A4F-4F47-B190-B4D8B964D0F3}" srcOrd="0" destOrd="0" presId="urn:microsoft.com/office/officeart/2005/8/layout/orgChart1"/>
    <dgm:cxn modelId="{F5F20F04-1589-452A-8B89-720AFB542236}" type="presOf" srcId="{47DDA215-7E87-42C8-8F89-99BDABE92420}" destId="{C771289B-C3EC-4A46-8684-2B88DD7D8E62}" srcOrd="1" destOrd="0" presId="urn:microsoft.com/office/officeart/2005/8/layout/orgChart1"/>
    <dgm:cxn modelId="{B05B1E05-C0D8-40DD-8630-E1FAD1D91870}" type="presOf" srcId="{0CD358A5-62BB-416C-840E-EC04ACDD151F}" destId="{DEDD84E5-B40E-43CC-8555-D82A27F29977}" srcOrd="1" destOrd="0" presId="urn:microsoft.com/office/officeart/2005/8/layout/orgChart1"/>
    <dgm:cxn modelId="{C692ED0D-56F1-4CBF-B76B-9155603B9A5E}" srcId="{20A3093F-B6A8-4080-9FD5-76064589B12C}" destId="{48E3D868-0A55-41B1-AF3C-59F36C3BA059}" srcOrd="2" destOrd="0" parTransId="{6EF3DF2F-7D17-42E1-BD75-2544A3002A2E}" sibTransId="{20588E51-230F-4C91-BFF3-8FD9A0F6C70E}"/>
    <dgm:cxn modelId="{7964B516-3592-446D-A36B-1B2C336BFEAA}" type="presOf" srcId="{7A3340B5-7CC3-4BE9-AFFF-65CC2989375C}" destId="{44EC8DB5-DA2B-42AA-A160-000251C5BF59}" srcOrd="1" destOrd="0" presId="urn:microsoft.com/office/officeart/2005/8/layout/orgChart1"/>
    <dgm:cxn modelId="{15F17319-54A8-4E2B-B85F-A083AA661C77}" type="presOf" srcId="{D48BAEDC-DA29-471C-9D29-726560BE5721}" destId="{E4C0E45F-BB4B-4CE2-9AD0-83EF8BF1E420}" srcOrd="0" destOrd="0" presId="urn:microsoft.com/office/officeart/2005/8/layout/orgChart1"/>
    <dgm:cxn modelId="{E873E91E-C0BC-4466-AADA-399F37EAB422}" type="presOf" srcId="{537E5373-DADB-45E7-B84E-C986F8B03B56}" destId="{E82776DF-4D08-439E-A1E9-52733CA2DE33}" srcOrd="0" destOrd="0" presId="urn:microsoft.com/office/officeart/2005/8/layout/orgChart1"/>
    <dgm:cxn modelId="{E1991020-203A-4D85-A717-146240365C7E}" srcId="{20A3093F-B6A8-4080-9FD5-76064589B12C}" destId="{7A3340B5-7CC3-4BE9-AFFF-65CC2989375C}" srcOrd="1" destOrd="0" parTransId="{3BE0094B-BCCD-4925-9561-8962453B70DF}" sibTransId="{44E8A7BC-54CF-417F-8513-BD0CF4B537AD}"/>
    <dgm:cxn modelId="{BD74BB20-BFD9-4116-A74A-D966D28D89C7}" type="presOf" srcId="{20A3093F-B6A8-4080-9FD5-76064589B12C}" destId="{A4E294B2-912F-431D-9926-FC1C1089F297}" srcOrd="0" destOrd="0" presId="urn:microsoft.com/office/officeart/2005/8/layout/orgChart1"/>
    <dgm:cxn modelId="{66125321-2BCE-4141-9797-0995A49B6634}" type="presOf" srcId="{BBFE14DD-5302-4F02-94B7-DF49461AB877}" destId="{B0E46D24-881B-4BFC-8DC6-072A831B5EAE}" srcOrd="0" destOrd="0" presId="urn:microsoft.com/office/officeart/2005/8/layout/orgChart1"/>
    <dgm:cxn modelId="{D0E06822-20B7-4969-A6A1-8F3C47BE58EA}" type="presOf" srcId="{A70EA753-D44D-4A2D-B3C1-277E96EFF016}" destId="{8718B2DC-A7CB-427D-B3C6-1788CB44125B}" srcOrd="0" destOrd="0" presId="urn:microsoft.com/office/officeart/2005/8/layout/orgChart1"/>
    <dgm:cxn modelId="{CFB0EE23-13EA-4E48-B32B-5B2577381863}" srcId="{4D269F7E-36CD-4C27-A7BB-2E02EFAEF4F3}" destId="{171B3365-0E24-4AE4-BBD0-092EB1A7B0F5}" srcOrd="1" destOrd="0" parTransId="{68BB3B19-29EA-43BD-ACAE-379709371974}" sibTransId="{1335F49A-77BA-4927-B034-EF2B3F5FF4F7}"/>
    <dgm:cxn modelId="{7FA93C26-4721-42F4-A8C9-9A15CB8451C8}" srcId="{3E4B0800-563D-4C2E-994B-A5B8F242A6C2}" destId="{4D269F7E-36CD-4C27-A7BB-2E02EFAEF4F3}" srcOrd="0" destOrd="0" parTransId="{162099D6-E6D9-4F2A-881D-52EC6D015268}" sibTransId="{8D422214-60B1-4C25-ABC2-95665BF3F2E5}"/>
    <dgm:cxn modelId="{BA843D26-0B99-43C3-B0D9-67D1035D312A}" type="presOf" srcId="{7ED1547E-FDEE-45DD-B8B2-F82B8B99E96A}" destId="{F2DC3334-CF21-40DF-86EE-3C8AA0D88195}" srcOrd="0" destOrd="0" presId="urn:microsoft.com/office/officeart/2005/8/layout/orgChart1"/>
    <dgm:cxn modelId="{A0F1A329-B433-4140-98EB-AB03F273D3DF}" srcId="{6033F925-C53C-432F-B322-748BA49B9BBC}" destId="{370830BE-8FD2-4276-8151-FB395B5AD7B4}" srcOrd="0" destOrd="0" parTransId="{64235E44-450B-45F2-839C-FEC7005067D8}" sibTransId="{87F7105B-2DB6-4F1A-B499-1805F67E456D}"/>
    <dgm:cxn modelId="{40C74B2B-9489-4FEA-8811-08169F540824}" type="presOf" srcId="{171B3365-0E24-4AE4-BBD0-092EB1A7B0F5}" destId="{EC108F7A-F01B-4F90-B20F-3BEAE19BFCBB}" srcOrd="1" destOrd="0" presId="urn:microsoft.com/office/officeart/2005/8/layout/orgChart1"/>
    <dgm:cxn modelId="{FE48B82C-E3B2-4C4C-8BA5-2BEA60E506BC}" type="presOf" srcId="{2D28169C-6775-4DB2-8331-647006AEFB5F}" destId="{840C9610-7C05-430C-9C8F-B8B7678AC015}" srcOrd="0" destOrd="0" presId="urn:microsoft.com/office/officeart/2005/8/layout/orgChart1"/>
    <dgm:cxn modelId="{8AF9D82D-36E4-451F-BDCE-560F74AA1AC6}" srcId="{6033F925-C53C-432F-B322-748BA49B9BBC}" destId="{A4F3CB2E-1B38-4B04-9E8F-BAE3FB4028E0}" srcOrd="2" destOrd="0" parTransId="{2B5F5A8C-3980-48AC-9FD8-68CB7F72D1B6}" sibTransId="{E1E875C2-69B9-479A-B3E2-BFD8A7E31814}"/>
    <dgm:cxn modelId="{0AEA712E-8D1A-41B3-A3BD-AAA0F1D30830}" srcId="{2D28169C-6775-4DB2-8331-647006AEFB5F}" destId="{8F7BB710-4074-48F5-BB7D-4E37D0166961}" srcOrd="2" destOrd="0" parTransId="{8CE34781-3EE9-4A73-8C10-84BCFC060EED}" sibTransId="{12A882E0-B8B0-435E-BF61-54748C9B2FCA}"/>
    <dgm:cxn modelId="{EB7A4331-3483-44C3-9A2D-66404F998DEF}" type="presOf" srcId="{370830BE-8FD2-4276-8151-FB395B5AD7B4}" destId="{A3225CC5-1E03-4405-9FF1-406D3724E171}" srcOrd="1" destOrd="0" presId="urn:microsoft.com/office/officeart/2005/8/layout/orgChart1"/>
    <dgm:cxn modelId="{EB378534-E8B6-4DEE-A164-34F0C71182AF}" srcId="{6033F925-C53C-432F-B322-748BA49B9BBC}" destId="{3E4B0800-563D-4C2E-994B-A5B8F242A6C2}" srcOrd="1" destOrd="0" parTransId="{7ED1547E-FDEE-45DD-B8B2-F82B8B99E96A}" sibTransId="{AECCB558-C2BD-45BF-9AF3-CE66BB6130DF}"/>
    <dgm:cxn modelId="{068B9034-77FF-483B-B6CD-62FB879AE883}" type="presOf" srcId="{B73CC65B-DE37-462A-8F1C-EC9C024E2ED9}" destId="{4C532352-B15F-45D5-B03E-8A9825D09DE6}" srcOrd="1" destOrd="0" presId="urn:microsoft.com/office/officeart/2005/8/layout/orgChart1"/>
    <dgm:cxn modelId="{E65C443C-00DF-4A33-B1FC-7821100BBD60}" srcId="{20A3093F-B6A8-4080-9FD5-76064589B12C}" destId="{47DDA215-7E87-42C8-8F89-99BDABE92420}" srcOrd="0" destOrd="0" parTransId="{C49289AF-BFB5-4B8E-852E-EDF462FC02B4}" sibTransId="{23B6AB65-5484-4257-9626-C03597E64F47}"/>
    <dgm:cxn modelId="{F09ACF3D-D37D-4EB3-9865-D1759AF81F0E}" type="presOf" srcId="{1D12B59F-F23A-42F1-807C-8BC50B329EAF}" destId="{EC68F809-1D68-45BB-BEF6-54F3BB50FDD6}" srcOrd="1" destOrd="0" presId="urn:microsoft.com/office/officeart/2005/8/layout/orgChart1"/>
    <dgm:cxn modelId="{0395435C-D3D0-401F-B4D5-25D0AB7CB208}" type="presOf" srcId="{6033F925-C53C-432F-B322-748BA49B9BBC}" destId="{71C91BE9-CA70-48E7-873C-1AB5C3E230D2}" srcOrd="1" destOrd="0" presId="urn:microsoft.com/office/officeart/2005/8/layout/orgChart1"/>
    <dgm:cxn modelId="{0E8D555C-7E90-4DA4-9FC4-C7764D41D2BB}" srcId="{2D28169C-6775-4DB2-8331-647006AEFB5F}" destId="{1D12B59F-F23A-42F1-807C-8BC50B329EAF}" srcOrd="0" destOrd="0" parTransId="{7E1C32CF-E338-4C36-B6A9-756454882470}" sibTransId="{FB358033-AF8D-4398-B96E-6DC4A1B94499}"/>
    <dgm:cxn modelId="{B95C2B60-6349-4280-8A74-213D1FEAF303}" srcId="{B4EDA48B-14EF-4CEB-A204-56BD09392C12}" destId="{0CD358A5-62BB-416C-840E-EC04ACDD151F}" srcOrd="0" destOrd="0" parTransId="{E5B74BAC-2F1C-457D-ACE4-FE572A5A374D}" sibTransId="{56A31784-2083-4484-AA29-885C91B856AA}"/>
    <dgm:cxn modelId="{156C5843-D25C-4B45-BB11-BD6CD0E4BA18}" type="presOf" srcId="{5C20C522-B038-4AEA-A5CB-7A6639FD41F5}" destId="{683C0244-C852-481F-BB20-BB84A5DB59B4}" srcOrd="0" destOrd="0" presId="urn:microsoft.com/office/officeart/2005/8/layout/orgChart1"/>
    <dgm:cxn modelId="{2C5AE566-3815-47CE-83AD-2959E3CFC496}" type="presOf" srcId="{A4F3CB2E-1B38-4B04-9E8F-BAE3FB4028E0}" destId="{66FFD305-C62B-457E-8864-15D521895810}" srcOrd="1" destOrd="0" presId="urn:microsoft.com/office/officeart/2005/8/layout/orgChart1"/>
    <dgm:cxn modelId="{1B91FA66-9C21-4F54-9C3D-2177A9831A44}" srcId="{4D269F7E-36CD-4C27-A7BB-2E02EFAEF4F3}" destId="{BBFE14DD-5302-4F02-94B7-DF49461AB877}" srcOrd="2" destOrd="0" parTransId="{9B5DCC2C-B65A-4219-B0EF-F196CCA24B3B}" sibTransId="{1042E91F-1A7B-49D4-BFAE-2A37B987DA0A}"/>
    <dgm:cxn modelId="{CF589C47-08DD-4E40-91F7-DAFF6F4FB4BF}" type="presOf" srcId="{C49289AF-BFB5-4B8E-852E-EDF462FC02B4}" destId="{73CB9A27-6B0F-4481-8072-9B46E424F45A}" srcOrd="0" destOrd="0" presId="urn:microsoft.com/office/officeart/2005/8/layout/orgChart1"/>
    <dgm:cxn modelId="{57166049-1B05-4824-B11E-AE0AA42A7AB4}" type="presOf" srcId="{4D269F7E-36CD-4C27-A7BB-2E02EFAEF4F3}" destId="{E6B7816D-A25C-4BF1-8162-297A9EC771D7}" srcOrd="1" destOrd="0" presId="urn:microsoft.com/office/officeart/2005/8/layout/orgChart1"/>
    <dgm:cxn modelId="{88C4536B-F7B1-454A-AE30-2F3B95D64321}" type="presOf" srcId="{8CE34781-3EE9-4A73-8C10-84BCFC060EED}" destId="{21E99B23-DE71-4E77-BF57-CE2BD4A2185B}" srcOrd="0" destOrd="0" presId="urn:microsoft.com/office/officeart/2005/8/layout/orgChart1"/>
    <dgm:cxn modelId="{40A35C6D-17DD-4A85-A7EB-D010157D5E30}" srcId="{2D28169C-6775-4DB2-8331-647006AEFB5F}" destId="{679316DC-91AD-4342-8D87-3F99AD7B276E}" srcOrd="3" destOrd="0" parTransId="{B568B885-C95C-4EB2-B92C-6350960CF5B5}" sibTransId="{B87F0DF5-9D62-4512-8D8D-CFB877E1E7EA}"/>
    <dgm:cxn modelId="{F0292B4E-C878-4E0C-9720-8CD4519FB8D8}" srcId="{4D269F7E-36CD-4C27-A7BB-2E02EFAEF4F3}" destId="{AE8D84EC-5723-4E70-82C0-278F08BA7CB7}" srcOrd="3" destOrd="0" parTransId="{2F7608ED-20AF-4261-BF52-008AC1C4716C}" sibTransId="{E1A39F60-F431-4EC5-BA59-5E60E22C87E2}"/>
    <dgm:cxn modelId="{1F07376F-6EFA-491C-B49C-7E88B1288A47}" type="presOf" srcId="{171B3365-0E24-4AE4-BBD0-092EB1A7B0F5}" destId="{28745BDD-B2AD-442D-89E6-60B79CDE6840}" srcOrd="0" destOrd="0" presId="urn:microsoft.com/office/officeart/2005/8/layout/orgChart1"/>
    <dgm:cxn modelId="{05371270-9D65-4495-BBD5-5E5D6E4CAC3B}" type="presOf" srcId="{5C20C522-B038-4AEA-A5CB-7A6639FD41F5}" destId="{558D1C93-E72F-4D93-8D94-BE51EAFA6E47}" srcOrd="1" destOrd="0" presId="urn:microsoft.com/office/officeart/2005/8/layout/orgChart1"/>
    <dgm:cxn modelId="{07C56E51-AC02-40FD-BE43-EBABF6469303}" type="presOf" srcId="{4D269F7E-36CD-4C27-A7BB-2E02EFAEF4F3}" destId="{5E1E403E-8218-4B31-BB6F-79C2B29045B8}" srcOrd="0" destOrd="0" presId="urn:microsoft.com/office/officeart/2005/8/layout/orgChart1"/>
    <dgm:cxn modelId="{F1860C72-6FE2-4B31-B317-133CB2E3C24E}" type="presOf" srcId="{64235E44-450B-45F2-839C-FEC7005067D8}" destId="{0BC44771-798B-430F-9446-68210B605177}" srcOrd="0" destOrd="0" presId="urn:microsoft.com/office/officeart/2005/8/layout/orgChart1"/>
    <dgm:cxn modelId="{43298453-3B36-4A95-8421-44AF28535D1E}" type="presOf" srcId="{AE8D84EC-5723-4E70-82C0-278F08BA7CB7}" destId="{49DF325D-BE4D-44F2-9D6D-0B125E5F3AB9}" srcOrd="0" destOrd="0" presId="urn:microsoft.com/office/officeart/2005/8/layout/orgChart1"/>
    <dgm:cxn modelId="{96220E75-9FDC-4B64-A9E0-4EAC5FDF1FA4}" type="presOf" srcId="{48E3D868-0A55-41B1-AF3C-59F36C3BA059}" destId="{A0A3BEB1-EE10-49C5-8165-0923ECF1DB4C}" srcOrd="0" destOrd="0" presId="urn:microsoft.com/office/officeart/2005/8/layout/orgChart1"/>
    <dgm:cxn modelId="{FCD5EF75-6B5E-4140-B739-973C115BA3DB}" type="presOf" srcId="{2D28169C-6775-4DB2-8331-647006AEFB5F}" destId="{889D2D26-1370-4F81-BCA7-87E274FEDF7B}" srcOrd="1" destOrd="0" presId="urn:microsoft.com/office/officeart/2005/8/layout/orgChart1"/>
    <dgm:cxn modelId="{3A4C8658-5276-4A9F-AD80-B6EE379843AF}" srcId="{2D28169C-6775-4DB2-8331-647006AEFB5F}" destId="{B73CC65B-DE37-462A-8F1C-EC9C024E2ED9}" srcOrd="1" destOrd="0" parTransId="{4BFFF529-3499-4109-809D-968712C11F28}" sibTransId="{E740CAE5-5D50-4ED9-BA22-05B434F94AAB}"/>
    <dgm:cxn modelId="{45EA957F-BC7E-4D61-A489-9DA993D5FE96}" type="presOf" srcId="{F57176CA-E231-4710-AA17-BA753DA31249}" destId="{98147B7A-A00F-4AA0-8FCC-A8E7B49AC212}" srcOrd="0" destOrd="0" presId="urn:microsoft.com/office/officeart/2005/8/layout/orgChart1"/>
    <dgm:cxn modelId="{DF4A6B85-5A29-460E-874B-9BD2533930A8}" type="presOf" srcId="{9B5DCC2C-B65A-4219-B0EF-F196CCA24B3B}" destId="{DCF3BD96-AB64-4C3E-BD49-3D22A0E82948}" srcOrd="0" destOrd="0" presId="urn:microsoft.com/office/officeart/2005/8/layout/orgChart1"/>
    <dgm:cxn modelId="{3F982689-7919-4C2B-822A-AE15082868F4}" type="presOf" srcId="{F57176CA-E231-4710-AA17-BA753DA31249}" destId="{464F63E3-17F5-4980-AB26-3DA5D1C7A474}" srcOrd="1" destOrd="0" presId="urn:microsoft.com/office/officeart/2005/8/layout/orgChart1"/>
    <dgm:cxn modelId="{7637228B-E263-48AF-A60B-5011F360FD2D}" type="presOf" srcId="{7E1C32CF-E338-4C36-B6A9-756454882470}" destId="{2C5FACD0-9E70-405B-8F0F-48B527B3F46C}" srcOrd="0" destOrd="0" presId="urn:microsoft.com/office/officeart/2005/8/layout/orgChart1"/>
    <dgm:cxn modelId="{EE9AE58C-B91F-4255-8D00-4CF6465559D3}" type="presOf" srcId="{7A3340B5-7CC3-4BE9-AFFF-65CC2989375C}" destId="{FF60B2C5-9870-406D-B7BE-8700FF11B940}" srcOrd="0" destOrd="0" presId="urn:microsoft.com/office/officeart/2005/8/layout/orgChart1"/>
    <dgm:cxn modelId="{D59F2C8E-DA04-4EF1-AFB7-064DF911A609}" type="presOf" srcId="{6EF3DF2F-7D17-42E1-BD75-2544A3002A2E}" destId="{75D538CB-C1B8-4306-BB87-D382455616C1}" srcOrd="0" destOrd="0" presId="urn:microsoft.com/office/officeart/2005/8/layout/orgChart1"/>
    <dgm:cxn modelId="{5459E192-3376-488E-937A-40FD6FB82A69}" type="presOf" srcId="{679316DC-91AD-4342-8D87-3F99AD7B276E}" destId="{D5C4B290-E84D-4762-9527-694E16B29AC1}" srcOrd="0" destOrd="0" presId="urn:microsoft.com/office/officeart/2005/8/layout/orgChart1"/>
    <dgm:cxn modelId="{1F588D97-A3B6-4972-987E-18694DC95F89}" type="presOf" srcId="{8F7BB710-4074-48F5-BB7D-4E37D0166961}" destId="{A476FEAF-592A-40EA-A65A-B12B83B89B6D}" srcOrd="0" destOrd="0" presId="urn:microsoft.com/office/officeart/2005/8/layout/orgChart1"/>
    <dgm:cxn modelId="{489F679A-8999-4200-BCEF-1D7D23B729BF}" srcId="{370830BE-8FD2-4276-8151-FB395B5AD7B4}" destId="{2D28169C-6775-4DB2-8331-647006AEFB5F}" srcOrd="0" destOrd="0" parTransId="{D48BAEDC-DA29-471C-9D29-726560BE5721}" sibTransId="{FBB11CEF-3982-4916-A13D-E5111182D2B3}"/>
    <dgm:cxn modelId="{F911899C-87F3-42CE-A597-735B4CAACA3E}" type="presOf" srcId="{AE8D84EC-5723-4E70-82C0-278F08BA7CB7}" destId="{A29826AB-C7AF-495F-91EE-98BD40B094D1}" srcOrd="1" destOrd="0" presId="urn:microsoft.com/office/officeart/2005/8/layout/orgChart1"/>
    <dgm:cxn modelId="{8D47B2A4-5F89-41E5-B23F-8848855AB00E}" type="presOf" srcId="{B4EDA48B-14EF-4CEB-A204-56BD09392C12}" destId="{FAD97DF2-A9D4-4384-B2E7-0D75EA2AAE91}" srcOrd="0" destOrd="0" presId="urn:microsoft.com/office/officeart/2005/8/layout/orgChart1"/>
    <dgm:cxn modelId="{65DC53AA-7918-4177-B848-44054D776711}" type="presOf" srcId="{B4EDA48B-14EF-4CEB-A204-56BD09392C12}" destId="{F71BE3E8-4B1F-46E9-B26E-28A360C6F087}" srcOrd="1" destOrd="0" presId="urn:microsoft.com/office/officeart/2005/8/layout/orgChart1"/>
    <dgm:cxn modelId="{4122D4AE-0CC6-4A79-9B93-05B017E1F39B}" type="presOf" srcId="{0CD358A5-62BB-416C-840E-EC04ACDD151F}" destId="{28A756FE-6153-41B4-B3D7-1F287F16B4D8}" srcOrd="0" destOrd="0" presId="urn:microsoft.com/office/officeart/2005/8/layout/orgChart1"/>
    <dgm:cxn modelId="{74442BB0-1DDF-4CFC-A375-31073E24806A}" type="presOf" srcId="{B568B885-C95C-4EB2-B92C-6350960CF5B5}" destId="{D622134D-D035-4737-A9FF-290E9ECB2CD2}" srcOrd="0" destOrd="0" presId="urn:microsoft.com/office/officeart/2005/8/layout/orgChart1"/>
    <dgm:cxn modelId="{9262D7B0-9921-437C-98CA-37002D8D3D63}" type="presOf" srcId="{48E3D868-0A55-41B1-AF3C-59F36C3BA059}" destId="{9BE4EABB-22B2-47B4-A379-FFC6DFF907CF}" srcOrd="1" destOrd="0" presId="urn:microsoft.com/office/officeart/2005/8/layout/orgChart1"/>
    <dgm:cxn modelId="{8FFE2BB1-00AD-484D-956A-958DC9999B7A}" type="presOf" srcId="{4BFFF529-3499-4109-809D-968712C11F28}" destId="{31A8F4D5-4232-422D-9E88-58F4703111E7}" srcOrd="0" destOrd="0" presId="urn:microsoft.com/office/officeart/2005/8/layout/orgChart1"/>
    <dgm:cxn modelId="{71BD6EBD-2344-41BD-81CD-74C026512894}" type="presOf" srcId="{A4F3CB2E-1B38-4B04-9E8F-BAE3FB4028E0}" destId="{A5C187CB-AA7F-4DCB-AEB3-96B3DE30EBC5}" srcOrd="0" destOrd="0" presId="urn:microsoft.com/office/officeart/2005/8/layout/orgChart1"/>
    <dgm:cxn modelId="{AB9EA6BD-9834-4A18-A2BA-6C32511307FA}" srcId="{0CD358A5-62BB-416C-840E-EC04ACDD151F}" destId="{6033F925-C53C-432F-B322-748BA49B9BBC}" srcOrd="0" destOrd="0" parTransId="{8E015318-E212-471B-B2D4-E70C3303F311}" sibTransId="{74650E20-6812-42A3-B468-ECEB4B7DC924}"/>
    <dgm:cxn modelId="{E0F54ABF-F1B1-495C-86A5-96F1EE82A2FB}" srcId="{B6BE5173-42AA-4ADD-AE99-54AFF747C984}" destId="{B4EDA48B-14EF-4CEB-A204-56BD09392C12}" srcOrd="0" destOrd="0" parTransId="{B2F1A534-16F5-425A-9356-BD6BC345FFC2}" sibTransId="{55012494-AECD-4153-975C-38A5F3D55044}"/>
    <dgm:cxn modelId="{875512C5-C85F-43BE-8CDF-C5A5C59647F4}" type="presOf" srcId="{2B5F5A8C-3980-48AC-9FD8-68CB7F72D1B6}" destId="{EC095FEF-F6D4-4A2C-BCC4-5625B4BE6379}" srcOrd="0" destOrd="0" presId="urn:microsoft.com/office/officeart/2005/8/layout/orgChart1"/>
    <dgm:cxn modelId="{4CEBDBC5-FD23-4D7D-880E-4EA8A0F9157A}" type="presOf" srcId="{4A2DF58D-C0E8-4E59-A040-E3DFCBAC482A}" destId="{0AD3E218-D896-4A66-9B13-FAB5A3EFAB51}" srcOrd="0" destOrd="0" presId="urn:microsoft.com/office/officeart/2005/8/layout/orgChart1"/>
    <dgm:cxn modelId="{A2F88ECB-72EC-42D4-A8A7-0EAF12242415}" srcId="{20A3093F-B6A8-4080-9FD5-76064589B12C}" destId="{5C20C522-B038-4AEA-A5CB-7A6639FD41F5}" srcOrd="3" destOrd="0" parTransId="{A70EA753-D44D-4A2D-B3C1-277E96EFF016}" sibTransId="{782D527F-B241-41BF-9BAF-5B663EBBF12C}"/>
    <dgm:cxn modelId="{879084CD-E9C0-4897-9204-84415B00A80A}" srcId="{A4F3CB2E-1B38-4B04-9E8F-BAE3FB4028E0}" destId="{20A3093F-B6A8-4080-9FD5-76064589B12C}" srcOrd="0" destOrd="0" parTransId="{4A2DF58D-C0E8-4E59-A040-E3DFCBAC482A}" sibTransId="{25F6826C-8B9F-45A1-BBFD-7951B1583815}"/>
    <dgm:cxn modelId="{6C3D9DD0-BA91-49E7-B706-12FF1E80E3BB}" type="presOf" srcId="{2F7608ED-20AF-4261-BF52-008AC1C4716C}" destId="{F58FF637-EEB3-4E77-8D9E-0F3F5DFFD066}" srcOrd="0" destOrd="0" presId="urn:microsoft.com/office/officeart/2005/8/layout/orgChart1"/>
    <dgm:cxn modelId="{0ABAFFD4-E294-4901-9708-6C70F71786FF}" type="presOf" srcId="{162099D6-E6D9-4F2A-881D-52EC6D015268}" destId="{D3FE98AD-AB5B-42E1-A107-8B6F9AE24316}" srcOrd="0" destOrd="0" presId="urn:microsoft.com/office/officeart/2005/8/layout/orgChart1"/>
    <dgm:cxn modelId="{F7D8F0D7-E718-46D5-9535-3D0CD4E0449C}" type="presOf" srcId="{370830BE-8FD2-4276-8151-FB395B5AD7B4}" destId="{95F6754E-AE7C-4F2E-AE00-EC4D98BA605C}" srcOrd="0" destOrd="0" presId="urn:microsoft.com/office/officeart/2005/8/layout/orgChart1"/>
    <dgm:cxn modelId="{D5844AD9-35EA-4BC8-8CB6-39632737E939}" srcId="{4D269F7E-36CD-4C27-A7BB-2E02EFAEF4F3}" destId="{F57176CA-E231-4710-AA17-BA753DA31249}" srcOrd="0" destOrd="0" parTransId="{537E5373-DADB-45E7-B84E-C986F8B03B56}" sibTransId="{82E96B47-1C77-4601-A55D-047E50F80AE1}"/>
    <dgm:cxn modelId="{1B2055DA-EE54-43C2-8C73-753D86AE92C2}" type="presOf" srcId="{3E4B0800-563D-4C2E-994B-A5B8F242A6C2}" destId="{09DCCB4D-8D0D-4CC4-8174-BF511F7C8967}" srcOrd="1" destOrd="0" presId="urn:microsoft.com/office/officeart/2005/8/layout/orgChart1"/>
    <dgm:cxn modelId="{A5BC75DF-1C94-401A-8E6C-D39DDD94BA34}" type="presOf" srcId="{3E4B0800-563D-4C2E-994B-A5B8F242A6C2}" destId="{E2D866C7-038A-4F9D-993F-C40F9FA6F478}" srcOrd="0" destOrd="0" presId="urn:microsoft.com/office/officeart/2005/8/layout/orgChart1"/>
    <dgm:cxn modelId="{3A4FDCE4-19B1-45C2-9EAE-2D0B5505FFF1}" type="presOf" srcId="{B6BE5173-42AA-4ADD-AE99-54AFF747C984}" destId="{B62CF897-FF24-428A-8007-DE8EFE13BAC6}" srcOrd="0" destOrd="0" presId="urn:microsoft.com/office/officeart/2005/8/layout/orgChart1"/>
    <dgm:cxn modelId="{EF3A28ED-D370-4FA2-A214-F4908FFB8B09}" type="presOf" srcId="{6033F925-C53C-432F-B322-748BA49B9BBC}" destId="{4C9A916C-80F0-47F6-B85C-D0EFE9D3C5D4}" srcOrd="0" destOrd="0" presId="urn:microsoft.com/office/officeart/2005/8/layout/orgChart1"/>
    <dgm:cxn modelId="{A8D67FED-2B3E-44C1-86C3-EF6DF567842A}" type="presOf" srcId="{BBFE14DD-5302-4F02-94B7-DF49461AB877}" destId="{277C39E1-F142-47FE-8B86-FE0B7867A1E6}" srcOrd="1" destOrd="0" presId="urn:microsoft.com/office/officeart/2005/8/layout/orgChart1"/>
    <dgm:cxn modelId="{55AE18EF-DDFC-47A3-A628-F66CCB5069C9}" type="presOf" srcId="{8E015318-E212-471B-B2D4-E70C3303F311}" destId="{3610267B-B086-49CD-B914-EE8E364CD8F5}" srcOrd="0" destOrd="0" presId="urn:microsoft.com/office/officeart/2005/8/layout/orgChart1"/>
    <dgm:cxn modelId="{3F17D8EF-C0A6-46F1-B5AB-9F6100AA5871}" type="presOf" srcId="{8F7BB710-4074-48F5-BB7D-4E37D0166961}" destId="{17F880D3-E136-4DFC-AC08-680BB522123D}" srcOrd="1" destOrd="0" presId="urn:microsoft.com/office/officeart/2005/8/layout/orgChart1"/>
    <dgm:cxn modelId="{47B6D5F5-FBFB-4800-9A0B-C8EE40BE9813}" type="presOf" srcId="{20A3093F-B6A8-4080-9FD5-76064589B12C}" destId="{9AE4758F-F30A-408E-9809-8F3F58289D1C}" srcOrd="1" destOrd="0" presId="urn:microsoft.com/office/officeart/2005/8/layout/orgChart1"/>
    <dgm:cxn modelId="{378D92F7-F81D-416F-BCA3-5927310DB8B7}" type="presOf" srcId="{E5B74BAC-2F1C-457D-ACE4-FE572A5A374D}" destId="{339D4512-AE7A-420F-BFD1-6AADC17BBDD9}" srcOrd="0" destOrd="0" presId="urn:microsoft.com/office/officeart/2005/8/layout/orgChart1"/>
    <dgm:cxn modelId="{CC2F08F8-469A-440B-8AFD-2ED43E4C753A}" type="presOf" srcId="{B73CC65B-DE37-462A-8F1C-EC9C024E2ED9}" destId="{1367BF24-E2ED-4C3F-B2C7-E02DAAE7F706}" srcOrd="0" destOrd="0" presId="urn:microsoft.com/office/officeart/2005/8/layout/orgChart1"/>
    <dgm:cxn modelId="{29957EFA-FBFF-4457-ABEA-496547A42EE1}" type="presOf" srcId="{3BE0094B-BCCD-4925-9561-8962453B70DF}" destId="{068E9964-253E-4DE4-9739-8E5F26FF91EA}" srcOrd="0" destOrd="0" presId="urn:microsoft.com/office/officeart/2005/8/layout/orgChart1"/>
    <dgm:cxn modelId="{25DD20FF-DB04-4C9B-896A-023720E3EBCE}" type="presOf" srcId="{47DDA215-7E87-42C8-8F89-99BDABE92420}" destId="{9ED85F64-90FE-49CE-8E48-2745EA207C02}" srcOrd="0" destOrd="0" presId="urn:microsoft.com/office/officeart/2005/8/layout/orgChart1"/>
    <dgm:cxn modelId="{F91380FF-A593-40DA-A862-6E185BAADF5C}" type="presOf" srcId="{679316DC-91AD-4342-8D87-3F99AD7B276E}" destId="{CBCEDAA4-2C2B-4E1E-942C-1EECFAFFEF03}" srcOrd="1" destOrd="0" presId="urn:microsoft.com/office/officeart/2005/8/layout/orgChart1"/>
    <dgm:cxn modelId="{B43263F5-3911-4DAF-8A11-ECFD9DA722C5}" type="presParOf" srcId="{B62CF897-FF24-428A-8007-DE8EFE13BAC6}" destId="{0C694B68-9BA9-490E-B975-E606AFC83594}" srcOrd="0" destOrd="0" presId="urn:microsoft.com/office/officeart/2005/8/layout/orgChart1"/>
    <dgm:cxn modelId="{B77E8077-4C65-45E7-829C-75BDCDE2F95F}" type="presParOf" srcId="{0C694B68-9BA9-490E-B975-E606AFC83594}" destId="{D79B72DF-9650-472F-84E5-271222F9C12B}" srcOrd="0" destOrd="0" presId="urn:microsoft.com/office/officeart/2005/8/layout/orgChart1"/>
    <dgm:cxn modelId="{CF640450-2BAE-4041-983E-84624D786759}" type="presParOf" srcId="{D79B72DF-9650-472F-84E5-271222F9C12B}" destId="{FAD97DF2-A9D4-4384-B2E7-0D75EA2AAE91}" srcOrd="0" destOrd="0" presId="urn:microsoft.com/office/officeart/2005/8/layout/orgChart1"/>
    <dgm:cxn modelId="{44CCEAC1-8190-40A2-9B5C-20AFB1432F08}" type="presParOf" srcId="{D79B72DF-9650-472F-84E5-271222F9C12B}" destId="{F71BE3E8-4B1F-46E9-B26E-28A360C6F087}" srcOrd="1" destOrd="0" presId="urn:microsoft.com/office/officeart/2005/8/layout/orgChart1"/>
    <dgm:cxn modelId="{4F8FA26F-357F-4903-AABB-2DCA0D5CCADC}" type="presParOf" srcId="{0C694B68-9BA9-490E-B975-E606AFC83594}" destId="{5FBA8AD4-41E5-4B0D-AE09-A6B4AC944B57}" srcOrd="1" destOrd="0" presId="urn:microsoft.com/office/officeart/2005/8/layout/orgChart1"/>
    <dgm:cxn modelId="{3D68F62C-5950-4547-870A-82826F62C9C6}" type="presParOf" srcId="{5FBA8AD4-41E5-4B0D-AE09-A6B4AC944B57}" destId="{339D4512-AE7A-420F-BFD1-6AADC17BBDD9}" srcOrd="0" destOrd="0" presId="urn:microsoft.com/office/officeart/2005/8/layout/orgChart1"/>
    <dgm:cxn modelId="{7B4825A1-74A0-4CF0-844F-539434E70879}" type="presParOf" srcId="{5FBA8AD4-41E5-4B0D-AE09-A6B4AC944B57}" destId="{91B4B17D-F861-496D-8EEB-A01FE89392E3}" srcOrd="1" destOrd="0" presId="urn:microsoft.com/office/officeart/2005/8/layout/orgChart1"/>
    <dgm:cxn modelId="{2B34E00E-DF1C-407E-B48C-FB36C62F66CE}" type="presParOf" srcId="{91B4B17D-F861-496D-8EEB-A01FE89392E3}" destId="{7825E60E-F338-40C4-8073-E92F0F1F7B63}" srcOrd="0" destOrd="0" presId="urn:microsoft.com/office/officeart/2005/8/layout/orgChart1"/>
    <dgm:cxn modelId="{A6FB5A75-1081-438C-BD40-88CF0B15B13B}" type="presParOf" srcId="{7825E60E-F338-40C4-8073-E92F0F1F7B63}" destId="{28A756FE-6153-41B4-B3D7-1F287F16B4D8}" srcOrd="0" destOrd="0" presId="urn:microsoft.com/office/officeart/2005/8/layout/orgChart1"/>
    <dgm:cxn modelId="{1E4C076C-FE52-421D-B533-E9628AA158CE}" type="presParOf" srcId="{7825E60E-F338-40C4-8073-E92F0F1F7B63}" destId="{DEDD84E5-B40E-43CC-8555-D82A27F29977}" srcOrd="1" destOrd="0" presId="urn:microsoft.com/office/officeart/2005/8/layout/orgChart1"/>
    <dgm:cxn modelId="{09332249-83AF-4CB9-88A6-C0C0861CE5B9}" type="presParOf" srcId="{91B4B17D-F861-496D-8EEB-A01FE89392E3}" destId="{CC66FBD7-C816-4526-895E-5D8DE4602B92}" srcOrd="1" destOrd="0" presId="urn:microsoft.com/office/officeart/2005/8/layout/orgChart1"/>
    <dgm:cxn modelId="{AEB7ED1F-4C0E-47FD-A072-02B7977193F8}" type="presParOf" srcId="{CC66FBD7-C816-4526-895E-5D8DE4602B92}" destId="{3610267B-B086-49CD-B914-EE8E364CD8F5}" srcOrd="0" destOrd="0" presId="urn:microsoft.com/office/officeart/2005/8/layout/orgChart1"/>
    <dgm:cxn modelId="{497C084E-EDF2-4600-A16F-D43D314AFA05}" type="presParOf" srcId="{CC66FBD7-C816-4526-895E-5D8DE4602B92}" destId="{734A3444-2EC5-44B9-BD84-610A35CF7DE2}" srcOrd="1" destOrd="0" presId="urn:microsoft.com/office/officeart/2005/8/layout/orgChart1"/>
    <dgm:cxn modelId="{1F64D42A-B69A-42CE-B1E5-C1740258D158}" type="presParOf" srcId="{734A3444-2EC5-44B9-BD84-610A35CF7DE2}" destId="{1818DE9E-3BC0-4CB1-A375-FEA8FD2154B2}" srcOrd="0" destOrd="0" presId="urn:microsoft.com/office/officeart/2005/8/layout/orgChart1"/>
    <dgm:cxn modelId="{05741598-BB84-4886-AC93-CB42F746A276}" type="presParOf" srcId="{1818DE9E-3BC0-4CB1-A375-FEA8FD2154B2}" destId="{4C9A916C-80F0-47F6-B85C-D0EFE9D3C5D4}" srcOrd="0" destOrd="0" presId="urn:microsoft.com/office/officeart/2005/8/layout/orgChart1"/>
    <dgm:cxn modelId="{1AEDAB2E-E6A9-469B-BC28-E6FC0825A275}" type="presParOf" srcId="{1818DE9E-3BC0-4CB1-A375-FEA8FD2154B2}" destId="{71C91BE9-CA70-48E7-873C-1AB5C3E230D2}" srcOrd="1" destOrd="0" presId="urn:microsoft.com/office/officeart/2005/8/layout/orgChart1"/>
    <dgm:cxn modelId="{4E1043DF-EB83-40BC-9052-20AF8552812B}" type="presParOf" srcId="{734A3444-2EC5-44B9-BD84-610A35CF7DE2}" destId="{D9432D3B-F92D-4EDC-8A5E-5218E3F71751}" srcOrd="1" destOrd="0" presId="urn:microsoft.com/office/officeart/2005/8/layout/orgChart1"/>
    <dgm:cxn modelId="{ED88E6C0-DDC5-4788-9819-E2EC370D4C07}" type="presParOf" srcId="{D9432D3B-F92D-4EDC-8A5E-5218E3F71751}" destId="{0BC44771-798B-430F-9446-68210B605177}" srcOrd="0" destOrd="0" presId="urn:microsoft.com/office/officeart/2005/8/layout/orgChart1"/>
    <dgm:cxn modelId="{291B14AD-F964-487A-9935-4A01DD300449}" type="presParOf" srcId="{D9432D3B-F92D-4EDC-8A5E-5218E3F71751}" destId="{AE452DCC-627F-4339-83DD-9BB596D1ADC7}" srcOrd="1" destOrd="0" presId="urn:microsoft.com/office/officeart/2005/8/layout/orgChart1"/>
    <dgm:cxn modelId="{64EAE586-FA45-4387-B5C3-D151EE5CA614}" type="presParOf" srcId="{AE452DCC-627F-4339-83DD-9BB596D1ADC7}" destId="{3AE7DC45-D42F-4446-9AC5-C43CF0B45933}" srcOrd="0" destOrd="0" presId="urn:microsoft.com/office/officeart/2005/8/layout/orgChart1"/>
    <dgm:cxn modelId="{97D1E2DC-E673-411D-BF5D-175C09828FC9}" type="presParOf" srcId="{3AE7DC45-D42F-4446-9AC5-C43CF0B45933}" destId="{95F6754E-AE7C-4F2E-AE00-EC4D98BA605C}" srcOrd="0" destOrd="0" presId="urn:microsoft.com/office/officeart/2005/8/layout/orgChart1"/>
    <dgm:cxn modelId="{9B025F5A-C1D5-442C-96D3-9E8F39D75EB3}" type="presParOf" srcId="{3AE7DC45-D42F-4446-9AC5-C43CF0B45933}" destId="{A3225CC5-1E03-4405-9FF1-406D3724E171}" srcOrd="1" destOrd="0" presId="urn:microsoft.com/office/officeart/2005/8/layout/orgChart1"/>
    <dgm:cxn modelId="{FE9FD740-1EAB-4AEB-92AF-331B3772933B}" type="presParOf" srcId="{AE452DCC-627F-4339-83DD-9BB596D1ADC7}" destId="{9BD37FFB-3871-4484-A7AB-16DA6DF0ED75}" srcOrd="1" destOrd="0" presId="urn:microsoft.com/office/officeart/2005/8/layout/orgChart1"/>
    <dgm:cxn modelId="{00069452-DFC9-4926-97C6-AE60BFD9F72A}" type="presParOf" srcId="{9BD37FFB-3871-4484-A7AB-16DA6DF0ED75}" destId="{E4C0E45F-BB4B-4CE2-9AD0-83EF8BF1E420}" srcOrd="0" destOrd="0" presId="urn:microsoft.com/office/officeart/2005/8/layout/orgChart1"/>
    <dgm:cxn modelId="{46632F29-9854-4C23-9A7F-CBC54D4AD9B1}" type="presParOf" srcId="{9BD37FFB-3871-4484-A7AB-16DA6DF0ED75}" destId="{AD614697-EFC5-4394-96CA-3377CBABE125}" srcOrd="1" destOrd="0" presId="urn:microsoft.com/office/officeart/2005/8/layout/orgChart1"/>
    <dgm:cxn modelId="{5C6A7D9A-8DEE-41B1-AF4B-4EB9D25A9BE5}" type="presParOf" srcId="{AD614697-EFC5-4394-96CA-3377CBABE125}" destId="{F8E8078B-4935-4117-991D-90DEE55CB1CF}" srcOrd="0" destOrd="0" presId="urn:microsoft.com/office/officeart/2005/8/layout/orgChart1"/>
    <dgm:cxn modelId="{9EC4E5C1-FA14-4CC2-B4D2-F4AEBFA8EE8F}" type="presParOf" srcId="{F8E8078B-4935-4117-991D-90DEE55CB1CF}" destId="{840C9610-7C05-430C-9C8F-B8B7678AC015}" srcOrd="0" destOrd="0" presId="urn:microsoft.com/office/officeart/2005/8/layout/orgChart1"/>
    <dgm:cxn modelId="{9B1B6603-9876-443D-8783-0A19EBAA39BE}" type="presParOf" srcId="{F8E8078B-4935-4117-991D-90DEE55CB1CF}" destId="{889D2D26-1370-4F81-BCA7-87E274FEDF7B}" srcOrd="1" destOrd="0" presId="urn:microsoft.com/office/officeart/2005/8/layout/orgChart1"/>
    <dgm:cxn modelId="{4C75AB82-1A39-425A-85DD-653C721DFCF7}" type="presParOf" srcId="{AD614697-EFC5-4394-96CA-3377CBABE125}" destId="{CD5512BE-BF5C-431C-B9F0-BF6827BA8A97}" srcOrd="1" destOrd="0" presId="urn:microsoft.com/office/officeart/2005/8/layout/orgChart1"/>
    <dgm:cxn modelId="{F15187AB-207E-448F-BABD-63FBC72BA982}" type="presParOf" srcId="{CD5512BE-BF5C-431C-B9F0-BF6827BA8A97}" destId="{2C5FACD0-9E70-405B-8F0F-48B527B3F46C}" srcOrd="0" destOrd="0" presId="urn:microsoft.com/office/officeart/2005/8/layout/orgChart1"/>
    <dgm:cxn modelId="{F0A1A753-DEBA-4C55-A780-65CE6FABCCDD}" type="presParOf" srcId="{CD5512BE-BF5C-431C-B9F0-BF6827BA8A97}" destId="{61E1B015-91D0-41A1-BB94-538C885BF306}" srcOrd="1" destOrd="0" presId="urn:microsoft.com/office/officeart/2005/8/layout/orgChart1"/>
    <dgm:cxn modelId="{1C2CDAF6-0FA3-4B72-957B-F7A0B0D5332A}" type="presParOf" srcId="{61E1B015-91D0-41A1-BB94-538C885BF306}" destId="{FBC71788-DBB2-4677-924E-19F31D8C8FFF}" srcOrd="0" destOrd="0" presId="urn:microsoft.com/office/officeart/2005/8/layout/orgChart1"/>
    <dgm:cxn modelId="{C3A4BD4D-8EEC-4367-8572-B9AFF40D5C26}" type="presParOf" srcId="{FBC71788-DBB2-4677-924E-19F31D8C8FFF}" destId="{BD555D5C-EDE1-41FF-90DE-96CBFC375080}" srcOrd="0" destOrd="0" presId="urn:microsoft.com/office/officeart/2005/8/layout/orgChart1"/>
    <dgm:cxn modelId="{F13CFB28-6196-4769-BCD7-2FE8370574B1}" type="presParOf" srcId="{FBC71788-DBB2-4677-924E-19F31D8C8FFF}" destId="{EC68F809-1D68-45BB-BEF6-54F3BB50FDD6}" srcOrd="1" destOrd="0" presId="urn:microsoft.com/office/officeart/2005/8/layout/orgChart1"/>
    <dgm:cxn modelId="{30067BF0-085F-429C-A48A-D982E3741C4E}" type="presParOf" srcId="{61E1B015-91D0-41A1-BB94-538C885BF306}" destId="{F1306A4F-AA32-4A1F-88C4-0E8AFBDE8922}" srcOrd="1" destOrd="0" presId="urn:microsoft.com/office/officeart/2005/8/layout/orgChart1"/>
    <dgm:cxn modelId="{50FCBC15-4AAF-4DA0-A6CD-D7DC6CE54E04}" type="presParOf" srcId="{61E1B015-91D0-41A1-BB94-538C885BF306}" destId="{42658FEF-65BC-4738-958E-07D55111BDDD}" srcOrd="2" destOrd="0" presId="urn:microsoft.com/office/officeart/2005/8/layout/orgChart1"/>
    <dgm:cxn modelId="{BC9699CB-22EE-4372-8C43-B104BF4FEDAC}" type="presParOf" srcId="{CD5512BE-BF5C-431C-B9F0-BF6827BA8A97}" destId="{31A8F4D5-4232-422D-9E88-58F4703111E7}" srcOrd="2" destOrd="0" presId="urn:microsoft.com/office/officeart/2005/8/layout/orgChart1"/>
    <dgm:cxn modelId="{5D2C8EA3-18BC-4D59-B33D-19FE5C67A989}" type="presParOf" srcId="{CD5512BE-BF5C-431C-B9F0-BF6827BA8A97}" destId="{A4077AA2-63FA-4367-800B-25C4F971335F}" srcOrd="3" destOrd="0" presId="urn:microsoft.com/office/officeart/2005/8/layout/orgChart1"/>
    <dgm:cxn modelId="{B436FC36-8437-4743-91BF-D1784B9C849E}" type="presParOf" srcId="{A4077AA2-63FA-4367-800B-25C4F971335F}" destId="{1ACBF14B-9358-412D-B875-CB09769BF444}" srcOrd="0" destOrd="0" presId="urn:microsoft.com/office/officeart/2005/8/layout/orgChart1"/>
    <dgm:cxn modelId="{1AF27D39-82CD-44CD-A34D-F28EEA1AED49}" type="presParOf" srcId="{1ACBF14B-9358-412D-B875-CB09769BF444}" destId="{1367BF24-E2ED-4C3F-B2C7-E02DAAE7F706}" srcOrd="0" destOrd="0" presId="urn:microsoft.com/office/officeart/2005/8/layout/orgChart1"/>
    <dgm:cxn modelId="{C3D492FF-02CA-44E0-A731-AEAACCA64DDB}" type="presParOf" srcId="{1ACBF14B-9358-412D-B875-CB09769BF444}" destId="{4C532352-B15F-45D5-B03E-8A9825D09DE6}" srcOrd="1" destOrd="0" presId="urn:microsoft.com/office/officeart/2005/8/layout/orgChart1"/>
    <dgm:cxn modelId="{FFE7D920-AB55-41D0-A3C7-0464B97FAB6E}" type="presParOf" srcId="{A4077AA2-63FA-4367-800B-25C4F971335F}" destId="{F92D5F1E-0E35-418C-AA95-346C0136047D}" srcOrd="1" destOrd="0" presId="urn:microsoft.com/office/officeart/2005/8/layout/orgChart1"/>
    <dgm:cxn modelId="{E9DF30B6-52C9-4AC2-898A-5743E160E6C5}" type="presParOf" srcId="{A4077AA2-63FA-4367-800B-25C4F971335F}" destId="{89DCD3DB-D9C5-49C2-BCCB-11EC4D4B3D8B}" srcOrd="2" destOrd="0" presId="urn:microsoft.com/office/officeart/2005/8/layout/orgChart1"/>
    <dgm:cxn modelId="{56B45780-3C4F-495D-BBFA-96F8B54ED10B}" type="presParOf" srcId="{CD5512BE-BF5C-431C-B9F0-BF6827BA8A97}" destId="{21E99B23-DE71-4E77-BF57-CE2BD4A2185B}" srcOrd="4" destOrd="0" presId="urn:microsoft.com/office/officeart/2005/8/layout/orgChart1"/>
    <dgm:cxn modelId="{4CBC0643-08A8-43A9-969D-423FD6C2E986}" type="presParOf" srcId="{CD5512BE-BF5C-431C-B9F0-BF6827BA8A97}" destId="{727E44E1-17B5-4006-8355-C3EA4B4B670A}" srcOrd="5" destOrd="0" presId="urn:microsoft.com/office/officeart/2005/8/layout/orgChart1"/>
    <dgm:cxn modelId="{081CDB40-EACE-473B-8222-4C5FBBEAD502}" type="presParOf" srcId="{727E44E1-17B5-4006-8355-C3EA4B4B670A}" destId="{07F77F47-F184-4B67-B3D4-B74254D6BAC3}" srcOrd="0" destOrd="0" presId="urn:microsoft.com/office/officeart/2005/8/layout/orgChart1"/>
    <dgm:cxn modelId="{CE177872-DAD3-4C47-BB16-4CC9CF8E347D}" type="presParOf" srcId="{07F77F47-F184-4B67-B3D4-B74254D6BAC3}" destId="{A476FEAF-592A-40EA-A65A-B12B83B89B6D}" srcOrd="0" destOrd="0" presId="urn:microsoft.com/office/officeart/2005/8/layout/orgChart1"/>
    <dgm:cxn modelId="{7EE64BC1-8A7C-4DD9-9984-6DA58A3C5BDF}" type="presParOf" srcId="{07F77F47-F184-4B67-B3D4-B74254D6BAC3}" destId="{17F880D3-E136-4DFC-AC08-680BB522123D}" srcOrd="1" destOrd="0" presId="urn:microsoft.com/office/officeart/2005/8/layout/orgChart1"/>
    <dgm:cxn modelId="{48645680-17D6-4A69-9F30-C3D6E9546DD3}" type="presParOf" srcId="{727E44E1-17B5-4006-8355-C3EA4B4B670A}" destId="{130B2FCD-3BF9-48CC-9F99-F87912F3D659}" srcOrd="1" destOrd="0" presId="urn:microsoft.com/office/officeart/2005/8/layout/orgChart1"/>
    <dgm:cxn modelId="{491DB0F9-DA5C-45FF-90E3-B150DF9C1768}" type="presParOf" srcId="{727E44E1-17B5-4006-8355-C3EA4B4B670A}" destId="{EB137A97-F209-4F3E-A8C5-1899DC61A33A}" srcOrd="2" destOrd="0" presId="urn:microsoft.com/office/officeart/2005/8/layout/orgChart1"/>
    <dgm:cxn modelId="{C9067BF4-6A3F-493A-A5FA-565E41EA46FC}" type="presParOf" srcId="{CD5512BE-BF5C-431C-B9F0-BF6827BA8A97}" destId="{D622134D-D035-4737-A9FF-290E9ECB2CD2}" srcOrd="6" destOrd="0" presId="urn:microsoft.com/office/officeart/2005/8/layout/orgChart1"/>
    <dgm:cxn modelId="{30D93704-84CF-4244-96D9-1A7DE2A257FC}" type="presParOf" srcId="{CD5512BE-BF5C-431C-B9F0-BF6827BA8A97}" destId="{F6583B76-C03C-4BE8-A447-3033327E4490}" srcOrd="7" destOrd="0" presId="urn:microsoft.com/office/officeart/2005/8/layout/orgChart1"/>
    <dgm:cxn modelId="{B6D63467-06ED-43CA-B102-FCBF73D7E6B9}" type="presParOf" srcId="{F6583B76-C03C-4BE8-A447-3033327E4490}" destId="{9076CE14-B50A-4CBE-AF18-EA572BC4B334}" srcOrd="0" destOrd="0" presId="urn:microsoft.com/office/officeart/2005/8/layout/orgChart1"/>
    <dgm:cxn modelId="{91BB0F9D-0229-42A5-AC3D-DE9F261D2E04}" type="presParOf" srcId="{9076CE14-B50A-4CBE-AF18-EA572BC4B334}" destId="{D5C4B290-E84D-4762-9527-694E16B29AC1}" srcOrd="0" destOrd="0" presId="urn:microsoft.com/office/officeart/2005/8/layout/orgChart1"/>
    <dgm:cxn modelId="{61777BB0-76CF-4C0B-A0F3-168CB167B881}" type="presParOf" srcId="{9076CE14-B50A-4CBE-AF18-EA572BC4B334}" destId="{CBCEDAA4-2C2B-4E1E-942C-1EECFAFFEF03}" srcOrd="1" destOrd="0" presId="urn:microsoft.com/office/officeart/2005/8/layout/orgChart1"/>
    <dgm:cxn modelId="{5CBC9272-CE05-494A-B15D-E8BF0B2577EE}" type="presParOf" srcId="{F6583B76-C03C-4BE8-A447-3033327E4490}" destId="{2D902A9C-8AC4-4D38-ABAF-766C968FB5ED}" srcOrd="1" destOrd="0" presId="urn:microsoft.com/office/officeart/2005/8/layout/orgChart1"/>
    <dgm:cxn modelId="{14F9DC74-4F77-4A4A-9FD6-9DAF4A866196}" type="presParOf" srcId="{F6583B76-C03C-4BE8-A447-3033327E4490}" destId="{A4191365-8BA9-47F0-8E2E-79ADF935855D}" srcOrd="2" destOrd="0" presId="urn:microsoft.com/office/officeart/2005/8/layout/orgChart1"/>
    <dgm:cxn modelId="{099B4A7F-0A1C-4B61-A757-C719BCBD67FB}" type="presParOf" srcId="{AD614697-EFC5-4394-96CA-3377CBABE125}" destId="{0797A3EE-DC82-48D1-8B21-431C0B1F2AE8}" srcOrd="2" destOrd="0" presId="urn:microsoft.com/office/officeart/2005/8/layout/orgChart1"/>
    <dgm:cxn modelId="{9CE33FA5-07C4-4A89-9B6E-BFC414F753FE}" type="presParOf" srcId="{AE452DCC-627F-4339-83DD-9BB596D1ADC7}" destId="{49D6A125-6E6E-4C54-A53D-17F9D284403A}" srcOrd="2" destOrd="0" presId="urn:microsoft.com/office/officeart/2005/8/layout/orgChart1"/>
    <dgm:cxn modelId="{7A5D78E3-CFC1-4716-855C-1F2C2C6B5C8A}" type="presParOf" srcId="{D9432D3B-F92D-4EDC-8A5E-5218E3F71751}" destId="{F2DC3334-CF21-40DF-86EE-3C8AA0D88195}" srcOrd="2" destOrd="0" presId="urn:microsoft.com/office/officeart/2005/8/layout/orgChart1"/>
    <dgm:cxn modelId="{AEA4DD60-9001-4A49-987C-FDB0618D809A}" type="presParOf" srcId="{D9432D3B-F92D-4EDC-8A5E-5218E3F71751}" destId="{D2413B43-4235-41F3-9B41-250D48D6C12C}" srcOrd="3" destOrd="0" presId="urn:microsoft.com/office/officeart/2005/8/layout/orgChart1"/>
    <dgm:cxn modelId="{A1ACA27E-6070-495B-984C-D8B2FB1F940C}" type="presParOf" srcId="{D2413B43-4235-41F3-9B41-250D48D6C12C}" destId="{49C7E869-67DD-4A0F-B998-6F05131C1720}" srcOrd="0" destOrd="0" presId="urn:microsoft.com/office/officeart/2005/8/layout/orgChart1"/>
    <dgm:cxn modelId="{C0260EA7-B3E6-4669-84C8-6D1C26267B33}" type="presParOf" srcId="{49C7E869-67DD-4A0F-B998-6F05131C1720}" destId="{E2D866C7-038A-4F9D-993F-C40F9FA6F478}" srcOrd="0" destOrd="0" presId="urn:microsoft.com/office/officeart/2005/8/layout/orgChart1"/>
    <dgm:cxn modelId="{AFE27BF5-9024-42A5-AC10-8A1A25B27A20}" type="presParOf" srcId="{49C7E869-67DD-4A0F-B998-6F05131C1720}" destId="{09DCCB4D-8D0D-4CC4-8174-BF511F7C8967}" srcOrd="1" destOrd="0" presId="urn:microsoft.com/office/officeart/2005/8/layout/orgChart1"/>
    <dgm:cxn modelId="{E3407395-4B21-4C2B-A91E-B41230F6541E}" type="presParOf" srcId="{D2413B43-4235-41F3-9B41-250D48D6C12C}" destId="{82B16F0B-C5BD-4879-9EAF-83461B41C947}" srcOrd="1" destOrd="0" presId="urn:microsoft.com/office/officeart/2005/8/layout/orgChart1"/>
    <dgm:cxn modelId="{D703E914-0D59-451C-8831-B86D596A9D8C}" type="presParOf" srcId="{82B16F0B-C5BD-4879-9EAF-83461B41C947}" destId="{D3FE98AD-AB5B-42E1-A107-8B6F9AE24316}" srcOrd="0" destOrd="0" presId="urn:microsoft.com/office/officeart/2005/8/layout/orgChart1"/>
    <dgm:cxn modelId="{94011235-BA0B-408C-ABA3-7C2E22439AEB}" type="presParOf" srcId="{82B16F0B-C5BD-4879-9EAF-83461B41C947}" destId="{43549396-D3C7-4365-82C9-168D83BDFC41}" srcOrd="1" destOrd="0" presId="urn:microsoft.com/office/officeart/2005/8/layout/orgChart1"/>
    <dgm:cxn modelId="{DA59D95B-1B9E-4B36-AA33-104D94C07F4D}" type="presParOf" srcId="{43549396-D3C7-4365-82C9-168D83BDFC41}" destId="{F1C3499F-011D-4BDE-B19B-8362664FEF38}" srcOrd="0" destOrd="0" presId="urn:microsoft.com/office/officeart/2005/8/layout/orgChart1"/>
    <dgm:cxn modelId="{44BBF1E8-8F04-4496-A592-C534CA8A6753}" type="presParOf" srcId="{F1C3499F-011D-4BDE-B19B-8362664FEF38}" destId="{5E1E403E-8218-4B31-BB6F-79C2B29045B8}" srcOrd="0" destOrd="0" presId="urn:microsoft.com/office/officeart/2005/8/layout/orgChart1"/>
    <dgm:cxn modelId="{914BA2D6-67E6-4EF7-B473-011678A6E91A}" type="presParOf" srcId="{F1C3499F-011D-4BDE-B19B-8362664FEF38}" destId="{E6B7816D-A25C-4BF1-8162-297A9EC771D7}" srcOrd="1" destOrd="0" presId="urn:microsoft.com/office/officeart/2005/8/layout/orgChart1"/>
    <dgm:cxn modelId="{5A60786F-BDBD-4D59-B541-FB7D253B5457}" type="presParOf" srcId="{43549396-D3C7-4365-82C9-168D83BDFC41}" destId="{FB9958C9-6814-4ADB-8CBC-F881F19EC7F4}" srcOrd="1" destOrd="0" presId="urn:microsoft.com/office/officeart/2005/8/layout/orgChart1"/>
    <dgm:cxn modelId="{CC2FF41F-B016-436C-A8BF-A7E0FD139BDA}" type="presParOf" srcId="{FB9958C9-6814-4ADB-8CBC-F881F19EC7F4}" destId="{E82776DF-4D08-439E-A1E9-52733CA2DE33}" srcOrd="0" destOrd="0" presId="urn:microsoft.com/office/officeart/2005/8/layout/orgChart1"/>
    <dgm:cxn modelId="{F5004071-8D05-422B-A4CF-D91D7BBDE6A4}" type="presParOf" srcId="{FB9958C9-6814-4ADB-8CBC-F881F19EC7F4}" destId="{5BD43F85-B0A2-4CA5-8AA6-663D80D4B51B}" srcOrd="1" destOrd="0" presId="urn:microsoft.com/office/officeart/2005/8/layout/orgChart1"/>
    <dgm:cxn modelId="{33C0702C-D334-446B-9BA8-01FF776A8387}" type="presParOf" srcId="{5BD43F85-B0A2-4CA5-8AA6-663D80D4B51B}" destId="{2EB72AC0-24D7-426C-BAAD-A5752428B414}" srcOrd="0" destOrd="0" presId="urn:microsoft.com/office/officeart/2005/8/layout/orgChart1"/>
    <dgm:cxn modelId="{7A84193D-9178-4302-B7DE-640410F092D1}" type="presParOf" srcId="{2EB72AC0-24D7-426C-BAAD-A5752428B414}" destId="{98147B7A-A00F-4AA0-8FCC-A8E7B49AC212}" srcOrd="0" destOrd="0" presId="urn:microsoft.com/office/officeart/2005/8/layout/orgChart1"/>
    <dgm:cxn modelId="{68B4E0BF-74F3-4FD7-B449-034A20F29736}" type="presParOf" srcId="{2EB72AC0-24D7-426C-BAAD-A5752428B414}" destId="{464F63E3-17F5-4980-AB26-3DA5D1C7A474}" srcOrd="1" destOrd="0" presId="urn:microsoft.com/office/officeart/2005/8/layout/orgChart1"/>
    <dgm:cxn modelId="{4719C122-678F-48E6-BAE3-3ECA8EFEE203}" type="presParOf" srcId="{5BD43F85-B0A2-4CA5-8AA6-663D80D4B51B}" destId="{E021D325-E50F-4455-9125-591922704EE2}" srcOrd="1" destOrd="0" presId="urn:microsoft.com/office/officeart/2005/8/layout/orgChart1"/>
    <dgm:cxn modelId="{D0D9FED0-3835-45DE-A5B3-73A6CE3BB7C6}" type="presParOf" srcId="{5BD43F85-B0A2-4CA5-8AA6-663D80D4B51B}" destId="{30C18DF6-BBBB-41C8-8E1B-25C07FE4BB40}" srcOrd="2" destOrd="0" presId="urn:microsoft.com/office/officeart/2005/8/layout/orgChart1"/>
    <dgm:cxn modelId="{5127BBCA-6D32-4DE9-8C45-3F851C51D43B}" type="presParOf" srcId="{FB9958C9-6814-4ADB-8CBC-F881F19EC7F4}" destId="{70E6D663-3A4F-4F47-B190-B4D8B964D0F3}" srcOrd="2" destOrd="0" presId="urn:microsoft.com/office/officeart/2005/8/layout/orgChart1"/>
    <dgm:cxn modelId="{ECF1F748-756D-4607-8AC4-2000415294BE}" type="presParOf" srcId="{FB9958C9-6814-4ADB-8CBC-F881F19EC7F4}" destId="{D9A87BE5-F087-4857-8412-64DED3DA43CE}" srcOrd="3" destOrd="0" presId="urn:microsoft.com/office/officeart/2005/8/layout/orgChart1"/>
    <dgm:cxn modelId="{301581FE-1D52-4395-A054-7852D21D6138}" type="presParOf" srcId="{D9A87BE5-F087-4857-8412-64DED3DA43CE}" destId="{39ED6C87-2681-4C90-BB01-662E7D510561}" srcOrd="0" destOrd="0" presId="urn:microsoft.com/office/officeart/2005/8/layout/orgChart1"/>
    <dgm:cxn modelId="{C19C5DFB-6B72-47D8-BAB4-192E7FBB52A3}" type="presParOf" srcId="{39ED6C87-2681-4C90-BB01-662E7D510561}" destId="{28745BDD-B2AD-442D-89E6-60B79CDE6840}" srcOrd="0" destOrd="0" presId="urn:microsoft.com/office/officeart/2005/8/layout/orgChart1"/>
    <dgm:cxn modelId="{6DB5155B-B46A-462D-8BC3-C4C43CB53B79}" type="presParOf" srcId="{39ED6C87-2681-4C90-BB01-662E7D510561}" destId="{EC108F7A-F01B-4F90-B20F-3BEAE19BFCBB}" srcOrd="1" destOrd="0" presId="urn:microsoft.com/office/officeart/2005/8/layout/orgChart1"/>
    <dgm:cxn modelId="{97BC120D-FE5D-4AE3-B4E9-EA4382FC609B}" type="presParOf" srcId="{D9A87BE5-F087-4857-8412-64DED3DA43CE}" destId="{7E5FD2A7-F807-4B3E-BAE2-47B1F1D4C02C}" srcOrd="1" destOrd="0" presId="urn:microsoft.com/office/officeart/2005/8/layout/orgChart1"/>
    <dgm:cxn modelId="{A9697E3A-6055-486D-8DF4-4ED8424D003D}" type="presParOf" srcId="{D9A87BE5-F087-4857-8412-64DED3DA43CE}" destId="{86BCB39B-F0DE-42C9-BA3C-B282E3168DEF}" srcOrd="2" destOrd="0" presId="urn:microsoft.com/office/officeart/2005/8/layout/orgChart1"/>
    <dgm:cxn modelId="{507DC376-1675-4D29-A66E-74FB5A3A25D1}" type="presParOf" srcId="{FB9958C9-6814-4ADB-8CBC-F881F19EC7F4}" destId="{DCF3BD96-AB64-4C3E-BD49-3D22A0E82948}" srcOrd="4" destOrd="0" presId="urn:microsoft.com/office/officeart/2005/8/layout/orgChart1"/>
    <dgm:cxn modelId="{3C3A43FB-9E3A-4814-8181-9B457959F812}" type="presParOf" srcId="{FB9958C9-6814-4ADB-8CBC-F881F19EC7F4}" destId="{4206FF81-ECE7-485B-B551-75750066251B}" srcOrd="5" destOrd="0" presId="urn:microsoft.com/office/officeart/2005/8/layout/orgChart1"/>
    <dgm:cxn modelId="{7F386C9B-B51F-4CF4-A66B-A7B71A89C16E}" type="presParOf" srcId="{4206FF81-ECE7-485B-B551-75750066251B}" destId="{9DF1544E-1363-4FF1-BB6B-B5ACB5BFD88D}" srcOrd="0" destOrd="0" presId="urn:microsoft.com/office/officeart/2005/8/layout/orgChart1"/>
    <dgm:cxn modelId="{EC755174-EB8F-4178-AECA-A30621398E54}" type="presParOf" srcId="{9DF1544E-1363-4FF1-BB6B-B5ACB5BFD88D}" destId="{B0E46D24-881B-4BFC-8DC6-072A831B5EAE}" srcOrd="0" destOrd="0" presId="urn:microsoft.com/office/officeart/2005/8/layout/orgChart1"/>
    <dgm:cxn modelId="{C7325EB2-B277-4571-8EC4-0A7A00DC8B17}" type="presParOf" srcId="{9DF1544E-1363-4FF1-BB6B-B5ACB5BFD88D}" destId="{277C39E1-F142-47FE-8B86-FE0B7867A1E6}" srcOrd="1" destOrd="0" presId="urn:microsoft.com/office/officeart/2005/8/layout/orgChart1"/>
    <dgm:cxn modelId="{9AB7EC40-FC65-4C18-AF97-3E8B069B56E7}" type="presParOf" srcId="{4206FF81-ECE7-485B-B551-75750066251B}" destId="{F621886D-0138-4D84-89F7-64018DD28BB5}" srcOrd="1" destOrd="0" presId="urn:microsoft.com/office/officeart/2005/8/layout/orgChart1"/>
    <dgm:cxn modelId="{D14A6B9A-75D6-4D98-AFBC-B21BFE6844FC}" type="presParOf" srcId="{4206FF81-ECE7-485B-B551-75750066251B}" destId="{EF13A429-2849-4291-A098-036C6C183F31}" srcOrd="2" destOrd="0" presId="urn:microsoft.com/office/officeart/2005/8/layout/orgChart1"/>
    <dgm:cxn modelId="{7669BB58-A714-46F0-A0AC-4B25A70F3015}" type="presParOf" srcId="{FB9958C9-6814-4ADB-8CBC-F881F19EC7F4}" destId="{F58FF637-EEB3-4E77-8D9E-0F3F5DFFD066}" srcOrd="6" destOrd="0" presId="urn:microsoft.com/office/officeart/2005/8/layout/orgChart1"/>
    <dgm:cxn modelId="{9C4E55CA-8582-489E-84B2-635851B5DB2F}" type="presParOf" srcId="{FB9958C9-6814-4ADB-8CBC-F881F19EC7F4}" destId="{7702D588-ABB1-4FDF-A87F-796247848864}" srcOrd="7" destOrd="0" presId="urn:microsoft.com/office/officeart/2005/8/layout/orgChart1"/>
    <dgm:cxn modelId="{6077068B-06D0-4C27-953C-F70E302DDC2C}" type="presParOf" srcId="{7702D588-ABB1-4FDF-A87F-796247848864}" destId="{CAF74905-AA42-4F19-AC7F-FD48EC52D653}" srcOrd="0" destOrd="0" presId="urn:microsoft.com/office/officeart/2005/8/layout/orgChart1"/>
    <dgm:cxn modelId="{10A1D0CC-701E-40BB-A4F4-516A8FAECDA1}" type="presParOf" srcId="{CAF74905-AA42-4F19-AC7F-FD48EC52D653}" destId="{49DF325D-BE4D-44F2-9D6D-0B125E5F3AB9}" srcOrd="0" destOrd="0" presId="urn:microsoft.com/office/officeart/2005/8/layout/orgChart1"/>
    <dgm:cxn modelId="{0CE71A2F-D370-4BD5-8F58-8F6D0B9D7ED0}" type="presParOf" srcId="{CAF74905-AA42-4F19-AC7F-FD48EC52D653}" destId="{A29826AB-C7AF-495F-91EE-98BD40B094D1}" srcOrd="1" destOrd="0" presId="urn:microsoft.com/office/officeart/2005/8/layout/orgChart1"/>
    <dgm:cxn modelId="{FB1CC9B5-36C4-415B-A483-168B737DDB1C}" type="presParOf" srcId="{7702D588-ABB1-4FDF-A87F-796247848864}" destId="{2FF67FC8-C9E9-422E-A539-51FFCD684423}" srcOrd="1" destOrd="0" presId="urn:microsoft.com/office/officeart/2005/8/layout/orgChart1"/>
    <dgm:cxn modelId="{FAC17F2C-9F8A-4806-8682-5AA590F74501}" type="presParOf" srcId="{7702D588-ABB1-4FDF-A87F-796247848864}" destId="{D58A9905-2186-45A8-8604-926898AADCAC}" srcOrd="2" destOrd="0" presId="urn:microsoft.com/office/officeart/2005/8/layout/orgChart1"/>
    <dgm:cxn modelId="{59287780-DEDA-460D-85C8-F1F43AD333ED}" type="presParOf" srcId="{43549396-D3C7-4365-82C9-168D83BDFC41}" destId="{A9A2E65A-9EE1-4223-88F2-EDEA23DD54AD}" srcOrd="2" destOrd="0" presId="urn:microsoft.com/office/officeart/2005/8/layout/orgChart1"/>
    <dgm:cxn modelId="{270DD0F4-0065-4B96-8652-0CA93126B5C5}" type="presParOf" srcId="{D2413B43-4235-41F3-9B41-250D48D6C12C}" destId="{DC375D88-D09A-4C25-ACA0-8673CDA2EE5A}" srcOrd="2" destOrd="0" presId="urn:microsoft.com/office/officeart/2005/8/layout/orgChart1"/>
    <dgm:cxn modelId="{ADF53448-3BEF-4046-8C81-8FE5A31D1B9C}" type="presParOf" srcId="{D9432D3B-F92D-4EDC-8A5E-5218E3F71751}" destId="{EC095FEF-F6D4-4A2C-BCC4-5625B4BE6379}" srcOrd="4" destOrd="0" presId="urn:microsoft.com/office/officeart/2005/8/layout/orgChart1"/>
    <dgm:cxn modelId="{52C1EB47-3FD9-452F-9BF7-4956608F7EC1}" type="presParOf" srcId="{D9432D3B-F92D-4EDC-8A5E-5218E3F71751}" destId="{9F5105A1-968F-46B2-9DA5-334855223F3D}" srcOrd="5" destOrd="0" presId="urn:microsoft.com/office/officeart/2005/8/layout/orgChart1"/>
    <dgm:cxn modelId="{64387DA4-D467-4375-9DCC-91699E986228}" type="presParOf" srcId="{9F5105A1-968F-46B2-9DA5-334855223F3D}" destId="{77C76408-36DA-49D2-BDA7-ACBCFF7A3B67}" srcOrd="0" destOrd="0" presId="urn:microsoft.com/office/officeart/2005/8/layout/orgChart1"/>
    <dgm:cxn modelId="{F2E5D755-F1BF-4A1D-8722-F4A1887B0B4A}" type="presParOf" srcId="{77C76408-36DA-49D2-BDA7-ACBCFF7A3B67}" destId="{A5C187CB-AA7F-4DCB-AEB3-96B3DE30EBC5}" srcOrd="0" destOrd="0" presId="urn:microsoft.com/office/officeart/2005/8/layout/orgChart1"/>
    <dgm:cxn modelId="{A5200A94-2D03-4F13-AC4A-21F6857BBAE3}" type="presParOf" srcId="{77C76408-36DA-49D2-BDA7-ACBCFF7A3B67}" destId="{66FFD305-C62B-457E-8864-15D521895810}" srcOrd="1" destOrd="0" presId="urn:microsoft.com/office/officeart/2005/8/layout/orgChart1"/>
    <dgm:cxn modelId="{C2179F00-9BD6-4AB9-98BF-231088BA627D}" type="presParOf" srcId="{9F5105A1-968F-46B2-9DA5-334855223F3D}" destId="{49D08461-6874-447F-85A6-E6D462C16DAE}" srcOrd="1" destOrd="0" presId="urn:microsoft.com/office/officeart/2005/8/layout/orgChart1"/>
    <dgm:cxn modelId="{7792BFB8-E2E1-4C72-944D-4DFD65418BE8}" type="presParOf" srcId="{49D08461-6874-447F-85A6-E6D462C16DAE}" destId="{0AD3E218-D896-4A66-9B13-FAB5A3EFAB51}" srcOrd="0" destOrd="0" presId="urn:microsoft.com/office/officeart/2005/8/layout/orgChart1"/>
    <dgm:cxn modelId="{3597509B-BC06-48CF-9DF9-39F1A9DC415C}" type="presParOf" srcId="{49D08461-6874-447F-85A6-E6D462C16DAE}" destId="{1F27A33E-7E71-4D20-B8B0-5F3EBAB52A98}" srcOrd="1" destOrd="0" presId="urn:microsoft.com/office/officeart/2005/8/layout/orgChart1"/>
    <dgm:cxn modelId="{C4DDA6BD-F5CD-4818-B53C-6963521F1A70}" type="presParOf" srcId="{1F27A33E-7E71-4D20-B8B0-5F3EBAB52A98}" destId="{7840FBA1-71B1-4DFC-9375-FB9CDB4E0EBA}" srcOrd="0" destOrd="0" presId="urn:microsoft.com/office/officeart/2005/8/layout/orgChart1"/>
    <dgm:cxn modelId="{57D83BF7-E91C-464B-BAB7-D350BE81119D}" type="presParOf" srcId="{7840FBA1-71B1-4DFC-9375-FB9CDB4E0EBA}" destId="{A4E294B2-912F-431D-9926-FC1C1089F297}" srcOrd="0" destOrd="0" presId="urn:microsoft.com/office/officeart/2005/8/layout/orgChart1"/>
    <dgm:cxn modelId="{884CD8B7-628F-4C9A-A0E9-06B9962B4AF5}" type="presParOf" srcId="{7840FBA1-71B1-4DFC-9375-FB9CDB4E0EBA}" destId="{9AE4758F-F30A-408E-9809-8F3F58289D1C}" srcOrd="1" destOrd="0" presId="urn:microsoft.com/office/officeart/2005/8/layout/orgChart1"/>
    <dgm:cxn modelId="{766982CB-365F-4865-BFE8-B8BB3ADC5861}" type="presParOf" srcId="{1F27A33E-7E71-4D20-B8B0-5F3EBAB52A98}" destId="{6C581061-383C-4068-A4E5-234EB59D739F}" srcOrd="1" destOrd="0" presId="urn:microsoft.com/office/officeart/2005/8/layout/orgChart1"/>
    <dgm:cxn modelId="{76237803-435D-4435-AAB8-44346B4B9625}" type="presParOf" srcId="{6C581061-383C-4068-A4E5-234EB59D739F}" destId="{73CB9A27-6B0F-4481-8072-9B46E424F45A}" srcOrd="0" destOrd="0" presId="urn:microsoft.com/office/officeart/2005/8/layout/orgChart1"/>
    <dgm:cxn modelId="{D8214986-A4E2-42A9-AC46-168FC8A6484E}" type="presParOf" srcId="{6C581061-383C-4068-A4E5-234EB59D739F}" destId="{63A1BFD0-15D5-4A64-A953-54042DD8B43C}" srcOrd="1" destOrd="0" presId="urn:microsoft.com/office/officeart/2005/8/layout/orgChart1"/>
    <dgm:cxn modelId="{2BCE54B3-729C-4FF8-8316-6E7C4590B269}" type="presParOf" srcId="{63A1BFD0-15D5-4A64-A953-54042DD8B43C}" destId="{0E1BAAEB-1818-4B34-A933-1E7D2E04B683}" srcOrd="0" destOrd="0" presId="urn:microsoft.com/office/officeart/2005/8/layout/orgChart1"/>
    <dgm:cxn modelId="{1BF545B5-1D8A-4E4A-A6FD-0B33AC77FE5D}" type="presParOf" srcId="{0E1BAAEB-1818-4B34-A933-1E7D2E04B683}" destId="{9ED85F64-90FE-49CE-8E48-2745EA207C02}" srcOrd="0" destOrd="0" presId="urn:microsoft.com/office/officeart/2005/8/layout/orgChart1"/>
    <dgm:cxn modelId="{791F1C0A-05DE-4BDA-87C6-4D9E0DF7B4AF}" type="presParOf" srcId="{0E1BAAEB-1818-4B34-A933-1E7D2E04B683}" destId="{C771289B-C3EC-4A46-8684-2B88DD7D8E62}" srcOrd="1" destOrd="0" presId="urn:microsoft.com/office/officeart/2005/8/layout/orgChart1"/>
    <dgm:cxn modelId="{66C77E85-CFD9-448D-9B86-47C01B5BCE54}" type="presParOf" srcId="{63A1BFD0-15D5-4A64-A953-54042DD8B43C}" destId="{04C9BD8E-F2A8-414A-8323-4A725A43359E}" srcOrd="1" destOrd="0" presId="urn:microsoft.com/office/officeart/2005/8/layout/orgChart1"/>
    <dgm:cxn modelId="{75D97534-FB8C-4DBE-9A52-808EA70E83D4}" type="presParOf" srcId="{63A1BFD0-15D5-4A64-A953-54042DD8B43C}" destId="{295C3782-AD13-4FDA-97A2-026F5F7F657A}" srcOrd="2" destOrd="0" presId="urn:microsoft.com/office/officeart/2005/8/layout/orgChart1"/>
    <dgm:cxn modelId="{7AA9EC47-C6D4-4D68-9DE6-D730367128C1}" type="presParOf" srcId="{6C581061-383C-4068-A4E5-234EB59D739F}" destId="{068E9964-253E-4DE4-9739-8E5F26FF91EA}" srcOrd="2" destOrd="0" presId="urn:microsoft.com/office/officeart/2005/8/layout/orgChart1"/>
    <dgm:cxn modelId="{04C01FE5-FBA3-4861-A47F-60F959A88862}" type="presParOf" srcId="{6C581061-383C-4068-A4E5-234EB59D739F}" destId="{D6385EC9-6BC9-4895-9165-93C115C9D246}" srcOrd="3" destOrd="0" presId="urn:microsoft.com/office/officeart/2005/8/layout/orgChart1"/>
    <dgm:cxn modelId="{E7E3985F-DF04-4CFA-844D-397F6284E535}" type="presParOf" srcId="{D6385EC9-6BC9-4895-9165-93C115C9D246}" destId="{9A2CF9D8-59B1-4B77-8AED-A5A8831F3CD6}" srcOrd="0" destOrd="0" presId="urn:microsoft.com/office/officeart/2005/8/layout/orgChart1"/>
    <dgm:cxn modelId="{297FF870-1D3E-45C3-8456-37DB59DC06C2}" type="presParOf" srcId="{9A2CF9D8-59B1-4B77-8AED-A5A8831F3CD6}" destId="{FF60B2C5-9870-406D-B7BE-8700FF11B940}" srcOrd="0" destOrd="0" presId="urn:microsoft.com/office/officeart/2005/8/layout/orgChart1"/>
    <dgm:cxn modelId="{53C9507C-2EEA-4EF5-8E12-69AEC899E8AC}" type="presParOf" srcId="{9A2CF9D8-59B1-4B77-8AED-A5A8831F3CD6}" destId="{44EC8DB5-DA2B-42AA-A160-000251C5BF59}" srcOrd="1" destOrd="0" presId="urn:microsoft.com/office/officeart/2005/8/layout/orgChart1"/>
    <dgm:cxn modelId="{B7966F33-CFD5-4E89-842B-9AB829EE34B4}" type="presParOf" srcId="{D6385EC9-6BC9-4895-9165-93C115C9D246}" destId="{E2C253D1-2F81-426F-98BB-2614E3937403}" srcOrd="1" destOrd="0" presId="urn:microsoft.com/office/officeart/2005/8/layout/orgChart1"/>
    <dgm:cxn modelId="{9BC202A5-5FDA-4957-8E3E-AF7160C0881D}" type="presParOf" srcId="{D6385EC9-6BC9-4895-9165-93C115C9D246}" destId="{9933F1CD-A74F-4517-8A9F-4BAF0797C912}" srcOrd="2" destOrd="0" presId="urn:microsoft.com/office/officeart/2005/8/layout/orgChart1"/>
    <dgm:cxn modelId="{450BC4F4-5384-4A45-86BD-677159960989}" type="presParOf" srcId="{6C581061-383C-4068-A4E5-234EB59D739F}" destId="{75D538CB-C1B8-4306-BB87-D382455616C1}" srcOrd="4" destOrd="0" presId="urn:microsoft.com/office/officeart/2005/8/layout/orgChart1"/>
    <dgm:cxn modelId="{25E5E9F2-9427-4028-BA14-857DAAF5CB54}" type="presParOf" srcId="{6C581061-383C-4068-A4E5-234EB59D739F}" destId="{7A20B48F-C459-4100-AF87-D2E8F8F84606}" srcOrd="5" destOrd="0" presId="urn:microsoft.com/office/officeart/2005/8/layout/orgChart1"/>
    <dgm:cxn modelId="{8A6C8E6C-ED25-4864-B94C-66B056F9E966}" type="presParOf" srcId="{7A20B48F-C459-4100-AF87-D2E8F8F84606}" destId="{878BCBF9-EDD8-42FB-B3E8-85418E75748E}" srcOrd="0" destOrd="0" presId="urn:microsoft.com/office/officeart/2005/8/layout/orgChart1"/>
    <dgm:cxn modelId="{3CB9D2BF-C903-45A9-B0E3-458459472AA5}" type="presParOf" srcId="{878BCBF9-EDD8-42FB-B3E8-85418E75748E}" destId="{A0A3BEB1-EE10-49C5-8165-0923ECF1DB4C}" srcOrd="0" destOrd="0" presId="urn:microsoft.com/office/officeart/2005/8/layout/orgChart1"/>
    <dgm:cxn modelId="{1B0795B3-6621-44C2-8872-6804077E3E3E}" type="presParOf" srcId="{878BCBF9-EDD8-42FB-B3E8-85418E75748E}" destId="{9BE4EABB-22B2-47B4-A379-FFC6DFF907CF}" srcOrd="1" destOrd="0" presId="urn:microsoft.com/office/officeart/2005/8/layout/orgChart1"/>
    <dgm:cxn modelId="{AA68ABA4-89CF-44C7-8376-BB4F9CB21511}" type="presParOf" srcId="{7A20B48F-C459-4100-AF87-D2E8F8F84606}" destId="{099FFC0E-5C01-4952-9945-370B98C651CE}" srcOrd="1" destOrd="0" presId="urn:microsoft.com/office/officeart/2005/8/layout/orgChart1"/>
    <dgm:cxn modelId="{B3C625D1-6120-4249-9ED6-A0CFB65BE977}" type="presParOf" srcId="{7A20B48F-C459-4100-AF87-D2E8F8F84606}" destId="{01E59540-DF54-486D-9509-7780D3C57C88}" srcOrd="2" destOrd="0" presId="urn:microsoft.com/office/officeart/2005/8/layout/orgChart1"/>
    <dgm:cxn modelId="{F3E64AD4-06EE-4D65-B56C-A41EAFCE3EA9}" type="presParOf" srcId="{6C581061-383C-4068-A4E5-234EB59D739F}" destId="{8718B2DC-A7CB-427D-B3C6-1788CB44125B}" srcOrd="6" destOrd="0" presId="urn:microsoft.com/office/officeart/2005/8/layout/orgChart1"/>
    <dgm:cxn modelId="{B487BD5D-6951-426F-81E1-8F48496AD85D}" type="presParOf" srcId="{6C581061-383C-4068-A4E5-234EB59D739F}" destId="{7BEE5AAB-62D0-4BAD-9FDA-F4570CEC6F6D}" srcOrd="7" destOrd="0" presId="urn:microsoft.com/office/officeart/2005/8/layout/orgChart1"/>
    <dgm:cxn modelId="{B20B24A5-1848-40BD-B85B-CCEB1F59D009}" type="presParOf" srcId="{7BEE5AAB-62D0-4BAD-9FDA-F4570CEC6F6D}" destId="{FD695140-5D68-4E33-96C3-3A581EAD4E71}" srcOrd="0" destOrd="0" presId="urn:microsoft.com/office/officeart/2005/8/layout/orgChart1"/>
    <dgm:cxn modelId="{A1F5DB7A-9503-431C-9CAA-7F0252353194}" type="presParOf" srcId="{FD695140-5D68-4E33-96C3-3A581EAD4E71}" destId="{683C0244-C852-481F-BB20-BB84A5DB59B4}" srcOrd="0" destOrd="0" presId="urn:microsoft.com/office/officeart/2005/8/layout/orgChart1"/>
    <dgm:cxn modelId="{E849CA83-B2BA-4B1E-ADBB-37EB29660CBA}" type="presParOf" srcId="{FD695140-5D68-4E33-96C3-3A581EAD4E71}" destId="{558D1C93-E72F-4D93-8D94-BE51EAFA6E47}" srcOrd="1" destOrd="0" presId="urn:microsoft.com/office/officeart/2005/8/layout/orgChart1"/>
    <dgm:cxn modelId="{2B8E7E8B-89F1-4AAD-B0A2-667604194653}" type="presParOf" srcId="{7BEE5AAB-62D0-4BAD-9FDA-F4570CEC6F6D}" destId="{7ED0828A-9834-4C2A-A51E-3470B39E1D42}" srcOrd="1" destOrd="0" presId="urn:microsoft.com/office/officeart/2005/8/layout/orgChart1"/>
    <dgm:cxn modelId="{EE6530D2-3E3D-46ED-B087-E4CA4C31DE70}" type="presParOf" srcId="{7BEE5AAB-62D0-4BAD-9FDA-F4570CEC6F6D}" destId="{07B70CBC-B693-48B6-B3CC-FFE78E7BF5E4}" srcOrd="2" destOrd="0" presId="urn:microsoft.com/office/officeart/2005/8/layout/orgChart1"/>
    <dgm:cxn modelId="{9106705E-742F-4E13-9281-D43F191676EE}" type="presParOf" srcId="{1F27A33E-7E71-4D20-B8B0-5F3EBAB52A98}" destId="{0DB4F985-5538-4ED7-95A6-9073F7995800}" srcOrd="2" destOrd="0" presId="urn:microsoft.com/office/officeart/2005/8/layout/orgChart1"/>
    <dgm:cxn modelId="{99F6F58C-FE3B-4271-B070-8D1B84EEDC35}" type="presParOf" srcId="{9F5105A1-968F-46B2-9DA5-334855223F3D}" destId="{8F80488D-1853-42C2-BC2D-7E854B45D9D2}" srcOrd="2" destOrd="0" presId="urn:microsoft.com/office/officeart/2005/8/layout/orgChart1"/>
    <dgm:cxn modelId="{1643D71C-C32A-4663-801E-47ACDB652492}" type="presParOf" srcId="{734A3444-2EC5-44B9-BD84-610A35CF7DE2}" destId="{130C22DF-7E08-4417-B71B-B65BACF32249}" srcOrd="2" destOrd="0" presId="urn:microsoft.com/office/officeart/2005/8/layout/orgChart1"/>
    <dgm:cxn modelId="{ED5F785E-A594-4678-8D63-FEB3163D7D60}" type="presParOf" srcId="{91B4B17D-F861-496D-8EEB-A01FE89392E3}" destId="{58B9D199-3F1D-4BAD-8146-BE5F52690279}" srcOrd="2" destOrd="0" presId="urn:microsoft.com/office/officeart/2005/8/layout/orgChart1"/>
    <dgm:cxn modelId="{F84E4E78-195C-43C2-A998-B2A5CA7CDCB2}" type="presParOf" srcId="{0C694B68-9BA9-490E-B975-E606AFC83594}" destId="{B884C415-CF1F-472E-942E-625764AA78A6}"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A3675D7-3957-4167-B39E-13F3F0ED82A5}"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8E5502D9-2CBB-4840-B792-2FF24EFEE6E6}">
      <dgm:prSet phldrT="[Text]" custT="1"/>
      <dgm:spPr/>
      <dgm:t>
        <a:bodyPr/>
        <a:lstStyle/>
        <a:p>
          <a:r>
            <a:rPr lang="en-US" sz="1400" dirty="0">
              <a:latin typeface="Century Gothic" panose="020B0502020202020204" pitchFamily="34" charset="0"/>
            </a:rPr>
            <a:t>Combustion engine</a:t>
          </a:r>
        </a:p>
      </dgm:t>
    </dgm:pt>
    <dgm:pt modelId="{5F77CCB4-6FCB-4CA7-8D84-03D719022E6B}" type="parTrans" cxnId="{2A71B1C7-C232-4E45-991F-DFAD7186DBD7}">
      <dgm:prSet/>
      <dgm:spPr/>
      <dgm:t>
        <a:bodyPr/>
        <a:lstStyle/>
        <a:p>
          <a:endParaRPr lang="en-US" sz="1400">
            <a:latin typeface="Century Gothic" panose="020B0502020202020204" pitchFamily="34" charset="0"/>
          </a:endParaRPr>
        </a:p>
      </dgm:t>
    </dgm:pt>
    <dgm:pt modelId="{0D2CB908-EC06-4297-B3F5-F77E017EF5D4}" type="sibTrans" cxnId="{2A71B1C7-C232-4E45-991F-DFAD7186DBD7}">
      <dgm:prSet/>
      <dgm:spPr/>
      <dgm:t>
        <a:bodyPr/>
        <a:lstStyle/>
        <a:p>
          <a:endParaRPr lang="en-US" sz="1400">
            <a:latin typeface="Century Gothic" panose="020B0502020202020204" pitchFamily="34" charset="0"/>
          </a:endParaRPr>
        </a:p>
      </dgm:t>
    </dgm:pt>
    <dgm:pt modelId="{963ED194-DB22-40BA-BD17-49D641E8CABF}">
      <dgm:prSet phldrT="[Text]" custT="1"/>
      <dgm:spPr/>
      <dgm:t>
        <a:bodyPr/>
        <a:lstStyle/>
        <a:p>
          <a:r>
            <a:rPr lang="en-US" sz="1400" dirty="0">
              <a:latin typeface="Century Gothic" panose="020B0502020202020204" pitchFamily="34" charset="0"/>
            </a:rPr>
            <a:t>External combustion</a:t>
          </a:r>
        </a:p>
      </dgm:t>
    </dgm:pt>
    <dgm:pt modelId="{FF8F3535-DAC3-4D34-9C33-A60DD628DC4D}" type="parTrans" cxnId="{D2DFE722-1F04-470C-B0A6-CDE4F3AB7385}">
      <dgm:prSet/>
      <dgm:spPr/>
      <dgm:t>
        <a:bodyPr/>
        <a:lstStyle/>
        <a:p>
          <a:endParaRPr lang="en-US" sz="1400">
            <a:latin typeface="Century Gothic" panose="020B0502020202020204" pitchFamily="34" charset="0"/>
          </a:endParaRPr>
        </a:p>
      </dgm:t>
    </dgm:pt>
    <dgm:pt modelId="{74DE4DEF-3E11-4FFC-A349-0223E298DC92}" type="sibTrans" cxnId="{D2DFE722-1F04-470C-B0A6-CDE4F3AB7385}">
      <dgm:prSet/>
      <dgm:spPr/>
      <dgm:t>
        <a:bodyPr/>
        <a:lstStyle/>
        <a:p>
          <a:endParaRPr lang="en-US" sz="1400">
            <a:latin typeface="Century Gothic" panose="020B0502020202020204" pitchFamily="34" charset="0"/>
          </a:endParaRPr>
        </a:p>
      </dgm:t>
    </dgm:pt>
    <dgm:pt modelId="{C63F519B-5CB3-418D-9DC9-629ECE792587}">
      <dgm:prSet phldrT="[Text]" custT="1"/>
      <dgm:spPr/>
      <dgm:t>
        <a:bodyPr/>
        <a:lstStyle/>
        <a:p>
          <a:r>
            <a:rPr lang="en-US" sz="1400" dirty="0">
              <a:latin typeface="Century Gothic" panose="020B0502020202020204" pitchFamily="34" charset="0"/>
            </a:rPr>
            <a:t>Internal combustion</a:t>
          </a:r>
        </a:p>
      </dgm:t>
    </dgm:pt>
    <dgm:pt modelId="{84E38A7F-5500-4F7C-BDE0-9F465A6FC94C}" type="parTrans" cxnId="{15713095-DB96-48F5-B343-C80D9A20941A}">
      <dgm:prSet/>
      <dgm:spPr/>
      <dgm:t>
        <a:bodyPr/>
        <a:lstStyle/>
        <a:p>
          <a:endParaRPr lang="en-US" sz="1400">
            <a:latin typeface="Century Gothic" panose="020B0502020202020204" pitchFamily="34" charset="0"/>
          </a:endParaRPr>
        </a:p>
      </dgm:t>
    </dgm:pt>
    <dgm:pt modelId="{9B813A58-3201-4C2B-A65D-23AC28F59D33}" type="sibTrans" cxnId="{15713095-DB96-48F5-B343-C80D9A20941A}">
      <dgm:prSet/>
      <dgm:spPr/>
      <dgm:t>
        <a:bodyPr/>
        <a:lstStyle/>
        <a:p>
          <a:endParaRPr lang="en-US" sz="1400">
            <a:latin typeface="Century Gothic" panose="020B0502020202020204" pitchFamily="34" charset="0"/>
          </a:endParaRPr>
        </a:p>
      </dgm:t>
    </dgm:pt>
    <dgm:pt modelId="{512C7EC4-A327-48C0-9A5C-0190506CE870}">
      <dgm:prSet phldrT="[Text]" custT="1"/>
      <dgm:spPr/>
      <dgm:t>
        <a:bodyPr/>
        <a:lstStyle/>
        <a:p>
          <a:r>
            <a:rPr lang="en-US" sz="1400" dirty="0">
              <a:latin typeface="Century Gothic" panose="020B0502020202020204" pitchFamily="34" charset="0"/>
            </a:rPr>
            <a:t>Spark ignition</a:t>
          </a:r>
        </a:p>
      </dgm:t>
    </dgm:pt>
    <dgm:pt modelId="{2995C839-8409-43C4-8926-50012446BE26}" type="parTrans" cxnId="{B82D4547-73E8-4CC6-99C4-922615CC3747}">
      <dgm:prSet/>
      <dgm:spPr/>
      <dgm:t>
        <a:bodyPr/>
        <a:lstStyle/>
        <a:p>
          <a:endParaRPr lang="en-US" sz="1400">
            <a:latin typeface="Century Gothic" panose="020B0502020202020204" pitchFamily="34" charset="0"/>
          </a:endParaRPr>
        </a:p>
      </dgm:t>
    </dgm:pt>
    <dgm:pt modelId="{874CB823-60F5-4B74-A933-BE1317641750}" type="sibTrans" cxnId="{B82D4547-73E8-4CC6-99C4-922615CC3747}">
      <dgm:prSet/>
      <dgm:spPr/>
      <dgm:t>
        <a:bodyPr/>
        <a:lstStyle/>
        <a:p>
          <a:endParaRPr lang="en-US" sz="1400">
            <a:latin typeface="Century Gothic" panose="020B0502020202020204" pitchFamily="34" charset="0"/>
          </a:endParaRPr>
        </a:p>
      </dgm:t>
    </dgm:pt>
    <dgm:pt modelId="{361CD364-40EB-4D27-B245-C81269662191}">
      <dgm:prSet phldrT="[Text]" custT="1"/>
      <dgm:spPr/>
      <dgm:t>
        <a:bodyPr/>
        <a:lstStyle/>
        <a:p>
          <a:r>
            <a:rPr lang="en-US" sz="1400" dirty="0">
              <a:latin typeface="Century Gothic" panose="020B0502020202020204" pitchFamily="34" charset="0"/>
            </a:rPr>
            <a:t>CNG H series</a:t>
          </a:r>
        </a:p>
      </dgm:t>
    </dgm:pt>
    <dgm:pt modelId="{1244A92A-C84A-4A93-A80F-21C28E1F7DB3}" type="parTrans" cxnId="{50A78D7E-D1C6-48E9-9C80-3ECB2BE21495}">
      <dgm:prSet/>
      <dgm:spPr/>
      <dgm:t>
        <a:bodyPr/>
        <a:lstStyle/>
        <a:p>
          <a:endParaRPr lang="en-US" sz="1400">
            <a:latin typeface="Century Gothic" panose="020B0502020202020204" pitchFamily="34" charset="0"/>
          </a:endParaRPr>
        </a:p>
      </dgm:t>
    </dgm:pt>
    <dgm:pt modelId="{C892C35B-755E-4ECA-B0A4-34DC63D6E2C0}" type="sibTrans" cxnId="{50A78D7E-D1C6-48E9-9C80-3ECB2BE21495}">
      <dgm:prSet/>
      <dgm:spPr/>
      <dgm:t>
        <a:bodyPr/>
        <a:lstStyle/>
        <a:p>
          <a:endParaRPr lang="en-US" sz="1400">
            <a:latin typeface="Century Gothic" panose="020B0502020202020204" pitchFamily="34" charset="0"/>
          </a:endParaRPr>
        </a:p>
      </dgm:t>
    </dgm:pt>
    <dgm:pt modelId="{3F047C78-C6EC-4A9A-BE33-3BCD0F5B89E8}">
      <dgm:prSet phldrT="[Text]" custT="1"/>
      <dgm:spPr/>
      <dgm:t>
        <a:bodyPr/>
        <a:lstStyle/>
        <a:p>
          <a:r>
            <a:rPr lang="en-US" sz="1400" dirty="0">
              <a:latin typeface="Century Gothic" panose="020B0502020202020204" pitchFamily="34" charset="0"/>
            </a:rPr>
            <a:t>A series diesel</a:t>
          </a:r>
        </a:p>
      </dgm:t>
    </dgm:pt>
    <dgm:pt modelId="{D5B1211E-640A-4D30-8F11-28D0265575A3}" type="parTrans" cxnId="{06A7C8CC-384A-4739-90B2-8FD319AF051B}">
      <dgm:prSet/>
      <dgm:spPr/>
      <dgm:t>
        <a:bodyPr/>
        <a:lstStyle/>
        <a:p>
          <a:endParaRPr lang="en-US" sz="1400">
            <a:latin typeface="Century Gothic" panose="020B0502020202020204" pitchFamily="34" charset="0"/>
          </a:endParaRPr>
        </a:p>
      </dgm:t>
    </dgm:pt>
    <dgm:pt modelId="{43F9376F-588B-4BA4-85C0-1F65EF885B1A}" type="sibTrans" cxnId="{06A7C8CC-384A-4739-90B2-8FD319AF051B}">
      <dgm:prSet/>
      <dgm:spPr/>
      <dgm:t>
        <a:bodyPr/>
        <a:lstStyle/>
        <a:p>
          <a:endParaRPr lang="en-US" sz="1400">
            <a:latin typeface="Century Gothic" panose="020B0502020202020204" pitchFamily="34" charset="0"/>
          </a:endParaRPr>
        </a:p>
      </dgm:t>
    </dgm:pt>
    <dgm:pt modelId="{F8283D1B-196F-4718-B066-ADEACAA1A14B}">
      <dgm:prSet phldrT="[Text]" custT="1"/>
      <dgm:spPr/>
      <dgm:t>
        <a:bodyPr/>
        <a:lstStyle/>
        <a:p>
          <a:r>
            <a:rPr lang="en-US" sz="1400" dirty="0">
              <a:latin typeface="Century Gothic" panose="020B0502020202020204" pitchFamily="34" charset="0"/>
            </a:rPr>
            <a:t>H series diesel</a:t>
          </a:r>
        </a:p>
      </dgm:t>
    </dgm:pt>
    <dgm:pt modelId="{B9E79530-CDA9-4320-98F7-EC853B431C68}" type="parTrans" cxnId="{7F13AAC1-5BD7-486D-A892-970DF4EF61E6}">
      <dgm:prSet/>
      <dgm:spPr/>
      <dgm:t>
        <a:bodyPr/>
        <a:lstStyle/>
        <a:p>
          <a:endParaRPr lang="en-US" sz="1400">
            <a:latin typeface="Century Gothic" panose="020B0502020202020204" pitchFamily="34" charset="0"/>
          </a:endParaRPr>
        </a:p>
      </dgm:t>
    </dgm:pt>
    <dgm:pt modelId="{FB85B316-9D9D-4473-A07E-7E39479434A8}" type="sibTrans" cxnId="{7F13AAC1-5BD7-486D-A892-970DF4EF61E6}">
      <dgm:prSet/>
      <dgm:spPr/>
      <dgm:t>
        <a:bodyPr/>
        <a:lstStyle/>
        <a:p>
          <a:endParaRPr lang="en-US" sz="1400">
            <a:latin typeface="Century Gothic" panose="020B0502020202020204" pitchFamily="34" charset="0"/>
          </a:endParaRPr>
        </a:p>
      </dgm:t>
    </dgm:pt>
    <dgm:pt modelId="{8FF602EB-A62D-4764-B704-CD661A34E9B5}">
      <dgm:prSet phldrT="[Text]" custT="1"/>
      <dgm:spPr/>
      <dgm:t>
        <a:bodyPr/>
        <a:lstStyle/>
        <a:p>
          <a:r>
            <a:rPr lang="en-US" sz="1400" dirty="0">
              <a:latin typeface="Century Gothic" panose="020B0502020202020204" pitchFamily="34" charset="0"/>
            </a:rPr>
            <a:t>H6- 4V DENSO HP3, 250hp,</a:t>
          </a:r>
        </a:p>
        <a:p>
          <a:r>
            <a:rPr lang="en-US" sz="1400" dirty="0">
              <a:latin typeface="Century Gothic" panose="020B0502020202020204" pitchFamily="34" charset="0"/>
            </a:rPr>
            <a:t>H6, 2V – BOSCH CB28, 200hp</a:t>
          </a:r>
        </a:p>
      </dgm:t>
    </dgm:pt>
    <dgm:pt modelId="{A440FA17-A3F7-471A-805E-E1510EA8C8C6}" type="parTrans" cxnId="{770365AB-053C-4A33-88F0-A6033844D7BE}">
      <dgm:prSet/>
      <dgm:spPr/>
      <dgm:t>
        <a:bodyPr/>
        <a:lstStyle/>
        <a:p>
          <a:endParaRPr lang="en-US" sz="1400">
            <a:latin typeface="Century Gothic" panose="020B0502020202020204" pitchFamily="34" charset="0"/>
          </a:endParaRPr>
        </a:p>
      </dgm:t>
    </dgm:pt>
    <dgm:pt modelId="{7AABFC71-6126-45E7-8BFA-DF26A9BBEE5B}" type="sibTrans" cxnId="{770365AB-053C-4A33-88F0-A6033844D7BE}">
      <dgm:prSet/>
      <dgm:spPr/>
      <dgm:t>
        <a:bodyPr/>
        <a:lstStyle/>
        <a:p>
          <a:endParaRPr lang="en-US" sz="1400">
            <a:latin typeface="Century Gothic" panose="020B0502020202020204" pitchFamily="34" charset="0"/>
          </a:endParaRPr>
        </a:p>
      </dgm:t>
    </dgm:pt>
    <dgm:pt modelId="{2D75CE42-EACE-4509-A090-59A8C6107976}">
      <dgm:prSet phldrT="[Text]" custT="1"/>
      <dgm:spPr/>
      <dgm:t>
        <a:bodyPr/>
        <a:lstStyle/>
        <a:p>
          <a:r>
            <a:rPr lang="en-US" sz="1400" dirty="0">
              <a:latin typeface="Century Gothic" panose="020B0502020202020204" pitchFamily="34" charset="0"/>
            </a:rPr>
            <a:t>A4- 4V DENSO HP4,250 </a:t>
          </a:r>
          <a:r>
            <a:rPr lang="en-US" sz="1400" dirty="0" err="1">
              <a:latin typeface="Century Gothic" panose="020B0502020202020204" pitchFamily="34" charset="0"/>
            </a:rPr>
            <a:t>hp</a:t>
          </a:r>
          <a:endParaRPr lang="en-US" sz="1400" dirty="0">
            <a:latin typeface="Century Gothic" panose="020B0502020202020204" pitchFamily="34" charset="0"/>
          </a:endParaRPr>
        </a:p>
        <a:p>
          <a:r>
            <a:rPr lang="en-US" sz="1400" dirty="0">
              <a:latin typeface="Century Gothic" panose="020B0502020202020204" pitchFamily="34" charset="0"/>
            </a:rPr>
            <a:t> A6- 4V DENSO HP4, 320hp</a:t>
          </a:r>
        </a:p>
      </dgm:t>
    </dgm:pt>
    <dgm:pt modelId="{8234851E-31E3-47FA-A9A6-89FB73B61A52}" type="parTrans" cxnId="{C9D2F11A-71A0-439A-9B3F-C0644861C0C0}">
      <dgm:prSet/>
      <dgm:spPr/>
      <dgm:t>
        <a:bodyPr/>
        <a:lstStyle/>
        <a:p>
          <a:endParaRPr lang="en-US" sz="1400">
            <a:latin typeface="Century Gothic" panose="020B0502020202020204" pitchFamily="34" charset="0"/>
          </a:endParaRPr>
        </a:p>
      </dgm:t>
    </dgm:pt>
    <dgm:pt modelId="{A68B6A8C-CA94-4214-AA3D-D4B2D2EC0660}" type="sibTrans" cxnId="{C9D2F11A-71A0-439A-9B3F-C0644861C0C0}">
      <dgm:prSet/>
      <dgm:spPr/>
      <dgm:t>
        <a:bodyPr/>
        <a:lstStyle/>
        <a:p>
          <a:endParaRPr lang="en-US" sz="1400">
            <a:latin typeface="Century Gothic" panose="020B0502020202020204" pitchFamily="34" charset="0"/>
          </a:endParaRPr>
        </a:p>
      </dgm:t>
    </dgm:pt>
    <dgm:pt modelId="{92EF9F14-F838-4649-9814-7BDA1310C917}">
      <dgm:prSet phldrT="[Text]" custT="1"/>
      <dgm:spPr/>
      <dgm:t>
        <a:bodyPr/>
        <a:lstStyle/>
        <a:p>
          <a:r>
            <a:rPr lang="en-US" sz="1400" dirty="0">
              <a:latin typeface="Century Gothic" panose="020B0502020202020204" pitchFamily="34" charset="0"/>
            </a:rPr>
            <a:t>H4 – 144hp(2V)(NA) DELPHI,</a:t>
          </a:r>
        </a:p>
        <a:p>
          <a:r>
            <a:rPr lang="en-US" sz="1400" dirty="0">
              <a:latin typeface="Century Gothic" panose="020B0502020202020204" pitchFamily="34" charset="0"/>
            </a:rPr>
            <a:t> H6 - 130hp(NA), 230hp(TC)</a:t>
          </a:r>
        </a:p>
      </dgm:t>
    </dgm:pt>
    <dgm:pt modelId="{C4030FF5-F24A-4C73-A3D0-EAF01060B78D}" type="parTrans" cxnId="{322F8718-5621-4D13-B96E-8E7A9A716E8E}">
      <dgm:prSet/>
      <dgm:spPr/>
      <dgm:t>
        <a:bodyPr/>
        <a:lstStyle/>
        <a:p>
          <a:endParaRPr lang="en-US"/>
        </a:p>
      </dgm:t>
    </dgm:pt>
    <dgm:pt modelId="{CE0C12E9-6C19-4EDD-9078-8B8C85E8DAFE}" type="sibTrans" cxnId="{322F8718-5621-4D13-B96E-8E7A9A716E8E}">
      <dgm:prSet/>
      <dgm:spPr/>
      <dgm:t>
        <a:bodyPr/>
        <a:lstStyle/>
        <a:p>
          <a:endParaRPr lang="en-US"/>
        </a:p>
      </dgm:t>
    </dgm:pt>
    <dgm:pt modelId="{50ED7DCF-C460-4EE2-8440-BADD534EFC17}">
      <dgm:prSet phldrT="[Text]" custT="1"/>
      <dgm:spPr/>
      <dgm:t>
        <a:bodyPr/>
        <a:lstStyle/>
        <a:p>
          <a:r>
            <a:rPr lang="en-US" sz="1400" dirty="0">
              <a:latin typeface="Century Gothic" panose="020B0502020202020204" pitchFamily="34" charset="0"/>
            </a:rPr>
            <a:t>Compression ignition</a:t>
          </a:r>
        </a:p>
      </dgm:t>
    </dgm:pt>
    <dgm:pt modelId="{683F1620-1934-406E-82F8-D6EC5B994E7D}" type="sibTrans" cxnId="{36174238-8EA3-4FBD-BD79-304A0C94E819}">
      <dgm:prSet/>
      <dgm:spPr/>
      <dgm:t>
        <a:bodyPr/>
        <a:lstStyle/>
        <a:p>
          <a:endParaRPr lang="en-US" sz="1400">
            <a:latin typeface="Century Gothic" panose="020B0502020202020204" pitchFamily="34" charset="0"/>
          </a:endParaRPr>
        </a:p>
      </dgm:t>
    </dgm:pt>
    <dgm:pt modelId="{E0E52216-2844-4099-85F8-60B90A5E3614}" type="parTrans" cxnId="{36174238-8EA3-4FBD-BD79-304A0C94E819}">
      <dgm:prSet/>
      <dgm:spPr/>
      <dgm:t>
        <a:bodyPr/>
        <a:lstStyle/>
        <a:p>
          <a:endParaRPr lang="en-US" sz="1400">
            <a:latin typeface="Century Gothic" panose="020B0502020202020204" pitchFamily="34" charset="0"/>
          </a:endParaRPr>
        </a:p>
      </dgm:t>
    </dgm:pt>
    <dgm:pt modelId="{E66FE607-E607-4D83-AD75-6C7B223C09FB}" type="pres">
      <dgm:prSet presAssocID="{6A3675D7-3957-4167-B39E-13F3F0ED82A5}" presName="hierChild1" presStyleCnt="0">
        <dgm:presLayoutVars>
          <dgm:chPref val="1"/>
          <dgm:dir/>
          <dgm:animOne val="branch"/>
          <dgm:animLvl val="lvl"/>
          <dgm:resizeHandles/>
        </dgm:presLayoutVars>
      </dgm:prSet>
      <dgm:spPr/>
    </dgm:pt>
    <dgm:pt modelId="{1CA84F1C-3AC0-4356-AA16-D48DC245BE44}" type="pres">
      <dgm:prSet presAssocID="{8E5502D9-2CBB-4840-B792-2FF24EFEE6E6}" presName="hierRoot1" presStyleCnt="0"/>
      <dgm:spPr/>
    </dgm:pt>
    <dgm:pt modelId="{F561F0BD-511C-4F4B-B8EB-66B5B03EC8BC}" type="pres">
      <dgm:prSet presAssocID="{8E5502D9-2CBB-4840-B792-2FF24EFEE6E6}" presName="composite" presStyleCnt="0"/>
      <dgm:spPr/>
    </dgm:pt>
    <dgm:pt modelId="{8CB08493-ED58-481A-A70D-1E19B9BB97C8}" type="pres">
      <dgm:prSet presAssocID="{8E5502D9-2CBB-4840-B792-2FF24EFEE6E6}" presName="background" presStyleLbl="node0" presStyleIdx="0" presStyleCnt="1"/>
      <dgm:spPr/>
    </dgm:pt>
    <dgm:pt modelId="{5639A54C-C5CF-4A64-B529-E32042DAC07C}" type="pres">
      <dgm:prSet presAssocID="{8E5502D9-2CBB-4840-B792-2FF24EFEE6E6}" presName="text" presStyleLbl="fgAcc0" presStyleIdx="0" presStyleCnt="1" custScaleX="168831">
        <dgm:presLayoutVars>
          <dgm:chPref val="3"/>
        </dgm:presLayoutVars>
      </dgm:prSet>
      <dgm:spPr/>
    </dgm:pt>
    <dgm:pt modelId="{D8939AFB-7C15-47F8-BAED-2A9A28FEEB7F}" type="pres">
      <dgm:prSet presAssocID="{8E5502D9-2CBB-4840-B792-2FF24EFEE6E6}" presName="hierChild2" presStyleCnt="0"/>
      <dgm:spPr/>
    </dgm:pt>
    <dgm:pt modelId="{8D4FDCF0-CCE6-4638-B0C7-4325022CB541}" type="pres">
      <dgm:prSet presAssocID="{FF8F3535-DAC3-4D34-9C33-A60DD628DC4D}" presName="Name10" presStyleLbl="parChTrans1D2" presStyleIdx="0" presStyleCnt="2"/>
      <dgm:spPr/>
    </dgm:pt>
    <dgm:pt modelId="{B66FB6CF-80DB-4FF5-8A11-5931EFE5AF78}" type="pres">
      <dgm:prSet presAssocID="{963ED194-DB22-40BA-BD17-49D641E8CABF}" presName="hierRoot2" presStyleCnt="0"/>
      <dgm:spPr/>
    </dgm:pt>
    <dgm:pt modelId="{D6A47A65-7748-4ACC-8120-DF13E553E19F}" type="pres">
      <dgm:prSet presAssocID="{963ED194-DB22-40BA-BD17-49D641E8CABF}" presName="composite2" presStyleCnt="0"/>
      <dgm:spPr/>
    </dgm:pt>
    <dgm:pt modelId="{82918D3C-B054-4407-8C4B-465917F68AE4}" type="pres">
      <dgm:prSet presAssocID="{963ED194-DB22-40BA-BD17-49D641E8CABF}" presName="background2" presStyleLbl="node2" presStyleIdx="0" presStyleCnt="2"/>
      <dgm:spPr/>
    </dgm:pt>
    <dgm:pt modelId="{49C8CF65-54DE-4A28-BBC2-948D63D92CD8}" type="pres">
      <dgm:prSet presAssocID="{963ED194-DB22-40BA-BD17-49D641E8CABF}" presName="text2" presStyleLbl="fgAcc2" presStyleIdx="0" presStyleCnt="2" custScaleX="135599">
        <dgm:presLayoutVars>
          <dgm:chPref val="3"/>
        </dgm:presLayoutVars>
      </dgm:prSet>
      <dgm:spPr/>
    </dgm:pt>
    <dgm:pt modelId="{90E48368-43C1-4660-873E-1EAD4A8929A3}" type="pres">
      <dgm:prSet presAssocID="{963ED194-DB22-40BA-BD17-49D641E8CABF}" presName="hierChild3" presStyleCnt="0"/>
      <dgm:spPr/>
    </dgm:pt>
    <dgm:pt modelId="{BB3150F5-6017-4E73-AAF3-163EE0DCFF8A}" type="pres">
      <dgm:prSet presAssocID="{84E38A7F-5500-4F7C-BDE0-9F465A6FC94C}" presName="Name10" presStyleLbl="parChTrans1D2" presStyleIdx="1" presStyleCnt="2"/>
      <dgm:spPr/>
    </dgm:pt>
    <dgm:pt modelId="{F026DEE1-4233-4794-9F27-FE87E7DDE9A5}" type="pres">
      <dgm:prSet presAssocID="{C63F519B-5CB3-418D-9DC9-629ECE792587}" presName="hierRoot2" presStyleCnt="0"/>
      <dgm:spPr/>
    </dgm:pt>
    <dgm:pt modelId="{0B2B2D53-ADD7-47B5-B469-888397040AAE}" type="pres">
      <dgm:prSet presAssocID="{C63F519B-5CB3-418D-9DC9-629ECE792587}" presName="composite2" presStyleCnt="0"/>
      <dgm:spPr/>
    </dgm:pt>
    <dgm:pt modelId="{2ABBA75F-58E1-47C3-B88A-E0B3F9F3E2D6}" type="pres">
      <dgm:prSet presAssocID="{C63F519B-5CB3-418D-9DC9-629ECE792587}" presName="background2" presStyleLbl="node2" presStyleIdx="1" presStyleCnt="2"/>
      <dgm:spPr/>
    </dgm:pt>
    <dgm:pt modelId="{5AF37B73-3BB1-4752-83B9-9D4AFFF54F3E}" type="pres">
      <dgm:prSet presAssocID="{C63F519B-5CB3-418D-9DC9-629ECE792587}" presName="text2" presStyleLbl="fgAcc2" presStyleIdx="1" presStyleCnt="2" custScaleX="157232">
        <dgm:presLayoutVars>
          <dgm:chPref val="3"/>
        </dgm:presLayoutVars>
      </dgm:prSet>
      <dgm:spPr/>
    </dgm:pt>
    <dgm:pt modelId="{BE10947C-7134-4FF5-9D4D-0497BD5340DB}" type="pres">
      <dgm:prSet presAssocID="{C63F519B-5CB3-418D-9DC9-629ECE792587}" presName="hierChild3" presStyleCnt="0"/>
      <dgm:spPr/>
    </dgm:pt>
    <dgm:pt modelId="{B53A25C9-B986-4DB6-AA69-20AAA1423FC1}" type="pres">
      <dgm:prSet presAssocID="{2995C839-8409-43C4-8926-50012446BE26}" presName="Name17" presStyleLbl="parChTrans1D3" presStyleIdx="0" presStyleCnt="2"/>
      <dgm:spPr/>
    </dgm:pt>
    <dgm:pt modelId="{2CDD608D-F7BC-40EA-AE9D-A4E014AA0969}" type="pres">
      <dgm:prSet presAssocID="{512C7EC4-A327-48C0-9A5C-0190506CE870}" presName="hierRoot3" presStyleCnt="0"/>
      <dgm:spPr/>
    </dgm:pt>
    <dgm:pt modelId="{31F2734D-AFF3-4AA9-AE3D-D0A35C5DD544}" type="pres">
      <dgm:prSet presAssocID="{512C7EC4-A327-48C0-9A5C-0190506CE870}" presName="composite3" presStyleCnt="0"/>
      <dgm:spPr/>
    </dgm:pt>
    <dgm:pt modelId="{C9CD006A-6CC6-46E8-93EF-CB1B8755A8AA}" type="pres">
      <dgm:prSet presAssocID="{512C7EC4-A327-48C0-9A5C-0190506CE870}" presName="background3" presStyleLbl="node3" presStyleIdx="0" presStyleCnt="2"/>
      <dgm:spPr/>
    </dgm:pt>
    <dgm:pt modelId="{4B08E004-D4FD-4DAA-8FE8-4E05AD5169DA}" type="pres">
      <dgm:prSet presAssocID="{512C7EC4-A327-48C0-9A5C-0190506CE870}" presName="text3" presStyleLbl="fgAcc3" presStyleIdx="0" presStyleCnt="2">
        <dgm:presLayoutVars>
          <dgm:chPref val="3"/>
        </dgm:presLayoutVars>
      </dgm:prSet>
      <dgm:spPr/>
    </dgm:pt>
    <dgm:pt modelId="{EBAE0BD0-2259-4646-B320-6B4CBCD08E4B}" type="pres">
      <dgm:prSet presAssocID="{512C7EC4-A327-48C0-9A5C-0190506CE870}" presName="hierChild4" presStyleCnt="0"/>
      <dgm:spPr/>
    </dgm:pt>
    <dgm:pt modelId="{AEBCF06B-9CE7-47DD-A031-11A6C50E13B3}" type="pres">
      <dgm:prSet presAssocID="{1244A92A-C84A-4A93-A80F-21C28E1F7DB3}" presName="Name23" presStyleLbl="parChTrans1D4" presStyleIdx="0" presStyleCnt="6"/>
      <dgm:spPr/>
    </dgm:pt>
    <dgm:pt modelId="{7F5C28A4-52F6-4DA7-A22A-CC21FBFA5B37}" type="pres">
      <dgm:prSet presAssocID="{361CD364-40EB-4D27-B245-C81269662191}" presName="hierRoot4" presStyleCnt="0"/>
      <dgm:spPr/>
    </dgm:pt>
    <dgm:pt modelId="{1245BFC4-849D-4BB6-95B2-B3A96DA2ED18}" type="pres">
      <dgm:prSet presAssocID="{361CD364-40EB-4D27-B245-C81269662191}" presName="composite4" presStyleCnt="0"/>
      <dgm:spPr/>
    </dgm:pt>
    <dgm:pt modelId="{0594785D-6AAD-4BB3-A751-4FD2615F95D7}" type="pres">
      <dgm:prSet presAssocID="{361CD364-40EB-4D27-B245-C81269662191}" presName="background4" presStyleLbl="node4" presStyleIdx="0" presStyleCnt="6"/>
      <dgm:spPr/>
    </dgm:pt>
    <dgm:pt modelId="{735E951B-C981-4C94-B624-A1A4254D914B}" type="pres">
      <dgm:prSet presAssocID="{361CD364-40EB-4D27-B245-C81269662191}" presName="text4" presStyleLbl="fgAcc4" presStyleIdx="0" presStyleCnt="6">
        <dgm:presLayoutVars>
          <dgm:chPref val="3"/>
        </dgm:presLayoutVars>
      </dgm:prSet>
      <dgm:spPr/>
    </dgm:pt>
    <dgm:pt modelId="{C01DAEEB-0292-4198-A25C-DF3E729BBF23}" type="pres">
      <dgm:prSet presAssocID="{361CD364-40EB-4D27-B245-C81269662191}" presName="hierChild5" presStyleCnt="0"/>
      <dgm:spPr/>
    </dgm:pt>
    <dgm:pt modelId="{16B2E6E4-4CE3-4CA0-BA98-3A36C88DB56A}" type="pres">
      <dgm:prSet presAssocID="{C4030FF5-F24A-4C73-A3D0-EAF01060B78D}" presName="Name23" presStyleLbl="parChTrans1D4" presStyleIdx="1" presStyleCnt="6"/>
      <dgm:spPr/>
    </dgm:pt>
    <dgm:pt modelId="{93EEE97A-6EFB-40C3-973E-6B7DA6D32D39}" type="pres">
      <dgm:prSet presAssocID="{92EF9F14-F838-4649-9814-7BDA1310C917}" presName="hierRoot4" presStyleCnt="0"/>
      <dgm:spPr/>
    </dgm:pt>
    <dgm:pt modelId="{EBBEBCB0-5617-44A7-9D79-7A7BAB1A62A5}" type="pres">
      <dgm:prSet presAssocID="{92EF9F14-F838-4649-9814-7BDA1310C917}" presName="composite4" presStyleCnt="0"/>
      <dgm:spPr/>
    </dgm:pt>
    <dgm:pt modelId="{D3A4A8E7-EDCA-4C82-AD8C-9EAEB75576AD}" type="pres">
      <dgm:prSet presAssocID="{92EF9F14-F838-4649-9814-7BDA1310C917}" presName="background4" presStyleLbl="node4" presStyleIdx="1" presStyleCnt="6"/>
      <dgm:spPr/>
    </dgm:pt>
    <dgm:pt modelId="{C57E48CD-1533-4DA2-87D4-CC6CC1E9B494}" type="pres">
      <dgm:prSet presAssocID="{92EF9F14-F838-4649-9814-7BDA1310C917}" presName="text4" presStyleLbl="fgAcc4" presStyleIdx="1" presStyleCnt="6" custScaleX="285256" custScaleY="163214">
        <dgm:presLayoutVars>
          <dgm:chPref val="3"/>
        </dgm:presLayoutVars>
      </dgm:prSet>
      <dgm:spPr/>
    </dgm:pt>
    <dgm:pt modelId="{4F257B98-DA3F-4A5A-8A95-F4B1559A3456}" type="pres">
      <dgm:prSet presAssocID="{92EF9F14-F838-4649-9814-7BDA1310C917}" presName="hierChild5" presStyleCnt="0"/>
      <dgm:spPr/>
    </dgm:pt>
    <dgm:pt modelId="{3F39B127-1C3D-4D65-B4D7-495B7C7B117D}" type="pres">
      <dgm:prSet presAssocID="{E0E52216-2844-4099-85F8-60B90A5E3614}" presName="Name17" presStyleLbl="parChTrans1D3" presStyleIdx="1" presStyleCnt="2"/>
      <dgm:spPr/>
    </dgm:pt>
    <dgm:pt modelId="{568A4C13-2232-444D-9E3A-EEE709E3283B}" type="pres">
      <dgm:prSet presAssocID="{50ED7DCF-C460-4EE2-8440-BADD534EFC17}" presName="hierRoot3" presStyleCnt="0"/>
      <dgm:spPr/>
    </dgm:pt>
    <dgm:pt modelId="{ADBCD13E-2AF8-4750-89CB-A9E4D0045199}" type="pres">
      <dgm:prSet presAssocID="{50ED7DCF-C460-4EE2-8440-BADD534EFC17}" presName="composite3" presStyleCnt="0"/>
      <dgm:spPr/>
    </dgm:pt>
    <dgm:pt modelId="{D13089C5-E361-4EDF-A487-7240EB952140}" type="pres">
      <dgm:prSet presAssocID="{50ED7DCF-C460-4EE2-8440-BADD534EFC17}" presName="background3" presStyleLbl="node3" presStyleIdx="1" presStyleCnt="2"/>
      <dgm:spPr/>
    </dgm:pt>
    <dgm:pt modelId="{68133484-9642-45ED-B738-18854B221B60}" type="pres">
      <dgm:prSet presAssocID="{50ED7DCF-C460-4EE2-8440-BADD534EFC17}" presName="text3" presStyleLbl="fgAcc3" presStyleIdx="1" presStyleCnt="2" custScaleX="144203">
        <dgm:presLayoutVars>
          <dgm:chPref val="3"/>
        </dgm:presLayoutVars>
      </dgm:prSet>
      <dgm:spPr/>
    </dgm:pt>
    <dgm:pt modelId="{AEFDCA3A-A24B-4018-B563-B81E68937712}" type="pres">
      <dgm:prSet presAssocID="{50ED7DCF-C460-4EE2-8440-BADD534EFC17}" presName="hierChild4" presStyleCnt="0"/>
      <dgm:spPr/>
    </dgm:pt>
    <dgm:pt modelId="{17969164-87B8-4E67-9351-72A709A1F10A}" type="pres">
      <dgm:prSet presAssocID="{D5B1211E-640A-4D30-8F11-28D0265575A3}" presName="Name23" presStyleLbl="parChTrans1D4" presStyleIdx="2" presStyleCnt="6"/>
      <dgm:spPr/>
    </dgm:pt>
    <dgm:pt modelId="{5DCF3EEB-BC1B-4DE3-9C56-C84100D739B7}" type="pres">
      <dgm:prSet presAssocID="{3F047C78-C6EC-4A9A-BE33-3BCD0F5B89E8}" presName="hierRoot4" presStyleCnt="0"/>
      <dgm:spPr/>
    </dgm:pt>
    <dgm:pt modelId="{8354236F-093F-45FC-9C9C-3D655875DCFC}" type="pres">
      <dgm:prSet presAssocID="{3F047C78-C6EC-4A9A-BE33-3BCD0F5B89E8}" presName="composite4" presStyleCnt="0"/>
      <dgm:spPr/>
    </dgm:pt>
    <dgm:pt modelId="{1D69B8C9-1550-4287-AD43-752DFBAD6E6A}" type="pres">
      <dgm:prSet presAssocID="{3F047C78-C6EC-4A9A-BE33-3BCD0F5B89E8}" presName="background4" presStyleLbl="node4" presStyleIdx="2" presStyleCnt="6"/>
      <dgm:spPr/>
    </dgm:pt>
    <dgm:pt modelId="{3B921C87-D50F-4E46-B83E-2E3C8C016C83}" type="pres">
      <dgm:prSet presAssocID="{3F047C78-C6EC-4A9A-BE33-3BCD0F5B89E8}" presName="text4" presStyleLbl="fgAcc4" presStyleIdx="2" presStyleCnt="6">
        <dgm:presLayoutVars>
          <dgm:chPref val="3"/>
        </dgm:presLayoutVars>
      </dgm:prSet>
      <dgm:spPr/>
    </dgm:pt>
    <dgm:pt modelId="{A747195B-1899-4FBE-B7B0-85CEFB42C786}" type="pres">
      <dgm:prSet presAssocID="{3F047C78-C6EC-4A9A-BE33-3BCD0F5B89E8}" presName="hierChild5" presStyleCnt="0"/>
      <dgm:spPr/>
    </dgm:pt>
    <dgm:pt modelId="{7D420463-A9D1-4B81-B057-784250178A4E}" type="pres">
      <dgm:prSet presAssocID="{8234851E-31E3-47FA-A9A6-89FB73B61A52}" presName="Name23" presStyleLbl="parChTrans1D4" presStyleIdx="3" presStyleCnt="6"/>
      <dgm:spPr/>
    </dgm:pt>
    <dgm:pt modelId="{4ADB6894-2E86-476F-B9DE-222BEAF7FEA7}" type="pres">
      <dgm:prSet presAssocID="{2D75CE42-EACE-4509-A090-59A8C6107976}" presName="hierRoot4" presStyleCnt="0"/>
      <dgm:spPr/>
    </dgm:pt>
    <dgm:pt modelId="{1DA0DE21-EDD6-4897-8DB4-C7F88613490A}" type="pres">
      <dgm:prSet presAssocID="{2D75CE42-EACE-4509-A090-59A8C6107976}" presName="composite4" presStyleCnt="0"/>
      <dgm:spPr/>
    </dgm:pt>
    <dgm:pt modelId="{FFCAFB47-935D-400E-89AE-FF157E2ECF23}" type="pres">
      <dgm:prSet presAssocID="{2D75CE42-EACE-4509-A090-59A8C6107976}" presName="background4" presStyleLbl="node4" presStyleIdx="3" presStyleCnt="6"/>
      <dgm:spPr/>
    </dgm:pt>
    <dgm:pt modelId="{3FCB4DDB-8DB4-406D-B50D-C591308720D3}" type="pres">
      <dgm:prSet presAssocID="{2D75CE42-EACE-4509-A090-59A8C6107976}" presName="text4" presStyleLbl="fgAcc4" presStyleIdx="3" presStyleCnt="6" custScaleX="262147" custScaleY="181538">
        <dgm:presLayoutVars>
          <dgm:chPref val="3"/>
        </dgm:presLayoutVars>
      </dgm:prSet>
      <dgm:spPr/>
    </dgm:pt>
    <dgm:pt modelId="{CAB4A9A2-4E8B-4937-A073-052BEAF139E4}" type="pres">
      <dgm:prSet presAssocID="{2D75CE42-EACE-4509-A090-59A8C6107976}" presName="hierChild5" presStyleCnt="0"/>
      <dgm:spPr/>
    </dgm:pt>
    <dgm:pt modelId="{C5F50F39-5E38-4D53-8DBF-01D936C4AD6E}" type="pres">
      <dgm:prSet presAssocID="{B9E79530-CDA9-4320-98F7-EC853B431C68}" presName="Name23" presStyleLbl="parChTrans1D4" presStyleIdx="4" presStyleCnt="6"/>
      <dgm:spPr/>
    </dgm:pt>
    <dgm:pt modelId="{6F8B86F9-DB7F-4003-97D2-5502988520C8}" type="pres">
      <dgm:prSet presAssocID="{F8283D1B-196F-4718-B066-ADEACAA1A14B}" presName="hierRoot4" presStyleCnt="0"/>
      <dgm:spPr/>
    </dgm:pt>
    <dgm:pt modelId="{83E7305A-8202-43ED-81AA-30C94DD1F644}" type="pres">
      <dgm:prSet presAssocID="{F8283D1B-196F-4718-B066-ADEACAA1A14B}" presName="composite4" presStyleCnt="0"/>
      <dgm:spPr/>
    </dgm:pt>
    <dgm:pt modelId="{84AA892D-A292-410A-AC5F-98646EEA693C}" type="pres">
      <dgm:prSet presAssocID="{F8283D1B-196F-4718-B066-ADEACAA1A14B}" presName="background4" presStyleLbl="node4" presStyleIdx="4" presStyleCnt="6"/>
      <dgm:spPr/>
    </dgm:pt>
    <dgm:pt modelId="{F593587A-9A07-4901-BAA3-876EB3DDD575}" type="pres">
      <dgm:prSet presAssocID="{F8283D1B-196F-4718-B066-ADEACAA1A14B}" presName="text4" presStyleLbl="fgAcc4" presStyleIdx="4" presStyleCnt="6">
        <dgm:presLayoutVars>
          <dgm:chPref val="3"/>
        </dgm:presLayoutVars>
      </dgm:prSet>
      <dgm:spPr/>
    </dgm:pt>
    <dgm:pt modelId="{6DF50C03-F75A-404B-9910-0FA69B023EB9}" type="pres">
      <dgm:prSet presAssocID="{F8283D1B-196F-4718-B066-ADEACAA1A14B}" presName="hierChild5" presStyleCnt="0"/>
      <dgm:spPr/>
    </dgm:pt>
    <dgm:pt modelId="{ED579AFB-FFCE-4803-832B-BCC3C068F011}" type="pres">
      <dgm:prSet presAssocID="{A440FA17-A3F7-471A-805E-E1510EA8C8C6}" presName="Name23" presStyleLbl="parChTrans1D4" presStyleIdx="5" presStyleCnt="6"/>
      <dgm:spPr/>
    </dgm:pt>
    <dgm:pt modelId="{7D18212A-9483-435E-B037-915A80A653E3}" type="pres">
      <dgm:prSet presAssocID="{8FF602EB-A62D-4764-B704-CD661A34E9B5}" presName="hierRoot4" presStyleCnt="0"/>
      <dgm:spPr/>
    </dgm:pt>
    <dgm:pt modelId="{B08639AA-66CC-4F44-AAD3-0974D5AECFE0}" type="pres">
      <dgm:prSet presAssocID="{8FF602EB-A62D-4764-B704-CD661A34E9B5}" presName="composite4" presStyleCnt="0"/>
      <dgm:spPr/>
    </dgm:pt>
    <dgm:pt modelId="{91E3692A-EFBE-4042-9B45-F7D1486B3DC0}" type="pres">
      <dgm:prSet presAssocID="{8FF602EB-A62D-4764-B704-CD661A34E9B5}" presName="background4" presStyleLbl="node4" presStyleIdx="5" presStyleCnt="6"/>
      <dgm:spPr/>
    </dgm:pt>
    <dgm:pt modelId="{29261EBB-37F6-4F00-97F6-3C5F93160069}" type="pres">
      <dgm:prSet presAssocID="{8FF602EB-A62D-4764-B704-CD661A34E9B5}" presName="text4" presStyleLbl="fgAcc4" presStyleIdx="5" presStyleCnt="6" custScaleX="284979" custScaleY="168503">
        <dgm:presLayoutVars>
          <dgm:chPref val="3"/>
        </dgm:presLayoutVars>
      </dgm:prSet>
      <dgm:spPr/>
    </dgm:pt>
    <dgm:pt modelId="{20FE11F8-B61A-488D-9A3E-3505374F4A28}" type="pres">
      <dgm:prSet presAssocID="{8FF602EB-A62D-4764-B704-CD661A34E9B5}" presName="hierChild5" presStyleCnt="0"/>
      <dgm:spPr/>
    </dgm:pt>
  </dgm:ptLst>
  <dgm:cxnLst>
    <dgm:cxn modelId="{C35F6805-6A79-4D6B-827C-212E0B139982}" type="presOf" srcId="{1244A92A-C84A-4A93-A80F-21C28E1F7DB3}" destId="{AEBCF06B-9CE7-47DD-A031-11A6C50E13B3}" srcOrd="0" destOrd="0" presId="urn:microsoft.com/office/officeart/2005/8/layout/hierarchy1"/>
    <dgm:cxn modelId="{E666F508-2A09-4D5E-B212-56C755E80DE8}" type="presOf" srcId="{B9E79530-CDA9-4320-98F7-EC853B431C68}" destId="{C5F50F39-5E38-4D53-8DBF-01D936C4AD6E}" srcOrd="0" destOrd="0" presId="urn:microsoft.com/office/officeart/2005/8/layout/hierarchy1"/>
    <dgm:cxn modelId="{27C76710-60E4-4E6C-AD24-2F0868309175}" type="presOf" srcId="{8234851E-31E3-47FA-A9A6-89FB73B61A52}" destId="{7D420463-A9D1-4B81-B057-784250178A4E}" srcOrd="0" destOrd="0" presId="urn:microsoft.com/office/officeart/2005/8/layout/hierarchy1"/>
    <dgm:cxn modelId="{B8008F10-DD2B-4FF6-8F30-3EBCABF2D2E4}" type="presOf" srcId="{512C7EC4-A327-48C0-9A5C-0190506CE870}" destId="{4B08E004-D4FD-4DAA-8FE8-4E05AD5169DA}" srcOrd="0" destOrd="0" presId="urn:microsoft.com/office/officeart/2005/8/layout/hierarchy1"/>
    <dgm:cxn modelId="{322F8718-5621-4D13-B96E-8E7A9A716E8E}" srcId="{361CD364-40EB-4D27-B245-C81269662191}" destId="{92EF9F14-F838-4649-9814-7BDA1310C917}" srcOrd="0" destOrd="0" parTransId="{C4030FF5-F24A-4C73-A3D0-EAF01060B78D}" sibTransId="{CE0C12E9-6C19-4EDD-9078-8B8C85E8DAFE}"/>
    <dgm:cxn modelId="{C9D2F11A-71A0-439A-9B3F-C0644861C0C0}" srcId="{3F047C78-C6EC-4A9A-BE33-3BCD0F5B89E8}" destId="{2D75CE42-EACE-4509-A090-59A8C6107976}" srcOrd="0" destOrd="0" parTransId="{8234851E-31E3-47FA-A9A6-89FB73B61A52}" sibTransId="{A68B6A8C-CA94-4214-AA3D-D4B2D2EC0660}"/>
    <dgm:cxn modelId="{D2DFE722-1F04-470C-B0A6-CDE4F3AB7385}" srcId="{8E5502D9-2CBB-4840-B792-2FF24EFEE6E6}" destId="{963ED194-DB22-40BA-BD17-49D641E8CABF}" srcOrd="0" destOrd="0" parTransId="{FF8F3535-DAC3-4D34-9C33-A60DD628DC4D}" sibTransId="{74DE4DEF-3E11-4FFC-A349-0223E298DC92}"/>
    <dgm:cxn modelId="{25775329-18A6-44ED-B728-6F1FE220C1CC}" type="presOf" srcId="{2995C839-8409-43C4-8926-50012446BE26}" destId="{B53A25C9-B986-4DB6-AA69-20AAA1423FC1}" srcOrd="0" destOrd="0" presId="urn:microsoft.com/office/officeart/2005/8/layout/hierarchy1"/>
    <dgm:cxn modelId="{E3AFC332-9841-4CA1-9CF3-004EF444AEC2}" type="presOf" srcId="{8FF602EB-A62D-4764-B704-CD661A34E9B5}" destId="{29261EBB-37F6-4F00-97F6-3C5F93160069}" srcOrd="0" destOrd="0" presId="urn:microsoft.com/office/officeart/2005/8/layout/hierarchy1"/>
    <dgm:cxn modelId="{36174238-8EA3-4FBD-BD79-304A0C94E819}" srcId="{C63F519B-5CB3-418D-9DC9-629ECE792587}" destId="{50ED7DCF-C460-4EE2-8440-BADD534EFC17}" srcOrd="1" destOrd="0" parTransId="{E0E52216-2844-4099-85F8-60B90A5E3614}" sibTransId="{683F1620-1934-406E-82F8-D6EC5B994E7D}"/>
    <dgm:cxn modelId="{748E9261-575A-4C88-B166-3D0C92FECAA5}" type="presOf" srcId="{C63F519B-5CB3-418D-9DC9-629ECE792587}" destId="{5AF37B73-3BB1-4752-83B9-9D4AFFF54F3E}" srcOrd="0" destOrd="0" presId="urn:microsoft.com/office/officeart/2005/8/layout/hierarchy1"/>
    <dgm:cxn modelId="{0E06A442-2582-4F73-B119-9F49DC89311F}" type="presOf" srcId="{E0E52216-2844-4099-85F8-60B90A5E3614}" destId="{3F39B127-1C3D-4D65-B4D7-495B7C7B117D}" srcOrd="0" destOrd="0" presId="urn:microsoft.com/office/officeart/2005/8/layout/hierarchy1"/>
    <dgm:cxn modelId="{22030D46-96B9-4B10-BF17-394C915735CF}" type="presOf" srcId="{92EF9F14-F838-4649-9814-7BDA1310C917}" destId="{C57E48CD-1533-4DA2-87D4-CC6CC1E9B494}" srcOrd="0" destOrd="0" presId="urn:microsoft.com/office/officeart/2005/8/layout/hierarchy1"/>
    <dgm:cxn modelId="{B82D4547-73E8-4CC6-99C4-922615CC3747}" srcId="{C63F519B-5CB3-418D-9DC9-629ECE792587}" destId="{512C7EC4-A327-48C0-9A5C-0190506CE870}" srcOrd="0" destOrd="0" parTransId="{2995C839-8409-43C4-8926-50012446BE26}" sibTransId="{874CB823-60F5-4B74-A933-BE1317641750}"/>
    <dgm:cxn modelId="{A8AAA76B-3AFA-4476-A909-BAD1A9F710E1}" type="presOf" srcId="{84E38A7F-5500-4F7C-BDE0-9F465A6FC94C}" destId="{BB3150F5-6017-4E73-AAF3-163EE0DCFF8A}" srcOrd="0" destOrd="0" presId="urn:microsoft.com/office/officeart/2005/8/layout/hierarchy1"/>
    <dgm:cxn modelId="{B52DFD6B-2986-4360-B15B-BE68155A2E0E}" type="presOf" srcId="{F8283D1B-196F-4718-B066-ADEACAA1A14B}" destId="{F593587A-9A07-4901-BAA3-876EB3DDD575}" srcOrd="0" destOrd="0" presId="urn:microsoft.com/office/officeart/2005/8/layout/hierarchy1"/>
    <dgm:cxn modelId="{ADE4AA73-2625-41B9-92F6-D96C16F48681}" type="presOf" srcId="{963ED194-DB22-40BA-BD17-49D641E8CABF}" destId="{49C8CF65-54DE-4A28-BBC2-948D63D92CD8}" srcOrd="0" destOrd="0" presId="urn:microsoft.com/office/officeart/2005/8/layout/hierarchy1"/>
    <dgm:cxn modelId="{50A78D7E-D1C6-48E9-9C80-3ECB2BE21495}" srcId="{512C7EC4-A327-48C0-9A5C-0190506CE870}" destId="{361CD364-40EB-4D27-B245-C81269662191}" srcOrd="0" destOrd="0" parTransId="{1244A92A-C84A-4A93-A80F-21C28E1F7DB3}" sibTransId="{C892C35B-755E-4ECA-B0A4-34DC63D6E2C0}"/>
    <dgm:cxn modelId="{0B8C0F82-A8C3-4014-8A23-58FA1C5487B5}" type="presOf" srcId="{361CD364-40EB-4D27-B245-C81269662191}" destId="{735E951B-C981-4C94-B624-A1A4254D914B}" srcOrd="0" destOrd="0" presId="urn:microsoft.com/office/officeart/2005/8/layout/hierarchy1"/>
    <dgm:cxn modelId="{E6866C84-E832-4017-BD94-B5AB788C9EAE}" type="presOf" srcId="{2D75CE42-EACE-4509-A090-59A8C6107976}" destId="{3FCB4DDB-8DB4-406D-B50D-C591308720D3}" srcOrd="0" destOrd="0" presId="urn:microsoft.com/office/officeart/2005/8/layout/hierarchy1"/>
    <dgm:cxn modelId="{15713095-DB96-48F5-B343-C80D9A20941A}" srcId="{8E5502D9-2CBB-4840-B792-2FF24EFEE6E6}" destId="{C63F519B-5CB3-418D-9DC9-629ECE792587}" srcOrd="1" destOrd="0" parTransId="{84E38A7F-5500-4F7C-BDE0-9F465A6FC94C}" sibTransId="{9B813A58-3201-4C2B-A65D-23AC28F59D33}"/>
    <dgm:cxn modelId="{005EE898-887D-4DD3-9D11-530C3709D640}" type="presOf" srcId="{8E5502D9-2CBB-4840-B792-2FF24EFEE6E6}" destId="{5639A54C-C5CF-4A64-B529-E32042DAC07C}" srcOrd="0" destOrd="0" presId="urn:microsoft.com/office/officeart/2005/8/layout/hierarchy1"/>
    <dgm:cxn modelId="{1A63C4A5-FDF2-42D8-A369-31E22859AEBD}" type="presOf" srcId="{6A3675D7-3957-4167-B39E-13F3F0ED82A5}" destId="{E66FE607-E607-4D83-AD75-6C7B223C09FB}" srcOrd="0" destOrd="0" presId="urn:microsoft.com/office/officeart/2005/8/layout/hierarchy1"/>
    <dgm:cxn modelId="{9492F1A6-C3A0-461D-8B59-0739DC706C92}" type="presOf" srcId="{50ED7DCF-C460-4EE2-8440-BADD534EFC17}" destId="{68133484-9642-45ED-B738-18854B221B60}" srcOrd="0" destOrd="0" presId="urn:microsoft.com/office/officeart/2005/8/layout/hierarchy1"/>
    <dgm:cxn modelId="{770365AB-053C-4A33-88F0-A6033844D7BE}" srcId="{F8283D1B-196F-4718-B066-ADEACAA1A14B}" destId="{8FF602EB-A62D-4764-B704-CD661A34E9B5}" srcOrd="0" destOrd="0" parTransId="{A440FA17-A3F7-471A-805E-E1510EA8C8C6}" sibTransId="{7AABFC71-6126-45E7-8BFA-DF26A9BBEE5B}"/>
    <dgm:cxn modelId="{94E0A5BB-2545-4BA4-8570-EAC9C9F28709}" type="presOf" srcId="{FF8F3535-DAC3-4D34-9C33-A60DD628DC4D}" destId="{8D4FDCF0-CCE6-4638-B0C7-4325022CB541}" srcOrd="0" destOrd="0" presId="urn:microsoft.com/office/officeart/2005/8/layout/hierarchy1"/>
    <dgm:cxn modelId="{7F13AAC1-5BD7-486D-A892-970DF4EF61E6}" srcId="{50ED7DCF-C460-4EE2-8440-BADD534EFC17}" destId="{F8283D1B-196F-4718-B066-ADEACAA1A14B}" srcOrd="1" destOrd="0" parTransId="{B9E79530-CDA9-4320-98F7-EC853B431C68}" sibTransId="{FB85B316-9D9D-4473-A07E-7E39479434A8}"/>
    <dgm:cxn modelId="{BEA83BC3-660A-423A-B57A-A79D1581FE14}" type="presOf" srcId="{3F047C78-C6EC-4A9A-BE33-3BCD0F5B89E8}" destId="{3B921C87-D50F-4E46-B83E-2E3C8C016C83}" srcOrd="0" destOrd="0" presId="urn:microsoft.com/office/officeart/2005/8/layout/hierarchy1"/>
    <dgm:cxn modelId="{2A71B1C7-C232-4E45-991F-DFAD7186DBD7}" srcId="{6A3675D7-3957-4167-B39E-13F3F0ED82A5}" destId="{8E5502D9-2CBB-4840-B792-2FF24EFEE6E6}" srcOrd="0" destOrd="0" parTransId="{5F77CCB4-6FCB-4CA7-8D84-03D719022E6B}" sibTransId="{0D2CB908-EC06-4297-B3F5-F77E017EF5D4}"/>
    <dgm:cxn modelId="{06A7C8CC-384A-4739-90B2-8FD319AF051B}" srcId="{50ED7DCF-C460-4EE2-8440-BADD534EFC17}" destId="{3F047C78-C6EC-4A9A-BE33-3BCD0F5B89E8}" srcOrd="0" destOrd="0" parTransId="{D5B1211E-640A-4D30-8F11-28D0265575A3}" sibTransId="{43F9376F-588B-4BA4-85C0-1F65EF885B1A}"/>
    <dgm:cxn modelId="{57799CD4-920B-4A56-A0EC-1141A095AFA6}" type="presOf" srcId="{A440FA17-A3F7-471A-805E-E1510EA8C8C6}" destId="{ED579AFB-FFCE-4803-832B-BCC3C068F011}" srcOrd="0" destOrd="0" presId="urn:microsoft.com/office/officeart/2005/8/layout/hierarchy1"/>
    <dgm:cxn modelId="{B784CBE5-DB83-4985-9767-5A3EFC7CEB1A}" type="presOf" srcId="{D5B1211E-640A-4D30-8F11-28D0265575A3}" destId="{17969164-87B8-4E67-9351-72A709A1F10A}" srcOrd="0" destOrd="0" presId="urn:microsoft.com/office/officeart/2005/8/layout/hierarchy1"/>
    <dgm:cxn modelId="{7D722EFA-34B1-429E-95A7-6C60851731A8}" type="presOf" srcId="{C4030FF5-F24A-4C73-A3D0-EAF01060B78D}" destId="{16B2E6E4-4CE3-4CA0-BA98-3A36C88DB56A}" srcOrd="0" destOrd="0" presId="urn:microsoft.com/office/officeart/2005/8/layout/hierarchy1"/>
    <dgm:cxn modelId="{0226B04F-9A71-45EA-930A-970D275B4567}" type="presParOf" srcId="{E66FE607-E607-4D83-AD75-6C7B223C09FB}" destId="{1CA84F1C-3AC0-4356-AA16-D48DC245BE44}" srcOrd="0" destOrd="0" presId="urn:microsoft.com/office/officeart/2005/8/layout/hierarchy1"/>
    <dgm:cxn modelId="{A4E59C24-453A-430C-8421-7F0CC1BC973E}" type="presParOf" srcId="{1CA84F1C-3AC0-4356-AA16-D48DC245BE44}" destId="{F561F0BD-511C-4F4B-B8EB-66B5B03EC8BC}" srcOrd="0" destOrd="0" presId="urn:microsoft.com/office/officeart/2005/8/layout/hierarchy1"/>
    <dgm:cxn modelId="{2231381E-05D2-4329-8C91-28D1D34410B9}" type="presParOf" srcId="{F561F0BD-511C-4F4B-B8EB-66B5B03EC8BC}" destId="{8CB08493-ED58-481A-A70D-1E19B9BB97C8}" srcOrd="0" destOrd="0" presId="urn:microsoft.com/office/officeart/2005/8/layout/hierarchy1"/>
    <dgm:cxn modelId="{EA855982-CA4A-419E-9B82-30805EC54AA3}" type="presParOf" srcId="{F561F0BD-511C-4F4B-B8EB-66B5B03EC8BC}" destId="{5639A54C-C5CF-4A64-B529-E32042DAC07C}" srcOrd="1" destOrd="0" presId="urn:microsoft.com/office/officeart/2005/8/layout/hierarchy1"/>
    <dgm:cxn modelId="{9667D860-50B4-4FAD-B372-B00BEFD55FBD}" type="presParOf" srcId="{1CA84F1C-3AC0-4356-AA16-D48DC245BE44}" destId="{D8939AFB-7C15-47F8-BAED-2A9A28FEEB7F}" srcOrd="1" destOrd="0" presId="urn:microsoft.com/office/officeart/2005/8/layout/hierarchy1"/>
    <dgm:cxn modelId="{0F2235D7-2755-4924-BFBE-C951EC11CA4A}" type="presParOf" srcId="{D8939AFB-7C15-47F8-BAED-2A9A28FEEB7F}" destId="{8D4FDCF0-CCE6-4638-B0C7-4325022CB541}" srcOrd="0" destOrd="0" presId="urn:microsoft.com/office/officeart/2005/8/layout/hierarchy1"/>
    <dgm:cxn modelId="{B7994CC1-1A14-4BBC-B089-B6739E448FCD}" type="presParOf" srcId="{D8939AFB-7C15-47F8-BAED-2A9A28FEEB7F}" destId="{B66FB6CF-80DB-4FF5-8A11-5931EFE5AF78}" srcOrd="1" destOrd="0" presId="urn:microsoft.com/office/officeart/2005/8/layout/hierarchy1"/>
    <dgm:cxn modelId="{1A8F11D6-9BB6-42CD-A3A1-3E14E2F4208E}" type="presParOf" srcId="{B66FB6CF-80DB-4FF5-8A11-5931EFE5AF78}" destId="{D6A47A65-7748-4ACC-8120-DF13E553E19F}" srcOrd="0" destOrd="0" presId="urn:microsoft.com/office/officeart/2005/8/layout/hierarchy1"/>
    <dgm:cxn modelId="{4C436C89-DEE5-4D58-8530-B65268620AEC}" type="presParOf" srcId="{D6A47A65-7748-4ACC-8120-DF13E553E19F}" destId="{82918D3C-B054-4407-8C4B-465917F68AE4}" srcOrd="0" destOrd="0" presId="urn:microsoft.com/office/officeart/2005/8/layout/hierarchy1"/>
    <dgm:cxn modelId="{C29016E5-7525-47F0-AC16-5156D2571C32}" type="presParOf" srcId="{D6A47A65-7748-4ACC-8120-DF13E553E19F}" destId="{49C8CF65-54DE-4A28-BBC2-948D63D92CD8}" srcOrd="1" destOrd="0" presId="urn:microsoft.com/office/officeart/2005/8/layout/hierarchy1"/>
    <dgm:cxn modelId="{DB025C5B-3E06-4E8D-8C5D-F4195BE745AC}" type="presParOf" srcId="{B66FB6CF-80DB-4FF5-8A11-5931EFE5AF78}" destId="{90E48368-43C1-4660-873E-1EAD4A8929A3}" srcOrd="1" destOrd="0" presId="urn:microsoft.com/office/officeart/2005/8/layout/hierarchy1"/>
    <dgm:cxn modelId="{C464D4D7-2466-427D-B402-7642A33B4769}" type="presParOf" srcId="{D8939AFB-7C15-47F8-BAED-2A9A28FEEB7F}" destId="{BB3150F5-6017-4E73-AAF3-163EE0DCFF8A}" srcOrd="2" destOrd="0" presId="urn:microsoft.com/office/officeart/2005/8/layout/hierarchy1"/>
    <dgm:cxn modelId="{B9F22026-1C23-4A6F-8F48-32FA3C4A09B2}" type="presParOf" srcId="{D8939AFB-7C15-47F8-BAED-2A9A28FEEB7F}" destId="{F026DEE1-4233-4794-9F27-FE87E7DDE9A5}" srcOrd="3" destOrd="0" presId="urn:microsoft.com/office/officeart/2005/8/layout/hierarchy1"/>
    <dgm:cxn modelId="{17BEA851-C4B9-4ECC-BA6E-6D2E3FB5F1E8}" type="presParOf" srcId="{F026DEE1-4233-4794-9F27-FE87E7DDE9A5}" destId="{0B2B2D53-ADD7-47B5-B469-888397040AAE}" srcOrd="0" destOrd="0" presId="urn:microsoft.com/office/officeart/2005/8/layout/hierarchy1"/>
    <dgm:cxn modelId="{01D390C2-BDDF-4BDB-9BEE-74B3DC6F8013}" type="presParOf" srcId="{0B2B2D53-ADD7-47B5-B469-888397040AAE}" destId="{2ABBA75F-58E1-47C3-B88A-E0B3F9F3E2D6}" srcOrd="0" destOrd="0" presId="urn:microsoft.com/office/officeart/2005/8/layout/hierarchy1"/>
    <dgm:cxn modelId="{9E260112-D8E5-4066-8B7D-60D902CB92D5}" type="presParOf" srcId="{0B2B2D53-ADD7-47B5-B469-888397040AAE}" destId="{5AF37B73-3BB1-4752-83B9-9D4AFFF54F3E}" srcOrd="1" destOrd="0" presId="urn:microsoft.com/office/officeart/2005/8/layout/hierarchy1"/>
    <dgm:cxn modelId="{20D6DF10-25A2-4858-8176-9FECE6452523}" type="presParOf" srcId="{F026DEE1-4233-4794-9F27-FE87E7DDE9A5}" destId="{BE10947C-7134-4FF5-9D4D-0497BD5340DB}" srcOrd="1" destOrd="0" presId="urn:microsoft.com/office/officeart/2005/8/layout/hierarchy1"/>
    <dgm:cxn modelId="{D56E86B2-3405-43CE-9BA5-C5E06CCE2F50}" type="presParOf" srcId="{BE10947C-7134-4FF5-9D4D-0497BD5340DB}" destId="{B53A25C9-B986-4DB6-AA69-20AAA1423FC1}" srcOrd="0" destOrd="0" presId="urn:microsoft.com/office/officeart/2005/8/layout/hierarchy1"/>
    <dgm:cxn modelId="{792C0C74-062F-4C90-B102-D63EC62CF3CB}" type="presParOf" srcId="{BE10947C-7134-4FF5-9D4D-0497BD5340DB}" destId="{2CDD608D-F7BC-40EA-AE9D-A4E014AA0969}" srcOrd="1" destOrd="0" presId="urn:microsoft.com/office/officeart/2005/8/layout/hierarchy1"/>
    <dgm:cxn modelId="{9563962E-7B12-4958-A80E-8F4B0EE87B5E}" type="presParOf" srcId="{2CDD608D-F7BC-40EA-AE9D-A4E014AA0969}" destId="{31F2734D-AFF3-4AA9-AE3D-D0A35C5DD544}" srcOrd="0" destOrd="0" presId="urn:microsoft.com/office/officeart/2005/8/layout/hierarchy1"/>
    <dgm:cxn modelId="{BDC99D30-FBD2-4C60-941A-5FAB90852539}" type="presParOf" srcId="{31F2734D-AFF3-4AA9-AE3D-D0A35C5DD544}" destId="{C9CD006A-6CC6-46E8-93EF-CB1B8755A8AA}" srcOrd="0" destOrd="0" presId="urn:microsoft.com/office/officeart/2005/8/layout/hierarchy1"/>
    <dgm:cxn modelId="{37F8686A-DA2C-425B-AFE1-CA59B29E937B}" type="presParOf" srcId="{31F2734D-AFF3-4AA9-AE3D-D0A35C5DD544}" destId="{4B08E004-D4FD-4DAA-8FE8-4E05AD5169DA}" srcOrd="1" destOrd="0" presId="urn:microsoft.com/office/officeart/2005/8/layout/hierarchy1"/>
    <dgm:cxn modelId="{32101308-8AEF-49D1-89D0-0364AF7AAD95}" type="presParOf" srcId="{2CDD608D-F7BC-40EA-AE9D-A4E014AA0969}" destId="{EBAE0BD0-2259-4646-B320-6B4CBCD08E4B}" srcOrd="1" destOrd="0" presId="urn:microsoft.com/office/officeart/2005/8/layout/hierarchy1"/>
    <dgm:cxn modelId="{094AC51A-F0EA-4634-8A80-E854BFB4F8C4}" type="presParOf" srcId="{EBAE0BD0-2259-4646-B320-6B4CBCD08E4B}" destId="{AEBCF06B-9CE7-47DD-A031-11A6C50E13B3}" srcOrd="0" destOrd="0" presId="urn:microsoft.com/office/officeart/2005/8/layout/hierarchy1"/>
    <dgm:cxn modelId="{C3ACADDB-F718-4F0E-B9D9-90A8817F4DCA}" type="presParOf" srcId="{EBAE0BD0-2259-4646-B320-6B4CBCD08E4B}" destId="{7F5C28A4-52F6-4DA7-A22A-CC21FBFA5B37}" srcOrd="1" destOrd="0" presId="urn:microsoft.com/office/officeart/2005/8/layout/hierarchy1"/>
    <dgm:cxn modelId="{31D6D1F1-0167-40C4-9231-31FFA865643B}" type="presParOf" srcId="{7F5C28A4-52F6-4DA7-A22A-CC21FBFA5B37}" destId="{1245BFC4-849D-4BB6-95B2-B3A96DA2ED18}" srcOrd="0" destOrd="0" presId="urn:microsoft.com/office/officeart/2005/8/layout/hierarchy1"/>
    <dgm:cxn modelId="{49751940-1E83-4F40-8612-EA575C47B1E7}" type="presParOf" srcId="{1245BFC4-849D-4BB6-95B2-B3A96DA2ED18}" destId="{0594785D-6AAD-4BB3-A751-4FD2615F95D7}" srcOrd="0" destOrd="0" presId="urn:microsoft.com/office/officeart/2005/8/layout/hierarchy1"/>
    <dgm:cxn modelId="{A9F7C3E7-0DE4-40D8-BB0E-80E7F406D837}" type="presParOf" srcId="{1245BFC4-849D-4BB6-95B2-B3A96DA2ED18}" destId="{735E951B-C981-4C94-B624-A1A4254D914B}" srcOrd="1" destOrd="0" presId="urn:microsoft.com/office/officeart/2005/8/layout/hierarchy1"/>
    <dgm:cxn modelId="{0D6FFE2E-2F22-4784-93A5-D5601BC1F008}" type="presParOf" srcId="{7F5C28A4-52F6-4DA7-A22A-CC21FBFA5B37}" destId="{C01DAEEB-0292-4198-A25C-DF3E729BBF23}" srcOrd="1" destOrd="0" presId="urn:microsoft.com/office/officeart/2005/8/layout/hierarchy1"/>
    <dgm:cxn modelId="{844CADD9-032E-41AC-82F9-FBE1B4D7D8A3}" type="presParOf" srcId="{C01DAEEB-0292-4198-A25C-DF3E729BBF23}" destId="{16B2E6E4-4CE3-4CA0-BA98-3A36C88DB56A}" srcOrd="0" destOrd="0" presId="urn:microsoft.com/office/officeart/2005/8/layout/hierarchy1"/>
    <dgm:cxn modelId="{5EE4876B-C8B8-4F6E-8E4C-49E65F465455}" type="presParOf" srcId="{C01DAEEB-0292-4198-A25C-DF3E729BBF23}" destId="{93EEE97A-6EFB-40C3-973E-6B7DA6D32D39}" srcOrd="1" destOrd="0" presId="urn:microsoft.com/office/officeart/2005/8/layout/hierarchy1"/>
    <dgm:cxn modelId="{6E13312E-960E-4C10-9254-7DBEF39449C4}" type="presParOf" srcId="{93EEE97A-6EFB-40C3-973E-6B7DA6D32D39}" destId="{EBBEBCB0-5617-44A7-9D79-7A7BAB1A62A5}" srcOrd="0" destOrd="0" presId="urn:microsoft.com/office/officeart/2005/8/layout/hierarchy1"/>
    <dgm:cxn modelId="{51564BA4-BF36-4B88-A623-32B6838E11E0}" type="presParOf" srcId="{EBBEBCB0-5617-44A7-9D79-7A7BAB1A62A5}" destId="{D3A4A8E7-EDCA-4C82-AD8C-9EAEB75576AD}" srcOrd="0" destOrd="0" presId="urn:microsoft.com/office/officeart/2005/8/layout/hierarchy1"/>
    <dgm:cxn modelId="{1AFB5A74-EBFF-4F54-91A0-2BF615A1903A}" type="presParOf" srcId="{EBBEBCB0-5617-44A7-9D79-7A7BAB1A62A5}" destId="{C57E48CD-1533-4DA2-87D4-CC6CC1E9B494}" srcOrd="1" destOrd="0" presId="urn:microsoft.com/office/officeart/2005/8/layout/hierarchy1"/>
    <dgm:cxn modelId="{8AF91B25-0301-4F53-A8A3-049C9FCD1617}" type="presParOf" srcId="{93EEE97A-6EFB-40C3-973E-6B7DA6D32D39}" destId="{4F257B98-DA3F-4A5A-8A95-F4B1559A3456}" srcOrd="1" destOrd="0" presId="urn:microsoft.com/office/officeart/2005/8/layout/hierarchy1"/>
    <dgm:cxn modelId="{1DE25177-109B-4ABC-A849-FDBF14CB08B1}" type="presParOf" srcId="{BE10947C-7134-4FF5-9D4D-0497BD5340DB}" destId="{3F39B127-1C3D-4D65-B4D7-495B7C7B117D}" srcOrd="2" destOrd="0" presId="urn:microsoft.com/office/officeart/2005/8/layout/hierarchy1"/>
    <dgm:cxn modelId="{5083CE24-24EE-4060-9B93-E83A2C762CE3}" type="presParOf" srcId="{BE10947C-7134-4FF5-9D4D-0497BD5340DB}" destId="{568A4C13-2232-444D-9E3A-EEE709E3283B}" srcOrd="3" destOrd="0" presId="urn:microsoft.com/office/officeart/2005/8/layout/hierarchy1"/>
    <dgm:cxn modelId="{BD26D63B-BE35-443C-9B66-F03FD7163590}" type="presParOf" srcId="{568A4C13-2232-444D-9E3A-EEE709E3283B}" destId="{ADBCD13E-2AF8-4750-89CB-A9E4D0045199}" srcOrd="0" destOrd="0" presId="urn:microsoft.com/office/officeart/2005/8/layout/hierarchy1"/>
    <dgm:cxn modelId="{422879C4-B211-416F-9EC0-54C1E4B0FAFB}" type="presParOf" srcId="{ADBCD13E-2AF8-4750-89CB-A9E4D0045199}" destId="{D13089C5-E361-4EDF-A487-7240EB952140}" srcOrd="0" destOrd="0" presId="urn:microsoft.com/office/officeart/2005/8/layout/hierarchy1"/>
    <dgm:cxn modelId="{F2D54524-BD77-490E-ACE2-D48333468409}" type="presParOf" srcId="{ADBCD13E-2AF8-4750-89CB-A9E4D0045199}" destId="{68133484-9642-45ED-B738-18854B221B60}" srcOrd="1" destOrd="0" presId="urn:microsoft.com/office/officeart/2005/8/layout/hierarchy1"/>
    <dgm:cxn modelId="{52164570-0B63-448F-AA6F-9E3554B2410C}" type="presParOf" srcId="{568A4C13-2232-444D-9E3A-EEE709E3283B}" destId="{AEFDCA3A-A24B-4018-B563-B81E68937712}" srcOrd="1" destOrd="0" presId="urn:microsoft.com/office/officeart/2005/8/layout/hierarchy1"/>
    <dgm:cxn modelId="{A0786710-F5A0-488C-929B-86BDE57D1A4C}" type="presParOf" srcId="{AEFDCA3A-A24B-4018-B563-B81E68937712}" destId="{17969164-87B8-4E67-9351-72A709A1F10A}" srcOrd="0" destOrd="0" presId="urn:microsoft.com/office/officeart/2005/8/layout/hierarchy1"/>
    <dgm:cxn modelId="{469AD903-8345-4E75-A80A-3309AB5BCB32}" type="presParOf" srcId="{AEFDCA3A-A24B-4018-B563-B81E68937712}" destId="{5DCF3EEB-BC1B-4DE3-9C56-C84100D739B7}" srcOrd="1" destOrd="0" presId="urn:microsoft.com/office/officeart/2005/8/layout/hierarchy1"/>
    <dgm:cxn modelId="{E71D5205-DD83-476C-8EC8-0450BD9DE35B}" type="presParOf" srcId="{5DCF3EEB-BC1B-4DE3-9C56-C84100D739B7}" destId="{8354236F-093F-45FC-9C9C-3D655875DCFC}" srcOrd="0" destOrd="0" presId="urn:microsoft.com/office/officeart/2005/8/layout/hierarchy1"/>
    <dgm:cxn modelId="{43B74C97-330A-4806-B0BF-925BAD9D9E53}" type="presParOf" srcId="{8354236F-093F-45FC-9C9C-3D655875DCFC}" destId="{1D69B8C9-1550-4287-AD43-752DFBAD6E6A}" srcOrd="0" destOrd="0" presId="urn:microsoft.com/office/officeart/2005/8/layout/hierarchy1"/>
    <dgm:cxn modelId="{CFDE5414-3059-4B44-BCAB-734DC25A135E}" type="presParOf" srcId="{8354236F-093F-45FC-9C9C-3D655875DCFC}" destId="{3B921C87-D50F-4E46-B83E-2E3C8C016C83}" srcOrd="1" destOrd="0" presId="urn:microsoft.com/office/officeart/2005/8/layout/hierarchy1"/>
    <dgm:cxn modelId="{E0D0443D-618A-4E4F-9E94-A8334CCD7730}" type="presParOf" srcId="{5DCF3EEB-BC1B-4DE3-9C56-C84100D739B7}" destId="{A747195B-1899-4FBE-B7B0-85CEFB42C786}" srcOrd="1" destOrd="0" presId="urn:microsoft.com/office/officeart/2005/8/layout/hierarchy1"/>
    <dgm:cxn modelId="{57338123-EC45-4706-92F3-DD527081D663}" type="presParOf" srcId="{A747195B-1899-4FBE-B7B0-85CEFB42C786}" destId="{7D420463-A9D1-4B81-B057-784250178A4E}" srcOrd="0" destOrd="0" presId="urn:microsoft.com/office/officeart/2005/8/layout/hierarchy1"/>
    <dgm:cxn modelId="{BBB6583F-63AE-4ED8-AF09-B5B306B2F308}" type="presParOf" srcId="{A747195B-1899-4FBE-B7B0-85CEFB42C786}" destId="{4ADB6894-2E86-476F-B9DE-222BEAF7FEA7}" srcOrd="1" destOrd="0" presId="urn:microsoft.com/office/officeart/2005/8/layout/hierarchy1"/>
    <dgm:cxn modelId="{F1382D98-2342-4E81-9F2B-D2334DDFCC22}" type="presParOf" srcId="{4ADB6894-2E86-476F-B9DE-222BEAF7FEA7}" destId="{1DA0DE21-EDD6-4897-8DB4-C7F88613490A}" srcOrd="0" destOrd="0" presId="urn:microsoft.com/office/officeart/2005/8/layout/hierarchy1"/>
    <dgm:cxn modelId="{7B0B0D1E-3C59-453F-9546-9162DB11FA49}" type="presParOf" srcId="{1DA0DE21-EDD6-4897-8DB4-C7F88613490A}" destId="{FFCAFB47-935D-400E-89AE-FF157E2ECF23}" srcOrd="0" destOrd="0" presId="urn:microsoft.com/office/officeart/2005/8/layout/hierarchy1"/>
    <dgm:cxn modelId="{BF8B3A1B-905C-4E1D-9866-30082D250FF9}" type="presParOf" srcId="{1DA0DE21-EDD6-4897-8DB4-C7F88613490A}" destId="{3FCB4DDB-8DB4-406D-B50D-C591308720D3}" srcOrd="1" destOrd="0" presId="urn:microsoft.com/office/officeart/2005/8/layout/hierarchy1"/>
    <dgm:cxn modelId="{442028C4-E592-4D51-8A3C-1DD4A208C347}" type="presParOf" srcId="{4ADB6894-2E86-476F-B9DE-222BEAF7FEA7}" destId="{CAB4A9A2-4E8B-4937-A073-052BEAF139E4}" srcOrd="1" destOrd="0" presId="urn:microsoft.com/office/officeart/2005/8/layout/hierarchy1"/>
    <dgm:cxn modelId="{2712E92F-F867-49CF-AF8D-714C13EE1BCF}" type="presParOf" srcId="{AEFDCA3A-A24B-4018-B563-B81E68937712}" destId="{C5F50F39-5E38-4D53-8DBF-01D936C4AD6E}" srcOrd="2" destOrd="0" presId="urn:microsoft.com/office/officeart/2005/8/layout/hierarchy1"/>
    <dgm:cxn modelId="{D5A26DC4-B782-4F89-B777-E0E40DC3933A}" type="presParOf" srcId="{AEFDCA3A-A24B-4018-B563-B81E68937712}" destId="{6F8B86F9-DB7F-4003-97D2-5502988520C8}" srcOrd="3" destOrd="0" presId="urn:microsoft.com/office/officeart/2005/8/layout/hierarchy1"/>
    <dgm:cxn modelId="{A9455FF3-7B21-4908-85F0-B9F4877CA2DE}" type="presParOf" srcId="{6F8B86F9-DB7F-4003-97D2-5502988520C8}" destId="{83E7305A-8202-43ED-81AA-30C94DD1F644}" srcOrd="0" destOrd="0" presId="urn:microsoft.com/office/officeart/2005/8/layout/hierarchy1"/>
    <dgm:cxn modelId="{834C2AAC-B2C6-4260-BCCC-1601762EB092}" type="presParOf" srcId="{83E7305A-8202-43ED-81AA-30C94DD1F644}" destId="{84AA892D-A292-410A-AC5F-98646EEA693C}" srcOrd="0" destOrd="0" presId="urn:microsoft.com/office/officeart/2005/8/layout/hierarchy1"/>
    <dgm:cxn modelId="{C254E804-D82A-4CDA-987F-927E47F276E8}" type="presParOf" srcId="{83E7305A-8202-43ED-81AA-30C94DD1F644}" destId="{F593587A-9A07-4901-BAA3-876EB3DDD575}" srcOrd="1" destOrd="0" presId="urn:microsoft.com/office/officeart/2005/8/layout/hierarchy1"/>
    <dgm:cxn modelId="{817829D8-9FCC-46EC-96D2-36664F2DDCC6}" type="presParOf" srcId="{6F8B86F9-DB7F-4003-97D2-5502988520C8}" destId="{6DF50C03-F75A-404B-9910-0FA69B023EB9}" srcOrd="1" destOrd="0" presId="urn:microsoft.com/office/officeart/2005/8/layout/hierarchy1"/>
    <dgm:cxn modelId="{F4CD4336-8E5E-465E-9A24-B48E5602BDAB}" type="presParOf" srcId="{6DF50C03-F75A-404B-9910-0FA69B023EB9}" destId="{ED579AFB-FFCE-4803-832B-BCC3C068F011}" srcOrd="0" destOrd="0" presId="urn:microsoft.com/office/officeart/2005/8/layout/hierarchy1"/>
    <dgm:cxn modelId="{438DD8F6-A6DA-4282-80C1-926C2BED486F}" type="presParOf" srcId="{6DF50C03-F75A-404B-9910-0FA69B023EB9}" destId="{7D18212A-9483-435E-B037-915A80A653E3}" srcOrd="1" destOrd="0" presId="urn:microsoft.com/office/officeart/2005/8/layout/hierarchy1"/>
    <dgm:cxn modelId="{C46F2DB7-814C-4D46-BD7C-BEA25E3B0CED}" type="presParOf" srcId="{7D18212A-9483-435E-B037-915A80A653E3}" destId="{B08639AA-66CC-4F44-AAD3-0974D5AECFE0}" srcOrd="0" destOrd="0" presId="urn:microsoft.com/office/officeart/2005/8/layout/hierarchy1"/>
    <dgm:cxn modelId="{BBF72B29-C4B2-48AD-905A-EB27C1319C5E}" type="presParOf" srcId="{B08639AA-66CC-4F44-AAD3-0974D5AECFE0}" destId="{91E3692A-EFBE-4042-9B45-F7D1486B3DC0}" srcOrd="0" destOrd="0" presId="urn:microsoft.com/office/officeart/2005/8/layout/hierarchy1"/>
    <dgm:cxn modelId="{98DCE97F-3E57-4918-94B4-1C5CA47E3181}" type="presParOf" srcId="{B08639AA-66CC-4F44-AAD3-0974D5AECFE0}" destId="{29261EBB-37F6-4F00-97F6-3C5F93160069}" srcOrd="1" destOrd="0" presId="urn:microsoft.com/office/officeart/2005/8/layout/hierarchy1"/>
    <dgm:cxn modelId="{3D41C174-3697-4FD7-8557-5E9CB8C7D4BC}" type="presParOf" srcId="{7D18212A-9483-435E-B037-915A80A653E3}" destId="{20FE11F8-B61A-488D-9A3E-3505374F4A28}"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E13C0BE-1EC7-46BD-9D3F-CFC2F4B470C7}" type="doc">
      <dgm:prSet loTypeId="urn:microsoft.com/office/officeart/2005/8/layout/orgChart1" loCatId="hierarchy" qsTypeId="urn:microsoft.com/office/officeart/2005/8/quickstyle/simple1" qsCatId="simple" csTypeId="urn:microsoft.com/office/officeart/2005/8/colors/accent1_1" csCatId="accent1" phldr="1"/>
      <dgm:spPr/>
      <dgm:t>
        <a:bodyPr/>
        <a:lstStyle/>
        <a:p>
          <a:endParaRPr lang="en-US"/>
        </a:p>
      </dgm:t>
    </dgm:pt>
    <dgm:pt modelId="{85B8E9C7-C3C2-4F47-8FF2-FF1957D8A2C9}">
      <dgm:prSet phldrT="[Text]" custT="1"/>
      <dgm:spPr/>
      <dgm:t>
        <a:bodyPr/>
        <a:lstStyle/>
        <a:p>
          <a:pPr algn="ctr">
            <a:lnSpc>
              <a:spcPct val="100000"/>
            </a:lnSpc>
          </a:pPr>
          <a:r>
            <a:rPr lang="en-US" sz="1600" b="1" dirty="0">
              <a:latin typeface="Century Gothic" panose="020B0502020202020204" pitchFamily="34" charset="0"/>
            </a:rPr>
            <a:t>CLUTCH</a:t>
          </a:r>
        </a:p>
        <a:p>
          <a:pPr algn="ctr">
            <a:lnSpc>
              <a:spcPct val="100000"/>
            </a:lnSpc>
          </a:pPr>
          <a:r>
            <a:rPr lang="en-US" sz="1600" b="1" dirty="0">
              <a:latin typeface="Century Gothic" panose="020B0502020202020204" pitchFamily="34" charset="0"/>
            </a:rPr>
            <a:t>(Type of Actuation)</a:t>
          </a:r>
        </a:p>
      </dgm:t>
    </dgm:pt>
    <dgm:pt modelId="{02764C56-CAD0-4CBD-B119-EE3A0919464F}" type="parTrans" cxnId="{335D81A4-8F64-446B-8901-24C819C99221}">
      <dgm:prSet/>
      <dgm:spPr/>
      <dgm:t>
        <a:bodyPr/>
        <a:lstStyle/>
        <a:p>
          <a:pPr algn="ctr"/>
          <a:endParaRPr lang="en-US" sz="1600" b="1">
            <a:latin typeface="Century Gothic" panose="020B0502020202020204" pitchFamily="34" charset="0"/>
          </a:endParaRPr>
        </a:p>
      </dgm:t>
    </dgm:pt>
    <dgm:pt modelId="{3DCB29F5-3E0E-4991-A7F2-141892436433}" type="sibTrans" cxnId="{335D81A4-8F64-446B-8901-24C819C99221}">
      <dgm:prSet/>
      <dgm:spPr/>
      <dgm:t>
        <a:bodyPr/>
        <a:lstStyle/>
        <a:p>
          <a:pPr algn="ctr"/>
          <a:endParaRPr lang="en-US" sz="1600" b="1">
            <a:latin typeface="Century Gothic" panose="020B0502020202020204" pitchFamily="34" charset="0"/>
          </a:endParaRPr>
        </a:p>
      </dgm:t>
    </dgm:pt>
    <dgm:pt modelId="{997A2DD6-C9A0-4905-ABC3-CD71A0EB9927}">
      <dgm:prSet phldrT="[Text]" custT="1"/>
      <dgm:spPr/>
      <dgm:t>
        <a:bodyPr/>
        <a:lstStyle/>
        <a:p>
          <a:pPr algn="ctr"/>
          <a:r>
            <a:rPr lang="en-US" sz="1600" b="0" dirty="0">
              <a:latin typeface="Century Gothic" panose="020B0502020202020204" pitchFamily="34" charset="0"/>
            </a:rPr>
            <a:t>Coil Spring (Finger)</a:t>
          </a:r>
        </a:p>
      </dgm:t>
    </dgm:pt>
    <dgm:pt modelId="{1FB7B057-3336-4AA8-8834-61D5B5682CE0}" type="parTrans" cxnId="{7C77F09D-446F-46BB-8CCE-2032CCE6C455}">
      <dgm:prSet/>
      <dgm:spPr/>
      <dgm:t>
        <a:bodyPr/>
        <a:lstStyle/>
        <a:p>
          <a:endParaRPr lang="en-US" sz="1600">
            <a:latin typeface="Century Gothic" panose="020B0502020202020204" pitchFamily="34" charset="0"/>
          </a:endParaRPr>
        </a:p>
      </dgm:t>
    </dgm:pt>
    <dgm:pt modelId="{3C2E6D03-0BC5-4038-8A67-34F06F48EA88}" type="sibTrans" cxnId="{7C77F09D-446F-46BB-8CCE-2032CCE6C455}">
      <dgm:prSet/>
      <dgm:spPr/>
      <dgm:t>
        <a:bodyPr/>
        <a:lstStyle/>
        <a:p>
          <a:endParaRPr lang="en-US" sz="1600">
            <a:latin typeface="Century Gothic" panose="020B0502020202020204" pitchFamily="34" charset="0"/>
          </a:endParaRPr>
        </a:p>
      </dgm:t>
    </dgm:pt>
    <dgm:pt modelId="{AB3280B7-CDEC-46E1-A9F2-5AE286FB0EFA}">
      <dgm:prSet phldrT="[Text]" custT="1"/>
      <dgm:spPr/>
      <dgm:t>
        <a:bodyPr/>
        <a:lstStyle/>
        <a:p>
          <a:pPr algn="ctr"/>
          <a:r>
            <a:rPr lang="en-US" sz="1600" b="0" dirty="0">
              <a:latin typeface="Century Gothic" panose="020B0502020202020204" pitchFamily="34" charset="0"/>
            </a:rPr>
            <a:t>Diaphragm</a:t>
          </a:r>
        </a:p>
        <a:p>
          <a:pPr algn="ctr"/>
          <a:r>
            <a:rPr lang="en-US" sz="1600" b="0" dirty="0">
              <a:latin typeface="Century Gothic" panose="020B0502020202020204" pitchFamily="34" charset="0"/>
            </a:rPr>
            <a:t>(Hydraulic)</a:t>
          </a:r>
        </a:p>
      </dgm:t>
    </dgm:pt>
    <dgm:pt modelId="{B937718D-915F-4600-865C-463C0C5714BD}" type="parTrans" cxnId="{14382B0F-37D9-4FEA-A808-6FF8EA1D3CFD}">
      <dgm:prSet/>
      <dgm:spPr/>
      <dgm:t>
        <a:bodyPr/>
        <a:lstStyle/>
        <a:p>
          <a:endParaRPr lang="en-US" sz="1600">
            <a:latin typeface="Century Gothic" panose="020B0502020202020204" pitchFamily="34" charset="0"/>
          </a:endParaRPr>
        </a:p>
      </dgm:t>
    </dgm:pt>
    <dgm:pt modelId="{E0F079BC-C8C9-47C3-9E9E-016F7D91563D}" type="sibTrans" cxnId="{14382B0F-37D9-4FEA-A808-6FF8EA1D3CFD}">
      <dgm:prSet/>
      <dgm:spPr/>
      <dgm:t>
        <a:bodyPr/>
        <a:lstStyle/>
        <a:p>
          <a:endParaRPr lang="en-US" sz="1600">
            <a:latin typeface="Century Gothic" panose="020B0502020202020204" pitchFamily="34" charset="0"/>
          </a:endParaRPr>
        </a:p>
      </dgm:t>
    </dgm:pt>
    <dgm:pt modelId="{22C1051B-08EC-45BD-B1B1-F1D6BBAEDE31}">
      <dgm:prSet phldrT="[Text]" custT="1"/>
      <dgm:spPr/>
      <dgm:t>
        <a:bodyPr/>
        <a:lstStyle/>
        <a:p>
          <a:pPr algn="ctr"/>
          <a:r>
            <a:rPr lang="en-US" sz="1600" b="0" dirty="0">
              <a:latin typeface="Century Gothic" panose="020B0502020202020204" pitchFamily="34" charset="0"/>
            </a:rPr>
            <a:t>3 Finger</a:t>
          </a:r>
        </a:p>
      </dgm:t>
    </dgm:pt>
    <dgm:pt modelId="{DA54F4C9-DD70-4CBF-9A2C-B137C35E297E}" type="parTrans" cxnId="{13B2B03F-59E6-4807-B210-B6DB067E1037}">
      <dgm:prSet/>
      <dgm:spPr/>
      <dgm:t>
        <a:bodyPr/>
        <a:lstStyle/>
        <a:p>
          <a:endParaRPr lang="en-US" sz="1600">
            <a:latin typeface="Century Gothic" panose="020B0502020202020204" pitchFamily="34" charset="0"/>
          </a:endParaRPr>
        </a:p>
      </dgm:t>
    </dgm:pt>
    <dgm:pt modelId="{379E4E07-86E7-4AF9-9604-C4774D4F6C1E}" type="sibTrans" cxnId="{13B2B03F-59E6-4807-B210-B6DB067E1037}">
      <dgm:prSet/>
      <dgm:spPr/>
      <dgm:t>
        <a:bodyPr/>
        <a:lstStyle/>
        <a:p>
          <a:endParaRPr lang="en-US" sz="1600">
            <a:latin typeface="Century Gothic" panose="020B0502020202020204" pitchFamily="34" charset="0"/>
          </a:endParaRPr>
        </a:p>
      </dgm:t>
    </dgm:pt>
    <dgm:pt modelId="{4FEA15FB-0392-49CE-91A4-499D49303E18}">
      <dgm:prSet phldrT="[Text]" custT="1"/>
      <dgm:spPr/>
      <dgm:t>
        <a:bodyPr/>
        <a:lstStyle/>
        <a:p>
          <a:pPr algn="ctr"/>
          <a:r>
            <a:rPr lang="en-US" sz="1600" b="0" dirty="0">
              <a:latin typeface="Century Gothic" panose="020B0502020202020204" pitchFamily="34" charset="0"/>
            </a:rPr>
            <a:t>4 Finger</a:t>
          </a:r>
        </a:p>
      </dgm:t>
    </dgm:pt>
    <dgm:pt modelId="{E0413F13-0D88-43B9-B874-ABB666837555}" type="parTrans" cxnId="{02A5D209-AC2A-4826-87FE-C02D1D50C963}">
      <dgm:prSet/>
      <dgm:spPr/>
      <dgm:t>
        <a:bodyPr/>
        <a:lstStyle/>
        <a:p>
          <a:endParaRPr lang="en-US" sz="1600">
            <a:latin typeface="Century Gothic" panose="020B0502020202020204" pitchFamily="34" charset="0"/>
          </a:endParaRPr>
        </a:p>
      </dgm:t>
    </dgm:pt>
    <dgm:pt modelId="{1C8F558D-5238-42FE-A6C2-3F35458AB9D6}" type="sibTrans" cxnId="{02A5D209-AC2A-4826-87FE-C02D1D50C963}">
      <dgm:prSet/>
      <dgm:spPr/>
      <dgm:t>
        <a:bodyPr/>
        <a:lstStyle/>
        <a:p>
          <a:endParaRPr lang="en-US" sz="1600">
            <a:latin typeface="Century Gothic" panose="020B0502020202020204" pitchFamily="34" charset="0"/>
          </a:endParaRPr>
        </a:p>
      </dgm:t>
    </dgm:pt>
    <dgm:pt modelId="{AB625073-D389-4B9B-9522-DFC2A8CA6A20}">
      <dgm:prSet phldrT="[Text]" custT="1"/>
      <dgm:spPr/>
      <dgm:t>
        <a:bodyPr/>
        <a:lstStyle/>
        <a:p>
          <a:pPr algn="ctr">
            <a:lnSpc>
              <a:spcPct val="100000"/>
            </a:lnSpc>
          </a:pPr>
          <a:r>
            <a:rPr lang="en-US" sz="1600" b="0" dirty="0">
              <a:latin typeface="Century Gothic" panose="020B0502020202020204" pitchFamily="34" charset="0"/>
            </a:rPr>
            <a:t>380mm (SETCO)</a:t>
          </a:r>
        </a:p>
        <a:p>
          <a:pPr algn="ctr">
            <a:lnSpc>
              <a:spcPct val="100000"/>
            </a:lnSpc>
          </a:pPr>
          <a:r>
            <a:rPr lang="en-US" sz="1600" b="0" dirty="0">
              <a:latin typeface="Century Gothic" panose="020B0502020202020204" pitchFamily="34" charset="0"/>
            </a:rPr>
            <a:t>(Hydraulic)</a:t>
          </a:r>
        </a:p>
      </dgm:t>
    </dgm:pt>
    <dgm:pt modelId="{B2F4F710-4B96-4ADA-B268-F113519CC477}" type="parTrans" cxnId="{CABEA9C1-A1D9-4F19-A8E0-F59E55835FE4}">
      <dgm:prSet/>
      <dgm:spPr/>
      <dgm:t>
        <a:bodyPr/>
        <a:lstStyle/>
        <a:p>
          <a:endParaRPr lang="en-US" sz="1600">
            <a:latin typeface="Century Gothic" panose="020B0502020202020204" pitchFamily="34" charset="0"/>
          </a:endParaRPr>
        </a:p>
      </dgm:t>
    </dgm:pt>
    <dgm:pt modelId="{9EDAFB02-5343-4CD2-81F7-6FCA73248A65}" type="sibTrans" cxnId="{CABEA9C1-A1D9-4F19-A8E0-F59E55835FE4}">
      <dgm:prSet/>
      <dgm:spPr/>
      <dgm:t>
        <a:bodyPr/>
        <a:lstStyle/>
        <a:p>
          <a:endParaRPr lang="en-US" sz="1600">
            <a:latin typeface="Century Gothic" panose="020B0502020202020204" pitchFamily="34" charset="0"/>
          </a:endParaRPr>
        </a:p>
      </dgm:t>
    </dgm:pt>
    <dgm:pt modelId="{16A18F0C-F279-4759-AF99-09D2F37429D0}">
      <dgm:prSet phldrT="[Text]" custT="1"/>
      <dgm:spPr/>
      <dgm:t>
        <a:bodyPr/>
        <a:lstStyle/>
        <a:p>
          <a:pPr algn="ctr">
            <a:lnSpc>
              <a:spcPct val="100000"/>
            </a:lnSpc>
          </a:pPr>
          <a:r>
            <a:rPr lang="en-US" sz="1600" b="0" dirty="0">
              <a:latin typeface="Century Gothic" panose="020B0502020202020204" pitchFamily="34" charset="0"/>
            </a:rPr>
            <a:t>14” RDC</a:t>
          </a:r>
        </a:p>
        <a:p>
          <a:pPr algn="ctr">
            <a:lnSpc>
              <a:spcPct val="100000"/>
            </a:lnSpc>
          </a:pPr>
          <a:r>
            <a:rPr lang="en-US" sz="1600" b="0" dirty="0">
              <a:latin typeface="Century Gothic" panose="020B0502020202020204" pitchFamily="34" charset="0"/>
            </a:rPr>
            <a:t>(Mechanical)</a:t>
          </a:r>
        </a:p>
      </dgm:t>
    </dgm:pt>
    <dgm:pt modelId="{6F07D8FC-2517-467D-AEBF-BF983A70A53B}" type="parTrans" cxnId="{03D52C23-84D9-4F65-8E5B-B5399B916C8B}">
      <dgm:prSet/>
      <dgm:spPr/>
      <dgm:t>
        <a:bodyPr/>
        <a:lstStyle/>
        <a:p>
          <a:endParaRPr lang="en-US" sz="1600">
            <a:latin typeface="Century Gothic" panose="020B0502020202020204" pitchFamily="34" charset="0"/>
          </a:endParaRPr>
        </a:p>
      </dgm:t>
    </dgm:pt>
    <dgm:pt modelId="{F166DC46-F639-4600-8C48-460039D2F855}" type="sibTrans" cxnId="{03D52C23-84D9-4F65-8E5B-B5399B916C8B}">
      <dgm:prSet/>
      <dgm:spPr/>
      <dgm:t>
        <a:bodyPr/>
        <a:lstStyle/>
        <a:p>
          <a:endParaRPr lang="en-US" sz="1600">
            <a:latin typeface="Century Gothic" panose="020B0502020202020204" pitchFamily="34" charset="0"/>
          </a:endParaRPr>
        </a:p>
      </dgm:t>
    </dgm:pt>
    <dgm:pt modelId="{16B812CD-86CB-4C5F-AD38-E9096919DA44}">
      <dgm:prSet phldrT="[Text]" custT="1"/>
      <dgm:spPr/>
      <dgm:t>
        <a:bodyPr/>
        <a:lstStyle/>
        <a:p>
          <a:pPr algn="ctr">
            <a:lnSpc>
              <a:spcPct val="100000"/>
            </a:lnSpc>
          </a:pPr>
          <a:r>
            <a:rPr lang="en-US" sz="1600" b="0" dirty="0">
              <a:latin typeface="Century Gothic" panose="020B0502020202020204" pitchFamily="34" charset="0"/>
            </a:rPr>
            <a:t>15” RDC</a:t>
          </a:r>
        </a:p>
        <a:p>
          <a:pPr algn="ctr">
            <a:lnSpc>
              <a:spcPct val="100000"/>
            </a:lnSpc>
          </a:pPr>
          <a:r>
            <a:rPr lang="en-US" sz="1600" b="0" dirty="0">
              <a:latin typeface="Century Gothic" panose="020B0502020202020204" pitchFamily="34" charset="0"/>
            </a:rPr>
            <a:t>(Hydraulic)</a:t>
          </a:r>
        </a:p>
      </dgm:t>
    </dgm:pt>
    <dgm:pt modelId="{9F1D0314-E35C-490E-8C49-2104B62F0731}" type="parTrans" cxnId="{B2E061C4-EF8D-4098-ABCD-D758AAB55C50}">
      <dgm:prSet/>
      <dgm:spPr/>
      <dgm:t>
        <a:bodyPr/>
        <a:lstStyle/>
        <a:p>
          <a:endParaRPr lang="en-US" sz="1600">
            <a:latin typeface="Century Gothic" panose="020B0502020202020204" pitchFamily="34" charset="0"/>
          </a:endParaRPr>
        </a:p>
      </dgm:t>
    </dgm:pt>
    <dgm:pt modelId="{FC4EE6A4-6B77-4144-A1F2-BA2259101C13}" type="sibTrans" cxnId="{B2E061C4-EF8D-4098-ABCD-D758AAB55C50}">
      <dgm:prSet/>
      <dgm:spPr/>
      <dgm:t>
        <a:bodyPr/>
        <a:lstStyle/>
        <a:p>
          <a:endParaRPr lang="en-US" sz="1600">
            <a:latin typeface="Century Gothic" panose="020B0502020202020204" pitchFamily="34" charset="0"/>
          </a:endParaRPr>
        </a:p>
      </dgm:t>
    </dgm:pt>
    <dgm:pt modelId="{6C8A529C-4DA1-4F62-89B7-33262A804D1A}">
      <dgm:prSet phldrT="[Text]" custT="1"/>
      <dgm:spPr/>
      <dgm:t>
        <a:bodyPr/>
        <a:lstStyle/>
        <a:p>
          <a:pPr algn="ctr">
            <a:lnSpc>
              <a:spcPct val="100000"/>
            </a:lnSpc>
          </a:pPr>
          <a:r>
            <a:rPr lang="en-US" sz="1600" b="0" dirty="0">
              <a:latin typeface="Century Gothic" panose="020B0502020202020204" pitchFamily="34" charset="0"/>
            </a:rPr>
            <a:t>330mm</a:t>
          </a:r>
        </a:p>
      </dgm:t>
    </dgm:pt>
    <dgm:pt modelId="{52BB5A7D-2CD0-4CA3-AF5D-050BFEC304A0}" type="parTrans" cxnId="{6C9AEA3F-D39F-414A-A6F8-087BBD16139C}">
      <dgm:prSet/>
      <dgm:spPr/>
      <dgm:t>
        <a:bodyPr/>
        <a:lstStyle/>
        <a:p>
          <a:endParaRPr lang="en-US" sz="1600">
            <a:latin typeface="Century Gothic" panose="020B0502020202020204" pitchFamily="34" charset="0"/>
          </a:endParaRPr>
        </a:p>
      </dgm:t>
    </dgm:pt>
    <dgm:pt modelId="{CCA1794D-A54F-4347-A823-FFCFF3590704}" type="sibTrans" cxnId="{6C9AEA3F-D39F-414A-A6F8-087BBD16139C}">
      <dgm:prSet/>
      <dgm:spPr/>
      <dgm:t>
        <a:bodyPr/>
        <a:lstStyle/>
        <a:p>
          <a:endParaRPr lang="en-US" sz="1600">
            <a:latin typeface="Century Gothic" panose="020B0502020202020204" pitchFamily="34" charset="0"/>
          </a:endParaRPr>
        </a:p>
      </dgm:t>
    </dgm:pt>
    <dgm:pt modelId="{E046F740-72A5-435D-9AA6-9CD7AF07BC40}">
      <dgm:prSet phldrT="[Text]" custT="1"/>
      <dgm:spPr/>
      <dgm:t>
        <a:bodyPr/>
        <a:lstStyle/>
        <a:p>
          <a:pPr algn="ctr">
            <a:lnSpc>
              <a:spcPct val="100000"/>
            </a:lnSpc>
          </a:pPr>
          <a:r>
            <a:rPr lang="en-US" sz="1600" b="0" dirty="0">
              <a:latin typeface="Century Gothic" panose="020B0502020202020204" pitchFamily="34" charset="0"/>
            </a:rPr>
            <a:t>380mm</a:t>
          </a:r>
        </a:p>
      </dgm:t>
    </dgm:pt>
    <dgm:pt modelId="{948F2CF8-65C1-4F6F-B95D-A836064E8817}" type="parTrans" cxnId="{C0C2E670-130F-434C-A25D-A691C942C63C}">
      <dgm:prSet/>
      <dgm:spPr/>
      <dgm:t>
        <a:bodyPr/>
        <a:lstStyle/>
        <a:p>
          <a:endParaRPr lang="en-US" sz="1600">
            <a:latin typeface="Century Gothic" panose="020B0502020202020204" pitchFamily="34" charset="0"/>
          </a:endParaRPr>
        </a:p>
      </dgm:t>
    </dgm:pt>
    <dgm:pt modelId="{52007E65-6B12-4E2B-A9C6-F394E723A205}" type="sibTrans" cxnId="{C0C2E670-130F-434C-A25D-A691C942C63C}">
      <dgm:prSet/>
      <dgm:spPr/>
      <dgm:t>
        <a:bodyPr/>
        <a:lstStyle/>
        <a:p>
          <a:endParaRPr lang="en-US" sz="1600">
            <a:latin typeface="Century Gothic" panose="020B0502020202020204" pitchFamily="34" charset="0"/>
          </a:endParaRPr>
        </a:p>
      </dgm:t>
    </dgm:pt>
    <dgm:pt modelId="{7267956C-433D-4E4F-AC27-C61C92B31DE6}">
      <dgm:prSet phldrT="[Text]" custT="1"/>
      <dgm:spPr/>
      <dgm:t>
        <a:bodyPr/>
        <a:lstStyle/>
        <a:p>
          <a:pPr algn="ctr">
            <a:lnSpc>
              <a:spcPct val="100000"/>
            </a:lnSpc>
          </a:pPr>
          <a:r>
            <a:rPr lang="en-US" sz="1600" b="0" dirty="0">
              <a:latin typeface="Century Gothic" panose="020B0502020202020204" pitchFamily="34" charset="0"/>
            </a:rPr>
            <a:t>395mm</a:t>
          </a:r>
        </a:p>
      </dgm:t>
    </dgm:pt>
    <dgm:pt modelId="{D6F7FEEE-B51D-4CA4-992D-6A32C52E290F}" type="parTrans" cxnId="{2FC31321-9631-44A7-BA15-B343E4D3C77E}">
      <dgm:prSet/>
      <dgm:spPr/>
      <dgm:t>
        <a:bodyPr/>
        <a:lstStyle/>
        <a:p>
          <a:endParaRPr lang="en-US" sz="1600">
            <a:latin typeface="Century Gothic" panose="020B0502020202020204" pitchFamily="34" charset="0"/>
          </a:endParaRPr>
        </a:p>
      </dgm:t>
    </dgm:pt>
    <dgm:pt modelId="{C6D41964-5C3C-4E07-ADD5-EDD15E4A1DC3}" type="sibTrans" cxnId="{2FC31321-9631-44A7-BA15-B343E4D3C77E}">
      <dgm:prSet/>
      <dgm:spPr/>
      <dgm:t>
        <a:bodyPr/>
        <a:lstStyle/>
        <a:p>
          <a:endParaRPr lang="en-US" sz="1600">
            <a:latin typeface="Century Gothic" panose="020B0502020202020204" pitchFamily="34" charset="0"/>
          </a:endParaRPr>
        </a:p>
      </dgm:t>
    </dgm:pt>
    <dgm:pt modelId="{3B9A1DAA-491D-42D3-B0A7-2DB5BE466B2B}">
      <dgm:prSet phldrT="[Text]" custT="1"/>
      <dgm:spPr/>
      <dgm:t>
        <a:bodyPr/>
        <a:lstStyle/>
        <a:p>
          <a:pPr algn="ctr"/>
          <a:r>
            <a:rPr lang="en-US" sz="1600" b="0" dirty="0">
              <a:latin typeface="Century Gothic" panose="020B0502020202020204" pitchFamily="34" charset="0"/>
            </a:rPr>
            <a:t>Pull Type</a:t>
          </a:r>
        </a:p>
      </dgm:t>
    </dgm:pt>
    <dgm:pt modelId="{F017C406-BDAB-49E0-8251-FEF2D4C7E29F}" type="parTrans" cxnId="{2BB60AA6-4561-40F0-9A81-B1D16F0982CF}">
      <dgm:prSet/>
      <dgm:spPr/>
      <dgm:t>
        <a:bodyPr/>
        <a:lstStyle/>
        <a:p>
          <a:endParaRPr lang="en-US" sz="1600">
            <a:latin typeface="Century Gothic" panose="020B0502020202020204" pitchFamily="34" charset="0"/>
          </a:endParaRPr>
        </a:p>
      </dgm:t>
    </dgm:pt>
    <dgm:pt modelId="{42FF93CA-C9E9-4DBE-AB54-B92C7E7361F4}" type="sibTrans" cxnId="{2BB60AA6-4561-40F0-9A81-B1D16F0982CF}">
      <dgm:prSet/>
      <dgm:spPr/>
      <dgm:t>
        <a:bodyPr/>
        <a:lstStyle/>
        <a:p>
          <a:endParaRPr lang="en-US" sz="1600">
            <a:latin typeface="Century Gothic" panose="020B0502020202020204" pitchFamily="34" charset="0"/>
          </a:endParaRPr>
        </a:p>
      </dgm:t>
    </dgm:pt>
    <dgm:pt modelId="{B9689394-C515-423F-8930-7206640FB3BA}">
      <dgm:prSet phldrT="[Text]" custT="1"/>
      <dgm:spPr/>
      <dgm:t>
        <a:bodyPr/>
        <a:lstStyle/>
        <a:p>
          <a:pPr algn="ctr"/>
          <a:r>
            <a:rPr lang="en-US" sz="1600" b="0" dirty="0">
              <a:latin typeface="Century Gothic" panose="020B0502020202020204" pitchFamily="34" charset="0"/>
            </a:rPr>
            <a:t>Push Type</a:t>
          </a:r>
        </a:p>
      </dgm:t>
    </dgm:pt>
    <dgm:pt modelId="{32355CBA-7672-4A3A-8DC1-323D501954A6}" type="parTrans" cxnId="{5946E321-7519-4B0F-8C7A-D2A6F1998934}">
      <dgm:prSet/>
      <dgm:spPr/>
      <dgm:t>
        <a:bodyPr/>
        <a:lstStyle/>
        <a:p>
          <a:endParaRPr lang="en-US" sz="1600">
            <a:latin typeface="Century Gothic" panose="020B0502020202020204" pitchFamily="34" charset="0"/>
          </a:endParaRPr>
        </a:p>
      </dgm:t>
    </dgm:pt>
    <dgm:pt modelId="{227BC242-1B7A-4ABB-9C7F-7C05AF4FAB44}" type="sibTrans" cxnId="{5946E321-7519-4B0F-8C7A-D2A6F1998934}">
      <dgm:prSet/>
      <dgm:spPr/>
      <dgm:t>
        <a:bodyPr/>
        <a:lstStyle/>
        <a:p>
          <a:endParaRPr lang="en-US" sz="1600">
            <a:latin typeface="Century Gothic" panose="020B0502020202020204" pitchFamily="34" charset="0"/>
          </a:endParaRPr>
        </a:p>
      </dgm:t>
    </dgm:pt>
    <dgm:pt modelId="{3A4CBAFC-AAEC-43AD-BB66-9944F8C735C0}">
      <dgm:prSet phldrT="[Text]" custT="1"/>
      <dgm:spPr/>
      <dgm:t>
        <a:bodyPr/>
        <a:lstStyle/>
        <a:p>
          <a:pPr algn="ctr"/>
          <a:r>
            <a:rPr lang="en-US" sz="1600" b="0" dirty="0">
              <a:latin typeface="Century Gothic" panose="020B0502020202020204" pitchFamily="34" charset="0"/>
            </a:rPr>
            <a:t>430mm</a:t>
          </a:r>
        </a:p>
      </dgm:t>
    </dgm:pt>
    <dgm:pt modelId="{2B2711C9-1B52-49A1-905F-DA3DDCA4B5D9}" type="parTrans" cxnId="{CB80E2F5-5E31-4610-BD46-6C29D27F7FB3}">
      <dgm:prSet/>
      <dgm:spPr/>
      <dgm:t>
        <a:bodyPr/>
        <a:lstStyle/>
        <a:p>
          <a:endParaRPr lang="en-US" sz="1600">
            <a:latin typeface="Century Gothic" panose="020B0502020202020204" pitchFamily="34" charset="0"/>
          </a:endParaRPr>
        </a:p>
      </dgm:t>
    </dgm:pt>
    <dgm:pt modelId="{632E0279-5213-4804-8F19-2BE49D1FF0BE}" type="sibTrans" cxnId="{CB80E2F5-5E31-4610-BD46-6C29D27F7FB3}">
      <dgm:prSet/>
      <dgm:spPr/>
      <dgm:t>
        <a:bodyPr/>
        <a:lstStyle/>
        <a:p>
          <a:endParaRPr lang="en-US" sz="1600">
            <a:latin typeface="Century Gothic" panose="020B0502020202020204" pitchFamily="34" charset="0"/>
          </a:endParaRPr>
        </a:p>
      </dgm:t>
    </dgm:pt>
    <dgm:pt modelId="{03461173-AE03-4111-A186-25C2E136C6AC}" type="pres">
      <dgm:prSet presAssocID="{CE13C0BE-1EC7-46BD-9D3F-CFC2F4B470C7}" presName="hierChild1" presStyleCnt="0">
        <dgm:presLayoutVars>
          <dgm:orgChart val="1"/>
          <dgm:chPref val="1"/>
          <dgm:dir/>
          <dgm:animOne val="branch"/>
          <dgm:animLvl val="lvl"/>
          <dgm:resizeHandles/>
        </dgm:presLayoutVars>
      </dgm:prSet>
      <dgm:spPr/>
    </dgm:pt>
    <dgm:pt modelId="{8DDDA074-28DD-4AB6-95ED-4975F01FF48F}" type="pres">
      <dgm:prSet presAssocID="{85B8E9C7-C3C2-4F47-8FF2-FF1957D8A2C9}" presName="hierRoot1" presStyleCnt="0">
        <dgm:presLayoutVars>
          <dgm:hierBranch val="init"/>
        </dgm:presLayoutVars>
      </dgm:prSet>
      <dgm:spPr/>
    </dgm:pt>
    <dgm:pt modelId="{4B933D9D-37EA-468A-A1F1-6528C8A10F90}" type="pres">
      <dgm:prSet presAssocID="{85B8E9C7-C3C2-4F47-8FF2-FF1957D8A2C9}" presName="rootComposite1" presStyleCnt="0"/>
      <dgm:spPr/>
    </dgm:pt>
    <dgm:pt modelId="{59654EE1-1867-49AA-A3FE-025FB260536B}" type="pres">
      <dgm:prSet presAssocID="{85B8E9C7-C3C2-4F47-8FF2-FF1957D8A2C9}" presName="rootText1" presStyleLbl="node0" presStyleIdx="0" presStyleCnt="1" custScaleX="132971" custScaleY="88004" custLinFactNeighborX="-6305" custLinFactNeighborY="-177">
        <dgm:presLayoutVars>
          <dgm:chPref val="3"/>
        </dgm:presLayoutVars>
      </dgm:prSet>
      <dgm:spPr/>
    </dgm:pt>
    <dgm:pt modelId="{84AC7146-B6C5-4322-9CC5-431F5ECB4210}" type="pres">
      <dgm:prSet presAssocID="{85B8E9C7-C3C2-4F47-8FF2-FF1957D8A2C9}" presName="rootConnector1" presStyleLbl="node1" presStyleIdx="0" presStyleCnt="0"/>
      <dgm:spPr/>
    </dgm:pt>
    <dgm:pt modelId="{95621620-95C4-4FBF-B6CD-4272A8C5A1BD}" type="pres">
      <dgm:prSet presAssocID="{85B8E9C7-C3C2-4F47-8FF2-FF1957D8A2C9}" presName="hierChild2" presStyleCnt="0"/>
      <dgm:spPr/>
    </dgm:pt>
    <dgm:pt modelId="{779B9685-FE20-4909-94D9-8B88AFAAAAC5}" type="pres">
      <dgm:prSet presAssocID="{1FB7B057-3336-4AA8-8834-61D5B5682CE0}" presName="Name37" presStyleLbl="parChTrans1D2" presStyleIdx="0" presStyleCnt="2"/>
      <dgm:spPr/>
    </dgm:pt>
    <dgm:pt modelId="{387ED7C1-1515-479C-BD2D-6A6D256F6BD9}" type="pres">
      <dgm:prSet presAssocID="{997A2DD6-C9A0-4905-ABC3-CD71A0EB9927}" presName="hierRoot2" presStyleCnt="0">
        <dgm:presLayoutVars>
          <dgm:hierBranch val="init"/>
        </dgm:presLayoutVars>
      </dgm:prSet>
      <dgm:spPr/>
    </dgm:pt>
    <dgm:pt modelId="{83485F60-04D4-4AF0-BC51-4180585ED181}" type="pres">
      <dgm:prSet presAssocID="{997A2DD6-C9A0-4905-ABC3-CD71A0EB9927}" presName="rootComposite" presStyleCnt="0"/>
      <dgm:spPr/>
    </dgm:pt>
    <dgm:pt modelId="{02D92FBA-7589-4C22-A5F6-24B56980015C}" type="pres">
      <dgm:prSet presAssocID="{997A2DD6-C9A0-4905-ABC3-CD71A0EB9927}" presName="rootText" presStyleLbl="node2" presStyleIdx="0" presStyleCnt="2" custScaleX="79191" custScaleY="54814" custLinFactNeighborX="-65775" custLinFactNeighborY="-6511">
        <dgm:presLayoutVars>
          <dgm:chPref val="3"/>
        </dgm:presLayoutVars>
      </dgm:prSet>
      <dgm:spPr/>
    </dgm:pt>
    <dgm:pt modelId="{A23C5C55-4BC2-433F-B6CA-7A2931F3494B}" type="pres">
      <dgm:prSet presAssocID="{997A2DD6-C9A0-4905-ABC3-CD71A0EB9927}" presName="rootConnector" presStyleLbl="node2" presStyleIdx="0" presStyleCnt="2"/>
      <dgm:spPr/>
    </dgm:pt>
    <dgm:pt modelId="{5781BA20-4BB1-4136-A3CC-B9EEA6CBD264}" type="pres">
      <dgm:prSet presAssocID="{997A2DD6-C9A0-4905-ABC3-CD71A0EB9927}" presName="hierChild4" presStyleCnt="0"/>
      <dgm:spPr/>
    </dgm:pt>
    <dgm:pt modelId="{640934FC-B26B-4117-81F5-81F9096C8CD8}" type="pres">
      <dgm:prSet presAssocID="{DA54F4C9-DD70-4CBF-9A2C-B137C35E297E}" presName="Name37" presStyleLbl="parChTrans1D3" presStyleIdx="0" presStyleCnt="4"/>
      <dgm:spPr/>
    </dgm:pt>
    <dgm:pt modelId="{799593B2-050A-4571-863F-A19DC41F5341}" type="pres">
      <dgm:prSet presAssocID="{22C1051B-08EC-45BD-B1B1-F1D6BBAEDE31}" presName="hierRoot2" presStyleCnt="0">
        <dgm:presLayoutVars>
          <dgm:hierBranch val="init"/>
        </dgm:presLayoutVars>
      </dgm:prSet>
      <dgm:spPr/>
    </dgm:pt>
    <dgm:pt modelId="{32FB8891-1D42-4140-B06A-9A5DFE9ACE25}" type="pres">
      <dgm:prSet presAssocID="{22C1051B-08EC-45BD-B1B1-F1D6BBAEDE31}" presName="rootComposite" presStyleCnt="0"/>
      <dgm:spPr/>
    </dgm:pt>
    <dgm:pt modelId="{A4BB4BDF-2EF7-46D6-ADC7-F0184F80A7EC}" type="pres">
      <dgm:prSet presAssocID="{22C1051B-08EC-45BD-B1B1-F1D6BBAEDE31}" presName="rootText" presStyleLbl="node3" presStyleIdx="0" presStyleCnt="4" custScaleX="60058" custScaleY="38079" custLinFactNeighborX="-60650" custLinFactNeighborY="-8001">
        <dgm:presLayoutVars>
          <dgm:chPref val="3"/>
        </dgm:presLayoutVars>
      </dgm:prSet>
      <dgm:spPr/>
    </dgm:pt>
    <dgm:pt modelId="{EDDA26D0-F6A7-4CAD-90D4-3008DD67A9C4}" type="pres">
      <dgm:prSet presAssocID="{22C1051B-08EC-45BD-B1B1-F1D6BBAEDE31}" presName="rootConnector" presStyleLbl="node3" presStyleIdx="0" presStyleCnt="4"/>
      <dgm:spPr/>
    </dgm:pt>
    <dgm:pt modelId="{B080BCF5-255F-4A0D-A97B-D977D0829E40}" type="pres">
      <dgm:prSet presAssocID="{22C1051B-08EC-45BD-B1B1-F1D6BBAEDE31}" presName="hierChild4" presStyleCnt="0"/>
      <dgm:spPr/>
    </dgm:pt>
    <dgm:pt modelId="{05138FE1-4BEA-479B-94DE-3C4A5B58C8BA}" type="pres">
      <dgm:prSet presAssocID="{B2F4F710-4B96-4ADA-B268-F113519CC477}" presName="Name37" presStyleLbl="parChTrans1D4" presStyleIdx="0" presStyleCnt="7"/>
      <dgm:spPr/>
    </dgm:pt>
    <dgm:pt modelId="{2BB7B12D-4ECA-43F5-8682-D83AE43DF328}" type="pres">
      <dgm:prSet presAssocID="{AB625073-D389-4B9B-9522-DFC2A8CA6A20}" presName="hierRoot2" presStyleCnt="0">
        <dgm:presLayoutVars>
          <dgm:hierBranch val="hang"/>
        </dgm:presLayoutVars>
      </dgm:prSet>
      <dgm:spPr/>
    </dgm:pt>
    <dgm:pt modelId="{AEDBACC3-1E07-4322-B1ED-B838E90408CC}" type="pres">
      <dgm:prSet presAssocID="{AB625073-D389-4B9B-9522-DFC2A8CA6A20}" presName="rootComposite" presStyleCnt="0"/>
      <dgm:spPr/>
    </dgm:pt>
    <dgm:pt modelId="{D6505EED-CA2B-42A0-8740-27BA786FA921}" type="pres">
      <dgm:prSet presAssocID="{AB625073-D389-4B9B-9522-DFC2A8CA6A20}" presName="rootText" presStyleLbl="node4" presStyleIdx="0" presStyleCnt="7" custScaleX="68641" custScaleY="105511" custLinFactNeighborX="-61846" custLinFactNeighborY="-13998">
        <dgm:presLayoutVars>
          <dgm:chPref val="3"/>
        </dgm:presLayoutVars>
      </dgm:prSet>
      <dgm:spPr/>
    </dgm:pt>
    <dgm:pt modelId="{DB588DF5-BC26-4FA4-BD41-B70DA8E199DC}" type="pres">
      <dgm:prSet presAssocID="{AB625073-D389-4B9B-9522-DFC2A8CA6A20}" presName="rootConnector" presStyleLbl="node4" presStyleIdx="0" presStyleCnt="7"/>
      <dgm:spPr/>
    </dgm:pt>
    <dgm:pt modelId="{E04B7EEA-6D30-4DF7-905D-411D52C8FD39}" type="pres">
      <dgm:prSet presAssocID="{AB625073-D389-4B9B-9522-DFC2A8CA6A20}" presName="hierChild4" presStyleCnt="0"/>
      <dgm:spPr/>
    </dgm:pt>
    <dgm:pt modelId="{42A2D50A-6498-4114-A94A-3388C435A009}" type="pres">
      <dgm:prSet presAssocID="{AB625073-D389-4B9B-9522-DFC2A8CA6A20}" presName="hierChild5" presStyleCnt="0"/>
      <dgm:spPr/>
    </dgm:pt>
    <dgm:pt modelId="{04B3FE1C-69BF-404A-BFCF-704BF898D6DA}" type="pres">
      <dgm:prSet presAssocID="{22C1051B-08EC-45BD-B1B1-F1D6BBAEDE31}" presName="hierChild5" presStyleCnt="0"/>
      <dgm:spPr/>
    </dgm:pt>
    <dgm:pt modelId="{4E76E8E9-2562-4A6E-B76C-633A681E8F82}" type="pres">
      <dgm:prSet presAssocID="{E0413F13-0D88-43B9-B874-ABB666837555}" presName="Name37" presStyleLbl="parChTrans1D3" presStyleIdx="1" presStyleCnt="4"/>
      <dgm:spPr/>
    </dgm:pt>
    <dgm:pt modelId="{C7446461-7444-4F7F-A0C9-57DE1F4A6A51}" type="pres">
      <dgm:prSet presAssocID="{4FEA15FB-0392-49CE-91A4-499D49303E18}" presName="hierRoot2" presStyleCnt="0">
        <dgm:presLayoutVars>
          <dgm:hierBranch val="init"/>
        </dgm:presLayoutVars>
      </dgm:prSet>
      <dgm:spPr/>
    </dgm:pt>
    <dgm:pt modelId="{9E71DFA4-EBEF-4F65-B84F-D42A2BF9C426}" type="pres">
      <dgm:prSet presAssocID="{4FEA15FB-0392-49CE-91A4-499D49303E18}" presName="rootComposite" presStyleCnt="0"/>
      <dgm:spPr/>
    </dgm:pt>
    <dgm:pt modelId="{FDBAAEBF-2ACD-407E-9563-DFB912E51E5E}" type="pres">
      <dgm:prSet presAssocID="{4FEA15FB-0392-49CE-91A4-499D49303E18}" presName="rootText" presStyleLbl="node3" presStyleIdx="1" presStyleCnt="4" custScaleX="49965" custScaleY="35977" custLinFactNeighborX="-43329" custLinFactNeighborY="-8135">
        <dgm:presLayoutVars>
          <dgm:chPref val="3"/>
        </dgm:presLayoutVars>
      </dgm:prSet>
      <dgm:spPr/>
    </dgm:pt>
    <dgm:pt modelId="{9B2566ED-78D7-4BCE-A44E-66DBC3703B48}" type="pres">
      <dgm:prSet presAssocID="{4FEA15FB-0392-49CE-91A4-499D49303E18}" presName="rootConnector" presStyleLbl="node3" presStyleIdx="1" presStyleCnt="4"/>
      <dgm:spPr/>
    </dgm:pt>
    <dgm:pt modelId="{C7B5B538-C334-4A7B-81A6-ED8FA9FDF3F7}" type="pres">
      <dgm:prSet presAssocID="{4FEA15FB-0392-49CE-91A4-499D49303E18}" presName="hierChild4" presStyleCnt="0"/>
      <dgm:spPr/>
    </dgm:pt>
    <dgm:pt modelId="{3EE4C36E-2E66-4015-BC80-E6DC02DB6FEB}" type="pres">
      <dgm:prSet presAssocID="{6F07D8FC-2517-467D-AEBF-BF983A70A53B}" presName="Name37" presStyleLbl="parChTrans1D4" presStyleIdx="1" presStyleCnt="7"/>
      <dgm:spPr/>
    </dgm:pt>
    <dgm:pt modelId="{237C37E2-FD9A-4A53-BDB8-8A416FB9E2B4}" type="pres">
      <dgm:prSet presAssocID="{16A18F0C-F279-4759-AF99-09D2F37429D0}" presName="hierRoot2" presStyleCnt="0">
        <dgm:presLayoutVars>
          <dgm:hierBranch val="init"/>
        </dgm:presLayoutVars>
      </dgm:prSet>
      <dgm:spPr/>
    </dgm:pt>
    <dgm:pt modelId="{A791548E-D05F-48F3-AE94-E3BD7EBAF1D0}" type="pres">
      <dgm:prSet presAssocID="{16A18F0C-F279-4759-AF99-09D2F37429D0}" presName="rootComposite" presStyleCnt="0"/>
      <dgm:spPr/>
    </dgm:pt>
    <dgm:pt modelId="{B626F366-5BB3-4BD0-B348-EF757700B223}" type="pres">
      <dgm:prSet presAssocID="{16A18F0C-F279-4759-AF99-09D2F37429D0}" presName="rootText" presStyleLbl="node4" presStyleIdx="1" presStyleCnt="7" custScaleX="85983" custScaleY="83765" custLinFactNeighborX="-41699" custLinFactNeighborY="-16611">
        <dgm:presLayoutVars>
          <dgm:chPref val="3"/>
        </dgm:presLayoutVars>
      </dgm:prSet>
      <dgm:spPr/>
    </dgm:pt>
    <dgm:pt modelId="{B001627D-9EF9-41DC-A31E-005DC2244AD3}" type="pres">
      <dgm:prSet presAssocID="{16A18F0C-F279-4759-AF99-09D2F37429D0}" presName="rootConnector" presStyleLbl="node4" presStyleIdx="1" presStyleCnt="7"/>
      <dgm:spPr/>
    </dgm:pt>
    <dgm:pt modelId="{82762D20-F807-491A-81AE-5462BC7F59F9}" type="pres">
      <dgm:prSet presAssocID="{16A18F0C-F279-4759-AF99-09D2F37429D0}" presName="hierChild4" presStyleCnt="0"/>
      <dgm:spPr/>
    </dgm:pt>
    <dgm:pt modelId="{18AA1C19-EC9F-44E0-8637-2DED8A3BD4CC}" type="pres">
      <dgm:prSet presAssocID="{16A18F0C-F279-4759-AF99-09D2F37429D0}" presName="hierChild5" presStyleCnt="0"/>
      <dgm:spPr/>
    </dgm:pt>
    <dgm:pt modelId="{B37F05E4-C454-4CAD-BDC2-03720B437B08}" type="pres">
      <dgm:prSet presAssocID="{9F1D0314-E35C-490E-8C49-2104B62F0731}" presName="Name37" presStyleLbl="parChTrans1D4" presStyleIdx="2" presStyleCnt="7"/>
      <dgm:spPr/>
    </dgm:pt>
    <dgm:pt modelId="{AB45EE0E-8931-4739-97CC-031341C156EE}" type="pres">
      <dgm:prSet presAssocID="{16B812CD-86CB-4C5F-AD38-E9096919DA44}" presName="hierRoot2" presStyleCnt="0">
        <dgm:presLayoutVars>
          <dgm:hierBranch val="init"/>
        </dgm:presLayoutVars>
      </dgm:prSet>
      <dgm:spPr/>
    </dgm:pt>
    <dgm:pt modelId="{7E2C86F6-05CE-440C-92B5-AEB75DBA1A95}" type="pres">
      <dgm:prSet presAssocID="{16B812CD-86CB-4C5F-AD38-E9096919DA44}" presName="rootComposite" presStyleCnt="0"/>
      <dgm:spPr/>
    </dgm:pt>
    <dgm:pt modelId="{6F4EC81F-BCAA-4961-8FA9-2D5BDFC25925}" type="pres">
      <dgm:prSet presAssocID="{16B812CD-86CB-4C5F-AD38-E9096919DA44}" presName="rootText" presStyleLbl="node4" presStyleIdx="2" presStyleCnt="7" custScaleX="79765" custScaleY="81612" custLinFactNeighborX="-38424" custLinFactNeighborY="-15048">
        <dgm:presLayoutVars>
          <dgm:chPref val="3"/>
        </dgm:presLayoutVars>
      </dgm:prSet>
      <dgm:spPr/>
    </dgm:pt>
    <dgm:pt modelId="{23F3B138-6FA1-4106-B871-EF5EDE6E9B56}" type="pres">
      <dgm:prSet presAssocID="{16B812CD-86CB-4C5F-AD38-E9096919DA44}" presName="rootConnector" presStyleLbl="node4" presStyleIdx="2" presStyleCnt="7"/>
      <dgm:spPr/>
    </dgm:pt>
    <dgm:pt modelId="{59FF312B-91A1-4C06-8A68-58ED4FD99E87}" type="pres">
      <dgm:prSet presAssocID="{16B812CD-86CB-4C5F-AD38-E9096919DA44}" presName="hierChild4" presStyleCnt="0"/>
      <dgm:spPr/>
    </dgm:pt>
    <dgm:pt modelId="{187FAD6A-222D-4DCA-9B1C-26C2867C1A8E}" type="pres">
      <dgm:prSet presAssocID="{16B812CD-86CB-4C5F-AD38-E9096919DA44}" presName="hierChild5" presStyleCnt="0"/>
      <dgm:spPr/>
    </dgm:pt>
    <dgm:pt modelId="{1F2B4738-9ACA-420C-979A-DD95C97AE531}" type="pres">
      <dgm:prSet presAssocID="{4FEA15FB-0392-49CE-91A4-499D49303E18}" presName="hierChild5" presStyleCnt="0"/>
      <dgm:spPr/>
    </dgm:pt>
    <dgm:pt modelId="{97CBE1E2-A5F1-41A5-9997-5D861A180465}" type="pres">
      <dgm:prSet presAssocID="{997A2DD6-C9A0-4905-ABC3-CD71A0EB9927}" presName="hierChild5" presStyleCnt="0"/>
      <dgm:spPr/>
    </dgm:pt>
    <dgm:pt modelId="{1EA31A23-A8F0-47BA-8469-7167D28EC028}" type="pres">
      <dgm:prSet presAssocID="{B937718D-915F-4600-865C-463C0C5714BD}" presName="Name37" presStyleLbl="parChTrans1D2" presStyleIdx="1" presStyleCnt="2"/>
      <dgm:spPr/>
    </dgm:pt>
    <dgm:pt modelId="{7562FE2A-9236-45B9-9ABD-86A02B35D887}" type="pres">
      <dgm:prSet presAssocID="{AB3280B7-CDEC-46E1-A9F2-5AE286FB0EFA}" presName="hierRoot2" presStyleCnt="0">
        <dgm:presLayoutVars>
          <dgm:hierBranch val="init"/>
        </dgm:presLayoutVars>
      </dgm:prSet>
      <dgm:spPr/>
    </dgm:pt>
    <dgm:pt modelId="{335161B2-FE9E-4776-8EF7-29953287A335}" type="pres">
      <dgm:prSet presAssocID="{AB3280B7-CDEC-46E1-A9F2-5AE286FB0EFA}" presName="rootComposite" presStyleCnt="0"/>
      <dgm:spPr/>
    </dgm:pt>
    <dgm:pt modelId="{B8E23265-F053-4659-80A3-49AFF6C343CB}" type="pres">
      <dgm:prSet presAssocID="{AB3280B7-CDEC-46E1-A9F2-5AE286FB0EFA}" presName="rootText" presStyleLbl="node2" presStyleIdx="1" presStyleCnt="2" custScaleX="79862" custScaleY="73492" custLinFactNeighborX="39383" custLinFactNeighborY="-6501">
        <dgm:presLayoutVars>
          <dgm:chPref val="3"/>
        </dgm:presLayoutVars>
      </dgm:prSet>
      <dgm:spPr/>
    </dgm:pt>
    <dgm:pt modelId="{85691377-BB89-4117-9C51-87F5AEE997BB}" type="pres">
      <dgm:prSet presAssocID="{AB3280B7-CDEC-46E1-A9F2-5AE286FB0EFA}" presName="rootConnector" presStyleLbl="node2" presStyleIdx="1" presStyleCnt="2"/>
      <dgm:spPr/>
    </dgm:pt>
    <dgm:pt modelId="{45800C90-8F37-46CC-A27A-D7E80CCDEFE0}" type="pres">
      <dgm:prSet presAssocID="{AB3280B7-CDEC-46E1-A9F2-5AE286FB0EFA}" presName="hierChild4" presStyleCnt="0"/>
      <dgm:spPr/>
    </dgm:pt>
    <dgm:pt modelId="{9701B058-4364-4A36-B434-9AA1152069EF}" type="pres">
      <dgm:prSet presAssocID="{32355CBA-7672-4A3A-8DC1-323D501954A6}" presName="Name37" presStyleLbl="parChTrans1D3" presStyleIdx="2" presStyleCnt="4"/>
      <dgm:spPr/>
    </dgm:pt>
    <dgm:pt modelId="{1AFC859E-D607-4D54-8B35-7F723B06FDFC}" type="pres">
      <dgm:prSet presAssocID="{B9689394-C515-423F-8930-7206640FB3BA}" presName="hierRoot2" presStyleCnt="0">
        <dgm:presLayoutVars>
          <dgm:hierBranch val="init"/>
        </dgm:presLayoutVars>
      </dgm:prSet>
      <dgm:spPr/>
    </dgm:pt>
    <dgm:pt modelId="{1241E92F-5A60-46E4-82FD-449DD8491034}" type="pres">
      <dgm:prSet presAssocID="{B9689394-C515-423F-8930-7206640FB3BA}" presName="rootComposite" presStyleCnt="0"/>
      <dgm:spPr/>
    </dgm:pt>
    <dgm:pt modelId="{3E61268D-00EB-4CF3-ACA8-B1D03B587743}" type="pres">
      <dgm:prSet presAssocID="{B9689394-C515-423F-8930-7206640FB3BA}" presName="rootText" presStyleLbl="node3" presStyleIdx="2" presStyleCnt="4" custScaleX="73645" custScaleY="34491" custLinFactNeighborX="12554" custLinFactNeighborY="-1091">
        <dgm:presLayoutVars>
          <dgm:chPref val="3"/>
        </dgm:presLayoutVars>
      </dgm:prSet>
      <dgm:spPr/>
    </dgm:pt>
    <dgm:pt modelId="{55D48235-7AB1-4E02-81A9-476C478EF4AE}" type="pres">
      <dgm:prSet presAssocID="{B9689394-C515-423F-8930-7206640FB3BA}" presName="rootConnector" presStyleLbl="node3" presStyleIdx="2" presStyleCnt="4"/>
      <dgm:spPr/>
    </dgm:pt>
    <dgm:pt modelId="{617B0CC3-94D1-4D3D-8BE7-1A1ABFC0C2FA}" type="pres">
      <dgm:prSet presAssocID="{B9689394-C515-423F-8930-7206640FB3BA}" presName="hierChild4" presStyleCnt="0"/>
      <dgm:spPr/>
    </dgm:pt>
    <dgm:pt modelId="{25C924B4-E7C0-44FD-82CB-11E2DCAC2EBC}" type="pres">
      <dgm:prSet presAssocID="{52BB5A7D-2CD0-4CA3-AF5D-050BFEC304A0}" presName="Name37" presStyleLbl="parChTrans1D4" presStyleIdx="3" presStyleCnt="7"/>
      <dgm:spPr/>
    </dgm:pt>
    <dgm:pt modelId="{A5428E61-3020-459B-B8FB-BE00CAC043C4}" type="pres">
      <dgm:prSet presAssocID="{6C8A529C-4DA1-4F62-89B7-33262A804D1A}" presName="hierRoot2" presStyleCnt="0">
        <dgm:presLayoutVars>
          <dgm:hierBranch val="init"/>
        </dgm:presLayoutVars>
      </dgm:prSet>
      <dgm:spPr/>
    </dgm:pt>
    <dgm:pt modelId="{E7385879-1BF9-405D-BBBD-0D9889434755}" type="pres">
      <dgm:prSet presAssocID="{6C8A529C-4DA1-4F62-89B7-33262A804D1A}" presName="rootComposite" presStyleCnt="0"/>
      <dgm:spPr/>
    </dgm:pt>
    <dgm:pt modelId="{47011C0A-E303-4AA6-9D22-48B579A7B1D2}" type="pres">
      <dgm:prSet presAssocID="{6C8A529C-4DA1-4F62-89B7-33262A804D1A}" presName="rootText" presStyleLbl="node4" presStyleIdx="3" presStyleCnt="7" custScaleX="49556" custScaleY="44586" custLinFactNeighborX="18685" custLinFactNeighborY="-19144">
        <dgm:presLayoutVars>
          <dgm:chPref val="3"/>
        </dgm:presLayoutVars>
      </dgm:prSet>
      <dgm:spPr/>
    </dgm:pt>
    <dgm:pt modelId="{14A57BA1-9CA5-475E-BF4B-6F38E512986A}" type="pres">
      <dgm:prSet presAssocID="{6C8A529C-4DA1-4F62-89B7-33262A804D1A}" presName="rootConnector" presStyleLbl="node4" presStyleIdx="3" presStyleCnt="7"/>
      <dgm:spPr/>
    </dgm:pt>
    <dgm:pt modelId="{E7E06AD3-7DDB-4B22-B342-123F4C97B009}" type="pres">
      <dgm:prSet presAssocID="{6C8A529C-4DA1-4F62-89B7-33262A804D1A}" presName="hierChild4" presStyleCnt="0"/>
      <dgm:spPr/>
    </dgm:pt>
    <dgm:pt modelId="{5BCA56C4-DAD4-4241-A48C-E2F7A9785768}" type="pres">
      <dgm:prSet presAssocID="{6C8A529C-4DA1-4F62-89B7-33262A804D1A}" presName="hierChild5" presStyleCnt="0"/>
      <dgm:spPr/>
    </dgm:pt>
    <dgm:pt modelId="{E96F957D-89DA-4B83-B213-70A521DE5587}" type="pres">
      <dgm:prSet presAssocID="{948F2CF8-65C1-4F6F-B95D-A836064E8817}" presName="Name37" presStyleLbl="parChTrans1D4" presStyleIdx="4" presStyleCnt="7"/>
      <dgm:spPr/>
    </dgm:pt>
    <dgm:pt modelId="{1DEFDA51-B0C8-4413-8825-28AB13464F67}" type="pres">
      <dgm:prSet presAssocID="{E046F740-72A5-435D-9AA6-9CD7AF07BC40}" presName="hierRoot2" presStyleCnt="0">
        <dgm:presLayoutVars>
          <dgm:hierBranch val="init"/>
        </dgm:presLayoutVars>
      </dgm:prSet>
      <dgm:spPr/>
    </dgm:pt>
    <dgm:pt modelId="{A0D2E1DA-B923-4829-875D-8ED4A4A80BEC}" type="pres">
      <dgm:prSet presAssocID="{E046F740-72A5-435D-9AA6-9CD7AF07BC40}" presName="rootComposite" presStyleCnt="0"/>
      <dgm:spPr/>
    </dgm:pt>
    <dgm:pt modelId="{B839C506-FF47-462E-AA0C-0ABFAE2E0ACA}" type="pres">
      <dgm:prSet presAssocID="{E046F740-72A5-435D-9AA6-9CD7AF07BC40}" presName="rootText" presStyleLbl="node4" presStyleIdx="4" presStyleCnt="7" custScaleX="50602" custScaleY="38566" custLinFactNeighborX="18536" custLinFactNeighborY="-46460">
        <dgm:presLayoutVars>
          <dgm:chPref val="3"/>
        </dgm:presLayoutVars>
      </dgm:prSet>
      <dgm:spPr/>
    </dgm:pt>
    <dgm:pt modelId="{EAE82427-28FE-4671-ADAF-33DDE3E12FF8}" type="pres">
      <dgm:prSet presAssocID="{E046F740-72A5-435D-9AA6-9CD7AF07BC40}" presName="rootConnector" presStyleLbl="node4" presStyleIdx="4" presStyleCnt="7"/>
      <dgm:spPr/>
    </dgm:pt>
    <dgm:pt modelId="{01A555FC-EE9E-4DB2-B972-1CB15C2C58C8}" type="pres">
      <dgm:prSet presAssocID="{E046F740-72A5-435D-9AA6-9CD7AF07BC40}" presName="hierChild4" presStyleCnt="0"/>
      <dgm:spPr/>
    </dgm:pt>
    <dgm:pt modelId="{95241ADE-33C8-4C10-8490-F488A94ED858}" type="pres">
      <dgm:prSet presAssocID="{E046F740-72A5-435D-9AA6-9CD7AF07BC40}" presName="hierChild5" presStyleCnt="0"/>
      <dgm:spPr/>
    </dgm:pt>
    <dgm:pt modelId="{761E55BB-2580-4D15-AA7E-F49C6C47A251}" type="pres">
      <dgm:prSet presAssocID="{D6F7FEEE-B51D-4CA4-992D-6A32C52E290F}" presName="Name37" presStyleLbl="parChTrans1D4" presStyleIdx="5" presStyleCnt="7"/>
      <dgm:spPr/>
    </dgm:pt>
    <dgm:pt modelId="{46201905-941C-49A9-B5C9-0376262D5FC7}" type="pres">
      <dgm:prSet presAssocID="{7267956C-433D-4E4F-AC27-C61C92B31DE6}" presName="hierRoot2" presStyleCnt="0">
        <dgm:presLayoutVars>
          <dgm:hierBranch val="init"/>
        </dgm:presLayoutVars>
      </dgm:prSet>
      <dgm:spPr/>
    </dgm:pt>
    <dgm:pt modelId="{7ECE77B0-1D7B-4C7A-93C6-5664191AD0E3}" type="pres">
      <dgm:prSet presAssocID="{7267956C-433D-4E4F-AC27-C61C92B31DE6}" presName="rootComposite" presStyleCnt="0"/>
      <dgm:spPr/>
    </dgm:pt>
    <dgm:pt modelId="{3BF16AF6-DC82-4305-BF12-D111A54B92EC}" type="pres">
      <dgm:prSet presAssocID="{7267956C-433D-4E4F-AC27-C61C92B31DE6}" presName="rootText" presStyleLbl="node4" presStyleIdx="5" presStyleCnt="7" custScaleX="49460" custScaleY="42383" custLinFactNeighborX="19820" custLinFactNeighborY="-70135">
        <dgm:presLayoutVars>
          <dgm:chPref val="3"/>
        </dgm:presLayoutVars>
      </dgm:prSet>
      <dgm:spPr/>
    </dgm:pt>
    <dgm:pt modelId="{410A5C3C-CD1B-4250-9FC3-EA6340D61A8A}" type="pres">
      <dgm:prSet presAssocID="{7267956C-433D-4E4F-AC27-C61C92B31DE6}" presName="rootConnector" presStyleLbl="node4" presStyleIdx="5" presStyleCnt="7"/>
      <dgm:spPr/>
    </dgm:pt>
    <dgm:pt modelId="{617C7A5C-E77F-479F-94A1-EF6935124388}" type="pres">
      <dgm:prSet presAssocID="{7267956C-433D-4E4F-AC27-C61C92B31DE6}" presName="hierChild4" presStyleCnt="0"/>
      <dgm:spPr/>
    </dgm:pt>
    <dgm:pt modelId="{4A1E7ACC-7753-4B5B-998D-6CD1D5B95E92}" type="pres">
      <dgm:prSet presAssocID="{7267956C-433D-4E4F-AC27-C61C92B31DE6}" presName="hierChild5" presStyleCnt="0"/>
      <dgm:spPr/>
    </dgm:pt>
    <dgm:pt modelId="{76CC58BF-034B-420C-8BD1-D9D17F887561}" type="pres">
      <dgm:prSet presAssocID="{B9689394-C515-423F-8930-7206640FB3BA}" presName="hierChild5" presStyleCnt="0"/>
      <dgm:spPr/>
    </dgm:pt>
    <dgm:pt modelId="{FD0AB1C2-041B-4363-BF7A-823A6B427BAD}" type="pres">
      <dgm:prSet presAssocID="{F017C406-BDAB-49E0-8251-FEF2D4C7E29F}" presName="Name37" presStyleLbl="parChTrans1D3" presStyleIdx="3" presStyleCnt="4"/>
      <dgm:spPr/>
    </dgm:pt>
    <dgm:pt modelId="{2BD8E90F-BB33-4455-927E-049785B1A7EB}" type="pres">
      <dgm:prSet presAssocID="{3B9A1DAA-491D-42D3-B0A7-2DB5BE466B2B}" presName="hierRoot2" presStyleCnt="0">
        <dgm:presLayoutVars>
          <dgm:hierBranch val="init"/>
        </dgm:presLayoutVars>
      </dgm:prSet>
      <dgm:spPr/>
    </dgm:pt>
    <dgm:pt modelId="{614D9E4B-0873-487E-942C-8C9785ACE875}" type="pres">
      <dgm:prSet presAssocID="{3B9A1DAA-491D-42D3-B0A7-2DB5BE466B2B}" presName="rootComposite" presStyleCnt="0"/>
      <dgm:spPr/>
    </dgm:pt>
    <dgm:pt modelId="{BD69CD5A-86E5-4227-B83F-73A5C2DE4BB2}" type="pres">
      <dgm:prSet presAssocID="{3B9A1DAA-491D-42D3-B0A7-2DB5BE466B2B}" presName="rootText" presStyleLbl="node3" presStyleIdx="3" presStyleCnt="4" custScaleX="75916" custScaleY="35285" custLinFactNeighborX="69904" custLinFactNeighborY="-812">
        <dgm:presLayoutVars>
          <dgm:chPref val="3"/>
        </dgm:presLayoutVars>
      </dgm:prSet>
      <dgm:spPr/>
    </dgm:pt>
    <dgm:pt modelId="{09E90B2C-7EBE-47C5-AC84-C7B05E458E87}" type="pres">
      <dgm:prSet presAssocID="{3B9A1DAA-491D-42D3-B0A7-2DB5BE466B2B}" presName="rootConnector" presStyleLbl="node3" presStyleIdx="3" presStyleCnt="4"/>
      <dgm:spPr/>
    </dgm:pt>
    <dgm:pt modelId="{2BFBDA2C-82E0-46A4-9FF8-B03A0A5133B0}" type="pres">
      <dgm:prSet presAssocID="{3B9A1DAA-491D-42D3-B0A7-2DB5BE466B2B}" presName="hierChild4" presStyleCnt="0"/>
      <dgm:spPr/>
    </dgm:pt>
    <dgm:pt modelId="{03B2C4D2-358A-4261-99EE-94DBA998850D}" type="pres">
      <dgm:prSet presAssocID="{2B2711C9-1B52-49A1-905F-DA3DDCA4B5D9}" presName="Name37" presStyleLbl="parChTrans1D4" presStyleIdx="6" presStyleCnt="7"/>
      <dgm:spPr/>
    </dgm:pt>
    <dgm:pt modelId="{175AA776-5DA6-46CE-AFAA-25BDF33D9A04}" type="pres">
      <dgm:prSet presAssocID="{3A4CBAFC-AAEC-43AD-BB66-9944F8C735C0}" presName="hierRoot2" presStyleCnt="0">
        <dgm:presLayoutVars>
          <dgm:hierBranch val="init"/>
        </dgm:presLayoutVars>
      </dgm:prSet>
      <dgm:spPr/>
    </dgm:pt>
    <dgm:pt modelId="{3D5F3ECF-A2CD-4178-AC4C-73B057B87D20}" type="pres">
      <dgm:prSet presAssocID="{3A4CBAFC-AAEC-43AD-BB66-9944F8C735C0}" presName="rootComposite" presStyleCnt="0"/>
      <dgm:spPr/>
    </dgm:pt>
    <dgm:pt modelId="{F1D01637-8ED2-4175-B84B-745348004BBB}" type="pres">
      <dgm:prSet presAssocID="{3A4CBAFC-AAEC-43AD-BB66-9944F8C735C0}" presName="rootText" presStyleLbl="node4" presStyleIdx="6" presStyleCnt="7" custScaleX="44783" custScaleY="37416" custLinFactNeighborX="58715" custLinFactNeighborY="-29642">
        <dgm:presLayoutVars>
          <dgm:chPref val="3"/>
        </dgm:presLayoutVars>
      </dgm:prSet>
      <dgm:spPr/>
    </dgm:pt>
    <dgm:pt modelId="{ACBE2999-760D-4528-A9E4-1E9F44E3E2BD}" type="pres">
      <dgm:prSet presAssocID="{3A4CBAFC-AAEC-43AD-BB66-9944F8C735C0}" presName="rootConnector" presStyleLbl="node4" presStyleIdx="6" presStyleCnt="7"/>
      <dgm:spPr/>
    </dgm:pt>
    <dgm:pt modelId="{9E489666-A602-4906-A230-899D3C8527A8}" type="pres">
      <dgm:prSet presAssocID="{3A4CBAFC-AAEC-43AD-BB66-9944F8C735C0}" presName="hierChild4" presStyleCnt="0"/>
      <dgm:spPr/>
    </dgm:pt>
    <dgm:pt modelId="{49B37A14-61D7-42C3-8CB6-9B875EAC7553}" type="pres">
      <dgm:prSet presAssocID="{3A4CBAFC-AAEC-43AD-BB66-9944F8C735C0}" presName="hierChild5" presStyleCnt="0"/>
      <dgm:spPr/>
    </dgm:pt>
    <dgm:pt modelId="{B08FEB62-D555-4350-A2D9-27DC7F5BE6E5}" type="pres">
      <dgm:prSet presAssocID="{3B9A1DAA-491D-42D3-B0A7-2DB5BE466B2B}" presName="hierChild5" presStyleCnt="0"/>
      <dgm:spPr/>
    </dgm:pt>
    <dgm:pt modelId="{A9174AAD-0E55-4AF4-97AF-2A662284B9C0}" type="pres">
      <dgm:prSet presAssocID="{AB3280B7-CDEC-46E1-A9F2-5AE286FB0EFA}" presName="hierChild5" presStyleCnt="0"/>
      <dgm:spPr/>
    </dgm:pt>
    <dgm:pt modelId="{25089B1C-99C1-4F6E-A44B-73C45FE92084}" type="pres">
      <dgm:prSet presAssocID="{85B8E9C7-C3C2-4F47-8FF2-FF1957D8A2C9}" presName="hierChild3" presStyleCnt="0"/>
      <dgm:spPr/>
    </dgm:pt>
  </dgm:ptLst>
  <dgm:cxnLst>
    <dgm:cxn modelId="{E876C501-1F9E-47D2-A7C9-E96F5F486F59}" type="presOf" srcId="{2B2711C9-1B52-49A1-905F-DA3DDCA4B5D9}" destId="{03B2C4D2-358A-4261-99EE-94DBA998850D}" srcOrd="0" destOrd="0" presId="urn:microsoft.com/office/officeart/2005/8/layout/orgChart1"/>
    <dgm:cxn modelId="{8A83FB02-DAA7-44ED-8E4B-B1C228CF70A0}" type="presOf" srcId="{B9689394-C515-423F-8930-7206640FB3BA}" destId="{55D48235-7AB1-4E02-81A9-476C478EF4AE}" srcOrd="1" destOrd="0" presId="urn:microsoft.com/office/officeart/2005/8/layout/orgChart1"/>
    <dgm:cxn modelId="{28EEFF06-A843-455A-B209-CAC78B49FF0D}" type="presOf" srcId="{3A4CBAFC-AAEC-43AD-BB66-9944F8C735C0}" destId="{ACBE2999-760D-4528-A9E4-1E9F44E3E2BD}" srcOrd="1" destOrd="0" presId="urn:microsoft.com/office/officeart/2005/8/layout/orgChart1"/>
    <dgm:cxn modelId="{02A5D209-AC2A-4826-87FE-C02D1D50C963}" srcId="{997A2DD6-C9A0-4905-ABC3-CD71A0EB9927}" destId="{4FEA15FB-0392-49CE-91A4-499D49303E18}" srcOrd="1" destOrd="0" parTransId="{E0413F13-0D88-43B9-B874-ABB666837555}" sibTransId="{1C8F558D-5238-42FE-A6C2-3F35458AB9D6}"/>
    <dgm:cxn modelId="{14382B0F-37D9-4FEA-A808-6FF8EA1D3CFD}" srcId="{85B8E9C7-C3C2-4F47-8FF2-FF1957D8A2C9}" destId="{AB3280B7-CDEC-46E1-A9F2-5AE286FB0EFA}" srcOrd="1" destOrd="0" parTransId="{B937718D-915F-4600-865C-463C0C5714BD}" sibTransId="{E0F079BC-C8C9-47C3-9E9E-016F7D91563D}"/>
    <dgm:cxn modelId="{D4C27513-A710-4588-8052-00D20CD9B4AE}" type="presOf" srcId="{32355CBA-7672-4A3A-8DC1-323D501954A6}" destId="{9701B058-4364-4A36-B434-9AA1152069EF}" srcOrd="0" destOrd="0" presId="urn:microsoft.com/office/officeart/2005/8/layout/orgChart1"/>
    <dgm:cxn modelId="{CD969415-1C7B-45BC-912C-F10C01ECA84C}" type="presOf" srcId="{4FEA15FB-0392-49CE-91A4-499D49303E18}" destId="{9B2566ED-78D7-4BCE-A44E-66DBC3703B48}" srcOrd="1" destOrd="0" presId="urn:microsoft.com/office/officeart/2005/8/layout/orgChart1"/>
    <dgm:cxn modelId="{2FC31321-9631-44A7-BA15-B343E4D3C77E}" srcId="{B9689394-C515-423F-8930-7206640FB3BA}" destId="{7267956C-433D-4E4F-AC27-C61C92B31DE6}" srcOrd="2" destOrd="0" parTransId="{D6F7FEEE-B51D-4CA4-992D-6A32C52E290F}" sibTransId="{C6D41964-5C3C-4E07-ADD5-EDD15E4A1DC3}"/>
    <dgm:cxn modelId="{5946E321-7519-4B0F-8C7A-D2A6F1998934}" srcId="{AB3280B7-CDEC-46E1-A9F2-5AE286FB0EFA}" destId="{B9689394-C515-423F-8930-7206640FB3BA}" srcOrd="0" destOrd="0" parTransId="{32355CBA-7672-4A3A-8DC1-323D501954A6}" sibTransId="{227BC242-1B7A-4ABB-9C7F-7C05AF4FAB44}"/>
    <dgm:cxn modelId="{25977F22-AB7D-49ED-AF63-CCD4E3508F9A}" type="presOf" srcId="{997A2DD6-C9A0-4905-ABC3-CD71A0EB9927}" destId="{A23C5C55-4BC2-433F-B6CA-7A2931F3494B}" srcOrd="1" destOrd="0" presId="urn:microsoft.com/office/officeart/2005/8/layout/orgChart1"/>
    <dgm:cxn modelId="{03D52C23-84D9-4F65-8E5B-B5399B916C8B}" srcId="{4FEA15FB-0392-49CE-91A4-499D49303E18}" destId="{16A18F0C-F279-4759-AF99-09D2F37429D0}" srcOrd="0" destOrd="0" parTransId="{6F07D8FC-2517-467D-AEBF-BF983A70A53B}" sibTransId="{F166DC46-F639-4600-8C48-460039D2F855}"/>
    <dgm:cxn modelId="{FA4B8923-45FB-4683-8472-76D2A2B3D6EB}" type="presOf" srcId="{B9689394-C515-423F-8930-7206640FB3BA}" destId="{3E61268D-00EB-4CF3-ACA8-B1D03B587743}" srcOrd="0" destOrd="0" presId="urn:microsoft.com/office/officeart/2005/8/layout/orgChart1"/>
    <dgm:cxn modelId="{97C7CE26-1A99-4E70-964E-1CBFDEE14A67}" type="presOf" srcId="{16A18F0C-F279-4759-AF99-09D2F37429D0}" destId="{B626F366-5BB3-4BD0-B348-EF757700B223}" srcOrd="0" destOrd="0" presId="urn:microsoft.com/office/officeart/2005/8/layout/orgChart1"/>
    <dgm:cxn modelId="{51044A2A-04A0-4C89-9C47-AD58FFC64785}" type="presOf" srcId="{7267956C-433D-4E4F-AC27-C61C92B31DE6}" destId="{410A5C3C-CD1B-4250-9FC3-EA6340D61A8A}" srcOrd="1" destOrd="0" presId="urn:microsoft.com/office/officeart/2005/8/layout/orgChart1"/>
    <dgm:cxn modelId="{B832E62B-FCA4-4AD0-AD6F-A1F1C95F8F17}" type="presOf" srcId="{AB3280B7-CDEC-46E1-A9F2-5AE286FB0EFA}" destId="{B8E23265-F053-4659-80A3-49AFF6C343CB}" srcOrd="0" destOrd="0" presId="urn:microsoft.com/office/officeart/2005/8/layout/orgChart1"/>
    <dgm:cxn modelId="{5090653E-E4B8-48DA-B0B1-CA8A4FD404B2}" type="presOf" srcId="{D6F7FEEE-B51D-4CA4-992D-6A32C52E290F}" destId="{761E55BB-2580-4D15-AA7E-F49C6C47A251}" srcOrd="0" destOrd="0" presId="urn:microsoft.com/office/officeart/2005/8/layout/orgChart1"/>
    <dgm:cxn modelId="{13B2B03F-59E6-4807-B210-B6DB067E1037}" srcId="{997A2DD6-C9A0-4905-ABC3-CD71A0EB9927}" destId="{22C1051B-08EC-45BD-B1B1-F1D6BBAEDE31}" srcOrd="0" destOrd="0" parTransId="{DA54F4C9-DD70-4CBF-9A2C-B137C35E297E}" sibTransId="{379E4E07-86E7-4AF9-9604-C4774D4F6C1E}"/>
    <dgm:cxn modelId="{6C9AEA3F-D39F-414A-A6F8-087BBD16139C}" srcId="{B9689394-C515-423F-8930-7206640FB3BA}" destId="{6C8A529C-4DA1-4F62-89B7-33262A804D1A}" srcOrd="0" destOrd="0" parTransId="{52BB5A7D-2CD0-4CA3-AF5D-050BFEC304A0}" sibTransId="{CCA1794D-A54F-4347-A823-FFCFF3590704}"/>
    <dgm:cxn modelId="{3C8ABA60-B1A0-41A5-B08C-0F59F6742FD0}" type="presOf" srcId="{AB625073-D389-4B9B-9522-DFC2A8CA6A20}" destId="{D6505EED-CA2B-42A0-8740-27BA786FA921}" srcOrd="0" destOrd="0" presId="urn:microsoft.com/office/officeart/2005/8/layout/orgChart1"/>
    <dgm:cxn modelId="{1A620C42-69CD-4583-A820-83B0ACBCB97E}" type="presOf" srcId="{6C8A529C-4DA1-4F62-89B7-33262A804D1A}" destId="{14A57BA1-9CA5-475E-BF4B-6F38E512986A}" srcOrd="1" destOrd="0" presId="urn:microsoft.com/office/officeart/2005/8/layout/orgChart1"/>
    <dgm:cxn modelId="{A6CEEE42-9AAB-4CED-98F3-2CCF6804CF88}" type="presOf" srcId="{16A18F0C-F279-4759-AF99-09D2F37429D0}" destId="{B001627D-9EF9-41DC-A31E-005DC2244AD3}" srcOrd="1" destOrd="0" presId="urn:microsoft.com/office/officeart/2005/8/layout/orgChart1"/>
    <dgm:cxn modelId="{0274EB65-130F-4E90-B30F-D2EEFE6F9521}" type="presOf" srcId="{3B9A1DAA-491D-42D3-B0A7-2DB5BE466B2B}" destId="{09E90B2C-7EBE-47C5-AC84-C7B05E458E87}" srcOrd="1" destOrd="0" presId="urn:microsoft.com/office/officeart/2005/8/layout/orgChart1"/>
    <dgm:cxn modelId="{AD669B46-9613-439C-B10D-58DB4795F064}" type="presOf" srcId="{22C1051B-08EC-45BD-B1B1-F1D6BBAEDE31}" destId="{EDDA26D0-F6A7-4CAD-90D4-3008DD67A9C4}" srcOrd="1" destOrd="0" presId="urn:microsoft.com/office/officeart/2005/8/layout/orgChart1"/>
    <dgm:cxn modelId="{E555C069-1E80-4916-BCEF-C5F8C8A99248}" type="presOf" srcId="{3A4CBAFC-AAEC-43AD-BB66-9944F8C735C0}" destId="{F1D01637-8ED2-4175-B84B-745348004BBB}" srcOrd="0" destOrd="0" presId="urn:microsoft.com/office/officeart/2005/8/layout/orgChart1"/>
    <dgm:cxn modelId="{B74DA06D-8B6B-479E-901A-0350D17DE59B}" type="presOf" srcId="{997A2DD6-C9A0-4905-ABC3-CD71A0EB9927}" destId="{02D92FBA-7589-4C22-A5F6-24B56980015C}" srcOrd="0" destOrd="0" presId="urn:microsoft.com/office/officeart/2005/8/layout/orgChart1"/>
    <dgm:cxn modelId="{B7EF214E-2494-4C95-BC75-11DD0186AEB6}" type="presOf" srcId="{7267956C-433D-4E4F-AC27-C61C92B31DE6}" destId="{3BF16AF6-DC82-4305-BF12-D111A54B92EC}" srcOrd="0" destOrd="0" presId="urn:microsoft.com/office/officeart/2005/8/layout/orgChart1"/>
    <dgm:cxn modelId="{3AEF314E-EA46-46D3-A8FB-9BF920CF0FCA}" type="presOf" srcId="{E046F740-72A5-435D-9AA6-9CD7AF07BC40}" destId="{EAE82427-28FE-4671-ADAF-33DDE3E12FF8}" srcOrd="1" destOrd="0" presId="urn:microsoft.com/office/officeart/2005/8/layout/orgChart1"/>
    <dgm:cxn modelId="{C0C2E670-130F-434C-A25D-A691C942C63C}" srcId="{B9689394-C515-423F-8930-7206640FB3BA}" destId="{E046F740-72A5-435D-9AA6-9CD7AF07BC40}" srcOrd="1" destOrd="0" parTransId="{948F2CF8-65C1-4F6F-B95D-A836064E8817}" sibTransId="{52007E65-6B12-4E2B-A9C6-F394E723A205}"/>
    <dgm:cxn modelId="{35656E55-E54A-4A5A-BA25-8087F1EAB46D}" type="presOf" srcId="{F017C406-BDAB-49E0-8251-FEF2D4C7E29F}" destId="{FD0AB1C2-041B-4363-BF7A-823A6B427BAD}" srcOrd="0" destOrd="0" presId="urn:microsoft.com/office/officeart/2005/8/layout/orgChart1"/>
    <dgm:cxn modelId="{CFD2DE59-B0FE-425B-8CDF-6181991BA301}" type="presOf" srcId="{9F1D0314-E35C-490E-8C49-2104B62F0731}" destId="{B37F05E4-C454-4CAD-BDC2-03720B437B08}" srcOrd="0" destOrd="0" presId="urn:microsoft.com/office/officeart/2005/8/layout/orgChart1"/>
    <dgm:cxn modelId="{B8A8A589-67FD-4E07-880F-A6908335858F}" type="presOf" srcId="{DA54F4C9-DD70-4CBF-9A2C-B137C35E297E}" destId="{640934FC-B26B-4117-81F5-81F9096C8CD8}" srcOrd="0" destOrd="0" presId="urn:microsoft.com/office/officeart/2005/8/layout/orgChart1"/>
    <dgm:cxn modelId="{11DB9493-0EFE-4E9E-BFEE-613E67C78A96}" type="presOf" srcId="{948F2CF8-65C1-4F6F-B95D-A836064E8817}" destId="{E96F957D-89DA-4B83-B213-70A521DE5587}" srcOrd="0" destOrd="0" presId="urn:microsoft.com/office/officeart/2005/8/layout/orgChart1"/>
    <dgm:cxn modelId="{7C77F09D-446F-46BB-8CCE-2032CCE6C455}" srcId="{85B8E9C7-C3C2-4F47-8FF2-FF1957D8A2C9}" destId="{997A2DD6-C9A0-4905-ABC3-CD71A0EB9927}" srcOrd="0" destOrd="0" parTransId="{1FB7B057-3336-4AA8-8834-61D5B5682CE0}" sibTransId="{3C2E6D03-0BC5-4038-8A67-34F06F48EA88}"/>
    <dgm:cxn modelId="{335D81A4-8F64-446B-8901-24C819C99221}" srcId="{CE13C0BE-1EC7-46BD-9D3F-CFC2F4B470C7}" destId="{85B8E9C7-C3C2-4F47-8FF2-FF1957D8A2C9}" srcOrd="0" destOrd="0" parTransId="{02764C56-CAD0-4CBD-B119-EE3A0919464F}" sibTransId="{3DCB29F5-3E0E-4991-A7F2-141892436433}"/>
    <dgm:cxn modelId="{62415EA5-D9B6-4738-A802-C1F1401CCEFA}" type="presOf" srcId="{B937718D-915F-4600-865C-463C0C5714BD}" destId="{1EA31A23-A8F0-47BA-8469-7167D28EC028}" srcOrd="0" destOrd="0" presId="urn:microsoft.com/office/officeart/2005/8/layout/orgChart1"/>
    <dgm:cxn modelId="{2BB60AA6-4561-40F0-9A81-B1D16F0982CF}" srcId="{AB3280B7-CDEC-46E1-A9F2-5AE286FB0EFA}" destId="{3B9A1DAA-491D-42D3-B0A7-2DB5BE466B2B}" srcOrd="1" destOrd="0" parTransId="{F017C406-BDAB-49E0-8251-FEF2D4C7E29F}" sibTransId="{42FF93CA-C9E9-4DBE-AB54-B92C7E7361F4}"/>
    <dgm:cxn modelId="{3CA2BAA6-227D-41F3-A6C9-EA77EFEDC3F1}" type="presOf" srcId="{85B8E9C7-C3C2-4F47-8FF2-FF1957D8A2C9}" destId="{84AC7146-B6C5-4322-9CC5-431F5ECB4210}" srcOrd="1" destOrd="0" presId="urn:microsoft.com/office/officeart/2005/8/layout/orgChart1"/>
    <dgm:cxn modelId="{F9D9B6AC-8C54-4B89-8362-C475B9DFE251}" type="presOf" srcId="{16B812CD-86CB-4C5F-AD38-E9096919DA44}" destId="{6F4EC81F-BCAA-4961-8FA9-2D5BDFC25925}" srcOrd="0" destOrd="0" presId="urn:microsoft.com/office/officeart/2005/8/layout/orgChart1"/>
    <dgm:cxn modelId="{AADF06AD-178A-48E6-8A0E-59BD0BF580AA}" type="presOf" srcId="{16B812CD-86CB-4C5F-AD38-E9096919DA44}" destId="{23F3B138-6FA1-4106-B871-EF5EDE6E9B56}" srcOrd="1" destOrd="0" presId="urn:microsoft.com/office/officeart/2005/8/layout/orgChart1"/>
    <dgm:cxn modelId="{783182B6-DFFC-47B8-BF3D-2759D5BE89C1}" type="presOf" srcId="{B2F4F710-4B96-4ADA-B268-F113519CC477}" destId="{05138FE1-4BEA-479B-94DE-3C4A5B58C8BA}" srcOrd="0" destOrd="0" presId="urn:microsoft.com/office/officeart/2005/8/layout/orgChart1"/>
    <dgm:cxn modelId="{3BBF75BE-F9BB-4423-A22A-C770C1CC00FF}" type="presOf" srcId="{22C1051B-08EC-45BD-B1B1-F1D6BBAEDE31}" destId="{A4BB4BDF-2EF7-46D6-ADC7-F0184F80A7EC}" srcOrd="0" destOrd="0" presId="urn:microsoft.com/office/officeart/2005/8/layout/orgChart1"/>
    <dgm:cxn modelId="{8BF8B7BE-53EB-444A-8E1B-9A213A9FE347}" type="presOf" srcId="{AB625073-D389-4B9B-9522-DFC2A8CA6A20}" destId="{DB588DF5-BC26-4FA4-BD41-B70DA8E199DC}" srcOrd="1" destOrd="0" presId="urn:microsoft.com/office/officeart/2005/8/layout/orgChart1"/>
    <dgm:cxn modelId="{CABEA9C1-A1D9-4F19-A8E0-F59E55835FE4}" srcId="{22C1051B-08EC-45BD-B1B1-F1D6BBAEDE31}" destId="{AB625073-D389-4B9B-9522-DFC2A8CA6A20}" srcOrd="0" destOrd="0" parTransId="{B2F4F710-4B96-4ADA-B268-F113519CC477}" sibTransId="{9EDAFB02-5343-4CD2-81F7-6FCA73248A65}"/>
    <dgm:cxn modelId="{C6F711C2-37F7-46F7-B91E-660B596DA505}" type="presOf" srcId="{E0413F13-0D88-43B9-B874-ABB666837555}" destId="{4E76E8E9-2562-4A6E-B76C-633A681E8F82}" srcOrd="0" destOrd="0" presId="urn:microsoft.com/office/officeart/2005/8/layout/orgChart1"/>
    <dgm:cxn modelId="{6ADA1EC3-597C-4178-B719-EA2C520131DD}" type="presOf" srcId="{1FB7B057-3336-4AA8-8834-61D5B5682CE0}" destId="{779B9685-FE20-4909-94D9-8B88AFAAAAC5}" srcOrd="0" destOrd="0" presId="urn:microsoft.com/office/officeart/2005/8/layout/orgChart1"/>
    <dgm:cxn modelId="{B2E061C4-EF8D-4098-ABCD-D758AAB55C50}" srcId="{4FEA15FB-0392-49CE-91A4-499D49303E18}" destId="{16B812CD-86CB-4C5F-AD38-E9096919DA44}" srcOrd="1" destOrd="0" parTransId="{9F1D0314-E35C-490E-8C49-2104B62F0731}" sibTransId="{FC4EE6A4-6B77-4144-A1F2-BA2259101C13}"/>
    <dgm:cxn modelId="{F84664C6-2699-41B1-A9C3-B862B7B448D7}" type="presOf" srcId="{85B8E9C7-C3C2-4F47-8FF2-FF1957D8A2C9}" destId="{59654EE1-1867-49AA-A3FE-025FB260536B}" srcOrd="0" destOrd="0" presId="urn:microsoft.com/office/officeart/2005/8/layout/orgChart1"/>
    <dgm:cxn modelId="{1BCE10DF-895A-4498-8CB8-FE6C22E6290A}" type="presOf" srcId="{52BB5A7D-2CD0-4CA3-AF5D-050BFEC304A0}" destId="{25C924B4-E7C0-44FD-82CB-11E2DCAC2EBC}" srcOrd="0" destOrd="0" presId="urn:microsoft.com/office/officeart/2005/8/layout/orgChart1"/>
    <dgm:cxn modelId="{E8DC62E2-2D0F-49DC-AFA5-E86F100DB0FC}" type="presOf" srcId="{4FEA15FB-0392-49CE-91A4-499D49303E18}" destId="{FDBAAEBF-2ACD-407E-9563-DFB912E51E5E}" srcOrd="0" destOrd="0" presId="urn:microsoft.com/office/officeart/2005/8/layout/orgChart1"/>
    <dgm:cxn modelId="{857189E5-4A75-4FBF-BC06-B14E481D99A9}" type="presOf" srcId="{CE13C0BE-1EC7-46BD-9D3F-CFC2F4B470C7}" destId="{03461173-AE03-4111-A186-25C2E136C6AC}" srcOrd="0" destOrd="0" presId="urn:microsoft.com/office/officeart/2005/8/layout/orgChart1"/>
    <dgm:cxn modelId="{C8B838EF-D112-4E0E-8F9C-D40FA90C61CF}" type="presOf" srcId="{AB3280B7-CDEC-46E1-A9F2-5AE286FB0EFA}" destId="{85691377-BB89-4117-9C51-87F5AEE997BB}" srcOrd="1" destOrd="0" presId="urn:microsoft.com/office/officeart/2005/8/layout/orgChart1"/>
    <dgm:cxn modelId="{5FF92DF4-35DC-4A8D-90EA-2DFFDFCBDE4E}" type="presOf" srcId="{E046F740-72A5-435D-9AA6-9CD7AF07BC40}" destId="{B839C506-FF47-462E-AA0C-0ABFAE2E0ACA}" srcOrd="0" destOrd="0" presId="urn:microsoft.com/office/officeart/2005/8/layout/orgChart1"/>
    <dgm:cxn modelId="{9E5F99F5-1D37-4BD0-A94E-AFB7A36B0A88}" type="presOf" srcId="{3B9A1DAA-491D-42D3-B0A7-2DB5BE466B2B}" destId="{BD69CD5A-86E5-4227-B83F-73A5C2DE4BB2}" srcOrd="0" destOrd="0" presId="urn:microsoft.com/office/officeart/2005/8/layout/orgChart1"/>
    <dgm:cxn modelId="{CB80E2F5-5E31-4610-BD46-6C29D27F7FB3}" srcId="{3B9A1DAA-491D-42D3-B0A7-2DB5BE466B2B}" destId="{3A4CBAFC-AAEC-43AD-BB66-9944F8C735C0}" srcOrd="0" destOrd="0" parTransId="{2B2711C9-1B52-49A1-905F-DA3DDCA4B5D9}" sibTransId="{632E0279-5213-4804-8F19-2BE49D1FF0BE}"/>
    <dgm:cxn modelId="{EC960CFB-F88F-47DB-B056-343C161CD60C}" type="presOf" srcId="{6F07D8FC-2517-467D-AEBF-BF983A70A53B}" destId="{3EE4C36E-2E66-4015-BC80-E6DC02DB6FEB}" srcOrd="0" destOrd="0" presId="urn:microsoft.com/office/officeart/2005/8/layout/orgChart1"/>
    <dgm:cxn modelId="{652503FD-6B55-4AD5-8FFF-C30D0AB9191C}" type="presOf" srcId="{6C8A529C-4DA1-4F62-89B7-33262A804D1A}" destId="{47011C0A-E303-4AA6-9D22-48B579A7B1D2}" srcOrd="0" destOrd="0" presId="urn:microsoft.com/office/officeart/2005/8/layout/orgChart1"/>
    <dgm:cxn modelId="{AB7DF73B-FC0B-45D4-8F57-14F694BF87E1}" type="presParOf" srcId="{03461173-AE03-4111-A186-25C2E136C6AC}" destId="{8DDDA074-28DD-4AB6-95ED-4975F01FF48F}" srcOrd="0" destOrd="0" presId="urn:microsoft.com/office/officeart/2005/8/layout/orgChart1"/>
    <dgm:cxn modelId="{2F6EA470-C5AC-4569-A0BF-955C48238395}" type="presParOf" srcId="{8DDDA074-28DD-4AB6-95ED-4975F01FF48F}" destId="{4B933D9D-37EA-468A-A1F1-6528C8A10F90}" srcOrd="0" destOrd="0" presId="urn:microsoft.com/office/officeart/2005/8/layout/orgChart1"/>
    <dgm:cxn modelId="{69AC79BE-CF2C-40F5-A1CF-CDCB893340B8}" type="presParOf" srcId="{4B933D9D-37EA-468A-A1F1-6528C8A10F90}" destId="{59654EE1-1867-49AA-A3FE-025FB260536B}" srcOrd="0" destOrd="0" presId="urn:microsoft.com/office/officeart/2005/8/layout/orgChart1"/>
    <dgm:cxn modelId="{61650C39-7070-4DD3-9F0C-723291906709}" type="presParOf" srcId="{4B933D9D-37EA-468A-A1F1-6528C8A10F90}" destId="{84AC7146-B6C5-4322-9CC5-431F5ECB4210}" srcOrd="1" destOrd="0" presId="urn:microsoft.com/office/officeart/2005/8/layout/orgChart1"/>
    <dgm:cxn modelId="{D15E8B33-B831-4AAC-868B-80418F4BD401}" type="presParOf" srcId="{8DDDA074-28DD-4AB6-95ED-4975F01FF48F}" destId="{95621620-95C4-4FBF-B6CD-4272A8C5A1BD}" srcOrd="1" destOrd="0" presId="urn:microsoft.com/office/officeart/2005/8/layout/orgChart1"/>
    <dgm:cxn modelId="{5BC5B627-0C77-4FE9-95F4-CF21A3E2D2E4}" type="presParOf" srcId="{95621620-95C4-4FBF-B6CD-4272A8C5A1BD}" destId="{779B9685-FE20-4909-94D9-8B88AFAAAAC5}" srcOrd="0" destOrd="0" presId="urn:microsoft.com/office/officeart/2005/8/layout/orgChart1"/>
    <dgm:cxn modelId="{A30FE4E1-A2F1-465C-ADDB-63EBF4354F51}" type="presParOf" srcId="{95621620-95C4-4FBF-B6CD-4272A8C5A1BD}" destId="{387ED7C1-1515-479C-BD2D-6A6D256F6BD9}" srcOrd="1" destOrd="0" presId="urn:microsoft.com/office/officeart/2005/8/layout/orgChart1"/>
    <dgm:cxn modelId="{1D1A0951-3655-40A6-8B24-59BCF1EFEBE5}" type="presParOf" srcId="{387ED7C1-1515-479C-BD2D-6A6D256F6BD9}" destId="{83485F60-04D4-4AF0-BC51-4180585ED181}" srcOrd="0" destOrd="0" presId="urn:microsoft.com/office/officeart/2005/8/layout/orgChart1"/>
    <dgm:cxn modelId="{5D72D0A2-89AB-4762-A718-7DF7D2884C27}" type="presParOf" srcId="{83485F60-04D4-4AF0-BC51-4180585ED181}" destId="{02D92FBA-7589-4C22-A5F6-24B56980015C}" srcOrd="0" destOrd="0" presId="urn:microsoft.com/office/officeart/2005/8/layout/orgChart1"/>
    <dgm:cxn modelId="{9E7246EA-E30F-4C83-956D-7080479D4807}" type="presParOf" srcId="{83485F60-04D4-4AF0-BC51-4180585ED181}" destId="{A23C5C55-4BC2-433F-B6CA-7A2931F3494B}" srcOrd="1" destOrd="0" presId="urn:microsoft.com/office/officeart/2005/8/layout/orgChart1"/>
    <dgm:cxn modelId="{E9025A67-CE0E-46FA-ADEE-B96C80C40586}" type="presParOf" srcId="{387ED7C1-1515-479C-BD2D-6A6D256F6BD9}" destId="{5781BA20-4BB1-4136-A3CC-B9EEA6CBD264}" srcOrd="1" destOrd="0" presId="urn:microsoft.com/office/officeart/2005/8/layout/orgChart1"/>
    <dgm:cxn modelId="{0F55239A-B6BC-4D5E-8C6D-12EB1C2877EA}" type="presParOf" srcId="{5781BA20-4BB1-4136-A3CC-B9EEA6CBD264}" destId="{640934FC-B26B-4117-81F5-81F9096C8CD8}" srcOrd="0" destOrd="0" presId="urn:microsoft.com/office/officeart/2005/8/layout/orgChart1"/>
    <dgm:cxn modelId="{1788369A-1558-4CA0-B014-103D5029C953}" type="presParOf" srcId="{5781BA20-4BB1-4136-A3CC-B9EEA6CBD264}" destId="{799593B2-050A-4571-863F-A19DC41F5341}" srcOrd="1" destOrd="0" presId="urn:microsoft.com/office/officeart/2005/8/layout/orgChart1"/>
    <dgm:cxn modelId="{C209817A-C5B8-47A5-8A4B-8D99B98BB107}" type="presParOf" srcId="{799593B2-050A-4571-863F-A19DC41F5341}" destId="{32FB8891-1D42-4140-B06A-9A5DFE9ACE25}" srcOrd="0" destOrd="0" presId="urn:microsoft.com/office/officeart/2005/8/layout/orgChart1"/>
    <dgm:cxn modelId="{5140C677-288A-4265-BEC1-141C30C1AD86}" type="presParOf" srcId="{32FB8891-1D42-4140-B06A-9A5DFE9ACE25}" destId="{A4BB4BDF-2EF7-46D6-ADC7-F0184F80A7EC}" srcOrd="0" destOrd="0" presId="urn:microsoft.com/office/officeart/2005/8/layout/orgChart1"/>
    <dgm:cxn modelId="{E1AA188E-9924-4FFF-9337-B0AB70AE34EF}" type="presParOf" srcId="{32FB8891-1D42-4140-B06A-9A5DFE9ACE25}" destId="{EDDA26D0-F6A7-4CAD-90D4-3008DD67A9C4}" srcOrd="1" destOrd="0" presId="urn:microsoft.com/office/officeart/2005/8/layout/orgChart1"/>
    <dgm:cxn modelId="{6D39A89E-59BB-4E33-A802-127D3F987BF6}" type="presParOf" srcId="{799593B2-050A-4571-863F-A19DC41F5341}" destId="{B080BCF5-255F-4A0D-A97B-D977D0829E40}" srcOrd="1" destOrd="0" presId="urn:microsoft.com/office/officeart/2005/8/layout/orgChart1"/>
    <dgm:cxn modelId="{BD0FAFCB-3E0B-419C-BFDE-38348DE6D8E8}" type="presParOf" srcId="{B080BCF5-255F-4A0D-A97B-D977D0829E40}" destId="{05138FE1-4BEA-479B-94DE-3C4A5B58C8BA}" srcOrd="0" destOrd="0" presId="urn:microsoft.com/office/officeart/2005/8/layout/orgChart1"/>
    <dgm:cxn modelId="{CC8DD165-97A9-46C0-ACFF-A7E8DEE26614}" type="presParOf" srcId="{B080BCF5-255F-4A0D-A97B-D977D0829E40}" destId="{2BB7B12D-4ECA-43F5-8682-D83AE43DF328}" srcOrd="1" destOrd="0" presId="urn:microsoft.com/office/officeart/2005/8/layout/orgChart1"/>
    <dgm:cxn modelId="{D6A0FEB3-BE39-4789-B386-655416B6146C}" type="presParOf" srcId="{2BB7B12D-4ECA-43F5-8682-D83AE43DF328}" destId="{AEDBACC3-1E07-4322-B1ED-B838E90408CC}" srcOrd="0" destOrd="0" presId="urn:microsoft.com/office/officeart/2005/8/layout/orgChart1"/>
    <dgm:cxn modelId="{BF03B858-9A0A-4390-A1CB-C759CE5ACECE}" type="presParOf" srcId="{AEDBACC3-1E07-4322-B1ED-B838E90408CC}" destId="{D6505EED-CA2B-42A0-8740-27BA786FA921}" srcOrd="0" destOrd="0" presId="urn:microsoft.com/office/officeart/2005/8/layout/orgChart1"/>
    <dgm:cxn modelId="{2C9D4819-2660-4479-BC26-8173CF29940A}" type="presParOf" srcId="{AEDBACC3-1E07-4322-B1ED-B838E90408CC}" destId="{DB588DF5-BC26-4FA4-BD41-B70DA8E199DC}" srcOrd="1" destOrd="0" presId="urn:microsoft.com/office/officeart/2005/8/layout/orgChart1"/>
    <dgm:cxn modelId="{041365B7-295A-4000-998A-1EBA52EF4E2E}" type="presParOf" srcId="{2BB7B12D-4ECA-43F5-8682-D83AE43DF328}" destId="{E04B7EEA-6D30-4DF7-905D-411D52C8FD39}" srcOrd="1" destOrd="0" presId="urn:microsoft.com/office/officeart/2005/8/layout/orgChart1"/>
    <dgm:cxn modelId="{C5536910-6DE8-452F-AD48-D61D5277D696}" type="presParOf" srcId="{2BB7B12D-4ECA-43F5-8682-D83AE43DF328}" destId="{42A2D50A-6498-4114-A94A-3388C435A009}" srcOrd="2" destOrd="0" presId="urn:microsoft.com/office/officeart/2005/8/layout/orgChart1"/>
    <dgm:cxn modelId="{88F88DCA-E5DE-4AD2-AEB2-903626664171}" type="presParOf" srcId="{799593B2-050A-4571-863F-A19DC41F5341}" destId="{04B3FE1C-69BF-404A-BFCF-704BF898D6DA}" srcOrd="2" destOrd="0" presId="urn:microsoft.com/office/officeart/2005/8/layout/orgChart1"/>
    <dgm:cxn modelId="{FFFF0F69-B5A6-4DA9-8A03-47F19A03CD07}" type="presParOf" srcId="{5781BA20-4BB1-4136-A3CC-B9EEA6CBD264}" destId="{4E76E8E9-2562-4A6E-B76C-633A681E8F82}" srcOrd="2" destOrd="0" presId="urn:microsoft.com/office/officeart/2005/8/layout/orgChart1"/>
    <dgm:cxn modelId="{86F1C489-51DA-477B-AEBB-2E484D36B4AF}" type="presParOf" srcId="{5781BA20-4BB1-4136-A3CC-B9EEA6CBD264}" destId="{C7446461-7444-4F7F-A0C9-57DE1F4A6A51}" srcOrd="3" destOrd="0" presId="urn:microsoft.com/office/officeart/2005/8/layout/orgChart1"/>
    <dgm:cxn modelId="{0C535586-5E5B-4CD4-9734-F644BB450821}" type="presParOf" srcId="{C7446461-7444-4F7F-A0C9-57DE1F4A6A51}" destId="{9E71DFA4-EBEF-4F65-B84F-D42A2BF9C426}" srcOrd="0" destOrd="0" presId="urn:microsoft.com/office/officeart/2005/8/layout/orgChart1"/>
    <dgm:cxn modelId="{884BDA87-32E6-4F2A-9233-C636B7E85680}" type="presParOf" srcId="{9E71DFA4-EBEF-4F65-B84F-D42A2BF9C426}" destId="{FDBAAEBF-2ACD-407E-9563-DFB912E51E5E}" srcOrd="0" destOrd="0" presId="urn:microsoft.com/office/officeart/2005/8/layout/orgChart1"/>
    <dgm:cxn modelId="{0671C3CB-B030-48E0-A830-98CF46A2A668}" type="presParOf" srcId="{9E71DFA4-EBEF-4F65-B84F-D42A2BF9C426}" destId="{9B2566ED-78D7-4BCE-A44E-66DBC3703B48}" srcOrd="1" destOrd="0" presId="urn:microsoft.com/office/officeart/2005/8/layout/orgChart1"/>
    <dgm:cxn modelId="{A9CB8152-237C-4208-9B04-43BDF353AC36}" type="presParOf" srcId="{C7446461-7444-4F7F-A0C9-57DE1F4A6A51}" destId="{C7B5B538-C334-4A7B-81A6-ED8FA9FDF3F7}" srcOrd="1" destOrd="0" presId="urn:microsoft.com/office/officeart/2005/8/layout/orgChart1"/>
    <dgm:cxn modelId="{8E1DC58E-E9DF-4D32-B005-B0BADB4BFCAF}" type="presParOf" srcId="{C7B5B538-C334-4A7B-81A6-ED8FA9FDF3F7}" destId="{3EE4C36E-2E66-4015-BC80-E6DC02DB6FEB}" srcOrd="0" destOrd="0" presId="urn:microsoft.com/office/officeart/2005/8/layout/orgChart1"/>
    <dgm:cxn modelId="{7DA380B3-1E21-4527-BD47-BB8B2404EF80}" type="presParOf" srcId="{C7B5B538-C334-4A7B-81A6-ED8FA9FDF3F7}" destId="{237C37E2-FD9A-4A53-BDB8-8A416FB9E2B4}" srcOrd="1" destOrd="0" presId="urn:microsoft.com/office/officeart/2005/8/layout/orgChart1"/>
    <dgm:cxn modelId="{1DDD016B-1965-4423-8F4F-89306B7B459F}" type="presParOf" srcId="{237C37E2-FD9A-4A53-BDB8-8A416FB9E2B4}" destId="{A791548E-D05F-48F3-AE94-E3BD7EBAF1D0}" srcOrd="0" destOrd="0" presId="urn:microsoft.com/office/officeart/2005/8/layout/orgChart1"/>
    <dgm:cxn modelId="{700B03C9-0B1C-4C6E-A1C8-9AFA8515DEF9}" type="presParOf" srcId="{A791548E-D05F-48F3-AE94-E3BD7EBAF1D0}" destId="{B626F366-5BB3-4BD0-B348-EF757700B223}" srcOrd="0" destOrd="0" presId="urn:microsoft.com/office/officeart/2005/8/layout/orgChart1"/>
    <dgm:cxn modelId="{4C2843F0-6F93-493C-822D-ADFCAB5C7842}" type="presParOf" srcId="{A791548E-D05F-48F3-AE94-E3BD7EBAF1D0}" destId="{B001627D-9EF9-41DC-A31E-005DC2244AD3}" srcOrd="1" destOrd="0" presId="urn:microsoft.com/office/officeart/2005/8/layout/orgChart1"/>
    <dgm:cxn modelId="{81B3BA68-7FA7-44A0-B557-FE2918978E1D}" type="presParOf" srcId="{237C37E2-FD9A-4A53-BDB8-8A416FB9E2B4}" destId="{82762D20-F807-491A-81AE-5462BC7F59F9}" srcOrd="1" destOrd="0" presId="urn:microsoft.com/office/officeart/2005/8/layout/orgChart1"/>
    <dgm:cxn modelId="{E92CBACE-EB48-4D56-862D-9975781E6F6C}" type="presParOf" srcId="{237C37E2-FD9A-4A53-BDB8-8A416FB9E2B4}" destId="{18AA1C19-EC9F-44E0-8637-2DED8A3BD4CC}" srcOrd="2" destOrd="0" presId="urn:microsoft.com/office/officeart/2005/8/layout/orgChart1"/>
    <dgm:cxn modelId="{4490BFE1-C17D-4E05-B32C-F54B3A46AEAC}" type="presParOf" srcId="{C7B5B538-C334-4A7B-81A6-ED8FA9FDF3F7}" destId="{B37F05E4-C454-4CAD-BDC2-03720B437B08}" srcOrd="2" destOrd="0" presId="urn:microsoft.com/office/officeart/2005/8/layout/orgChart1"/>
    <dgm:cxn modelId="{90CC88AC-D119-46BD-9228-EE764F908263}" type="presParOf" srcId="{C7B5B538-C334-4A7B-81A6-ED8FA9FDF3F7}" destId="{AB45EE0E-8931-4739-97CC-031341C156EE}" srcOrd="3" destOrd="0" presId="urn:microsoft.com/office/officeart/2005/8/layout/orgChart1"/>
    <dgm:cxn modelId="{21BF7142-A99B-40C7-8101-FCE43181DB46}" type="presParOf" srcId="{AB45EE0E-8931-4739-97CC-031341C156EE}" destId="{7E2C86F6-05CE-440C-92B5-AEB75DBA1A95}" srcOrd="0" destOrd="0" presId="urn:microsoft.com/office/officeart/2005/8/layout/orgChart1"/>
    <dgm:cxn modelId="{602A1679-1E52-4768-B7E3-B691B4B964B6}" type="presParOf" srcId="{7E2C86F6-05CE-440C-92B5-AEB75DBA1A95}" destId="{6F4EC81F-BCAA-4961-8FA9-2D5BDFC25925}" srcOrd="0" destOrd="0" presId="urn:microsoft.com/office/officeart/2005/8/layout/orgChart1"/>
    <dgm:cxn modelId="{11E3D4F9-6BB5-4A6B-8EB2-C1847EEF4E34}" type="presParOf" srcId="{7E2C86F6-05CE-440C-92B5-AEB75DBA1A95}" destId="{23F3B138-6FA1-4106-B871-EF5EDE6E9B56}" srcOrd="1" destOrd="0" presId="urn:microsoft.com/office/officeart/2005/8/layout/orgChart1"/>
    <dgm:cxn modelId="{0EF61EC3-D8C7-46BE-ADE3-887434CE60CD}" type="presParOf" srcId="{AB45EE0E-8931-4739-97CC-031341C156EE}" destId="{59FF312B-91A1-4C06-8A68-58ED4FD99E87}" srcOrd="1" destOrd="0" presId="urn:microsoft.com/office/officeart/2005/8/layout/orgChart1"/>
    <dgm:cxn modelId="{A408FFFE-28C8-4416-BB25-8A23EF9357B9}" type="presParOf" srcId="{AB45EE0E-8931-4739-97CC-031341C156EE}" destId="{187FAD6A-222D-4DCA-9B1C-26C2867C1A8E}" srcOrd="2" destOrd="0" presId="urn:microsoft.com/office/officeart/2005/8/layout/orgChart1"/>
    <dgm:cxn modelId="{914922DE-4AA0-483E-BF3E-BE8E0BA380A8}" type="presParOf" srcId="{C7446461-7444-4F7F-A0C9-57DE1F4A6A51}" destId="{1F2B4738-9ACA-420C-979A-DD95C97AE531}" srcOrd="2" destOrd="0" presId="urn:microsoft.com/office/officeart/2005/8/layout/orgChart1"/>
    <dgm:cxn modelId="{BE63C518-84EF-4E80-B234-481A3D958370}" type="presParOf" srcId="{387ED7C1-1515-479C-BD2D-6A6D256F6BD9}" destId="{97CBE1E2-A5F1-41A5-9997-5D861A180465}" srcOrd="2" destOrd="0" presId="urn:microsoft.com/office/officeart/2005/8/layout/orgChart1"/>
    <dgm:cxn modelId="{FCDAF2E6-2F04-4252-9FE9-266F591FEC6F}" type="presParOf" srcId="{95621620-95C4-4FBF-B6CD-4272A8C5A1BD}" destId="{1EA31A23-A8F0-47BA-8469-7167D28EC028}" srcOrd="2" destOrd="0" presId="urn:microsoft.com/office/officeart/2005/8/layout/orgChart1"/>
    <dgm:cxn modelId="{588220F5-D472-4399-A779-2AD97B375017}" type="presParOf" srcId="{95621620-95C4-4FBF-B6CD-4272A8C5A1BD}" destId="{7562FE2A-9236-45B9-9ABD-86A02B35D887}" srcOrd="3" destOrd="0" presId="urn:microsoft.com/office/officeart/2005/8/layout/orgChart1"/>
    <dgm:cxn modelId="{9FCE345E-FF11-495B-9201-C9C62AF64F2B}" type="presParOf" srcId="{7562FE2A-9236-45B9-9ABD-86A02B35D887}" destId="{335161B2-FE9E-4776-8EF7-29953287A335}" srcOrd="0" destOrd="0" presId="urn:microsoft.com/office/officeart/2005/8/layout/orgChart1"/>
    <dgm:cxn modelId="{83B92186-CF86-41CE-9AF3-FD143E7359CE}" type="presParOf" srcId="{335161B2-FE9E-4776-8EF7-29953287A335}" destId="{B8E23265-F053-4659-80A3-49AFF6C343CB}" srcOrd="0" destOrd="0" presId="urn:microsoft.com/office/officeart/2005/8/layout/orgChart1"/>
    <dgm:cxn modelId="{F582CF40-71AA-4AD5-8BC8-8D79D66C9AF9}" type="presParOf" srcId="{335161B2-FE9E-4776-8EF7-29953287A335}" destId="{85691377-BB89-4117-9C51-87F5AEE997BB}" srcOrd="1" destOrd="0" presId="urn:microsoft.com/office/officeart/2005/8/layout/orgChart1"/>
    <dgm:cxn modelId="{E1BA7C0E-F17F-4FE9-8FB8-F697365DA03B}" type="presParOf" srcId="{7562FE2A-9236-45B9-9ABD-86A02B35D887}" destId="{45800C90-8F37-46CC-A27A-D7E80CCDEFE0}" srcOrd="1" destOrd="0" presId="urn:microsoft.com/office/officeart/2005/8/layout/orgChart1"/>
    <dgm:cxn modelId="{B941DB51-31A4-4BCE-80DC-1B8F8EF737A8}" type="presParOf" srcId="{45800C90-8F37-46CC-A27A-D7E80CCDEFE0}" destId="{9701B058-4364-4A36-B434-9AA1152069EF}" srcOrd="0" destOrd="0" presId="urn:microsoft.com/office/officeart/2005/8/layout/orgChart1"/>
    <dgm:cxn modelId="{64CC9DC2-C33D-45D3-AD5C-F2DC7DDB7084}" type="presParOf" srcId="{45800C90-8F37-46CC-A27A-D7E80CCDEFE0}" destId="{1AFC859E-D607-4D54-8B35-7F723B06FDFC}" srcOrd="1" destOrd="0" presId="urn:microsoft.com/office/officeart/2005/8/layout/orgChart1"/>
    <dgm:cxn modelId="{F3DABFBD-C078-485B-A016-AB6EE34FAFE5}" type="presParOf" srcId="{1AFC859E-D607-4D54-8B35-7F723B06FDFC}" destId="{1241E92F-5A60-46E4-82FD-449DD8491034}" srcOrd="0" destOrd="0" presId="urn:microsoft.com/office/officeart/2005/8/layout/orgChart1"/>
    <dgm:cxn modelId="{91CD3F72-207E-4D8D-9CFF-7B00252F655A}" type="presParOf" srcId="{1241E92F-5A60-46E4-82FD-449DD8491034}" destId="{3E61268D-00EB-4CF3-ACA8-B1D03B587743}" srcOrd="0" destOrd="0" presId="urn:microsoft.com/office/officeart/2005/8/layout/orgChart1"/>
    <dgm:cxn modelId="{D0E77C4E-AA62-4F48-A962-7619769B7AA4}" type="presParOf" srcId="{1241E92F-5A60-46E4-82FD-449DD8491034}" destId="{55D48235-7AB1-4E02-81A9-476C478EF4AE}" srcOrd="1" destOrd="0" presId="urn:microsoft.com/office/officeart/2005/8/layout/orgChart1"/>
    <dgm:cxn modelId="{46DD16F5-5A2F-4D31-AD0A-8258C7290A01}" type="presParOf" srcId="{1AFC859E-D607-4D54-8B35-7F723B06FDFC}" destId="{617B0CC3-94D1-4D3D-8BE7-1A1ABFC0C2FA}" srcOrd="1" destOrd="0" presId="urn:microsoft.com/office/officeart/2005/8/layout/orgChart1"/>
    <dgm:cxn modelId="{034B35AA-DC22-4526-AEBC-AD9D68DB0059}" type="presParOf" srcId="{617B0CC3-94D1-4D3D-8BE7-1A1ABFC0C2FA}" destId="{25C924B4-E7C0-44FD-82CB-11E2DCAC2EBC}" srcOrd="0" destOrd="0" presId="urn:microsoft.com/office/officeart/2005/8/layout/orgChart1"/>
    <dgm:cxn modelId="{89ADE30B-3601-429C-8DA4-BDEDE3642274}" type="presParOf" srcId="{617B0CC3-94D1-4D3D-8BE7-1A1ABFC0C2FA}" destId="{A5428E61-3020-459B-B8FB-BE00CAC043C4}" srcOrd="1" destOrd="0" presId="urn:microsoft.com/office/officeart/2005/8/layout/orgChart1"/>
    <dgm:cxn modelId="{E0402088-04FF-44A3-8784-9B61620EDA20}" type="presParOf" srcId="{A5428E61-3020-459B-B8FB-BE00CAC043C4}" destId="{E7385879-1BF9-405D-BBBD-0D9889434755}" srcOrd="0" destOrd="0" presId="urn:microsoft.com/office/officeart/2005/8/layout/orgChart1"/>
    <dgm:cxn modelId="{016A94E0-B3DC-4E5A-B47B-F48DD13C139A}" type="presParOf" srcId="{E7385879-1BF9-405D-BBBD-0D9889434755}" destId="{47011C0A-E303-4AA6-9D22-48B579A7B1D2}" srcOrd="0" destOrd="0" presId="urn:microsoft.com/office/officeart/2005/8/layout/orgChart1"/>
    <dgm:cxn modelId="{A82C0FBB-8C95-484A-81ED-B8DE147DA566}" type="presParOf" srcId="{E7385879-1BF9-405D-BBBD-0D9889434755}" destId="{14A57BA1-9CA5-475E-BF4B-6F38E512986A}" srcOrd="1" destOrd="0" presId="urn:microsoft.com/office/officeart/2005/8/layout/orgChart1"/>
    <dgm:cxn modelId="{9D960295-EC20-4CDA-8073-1C2A5A11857F}" type="presParOf" srcId="{A5428E61-3020-459B-B8FB-BE00CAC043C4}" destId="{E7E06AD3-7DDB-4B22-B342-123F4C97B009}" srcOrd="1" destOrd="0" presId="urn:microsoft.com/office/officeart/2005/8/layout/orgChart1"/>
    <dgm:cxn modelId="{D1842940-786F-45C4-9FD2-1FCB9FC61DEA}" type="presParOf" srcId="{A5428E61-3020-459B-B8FB-BE00CAC043C4}" destId="{5BCA56C4-DAD4-4241-A48C-E2F7A9785768}" srcOrd="2" destOrd="0" presId="urn:microsoft.com/office/officeart/2005/8/layout/orgChart1"/>
    <dgm:cxn modelId="{75CFE4D9-E374-495A-B60F-10598DA4ACC6}" type="presParOf" srcId="{617B0CC3-94D1-4D3D-8BE7-1A1ABFC0C2FA}" destId="{E96F957D-89DA-4B83-B213-70A521DE5587}" srcOrd="2" destOrd="0" presId="urn:microsoft.com/office/officeart/2005/8/layout/orgChart1"/>
    <dgm:cxn modelId="{47D663D2-8C28-4BD3-98C3-2817B7B83549}" type="presParOf" srcId="{617B0CC3-94D1-4D3D-8BE7-1A1ABFC0C2FA}" destId="{1DEFDA51-B0C8-4413-8825-28AB13464F67}" srcOrd="3" destOrd="0" presId="urn:microsoft.com/office/officeart/2005/8/layout/orgChart1"/>
    <dgm:cxn modelId="{80ED2DE2-C33C-4631-957E-97EC2703C9BE}" type="presParOf" srcId="{1DEFDA51-B0C8-4413-8825-28AB13464F67}" destId="{A0D2E1DA-B923-4829-875D-8ED4A4A80BEC}" srcOrd="0" destOrd="0" presId="urn:microsoft.com/office/officeart/2005/8/layout/orgChart1"/>
    <dgm:cxn modelId="{3D567849-D4D6-4BED-AE8F-676E323CABFF}" type="presParOf" srcId="{A0D2E1DA-B923-4829-875D-8ED4A4A80BEC}" destId="{B839C506-FF47-462E-AA0C-0ABFAE2E0ACA}" srcOrd="0" destOrd="0" presId="urn:microsoft.com/office/officeart/2005/8/layout/orgChart1"/>
    <dgm:cxn modelId="{9F44E616-94C6-4D72-BA7E-24261A246626}" type="presParOf" srcId="{A0D2E1DA-B923-4829-875D-8ED4A4A80BEC}" destId="{EAE82427-28FE-4671-ADAF-33DDE3E12FF8}" srcOrd="1" destOrd="0" presId="urn:microsoft.com/office/officeart/2005/8/layout/orgChart1"/>
    <dgm:cxn modelId="{7E4BC2BC-CFD7-4CDB-B19D-9A111B598DA4}" type="presParOf" srcId="{1DEFDA51-B0C8-4413-8825-28AB13464F67}" destId="{01A555FC-EE9E-4DB2-B972-1CB15C2C58C8}" srcOrd="1" destOrd="0" presId="urn:microsoft.com/office/officeart/2005/8/layout/orgChart1"/>
    <dgm:cxn modelId="{34ADDC09-FD80-4D3C-9510-B2EE8CCEC834}" type="presParOf" srcId="{1DEFDA51-B0C8-4413-8825-28AB13464F67}" destId="{95241ADE-33C8-4C10-8490-F488A94ED858}" srcOrd="2" destOrd="0" presId="urn:microsoft.com/office/officeart/2005/8/layout/orgChart1"/>
    <dgm:cxn modelId="{1F1E69CB-D313-47E3-A2D9-E6DB963118EE}" type="presParOf" srcId="{617B0CC3-94D1-4D3D-8BE7-1A1ABFC0C2FA}" destId="{761E55BB-2580-4D15-AA7E-F49C6C47A251}" srcOrd="4" destOrd="0" presId="urn:microsoft.com/office/officeart/2005/8/layout/orgChart1"/>
    <dgm:cxn modelId="{72B128F2-E735-48B9-A9BF-3E98E7BFEBF7}" type="presParOf" srcId="{617B0CC3-94D1-4D3D-8BE7-1A1ABFC0C2FA}" destId="{46201905-941C-49A9-B5C9-0376262D5FC7}" srcOrd="5" destOrd="0" presId="urn:microsoft.com/office/officeart/2005/8/layout/orgChart1"/>
    <dgm:cxn modelId="{7BD8B1BF-FBE9-42E2-841F-6119A033AF3F}" type="presParOf" srcId="{46201905-941C-49A9-B5C9-0376262D5FC7}" destId="{7ECE77B0-1D7B-4C7A-93C6-5664191AD0E3}" srcOrd="0" destOrd="0" presId="urn:microsoft.com/office/officeart/2005/8/layout/orgChart1"/>
    <dgm:cxn modelId="{5B4128A1-F250-472E-86F5-3E7CCF0433BB}" type="presParOf" srcId="{7ECE77B0-1D7B-4C7A-93C6-5664191AD0E3}" destId="{3BF16AF6-DC82-4305-BF12-D111A54B92EC}" srcOrd="0" destOrd="0" presId="urn:microsoft.com/office/officeart/2005/8/layout/orgChart1"/>
    <dgm:cxn modelId="{C6B7DC45-CF5F-44C6-8D2D-356F37D50796}" type="presParOf" srcId="{7ECE77B0-1D7B-4C7A-93C6-5664191AD0E3}" destId="{410A5C3C-CD1B-4250-9FC3-EA6340D61A8A}" srcOrd="1" destOrd="0" presId="urn:microsoft.com/office/officeart/2005/8/layout/orgChart1"/>
    <dgm:cxn modelId="{4D3C7BC1-F55A-4D78-A4EC-FAD8D7C9E5BB}" type="presParOf" srcId="{46201905-941C-49A9-B5C9-0376262D5FC7}" destId="{617C7A5C-E77F-479F-94A1-EF6935124388}" srcOrd="1" destOrd="0" presId="urn:microsoft.com/office/officeart/2005/8/layout/orgChart1"/>
    <dgm:cxn modelId="{38A0C586-3B1B-4B91-B381-612AF02AAED1}" type="presParOf" srcId="{46201905-941C-49A9-B5C9-0376262D5FC7}" destId="{4A1E7ACC-7753-4B5B-998D-6CD1D5B95E92}" srcOrd="2" destOrd="0" presId="urn:microsoft.com/office/officeart/2005/8/layout/orgChart1"/>
    <dgm:cxn modelId="{23BF9734-D0C6-4CD1-8F71-26E2786D8F65}" type="presParOf" srcId="{1AFC859E-D607-4D54-8B35-7F723B06FDFC}" destId="{76CC58BF-034B-420C-8BD1-D9D17F887561}" srcOrd="2" destOrd="0" presId="urn:microsoft.com/office/officeart/2005/8/layout/orgChart1"/>
    <dgm:cxn modelId="{D8B3466F-1A84-49F4-9FF2-AE6B586C4176}" type="presParOf" srcId="{45800C90-8F37-46CC-A27A-D7E80CCDEFE0}" destId="{FD0AB1C2-041B-4363-BF7A-823A6B427BAD}" srcOrd="2" destOrd="0" presId="urn:microsoft.com/office/officeart/2005/8/layout/orgChart1"/>
    <dgm:cxn modelId="{9FD8DBCB-36DF-4887-B59B-B3791CC3EF11}" type="presParOf" srcId="{45800C90-8F37-46CC-A27A-D7E80CCDEFE0}" destId="{2BD8E90F-BB33-4455-927E-049785B1A7EB}" srcOrd="3" destOrd="0" presId="urn:microsoft.com/office/officeart/2005/8/layout/orgChart1"/>
    <dgm:cxn modelId="{C927340C-D43D-4FD8-8CAA-803529F2D540}" type="presParOf" srcId="{2BD8E90F-BB33-4455-927E-049785B1A7EB}" destId="{614D9E4B-0873-487E-942C-8C9785ACE875}" srcOrd="0" destOrd="0" presId="urn:microsoft.com/office/officeart/2005/8/layout/orgChart1"/>
    <dgm:cxn modelId="{58AFF3A6-ACDD-41BB-A0FB-3F5382F70FBD}" type="presParOf" srcId="{614D9E4B-0873-487E-942C-8C9785ACE875}" destId="{BD69CD5A-86E5-4227-B83F-73A5C2DE4BB2}" srcOrd="0" destOrd="0" presId="urn:microsoft.com/office/officeart/2005/8/layout/orgChart1"/>
    <dgm:cxn modelId="{2632A344-3541-49C4-B612-E85F06189F4E}" type="presParOf" srcId="{614D9E4B-0873-487E-942C-8C9785ACE875}" destId="{09E90B2C-7EBE-47C5-AC84-C7B05E458E87}" srcOrd="1" destOrd="0" presId="urn:microsoft.com/office/officeart/2005/8/layout/orgChart1"/>
    <dgm:cxn modelId="{8322D094-C877-4195-A70B-25EF8F0626D6}" type="presParOf" srcId="{2BD8E90F-BB33-4455-927E-049785B1A7EB}" destId="{2BFBDA2C-82E0-46A4-9FF8-B03A0A5133B0}" srcOrd="1" destOrd="0" presId="urn:microsoft.com/office/officeart/2005/8/layout/orgChart1"/>
    <dgm:cxn modelId="{A4C0EBB2-566A-4F73-BC23-9886AA20AA54}" type="presParOf" srcId="{2BFBDA2C-82E0-46A4-9FF8-B03A0A5133B0}" destId="{03B2C4D2-358A-4261-99EE-94DBA998850D}" srcOrd="0" destOrd="0" presId="urn:microsoft.com/office/officeart/2005/8/layout/orgChart1"/>
    <dgm:cxn modelId="{392A0F52-1646-40BB-9E7B-EC7B888F76C9}" type="presParOf" srcId="{2BFBDA2C-82E0-46A4-9FF8-B03A0A5133B0}" destId="{175AA776-5DA6-46CE-AFAA-25BDF33D9A04}" srcOrd="1" destOrd="0" presId="urn:microsoft.com/office/officeart/2005/8/layout/orgChart1"/>
    <dgm:cxn modelId="{8E488E31-4A9C-484B-A896-F500C608F76A}" type="presParOf" srcId="{175AA776-5DA6-46CE-AFAA-25BDF33D9A04}" destId="{3D5F3ECF-A2CD-4178-AC4C-73B057B87D20}" srcOrd="0" destOrd="0" presId="urn:microsoft.com/office/officeart/2005/8/layout/orgChart1"/>
    <dgm:cxn modelId="{0FB146CF-D187-4CA1-A920-7A0E47C119CE}" type="presParOf" srcId="{3D5F3ECF-A2CD-4178-AC4C-73B057B87D20}" destId="{F1D01637-8ED2-4175-B84B-745348004BBB}" srcOrd="0" destOrd="0" presId="urn:microsoft.com/office/officeart/2005/8/layout/orgChart1"/>
    <dgm:cxn modelId="{0AF042EE-D942-413D-807A-4C958FC8F0F3}" type="presParOf" srcId="{3D5F3ECF-A2CD-4178-AC4C-73B057B87D20}" destId="{ACBE2999-760D-4528-A9E4-1E9F44E3E2BD}" srcOrd="1" destOrd="0" presId="urn:microsoft.com/office/officeart/2005/8/layout/orgChart1"/>
    <dgm:cxn modelId="{3BDBA451-ED22-4E8C-8EF5-637522E0A6FC}" type="presParOf" srcId="{175AA776-5DA6-46CE-AFAA-25BDF33D9A04}" destId="{9E489666-A602-4906-A230-899D3C8527A8}" srcOrd="1" destOrd="0" presId="urn:microsoft.com/office/officeart/2005/8/layout/orgChart1"/>
    <dgm:cxn modelId="{1760202A-94A6-4E83-9D40-9B73550A9EF0}" type="presParOf" srcId="{175AA776-5DA6-46CE-AFAA-25BDF33D9A04}" destId="{49B37A14-61D7-42C3-8CB6-9B875EAC7553}" srcOrd="2" destOrd="0" presId="urn:microsoft.com/office/officeart/2005/8/layout/orgChart1"/>
    <dgm:cxn modelId="{88097196-42CE-4E18-9AD5-FF14FC9CE7AE}" type="presParOf" srcId="{2BD8E90F-BB33-4455-927E-049785B1A7EB}" destId="{B08FEB62-D555-4350-A2D9-27DC7F5BE6E5}" srcOrd="2" destOrd="0" presId="urn:microsoft.com/office/officeart/2005/8/layout/orgChart1"/>
    <dgm:cxn modelId="{AA05B99A-4681-4A8B-A4D8-24B4A43AFAB0}" type="presParOf" srcId="{7562FE2A-9236-45B9-9ABD-86A02B35D887}" destId="{A9174AAD-0E55-4AF4-97AF-2A662284B9C0}" srcOrd="2" destOrd="0" presId="urn:microsoft.com/office/officeart/2005/8/layout/orgChart1"/>
    <dgm:cxn modelId="{2A935EF8-5C25-41B3-9C52-2B3A0698DE51}" type="presParOf" srcId="{8DDDA074-28DD-4AB6-95ED-4975F01FF48F}" destId="{25089B1C-99C1-4F6E-A44B-73C45FE92084}"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BBF729-BA95-44DF-815B-E9A66C24E454}">
      <dsp:nvSpPr>
        <dsp:cNvPr id="0" name=""/>
        <dsp:cNvSpPr/>
      </dsp:nvSpPr>
      <dsp:spPr>
        <a:xfrm>
          <a:off x="4606571" y="4634106"/>
          <a:ext cx="496173" cy="472726"/>
        </a:xfrm>
        <a:custGeom>
          <a:avLst/>
          <a:gdLst/>
          <a:ahLst/>
          <a:cxnLst/>
          <a:rect l="0" t="0" r="0" b="0"/>
          <a:pathLst>
            <a:path>
              <a:moveTo>
                <a:pt x="0" y="0"/>
              </a:moveTo>
              <a:lnTo>
                <a:pt x="248086" y="0"/>
              </a:lnTo>
              <a:lnTo>
                <a:pt x="248086" y="472726"/>
              </a:lnTo>
              <a:lnTo>
                <a:pt x="496173" y="472726"/>
              </a:lnTo>
            </a:path>
          </a:pathLst>
        </a:custGeom>
        <a:noFill/>
        <a:ln w="25400" cap="flat" cmpd="sng" algn="ctr">
          <a:solidFill>
            <a:schemeClr val="dk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0" i="0" kern="1200">
            <a:latin typeface="Century Gothic" panose="020B0502020202020204" pitchFamily="34" charset="0"/>
          </a:endParaRPr>
        </a:p>
      </dsp:txBody>
      <dsp:txXfrm>
        <a:off x="4837525" y="4853337"/>
        <a:ext cx="34265" cy="34265"/>
      </dsp:txXfrm>
    </dsp:sp>
    <dsp:sp modelId="{7171028D-A4F2-4DDD-BA35-973361B081E6}">
      <dsp:nvSpPr>
        <dsp:cNvPr id="0" name=""/>
        <dsp:cNvSpPr/>
      </dsp:nvSpPr>
      <dsp:spPr>
        <a:xfrm>
          <a:off x="4606571" y="4161380"/>
          <a:ext cx="496173" cy="472726"/>
        </a:xfrm>
        <a:custGeom>
          <a:avLst/>
          <a:gdLst/>
          <a:ahLst/>
          <a:cxnLst/>
          <a:rect l="0" t="0" r="0" b="0"/>
          <a:pathLst>
            <a:path>
              <a:moveTo>
                <a:pt x="0" y="472726"/>
              </a:moveTo>
              <a:lnTo>
                <a:pt x="248086" y="472726"/>
              </a:lnTo>
              <a:lnTo>
                <a:pt x="248086" y="0"/>
              </a:lnTo>
              <a:lnTo>
                <a:pt x="496173" y="0"/>
              </a:lnTo>
            </a:path>
          </a:pathLst>
        </a:custGeom>
        <a:noFill/>
        <a:ln w="25400" cap="flat" cmpd="sng" algn="ctr">
          <a:solidFill>
            <a:schemeClr val="dk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0" i="0" kern="1200">
            <a:latin typeface="Century Gothic" panose="020B0502020202020204" pitchFamily="34" charset="0"/>
          </a:endParaRPr>
        </a:p>
      </dsp:txBody>
      <dsp:txXfrm>
        <a:off x="4837525" y="4380610"/>
        <a:ext cx="34265" cy="34265"/>
      </dsp:txXfrm>
    </dsp:sp>
    <dsp:sp modelId="{DEED7496-39EF-4241-A041-E74A9CCAC5A2}">
      <dsp:nvSpPr>
        <dsp:cNvPr id="0" name=""/>
        <dsp:cNvSpPr/>
      </dsp:nvSpPr>
      <dsp:spPr>
        <a:xfrm>
          <a:off x="1629528" y="3452290"/>
          <a:ext cx="496173" cy="1181816"/>
        </a:xfrm>
        <a:custGeom>
          <a:avLst/>
          <a:gdLst/>
          <a:ahLst/>
          <a:cxnLst/>
          <a:rect l="0" t="0" r="0" b="0"/>
          <a:pathLst>
            <a:path>
              <a:moveTo>
                <a:pt x="0" y="0"/>
              </a:moveTo>
              <a:lnTo>
                <a:pt x="248086" y="0"/>
              </a:lnTo>
              <a:lnTo>
                <a:pt x="248086" y="1181816"/>
              </a:lnTo>
              <a:lnTo>
                <a:pt x="496173" y="1181816"/>
              </a:lnTo>
            </a:path>
          </a:pathLst>
        </a:custGeom>
        <a:noFill/>
        <a:ln w="25400" cap="flat" cmpd="sng" algn="ctr">
          <a:solidFill>
            <a:schemeClr val="dk1">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0" i="0" kern="1200">
            <a:latin typeface="Century Gothic" panose="020B0502020202020204" pitchFamily="34" charset="0"/>
          </a:endParaRPr>
        </a:p>
      </dsp:txBody>
      <dsp:txXfrm>
        <a:off x="1845572" y="4011154"/>
        <a:ext cx="64087" cy="64087"/>
      </dsp:txXfrm>
    </dsp:sp>
    <dsp:sp modelId="{3EA9F431-0BC8-4D92-922A-787F158A1EA2}">
      <dsp:nvSpPr>
        <dsp:cNvPr id="0" name=""/>
        <dsp:cNvSpPr/>
      </dsp:nvSpPr>
      <dsp:spPr>
        <a:xfrm>
          <a:off x="4606571" y="2270473"/>
          <a:ext cx="496173" cy="945453"/>
        </a:xfrm>
        <a:custGeom>
          <a:avLst/>
          <a:gdLst/>
          <a:ahLst/>
          <a:cxnLst/>
          <a:rect l="0" t="0" r="0" b="0"/>
          <a:pathLst>
            <a:path>
              <a:moveTo>
                <a:pt x="0" y="0"/>
              </a:moveTo>
              <a:lnTo>
                <a:pt x="248086" y="0"/>
              </a:lnTo>
              <a:lnTo>
                <a:pt x="248086" y="945453"/>
              </a:lnTo>
              <a:lnTo>
                <a:pt x="496173" y="945453"/>
              </a:lnTo>
            </a:path>
          </a:pathLst>
        </a:custGeom>
        <a:noFill/>
        <a:ln w="25400" cap="flat" cmpd="sng" algn="ctr">
          <a:solidFill>
            <a:schemeClr val="dk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0" i="0" kern="1200">
            <a:latin typeface="Century Gothic" panose="020B0502020202020204" pitchFamily="34" charset="0"/>
          </a:endParaRPr>
        </a:p>
      </dsp:txBody>
      <dsp:txXfrm>
        <a:off x="4827965" y="2716506"/>
        <a:ext cx="53387" cy="53387"/>
      </dsp:txXfrm>
    </dsp:sp>
    <dsp:sp modelId="{2A1F2FD7-ABDB-4C79-A68F-52986F489F1C}">
      <dsp:nvSpPr>
        <dsp:cNvPr id="0" name=""/>
        <dsp:cNvSpPr/>
      </dsp:nvSpPr>
      <dsp:spPr>
        <a:xfrm>
          <a:off x="4606571" y="2224753"/>
          <a:ext cx="496173" cy="91440"/>
        </a:xfrm>
        <a:custGeom>
          <a:avLst/>
          <a:gdLst/>
          <a:ahLst/>
          <a:cxnLst/>
          <a:rect l="0" t="0" r="0" b="0"/>
          <a:pathLst>
            <a:path>
              <a:moveTo>
                <a:pt x="0" y="45720"/>
              </a:moveTo>
              <a:lnTo>
                <a:pt x="496173" y="45720"/>
              </a:lnTo>
            </a:path>
          </a:pathLst>
        </a:custGeom>
        <a:noFill/>
        <a:ln w="25400" cap="flat" cmpd="sng" algn="ctr">
          <a:solidFill>
            <a:schemeClr val="dk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0" i="0" kern="1200">
            <a:latin typeface="Century Gothic" panose="020B0502020202020204" pitchFamily="34" charset="0"/>
          </a:endParaRPr>
        </a:p>
      </dsp:txBody>
      <dsp:txXfrm>
        <a:off x="4842254" y="2258069"/>
        <a:ext cx="24808" cy="24808"/>
      </dsp:txXfrm>
    </dsp:sp>
    <dsp:sp modelId="{F3CDFDBA-318C-49CB-9A5E-4756C88BBBE0}">
      <dsp:nvSpPr>
        <dsp:cNvPr id="0" name=""/>
        <dsp:cNvSpPr/>
      </dsp:nvSpPr>
      <dsp:spPr>
        <a:xfrm>
          <a:off x="7583614" y="1325020"/>
          <a:ext cx="496173" cy="945453"/>
        </a:xfrm>
        <a:custGeom>
          <a:avLst/>
          <a:gdLst/>
          <a:ahLst/>
          <a:cxnLst/>
          <a:rect l="0" t="0" r="0" b="0"/>
          <a:pathLst>
            <a:path>
              <a:moveTo>
                <a:pt x="0" y="0"/>
              </a:moveTo>
              <a:lnTo>
                <a:pt x="248086" y="0"/>
              </a:lnTo>
              <a:lnTo>
                <a:pt x="248086" y="945453"/>
              </a:lnTo>
              <a:lnTo>
                <a:pt x="496173" y="945453"/>
              </a:lnTo>
            </a:path>
          </a:pathLst>
        </a:custGeom>
        <a:noFill/>
        <a:ln w="25400" cap="flat" cmpd="sng" algn="ctr">
          <a:solidFill>
            <a:schemeClr val="dk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0" i="0" kern="1200">
            <a:solidFill>
              <a:srgbClr val="002060"/>
            </a:solidFill>
            <a:latin typeface="Century Gothic" panose="020B0502020202020204" pitchFamily="34" charset="0"/>
            <a:cs typeface="Calibri" pitchFamily="34" charset="0"/>
          </a:endParaRPr>
        </a:p>
      </dsp:txBody>
      <dsp:txXfrm>
        <a:off x="7805008" y="1771053"/>
        <a:ext cx="53387" cy="53387"/>
      </dsp:txXfrm>
    </dsp:sp>
    <dsp:sp modelId="{30614BD2-8777-4D25-9563-23FAD973089F}">
      <dsp:nvSpPr>
        <dsp:cNvPr id="0" name=""/>
        <dsp:cNvSpPr/>
      </dsp:nvSpPr>
      <dsp:spPr>
        <a:xfrm>
          <a:off x="7583614" y="1279300"/>
          <a:ext cx="496173" cy="91440"/>
        </a:xfrm>
        <a:custGeom>
          <a:avLst/>
          <a:gdLst/>
          <a:ahLst/>
          <a:cxnLst/>
          <a:rect l="0" t="0" r="0" b="0"/>
          <a:pathLst>
            <a:path>
              <a:moveTo>
                <a:pt x="0" y="45720"/>
              </a:moveTo>
              <a:lnTo>
                <a:pt x="496173" y="45720"/>
              </a:lnTo>
            </a:path>
          </a:pathLst>
        </a:custGeom>
        <a:noFill/>
        <a:ln w="25400" cap="flat" cmpd="sng" algn="ctr">
          <a:solidFill>
            <a:schemeClr val="dk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0" i="0" kern="1200">
            <a:solidFill>
              <a:srgbClr val="002060"/>
            </a:solidFill>
            <a:latin typeface="Century Gothic" panose="020B0502020202020204" pitchFamily="34" charset="0"/>
            <a:cs typeface="Calibri" pitchFamily="34" charset="0"/>
          </a:endParaRPr>
        </a:p>
      </dsp:txBody>
      <dsp:txXfrm>
        <a:off x="7819297" y="1312616"/>
        <a:ext cx="24808" cy="24808"/>
      </dsp:txXfrm>
    </dsp:sp>
    <dsp:sp modelId="{092C0294-93F2-4EFF-89E2-F3E6F95ECBD6}">
      <dsp:nvSpPr>
        <dsp:cNvPr id="0" name=""/>
        <dsp:cNvSpPr/>
      </dsp:nvSpPr>
      <dsp:spPr>
        <a:xfrm>
          <a:off x="7583614" y="379567"/>
          <a:ext cx="496173" cy="945453"/>
        </a:xfrm>
        <a:custGeom>
          <a:avLst/>
          <a:gdLst/>
          <a:ahLst/>
          <a:cxnLst/>
          <a:rect l="0" t="0" r="0" b="0"/>
          <a:pathLst>
            <a:path>
              <a:moveTo>
                <a:pt x="0" y="945453"/>
              </a:moveTo>
              <a:lnTo>
                <a:pt x="248086" y="945453"/>
              </a:lnTo>
              <a:lnTo>
                <a:pt x="248086" y="0"/>
              </a:lnTo>
              <a:lnTo>
                <a:pt x="496173" y="0"/>
              </a:lnTo>
            </a:path>
          </a:pathLst>
        </a:custGeom>
        <a:noFill/>
        <a:ln w="25400" cap="flat" cmpd="sng" algn="ctr">
          <a:solidFill>
            <a:schemeClr val="dk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0" i="0" kern="1200">
            <a:solidFill>
              <a:srgbClr val="002060"/>
            </a:solidFill>
            <a:latin typeface="Century Gothic" panose="020B0502020202020204" pitchFamily="34" charset="0"/>
            <a:cs typeface="Calibri" pitchFamily="34" charset="0"/>
          </a:endParaRPr>
        </a:p>
      </dsp:txBody>
      <dsp:txXfrm>
        <a:off x="7805008" y="825600"/>
        <a:ext cx="53387" cy="53387"/>
      </dsp:txXfrm>
    </dsp:sp>
    <dsp:sp modelId="{2FF4D689-323F-4B28-A4D8-5108E2507D7D}">
      <dsp:nvSpPr>
        <dsp:cNvPr id="0" name=""/>
        <dsp:cNvSpPr/>
      </dsp:nvSpPr>
      <dsp:spPr>
        <a:xfrm>
          <a:off x="4606571" y="1325020"/>
          <a:ext cx="496173" cy="945453"/>
        </a:xfrm>
        <a:custGeom>
          <a:avLst/>
          <a:gdLst/>
          <a:ahLst/>
          <a:cxnLst/>
          <a:rect l="0" t="0" r="0" b="0"/>
          <a:pathLst>
            <a:path>
              <a:moveTo>
                <a:pt x="0" y="945453"/>
              </a:moveTo>
              <a:lnTo>
                <a:pt x="248086" y="945453"/>
              </a:lnTo>
              <a:lnTo>
                <a:pt x="248086" y="0"/>
              </a:lnTo>
              <a:lnTo>
                <a:pt x="496173" y="0"/>
              </a:lnTo>
            </a:path>
          </a:pathLst>
        </a:custGeom>
        <a:noFill/>
        <a:ln w="25400" cap="flat" cmpd="sng" algn="ctr">
          <a:solidFill>
            <a:schemeClr val="dk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0" i="0" kern="1200">
            <a:solidFill>
              <a:srgbClr val="002060"/>
            </a:solidFill>
            <a:latin typeface="Century Gothic" panose="020B0502020202020204" pitchFamily="34" charset="0"/>
            <a:cs typeface="Calibri" pitchFamily="34" charset="0"/>
          </a:endParaRPr>
        </a:p>
      </dsp:txBody>
      <dsp:txXfrm>
        <a:off x="4827965" y="1771053"/>
        <a:ext cx="53387" cy="53387"/>
      </dsp:txXfrm>
    </dsp:sp>
    <dsp:sp modelId="{717BDEA5-A096-4F33-A6BD-00B0958AC94F}">
      <dsp:nvSpPr>
        <dsp:cNvPr id="0" name=""/>
        <dsp:cNvSpPr/>
      </dsp:nvSpPr>
      <dsp:spPr>
        <a:xfrm>
          <a:off x="1629528" y="2270473"/>
          <a:ext cx="496173" cy="1181816"/>
        </a:xfrm>
        <a:custGeom>
          <a:avLst/>
          <a:gdLst/>
          <a:ahLst/>
          <a:cxnLst/>
          <a:rect l="0" t="0" r="0" b="0"/>
          <a:pathLst>
            <a:path>
              <a:moveTo>
                <a:pt x="0" y="1181816"/>
              </a:moveTo>
              <a:lnTo>
                <a:pt x="248086" y="1181816"/>
              </a:lnTo>
              <a:lnTo>
                <a:pt x="248086" y="0"/>
              </a:lnTo>
              <a:lnTo>
                <a:pt x="496173" y="0"/>
              </a:lnTo>
            </a:path>
          </a:pathLst>
        </a:custGeom>
        <a:noFill/>
        <a:ln w="25400" cap="flat" cmpd="sng" algn="ctr">
          <a:solidFill>
            <a:schemeClr val="dk1">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0" i="0" kern="1200">
            <a:latin typeface="Century Gothic" panose="020B0502020202020204" pitchFamily="34" charset="0"/>
          </a:endParaRPr>
        </a:p>
      </dsp:txBody>
      <dsp:txXfrm>
        <a:off x="1845572" y="2829338"/>
        <a:ext cx="64087" cy="64087"/>
      </dsp:txXfrm>
    </dsp:sp>
    <dsp:sp modelId="{D53E9439-0D7B-40D8-B901-A4BBA0979F66}">
      <dsp:nvSpPr>
        <dsp:cNvPr id="0" name=""/>
        <dsp:cNvSpPr/>
      </dsp:nvSpPr>
      <dsp:spPr>
        <a:xfrm rot="16200000">
          <a:off x="-739080" y="3074109"/>
          <a:ext cx="3980855" cy="756362"/>
        </a:xfrm>
        <a:prstGeom prst="rect">
          <a:avLst/>
        </a:prstGeom>
        <a:solidFill>
          <a:schemeClr val="bg2">
            <a:lumMod val="40000"/>
            <a:lumOff val="60000"/>
            <a:alpha val="9000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0" i="0" kern="1200" dirty="0">
              <a:solidFill>
                <a:schemeClr val="tx1"/>
              </a:solidFill>
              <a:latin typeface="Century Gothic" panose="020B0502020202020204" pitchFamily="34" charset="0"/>
              <a:cs typeface="Calibri" pitchFamily="34" charset="0"/>
            </a:rPr>
            <a:t>Verticals</a:t>
          </a:r>
        </a:p>
      </dsp:txBody>
      <dsp:txXfrm>
        <a:off x="-739080" y="3074109"/>
        <a:ext cx="3980855" cy="756362"/>
      </dsp:txXfrm>
    </dsp:sp>
    <dsp:sp modelId="{D251CDC6-473E-4C0C-8358-C62AFDD8A33A}">
      <dsp:nvSpPr>
        <dsp:cNvPr id="0" name=""/>
        <dsp:cNvSpPr/>
      </dsp:nvSpPr>
      <dsp:spPr>
        <a:xfrm>
          <a:off x="2125702" y="1892292"/>
          <a:ext cx="2480869" cy="756362"/>
        </a:xfrm>
        <a:prstGeom prst="rect">
          <a:avLst/>
        </a:prstGeom>
        <a:solidFill>
          <a:schemeClr val="bg2">
            <a:lumMod val="40000"/>
            <a:lumOff val="60000"/>
            <a:alpha val="9000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0" i="0" kern="1200" dirty="0">
              <a:solidFill>
                <a:schemeClr val="tx1"/>
              </a:solidFill>
              <a:latin typeface="Century Gothic" panose="020B0502020202020204" pitchFamily="34" charset="0"/>
              <a:cs typeface="Calibri" pitchFamily="34" charset="0"/>
            </a:rPr>
            <a:t>Trucks</a:t>
          </a:r>
        </a:p>
      </dsp:txBody>
      <dsp:txXfrm>
        <a:off x="2125702" y="1892292"/>
        <a:ext cx="2480869" cy="756362"/>
      </dsp:txXfrm>
    </dsp:sp>
    <dsp:sp modelId="{5341277A-242B-4F93-82CB-B13CC0E6ACDF}">
      <dsp:nvSpPr>
        <dsp:cNvPr id="0" name=""/>
        <dsp:cNvSpPr/>
      </dsp:nvSpPr>
      <dsp:spPr>
        <a:xfrm>
          <a:off x="5102745" y="946839"/>
          <a:ext cx="2480869" cy="756362"/>
        </a:xfrm>
        <a:prstGeom prst="rect">
          <a:avLst/>
        </a:prstGeom>
        <a:solidFill>
          <a:schemeClr val="l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i="0" kern="1200" dirty="0">
              <a:latin typeface="Century Gothic" panose="020B0502020202020204" pitchFamily="34" charset="0"/>
              <a:cs typeface="Calibri" pitchFamily="34" charset="0"/>
            </a:rPr>
            <a:t>MDV</a:t>
          </a:r>
        </a:p>
      </dsp:txBody>
      <dsp:txXfrm>
        <a:off x="5102745" y="946839"/>
        <a:ext cx="2480869" cy="756362"/>
      </dsp:txXfrm>
    </dsp:sp>
    <dsp:sp modelId="{1DCF50C8-6E8B-49E1-B1C0-3DD6AAEE0664}">
      <dsp:nvSpPr>
        <dsp:cNvPr id="0" name=""/>
        <dsp:cNvSpPr/>
      </dsp:nvSpPr>
      <dsp:spPr>
        <a:xfrm>
          <a:off x="8079788" y="1386"/>
          <a:ext cx="2480869" cy="756362"/>
        </a:xfrm>
        <a:prstGeom prst="rect">
          <a:avLst/>
        </a:prstGeom>
        <a:solidFill>
          <a:schemeClr val="l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i="0" kern="1200" dirty="0">
              <a:latin typeface="Century Gothic" panose="020B0502020202020204" pitchFamily="34" charset="0"/>
              <a:cs typeface="Calibri" pitchFamily="34" charset="0"/>
            </a:rPr>
            <a:t>MAV</a:t>
          </a:r>
        </a:p>
      </dsp:txBody>
      <dsp:txXfrm>
        <a:off x="8079788" y="1386"/>
        <a:ext cx="2480869" cy="756362"/>
      </dsp:txXfrm>
    </dsp:sp>
    <dsp:sp modelId="{F241F863-D788-4B29-91DB-425303EA9FED}">
      <dsp:nvSpPr>
        <dsp:cNvPr id="0" name=""/>
        <dsp:cNvSpPr/>
      </dsp:nvSpPr>
      <dsp:spPr>
        <a:xfrm>
          <a:off x="8079788" y="946839"/>
          <a:ext cx="2480869" cy="756362"/>
        </a:xfrm>
        <a:prstGeom prst="rect">
          <a:avLst/>
        </a:prstGeom>
        <a:solidFill>
          <a:schemeClr val="l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i="0" kern="1200" dirty="0">
              <a:latin typeface="Century Gothic" panose="020B0502020202020204" pitchFamily="34" charset="0"/>
              <a:cs typeface="Calibri" pitchFamily="34" charset="0"/>
            </a:rPr>
            <a:t>MDV Haulage</a:t>
          </a:r>
        </a:p>
      </dsp:txBody>
      <dsp:txXfrm>
        <a:off x="8079788" y="946839"/>
        <a:ext cx="2480869" cy="756362"/>
      </dsp:txXfrm>
    </dsp:sp>
    <dsp:sp modelId="{DFC5266C-4520-422F-9199-6A18EF588B20}">
      <dsp:nvSpPr>
        <dsp:cNvPr id="0" name=""/>
        <dsp:cNvSpPr/>
      </dsp:nvSpPr>
      <dsp:spPr>
        <a:xfrm>
          <a:off x="8079788" y="1892292"/>
          <a:ext cx="2480869" cy="756362"/>
        </a:xfrm>
        <a:prstGeom prst="rect">
          <a:avLst/>
        </a:prstGeom>
        <a:solidFill>
          <a:schemeClr val="l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i="0" kern="1200" dirty="0">
              <a:latin typeface="Century Gothic" panose="020B0502020202020204" pitchFamily="34" charset="0"/>
              <a:cs typeface="Calibri" pitchFamily="34" charset="0"/>
            </a:rPr>
            <a:t>Tractor</a:t>
          </a:r>
        </a:p>
      </dsp:txBody>
      <dsp:txXfrm>
        <a:off x="8079788" y="1892292"/>
        <a:ext cx="2480869" cy="756362"/>
      </dsp:txXfrm>
    </dsp:sp>
    <dsp:sp modelId="{038D1ADC-1484-436E-A870-F24713E6348D}">
      <dsp:nvSpPr>
        <dsp:cNvPr id="0" name=""/>
        <dsp:cNvSpPr/>
      </dsp:nvSpPr>
      <dsp:spPr>
        <a:xfrm>
          <a:off x="5102745" y="1892292"/>
          <a:ext cx="2480869" cy="756362"/>
        </a:xfrm>
        <a:prstGeom prst="rect">
          <a:avLst/>
        </a:prstGeom>
        <a:solidFill>
          <a:schemeClr val="l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i="0" kern="1200">
              <a:latin typeface="Century Gothic" panose="020B0502020202020204" pitchFamily="34" charset="0"/>
              <a:cs typeface="Calibri" pitchFamily="34" charset="0"/>
            </a:rPr>
            <a:t>ICV</a:t>
          </a:r>
          <a:endParaRPr lang="en-US" sz="1600" b="0" i="0" kern="1200" dirty="0">
            <a:latin typeface="Century Gothic" panose="020B0502020202020204" pitchFamily="34" charset="0"/>
            <a:cs typeface="Calibri" pitchFamily="34" charset="0"/>
          </a:endParaRPr>
        </a:p>
      </dsp:txBody>
      <dsp:txXfrm>
        <a:off x="5102745" y="1892292"/>
        <a:ext cx="2480869" cy="756362"/>
      </dsp:txXfrm>
    </dsp:sp>
    <dsp:sp modelId="{4FC1AC1E-DBA7-44A6-9E6D-33DDE0091D6D}">
      <dsp:nvSpPr>
        <dsp:cNvPr id="0" name=""/>
        <dsp:cNvSpPr/>
      </dsp:nvSpPr>
      <dsp:spPr>
        <a:xfrm>
          <a:off x="5102745" y="2837745"/>
          <a:ext cx="2480869" cy="756362"/>
        </a:xfrm>
        <a:prstGeom prst="rect">
          <a:avLst/>
        </a:prstGeom>
        <a:solidFill>
          <a:schemeClr val="l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i="0" kern="1200">
              <a:latin typeface="Century Gothic" panose="020B0502020202020204" pitchFamily="34" charset="0"/>
              <a:cs typeface="Calibri" pitchFamily="34" charset="0"/>
            </a:rPr>
            <a:t>Tipper</a:t>
          </a:r>
          <a:endParaRPr lang="en-US" sz="1600" b="0" i="0" kern="1200" dirty="0">
            <a:latin typeface="Century Gothic" panose="020B0502020202020204" pitchFamily="34" charset="0"/>
            <a:cs typeface="Calibri" pitchFamily="34" charset="0"/>
          </a:endParaRPr>
        </a:p>
      </dsp:txBody>
      <dsp:txXfrm>
        <a:off x="5102745" y="2837745"/>
        <a:ext cx="2480869" cy="756362"/>
      </dsp:txXfrm>
    </dsp:sp>
    <dsp:sp modelId="{7B5BCB98-25D7-45FB-BAE0-E9E595DDBCD1}">
      <dsp:nvSpPr>
        <dsp:cNvPr id="0" name=""/>
        <dsp:cNvSpPr/>
      </dsp:nvSpPr>
      <dsp:spPr>
        <a:xfrm>
          <a:off x="2125702" y="4255925"/>
          <a:ext cx="2480869" cy="756362"/>
        </a:xfrm>
        <a:prstGeom prst="rect">
          <a:avLst/>
        </a:prstGeom>
        <a:solidFill>
          <a:schemeClr val="bg2">
            <a:lumMod val="40000"/>
            <a:lumOff val="60000"/>
            <a:alpha val="9000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0" i="0" kern="1200" dirty="0">
              <a:solidFill>
                <a:schemeClr val="tx1"/>
              </a:solidFill>
              <a:latin typeface="Century Gothic" panose="020B0502020202020204" pitchFamily="34" charset="0"/>
              <a:cs typeface="Calibri" pitchFamily="34" charset="0"/>
            </a:rPr>
            <a:t>Bus</a:t>
          </a:r>
        </a:p>
      </dsp:txBody>
      <dsp:txXfrm>
        <a:off x="2125702" y="4255925"/>
        <a:ext cx="2480869" cy="756362"/>
      </dsp:txXfrm>
    </dsp:sp>
    <dsp:sp modelId="{97DDF086-9F53-49F6-968A-0C0F93498973}">
      <dsp:nvSpPr>
        <dsp:cNvPr id="0" name=""/>
        <dsp:cNvSpPr/>
      </dsp:nvSpPr>
      <dsp:spPr>
        <a:xfrm>
          <a:off x="5102745" y="3783198"/>
          <a:ext cx="2480869" cy="756362"/>
        </a:xfrm>
        <a:prstGeom prst="rect">
          <a:avLst/>
        </a:prstGeom>
        <a:solidFill>
          <a:schemeClr val="l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i="0" kern="1200">
              <a:latin typeface="Century Gothic" panose="020B0502020202020204" pitchFamily="34" charset="0"/>
              <a:cs typeface="Calibri" pitchFamily="34" charset="0"/>
            </a:rPr>
            <a:t>MDV</a:t>
          </a:r>
          <a:endParaRPr lang="en-US" sz="1600" b="0" i="0" kern="1200" dirty="0">
            <a:latin typeface="Century Gothic" panose="020B0502020202020204" pitchFamily="34" charset="0"/>
            <a:cs typeface="Calibri" pitchFamily="34" charset="0"/>
          </a:endParaRPr>
        </a:p>
      </dsp:txBody>
      <dsp:txXfrm>
        <a:off x="5102745" y="3783198"/>
        <a:ext cx="2480869" cy="756362"/>
      </dsp:txXfrm>
    </dsp:sp>
    <dsp:sp modelId="{7D0ADB5D-F4EF-4406-B274-87C8BC093185}">
      <dsp:nvSpPr>
        <dsp:cNvPr id="0" name=""/>
        <dsp:cNvSpPr/>
      </dsp:nvSpPr>
      <dsp:spPr>
        <a:xfrm>
          <a:off x="5102745" y="4728652"/>
          <a:ext cx="2480869" cy="756362"/>
        </a:xfrm>
        <a:prstGeom prst="rect">
          <a:avLst/>
        </a:prstGeom>
        <a:solidFill>
          <a:schemeClr val="l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i="0" kern="1200">
              <a:latin typeface="Century Gothic" panose="020B0502020202020204" pitchFamily="34" charset="0"/>
              <a:cs typeface="Calibri" pitchFamily="34" charset="0"/>
            </a:rPr>
            <a:t>ICV</a:t>
          </a:r>
          <a:endParaRPr lang="en-US" sz="1600" b="0" i="0" kern="1200" dirty="0">
            <a:latin typeface="Century Gothic" panose="020B0502020202020204" pitchFamily="34" charset="0"/>
            <a:cs typeface="Calibri" pitchFamily="34" charset="0"/>
          </a:endParaRPr>
        </a:p>
      </dsp:txBody>
      <dsp:txXfrm>
        <a:off x="5102745" y="4728652"/>
        <a:ext cx="2480869" cy="75636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8D6FF6-17AB-47D5-90CE-CC516374D57A}">
      <dsp:nvSpPr>
        <dsp:cNvPr id="0" name=""/>
        <dsp:cNvSpPr/>
      </dsp:nvSpPr>
      <dsp:spPr>
        <a:xfrm>
          <a:off x="7771960" y="1463969"/>
          <a:ext cx="322359" cy="1463290"/>
        </a:xfrm>
        <a:custGeom>
          <a:avLst/>
          <a:gdLst/>
          <a:ahLst/>
          <a:cxnLst/>
          <a:rect l="0" t="0" r="0" b="0"/>
          <a:pathLst>
            <a:path>
              <a:moveTo>
                <a:pt x="0" y="0"/>
              </a:moveTo>
              <a:lnTo>
                <a:pt x="0" y="1463290"/>
              </a:lnTo>
              <a:lnTo>
                <a:pt x="322359" y="146329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34E6BF3-90FE-4CD6-94CE-90B49F07F09E}">
      <dsp:nvSpPr>
        <dsp:cNvPr id="0" name=""/>
        <dsp:cNvSpPr/>
      </dsp:nvSpPr>
      <dsp:spPr>
        <a:xfrm>
          <a:off x="7771960" y="1463969"/>
          <a:ext cx="274963" cy="630256"/>
        </a:xfrm>
        <a:custGeom>
          <a:avLst/>
          <a:gdLst/>
          <a:ahLst/>
          <a:cxnLst/>
          <a:rect l="0" t="0" r="0" b="0"/>
          <a:pathLst>
            <a:path>
              <a:moveTo>
                <a:pt x="0" y="0"/>
              </a:moveTo>
              <a:lnTo>
                <a:pt x="0" y="630256"/>
              </a:lnTo>
              <a:lnTo>
                <a:pt x="274963" y="63025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C123E51-27DD-4A95-AD91-08F9987D73B0}">
      <dsp:nvSpPr>
        <dsp:cNvPr id="0" name=""/>
        <dsp:cNvSpPr/>
      </dsp:nvSpPr>
      <dsp:spPr>
        <a:xfrm>
          <a:off x="4929447" y="498482"/>
          <a:ext cx="3417763" cy="418900"/>
        </a:xfrm>
        <a:custGeom>
          <a:avLst/>
          <a:gdLst/>
          <a:ahLst/>
          <a:cxnLst/>
          <a:rect l="0" t="0" r="0" b="0"/>
          <a:pathLst>
            <a:path>
              <a:moveTo>
                <a:pt x="0" y="0"/>
              </a:moveTo>
              <a:lnTo>
                <a:pt x="0" y="209450"/>
              </a:lnTo>
              <a:lnTo>
                <a:pt x="3417763" y="209450"/>
              </a:lnTo>
              <a:lnTo>
                <a:pt x="3417763" y="41890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CA43917-9BC8-435D-A6AB-C1C254B57BAA}">
      <dsp:nvSpPr>
        <dsp:cNvPr id="0" name=""/>
        <dsp:cNvSpPr/>
      </dsp:nvSpPr>
      <dsp:spPr>
        <a:xfrm>
          <a:off x="5401665" y="1435892"/>
          <a:ext cx="1013290" cy="592983"/>
        </a:xfrm>
        <a:custGeom>
          <a:avLst/>
          <a:gdLst/>
          <a:ahLst/>
          <a:cxnLst/>
          <a:rect l="0" t="0" r="0" b="0"/>
          <a:pathLst>
            <a:path>
              <a:moveTo>
                <a:pt x="0" y="0"/>
              </a:moveTo>
              <a:lnTo>
                <a:pt x="0" y="383533"/>
              </a:lnTo>
              <a:lnTo>
                <a:pt x="1013290" y="383533"/>
              </a:lnTo>
              <a:lnTo>
                <a:pt x="1013290" y="59298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11FDA2B-1FC5-4387-8850-4157B38FC23D}">
      <dsp:nvSpPr>
        <dsp:cNvPr id="0" name=""/>
        <dsp:cNvSpPr/>
      </dsp:nvSpPr>
      <dsp:spPr>
        <a:xfrm>
          <a:off x="5544277" y="3407120"/>
          <a:ext cx="304559" cy="1210737"/>
        </a:xfrm>
        <a:custGeom>
          <a:avLst/>
          <a:gdLst/>
          <a:ahLst/>
          <a:cxnLst/>
          <a:rect l="0" t="0" r="0" b="0"/>
          <a:pathLst>
            <a:path>
              <a:moveTo>
                <a:pt x="0" y="0"/>
              </a:moveTo>
              <a:lnTo>
                <a:pt x="0" y="1210737"/>
              </a:lnTo>
              <a:lnTo>
                <a:pt x="304559" y="121073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DBC5E7C-47DD-4909-BE31-0DE021274394}">
      <dsp:nvSpPr>
        <dsp:cNvPr id="0" name=""/>
        <dsp:cNvSpPr/>
      </dsp:nvSpPr>
      <dsp:spPr>
        <a:xfrm>
          <a:off x="5544277" y="3407120"/>
          <a:ext cx="315132" cy="476335"/>
        </a:xfrm>
        <a:custGeom>
          <a:avLst/>
          <a:gdLst/>
          <a:ahLst/>
          <a:cxnLst/>
          <a:rect l="0" t="0" r="0" b="0"/>
          <a:pathLst>
            <a:path>
              <a:moveTo>
                <a:pt x="0" y="0"/>
              </a:moveTo>
              <a:lnTo>
                <a:pt x="0" y="476335"/>
              </a:lnTo>
              <a:lnTo>
                <a:pt x="315132" y="47633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E22B0B-8C59-4918-9451-B2ACB5ABBC53}">
      <dsp:nvSpPr>
        <dsp:cNvPr id="0" name=""/>
        <dsp:cNvSpPr/>
      </dsp:nvSpPr>
      <dsp:spPr>
        <a:xfrm>
          <a:off x="4056974" y="2436038"/>
          <a:ext cx="1897849" cy="580426"/>
        </a:xfrm>
        <a:custGeom>
          <a:avLst/>
          <a:gdLst/>
          <a:ahLst/>
          <a:cxnLst/>
          <a:rect l="0" t="0" r="0" b="0"/>
          <a:pathLst>
            <a:path>
              <a:moveTo>
                <a:pt x="0" y="0"/>
              </a:moveTo>
              <a:lnTo>
                <a:pt x="0" y="370976"/>
              </a:lnTo>
              <a:lnTo>
                <a:pt x="1897849" y="370976"/>
              </a:lnTo>
              <a:lnTo>
                <a:pt x="1897849" y="58042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6A43CD3-A55C-41A1-B657-E89D246DF3E0}">
      <dsp:nvSpPr>
        <dsp:cNvPr id="0" name=""/>
        <dsp:cNvSpPr/>
      </dsp:nvSpPr>
      <dsp:spPr>
        <a:xfrm>
          <a:off x="4050994" y="3449179"/>
          <a:ext cx="100731" cy="527455"/>
        </a:xfrm>
        <a:custGeom>
          <a:avLst/>
          <a:gdLst/>
          <a:ahLst/>
          <a:cxnLst/>
          <a:rect l="0" t="0" r="0" b="0"/>
          <a:pathLst>
            <a:path>
              <a:moveTo>
                <a:pt x="0" y="0"/>
              </a:moveTo>
              <a:lnTo>
                <a:pt x="0" y="527455"/>
              </a:lnTo>
              <a:lnTo>
                <a:pt x="100731" y="52745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E3E614E-CC65-4FF5-8736-25B03099ADC8}">
      <dsp:nvSpPr>
        <dsp:cNvPr id="0" name=""/>
        <dsp:cNvSpPr/>
      </dsp:nvSpPr>
      <dsp:spPr>
        <a:xfrm>
          <a:off x="4056974" y="2436038"/>
          <a:ext cx="373759" cy="581314"/>
        </a:xfrm>
        <a:custGeom>
          <a:avLst/>
          <a:gdLst/>
          <a:ahLst/>
          <a:cxnLst/>
          <a:rect l="0" t="0" r="0" b="0"/>
          <a:pathLst>
            <a:path>
              <a:moveTo>
                <a:pt x="0" y="0"/>
              </a:moveTo>
              <a:lnTo>
                <a:pt x="0" y="371864"/>
              </a:lnTo>
              <a:lnTo>
                <a:pt x="373759" y="371864"/>
              </a:lnTo>
              <a:lnTo>
                <a:pt x="373759" y="58131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96BFC72-C114-40A9-A674-0EC8EDC2E57E}">
      <dsp:nvSpPr>
        <dsp:cNvPr id="0" name=""/>
        <dsp:cNvSpPr/>
      </dsp:nvSpPr>
      <dsp:spPr>
        <a:xfrm>
          <a:off x="2643836" y="3428693"/>
          <a:ext cx="191727" cy="1339027"/>
        </a:xfrm>
        <a:custGeom>
          <a:avLst/>
          <a:gdLst/>
          <a:ahLst/>
          <a:cxnLst/>
          <a:rect l="0" t="0" r="0" b="0"/>
          <a:pathLst>
            <a:path>
              <a:moveTo>
                <a:pt x="0" y="0"/>
              </a:moveTo>
              <a:lnTo>
                <a:pt x="0" y="1339027"/>
              </a:lnTo>
              <a:lnTo>
                <a:pt x="191727" y="133902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4947F25-0F2D-4D9D-9069-AA8D954A2B9A}">
      <dsp:nvSpPr>
        <dsp:cNvPr id="0" name=""/>
        <dsp:cNvSpPr/>
      </dsp:nvSpPr>
      <dsp:spPr>
        <a:xfrm>
          <a:off x="2643836" y="3428693"/>
          <a:ext cx="178981" cy="575335"/>
        </a:xfrm>
        <a:custGeom>
          <a:avLst/>
          <a:gdLst/>
          <a:ahLst/>
          <a:cxnLst/>
          <a:rect l="0" t="0" r="0" b="0"/>
          <a:pathLst>
            <a:path>
              <a:moveTo>
                <a:pt x="0" y="0"/>
              </a:moveTo>
              <a:lnTo>
                <a:pt x="0" y="575335"/>
              </a:lnTo>
              <a:lnTo>
                <a:pt x="178981" y="57533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2A67BFE-47C8-4FC1-BE21-F18798718F2D}">
      <dsp:nvSpPr>
        <dsp:cNvPr id="0" name=""/>
        <dsp:cNvSpPr/>
      </dsp:nvSpPr>
      <dsp:spPr>
        <a:xfrm>
          <a:off x="3015637" y="2436038"/>
          <a:ext cx="1041337" cy="581314"/>
        </a:xfrm>
        <a:custGeom>
          <a:avLst/>
          <a:gdLst/>
          <a:ahLst/>
          <a:cxnLst/>
          <a:rect l="0" t="0" r="0" b="0"/>
          <a:pathLst>
            <a:path>
              <a:moveTo>
                <a:pt x="1041337" y="0"/>
              </a:moveTo>
              <a:lnTo>
                <a:pt x="1041337" y="371864"/>
              </a:lnTo>
              <a:lnTo>
                <a:pt x="0" y="371864"/>
              </a:lnTo>
              <a:lnTo>
                <a:pt x="0" y="58131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D6A1F3C-E249-4AF5-82A8-8824BCE21D28}">
      <dsp:nvSpPr>
        <dsp:cNvPr id="0" name=""/>
        <dsp:cNvSpPr/>
      </dsp:nvSpPr>
      <dsp:spPr>
        <a:xfrm>
          <a:off x="4056974" y="1435892"/>
          <a:ext cx="1344691" cy="593372"/>
        </a:xfrm>
        <a:custGeom>
          <a:avLst/>
          <a:gdLst/>
          <a:ahLst/>
          <a:cxnLst/>
          <a:rect l="0" t="0" r="0" b="0"/>
          <a:pathLst>
            <a:path>
              <a:moveTo>
                <a:pt x="1344691" y="0"/>
              </a:moveTo>
              <a:lnTo>
                <a:pt x="1344691" y="383922"/>
              </a:lnTo>
              <a:lnTo>
                <a:pt x="0" y="383922"/>
              </a:lnTo>
              <a:lnTo>
                <a:pt x="0" y="59337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C66EF18-2EC3-474A-BDE2-8EE1449AF839}">
      <dsp:nvSpPr>
        <dsp:cNvPr id="0" name=""/>
        <dsp:cNvSpPr/>
      </dsp:nvSpPr>
      <dsp:spPr>
        <a:xfrm>
          <a:off x="1574219" y="1435892"/>
          <a:ext cx="3827446" cy="587219"/>
        </a:xfrm>
        <a:custGeom>
          <a:avLst/>
          <a:gdLst/>
          <a:ahLst/>
          <a:cxnLst/>
          <a:rect l="0" t="0" r="0" b="0"/>
          <a:pathLst>
            <a:path>
              <a:moveTo>
                <a:pt x="3827446" y="0"/>
              </a:moveTo>
              <a:lnTo>
                <a:pt x="3827446" y="377768"/>
              </a:lnTo>
              <a:lnTo>
                <a:pt x="0" y="377768"/>
              </a:lnTo>
              <a:lnTo>
                <a:pt x="0" y="58721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E616F07-481B-440C-B773-02A217F2AFBD}">
      <dsp:nvSpPr>
        <dsp:cNvPr id="0" name=""/>
        <dsp:cNvSpPr/>
      </dsp:nvSpPr>
      <dsp:spPr>
        <a:xfrm>
          <a:off x="4929447" y="498482"/>
          <a:ext cx="472218" cy="418900"/>
        </a:xfrm>
        <a:custGeom>
          <a:avLst/>
          <a:gdLst/>
          <a:ahLst/>
          <a:cxnLst/>
          <a:rect l="0" t="0" r="0" b="0"/>
          <a:pathLst>
            <a:path>
              <a:moveTo>
                <a:pt x="0" y="0"/>
              </a:moveTo>
              <a:lnTo>
                <a:pt x="0" y="209450"/>
              </a:lnTo>
              <a:lnTo>
                <a:pt x="472218" y="209450"/>
              </a:lnTo>
              <a:lnTo>
                <a:pt x="472218" y="41890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4D7BD2-9B8C-435F-9D56-7B9000DA4BD0}">
      <dsp:nvSpPr>
        <dsp:cNvPr id="0" name=""/>
        <dsp:cNvSpPr/>
      </dsp:nvSpPr>
      <dsp:spPr>
        <a:xfrm>
          <a:off x="3276851" y="498482"/>
          <a:ext cx="1652595" cy="418900"/>
        </a:xfrm>
        <a:custGeom>
          <a:avLst/>
          <a:gdLst/>
          <a:ahLst/>
          <a:cxnLst/>
          <a:rect l="0" t="0" r="0" b="0"/>
          <a:pathLst>
            <a:path>
              <a:moveTo>
                <a:pt x="1652595" y="0"/>
              </a:moveTo>
              <a:lnTo>
                <a:pt x="1652595" y="209450"/>
              </a:lnTo>
              <a:lnTo>
                <a:pt x="0" y="209450"/>
              </a:lnTo>
              <a:lnTo>
                <a:pt x="0" y="41890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A72FF5C-B350-45F4-A8EF-AA2B8B0F5D48}">
      <dsp:nvSpPr>
        <dsp:cNvPr id="0" name=""/>
        <dsp:cNvSpPr/>
      </dsp:nvSpPr>
      <dsp:spPr>
        <a:xfrm>
          <a:off x="1059350" y="498482"/>
          <a:ext cx="3870096" cy="418521"/>
        </a:xfrm>
        <a:custGeom>
          <a:avLst/>
          <a:gdLst/>
          <a:ahLst/>
          <a:cxnLst/>
          <a:rect l="0" t="0" r="0" b="0"/>
          <a:pathLst>
            <a:path>
              <a:moveTo>
                <a:pt x="3870096" y="0"/>
              </a:moveTo>
              <a:lnTo>
                <a:pt x="3870096" y="209071"/>
              </a:lnTo>
              <a:lnTo>
                <a:pt x="0" y="209071"/>
              </a:lnTo>
              <a:lnTo>
                <a:pt x="0" y="41852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A166E83-92E6-4ADE-9AEE-A4D700CED0DB}">
      <dsp:nvSpPr>
        <dsp:cNvPr id="0" name=""/>
        <dsp:cNvSpPr/>
      </dsp:nvSpPr>
      <dsp:spPr>
        <a:xfrm>
          <a:off x="4271703" y="1477"/>
          <a:ext cx="1315487" cy="497005"/>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GEAR BOX</a:t>
          </a:r>
        </a:p>
      </dsp:txBody>
      <dsp:txXfrm>
        <a:off x="4271703" y="1477"/>
        <a:ext cx="1315487" cy="497005"/>
      </dsp:txXfrm>
    </dsp:sp>
    <dsp:sp modelId="{170B73CF-DFB4-42D9-A670-E6E1A0F3EDB9}">
      <dsp:nvSpPr>
        <dsp:cNvPr id="0" name=""/>
        <dsp:cNvSpPr/>
      </dsp:nvSpPr>
      <dsp:spPr>
        <a:xfrm>
          <a:off x="302147" y="917004"/>
          <a:ext cx="1514405" cy="604892"/>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Sliding Mesh (Obsolete) </a:t>
          </a:r>
        </a:p>
      </dsp:txBody>
      <dsp:txXfrm>
        <a:off x="302147" y="917004"/>
        <a:ext cx="1514405" cy="604892"/>
      </dsp:txXfrm>
    </dsp:sp>
    <dsp:sp modelId="{65FDF074-A94C-47BA-A310-D0760B8C7562}">
      <dsp:nvSpPr>
        <dsp:cNvPr id="0" name=""/>
        <dsp:cNvSpPr/>
      </dsp:nvSpPr>
      <dsp:spPr>
        <a:xfrm>
          <a:off x="2426832" y="917383"/>
          <a:ext cx="1700038" cy="67386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Constant Mesh</a:t>
          </a:r>
        </a:p>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Obsolete)</a:t>
          </a:r>
        </a:p>
      </dsp:txBody>
      <dsp:txXfrm>
        <a:off x="2426832" y="917383"/>
        <a:ext cx="1700038" cy="673861"/>
      </dsp:txXfrm>
    </dsp:sp>
    <dsp:sp modelId="{4628112D-BB39-45FA-8000-43A8A90EA310}">
      <dsp:nvSpPr>
        <dsp:cNvPr id="0" name=""/>
        <dsp:cNvSpPr/>
      </dsp:nvSpPr>
      <dsp:spPr>
        <a:xfrm>
          <a:off x="4607948" y="917383"/>
          <a:ext cx="1587434" cy="518509"/>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Synchromesh</a:t>
          </a:r>
        </a:p>
      </dsp:txBody>
      <dsp:txXfrm>
        <a:off x="4607948" y="917383"/>
        <a:ext cx="1587434" cy="518509"/>
      </dsp:txXfrm>
    </dsp:sp>
    <dsp:sp modelId="{71B5AA8E-1B65-4EC2-89F1-DB9EA8A98E31}">
      <dsp:nvSpPr>
        <dsp:cNvPr id="0" name=""/>
        <dsp:cNvSpPr/>
      </dsp:nvSpPr>
      <dsp:spPr>
        <a:xfrm>
          <a:off x="949129" y="2023112"/>
          <a:ext cx="1250179" cy="41624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ALGB 940</a:t>
          </a:r>
        </a:p>
      </dsp:txBody>
      <dsp:txXfrm>
        <a:off x="949129" y="2023112"/>
        <a:ext cx="1250179" cy="416247"/>
      </dsp:txXfrm>
    </dsp:sp>
    <dsp:sp modelId="{DFB0CE57-CD7D-4121-BF74-EF6E13B31647}">
      <dsp:nvSpPr>
        <dsp:cNvPr id="0" name=""/>
        <dsp:cNvSpPr/>
      </dsp:nvSpPr>
      <dsp:spPr>
        <a:xfrm>
          <a:off x="3526985" y="2029265"/>
          <a:ext cx="1059978" cy="406772"/>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ZF</a:t>
          </a:r>
        </a:p>
      </dsp:txBody>
      <dsp:txXfrm>
        <a:off x="3526985" y="2029265"/>
        <a:ext cx="1059978" cy="406772"/>
      </dsp:txXfrm>
    </dsp:sp>
    <dsp:sp modelId="{579ABAB3-7FDB-4A06-AB6F-359BBA8F6A57}">
      <dsp:nvSpPr>
        <dsp:cNvPr id="0" name=""/>
        <dsp:cNvSpPr/>
      </dsp:nvSpPr>
      <dsp:spPr>
        <a:xfrm>
          <a:off x="2550886" y="3017352"/>
          <a:ext cx="929500" cy="41134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630 Nm</a:t>
          </a:r>
        </a:p>
      </dsp:txBody>
      <dsp:txXfrm>
        <a:off x="2550886" y="3017352"/>
        <a:ext cx="929500" cy="411340"/>
      </dsp:txXfrm>
    </dsp:sp>
    <dsp:sp modelId="{E09D9BB1-1553-4026-9D02-92B9A0573521}">
      <dsp:nvSpPr>
        <dsp:cNvPr id="0" name=""/>
        <dsp:cNvSpPr/>
      </dsp:nvSpPr>
      <dsp:spPr>
        <a:xfrm>
          <a:off x="2822818" y="3724367"/>
          <a:ext cx="883441" cy="559322"/>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latin typeface="Century Gothic" panose="020B0502020202020204" pitchFamily="34" charset="0"/>
            </a:rPr>
            <a:t>S5- 36 DD/OD</a:t>
          </a:r>
        </a:p>
      </dsp:txBody>
      <dsp:txXfrm>
        <a:off x="2822818" y="3724367"/>
        <a:ext cx="883441" cy="559322"/>
      </dsp:txXfrm>
    </dsp:sp>
    <dsp:sp modelId="{36643B4E-DA6D-49B3-9273-C3406DF4FCA5}">
      <dsp:nvSpPr>
        <dsp:cNvPr id="0" name=""/>
        <dsp:cNvSpPr/>
      </dsp:nvSpPr>
      <dsp:spPr>
        <a:xfrm>
          <a:off x="2835564" y="4490408"/>
          <a:ext cx="862815" cy="554624"/>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latin typeface="Century Gothic" panose="020B0502020202020204" pitchFamily="34" charset="0"/>
            </a:rPr>
            <a:t>S6- 36 DD/OD</a:t>
          </a:r>
        </a:p>
      </dsp:txBody>
      <dsp:txXfrm>
        <a:off x="2835564" y="4490408"/>
        <a:ext cx="862815" cy="554624"/>
      </dsp:txXfrm>
    </dsp:sp>
    <dsp:sp modelId="{0E1C4B60-1B8E-4FEA-84A6-96EA0B82240C}">
      <dsp:nvSpPr>
        <dsp:cNvPr id="0" name=""/>
        <dsp:cNvSpPr/>
      </dsp:nvSpPr>
      <dsp:spPr>
        <a:xfrm>
          <a:off x="3956059" y="3017352"/>
          <a:ext cx="949348" cy="43182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850 Nm</a:t>
          </a:r>
        </a:p>
      </dsp:txBody>
      <dsp:txXfrm>
        <a:off x="3956059" y="3017352"/>
        <a:ext cx="949348" cy="431826"/>
      </dsp:txXfrm>
    </dsp:sp>
    <dsp:sp modelId="{1ABC6B30-9DDF-4E45-AFEC-A9898407B0EF}">
      <dsp:nvSpPr>
        <dsp:cNvPr id="0" name=""/>
        <dsp:cNvSpPr/>
      </dsp:nvSpPr>
      <dsp:spPr>
        <a:xfrm>
          <a:off x="4151725" y="3671466"/>
          <a:ext cx="785917" cy="610338"/>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latin typeface="Century Gothic" panose="020B0502020202020204" pitchFamily="34" charset="0"/>
            </a:rPr>
            <a:t>6S 850 DD/OD</a:t>
          </a:r>
        </a:p>
      </dsp:txBody>
      <dsp:txXfrm>
        <a:off x="4151725" y="3671466"/>
        <a:ext cx="785917" cy="610338"/>
      </dsp:txXfrm>
    </dsp:sp>
    <dsp:sp modelId="{B84506F0-ED57-474D-BB7E-E1DE5706AC09}">
      <dsp:nvSpPr>
        <dsp:cNvPr id="0" name=""/>
        <dsp:cNvSpPr/>
      </dsp:nvSpPr>
      <dsp:spPr>
        <a:xfrm>
          <a:off x="5441640" y="3016465"/>
          <a:ext cx="1026366" cy="390654"/>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1100 Nm</a:t>
          </a:r>
        </a:p>
      </dsp:txBody>
      <dsp:txXfrm>
        <a:off x="5441640" y="3016465"/>
        <a:ext cx="1026366" cy="390654"/>
      </dsp:txXfrm>
    </dsp:sp>
    <dsp:sp modelId="{04C453C7-929D-4C4C-A98C-135D48946723}">
      <dsp:nvSpPr>
        <dsp:cNvPr id="0" name=""/>
        <dsp:cNvSpPr/>
      </dsp:nvSpPr>
      <dsp:spPr>
        <a:xfrm>
          <a:off x="5859409" y="3677560"/>
          <a:ext cx="786436" cy="411789"/>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latin typeface="Century Gothic" panose="020B0502020202020204" pitchFamily="34" charset="0"/>
            </a:rPr>
            <a:t>8S 1100</a:t>
          </a:r>
        </a:p>
      </dsp:txBody>
      <dsp:txXfrm>
        <a:off x="5859409" y="3677560"/>
        <a:ext cx="786436" cy="411789"/>
      </dsp:txXfrm>
    </dsp:sp>
    <dsp:sp modelId="{C3492823-9447-49FA-9AFD-70BB609D369E}">
      <dsp:nvSpPr>
        <dsp:cNvPr id="0" name=""/>
        <dsp:cNvSpPr/>
      </dsp:nvSpPr>
      <dsp:spPr>
        <a:xfrm>
          <a:off x="5848837" y="4434274"/>
          <a:ext cx="948590" cy="36716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latin typeface="Century Gothic" panose="020B0502020202020204" pitchFamily="34" charset="0"/>
            </a:rPr>
            <a:t>9S 1100</a:t>
          </a:r>
        </a:p>
      </dsp:txBody>
      <dsp:txXfrm>
        <a:off x="5848837" y="4434274"/>
        <a:ext cx="948590" cy="367166"/>
      </dsp:txXfrm>
    </dsp:sp>
    <dsp:sp modelId="{E726BD17-4AEB-4B9F-AB65-82D62255518F}">
      <dsp:nvSpPr>
        <dsp:cNvPr id="0" name=""/>
        <dsp:cNvSpPr/>
      </dsp:nvSpPr>
      <dsp:spPr>
        <a:xfrm>
          <a:off x="5869159" y="2028876"/>
          <a:ext cx="1091595" cy="379474"/>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6MT 86</a:t>
          </a:r>
        </a:p>
      </dsp:txBody>
      <dsp:txXfrm>
        <a:off x="5869159" y="2028876"/>
        <a:ext cx="1091595" cy="379474"/>
      </dsp:txXfrm>
    </dsp:sp>
    <dsp:sp modelId="{30408474-F65B-46BA-8173-3D16B33F789A}">
      <dsp:nvSpPr>
        <dsp:cNvPr id="0" name=""/>
        <dsp:cNvSpPr/>
      </dsp:nvSpPr>
      <dsp:spPr>
        <a:xfrm>
          <a:off x="7628148" y="917383"/>
          <a:ext cx="1438126" cy="546585"/>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AMT</a:t>
          </a:r>
        </a:p>
      </dsp:txBody>
      <dsp:txXfrm>
        <a:off x="7628148" y="917383"/>
        <a:ext cx="1438126" cy="546585"/>
      </dsp:txXfrm>
    </dsp:sp>
    <dsp:sp modelId="{1061BDEB-22FD-42F7-9742-A371A2C4F44A}">
      <dsp:nvSpPr>
        <dsp:cNvPr id="0" name=""/>
        <dsp:cNvSpPr/>
      </dsp:nvSpPr>
      <dsp:spPr>
        <a:xfrm>
          <a:off x="8046924" y="1882870"/>
          <a:ext cx="797606" cy="42271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ZF 6S</a:t>
          </a:r>
        </a:p>
      </dsp:txBody>
      <dsp:txXfrm>
        <a:off x="8046924" y="1882870"/>
        <a:ext cx="797606" cy="422710"/>
      </dsp:txXfrm>
    </dsp:sp>
    <dsp:sp modelId="{EA6420F6-A34E-4210-BBE6-1F0DA17E1E58}">
      <dsp:nvSpPr>
        <dsp:cNvPr id="0" name=""/>
        <dsp:cNvSpPr/>
      </dsp:nvSpPr>
      <dsp:spPr>
        <a:xfrm>
          <a:off x="8094319" y="2724481"/>
          <a:ext cx="787732" cy="405555"/>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ZF 9S</a:t>
          </a:r>
        </a:p>
      </dsp:txBody>
      <dsp:txXfrm>
        <a:off x="8094319" y="2724481"/>
        <a:ext cx="787732" cy="40555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DD6A68-CB32-4958-8F97-410E6D86624F}">
      <dsp:nvSpPr>
        <dsp:cNvPr id="0" name=""/>
        <dsp:cNvSpPr/>
      </dsp:nvSpPr>
      <dsp:spPr>
        <a:xfrm>
          <a:off x="5537648" y="2243155"/>
          <a:ext cx="91440" cy="512249"/>
        </a:xfrm>
        <a:custGeom>
          <a:avLst/>
          <a:gdLst/>
          <a:ahLst/>
          <a:cxnLst/>
          <a:rect l="0" t="0" r="0" b="0"/>
          <a:pathLst>
            <a:path>
              <a:moveTo>
                <a:pt x="45720" y="0"/>
              </a:moveTo>
              <a:lnTo>
                <a:pt x="45720" y="512249"/>
              </a:lnTo>
              <a:lnTo>
                <a:pt x="128502" y="51224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3658B3E-AA47-498D-8F3C-D94267713534}">
      <dsp:nvSpPr>
        <dsp:cNvPr id="0" name=""/>
        <dsp:cNvSpPr/>
      </dsp:nvSpPr>
      <dsp:spPr>
        <a:xfrm>
          <a:off x="4709593" y="1600689"/>
          <a:ext cx="1094529" cy="394525"/>
        </a:xfrm>
        <a:custGeom>
          <a:avLst/>
          <a:gdLst/>
          <a:ahLst/>
          <a:cxnLst/>
          <a:rect l="0" t="0" r="0" b="0"/>
          <a:pathLst>
            <a:path>
              <a:moveTo>
                <a:pt x="0" y="0"/>
              </a:moveTo>
              <a:lnTo>
                <a:pt x="0" y="197262"/>
              </a:lnTo>
              <a:lnTo>
                <a:pt x="1094529" y="197262"/>
              </a:lnTo>
              <a:lnTo>
                <a:pt x="1094529" y="39452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2DE1765-B235-46E8-83F0-9BDCF67CC444}">
      <dsp:nvSpPr>
        <dsp:cNvPr id="0" name=""/>
        <dsp:cNvSpPr/>
      </dsp:nvSpPr>
      <dsp:spPr>
        <a:xfrm>
          <a:off x="4442148" y="2289183"/>
          <a:ext cx="91440" cy="803672"/>
        </a:xfrm>
        <a:custGeom>
          <a:avLst/>
          <a:gdLst/>
          <a:ahLst/>
          <a:cxnLst/>
          <a:rect l="0" t="0" r="0" b="0"/>
          <a:pathLst>
            <a:path>
              <a:moveTo>
                <a:pt x="45720" y="0"/>
              </a:moveTo>
              <a:lnTo>
                <a:pt x="45720" y="803672"/>
              </a:lnTo>
              <a:lnTo>
                <a:pt x="123651" y="80367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0B796C5-3995-4073-BB00-92D2F49FC6FD}">
      <dsp:nvSpPr>
        <dsp:cNvPr id="0" name=""/>
        <dsp:cNvSpPr/>
      </dsp:nvSpPr>
      <dsp:spPr>
        <a:xfrm>
          <a:off x="4663873" y="1600689"/>
          <a:ext cx="91440" cy="394525"/>
        </a:xfrm>
        <a:custGeom>
          <a:avLst/>
          <a:gdLst/>
          <a:ahLst/>
          <a:cxnLst/>
          <a:rect l="0" t="0" r="0" b="0"/>
          <a:pathLst>
            <a:path>
              <a:moveTo>
                <a:pt x="45720" y="0"/>
              </a:moveTo>
              <a:lnTo>
                <a:pt x="45720" y="197262"/>
              </a:lnTo>
              <a:lnTo>
                <a:pt x="73696" y="197262"/>
              </a:lnTo>
              <a:lnTo>
                <a:pt x="73696" y="39452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7FCF25B-BD66-4BA7-9D4D-9CCF56E99542}">
      <dsp:nvSpPr>
        <dsp:cNvPr id="0" name=""/>
        <dsp:cNvSpPr/>
      </dsp:nvSpPr>
      <dsp:spPr>
        <a:xfrm>
          <a:off x="3273256" y="2276586"/>
          <a:ext cx="91440" cy="978944"/>
        </a:xfrm>
        <a:custGeom>
          <a:avLst/>
          <a:gdLst/>
          <a:ahLst/>
          <a:cxnLst/>
          <a:rect l="0" t="0" r="0" b="0"/>
          <a:pathLst>
            <a:path>
              <a:moveTo>
                <a:pt x="45720" y="0"/>
              </a:moveTo>
              <a:lnTo>
                <a:pt x="45720" y="978944"/>
              </a:lnTo>
              <a:lnTo>
                <a:pt x="127246" y="97894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66F7693-27FD-462B-8A49-7165086AA609}">
      <dsp:nvSpPr>
        <dsp:cNvPr id="0" name=""/>
        <dsp:cNvSpPr/>
      </dsp:nvSpPr>
      <dsp:spPr>
        <a:xfrm>
          <a:off x="3598353" y="1600689"/>
          <a:ext cx="1111240" cy="394525"/>
        </a:xfrm>
        <a:custGeom>
          <a:avLst/>
          <a:gdLst/>
          <a:ahLst/>
          <a:cxnLst/>
          <a:rect l="0" t="0" r="0" b="0"/>
          <a:pathLst>
            <a:path>
              <a:moveTo>
                <a:pt x="1111240" y="0"/>
              </a:moveTo>
              <a:lnTo>
                <a:pt x="1111240" y="197262"/>
              </a:lnTo>
              <a:lnTo>
                <a:pt x="0" y="197262"/>
              </a:lnTo>
              <a:lnTo>
                <a:pt x="0" y="39452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79447D0-C69F-4DEE-9D21-E3EEB57B647A}">
      <dsp:nvSpPr>
        <dsp:cNvPr id="0" name=""/>
        <dsp:cNvSpPr/>
      </dsp:nvSpPr>
      <dsp:spPr>
        <a:xfrm>
          <a:off x="2701667" y="778544"/>
          <a:ext cx="2007925" cy="394525"/>
        </a:xfrm>
        <a:custGeom>
          <a:avLst/>
          <a:gdLst/>
          <a:ahLst/>
          <a:cxnLst/>
          <a:rect l="0" t="0" r="0" b="0"/>
          <a:pathLst>
            <a:path>
              <a:moveTo>
                <a:pt x="0" y="0"/>
              </a:moveTo>
              <a:lnTo>
                <a:pt x="0" y="197262"/>
              </a:lnTo>
              <a:lnTo>
                <a:pt x="2007925" y="197262"/>
              </a:lnTo>
              <a:lnTo>
                <a:pt x="2007925" y="3945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A177D24-E9CF-4CEE-948F-CB88A05DD879}">
      <dsp:nvSpPr>
        <dsp:cNvPr id="0" name=""/>
        <dsp:cNvSpPr/>
      </dsp:nvSpPr>
      <dsp:spPr>
        <a:xfrm>
          <a:off x="2080270" y="2218685"/>
          <a:ext cx="91440" cy="396155"/>
        </a:xfrm>
        <a:custGeom>
          <a:avLst/>
          <a:gdLst/>
          <a:ahLst/>
          <a:cxnLst/>
          <a:rect l="0" t="0" r="0" b="0"/>
          <a:pathLst>
            <a:path>
              <a:moveTo>
                <a:pt x="45720" y="0"/>
              </a:moveTo>
              <a:lnTo>
                <a:pt x="45720" y="396155"/>
              </a:lnTo>
              <a:lnTo>
                <a:pt x="87320" y="39615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5C48CFA-BD3B-4752-AF28-8F4A402AC8B0}">
      <dsp:nvSpPr>
        <dsp:cNvPr id="0" name=""/>
        <dsp:cNvSpPr/>
      </dsp:nvSpPr>
      <dsp:spPr>
        <a:xfrm>
          <a:off x="949714" y="1458434"/>
          <a:ext cx="1402238" cy="494519"/>
        </a:xfrm>
        <a:custGeom>
          <a:avLst/>
          <a:gdLst/>
          <a:ahLst/>
          <a:cxnLst/>
          <a:rect l="0" t="0" r="0" b="0"/>
          <a:pathLst>
            <a:path>
              <a:moveTo>
                <a:pt x="0" y="0"/>
              </a:moveTo>
              <a:lnTo>
                <a:pt x="0" y="297256"/>
              </a:lnTo>
              <a:lnTo>
                <a:pt x="1402238" y="297256"/>
              </a:lnTo>
              <a:lnTo>
                <a:pt x="1402238" y="49451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33E6C6E-68CF-4856-9404-BC7DAF0257F9}">
      <dsp:nvSpPr>
        <dsp:cNvPr id="0" name=""/>
        <dsp:cNvSpPr/>
      </dsp:nvSpPr>
      <dsp:spPr>
        <a:xfrm>
          <a:off x="1103320" y="2209648"/>
          <a:ext cx="91440" cy="391256"/>
        </a:xfrm>
        <a:custGeom>
          <a:avLst/>
          <a:gdLst/>
          <a:ahLst/>
          <a:cxnLst/>
          <a:rect l="0" t="0" r="0" b="0"/>
          <a:pathLst>
            <a:path>
              <a:moveTo>
                <a:pt x="45720" y="0"/>
              </a:moveTo>
              <a:lnTo>
                <a:pt x="45720" y="391256"/>
              </a:lnTo>
              <a:lnTo>
                <a:pt x="104033" y="39125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E3E614E-CC65-4FF5-8736-25B03099ADC8}">
      <dsp:nvSpPr>
        <dsp:cNvPr id="0" name=""/>
        <dsp:cNvSpPr/>
      </dsp:nvSpPr>
      <dsp:spPr>
        <a:xfrm>
          <a:off x="949714" y="1458434"/>
          <a:ext cx="396610" cy="486872"/>
        </a:xfrm>
        <a:custGeom>
          <a:avLst/>
          <a:gdLst/>
          <a:ahLst/>
          <a:cxnLst/>
          <a:rect l="0" t="0" r="0" b="0"/>
          <a:pathLst>
            <a:path>
              <a:moveTo>
                <a:pt x="0" y="0"/>
              </a:moveTo>
              <a:lnTo>
                <a:pt x="0" y="289609"/>
              </a:lnTo>
              <a:lnTo>
                <a:pt x="396610" y="289609"/>
              </a:lnTo>
              <a:lnTo>
                <a:pt x="396610" y="48687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96BFC72-C114-40A9-A674-0EC8EDC2E57E}">
      <dsp:nvSpPr>
        <dsp:cNvPr id="0" name=""/>
        <dsp:cNvSpPr/>
      </dsp:nvSpPr>
      <dsp:spPr>
        <a:xfrm>
          <a:off x="7453" y="2243737"/>
          <a:ext cx="91440" cy="532351"/>
        </a:xfrm>
        <a:custGeom>
          <a:avLst/>
          <a:gdLst/>
          <a:ahLst/>
          <a:cxnLst/>
          <a:rect l="0" t="0" r="0" b="0"/>
          <a:pathLst>
            <a:path>
              <a:moveTo>
                <a:pt x="65724" y="0"/>
              </a:moveTo>
              <a:lnTo>
                <a:pt x="45720" y="53235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2A67BFE-47C8-4FC1-BE21-F18798718F2D}">
      <dsp:nvSpPr>
        <dsp:cNvPr id="0" name=""/>
        <dsp:cNvSpPr/>
      </dsp:nvSpPr>
      <dsp:spPr>
        <a:xfrm>
          <a:off x="365894" y="1458434"/>
          <a:ext cx="583820" cy="491212"/>
        </a:xfrm>
        <a:custGeom>
          <a:avLst/>
          <a:gdLst/>
          <a:ahLst/>
          <a:cxnLst/>
          <a:rect l="0" t="0" r="0" b="0"/>
          <a:pathLst>
            <a:path>
              <a:moveTo>
                <a:pt x="583820" y="0"/>
              </a:moveTo>
              <a:lnTo>
                <a:pt x="583820" y="293949"/>
              </a:lnTo>
              <a:lnTo>
                <a:pt x="0" y="293949"/>
              </a:lnTo>
              <a:lnTo>
                <a:pt x="0" y="49121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D6A1F3C-E249-4AF5-82A8-8824BCE21D28}">
      <dsp:nvSpPr>
        <dsp:cNvPr id="0" name=""/>
        <dsp:cNvSpPr/>
      </dsp:nvSpPr>
      <dsp:spPr>
        <a:xfrm>
          <a:off x="949714" y="778544"/>
          <a:ext cx="1751953" cy="393417"/>
        </a:xfrm>
        <a:custGeom>
          <a:avLst/>
          <a:gdLst/>
          <a:ahLst/>
          <a:cxnLst/>
          <a:rect l="0" t="0" r="0" b="0"/>
          <a:pathLst>
            <a:path>
              <a:moveTo>
                <a:pt x="1751953" y="0"/>
              </a:moveTo>
              <a:lnTo>
                <a:pt x="1751953" y="196154"/>
              </a:lnTo>
              <a:lnTo>
                <a:pt x="0" y="196154"/>
              </a:lnTo>
              <a:lnTo>
                <a:pt x="0" y="39341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654EE1-1867-49AA-A3FE-025FB260536B}">
      <dsp:nvSpPr>
        <dsp:cNvPr id="0" name=""/>
        <dsp:cNvSpPr/>
      </dsp:nvSpPr>
      <dsp:spPr>
        <a:xfrm>
          <a:off x="2112951" y="504067"/>
          <a:ext cx="1177433" cy="27447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entury Gothic" panose="020B0502020202020204" pitchFamily="34" charset="0"/>
            </a:rPr>
            <a:t>REAR AXLE</a:t>
          </a:r>
        </a:p>
      </dsp:txBody>
      <dsp:txXfrm>
        <a:off x="2112951" y="504067"/>
        <a:ext cx="1177433" cy="274477"/>
      </dsp:txXfrm>
    </dsp:sp>
    <dsp:sp modelId="{DFB0CE57-CD7D-4121-BF74-EF6E13B31647}">
      <dsp:nvSpPr>
        <dsp:cNvPr id="0" name=""/>
        <dsp:cNvSpPr/>
      </dsp:nvSpPr>
      <dsp:spPr>
        <a:xfrm>
          <a:off x="637334" y="1171961"/>
          <a:ext cx="624759" cy="286472"/>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entury Gothic" panose="020B0502020202020204" pitchFamily="34" charset="0"/>
            </a:rPr>
            <a:t>ICV</a:t>
          </a:r>
        </a:p>
      </dsp:txBody>
      <dsp:txXfrm>
        <a:off x="637334" y="1171961"/>
        <a:ext cx="624759" cy="286472"/>
      </dsp:txXfrm>
    </dsp:sp>
    <dsp:sp modelId="{579ABAB3-7FDB-4A06-AB6F-359BBA8F6A57}">
      <dsp:nvSpPr>
        <dsp:cNvPr id="0" name=""/>
        <dsp:cNvSpPr/>
      </dsp:nvSpPr>
      <dsp:spPr>
        <a:xfrm>
          <a:off x="0" y="1949647"/>
          <a:ext cx="731788" cy="29409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entury Gothic" panose="020B0502020202020204" pitchFamily="34" charset="0"/>
            </a:rPr>
            <a:t>Meritor</a:t>
          </a:r>
        </a:p>
      </dsp:txBody>
      <dsp:txXfrm>
        <a:off x="0" y="1949647"/>
        <a:ext cx="731788" cy="294090"/>
      </dsp:txXfrm>
    </dsp:sp>
    <dsp:sp modelId="{36643B4E-DA6D-49B3-9273-C3406DF4FCA5}">
      <dsp:nvSpPr>
        <dsp:cNvPr id="0" name=""/>
        <dsp:cNvSpPr/>
      </dsp:nvSpPr>
      <dsp:spPr>
        <a:xfrm>
          <a:off x="53173" y="2413675"/>
          <a:ext cx="522295" cy="724828"/>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latin typeface="Century Gothic" panose="020B0502020202020204" pitchFamily="34" charset="0"/>
            </a:rPr>
            <a:t>RS 120</a:t>
          </a:r>
        </a:p>
        <a:p>
          <a:pPr marL="0" lvl="0" indent="0" algn="ctr" defTabSz="533400">
            <a:lnSpc>
              <a:spcPct val="90000"/>
            </a:lnSpc>
            <a:spcBef>
              <a:spcPct val="0"/>
            </a:spcBef>
            <a:spcAft>
              <a:spcPct val="35000"/>
            </a:spcAft>
            <a:buNone/>
          </a:pPr>
          <a:r>
            <a:rPr lang="en-US" sz="1200" b="0" kern="1200" dirty="0">
              <a:latin typeface="Century Gothic" panose="020B0502020202020204" pitchFamily="34" charset="0"/>
            </a:rPr>
            <a:t>C 100</a:t>
          </a:r>
        </a:p>
        <a:p>
          <a:pPr marL="0" lvl="0" indent="0" algn="ctr" defTabSz="533400">
            <a:lnSpc>
              <a:spcPct val="90000"/>
            </a:lnSpc>
            <a:spcBef>
              <a:spcPct val="0"/>
            </a:spcBef>
            <a:spcAft>
              <a:spcPct val="35000"/>
            </a:spcAft>
            <a:buNone/>
          </a:pPr>
          <a:r>
            <a:rPr lang="en-US" sz="1200" b="0" kern="1200" dirty="0">
              <a:latin typeface="Century Gothic" panose="020B0502020202020204" pitchFamily="34" charset="0"/>
            </a:rPr>
            <a:t>MS13X</a:t>
          </a:r>
        </a:p>
      </dsp:txBody>
      <dsp:txXfrm>
        <a:off x="53173" y="2413675"/>
        <a:ext cx="522295" cy="724828"/>
      </dsp:txXfrm>
    </dsp:sp>
    <dsp:sp modelId="{0E1C4B60-1B8E-4FEA-84A6-96EA0B82240C}">
      <dsp:nvSpPr>
        <dsp:cNvPr id="0" name=""/>
        <dsp:cNvSpPr/>
      </dsp:nvSpPr>
      <dsp:spPr>
        <a:xfrm>
          <a:off x="1099718" y="1945307"/>
          <a:ext cx="493213" cy="26434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entury Gothic" panose="020B0502020202020204" pitchFamily="34" charset="0"/>
            </a:rPr>
            <a:t>DANA</a:t>
          </a:r>
        </a:p>
      </dsp:txBody>
      <dsp:txXfrm>
        <a:off x="1099718" y="1945307"/>
        <a:ext cx="493213" cy="264341"/>
      </dsp:txXfrm>
    </dsp:sp>
    <dsp:sp modelId="{F94DF553-D2F0-4741-8D68-B2DD5D62166E}">
      <dsp:nvSpPr>
        <dsp:cNvPr id="0" name=""/>
        <dsp:cNvSpPr/>
      </dsp:nvSpPr>
      <dsp:spPr>
        <a:xfrm>
          <a:off x="1207353" y="2387025"/>
          <a:ext cx="563871" cy="427759"/>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latin typeface="Century Gothic" panose="020B0502020202020204" pitchFamily="34" charset="0"/>
            </a:rPr>
            <a:t>60 SHO</a:t>
          </a:r>
        </a:p>
        <a:p>
          <a:pPr marL="0" lvl="0" indent="0" algn="ctr" defTabSz="533400">
            <a:lnSpc>
              <a:spcPct val="90000"/>
            </a:lnSpc>
            <a:spcBef>
              <a:spcPct val="0"/>
            </a:spcBef>
            <a:spcAft>
              <a:spcPct val="35000"/>
            </a:spcAft>
            <a:buNone/>
          </a:pPr>
          <a:r>
            <a:rPr lang="en-US" sz="1200" b="0" kern="1200" dirty="0">
              <a:latin typeface="Century Gothic" panose="020B0502020202020204" pitchFamily="34" charset="0"/>
            </a:rPr>
            <a:t>S 130</a:t>
          </a:r>
        </a:p>
      </dsp:txBody>
      <dsp:txXfrm>
        <a:off x="1207353" y="2387025"/>
        <a:ext cx="563871" cy="427759"/>
      </dsp:txXfrm>
    </dsp:sp>
    <dsp:sp modelId="{D2624134-F4AB-4300-827D-0F50067352CA}">
      <dsp:nvSpPr>
        <dsp:cNvPr id="0" name=""/>
        <dsp:cNvSpPr/>
      </dsp:nvSpPr>
      <dsp:spPr>
        <a:xfrm>
          <a:off x="2069500" y="1952953"/>
          <a:ext cx="564904" cy="26573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entury Gothic" panose="020B0502020202020204" pitchFamily="34" charset="0"/>
            </a:rPr>
            <a:t>AAM</a:t>
          </a:r>
        </a:p>
      </dsp:txBody>
      <dsp:txXfrm>
        <a:off x="2069500" y="1952953"/>
        <a:ext cx="564904" cy="265731"/>
      </dsp:txXfrm>
    </dsp:sp>
    <dsp:sp modelId="{A9177465-DD25-40A0-89CC-0F2F18184145}">
      <dsp:nvSpPr>
        <dsp:cNvPr id="0" name=""/>
        <dsp:cNvSpPr/>
      </dsp:nvSpPr>
      <dsp:spPr>
        <a:xfrm>
          <a:off x="2167591" y="2372851"/>
          <a:ext cx="818490" cy="483979"/>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latin typeface="Century Gothic" panose="020B0502020202020204" pitchFamily="34" charset="0"/>
            </a:rPr>
            <a:t>AAM 12.6”</a:t>
          </a:r>
        </a:p>
        <a:p>
          <a:pPr marL="0" lvl="0" indent="0" algn="ctr" defTabSz="533400">
            <a:lnSpc>
              <a:spcPct val="90000"/>
            </a:lnSpc>
            <a:spcBef>
              <a:spcPct val="0"/>
            </a:spcBef>
            <a:spcAft>
              <a:spcPct val="35000"/>
            </a:spcAft>
            <a:buNone/>
          </a:pPr>
          <a:r>
            <a:rPr lang="en-US" sz="1200" b="0" kern="1200" dirty="0">
              <a:latin typeface="Century Gothic" panose="020B0502020202020204" pitchFamily="34" charset="0"/>
            </a:rPr>
            <a:t>AAM 14.5”</a:t>
          </a:r>
        </a:p>
      </dsp:txBody>
      <dsp:txXfrm>
        <a:off x="2167591" y="2372851"/>
        <a:ext cx="818490" cy="483979"/>
      </dsp:txXfrm>
    </dsp:sp>
    <dsp:sp modelId="{AE24E54F-A8EE-4213-8A5F-ED4DAAA7C72A}">
      <dsp:nvSpPr>
        <dsp:cNvPr id="0" name=""/>
        <dsp:cNvSpPr/>
      </dsp:nvSpPr>
      <dsp:spPr>
        <a:xfrm>
          <a:off x="4401816" y="1173070"/>
          <a:ext cx="615553" cy="427618"/>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entury Gothic" panose="020B0502020202020204" pitchFamily="34" charset="0"/>
            </a:rPr>
            <a:t>MDV</a:t>
          </a:r>
        </a:p>
      </dsp:txBody>
      <dsp:txXfrm>
        <a:off x="4401816" y="1173070"/>
        <a:ext cx="615553" cy="427618"/>
      </dsp:txXfrm>
    </dsp:sp>
    <dsp:sp modelId="{F50CEFC3-432C-4C11-80D1-DCAB9EEC0CE8}">
      <dsp:nvSpPr>
        <dsp:cNvPr id="0" name=""/>
        <dsp:cNvSpPr/>
      </dsp:nvSpPr>
      <dsp:spPr>
        <a:xfrm>
          <a:off x="3249132" y="1995214"/>
          <a:ext cx="698441" cy="28137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entury Gothic" panose="020B0502020202020204" pitchFamily="34" charset="0"/>
            </a:rPr>
            <a:t>Meritor</a:t>
          </a:r>
        </a:p>
      </dsp:txBody>
      <dsp:txXfrm>
        <a:off x="3249132" y="1995214"/>
        <a:ext cx="698441" cy="281371"/>
      </dsp:txXfrm>
    </dsp:sp>
    <dsp:sp modelId="{EEE2EA4B-3515-4AC6-97B2-0DEE8F29ACB4}">
      <dsp:nvSpPr>
        <dsp:cNvPr id="0" name=""/>
        <dsp:cNvSpPr/>
      </dsp:nvSpPr>
      <dsp:spPr>
        <a:xfrm>
          <a:off x="3400503" y="2446373"/>
          <a:ext cx="763238" cy="1618315"/>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latin typeface="Century Gothic" panose="020B0502020202020204" pitchFamily="34" charset="0"/>
            </a:rPr>
            <a:t>RS 145</a:t>
          </a:r>
        </a:p>
        <a:p>
          <a:pPr marL="0" lvl="0" indent="0" algn="ctr" defTabSz="533400">
            <a:lnSpc>
              <a:spcPct val="90000"/>
            </a:lnSpc>
            <a:spcBef>
              <a:spcPct val="0"/>
            </a:spcBef>
            <a:spcAft>
              <a:spcPct val="35000"/>
            </a:spcAft>
            <a:buNone/>
          </a:pPr>
          <a:r>
            <a:rPr lang="en-US" sz="1200" b="0" kern="1200" dirty="0">
              <a:latin typeface="Century Gothic" panose="020B0502020202020204" pitchFamily="34" charset="0"/>
            </a:rPr>
            <a:t>R 149.7</a:t>
          </a:r>
        </a:p>
        <a:p>
          <a:pPr marL="0" lvl="0" indent="0" algn="ctr" defTabSz="533400">
            <a:lnSpc>
              <a:spcPct val="90000"/>
            </a:lnSpc>
            <a:spcBef>
              <a:spcPct val="0"/>
            </a:spcBef>
            <a:spcAft>
              <a:spcPct val="35000"/>
            </a:spcAft>
            <a:buNone/>
          </a:pPr>
          <a:r>
            <a:rPr lang="en-US" sz="1200" b="0" kern="1200" dirty="0">
              <a:latin typeface="Century Gothic" panose="020B0502020202020204" pitchFamily="34" charset="0"/>
            </a:rPr>
            <a:t>R 160</a:t>
          </a:r>
        </a:p>
        <a:p>
          <a:pPr marL="0" lvl="0" indent="0" algn="ctr" defTabSz="533400">
            <a:lnSpc>
              <a:spcPct val="90000"/>
            </a:lnSpc>
            <a:spcBef>
              <a:spcPct val="0"/>
            </a:spcBef>
            <a:spcAft>
              <a:spcPct val="35000"/>
            </a:spcAft>
            <a:buNone/>
          </a:pPr>
          <a:r>
            <a:rPr lang="en-US" sz="1200" b="0" kern="1200" dirty="0">
              <a:latin typeface="Century Gothic" panose="020B0502020202020204" pitchFamily="34" charset="0"/>
            </a:rPr>
            <a:t>MS 149</a:t>
          </a:r>
        </a:p>
        <a:p>
          <a:pPr marL="0" lvl="0" indent="0" algn="ctr" defTabSz="533400">
            <a:lnSpc>
              <a:spcPct val="90000"/>
            </a:lnSpc>
            <a:spcBef>
              <a:spcPct val="0"/>
            </a:spcBef>
            <a:spcAft>
              <a:spcPct val="35000"/>
            </a:spcAft>
            <a:buNone/>
          </a:pPr>
          <a:r>
            <a:rPr lang="en-US" sz="1200" b="0" kern="1200" dirty="0">
              <a:latin typeface="Century Gothic" panose="020B0502020202020204" pitchFamily="34" charset="0"/>
            </a:rPr>
            <a:t>MT 149</a:t>
          </a:r>
        </a:p>
        <a:p>
          <a:pPr marL="0" lvl="0" indent="0" algn="ctr" defTabSz="533400">
            <a:lnSpc>
              <a:spcPct val="90000"/>
            </a:lnSpc>
            <a:spcBef>
              <a:spcPct val="0"/>
            </a:spcBef>
            <a:spcAft>
              <a:spcPct val="35000"/>
            </a:spcAft>
            <a:buNone/>
          </a:pPr>
          <a:r>
            <a:rPr lang="en-US" sz="1200" b="0" kern="1200" dirty="0">
              <a:latin typeface="Century Gothic" panose="020B0502020202020204" pitchFamily="34" charset="0"/>
            </a:rPr>
            <a:t>MT 610 (HR)</a:t>
          </a:r>
        </a:p>
      </dsp:txBody>
      <dsp:txXfrm>
        <a:off x="3400503" y="2446373"/>
        <a:ext cx="763238" cy="1618315"/>
      </dsp:txXfrm>
    </dsp:sp>
    <dsp:sp modelId="{346CE09B-8833-41A4-969C-89D6CA8ABC0B}">
      <dsp:nvSpPr>
        <dsp:cNvPr id="0" name=""/>
        <dsp:cNvSpPr/>
      </dsp:nvSpPr>
      <dsp:spPr>
        <a:xfrm>
          <a:off x="4425443" y="1995214"/>
          <a:ext cx="624252" cy="293968"/>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entury Gothic" panose="020B0502020202020204" pitchFamily="34" charset="0"/>
            </a:rPr>
            <a:t>Dana</a:t>
          </a:r>
        </a:p>
      </dsp:txBody>
      <dsp:txXfrm>
        <a:off x="4425443" y="1995214"/>
        <a:ext cx="624252" cy="293968"/>
      </dsp:txXfrm>
    </dsp:sp>
    <dsp:sp modelId="{460772E0-7DE8-45C8-932E-2CDE16F8DF88}">
      <dsp:nvSpPr>
        <dsp:cNvPr id="0" name=""/>
        <dsp:cNvSpPr/>
      </dsp:nvSpPr>
      <dsp:spPr>
        <a:xfrm>
          <a:off x="4565800" y="2440220"/>
          <a:ext cx="690119" cy="1305269"/>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latin typeface="Century Gothic" panose="020B0502020202020204" pitchFamily="34" charset="0"/>
            </a:rPr>
            <a:t>60 SHO</a:t>
          </a:r>
        </a:p>
        <a:p>
          <a:pPr marL="0" lvl="0" indent="0" algn="ctr" defTabSz="533400">
            <a:lnSpc>
              <a:spcPct val="90000"/>
            </a:lnSpc>
            <a:spcBef>
              <a:spcPct val="0"/>
            </a:spcBef>
            <a:spcAft>
              <a:spcPct val="35000"/>
            </a:spcAft>
            <a:buNone/>
          </a:pPr>
          <a:r>
            <a:rPr lang="en-US" sz="1200" b="0" kern="1200" dirty="0">
              <a:latin typeface="Century Gothic" panose="020B0502020202020204" pitchFamily="34" charset="0"/>
            </a:rPr>
            <a:t>DSHO 44</a:t>
          </a:r>
        </a:p>
        <a:p>
          <a:pPr marL="0" lvl="0" indent="0" algn="ctr" defTabSz="533400">
            <a:lnSpc>
              <a:spcPct val="90000"/>
            </a:lnSpc>
            <a:spcBef>
              <a:spcPct val="0"/>
            </a:spcBef>
            <a:spcAft>
              <a:spcPct val="35000"/>
            </a:spcAft>
            <a:buNone/>
          </a:pPr>
          <a:r>
            <a:rPr lang="en-US" sz="1200" b="0" kern="1200" dirty="0">
              <a:latin typeface="Century Gothic" panose="020B0502020202020204" pitchFamily="34" charset="0"/>
            </a:rPr>
            <a:t>D92 S</a:t>
          </a:r>
        </a:p>
        <a:p>
          <a:pPr marL="0" lvl="0" indent="0" algn="ctr" defTabSz="533400">
            <a:lnSpc>
              <a:spcPct val="90000"/>
            </a:lnSpc>
            <a:spcBef>
              <a:spcPct val="0"/>
            </a:spcBef>
            <a:spcAft>
              <a:spcPct val="35000"/>
            </a:spcAft>
            <a:buNone/>
          </a:pPr>
          <a:r>
            <a:rPr lang="en-US" sz="1200" b="0" kern="1200" dirty="0">
              <a:latin typeface="Century Gothic" panose="020B0502020202020204" pitchFamily="34" charset="0"/>
            </a:rPr>
            <a:t>HDS</a:t>
          </a:r>
        </a:p>
        <a:p>
          <a:pPr marL="0" lvl="0" indent="0" algn="ctr" defTabSz="533400">
            <a:lnSpc>
              <a:spcPct val="90000"/>
            </a:lnSpc>
            <a:spcBef>
              <a:spcPct val="0"/>
            </a:spcBef>
            <a:spcAft>
              <a:spcPct val="35000"/>
            </a:spcAft>
            <a:buNone/>
          </a:pPr>
          <a:r>
            <a:rPr lang="en-US" sz="1200" b="0" kern="1200" dirty="0">
              <a:latin typeface="Century Gothic" panose="020B0502020202020204" pitchFamily="34" charset="0"/>
            </a:rPr>
            <a:t>HDT</a:t>
          </a:r>
        </a:p>
      </dsp:txBody>
      <dsp:txXfrm>
        <a:off x="4565800" y="2440220"/>
        <a:ext cx="690119" cy="1305269"/>
      </dsp:txXfrm>
    </dsp:sp>
    <dsp:sp modelId="{7FEE0A30-FE3A-4CA0-987D-ADD6D5DF4179}">
      <dsp:nvSpPr>
        <dsp:cNvPr id="0" name=""/>
        <dsp:cNvSpPr/>
      </dsp:nvSpPr>
      <dsp:spPr>
        <a:xfrm>
          <a:off x="5528179" y="1995214"/>
          <a:ext cx="551884" cy="24794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entury Gothic" panose="020B0502020202020204" pitchFamily="34" charset="0"/>
            </a:rPr>
            <a:t>AAM</a:t>
          </a:r>
        </a:p>
      </dsp:txBody>
      <dsp:txXfrm>
        <a:off x="5528179" y="1995214"/>
        <a:ext cx="551884" cy="247940"/>
      </dsp:txXfrm>
    </dsp:sp>
    <dsp:sp modelId="{CB096EA8-879D-4D52-9563-38C563B960C2}">
      <dsp:nvSpPr>
        <dsp:cNvPr id="0" name=""/>
        <dsp:cNvSpPr/>
      </dsp:nvSpPr>
      <dsp:spPr>
        <a:xfrm>
          <a:off x="5666151" y="2637681"/>
          <a:ext cx="723766" cy="23544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latin typeface="Century Gothic" panose="020B0502020202020204" pitchFamily="34" charset="0"/>
            </a:rPr>
            <a:t>AAM 18”</a:t>
          </a:r>
        </a:p>
      </dsp:txBody>
      <dsp:txXfrm>
        <a:off x="5666151" y="2637681"/>
        <a:ext cx="723766" cy="235447"/>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8CFE62-95E6-4B5D-80D2-99C864ED8F23}">
      <dsp:nvSpPr>
        <dsp:cNvPr id="0" name=""/>
        <dsp:cNvSpPr/>
      </dsp:nvSpPr>
      <dsp:spPr>
        <a:xfrm>
          <a:off x="5597528" y="2413607"/>
          <a:ext cx="148670" cy="1542644"/>
        </a:xfrm>
        <a:custGeom>
          <a:avLst/>
          <a:gdLst/>
          <a:ahLst/>
          <a:cxnLst/>
          <a:rect l="0" t="0" r="0" b="0"/>
          <a:pathLst>
            <a:path>
              <a:moveTo>
                <a:pt x="0" y="0"/>
              </a:moveTo>
              <a:lnTo>
                <a:pt x="0" y="1542644"/>
              </a:lnTo>
              <a:lnTo>
                <a:pt x="148670" y="154264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B2E72F9-0DF4-4F43-B07B-0F7169064CF3}">
      <dsp:nvSpPr>
        <dsp:cNvPr id="0" name=""/>
        <dsp:cNvSpPr/>
      </dsp:nvSpPr>
      <dsp:spPr>
        <a:xfrm>
          <a:off x="5597528" y="2413607"/>
          <a:ext cx="164602" cy="470426"/>
        </a:xfrm>
        <a:custGeom>
          <a:avLst/>
          <a:gdLst/>
          <a:ahLst/>
          <a:cxnLst/>
          <a:rect l="0" t="0" r="0" b="0"/>
          <a:pathLst>
            <a:path>
              <a:moveTo>
                <a:pt x="0" y="0"/>
              </a:moveTo>
              <a:lnTo>
                <a:pt x="0" y="470426"/>
              </a:lnTo>
              <a:lnTo>
                <a:pt x="164602" y="47042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324D903-0982-4BCF-8BCA-166C2EE9B55D}">
      <dsp:nvSpPr>
        <dsp:cNvPr id="0" name=""/>
        <dsp:cNvSpPr/>
      </dsp:nvSpPr>
      <dsp:spPr>
        <a:xfrm>
          <a:off x="5597528" y="2413607"/>
          <a:ext cx="150305" cy="1048679"/>
        </a:xfrm>
        <a:custGeom>
          <a:avLst/>
          <a:gdLst/>
          <a:ahLst/>
          <a:cxnLst/>
          <a:rect l="0" t="0" r="0" b="0"/>
          <a:pathLst>
            <a:path>
              <a:moveTo>
                <a:pt x="0" y="0"/>
              </a:moveTo>
              <a:lnTo>
                <a:pt x="0" y="1048679"/>
              </a:lnTo>
              <a:lnTo>
                <a:pt x="150305" y="104867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ADB6D51-E248-4716-AD9A-A615D98F1423}">
      <dsp:nvSpPr>
        <dsp:cNvPr id="0" name=""/>
        <dsp:cNvSpPr/>
      </dsp:nvSpPr>
      <dsp:spPr>
        <a:xfrm>
          <a:off x="5894344" y="1538575"/>
          <a:ext cx="476571" cy="510553"/>
        </a:xfrm>
        <a:custGeom>
          <a:avLst/>
          <a:gdLst/>
          <a:ahLst/>
          <a:cxnLst/>
          <a:rect l="0" t="0" r="0" b="0"/>
          <a:pathLst>
            <a:path>
              <a:moveTo>
                <a:pt x="476571" y="0"/>
              </a:moveTo>
              <a:lnTo>
                <a:pt x="476571" y="250389"/>
              </a:lnTo>
              <a:lnTo>
                <a:pt x="0" y="250389"/>
              </a:lnTo>
              <a:lnTo>
                <a:pt x="0" y="51055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A44CFAA-0689-4BD7-85A0-E66CD1E7B332}">
      <dsp:nvSpPr>
        <dsp:cNvPr id="0" name=""/>
        <dsp:cNvSpPr/>
      </dsp:nvSpPr>
      <dsp:spPr>
        <a:xfrm>
          <a:off x="4754688" y="1538575"/>
          <a:ext cx="1616227" cy="510219"/>
        </a:xfrm>
        <a:custGeom>
          <a:avLst/>
          <a:gdLst/>
          <a:ahLst/>
          <a:cxnLst/>
          <a:rect l="0" t="0" r="0" b="0"/>
          <a:pathLst>
            <a:path>
              <a:moveTo>
                <a:pt x="1616227" y="0"/>
              </a:moveTo>
              <a:lnTo>
                <a:pt x="1616227" y="250055"/>
              </a:lnTo>
              <a:lnTo>
                <a:pt x="0" y="250055"/>
              </a:lnTo>
              <a:lnTo>
                <a:pt x="0" y="51021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0B796C5-3995-4073-BB00-92D2F49FC6FD}">
      <dsp:nvSpPr>
        <dsp:cNvPr id="0" name=""/>
        <dsp:cNvSpPr/>
      </dsp:nvSpPr>
      <dsp:spPr>
        <a:xfrm>
          <a:off x="3658578" y="1538575"/>
          <a:ext cx="2712337" cy="500481"/>
        </a:xfrm>
        <a:custGeom>
          <a:avLst/>
          <a:gdLst/>
          <a:ahLst/>
          <a:cxnLst/>
          <a:rect l="0" t="0" r="0" b="0"/>
          <a:pathLst>
            <a:path>
              <a:moveTo>
                <a:pt x="2712337" y="0"/>
              </a:moveTo>
              <a:lnTo>
                <a:pt x="2712337" y="240317"/>
              </a:lnTo>
              <a:lnTo>
                <a:pt x="0" y="240317"/>
              </a:lnTo>
              <a:lnTo>
                <a:pt x="0" y="50048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66F7693-27FD-462B-8A49-7165086AA609}">
      <dsp:nvSpPr>
        <dsp:cNvPr id="0" name=""/>
        <dsp:cNvSpPr/>
      </dsp:nvSpPr>
      <dsp:spPr>
        <a:xfrm>
          <a:off x="2568205" y="1538575"/>
          <a:ext cx="3802710" cy="510219"/>
        </a:xfrm>
        <a:custGeom>
          <a:avLst/>
          <a:gdLst/>
          <a:ahLst/>
          <a:cxnLst/>
          <a:rect l="0" t="0" r="0" b="0"/>
          <a:pathLst>
            <a:path>
              <a:moveTo>
                <a:pt x="3802710" y="0"/>
              </a:moveTo>
              <a:lnTo>
                <a:pt x="3802710" y="250055"/>
              </a:lnTo>
              <a:lnTo>
                <a:pt x="0" y="250055"/>
              </a:lnTo>
              <a:lnTo>
                <a:pt x="0" y="51021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79447D0-C69F-4DEE-9D21-E3EEB57B647A}">
      <dsp:nvSpPr>
        <dsp:cNvPr id="0" name=""/>
        <dsp:cNvSpPr/>
      </dsp:nvSpPr>
      <dsp:spPr>
        <a:xfrm>
          <a:off x="3879036" y="620901"/>
          <a:ext cx="2491878" cy="520328"/>
        </a:xfrm>
        <a:custGeom>
          <a:avLst/>
          <a:gdLst/>
          <a:ahLst/>
          <a:cxnLst/>
          <a:rect l="0" t="0" r="0" b="0"/>
          <a:pathLst>
            <a:path>
              <a:moveTo>
                <a:pt x="0" y="0"/>
              </a:moveTo>
              <a:lnTo>
                <a:pt x="0" y="260164"/>
              </a:lnTo>
              <a:lnTo>
                <a:pt x="2491878" y="260164"/>
              </a:lnTo>
              <a:lnTo>
                <a:pt x="2491878" y="52032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D6A1F3C-E249-4AF5-82A8-8824BCE21D28}">
      <dsp:nvSpPr>
        <dsp:cNvPr id="0" name=""/>
        <dsp:cNvSpPr/>
      </dsp:nvSpPr>
      <dsp:spPr>
        <a:xfrm>
          <a:off x="1265128" y="620901"/>
          <a:ext cx="2613908" cy="518866"/>
        </a:xfrm>
        <a:custGeom>
          <a:avLst/>
          <a:gdLst/>
          <a:ahLst/>
          <a:cxnLst/>
          <a:rect l="0" t="0" r="0" b="0"/>
          <a:pathLst>
            <a:path>
              <a:moveTo>
                <a:pt x="2613908" y="0"/>
              </a:moveTo>
              <a:lnTo>
                <a:pt x="2613908" y="258702"/>
              </a:lnTo>
              <a:lnTo>
                <a:pt x="0" y="258702"/>
              </a:lnTo>
              <a:lnTo>
                <a:pt x="0" y="5188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654EE1-1867-49AA-A3FE-025FB260536B}">
      <dsp:nvSpPr>
        <dsp:cNvPr id="0" name=""/>
        <dsp:cNvSpPr/>
      </dsp:nvSpPr>
      <dsp:spPr>
        <a:xfrm>
          <a:off x="3200268" y="3569"/>
          <a:ext cx="1357537" cy="617332"/>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FRONT AXLE</a:t>
          </a:r>
        </a:p>
      </dsp:txBody>
      <dsp:txXfrm>
        <a:off x="3200268" y="3569"/>
        <a:ext cx="1357537" cy="617332"/>
      </dsp:txXfrm>
    </dsp:sp>
    <dsp:sp modelId="{DFB0CE57-CD7D-4121-BF74-EF6E13B31647}">
      <dsp:nvSpPr>
        <dsp:cNvPr id="0" name=""/>
        <dsp:cNvSpPr/>
      </dsp:nvSpPr>
      <dsp:spPr>
        <a:xfrm>
          <a:off x="453192" y="1139768"/>
          <a:ext cx="1623871" cy="385712"/>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Elliot Type</a:t>
          </a:r>
        </a:p>
      </dsp:txBody>
      <dsp:txXfrm>
        <a:off x="453192" y="1139768"/>
        <a:ext cx="1623871" cy="385712"/>
      </dsp:txXfrm>
    </dsp:sp>
    <dsp:sp modelId="{AE24E54F-A8EE-4213-8A5F-ED4DAAA7C72A}">
      <dsp:nvSpPr>
        <dsp:cNvPr id="0" name=""/>
        <dsp:cNvSpPr/>
      </dsp:nvSpPr>
      <dsp:spPr>
        <a:xfrm>
          <a:off x="5229413" y="1141230"/>
          <a:ext cx="2283003" cy="397345"/>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Reverse Elliot Type</a:t>
          </a:r>
        </a:p>
      </dsp:txBody>
      <dsp:txXfrm>
        <a:off x="5229413" y="1141230"/>
        <a:ext cx="2283003" cy="397345"/>
      </dsp:txXfrm>
    </dsp:sp>
    <dsp:sp modelId="{F50CEFC3-432C-4C11-80D1-DCAB9EEC0CE8}">
      <dsp:nvSpPr>
        <dsp:cNvPr id="0" name=""/>
        <dsp:cNvSpPr/>
      </dsp:nvSpPr>
      <dsp:spPr>
        <a:xfrm>
          <a:off x="2213192" y="2048795"/>
          <a:ext cx="710025" cy="312519"/>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A 36</a:t>
          </a:r>
        </a:p>
      </dsp:txBody>
      <dsp:txXfrm>
        <a:off x="2213192" y="2048795"/>
        <a:ext cx="710025" cy="312519"/>
      </dsp:txXfrm>
    </dsp:sp>
    <dsp:sp modelId="{346CE09B-8833-41A4-969C-89D6CA8ABC0B}">
      <dsp:nvSpPr>
        <dsp:cNvPr id="0" name=""/>
        <dsp:cNvSpPr/>
      </dsp:nvSpPr>
      <dsp:spPr>
        <a:xfrm>
          <a:off x="3235762" y="2039057"/>
          <a:ext cx="845633" cy="395449"/>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A 48</a:t>
          </a:r>
        </a:p>
      </dsp:txBody>
      <dsp:txXfrm>
        <a:off x="3235762" y="2039057"/>
        <a:ext cx="845633" cy="395449"/>
      </dsp:txXfrm>
    </dsp:sp>
    <dsp:sp modelId="{C76DFDAB-E0F0-4DA8-A67E-E1A799B2CAAE}">
      <dsp:nvSpPr>
        <dsp:cNvPr id="0" name=""/>
        <dsp:cNvSpPr/>
      </dsp:nvSpPr>
      <dsp:spPr>
        <a:xfrm>
          <a:off x="4314378" y="2048795"/>
          <a:ext cx="880619" cy="395945"/>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FA 91</a:t>
          </a:r>
        </a:p>
      </dsp:txBody>
      <dsp:txXfrm>
        <a:off x="4314378" y="2048795"/>
        <a:ext cx="880619" cy="395945"/>
      </dsp:txXfrm>
    </dsp:sp>
    <dsp:sp modelId="{E0AEF09F-250B-437D-B3D6-6C490E7932A4}">
      <dsp:nvSpPr>
        <dsp:cNvPr id="0" name=""/>
        <dsp:cNvSpPr/>
      </dsp:nvSpPr>
      <dsp:spPr>
        <a:xfrm>
          <a:off x="5523325" y="2049129"/>
          <a:ext cx="742038" cy="36447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rPr>
            <a:t>FA 99</a:t>
          </a:r>
        </a:p>
      </dsp:txBody>
      <dsp:txXfrm>
        <a:off x="5523325" y="2049129"/>
        <a:ext cx="742038" cy="364477"/>
      </dsp:txXfrm>
    </dsp:sp>
    <dsp:sp modelId="{1784DEA6-7213-4B59-9CED-2322FEB4E6AF}">
      <dsp:nvSpPr>
        <dsp:cNvPr id="0" name=""/>
        <dsp:cNvSpPr/>
      </dsp:nvSpPr>
      <dsp:spPr>
        <a:xfrm>
          <a:off x="5747834" y="3278951"/>
          <a:ext cx="1311897" cy="36667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latin typeface="Century Gothic" panose="020B0502020202020204" pitchFamily="34" charset="0"/>
            </a:rPr>
            <a:t>Single Drop</a:t>
          </a:r>
        </a:p>
      </dsp:txBody>
      <dsp:txXfrm>
        <a:off x="5747834" y="3278951"/>
        <a:ext cx="1311897" cy="366670"/>
      </dsp:txXfrm>
    </dsp:sp>
    <dsp:sp modelId="{12935EF6-393F-451D-9D80-9DC2AE2F3B73}">
      <dsp:nvSpPr>
        <dsp:cNvPr id="0" name=""/>
        <dsp:cNvSpPr/>
      </dsp:nvSpPr>
      <dsp:spPr>
        <a:xfrm>
          <a:off x="5762131" y="2699119"/>
          <a:ext cx="1311897" cy="369829"/>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latin typeface="Century Gothic" panose="020B0502020202020204" pitchFamily="34" charset="0"/>
            </a:rPr>
            <a:t>Double Drop</a:t>
          </a:r>
        </a:p>
      </dsp:txBody>
      <dsp:txXfrm>
        <a:off x="5762131" y="2699119"/>
        <a:ext cx="1311897" cy="369829"/>
      </dsp:txXfrm>
    </dsp:sp>
    <dsp:sp modelId="{FCD7A6A3-C810-433C-BBC9-E7EE0FCD4A91}">
      <dsp:nvSpPr>
        <dsp:cNvPr id="0" name=""/>
        <dsp:cNvSpPr/>
      </dsp:nvSpPr>
      <dsp:spPr>
        <a:xfrm>
          <a:off x="5746199" y="3786754"/>
          <a:ext cx="1289498" cy="338994"/>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latin typeface="Century Gothic" panose="020B0502020202020204" pitchFamily="34" charset="0"/>
            </a:rPr>
            <a:t>Zero Drop</a:t>
          </a:r>
        </a:p>
      </dsp:txBody>
      <dsp:txXfrm>
        <a:off x="5746199" y="3786754"/>
        <a:ext cx="1289498" cy="338994"/>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E4D897-6E14-40BD-8206-9FA90A376C08}">
      <dsp:nvSpPr>
        <dsp:cNvPr id="0" name=""/>
        <dsp:cNvSpPr/>
      </dsp:nvSpPr>
      <dsp:spPr>
        <a:xfrm>
          <a:off x="4765165" y="1567658"/>
          <a:ext cx="2646666" cy="2646666"/>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76200" tIns="76200" rIns="76200" bIns="76200" numCol="1" spcCol="1270" anchor="ctr" anchorCtr="0">
          <a:noAutofit/>
        </a:bodyPr>
        <a:lstStyle/>
        <a:p>
          <a:pPr marL="0" lvl="0" indent="0" algn="ctr" defTabSz="2667000">
            <a:lnSpc>
              <a:spcPct val="90000"/>
            </a:lnSpc>
            <a:spcBef>
              <a:spcPct val="0"/>
            </a:spcBef>
            <a:spcAft>
              <a:spcPct val="35000"/>
            </a:spcAft>
            <a:buNone/>
          </a:pPr>
          <a:endParaRPr lang="en-US" sz="6000" kern="1200" dirty="0">
            <a:latin typeface="Century Gothic" panose="020B0502020202020204" pitchFamily="34" charset="0"/>
            <a:cs typeface="Calibri" panose="020F0502020204030204" pitchFamily="34" charset="0"/>
          </a:endParaRPr>
        </a:p>
      </dsp:txBody>
      <dsp:txXfrm>
        <a:off x="5152760" y="1955253"/>
        <a:ext cx="1871476" cy="1871476"/>
      </dsp:txXfrm>
    </dsp:sp>
    <dsp:sp modelId="{A1A757E9-2DC1-4883-B258-BEBE982FD22A}">
      <dsp:nvSpPr>
        <dsp:cNvPr id="0" name=""/>
        <dsp:cNvSpPr/>
      </dsp:nvSpPr>
      <dsp:spPr>
        <a:xfrm>
          <a:off x="5419949" y="24937"/>
          <a:ext cx="1323333" cy="1323333"/>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kumimoji="0" lang="en-US" sz="1200" b="1" i="0" u="none" strike="noStrike" kern="1200"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Ergonomic designed shifter position</a:t>
          </a:r>
          <a:endParaRPr lang="en-US" sz="1200" kern="1200" dirty="0">
            <a:latin typeface="Century Gothic" panose="020B0502020202020204" pitchFamily="34" charset="0"/>
            <a:cs typeface="Calibri" panose="020F0502020204030204" pitchFamily="34" charset="0"/>
          </a:endParaRPr>
        </a:p>
      </dsp:txBody>
      <dsp:txXfrm>
        <a:off x="5613747" y="218735"/>
        <a:ext cx="935737" cy="935737"/>
      </dsp:txXfrm>
    </dsp:sp>
    <dsp:sp modelId="{7F52E60A-E243-4F48-995E-E0617F27892D}">
      <dsp:nvSpPr>
        <dsp:cNvPr id="0" name=""/>
        <dsp:cNvSpPr/>
      </dsp:nvSpPr>
      <dsp:spPr>
        <a:xfrm>
          <a:off x="6494209" y="114454"/>
          <a:ext cx="1323333" cy="1323333"/>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kumimoji="0" lang="en-US" sz="1100" b="1" i="0" u="none" strike="noStrike" kern="1200"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   </a:t>
          </a:r>
          <a:r>
            <a:rPr kumimoji="0" lang="en-US" sz="1200" b="1" i="0" u="none" strike="noStrike" kern="1200"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Current gear display on the instrumental cluster </a:t>
          </a:r>
          <a:endParaRPr lang="en-US" sz="1200" kern="1200" dirty="0">
            <a:latin typeface="Century Gothic" panose="020B0502020202020204" pitchFamily="34" charset="0"/>
            <a:cs typeface="Calibri" panose="020F0502020204030204" pitchFamily="34" charset="0"/>
          </a:endParaRPr>
        </a:p>
      </dsp:txBody>
      <dsp:txXfrm>
        <a:off x="6688007" y="308252"/>
        <a:ext cx="935737" cy="935737"/>
      </dsp:txXfrm>
    </dsp:sp>
    <dsp:sp modelId="{EB072983-73BF-47A4-997F-22656C872A1A}">
      <dsp:nvSpPr>
        <dsp:cNvPr id="0" name=""/>
        <dsp:cNvSpPr/>
      </dsp:nvSpPr>
      <dsp:spPr>
        <a:xfrm>
          <a:off x="7264596" y="918975"/>
          <a:ext cx="1323333" cy="1323333"/>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kumimoji="0" lang="en-US" sz="1100" b="1" i="0" u="none" strike="noStrike" kern="1200"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 </a:t>
          </a:r>
          <a:r>
            <a:rPr kumimoji="0" lang="en-US" sz="1200" b="1" i="0" u="none" strike="noStrike" kern="1200"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Compact gear shifter </a:t>
          </a:r>
          <a:endParaRPr lang="en-US" sz="1200" kern="1200" dirty="0">
            <a:latin typeface="Century Gothic" panose="020B0502020202020204" pitchFamily="34" charset="0"/>
            <a:cs typeface="Calibri" panose="020F0502020204030204" pitchFamily="34" charset="0"/>
          </a:endParaRPr>
        </a:p>
      </dsp:txBody>
      <dsp:txXfrm>
        <a:off x="7458394" y="1112773"/>
        <a:ext cx="935737" cy="935737"/>
      </dsp:txXfrm>
    </dsp:sp>
    <dsp:sp modelId="{331CF0DA-EBAA-4F63-BF01-D499F9F7D699}">
      <dsp:nvSpPr>
        <dsp:cNvPr id="0" name=""/>
        <dsp:cNvSpPr/>
      </dsp:nvSpPr>
      <dsp:spPr>
        <a:xfrm>
          <a:off x="7565911" y="1967547"/>
          <a:ext cx="1323333" cy="1323333"/>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kumimoji="0" lang="en-US" sz="1200" b="1" i="0" u="none" strike="noStrike" kern="1200"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Hill start aid </a:t>
          </a:r>
          <a:endParaRPr lang="en-US" sz="1200" kern="1200" dirty="0">
            <a:latin typeface="Century Gothic" panose="020B0502020202020204" pitchFamily="34" charset="0"/>
            <a:cs typeface="Calibri" panose="020F0502020204030204" pitchFamily="34" charset="0"/>
          </a:endParaRPr>
        </a:p>
      </dsp:txBody>
      <dsp:txXfrm>
        <a:off x="7759709" y="2161345"/>
        <a:ext cx="935737" cy="935737"/>
      </dsp:txXfrm>
    </dsp:sp>
    <dsp:sp modelId="{82FF4EE7-C5BA-4DBA-936E-FCD67560ADCE}">
      <dsp:nvSpPr>
        <dsp:cNvPr id="0" name=""/>
        <dsp:cNvSpPr/>
      </dsp:nvSpPr>
      <dsp:spPr>
        <a:xfrm>
          <a:off x="7495509" y="3013870"/>
          <a:ext cx="1323333" cy="1323333"/>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kumimoji="0" lang="en-US" sz="1200" b="1" i="0" u="none" strike="noStrike" kern="1200"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Automatic gear shifting</a:t>
          </a:r>
          <a:endParaRPr lang="en-US" sz="1200" kern="1200" dirty="0">
            <a:latin typeface="Century Gothic" panose="020B0502020202020204" pitchFamily="34" charset="0"/>
            <a:cs typeface="Calibri" panose="020F0502020204030204" pitchFamily="34" charset="0"/>
          </a:endParaRPr>
        </a:p>
      </dsp:txBody>
      <dsp:txXfrm>
        <a:off x="7689307" y="3207668"/>
        <a:ext cx="935737" cy="935737"/>
      </dsp:txXfrm>
    </dsp:sp>
    <dsp:sp modelId="{388FD116-85F1-4694-B25B-A722928E14AC}">
      <dsp:nvSpPr>
        <dsp:cNvPr id="0" name=""/>
        <dsp:cNvSpPr/>
      </dsp:nvSpPr>
      <dsp:spPr>
        <a:xfrm>
          <a:off x="6923472" y="3841458"/>
          <a:ext cx="1323333" cy="1323333"/>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kumimoji="0" lang="en-US" sz="1200" b="1" i="0" u="none" strike="noStrike" kern="1200"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Manual</a:t>
          </a:r>
        </a:p>
        <a:p>
          <a:pPr marL="0" lvl="0" indent="0" algn="ctr" defTabSz="533400">
            <a:lnSpc>
              <a:spcPct val="90000"/>
            </a:lnSpc>
            <a:spcBef>
              <a:spcPct val="0"/>
            </a:spcBef>
            <a:spcAft>
              <a:spcPct val="35000"/>
            </a:spcAft>
            <a:buNone/>
          </a:pPr>
          <a:r>
            <a:rPr kumimoji="0" lang="en-US" sz="1200" b="1" i="0" u="none" strike="noStrike" kern="1200"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Intervention possible  </a:t>
          </a:r>
          <a:endParaRPr lang="en-US" sz="1200" kern="1200" dirty="0">
            <a:latin typeface="Century Gothic" panose="020B0502020202020204" pitchFamily="34" charset="0"/>
            <a:cs typeface="Calibri" panose="020F0502020204030204" pitchFamily="34" charset="0"/>
          </a:endParaRPr>
        </a:p>
      </dsp:txBody>
      <dsp:txXfrm>
        <a:off x="7117270" y="4035256"/>
        <a:ext cx="935737" cy="935737"/>
      </dsp:txXfrm>
    </dsp:sp>
    <dsp:sp modelId="{3162DC8E-8302-418D-B6CD-C9AA1AF1AF9A}">
      <dsp:nvSpPr>
        <dsp:cNvPr id="0" name=""/>
        <dsp:cNvSpPr/>
      </dsp:nvSpPr>
      <dsp:spPr>
        <a:xfrm>
          <a:off x="5884601" y="4318152"/>
          <a:ext cx="1323333" cy="1323333"/>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endParaRPr kumimoji="0" lang="en-US" sz="1100" b="1" i="0" u="none" strike="noStrike" kern="1200"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endParaRPr>
        </a:p>
        <a:p>
          <a:pPr marL="0" lvl="0" indent="0" algn="ctr" defTabSz="488950">
            <a:lnSpc>
              <a:spcPct val="90000"/>
            </a:lnSpc>
            <a:spcBef>
              <a:spcPct val="0"/>
            </a:spcBef>
            <a:spcAft>
              <a:spcPct val="35000"/>
            </a:spcAft>
            <a:buNone/>
          </a:pPr>
          <a:r>
            <a:rPr kumimoji="0" lang="en-US" sz="1200" b="1" i="0" u="none" strike="noStrike" kern="1200"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Skip shifting based on load &amp; grade </a:t>
          </a:r>
          <a:endParaRPr lang="en-US" sz="1200" kern="1200" dirty="0">
            <a:latin typeface="Century Gothic" panose="020B0502020202020204" pitchFamily="34" charset="0"/>
            <a:cs typeface="Calibri" panose="020F0502020204030204" pitchFamily="34" charset="0"/>
          </a:endParaRPr>
        </a:p>
      </dsp:txBody>
      <dsp:txXfrm>
        <a:off x="6078399" y="4511950"/>
        <a:ext cx="935737" cy="935737"/>
      </dsp:txXfrm>
    </dsp:sp>
    <dsp:sp modelId="{5759964A-04D2-4A5C-A47C-441EEC5012C0}">
      <dsp:nvSpPr>
        <dsp:cNvPr id="0" name=""/>
        <dsp:cNvSpPr/>
      </dsp:nvSpPr>
      <dsp:spPr>
        <a:xfrm>
          <a:off x="4800939" y="4394359"/>
          <a:ext cx="1323333" cy="1323333"/>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kumimoji="0" lang="en-US" sz="1200" b="1" i="0" u="none" strike="noStrike" kern="1200"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  Engine overrun protection</a:t>
          </a:r>
          <a:endParaRPr lang="en-US" sz="1200" kern="1200" dirty="0">
            <a:latin typeface="Century Gothic" panose="020B0502020202020204" pitchFamily="34" charset="0"/>
            <a:cs typeface="Calibri" panose="020F0502020204030204" pitchFamily="34" charset="0"/>
          </a:endParaRPr>
        </a:p>
      </dsp:txBody>
      <dsp:txXfrm>
        <a:off x="4994737" y="4588157"/>
        <a:ext cx="935737" cy="935737"/>
      </dsp:txXfrm>
    </dsp:sp>
    <dsp:sp modelId="{C0951838-45A4-4D62-BB84-E3EC09BC3BB5}">
      <dsp:nvSpPr>
        <dsp:cNvPr id="0" name=""/>
        <dsp:cNvSpPr/>
      </dsp:nvSpPr>
      <dsp:spPr>
        <a:xfrm>
          <a:off x="3959706" y="3885368"/>
          <a:ext cx="1323333" cy="1323333"/>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kumimoji="0" lang="en-US" sz="1200" b="1" i="0" u="none" strike="noStrike" kern="1200"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Rock free mode</a:t>
          </a:r>
          <a:r>
            <a:rPr kumimoji="0" lang="en-US" sz="1100" b="1" i="0" u="none" strike="noStrike" kern="1200"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 </a:t>
          </a:r>
          <a:endParaRPr lang="en-US" sz="1100" kern="1200" dirty="0">
            <a:latin typeface="Century Gothic" panose="020B0502020202020204" pitchFamily="34" charset="0"/>
            <a:cs typeface="Calibri" panose="020F0502020204030204" pitchFamily="34" charset="0"/>
          </a:endParaRPr>
        </a:p>
      </dsp:txBody>
      <dsp:txXfrm>
        <a:off x="4153504" y="4079166"/>
        <a:ext cx="935737" cy="935737"/>
      </dsp:txXfrm>
    </dsp:sp>
    <dsp:sp modelId="{293DBD05-5818-4014-BFC4-0BA1233738AD}">
      <dsp:nvSpPr>
        <dsp:cNvPr id="0" name=""/>
        <dsp:cNvSpPr/>
      </dsp:nvSpPr>
      <dsp:spPr>
        <a:xfrm>
          <a:off x="3317941" y="2950664"/>
          <a:ext cx="1323333" cy="1323333"/>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kumimoji="0" lang="en-US" sz="1200" b="1" i="0" u="none" strike="noStrike" kern="1200"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Forward and reverse maneuvering</a:t>
          </a:r>
          <a:endParaRPr lang="en-US" sz="1200" kern="1200" dirty="0">
            <a:latin typeface="Century Gothic" panose="020B0502020202020204" pitchFamily="34" charset="0"/>
            <a:cs typeface="Calibri" panose="020F0502020204030204" pitchFamily="34" charset="0"/>
          </a:endParaRPr>
        </a:p>
      </dsp:txBody>
      <dsp:txXfrm>
        <a:off x="3511739" y="3144462"/>
        <a:ext cx="935737" cy="935737"/>
      </dsp:txXfrm>
    </dsp:sp>
    <dsp:sp modelId="{D1A6C131-EC8C-40FB-A030-18DAEBBFAACE}">
      <dsp:nvSpPr>
        <dsp:cNvPr id="0" name=""/>
        <dsp:cNvSpPr/>
      </dsp:nvSpPr>
      <dsp:spPr>
        <a:xfrm>
          <a:off x="3324060" y="1879755"/>
          <a:ext cx="1323333" cy="1323333"/>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kumimoji="0" lang="en-US" sz="1200" b="1" i="0" u="none" strike="noStrike" kern="1200"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Auto economy / Auto power mode</a:t>
          </a:r>
          <a:endParaRPr lang="en-US" sz="1200" kern="1200" dirty="0">
            <a:latin typeface="Century Gothic" panose="020B0502020202020204" pitchFamily="34" charset="0"/>
            <a:cs typeface="Calibri" panose="020F0502020204030204" pitchFamily="34" charset="0"/>
          </a:endParaRPr>
        </a:p>
      </dsp:txBody>
      <dsp:txXfrm>
        <a:off x="3517858" y="2073553"/>
        <a:ext cx="935737" cy="935737"/>
      </dsp:txXfrm>
    </dsp:sp>
    <dsp:sp modelId="{9ACEFBF6-63CC-4A6D-B93D-20D0CC993DD5}">
      <dsp:nvSpPr>
        <dsp:cNvPr id="0" name=""/>
        <dsp:cNvSpPr/>
      </dsp:nvSpPr>
      <dsp:spPr>
        <a:xfrm>
          <a:off x="3630897" y="895783"/>
          <a:ext cx="1323333" cy="1323333"/>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kumimoji="0" lang="en-US" sz="1200" b="1" i="0" u="none" strike="noStrike" kern="1200"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Manual </a:t>
          </a:r>
        </a:p>
        <a:p>
          <a:pPr marL="0" lvl="0" indent="0" algn="ctr" defTabSz="533400">
            <a:lnSpc>
              <a:spcPct val="90000"/>
            </a:lnSpc>
            <a:spcBef>
              <a:spcPct val="0"/>
            </a:spcBef>
            <a:spcAft>
              <a:spcPct val="35000"/>
            </a:spcAft>
            <a:buNone/>
          </a:pPr>
          <a:r>
            <a:rPr kumimoji="0" lang="en-US" sz="1200" b="1" i="0" u="none" strike="noStrike" kern="1200"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mode</a:t>
          </a:r>
          <a:endParaRPr lang="en-US" sz="1200" kern="1200" dirty="0">
            <a:latin typeface="Century Gothic" panose="020B0502020202020204" pitchFamily="34" charset="0"/>
            <a:cs typeface="Calibri" panose="020F0502020204030204" pitchFamily="34" charset="0"/>
          </a:endParaRPr>
        </a:p>
      </dsp:txBody>
      <dsp:txXfrm>
        <a:off x="3824695" y="1089581"/>
        <a:ext cx="935737" cy="935737"/>
      </dsp:txXfrm>
    </dsp:sp>
    <dsp:sp modelId="{6CFCB412-C4CD-46A3-8774-D4F9F83AB7CB}">
      <dsp:nvSpPr>
        <dsp:cNvPr id="0" name=""/>
        <dsp:cNvSpPr/>
      </dsp:nvSpPr>
      <dsp:spPr>
        <a:xfrm>
          <a:off x="4389210" y="214662"/>
          <a:ext cx="1323333" cy="1323333"/>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kumimoji="0" lang="en-US" sz="1200" b="1" i="0" u="none" strike="noStrike" kern="1200" cap="none" spc="0" normalizeH="0" baseline="0" noProof="0" dirty="0">
              <a:ln/>
              <a:effectLst/>
              <a:uLnTx/>
              <a:uFillTx/>
              <a:latin typeface="Century Gothic" panose="020B0502020202020204" pitchFamily="34" charset="0"/>
              <a:ea typeface="Cambria" panose="02040503050406030204" pitchFamily="18" charset="0"/>
              <a:cs typeface="Calibri" panose="020F0502020204030204" pitchFamily="34" charset="0"/>
            </a:rPr>
            <a:t>Variable upshift &amp; downshift rpms </a:t>
          </a:r>
          <a:endParaRPr lang="en-US" sz="1200" kern="1200" dirty="0">
            <a:latin typeface="Century Gothic" panose="020B0502020202020204" pitchFamily="34" charset="0"/>
            <a:cs typeface="Calibri" panose="020F0502020204030204" pitchFamily="34" charset="0"/>
          </a:endParaRPr>
        </a:p>
      </dsp:txBody>
      <dsp:txXfrm>
        <a:off x="4583008" y="408460"/>
        <a:ext cx="935737" cy="9357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62810A-E262-45E5-AC44-D547E11D17DC}">
      <dsp:nvSpPr>
        <dsp:cNvPr id="0" name=""/>
        <dsp:cNvSpPr/>
      </dsp:nvSpPr>
      <dsp:spPr>
        <a:xfrm>
          <a:off x="1819918" y="2387600"/>
          <a:ext cx="594019" cy="565948"/>
        </a:xfrm>
        <a:custGeom>
          <a:avLst/>
          <a:gdLst/>
          <a:ahLst/>
          <a:cxnLst/>
          <a:rect l="0" t="0" r="0" b="0"/>
          <a:pathLst>
            <a:path>
              <a:moveTo>
                <a:pt x="0" y="0"/>
              </a:moveTo>
              <a:lnTo>
                <a:pt x="297009" y="0"/>
              </a:lnTo>
              <a:lnTo>
                <a:pt x="297009" y="565948"/>
              </a:lnTo>
              <a:lnTo>
                <a:pt x="594019" y="565948"/>
              </a:lnTo>
            </a:path>
          </a:pathLst>
        </a:custGeom>
        <a:noFill/>
        <a:ln w="25400" cap="flat" cmpd="sng" algn="ctr">
          <a:solidFill>
            <a:schemeClr val="tx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0" i="0" kern="1200">
            <a:solidFill>
              <a:schemeClr val="tx1"/>
            </a:solidFill>
            <a:latin typeface="Century Gothic" panose="020B0502020202020204" pitchFamily="34" charset="0"/>
            <a:cs typeface="Calibri" pitchFamily="34" charset="0"/>
          </a:endParaRPr>
        </a:p>
      </dsp:txBody>
      <dsp:txXfrm>
        <a:off x="2096416" y="2650062"/>
        <a:ext cx="41023" cy="41023"/>
      </dsp:txXfrm>
    </dsp:sp>
    <dsp:sp modelId="{B77E5F7B-B78B-4378-A328-EFBCDDCE7127}">
      <dsp:nvSpPr>
        <dsp:cNvPr id="0" name=""/>
        <dsp:cNvSpPr/>
      </dsp:nvSpPr>
      <dsp:spPr>
        <a:xfrm>
          <a:off x="5384032" y="1821651"/>
          <a:ext cx="594019" cy="1131896"/>
        </a:xfrm>
        <a:custGeom>
          <a:avLst/>
          <a:gdLst/>
          <a:ahLst/>
          <a:cxnLst/>
          <a:rect l="0" t="0" r="0" b="0"/>
          <a:pathLst>
            <a:path>
              <a:moveTo>
                <a:pt x="0" y="0"/>
              </a:moveTo>
              <a:lnTo>
                <a:pt x="297009" y="0"/>
              </a:lnTo>
              <a:lnTo>
                <a:pt x="297009" y="1131896"/>
              </a:lnTo>
              <a:lnTo>
                <a:pt x="594019" y="1131896"/>
              </a:lnTo>
            </a:path>
          </a:pathLst>
        </a:custGeom>
        <a:noFill/>
        <a:ln w="25400" cap="flat" cmpd="sng" algn="ctr">
          <a:solidFill>
            <a:schemeClr val="tx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0" i="0" kern="1200">
            <a:solidFill>
              <a:schemeClr val="tx1"/>
            </a:solidFill>
            <a:latin typeface="Century Gothic" panose="020B0502020202020204" pitchFamily="34" charset="0"/>
            <a:cs typeface="Calibri" pitchFamily="34" charset="0"/>
          </a:endParaRPr>
        </a:p>
      </dsp:txBody>
      <dsp:txXfrm>
        <a:off x="5649084" y="2355642"/>
        <a:ext cx="63914" cy="63914"/>
      </dsp:txXfrm>
    </dsp:sp>
    <dsp:sp modelId="{32CB3A15-F536-4912-88D0-548D07D3313D}">
      <dsp:nvSpPr>
        <dsp:cNvPr id="0" name=""/>
        <dsp:cNvSpPr/>
      </dsp:nvSpPr>
      <dsp:spPr>
        <a:xfrm>
          <a:off x="5384032" y="1775931"/>
          <a:ext cx="594019" cy="91440"/>
        </a:xfrm>
        <a:custGeom>
          <a:avLst/>
          <a:gdLst/>
          <a:ahLst/>
          <a:cxnLst/>
          <a:rect l="0" t="0" r="0" b="0"/>
          <a:pathLst>
            <a:path>
              <a:moveTo>
                <a:pt x="0" y="45720"/>
              </a:moveTo>
              <a:lnTo>
                <a:pt x="594019" y="45720"/>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0" i="0" kern="1200">
            <a:solidFill>
              <a:schemeClr val="tx1"/>
            </a:solidFill>
            <a:latin typeface="Century Gothic" panose="020B0502020202020204" pitchFamily="34" charset="0"/>
            <a:cs typeface="Calibri" pitchFamily="34" charset="0"/>
          </a:endParaRPr>
        </a:p>
      </dsp:txBody>
      <dsp:txXfrm>
        <a:off x="5666191" y="1806801"/>
        <a:ext cx="29700" cy="29700"/>
      </dsp:txXfrm>
    </dsp:sp>
    <dsp:sp modelId="{8CA4B478-2CA9-4E7D-A2E7-F615ACE94B74}">
      <dsp:nvSpPr>
        <dsp:cNvPr id="0" name=""/>
        <dsp:cNvSpPr/>
      </dsp:nvSpPr>
      <dsp:spPr>
        <a:xfrm>
          <a:off x="5384032" y="689755"/>
          <a:ext cx="594019" cy="1131896"/>
        </a:xfrm>
        <a:custGeom>
          <a:avLst/>
          <a:gdLst/>
          <a:ahLst/>
          <a:cxnLst/>
          <a:rect l="0" t="0" r="0" b="0"/>
          <a:pathLst>
            <a:path>
              <a:moveTo>
                <a:pt x="0" y="1131896"/>
              </a:moveTo>
              <a:lnTo>
                <a:pt x="297009" y="1131896"/>
              </a:lnTo>
              <a:lnTo>
                <a:pt x="297009" y="0"/>
              </a:lnTo>
              <a:lnTo>
                <a:pt x="594019" y="0"/>
              </a:lnTo>
            </a:path>
          </a:pathLst>
        </a:custGeom>
        <a:noFill/>
        <a:ln w="25400" cap="flat" cmpd="sng" algn="ctr">
          <a:solidFill>
            <a:schemeClr val="tx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0" i="0" kern="1200">
            <a:solidFill>
              <a:schemeClr val="tx1"/>
            </a:solidFill>
            <a:latin typeface="Century Gothic" panose="020B0502020202020204" pitchFamily="34" charset="0"/>
            <a:cs typeface="Calibri" pitchFamily="34" charset="0"/>
          </a:endParaRPr>
        </a:p>
      </dsp:txBody>
      <dsp:txXfrm>
        <a:off x="5649084" y="1223746"/>
        <a:ext cx="63914" cy="63914"/>
      </dsp:txXfrm>
    </dsp:sp>
    <dsp:sp modelId="{4ED16203-8AD1-4ABD-97EE-7973A9D3FB37}">
      <dsp:nvSpPr>
        <dsp:cNvPr id="0" name=""/>
        <dsp:cNvSpPr/>
      </dsp:nvSpPr>
      <dsp:spPr>
        <a:xfrm>
          <a:off x="1819918" y="1821651"/>
          <a:ext cx="594019" cy="565948"/>
        </a:xfrm>
        <a:custGeom>
          <a:avLst/>
          <a:gdLst/>
          <a:ahLst/>
          <a:cxnLst/>
          <a:rect l="0" t="0" r="0" b="0"/>
          <a:pathLst>
            <a:path>
              <a:moveTo>
                <a:pt x="0" y="565948"/>
              </a:moveTo>
              <a:lnTo>
                <a:pt x="297009" y="565948"/>
              </a:lnTo>
              <a:lnTo>
                <a:pt x="297009" y="0"/>
              </a:lnTo>
              <a:lnTo>
                <a:pt x="594019" y="0"/>
              </a:lnTo>
            </a:path>
          </a:pathLst>
        </a:custGeom>
        <a:noFill/>
        <a:ln w="25400" cap="flat" cmpd="sng" algn="ctr">
          <a:solidFill>
            <a:schemeClr val="tx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0" i="0" kern="1200">
            <a:solidFill>
              <a:schemeClr val="tx1"/>
            </a:solidFill>
            <a:latin typeface="Century Gothic" panose="020B0502020202020204" pitchFamily="34" charset="0"/>
            <a:cs typeface="Calibri" pitchFamily="34" charset="0"/>
          </a:endParaRPr>
        </a:p>
      </dsp:txBody>
      <dsp:txXfrm>
        <a:off x="2096416" y="2084114"/>
        <a:ext cx="41023" cy="41023"/>
      </dsp:txXfrm>
    </dsp:sp>
    <dsp:sp modelId="{C0A15AFC-5515-460F-850E-53C5CDAC5B56}">
      <dsp:nvSpPr>
        <dsp:cNvPr id="0" name=""/>
        <dsp:cNvSpPr/>
      </dsp:nvSpPr>
      <dsp:spPr>
        <a:xfrm rot="16200000">
          <a:off x="-1015778" y="1934841"/>
          <a:ext cx="4765877" cy="9055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i="0" kern="1200" dirty="0">
              <a:solidFill>
                <a:schemeClr val="tx1"/>
              </a:solidFill>
              <a:latin typeface="Century Gothic" panose="020B0502020202020204" pitchFamily="34" charset="0"/>
              <a:cs typeface="Calibri" pitchFamily="34" charset="0"/>
            </a:rPr>
            <a:t>Verticals</a:t>
          </a:r>
        </a:p>
      </dsp:txBody>
      <dsp:txXfrm>
        <a:off x="-1015778" y="1934841"/>
        <a:ext cx="4765877" cy="905516"/>
      </dsp:txXfrm>
    </dsp:sp>
    <dsp:sp modelId="{2D0C8AF7-8E9C-47D0-B50D-118A659842C3}">
      <dsp:nvSpPr>
        <dsp:cNvPr id="0" name=""/>
        <dsp:cNvSpPr/>
      </dsp:nvSpPr>
      <dsp:spPr>
        <a:xfrm>
          <a:off x="2413937" y="1368893"/>
          <a:ext cx="2970095" cy="9055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i="0" kern="1200" dirty="0">
              <a:solidFill>
                <a:schemeClr val="tx1"/>
              </a:solidFill>
              <a:latin typeface="Century Gothic" panose="020B0502020202020204" pitchFamily="34" charset="0"/>
              <a:cs typeface="Calibri" pitchFamily="34" charset="0"/>
            </a:rPr>
            <a:t>Trucks</a:t>
          </a:r>
        </a:p>
      </dsp:txBody>
      <dsp:txXfrm>
        <a:off x="2413937" y="1368893"/>
        <a:ext cx="2970095" cy="905516"/>
      </dsp:txXfrm>
    </dsp:sp>
    <dsp:sp modelId="{175FF41F-1CBA-4132-AAB5-1A766BE35B0A}">
      <dsp:nvSpPr>
        <dsp:cNvPr id="0" name=""/>
        <dsp:cNvSpPr/>
      </dsp:nvSpPr>
      <dsp:spPr>
        <a:xfrm>
          <a:off x="5978051" y="236997"/>
          <a:ext cx="4080346" cy="9055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endParaRPr lang="en-US" sz="2000" b="0" i="0" kern="1200" dirty="0">
            <a:solidFill>
              <a:schemeClr val="tx1"/>
            </a:solidFill>
            <a:latin typeface="Century Gothic" panose="020B0502020202020204" pitchFamily="34" charset="0"/>
            <a:cs typeface="Calibri" pitchFamily="34" charset="0"/>
          </a:endParaRPr>
        </a:p>
        <a:p>
          <a:pPr marL="0" marR="0" lvl="0" indent="0" algn="ctr" defTabSz="914400" eaLnBrk="1" fontAlgn="auto" latinLnBrk="0" hangingPunct="1">
            <a:lnSpc>
              <a:spcPct val="100000"/>
            </a:lnSpc>
            <a:spcBef>
              <a:spcPct val="0"/>
            </a:spcBef>
            <a:spcAft>
              <a:spcPts val="0"/>
            </a:spcAft>
            <a:buClrTx/>
            <a:buSzTx/>
            <a:buFontTx/>
            <a:buNone/>
            <a:tabLst/>
            <a:defRPr/>
          </a:pPr>
          <a:r>
            <a:rPr lang="en-US" sz="2000" b="0" i="0" kern="1200" dirty="0">
              <a:solidFill>
                <a:schemeClr val="tx1"/>
              </a:solidFill>
              <a:latin typeface="Century Gothic" panose="020B0502020202020204" pitchFamily="34" charset="0"/>
              <a:cs typeface="Calibri" pitchFamily="34" charset="0"/>
            </a:rPr>
            <a:t>Distribution Trucks</a:t>
          </a:r>
        </a:p>
        <a:p>
          <a:pPr lvl="0" algn="ctr" defTabSz="1066800">
            <a:lnSpc>
              <a:spcPct val="90000"/>
            </a:lnSpc>
            <a:spcBef>
              <a:spcPct val="0"/>
            </a:spcBef>
            <a:spcAft>
              <a:spcPct val="35000"/>
            </a:spcAft>
            <a:buNone/>
          </a:pPr>
          <a:endParaRPr lang="en-US" sz="2000" b="0" i="0" kern="1200" dirty="0">
            <a:solidFill>
              <a:schemeClr val="tx1"/>
            </a:solidFill>
            <a:latin typeface="Century Gothic" panose="020B0502020202020204" pitchFamily="34" charset="0"/>
            <a:cs typeface="Calibri" pitchFamily="34" charset="0"/>
          </a:endParaRPr>
        </a:p>
      </dsp:txBody>
      <dsp:txXfrm>
        <a:off x="5978051" y="236997"/>
        <a:ext cx="4080346" cy="905516"/>
      </dsp:txXfrm>
    </dsp:sp>
    <dsp:sp modelId="{A857D84D-4C6E-4650-A39C-A6CCF3377C00}">
      <dsp:nvSpPr>
        <dsp:cNvPr id="0" name=""/>
        <dsp:cNvSpPr/>
      </dsp:nvSpPr>
      <dsp:spPr>
        <a:xfrm>
          <a:off x="5978051" y="1368893"/>
          <a:ext cx="4080346" cy="9055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endParaRPr lang="en-US" sz="2000" b="0" i="0" kern="1200" dirty="0">
            <a:solidFill>
              <a:schemeClr val="tx1"/>
            </a:solidFill>
            <a:latin typeface="Century Gothic" panose="020B0502020202020204" pitchFamily="34" charset="0"/>
            <a:cs typeface="Calibri" pitchFamily="34" charset="0"/>
          </a:endParaRPr>
        </a:p>
        <a:p>
          <a:pPr marL="0" marR="0" lvl="0" indent="0" algn="ctr" defTabSz="914400" eaLnBrk="1" fontAlgn="auto" latinLnBrk="0" hangingPunct="1">
            <a:lnSpc>
              <a:spcPct val="100000"/>
            </a:lnSpc>
            <a:spcBef>
              <a:spcPct val="0"/>
            </a:spcBef>
            <a:spcAft>
              <a:spcPts val="0"/>
            </a:spcAft>
            <a:buClrTx/>
            <a:buSzTx/>
            <a:buFontTx/>
            <a:buNone/>
            <a:tabLst/>
            <a:defRPr/>
          </a:pPr>
          <a:r>
            <a:rPr lang="en-US" sz="2000" b="0" i="0" kern="1200" dirty="0">
              <a:solidFill>
                <a:schemeClr val="tx1"/>
              </a:solidFill>
              <a:latin typeface="Century Gothic" panose="020B0502020202020204" pitchFamily="34" charset="0"/>
              <a:cs typeface="Calibri" pitchFamily="34" charset="0"/>
            </a:rPr>
            <a:t>Long Haulage</a:t>
          </a:r>
        </a:p>
        <a:p>
          <a:pPr lvl="0" algn="ctr" defTabSz="977900">
            <a:lnSpc>
              <a:spcPct val="90000"/>
            </a:lnSpc>
            <a:spcBef>
              <a:spcPct val="0"/>
            </a:spcBef>
            <a:spcAft>
              <a:spcPct val="35000"/>
            </a:spcAft>
            <a:buNone/>
          </a:pPr>
          <a:endParaRPr lang="en-US" sz="2000" b="0" i="0" kern="1200" dirty="0">
            <a:solidFill>
              <a:schemeClr val="tx1"/>
            </a:solidFill>
            <a:latin typeface="Century Gothic" panose="020B0502020202020204" pitchFamily="34" charset="0"/>
            <a:cs typeface="Calibri" pitchFamily="34" charset="0"/>
          </a:endParaRPr>
        </a:p>
      </dsp:txBody>
      <dsp:txXfrm>
        <a:off x="5978051" y="1368893"/>
        <a:ext cx="4080346" cy="905516"/>
      </dsp:txXfrm>
    </dsp:sp>
    <dsp:sp modelId="{9202F49A-8917-4CBC-8B9E-81681DAC3892}">
      <dsp:nvSpPr>
        <dsp:cNvPr id="0" name=""/>
        <dsp:cNvSpPr/>
      </dsp:nvSpPr>
      <dsp:spPr>
        <a:xfrm>
          <a:off x="5978051" y="2500789"/>
          <a:ext cx="4080346" cy="9055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0" i="0" kern="1200" dirty="0">
              <a:solidFill>
                <a:schemeClr val="tx1"/>
              </a:solidFill>
              <a:latin typeface="Century Gothic" panose="020B0502020202020204" pitchFamily="34" charset="0"/>
              <a:cs typeface="Calibri" pitchFamily="34" charset="0"/>
            </a:rPr>
            <a:t>Construction &amp; Mining</a:t>
          </a:r>
        </a:p>
      </dsp:txBody>
      <dsp:txXfrm>
        <a:off x="5978051" y="2500789"/>
        <a:ext cx="4080346" cy="905516"/>
      </dsp:txXfrm>
    </dsp:sp>
    <dsp:sp modelId="{1B39954A-11A9-4D6D-AD84-55213F2068D4}">
      <dsp:nvSpPr>
        <dsp:cNvPr id="0" name=""/>
        <dsp:cNvSpPr/>
      </dsp:nvSpPr>
      <dsp:spPr>
        <a:xfrm>
          <a:off x="2413937" y="2500789"/>
          <a:ext cx="2970095" cy="9055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0" i="0" kern="1200" dirty="0">
              <a:solidFill>
                <a:schemeClr val="tx1"/>
              </a:solidFill>
              <a:latin typeface="Century Gothic" panose="020B0502020202020204" pitchFamily="34" charset="0"/>
              <a:cs typeface="Calibri" pitchFamily="34" charset="0"/>
            </a:rPr>
            <a:t>Bus</a:t>
          </a:r>
        </a:p>
      </dsp:txBody>
      <dsp:txXfrm>
        <a:off x="2413937" y="2500789"/>
        <a:ext cx="2970095" cy="90551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13AC8B-2894-4DFD-A72F-A3F267B24606}">
      <dsp:nvSpPr>
        <dsp:cNvPr id="0" name=""/>
        <dsp:cNvSpPr/>
      </dsp:nvSpPr>
      <dsp:spPr>
        <a:xfrm>
          <a:off x="4480393" y="3969881"/>
          <a:ext cx="91440" cy="315816"/>
        </a:xfrm>
        <a:custGeom>
          <a:avLst/>
          <a:gdLst/>
          <a:ahLst/>
          <a:cxnLst/>
          <a:rect l="0" t="0" r="0" b="0"/>
          <a:pathLst>
            <a:path>
              <a:moveTo>
                <a:pt x="45720" y="0"/>
              </a:moveTo>
              <a:lnTo>
                <a:pt x="45720" y="315816"/>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20C6C5-3285-4CDE-BA46-6D0943D9D596}">
      <dsp:nvSpPr>
        <dsp:cNvPr id="0" name=""/>
        <dsp:cNvSpPr/>
      </dsp:nvSpPr>
      <dsp:spPr>
        <a:xfrm>
          <a:off x="4480393" y="2964517"/>
          <a:ext cx="91440" cy="315816"/>
        </a:xfrm>
        <a:custGeom>
          <a:avLst/>
          <a:gdLst/>
          <a:ahLst/>
          <a:cxnLst/>
          <a:rect l="0" t="0" r="0" b="0"/>
          <a:pathLst>
            <a:path>
              <a:moveTo>
                <a:pt x="45720" y="0"/>
              </a:moveTo>
              <a:lnTo>
                <a:pt x="45720" y="315816"/>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B4EACA8-B0B1-4715-BF2B-A6765B34581C}">
      <dsp:nvSpPr>
        <dsp:cNvPr id="0" name=""/>
        <dsp:cNvSpPr/>
      </dsp:nvSpPr>
      <dsp:spPr>
        <a:xfrm>
          <a:off x="3862506" y="1959153"/>
          <a:ext cx="663606" cy="315816"/>
        </a:xfrm>
        <a:custGeom>
          <a:avLst/>
          <a:gdLst/>
          <a:ahLst/>
          <a:cxnLst/>
          <a:rect l="0" t="0" r="0" b="0"/>
          <a:pathLst>
            <a:path>
              <a:moveTo>
                <a:pt x="0" y="0"/>
              </a:moveTo>
              <a:lnTo>
                <a:pt x="0" y="215219"/>
              </a:lnTo>
              <a:lnTo>
                <a:pt x="663606" y="215219"/>
              </a:lnTo>
              <a:lnTo>
                <a:pt x="663606" y="315816"/>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034CCD1-479E-4B20-9948-92B5CBBBDEE8}">
      <dsp:nvSpPr>
        <dsp:cNvPr id="0" name=""/>
        <dsp:cNvSpPr/>
      </dsp:nvSpPr>
      <dsp:spPr>
        <a:xfrm>
          <a:off x="3153179" y="3969881"/>
          <a:ext cx="91440" cy="315816"/>
        </a:xfrm>
        <a:custGeom>
          <a:avLst/>
          <a:gdLst/>
          <a:ahLst/>
          <a:cxnLst/>
          <a:rect l="0" t="0" r="0" b="0"/>
          <a:pathLst>
            <a:path>
              <a:moveTo>
                <a:pt x="45720" y="0"/>
              </a:moveTo>
              <a:lnTo>
                <a:pt x="45720" y="315816"/>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98C3AF5-8FC9-40AA-B76D-160D1D27E90D}">
      <dsp:nvSpPr>
        <dsp:cNvPr id="0" name=""/>
        <dsp:cNvSpPr/>
      </dsp:nvSpPr>
      <dsp:spPr>
        <a:xfrm>
          <a:off x="3153179" y="2964517"/>
          <a:ext cx="91440" cy="315816"/>
        </a:xfrm>
        <a:custGeom>
          <a:avLst/>
          <a:gdLst/>
          <a:ahLst/>
          <a:cxnLst/>
          <a:rect l="0" t="0" r="0" b="0"/>
          <a:pathLst>
            <a:path>
              <a:moveTo>
                <a:pt x="45720" y="0"/>
              </a:moveTo>
              <a:lnTo>
                <a:pt x="45720" y="315816"/>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CF7F3E-A2D8-42C3-9305-FDA73DF1D08C}">
      <dsp:nvSpPr>
        <dsp:cNvPr id="0" name=""/>
        <dsp:cNvSpPr/>
      </dsp:nvSpPr>
      <dsp:spPr>
        <a:xfrm>
          <a:off x="3198899" y="1959153"/>
          <a:ext cx="663606" cy="315816"/>
        </a:xfrm>
        <a:custGeom>
          <a:avLst/>
          <a:gdLst/>
          <a:ahLst/>
          <a:cxnLst/>
          <a:rect l="0" t="0" r="0" b="0"/>
          <a:pathLst>
            <a:path>
              <a:moveTo>
                <a:pt x="663606" y="0"/>
              </a:moveTo>
              <a:lnTo>
                <a:pt x="663606" y="215219"/>
              </a:lnTo>
              <a:lnTo>
                <a:pt x="0" y="215219"/>
              </a:lnTo>
              <a:lnTo>
                <a:pt x="0" y="315816"/>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60D064B-2F6F-4956-B6FC-9A94D7AEE3D0}">
      <dsp:nvSpPr>
        <dsp:cNvPr id="0" name=""/>
        <dsp:cNvSpPr/>
      </dsp:nvSpPr>
      <dsp:spPr>
        <a:xfrm>
          <a:off x="2535292" y="953788"/>
          <a:ext cx="1327213" cy="315816"/>
        </a:xfrm>
        <a:custGeom>
          <a:avLst/>
          <a:gdLst/>
          <a:ahLst/>
          <a:cxnLst/>
          <a:rect l="0" t="0" r="0" b="0"/>
          <a:pathLst>
            <a:path>
              <a:moveTo>
                <a:pt x="0" y="0"/>
              </a:moveTo>
              <a:lnTo>
                <a:pt x="0" y="215219"/>
              </a:lnTo>
              <a:lnTo>
                <a:pt x="1327213" y="215219"/>
              </a:lnTo>
              <a:lnTo>
                <a:pt x="1327213" y="315816"/>
              </a:lnTo>
            </a:path>
          </a:pathLst>
        </a:custGeom>
        <a:noFill/>
        <a:ln w="12700" cap="flat" cmpd="sng" algn="ctr">
          <a:solidFill>
            <a:schemeClr val="accent6">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C15912-BDA1-4A62-A133-6EFEF4E6CF3C}">
      <dsp:nvSpPr>
        <dsp:cNvPr id="0" name=""/>
        <dsp:cNvSpPr/>
      </dsp:nvSpPr>
      <dsp:spPr>
        <a:xfrm>
          <a:off x="1825965" y="3969881"/>
          <a:ext cx="91440" cy="315816"/>
        </a:xfrm>
        <a:custGeom>
          <a:avLst/>
          <a:gdLst/>
          <a:ahLst/>
          <a:cxnLst/>
          <a:rect l="0" t="0" r="0" b="0"/>
          <a:pathLst>
            <a:path>
              <a:moveTo>
                <a:pt x="45720" y="0"/>
              </a:moveTo>
              <a:lnTo>
                <a:pt x="45720" y="315816"/>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C82A640-E87F-4F69-8788-C6D628D1F9C6}">
      <dsp:nvSpPr>
        <dsp:cNvPr id="0" name=""/>
        <dsp:cNvSpPr/>
      </dsp:nvSpPr>
      <dsp:spPr>
        <a:xfrm>
          <a:off x="1825965" y="2964517"/>
          <a:ext cx="91440" cy="315816"/>
        </a:xfrm>
        <a:custGeom>
          <a:avLst/>
          <a:gdLst/>
          <a:ahLst/>
          <a:cxnLst/>
          <a:rect l="0" t="0" r="0" b="0"/>
          <a:pathLst>
            <a:path>
              <a:moveTo>
                <a:pt x="45720" y="0"/>
              </a:moveTo>
              <a:lnTo>
                <a:pt x="45720" y="315816"/>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438D59E-F2C4-40EC-82E0-617C329002F1}">
      <dsp:nvSpPr>
        <dsp:cNvPr id="0" name=""/>
        <dsp:cNvSpPr/>
      </dsp:nvSpPr>
      <dsp:spPr>
        <a:xfrm>
          <a:off x="1208078" y="1959153"/>
          <a:ext cx="663606" cy="315816"/>
        </a:xfrm>
        <a:custGeom>
          <a:avLst/>
          <a:gdLst/>
          <a:ahLst/>
          <a:cxnLst/>
          <a:rect l="0" t="0" r="0" b="0"/>
          <a:pathLst>
            <a:path>
              <a:moveTo>
                <a:pt x="0" y="0"/>
              </a:moveTo>
              <a:lnTo>
                <a:pt x="0" y="215219"/>
              </a:lnTo>
              <a:lnTo>
                <a:pt x="663606" y="215219"/>
              </a:lnTo>
              <a:lnTo>
                <a:pt x="663606" y="315816"/>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DEFDF2B-9624-487C-B112-52D884A38274}">
      <dsp:nvSpPr>
        <dsp:cNvPr id="0" name=""/>
        <dsp:cNvSpPr/>
      </dsp:nvSpPr>
      <dsp:spPr>
        <a:xfrm>
          <a:off x="498751" y="3969881"/>
          <a:ext cx="91440" cy="315816"/>
        </a:xfrm>
        <a:custGeom>
          <a:avLst/>
          <a:gdLst/>
          <a:ahLst/>
          <a:cxnLst/>
          <a:rect l="0" t="0" r="0" b="0"/>
          <a:pathLst>
            <a:path>
              <a:moveTo>
                <a:pt x="45720" y="0"/>
              </a:moveTo>
              <a:lnTo>
                <a:pt x="45720" y="315816"/>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4692E20-54D8-4B7A-94CE-8B76E4A531E4}">
      <dsp:nvSpPr>
        <dsp:cNvPr id="0" name=""/>
        <dsp:cNvSpPr/>
      </dsp:nvSpPr>
      <dsp:spPr>
        <a:xfrm>
          <a:off x="498751" y="2964517"/>
          <a:ext cx="91440" cy="315816"/>
        </a:xfrm>
        <a:custGeom>
          <a:avLst/>
          <a:gdLst/>
          <a:ahLst/>
          <a:cxnLst/>
          <a:rect l="0" t="0" r="0" b="0"/>
          <a:pathLst>
            <a:path>
              <a:moveTo>
                <a:pt x="45720" y="0"/>
              </a:moveTo>
              <a:lnTo>
                <a:pt x="45720" y="315816"/>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23E36A-E155-4F15-9798-E8CFC5398393}">
      <dsp:nvSpPr>
        <dsp:cNvPr id="0" name=""/>
        <dsp:cNvSpPr/>
      </dsp:nvSpPr>
      <dsp:spPr>
        <a:xfrm>
          <a:off x="544471" y="1959153"/>
          <a:ext cx="663606" cy="315816"/>
        </a:xfrm>
        <a:custGeom>
          <a:avLst/>
          <a:gdLst/>
          <a:ahLst/>
          <a:cxnLst/>
          <a:rect l="0" t="0" r="0" b="0"/>
          <a:pathLst>
            <a:path>
              <a:moveTo>
                <a:pt x="663606" y="0"/>
              </a:moveTo>
              <a:lnTo>
                <a:pt x="663606" y="215219"/>
              </a:lnTo>
              <a:lnTo>
                <a:pt x="0" y="215219"/>
              </a:lnTo>
              <a:lnTo>
                <a:pt x="0" y="315816"/>
              </a:lnTo>
            </a:path>
          </a:pathLst>
        </a:cu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A7AC25-D0B8-4B2A-9EFD-057FB109498D}">
      <dsp:nvSpPr>
        <dsp:cNvPr id="0" name=""/>
        <dsp:cNvSpPr/>
      </dsp:nvSpPr>
      <dsp:spPr>
        <a:xfrm>
          <a:off x="1208078" y="953788"/>
          <a:ext cx="1327213" cy="315816"/>
        </a:xfrm>
        <a:custGeom>
          <a:avLst/>
          <a:gdLst/>
          <a:ahLst/>
          <a:cxnLst/>
          <a:rect l="0" t="0" r="0" b="0"/>
          <a:pathLst>
            <a:path>
              <a:moveTo>
                <a:pt x="1327213" y="0"/>
              </a:moveTo>
              <a:lnTo>
                <a:pt x="1327213" y="215219"/>
              </a:lnTo>
              <a:lnTo>
                <a:pt x="0" y="215219"/>
              </a:lnTo>
              <a:lnTo>
                <a:pt x="0" y="315816"/>
              </a:lnTo>
            </a:path>
          </a:pathLst>
        </a:custGeom>
        <a:noFill/>
        <a:ln w="12700" cap="flat" cmpd="sng" algn="ctr">
          <a:solidFill>
            <a:schemeClr val="accent6">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1BF5AAD-4F46-40B5-B0AB-627F2BBE6FB6}">
      <dsp:nvSpPr>
        <dsp:cNvPr id="0" name=""/>
        <dsp:cNvSpPr/>
      </dsp:nvSpPr>
      <dsp:spPr>
        <a:xfrm>
          <a:off x="1992341" y="264240"/>
          <a:ext cx="1085902" cy="6895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3B5F85-4661-46C9-95E0-5CF8EE813468}">
      <dsp:nvSpPr>
        <dsp:cNvPr id="0" name=""/>
        <dsp:cNvSpPr/>
      </dsp:nvSpPr>
      <dsp:spPr>
        <a:xfrm>
          <a:off x="2112997" y="378863"/>
          <a:ext cx="1085902" cy="689547"/>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mbria" panose="02040503050406030204" pitchFamily="18" charset="0"/>
              <a:ea typeface="Cambria" panose="02040503050406030204" pitchFamily="18" charset="0"/>
            </a:rPr>
            <a:t>N2832</a:t>
          </a:r>
        </a:p>
      </dsp:txBody>
      <dsp:txXfrm>
        <a:off x="2133193" y="399059"/>
        <a:ext cx="1045510" cy="649155"/>
      </dsp:txXfrm>
    </dsp:sp>
    <dsp:sp modelId="{9B06B5C9-D833-4EA6-A935-5634D9B2CB29}">
      <dsp:nvSpPr>
        <dsp:cNvPr id="0" name=""/>
        <dsp:cNvSpPr/>
      </dsp:nvSpPr>
      <dsp:spPr>
        <a:xfrm>
          <a:off x="665127" y="1269605"/>
          <a:ext cx="1085902" cy="6895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EA2C3AD-F362-4183-9BA0-603029BE619C}">
      <dsp:nvSpPr>
        <dsp:cNvPr id="0" name=""/>
        <dsp:cNvSpPr/>
      </dsp:nvSpPr>
      <dsp:spPr>
        <a:xfrm>
          <a:off x="785783" y="1384228"/>
          <a:ext cx="1085902" cy="689547"/>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Mining , OB and Irrigation, Port</a:t>
          </a:r>
        </a:p>
      </dsp:txBody>
      <dsp:txXfrm>
        <a:off x="805979" y="1404424"/>
        <a:ext cx="1045510" cy="649155"/>
      </dsp:txXfrm>
    </dsp:sp>
    <dsp:sp modelId="{2D8D67ED-920A-4138-BD23-9DA009252F29}">
      <dsp:nvSpPr>
        <dsp:cNvPr id="0" name=""/>
        <dsp:cNvSpPr/>
      </dsp:nvSpPr>
      <dsp:spPr>
        <a:xfrm>
          <a:off x="1520" y="2274969"/>
          <a:ext cx="1085902" cy="6895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DA74406-B975-492B-B5CD-6F6B24E2169D}">
      <dsp:nvSpPr>
        <dsp:cNvPr id="0" name=""/>
        <dsp:cNvSpPr/>
      </dsp:nvSpPr>
      <dsp:spPr>
        <a:xfrm>
          <a:off x="122176" y="2389592"/>
          <a:ext cx="1085902" cy="689547"/>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16/18 Box with 25% Canopy</a:t>
          </a:r>
        </a:p>
      </dsp:txBody>
      <dsp:txXfrm>
        <a:off x="142372" y="2409788"/>
        <a:ext cx="1045510" cy="649155"/>
      </dsp:txXfrm>
    </dsp:sp>
    <dsp:sp modelId="{16D23F0B-003C-4BB1-8B46-3E1FD3EF3B35}">
      <dsp:nvSpPr>
        <dsp:cNvPr id="0" name=""/>
        <dsp:cNvSpPr/>
      </dsp:nvSpPr>
      <dsp:spPr>
        <a:xfrm>
          <a:off x="1520" y="3280333"/>
          <a:ext cx="1085902" cy="6895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8D8B43-CF71-42AD-9198-668AEA04B271}">
      <dsp:nvSpPr>
        <dsp:cNvPr id="0" name=""/>
        <dsp:cNvSpPr/>
      </dsp:nvSpPr>
      <dsp:spPr>
        <a:xfrm>
          <a:off x="122176" y="3394956"/>
          <a:ext cx="1085902" cy="689547"/>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Cambria" panose="02040503050406030204" pitchFamily="18" charset="0"/>
              <a:ea typeface="Cambria" panose="02040503050406030204" pitchFamily="18" charset="0"/>
            </a:rPr>
            <a:t>11x20 Mine Lug</a:t>
          </a:r>
        </a:p>
        <a:p>
          <a:pPr marL="0" lvl="0" indent="0" algn="ctr" defTabSz="488950">
            <a:lnSpc>
              <a:spcPct val="90000"/>
            </a:lnSpc>
            <a:spcBef>
              <a:spcPct val="0"/>
            </a:spcBef>
            <a:spcAft>
              <a:spcPct val="35000"/>
            </a:spcAft>
            <a:buNone/>
          </a:pPr>
          <a:r>
            <a:rPr lang="en-US" sz="1100" b="1" kern="1200" dirty="0">
              <a:latin typeface="Cambria" panose="02040503050406030204" pitchFamily="18" charset="0"/>
              <a:ea typeface="Cambria" panose="02040503050406030204" pitchFamily="18" charset="0"/>
            </a:rPr>
            <a:t>12x20 Mine lug opt.</a:t>
          </a:r>
        </a:p>
      </dsp:txBody>
      <dsp:txXfrm>
        <a:off x="142372" y="3415152"/>
        <a:ext cx="1045510" cy="649155"/>
      </dsp:txXfrm>
    </dsp:sp>
    <dsp:sp modelId="{B9DF0A1D-2C14-4999-975B-EA341510F5AD}">
      <dsp:nvSpPr>
        <dsp:cNvPr id="0" name=""/>
        <dsp:cNvSpPr/>
      </dsp:nvSpPr>
      <dsp:spPr>
        <a:xfrm>
          <a:off x="1520" y="4285698"/>
          <a:ext cx="1085902" cy="6895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59F16E5-D6CA-41AB-8D5B-C9E5EF7139D1}">
      <dsp:nvSpPr>
        <dsp:cNvPr id="0" name=""/>
        <dsp:cNvSpPr/>
      </dsp:nvSpPr>
      <dsp:spPr>
        <a:xfrm>
          <a:off x="122176" y="4400321"/>
          <a:ext cx="1085902" cy="689547"/>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Earth, OB,Limesstone</a:t>
          </a:r>
        </a:p>
      </dsp:txBody>
      <dsp:txXfrm>
        <a:off x="142372" y="4420517"/>
        <a:ext cx="1045510" cy="649155"/>
      </dsp:txXfrm>
    </dsp:sp>
    <dsp:sp modelId="{48A68B87-8597-427A-AEE0-4AC1B6D02175}">
      <dsp:nvSpPr>
        <dsp:cNvPr id="0" name=""/>
        <dsp:cNvSpPr/>
      </dsp:nvSpPr>
      <dsp:spPr>
        <a:xfrm>
          <a:off x="1328734" y="2274969"/>
          <a:ext cx="1085902" cy="6895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44EEF2F-EBDA-46A4-A025-C2DE6C2889FF}">
      <dsp:nvSpPr>
        <dsp:cNvPr id="0" name=""/>
        <dsp:cNvSpPr/>
      </dsp:nvSpPr>
      <dsp:spPr>
        <a:xfrm>
          <a:off x="1449390" y="2389592"/>
          <a:ext cx="1085902" cy="689547"/>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16 Rock  with  100% Canopy</a:t>
          </a:r>
        </a:p>
      </dsp:txBody>
      <dsp:txXfrm>
        <a:off x="1469586" y="2409788"/>
        <a:ext cx="1045510" cy="649155"/>
      </dsp:txXfrm>
    </dsp:sp>
    <dsp:sp modelId="{BC8EB294-6443-4B0C-9F70-4E15751B5767}">
      <dsp:nvSpPr>
        <dsp:cNvPr id="0" name=""/>
        <dsp:cNvSpPr/>
      </dsp:nvSpPr>
      <dsp:spPr>
        <a:xfrm>
          <a:off x="1328734" y="3280333"/>
          <a:ext cx="1085902" cy="6895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947971-2F65-4994-BE5F-A90B32534965}">
      <dsp:nvSpPr>
        <dsp:cNvPr id="0" name=""/>
        <dsp:cNvSpPr/>
      </dsp:nvSpPr>
      <dsp:spPr>
        <a:xfrm>
          <a:off x="1449390" y="3394956"/>
          <a:ext cx="1085902" cy="689547"/>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Cambria" panose="02040503050406030204" pitchFamily="18" charset="0"/>
              <a:ea typeface="Cambria" panose="02040503050406030204" pitchFamily="18" charset="0"/>
            </a:rPr>
            <a:t>11x20 Mine Lug</a:t>
          </a:r>
        </a:p>
        <a:p>
          <a:pPr marL="0" lvl="0" indent="0" algn="ctr" defTabSz="488950">
            <a:lnSpc>
              <a:spcPct val="90000"/>
            </a:lnSpc>
            <a:spcBef>
              <a:spcPct val="0"/>
            </a:spcBef>
            <a:spcAft>
              <a:spcPct val="35000"/>
            </a:spcAft>
            <a:buNone/>
          </a:pPr>
          <a:r>
            <a:rPr lang="en-US" sz="1100" b="1" kern="1200" dirty="0">
              <a:latin typeface="Cambria" panose="02040503050406030204" pitchFamily="18" charset="0"/>
              <a:ea typeface="Cambria" panose="02040503050406030204" pitchFamily="18" charset="0"/>
            </a:rPr>
            <a:t>12x20 Mine lug opt.</a:t>
          </a:r>
        </a:p>
      </dsp:txBody>
      <dsp:txXfrm>
        <a:off x="1469586" y="3415152"/>
        <a:ext cx="1045510" cy="649155"/>
      </dsp:txXfrm>
    </dsp:sp>
    <dsp:sp modelId="{C754130F-D528-4022-B612-2D649C998CC5}">
      <dsp:nvSpPr>
        <dsp:cNvPr id="0" name=""/>
        <dsp:cNvSpPr/>
      </dsp:nvSpPr>
      <dsp:spPr>
        <a:xfrm>
          <a:off x="1328734" y="4285698"/>
          <a:ext cx="1085902" cy="6895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219811B-CCCC-4CC4-91E4-8F91885881DE}">
      <dsp:nvSpPr>
        <dsp:cNvPr id="0" name=""/>
        <dsp:cNvSpPr/>
      </dsp:nvSpPr>
      <dsp:spPr>
        <a:xfrm>
          <a:off x="1449390" y="4400321"/>
          <a:ext cx="1085902" cy="689547"/>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OB, Coal, Iron, Stone</a:t>
          </a:r>
        </a:p>
      </dsp:txBody>
      <dsp:txXfrm>
        <a:off x="1469586" y="4420517"/>
        <a:ext cx="1045510" cy="649155"/>
      </dsp:txXfrm>
    </dsp:sp>
    <dsp:sp modelId="{0280BCFA-2950-4B22-980F-25C3D49F86C5}">
      <dsp:nvSpPr>
        <dsp:cNvPr id="0" name=""/>
        <dsp:cNvSpPr/>
      </dsp:nvSpPr>
      <dsp:spPr>
        <a:xfrm>
          <a:off x="3319555" y="1269605"/>
          <a:ext cx="1085902" cy="6895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42004F5-91AA-47E7-8D0C-3188A7342222}">
      <dsp:nvSpPr>
        <dsp:cNvPr id="0" name=""/>
        <dsp:cNvSpPr/>
      </dsp:nvSpPr>
      <dsp:spPr>
        <a:xfrm>
          <a:off x="3440211" y="1384228"/>
          <a:ext cx="1085902" cy="689547"/>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Quarry and Construction</a:t>
          </a:r>
        </a:p>
      </dsp:txBody>
      <dsp:txXfrm>
        <a:off x="3460407" y="1404424"/>
        <a:ext cx="1045510" cy="649155"/>
      </dsp:txXfrm>
    </dsp:sp>
    <dsp:sp modelId="{989CD059-5E11-4B29-9444-F46CE8A13ADC}">
      <dsp:nvSpPr>
        <dsp:cNvPr id="0" name=""/>
        <dsp:cNvSpPr/>
      </dsp:nvSpPr>
      <dsp:spPr>
        <a:xfrm>
          <a:off x="2655948" y="2274969"/>
          <a:ext cx="1085902" cy="6895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7D6C45-7D13-4DA9-ADAB-FD715CCA32D0}">
      <dsp:nvSpPr>
        <dsp:cNvPr id="0" name=""/>
        <dsp:cNvSpPr/>
      </dsp:nvSpPr>
      <dsp:spPr>
        <a:xfrm>
          <a:off x="2776604" y="2389592"/>
          <a:ext cx="1085902" cy="689547"/>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16/18 Box with 25% Canopy</a:t>
          </a:r>
        </a:p>
      </dsp:txBody>
      <dsp:txXfrm>
        <a:off x="2796800" y="2409788"/>
        <a:ext cx="1045510" cy="649155"/>
      </dsp:txXfrm>
    </dsp:sp>
    <dsp:sp modelId="{3EE818D2-E665-4AF5-B02F-48CF906D0E0E}">
      <dsp:nvSpPr>
        <dsp:cNvPr id="0" name=""/>
        <dsp:cNvSpPr/>
      </dsp:nvSpPr>
      <dsp:spPr>
        <a:xfrm>
          <a:off x="2655948" y="3280333"/>
          <a:ext cx="1085902" cy="6895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98B4FF-EC89-4CB6-8569-2AD21BB005B7}">
      <dsp:nvSpPr>
        <dsp:cNvPr id="0" name=""/>
        <dsp:cNvSpPr/>
      </dsp:nvSpPr>
      <dsp:spPr>
        <a:xfrm>
          <a:off x="2776604" y="3394956"/>
          <a:ext cx="1085902" cy="689547"/>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Cambria" panose="02040503050406030204" pitchFamily="18" charset="0"/>
              <a:ea typeface="Cambria" panose="02040503050406030204" pitchFamily="18" charset="0"/>
            </a:rPr>
            <a:t>11x20 Mine Lug</a:t>
          </a:r>
        </a:p>
        <a:p>
          <a:pPr marL="0" lvl="0" indent="0" algn="ctr" defTabSz="488950">
            <a:lnSpc>
              <a:spcPct val="90000"/>
            </a:lnSpc>
            <a:spcBef>
              <a:spcPct val="0"/>
            </a:spcBef>
            <a:spcAft>
              <a:spcPct val="35000"/>
            </a:spcAft>
            <a:buNone/>
          </a:pPr>
          <a:r>
            <a:rPr lang="en-US" sz="1100" b="1" kern="1200" dirty="0">
              <a:latin typeface="Cambria" panose="02040503050406030204" pitchFamily="18" charset="0"/>
              <a:ea typeface="Cambria" panose="02040503050406030204" pitchFamily="18" charset="0"/>
            </a:rPr>
            <a:t>12x20 Mine lug opt.</a:t>
          </a:r>
        </a:p>
      </dsp:txBody>
      <dsp:txXfrm>
        <a:off x="2796800" y="3415152"/>
        <a:ext cx="1045510" cy="649155"/>
      </dsp:txXfrm>
    </dsp:sp>
    <dsp:sp modelId="{0ECF104F-D70E-4EFE-ADA1-7527CD077919}">
      <dsp:nvSpPr>
        <dsp:cNvPr id="0" name=""/>
        <dsp:cNvSpPr/>
      </dsp:nvSpPr>
      <dsp:spPr>
        <a:xfrm>
          <a:off x="2655948" y="4285698"/>
          <a:ext cx="1085902" cy="6895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D12DD6-6C91-482C-973D-060DF33FB557}">
      <dsp:nvSpPr>
        <dsp:cNvPr id="0" name=""/>
        <dsp:cNvSpPr/>
      </dsp:nvSpPr>
      <dsp:spPr>
        <a:xfrm>
          <a:off x="2776604" y="4400321"/>
          <a:ext cx="1085902" cy="689547"/>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Bluemetal, Sand</a:t>
          </a:r>
        </a:p>
      </dsp:txBody>
      <dsp:txXfrm>
        <a:off x="2796800" y="4420517"/>
        <a:ext cx="1045510" cy="649155"/>
      </dsp:txXfrm>
    </dsp:sp>
    <dsp:sp modelId="{A7A5660F-AAC2-4219-957F-4DED38090C89}">
      <dsp:nvSpPr>
        <dsp:cNvPr id="0" name=""/>
        <dsp:cNvSpPr/>
      </dsp:nvSpPr>
      <dsp:spPr>
        <a:xfrm>
          <a:off x="3983162" y="2274969"/>
          <a:ext cx="1085902" cy="6895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E73AB7B-7B9F-4818-8A98-8907C9FD69B0}">
      <dsp:nvSpPr>
        <dsp:cNvPr id="0" name=""/>
        <dsp:cNvSpPr/>
      </dsp:nvSpPr>
      <dsp:spPr>
        <a:xfrm>
          <a:off x="4103817" y="2389592"/>
          <a:ext cx="1085902" cy="689547"/>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16 Rock with 100% Canopy</a:t>
          </a:r>
        </a:p>
      </dsp:txBody>
      <dsp:txXfrm>
        <a:off x="4124013" y="2409788"/>
        <a:ext cx="1045510" cy="649155"/>
      </dsp:txXfrm>
    </dsp:sp>
    <dsp:sp modelId="{00C8F16C-243D-4D34-8E10-5ED1A454AFB5}">
      <dsp:nvSpPr>
        <dsp:cNvPr id="0" name=""/>
        <dsp:cNvSpPr/>
      </dsp:nvSpPr>
      <dsp:spPr>
        <a:xfrm>
          <a:off x="3983162" y="3280333"/>
          <a:ext cx="1085902" cy="6895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F48572-0C51-4336-911E-B2925768C07F}">
      <dsp:nvSpPr>
        <dsp:cNvPr id="0" name=""/>
        <dsp:cNvSpPr/>
      </dsp:nvSpPr>
      <dsp:spPr>
        <a:xfrm>
          <a:off x="4103817" y="3394956"/>
          <a:ext cx="1085902" cy="689547"/>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Cambria" panose="02040503050406030204" pitchFamily="18" charset="0"/>
              <a:ea typeface="Cambria" panose="02040503050406030204" pitchFamily="18" charset="0"/>
            </a:rPr>
            <a:t>11x20 Mine Lug</a:t>
          </a:r>
        </a:p>
        <a:p>
          <a:pPr marL="0" lvl="0" indent="0" algn="ctr" defTabSz="488950">
            <a:lnSpc>
              <a:spcPct val="90000"/>
            </a:lnSpc>
            <a:spcBef>
              <a:spcPct val="0"/>
            </a:spcBef>
            <a:spcAft>
              <a:spcPct val="35000"/>
            </a:spcAft>
            <a:buNone/>
          </a:pPr>
          <a:r>
            <a:rPr lang="en-US" sz="1100" b="1" kern="1200" dirty="0">
              <a:latin typeface="Cambria" panose="02040503050406030204" pitchFamily="18" charset="0"/>
              <a:ea typeface="Cambria" panose="02040503050406030204" pitchFamily="18" charset="0"/>
            </a:rPr>
            <a:t>12x20 Mine lug opt.</a:t>
          </a:r>
        </a:p>
      </dsp:txBody>
      <dsp:txXfrm>
        <a:off x="4124013" y="3415152"/>
        <a:ext cx="1045510" cy="649155"/>
      </dsp:txXfrm>
    </dsp:sp>
    <dsp:sp modelId="{64D5F178-51BD-4202-9C02-3B1238743525}">
      <dsp:nvSpPr>
        <dsp:cNvPr id="0" name=""/>
        <dsp:cNvSpPr/>
      </dsp:nvSpPr>
      <dsp:spPr>
        <a:xfrm>
          <a:off x="3983162" y="4285698"/>
          <a:ext cx="1085902" cy="6895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6B6C756-63D8-41D5-B2BB-41C0207DDFED}">
      <dsp:nvSpPr>
        <dsp:cNvPr id="0" name=""/>
        <dsp:cNvSpPr/>
      </dsp:nvSpPr>
      <dsp:spPr>
        <a:xfrm>
          <a:off x="4103817" y="4400321"/>
          <a:ext cx="1085902" cy="689547"/>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Boulder</a:t>
          </a:r>
        </a:p>
      </dsp:txBody>
      <dsp:txXfrm>
        <a:off x="4124013" y="4420517"/>
        <a:ext cx="1045510" cy="64915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13AC8B-2894-4DFD-A72F-A3F267B24606}">
      <dsp:nvSpPr>
        <dsp:cNvPr id="0" name=""/>
        <dsp:cNvSpPr/>
      </dsp:nvSpPr>
      <dsp:spPr>
        <a:xfrm>
          <a:off x="4275182" y="3923530"/>
          <a:ext cx="91440" cy="301497"/>
        </a:xfrm>
        <a:custGeom>
          <a:avLst/>
          <a:gdLst/>
          <a:ahLst/>
          <a:cxnLst/>
          <a:rect l="0" t="0" r="0" b="0"/>
          <a:pathLst>
            <a:path>
              <a:moveTo>
                <a:pt x="45720" y="0"/>
              </a:moveTo>
              <a:lnTo>
                <a:pt x="45720" y="30149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20C6C5-3285-4CDE-BA46-6D0943D9D596}">
      <dsp:nvSpPr>
        <dsp:cNvPr id="0" name=""/>
        <dsp:cNvSpPr/>
      </dsp:nvSpPr>
      <dsp:spPr>
        <a:xfrm>
          <a:off x="4275182" y="2963748"/>
          <a:ext cx="91440" cy="301497"/>
        </a:xfrm>
        <a:custGeom>
          <a:avLst/>
          <a:gdLst/>
          <a:ahLst/>
          <a:cxnLst/>
          <a:rect l="0" t="0" r="0" b="0"/>
          <a:pathLst>
            <a:path>
              <a:moveTo>
                <a:pt x="45720" y="0"/>
              </a:moveTo>
              <a:lnTo>
                <a:pt x="45720" y="30149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B4EACA8-B0B1-4715-BF2B-A6765B34581C}">
      <dsp:nvSpPr>
        <dsp:cNvPr id="0" name=""/>
        <dsp:cNvSpPr/>
      </dsp:nvSpPr>
      <dsp:spPr>
        <a:xfrm>
          <a:off x="3687383" y="2003966"/>
          <a:ext cx="633519" cy="301497"/>
        </a:xfrm>
        <a:custGeom>
          <a:avLst/>
          <a:gdLst/>
          <a:ahLst/>
          <a:cxnLst/>
          <a:rect l="0" t="0" r="0" b="0"/>
          <a:pathLst>
            <a:path>
              <a:moveTo>
                <a:pt x="0" y="0"/>
              </a:moveTo>
              <a:lnTo>
                <a:pt x="0" y="205461"/>
              </a:lnTo>
              <a:lnTo>
                <a:pt x="633519" y="205461"/>
              </a:lnTo>
              <a:lnTo>
                <a:pt x="633519" y="30149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034CCD1-479E-4B20-9948-92B5CBBBDEE8}">
      <dsp:nvSpPr>
        <dsp:cNvPr id="0" name=""/>
        <dsp:cNvSpPr/>
      </dsp:nvSpPr>
      <dsp:spPr>
        <a:xfrm>
          <a:off x="3008143" y="3923530"/>
          <a:ext cx="91440" cy="301497"/>
        </a:xfrm>
        <a:custGeom>
          <a:avLst/>
          <a:gdLst/>
          <a:ahLst/>
          <a:cxnLst/>
          <a:rect l="0" t="0" r="0" b="0"/>
          <a:pathLst>
            <a:path>
              <a:moveTo>
                <a:pt x="45720" y="0"/>
              </a:moveTo>
              <a:lnTo>
                <a:pt x="45720" y="30149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98C3AF5-8FC9-40AA-B76D-160D1D27E90D}">
      <dsp:nvSpPr>
        <dsp:cNvPr id="0" name=""/>
        <dsp:cNvSpPr/>
      </dsp:nvSpPr>
      <dsp:spPr>
        <a:xfrm>
          <a:off x="3008143" y="2963748"/>
          <a:ext cx="91440" cy="301497"/>
        </a:xfrm>
        <a:custGeom>
          <a:avLst/>
          <a:gdLst/>
          <a:ahLst/>
          <a:cxnLst/>
          <a:rect l="0" t="0" r="0" b="0"/>
          <a:pathLst>
            <a:path>
              <a:moveTo>
                <a:pt x="45720" y="0"/>
              </a:moveTo>
              <a:lnTo>
                <a:pt x="45720" y="30149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CF7F3E-A2D8-42C3-9305-FDA73DF1D08C}">
      <dsp:nvSpPr>
        <dsp:cNvPr id="0" name=""/>
        <dsp:cNvSpPr/>
      </dsp:nvSpPr>
      <dsp:spPr>
        <a:xfrm>
          <a:off x="3053863" y="2003966"/>
          <a:ext cx="633519" cy="301497"/>
        </a:xfrm>
        <a:custGeom>
          <a:avLst/>
          <a:gdLst/>
          <a:ahLst/>
          <a:cxnLst/>
          <a:rect l="0" t="0" r="0" b="0"/>
          <a:pathLst>
            <a:path>
              <a:moveTo>
                <a:pt x="633519" y="0"/>
              </a:moveTo>
              <a:lnTo>
                <a:pt x="633519" y="205461"/>
              </a:lnTo>
              <a:lnTo>
                <a:pt x="0" y="205461"/>
              </a:lnTo>
              <a:lnTo>
                <a:pt x="0" y="30149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60D064B-2F6F-4956-B6FC-9A94D7AEE3D0}">
      <dsp:nvSpPr>
        <dsp:cNvPr id="0" name=""/>
        <dsp:cNvSpPr/>
      </dsp:nvSpPr>
      <dsp:spPr>
        <a:xfrm>
          <a:off x="2363560" y="1044184"/>
          <a:ext cx="1323822" cy="301497"/>
        </a:xfrm>
        <a:custGeom>
          <a:avLst/>
          <a:gdLst/>
          <a:ahLst/>
          <a:cxnLst/>
          <a:rect l="0" t="0" r="0" b="0"/>
          <a:pathLst>
            <a:path>
              <a:moveTo>
                <a:pt x="0" y="0"/>
              </a:moveTo>
              <a:lnTo>
                <a:pt x="0" y="205461"/>
              </a:lnTo>
              <a:lnTo>
                <a:pt x="1323822" y="205461"/>
              </a:lnTo>
              <a:lnTo>
                <a:pt x="1323822" y="3014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C15912-BDA1-4A62-A133-6EFEF4E6CF3C}">
      <dsp:nvSpPr>
        <dsp:cNvPr id="0" name=""/>
        <dsp:cNvSpPr/>
      </dsp:nvSpPr>
      <dsp:spPr>
        <a:xfrm>
          <a:off x="1741104" y="3923530"/>
          <a:ext cx="91440" cy="301497"/>
        </a:xfrm>
        <a:custGeom>
          <a:avLst/>
          <a:gdLst/>
          <a:ahLst/>
          <a:cxnLst/>
          <a:rect l="0" t="0" r="0" b="0"/>
          <a:pathLst>
            <a:path>
              <a:moveTo>
                <a:pt x="45720" y="0"/>
              </a:moveTo>
              <a:lnTo>
                <a:pt x="45720" y="30149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C82A640-E87F-4F69-8788-C6D628D1F9C6}">
      <dsp:nvSpPr>
        <dsp:cNvPr id="0" name=""/>
        <dsp:cNvSpPr/>
      </dsp:nvSpPr>
      <dsp:spPr>
        <a:xfrm>
          <a:off x="1741104" y="2963748"/>
          <a:ext cx="91440" cy="301497"/>
        </a:xfrm>
        <a:custGeom>
          <a:avLst/>
          <a:gdLst/>
          <a:ahLst/>
          <a:cxnLst/>
          <a:rect l="0" t="0" r="0" b="0"/>
          <a:pathLst>
            <a:path>
              <a:moveTo>
                <a:pt x="45720" y="0"/>
              </a:moveTo>
              <a:lnTo>
                <a:pt x="45720" y="30149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438D59E-F2C4-40EC-82E0-617C329002F1}">
      <dsp:nvSpPr>
        <dsp:cNvPr id="0" name=""/>
        <dsp:cNvSpPr/>
      </dsp:nvSpPr>
      <dsp:spPr>
        <a:xfrm>
          <a:off x="1153305" y="2003966"/>
          <a:ext cx="633519" cy="301497"/>
        </a:xfrm>
        <a:custGeom>
          <a:avLst/>
          <a:gdLst/>
          <a:ahLst/>
          <a:cxnLst/>
          <a:rect l="0" t="0" r="0" b="0"/>
          <a:pathLst>
            <a:path>
              <a:moveTo>
                <a:pt x="0" y="0"/>
              </a:moveTo>
              <a:lnTo>
                <a:pt x="0" y="205461"/>
              </a:lnTo>
              <a:lnTo>
                <a:pt x="633519" y="205461"/>
              </a:lnTo>
              <a:lnTo>
                <a:pt x="633519" y="30149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DEFDF2B-9624-487C-B112-52D884A38274}">
      <dsp:nvSpPr>
        <dsp:cNvPr id="0" name=""/>
        <dsp:cNvSpPr/>
      </dsp:nvSpPr>
      <dsp:spPr>
        <a:xfrm>
          <a:off x="474066" y="3923530"/>
          <a:ext cx="91440" cy="301497"/>
        </a:xfrm>
        <a:custGeom>
          <a:avLst/>
          <a:gdLst/>
          <a:ahLst/>
          <a:cxnLst/>
          <a:rect l="0" t="0" r="0" b="0"/>
          <a:pathLst>
            <a:path>
              <a:moveTo>
                <a:pt x="45720" y="0"/>
              </a:moveTo>
              <a:lnTo>
                <a:pt x="45720" y="30149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4692E20-54D8-4B7A-94CE-8B76E4A531E4}">
      <dsp:nvSpPr>
        <dsp:cNvPr id="0" name=""/>
        <dsp:cNvSpPr/>
      </dsp:nvSpPr>
      <dsp:spPr>
        <a:xfrm>
          <a:off x="474066" y="2963748"/>
          <a:ext cx="91440" cy="301497"/>
        </a:xfrm>
        <a:custGeom>
          <a:avLst/>
          <a:gdLst/>
          <a:ahLst/>
          <a:cxnLst/>
          <a:rect l="0" t="0" r="0" b="0"/>
          <a:pathLst>
            <a:path>
              <a:moveTo>
                <a:pt x="45720" y="0"/>
              </a:moveTo>
              <a:lnTo>
                <a:pt x="45720" y="30149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23E36A-E155-4F15-9798-E8CFC5398393}">
      <dsp:nvSpPr>
        <dsp:cNvPr id="0" name=""/>
        <dsp:cNvSpPr/>
      </dsp:nvSpPr>
      <dsp:spPr>
        <a:xfrm>
          <a:off x="519786" y="2003966"/>
          <a:ext cx="633519" cy="301497"/>
        </a:xfrm>
        <a:custGeom>
          <a:avLst/>
          <a:gdLst/>
          <a:ahLst/>
          <a:cxnLst/>
          <a:rect l="0" t="0" r="0" b="0"/>
          <a:pathLst>
            <a:path>
              <a:moveTo>
                <a:pt x="633519" y="0"/>
              </a:moveTo>
              <a:lnTo>
                <a:pt x="633519" y="205461"/>
              </a:lnTo>
              <a:lnTo>
                <a:pt x="0" y="205461"/>
              </a:lnTo>
              <a:lnTo>
                <a:pt x="0" y="30149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A7AC25-D0B8-4B2A-9EFD-057FB109498D}">
      <dsp:nvSpPr>
        <dsp:cNvPr id="0" name=""/>
        <dsp:cNvSpPr/>
      </dsp:nvSpPr>
      <dsp:spPr>
        <a:xfrm>
          <a:off x="1153305" y="1044184"/>
          <a:ext cx="1210255" cy="301497"/>
        </a:xfrm>
        <a:custGeom>
          <a:avLst/>
          <a:gdLst/>
          <a:ahLst/>
          <a:cxnLst/>
          <a:rect l="0" t="0" r="0" b="0"/>
          <a:pathLst>
            <a:path>
              <a:moveTo>
                <a:pt x="1210255" y="0"/>
              </a:moveTo>
              <a:lnTo>
                <a:pt x="1210255" y="205461"/>
              </a:lnTo>
              <a:lnTo>
                <a:pt x="0" y="205461"/>
              </a:lnTo>
              <a:lnTo>
                <a:pt x="0" y="3014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1BF5AAD-4F46-40B5-B0AB-627F2BBE6FB6}">
      <dsp:nvSpPr>
        <dsp:cNvPr id="0" name=""/>
        <dsp:cNvSpPr/>
      </dsp:nvSpPr>
      <dsp:spPr>
        <a:xfrm>
          <a:off x="1845226" y="385899"/>
          <a:ext cx="1036668" cy="65828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3B5F85-4661-46C9-95E0-5CF8EE813468}">
      <dsp:nvSpPr>
        <dsp:cNvPr id="0" name=""/>
        <dsp:cNvSpPr/>
      </dsp:nvSpPr>
      <dsp:spPr>
        <a:xfrm>
          <a:off x="1960412" y="495325"/>
          <a:ext cx="1036668" cy="6582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mbria" panose="02040503050406030204" pitchFamily="18" charset="0"/>
              <a:ea typeface="Cambria" panose="02040503050406030204" pitchFamily="18" charset="0"/>
            </a:rPr>
            <a:t>N3532</a:t>
          </a:r>
        </a:p>
      </dsp:txBody>
      <dsp:txXfrm>
        <a:off x="1979692" y="514605"/>
        <a:ext cx="998108" cy="619724"/>
      </dsp:txXfrm>
    </dsp:sp>
    <dsp:sp modelId="{9B06B5C9-D833-4EA6-A935-5634D9B2CB29}">
      <dsp:nvSpPr>
        <dsp:cNvPr id="0" name=""/>
        <dsp:cNvSpPr/>
      </dsp:nvSpPr>
      <dsp:spPr>
        <a:xfrm>
          <a:off x="521404" y="1345681"/>
          <a:ext cx="1263802" cy="65828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EA2C3AD-F362-4183-9BA0-603029BE619C}">
      <dsp:nvSpPr>
        <dsp:cNvPr id="0" name=""/>
        <dsp:cNvSpPr/>
      </dsp:nvSpPr>
      <dsp:spPr>
        <a:xfrm>
          <a:off x="636589" y="1455107"/>
          <a:ext cx="1263802" cy="6582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Mining , OB and Irrigation, Port</a:t>
          </a:r>
        </a:p>
      </dsp:txBody>
      <dsp:txXfrm>
        <a:off x="655869" y="1474387"/>
        <a:ext cx="1225242" cy="619724"/>
      </dsp:txXfrm>
    </dsp:sp>
    <dsp:sp modelId="{2D8D67ED-920A-4138-BD23-9DA009252F29}">
      <dsp:nvSpPr>
        <dsp:cNvPr id="0" name=""/>
        <dsp:cNvSpPr/>
      </dsp:nvSpPr>
      <dsp:spPr>
        <a:xfrm>
          <a:off x="1451" y="2305463"/>
          <a:ext cx="1036668" cy="65828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DA74406-B975-492B-B5CD-6F6B24E2169D}">
      <dsp:nvSpPr>
        <dsp:cNvPr id="0" name=""/>
        <dsp:cNvSpPr/>
      </dsp:nvSpPr>
      <dsp:spPr>
        <a:xfrm>
          <a:off x="116637" y="2414889"/>
          <a:ext cx="1036668" cy="6582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23 Box with 25% Canopy</a:t>
          </a:r>
        </a:p>
      </dsp:txBody>
      <dsp:txXfrm>
        <a:off x="135917" y="2434169"/>
        <a:ext cx="998108" cy="619724"/>
      </dsp:txXfrm>
    </dsp:sp>
    <dsp:sp modelId="{16D23F0B-003C-4BB1-8B46-3E1FD3EF3B35}">
      <dsp:nvSpPr>
        <dsp:cNvPr id="0" name=""/>
        <dsp:cNvSpPr/>
      </dsp:nvSpPr>
      <dsp:spPr>
        <a:xfrm>
          <a:off x="1451" y="3265245"/>
          <a:ext cx="1036668" cy="65828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8D8B43-CF71-42AD-9198-668AEA04B271}">
      <dsp:nvSpPr>
        <dsp:cNvPr id="0" name=""/>
        <dsp:cNvSpPr/>
      </dsp:nvSpPr>
      <dsp:spPr>
        <a:xfrm>
          <a:off x="116637" y="3374671"/>
          <a:ext cx="1036668" cy="6582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n-US" sz="1050" b="1" kern="1200" dirty="0">
              <a:latin typeface="Cambria" panose="02040503050406030204" pitchFamily="18" charset="0"/>
              <a:ea typeface="Cambria" panose="02040503050406030204" pitchFamily="18" charset="0"/>
            </a:rPr>
            <a:t>12x20 Mine Lug</a:t>
          </a:r>
        </a:p>
        <a:p>
          <a:pPr marL="0" lvl="0" indent="0" algn="ctr" defTabSz="466725">
            <a:lnSpc>
              <a:spcPct val="90000"/>
            </a:lnSpc>
            <a:spcBef>
              <a:spcPct val="0"/>
            </a:spcBef>
            <a:spcAft>
              <a:spcPct val="35000"/>
            </a:spcAft>
            <a:buNone/>
          </a:pPr>
          <a:r>
            <a:rPr lang="en-US" sz="1050" b="1" kern="1200" dirty="0">
              <a:latin typeface="Cambria" panose="02040503050406030204" pitchFamily="18" charset="0"/>
              <a:ea typeface="Cambria" panose="02040503050406030204" pitchFamily="18" charset="0"/>
            </a:rPr>
            <a:t>11x20 Mine Lug, </a:t>
          </a:r>
        </a:p>
      </dsp:txBody>
      <dsp:txXfrm>
        <a:off x="135917" y="3393951"/>
        <a:ext cx="998108" cy="619724"/>
      </dsp:txXfrm>
    </dsp:sp>
    <dsp:sp modelId="{B9DF0A1D-2C14-4999-975B-EA341510F5AD}">
      <dsp:nvSpPr>
        <dsp:cNvPr id="0" name=""/>
        <dsp:cNvSpPr/>
      </dsp:nvSpPr>
      <dsp:spPr>
        <a:xfrm>
          <a:off x="1451" y="4225027"/>
          <a:ext cx="1036668" cy="65828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59F16E5-D6CA-41AB-8D5B-C9E5EF7139D1}">
      <dsp:nvSpPr>
        <dsp:cNvPr id="0" name=""/>
        <dsp:cNvSpPr/>
      </dsp:nvSpPr>
      <dsp:spPr>
        <a:xfrm>
          <a:off x="116637" y="4334453"/>
          <a:ext cx="1036668" cy="6582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Earth, OB,Limesstone</a:t>
          </a:r>
        </a:p>
      </dsp:txBody>
      <dsp:txXfrm>
        <a:off x="135917" y="4353733"/>
        <a:ext cx="998108" cy="619724"/>
      </dsp:txXfrm>
    </dsp:sp>
    <dsp:sp modelId="{48A68B87-8597-427A-AEE0-4AC1B6D02175}">
      <dsp:nvSpPr>
        <dsp:cNvPr id="0" name=""/>
        <dsp:cNvSpPr/>
      </dsp:nvSpPr>
      <dsp:spPr>
        <a:xfrm>
          <a:off x="1268490" y="2305463"/>
          <a:ext cx="1036668" cy="65828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44EEF2F-EBDA-46A4-A025-C2DE6C2889FF}">
      <dsp:nvSpPr>
        <dsp:cNvPr id="0" name=""/>
        <dsp:cNvSpPr/>
      </dsp:nvSpPr>
      <dsp:spPr>
        <a:xfrm>
          <a:off x="1383676" y="2414889"/>
          <a:ext cx="1036668" cy="6582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19 Rock  with 100% Canopy</a:t>
          </a:r>
        </a:p>
      </dsp:txBody>
      <dsp:txXfrm>
        <a:off x="1402956" y="2434169"/>
        <a:ext cx="998108" cy="619724"/>
      </dsp:txXfrm>
    </dsp:sp>
    <dsp:sp modelId="{BC8EB294-6443-4B0C-9F70-4E15751B5767}">
      <dsp:nvSpPr>
        <dsp:cNvPr id="0" name=""/>
        <dsp:cNvSpPr/>
      </dsp:nvSpPr>
      <dsp:spPr>
        <a:xfrm>
          <a:off x="1268490" y="3265245"/>
          <a:ext cx="1036668" cy="65828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947971-2F65-4994-BE5F-A90B32534965}">
      <dsp:nvSpPr>
        <dsp:cNvPr id="0" name=""/>
        <dsp:cNvSpPr/>
      </dsp:nvSpPr>
      <dsp:spPr>
        <a:xfrm>
          <a:off x="1383676" y="3374671"/>
          <a:ext cx="1036668" cy="6582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n-US" sz="1050" b="1" kern="1200" dirty="0">
              <a:latin typeface="Cambria" panose="02040503050406030204" pitchFamily="18" charset="0"/>
              <a:ea typeface="Cambria" panose="02040503050406030204" pitchFamily="18" charset="0"/>
            </a:rPr>
            <a:t>12x20 Mine Lug</a:t>
          </a:r>
        </a:p>
        <a:p>
          <a:pPr marL="0" lvl="0" indent="0" algn="ctr" defTabSz="466725">
            <a:lnSpc>
              <a:spcPct val="90000"/>
            </a:lnSpc>
            <a:spcBef>
              <a:spcPct val="0"/>
            </a:spcBef>
            <a:spcAft>
              <a:spcPct val="35000"/>
            </a:spcAft>
            <a:buNone/>
          </a:pPr>
          <a:r>
            <a:rPr lang="en-US" sz="1050" b="1" kern="1200" dirty="0">
              <a:latin typeface="Cambria" panose="02040503050406030204" pitchFamily="18" charset="0"/>
              <a:ea typeface="Cambria" panose="02040503050406030204" pitchFamily="18" charset="0"/>
            </a:rPr>
            <a:t>11x20 Mine Lug, </a:t>
          </a:r>
        </a:p>
      </dsp:txBody>
      <dsp:txXfrm>
        <a:off x="1402956" y="3393951"/>
        <a:ext cx="998108" cy="619724"/>
      </dsp:txXfrm>
    </dsp:sp>
    <dsp:sp modelId="{C754130F-D528-4022-B612-2D649C998CC5}">
      <dsp:nvSpPr>
        <dsp:cNvPr id="0" name=""/>
        <dsp:cNvSpPr/>
      </dsp:nvSpPr>
      <dsp:spPr>
        <a:xfrm>
          <a:off x="1268490" y="4225027"/>
          <a:ext cx="1036668" cy="65828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219811B-CCCC-4CC4-91E4-8F91885881DE}">
      <dsp:nvSpPr>
        <dsp:cNvPr id="0" name=""/>
        <dsp:cNvSpPr/>
      </dsp:nvSpPr>
      <dsp:spPr>
        <a:xfrm>
          <a:off x="1383676" y="4334453"/>
          <a:ext cx="1036668" cy="6582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OB, Coal, Iron, Stone</a:t>
          </a:r>
        </a:p>
      </dsp:txBody>
      <dsp:txXfrm>
        <a:off x="1402956" y="4353733"/>
        <a:ext cx="998108" cy="619724"/>
      </dsp:txXfrm>
    </dsp:sp>
    <dsp:sp modelId="{0280BCFA-2950-4B22-980F-25C3D49F86C5}">
      <dsp:nvSpPr>
        <dsp:cNvPr id="0" name=""/>
        <dsp:cNvSpPr/>
      </dsp:nvSpPr>
      <dsp:spPr>
        <a:xfrm>
          <a:off x="3169049" y="1345681"/>
          <a:ext cx="1036668" cy="65828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42004F5-91AA-47E7-8D0C-3188A7342222}">
      <dsp:nvSpPr>
        <dsp:cNvPr id="0" name=""/>
        <dsp:cNvSpPr/>
      </dsp:nvSpPr>
      <dsp:spPr>
        <a:xfrm>
          <a:off x="3284234" y="1455107"/>
          <a:ext cx="1036668" cy="6582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Quarry and Construction</a:t>
          </a:r>
        </a:p>
      </dsp:txBody>
      <dsp:txXfrm>
        <a:off x="3303514" y="1474387"/>
        <a:ext cx="998108" cy="619724"/>
      </dsp:txXfrm>
    </dsp:sp>
    <dsp:sp modelId="{989CD059-5E11-4B29-9444-F46CE8A13ADC}">
      <dsp:nvSpPr>
        <dsp:cNvPr id="0" name=""/>
        <dsp:cNvSpPr/>
      </dsp:nvSpPr>
      <dsp:spPr>
        <a:xfrm>
          <a:off x="2535529" y="2305463"/>
          <a:ext cx="1036668" cy="65828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7D6C45-7D13-4DA9-ADAB-FD715CCA32D0}">
      <dsp:nvSpPr>
        <dsp:cNvPr id="0" name=""/>
        <dsp:cNvSpPr/>
      </dsp:nvSpPr>
      <dsp:spPr>
        <a:xfrm>
          <a:off x="2650715" y="2414889"/>
          <a:ext cx="1036668" cy="6582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23 Box with 25% Canopy</a:t>
          </a:r>
        </a:p>
      </dsp:txBody>
      <dsp:txXfrm>
        <a:off x="2669995" y="2434169"/>
        <a:ext cx="998108" cy="619724"/>
      </dsp:txXfrm>
    </dsp:sp>
    <dsp:sp modelId="{3EE818D2-E665-4AF5-B02F-48CF906D0E0E}">
      <dsp:nvSpPr>
        <dsp:cNvPr id="0" name=""/>
        <dsp:cNvSpPr/>
      </dsp:nvSpPr>
      <dsp:spPr>
        <a:xfrm>
          <a:off x="2535529" y="3265245"/>
          <a:ext cx="1036668" cy="65828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98B4FF-EC89-4CB6-8569-2AD21BB005B7}">
      <dsp:nvSpPr>
        <dsp:cNvPr id="0" name=""/>
        <dsp:cNvSpPr/>
      </dsp:nvSpPr>
      <dsp:spPr>
        <a:xfrm>
          <a:off x="2650715" y="3374671"/>
          <a:ext cx="1036668" cy="6582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n-US" sz="1050" b="1" kern="1200" dirty="0">
              <a:latin typeface="Cambria" panose="02040503050406030204" pitchFamily="18" charset="0"/>
              <a:ea typeface="Cambria" panose="02040503050406030204" pitchFamily="18" charset="0"/>
            </a:rPr>
            <a:t>12x20 Mine Lug</a:t>
          </a:r>
        </a:p>
        <a:p>
          <a:pPr marL="0" lvl="0" indent="0" algn="ctr" defTabSz="466725">
            <a:lnSpc>
              <a:spcPct val="90000"/>
            </a:lnSpc>
            <a:spcBef>
              <a:spcPct val="0"/>
            </a:spcBef>
            <a:spcAft>
              <a:spcPct val="35000"/>
            </a:spcAft>
            <a:buNone/>
          </a:pPr>
          <a:r>
            <a:rPr lang="en-US" sz="1050" b="1" kern="1200" dirty="0">
              <a:latin typeface="Cambria" panose="02040503050406030204" pitchFamily="18" charset="0"/>
              <a:ea typeface="Cambria" panose="02040503050406030204" pitchFamily="18" charset="0"/>
            </a:rPr>
            <a:t>11x20 Mine Lug, </a:t>
          </a:r>
        </a:p>
      </dsp:txBody>
      <dsp:txXfrm>
        <a:off x="2669995" y="3393951"/>
        <a:ext cx="998108" cy="619724"/>
      </dsp:txXfrm>
    </dsp:sp>
    <dsp:sp modelId="{0ECF104F-D70E-4EFE-ADA1-7527CD077919}">
      <dsp:nvSpPr>
        <dsp:cNvPr id="0" name=""/>
        <dsp:cNvSpPr/>
      </dsp:nvSpPr>
      <dsp:spPr>
        <a:xfrm>
          <a:off x="2535529" y="4225027"/>
          <a:ext cx="1036668" cy="65828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D12DD6-6C91-482C-973D-060DF33FB557}">
      <dsp:nvSpPr>
        <dsp:cNvPr id="0" name=""/>
        <dsp:cNvSpPr/>
      </dsp:nvSpPr>
      <dsp:spPr>
        <a:xfrm>
          <a:off x="2650715" y="4334453"/>
          <a:ext cx="1036668" cy="6582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Bluemetal, Sand</a:t>
          </a:r>
        </a:p>
      </dsp:txBody>
      <dsp:txXfrm>
        <a:off x="2669995" y="4353733"/>
        <a:ext cx="998108" cy="619724"/>
      </dsp:txXfrm>
    </dsp:sp>
    <dsp:sp modelId="{A7A5660F-AAC2-4219-957F-4DED38090C89}">
      <dsp:nvSpPr>
        <dsp:cNvPr id="0" name=""/>
        <dsp:cNvSpPr/>
      </dsp:nvSpPr>
      <dsp:spPr>
        <a:xfrm>
          <a:off x="3802568" y="2305463"/>
          <a:ext cx="1036668" cy="65828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E73AB7B-7B9F-4818-8A98-8907C9FD69B0}">
      <dsp:nvSpPr>
        <dsp:cNvPr id="0" name=""/>
        <dsp:cNvSpPr/>
      </dsp:nvSpPr>
      <dsp:spPr>
        <a:xfrm>
          <a:off x="3917753" y="2414889"/>
          <a:ext cx="1036668" cy="6582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19 Rock with 100% Canopy</a:t>
          </a:r>
        </a:p>
      </dsp:txBody>
      <dsp:txXfrm>
        <a:off x="3937033" y="2434169"/>
        <a:ext cx="998108" cy="619724"/>
      </dsp:txXfrm>
    </dsp:sp>
    <dsp:sp modelId="{00C8F16C-243D-4D34-8E10-5ED1A454AFB5}">
      <dsp:nvSpPr>
        <dsp:cNvPr id="0" name=""/>
        <dsp:cNvSpPr/>
      </dsp:nvSpPr>
      <dsp:spPr>
        <a:xfrm>
          <a:off x="3802568" y="3265245"/>
          <a:ext cx="1036668" cy="65828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F48572-0C51-4336-911E-B2925768C07F}">
      <dsp:nvSpPr>
        <dsp:cNvPr id="0" name=""/>
        <dsp:cNvSpPr/>
      </dsp:nvSpPr>
      <dsp:spPr>
        <a:xfrm>
          <a:off x="3917753" y="3374671"/>
          <a:ext cx="1036668" cy="6582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n-US" sz="1050" b="1" kern="1200" dirty="0">
              <a:latin typeface="Cambria" panose="02040503050406030204" pitchFamily="18" charset="0"/>
              <a:ea typeface="Cambria" panose="02040503050406030204" pitchFamily="18" charset="0"/>
            </a:rPr>
            <a:t>12x20 Mine Lug</a:t>
          </a:r>
        </a:p>
        <a:p>
          <a:pPr marL="0" lvl="0" indent="0" algn="ctr" defTabSz="466725">
            <a:lnSpc>
              <a:spcPct val="90000"/>
            </a:lnSpc>
            <a:spcBef>
              <a:spcPct val="0"/>
            </a:spcBef>
            <a:spcAft>
              <a:spcPct val="35000"/>
            </a:spcAft>
            <a:buNone/>
          </a:pPr>
          <a:r>
            <a:rPr lang="en-US" sz="1050" b="1" kern="1200" dirty="0">
              <a:latin typeface="Cambria" panose="02040503050406030204" pitchFamily="18" charset="0"/>
              <a:ea typeface="Cambria" panose="02040503050406030204" pitchFamily="18" charset="0"/>
            </a:rPr>
            <a:t>11x20 Mine Lug, </a:t>
          </a:r>
        </a:p>
      </dsp:txBody>
      <dsp:txXfrm>
        <a:off x="3937033" y="3393951"/>
        <a:ext cx="998108" cy="619724"/>
      </dsp:txXfrm>
    </dsp:sp>
    <dsp:sp modelId="{64D5F178-51BD-4202-9C02-3B1238743525}">
      <dsp:nvSpPr>
        <dsp:cNvPr id="0" name=""/>
        <dsp:cNvSpPr/>
      </dsp:nvSpPr>
      <dsp:spPr>
        <a:xfrm>
          <a:off x="3802568" y="4225027"/>
          <a:ext cx="1036668" cy="65828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6B6C756-63D8-41D5-B2BB-41C0207DDFED}">
      <dsp:nvSpPr>
        <dsp:cNvPr id="0" name=""/>
        <dsp:cNvSpPr/>
      </dsp:nvSpPr>
      <dsp:spPr>
        <a:xfrm>
          <a:off x="3917753" y="4334453"/>
          <a:ext cx="1036668" cy="6582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mbria" panose="02040503050406030204" pitchFamily="18" charset="0"/>
              <a:ea typeface="Cambria" panose="02040503050406030204" pitchFamily="18" charset="0"/>
            </a:rPr>
            <a:t>Boulder</a:t>
          </a:r>
        </a:p>
      </dsp:txBody>
      <dsp:txXfrm>
        <a:off x="3937033" y="4353733"/>
        <a:ext cx="998108" cy="61972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038159-00B7-42F4-9843-2176862D5A48}">
      <dsp:nvSpPr>
        <dsp:cNvPr id="0" name=""/>
        <dsp:cNvSpPr/>
      </dsp:nvSpPr>
      <dsp:spPr>
        <a:xfrm>
          <a:off x="5388540" y="1707161"/>
          <a:ext cx="211054" cy="3644212"/>
        </a:xfrm>
        <a:custGeom>
          <a:avLst/>
          <a:gdLst/>
          <a:ahLst/>
          <a:cxnLst/>
          <a:rect l="0" t="0" r="0" b="0"/>
          <a:pathLst>
            <a:path>
              <a:moveTo>
                <a:pt x="0" y="0"/>
              </a:moveTo>
              <a:lnTo>
                <a:pt x="0" y="3644212"/>
              </a:lnTo>
              <a:lnTo>
                <a:pt x="211054" y="3644212"/>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40423CBF-2FEE-4522-9530-354121784106}">
      <dsp:nvSpPr>
        <dsp:cNvPr id="0" name=""/>
        <dsp:cNvSpPr/>
      </dsp:nvSpPr>
      <dsp:spPr>
        <a:xfrm>
          <a:off x="5388540" y="1707161"/>
          <a:ext cx="211054" cy="2645219"/>
        </a:xfrm>
        <a:custGeom>
          <a:avLst/>
          <a:gdLst/>
          <a:ahLst/>
          <a:cxnLst/>
          <a:rect l="0" t="0" r="0" b="0"/>
          <a:pathLst>
            <a:path>
              <a:moveTo>
                <a:pt x="0" y="0"/>
              </a:moveTo>
              <a:lnTo>
                <a:pt x="0" y="2645219"/>
              </a:lnTo>
              <a:lnTo>
                <a:pt x="211054" y="2645219"/>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76723A5C-B773-402D-A371-2FAEEA6EEFD6}">
      <dsp:nvSpPr>
        <dsp:cNvPr id="0" name=""/>
        <dsp:cNvSpPr/>
      </dsp:nvSpPr>
      <dsp:spPr>
        <a:xfrm>
          <a:off x="5388540" y="1707161"/>
          <a:ext cx="211054" cy="1646227"/>
        </a:xfrm>
        <a:custGeom>
          <a:avLst/>
          <a:gdLst/>
          <a:ahLst/>
          <a:cxnLst/>
          <a:rect l="0" t="0" r="0" b="0"/>
          <a:pathLst>
            <a:path>
              <a:moveTo>
                <a:pt x="0" y="0"/>
              </a:moveTo>
              <a:lnTo>
                <a:pt x="0" y="1646227"/>
              </a:lnTo>
              <a:lnTo>
                <a:pt x="211054" y="1646227"/>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9D2B0197-98A0-4B10-86A0-B7C061E13047}">
      <dsp:nvSpPr>
        <dsp:cNvPr id="0" name=""/>
        <dsp:cNvSpPr/>
      </dsp:nvSpPr>
      <dsp:spPr>
        <a:xfrm>
          <a:off x="5388540" y="1707161"/>
          <a:ext cx="211054" cy="647234"/>
        </a:xfrm>
        <a:custGeom>
          <a:avLst/>
          <a:gdLst/>
          <a:ahLst/>
          <a:cxnLst/>
          <a:rect l="0" t="0" r="0" b="0"/>
          <a:pathLst>
            <a:path>
              <a:moveTo>
                <a:pt x="0" y="0"/>
              </a:moveTo>
              <a:lnTo>
                <a:pt x="0" y="647234"/>
              </a:lnTo>
              <a:lnTo>
                <a:pt x="211054" y="647234"/>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91E5345A-8EDC-46D8-A550-F15570D5FE34}">
      <dsp:nvSpPr>
        <dsp:cNvPr id="0" name=""/>
        <dsp:cNvSpPr/>
      </dsp:nvSpPr>
      <dsp:spPr>
        <a:xfrm>
          <a:off x="4248844" y="708168"/>
          <a:ext cx="1702508" cy="295476"/>
        </a:xfrm>
        <a:custGeom>
          <a:avLst/>
          <a:gdLst/>
          <a:ahLst/>
          <a:cxnLst/>
          <a:rect l="0" t="0" r="0" b="0"/>
          <a:pathLst>
            <a:path>
              <a:moveTo>
                <a:pt x="0" y="0"/>
              </a:moveTo>
              <a:lnTo>
                <a:pt x="0" y="147738"/>
              </a:lnTo>
              <a:lnTo>
                <a:pt x="1702508" y="147738"/>
              </a:lnTo>
              <a:lnTo>
                <a:pt x="1702508" y="295476"/>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A0BEA156-ECCF-4239-A317-73625B1E1342}">
      <dsp:nvSpPr>
        <dsp:cNvPr id="0" name=""/>
        <dsp:cNvSpPr/>
      </dsp:nvSpPr>
      <dsp:spPr>
        <a:xfrm>
          <a:off x="3686031" y="1707161"/>
          <a:ext cx="211054" cy="3644212"/>
        </a:xfrm>
        <a:custGeom>
          <a:avLst/>
          <a:gdLst/>
          <a:ahLst/>
          <a:cxnLst/>
          <a:rect l="0" t="0" r="0" b="0"/>
          <a:pathLst>
            <a:path>
              <a:moveTo>
                <a:pt x="0" y="0"/>
              </a:moveTo>
              <a:lnTo>
                <a:pt x="0" y="3644212"/>
              </a:lnTo>
              <a:lnTo>
                <a:pt x="211054" y="3644212"/>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BB7F919D-FE48-47EC-8324-CA8735E98438}">
      <dsp:nvSpPr>
        <dsp:cNvPr id="0" name=""/>
        <dsp:cNvSpPr/>
      </dsp:nvSpPr>
      <dsp:spPr>
        <a:xfrm>
          <a:off x="3686031" y="1707161"/>
          <a:ext cx="211054" cy="2645219"/>
        </a:xfrm>
        <a:custGeom>
          <a:avLst/>
          <a:gdLst/>
          <a:ahLst/>
          <a:cxnLst/>
          <a:rect l="0" t="0" r="0" b="0"/>
          <a:pathLst>
            <a:path>
              <a:moveTo>
                <a:pt x="0" y="0"/>
              </a:moveTo>
              <a:lnTo>
                <a:pt x="0" y="2645219"/>
              </a:lnTo>
              <a:lnTo>
                <a:pt x="211054" y="2645219"/>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4BD747F0-74C1-4FD2-9B29-3DDB6A43336C}">
      <dsp:nvSpPr>
        <dsp:cNvPr id="0" name=""/>
        <dsp:cNvSpPr/>
      </dsp:nvSpPr>
      <dsp:spPr>
        <a:xfrm>
          <a:off x="3686031" y="1707161"/>
          <a:ext cx="211054" cy="1646227"/>
        </a:xfrm>
        <a:custGeom>
          <a:avLst/>
          <a:gdLst/>
          <a:ahLst/>
          <a:cxnLst/>
          <a:rect l="0" t="0" r="0" b="0"/>
          <a:pathLst>
            <a:path>
              <a:moveTo>
                <a:pt x="0" y="0"/>
              </a:moveTo>
              <a:lnTo>
                <a:pt x="0" y="1646227"/>
              </a:lnTo>
              <a:lnTo>
                <a:pt x="211054" y="1646227"/>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2F26A465-879D-406D-912D-12A156B2E726}">
      <dsp:nvSpPr>
        <dsp:cNvPr id="0" name=""/>
        <dsp:cNvSpPr/>
      </dsp:nvSpPr>
      <dsp:spPr>
        <a:xfrm>
          <a:off x="3686031" y="1707161"/>
          <a:ext cx="211054" cy="647234"/>
        </a:xfrm>
        <a:custGeom>
          <a:avLst/>
          <a:gdLst/>
          <a:ahLst/>
          <a:cxnLst/>
          <a:rect l="0" t="0" r="0" b="0"/>
          <a:pathLst>
            <a:path>
              <a:moveTo>
                <a:pt x="0" y="0"/>
              </a:moveTo>
              <a:lnTo>
                <a:pt x="0" y="647234"/>
              </a:lnTo>
              <a:lnTo>
                <a:pt x="211054" y="647234"/>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D0B75A22-3D72-4C2A-904C-17F060D50799}">
      <dsp:nvSpPr>
        <dsp:cNvPr id="0" name=""/>
        <dsp:cNvSpPr/>
      </dsp:nvSpPr>
      <dsp:spPr>
        <a:xfrm>
          <a:off x="4203124" y="708168"/>
          <a:ext cx="91440" cy="295476"/>
        </a:xfrm>
        <a:custGeom>
          <a:avLst/>
          <a:gdLst/>
          <a:ahLst/>
          <a:cxnLst/>
          <a:rect l="0" t="0" r="0" b="0"/>
          <a:pathLst>
            <a:path>
              <a:moveTo>
                <a:pt x="45720" y="0"/>
              </a:moveTo>
              <a:lnTo>
                <a:pt x="45720" y="295476"/>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DB0D58DD-FABF-430D-8C8E-6D86D9168413}">
      <dsp:nvSpPr>
        <dsp:cNvPr id="0" name=""/>
        <dsp:cNvSpPr/>
      </dsp:nvSpPr>
      <dsp:spPr>
        <a:xfrm>
          <a:off x="1983523" y="1707161"/>
          <a:ext cx="211054" cy="2645219"/>
        </a:xfrm>
        <a:custGeom>
          <a:avLst/>
          <a:gdLst/>
          <a:ahLst/>
          <a:cxnLst/>
          <a:rect l="0" t="0" r="0" b="0"/>
          <a:pathLst>
            <a:path>
              <a:moveTo>
                <a:pt x="0" y="0"/>
              </a:moveTo>
              <a:lnTo>
                <a:pt x="0" y="2645219"/>
              </a:lnTo>
              <a:lnTo>
                <a:pt x="211054" y="2645219"/>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2AA77337-0DDA-4EE3-9FC3-7CAC538999B2}">
      <dsp:nvSpPr>
        <dsp:cNvPr id="0" name=""/>
        <dsp:cNvSpPr/>
      </dsp:nvSpPr>
      <dsp:spPr>
        <a:xfrm>
          <a:off x="1983523" y="1707161"/>
          <a:ext cx="211054" cy="1646227"/>
        </a:xfrm>
        <a:custGeom>
          <a:avLst/>
          <a:gdLst/>
          <a:ahLst/>
          <a:cxnLst/>
          <a:rect l="0" t="0" r="0" b="0"/>
          <a:pathLst>
            <a:path>
              <a:moveTo>
                <a:pt x="0" y="0"/>
              </a:moveTo>
              <a:lnTo>
                <a:pt x="0" y="1646227"/>
              </a:lnTo>
              <a:lnTo>
                <a:pt x="211054" y="1646227"/>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CCA79C15-712E-48E2-A6CA-EE32F1D92AD3}">
      <dsp:nvSpPr>
        <dsp:cNvPr id="0" name=""/>
        <dsp:cNvSpPr/>
      </dsp:nvSpPr>
      <dsp:spPr>
        <a:xfrm>
          <a:off x="1983523" y="1707161"/>
          <a:ext cx="211054" cy="647234"/>
        </a:xfrm>
        <a:custGeom>
          <a:avLst/>
          <a:gdLst/>
          <a:ahLst/>
          <a:cxnLst/>
          <a:rect l="0" t="0" r="0" b="0"/>
          <a:pathLst>
            <a:path>
              <a:moveTo>
                <a:pt x="0" y="0"/>
              </a:moveTo>
              <a:lnTo>
                <a:pt x="0" y="647234"/>
              </a:lnTo>
              <a:lnTo>
                <a:pt x="211054" y="647234"/>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2FD0F99C-3B2B-40E8-A227-F4E01839F4ED}">
      <dsp:nvSpPr>
        <dsp:cNvPr id="0" name=""/>
        <dsp:cNvSpPr/>
      </dsp:nvSpPr>
      <dsp:spPr>
        <a:xfrm>
          <a:off x="2546336" y="708168"/>
          <a:ext cx="1702508" cy="295476"/>
        </a:xfrm>
        <a:custGeom>
          <a:avLst/>
          <a:gdLst/>
          <a:ahLst/>
          <a:cxnLst/>
          <a:rect l="0" t="0" r="0" b="0"/>
          <a:pathLst>
            <a:path>
              <a:moveTo>
                <a:pt x="1702508" y="0"/>
              </a:moveTo>
              <a:lnTo>
                <a:pt x="1702508" y="147738"/>
              </a:lnTo>
              <a:lnTo>
                <a:pt x="0" y="147738"/>
              </a:lnTo>
              <a:lnTo>
                <a:pt x="0" y="295476"/>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4EF83B75-9158-43A7-BAEF-B19F07FDB950}">
      <dsp:nvSpPr>
        <dsp:cNvPr id="0" name=""/>
        <dsp:cNvSpPr/>
      </dsp:nvSpPr>
      <dsp:spPr>
        <a:xfrm>
          <a:off x="3014743" y="4653"/>
          <a:ext cx="2468201" cy="703515"/>
        </a:xfrm>
        <a:prstGeom prst="rect">
          <a:avLst/>
        </a:prstGeom>
        <a:solidFill>
          <a:schemeClr val="accent6">
            <a:lumMod val="50000"/>
          </a:schemeClr>
        </a:solidFill>
        <a:ln w="12700" cap="flat" cmpd="sng" algn="ctr">
          <a:solidFill>
            <a:schemeClr val="lt1">
              <a:hueOff val="0"/>
              <a:satOff val="0"/>
              <a:lumOff val="0"/>
              <a:alphaOff val="0"/>
            </a:schemeClr>
          </a:solidFill>
          <a:prstDash val="solid"/>
          <a:miter lim="800000"/>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IN" sz="2400" b="1" kern="1200" dirty="0" err="1">
              <a:latin typeface="Century Gothic" panose="020B0502020202020204" pitchFamily="34" charset="0"/>
              <a:cs typeface="Calibri" panose="020F0502020204030204" pitchFamily="34" charset="0"/>
            </a:rPr>
            <a:t>Ecomet</a:t>
          </a:r>
          <a:endParaRPr lang="en-IN" sz="2400" b="1" kern="1200" dirty="0">
            <a:latin typeface="Century Gothic" panose="020B0502020202020204" pitchFamily="34" charset="0"/>
            <a:cs typeface="Calibri" panose="020F0502020204030204" pitchFamily="34" charset="0"/>
          </a:endParaRPr>
        </a:p>
      </dsp:txBody>
      <dsp:txXfrm>
        <a:off x="3014743" y="4653"/>
        <a:ext cx="2468201" cy="703515"/>
      </dsp:txXfrm>
    </dsp:sp>
    <dsp:sp modelId="{52218C76-1E89-408B-A563-BDB10982DBF3}">
      <dsp:nvSpPr>
        <dsp:cNvPr id="0" name=""/>
        <dsp:cNvSpPr/>
      </dsp:nvSpPr>
      <dsp:spPr>
        <a:xfrm>
          <a:off x="1842820" y="1003645"/>
          <a:ext cx="1407031" cy="703515"/>
        </a:xfrm>
        <a:prstGeom prst="rect">
          <a:avLst/>
        </a:prstGeom>
        <a:solidFill>
          <a:schemeClr val="accent6">
            <a:lumMod val="40000"/>
            <a:lumOff val="60000"/>
          </a:schemeClr>
        </a:solidFill>
        <a:ln w="12700" cap="flat" cmpd="sng" algn="ctr">
          <a:solidFill>
            <a:schemeClr val="bg2"/>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b="1" kern="1200" dirty="0">
              <a:solidFill>
                <a:schemeClr val="tx1"/>
              </a:solidFill>
              <a:latin typeface="Century Gothic" panose="020B0502020202020204" pitchFamily="34" charset="0"/>
              <a:cs typeface="Calibri" panose="020F0502020204030204" pitchFamily="34" charset="0"/>
            </a:rPr>
            <a:t>1115 (11.44T)</a:t>
          </a:r>
        </a:p>
      </dsp:txBody>
      <dsp:txXfrm>
        <a:off x="1842820" y="1003645"/>
        <a:ext cx="1407031" cy="703515"/>
      </dsp:txXfrm>
    </dsp:sp>
    <dsp:sp modelId="{6CDB4180-BD35-4432-91DF-E5E894A4E501}">
      <dsp:nvSpPr>
        <dsp:cNvPr id="0" name=""/>
        <dsp:cNvSpPr/>
      </dsp:nvSpPr>
      <dsp:spPr>
        <a:xfrm>
          <a:off x="2194578" y="2002638"/>
          <a:ext cx="1407031" cy="703515"/>
        </a:xfrm>
        <a:prstGeom prst="rect">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solidFill>
                <a:schemeClr val="tx1"/>
              </a:solidFill>
              <a:latin typeface="Century Gothic" panose="020B0502020202020204" pitchFamily="34" charset="0"/>
              <a:cs typeface="Calibri" panose="020F0502020204030204" pitchFamily="34" charset="0"/>
            </a:rPr>
            <a:t>17’ – 3970 WB</a:t>
          </a:r>
        </a:p>
      </dsp:txBody>
      <dsp:txXfrm>
        <a:off x="2194578" y="2002638"/>
        <a:ext cx="1407031" cy="703515"/>
      </dsp:txXfrm>
    </dsp:sp>
    <dsp:sp modelId="{DFEC2F2B-3A93-401C-9580-C6EB2514E836}">
      <dsp:nvSpPr>
        <dsp:cNvPr id="0" name=""/>
        <dsp:cNvSpPr/>
      </dsp:nvSpPr>
      <dsp:spPr>
        <a:xfrm>
          <a:off x="2194578" y="3001630"/>
          <a:ext cx="1407031" cy="703515"/>
        </a:xfrm>
        <a:prstGeom prst="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solidFill>
                <a:schemeClr val="bg1"/>
              </a:solidFill>
              <a:latin typeface="Century Gothic" panose="020B0502020202020204" pitchFamily="34" charset="0"/>
              <a:cs typeface="Calibri" panose="020F0502020204030204" pitchFamily="34" charset="0"/>
            </a:rPr>
            <a:t>20’ – 4200 WB</a:t>
          </a:r>
        </a:p>
      </dsp:txBody>
      <dsp:txXfrm>
        <a:off x="2194578" y="3001630"/>
        <a:ext cx="1407031" cy="703515"/>
      </dsp:txXfrm>
    </dsp:sp>
    <dsp:sp modelId="{E43CC8B8-E901-444D-BE3E-EC3CFCFCC1E3}">
      <dsp:nvSpPr>
        <dsp:cNvPr id="0" name=""/>
        <dsp:cNvSpPr/>
      </dsp:nvSpPr>
      <dsp:spPr>
        <a:xfrm>
          <a:off x="2194578" y="4000623"/>
          <a:ext cx="1407031" cy="703515"/>
        </a:xfrm>
        <a:prstGeom prst="rect">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solidFill>
                <a:schemeClr val="tx1"/>
              </a:solidFill>
              <a:latin typeface="Century Gothic" panose="020B0502020202020204" pitchFamily="34" charset="0"/>
              <a:cs typeface="Calibri" panose="020F0502020204030204" pitchFamily="34" charset="0"/>
            </a:rPr>
            <a:t>22’ – 4750 WB</a:t>
          </a:r>
        </a:p>
      </dsp:txBody>
      <dsp:txXfrm>
        <a:off x="2194578" y="4000623"/>
        <a:ext cx="1407031" cy="703515"/>
      </dsp:txXfrm>
    </dsp:sp>
    <dsp:sp modelId="{591808E9-BA4A-4F46-8A43-4F02198286F8}">
      <dsp:nvSpPr>
        <dsp:cNvPr id="0" name=""/>
        <dsp:cNvSpPr/>
      </dsp:nvSpPr>
      <dsp:spPr>
        <a:xfrm>
          <a:off x="3545328" y="1003645"/>
          <a:ext cx="1407031" cy="703515"/>
        </a:xfrm>
        <a:prstGeom prst="rect">
          <a:avLst/>
        </a:prstGeom>
        <a:solidFill>
          <a:schemeClr val="accent6">
            <a:lumMod val="40000"/>
            <a:lumOff val="60000"/>
          </a:schemeClr>
        </a:solidFill>
        <a:ln w="12700" cap="flat" cmpd="sng" algn="ctr">
          <a:solidFill>
            <a:schemeClr val="bg2"/>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b="1" kern="1200" dirty="0">
              <a:solidFill>
                <a:schemeClr val="tx1"/>
              </a:solidFill>
              <a:latin typeface="Century Gothic" panose="020B0502020202020204" pitchFamily="34" charset="0"/>
              <a:cs typeface="Calibri" panose="020F0502020204030204" pitchFamily="34" charset="0"/>
            </a:rPr>
            <a:t>1415 (14.25T)</a:t>
          </a:r>
        </a:p>
      </dsp:txBody>
      <dsp:txXfrm>
        <a:off x="3545328" y="1003645"/>
        <a:ext cx="1407031" cy="703515"/>
      </dsp:txXfrm>
    </dsp:sp>
    <dsp:sp modelId="{4BBB7BDB-2626-49B8-9C45-F860E158693F}">
      <dsp:nvSpPr>
        <dsp:cNvPr id="0" name=""/>
        <dsp:cNvSpPr/>
      </dsp:nvSpPr>
      <dsp:spPr>
        <a:xfrm>
          <a:off x="3897086" y="2002638"/>
          <a:ext cx="1407031" cy="703515"/>
        </a:xfrm>
        <a:prstGeom prst="rect">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solidFill>
                <a:schemeClr val="tx1"/>
              </a:solidFill>
              <a:latin typeface="Century Gothic" panose="020B0502020202020204" pitchFamily="34" charset="0"/>
              <a:cs typeface="Calibri" panose="020F0502020204030204" pitchFamily="34" charset="0"/>
            </a:rPr>
            <a:t>17’- 3970 WB </a:t>
          </a:r>
        </a:p>
      </dsp:txBody>
      <dsp:txXfrm>
        <a:off x="3897086" y="2002638"/>
        <a:ext cx="1407031" cy="703515"/>
      </dsp:txXfrm>
    </dsp:sp>
    <dsp:sp modelId="{2E3C9156-8889-45FF-9EB8-0E518B438EFB}">
      <dsp:nvSpPr>
        <dsp:cNvPr id="0" name=""/>
        <dsp:cNvSpPr/>
      </dsp:nvSpPr>
      <dsp:spPr>
        <a:xfrm>
          <a:off x="3897086" y="3001630"/>
          <a:ext cx="1407031" cy="703515"/>
        </a:xfrm>
        <a:prstGeom prst="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solidFill>
                <a:schemeClr val="bg1"/>
              </a:solidFill>
              <a:latin typeface="Century Gothic" panose="020B0502020202020204" pitchFamily="34" charset="0"/>
              <a:cs typeface="Calibri" panose="020F0502020204030204" pitchFamily="34" charset="0"/>
            </a:rPr>
            <a:t>20’ – 4200 WB</a:t>
          </a:r>
        </a:p>
      </dsp:txBody>
      <dsp:txXfrm>
        <a:off x="3897086" y="3001630"/>
        <a:ext cx="1407031" cy="703515"/>
      </dsp:txXfrm>
    </dsp:sp>
    <dsp:sp modelId="{74E4902C-B9CE-4560-9E7B-7441B48EE5C3}">
      <dsp:nvSpPr>
        <dsp:cNvPr id="0" name=""/>
        <dsp:cNvSpPr/>
      </dsp:nvSpPr>
      <dsp:spPr>
        <a:xfrm>
          <a:off x="3897086" y="4000623"/>
          <a:ext cx="1407031" cy="703515"/>
        </a:xfrm>
        <a:prstGeom prst="rect">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solidFill>
                <a:schemeClr val="tx1"/>
              </a:solidFill>
              <a:latin typeface="Century Gothic" panose="020B0502020202020204" pitchFamily="34" charset="0"/>
              <a:cs typeface="Calibri" panose="020F0502020204030204" pitchFamily="34" charset="0"/>
            </a:rPr>
            <a:t>22’ – 4750 WB</a:t>
          </a:r>
        </a:p>
      </dsp:txBody>
      <dsp:txXfrm>
        <a:off x="3897086" y="4000623"/>
        <a:ext cx="1407031" cy="703515"/>
      </dsp:txXfrm>
    </dsp:sp>
    <dsp:sp modelId="{237F3405-A2B9-49BC-909A-C59170F37284}">
      <dsp:nvSpPr>
        <dsp:cNvPr id="0" name=""/>
        <dsp:cNvSpPr/>
      </dsp:nvSpPr>
      <dsp:spPr>
        <a:xfrm>
          <a:off x="3897086" y="4999616"/>
          <a:ext cx="1407031" cy="703515"/>
        </a:xfrm>
        <a:prstGeom prst="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solidFill>
                <a:schemeClr val="bg1"/>
              </a:solidFill>
              <a:latin typeface="Century Gothic" panose="020B0502020202020204" pitchFamily="34" charset="0"/>
              <a:cs typeface="Calibri" panose="020F0502020204030204" pitchFamily="34" charset="0"/>
            </a:rPr>
            <a:t>24’ – 5200 WB</a:t>
          </a:r>
        </a:p>
      </dsp:txBody>
      <dsp:txXfrm>
        <a:off x="3897086" y="4999616"/>
        <a:ext cx="1407031" cy="703515"/>
      </dsp:txXfrm>
    </dsp:sp>
    <dsp:sp modelId="{91D18BC6-84A8-46F6-AACA-66A51F65B7C7}">
      <dsp:nvSpPr>
        <dsp:cNvPr id="0" name=""/>
        <dsp:cNvSpPr/>
      </dsp:nvSpPr>
      <dsp:spPr>
        <a:xfrm>
          <a:off x="5247837" y="1003645"/>
          <a:ext cx="1407031" cy="703515"/>
        </a:xfrm>
        <a:prstGeom prst="rect">
          <a:avLst/>
        </a:prstGeom>
        <a:solidFill>
          <a:schemeClr val="accent6">
            <a:lumMod val="40000"/>
            <a:lumOff val="60000"/>
          </a:schemeClr>
        </a:solidFill>
        <a:ln w="12700" cap="flat" cmpd="sng" algn="ctr">
          <a:solidFill>
            <a:schemeClr val="bg2"/>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b="1" kern="1200" dirty="0">
              <a:solidFill>
                <a:schemeClr val="tx1"/>
              </a:solidFill>
              <a:latin typeface="Century Gothic" panose="020B0502020202020204" pitchFamily="34" charset="0"/>
              <a:cs typeface="Calibri" panose="020F0502020204030204" pitchFamily="34" charset="0"/>
            </a:rPr>
            <a:t>1615 (16.1T)</a:t>
          </a:r>
        </a:p>
      </dsp:txBody>
      <dsp:txXfrm>
        <a:off x="5247837" y="1003645"/>
        <a:ext cx="1407031" cy="703515"/>
      </dsp:txXfrm>
    </dsp:sp>
    <dsp:sp modelId="{3A3B1FA7-5701-43A7-866E-BDB6D4EFED63}">
      <dsp:nvSpPr>
        <dsp:cNvPr id="0" name=""/>
        <dsp:cNvSpPr/>
      </dsp:nvSpPr>
      <dsp:spPr>
        <a:xfrm>
          <a:off x="5599595" y="2002638"/>
          <a:ext cx="1407031" cy="703515"/>
        </a:xfrm>
        <a:prstGeom prst="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latin typeface="Century Gothic" panose="020B0502020202020204" pitchFamily="34" charset="0"/>
              <a:cs typeface="Calibri" panose="020F0502020204030204" pitchFamily="34" charset="0"/>
            </a:rPr>
            <a:t>17’- 3970 WB </a:t>
          </a:r>
        </a:p>
      </dsp:txBody>
      <dsp:txXfrm>
        <a:off x="5599595" y="2002638"/>
        <a:ext cx="1407031" cy="703515"/>
      </dsp:txXfrm>
    </dsp:sp>
    <dsp:sp modelId="{455CAEBE-A923-4494-BE59-7DAEC9E25CE4}">
      <dsp:nvSpPr>
        <dsp:cNvPr id="0" name=""/>
        <dsp:cNvSpPr/>
      </dsp:nvSpPr>
      <dsp:spPr>
        <a:xfrm>
          <a:off x="5599595" y="3001630"/>
          <a:ext cx="1407031" cy="703515"/>
        </a:xfrm>
        <a:prstGeom prst="rect">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solidFill>
                <a:schemeClr val="tx1"/>
              </a:solidFill>
              <a:latin typeface="Century Gothic" panose="020B0502020202020204" pitchFamily="34" charset="0"/>
              <a:cs typeface="Calibri" panose="020F0502020204030204" pitchFamily="34" charset="0"/>
            </a:rPr>
            <a:t>20’ – 4200 WB</a:t>
          </a:r>
        </a:p>
      </dsp:txBody>
      <dsp:txXfrm>
        <a:off x="5599595" y="3001630"/>
        <a:ext cx="1407031" cy="703515"/>
      </dsp:txXfrm>
    </dsp:sp>
    <dsp:sp modelId="{91893F05-4F97-4DE1-AC35-A3FD03AB1003}">
      <dsp:nvSpPr>
        <dsp:cNvPr id="0" name=""/>
        <dsp:cNvSpPr/>
      </dsp:nvSpPr>
      <dsp:spPr>
        <a:xfrm>
          <a:off x="5599595" y="4000623"/>
          <a:ext cx="1407031" cy="703515"/>
        </a:xfrm>
        <a:prstGeom prst="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latin typeface="Century Gothic" panose="020B0502020202020204" pitchFamily="34" charset="0"/>
              <a:cs typeface="Calibri" panose="020F0502020204030204" pitchFamily="34" charset="0"/>
            </a:rPr>
            <a:t>22’ – 4750 WB</a:t>
          </a:r>
        </a:p>
      </dsp:txBody>
      <dsp:txXfrm>
        <a:off x="5599595" y="4000623"/>
        <a:ext cx="1407031" cy="703515"/>
      </dsp:txXfrm>
    </dsp:sp>
    <dsp:sp modelId="{951E3E53-BC2F-4245-B79C-B2187531E7DE}">
      <dsp:nvSpPr>
        <dsp:cNvPr id="0" name=""/>
        <dsp:cNvSpPr/>
      </dsp:nvSpPr>
      <dsp:spPr>
        <a:xfrm>
          <a:off x="5599595" y="4999616"/>
          <a:ext cx="1407031" cy="703515"/>
        </a:xfrm>
        <a:prstGeom prst="rect">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solidFill>
                <a:schemeClr val="tx1"/>
              </a:solidFill>
              <a:latin typeface="Century Gothic" panose="020B0502020202020204" pitchFamily="34" charset="0"/>
              <a:cs typeface="Calibri" panose="020F0502020204030204" pitchFamily="34" charset="0"/>
            </a:rPr>
            <a:t>24’ – 5200 WB</a:t>
          </a:r>
        </a:p>
      </dsp:txBody>
      <dsp:txXfrm>
        <a:off x="5599595" y="4999616"/>
        <a:ext cx="1407031" cy="70351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038159-00B7-42F4-9843-2176862D5A48}">
      <dsp:nvSpPr>
        <dsp:cNvPr id="0" name=""/>
        <dsp:cNvSpPr/>
      </dsp:nvSpPr>
      <dsp:spPr>
        <a:xfrm>
          <a:off x="6400158" y="1264162"/>
          <a:ext cx="156366" cy="4180207"/>
        </a:xfrm>
        <a:custGeom>
          <a:avLst/>
          <a:gdLst/>
          <a:ahLst/>
          <a:cxnLst/>
          <a:rect l="0" t="0" r="0" b="0"/>
          <a:pathLst>
            <a:path>
              <a:moveTo>
                <a:pt x="0" y="0"/>
              </a:moveTo>
              <a:lnTo>
                <a:pt x="0" y="4180207"/>
              </a:lnTo>
              <a:lnTo>
                <a:pt x="156366" y="4180207"/>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40423CBF-2FEE-4522-9530-354121784106}">
      <dsp:nvSpPr>
        <dsp:cNvPr id="0" name=""/>
        <dsp:cNvSpPr/>
      </dsp:nvSpPr>
      <dsp:spPr>
        <a:xfrm>
          <a:off x="6400158" y="1264162"/>
          <a:ext cx="156366" cy="3440071"/>
        </a:xfrm>
        <a:custGeom>
          <a:avLst/>
          <a:gdLst/>
          <a:ahLst/>
          <a:cxnLst/>
          <a:rect l="0" t="0" r="0" b="0"/>
          <a:pathLst>
            <a:path>
              <a:moveTo>
                <a:pt x="0" y="0"/>
              </a:moveTo>
              <a:lnTo>
                <a:pt x="0" y="3440071"/>
              </a:lnTo>
              <a:lnTo>
                <a:pt x="156366" y="3440071"/>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76723A5C-B773-402D-A371-2FAEEA6EEFD6}">
      <dsp:nvSpPr>
        <dsp:cNvPr id="0" name=""/>
        <dsp:cNvSpPr/>
      </dsp:nvSpPr>
      <dsp:spPr>
        <a:xfrm>
          <a:off x="6400158" y="1264162"/>
          <a:ext cx="156366" cy="2699934"/>
        </a:xfrm>
        <a:custGeom>
          <a:avLst/>
          <a:gdLst/>
          <a:ahLst/>
          <a:cxnLst/>
          <a:rect l="0" t="0" r="0" b="0"/>
          <a:pathLst>
            <a:path>
              <a:moveTo>
                <a:pt x="0" y="0"/>
              </a:moveTo>
              <a:lnTo>
                <a:pt x="0" y="2699934"/>
              </a:lnTo>
              <a:lnTo>
                <a:pt x="156366" y="2699934"/>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9D2B0197-98A0-4B10-86A0-B7C061E13047}">
      <dsp:nvSpPr>
        <dsp:cNvPr id="0" name=""/>
        <dsp:cNvSpPr/>
      </dsp:nvSpPr>
      <dsp:spPr>
        <a:xfrm>
          <a:off x="6400158" y="1264162"/>
          <a:ext cx="156366" cy="1959798"/>
        </a:xfrm>
        <a:custGeom>
          <a:avLst/>
          <a:gdLst/>
          <a:ahLst/>
          <a:cxnLst/>
          <a:rect l="0" t="0" r="0" b="0"/>
          <a:pathLst>
            <a:path>
              <a:moveTo>
                <a:pt x="0" y="0"/>
              </a:moveTo>
              <a:lnTo>
                <a:pt x="0" y="1959798"/>
              </a:lnTo>
              <a:lnTo>
                <a:pt x="156366" y="1959798"/>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72BE23B4-D2EF-4EC7-88FB-3AA91AF3244F}">
      <dsp:nvSpPr>
        <dsp:cNvPr id="0" name=""/>
        <dsp:cNvSpPr/>
      </dsp:nvSpPr>
      <dsp:spPr>
        <a:xfrm>
          <a:off x="6400158" y="1264162"/>
          <a:ext cx="156366" cy="1219661"/>
        </a:xfrm>
        <a:custGeom>
          <a:avLst/>
          <a:gdLst/>
          <a:ahLst/>
          <a:cxnLst/>
          <a:rect l="0" t="0" r="0" b="0"/>
          <a:pathLst>
            <a:path>
              <a:moveTo>
                <a:pt x="0" y="0"/>
              </a:moveTo>
              <a:lnTo>
                <a:pt x="0" y="1219661"/>
              </a:lnTo>
              <a:lnTo>
                <a:pt x="156366" y="1219661"/>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A9C88D3D-7DB4-4E0C-B617-D87070980AE9}">
      <dsp:nvSpPr>
        <dsp:cNvPr id="0" name=""/>
        <dsp:cNvSpPr/>
      </dsp:nvSpPr>
      <dsp:spPr>
        <a:xfrm>
          <a:off x="6400158" y="1264162"/>
          <a:ext cx="156366" cy="479525"/>
        </a:xfrm>
        <a:custGeom>
          <a:avLst/>
          <a:gdLst/>
          <a:ahLst/>
          <a:cxnLst/>
          <a:rect l="0" t="0" r="0" b="0"/>
          <a:pathLst>
            <a:path>
              <a:moveTo>
                <a:pt x="0" y="0"/>
              </a:moveTo>
              <a:lnTo>
                <a:pt x="0" y="479525"/>
              </a:lnTo>
              <a:lnTo>
                <a:pt x="156366" y="479525"/>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91E5345A-8EDC-46D8-A550-F15570D5FE34}">
      <dsp:nvSpPr>
        <dsp:cNvPr id="0" name=""/>
        <dsp:cNvSpPr/>
      </dsp:nvSpPr>
      <dsp:spPr>
        <a:xfrm>
          <a:off x="4609757" y="524026"/>
          <a:ext cx="2207379" cy="218913"/>
        </a:xfrm>
        <a:custGeom>
          <a:avLst/>
          <a:gdLst/>
          <a:ahLst/>
          <a:cxnLst/>
          <a:rect l="0" t="0" r="0" b="0"/>
          <a:pathLst>
            <a:path>
              <a:moveTo>
                <a:pt x="0" y="0"/>
              </a:moveTo>
              <a:lnTo>
                <a:pt x="0" y="109456"/>
              </a:lnTo>
              <a:lnTo>
                <a:pt x="2207379" y="109456"/>
              </a:lnTo>
              <a:lnTo>
                <a:pt x="2207379" y="218913"/>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A0BEA156-ECCF-4239-A317-73625B1E1342}">
      <dsp:nvSpPr>
        <dsp:cNvPr id="0" name=""/>
        <dsp:cNvSpPr/>
      </dsp:nvSpPr>
      <dsp:spPr>
        <a:xfrm>
          <a:off x="5138798" y="1264162"/>
          <a:ext cx="156366" cy="4180207"/>
        </a:xfrm>
        <a:custGeom>
          <a:avLst/>
          <a:gdLst/>
          <a:ahLst/>
          <a:cxnLst/>
          <a:rect l="0" t="0" r="0" b="0"/>
          <a:pathLst>
            <a:path>
              <a:moveTo>
                <a:pt x="0" y="0"/>
              </a:moveTo>
              <a:lnTo>
                <a:pt x="0" y="4180207"/>
              </a:lnTo>
              <a:lnTo>
                <a:pt x="156366" y="4180207"/>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BB7F919D-FE48-47EC-8324-CA8735E98438}">
      <dsp:nvSpPr>
        <dsp:cNvPr id="0" name=""/>
        <dsp:cNvSpPr/>
      </dsp:nvSpPr>
      <dsp:spPr>
        <a:xfrm>
          <a:off x="5138798" y="1264162"/>
          <a:ext cx="156366" cy="3440071"/>
        </a:xfrm>
        <a:custGeom>
          <a:avLst/>
          <a:gdLst/>
          <a:ahLst/>
          <a:cxnLst/>
          <a:rect l="0" t="0" r="0" b="0"/>
          <a:pathLst>
            <a:path>
              <a:moveTo>
                <a:pt x="0" y="0"/>
              </a:moveTo>
              <a:lnTo>
                <a:pt x="0" y="3440071"/>
              </a:lnTo>
              <a:lnTo>
                <a:pt x="156366" y="3440071"/>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4BD747F0-74C1-4FD2-9B29-3DDB6A43336C}">
      <dsp:nvSpPr>
        <dsp:cNvPr id="0" name=""/>
        <dsp:cNvSpPr/>
      </dsp:nvSpPr>
      <dsp:spPr>
        <a:xfrm>
          <a:off x="5138798" y="1264162"/>
          <a:ext cx="156366" cy="2699934"/>
        </a:xfrm>
        <a:custGeom>
          <a:avLst/>
          <a:gdLst/>
          <a:ahLst/>
          <a:cxnLst/>
          <a:rect l="0" t="0" r="0" b="0"/>
          <a:pathLst>
            <a:path>
              <a:moveTo>
                <a:pt x="0" y="0"/>
              </a:moveTo>
              <a:lnTo>
                <a:pt x="0" y="2699934"/>
              </a:lnTo>
              <a:lnTo>
                <a:pt x="156366" y="2699934"/>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2F26A465-879D-406D-912D-12A156B2E726}">
      <dsp:nvSpPr>
        <dsp:cNvPr id="0" name=""/>
        <dsp:cNvSpPr/>
      </dsp:nvSpPr>
      <dsp:spPr>
        <a:xfrm>
          <a:off x="5138798" y="1264162"/>
          <a:ext cx="156366" cy="1959798"/>
        </a:xfrm>
        <a:custGeom>
          <a:avLst/>
          <a:gdLst/>
          <a:ahLst/>
          <a:cxnLst/>
          <a:rect l="0" t="0" r="0" b="0"/>
          <a:pathLst>
            <a:path>
              <a:moveTo>
                <a:pt x="0" y="0"/>
              </a:moveTo>
              <a:lnTo>
                <a:pt x="0" y="1959798"/>
              </a:lnTo>
              <a:lnTo>
                <a:pt x="156366" y="1959798"/>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A6EAF44D-B301-4094-9BC6-7DFCECEA01E3}">
      <dsp:nvSpPr>
        <dsp:cNvPr id="0" name=""/>
        <dsp:cNvSpPr/>
      </dsp:nvSpPr>
      <dsp:spPr>
        <a:xfrm>
          <a:off x="5138798" y="1264162"/>
          <a:ext cx="156366" cy="1219661"/>
        </a:xfrm>
        <a:custGeom>
          <a:avLst/>
          <a:gdLst/>
          <a:ahLst/>
          <a:cxnLst/>
          <a:rect l="0" t="0" r="0" b="0"/>
          <a:pathLst>
            <a:path>
              <a:moveTo>
                <a:pt x="0" y="0"/>
              </a:moveTo>
              <a:lnTo>
                <a:pt x="0" y="1219661"/>
              </a:lnTo>
              <a:lnTo>
                <a:pt x="156366" y="1219661"/>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968E41AD-9C0F-48CB-873F-E5893A5AED2E}">
      <dsp:nvSpPr>
        <dsp:cNvPr id="0" name=""/>
        <dsp:cNvSpPr/>
      </dsp:nvSpPr>
      <dsp:spPr>
        <a:xfrm>
          <a:off x="5138798" y="1264162"/>
          <a:ext cx="156366" cy="479525"/>
        </a:xfrm>
        <a:custGeom>
          <a:avLst/>
          <a:gdLst/>
          <a:ahLst/>
          <a:cxnLst/>
          <a:rect l="0" t="0" r="0" b="0"/>
          <a:pathLst>
            <a:path>
              <a:moveTo>
                <a:pt x="0" y="0"/>
              </a:moveTo>
              <a:lnTo>
                <a:pt x="0" y="479525"/>
              </a:lnTo>
              <a:lnTo>
                <a:pt x="156366" y="479525"/>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D0B75A22-3D72-4C2A-904C-17F060D50799}">
      <dsp:nvSpPr>
        <dsp:cNvPr id="0" name=""/>
        <dsp:cNvSpPr/>
      </dsp:nvSpPr>
      <dsp:spPr>
        <a:xfrm>
          <a:off x="4609757" y="524026"/>
          <a:ext cx="946019" cy="218913"/>
        </a:xfrm>
        <a:custGeom>
          <a:avLst/>
          <a:gdLst/>
          <a:ahLst/>
          <a:cxnLst/>
          <a:rect l="0" t="0" r="0" b="0"/>
          <a:pathLst>
            <a:path>
              <a:moveTo>
                <a:pt x="0" y="0"/>
              </a:moveTo>
              <a:lnTo>
                <a:pt x="0" y="109456"/>
              </a:lnTo>
              <a:lnTo>
                <a:pt x="946019" y="109456"/>
              </a:lnTo>
              <a:lnTo>
                <a:pt x="946019" y="218913"/>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2D547170-6BFB-43A5-BDD2-20710A11F5AA}">
      <dsp:nvSpPr>
        <dsp:cNvPr id="0" name=""/>
        <dsp:cNvSpPr/>
      </dsp:nvSpPr>
      <dsp:spPr>
        <a:xfrm>
          <a:off x="3877439" y="2004299"/>
          <a:ext cx="156366" cy="1959798"/>
        </a:xfrm>
        <a:custGeom>
          <a:avLst/>
          <a:gdLst/>
          <a:ahLst/>
          <a:cxnLst/>
          <a:rect l="0" t="0" r="0" b="0"/>
          <a:pathLst>
            <a:path>
              <a:moveTo>
                <a:pt x="0" y="0"/>
              </a:moveTo>
              <a:lnTo>
                <a:pt x="0" y="1959798"/>
              </a:lnTo>
              <a:lnTo>
                <a:pt x="156366" y="1959798"/>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17A41EC8-2CDE-4F44-8125-3FF37D228618}">
      <dsp:nvSpPr>
        <dsp:cNvPr id="0" name=""/>
        <dsp:cNvSpPr/>
      </dsp:nvSpPr>
      <dsp:spPr>
        <a:xfrm>
          <a:off x="3877439" y="2004299"/>
          <a:ext cx="156366" cy="1219661"/>
        </a:xfrm>
        <a:custGeom>
          <a:avLst/>
          <a:gdLst/>
          <a:ahLst/>
          <a:cxnLst/>
          <a:rect l="0" t="0" r="0" b="0"/>
          <a:pathLst>
            <a:path>
              <a:moveTo>
                <a:pt x="0" y="0"/>
              </a:moveTo>
              <a:lnTo>
                <a:pt x="0" y="1219661"/>
              </a:lnTo>
              <a:lnTo>
                <a:pt x="156366" y="1219661"/>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7C1FA5F9-6432-495B-BD62-E3BBEE65A089}">
      <dsp:nvSpPr>
        <dsp:cNvPr id="0" name=""/>
        <dsp:cNvSpPr/>
      </dsp:nvSpPr>
      <dsp:spPr>
        <a:xfrm>
          <a:off x="3877439" y="2004299"/>
          <a:ext cx="156366" cy="479525"/>
        </a:xfrm>
        <a:custGeom>
          <a:avLst/>
          <a:gdLst/>
          <a:ahLst/>
          <a:cxnLst/>
          <a:rect l="0" t="0" r="0" b="0"/>
          <a:pathLst>
            <a:path>
              <a:moveTo>
                <a:pt x="0" y="0"/>
              </a:moveTo>
              <a:lnTo>
                <a:pt x="0" y="479525"/>
              </a:lnTo>
              <a:lnTo>
                <a:pt x="156366" y="479525"/>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CB730DEE-B392-4EB4-9E0A-BB5DB4433BE5}">
      <dsp:nvSpPr>
        <dsp:cNvPr id="0" name=""/>
        <dsp:cNvSpPr/>
      </dsp:nvSpPr>
      <dsp:spPr>
        <a:xfrm>
          <a:off x="4248697" y="1264162"/>
          <a:ext cx="91440" cy="218913"/>
        </a:xfrm>
        <a:custGeom>
          <a:avLst/>
          <a:gdLst/>
          <a:ahLst/>
          <a:cxnLst/>
          <a:rect l="0" t="0" r="0" b="0"/>
          <a:pathLst>
            <a:path>
              <a:moveTo>
                <a:pt x="45720" y="0"/>
              </a:moveTo>
              <a:lnTo>
                <a:pt x="45720" y="218913"/>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55045DD3-3BA4-4614-B18F-294F9E912C34}">
      <dsp:nvSpPr>
        <dsp:cNvPr id="0" name=""/>
        <dsp:cNvSpPr/>
      </dsp:nvSpPr>
      <dsp:spPr>
        <a:xfrm>
          <a:off x="4294417" y="524026"/>
          <a:ext cx="315339" cy="218913"/>
        </a:xfrm>
        <a:custGeom>
          <a:avLst/>
          <a:gdLst/>
          <a:ahLst/>
          <a:cxnLst/>
          <a:rect l="0" t="0" r="0" b="0"/>
          <a:pathLst>
            <a:path>
              <a:moveTo>
                <a:pt x="315339" y="0"/>
              </a:moveTo>
              <a:lnTo>
                <a:pt x="315339" y="109456"/>
              </a:lnTo>
              <a:lnTo>
                <a:pt x="0" y="109456"/>
              </a:lnTo>
              <a:lnTo>
                <a:pt x="0" y="218913"/>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DB0D58DD-FABF-430D-8C8E-6D86D9168413}">
      <dsp:nvSpPr>
        <dsp:cNvPr id="0" name=""/>
        <dsp:cNvSpPr/>
      </dsp:nvSpPr>
      <dsp:spPr>
        <a:xfrm>
          <a:off x="2616079" y="2004299"/>
          <a:ext cx="156366" cy="2699934"/>
        </a:xfrm>
        <a:custGeom>
          <a:avLst/>
          <a:gdLst/>
          <a:ahLst/>
          <a:cxnLst/>
          <a:rect l="0" t="0" r="0" b="0"/>
          <a:pathLst>
            <a:path>
              <a:moveTo>
                <a:pt x="0" y="0"/>
              </a:moveTo>
              <a:lnTo>
                <a:pt x="0" y="2699934"/>
              </a:lnTo>
              <a:lnTo>
                <a:pt x="156366" y="2699934"/>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2AA77337-0DDA-4EE3-9FC3-7CAC538999B2}">
      <dsp:nvSpPr>
        <dsp:cNvPr id="0" name=""/>
        <dsp:cNvSpPr/>
      </dsp:nvSpPr>
      <dsp:spPr>
        <a:xfrm>
          <a:off x="2616079" y="2004299"/>
          <a:ext cx="156366" cy="1959798"/>
        </a:xfrm>
        <a:custGeom>
          <a:avLst/>
          <a:gdLst/>
          <a:ahLst/>
          <a:cxnLst/>
          <a:rect l="0" t="0" r="0" b="0"/>
          <a:pathLst>
            <a:path>
              <a:moveTo>
                <a:pt x="0" y="0"/>
              </a:moveTo>
              <a:lnTo>
                <a:pt x="0" y="1959798"/>
              </a:lnTo>
              <a:lnTo>
                <a:pt x="156366" y="1959798"/>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CCA79C15-712E-48E2-A6CA-EE32F1D92AD3}">
      <dsp:nvSpPr>
        <dsp:cNvPr id="0" name=""/>
        <dsp:cNvSpPr/>
      </dsp:nvSpPr>
      <dsp:spPr>
        <a:xfrm>
          <a:off x="2616079" y="2004299"/>
          <a:ext cx="156366" cy="1219661"/>
        </a:xfrm>
        <a:custGeom>
          <a:avLst/>
          <a:gdLst/>
          <a:ahLst/>
          <a:cxnLst/>
          <a:rect l="0" t="0" r="0" b="0"/>
          <a:pathLst>
            <a:path>
              <a:moveTo>
                <a:pt x="0" y="0"/>
              </a:moveTo>
              <a:lnTo>
                <a:pt x="0" y="1219661"/>
              </a:lnTo>
              <a:lnTo>
                <a:pt x="156366" y="1219661"/>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ED4522D6-EAB4-4AB6-9B68-2C9D1638851E}">
      <dsp:nvSpPr>
        <dsp:cNvPr id="0" name=""/>
        <dsp:cNvSpPr/>
      </dsp:nvSpPr>
      <dsp:spPr>
        <a:xfrm>
          <a:off x="2616079" y="2004299"/>
          <a:ext cx="156366" cy="479525"/>
        </a:xfrm>
        <a:custGeom>
          <a:avLst/>
          <a:gdLst/>
          <a:ahLst/>
          <a:cxnLst/>
          <a:rect l="0" t="0" r="0" b="0"/>
          <a:pathLst>
            <a:path>
              <a:moveTo>
                <a:pt x="0" y="0"/>
              </a:moveTo>
              <a:lnTo>
                <a:pt x="0" y="479525"/>
              </a:lnTo>
              <a:lnTo>
                <a:pt x="156366" y="479525"/>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C3C9EA2D-F136-4542-AA45-AD7D9BEB87B5}">
      <dsp:nvSpPr>
        <dsp:cNvPr id="0" name=""/>
        <dsp:cNvSpPr/>
      </dsp:nvSpPr>
      <dsp:spPr>
        <a:xfrm>
          <a:off x="2402378" y="1264162"/>
          <a:ext cx="630679" cy="218913"/>
        </a:xfrm>
        <a:custGeom>
          <a:avLst/>
          <a:gdLst/>
          <a:ahLst/>
          <a:cxnLst/>
          <a:rect l="0" t="0" r="0" b="0"/>
          <a:pathLst>
            <a:path>
              <a:moveTo>
                <a:pt x="0" y="0"/>
              </a:moveTo>
              <a:lnTo>
                <a:pt x="0" y="109456"/>
              </a:lnTo>
              <a:lnTo>
                <a:pt x="630679" y="109456"/>
              </a:lnTo>
              <a:lnTo>
                <a:pt x="630679" y="218913"/>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39ABBB4E-E81D-40D5-965A-3A49A1C40456}">
      <dsp:nvSpPr>
        <dsp:cNvPr id="0" name=""/>
        <dsp:cNvSpPr/>
      </dsp:nvSpPr>
      <dsp:spPr>
        <a:xfrm>
          <a:off x="917153" y="2004299"/>
          <a:ext cx="144482" cy="531386"/>
        </a:xfrm>
        <a:custGeom>
          <a:avLst/>
          <a:gdLst/>
          <a:ahLst/>
          <a:cxnLst/>
          <a:rect l="0" t="0" r="0" b="0"/>
          <a:pathLst>
            <a:path>
              <a:moveTo>
                <a:pt x="0" y="0"/>
              </a:moveTo>
              <a:lnTo>
                <a:pt x="0" y="531386"/>
              </a:lnTo>
              <a:lnTo>
                <a:pt x="144482" y="531386"/>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745BFE19-8260-4A83-89A1-4DBBD9FB3C25}">
      <dsp:nvSpPr>
        <dsp:cNvPr id="0" name=""/>
        <dsp:cNvSpPr/>
      </dsp:nvSpPr>
      <dsp:spPr>
        <a:xfrm>
          <a:off x="1334132" y="1264162"/>
          <a:ext cx="1068246" cy="218913"/>
        </a:xfrm>
        <a:custGeom>
          <a:avLst/>
          <a:gdLst/>
          <a:ahLst/>
          <a:cxnLst/>
          <a:rect l="0" t="0" r="0" b="0"/>
          <a:pathLst>
            <a:path>
              <a:moveTo>
                <a:pt x="1068246" y="0"/>
              </a:moveTo>
              <a:lnTo>
                <a:pt x="1068246" y="109456"/>
              </a:lnTo>
              <a:lnTo>
                <a:pt x="0" y="109456"/>
              </a:lnTo>
              <a:lnTo>
                <a:pt x="0" y="218913"/>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2FD0F99C-3B2B-40E8-A227-F4E01839F4ED}">
      <dsp:nvSpPr>
        <dsp:cNvPr id="0" name=""/>
        <dsp:cNvSpPr/>
      </dsp:nvSpPr>
      <dsp:spPr>
        <a:xfrm>
          <a:off x="2402378" y="524026"/>
          <a:ext cx="2207379" cy="218913"/>
        </a:xfrm>
        <a:custGeom>
          <a:avLst/>
          <a:gdLst/>
          <a:ahLst/>
          <a:cxnLst/>
          <a:rect l="0" t="0" r="0" b="0"/>
          <a:pathLst>
            <a:path>
              <a:moveTo>
                <a:pt x="2207379" y="0"/>
              </a:moveTo>
              <a:lnTo>
                <a:pt x="2207379" y="109456"/>
              </a:lnTo>
              <a:lnTo>
                <a:pt x="0" y="109456"/>
              </a:lnTo>
              <a:lnTo>
                <a:pt x="0" y="218913"/>
              </a:lnTo>
            </a:path>
          </a:pathLst>
        </a:custGeom>
        <a:noFill/>
        <a:ln w="12700" cap="flat" cmpd="sng" algn="ctr">
          <a:solidFill>
            <a:schemeClr val="bg2">
              <a:lumMod val="25000"/>
            </a:schemeClr>
          </a:solidFill>
          <a:prstDash val="solid"/>
          <a:miter lim="800000"/>
        </a:ln>
        <a:effectLst/>
      </dsp:spPr>
      <dsp:style>
        <a:lnRef idx="2">
          <a:scrgbClr r="0" g="0" b="0"/>
        </a:lnRef>
        <a:fillRef idx="0">
          <a:scrgbClr r="0" g="0" b="0"/>
        </a:fillRef>
        <a:effectRef idx="0">
          <a:scrgbClr r="0" g="0" b="0"/>
        </a:effectRef>
        <a:fontRef idx="minor"/>
      </dsp:style>
    </dsp:sp>
    <dsp:sp modelId="{4EF83B75-9158-43A7-BAEF-B19F07FDB950}">
      <dsp:nvSpPr>
        <dsp:cNvPr id="0" name=""/>
        <dsp:cNvSpPr/>
      </dsp:nvSpPr>
      <dsp:spPr>
        <a:xfrm>
          <a:off x="4088534" y="2803"/>
          <a:ext cx="1042445" cy="521222"/>
        </a:xfrm>
        <a:prstGeom prst="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IN" sz="1800" b="1" kern="1200" dirty="0">
              <a:latin typeface="Century Gothic" panose="020B0502020202020204" pitchFamily="34" charset="0"/>
              <a:cs typeface="Calibri" panose="020F0502020204030204" pitchFamily="34" charset="0"/>
            </a:rPr>
            <a:t>BOSS</a:t>
          </a:r>
        </a:p>
      </dsp:txBody>
      <dsp:txXfrm>
        <a:off x="4088534" y="2803"/>
        <a:ext cx="1042445" cy="521222"/>
      </dsp:txXfrm>
    </dsp:sp>
    <dsp:sp modelId="{52218C76-1E89-408B-A563-BDB10982DBF3}">
      <dsp:nvSpPr>
        <dsp:cNvPr id="0" name=""/>
        <dsp:cNvSpPr/>
      </dsp:nvSpPr>
      <dsp:spPr>
        <a:xfrm>
          <a:off x="1881155" y="742939"/>
          <a:ext cx="1042445" cy="521222"/>
        </a:xfrm>
        <a:prstGeom prst="rect">
          <a:avLst/>
        </a:prstGeom>
        <a:solidFill>
          <a:schemeClr val="bg2"/>
        </a:solidFill>
        <a:ln w="12700" cap="flat" cmpd="sng" algn="ctr">
          <a:solidFill>
            <a:schemeClr val="bg2"/>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b="1" kern="1200" dirty="0">
              <a:solidFill>
                <a:schemeClr val="tx1"/>
              </a:solidFill>
              <a:latin typeface="Century Gothic" panose="020B0502020202020204" pitchFamily="34" charset="0"/>
              <a:cs typeface="Calibri" panose="020F0502020204030204" pitchFamily="34" charset="0"/>
            </a:rPr>
            <a:t>1115 (11.1T)</a:t>
          </a:r>
        </a:p>
      </dsp:txBody>
      <dsp:txXfrm>
        <a:off x="1881155" y="742939"/>
        <a:ext cx="1042445" cy="521222"/>
      </dsp:txXfrm>
    </dsp:sp>
    <dsp:sp modelId="{75A4447A-43FF-4464-B6BD-08A2F2C5F99C}">
      <dsp:nvSpPr>
        <dsp:cNvPr id="0" name=""/>
        <dsp:cNvSpPr/>
      </dsp:nvSpPr>
      <dsp:spPr>
        <a:xfrm>
          <a:off x="812909" y="1483076"/>
          <a:ext cx="1042445" cy="521222"/>
        </a:xfrm>
        <a:prstGeom prst="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b="1" kern="1200" dirty="0">
              <a:latin typeface="Century Gothic" panose="020B0502020202020204" pitchFamily="34" charset="0"/>
              <a:cs typeface="Calibri" panose="020F0502020204030204" pitchFamily="34" charset="0"/>
            </a:rPr>
            <a:t>TIPPER</a:t>
          </a:r>
        </a:p>
      </dsp:txBody>
      <dsp:txXfrm>
        <a:off x="812909" y="1483076"/>
        <a:ext cx="1042445" cy="521222"/>
      </dsp:txXfrm>
    </dsp:sp>
    <dsp:sp modelId="{748E36B0-B107-4FE0-BA29-2FFED2B1D32D}">
      <dsp:nvSpPr>
        <dsp:cNvPr id="0" name=""/>
        <dsp:cNvSpPr/>
      </dsp:nvSpPr>
      <dsp:spPr>
        <a:xfrm>
          <a:off x="1061636" y="2275074"/>
          <a:ext cx="1042445" cy="521222"/>
        </a:xfrm>
        <a:prstGeom prst="rect">
          <a:avLst/>
        </a:prstGeom>
        <a:solidFill>
          <a:schemeClr val="bg2"/>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entury Gothic" panose="020B0502020202020204" pitchFamily="34" charset="0"/>
              <a:cs typeface="Calibri" panose="020F0502020204030204" pitchFamily="34" charset="0"/>
            </a:rPr>
            <a:t>5 CUM – 2990 WB</a:t>
          </a:r>
          <a:endParaRPr lang="en-IN" sz="1200" b="1" kern="1200" dirty="0">
            <a:solidFill>
              <a:schemeClr val="tx1"/>
            </a:solidFill>
            <a:latin typeface="Century Gothic" panose="020B0502020202020204" pitchFamily="34" charset="0"/>
            <a:cs typeface="Calibri" panose="020F0502020204030204" pitchFamily="34" charset="0"/>
          </a:endParaRPr>
        </a:p>
      </dsp:txBody>
      <dsp:txXfrm>
        <a:off x="1061636" y="2275074"/>
        <a:ext cx="1042445" cy="521222"/>
      </dsp:txXfrm>
    </dsp:sp>
    <dsp:sp modelId="{B58A599F-9C1C-46E8-82C0-DA24E4DD94CB}">
      <dsp:nvSpPr>
        <dsp:cNvPr id="0" name=""/>
        <dsp:cNvSpPr/>
      </dsp:nvSpPr>
      <dsp:spPr>
        <a:xfrm>
          <a:off x="2511835" y="1483076"/>
          <a:ext cx="1042445" cy="521222"/>
        </a:xfrm>
        <a:prstGeom prst="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b="1" kern="1200" dirty="0">
              <a:latin typeface="Century Gothic" panose="020B0502020202020204" pitchFamily="34" charset="0"/>
              <a:cs typeface="Calibri" panose="020F0502020204030204" pitchFamily="34" charset="0"/>
            </a:rPr>
            <a:t>HAUL</a:t>
          </a:r>
        </a:p>
      </dsp:txBody>
      <dsp:txXfrm>
        <a:off x="2511835" y="1483076"/>
        <a:ext cx="1042445" cy="521222"/>
      </dsp:txXfrm>
    </dsp:sp>
    <dsp:sp modelId="{1D1C17C5-1531-419F-B597-6109DA82E819}">
      <dsp:nvSpPr>
        <dsp:cNvPr id="0" name=""/>
        <dsp:cNvSpPr/>
      </dsp:nvSpPr>
      <dsp:spPr>
        <a:xfrm>
          <a:off x="2772446" y="2223212"/>
          <a:ext cx="1042445" cy="521222"/>
        </a:xfrm>
        <a:prstGeom prst="rect">
          <a:avLst/>
        </a:prstGeom>
        <a:solidFill>
          <a:schemeClr val="bg2"/>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entury Gothic" panose="020B0502020202020204" pitchFamily="34" charset="0"/>
              <a:cs typeface="Calibri" panose="020F0502020204030204" pitchFamily="34" charset="0"/>
            </a:rPr>
            <a:t>14’ – 3440 WB</a:t>
          </a:r>
          <a:endParaRPr lang="en-IN" sz="1200" b="1" kern="1200" dirty="0">
            <a:solidFill>
              <a:schemeClr val="tx1"/>
            </a:solidFill>
            <a:latin typeface="Century Gothic" panose="020B0502020202020204" pitchFamily="34" charset="0"/>
            <a:cs typeface="Calibri" panose="020F0502020204030204" pitchFamily="34" charset="0"/>
          </a:endParaRPr>
        </a:p>
      </dsp:txBody>
      <dsp:txXfrm>
        <a:off x="2772446" y="2223212"/>
        <a:ext cx="1042445" cy="521222"/>
      </dsp:txXfrm>
    </dsp:sp>
    <dsp:sp modelId="{6CDB4180-BD35-4432-91DF-E5E894A4E501}">
      <dsp:nvSpPr>
        <dsp:cNvPr id="0" name=""/>
        <dsp:cNvSpPr/>
      </dsp:nvSpPr>
      <dsp:spPr>
        <a:xfrm>
          <a:off x="2772446" y="2963349"/>
          <a:ext cx="1042445" cy="521222"/>
        </a:xfrm>
        <a:prstGeom prst="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latin typeface="Century Gothic" panose="020B0502020202020204" pitchFamily="34" charset="0"/>
              <a:cs typeface="Calibri" panose="020F0502020204030204" pitchFamily="34" charset="0"/>
            </a:rPr>
            <a:t>17’ – 3940 WB</a:t>
          </a:r>
        </a:p>
      </dsp:txBody>
      <dsp:txXfrm>
        <a:off x="2772446" y="2963349"/>
        <a:ext cx="1042445" cy="521222"/>
      </dsp:txXfrm>
    </dsp:sp>
    <dsp:sp modelId="{DFEC2F2B-3A93-401C-9580-C6EB2514E836}">
      <dsp:nvSpPr>
        <dsp:cNvPr id="0" name=""/>
        <dsp:cNvSpPr/>
      </dsp:nvSpPr>
      <dsp:spPr>
        <a:xfrm>
          <a:off x="2772446" y="3703485"/>
          <a:ext cx="1042445" cy="521222"/>
        </a:xfrm>
        <a:prstGeom prst="rect">
          <a:avLst/>
        </a:prstGeom>
        <a:solidFill>
          <a:schemeClr val="bg2"/>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entury Gothic" panose="020B0502020202020204" pitchFamily="34" charset="0"/>
              <a:cs typeface="Calibri" panose="020F0502020204030204" pitchFamily="34" charset="0"/>
            </a:rPr>
            <a:t>20’ – 4540 WB</a:t>
          </a:r>
        </a:p>
      </dsp:txBody>
      <dsp:txXfrm>
        <a:off x="2772446" y="3703485"/>
        <a:ext cx="1042445" cy="521222"/>
      </dsp:txXfrm>
    </dsp:sp>
    <dsp:sp modelId="{E43CC8B8-E901-444D-BE3E-EC3CFCFCC1E3}">
      <dsp:nvSpPr>
        <dsp:cNvPr id="0" name=""/>
        <dsp:cNvSpPr/>
      </dsp:nvSpPr>
      <dsp:spPr>
        <a:xfrm>
          <a:off x="2772446" y="4443622"/>
          <a:ext cx="1042445" cy="521222"/>
        </a:xfrm>
        <a:prstGeom prst="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latin typeface="Century Gothic" panose="020B0502020202020204" pitchFamily="34" charset="0"/>
              <a:cs typeface="Calibri" panose="020F0502020204030204" pitchFamily="34" charset="0"/>
            </a:rPr>
            <a:t>22’ – 4940 WB</a:t>
          </a:r>
        </a:p>
      </dsp:txBody>
      <dsp:txXfrm>
        <a:off x="2772446" y="4443622"/>
        <a:ext cx="1042445" cy="521222"/>
      </dsp:txXfrm>
    </dsp:sp>
    <dsp:sp modelId="{5F24EF4A-5914-47F0-8353-3E5F19A99734}">
      <dsp:nvSpPr>
        <dsp:cNvPr id="0" name=""/>
        <dsp:cNvSpPr/>
      </dsp:nvSpPr>
      <dsp:spPr>
        <a:xfrm>
          <a:off x="3773194" y="742939"/>
          <a:ext cx="1042445" cy="521222"/>
        </a:xfrm>
        <a:prstGeom prst="rect">
          <a:avLst/>
        </a:prstGeom>
        <a:solidFill>
          <a:schemeClr val="bg2"/>
        </a:solidFill>
        <a:ln w="12700" cap="flat" cmpd="sng" algn="ctr">
          <a:solidFill>
            <a:schemeClr val="bg2"/>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b="1" kern="1200" dirty="0">
              <a:solidFill>
                <a:schemeClr val="tx1"/>
              </a:solidFill>
              <a:latin typeface="Century Gothic" panose="020B0502020202020204" pitchFamily="34" charset="0"/>
              <a:cs typeface="Calibri" panose="020F0502020204030204" pitchFamily="34" charset="0"/>
            </a:rPr>
            <a:t>1215 (11.9T)</a:t>
          </a:r>
        </a:p>
      </dsp:txBody>
      <dsp:txXfrm>
        <a:off x="3773194" y="742939"/>
        <a:ext cx="1042445" cy="521222"/>
      </dsp:txXfrm>
    </dsp:sp>
    <dsp:sp modelId="{F120AB4B-A2AF-4D49-8D60-DE0715A8732D}">
      <dsp:nvSpPr>
        <dsp:cNvPr id="0" name=""/>
        <dsp:cNvSpPr/>
      </dsp:nvSpPr>
      <dsp:spPr>
        <a:xfrm>
          <a:off x="3773194" y="1483076"/>
          <a:ext cx="1042445" cy="521222"/>
        </a:xfrm>
        <a:prstGeom prst="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b="1" kern="1200" dirty="0">
              <a:latin typeface="Century Gothic" panose="020B0502020202020204" pitchFamily="34" charset="0"/>
              <a:cs typeface="Calibri" panose="020F0502020204030204" pitchFamily="34" charset="0"/>
            </a:rPr>
            <a:t>HAUL</a:t>
          </a:r>
        </a:p>
      </dsp:txBody>
      <dsp:txXfrm>
        <a:off x="3773194" y="1483076"/>
        <a:ext cx="1042445" cy="521222"/>
      </dsp:txXfrm>
    </dsp:sp>
    <dsp:sp modelId="{683079DF-80E8-4F07-9C1E-226B9616B4BE}">
      <dsp:nvSpPr>
        <dsp:cNvPr id="0" name=""/>
        <dsp:cNvSpPr/>
      </dsp:nvSpPr>
      <dsp:spPr>
        <a:xfrm>
          <a:off x="4033806" y="2223212"/>
          <a:ext cx="1042445" cy="521222"/>
        </a:xfrm>
        <a:prstGeom prst="rect">
          <a:avLst/>
        </a:prstGeom>
        <a:solidFill>
          <a:schemeClr val="bg2"/>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entury Gothic" panose="020B0502020202020204" pitchFamily="34" charset="0"/>
              <a:cs typeface="Calibri" panose="020F0502020204030204" pitchFamily="34" charset="0"/>
            </a:rPr>
            <a:t>17’- 3900 WB </a:t>
          </a:r>
        </a:p>
      </dsp:txBody>
      <dsp:txXfrm>
        <a:off x="4033806" y="2223212"/>
        <a:ext cx="1042445" cy="521222"/>
      </dsp:txXfrm>
    </dsp:sp>
    <dsp:sp modelId="{C8B07A7B-0C33-40AB-961A-51357DD8AFD3}">
      <dsp:nvSpPr>
        <dsp:cNvPr id="0" name=""/>
        <dsp:cNvSpPr/>
      </dsp:nvSpPr>
      <dsp:spPr>
        <a:xfrm>
          <a:off x="4033806" y="2963349"/>
          <a:ext cx="1042445" cy="521222"/>
        </a:xfrm>
        <a:prstGeom prst="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latin typeface="Century Gothic" panose="020B0502020202020204" pitchFamily="34" charset="0"/>
              <a:cs typeface="Calibri" panose="020F0502020204030204" pitchFamily="34" charset="0"/>
            </a:rPr>
            <a:t>20’ – 4500 WB</a:t>
          </a:r>
        </a:p>
      </dsp:txBody>
      <dsp:txXfrm>
        <a:off x="4033806" y="2963349"/>
        <a:ext cx="1042445" cy="521222"/>
      </dsp:txXfrm>
    </dsp:sp>
    <dsp:sp modelId="{DE18CD41-1488-4600-AC60-8EB3F1CC6A09}">
      <dsp:nvSpPr>
        <dsp:cNvPr id="0" name=""/>
        <dsp:cNvSpPr/>
      </dsp:nvSpPr>
      <dsp:spPr>
        <a:xfrm>
          <a:off x="4033806" y="3703485"/>
          <a:ext cx="1042445" cy="521222"/>
        </a:xfrm>
        <a:prstGeom prst="rect">
          <a:avLst/>
        </a:prstGeom>
        <a:solidFill>
          <a:schemeClr val="bg2"/>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entury Gothic" panose="020B0502020202020204" pitchFamily="34" charset="0"/>
              <a:cs typeface="Calibri" panose="020F0502020204030204" pitchFamily="34" charset="0"/>
            </a:rPr>
            <a:t>22’ – 4900 WB</a:t>
          </a:r>
        </a:p>
      </dsp:txBody>
      <dsp:txXfrm>
        <a:off x="4033806" y="3703485"/>
        <a:ext cx="1042445" cy="521222"/>
      </dsp:txXfrm>
    </dsp:sp>
    <dsp:sp modelId="{591808E9-BA4A-4F46-8A43-4F02198286F8}">
      <dsp:nvSpPr>
        <dsp:cNvPr id="0" name=""/>
        <dsp:cNvSpPr/>
      </dsp:nvSpPr>
      <dsp:spPr>
        <a:xfrm>
          <a:off x="5034554" y="742939"/>
          <a:ext cx="1042445" cy="521222"/>
        </a:xfrm>
        <a:prstGeom prst="rect">
          <a:avLst/>
        </a:prstGeom>
        <a:solidFill>
          <a:schemeClr val="bg2"/>
        </a:solidFill>
        <a:ln w="12700" cap="flat" cmpd="sng" algn="ctr">
          <a:solidFill>
            <a:schemeClr val="bg2"/>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b="1" kern="1200" dirty="0">
              <a:solidFill>
                <a:schemeClr val="tx1"/>
              </a:solidFill>
              <a:latin typeface="Century Gothic" panose="020B0502020202020204" pitchFamily="34" charset="0"/>
              <a:cs typeface="Calibri" panose="020F0502020204030204" pitchFamily="34" charset="0"/>
            </a:rPr>
            <a:t>1315 (13.1T)</a:t>
          </a:r>
        </a:p>
      </dsp:txBody>
      <dsp:txXfrm>
        <a:off x="5034554" y="742939"/>
        <a:ext cx="1042445" cy="521222"/>
      </dsp:txXfrm>
    </dsp:sp>
    <dsp:sp modelId="{D578D6B3-E95B-44BC-A80B-35E1A98DD1E3}">
      <dsp:nvSpPr>
        <dsp:cNvPr id="0" name=""/>
        <dsp:cNvSpPr/>
      </dsp:nvSpPr>
      <dsp:spPr>
        <a:xfrm>
          <a:off x="5295165" y="1483076"/>
          <a:ext cx="1042445" cy="521222"/>
        </a:xfrm>
        <a:prstGeom prst="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b="1" kern="1200" dirty="0">
              <a:latin typeface="Century Gothic" panose="020B0502020202020204" pitchFamily="34" charset="0"/>
              <a:cs typeface="Calibri" panose="020F0502020204030204" pitchFamily="34" charset="0"/>
            </a:rPr>
            <a:t>HAUL</a:t>
          </a:r>
        </a:p>
      </dsp:txBody>
      <dsp:txXfrm>
        <a:off x="5295165" y="1483076"/>
        <a:ext cx="1042445" cy="521222"/>
      </dsp:txXfrm>
    </dsp:sp>
    <dsp:sp modelId="{C5324160-1919-4624-8B94-EA2934C07C6E}">
      <dsp:nvSpPr>
        <dsp:cNvPr id="0" name=""/>
        <dsp:cNvSpPr/>
      </dsp:nvSpPr>
      <dsp:spPr>
        <a:xfrm>
          <a:off x="5295165" y="2223212"/>
          <a:ext cx="1042445" cy="521222"/>
        </a:xfrm>
        <a:prstGeom prst="rect">
          <a:avLst/>
        </a:prstGeom>
        <a:solidFill>
          <a:schemeClr val="bg2"/>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entury Gothic" panose="020B0502020202020204" pitchFamily="34" charset="0"/>
              <a:cs typeface="Calibri" panose="020F0502020204030204" pitchFamily="34" charset="0"/>
            </a:rPr>
            <a:t>14’ – 3400 WB</a:t>
          </a:r>
          <a:endParaRPr lang="en-IN" sz="1200" b="1" kern="1200" dirty="0">
            <a:solidFill>
              <a:schemeClr val="tx1"/>
            </a:solidFill>
            <a:latin typeface="Century Gothic" panose="020B0502020202020204" pitchFamily="34" charset="0"/>
            <a:cs typeface="Calibri" panose="020F0502020204030204" pitchFamily="34" charset="0"/>
          </a:endParaRPr>
        </a:p>
      </dsp:txBody>
      <dsp:txXfrm>
        <a:off x="5295165" y="2223212"/>
        <a:ext cx="1042445" cy="521222"/>
      </dsp:txXfrm>
    </dsp:sp>
    <dsp:sp modelId="{4BBB7BDB-2626-49B8-9C45-F860E158693F}">
      <dsp:nvSpPr>
        <dsp:cNvPr id="0" name=""/>
        <dsp:cNvSpPr/>
      </dsp:nvSpPr>
      <dsp:spPr>
        <a:xfrm>
          <a:off x="5295165" y="2963349"/>
          <a:ext cx="1042445" cy="521222"/>
        </a:xfrm>
        <a:prstGeom prst="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latin typeface="Century Gothic" panose="020B0502020202020204" pitchFamily="34" charset="0"/>
              <a:cs typeface="Calibri" panose="020F0502020204030204" pitchFamily="34" charset="0"/>
            </a:rPr>
            <a:t>17’- 3900 WB </a:t>
          </a:r>
        </a:p>
      </dsp:txBody>
      <dsp:txXfrm>
        <a:off x="5295165" y="2963349"/>
        <a:ext cx="1042445" cy="521222"/>
      </dsp:txXfrm>
    </dsp:sp>
    <dsp:sp modelId="{2E3C9156-8889-45FF-9EB8-0E518B438EFB}">
      <dsp:nvSpPr>
        <dsp:cNvPr id="0" name=""/>
        <dsp:cNvSpPr/>
      </dsp:nvSpPr>
      <dsp:spPr>
        <a:xfrm>
          <a:off x="5295165" y="3703485"/>
          <a:ext cx="1042445" cy="521222"/>
        </a:xfrm>
        <a:prstGeom prst="rect">
          <a:avLst/>
        </a:prstGeom>
        <a:solidFill>
          <a:schemeClr val="bg2"/>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entury Gothic" panose="020B0502020202020204" pitchFamily="34" charset="0"/>
              <a:cs typeface="Calibri" panose="020F0502020204030204" pitchFamily="34" charset="0"/>
            </a:rPr>
            <a:t>20’ – 4500 WB</a:t>
          </a:r>
        </a:p>
      </dsp:txBody>
      <dsp:txXfrm>
        <a:off x="5295165" y="3703485"/>
        <a:ext cx="1042445" cy="521222"/>
      </dsp:txXfrm>
    </dsp:sp>
    <dsp:sp modelId="{74E4902C-B9CE-4560-9E7B-7441B48EE5C3}">
      <dsp:nvSpPr>
        <dsp:cNvPr id="0" name=""/>
        <dsp:cNvSpPr/>
      </dsp:nvSpPr>
      <dsp:spPr>
        <a:xfrm>
          <a:off x="5295165" y="4443622"/>
          <a:ext cx="1042445" cy="521222"/>
        </a:xfrm>
        <a:prstGeom prst="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latin typeface="Century Gothic" panose="020B0502020202020204" pitchFamily="34" charset="0"/>
              <a:cs typeface="Calibri" panose="020F0502020204030204" pitchFamily="34" charset="0"/>
            </a:rPr>
            <a:t>22’ – 4900 WB</a:t>
          </a:r>
        </a:p>
      </dsp:txBody>
      <dsp:txXfrm>
        <a:off x="5295165" y="4443622"/>
        <a:ext cx="1042445" cy="521222"/>
      </dsp:txXfrm>
    </dsp:sp>
    <dsp:sp modelId="{237F3405-A2B9-49BC-909A-C59170F37284}">
      <dsp:nvSpPr>
        <dsp:cNvPr id="0" name=""/>
        <dsp:cNvSpPr/>
      </dsp:nvSpPr>
      <dsp:spPr>
        <a:xfrm>
          <a:off x="5295165" y="5183758"/>
          <a:ext cx="1042445" cy="521222"/>
        </a:xfrm>
        <a:prstGeom prst="rect">
          <a:avLst/>
        </a:prstGeom>
        <a:solidFill>
          <a:schemeClr val="bg2"/>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entury Gothic" panose="020B0502020202020204" pitchFamily="34" charset="0"/>
              <a:cs typeface="Calibri" panose="020F0502020204030204" pitchFamily="34" charset="0"/>
            </a:rPr>
            <a:t>24’ – 5200 WB</a:t>
          </a:r>
        </a:p>
      </dsp:txBody>
      <dsp:txXfrm>
        <a:off x="5295165" y="5183758"/>
        <a:ext cx="1042445" cy="521222"/>
      </dsp:txXfrm>
    </dsp:sp>
    <dsp:sp modelId="{91D18BC6-84A8-46F6-AACA-66A51F65B7C7}">
      <dsp:nvSpPr>
        <dsp:cNvPr id="0" name=""/>
        <dsp:cNvSpPr/>
      </dsp:nvSpPr>
      <dsp:spPr>
        <a:xfrm>
          <a:off x="6295913" y="742939"/>
          <a:ext cx="1042445" cy="521222"/>
        </a:xfrm>
        <a:prstGeom prst="rect">
          <a:avLst/>
        </a:prstGeom>
        <a:solidFill>
          <a:schemeClr val="bg2"/>
        </a:solidFill>
        <a:ln w="12700" cap="flat" cmpd="sng" algn="ctr">
          <a:solidFill>
            <a:schemeClr val="bg2"/>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b="1" kern="1200" dirty="0">
              <a:solidFill>
                <a:schemeClr val="tx1"/>
              </a:solidFill>
              <a:latin typeface="Century Gothic" panose="020B0502020202020204" pitchFamily="34" charset="0"/>
              <a:cs typeface="Calibri" panose="020F0502020204030204" pitchFamily="34" charset="0"/>
            </a:rPr>
            <a:t>1415 (14T)</a:t>
          </a:r>
        </a:p>
      </dsp:txBody>
      <dsp:txXfrm>
        <a:off x="6295913" y="742939"/>
        <a:ext cx="1042445" cy="521222"/>
      </dsp:txXfrm>
    </dsp:sp>
    <dsp:sp modelId="{5CEC28E3-35A5-4F43-A8A4-305B35280045}">
      <dsp:nvSpPr>
        <dsp:cNvPr id="0" name=""/>
        <dsp:cNvSpPr/>
      </dsp:nvSpPr>
      <dsp:spPr>
        <a:xfrm>
          <a:off x="6556525" y="1483076"/>
          <a:ext cx="1042445" cy="521222"/>
        </a:xfrm>
        <a:prstGeom prst="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b="1" kern="1200" dirty="0">
              <a:latin typeface="Century Gothic" panose="020B0502020202020204" pitchFamily="34" charset="0"/>
              <a:cs typeface="Calibri" panose="020F0502020204030204" pitchFamily="34" charset="0"/>
            </a:rPr>
            <a:t>HAUL</a:t>
          </a:r>
        </a:p>
      </dsp:txBody>
      <dsp:txXfrm>
        <a:off x="6556525" y="1483076"/>
        <a:ext cx="1042445" cy="521222"/>
      </dsp:txXfrm>
    </dsp:sp>
    <dsp:sp modelId="{BF764DE7-EEE7-420C-9F49-12F1D53AFEC5}">
      <dsp:nvSpPr>
        <dsp:cNvPr id="0" name=""/>
        <dsp:cNvSpPr/>
      </dsp:nvSpPr>
      <dsp:spPr>
        <a:xfrm>
          <a:off x="6556525" y="2223212"/>
          <a:ext cx="1042445" cy="521222"/>
        </a:xfrm>
        <a:prstGeom prst="rect">
          <a:avLst/>
        </a:prstGeom>
        <a:solidFill>
          <a:schemeClr val="bg2"/>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entury Gothic" panose="020B0502020202020204" pitchFamily="34" charset="0"/>
              <a:cs typeface="Calibri" panose="020F0502020204030204" pitchFamily="34" charset="0"/>
            </a:rPr>
            <a:t>14’ – 3400 WB</a:t>
          </a:r>
          <a:endParaRPr lang="en-IN" sz="1200" b="1" kern="1200" dirty="0">
            <a:solidFill>
              <a:schemeClr val="tx1"/>
            </a:solidFill>
            <a:latin typeface="Century Gothic" panose="020B0502020202020204" pitchFamily="34" charset="0"/>
            <a:cs typeface="Calibri" panose="020F0502020204030204" pitchFamily="34" charset="0"/>
          </a:endParaRPr>
        </a:p>
      </dsp:txBody>
      <dsp:txXfrm>
        <a:off x="6556525" y="2223212"/>
        <a:ext cx="1042445" cy="521222"/>
      </dsp:txXfrm>
    </dsp:sp>
    <dsp:sp modelId="{3A3B1FA7-5701-43A7-866E-BDB6D4EFED63}">
      <dsp:nvSpPr>
        <dsp:cNvPr id="0" name=""/>
        <dsp:cNvSpPr/>
      </dsp:nvSpPr>
      <dsp:spPr>
        <a:xfrm>
          <a:off x="6556525" y="2963349"/>
          <a:ext cx="1042445" cy="521222"/>
        </a:xfrm>
        <a:prstGeom prst="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latin typeface="Century Gothic" panose="020B0502020202020204" pitchFamily="34" charset="0"/>
              <a:cs typeface="Calibri" panose="020F0502020204030204" pitchFamily="34" charset="0"/>
            </a:rPr>
            <a:t>17’- 3900 WB </a:t>
          </a:r>
        </a:p>
      </dsp:txBody>
      <dsp:txXfrm>
        <a:off x="6556525" y="2963349"/>
        <a:ext cx="1042445" cy="521222"/>
      </dsp:txXfrm>
    </dsp:sp>
    <dsp:sp modelId="{455CAEBE-A923-4494-BE59-7DAEC9E25CE4}">
      <dsp:nvSpPr>
        <dsp:cNvPr id="0" name=""/>
        <dsp:cNvSpPr/>
      </dsp:nvSpPr>
      <dsp:spPr>
        <a:xfrm>
          <a:off x="6556525" y="3703485"/>
          <a:ext cx="1042445" cy="521222"/>
        </a:xfrm>
        <a:prstGeom prst="rect">
          <a:avLst/>
        </a:prstGeom>
        <a:solidFill>
          <a:schemeClr val="bg2"/>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entury Gothic" panose="020B0502020202020204" pitchFamily="34" charset="0"/>
              <a:cs typeface="Calibri" panose="020F0502020204030204" pitchFamily="34" charset="0"/>
            </a:rPr>
            <a:t>20’ – 4500 WB</a:t>
          </a:r>
        </a:p>
      </dsp:txBody>
      <dsp:txXfrm>
        <a:off x="6556525" y="3703485"/>
        <a:ext cx="1042445" cy="521222"/>
      </dsp:txXfrm>
    </dsp:sp>
    <dsp:sp modelId="{91893F05-4F97-4DE1-AC35-A3FD03AB1003}">
      <dsp:nvSpPr>
        <dsp:cNvPr id="0" name=""/>
        <dsp:cNvSpPr/>
      </dsp:nvSpPr>
      <dsp:spPr>
        <a:xfrm>
          <a:off x="6556525" y="4443622"/>
          <a:ext cx="1042445" cy="521222"/>
        </a:xfrm>
        <a:prstGeom prst="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latin typeface="Century Gothic" panose="020B0502020202020204" pitchFamily="34" charset="0"/>
              <a:cs typeface="Calibri" panose="020F0502020204030204" pitchFamily="34" charset="0"/>
            </a:rPr>
            <a:t>22’ – 4900 WB</a:t>
          </a:r>
        </a:p>
      </dsp:txBody>
      <dsp:txXfrm>
        <a:off x="6556525" y="4443622"/>
        <a:ext cx="1042445" cy="521222"/>
      </dsp:txXfrm>
    </dsp:sp>
    <dsp:sp modelId="{951E3E53-BC2F-4245-B79C-B2187531E7DE}">
      <dsp:nvSpPr>
        <dsp:cNvPr id="0" name=""/>
        <dsp:cNvSpPr/>
      </dsp:nvSpPr>
      <dsp:spPr>
        <a:xfrm>
          <a:off x="6556525" y="5183758"/>
          <a:ext cx="1042445" cy="521222"/>
        </a:xfrm>
        <a:prstGeom prst="rect">
          <a:avLst/>
        </a:prstGeom>
        <a:solidFill>
          <a:schemeClr val="bg2"/>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entury Gothic" panose="020B0502020202020204" pitchFamily="34" charset="0"/>
              <a:cs typeface="Calibri" panose="020F0502020204030204" pitchFamily="34" charset="0"/>
            </a:rPr>
            <a:t>24’ – 5200 WB</a:t>
          </a:r>
        </a:p>
      </dsp:txBody>
      <dsp:txXfrm>
        <a:off x="6556525" y="5183758"/>
        <a:ext cx="1042445" cy="52122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18B2DC-A7CB-427D-B3C6-1788CB44125B}">
      <dsp:nvSpPr>
        <dsp:cNvPr id="0" name=""/>
        <dsp:cNvSpPr/>
      </dsp:nvSpPr>
      <dsp:spPr>
        <a:xfrm>
          <a:off x="6867336" y="2965305"/>
          <a:ext cx="133100" cy="2298194"/>
        </a:xfrm>
        <a:custGeom>
          <a:avLst/>
          <a:gdLst/>
          <a:ahLst/>
          <a:cxnLst/>
          <a:rect l="0" t="0" r="0" b="0"/>
          <a:pathLst>
            <a:path>
              <a:moveTo>
                <a:pt x="0" y="0"/>
              </a:moveTo>
              <a:lnTo>
                <a:pt x="0" y="2298194"/>
              </a:lnTo>
              <a:lnTo>
                <a:pt x="133100" y="2298194"/>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5D538CB-C1B8-4306-BB87-D382455616C1}">
      <dsp:nvSpPr>
        <dsp:cNvPr id="0" name=""/>
        <dsp:cNvSpPr/>
      </dsp:nvSpPr>
      <dsp:spPr>
        <a:xfrm>
          <a:off x="6867336" y="2965305"/>
          <a:ext cx="133100" cy="1668187"/>
        </a:xfrm>
        <a:custGeom>
          <a:avLst/>
          <a:gdLst/>
          <a:ahLst/>
          <a:cxnLst/>
          <a:rect l="0" t="0" r="0" b="0"/>
          <a:pathLst>
            <a:path>
              <a:moveTo>
                <a:pt x="0" y="0"/>
              </a:moveTo>
              <a:lnTo>
                <a:pt x="0" y="1668187"/>
              </a:lnTo>
              <a:lnTo>
                <a:pt x="133100" y="1668187"/>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68E9964-253E-4DE4-9739-8E5F26FF91EA}">
      <dsp:nvSpPr>
        <dsp:cNvPr id="0" name=""/>
        <dsp:cNvSpPr/>
      </dsp:nvSpPr>
      <dsp:spPr>
        <a:xfrm>
          <a:off x="6867336" y="2965305"/>
          <a:ext cx="133100" cy="1038180"/>
        </a:xfrm>
        <a:custGeom>
          <a:avLst/>
          <a:gdLst/>
          <a:ahLst/>
          <a:cxnLst/>
          <a:rect l="0" t="0" r="0" b="0"/>
          <a:pathLst>
            <a:path>
              <a:moveTo>
                <a:pt x="0" y="0"/>
              </a:moveTo>
              <a:lnTo>
                <a:pt x="0" y="1038180"/>
              </a:lnTo>
              <a:lnTo>
                <a:pt x="133100" y="1038180"/>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3CB9A27-6B0F-4481-8072-9B46E424F45A}">
      <dsp:nvSpPr>
        <dsp:cNvPr id="0" name=""/>
        <dsp:cNvSpPr/>
      </dsp:nvSpPr>
      <dsp:spPr>
        <a:xfrm>
          <a:off x="6867336" y="2965305"/>
          <a:ext cx="133100" cy="408173"/>
        </a:xfrm>
        <a:custGeom>
          <a:avLst/>
          <a:gdLst/>
          <a:ahLst/>
          <a:cxnLst/>
          <a:rect l="0" t="0" r="0" b="0"/>
          <a:pathLst>
            <a:path>
              <a:moveTo>
                <a:pt x="0" y="0"/>
              </a:moveTo>
              <a:lnTo>
                <a:pt x="0" y="408173"/>
              </a:lnTo>
              <a:lnTo>
                <a:pt x="133100" y="408173"/>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AD3E218-D896-4A66-9B13-FAB5A3EFAB51}">
      <dsp:nvSpPr>
        <dsp:cNvPr id="0" name=""/>
        <dsp:cNvSpPr/>
      </dsp:nvSpPr>
      <dsp:spPr>
        <a:xfrm>
          <a:off x="7176549" y="2335299"/>
          <a:ext cx="91440" cy="186340"/>
        </a:xfrm>
        <a:custGeom>
          <a:avLst/>
          <a:gdLst/>
          <a:ahLst/>
          <a:cxnLst/>
          <a:rect l="0" t="0" r="0" b="0"/>
          <a:pathLst>
            <a:path>
              <a:moveTo>
                <a:pt x="45720" y="0"/>
              </a:moveTo>
              <a:lnTo>
                <a:pt x="45720" y="186340"/>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C095FEF-F6D4-4A2C-BCC4-5625B4BE6379}">
      <dsp:nvSpPr>
        <dsp:cNvPr id="0" name=""/>
        <dsp:cNvSpPr/>
      </dsp:nvSpPr>
      <dsp:spPr>
        <a:xfrm>
          <a:off x="6148596" y="1705292"/>
          <a:ext cx="1073673" cy="186340"/>
        </a:xfrm>
        <a:custGeom>
          <a:avLst/>
          <a:gdLst/>
          <a:ahLst/>
          <a:cxnLst/>
          <a:rect l="0" t="0" r="0" b="0"/>
          <a:pathLst>
            <a:path>
              <a:moveTo>
                <a:pt x="0" y="0"/>
              </a:moveTo>
              <a:lnTo>
                <a:pt x="0" y="93170"/>
              </a:lnTo>
              <a:lnTo>
                <a:pt x="1073673" y="93170"/>
              </a:lnTo>
              <a:lnTo>
                <a:pt x="1073673" y="186340"/>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58FF637-EEB3-4E77-8D9E-0F3F5DFFD066}">
      <dsp:nvSpPr>
        <dsp:cNvPr id="0" name=""/>
        <dsp:cNvSpPr/>
      </dsp:nvSpPr>
      <dsp:spPr>
        <a:xfrm>
          <a:off x="5793662" y="2965305"/>
          <a:ext cx="133100" cy="2298194"/>
        </a:xfrm>
        <a:custGeom>
          <a:avLst/>
          <a:gdLst/>
          <a:ahLst/>
          <a:cxnLst/>
          <a:rect l="0" t="0" r="0" b="0"/>
          <a:pathLst>
            <a:path>
              <a:moveTo>
                <a:pt x="0" y="0"/>
              </a:moveTo>
              <a:lnTo>
                <a:pt x="0" y="2298194"/>
              </a:lnTo>
              <a:lnTo>
                <a:pt x="133100" y="2298194"/>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CF3BD96-AB64-4C3E-BD49-3D22A0E82948}">
      <dsp:nvSpPr>
        <dsp:cNvPr id="0" name=""/>
        <dsp:cNvSpPr/>
      </dsp:nvSpPr>
      <dsp:spPr>
        <a:xfrm>
          <a:off x="5793662" y="2965305"/>
          <a:ext cx="133100" cy="1668187"/>
        </a:xfrm>
        <a:custGeom>
          <a:avLst/>
          <a:gdLst/>
          <a:ahLst/>
          <a:cxnLst/>
          <a:rect l="0" t="0" r="0" b="0"/>
          <a:pathLst>
            <a:path>
              <a:moveTo>
                <a:pt x="0" y="0"/>
              </a:moveTo>
              <a:lnTo>
                <a:pt x="0" y="1668187"/>
              </a:lnTo>
              <a:lnTo>
                <a:pt x="133100" y="1668187"/>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0E6D663-3A4F-4F47-B190-B4D8B964D0F3}">
      <dsp:nvSpPr>
        <dsp:cNvPr id="0" name=""/>
        <dsp:cNvSpPr/>
      </dsp:nvSpPr>
      <dsp:spPr>
        <a:xfrm>
          <a:off x="5793662" y="2965305"/>
          <a:ext cx="133100" cy="1038180"/>
        </a:xfrm>
        <a:custGeom>
          <a:avLst/>
          <a:gdLst/>
          <a:ahLst/>
          <a:cxnLst/>
          <a:rect l="0" t="0" r="0" b="0"/>
          <a:pathLst>
            <a:path>
              <a:moveTo>
                <a:pt x="0" y="0"/>
              </a:moveTo>
              <a:lnTo>
                <a:pt x="0" y="1038180"/>
              </a:lnTo>
              <a:lnTo>
                <a:pt x="133100" y="1038180"/>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82776DF-4D08-439E-A1E9-52733CA2DE33}">
      <dsp:nvSpPr>
        <dsp:cNvPr id="0" name=""/>
        <dsp:cNvSpPr/>
      </dsp:nvSpPr>
      <dsp:spPr>
        <a:xfrm>
          <a:off x="5793662" y="2965305"/>
          <a:ext cx="133100" cy="408173"/>
        </a:xfrm>
        <a:custGeom>
          <a:avLst/>
          <a:gdLst/>
          <a:ahLst/>
          <a:cxnLst/>
          <a:rect l="0" t="0" r="0" b="0"/>
          <a:pathLst>
            <a:path>
              <a:moveTo>
                <a:pt x="0" y="0"/>
              </a:moveTo>
              <a:lnTo>
                <a:pt x="0" y="408173"/>
              </a:lnTo>
              <a:lnTo>
                <a:pt x="133100" y="408173"/>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3FE98AD-AB5B-42E1-A107-8B6F9AE24316}">
      <dsp:nvSpPr>
        <dsp:cNvPr id="0" name=""/>
        <dsp:cNvSpPr/>
      </dsp:nvSpPr>
      <dsp:spPr>
        <a:xfrm>
          <a:off x="6102876" y="2335299"/>
          <a:ext cx="91440" cy="186340"/>
        </a:xfrm>
        <a:custGeom>
          <a:avLst/>
          <a:gdLst/>
          <a:ahLst/>
          <a:cxnLst/>
          <a:rect l="0" t="0" r="0" b="0"/>
          <a:pathLst>
            <a:path>
              <a:moveTo>
                <a:pt x="45720" y="0"/>
              </a:moveTo>
              <a:lnTo>
                <a:pt x="45720" y="186340"/>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2DC3334-CF21-40DF-86EE-3C8AA0D88195}">
      <dsp:nvSpPr>
        <dsp:cNvPr id="0" name=""/>
        <dsp:cNvSpPr/>
      </dsp:nvSpPr>
      <dsp:spPr>
        <a:xfrm>
          <a:off x="6102876" y="1705292"/>
          <a:ext cx="91440" cy="186340"/>
        </a:xfrm>
        <a:custGeom>
          <a:avLst/>
          <a:gdLst/>
          <a:ahLst/>
          <a:cxnLst/>
          <a:rect l="0" t="0" r="0" b="0"/>
          <a:pathLst>
            <a:path>
              <a:moveTo>
                <a:pt x="45720" y="0"/>
              </a:moveTo>
              <a:lnTo>
                <a:pt x="45720" y="186340"/>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622134D-D035-4737-A9FF-290E9ECB2CD2}">
      <dsp:nvSpPr>
        <dsp:cNvPr id="0" name=""/>
        <dsp:cNvSpPr/>
      </dsp:nvSpPr>
      <dsp:spPr>
        <a:xfrm>
          <a:off x="4719988" y="2965305"/>
          <a:ext cx="133100" cy="2298194"/>
        </a:xfrm>
        <a:custGeom>
          <a:avLst/>
          <a:gdLst/>
          <a:ahLst/>
          <a:cxnLst/>
          <a:rect l="0" t="0" r="0" b="0"/>
          <a:pathLst>
            <a:path>
              <a:moveTo>
                <a:pt x="0" y="0"/>
              </a:moveTo>
              <a:lnTo>
                <a:pt x="0" y="2298194"/>
              </a:lnTo>
              <a:lnTo>
                <a:pt x="133100" y="2298194"/>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1E99B23-DE71-4E77-BF57-CE2BD4A2185B}">
      <dsp:nvSpPr>
        <dsp:cNvPr id="0" name=""/>
        <dsp:cNvSpPr/>
      </dsp:nvSpPr>
      <dsp:spPr>
        <a:xfrm>
          <a:off x="4719988" y="2965305"/>
          <a:ext cx="133100" cy="1668187"/>
        </a:xfrm>
        <a:custGeom>
          <a:avLst/>
          <a:gdLst/>
          <a:ahLst/>
          <a:cxnLst/>
          <a:rect l="0" t="0" r="0" b="0"/>
          <a:pathLst>
            <a:path>
              <a:moveTo>
                <a:pt x="0" y="0"/>
              </a:moveTo>
              <a:lnTo>
                <a:pt x="0" y="1668187"/>
              </a:lnTo>
              <a:lnTo>
                <a:pt x="133100" y="1668187"/>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1A8F4D5-4232-422D-9E88-58F4703111E7}">
      <dsp:nvSpPr>
        <dsp:cNvPr id="0" name=""/>
        <dsp:cNvSpPr/>
      </dsp:nvSpPr>
      <dsp:spPr>
        <a:xfrm>
          <a:off x="4719988" y="2965305"/>
          <a:ext cx="133100" cy="1038180"/>
        </a:xfrm>
        <a:custGeom>
          <a:avLst/>
          <a:gdLst/>
          <a:ahLst/>
          <a:cxnLst/>
          <a:rect l="0" t="0" r="0" b="0"/>
          <a:pathLst>
            <a:path>
              <a:moveTo>
                <a:pt x="0" y="0"/>
              </a:moveTo>
              <a:lnTo>
                <a:pt x="0" y="1038180"/>
              </a:lnTo>
              <a:lnTo>
                <a:pt x="133100" y="1038180"/>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C5FACD0-9E70-405B-8F0F-48B527B3F46C}">
      <dsp:nvSpPr>
        <dsp:cNvPr id="0" name=""/>
        <dsp:cNvSpPr/>
      </dsp:nvSpPr>
      <dsp:spPr>
        <a:xfrm>
          <a:off x="4719988" y="2965305"/>
          <a:ext cx="133100" cy="408173"/>
        </a:xfrm>
        <a:custGeom>
          <a:avLst/>
          <a:gdLst/>
          <a:ahLst/>
          <a:cxnLst/>
          <a:rect l="0" t="0" r="0" b="0"/>
          <a:pathLst>
            <a:path>
              <a:moveTo>
                <a:pt x="0" y="0"/>
              </a:moveTo>
              <a:lnTo>
                <a:pt x="0" y="408173"/>
              </a:lnTo>
              <a:lnTo>
                <a:pt x="133100" y="408173"/>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4C0E45F-BB4B-4CE2-9AD0-83EF8BF1E420}">
      <dsp:nvSpPr>
        <dsp:cNvPr id="0" name=""/>
        <dsp:cNvSpPr/>
      </dsp:nvSpPr>
      <dsp:spPr>
        <a:xfrm>
          <a:off x="5029202" y="2335299"/>
          <a:ext cx="91440" cy="186340"/>
        </a:xfrm>
        <a:custGeom>
          <a:avLst/>
          <a:gdLst/>
          <a:ahLst/>
          <a:cxnLst/>
          <a:rect l="0" t="0" r="0" b="0"/>
          <a:pathLst>
            <a:path>
              <a:moveTo>
                <a:pt x="45720" y="0"/>
              </a:moveTo>
              <a:lnTo>
                <a:pt x="45720" y="186340"/>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BC44771-798B-430F-9446-68210B605177}">
      <dsp:nvSpPr>
        <dsp:cNvPr id="0" name=""/>
        <dsp:cNvSpPr/>
      </dsp:nvSpPr>
      <dsp:spPr>
        <a:xfrm>
          <a:off x="5074922" y="1705292"/>
          <a:ext cx="1073673" cy="186340"/>
        </a:xfrm>
        <a:custGeom>
          <a:avLst/>
          <a:gdLst/>
          <a:ahLst/>
          <a:cxnLst/>
          <a:rect l="0" t="0" r="0" b="0"/>
          <a:pathLst>
            <a:path>
              <a:moveTo>
                <a:pt x="1073673" y="0"/>
              </a:moveTo>
              <a:lnTo>
                <a:pt x="1073673" y="93170"/>
              </a:lnTo>
              <a:lnTo>
                <a:pt x="0" y="93170"/>
              </a:lnTo>
              <a:lnTo>
                <a:pt x="0" y="186340"/>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610267B-B086-49CD-B914-EE8E364CD8F5}">
      <dsp:nvSpPr>
        <dsp:cNvPr id="0" name=""/>
        <dsp:cNvSpPr/>
      </dsp:nvSpPr>
      <dsp:spPr>
        <a:xfrm>
          <a:off x="6102876" y="1075285"/>
          <a:ext cx="91440" cy="186340"/>
        </a:xfrm>
        <a:custGeom>
          <a:avLst/>
          <a:gdLst/>
          <a:ahLst/>
          <a:cxnLst/>
          <a:rect l="0" t="0" r="0" b="0"/>
          <a:pathLst>
            <a:path>
              <a:moveTo>
                <a:pt x="45720" y="0"/>
              </a:moveTo>
              <a:lnTo>
                <a:pt x="45720" y="186340"/>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39D4512-AE7A-420F-BFD1-6AADC17BBDD9}">
      <dsp:nvSpPr>
        <dsp:cNvPr id="0" name=""/>
        <dsp:cNvSpPr/>
      </dsp:nvSpPr>
      <dsp:spPr>
        <a:xfrm>
          <a:off x="6102876" y="445278"/>
          <a:ext cx="91440" cy="186340"/>
        </a:xfrm>
        <a:custGeom>
          <a:avLst/>
          <a:gdLst/>
          <a:ahLst/>
          <a:cxnLst/>
          <a:rect l="0" t="0" r="0" b="0"/>
          <a:pathLst>
            <a:path>
              <a:moveTo>
                <a:pt x="45720" y="0"/>
              </a:moveTo>
              <a:lnTo>
                <a:pt x="45720" y="186340"/>
              </a:lnTo>
            </a:path>
          </a:pathLst>
        </a:cu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AD97DF2-A9D4-4384-B2E7-0D75EA2AAE91}">
      <dsp:nvSpPr>
        <dsp:cNvPr id="0" name=""/>
        <dsp:cNvSpPr/>
      </dsp:nvSpPr>
      <dsp:spPr>
        <a:xfrm>
          <a:off x="5263192" y="1611"/>
          <a:ext cx="1770807" cy="443666"/>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Partner Super</a:t>
          </a:r>
        </a:p>
      </dsp:txBody>
      <dsp:txXfrm>
        <a:off x="5263192" y="1611"/>
        <a:ext cx="1770807" cy="443666"/>
      </dsp:txXfrm>
    </dsp:sp>
    <dsp:sp modelId="{28A756FE-6153-41B4-B3D7-1F287F16B4D8}">
      <dsp:nvSpPr>
        <dsp:cNvPr id="0" name=""/>
        <dsp:cNvSpPr/>
      </dsp:nvSpPr>
      <dsp:spPr>
        <a:xfrm>
          <a:off x="5153677" y="631618"/>
          <a:ext cx="1989836" cy="443666"/>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ZD30 BSVI</a:t>
          </a:r>
        </a:p>
      </dsp:txBody>
      <dsp:txXfrm>
        <a:off x="5153677" y="631618"/>
        <a:ext cx="1989836" cy="443666"/>
      </dsp:txXfrm>
    </dsp:sp>
    <dsp:sp modelId="{4C9A916C-80F0-47F6-B85C-D0EFE9D3C5D4}">
      <dsp:nvSpPr>
        <dsp:cNvPr id="0" name=""/>
        <dsp:cNvSpPr/>
      </dsp:nvSpPr>
      <dsp:spPr>
        <a:xfrm>
          <a:off x="4618100" y="1261625"/>
          <a:ext cx="3060990" cy="443666"/>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ZF 6S OD GB FGR:8.28</a:t>
          </a:r>
        </a:p>
      </dsp:txBody>
      <dsp:txXfrm>
        <a:off x="4618100" y="1261625"/>
        <a:ext cx="3060990" cy="443666"/>
      </dsp:txXfrm>
    </dsp:sp>
    <dsp:sp modelId="{95F6754E-AE7C-4F2E-AE00-EC4D98BA605C}">
      <dsp:nvSpPr>
        <dsp:cNvPr id="0" name=""/>
        <dsp:cNvSpPr/>
      </dsp:nvSpPr>
      <dsp:spPr>
        <a:xfrm>
          <a:off x="4631255" y="1891632"/>
          <a:ext cx="887333" cy="443666"/>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9T</a:t>
          </a:r>
        </a:p>
      </dsp:txBody>
      <dsp:txXfrm>
        <a:off x="4631255" y="1891632"/>
        <a:ext cx="887333" cy="443666"/>
      </dsp:txXfrm>
    </dsp:sp>
    <dsp:sp modelId="{840C9610-7C05-430C-9C8F-B8B7678AC015}">
      <dsp:nvSpPr>
        <dsp:cNvPr id="0" name=""/>
        <dsp:cNvSpPr/>
      </dsp:nvSpPr>
      <dsp:spPr>
        <a:xfrm>
          <a:off x="4631255" y="2521639"/>
          <a:ext cx="887333" cy="443666"/>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7.50X16</a:t>
          </a:r>
        </a:p>
      </dsp:txBody>
      <dsp:txXfrm>
        <a:off x="4631255" y="2521639"/>
        <a:ext cx="887333" cy="443666"/>
      </dsp:txXfrm>
    </dsp:sp>
    <dsp:sp modelId="{BD555D5C-EDE1-41FF-90DE-96CBFC375080}">
      <dsp:nvSpPr>
        <dsp:cNvPr id="0" name=""/>
        <dsp:cNvSpPr/>
      </dsp:nvSpPr>
      <dsp:spPr>
        <a:xfrm>
          <a:off x="4853088" y="3151645"/>
          <a:ext cx="887333" cy="443666"/>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14’ HSD</a:t>
          </a:r>
        </a:p>
      </dsp:txBody>
      <dsp:txXfrm>
        <a:off x="4853088" y="3151645"/>
        <a:ext cx="887333" cy="443666"/>
      </dsp:txXfrm>
    </dsp:sp>
    <dsp:sp modelId="{1367BF24-E2ED-4C3F-B2C7-E02DAAE7F706}">
      <dsp:nvSpPr>
        <dsp:cNvPr id="0" name=""/>
        <dsp:cNvSpPr/>
      </dsp:nvSpPr>
      <dsp:spPr>
        <a:xfrm>
          <a:off x="4853088" y="3781652"/>
          <a:ext cx="887333" cy="443666"/>
        </a:xfrm>
        <a:prstGeom prst="rect">
          <a:avLst/>
        </a:prstGeom>
        <a:solidFill>
          <a:schemeClr val="bg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17’ HSD </a:t>
          </a:r>
        </a:p>
      </dsp:txBody>
      <dsp:txXfrm>
        <a:off x="4853088" y="3781652"/>
        <a:ext cx="887333" cy="443666"/>
      </dsp:txXfrm>
    </dsp:sp>
    <dsp:sp modelId="{A476FEAF-592A-40EA-A65A-B12B83B89B6D}">
      <dsp:nvSpPr>
        <dsp:cNvPr id="0" name=""/>
        <dsp:cNvSpPr/>
      </dsp:nvSpPr>
      <dsp:spPr>
        <a:xfrm>
          <a:off x="4853088" y="4411659"/>
          <a:ext cx="887333" cy="443666"/>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20’ HSD</a:t>
          </a:r>
        </a:p>
      </dsp:txBody>
      <dsp:txXfrm>
        <a:off x="4853088" y="4411659"/>
        <a:ext cx="887333" cy="443666"/>
      </dsp:txXfrm>
    </dsp:sp>
    <dsp:sp modelId="{D5C4B290-E84D-4762-9527-694E16B29AC1}">
      <dsp:nvSpPr>
        <dsp:cNvPr id="0" name=""/>
        <dsp:cNvSpPr/>
      </dsp:nvSpPr>
      <dsp:spPr>
        <a:xfrm>
          <a:off x="4853088" y="5041666"/>
          <a:ext cx="887333" cy="443666"/>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22’ HSD</a:t>
          </a:r>
        </a:p>
      </dsp:txBody>
      <dsp:txXfrm>
        <a:off x="4853088" y="5041666"/>
        <a:ext cx="887333" cy="443666"/>
      </dsp:txXfrm>
    </dsp:sp>
    <dsp:sp modelId="{E2D866C7-038A-4F9D-993F-C40F9FA6F478}">
      <dsp:nvSpPr>
        <dsp:cNvPr id="0" name=""/>
        <dsp:cNvSpPr/>
      </dsp:nvSpPr>
      <dsp:spPr>
        <a:xfrm>
          <a:off x="5704929" y="1891632"/>
          <a:ext cx="887333" cy="443666"/>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10 T</a:t>
          </a:r>
        </a:p>
      </dsp:txBody>
      <dsp:txXfrm>
        <a:off x="5704929" y="1891632"/>
        <a:ext cx="887333" cy="443666"/>
      </dsp:txXfrm>
    </dsp:sp>
    <dsp:sp modelId="{5E1E403E-8218-4B31-BB6F-79C2B29045B8}">
      <dsp:nvSpPr>
        <dsp:cNvPr id="0" name=""/>
        <dsp:cNvSpPr/>
      </dsp:nvSpPr>
      <dsp:spPr>
        <a:xfrm>
          <a:off x="5704929" y="2521639"/>
          <a:ext cx="887333" cy="443666"/>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8.25X16</a:t>
          </a:r>
        </a:p>
      </dsp:txBody>
      <dsp:txXfrm>
        <a:off x="5704929" y="2521639"/>
        <a:ext cx="887333" cy="443666"/>
      </dsp:txXfrm>
    </dsp:sp>
    <dsp:sp modelId="{98147B7A-A00F-4AA0-8FCC-A8E7B49AC212}">
      <dsp:nvSpPr>
        <dsp:cNvPr id="0" name=""/>
        <dsp:cNvSpPr/>
      </dsp:nvSpPr>
      <dsp:spPr>
        <a:xfrm>
          <a:off x="5926762" y="3151645"/>
          <a:ext cx="887333" cy="443666"/>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14’ HSD</a:t>
          </a:r>
        </a:p>
      </dsp:txBody>
      <dsp:txXfrm>
        <a:off x="5926762" y="3151645"/>
        <a:ext cx="887333" cy="443666"/>
      </dsp:txXfrm>
    </dsp:sp>
    <dsp:sp modelId="{28745BDD-B2AD-442D-89E6-60B79CDE6840}">
      <dsp:nvSpPr>
        <dsp:cNvPr id="0" name=""/>
        <dsp:cNvSpPr/>
      </dsp:nvSpPr>
      <dsp:spPr>
        <a:xfrm>
          <a:off x="5926762" y="3781652"/>
          <a:ext cx="887333" cy="443666"/>
        </a:xfrm>
        <a:prstGeom prst="rect">
          <a:avLst/>
        </a:prstGeom>
        <a:solidFill>
          <a:schemeClr val="bg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17’ HSD </a:t>
          </a:r>
        </a:p>
      </dsp:txBody>
      <dsp:txXfrm>
        <a:off x="5926762" y="3781652"/>
        <a:ext cx="887333" cy="443666"/>
      </dsp:txXfrm>
    </dsp:sp>
    <dsp:sp modelId="{B0E46D24-881B-4BFC-8DC6-072A831B5EAE}">
      <dsp:nvSpPr>
        <dsp:cNvPr id="0" name=""/>
        <dsp:cNvSpPr/>
      </dsp:nvSpPr>
      <dsp:spPr>
        <a:xfrm>
          <a:off x="5926762" y="4411659"/>
          <a:ext cx="887333" cy="443666"/>
        </a:xfrm>
        <a:prstGeom prst="rect">
          <a:avLst/>
        </a:prstGeom>
        <a:solidFill>
          <a:schemeClr val="bg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20’ HSD</a:t>
          </a:r>
        </a:p>
      </dsp:txBody>
      <dsp:txXfrm>
        <a:off x="5926762" y="4411659"/>
        <a:ext cx="887333" cy="443666"/>
      </dsp:txXfrm>
    </dsp:sp>
    <dsp:sp modelId="{49DF325D-BE4D-44F2-9D6D-0B125E5F3AB9}">
      <dsp:nvSpPr>
        <dsp:cNvPr id="0" name=""/>
        <dsp:cNvSpPr/>
      </dsp:nvSpPr>
      <dsp:spPr>
        <a:xfrm>
          <a:off x="5926762" y="5041666"/>
          <a:ext cx="887333" cy="443666"/>
        </a:xfrm>
        <a:prstGeom prst="rect">
          <a:avLst/>
        </a:prstGeom>
        <a:solidFill>
          <a:schemeClr val="bg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22’ HSD</a:t>
          </a:r>
        </a:p>
      </dsp:txBody>
      <dsp:txXfrm>
        <a:off x="5926762" y="5041666"/>
        <a:ext cx="887333" cy="443666"/>
      </dsp:txXfrm>
    </dsp:sp>
    <dsp:sp modelId="{A5C187CB-AA7F-4DCB-AEB3-96B3DE30EBC5}">
      <dsp:nvSpPr>
        <dsp:cNvPr id="0" name=""/>
        <dsp:cNvSpPr/>
      </dsp:nvSpPr>
      <dsp:spPr>
        <a:xfrm>
          <a:off x="6778603" y="1891632"/>
          <a:ext cx="887333" cy="443666"/>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11T</a:t>
          </a:r>
        </a:p>
      </dsp:txBody>
      <dsp:txXfrm>
        <a:off x="6778603" y="1891632"/>
        <a:ext cx="887333" cy="443666"/>
      </dsp:txXfrm>
    </dsp:sp>
    <dsp:sp modelId="{A4E294B2-912F-431D-9926-FC1C1089F297}">
      <dsp:nvSpPr>
        <dsp:cNvPr id="0" name=""/>
        <dsp:cNvSpPr/>
      </dsp:nvSpPr>
      <dsp:spPr>
        <a:xfrm>
          <a:off x="6778603" y="2521639"/>
          <a:ext cx="887333" cy="443666"/>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8.25X16</a:t>
          </a:r>
        </a:p>
      </dsp:txBody>
      <dsp:txXfrm>
        <a:off x="6778603" y="2521639"/>
        <a:ext cx="887333" cy="443666"/>
      </dsp:txXfrm>
    </dsp:sp>
    <dsp:sp modelId="{9ED85F64-90FE-49CE-8E48-2745EA207C02}">
      <dsp:nvSpPr>
        <dsp:cNvPr id="0" name=""/>
        <dsp:cNvSpPr/>
      </dsp:nvSpPr>
      <dsp:spPr>
        <a:xfrm>
          <a:off x="7000436" y="3151645"/>
          <a:ext cx="887333" cy="443666"/>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14’ HSD</a:t>
          </a:r>
        </a:p>
      </dsp:txBody>
      <dsp:txXfrm>
        <a:off x="7000436" y="3151645"/>
        <a:ext cx="887333" cy="443666"/>
      </dsp:txXfrm>
    </dsp:sp>
    <dsp:sp modelId="{FF60B2C5-9870-406D-B7BE-8700FF11B940}">
      <dsp:nvSpPr>
        <dsp:cNvPr id="0" name=""/>
        <dsp:cNvSpPr/>
      </dsp:nvSpPr>
      <dsp:spPr>
        <a:xfrm>
          <a:off x="7000436" y="3781652"/>
          <a:ext cx="887333" cy="443666"/>
        </a:xfrm>
        <a:prstGeom prst="rect">
          <a:avLst/>
        </a:prstGeom>
        <a:solidFill>
          <a:schemeClr val="bg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17’ HSD </a:t>
          </a:r>
        </a:p>
      </dsp:txBody>
      <dsp:txXfrm>
        <a:off x="7000436" y="3781652"/>
        <a:ext cx="887333" cy="443666"/>
      </dsp:txXfrm>
    </dsp:sp>
    <dsp:sp modelId="{A0A3BEB1-EE10-49C5-8165-0923ECF1DB4C}">
      <dsp:nvSpPr>
        <dsp:cNvPr id="0" name=""/>
        <dsp:cNvSpPr/>
      </dsp:nvSpPr>
      <dsp:spPr>
        <a:xfrm>
          <a:off x="7000436" y="4411659"/>
          <a:ext cx="887333" cy="443666"/>
        </a:xfrm>
        <a:prstGeom prst="rect">
          <a:avLst/>
        </a:prstGeom>
        <a:solidFill>
          <a:schemeClr val="bg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20’ HSD</a:t>
          </a:r>
        </a:p>
      </dsp:txBody>
      <dsp:txXfrm>
        <a:off x="7000436" y="4411659"/>
        <a:ext cx="887333" cy="443666"/>
      </dsp:txXfrm>
    </dsp:sp>
    <dsp:sp modelId="{683C0244-C852-481F-BB20-BB84A5DB59B4}">
      <dsp:nvSpPr>
        <dsp:cNvPr id="0" name=""/>
        <dsp:cNvSpPr/>
      </dsp:nvSpPr>
      <dsp:spPr>
        <a:xfrm>
          <a:off x="7000436" y="5041666"/>
          <a:ext cx="887333" cy="443666"/>
        </a:xfrm>
        <a:prstGeom prst="rect">
          <a:avLst/>
        </a:prstGeom>
        <a:solidFill>
          <a:schemeClr val="bg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entury Gothic" panose="020B0502020202020204" pitchFamily="34" charset="0"/>
              <a:cs typeface="Calibri" pitchFamily="34" charset="0"/>
            </a:rPr>
            <a:t>22’ HSD</a:t>
          </a:r>
        </a:p>
      </dsp:txBody>
      <dsp:txXfrm>
        <a:off x="7000436" y="5041666"/>
        <a:ext cx="887333" cy="44366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579AFB-FFCE-4803-832B-BCC3C068F011}">
      <dsp:nvSpPr>
        <dsp:cNvPr id="0" name=""/>
        <dsp:cNvSpPr/>
      </dsp:nvSpPr>
      <dsp:spPr>
        <a:xfrm>
          <a:off x="8611240" y="3404696"/>
          <a:ext cx="91440" cy="290087"/>
        </a:xfrm>
        <a:custGeom>
          <a:avLst/>
          <a:gdLst/>
          <a:ahLst/>
          <a:cxnLst/>
          <a:rect l="0" t="0" r="0" b="0"/>
          <a:pathLst>
            <a:path>
              <a:moveTo>
                <a:pt x="45720" y="0"/>
              </a:moveTo>
              <a:lnTo>
                <a:pt x="45720" y="29008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5F50F39-5E38-4D53-8DBF-01D936C4AD6E}">
      <dsp:nvSpPr>
        <dsp:cNvPr id="0" name=""/>
        <dsp:cNvSpPr/>
      </dsp:nvSpPr>
      <dsp:spPr>
        <a:xfrm>
          <a:off x="7181824" y="2481236"/>
          <a:ext cx="1475135" cy="290087"/>
        </a:xfrm>
        <a:custGeom>
          <a:avLst/>
          <a:gdLst/>
          <a:ahLst/>
          <a:cxnLst/>
          <a:rect l="0" t="0" r="0" b="0"/>
          <a:pathLst>
            <a:path>
              <a:moveTo>
                <a:pt x="0" y="0"/>
              </a:moveTo>
              <a:lnTo>
                <a:pt x="0" y="197686"/>
              </a:lnTo>
              <a:lnTo>
                <a:pt x="1475135" y="197686"/>
              </a:lnTo>
              <a:lnTo>
                <a:pt x="1475135" y="29008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D420463-A9D1-4B81-B057-784250178A4E}">
      <dsp:nvSpPr>
        <dsp:cNvPr id="0" name=""/>
        <dsp:cNvSpPr/>
      </dsp:nvSpPr>
      <dsp:spPr>
        <a:xfrm>
          <a:off x="5660968" y="3404696"/>
          <a:ext cx="91440" cy="290087"/>
        </a:xfrm>
        <a:custGeom>
          <a:avLst/>
          <a:gdLst/>
          <a:ahLst/>
          <a:cxnLst/>
          <a:rect l="0" t="0" r="0" b="0"/>
          <a:pathLst>
            <a:path>
              <a:moveTo>
                <a:pt x="45720" y="0"/>
              </a:moveTo>
              <a:lnTo>
                <a:pt x="45720" y="29008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969164-87B8-4E67-9351-72A709A1F10A}">
      <dsp:nvSpPr>
        <dsp:cNvPr id="0" name=""/>
        <dsp:cNvSpPr/>
      </dsp:nvSpPr>
      <dsp:spPr>
        <a:xfrm>
          <a:off x="5706688" y="2481236"/>
          <a:ext cx="1475135" cy="290087"/>
        </a:xfrm>
        <a:custGeom>
          <a:avLst/>
          <a:gdLst/>
          <a:ahLst/>
          <a:cxnLst/>
          <a:rect l="0" t="0" r="0" b="0"/>
          <a:pathLst>
            <a:path>
              <a:moveTo>
                <a:pt x="1475135" y="0"/>
              </a:moveTo>
              <a:lnTo>
                <a:pt x="1475135" y="197686"/>
              </a:lnTo>
              <a:lnTo>
                <a:pt x="0" y="197686"/>
              </a:lnTo>
              <a:lnTo>
                <a:pt x="0" y="29008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39B127-1C3D-4D65-B4D7-495B7C7B117D}">
      <dsp:nvSpPr>
        <dsp:cNvPr id="0" name=""/>
        <dsp:cNvSpPr/>
      </dsp:nvSpPr>
      <dsp:spPr>
        <a:xfrm>
          <a:off x="5078653" y="1557775"/>
          <a:ext cx="2103170" cy="290087"/>
        </a:xfrm>
        <a:custGeom>
          <a:avLst/>
          <a:gdLst/>
          <a:ahLst/>
          <a:cxnLst/>
          <a:rect l="0" t="0" r="0" b="0"/>
          <a:pathLst>
            <a:path>
              <a:moveTo>
                <a:pt x="0" y="0"/>
              </a:moveTo>
              <a:lnTo>
                <a:pt x="0" y="197686"/>
              </a:lnTo>
              <a:lnTo>
                <a:pt x="2103170" y="197686"/>
              </a:lnTo>
              <a:lnTo>
                <a:pt x="2103170" y="29008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6B2E6E4-4CE3-4CA0-BA98-3A36C88DB56A}">
      <dsp:nvSpPr>
        <dsp:cNvPr id="0" name=""/>
        <dsp:cNvSpPr/>
      </dsp:nvSpPr>
      <dsp:spPr>
        <a:xfrm>
          <a:off x="2709315" y="3404696"/>
          <a:ext cx="91440" cy="290087"/>
        </a:xfrm>
        <a:custGeom>
          <a:avLst/>
          <a:gdLst/>
          <a:ahLst/>
          <a:cxnLst/>
          <a:rect l="0" t="0" r="0" b="0"/>
          <a:pathLst>
            <a:path>
              <a:moveTo>
                <a:pt x="45720" y="0"/>
              </a:moveTo>
              <a:lnTo>
                <a:pt x="45720" y="29008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EBCF06B-9CE7-47DD-A031-11A6C50E13B3}">
      <dsp:nvSpPr>
        <dsp:cNvPr id="0" name=""/>
        <dsp:cNvSpPr/>
      </dsp:nvSpPr>
      <dsp:spPr>
        <a:xfrm>
          <a:off x="2709315" y="2481236"/>
          <a:ext cx="91440" cy="290087"/>
        </a:xfrm>
        <a:custGeom>
          <a:avLst/>
          <a:gdLst/>
          <a:ahLst/>
          <a:cxnLst/>
          <a:rect l="0" t="0" r="0" b="0"/>
          <a:pathLst>
            <a:path>
              <a:moveTo>
                <a:pt x="45720" y="0"/>
              </a:moveTo>
              <a:lnTo>
                <a:pt x="45720" y="29008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53A25C9-B986-4DB6-AA69-20AAA1423FC1}">
      <dsp:nvSpPr>
        <dsp:cNvPr id="0" name=""/>
        <dsp:cNvSpPr/>
      </dsp:nvSpPr>
      <dsp:spPr>
        <a:xfrm>
          <a:off x="2755035" y="1557775"/>
          <a:ext cx="2323618" cy="290087"/>
        </a:xfrm>
        <a:custGeom>
          <a:avLst/>
          <a:gdLst/>
          <a:ahLst/>
          <a:cxnLst/>
          <a:rect l="0" t="0" r="0" b="0"/>
          <a:pathLst>
            <a:path>
              <a:moveTo>
                <a:pt x="2323618" y="0"/>
              </a:moveTo>
              <a:lnTo>
                <a:pt x="2323618" y="197686"/>
              </a:lnTo>
              <a:lnTo>
                <a:pt x="0" y="197686"/>
              </a:lnTo>
              <a:lnTo>
                <a:pt x="0" y="29008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B3150F5-6017-4E73-AAF3-163EE0DCFF8A}">
      <dsp:nvSpPr>
        <dsp:cNvPr id="0" name=""/>
        <dsp:cNvSpPr/>
      </dsp:nvSpPr>
      <dsp:spPr>
        <a:xfrm>
          <a:off x="4291570" y="634314"/>
          <a:ext cx="787083" cy="290087"/>
        </a:xfrm>
        <a:custGeom>
          <a:avLst/>
          <a:gdLst/>
          <a:ahLst/>
          <a:cxnLst/>
          <a:rect l="0" t="0" r="0" b="0"/>
          <a:pathLst>
            <a:path>
              <a:moveTo>
                <a:pt x="0" y="0"/>
              </a:moveTo>
              <a:lnTo>
                <a:pt x="0" y="197686"/>
              </a:lnTo>
              <a:lnTo>
                <a:pt x="787083" y="197686"/>
              </a:lnTo>
              <a:lnTo>
                <a:pt x="787083" y="29008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D4FDCF0-CCE6-4638-B0C7-4325022CB541}">
      <dsp:nvSpPr>
        <dsp:cNvPr id="0" name=""/>
        <dsp:cNvSpPr/>
      </dsp:nvSpPr>
      <dsp:spPr>
        <a:xfrm>
          <a:off x="3396598" y="634314"/>
          <a:ext cx="894971" cy="290087"/>
        </a:xfrm>
        <a:custGeom>
          <a:avLst/>
          <a:gdLst/>
          <a:ahLst/>
          <a:cxnLst/>
          <a:rect l="0" t="0" r="0" b="0"/>
          <a:pathLst>
            <a:path>
              <a:moveTo>
                <a:pt x="894971" y="0"/>
              </a:moveTo>
              <a:lnTo>
                <a:pt x="894971" y="197686"/>
              </a:lnTo>
              <a:lnTo>
                <a:pt x="0" y="197686"/>
              </a:lnTo>
              <a:lnTo>
                <a:pt x="0" y="29008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CB08493-ED58-481A-A70D-1E19B9BB97C8}">
      <dsp:nvSpPr>
        <dsp:cNvPr id="0" name=""/>
        <dsp:cNvSpPr/>
      </dsp:nvSpPr>
      <dsp:spPr>
        <a:xfrm>
          <a:off x="3449578" y="942"/>
          <a:ext cx="1683983" cy="63337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639A54C-C5CF-4A64-B529-E32042DAC07C}">
      <dsp:nvSpPr>
        <dsp:cNvPr id="0" name=""/>
        <dsp:cNvSpPr/>
      </dsp:nvSpPr>
      <dsp:spPr>
        <a:xfrm>
          <a:off x="3560404" y="106227"/>
          <a:ext cx="1683983" cy="63337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entury Gothic" panose="020B0502020202020204" pitchFamily="34" charset="0"/>
            </a:rPr>
            <a:t>Combustion engine</a:t>
          </a:r>
        </a:p>
      </dsp:txBody>
      <dsp:txXfrm>
        <a:off x="3578955" y="124778"/>
        <a:ext cx="1646881" cy="596270"/>
      </dsp:txXfrm>
    </dsp:sp>
    <dsp:sp modelId="{82918D3C-B054-4407-8C4B-465917F68AE4}">
      <dsp:nvSpPr>
        <dsp:cNvPr id="0" name=""/>
        <dsp:cNvSpPr/>
      </dsp:nvSpPr>
      <dsp:spPr>
        <a:xfrm>
          <a:off x="2720341" y="924402"/>
          <a:ext cx="1352514" cy="63337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C8CF65-54DE-4A28-BBC2-948D63D92CD8}">
      <dsp:nvSpPr>
        <dsp:cNvPr id="0" name=""/>
        <dsp:cNvSpPr/>
      </dsp:nvSpPr>
      <dsp:spPr>
        <a:xfrm>
          <a:off x="2831167" y="1029687"/>
          <a:ext cx="1352514" cy="63337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entury Gothic" panose="020B0502020202020204" pitchFamily="34" charset="0"/>
            </a:rPr>
            <a:t>External combustion</a:t>
          </a:r>
        </a:p>
      </dsp:txBody>
      <dsp:txXfrm>
        <a:off x="2849718" y="1048238"/>
        <a:ext cx="1315412" cy="596270"/>
      </dsp:txXfrm>
    </dsp:sp>
    <dsp:sp modelId="{2ABBA75F-58E1-47C3-B88A-E0B3F9F3E2D6}">
      <dsp:nvSpPr>
        <dsp:cNvPr id="0" name=""/>
        <dsp:cNvSpPr/>
      </dsp:nvSpPr>
      <dsp:spPr>
        <a:xfrm>
          <a:off x="4294508" y="924402"/>
          <a:ext cx="1568290" cy="63337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AF37B73-3BB1-4752-83B9-9D4AFFF54F3E}">
      <dsp:nvSpPr>
        <dsp:cNvPr id="0" name=""/>
        <dsp:cNvSpPr/>
      </dsp:nvSpPr>
      <dsp:spPr>
        <a:xfrm>
          <a:off x="4405335" y="1029687"/>
          <a:ext cx="1568290" cy="63337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entury Gothic" panose="020B0502020202020204" pitchFamily="34" charset="0"/>
            </a:rPr>
            <a:t>Internal combustion</a:t>
          </a:r>
        </a:p>
      </dsp:txBody>
      <dsp:txXfrm>
        <a:off x="4423886" y="1048238"/>
        <a:ext cx="1531188" cy="596270"/>
      </dsp:txXfrm>
    </dsp:sp>
    <dsp:sp modelId="{C9CD006A-6CC6-46E8-93EF-CB1B8755A8AA}">
      <dsp:nvSpPr>
        <dsp:cNvPr id="0" name=""/>
        <dsp:cNvSpPr/>
      </dsp:nvSpPr>
      <dsp:spPr>
        <a:xfrm>
          <a:off x="2256316" y="1847863"/>
          <a:ext cx="997437" cy="63337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B08E004-D4FD-4DAA-8FE8-4E05AD5169DA}">
      <dsp:nvSpPr>
        <dsp:cNvPr id="0" name=""/>
        <dsp:cNvSpPr/>
      </dsp:nvSpPr>
      <dsp:spPr>
        <a:xfrm>
          <a:off x="2367142" y="1953148"/>
          <a:ext cx="997437" cy="63337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entury Gothic" panose="020B0502020202020204" pitchFamily="34" charset="0"/>
            </a:rPr>
            <a:t>Spark ignition</a:t>
          </a:r>
        </a:p>
      </dsp:txBody>
      <dsp:txXfrm>
        <a:off x="2385693" y="1971699"/>
        <a:ext cx="960335" cy="596270"/>
      </dsp:txXfrm>
    </dsp:sp>
    <dsp:sp modelId="{0594785D-6AAD-4BB3-A751-4FD2615F95D7}">
      <dsp:nvSpPr>
        <dsp:cNvPr id="0" name=""/>
        <dsp:cNvSpPr/>
      </dsp:nvSpPr>
      <dsp:spPr>
        <a:xfrm>
          <a:off x="2256316" y="2771324"/>
          <a:ext cx="997437" cy="63337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35E951B-C981-4C94-B624-A1A4254D914B}">
      <dsp:nvSpPr>
        <dsp:cNvPr id="0" name=""/>
        <dsp:cNvSpPr/>
      </dsp:nvSpPr>
      <dsp:spPr>
        <a:xfrm>
          <a:off x="2367142" y="2876609"/>
          <a:ext cx="997437" cy="63337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entury Gothic" panose="020B0502020202020204" pitchFamily="34" charset="0"/>
            </a:rPr>
            <a:t>CNG H series</a:t>
          </a:r>
        </a:p>
      </dsp:txBody>
      <dsp:txXfrm>
        <a:off x="2385693" y="2895160"/>
        <a:ext cx="960335" cy="596270"/>
      </dsp:txXfrm>
    </dsp:sp>
    <dsp:sp modelId="{D3A4A8E7-EDCA-4C82-AD8C-9EAEB75576AD}">
      <dsp:nvSpPr>
        <dsp:cNvPr id="0" name=""/>
        <dsp:cNvSpPr/>
      </dsp:nvSpPr>
      <dsp:spPr>
        <a:xfrm>
          <a:off x="1332410" y="3694784"/>
          <a:ext cx="2845249" cy="103375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57E48CD-1533-4DA2-87D4-CC6CC1E9B494}">
      <dsp:nvSpPr>
        <dsp:cNvPr id="0" name=""/>
        <dsp:cNvSpPr/>
      </dsp:nvSpPr>
      <dsp:spPr>
        <a:xfrm>
          <a:off x="1443236" y="3800069"/>
          <a:ext cx="2845249" cy="103375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entury Gothic" panose="020B0502020202020204" pitchFamily="34" charset="0"/>
            </a:rPr>
            <a:t>H4 – 144hp(2V)(NA) DELPHI,</a:t>
          </a:r>
        </a:p>
        <a:p>
          <a:pPr marL="0" lvl="0" indent="0" algn="ctr" defTabSz="622300">
            <a:lnSpc>
              <a:spcPct val="90000"/>
            </a:lnSpc>
            <a:spcBef>
              <a:spcPct val="0"/>
            </a:spcBef>
            <a:spcAft>
              <a:spcPct val="35000"/>
            </a:spcAft>
            <a:buNone/>
          </a:pPr>
          <a:r>
            <a:rPr lang="en-US" sz="1400" kern="1200" dirty="0">
              <a:latin typeface="Century Gothic" panose="020B0502020202020204" pitchFamily="34" charset="0"/>
            </a:rPr>
            <a:t> H6 - 130hp(NA), 230hp(TC)</a:t>
          </a:r>
        </a:p>
      </dsp:txBody>
      <dsp:txXfrm>
        <a:off x="1473514" y="3830347"/>
        <a:ext cx="2784693" cy="973196"/>
      </dsp:txXfrm>
    </dsp:sp>
    <dsp:sp modelId="{D13089C5-E361-4EDF-A487-7240EB952140}">
      <dsp:nvSpPr>
        <dsp:cNvPr id="0" name=""/>
        <dsp:cNvSpPr/>
      </dsp:nvSpPr>
      <dsp:spPr>
        <a:xfrm>
          <a:off x="6462656" y="1847863"/>
          <a:ext cx="1438334" cy="63337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8133484-9642-45ED-B738-18854B221B60}">
      <dsp:nvSpPr>
        <dsp:cNvPr id="0" name=""/>
        <dsp:cNvSpPr/>
      </dsp:nvSpPr>
      <dsp:spPr>
        <a:xfrm>
          <a:off x="6573483" y="1953148"/>
          <a:ext cx="1438334" cy="63337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entury Gothic" panose="020B0502020202020204" pitchFamily="34" charset="0"/>
            </a:rPr>
            <a:t>Compression ignition</a:t>
          </a:r>
        </a:p>
      </dsp:txBody>
      <dsp:txXfrm>
        <a:off x="6592034" y="1971699"/>
        <a:ext cx="1401232" cy="596270"/>
      </dsp:txXfrm>
    </dsp:sp>
    <dsp:sp modelId="{1D69B8C9-1550-4287-AD43-752DFBAD6E6A}">
      <dsp:nvSpPr>
        <dsp:cNvPr id="0" name=""/>
        <dsp:cNvSpPr/>
      </dsp:nvSpPr>
      <dsp:spPr>
        <a:xfrm>
          <a:off x="5207969" y="2771324"/>
          <a:ext cx="997437" cy="63337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B921C87-D50F-4E46-B83E-2E3C8C016C83}">
      <dsp:nvSpPr>
        <dsp:cNvPr id="0" name=""/>
        <dsp:cNvSpPr/>
      </dsp:nvSpPr>
      <dsp:spPr>
        <a:xfrm>
          <a:off x="5318796" y="2876609"/>
          <a:ext cx="997437" cy="63337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entury Gothic" panose="020B0502020202020204" pitchFamily="34" charset="0"/>
            </a:rPr>
            <a:t>A series diesel</a:t>
          </a:r>
        </a:p>
      </dsp:txBody>
      <dsp:txXfrm>
        <a:off x="5337347" y="2895160"/>
        <a:ext cx="960335" cy="596270"/>
      </dsp:txXfrm>
    </dsp:sp>
    <dsp:sp modelId="{FFCAFB47-935D-400E-89AE-FF157E2ECF23}">
      <dsp:nvSpPr>
        <dsp:cNvPr id="0" name=""/>
        <dsp:cNvSpPr/>
      </dsp:nvSpPr>
      <dsp:spPr>
        <a:xfrm>
          <a:off x="4399312" y="3694784"/>
          <a:ext cx="2614751" cy="114981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FCB4DDB-8DB4-406D-B50D-C591308720D3}">
      <dsp:nvSpPr>
        <dsp:cNvPr id="0" name=""/>
        <dsp:cNvSpPr/>
      </dsp:nvSpPr>
      <dsp:spPr>
        <a:xfrm>
          <a:off x="4510138" y="3800069"/>
          <a:ext cx="2614751" cy="114981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entury Gothic" panose="020B0502020202020204" pitchFamily="34" charset="0"/>
            </a:rPr>
            <a:t>A4- 4V DENSO HP4,250 </a:t>
          </a:r>
          <a:r>
            <a:rPr lang="en-US" sz="1400" kern="1200" dirty="0" err="1">
              <a:latin typeface="Century Gothic" panose="020B0502020202020204" pitchFamily="34" charset="0"/>
            </a:rPr>
            <a:t>hp</a:t>
          </a:r>
          <a:endParaRPr lang="en-US" sz="1400" kern="1200" dirty="0">
            <a:latin typeface="Century Gothic" panose="020B0502020202020204" pitchFamily="34" charset="0"/>
          </a:endParaRPr>
        </a:p>
        <a:p>
          <a:pPr marL="0" lvl="0" indent="0" algn="ctr" defTabSz="622300">
            <a:lnSpc>
              <a:spcPct val="90000"/>
            </a:lnSpc>
            <a:spcBef>
              <a:spcPct val="0"/>
            </a:spcBef>
            <a:spcAft>
              <a:spcPct val="35000"/>
            </a:spcAft>
            <a:buNone/>
          </a:pPr>
          <a:r>
            <a:rPr lang="en-US" sz="1400" kern="1200" dirty="0">
              <a:latin typeface="Century Gothic" panose="020B0502020202020204" pitchFamily="34" charset="0"/>
            </a:rPr>
            <a:t> A6- 4V DENSO HP4, 320hp</a:t>
          </a:r>
        </a:p>
      </dsp:txBody>
      <dsp:txXfrm>
        <a:off x="4543815" y="3833746"/>
        <a:ext cx="2547397" cy="1082457"/>
      </dsp:txXfrm>
    </dsp:sp>
    <dsp:sp modelId="{84AA892D-A292-410A-AC5F-98646EEA693C}">
      <dsp:nvSpPr>
        <dsp:cNvPr id="0" name=""/>
        <dsp:cNvSpPr/>
      </dsp:nvSpPr>
      <dsp:spPr>
        <a:xfrm>
          <a:off x="8158241" y="2771324"/>
          <a:ext cx="997437" cy="63337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93587A-9A07-4901-BAA3-876EB3DDD575}">
      <dsp:nvSpPr>
        <dsp:cNvPr id="0" name=""/>
        <dsp:cNvSpPr/>
      </dsp:nvSpPr>
      <dsp:spPr>
        <a:xfrm>
          <a:off x="8269067" y="2876609"/>
          <a:ext cx="997437" cy="63337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entury Gothic" panose="020B0502020202020204" pitchFamily="34" charset="0"/>
            </a:rPr>
            <a:t>H series diesel</a:t>
          </a:r>
        </a:p>
      </dsp:txBody>
      <dsp:txXfrm>
        <a:off x="8287618" y="2895160"/>
        <a:ext cx="960335" cy="596270"/>
      </dsp:txXfrm>
    </dsp:sp>
    <dsp:sp modelId="{91E3692A-EFBE-4042-9B45-F7D1486B3DC0}">
      <dsp:nvSpPr>
        <dsp:cNvPr id="0" name=""/>
        <dsp:cNvSpPr/>
      </dsp:nvSpPr>
      <dsp:spPr>
        <a:xfrm>
          <a:off x="7235716" y="3694784"/>
          <a:ext cx="2842486" cy="10672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9261EBB-37F6-4F00-97F6-3C5F93160069}">
      <dsp:nvSpPr>
        <dsp:cNvPr id="0" name=""/>
        <dsp:cNvSpPr/>
      </dsp:nvSpPr>
      <dsp:spPr>
        <a:xfrm>
          <a:off x="7346543" y="3800069"/>
          <a:ext cx="2842486" cy="106725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Century Gothic" panose="020B0502020202020204" pitchFamily="34" charset="0"/>
            </a:rPr>
            <a:t>H6- 4V DENSO HP3, 250hp,</a:t>
          </a:r>
        </a:p>
        <a:p>
          <a:pPr marL="0" lvl="0" indent="0" algn="ctr" defTabSz="622300">
            <a:lnSpc>
              <a:spcPct val="90000"/>
            </a:lnSpc>
            <a:spcBef>
              <a:spcPct val="0"/>
            </a:spcBef>
            <a:spcAft>
              <a:spcPct val="35000"/>
            </a:spcAft>
            <a:buNone/>
          </a:pPr>
          <a:r>
            <a:rPr lang="en-US" sz="1400" kern="1200" dirty="0">
              <a:latin typeface="Century Gothic" panose="020B0502020202020204" pitchFamily="34" charset="0"/>
            </a:rPr>
            <a:t>H6, 2V – BOSCH CB28, 200hp</a:t>
          </a:r>
        </a:p>
      </dsp:txBody>
      <dsp:txXfrm>
        <a:off x="7377802" y="3831328"/>
        <a:ext cx="2779968" cy="100473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B2C4D2-358A-4261-99EE-94DBA998850D}">
      <dsp:nvSpPr>
        <dsp:cNvPr id="0" name=""/>
        <dsp:cNvSpPr/>
      </dsp:nvSpPr>
      <dsp:spPr>
        <a:xfrm>
          <a:off x="7989647" y="2442437"/>
          <a:ext cx="91440" cy="277719"/>
        </a:xfrm>
        <a:custGeom>
          <a:avLst/>
          <a:gdLst/>
          <a:ahLst/>
          <a:cxnLst/>
          <a:rect l="0" t="0" r="0" b="0"/>
          <a:pathLst>
            <a:path>
              <a:moveTo>
                <a:pt x="45720" y="0"/>
              </a:moveTo>
              <a:lnTo>
                <a:pt x="45720" y="277719"/>
              </a:lnTo>
              <a:lnTo>
                <a:pt x="49176" y="27771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D0AB1C2-041B-4363-BF7A-823A6B427BAD}">
      <dsp:nvSpPr>
        <dsp:cNvPr id="0" name=""/>
        <dsp:cNvSpPr/>
      </dsp:nvSpPr>
      <dsp:spPr>
        <a:xfrm>
          <a:off x="7208129" y="1719570"/>
          <a:ext cx="1356339" cy="415464"/>
        </a:xfrm>
        <a:custGeom>
          <a:avLst/>
          <a:gdLst/>
          <a:ahLst/>
          <a:cxnLst/>
          <a:rect l="0" t="0" r="0" b="0"/>
          <a:pathLst>
            <a:path>
              <a:moveTo>
                <a:pt x="0" y="0"/>
              </a:moveTo>
              <a:lnTo>
                <a:pt x="0" y="232513"/>
              </a:lnTo>
              <a:lnTo>
                <a:pt x="1356339" y="232513"/>
              </a:lnTo>
              <a:lnTo>
                <a:pt x="1356339" y="41546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61E55BB-2580-4D15-AA7E-F49C6C47A251}">
      <dsp:nvSpPr>
        <dsp:cNvPr id="0" name=""/>
        <dsp:cNvSpPr/>
      </dsp:nvSpPr>
      <dsp:spPr>
        <a:xfrm>
          <a:off x="5383060" y="2433089"/>
          <a:ext cx="319079" cy="1405235"/>
        </a:xfrm>
        <a:custGeom>
          <a:avLst/>
          <a:gdLst/>
          <a:ahLst/>
          <a:cxnLst/>
          <a:rect l="0" t="0" r="0" b="0"/>
          <a:pathLst>
            <a:path>
              <a:moveTo>
                <a:pt x="0" y="0"/>
              </a:moveTo>
              <a:lnTo>
                <a:pt x="0" y="1405235"/>
              </a:lnTo>
              <a:lnTo>
                <a:pt x="319079" y="140523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96F957D-89DA-4B83-B213-70A521DE5587}">
      <dsp:nvSpPr>
        <dsp:cNvPr id="0" name=""/>
        <dsp:cNvSpPr/>
      </dsp:nvSpPr>
      <dsp:spPr>
        <a:xfrm>
          <a:off x="5383060" y="2433089"/>
          <a:ext cx="296707" cy="892976"/>
        </a:xfrm>
        <a:custGeom>
          <a:avLst/>
          <a:gdLst/>
          <a:ahLst/>
          <a:cxnLst/>
          <a:rect l="0" t="0" r="0" b="0"/>
          <a:pathLst>
            <a:path>
              <a:moveTo>
                <a:pt x="0" y="0"/>
              </a:moveTo>
              <a:lnTo>
                <a:pt x="0" y="892976"/>
              </a:lnTo>
              <a:lnTo>
                <a:pt x="296707" y="89297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5C924B4-E7C0-44FD-82CB-11E2DCAC2EBC}">
      <dsp:nvSpPr>
        <dsp:cNvPr id="0" name=""/>
        <dsp:cNvSpPr/>
      </dsp:nvSpPr>
      <dsp:spPr>
        <a:xfrm>
          <a:off x="5383060" y="2433089"/>
          <a:ext cx="299303" cy="402841"/>
        </a:xfrm>
        <a:custGeom>
          <a:avLst/>
          <a:gdLst/>
          <a:ahLst/>
          <a:cxnLst/>
          <a:rect l="0" t="0" r="0" b="0"/>
          <a:pathLst>
            <a:path>
              <a:moveTo>
                <a:pt x="0" y="0"/>
              </a:moveTo>
              <a:lnTo>
                <a:pt x="0" y="402841"/>
              </a:lnTo>
              <a:lnTo>
                <a:pt x="299303" y="40284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701B058-4364-4A36-B434-9AA1152069EF}">
      <dsp:nvSpPr>
        <dsp:cNvPr id="0" name=""/>
        <dsp:cNvSpPr/>
      </dsp:nvSpPr>
      <dsp:spPr>
        <a:xfrm>
          <a:off x="5896334" y="1719570"/>
          <a:ext cx="1311794" cy="413034"/>
        </a:xfrm>
        <a:custGeom>
          <a:avLst/>
          <a:gdLst/>
          <a:ahLst/>
          <a:cxnLst/>
          <a:rect l="0" t="0" r="0" b="0"/>
          <a:pathLst>
            <a:path>
              <a:moveTo>
                <a:pt x="1311794" y="0"/>
              </a:moveTo>
              <a:lnTo>
                <a:pt x="1311794" y="230082"/>
              </a:lnTo>
              <a:lnTo>
                <a:pt x="0" y="230082"/>
              </a:lnTo>
              <a:lnTo>
                <a:pt x="0" y="41303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EA31A23-A8F0-47BA-8469-7167D28EC028}">
      <dsp:nvSpPr>
        <dsp:cNvPr id="0" name=""/>
        <dsp:cNvSpPr/>
      </dsp:nvSpPr>
      <dsp:spPr>
        <a:xfrm>
          <a:off x="4607751" y="768503"/>
          <a:ext cx="2600377" cy="310807"/>
        </a:xfrm>
        <a:custGeom>
          <a:avLst/>
          <a:gdLst/>
          <a:ahLst/>
          <a:cxnLst/>
          <a:rect l="0" t="0" r="0" b="0"/>
          <a:pathLst>
            <a:path>
              <a:moveTo>
                <a:pt x="0" y="0"/>
              </a:moveTo>
              <a:lnTo>
                <a:pt x="0" y="127856"/>
              </a:lnTo>
              <a:lnTo>
                <a:pt x="2600377" y="127856"/>
              </a:lnTo>
              <a:lnTo>
                <a:pt x="2600377" y="31080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37F05E4-C454-4CAD-BDC2-03720B437B08}">
      <dsp:nvSpPr>
        <dsp:cNvPr id="0" name=""/>
        <dsp:cNvSpPr/>
      </dsp:nvSpPr>
      <dsp:spPr>
        <a:xfrm>
          <a:off x="2607185" y="2221946"/>
          <a:ext cx="216052" cy="1756836"/>
        </a:xfrm>
        <a:custGeom>
          <a:avLst/>
          <a:gdLst/>
          <a:ahLst/>
          <a:cxnLst/>
          <a:rect l="0" t="0" r="0" b="0"/>
          <a:pathLst>
            <a:path>
              <a:moveTo>
                <a:pt x="0" y="0"/>
              </a:moveTo>
              <a:lnTo>
                <a:pt x="0" y="1756836"/>
              </a:lnTo>
              <a:lnTo>
                <a:pt x="216052" y="175683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EE4C36E-2E66-4015-BC80-E6DC02DB6FEB}">
      <dsp:nvSpPr>
        <dsp:cNvPr id="0" name=""/>
        <dsp:cNvSpPr/>
      </dsp:nvSpPr>
      <dsp:spPr>
        <a:xfrm>
          <a:off x="2607185" y="2221946"/>
          <a:ext cx="158988" cy="656938"/>
        </a:xfrm>
        <a:custGeom>
          <a:avLst/>
          <a:gdLst/>
          <a:ahLst/>
          <a:cxnLst/>
          <a:rect l="0" t="0" r="0" b="0"/>
          <a:pathLst>
            <a:path>
              <a:moveTo>
                <a:pt x="0" y="0"/>
              </a:moveTo>
              <a:lnTo>
                <a:pt x="0" y="656938"/>
              </a:lnTo>
              <a:lnTo>
                <a:pt x="158988" y="65693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E76E8E9-2562-4A6E-B76C-633A681E8F82}">
      <dsp:nvSpPr>
        <dsp:cNvPr id="0" name=""/>
        <dsp:cNvSpPr/>
      </dsp:nvSpPr>
      <dsp:spPr>
        <a:xfrm>
          <a:off x="1761391" y="1556761"/>
          <a:ext cx="1194028" cy="351754"/>
        </a:xfrm>
        <a:custGeom>
          <a:avLst/>
          <a:gdLst/>
          <a:ahLst/>
          <a:cxnLst/>
          <a:rect l="0" t="0" r="0" b="0"/>
          <a:pathLst>
            <a:path>
              <a:moveTo>
                <a:pt x="0" y="0"/>
              </a:moveTo>
              <a:lnTo>
                <a:pt x="0" y="168802"/>
              </a:lnTo>
              <a:lnTo>
                <a:pt x="1194028" y="168802"/>
              </a:lnTo>
              <a:lnTo>
                <a:pt x="1194028" y="35175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5138FE1-4BEA-479B-94DE-3C4A5B58C8BA}">
      <dsp:nvSpPr>
        <dsp:cNvPr id="0" name=""/>
        <dsp:cNvSpPr/>
      </dsp:nvSpPr>
      <dsp:spPr>
        <a:xfrm>
          <a:off x="717109" y="2241425"/>
          <a:ext cx="136127" cy="773260"/>
        </a:xfrm>
        <a:custGeom>
          <a:avLst/>
          <a:gdLst/>
          <a:ahLst/>
          <a:cxnLst/>
          <a:rect l="0" t="0" r="0" b="0"/>
          <a:pathLst>
            <a:path>
              <a:moveTo>
                <a:pt x="0" y="0"/>
              </a:moveTo>
              <a:lnTo>
                <a:pt x="0" y="773260"/>
              </a:lnTo>
              <a:lnTo>
                <a:pt x="136127" y="77326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40934FC-B26B-4117-81F5-81F9096C8CD8}">
      <dsp:nvSpPr>
        <dsp:cNvPr id="0" name=""/>
        <dsp:cNvSpPr/>
      </dsp:nvSpPr>
      <dsp:spPr>
        <a:xfrm>
          <a:off x="1135687" y="1556761"/>
          <a:ext cx="625703" cy="352921"/>
        </a:xfrm>
        <a:custGeom>
          <a:avLst/>
          <a:gdLst/>
          <a:ahLst/>
          <a:cxnLst/>
          <a:rect l="0" t="0" r="0" b="0"/>
          <a:pathLst>
            <a:path>
              <a:moveTo>
                <a:pt x="625703" y="0"/>
              </a:moveTo>
              <a:lnTo>
                <a:pt x="625703" y="169970"/>
              </a:lnTo>
              <a:lnTo>
                <a:pt x="0" y="169970"/>
              </a:lnTo>
              <a:lnTo>
                <a:pt x="0" y="35292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79B9685-FE20-4909-94D9-8B88AFAAAAC5}">
      <dsp:nvSpPr>
        <dsp:cNvPr id="0" name=""/>
        <dsp:cNvSpPr/>
      </dsp:nvSpPr>
      <dsp:spPr>
        <a:xfrm>
          <a:off x="1761391" y="768503"/>
          <a:ext cx="2846360" cy="310720"/>
        </a:xfrm>
        <a:custGeom>
          <a:avLst/>
          <a:gdLst/>
          <a:ahLst/>
          <a:cxnLst/>
          <a:rect l="0" t="0" r="0" b="0"/>
          <a:pathLst>
            <a:path>
              <a:moveTo>
                <a:pt x="2846360" y="0"/>
              </a:moveTo>
              <a:lnTo>
                <a:pt x="2846360" y="127769"/>
              </a:lnTo>
              <a:lnTo>
                <a:pt x="0" y="127769"/>
              </a:lnTo>
              <a:lnTo>
                <a:pt x="0" y="31072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654EE1-1867-49AA-A3FE-025FB260536B}">
      <dsp:nvSpPr>
        <dsp:cNvPr id="0" name=""/>
        <dsp:cNvSpPr/>
      </dsp:nvSpPr>
      <dsp:spPr>
        <a:xfrm>
          <a:off x="3449313" y="1815"/>
          <a:ext cx="2316876" cy="76668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en-US" sz="1600" b="1" kern="1200" dirty="0">
              <a:latin typeface="Century Gothic" panose="020B0502020202020204" pitchFamily="34" charset="0"/>
            </a:rPr>
            <a:t>CLUTCH</a:t>
          </a:r>
        </a:p>
        <a:p>
          <a:pPr marL="0" lvl="0" indent="0" algn="ctr" defTabSz="711200">
            <a:lnSpc>
              <a:spcPct val="100000"/>
            </a:lnSpc>
            <a:spcBef>
              <a:spcPct val="0"/>
            </a:spcBef>
            <a:spcAft>
              <a:spcPct val="35000"/>
            </a:spcAft>
            <a:buNone/>
          </a:pPr>
          <a:r>
            <a:rPr lang="en-US" sz="1600" b="1" kern="1200" dirty="0">
              <a:latin typeface="Century Gothic" panose="020B0502020202020204" pitchFamily="34" charset="0"/>
            </a:rPr>
            <a:t>(Type of Actuation)</a:t>
          </a:r>
        </a:p>
      </dsp:txBody>
      <dsp:txXfrm>
        <a:off x="3449313" y="1815"/>
        <a:ext cx="2316876" cy="766687"/>
      </dsp:txXfrm>
    </dsp:sp>
    <dsp:sp modelId="{02D92FBA-7589-4C22-A5F6-24B56980015C}">
      <dsp:nvSpPr>
        <dsp:cNvPr id="0" name=""/>
        <dsp:cNvSpPr/>
      </dsp:nvSpPr>
      <dsp:spPr>
        <a:xfrm>
          <a:off x="1071482" y="1079224"/>
          <a:ext cx="1379817" cy="47753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latin typeface="Century Gothic" panose="020B0502020202020204" pitchFamily="34" charset="0"/>
            </a:rPr>
            <a:t>Coil Spring (Finger)</a:t>
          </a:r>
        </a:p>
      </dsp:txBody>
      <dsp:txXfrm>
        <a:off x="1071482" y="1079224"/>
        <a:ext cx="1379817" cy="477537"/>
      </dsp:txXfrm>
    </dsp:sp>
    <dsp:sp modelId="{A4BB4BDF-2EF7-46D6-ADC7-F0184F80A7EC}">
      <dsp:nvSpPr>
        <dsp:cNvPr id="0" name=""/>
        <dsp:cNvSpPr/>
      </dsp:nvSpPr>
      <dsp:spPr>
        <a:xfrm>
          <a:off x="612464" y="1909683"/>
          <a:ext cx="1046446" cy="331742"/>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latin typeface="Century Gothic" panose="020B0502020202020204" pitchFamily="34" charset="0"/>
            </a:rPr>
            <a:t>3 Finger</a:t>
          </a:r>
        </a:p>
      </dsp:txBody>
      <dsp:txXfrm>
        <a:off x="612464" y="1909683"/>
        <a:ext cx="1046446" cy="331742"/>
      </dsp:txXfrm>
    </dsp:sp>
    <dsp:sp modelId="{D6505EED-CA2B-42A0-8740-27BA786FA921}">
      <dsp:nvSpPr>
        <dsp:cNvPr id="0" name=""/>
        <dsp:cNvSpPr/>
      </dsp:nvSpPr>
      <dsp:spPr>
        <a:xfrm>
          <a:off x="853237" y="2555082"/>
          <a:ext cx="1195995" cy="91920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en-US" sz="1600" b="0" kern="1200" dirty="0">
              <a:latin typeface="Century Gothic" panose="020B0502020202020204" pitchFamily="34" charset="0"/>
            </a:rPr>
            <a:t>380mm (SETCO)</a:t>
          </a:r>
        </a:p>
        <a:p>
          <a:pPr marL="0" lvl="0" indent="0" algn="ctr" defTabSz="711200">
            <a:lnSpc>
              <a:spcPct val="100000"/>
            </a:lnSpc>
            <a:spcBef>
              <a:spcPct val="0"/>
            </a:spcBef>
            <a:spcAft>
              <a:spcPct val="35000"/>
            </a:spcAft>
            <a:buNone/>
          </a:pPr>
          <a:r>
            <a:rPr lang="en-US" sz="1600" b="0" kern="1200" dirty="0">
              <a:latin typeface="Century Gothic" panose="020B0502020202020204" pitchFamily="34" charset="0"/>
            </a:rPr>
            <a:t>(Hydraulic)</a:t>
          </a:r>
        </a:p>
      </dsp:txBody>
      <dsp:txXfrm>
        <a:off x="853237" y="2555082"/>
        <a:ext cx="1195995" cy="919207"/>
      </dsp:txXfrm>
    </dsp:sp>
    <dsp:sp modelId="{FDBAAEBF-2ACD-407E-9563-DFB912E51E5E}">
      <dsp:nvSpPr>
        <dsp:cNvPr id="0" name=""/>
        <dsp:cNvSpPr/>
      </dsp:nvSpPr>
      <dsp:spPr>
        <a:xfrm>
          <a:off x="2520127" y="1908515"/>
          <a:ext cx="870586" cy="31343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latin typeface="Century Gothic" panose="020B0502020202020204" pitchFamily="34" charset="0"/>
            </a:rPr>
            <a:t>4 Finger</a:t>
          </a:r>
        </a:p>
      </dsp:txBody>
      <dsp:txXfrm>
        <a:off x="2520127" y="1908515"/>
        <a:ext cx="870586" cy="313430"/>
      </dsp:txXfrm>
    </dsp:sp>
    <dsp:sp modelId="{B626F366-5BB3-4BD0-B348-EF757700B223}">
      <dsp:nvSpPr>
        <dsp:cNvPr id="0" name=""/>
        <dsp:cNvSpPr/>
      </dsp:nvSpPr>
      <dsp:spPr>
        <a:xfrm>
          <a:off x="2766174" y="2514005"/>
          <a:ext cx="1498161" cy="72975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en-US" sz="1600" b="0" kern="1200" dirty="0">
              <a:latin typeface="Century Gothic" panose="020B0502020202020204" pitchFamily="34" charset="0"/>
            </a:rPr>
            <a:t>14” RDC</a:t>
          </a:r>
        </a:p>
        <a:p>
          <a:pPr marL="0" lvl="0" indent="0" algn="ctr" defTabSz="711200">
            <a:lnSpc>
              <a:spcPct val="100000"/>
            </a:lnSpc>
            <a:spcBef>
              <a:spcPct val="0"/>
            </a:spcBef>
            <a:spcAft>
              <a:spcPct val="35000"/>
            </a:spcAft>
            <a:buNone/>
          </a:pPr>
          <a:r>
            <a:rPr lang="en-US" sz="1600" b="0" kern="1200" dirty="0">
              <a:latin typeface="Century Gothic" panose="020B0502020202020204" pitchFamily="34" charset="0"/>
            </a:rPr>
            <a:t>(Mechanical)</a:t>
          </a:r>
        </a:p>
      </dsp:txBody>
      <dsp:txXfrm>
        <a:off x="2766174" y="2514005"/>
        <a:ext cx="1498161" cy="729757"/>
      </dsp:txXfrm>
    </dsp:sp>
    <dsp:sp modelId="{6F4EC81F-BCAA-4961-8FA9-2D5BDFC25925}">
      <dsp:nvSpPr>
        <dsp:cNvPr id="0" name=""/>
        <dsp:cNvSpPr/>
      </dsp:nvSpPr>
      <dsp:spPr>
        <a:xfrm>
          <a:off x="2823238" y="3623282"/>
          <a:ext cx="1389819" cy="71100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en-US" sz="1600" b="0" kern="1200" dirty="0">
              <a:latin typeface="Century Gothic" panose="020B0502020202020204" pitchFamily="34" charset="0"/>
            </a:rPr>
            <a:t>15” RDC</a:t>
          </a:r>
        </a:p>
        <a:p>
          <a:pPr marL="0" lvl="0" indent="0" algn="ctr" defTabSz="711200">
            <a:lnSpc>
              <a:spcPct val="100000"/>
            </a:lnSpc>
            <a:spcBef>
              <a:spcPct val="0"/>
            </a:spcBef>
            <a:spcAft>
              <a:spcPct val="35000"/>
            </a:spcAft>
            <a:buNone/>
          </a:pPr>
          <a:r>
            <a:rPr lang="en-US" sz="1600" b="0" kern="1200" dirty="0">
              <a:latin typeface="Century Gothic" panose="020B0502020202020204" pitchFamily="34" charset="0"/>
            </a:rPr>
            <a:t>(Hydraulic)</a:t>
          </a:r>
        </a:p>
      </dsp:txBody>
      <dsp:txXfrm>
        <a:off x="2823238" y="3623282"/>
        <a:ext cx="1389819" cy="711000"/>
      </dsp:txXfrm>
    </dsp:sp>
    <dsp:sp modelId="{B8E23265-F053-4659-80A3-49AFF6C343CB}">
      <dsp:nvSpPr>
        <dsp:cNvPr id="0" name=""/>
        <dsp:cNvSpPr/>
      </dsp:nvSpPr>
      <dsp:spPr>
        <a:xfrm>
          <a:off x="6512375" y="1079311"/>
          <a:ext cx="1391509" cy="640259"/>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latin typeface="Century Gothic" panose="020B0502020202020204" pitchFamily="34" charset="0"/>
            </a:rPr>
            <a:t>Diaphragm</a:t>
          </a:r>
        </a:p>
        <a:p>
          <a:pPr marL="0" lvl="0" indent="0" algn="ctr" defTabSz="711200">
            <a:lnSpc>
              <a:spcPct val="90000"/>
            </a:lnSpc>
            <a:spcBef>
              <a:spcPct val="0"/>
            </a:spcBef>
            <a:spcAft>
              <a:spcPct val="35000"/>
            </a:spcAft>
            <a:buNone/>
          </a:pPr>
          <a:r>
            <a:rPr lang="en-US" sz="1600" b="0" kern="1200" dirty="0">
              <a:latin typeface="Century Gothic" panose="020B0502020202020204" pitchFamily="34" charset="0"/>
            </a:rPr>
            <a:t>(Hydraulic)</a:t>
          </a:r>
        </a:p>
      </dsp:txBody>
      <dsp:txXfrm>
        <a:off x="6512375" y="1079311"/>
        <a:ext cx="1391509" cy="640259"/>
      </dsp:txXfrm>
    </dsp:sp>
    <dsp:sp modelId="{3E61268D-00EB-4CF3-ACA8-B1D03B587743}">
      <dsp:nvSpPr>
        <dsp:cNvPr id="0" name=""/>
        <dsp:cNvSpPr/>
      </dsp:nvSpPr>
      <dsp:spPr>
        <a:xfrm>
          <a:off x="5254742" y="2132604"/>
          <a:ext cx="1283184" cy="300484"/>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latin typeface="Century Gothic" panose="020B0502020202020204" pitchFamily="34" charset="0"/>
            </a:rPr>
            <a:t>Push Type</a:t>
          </a:r>
        </a:p>
      </dsp:txBody>
      <dsp:txXfrm>
        <a:off x="5254742" y="2132604"/>
        <a:ext cx="1283184" cy="300484"/>
      </dsp:txXfrm>
    </dsp:sp>
    <dsp:sp modelId="{47011C0A-E303-4AA6-9D22-48B579A7B1D2}">
      <dsp:nvSpPr>
        <dsp:cNvPr id="0" name=""/>
        <dsp:cNvSpPr/>
      </dsp:nvSpPr>
      <dsp:spPr>
        <a:xfrm>
          <a:off x="5682364" y="2641714"/>
          <a:ext cx="863459" cy="38843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en-US" sz="1600" b="0" kern="1200" dirty="0">
              <a:latin typeface="Century Gothic" panose="020B0502020202020204" pitchFamily="34" charset="0"/>
            </a:rPr>
            <a:t>330mm</a:t>
          </a:r>
        </a:p>
      </dsp:txBody>
      <dsp:txXfrm>
        <a:off x="5682364" y="2641714"/>
        <a:ext cx="863459" cy="388431"/>
      </dsp:txXfrm>
    </dsp:sp>
    <dsp:sp modelId="{B839C506-FF47-462E-AA0C-0ABFAE2E0ACA}">
      <dsp:nvSpPr>
        <dsp:cNvPr id="0" name=""/>
        <dsp:cNvSpPr/>
      </dsp:nvSpPr>
      <dsp:spPr>
        <a:xfrm>
          <a:off x="5679768" y="3158072"/>
          <a:ext cx="881685" cy="335985"/>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en-US" sz="1600" b="0" kern="1200" dirty="0">
              <a:latin typeface="Century Gothic" panose="020B0502020202020204" pitchFamily="34" charset="0"/>
            </a:rPr>
            <a:t>380mm</a:t>
          </a:r>
        </a:p>
      </dsp:txBody>
      <dsp:txXfrm>
        <a:off x="5679768" y="3158072"/>
        <a:ext cx="881685" cy="335985"/>
      </dsp:txXfrm>
    </dsp:sp>
    <dsp:sp modelId="{3BF16AF6-DC82-4305-BF12-D111A54B92EC}">
      <dsp:nvSpPr>
        <dsp:cNvPr id="0" name=""/>
        <dsp:cNvSpPr/>
      </dsp:nvSpPr>
      <dsp:spPr>
        <a:xfrm>
          <a:off x="5702140" y="3653704"/>
          <a:ext cx="861787" cy="369239"/>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en-US" sz="1600" b="0" kern="1200" dirty="0">
              <a:latin typeface="Century Gothic" panose="020B0502020202020204" pitchFamily="34" charset="0"/>
            </a:rPr>
            <a:t>395mm</a:t>
          </a:r>
        </a:p>
      </dsp:txBody>
      <dsp:txXfrm>
        <a:off x="5702140" y="3653704"/>
        <a:ext cx="861787" cy="369239"/>
      </dsp:txXfrm>
    </dsp:sp>
    <dsp:sp modelId="{BD69CD5A-86E5-4227-B83F-73A5C2DE4BB2}">
      <dsp:nvSpPr>
        <dsp:cNvPr id="0" name=""/>
        <dsp:cNvSpPr/>
      </dsp:nvSpPr>
      <dsp:spPr>
        <a:xfrm>
          <a:off x="7903091" y="2135035"/>
          <a:ext cx="1322754" cy="30740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latin typeface="Century Gothic" panose="020B0502020202020204" pitchFamily="34" charset="0"/>
            </a:rPr>
            <a:t>Pull Type</a:t>
          </a:r>
        </a:p>
      </dsp:txBody>
      <dsp:txXfrm>
        <a:off x="7903091" y="2135035"/>
        <a:ext cx="1322754" cy="307401"/>
      </dsp:txXfrm>
    </dsp:sp>
    <dsp:sp modelId="{F1D01637-8ED2-4175-B84B-745348004BBB}">
      <dsp:nvSpPr>
        <dsp:cNvPr id="0" name=""/>
        <dsp:cNvSpPr/>
      </dsp:nvSpPr>
      <dsp:spPr>
        <a:xfrm>
          <a:off x="8038824" y="2557173"/>
          <a:ext cx="780295" cy="32596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latin typeface="Century Gothic" panose="020B0502020202020204" pitchFamily="34" charset="0"/>
            </a:rPr>
            <a:t>430mm</a:t>
          </a:r>
        </a:p>
      </dsp:txBody>
      <dsp:txXfrm>
        <a:off x="8038824" y="2557173"/>
        <a:ext cx="780295" cy="325966"/>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C5A5CA-3145-4AF9-9B64-8B098D401844}" type="datetimeFigureOut">
              <a:rPr lang="en-US" smtClean="0"/>
              <a:t>12/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E8B1D94-E25D-4704-AFAC-A2968BB86E79}" type="slidenum">
              <a:rPr lang="en-US" smtClean="0"/>
              <a:t>‹#›</a:t>
            </a:fld>
            <a:endParaRPr lang="en-US"/>
          </a:p>
        </p:txBody>
      </p:sp>
    </p:spTree>
    <p:extLst>
      <p:ext uri="{BB962C8B-B14F-4D97-AF65-F5344CB8AC3E}">
        <p14:creationId xmlns:p14="http://schemas.microsoft.com/office/powerpoint/2010/main" val="2056529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
        <p:cNvGrpSpPr/>
        <p:nvPr/>
      </p:nvGrpSpPr>
      <p:grpSpPr>
        <a:xfrm>
          <a:off x="0" y="0"/>
          <a:ext cx="0" cy="0"/>
          <a:chOff x="0" y="0"/>
          <a:chExt cx="0" cy="0"/>
        </a:xfrm>
      </p:grpSpPr>
      <p:sp>
        <p:nvSpPr>
          <p:cNvPr id="136" name="Google Shape;136;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37" name="Google Shape;137;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9000277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97638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73243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64370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53977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362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0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IN" altLang="en-US"/>
              <a:t> </a:t>
            </a:r>
            <a:endParaRPr lang="en-US" altLang="en-US"/>
          </a:p>
        </p:txBody>
      </p:sp>
      <p:sp>
        <p:nvSpPr>
          <p:cNvPr id="150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4B7F5FC3-EB62-44C2-8614-1D441F2BDBB2}" type="slidenum">
              <a:rPr lang="en-US" altLang="en-US" smtClean="0"/>
              <a:pPr fontAlgn="base">
                <a:spcBef>
                  <a:spcPct val="0"/>
                </a:spcBef>
                <a:spcAft>
                  <a:spcPct val="0"/>
                </a:spcAft>
              </a:pPr>
              <a:t>20</a:t>
            </a:fld>
            <a:endParaRPr lang="en-US" altLang="en-US"/>
          </a:p>
        </p:txBody>
      </p:sp>
    </p:spTree>
    <p:extLst>
      <p:ext uri="{BB962C8B-B14F-4D97-AF65-F5344CB8AC3E}">
        <p14:creationId xmlns:p14="http://schemas.microsoft.com/office/powerpoint/2010/main" val="19292603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95417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88700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37471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66596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o is the ministr</a:t>
            </a:r>
            <a:r>
              <a:rPr lang="en-US" baseline="0" dirty="0"/>
              <a:t>y of MORTH-Nitin </a:t>
            </a:r>
            <a:r>
              <a:rPr lang="en-US" baseline="0" dirty="0" err="1"/>
              <a:t>gatkark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74814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37314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39033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79216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29704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32951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43668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63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863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72103A1-A970-4C37-9049-122273633FBE}"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3016684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69953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235C59-3ADB-4D29-B753-B340F70079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01005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235C59-3ADB-4D29-B753-B340F70079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4661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96261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235C59-3ADB-4D29-B753-B340F70079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63743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235C59-3ADB-4D29-B753-B340F70079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15390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531295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235C59-3ADB-4D29-B753-B340F70079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74509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235C59-3ADB-4D29-B753-B340F70079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38974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3250 WB – 5CBM Tipper is possible in 1015</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D235C59-3ADB-4D29-B753-B340F70079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27480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D235C59-3ADB-4D29-B753-B340F70079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8178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D235C59-3ADB-4D29-B753-B340F70079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786728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IN" altLang="en-US"/>
          </a:p>
        </p:txBody>
      </p:sp>
      <p:sp>
        <p:nvSpPr>
          <p:cNvPr id="2048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1D2F46C-1307-4858-B031-19BA578B0C8C}"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1765369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59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IN" altLang="en-US"/>
          </a:p>
        </p:txBody>
      </p:sp>
      <p:sp>
        <p:nvSpPr>
          <p:cNvPr id="1259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F4BCF03-E068-4829-90E3-219FCB3E8496}"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2</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844449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34397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80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IN" altLang="en-US"/>
          </a:p>
        </p:txBody>
      </p:sp>
      <p:sp>
        <p:nvSpPr>
          <p:cNvPr id="1280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4FDA5C9-7279-4011-8B7F-97C20F36CEB6}"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3</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5310746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is an aggregate? </a:t>
            </a:r>
          </a:p>
          <a:p>
            <a:r>
              <a:rPr lang="en-US" dirty="0"/>
              <a:t>A component which gives</a:t>
            </a:r>
            <a:r>
              <a:rPr lang="en-US" baseline="0" dirty="0"/>
              <a:t> an output and all aggregates together will help to move the vehicle</a:t>
            </a:r>
          </a:p>
          <a:p>
            <a:r>
              <a:rPr lang="en-US" baseline="0" dirty="0"/>
              <a:t>For example engine is a prime mover.</a:t>
            </a:r>
          </a:p>
          <a:p>
            <a:r>
              <a:rPr lang="en-US" baseline="0" dirty="0"/>
              <a:t>Clutch-allow engine to develop power by engaging &amp; disengaging</a:t>
            </a:r>
          </a:p>
          <a:p>
            <a:r>
              <a:rPr lang="en-US" baseline="0" dirty="0"/>
              <a:t>Gearbox- Torque multiplier</a:t>
            </a:r>
          </a:p>
          <a:p>
            <a:r>
              <a:rPr lang="en-US" baseline="0" dirty="0"/>
              <a:t>Propeller shaft-Transmit the power from one angle to another angle or one plane to another plane</a:t>
            </a:r>
          </a:p>
          <a:p>
            <a:r>
              <a:rPr lang="en-US" baseline="0" dirty="0"/>
              <a:t>Front and rear axle:  To carry the load and the direction control</a:t>
            </a:r>
          </a:p>
          <a:p>
            <a:r>
              <a:rPr lang="en-US" baseline="0" dirty="0"/>
              <a:t>Power connects from axle to chassis is thru suspension- which is nothing but  a Hotchkiss drive</a:t>
            </a:r>
          </a:p>
          <a:p>
            <a:r>
              <a:rPr lang="en-US" baseline="0" dirty="0"/>
              <a:t>Steering- direction control</a:t>
            </a:r>
          </a:p>
          <a:p>
            <a:r>
              <a:rPr lang="en-US" baseline="0" dirty="0"/>
              <a:t>Suspension – ride comfort(shouldn’t transfer road shocks to the vehicle)</a:t>
            </a:r>
          </a:p>
          <a:p>
            <a:r>
              <a:rPr lang="en-US" baseline="0" dirty="0"/>
              <a:t>Brake- safety, decelerate the vehicle</a:t>
            </a:r>
          </a:p>
          <a:p>
            <a:r>
              <a:rPr lang="en-US" baseline="0" dirty="0"/>
              <a:t>Frame</a:t>
            </a:r>
          </a:p>
          <a:p>
            <a:r>
              <a:rPr lang="en-US" baseline="0" dirty="0" err="1"/>
              <a:t>Tyres</a:t>
            </a:r>
            <a:r>
              <a:rPr lang="en-US" baseline="0" dirty="0"/>
              <a:t>- For transportation</a:t>
            </a:r>
          </a:p>
          <a:p>
            <a:endParaRPr lang="en-US" baseline="0" dirty="0"/>
          </a:p>
          <a:p>
            <a:r>
              <a:rPr lang="en-US" baseline="0" dirty="0"/>
              <a:t>Frame - </a:t>
            </a:r>
          </a:p>
        </p:txBody>
      </p:sp>
      <p:sp>
        <p:nvSpPr>
          <p:cNvPr id="4" name="Slide Number Placeholder 3"/>
          <p:cNvSpPr>
            <a:spLocks noGrp="1"/>
          </p:cNvSpPr>
          <p:nvPr>
            <p:ph type="sldNum" sz="quarter" idx="10"/>
          </p:nvPr>
        </p:nvSpPr>
        <p:spPr/>
        <p:txBody>
          <a:bodyPr/>
          <a:lstStyle/>
          <a:p>
            <a:fld id="{AE8B1D94-E25D-4704-AFAC-A2968BB86E79}" type="slidenum">
              <a:rPr lang="en-US" smtClean="0"/>
              <a:t>55</a:t>
            </a:fld>
            <a:endParaRPr lang="en-US"/>
          </a:p>
        </p:txBody>
      </p:sp>
    </p:spTree>
    <p:extLst>
      <p:ext uri="{BB962C8B-B14F-4D97-AF65-F5344CB8AC3E}">
        <p14:creationId xmlns:p14="http://schemas.microsoft.com/office/powerpoint/2010/main" val="34220550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are externa</a:t>
            </a:r>
            <a:r>
              <a:rPr lang="en-US" baseline="0" dirty="0"/>
              <a:t>l combustion engine?</a:t>
            </a:r>
          </a:p>
          <a:p>
            <a:r>
              <a:rPr lang="en-US" baseline="0" dirty="0"/>
              <a:t>Compression ignition and spark ignition</a:t>
            </a:r>
          </a:p>
          <a:p>
            <a:r>
              <a:rPr lang="en-US" baseline="0" dirty="0"/>
              <a:t>H series engine-140-160 bar pressure and peak firing temperature 1200-1400 degree centigrade</a:t>
            </a:r>
          </a:p>
          <a:p>
            <a:r>
              <a:rPr lang="en-US" baseline="0" dirty="0"/>
              <a:t>What is cc? Cubic capacity</a:t>
            </a:r>
          </a:p>
          <a:p>
            <a:r>
              <a:rPr lang="en-US" baseline="0" dirty="0"/>
              <a:t>What is the volume of your engine?</a:t>
            </a:r>
          </a:p>
          <a:p>
            <a:r>
              <a:rPr lang="en-US" baseline="0" dirty="0"/>
              <a:t>5.7L for H engine and A4 engine- 5.3 L and H4 engine -3.8L</a:t>
            </a:r>
          </a:p>
          <a:p>
            <a:r>
              <a:rPr lang="en-US" baseline="0" dirty="0"/>
              <a:t>Formula for calculating cc(volume) is Pie(3.14)/4 d2h - bore X stroke length : H engine -104X113 mm, A series engine - 112X135</a:t>
            </a:r>
          </a:p>
          <a:p>
            <a:r>
              <a:rPr lang="en-US" baseline="0" dirty="0"/>
              <a:t>By using the above formula you will get the cc for one cylinder then multiply with no. of cylinders post which you will get for H4 or H6 based on the cylinders.</a:t>
            </a:r>
          </a:p>
          <a:p>
            <a:r>
              <a:rPr lang="en-US" baseline="0" dirty="0"/>
              <a:t>Ask the team to calculate the cc for H4 or A4 engine as an activity</a:t>
            </a:r>
            <a:endParaRPr lang="en-US" dirty="0"/>
          </a:p>
        </p:txBody>
      </p:sp>
      <p:sp>
        <p:nvSpPr>
          <p:cNvPr id="4" name="Slide Number Placeholder 3"/>
          <p:cNvSpPr>
            <a:spLocks noGrp="1"/>
          </p:cNvSpPr>
          <p:nvPr>
            <p:ph type="sldNum" sz="quarter" idx="10"/>
          </p:nvPr>
        </p:nvSpPr>
        <p:spPr/>
        <p:txBody>
          <a:bodyPr/>
          <a:lstStyle/>
          <a:p>
            <a:fld id="{AE8B1D94-E25D-4704-AFAC-A2968BB86E79}" type="slidenum">
              <a:rPr lang="en-US" smtClean="0"/>
              <a:t>57</a:t>
            </a:fld>
            <a:endParaRPr lang="en-US"/>
          </a:p>
        </p:txBody>
      </p:sp>
    </p:spTree>
    <p:extLst>
      <p:ext uri="{BB962C8B-B14F-4D97-AF65-F5344CB8AC3E}">
        <p14:creationId xmlns:p14="http://schemas.microsoft.com/office/powerpoint/2010/main" val="57417763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pm types? </a:t>
            </a:r>
          </a:p>
          <a:p>
            <a:r>
              <a:rPr lang="en-US" dirty="0"/>
              <a:t>High</a:t>
            </a:r>
            <a:r>
              <a:rPr lang="en-US" baseline="0" dirty="0"/>
              <a:t> – 2600- at this rpm or above this the fuel cut off will off- hence no fuel supply</a:t>
            </a:r>
            <a:r>
              <a:rPr lang="en-US" dirty="0"/>
              <a:t>,</a:t>
            </a:r>
          </a:p>
          <a:p>
            <a:r>
              <a:rPr lang="en-US" dirty="0"/>
              <a:t>Low, cranking</a:t>
            </a:r>
          </a:p>
          <a:p>
            <a:r>
              <a:rPr lang="en-US" dirty="0" err="1"/>
              <a:t>Upto</a:t>
            </a:r>
            <a:r>
              <a:rPr lang="en-US" dirty="0"/>
              <a:t> 3500 is</a:t>
            </a:r>
            <a:r>
              <a:rPr lang="en-US" baseline="0" dirty="0"/>
              <a:t> engine rpm speed but for our safety we have kept this limit. If the speed exceeds more than this then, we call it as engine </a:t>
            </a:r>
            <a:r>
              <a:rPr lang="en-US" baseline="0" dirty="0" err="1"/>
              <a:t>overspeed</a:t>
            </a:r>
            <a:r>
              <a:rPr lang="en-US" baseline="0" dirty="0"/>
              <a:t> and during situations like this the components like cam shaft, valves, tappets </a:t>
            </a:r>
            <a:r>
              <a:rPr lang="en-US" baseline="0" dirty="0" err="1"/>
              <a:t>ect</a:t>
            </a:r>
            <a:r>
              <a:rPr lang="en-US" baseline="0" dirty="0"/>
              <a:t>., will get failure and thus the warranty will not be applicable in cases like this.</a:t>
            </a:r>
            <a:endParaRPr lang="en-US" dirty="0"/>
          </a:p>
        </p:txBody>
      </p:sp>
      <p:sp>
        <p:nvSpPr>
          <p:cNvPr id="4" name="Slide Number Placeholder 3"/>
          <p:cNvSpPr>
            <a:spLocks noGrp="1"/>
          </p:cNvSpPr>
          <p:nvPr>
            <p:ph type="sldNum" sz="quarter" idx="10"/>
          </p:nvPr>
        </p:nvSpPr>
        <p:spPr/>
        <p:txBody>
          <a:bodyPr/>
          <a:lstStyle/>
          <a:p>
            <a:fld id="{AE8B1D94-E25D-4704-AFAC-A2968BB86E79}" type="slidenum">
              <a:rPr lang="en-US" smtClean="0"/>
              <a:t>59</a:t>
            </a:fld>
            <a:endParaRPr lang="en-US"/>
          </a:p>
        </p:txBody>
      </p:sp>
    </p:spTree>
    <p:extLst>
      <p:ext uri="{BB962C8B-B14F-4D97-AF65-F5344CB8AC3E}">
        <p14:creationId xmlns:p14="http://schemas.microsoft.com/office/powerpoint/2010/main" val="353632046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ste gate will</a:t>
            </a:r>
            <a:r>
              <a:rPr lang="en-US" baseline="0" dirty="0"/>
              <a:t> be open in normal conditions whereas in hilly applications and overload conditions it will be closed.</a:t>
            </a:r>
            <a:endParaRPr lang="en-US" dirty="0"/>
          </a:p>
        </p:txBody>
      </p:sp>
      <p:sp>
        <p:nvSpPr>
          <p:cNvPr id="4" name="Slide Number Placeholder 3"/>
          <p:cNvSpPr>
            <a:spLocks noGrp="1"/>
          </p:cNvSpPr>
          <p:nvPr>
            <p:ph type="sldNum" sz="quarter" idx="10"/>
          </p:nvPr>
        </p:nvSpPr>
        <p:spPr/>
        <p:txBody>
          <a:bodyPr/>
          <a:lstStyle/>
          <a:p>
            <a:fld id="{AE8B1D94-E25D-4704-AFAC-A2968BB86E79}" type="slidenum">
              <a:rPr lang="en-US" smtClean="0"/>
              <a:t>60</a:t>
            </a:fld>
            <a:endParaRPr lang="en-US"/>
          </a:p>
        </p:txBody>
      </p:sp>
    </p:spTree>
    <p:extLst>
      <p:ext uri="{BB962C8B-B14F-4D97-AF65-F5344CB8AC3E}">
        <p14:creationId xmlns:p14="http://schemas.microsoft.com/office/powerpoint/2010/main" val="278036496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bestos</a:t>
            </a:r>
            <a:r>
              <a:rPr lang="en-US" baseline="0" dirty="0"/>
              <a:t> is not used all over </a:t>
            </a:r>
            <a:r>
              <a:rPr lang="en-US" baseline="0" dirty="0" err="1"/>
              <a:t>india</a:t>
            </a:r>
            <a:endParaRPr lang="en-US" baseline="0" dirty="0"/>
          </a:p>
          <a:p>
            <a:r>
              <a:rPr lang="en-US" baseline="0" dirty="0"/>
              <a:t>Organic is used in HHPT – for more grip</a:t>
            </a:r>
          </a:p>
          <a:p>
            <a:r>
              <a:rPr lang="en-US" baseline="0" dirty="0"/>
              <a:t>Ceramic clutch  </a:t>
            </a:r>
          </a:p>
          <a:p>
            <a:r>
              <a:rPr lang="en-US" baseline="0" dirty="0"/>
              <a:t>IPU- no setting no maintenance, brake play and clutch play is eliminated now </a:t>
            </a:r>
          </a:p>
          <a:p>
            <a:endParaRPr lang="en-US" baseline="0" dirty="0"/>
          </a:p>
        </p:txBody>
      </p:sp>
      <p:sp>
        <p:nvSpPr>
          <p:cNvPr id="4" name="Slide Number Placeholder 3"/>
          <p:cNvSpPr>
            <a:spLocks noGrp="1"/>
          </p:cNvSpPr>
          <p:nvPr>
            <p:ph type="sldNum" sz="quarter" idx="10"/>
          </p:nvPr>
        </p:nvSpPr>
        <p:spPr/>
        <p:txBody>
          <a:bodyPr/>
          <a:lstStyle/>
          <a:p>
            <a:fld id="{AE8B1D94-E25D-4704-AFAC-A2968BB86E79}" type="slidenum">
              <a:rPr lang="en-US" smtClean="0"/>
              <a:t>61</a:t>
            </a:fld>
            <a:endParaRPr lang="en-US"/>
          </a:p>
        </p:txBody>
      </p:sp>
    </p:spTree>
    <p:extLst>
      <p:ext uri="{BB962C8B-B14F-4D97-AF65-F5344CB8AC3E}">
        <p14:creationId xmlns:p14="http://schemas.microsoft.com/office/powerpoint/2010/main" val="311059783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fully floating</a:t>
            </a:r>
            <a:r>
              <a:rPr lang="en-US" baseline="0" dirty="0"/>
              <a:t> axle, the vertical load acts on the casing not on the shaft, only the twisting force will be acting on the shaft</a:t>
            </a:r>
          </a:p>
          <a:p>
            <a:r>
              <a:rPr lang="en-US" baseline="0" dirty="0"/>
              <a:t>In a semi floating axle, the vertical load acts on the axle/sha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21686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a:t>
            </a:r>
            <a:r>
              <a:rPr lang="en-US" baseline="0" dirty="0"/>
              <a:t> few question to the team like what happens without differential?</a:t>
            </a:r>
          </a:p>
          <a:p>
            <a:r>
              <a:rPr lang="en-US" baseline="0" dirty="0"/>
              <a:t>Couldn’t take turns, if he takes a turn without differential then the vehicle will skid and leads to accident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872077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AM</a:t>
            </a:r>
            <a:r>
              <a:rPr lang="en-US" baseline="0" dirty="0"/>
              <a:t> is American axle manufacturer which is added in BSVI</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268525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61272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38435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43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IN" altLang="en-US" dirty="0"/>
              <a:t>Cable Shift Gear available in – all Captain Tipper, </a:t>
            </a:r>
            <a:endParaRPr lang="en-US" altLang="en-US" dirty="0"/>
          </a:p>
          <a:p>
            <a:pPr eaLnBrk="1" hangingPunct="1">
              <a:spcBef>
                <a:spcPct val="0"/>
              </a:spcBef>
            </a:pPr>
            <a:r>
              <a:rPr lang="en-US" altLang="en-US" dirty="0"/>
              <a:t>What is Elliot type and reverse Elliot type?</a:t>
            </a:r>
          </a:p>
          <a:p>
            <a:pPr eaLnBrk="1" hangingPunct="1">
              <a:spcBef>
                <a:spcPct val="0"/>
              </a:spcBef>
            </a:pPr>
            <a:r>
              <a:rPr lang="en-US" altLang="en-US" dirty="0"/>
              <a:t>Inside</a:t>
            </a:r>
            <a:r>
              <a:rPr lang="en-US" altLang="en-US" baseline="0" dirty="0"/>
              <a:t> the stub axle the beam gets fixed, whereas in Elliot type its vice versa.</a:t>
            </a:r>
          </a:p>
          <a:p>
            <a:pPr eaLnBrk="1" hangingPunct="1">
              <a:spcBef>
                <a:spcPct val="0"/>
              </a:spcBef>
            </a:pPr>
            <a:endParaRPr lang="en-US" altLang="en-US" baseline="0" dirty="0"/>
          </a:p>
          <a:p>
            <a:pPr eaLnBrk="1" hangingPunct="1">
              <a:spcBef>
                <a:spcPct val="0"/>
              </a:spcBef>
            </a:pPr>
            <a:r>
              <a:rPr lang="en-US" altLang="en-US" baseline="0" dirty="0"/>
              <a:t>Most of us use reverse Elliot because the beam thickness is more than the stub axle hence if any damage happens in reverse Elliot only stub axle gets  damaged and beam remains safe. Hence we go with reverse Elliot as the cost of the beam is too high in comparison with the stub axle</a:t>
            </a:r>
            <a:endParaRPr lang="en-US" altLang="en-US" dirty="0"/>
          </a:p>
        </p:txBody>
      </p:sp>
      <p:sp>
        <p:nvSpPr>
          <p:cNvPr id="1443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58861B0-F1A7-4D00-B81B-D112C8BB8A45}" type="slidenum">
              <a:rPr lang="en-US" altLang="en-US" smtClean="0"/>
              <a:pPr fontAlgn="base">
                <a:spcBef>
                  <a:spcPct val="0"/>
                </a:spcBef>
                <a:spcAft>
                  <a:spcPct val="0"/>
                </a:spcAft>
              </a:pPr>
              <a:t>70</a:t>
            </a:fld>
            <a:endParaRPr lang="en-US" altLang="en-US"/>
          </a:p>
        </p:txBody>
      </p:sp>
    </p:spTree>
    <p:extLst>
      <p:ext uri="{BB962C8B-B14F-4D97-AF65-F5344CB8AC3E}">
        <p14:creationId xmlns:p14="http://schemas.microsoft.com/office/powerpoint/2010/main" val="115360351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25270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913438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92422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615520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054977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pper ended suspension one</a:t>
            </a:r>
            <a:r>
              <a:rPr lang="en-US" baseline="0" dirty="0"/>
              <a:t> side fixed and the other side flexible such that able to withstand more load</a:t>
            </a:r>
            <a:endParaRPr lang="en-US" dirty="0"/>
          </a:p>
        </p:txBody>
      </p:sp>
      <p:sp>
        <p:nvSpPr>
          <p:cNvPr id="4" name="Slide Number Placeholder 3"/>
          <p:cNvSpPr>
            <a:spLocks noGrp="1"/>
          </p:cNvSpPr>
          <p:nvPr>
            <p:ph type="sldNum" sz="quarter" idx="10"/>
          </p:nvPr>
        </p:nvSpPr>
        <p:spPr/>
        <p:txBody>
          <a:bodyPr/>
          <a:lstStyle/>
          <a:p>
            <a:fld id="{AE8B1D94-E25D-4704-AFAC-A2968BB86E79}" type="slidenum">
              <a:rPr lang="en-US" smtClean="0"/>
              <a:t>77</a:t>
            </a:fld>
            <a:endParaRPr lang="en-US"/>
          </a:p>
        </p:txBody>
      </p:sp>
    </p:spTree>
    <p:extLst>
      <p:ext uri="{BB962C8B-B14F-4D97-AF65-F5344CB8AC3E}">
        <p14:creationId xmlns:p14="http://schemas.microsoft.com/office/powerpoint/2010/main" val="110849971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orking of ABS: when it will work?</a:t>
            </a:r>
          </a:p>
          <a:p>
            <a:r>
              <a:rPr lang="en-US" dirty="0"/>
              <a:t>-When you apply a sudden or panic brake then only ABS will work. Also it will work only</a:t>
            </a:r>
            <a:r>
              <a:rPr lang="en-US" baseline="0" dirty="0"/>
              <a:t> when the speed of the vehicle is more than 10KMPH if it is less than that it will not work.</a:t>
            </a:r>
            <a:endParaRPr lang="en-US" dirty="0"/>
          </a:p>
          <a:p>
            <a:r>
              <a:rPr lang="en-US" dirty="0"/>
              <a:t>-Modulator valve will take the signal from the sensor-0.8</a:t>
            </a:r>
            <a:r>
              <a:rPr lang="en-US" baseline="0" dirty="0"/>
              <a:t> to 0.9 and will reduce the gap inside the chamber </a:t>
            </a:r>
          </a:p>
          <a:p>
            <a:r>
              <a:rPr lang="en-US" baseline="0" dirty="0"/>
              <a:t>-Retarder, is an optional feature for the customer. It is an add on.</a:t>
            </a:r>
          </a:p>
          <a:p>
            <a:r>
              <a:rPr lang="en-US" baseline="0" dirty="0"/>
              <a:t>What is the benefit of Retarder?</a:t>
            </a:r>
          </a:p>
          <a:p>
            <a:r>
              <a:rPr lang="en-US" baseline="0" dirty="0"/>
              <a:t>-It will increase the life of the </a:t>
            </a:r>
            <a:r>
              <a:rPr lang="en-US" baseline="0" dirty="0" err="1"/>
              <a:t>tyre</a:t>
            </a:r>
            <a:r>
              <a:rPr lang="en-US" baseline="0" dirty="0"/>
              <a:t> and the life of the brake components. Because the retarder brake control the speed at the propeller shaft itself due to eddy current law.</a:t>
            </a:r>
          </a:p>
          <a:p>
            <a:endParaRPr lang="en-US" baseline="0" dirty="0"/>
          </a:p>
          <a:p>
            <a:r>
              <a:rPr lang="en-US" baseline="0" dirty="0"/>
              <a:t>This engine brake is available in only A4 engine as exhaust brake alone can’t help to reduce the speed</a:t>
            </a:r>
            <a:endParaRPr lang="en-US" dirty="0"/>
          </a:p>
        </p:txBody>
      </p:sp>
      <p:sp>
        <p:nvSpPr>
          <p:cNvPr id="4" name="Slide Number Placeholder 3"/>
          <p:cNvSpPr>
            <a:spLocks noGrp="1"/>
          </p:cNvSpPr>
          <p:nvPr>
            <p:ph type="sldNum" sz="quarter" idx="10"/>
          </p:nvPr>
        </p:nvSpPr>
        <p:spPr/>
        <p:txBody>
          <a:bodyPr/>
          <a:lstStyle/>
          <a:p>
            <a:fld id="{AE8B1D94-E25D-4704-AFAC-A2968BB86E79}" type="slidenum">
              <a:rPr lang="en-US" smtClean="0"/>
              <a:t>79</a:t>
            </a:fld>
            <a:endParaRPr lang="en-US"/>
          </a:p>
        </p:txBody>
      </p:sp>
    </p:spTree>
    <p:extLst>
      <p:ext uri="{BB962C8B-B14F-4D97-AF65-F5344CB8AC3E}">
        <p14:creationId xmlns:p14="http://schemas.microsoft.com/office/powerpoint/2010/main" val="71672577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921541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84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IN" altLang="en-US"/>
              <a:t> </a:t>
            </a:r>
            <a:endParaRPr lang="en-US" altLang="en-US"/>
          </a:p>
        </p:txBody>
      </p:sp>
      <p:sp>
        <p:nvSpPr>
          <p:cNvPr id="14848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BC923B36-3A60-4E42-A703-C9532047287A}" type="slidenum">
              <a:rPr lang="en-US" altLang="en-US" smtClean="0"/>
              <a:pPr fontAlgn="base">
                <a:spcBef>
                  <a:spcPct val="0"/>
                </a:spcBef>
                <a:spcAft>
                  <a:spcPct val="0"/>
                </a:spcAft>
              </a:pPr>
              <a:t>82</a:t>
            </a:fld>
            <a:endParaRPr lang="en-US" altLang="en-US"/>
          </a:p>
        </p:txBody>
      </p:sp>
    </p:spTree>
    <p:extLst>
      <p:ext uri="{BB962C8B-B14F-4D97-AF65-F5344CB8AC3E}">
        <p14:creationId xmlns:p14="http://schemas.microsoft.com/office/powerpoint/2010/main" val="2927349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201655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ypes of tipping: Front end, underbody side</a:t>
            </a:r>
            <a:r>
              <a:rPr lang="en-US" baseline="0" dirty="0"/>
              <a:t> body.</a:t>
            </a:r>
          </a:p>
          <a:p>
            <a:r>
              <a:rPr lang="en-US" baseline="0" dirty="0"/>
              <a:t>Which one is better?</a:t>
            </a:r>
          </a:p>
          <a:p>
            <a:pPr marL="171450" indent="-171450">
              <a:buFontTx/>
              <a:buChar char="-"/>
            </a:pPr>
            <a:r>
              <a:rPr lang="en-US" baseline="0" dirty="0"/>
              <a:t>Leverage will be less </a:t>
            </a:r>
          </a:p>
          <a:p>
            <a:pPr marL="171450" indent="-171450">
              <a:buFontTx/>
              <a:buChar char="-"/>
            </a:pPr>
            <a:r>
              <a:rPr lang="en-US" baseline="0" dirty="0"/>
              <a:t>Supplier is Internal pump hydraulics(IPH) for the pump</a:t>
            </a:r>
          </a:p>
          <a:p>
            <a:pPr marL="171450" indent="-171450">
              <a:buFontTx/>
              <a:buChar char="-"/>
            </a:pPr>
            <a:r>
              <a:rPr lang="en-US" baseline="0" dirty="0"/>
              <a:t>Wipro is also a supplier for pump</a:t>
            </a:r>
          </a:p>
          <a:p>
            <a:pPr marL="171450" indent="-171450">
              <a:buFontTx/>
              <a:buChar char="-"/>
            </a:pPr>
            <a:r>
              <a:rPr lang="en-US" baseline="0" dirty="0"/>
              <a:t>Now, we are providing with AL branding only as per our BSVI polic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374515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il</a:t>
            </a:r>
            <a:r>
              <a:rPr lang="en-US" baseline="0" dirty="0"/>
              <a:t> quantity should be till the mid of the bull eye(The round circle which is visible in the pictur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805635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nefits</a:t>
            </a:r>
            <a:r>
              <a:rPr lang="en-US" baseline="0" dirty="0"/>
              <a:t> of drive maneuvering is that, when a vehicle is getting started from brake conditions then it will not suddenly accelerate from the stop conditions.</a:t>
            </a:r>
            <a:endParaRPr lang="en-US" dirty="0"/>
          </a:p>
        </p:txBody>
      </p:sp>
      <p:sp>
        <p:nvSpPr>
          <p:cNvPr id="4" name="Slide Number Placeholder 3"/>
          <p:cNvSpPr>
            <a:spLocks noGrp="1"/>
          </p:cNvSpPr>
          <p:nvPr>
            <p:ph type="sldNum" sz="quarter" idx="10"/>
          </p:nvPr>
        </p:nvSpPr>
        <p:spPr/>
        <p:txBody>
          <a:bodyPr/>
          <a:lstStyle/>
          <a:p>
            <a:fld id="{AE8B1D94-E25D-4704-AFAC-A2968BB86E79}" type="slidenum">
              <a:rPr lang="en-US" smtClean="0"/>
              <a:t>89</a:t>
            </a:fld>
            <a:endParaRPr lang="en-US"/>
          </a:p>
        </p:txBody>
      </p:sp>
    </p:spTree>
    <p:extLst>
      <p:ext uri="{BB962C8B-B14F-4D97-AF65-F5344CB8AC3E}">
        <p14:creationId xmlns:p14="http://schemas.microsoft.com/office/powerpoint/2010/main" val="335320375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Cambria" panose="02040503050406030204" pitchFamily="18" charset="0"/>
                <a:ea typeface="Cambria" panose="02040503050406030204" pitchFamily="18" charset="0"/>
                <a:cs typeface="+mn-cs"/>
              </a:rPr>
              <a:t>Hub reduction: </a:t>
            </a:r>
            <a:r>
              <a:rPr lang="en-US" sz="1200" b="0" i="0" kern="1200" dirty="0">
                <a:solidFill>
                  <a:schemeClr val="tx1"/>
                </a:solidFill>
                <a:effectLst/>
                <a:latin typeface="Cambria" panose="02040503050406030204" pitchFamily="18" charset="0"/>
                <a:ea typeface="Cambria" panose="02040503050406030204" pitchFamily="18" charset="0"/>
                <a:cs typeface="+mn-cs"/>
              </a:rPr>
              <a:t>A drive axle in a truck or military vehicle (or a rear wheel drive car) provides the final gear reduction from the propeller shaft before transferring the power into the road wheels .This is normally achieved by a pinion and crown wheel gear set. Depending on the number of teeth on the pinion and the crown wheel, revolutions can be typically reduced from 3 to 7 times. This is known as single reduction</a:t>
            </a:r>
          </a:p>
          <a:p>
            <a:endParaRPr lang="en-US" baseline="0" dirty="0">
              <a:latin typeface="Cambria" panose="02040503050406030204" pitchFamily="18" charset="0"/>
              <a:ea typeface="Cambria" panose="02040503050406030204" pitchFamily="18" charset="0"/>
            </a:endParaRPr>
          </a:p>
          <a:p>
            <a:r>
              <a:rPr lang="en-US" baseline="0" dirty="0">
                <a:latin typeface="Cambria" panose="02040503050406030204" pitchFamily="18" charset="0"/>
                <a:ea typeface="Cambria" panose="02040503050406030204" pitchFamily="18" charset="0"/>
              </a:rPr>
              <a:t>How this 7.2 reduction has come?</a:t>
            </a:r>
          </a:p>
          <a:p>
            <a:r>
              <a:rPr lang="en-US" b="1" baseline="0" dirty="0">
                <a:latin typeface="Cambria" panose="02040503050406030204" pitchFamily="18" charset="0"/>
                <a:ea typeface="Cambria" panose="02040503050406030204" pitchFamily="18" charset="0"/>
              </a:rPr>
              <a:t>3.46:1 is the hub end ratio </a:t>
            </a:r>
            <a:r>
              <a:rPr lang="en-US" baseline="0" dirty="0">
                <a:latin typeface="Cambria" panose="02040503050406030204" pitchFamily="18" charset="0"/>
                <a:ea typeface="Cambria" panose="02040503050406030204" pitchFamily="18" charset="0"/>
              </a:rPr>
              <a:t>and at crown wheel pinion ratio is </a:t>
            </a:r>
            <a:r>
              <a:rPr lang="en-US" b="1" baseline="0" dirty="0">
                <a:latin typeface="Cambria" panose="02040503050406030204" pitchFamily="18" charset="0"/>
                <a:ea typeface="Cambria" panose="02040503050406030204" pitchFamily="18" charset="0"/>
              </a:rPr>
              <a:t>2.08</a:t>
            </a:r>
            <a:r>
              <a:rPr lang="en-US" baseline="0" dirty="0">
                <a:latin typeface="Cambria" panose="02040503050406030204" pitchFamily="18" charset="0"/>
                <a:ea typeface="Cambria" panose="02040503050406030204" pitchFamily="18" charset="0"/>
              </a:rPr>
              <a:t> (</a:t>
            </a:r>
            <a:r>
              <a:rPr lang="en-US" baseline="0" dirty="0" err="1">
                <a:latin typeface="Cambria" panose="02040503050406030204" pitchFamily="18" charset="0"/>
                <a:ea typeface="Cambria" panose="02040503050406030204" pitchFamily="18" charset="0"/>
              </a:rPr>
              <a:t>no.of</a:t>
            </a:r>
            <a:r>
              <a:rPr lang="en-US" baseline="0" dirty="0">
                <a:latin typeface="Cambria" panose="02040503050406030204" pitchFamily="18" charset="0"/>
                <a:ea typeface="Cambria" panose="02040503050406030204" pitchFamily="18" charset="0"/>
              </a:rPr>
              <a:t> teeth = 25/12) . Hence, totally </a:t>
            </a:r>
            <a:r>
              <a:rPr lang="en-US" b="1" baseline="0" dirty="0">
                <a:latin typeface="Cambria" panose="02040503050406030204" pitchFamily="18" charset="0"/>
                <a:ea typeface="Cambria" panose="02040503050406030204" pitchFamily="18" charset="0"/>
              </a:rPr>
              <a:t>multiplied together it is 7.2.</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611854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797593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Standard</a:t>
            </a:r>
            <a:r>
              <a:rPr lang="en-IN" baseline="0" dirty="0"/>
              <a:t> </a:t>
            </a:r>
            <a:r>
              <a:rPr lang="en-IN" dirty="0"/>
              <a:t>wheel</a:t>
            </a:r>
            <a:r>
              <a:rPr lang="en-IN" baseline="0" dirty="0"/>
              <a:t> bearings on the DTLA and all other axles.</a:t>
            </a:r>
          </a:p>
          <a:p>
            <a:r>
              <a:rPr lang="en-IN" baseline="0" dirty="0"/>
              <a:t>Option of Unitized for all</a:t>
            </a:r>
          </a:p>
          <a:p>
            <a:r>
              <a:rPr lang="en-IN" baseline="0" dirty="0"/>
              <a:t>Tag axle is the one which is attached to the main axle</a:t>
            </a:r>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A1D01B-6B7A-4271-8598-286E5CCBC9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851116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Please educate drivers &amp; customers accordingly on this feature so that they do not resort to unauthorized modifications on our 3120, 4120/4825 DTLA models.</a:t>
            </a:r>
          </a:p>
          <a:p>
            <a:endParaRPr lang="en-US" sz="12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110ECD-31DE-4A9A-AEE0-3DC1D8A997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224858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Please educate drivers &amp; customers accordingly on this feature so that they do not resort to unauthorized modifications on our 3120, 4120/4825 DTLA models.</a:t>
            </a:r>
          </a:p>
          <a:p>
            <a:endParaRPr lang="en-US" sz="12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110ECD-31DE-4A9A-AEE0-3DC1D8A997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25451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12023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76311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109BB-E3E2-4DEF-9C82-041ED52172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03022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11.xml"/><Relationship Id="rId4" Type="http://schemas.openxmlformats.org/officeDocument/2006/relationships/image" Target="../media/image7.emf"/></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12.xml"/><Relationship Id="rId4" Type="http://schemas.openxmlformats.org/officeDocument/2006/relationships/image" Target="../media/image7.emf"/></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9.xml"/><Relationship Id="rId1" Type="http://schemas.openxmlformats.org/officeDocument/2006/relationships/tags" Target="../tags/tag13.xml"/><Relationship Id="rId4" Type="http://schemas.openxmlformats.org/officeDocument/2006/relationships/image" Target="../media/image7.emf"/></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9.xml"/><Relationship Id="rId1" Type="http://schemas.openxmlformats.org/officeDocument/2006/relationships/tags" Target="../tags/tag14.xml"/><Relationship Id="rId4" Type="http://schemas.openxmlformats.org/officeDocument/2006/relationships/image" Target="../media/image7.emf"/></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3.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3.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oleObject" Target="../embeddings/oleObject7.bin"/><Relationship Id="rId1" Type="http://schemas.openxmlformats.org/officeDocument/2006/relationships/slideMaster" Target="../slideMasters/slideMaster13.xml"/><Relationship Id="rId5" Type="http://schemas.openxmlformats.org/officeDocument/2006/relationships/image" Target="../media/image10.png"/><Relationship Id="rId4" Type="http://schemas.openxmlformats.org/officeDocument/2006/relationships/image" Target="../media/image9.jpe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7.xml"/><Relationship Id="rId1" Type="http://schemas.openxmlformats.org/officeDocument/2006/relationships/tags" Target="../tags/tag24.xml"/><Relationship Id="rId4" Type="http://schemas.openxmlformats.org/officeDocument/2006/relationships/image" Target="../media/image7.emf"/></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7.xml"/><Relationship Id="rId1" Type="http://schemas.openxmlformats.org/officeDocument/2006/relationships/tags" Target="../tags/tag25.xml"/><Relationship Id="rId4" Type="http://schemas.openxmlformats.org/officeDocument/2006/relationships/image" Target="../media/image7.emf"/></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4.xml"/><Relationship Id="rId4" Type="http://schemas.openxmlformats.org/officeDocument/2006/relationships/image" Target="../media/image7.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5.xml"/><Relationship Id="rId4" Type="http://schemas.openxmlformats.org/officeDocument/2006/relationships/image" Target="../media/image7.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6.xml"/><Relationship Id="rId4" Type="http://schemas.openxmlformats.org/officeDocument/2006/relationships/image" Target="../media/image7.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7.xml"/><Relationship Id="rId4" Type="http://schemas.openxmlformats.org/officeDocument/2006/relationships/image" Target="../media/image7.emf"/></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g91f7f3216c_0_77"/>
          <p:cNvSpPr/>
          <p:nvPr/>
        </p:nvSpPr>
        <p:spPr>
          <a:xfrm rot="5400000">
            <a:off x="10000400" y="673"/>
            <a:ext cx="2191600" cy="2191600"/>
          </a:xfrm>
          <a:prstGeom prst="diagStripe">
            <a:avLst>
              <a:gd name="adj" fmla="val 0"/>
            </a:avLst>
          </a:prstGeom>
          <a:solidFill>
            <a:schemeClr val="lt1">
              <a:alpha val="3030"/>
            </a:schemeClr>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11" name="Google Shape;11;g91f7f3216c_0_77"/>
          <p:cNvGrpSpPr/>
          <p:nvPr/>
        </p:nvGrpSpPr>
        <p:grpSpPr>
          <a:xfrm>
            <a:off x="1" y="654"/>
            <a:ext cx="6871607" cy="6845865"/>
            <a:chOff x="0" y="75"/>
            <a:chExt cx="5153705" cy="5152950"/>
          </a:xfrm>
        </p:grpSpPr>
        <p:sp>
          <p:nvSpPr>
            <p:cNvPr id="12" name="Google Shape;12;g91f7f3216c_0_77"/>
            <p:cNvSpPr/>
            <p:nvPr/>
          </p:nvSpPr>
          <p:spPr>
            <a:xfrm rot="-5400000">
              <a:off x="455" y="-225"/>
              <a:ext cx="5152800" cy="5153700"/>
            </a:xfrm>
            <a:prstGeom prst="diagStripe">
              <a:avLst>
                <a:gd name="adj" fmla="val 50000"/>
              </a:avLst>
            </a:prstGeom>
            <a:solidFill>
              <a:schemeClr val="lt1">
                <a:alpha val="303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 name="Google Shape;13;g91f7f3216c_0_77"/>
            <p:cNvSpPr/>
            <p:nvPr/>
          </p:nvSpPr>
          <p:spPr>
            <a:xfrm rot="-5400000">
              <a:off x="150" y="1145825"/>
              <a:ext cx="3996600" cy="3996900"/>
            </a:xfrm>
            <a:prstGeom prst="diagStripe">
              <a:avLst>
                <a:gd name="adj" fmla="val 58774"/>
              </a:avLst>
            </a:prstGeom>
            <a:solidFill>
              <a:schemeClr val="lt1">
                <a:alpha val="303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 name="Google Shape;14;g91f7f3216c_0_77"/>
            <p:cNvSpPr/>
            <p:nvPr/>
          </p:nvSpPr>
          <p:spPr>
            <a:xfrm rot="-5400000">
              <a:off x="1646" y="-75"/>
              <a:ext cx="2299800" cy="2300100"/>
            </a:xfrm>
            <a:prstGeom prst="diagStripe">
              <a:avLst>
                <a:gd name="adj" fmla="val 50000"/>
              </a:avLst>
            </a:prstGeom>
            <a:solidFill>
              <a:schemeClr val="accent1"/>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 name="Google Shape;15;g91f7f3216c_0_77"/>
            <p:cNvSpPr/>
            <p:nvPr/>
          </p:nvSpPr>
          <p:spPr>
            <a:xfrm flipH="1">
              <a:off x="652821" y="590035"/>
              <a:ext cx="2300100" cy="2299800"/>
            </a:xfrm>
            <a:prstGeom prst="diagStripe">
              <a:avLst>
                <a:gd name="adj" fmla="val 50000"/>
              </a:avLst>
            </a:prstGeom>
            <a:solidFill>
              <a:schemeClr val="lt2"/>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16" name="Google Shape;16;g91f7f3216c_0_77"/>
          <p:cNvSpPr txBox="1">
            <a:spLocks noGrp="1"/>
          </p:cNvSpPr>
          <p:nvPr>
            <p:ph type="ctrTitle"/>
          </p:nvPr>
        </p:nvSpPr>
        <p:spPr>
          <a:xfrm>
            <a:off x="4716200" y="2104533"/>
            <a:ext cx="6690000" cy="2105200"/>
          </a:xfrm>
          <a:prstGeom prst="rect">
            <a:avLst/>
          </a:prstGeom>
        </p:spPr>
        <p:txBody>
          <a:bodyPr spcFirstLastPara="1" wrap="square" lIns="91425" tIns="91425" rIns="91425" bIns="91425" anchor="t" anchorCtr="0">
            <a:noAutofit/>
          </a:bodyPr>
          <a:lstStyle>
            <a:lvl1pPr lvl="0">
              <a:spcBef>
                <a:spcPts val="0"/>
              </a:spcBef>
              <a:spcAft>
                <a:spcPts val="0"/>
              </a:spcAft>
              <a:buSzPts val="4000"/>
              <a:buNone/>
              <a:defRPr sz="5333"/>
            </a:lvl1pPr>
            <a:lvl2pPr lvl="1">
              <a:spcBef>
                <a:spcPts val="0"/>
              </a:spcBef>
              <a:spcAft>
                <a:spcPts val="0"/>
              </a:spcAft>
              <a:buSzPts val="4000"/>
              <a:buNone/>
              <a:defRPr sz="5333"/>
            </a:lvl2pPr>
            <a:lvl3pPr lvl="2">
              <a:spcBef>
                <a:spcPts val="0"/>
              </a:spcBef>
              <a:spcAft>
                <a:spcPts val="0"/>
              </a:spcAft>
              <a:buSzPts val="4000"/>
              <a:buNone/>
              <a:defRPr sz="5333"/>
            </a:lvl3pPr>
            <a:lvl4pPr lvl="3">
              <a:spcBef>
                <a:spcPts val="0"/>
              </a:spcBef>
              <a:spcAft>
                <a:spcPts val="0"/>
              </a:spcAft>
              <a:buSzPts val="4000"/>
              <a:buNone/>
              <a:defRPr sz="5333"/>
            </a:lvl4pPr>
            <a:lvl5pPr lvl="4">
              <a:spcBef>
                <a:spcPts val="0"/>
              </a:spcBef>
              <a:spcAft>
                <a:spcPts val="0"/>
              </a:spcAft>
              <a:buSzPts val="4000"/>
              <a:buNone/>
              <a:defRPr sz="5333"/>
            </a:lvl5pPr>
            <a:lvl6pPr lvl="5">
              <a:spcBef>
                <a:spcPts val="0"/>
              </a:spcBef>
              <a:spcAft>
                <a:spcPts val="0"/>
              </a:spcAft>
              <a:buSzPts val="4000"/>
              <a:buNone/>
              <a:defRPr sz="5333"/>
            </a:lvl6pPr>
            <a:lvl7pPr lvl="6">
              <a:spcBef>
                <a:spcPts val="0"/>
              </a:spcBef>
              <a:spcAft>
                <a:spcPts val="0"/>
              </a:spcAft>
              <a:buSzPts val="4000"/>
              <a:buNone/>
              <a:defRPr sz="5333"/>
            </a:lvl7pPr>
            <a:lvl8pPr lvl="7">
              <a:spcBef>
                <a:spcPts val="0"/>
              </a:spcBef>
              <a:spcAft>
                <a:spcPts val="0"/>
              </a:spcAft>
              <a:buSzPts val="4000"/>
              <a:buNone/>
              <a:defRPr sz="5333"/>
            </a:lvl8pPr>
            <a:lvl9pPr lvl="8">
              <a:spcBef>
                <a:spcPts val="0"/>
              </a:spcBef>
              <a:spcAft>
                <a:spcPts val="0"/>
              </a:spcAft>
              <a:buSzPts val="4000"/>
              <a:buNone/>
              <a:defRPr sz="5333"/>
            </a:lvl9pPr>
          </a:lstStyle>
          <a:p>
            <a:endParaRPr/>
          </a:p>
        </p:txBody>
      </p:sp>
      <p:sp>
        <p:nvSpPr>
          <p:cNvPr id="17" name="Google Shape;17;g91f7f3216c_0_77"/>
          <p:cNvSpPr txBox="1">
            <a:spLocks noGrp="1"/>
          </p:cNvSpPr>
          <p:nvPr>
            <p:ph type="subTitle" idx="1"/>
          </p:nvPr>
        </p:nvSpPr>
        <p:spPr>
          <a:xfrm>
            <a:off x="6778600" y="5233233"/>
            <a:ext cx="4627600" cy="674800"/>
          </a:xfrm>
          <a:prstGeom prst="rect">
            <a:avLst/>
          </a:prstGeom>
        </p:spPr>
        <p:txBody>
          <a:bodyPr spcFirstLastPara="1" wrap="square" lIns="91425" tIns="91425" rIns="91425" bIns="91425" anchor="t" anchorCtr="0">
            <a:noAutofit/>
          </a:bodyPr>
          <a:lstStyle>
            <a:lvl1pPr lvl="0">
              <a:lnSpc>
                <a:spcPct val="100000"/>
              </a:lnSpc>
              <a:spcBef>
                <a:spcPts val="0"/>
              </a:spcBef>
              <a:spcAft>
                <a:spcPts val="0"/>
              </a:spcAft>
              <a:buSzPts val="1300"/>
              <a:buNone/>
              <a:defRPr/>
            </a:lvl1pPr>
            <a:lvl2pPr lvl="1">
              <a:lnSpc>
                <a:spcPct val="100000"/>
              </a:lnSpc>
              <a:spcBef>
                <a:spcPts val="0"/>
              </a:spcBef>
              <a:spcAft>
                <a:spcPts val="0"/>
              </a:spcAft>
              <a:buSzPts val="1300"/>
              <a:buNone/>
              <a:defRPr sz="1733"/>
            </a:lvl2pPr>
            <a:lvl3pPr lvl="2">
              <a:lnSpc>
                <a:spcPct val="100000"/>
              </a:lnSpc>
              <a:spcBef>
                <a:spcPts val="0"/>
              </a:spcBef>
              <a:spcAft>
                <a:spcPts val="0"/>
              </a:spcAft>
              <a:buSzPts val="1300"/>
              <a:buNone/>
              <a:defRPr sz="1733"/>
            </a:lvl3pPr>
            <a:lvl4pPr lvl="3">
              <a:lnSpc>
                <a:spcPct val="100000"/>
              </a:lnSpc>
              <a:spcBef>
                <a:spcPts val="0"/>
              </a:spcBef>
              <a:spcAft>
                <a:spcPts val="0"/>
              </a:spcAft>
              <a:buSzPts val="1300"/>
              <a:buNone/>
              <a:defRPr sz="1733"/>
            </a:lvl4pPr>
            <a:lvl5pPr lvl="4">
              <a:lnSpc>
                <a:spcPct val="100000"/>
              </a:lnSpc>
              <a:spcBef>
                <a:spcPts val="0"/>
              </a:spcBef>
              <a:spcAft>
                <a:spcPts val="0"/>
              </a:spcAft>
              <a:buSzPts val="1300"/>
              <a:buNone/>
              <a:defRPr sz="1733"/>
            </a:lvl5pPr>
            <a:lvl6pPr lvl="5">
              <a:lnSpc>
                <a:spcPct val="100000"/>
              </a:lnSpc>
              <a:spcBef>
                <a:spcPts val="0"/>
              </a:spcBef>
              <a:spcAft>
                <a:spcPts val="0"/>
              </a:spcAft>
              <a:buSzPts val="1300"/>
              <a:buNone/>
              <a:defRPr sz="1733"/>
            </a:lvl6pPr>
            <a:lvl7pPr lvl="6">
              <a:lnSpc>
                <a:spcPct val="100000"/>
              </a:lnSpc>
              <a:spcBef>
                <a:spcPts val="0"/>
              </a:spcBef>
              <a:spcAft>
                <a:spcPts val="0"/>
              </a:spcAft>
              <a:buSzPts val="1300"/>
              <a:buNone/>
              <a:defRPr sz="1733"/>
            </a:lvl7pPr>
            <a:lvl8pPr lvl="7">
              <a:lnSpc>
                <a:spcPct val="100000"/>
              </a:lnSpc>
              <a:spcBef>
                <a:spcPts val="0"/>
              </a:spcBef>
              <a:spcAft>
                <a:spcPts val="0"/>
              </a:spcAft>
              <a:buSzPts val="1300"/>
              <a:buNone/>
              <a:defRPr sz="1733"/>
            </a:lvl8pPr>
            <a:lvl9pPr lvl="8">
              <a:lnSpc>
                <a:spcPct val="100000"/>
              </a:lnSpc>
              <a:spcBef>
                <a:spcPts val="0"/>
              </a:spcBef>
              <a:spcAft>
                <a:spcPts val="0"/>
              </a:spcAft>
              <a:buSzPts val="1300"/>
              <a:buNone/>
              <a:defRPr sz="1733"/>
            </a:lvl9pPr>
          </a:lstStyle>
          <a:p>
            <a:endParaRPr/>
          </a:p>
        </p:txBody>
      </p:sp>
      <p:sp>
        <p:nvSpPr>
          <p:cNvPr id="18" name="Google Shape;18;g91f7f3216c_0_7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defTabSz="1219170">
              <a:buClr>
                <a:srgbClr val="000000"/>
              </a:buClr>
            </a:pPr>
            <a:fld id="{00000000-1234-1234-1234-123412341234}" type="slidenum">
              <a:rPr lang="en-GB" kern="0" smtClean="0">
                <a:solidFill>
                  <a:srgbClr val="FFFFFF"/>
                </a:solidFill>
              </a:rPr>
              <a:pPr defTabSz="1219170">
                <a:buClr>
                  <a:srgbClr val="000000"/>
                </a:buClr>
              </a:pPr>
              <a:t>‹#›</a:t>
            </a:fld>
            <a:endParaRPr lang="en-GB" kern="0">
              <a:solidFill>
                <a:srgbClr val="FFFFFF"/>
              </a:solidFill>
            </a:endParaRPr>
          </a:p>
        </p:txBody>
      </p:sp>
    </p:spTree>
    <p:extLst>
      <p:ext uri="{BB962C8B-B14F-4D97-AF65-F5344CB8AC3E}">
        <p14:creationId xmlns:p14="http://schemas.microsoft.com/office/powerpoint/2010/main" val="21436804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105"/>
        <p:cNvGrpSpPr/>
        <p:nvPr/>
      </p:nvGrpSpPr>
      <p:grpSpPr>
        <a:xfrm>
          <a:off x="0" y="0"/>
          <a:ext cx="0" cy="0"/>
          <a:chOff x="0" y="0"/>
          <a:chExt cx="0" cy="0"/>
        </a:xfrm>
      </p:grpSpPr>
      <p:grpSp>
        <p:nvGrpSpPr>
          <p:cNvPr id="106" name="Google Shape;106;g91f7f3216c_0_173"/>
          <p:cNvGrpSpPr/>
          <p:nvPr/>
        </p:nvGrpSpPr>
        <p:grpSpPr>
          <a:xfrm>
            <a:off x="5875200" y="1"/>
            <a:ext cx="6316800" cy="6857420"/>
            <a:chOff x="4406400" y="0"/>
            <a:chExt cx="4737600" cy="5143065"/>
          </a:xfrm>
        </p:grpSpPr>
        <p:sp>
          <p:nvSpPr>
            <p:cNvPr id="107" name="Google Shape;107;g91f7f3216c_0_173"/>
            <p:cNvSpPr/>
            <p:nvPr/>
          </p:nvSpPr>
          <p:spPr>
            <a:xfrm rot="5400000">
              <a:off x="4408200" y="-1800"/>
              <a:ext cx="4734000" cy="4737600"/>
            </a:xfrm>
            <a:prstGeom prst="diagStripe">
              <a:avLst>
                <a:gd name="adj" fmla="val 49469"/>
              </a:avLst>
            </a:prstGeom>
            <a:solidFill>
              <a:schemeClr val="lt1">
                <a:alpha val="346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8" name="Google Shape;108;g91f7f3216c_0_173"/>
            <p:cNvSpPr/>
            <p:nvPr/>
          </p:nvSpPr>
          <p:spPr>
            <a:xfrm rot="5400000">
              <a:off x="4841125" y="5700"/>
              <a:ext cx="4298100" cy="4286700"/>
            </a:xfrm>
            <a:prstGeom prst="diagStripe">
              <a:avLst>
                <a:gd name="adj" fmla="val 0"/>
              </a:avLst>
            </a:prstGeom>
            <a:solidFill>
              <a:schemeClr val="lt1">
                <a:alpha val="346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9" name="Google Shape;109;g91f7f3216c_0_173"/>
            <p:cNvSpPr/>
            <p:nvPr/>
          </p:nvSpPr>
          <p:spPr>
            <a:xfrm rot="-5400000">
              <a:off x="5618399" y="1236468"/>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0" name="Google Shape;110;g91f7f3216c_0_173"/>
            <p:cNvSpPr/>
            <p:nvPr/>
          </p:nvSpPr>
          <p:spPr>
            <a:xfrm flipH="1">
              <a:off x="5849857" y="1443956"/>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1" name="Google Shape;111;g91f7f3216c_0_173"/>
            <p:cNvSpPr/>
            <p:nvPr/>
          </p:nvSpPr>
          <p:spPr>
            <a:xfrm rot="-5400000">
              <a:off x="5987081" y="2469465"/>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2" name="Google Shape;112;g91f7f3216c_0_173"/>
            <p:cNvSpPr/>
            <p:nvPr/>
          </p:nvSpPr>
          <p:spPr>
            <a:xfrm flipH="1">
              <a:off x="6222115" y="2676953"/>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3" name="Google Shape;113;g91f7f3216c_0_173"/>
            <p:cNvSpPr/>
            <p:nvPr/>
          </p:nvSpPr>
          <p:spPr>
            <a:xfrm rot="-5400000">
              <a:off x="6675341" y="1862018"/>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4" name="Google Shape;114;g91f7f3216c_0_173"/>
            <p:cNvSpPr/>
            <p:nvPr/>
          </p:nvSpPr>
          <p:spPr>
            <a:xfrm flipH="1">
              <a:off x="6908099" y="2069505"/>
              <a:ext cx="808800" cy="808800"/>
            </a:xfrm>
            <a:prstGeom prst="diagStripe">
              <a:avLst>
                <a:gd name="adj" fmla="val 50000"/>
              </a:avLst>
            </a:prstGeom>
            <a:solidFill>
              <a:schemeClr val="lt2"/>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5" name="Google Shape;115;g91f7f3216c_0_173"/>
            <p:cNvSpPr/>
            <p:nvPr/>
          </p:nvSpPr>
          <p:spPr>
            <a:xfrm rot="-5400000">
              <a:off x="6861141" y="2477810"/>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6" name="Google Shape;116;g91f7f3216c_0_173"/>
            <p:cNvSpPr/>
            <p:nvPr/>
          </p:nvSpPr>
          <p:spPr>
            <a:xfrm flipH="1">
              <a:off x="7965266" y="2692963"/>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7" name="Google Shape;117;g91f7f3216c_0_173"/>
            <p:cNvSpPr/>
            <p:nvPr/>
          </p:nvSpPr>
          <p:spPr>
            <a:xfrm flipH="1">
              <a:off x="8145082" y="3308755"/>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8" name="Google Shape;118;g91f7f3216c_0_173"/>
            <p:cNvSpPr/>
            <p:nvPr/>
          </p:nvSpPr>
          <p:spPr>
            <a:xfrm rot="-5400000">
              <a:off x="7047599" y="3095015"/>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9" name="Google Shape;119;g91f7f3216c_0_173"/>
            <p:cNvSpPr/>
            <p:nvPr/>
          </p:nvSpPr>
          <p:spPr>
            <a:xfrm flipH="1">
              <a:off x="7276649" y="3302502"/>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0" name="Google Shape;120;g91f7f3216c_0_173"/>
            <p:cNvSpPr/>
            <p:nvPr/>
          </p:nvSpPr>
          <p:spPr>
            <a:xfrm rot="-5400000">
              <a:off x="7227414" y="3710807"/>
              <a:ext cx="808800" cy="808800"/>
            </a:xfrm>
            <a:prstGeom prst="diagStripe">
              <a:avLst>
                <a:gd name="adj" fmla="val 50000"/>
              </a:avLst>
            </a:prstGeom>
            <a:solidFill>
              <a:schemeClr val="accent1"/>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1" name="Google Shape;121;g91f7f3216c_0_173"/>
            <p:cNvSpPr/>
            <p:nvPr/>
          </p:nvSpPr>
          <p:spPr>
            <a:xfrm flipH="1">
              <a:off x="7462448" y="3918294"/>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2" name="Google Shape;122;g91f7f3216c_0_173"/>
            <p:cNvSpPr/>
            <p:nvPr/>
          </p:nvSpPr>
          <p:spPr>
            <a:xfrm rot="-5400000">
              <a:off x="8102491" y="3718473"/>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3" name="Google Shape;123;g91f7f3216c_0_173"/>
            <p:cNvSpPr/>
            <p:nvPr/>
          </p:nvSpPr>
          <p:spPr>
            <a:xfrm flipH="1">
              <a:off x="8334533" y="3925960"/>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4" name="Google Shape;124;g91f7f3216c_0_173"/>
            <p:cNvSpPr/>
            <p:nvPr/>
          </p:nvSpPr>
          <p:spPr>
            <a:xfrm rot="-5400000">
              <a:off x="8288290" y="4334265"/>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125" name="Google Shape;125;g91f7f3216c_0_173"/>
          <p:cNvSpPr txBox="1">
            <a:spLocks noGrp="1"/>
          </p:cNvSpPr>
          <p:nvPr>
            <p:ph type="title" hasCustomPrompt="1"/>
          </p:nvPr>
        </p:nvSpPr>
        <p:spPr>
          <a:xfrm>
            <a:off x="1098467" y="1712900"/>
            <a:ext cx="6368000" cy="1734400"/>
          </a:xfrm>
          <a:prstGeom prst="rect">
            <a:avLst/>
          </a:prstGeom>
        </p:spPr>
        <p:txBody>
          <a:bodyPr spcFirstLastPara="1" wrap="square" lIns="91425" tIns="91425" rIns="91425" bIns="91425" anchor="t" anchorCtr="0">
            <a:noAutofit/>
          </a:bodyPr>
          <a:lstStyle>
            <a:lvl1pPr lvl="0">
              <a:spcBef>
                <a:spcPts val="0"/>
              </a:spcBef>
              <a:spcAft>
                <a:spcPts val="0"/>
              </a:spcAft>
              <a:buSzPts val="8000"/>
              <a:buNone/>
              <a:defRPr sz="10666"/>
            </a:lvl1pPr>
            <a:lvl2pPr lvl="1">
              <a:spcBef>
                <a:spcPts val="0"/>
              </a:spcBef>
              <a:spcAft>
                <a:spcPts val="0"/>
              </a:spcAft>
              <a:buSzPts val="8000"/>
              <a:buNone/>
              <a:defRPr sz="10666"/>
            </a:lvl2pPr>
            <a:lvl3pPr lvl="2">
              <a:spcBef>
                <a:spcPts val="0"/>
              </a:spcBef>
              <a:spcAft>
                <a:spcPts val="0"/>
              </a:spcAft>
              <a:buSzPts val="8000"/>
              <a:buNone/>
              <a:defRPr sz="10666"/>
            </a:lvl3pPr>
            <a:lvl4pPr lvl="3">
              <a:spcBef>
                <a:spcPts val="0"/>
              </a:spcBef>
              <a:spcAft>
                <a:spcPts val="0"/>
              </a:spcAft>
              <a:buSzPts val="8000"/>
              <a:buNone/>
              <a:defRPr sz="10666"/>
            </a:lvl4pPr>
            <a:lvl5pPr lvl="4">
              <a:spcBef>
                <a:spcPts val="0"/>
              </a:spcBef>
              <a:spcAft>
                <a:spcPts val="0"/>
              </a:spcAft>
              <a:buSzPts val="8000"/>
              <a:buNone/>
              <a:defRPr sz="10666"/>
            </a:lvl5pPr>
            <a:lvl6pPr lvl="5">
              <a:spcBef>
                <a:spcPts val="0"/>
              </a:spcBef>
              <a:spcAft>
                <a:spcPts val="0"/>
              </a:spcAft>
              <a:buSzPts val="8000"/>
              <a:buNone/>
              <a:defRPr sz="10666"/>
            </a:lvl6pPr>
            <a:lvl7pPr lvl="6">
              <a:spcBef>
                <a:spcPts val="0"/>
              </a:spcBef>
              <a:spcAft>
                <a:spcPts val="0"/>
              </a:spcAft>
              <a:buSzPts val="8000"/>
              <a:buNone/>
              <a:defRPr sz="10666"/>
            </a:lvl7pPr>
            <a:lvl8pPr lvl="7">
              <a:spcBef>
                <a:spcPts val="0"/>
              </a:spcBef>
              <a:spcAft>
                <a:spcPts val="0"/>
              </a:spcAft>
              <a:buSzPts val="8000"/>
              <a:buNone/>
              <a:defRPr sz="10666"/>
            </a:lvl8pPr>
            <a:lvl9pPr lvl="8">
              <a:spcBef>
                <a:spcPts val="0"/>
              </a:spcBef>
              <a:spcAft>
                <a:spcPts val="0"/>
              </a:spcAft>
              <a:buSzPts val="8000"/>
              <a:buNone/>
              <a:defRPr sz="10666"/>
            </a:lvl9pPr>
          </a:lstStyle>
          <a:p>
            <a:r>
              <a:t>xx%</a:t>
            </a:r>
          </a:p>
        </p:txBody>
      </p:sp>
      <p:sp>
        <p:nvSpPr>
          <p:cNvPr id="126" name="Google Shape;126;g91f7f3216c_0_173"/>
          <p:cNvSpPr txBox="1">
            <a:spLocks noGrp="1"/>
          </p:cNvSpPr>
          <p:nvPr>
            <p:ph type="body" idx="1"/>
          </p:nvPr>
        </p:nvSpPr>
        <p:spPr>
          <a:xfrm>
            <a:off x="1098467" y="3524165"/>
            <a:ext cx="6368000" cy="1625200"/>
          </a:xfrm>
          <a:prstGeom prst="rect">
            <a:avLst/>
          </a:prstGeom>
        </p:spPr>
        <p:txBody>
          <a:bodyPr spcFirstLastPara="1" wrap="square" lIns="91425" tIns="91425" rIns="91425" bIns="91425" anchor="t" anchorCtr="0">
            <a:noAutofit/>
          </a:bodyPr>
          <a:lstStyle>
            <a:lvl1pPr marL="609585" lvl="0" indent="-414856">
              <a:spcBef>
                <a:spcPts val="0"/>
              </a:spcBef>
              <a:spcAft>
                <a:spcPts val="0"/>
              </a:spcAft>
              <a:buSzPts val="1300"/>
              <a:buChar char="●"/>
              <a:defRPr/>
            </a:lvl1pPr>
            <a:lvl2pPr marL="1219170" lvl="1" indent="-397923">
              <a:spcBef>
                <a:spcPts val="2133"/>
              </a:spcBef>
              <a:spcAft>
                <a:spcPts val="0"/>
              </a:spcAft>
              <a:buSzPts val="1100"/>
              <a:buChar char="○"/>
              <a:defRPr/>
            </a:lvl2pPr>
            <a:lvl3pPr marL="1828754" lvl="2" indent="-397923">
              <a:spcBef>
                <a:spcPts val="2133"/>
              </a:spcBef>
              <a:spcAft>
                <a:spcPts val="0"/>
              </a:spcAft>
              <a:buSzPts val="1100"/>
              <a:buChar char="■"/>
              <a:defRPr/>
            </a:lvl3pPr>
            <a:lvl4pPr marL="2438339" lvl="3" indent="-397923">
              <a:spcBef>
                <a:spcPts val="2133"/>
              </a:spcBef>
              <a:spcAft>
                <a:spcPts val="0"/>
              </a:spcAft>
              <a:buSzPts val="1100"/>
              <a:buChar char="●"/>
              <a:defRPr/>
            </a:lvl4pPr>
            <a:lvl5pPr marL="3047924" lvl="4" indent="-397923">
              <a:spcBef>
                <a:spcPts val="2133"/>
              </a:spcBef>
              <a:spcAft>
                <a:spcPts val="0"/>
              </a:spcAft>
              <a:buSzPts val="1100"/>
              <a:buChar char="○"/>
              <a:defRPr/>
            </a:lvl5pPr>
            <a:lvl6pPr marL="3657509" lvl="5" indent="-397923">
              <a:spcBef>
                <a:spcPts val="2133"/>
              </a:spcBef>
              <a:spcAft>
                <a:spcPts val="0"/>
              </a:spcAft>
              <a:buSzPts val="1100"/>
              <a:buChar char="■"/>
              <a:defRPr/>
            </a:lvl6pPr>
            <a:lvl7pPr marL="4267093" lvl="6" indent="-397923">
              <a:spcBef>
                <a:spcPts val="2133"/>
              </a:spcBef>
              <a:spcAft>
                <a:spcPts val="0"/>
              </a:spcAft>
              <a:buSzPts val="1100"/>
              <a:buChar char="●"/>
              <a:defRPr/>
            </a:lvl7pPr>
            <a:lvl8pPr marL="4876678" lvl="7" indent="-397923">
              <a:spcBef>
                <a:spcPts val="2133"/>
              </a:spcBef>
              <a:spcAft>
                <a:spcPts val="0"/>
              </a:spcAft>
              <a:buSzPts val="1100"/>
              <a:buChar char="○"/>
              <a:defRPr/>
            </a:lvl8pPr>
            <a:lvl9pPr marL="5486263" lvl="8" indent="-397923">
              <a:spcBef>
                <a:spcPts val="2133"/>
              </a:spcBef>
              <a:spcAft>
                <a:spcPts val="2133"/>
              </a:spcAft>
              <a:buSzPts val="1100"/>
              <a:buChar char="■"/>
              <a:defRPr/>
            </a:lvl9pPr>
          </a:lstStyle>
          <a:p>
            <a:endParaRPr/>
          </a:p>
        </p:txBody>
      </p:sp>
      <p:sp>
        <p:nvSpPr>
          <p:cNvPr id="127" name="Google Shape;127;g91f7f3216c_0_17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defTabSz="1219170">
              <a:buClr>
                <a:srgbClr val="000000"/>
              </a:buClr>
            </a:pPr>
            <a:fld id="{00000000-1234-1234-1234-123412341234}" type="slidenum">
              <a:rPr lang="en-GB" kern="0" smtClean="0">
                <a:solidFill>
                  <a:srgbClr val="FFFFFF"/>
                </a:solidFill>
              </a:rPr>
              <a:pPr defTabSz="1219170">
                <a:buClr>
                  <a:srgbClr val="000000"/>
                </a:buClr>
              </a:pPr>
              <a:t>‹#›</a:t>
            </a:fld>
            <a:endParaRPr lang="en-GB" kern="0">
              <a:solidFill>
                <a:srgbClr val="FFFFFF"/>
              </a:solidFill>
            </a:endParaRPr>
          </a:p>
        </p:txBody>
      </p:sp>
    </p:spTree>
    <p:extLst>
      <p:ext uri="{BB962C8B-B14F-4D97-AF65-F5344CB8AC3E}">
        <p14:creationId xmlns:p14="http://schemas.microsoft.com/office/powerpoint/2010/main" val="18275270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normAutofit/>
          </a:bodyPr>
          <a:lstStyle>
            <a:lvl1pPr>
              <a:defRPr sz="3467"/>
            </a:lvl1pPr>
            <a:lvl2pPr>
              <a:defRPr sz="2667"/>
            </a:lvl2pPr>
            <a:lvl3pPr>
              <a:defRPr sz="2400"/>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fld id="{C8B62E72-270E-4D7C-A599-2683C17CC5FC}" type="datetimeFigureOut">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2/1/2022</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F970A214-5104-48F5-8D84-09594AFA1104}" type="slidenum">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72533008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Rectangle: Top Corners Snipped 6"/>
          <p:cNvSpPr/>
          <p:nvPr userDrawn="1"/>
        </p:nvSpPr>
        <p:spPr>
          <a:xfrm rot="10800000">
            <a:off x="609600" y="0"/>
            <a:ext cx="9144000" cy="1026584"/>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1" name="Content Placeholder 10"/>
          <p:cNvSpPr>
            <a:spLocks noGrp="1"/>
          </p:cNvSpPr>
          <p:nvPr>
            <p:ph sz="quarter" idx="11"/>
          </p:nvPr>
        </p:nvSpPr>
        <p:spPr>
          <a:xfrm>
            <a:off x="711201" y="-6932"/>
            <a:ext cx="9042399" cy="1034451"/>
          </a:xfrm>
        </p:spPr>
        <p:txBody>
          <a:bodyPr anchor="ctr">
            <a:normAutofit/>
          </a:bodyPr>
          <a:lstStyle>
            <a:lvl1pPr marL="0" indent="0">
              <a:buNone/>
              <a:defRPr sz="4267" b="0" i="0">
                <a:latin typeface="Century Gothic" panose="020B0502020202020204" pitchFamily="34" charset="0"/>
              </a:defRPr>
            </a:lvl1pPr>
          </a:lstStyle>
          <a:p>
            <a:pPr lvl="0"/>
            <a:endParaRPr lang="en-US" dirty="0"/>
          </a:p>
        </p:txBody>
      </p:sp>
    </p:spTree>
    <p:extLst>
      <p:ext uri="{BB962C8B-B14F-4D97-AF65-F5344CB8AC3E}">
        <p14:creationId xmlns:p14="http://schemas.microsoft.com/office/powerpoint/2010/main" val="396557315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965325"/>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65325"/>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fld id="{789458C6-2302-41DA-8C2F-9F46DF7A5E15}" type="datetimeFigureOut">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2/1/2022</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4"/>
          <p:cNvSpPr>
            <a:spLocks noGrp="1"/>
          </p:cNvSpPr>
          <p:nvPr>
            <p:ph type="ftr" sz="quarter" idx="11"/>
          </p:nvPr>
        </p:nvSpPr>
        <p:spPr/>
        <p:txBody>
          <a:bodyPr/>
          <a:lstStyle>
            <a:lvl1pPr>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5"/>
          <p:cNvSpPr>
            <a:spLocks noGrp="1"/>
          </p:cNvSpPr>
          <p:nvPr>
            <p:ph type="sldNum" sz="quarter" idx="12"/>
          </p:nvPr>
        </p:nvSpPr>
        <p:spPr/>
        <p:txBody>
          <a:bodyPr/>
          <a:lstStyle>
            <a:lvl1pPr>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A4E2FE4-294A-4870-ABB0-DB3FA88BBDBA}" type="slidenum">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59982911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07968" y="64788"/>
            <a:ext cx="9969633" cy="1039091"/>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303755" y="1535113"/>
            <a:ext cx="5250459" cy="639763"/>
          </a:xfrm>
        </p:spPr>
        <p:txBody>
          <a:bodyPr anchor="b"/>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1303755" y="2174875"/>
            <a:ext cx="5250459" cy="3951288"/>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746384" y="1535113"/>
            <a:ext cx="5252521" cy="639763"/>
          </a:xfrm>
        </p:spPr>
        <p:txBody>
          <a:bodyPr anchor="b"/>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746384" y="2174875"/>
            <a:ext cx="5252521" cy="3951288"/>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fld id="{1E4EDBA0-E3CE-4832-A697-E95D3EC00679}" type="datetimeFigureOut">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2/1/2022</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4"/>
          <p:cNvSpPr>
            <a:spLocks noGrp="1"/>
          </p:cNvSpPr>
          <p:nvPr>
            <p:ph type="ftr" sz="quarter" idx="11"/>
          </p:nvPr>
        </p:nvSpPr>
        <p:spPr/>
        <p:txBody>
          <a:bodyPr/>
          <a:lstStyle>
            <a:lvl1pPr>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9" name="Slide Number Placeholder 5"/>
          <p:cNvSpPr>
            <a:spLocks noGrp="1"/>
          </p:cNvSpPr>
          <p:nvPr>
            <p:ph type="sldNum" sz="quarter" idx="12"/>
          </p:nvPr>
        </p:nvSpPr>
        <p:spPr/>
        <p:txBody>
          <a:bodyPr/>
          <a:lstStyle>
            <a:lvl1pPr>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9ACCB01F-F40A-4226-80BC-B0DB40511D5A}" type="slidenum">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89022184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fld id="{4AC350D4-2422-4C6E-8DC6-D41D4BA79641}" type="datetimeFigureOut">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2/1/2022</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4"/>
          <p:cNvSpPr>
            <a:spLocks noGrp="1"/>
          </p:cNvSpPr>
          <p:nvPr>
            <p:ph type="ftr" sz="quarter" idx="11"/>
          </p:nvPr>
        </p:nvSpPr>
        <p:spPr/>
        <p:txBody>
          <a:bodyPr/>
          <a:lstStyle>
            <a:lvl1pPr>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Slide Number Placeholder 5"/>
          <p:cNvSpPr>
            <a:spLocks noGrp="1"/>
          </p:cNvSpPr>
          <p:nvPr>
            <p:ph type="sldNum" sz="quarter" idx="12"/>
          </p:nvPr>
        </p:nvSpPr>
        <p:spPr/>
        <p:txBody>
          <a:bodyPr/>
          <a:lstStyle>
            <a:lvl1pPr>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8BA6E13C-C11D-40E1-A817-81859103A0CB}" type="slidenum">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23062462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fld id="{37C3B0DF-D875-4904-98F5-44F1DF66E47E}" type="datetimeFigureOut">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2/1/2022</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4"/>
          <p:cNvSpPr>
            <a:spLocks noGrp="1"/>
          </p:cNvSpPr>
          <p:nvPr>
            <p:ph type="ftr" sz="quarter" idx="11"/>
          </p:nvPr>
        </p:nvSpPr>
        <p:spPr/>
        <p:txBody>
          <a:bodyPr/>
          <a:lstStyle>
            <a:lvl1pPr>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Slide Number Placeholder 5"/>
          <p:cNvSpPr>
            <a:spLocks noGrp="1"/>
          </p:cNvSpPr>
          <p:nvPr>
            <p:ph type="sldNum" sz="quarter" idx="12"/>
          </p:nvPr>
        </p:nvSpPr>
        <p:spPr/>
        <p:txBody>
          <a:bodyPr/>
          <a:lstStyle>
            <a:lvl1pPr>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C7E9870F-0A06-48F7-BAA2-D3DBB90E019B}" type="slidenum">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88096147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22401" y="1334917"/>
            <a:ext cx="3314945" cy="960372"/>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1335678"/>
            <a:ext cx="6815667" cy="4837284"/>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429241" y="2295288"/>
            <a:ext cx="3314945" cy="3876912"/>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fld id="{61E8C692-8663-409F-8028-979E2F9D87E3}" type="datetimeFigureOut">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2/1/2022</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4"/>
          <p:cNvSpPr>
            <a:spLocks noGrp="1"/>
          </p:cNvSpPr>
          <p:nvPr>
            <p:ph type="ftr" sz="quarter" idx="11"/>
          </p:nvPr>
        </p:nvSpPr>
        <p:spPr/>
        <p:txBody>
          <a:bodyPr/>
          <a:lstStyle>
            <a:lvl1pPr>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5"/>
          <p:cNvSpPr>
            <a:spLocks noGrp="1"/>
          </p:cNvSpPr>
          <p:nvPr>
            <p:ph type="sldNum" sz="quarter" idx="12"/>
          </p:nvPr>
        </p:nvSpPr>
        <p:spPr/>
        <p:txBody>
          <a:bodyPr/>
          <a:lstStyle>
            <a:lvl1pPr>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E4B49359-96A5-4887-A985-101E0E6B0ACB}" type="slidenum">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12500059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1498599"/>
            <a:ext cx="7315200" cy="3228975"/>
          </a:xfr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fld id="{F23F0D54-8ECD-4F65-88C4-69A0371B8730}" type="datetimeFigureOut">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2/1/2022</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4"/>
          <p:cNvSpPr>
            <a:spLocks noGrp="1"/>
          </p:cNvSpPr>
          <p:nvPr>
            <p:ph type="ftr" sz="quarter" idx="11"/>
          </p:nvPr>
        </p:nvSpPr>
        <p:spPr/>
        <p:txBody>
          <a:bodyPr/>
          <a:lstStyle>
            <a:lvl1pPr>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5"/>
          <p:cNvSpPr>
            <a:spLocks noGrp="1"/>
          </p:cNvSpPr>
          <p:nvPr>
            <p:ph type="sldNum" sz="quarter" idx="12"/>
          </p:nvPr>
        </p:nvSpPr>
        <p:spPr/>
        <p:txBody>
          <a:bodyPr/>
          <a:lstStyle>
            <a:lvl1pPr>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F238A125-ADE3-4298-A3EC-4E965133E742}" type="slidenum">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79932918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fld id="{796198B1-FE28-43AB-95FC-0558CBBCEBCA}" type="datetimeFigureOut">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2/1/2022</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266EA64-FCEE-444F-A4C8-F6A0C31895F1}" type="slidenum">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79740308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1307433"/>
            <a:ext cx="2743200" cy="4826636"/>
          </a:xfrm>
        </p:spPr>
        <p:txBody>
          <a:bodyPr vert="eaVert"/>
          <a:lstStyle>
            <a:lvl1pPr>
              <a:defRPr sz="4267"/>
            </a:lvl1pPr>
          </a:lstStyle>
          <a:p>
            <a:r>
              <a:rPr lang="en-US" dirty="0"/>
              <a:t>Click to edit Master title style</a:t>
            </a:r>
          </a:p>
        </p:txBody>
      </p:sp>
      <p:sp>
        <p:nvSpPr>
          <p:cNvPr id="3" name="Vertical Text Placeholder 2"/>
          <p:cNvSpPr>
            <a:spLocks noGrp="1"/>
          </p:cNvSpPr>
          <p:nvPr>
            <p:ph type="body" orient="vert" idx="1"/>
          </p:nvPr>
        </p:nvSpPr>
        <p:spPr>
          <a:xfrm>
            <a:off x="609600" y="1307433"/>
            <a:ext cx="8026400" cy="4826636"/>
          </a:xfrm>
        </p:spPr>
        <p:txBody>
          <a:bodyPr vert="eaVert">
            <a:normAutofit/>
          </a:bodyPr>
          <a:lstStyle>
            <a:lvl1pPr>
              <a:defRPr sz="3200"/>
            </a:lvl1pPr>
            <a:lvl2pPr>
              <a:defRPr sz="2667"/>
            </a:lvl2pPr>
            <a:lvl3pPr>
              <a:defRPr sz="2400"/>
            </a:lvl3pPr>
            <a:lvl4pPr>
              <a:defRPr sz="2133"/>
            </a:lvl4pPr>
            <a:lvl5pPr>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fld id="{4FEC949A-9C87-4F8A-A68C-603EDAA29CC7}" type="datetimeFigureOut">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2/1/2022</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476325-CF51-4C41-8957-65D4A35CD978}" type="slidenum">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652556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28"/>
        <p:cNvGrpSpPr/>
        <p:nvPr/>
      </p:nvGrpSpPr>
      <p:grpSpPr>
        <a:xfrm>
          <a:off x="0" y="0"/>
          <a:ext cx="0" cy="0"/>
          <a:chOff x="0" y="0"/>
          <a:chExt cx="0" cy="0"/>
        </a:xfrm>
      </p:grpSpPr>
      <p:sp>
        <p:nvSpPr>
          <p:cNvPr id="129" name="Google Shape;129;g91f7f3216c_0_19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defTabSz="1219170">
              <a:buClr>
                <a:srgbClr val="000000"/>
              </a:buClr>
            </a:pPr>
            <a:fld id="{00000000-1234-1234-1234-123412341234}" type="slidenum">
              <a:rPr lang="en-GB" kern="0" smtClean="0">
                <a:solidFill>
                  <a:srgbClr val="FFFFFF"/>
                </a:solidFill>
              </a:rPr>
              <a:pPr defTabSz="1219170">
                <a:buClr>
                  <a:srgbClr val="000000"/>
                </a:buClr>
              </a:pPr>
              <a:t>‹#›</a:t>
            </a:fld>
            <a:endParaRPr lang="en-GB" kern="0">
              <a:solidFill>
                <a:srgbClr val="FFFFFF"/>
              </a:solidFill>
            </a:endParaRPr>
          </a:p>
        </p:txBody>
      </p:sp>
    </p:spTree>
    <p:extLst>
      <p:ext uri="{BB962C8B-B14F-4D97-AF65-F5344CB8AC3E}">
        <p14:creationId xmlns:p14="http://schemas.microsoft.com/office/powerpoint/2010/main" val="395775237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2411307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Heading 1_Title Slide">
    <p:spTree>
      <p:nvGrpSpPr>
        <p:cNvPr id="1" name=""/>
        <p:cNvGrpSpPr/>
        <p:nvPr/>
      </p:nvGrpSpPr>
      <p:grpSpPr>
        <a:xfrm>
          <a:off x="0" y="0"/>
          <a:ext cx="0" cy="0"/>
          <a:chOff x="0" y="0"/>
          <a:chExt cx="0" cy="0"/>
        </a:xfrm>
      </p:grpSpPr>
      <p:grpSp>
        <p:nvGrpSpPr>
          <p:cNvPr id="2" name="Group 7"/>
          <p:cNvGrpSpPr>
            <a:grpSpLocks/>
          </p:cNvGrpSpPr>
          <p:nvPr userDrawn="1"/>
        </p:nvGrpSpPr>
        <p:grpSpPr bwMode="auto">
          <a:xfrm>
            <a:off x="8113184" y="266701"/>
            <a:ext cx="3818467" cy="791633"/>
            <a:chOff x="2863850" y="3078163"/>
            <a:chExt cx="3413126" cy="708026"/>
          </a:xfrm>
        </p:grpSpPr>
        <p:grpSp>
          <p:nvGrpSpPr>
            <p:cNvPr id="3" name="Group 8"/>
            <p:cNvGrpSpPr>
              <a:grpSpLocks/>
            </p:cNvGrpSpPr>
            <p:nvPr/>
          </p:nvGrpSpPr>
          <p:grpSpPr bwMode="auto">
            <a:xfrm>
              <a:off x="4357688" y="3630613"/>
              <a:ext cx="1919288" cy="155576"/>
              <a:chOff x="4357688" y="3630613"/>
              <a:chExt cx="1919288" cy="155576"/>
            </a:xfrm>
          </p:grpSpPr>
          <p:sp>
            <p:nvSpPr>
              <p:cNvPr id="19" name="Freeform 7"/>
              <p:cNvSpPr>
                <a:spLocks noEditPoints="1"/>
              </p:cNvSpPr>
              <p:nvPr/>
            </p:nvSpPr>
            <p:spPr bwMode="auto">
              <a:xfrm>
                <a:off x="4357688" y="3630613"/>
                <a:ext cx="109538" cy="125413"/>
              </a:xfrm>
              <a:custGeom>
                <a:avLst/>
                <a:gdLst>
                  <a:gd name="T0" fmla="*/ 38100 w 69"/>
                  <a:gd name="T1" fmla="*/ 79375 h 79"/>
                  <a:gd name="T2" fmla="*/ 52388 w 69"/>
                  <a:gd name="T3" fmla="*/ 34925 h 79"/>
                  <a:gd name="T4" fmla="*/ 68263 w 69"/>
                  <a:gd name="T5" fmla="*/ 79375 h 79"/>
                  <a:gd name="T6" fmla="*/ 38100 w 69"/>
                  <a:gd name="T7" fmla="*/ 79375 h 79"/>
                  <a:gd name="T8" fmla="*/ 63500 w 69"/>
                  <a:gd name="T9" fmla="*/ 0 h 79"/>
                  <a:gd name="T10" fmla="*/ 44450 w 69"/>
                  <a:gd name="T11" fmla="*/ 0 h 79"/>
                  <a:gd name="T12" fmla="*/ 0 w 69"/>
                  <a:gd name="T13" fmla="*/ 125413 h 79"/>
                  <a:gd name="T14" fmla="*/ 22225 w 69"/>
                  <a:gd name="T15" fmla="*/ 125413 h 79"/>
                  <a:gd name="T16" fmla="*/ 30163 w 69"/>
                  <a:gd name="T17" fmla="*/ 103188 h 79"/>
                  <a:gd name="T18" fmla="*/ 74613 w 69"/>
                  <a:gd name="T19" fmla="*/ 103188 h 79"/>
                  <a:gd name="T20" fmla="*/ 82550 w 69"/>
                  <a:gd name="T21" fmla="*/ 125413 h 79"/>
                  <a:gd name="T22" fmla="*/ 109538 w 69"/>
                  <a:gd name="T23" fmla="*/ 125413 h 79"/>
                  <a:gd name="T24" fmla="*/ 63500 w 69"/>
                  <a:gd name="T25" fmla="*/ 0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9" h="79">
                    <a:moveTo>
                      <a:pt x="24" y="50"/>
                    </a:moveTo>
                    <a:lnTo>
                      <a:pt x="33" y="22"/>
                    </a:lnTo>
                    <a:lnTo>
                      <a:pt x="43" y="50"/>
                    </a:lnTo>
                    <a:lnTo>
                      <a:pt x="24" y="50"/>
                    </a:lnTo>
                    <a:close/>
                    <a:moveTo>
                      <a:pt x="40" y="0"/>
                    </a:moveTo>
                    <a:lnTo>
                      <a:pt x="28" y="0"/>
                    </a:lnTo>
                    <a:lnTo>
                      <a:pt x="0" y="79"/>
                    </a:lnTo>
                    <a:lnTo>
                      <a:pt x="14" y="79"/>
                    </a:lnTo>
                    <a:lnTo>
                      <a:pt x="19" y="65"/>
                    </a:lnTo>
                    <a:lnTo>
                      <a:pt x="47" y="65"/>
                    </a:lnTo>
                    <a:lnTo>
                      <a:pt x="52" y="79"/>
                    </a:lnTo>
                    <a:lnTo>
                      <a:pt x="69" y="79"/>
                    </a:lnTo>
                    <a:lnTo>
                      <a:pt x="40" y="0"/>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0" name="Freeform 8"/>
              <p:cNvSpPr>
                <a:spLocks noEditPoints="1"/>
              </p:cNvSpPr>
              <p:nvPr/>
            </p:nvSpPr>
            <p:spPr bwMode="auto">
              <a:xfrm>
                <a:off x="4473575" y="3660776"/>
                <a:ext cx="76200" cy="95250"/>
              </a:xfrm>
              <a:custGeom>
                <a:avLst/>
                <a:gdLst>
                  <a:gd name="T0" fmla="*/ 49530 w 20"/>
                  <a:gd name="T1" fmla="*/ 68580 h 25"/>
                  <a:gd name="T2" fmla="*/ 34290 w 20"/>
                  <a:gd name="T3" fmla="*/ 76200 h 25"/>
                  <a:gd name="T4" fmla="*/ 19050 w 20"/>
                  <a:gd name="T5" fmla="*/ 64770 h 25"/>
                  <a:gd name="T6" fmla="*/ 34290 w 20"/>
                  <a:gd name="T7" fmla="*/ 53340 h 25"/>
                  <a:gd name="T8" fmla="*/ 49530 w 20"/>
                  <a:gd name="T9" fmla="*/ 53340 h 25"/>
                  <a:gd name="T10" fmla="*/ 49530 w 20"/>
                  <a:gd name="T11" fmla="*/ 60960 h 25"/>
                  <a:gd name="T12" fmla="*/ 49530 w 20"/>
                  <a:gd name="T13" fmla="*/ 68580 h 25"/>
                  <a:gd name="T14" fmla="*/ 76200 w 20"/>
                  <a:gd name="T15" fmla="*/ 34290 h 25"/>
                  <a:gd name="T16" fmla="*/ 34290 w 20"/>
                  <a:gd name="T17" fmla="*/ 0 h 25"/>
                  <a:gd name="T18" fmla="*/ 15240 w 20"/>
                  <a:gd name="T19" fmla="*/ 3810 h 25"/>
                  <a:gd name="T20" fmla="*/ 3810 w 20"/>
                  <a:gd name="T21" fmla="*/ 15240 h 25"/>
                  <a:gd name="T22" fmla="*/ 15240 w 20"/>
                  <a:gd name="T23" fmla="*/ 26670 h 25"/>
                  <a:gd name="T24" fmla="*/ 34290 w 20"/>
                  <a:gd name="T25" fmla="*/ 19050 h 25"/>
                  <a:gd name="T26" fmla="*/ 49530 w 20"/>
                  <a:gd name="T27" fmla="*/ 34290 h 25"/>
                  <a:gd name="T28" fmla="*/ 49530 w 20"/>
                  <a:gd name="T29" fmla="*/ 38100 h 25"/>
                  <a:gd name="T30" fmla="*/ 30480 w 20"/>
                  <a:gd name="T31" fmla="*/ 38100 h 25"/>
                  <a:gd name="T32" fmla="*/ 7620 w 20"/>
                  <a:gd name="T33" fmla="*/ 45720 h 25"/>
                  <a:gd name="T34" fmla="*/ 0 w 20"/>
                  <a:gd name="T35" fmla="*/ 64770 h 25"/>
                  <a:gd name="T36" fmla="*/ 7620 w 20"/>
                  <a:gd name="T37" fmla="*/ 87630 h 25"/>
                  <a:gd name="T38" fmla="*/ 30480 w 20"/>
                  <a:gd name="T39" fmla="*/ 95250 h 25"/>
                  <a:gd name="T40" fmla="*/ 53340 w 20"/>
                  <a:gd name="T41" fmla="*/ 83820 h 25"/>
                  <a:gd name="T42" fmla="*/ 53340 w 20"/>
                  <a:gd name="T43" fmla="*/ 95250 h 25"/>
                  <a:gd name="T44" fmla="*/ 76200 w 20"/>
                  <a:gd name="T45" fmla="*/ 95250 h 25"/>
                  <a:gd name="T46" fmla="*/ 76200 w 20"/>
                  <a:gd name="T47" fmla="*/ 3429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3" y="18"/>
                    </a:moveTo>
                    <a:cubicBezTo>
                      <a:pt x="12" y="19"/>
                      <a:pt x="11" y="20"/>
                      <a:pt x="9" y="20"/>
                    </a:cubicBezTo>
                    <a:cubicBezTo>
                      <a:pt x="7" y="20"/>
                      <a:pt x="5" y="19"/>
                      <a:pt x="5" y="17"/>
                    </a:cubicBezTo>
                    <a:cubicBezTo>
                      <a:pt x="5" y="15"/>
                      <a:pt x="7" y="14"/>
                      <a:pt x="9" y="14"/>
                    </a:cubicBezTo>
                    <a:cubicBezTo>
                      <a:pt x="13" y="14"/>
                      <a:pt x="13" y="14"/>
                      <a:pt x="13" y="14"/>
                    </a:cubicBezTo>
                    <a:cubicBezTo>
                      <a:pt x="13" y="16"/>
                      <a:pt x="13" y="16"/>
                      <a:pt x="13" y="16"/>
                    </a:cubicBezTo>
                    <a:cubicBezTo>
                      <a:pt x="13" y="17"/>
                      <a:pt x="13" y="18"/>
                      <a:pt x="13" y="18"/>
                    </a:cubicBezTo>
                    <a:moveTo>
                      <a:pt x="20" y="9"/>
                    </a:moveTo>
                    <a:cubicBezTo>
                      <a:pt x="20" y="3"/>
                      <a:pt x="16" y="0"/>
                      <a:pt x="9" y="0"/>
                    </a:cubicBezTo>
                    <a:cubicBezTo>
                      <a:pt x="7" y="0"/>
                      <a:pt x="6" y="0"/>
                      <a:pt x="4" y="1"/>
                    </a:cubicBezTo>
                    <a:cubicBezTo>
                      <a:pt x="3" y="1"/>
                      <a:pt x="2" y="2"/>
                      <a:pt x="1" y="4"/>
                    </a:cubicBezTo>
                    <a:cubicBezTo>
                      <a:pt x="4" y="7"/>
                      <a:pt x="4" y="7"/>
                      <a:pt x="4" y="7"/>
                    </a:cubicBezTo>
                    <a:cubicBezTo>
                      <a:pt x="6" y="6"/>
                      <a:pt x="7" y="5"/>
                      <a:pt x="9" y="5"/>
                    </a:cubicBezTo>
                    <a:cubicBezTo>
                      <a:pt x="12" y="5"/>
                      <a:pt x="13" y="7"/>
                      <a:pt x="13" y="9"/>
                    </a:cubicBezTo>
                    <a:cubicBezTo>
                      <a:pt x="13" y="10"/>
                      <a:pt x="13" y="10"/>
                      <a:pt x="13" y="10"/>
                    </a:cubicBezTo>
                    <a:cubicBezTo>
                      <a:pt x="8" y="10"/>
                      <a:pt x="8" y="10"/>
                      <a:pt x="8" y="10"/>
                    </a:cubicBezTo>
                    <a:cubicBezTo>
                      <a:pt x="5" y="10"/>
                      <a:pt x="3" y="11"/>
                      <a:pt x="2" y="12"/>
                    </a:cubicBezTo>
                    <a:cubicBezTo>
                      <a:pt x="0" y="14"/>
                      <a:pt x="0" y="15"/>
                      <a:pt x="0" y="17"/>
                    </a:cubicBezTo>
                    <a:cubicBezTo>
                      <a:pt x="0" y="19"/>
                      <a:pt x="0" y="21"/>
                      <a:pt x="2" y="23"/>
                    </a:cubicBezTo>
                    <a:cubicBezTo>
                      <a:pt x="3" y="24"/>
                      <a:pt x="5" y="25"/>
                      <a:pt x="8" y="25"/>
                    </a:cubicBezTo>
                    <a:cubicBezTo>
                      <a:pt x="10" y="25"/>
                      <a:pt x="12" y="24"/>
                      <a:pt x="14" y="22"/>
                    </a:cubicBezTo>
                    <a:cubicBezTo>
                      <a:pt x="14" y="25"/>
                      <a:pt x="14" y="25"/>
                      <a:pt x="14"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1" name="Freeform 9"/>
              <p:cNvSpPr>
                <a:spLocks noEditPoints="1"/>
              </p:cNvSpPr>
              <p:nvPr/>
            </p:nvSpPr>
            <p:spPr bwMode="auto">
              <a:xfrm>
                <a:off x="4572000" y="3660776"/>
                <a:ext cx="74613" cy="125413"/>
              </a:xfrm>
              <a:custGeom>
                <a:avLst/>
                <a:gdLst>
                  <a:gd name="T0" fmla="*/ 52229 w 20"/>
                  <a:gd name="T1" fmla="*/ 64607 h 33"/>
                  <a:gd name="T2" fmla="*/ 37307 w 20"/>
                  <a:gd name="T3" fmla="*/ 72207 h 33"/>
                  <a:gd name="T4" fmla="*/ 22384 w 20"/>
                  <a:gd name="T5" fmla="*/ 64607 h 33"/>
                  <a:gd name="T6" fmla="*/ 22384 w 20"/>
                  <a:gd name="T7" fmla="*/ 49405 h 33"/>
                  <a:gd name="T8" fmla="*/ 22384 w 20"/>
                  <a:gd name="T9" fmla="*/ 30403 h 33"/>
                  <a:gd name="T10" fmla="*/ 37307 w 20"/>
                  <a:gd name="T11" fmla="*/ 22802 h 33"/>
                  <a:gd name="T12" fmla="*/ 52229 w 20"/>
                  <a:gd name="T13" fmla="*/ 30403 h 33"/>
                  <a:gd name="T14" fmla="*/ 52229 w 20"/>
                  <a:gd name="T15" fmla="*/ 49405 h 33"/>
                  <a:gd name="T16" fmla="*/ 52229 w 20"/>
                  <a:gd name="T17" fmla="*/ 64607 h 33"/>
                  <a:gd name="T18" fmla="*/ 74613 w 20"/>
                  <a:gd name="T19" fmla="*/ 26603 h 33"/>
                  <a:gd name="T20" fmla="*/ 67152 w 20"/>
                  <a:gd name="T21" fmla="*/ 7601 h 33"/>
                  <a:gd name="T22" fmla="*/ 44768 w 20"/>
                  <a:gd name="T23" fmla="*/ 0 h 33"/>
                  <a:gd name="T24" fmla="*/ 22384 w 20"/>
                  <a:gd name="T25" fmla="*/ 11401 h 33"/>
                  <a:gd name="T26" fmla="*/ 22384 w 20"/>
                  <a:gd name="T27" fmla="*/ 0 h 33"/>
                  <a:gd name="T28" fmla="*/ 0 w 20"/>
                  <a:gd name="T29" fmla="*/ 0 h 33"/>
                  <a:gd name="T30" fmla="*/ 0 w 20"/>
                  <a:gd name="T31" fmla="*/ 125413 h 33"/>
                  <a:gd name="T32" fmla="*/ 22384 w 20"/>
                  <a:gd name="T33" fmla="*/ 125413 h 33"/>
                  <a:gd name="T34" fmla="*/ 22384 w 20"/>
                  <a:gd name="T35" fmla="*/ 83609 h 33"/>
                  <a:gd name="T36" fmla="*/ 44768 w 20"/>
                  <a:gd name="T37" fmla="*/ 95010 h 33"/>
                  <a:gd name="T38" fmla="*/ 67152 w 20"/>
                  <a:gd name="T39" fmla="*/ 87409 h 33"/>
                  <a:gd name="T40" fmla="*/ 74613 w 20"/>
                  <a:gd name="T41" fmla="*/ 68407 h 33"/>
                  <a:gd name="T42" fmla="*/ 74613 w 20"/>
                  <a:gd name="T43" fmla="*/ 49405 h 33"/>
                  <a:gd name="T44" fmla="*/ 74613 w 20"/>
                  <a:gd name="T45" fmla="*/ 26603 h 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33">
                    <a:moveTo>
                      <a:pt x="14" y="17"/>
                    </a:moveTo>
                    <a:cubicBezTo>
                      <a:pt x="13" y="19"/>
                      <a:pt x="12" y="19"/>
                      <a:pt x="10" y="19"/>
                    </a:cubicBezTo>
                    <a:cubicBezTo>
                      <a:pt x="8" y="19"/>
                      <a:pt x="7" y="19"/>
                      <a:pt x="6" y="17"/>
                    </a:cubicBezTo>
                    <a:cubicBezTo>
                      <a:pt x="6" y="16"/>
                      <a:pt x="6" y="15"/>
                      <a:pt x="6" y="13"/>
                    </a:cubicBezTo>
                    <a:cubicBezTo>
                      <a:pt x="6" y="10"/>
                      <a:pt x="6" y="9"/>
                      <a:pt x="6" y="8"/>
                    </a:cubicBezTo>
                    <a:cubicBezTo>
                      <a:pt x="7" y="6"/>
                      <a:pt x="8" y="6"/>
                      <a:pt x="10" y="6"/>
                    </a:cubicBezTo>
                    <a:cubicBezTo>
                      <a:pt x="12" y="6"/>
                      <a:pt x="13" y="6"/>
                      <a:pt x="14" y="8"/>
                    </a:cubicBezTo>
                    <a:cubicBezTo>
                      <a:pt x="14" y="9"/>
                      <a:pt x="14" y="10"/>
                      <a:pt x="14" y="13"/>
                    </a:cubicBezTo>
                    <a:cubicBezTo>
                      <a:pt x="14" y="15"/>
                      <a:pt x="14" y="16"/>
                      <a:pt x="14" y="17"/>
                    </a:cubicBezTo>
                    <a:moveTo>
                      <a:pt x="20" y="7"/>
                    </a:moveTo>
                    <a:cubicBezTo>
                      <a:pt x="19" y="5"/>
                      <a:pt x="19" y="3"/>
                      <a:pt x="18" y="2"/>
                    </a:cubicBezTo>
                    <a:cubicBezTo>
                      <a:pt x="16" y="1"/>
                      <a:pt x="14" y="0"/>
                      <a:pt x="12" y="0"/>
                    </a:cubicBezTo>
                    <a:cubicBezTo>
                      <a:pt x="9" y="0"/>
                      <a:pt x="7" y="1"/>
                      <a:pt x="6" y="3"/>
                    </a:cubicBezTo>
                    <a:cubicBezTo>
                      <a:pt x="6" y="0"/>
                      <a:pt x="6" y="0"/>
                      <a:pt x="6" y="0"/>
                    </a:cubicBezTo>
                    <a:cubicBezTo>
                      <a:pt x="0" y="0"/>
                      <a:pt x="0" y="0"/>
                      <a:pt x="0" y="0"/>
                    </a:cubicBezTo>
                    <a:cubicBezTo>
                      <a:pt x="0" y="33"/>
                      <a:pt x="0" y="33"/>
                      <a:pt x="0" y="33"/>
                    </a:cubicBezTo>
                    <a:cubicBezTo>
                      <a:pt x="6" y="33"/>
                      <a:pt x="6" y="33"/>
                      <a:pt x="6" y="33"/>
                    </a:cubicBezTo>
                    <a:cubicBezTo>
                      <a:pt x="6" y="22"/>
                      <a:pt x="6" y="22"/>
                      <a:pt x="6" y="22"/>
                    </a:cubicBezTo>
                    <a:cubicBezTo>
                      <a:pt x="7" y="24"/>
                      <a:pt x="9" y="25"/>
                      <a:pt x="12" y="25"/>
                    </a:cubicBezTo>
                    <a:cubicBezTo>
                      <a:pt x="14" y="25"/>
                      <a:pt x="16" y="24"/>
                      <a:pt x="18" y="23"/>
                    </a:cubicBezTo>
                    <a:cubicBezTo>
                      <a:pt x="19" y="22"/>
                      <a:pt x="19" y="20"/>
                      <a:pt x="20" y="18"/>
                    </a:cubicBezTo>
                    <a:cubicBezTo>
                      <a:pt x="20" y="17"/>
                      <a:pt x="20" y="15"/>
                      <a:pt x="20" y="13"/>
                    </a:cubicBezTo>
                    <a:cubicBezTo>
                      <a:pt x="20" y="10"/>
                      <a:pt x="20" y="8"/>
                      <a:pt x="20" y="7"/>
                    </a:cubicBezTo>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2" name="Freeform 10"/>
              <p:cNvSpPr>
                <a:spLocks/>
              </p:cNvSpPr>
              <p:nvPr/>
            </p:nvSpPr>
            <p:spPr bwMode="auto">
              <a:xfrm>
                <a:off x="4670425" y="3630613"/>
                <a:ext cx="82550" cy="125413"/>
              </a:xfrm>
              <a:custGeom>
                <a:avLst/>
                <a:gdLst>
                  <a:gd name="T0" fmla="*/ 82550 w 52"/>
                  <a:gd name="T1" fmla="*/ 125413 h 79"/>
                  <a:gd name="T2" fmla="*/ 52388 w 52"/>
                  <a:gd name="T3" fmla="*/ 125413 h 79"/>
                  <a:gd name="T4" fmla="*/ 30163 w 52"/>
                  <a:gd name="T5" fmla="*/ 87313 h 79"/>
                  <a:gd name="T6" fmla="*/ 22225 w 52"/>
                  <a:gd name="T7" fmla="*/ 95250 h 79"/>
                  <a:gd name="T8" fmla="*/ 22225 w 52"/>
                  <a:gd name="T9" fmla="*/ 125413 h 79"/>
                  <a:gd name="T10" fmla="*/ 0 w 52"/>
                  <a:gd name="T11" fmla="*/ 125413 h 79"/>
                  <a:gd name="T12" fmla="*/ 0 w 52"/>
                  <a:gd name="T13" fmla="*/ 0 h 79"/>
                  <a:gd name="T14" fmla="*/ 22225 w 52"/>
                  <a:gd name="T15" fmla="*/ 0 h 79"/>
                  <a:gd name="T16" fmla="*/ 22225 w 52"/>
                  <a:gd name="T17" fmla="*/ 68263 h 79"/>
                  <a:gd name="T18" fmla="*/ 52388 w 52"/>
                  <a:gd name="T19" fmla="*/ 30163 h 79"/>
                  <a:gd name="T20" fmla="*/ 77788 w 52"/>
                  <a:gd name="T21" fmla="*/ 30163 h 79"/>
                  <a:gd name="T22" fmla="*/ 44450 w 52"/>
                  <a:gd name="T23" fmla="*/ 68263 h 79"/>
                  <a:gd name="T24" fmla="*/ 82550 w 52"/>
                  <a:gd name="T25" fmla="*/ 125413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2" h="79">
                    <a:moveTo>
                      <a:pt x="52" y="79"/>
                    </a:moveTo>
                    <a:lnTo>
                      <a:pt x="33" y="79"/>
                    </a:lnTo>
                    <a:lnTo>
                      <a:pt x="19" y="55"/>
                    </a:lnTo>
                    <a:lnTo>
                      <a:pt x="14" y="60"/>
                    </a:lnTo>
                    <a:lnTo>
                      <a:pt x="14" y="79"/>
                    </a:lnTo>
                    <a:lnTo>
                      <a:pt x="0" y="79"/>
                    </a:lnTo>
                    <a:lnTo>
                      <a:pt x="0" y="0"/>
                    </a:lnTo>
                    <a:lnTo>
                      <a:pt x="14" y="0"/>
                    </a:lnTo>
                    <a:lnTo>
                      <a:pt x="14" y="43"/>
                    </a:lnTo>
                    <a:lnTo>
                      <a:pt x="33" y="19"/>
                    </a:lnTo>
                    <a:lnTo>
                      <a:pt x="49" y="19"/>
                    </a:lnTo>
                    <a:lnTo>
                      <a:pt x="28" y="43"/>
                    </a:lnTo>
                    <a:lnTo>
                      <a:pt x="52"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3" name="Freeform 11"/>
              <p:cNvSpPr>
                <a:spLocks noEditPoints="1"/>
              </p:cNvSpPr>
              <p:nvPr/>
            </p:nvSpPr>
            <p:spPr bwMode="auto">
              <a:xfrm>
                <a:off x="4767263" y="3630613"/>
                <a:ext cx="23813" cy="125413"/>
              </a:xfrm>
              <a:custGeom>
                <a:avLst/>
                <a:gdLst>
                  <a:gd name="T0" fmla="*/ 23813 w 15"/>
                  <a:gd name="T1" fmla="*/ 15875 h 79"/>
                  <a:gd name="T2" fmla="*/ 0 w 15"/>
                  <a:gd name="T3" fmla="*/ 15875 h 79"/>
                  <a:gd name="T4" fmla="*/ 0 w 15"/>
                  <a:gd name="T5" fmla="*/ 0 h 79"/>
                  <a:gd name="T6" fmla="*/ 23813 w 15"/>
                  <a:gd name="T7" fmla="*/ 0 h 79"/>
                  <a:gd name="T8" fmla="*/ 23813 w 15"/>
                  <a:gd name="T9" fmla="*/ 15875 h 79"/>
                  <a:gd name="T10" fmla="*/ 23813 w 15"/>
                  <a:gd name="T11" fmla="*/ 125413 h 79"/>
                  <a:gd name="T12" fmla="*/ 0 w 15"/>
                  <a:gd name="T13" fmla="*/ 125413 h 79"/>
                  <a:gd name="T14" fmla="*/ 0 w 15"/>
                  <a:gd name="T15" fmla="*/ 30163 h 79"/>
                  <a:gd name="T16" fmla="*/ 23813 w 15"/>
                  <a:gd name="T17" fmla="*/ 30163 h 79"/>
                  <a:gd name="T18" fmla="*/ 23813 w 15"/>
                  <a:gd name="T19" fmla="*/ 125413 h 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 h="79">
                    <a:moveTo>
                      <a:pt x="15" y="10"/>
                    </a:moveTo>
                    <a:lnTo>
                      <a:pt x="0" y="10"/>
                    </a:lnTo>
                    <a:lnTo>
                      <a:pt x="0" y="0"/>
                    </a:lnTo>
                    <a:lnTo>
                      <a:pt x="15" y="0"/>
                    </a:lnTo>
                    <a:lnTo>
                      <a:pt x="15" y="10"/>
                    </a:lnTo>
                    <a:close/>
                    <a:moveTo>
                      <a:pt x="15" y="79"/>
                    </a:moveTo>
                    <a:lnTo>
                      <a:pt x="0" y="79"/>
                    </a:lnTo>
                    <a:lnTo>
                      <a:pt x="0" y="19"/>
                    </a:lnTo>
                    <a:lnTo>
                      <a:pt x="15" y="19"/>
                    </a:lnTo>
                    <a:lnTo>
                      <a:pt x="15"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4" name="Freeform 12"/>
              <p:cNvSpPr>
                <a:spLocks/>
              </p:cNvSpPr>
              <p:nvPr/>
            </p:nvSpPr>
            <p:spPr bwMode="auto">
              <a:xfrm>
                <a:off x="4843463" y="3630613"/>
                <a:ext cx="74613" cy="125413"/>
              </a:xfrm>
              <a:custGeom>
                <a:avLst/>
                <a:gdLst>
                  <a:gd name="T0" fmla="*/ 74613 w 20"/>
                  <a:gd name="T1" fmla="*/ 83609 h 33"/>
                  <a:gd name="T2" fmla="*/ 63421 w 20"/>
                  <a:gd name="T3" fmla="*/ 114012 h 33"/>
                  <a:gd name="T4" fmla="*/ 29845 w 20"/>
                  <a:gd name="T5" fmla="*/ 125413 h 33"/>
                  <a:gd name="T6" fmla="*/ 0 w 20"/>
                  <a:gd name="T7" fmla="*/ 110211 h 33"/>
                  <a:gd name="T8" fmla="*/ 14923 w 20"/>
                  <a:gd name="T9" fmla="*/ 95010 h 33"/>
                  <a:gd name="T10" fmla="*/ 29845 w 20"/>
                  <a:gd name="T11" fmla="*/ 102611 h 33"/>
                  <a:gd name="T12" fmla="*/ 52229 w 20"/>
                  <a:gd name="T13" fmla="*/ 83609 h 33"/>
                  <a:gd name="T14" fmla="*/ 52229 w 20"/>
                  <a:gd name="T15" fmla="*/ 0 h 33"/>
                  <a:gd name="T16" fmla="*/ 74613 w 20"/>
                  <a:gd name="T17" fmla="*/ 0 h 33"/>
                  <a:gd name="T18" fmla="*/ 74613 w 20"/>
                  <a:gd name="T19" fmla="*/ 83609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33">
                    <a:moveTo>
                      <a:pt x="20" y="22"/>
                    </a:moveTo>
                    <a:cubicBezTo>
                      <a:pt x="20" y="25"/>
                      <a:pt x="19" y="28"/>
                      <a:pt x="17" y="30"/>
                    </a:cubicBezTo>
                    <a:cubicBezTo>
                      <a:pt x="14" y="32"/>
                      <a:pt x="12" y="33"/>
                      <a:pt x="8" y="33"/>
                    </a:cubicBezTo>
                    <a:cubicBezTo>
                      <a:pt x="5" y="33"/>
                      <a:pt x="2" y="32"/>
                      <a:pt x="0" y="29"/>
                    </a:cubicBezTo>
                    <a:cubicBezTo>
                      <a:pt x="4" y="25"/>
                      <a:pt x="4" y="25"/>
                      <a:pt x="4" y="25"/>
                    </a:cubicBezTo>
                    <a:cubicBezTo>
                      <a:pt x="5" y="27"/>
                      <a:pt x="7" y="27"/>
                      <a:pt x="8" y="27"/>
                    </a:cubicBezTo>
                    <a:cubicBezTo>
                      <a:pt x="12" y="27"/>
                      <a:pt x="14" y="25"/>
                      <a:pt x="14" y="22"/>
                    </a:cubicBezTo>
                    <a:cubicBezTo>
                      <a:pt x="14" y="0"/>
                      <a:pt x="14" y="0"/>
                      <a:pt x="14" y="0"/>
                    </a:cubicBezTo>
                    <a:cubicBezTo>
                      <a:pt x="20" y="0"/>
                      <a:pt x="20" y="0"/>
                      <a:pt x="20" y="0"/>
                    </a:cubicBezTo>
                    <a:lnTo>
                      <a:pt x="20" y="2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5" name="Freeform 13"/>
              <p:cNvSpPr>
                <a:spLocks noEditPoints="1"/>
              </p:cNvSpPr>
              <p:nvPr/>
            </p:nvSpPr>
            <p:spPr bwMode="auto">
              <a:xfrm>
                <a:off x="4940300" y="3660776"/>
                <a:ext cx="79375" cy="95250"/>
              </a:xfrm>
              <a:custGeom>
                <a:avLst/>
                <a:gdLst>
                  <a:gd name="T0" fmla="*/ 18899 w 21"/>
                  <a:gd name="T1" fmla="*/ 38100 h 25"/>
                  <a:gd name="T2" fmla="*/ 22679 w 21"/>
                  <a:gd name="T3" fmla="*/ 30480 h 25"/>
                  <a:gd name="T4" fmla="*/ 37798 w 21"/>
                  <a:gd name="T5" fmla="*/ 19050 h 25"/>
                  <a:gd name="T6" fmla="*/ 52917 w 21"/>
                  <a:gd name="T7" fmla="*/ 30480 h 25"/>
                  <a:gd name="T8" fmla="*/ 56696 w 21"/>
                  <a:gd name="T9" fmla="*/ 38100 h 25"/>
                  <a:gd name="T10" fmla="*/ 18899 w 21"/>
                  <a:gd name="T11" fmla="*/ 38100 h 25"/>
                  <a:gd name="T12" fmla="*/ 79375 w 21"/>
                  <a:gd name="T13" fmla="*/ 45720 h 25"/>
                  <a:gd name="T14" fmla="*/ 68036 w 21"/>
                  <a:gd name="T15" fmla="*/ 15240 h 25"/>
                  <a:gd name="T16" fmla="*/ 37798 w 21"/>
                  <a:gd name="T17" fmla="*/ 0 h 25"/>
                  <a:gd name="T18" fmla="*/ 7560 w 21"/>
                  <a:gd name="T19" fmla="*/ 11430 h 25"/>
                  <a:gd name="T20" fmla="*/ 0 w 21"/>
                  <a:gd name="T21" fmla="*/ 49530 h 25"/>
                  <a:gd name="T22" fmla="*/ 41577 w 21"/>
                  <a:gd name="T23" fmla="*/ 95250 h 25"/>
                  <a:gd name="T24" fmla="*/ 60476 w 21"/>
                  <a:gd name="T25" fmla="*/ 91440 h 25"/>
                  <a:gd name="T26" fmla="*/ 75595 w 21"/>
                  <a:gd name="T27" fmla="*/ 80010 h 25"/>
                  <a:gd name="T28" fmla="*/ 60476 w 21"/>
                  <a:gd name="T29" fmla="*/ 68580 h 25"/>
                  <a:gd name="T30" fmla="*/ 41577 w 21"/>
                  <a:gd name="T31" fmla="*/ 76200 h 25"/>
                  <a:gd name="T32" fmla="*/ 26458 w 21"/>
                  <a:gd name="T33" fmla="*/ 68580 h 25"/>
                  <a:gd name="T34" fmla="*/ 18899 w 21"/>
                  <a:gd name="T35" fmla="*/ 53340 h 25"/>
                  <a:gd name="T36" fmla="*/ 79375 w 21"/>
                  <a:gd name="T37" fmla="*/ 53340 h 25"/>
                  <a:gd name="T38" fmla="*/ 79375 w 21"/>
                  <a:gd name="T39" fmla="*/ 4572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5" y="10"/>
                    </a:moveTo>
                    <a:cubicBezTo>
                      <a:pt x="5" y="9"/>
                      <a:pt x="6" y="8"/>
                      <a:pt x="6" y="8"/>
                    </a:cubicBezTo>
                    <a:cubicBezTo>
                      <a:pt x="7" y="6"/>
                      <a:pt x="8" y="5"/>
                      <a:pt x="10" y="5"/>
                    </a:cubicBezTo>
                    <a:cubicBezTo>
                      <a:pt x="12" y="5"/>
                      <a:pt x="13" y="6"/>
                      <a:pt x="14" y="8"/>
                    </a:cubicBezTo>
                    <a:cubicBezTo>
                      <a:pt x="14" y="8"/>
                      <a:pt x="15" y="9"/>
                      <a:pt x="15" y="10"/>
                    </a:cubicBezTo>
                    <a:lnTo>
                      <a:pt x="5" y="10"/>
                    </a:lnTo>
                    <a:close/>
                    <a:moveTo>
                      <a:pt x="21" y="12"/>
                    </a:moveTo>
                    <a:cubicBezTo>
                      <a:pt x="21" y="8"/>
                      <a:pt x="20" y="6"/>
                      <a:pt x="18" y="4"/>
                    </a:cubicBezTo>
                    <a:cubicBezTo>
                      <a:pt x="16" y="1"/>
                      <a:pt x="13" y="0"/>
                      <a:pt x="10" y="0"/>
                    </a:cubicBezTo>
                    <a:cubicBezTo>
                      <a:pt x="7" y="0"/>
                      <a:pt x="4" y="1"/>
                      <a:pt x="2" y="3"/>
                    </a:cubicBezTo>
                    <a:cubicBezTo>
                      <a:pt x="0" y="6"/>
                      <a:pt x="0" y="9"/>
                      <a:pt x="0" y="13"/>
                    </a:cubicBezTo>
                    <a:cubicBezTo>
                      <a:pt x="0" y="21"/>
                      <a:pt x="3" y="25"/>
                      <a:pt x="11" y="25"/>
                    </a:cubicBezTo>
                    <a:cubicBezTo>
                      <a:pt x="13" y="25"/>
                      <a:pt x="14" y="25"/>
                      <a:pt x="16" y="24"/>
                    </a:cubicBezTo>
                    <a:cubicBezTo>
                      <a:pt x="17" y="23"/>
                      <a:pt x="18" y="22"/>
                      <a:pt x="20" y="21"/>
                    </a:cubicBezTo>
                    <a:cubicBezTo>
                      <a:pt x="16" y="18"/>
                      <a:pt x="16" y="18"/>
                      <a:pt x="16" y="18"/>
                    </a:cubicBezTo>
                    <a:cubicBezTo>
                      <a:pt x="15" y="19"/>
                      <a:pt x="13" y="20"/>
                      <a:pt x="11" y="20"/>
                    </a:cubicBezTo>
                    <a:cubicBezTo>
                      <a:pt x="9" y="20"/>
                      <a:pt x="8" y="19"/>
                      <a:pt x="7" y="18"/>
                    </a:cubicBezTo>
                    <a:cubicBezTo>
                      <a:pt x="6" y="17"/>
                      <a:pt x="5" y="16"/>
                      <a:pt x="5"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6" name="Freeform 14"/>
              <p:cNvSpPr>
                <a:spLocks noEditPoints="1"/>
              </p:cNvSpPr>
              <p:nvPr/>
            </p:nvSpPr>
            <p:spPr bwMode="auto">
              <a:xfrm>
                <a:off x="5035550" y="3660776"/>
                <a:ext cx="77788" cy="95250"/>
              </a:xfrm>
              <a:custGeom>
                <a:avLst/>
                <a:gdLst>
                  <a:gd name="T0" fmla="*/ 22225 w 21"/>
                  <a:gd name="T1" fmla="*/ 38100 h 25"/>
                  <a:gd name="T2" fmla="*/ 22225 w 21"/>
                  <a:gd name="T3" fmla="*/ 30480 h 25"/>
                  <a:gd name="T4" fmla="*/ 37042 w 21"/>
                  <a:gd name="T5" fmla="*/ 19050 h 25"/>
                  <a:gd name="T6" fmla="*/ 51859 w 21"/>
                  <a:gd name="T7" fmla="*/ 30480 h 25"/>
                  <a:gd name="T8" fmla="*/ 55563 w 21"/>
                  <a:gd name="T9" fmla="*/ 38100 h 25"/>
                  <a:gd name="T10" fmla="*/ 22225 w 21"/>
                  <a:gd name="T11" fmla="*/ 38100 h 25"/>
                  <a:gd name="T12" fmla="*/ 77788 w 21"/>
                  <a:gd name="T13" fmla="*/ 45720 h 25"/>
                  <a:gd name="T14" fmla="*/ 66675 w 21"/>
                  <a:gd name="T15" fmla="*/ 15240 h 25"/>
                  <a:gd name="T16" fmla="*/ 37042 w 21"/>
                  <a:gd name="T17" fmla="*/ 0 h 25"/>
                  <a:gd name="T18" fmla="*/ 11113 w 21"/>
                  <a:gd name="T19" fmla="*/ 11430 h 25"/>
                  <a:gd name="T20" fmla="*/ 0 w 21"/>
                  <a:gd name="T21" fmla="*/ 49530 h 25"/>
                  <a:gd name="T22" fmla="*/ 40746 w 21"/>
                  <a:gd name="T23" fmla="*/ 95250 h 25"/>
                  <a:gd name="T24" fmla="*/ 59267 w 21"/>
                  <a:gd name="T25" fmla="*/ 91440 h 25"/>
                  <a:gd name="T26" fmla="*/ 74084 w 21"/>
                  <a:gd name="T27" fmla="*/ 80010 h 25"/>
                  <a:gd name="T28" fmla="*/ 59267 w 21"/>
                  <a:gd name="T29" fmla="*/ 68580 h 25"/>
                  <a:gd name="T30" fmla="*/ 40746 w 21"/>
                  <a:gd name="T31" fmla="*/ 76200 h 25"/>
                  <a:gd name="T32" fmla="*/ 25929 w 21"/>
                  <a:gd name="T33" fmla="*/ 68580 h 25"/>
                  <a:gd name="T34" fmla="*/ 22225 w 21"/>
                  <a:gd name="T35" fmla="*/ 53340 h 25"/>
                  <a:gd name="T36" fmla="*/ 77788 w 21"/>
                  <a:gd name="T37" fmla="*/ 53340 h 25"/>
                  <a:gd name="T38" fmla="*/ 77788 w 21"/>
                  <a:gd name="T39" fmla="*/ 4572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6" y="8"/>
                    </a:cubicBezTo>
                    <a:cubicBezTo>
                      <a:pt x="7" y="6"/>
                      <a:pt x="8" y="5"/>
                      <a:pt x="10" y="5"/>
                    </a:cubicBezTo>
                    <a:cubicBezTo>
                      <a:pt x="12" y="5"/>
                      <a:pt x="14" y="6"/>
                      <a:pt x="14" y="8"/>
                    </a:cubicBezTo>
                    <a:cubicBezTo>
                      <a:pt x="15" y="8"/>
                      <a:pt x="15" y="9"/>
                      <a:pt x="15" y="10"/>
                    </a:cubicBezTo>
                    <a:lnTo>
                      <a:pt x="6" y="10"/>
                    </a:lnTo>
                    <a:close/>
                    <a:moveTo>
                      <a:pt x="21" y="12"/>
                    </a:moveTo>
                    <a:cubicBezTo>
                      <a:pt x="21" y="8"/>
                      <a:pt x="20" y="6"/>
                      <a:pt x="18" y="4"/>
                    </a:cubicBezTo>
                    <a:cubicBezTo>
                      <a:pt x="16" y="1"/>
                      <a:pt x="14" y="0"/>
                      <a:pt x="10" y="0"/>
                    </a:cubicBezTo>
                    <a:cubicBezTo>
                      <a:pt x="7" y="0"/>
                      <a:pt x="5" y="1"/>
                      <a:pt x="3" y="3"/>
                    </a:cubicBezTo>
                    <a:cubicBezTo>
                      <a:pt x="1" y="6"/>
                      <a:pt x="0" y="9"/>
                      <a:pt x="0" y="13"/>
                    </a:cubicBezTo>
                    <a:cubicBezTo>
                      <a:pt x="0" y="21"/>
                      <a:pt x="4" y="25"/>
                      <a:pt x="11" y="25"/>
                    </a:cubicBezTo>
                    <a:cubicBezTo>
                      <a:pt x="13" y="25"/>
                      <a:pt x="15" y="25"/>
                      <a:pt x="16" y="24"/>
                    </a:cubicBezTo>
                    <a:cubicBezTo>
                      <a:pt x="17" y="23"/>
                      <a:pt x="19" y="22"/>
                      <a:pt x="20" y="21"/>
                    </a:cubicBezTo>
                    <a:cubicBezTo>
                      <a:pt x="16" y="18"/>
                      <a:pt x="16" y="18"/>
                      <a:pt x="16" y="18"/>
                    </a:cubicBezTo>
                    <a:cubicBezTo>
                      <a:pt x="15" y="19"/>
                      <a:pt x="13" y="20"/>
                      <a:pt x="11" y="20"/>
                    </a:cubicBezTo>
                    <a:cubicBezTo>
                      <a:pt x="9" y="20"/>
                      <a:pt x="8" y="19"/>
                      <a:pt x="7" y="18"/>
                    </a:cubicBezTo>
                    <a:cubicBezTo>
                      <a:pt x="6"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7" name="Freeform 15"/>
              <p:cNvSpPr>
                <a:spLocks/>
              </p:cNvSpPr>
              <p:nvPr/>
            </p:nvSpPr>
            <p:spPr bwMode="auto">
              <a:xfrm>
                <a:off x="5126038" y="3638551"/>
                <a:ext cx="47625" cy="117475"/>
              </a:xfrm>
              <a:custGeom>
                <a:avLst/>
                <a:gdLst>
                  <a:gd name="T0" fmla="*/ 47625 w 13"/>
                  <a:gd name="T1" fmla="*/ 117475 h 31"/>
                  <a:gd name="T2" fmla="*/ 36635 w 13"/>
                  <a:gd name="T3" fmla="*/ 117475 h 31"/>
                  <a:gd name="T4" fmla="*/ 18317 w 13"/>
                  <a:gd name="T5" fmla="*/ 106106 h 31"/>
                  <a:gd name="T6" fmla="*/ 10990 w 13"/>
                  <a:gd name="T7" fmla="*/ 90948 h 31"/>
                  <a:gd name="T8" fmla="*/ 10990 w 13"/>
                  <a:gd name="T9" fmla="*/ 45474 h 31"/>
                  <a:gd name="T10" fmla="*/ 0 w 13"/>
                  <a:gd name="T11" fmla="*/ 45474 h 31"/>
                  <a:gd name="T12" fmla="*/ 0 w 13"/>
                  <a:gd name="T13" fmla="*/ 26527 h 31"/>
                  <a:gd name="T14" fmla="*/ 10990 w 13"/>
                  <a:gd name="T15" fmla="*/ 26527 h 31"/>
                  <a:gd name="T16" fmla="*/ 10990 w 13"/>
                  <a:gd name="T17" fmla="*/ 0 h 31"/>
                  <a:gd name="T18" fmla="*/ 32971 w 13"/>
                  <a:gd name="T19" fmla="*/ 0 h 31"/>
                  <a:gd name="T20" fmla="*/ 32971 w 13"/>
                  <a:gd name="T21" fmla="*/ 26527 h 31"/>
                  <a:gd name="T22" fmla="*/ 47625 w 13"/>
                  <a:gd name="T23" fmla="*/ 26527 h 31"/>
                  <a:gd name="T24" fmla="*/ 47625 w 13"/>
                  <a:gd name="T25" fmla="*/ 45474 h 31"/>
                  <a:gd name="T26" fmla="*/ 32971 w 13"/>
                  <a:gd name="T27" fmla="*/ 45474 h 31"/>
                  <a:gd name="T28" fmla="*/ 32971 w 13"/>
                  <a:gd name="T29" fmla="*/ 87159 h 31"/>
                  <a:gd name="T30" fmla="*/ 40298 w 13"/>
                  <a:gd name="T31" fmla="*/ 94738 h 31"/>
                  <a:gd name="T32" fmla="*/ 47625 w 13"/>
                  <a:gd name="T33" fmla="*/ 94738 h 31"/>
                  <a:gd name="T34" fmla="*/ 47625 w 13"/>
                  <a:gd name="T35" fmla="*/ 117475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31">
                    <a:moveTo>
                      <a:pt x="13" y="31"/>
                    </a:moveTo>
                    <a:cubicBezTo>
                      <a:pt x="10" y="31"/>
                      <a:pt x="10" y="31"/>
                      <a:pt x="10" y="31"/>
                    </a:cubicBezTo>
                    <a:cubicBezTo>
                      <a:pt x="8" y="31"/>
                      <a:pt x="6" y="30"/>
                      <a:pt x="5" y="28"/>
                    </a:cubicBezTo>
                    <a:cubicBezTo>
                      <a:pt x="3" y="27"/>
                      <a:pt x="3" y="26"/>
                      <a:pt x="3" y="24"/>
                    </a:cubicBezTo>
                    <a:cubicBezTo>
                      <a:pt x="3" y="12"/>
                      <a:pt x="3" y="12"/>
                      <a:pt x="3" y="12"/>
                    </a:cubicBezTo>
                    <a:cubicBezTo>
                      <a:pt x="0" y="12"/>
                      <a:pt x="0" y="12"/>
                      <a:pt x="0" y="12"/>
                    </a:cubicBezTo>
                    <a:cubicBezTo>
                      <a:pt x="0" y="7"/>
                      <a:pt x="0" y="7"/>
                      <a:pt x="0" y="7"/>
                    </a:cubicBezTo>
                    <a:cubicBezTo>
                      <a:pt x="3" y="7"/>
                      <a:pt x="3" y="7"/>
                      <a:pt x="3" y="7"/>
                    </a:cubicBezTo>
                    <a:cubicBezTo>
                      <a:pt x="3" y="0"/>
                      <a:pt x="3" y="0"/>
                      <a:pt x="3" y="0"/>
                    </a:cubicBezTo>
                    <a:cubicBezTo>
                      <a:pt x="9" y="0"/>
                      <a:pt x="9" y="0"/>
                      <a:pt x="9" y="0"/>
                    </a:cubicBezTo>
                    <a:cubicBezTo>
                      <a:pt x="9" y="7"/>
                      <a:pt x="9" y="7"/>
                      <a:pt x="9" y="7"/>
                    </a:cubicBezTo>
                    <a:cubicBezTo>
                      <a:pt x="13" y="7"/>
                      <a:pt x="13" y="7"/>
                      <a:pt x="13" y="7"/>
                    </a:cubicBezTo>
                    <a:cubicBezTo>
                      <a:pt x="13" y="12"/>
                      <a:pt x="13" y="12"/>
                      <a:pt x="13" y="12"/>
                    </a:cubicBezTo>
                    <a:cubicBezTo>
                      <a:pt x="9" y="12"/>
                      <a:pt x="9" y="12"/>
                      <a:pt x="9" y="12"/>
                    </a:cubicBezTo>
                    <a:cubicBezTo>
                      <a:pt x="9" y="23"/>
                      <a:pt x="9" y="23"/>
                      <a:pt x="9" y="23"/>
                    </a:cubicBezTo>
                    <a:cubicBezTo>
                      <a:pt x="9" y="25"/>
                      <a:pt x="10" y="25"/>
                      <a:pt x="11" y="25"/>
                    </a:cubicBezTo>
                    <a:cubicBezTo>
                      <a:pt x="13" y="25"/>
                      <a:pt x="13" y="25"/>
                      <a:pt x="13" y="25"/>
                    </a:cubicBezTo>
                    <a:lnTo>
                      <a:pt x="13" y="31"/>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8" name="Rectangle 16"/>
              <p:cNvSpPr>
                <a:spLocks noChangeArrowheads="1"/>
              </p:cNvSpPr>
              <p:nvPr/>
            </p:nvSpPr>
            <p:spPr bwMode="auto">
              <a:xfrm>
                <a:off x="5192713" y="3729038"/>
                <a:ext cx="26988" cy="26988"/>
              </a:xfrm>
              <a:prstGeom prst="rect">
                <a:avLst/>
              </a:prstGeom>
              <a:solidFill>
                <a:srgbClr val="2B252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 name="Freeform 17"/>
              <p:cNvSpPr>
                <a:spLocks/>
              </p:cNvSpPr>
              <p:nvPr/>
            </p:nvSpPr>
            <p:spPr bwMode="auto">
              <a:xfrm>
                <a:off x="5287963" y="3630613"/>
                <a:ext cx="88900" cy="125413"/>
              </a:xfrm>
              <a:custGeom>
                <a:avLst/>
                <a:gdLst>
                  <a:gd name="T0" fmla="*/ 88900 w 56"/>
                  <a:gd name="T1" fmla="*/ 125413 h 79"/>
                  <a:gd name="T2" fmla="*/ 66675 w 56"/>
                  <a:gd name="T3" fmla="*/ 125413 h 79"/>
                  <a:gd name="T4" fmla="*/ 66675 w 56"/>
                  <a:gd name="T5" fmla="*/ 73025 h 79"/>
                  <a:gd name="T6" fmla="*/ 22225 w 56"/>
                  <a:gd name="T7" fmla="*/ 73025 h 79"/>
                  <a:gd name="T8" fmla="*/ 22225 w 56"/>
                  <a:gd name="T9" fmla="*/ 125413 h 79"/>
                  <a:gd name="T10" fmla="*/ 0 w 56"/>
                  <a:gd name="T11" fmla="*/ 125413 h 79"/>
                  <a:gd name="T12" fmla="*/ 0 w 56"/>
                  <a:gd name="T13" fmla="*/ 0 h 79"/>
                  <a:gd name="T14" fmla="*/ 22225 w 56"/>
                  <a:gd name="T15" fmla="*/ 0 h 79"/>
                  <a:gd name="T16" fmla="*/ 22225 w 56"/>
                  <a:gd name="T17" fmla="*/ 49213 h 79"/>
                  <a:gd name="T18" fmla="*/ 66675 w 56"/>
                  <a:gd name="T19" fmla="*/ 49213 h 79"/>
                  <a:gd name="T20" fmla="*/ 66675 w 56"/>
                  <a:gd name="T21" fmla="*/ 0 h 79"/>
                  <a:gd name="T22" fmla="*/ 88900 w 56"/>
                  <a:gd name="T23" fmla="*/ 0 h 79"/>
                  <a:gd name="T24" fmla="*/ 88900 w 56"/>
                  <a:gd name="T25" fmla="*/ 125413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6" h="79">
                    <a:moveTo>
                      <a:pt x="56" y="79"/>
                    </a:moveTo>
                    <a:lnTo>
                      <a:pt x="42" y="79"/>
                    </a:lnTo>
                    <a:lnTo>
                      <a:pt x="42" y="46"/>
                    </a:lnTo>
                    <a:lnTo>
                      <a:pt x="14" y="46"/>
                    </a:lnTo>
                    <a:lnTo>
                      <a:pt x="14" y="79"/>
                    </a:lnTo>
                    <a:lnTo>
                      <a:pt x="0" y="79"/>
                    </a:lnTo>
                    <a:lnTo>
                      <a:pt x="0" y="0"/>
                    </a:lnTo>
                    <a:lnTo>
                      <a:pt x="14" y="0"/>
                    </a:lnTo>
                    <a:lnTo>
                      <a:pt x="14" y="31"/>
                    </a:lnTo>
                    <a:lnTo>
                      <a:pt x="42" y="31"/>
                    </a:lnTo>
                    <a:lnTo>
                      <a:pt x="42" y="0"/>
                    </a:lnTo>
                    <a:lnTo>
                      <a:pt x="56" y="0"/>
                    </a:lnTo>
                    <a:lnTo>
                      <a:pt x="56"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 name="Freeform 18"/>
              <p:cNvSpPr>
                <a:spLocks noEditPoints="1"/>
              </p:cNvSpPr>
              <p:nvPr/>
            </p:nvSpPr>
            <p:spPr bwMode="auto">
              <a:xfrm>
                <a:off x="5395913" y="3660776"/>
                <a:ext cx="76200" cy="95250"/>
              </a:xfrm>
              <a:custGeom>
                <a:avLst/>
                <a:gdLst>
                  <a:gd name="T0" fmla="*/ 53340 w 20"/>
                  <a:gd name="T1" fmla="*/ 68580 h 25"/>
                  <a:gd name="T2" fmla="*/ 38100 w 20"/>
                  <a:gd name="T3" fmla="*/ 76200 h 25"/>
                  <a:gd name="T4" fmla="*/ 22860 w 20"/>
                  <a:gd name="T5" fmla="*/ 64770 h 25"/>
                  <a:gd name="T6" fmla="*/ 38100 w 20"/>
                  <a:gd name="T7" fmla="*/ 53340 h 25"/>
                  <a:gd name="T8" fmla="*/ 53340 w 20"/>
                  <a:gd name="T9" fmla="*/ 53340 h 25"/>
                  <a:gd name="T10" fmla="*/ 53340 w 20"/>
                  <a:gd name="T11" fmla="*/ 60960 h 25"/>
                  <a:gd name="T12" fmla="*/ 53340 w 20"/>
                  <a:gd name="T13" fmla="*/ 68580 h 25"/>
                  <a:gd name="T14" fmla="*/ 76200 w 20"/>
                  <a:gd name="T15" fmla="*/ 34290 h 25"/>
                  <a:gd name="T16" fmla="*/ 38100 w 20"/>
                  <a:gd name="T17" fmla="*/ 0 h 25"/>
                  <a:gd name="T18" fmla="*/ 19050 w 20"/>
                  <a:gd name="T19" fmla="*/ 3810 h 25"/>
                  <a:gd name="T20" fmla="*/ 3810 w 20"/>
                  <a:gd name="T21" fmla="*/ 15240 h 25"/>
                  <a:gd name="T22" fmla="*/ 19050 w 20"/>
                  <a:gd name="T23" fmla="*/ 26670 h 25"/>
                  <a:gd name="T24" fmla="*/ 38100 w 20"/>
                  <a:gd name="T25" fmla="*/ 19050 h 25"/>
                  <a:gd name="T26" fmla="*/ 53340 w 20"/>
                  <a:gd name="T27" fmla="*/ 34290 h 25"/>
                  <a:gd name="T28" fmla="*/ 53340 w 20"/>
                  <a:gd name="T29" fmla="*/ 38100 h 25"/>
                  <a:gd name="T30" fmla="*/ 34290 w 20"/>
                  <a:gd name="T31" fmla="*/ 38100 h 25"/>
                  <a:gd name="T32" fmla="*/ 11430 w 20"/>
                  <a:gd name="T33" fmla="*/ 45720 h 25"/>
                  <a:gd name="T34" fmla="*/ 0 w 20"/>
                  <a:gd name="T35" fmla="*/ 64770 h 25"/>
                  <a:gd name="T36" fmla="*/ 11430 w 20"/>
                  <a:gd name="T37" fmla="*/ 87630 h 25"/>
                  <a:gd name="T38" fmla="*/ 34290 w 20"/>
                  <a:gd name="T39" fmla="*/ 95250 h 25"/>
                  <a:gd name="T40" fmla="*/ 57150 w 20"/>
                  <a:gd name="T41" fmla="*/ 83820 h 25"/>
                  <a:gd name="T42" fmla="*/ 57150 w 20"/>
                  <a:gd name="T43" fmla="*/ 95250 h 25"/>
                  <a:gd name="T44" fmla="*/ 76200 w 20"/>
                  <a:gd name="T45" fmla="*/ 95250 h 25"/>
                  <a:gd name="T46" fmla="*/ 76200 w 20"/>
                  <a:gd name="T47" fmla="*/ 3429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4" y="18"/>
                    </a:moveTo>
                    <a:cubicBezTo>
                      <a:pt x="13" y="19"/>
                      <a:pt x="12" y="20"/>
                      <a:pt x="10" y="20"/>
                    </a:cubicBezTo>
                    <a:cubicBezTo>
                      <a:pt x="7" y="20"/>
                      <a:pt x="6" y="19"/>
                      <a:pt x="6" y="17"/>
                    </a:cubicBezTo>
                    <a:cubicBezTo>
                      <a:pt x="6" y="15"/>
                      <a:pt x="7" y="14"/>
                      <a:pt x="10" y="14"/>
                    </a:cubicBezTo>
                    <a:cubicBezTo>
                      <a:pt x="14" y="14"/>
                      <a:pt x="14" y="14"/>
                      <a:pt x="14" y="14"/>
                    </a:cubicBezTo>
                    <a:cubicBezTo>
                      <a:pt x="14" y="16"/>
                      <a:pt x="14" y="16"/>
                      <a:pt x="14" y="16"/>
                    </a:cubicBezTo>
                    <a:cubicBezTo>
                      <a:pt x="14" y="17"/>
                      <a:pt x="14" y="18"/>
                      <a:pt x="14" y="18"/>
                    </a:cubicBezTo>
                    <a:moveTo>
                      <a:pt x="20" y="9"/>
                    </a:moveTo>
                    <a:cubicBezTo>
                      <a:pt x="20" y="3"/>
                      <a:pt x="17" y="0"/>
                      <a:pt x="10" y="0"/>
                    </a:cubicBezTo>
                    <a:cubicBezTo>
                      <a:pt x="8" y="0"/>
                      <a:pt x="6" y="0"/>
                      <a:pt x="5" y="1"/>
                    </a:cubicBezTo>
                    <a:cubicBezTo>
                      <a:pt x="4" y="1"/>
                      <a:pt x="3" y="2"/>
                      <a:pt x="1" y="4"/>
                    </a:cubicBezTo>
                    <a:cubicBezTo>
                      <a:pt x="5" y="7"/>
                      <a:pt x="5" y="7"/>
                      <a:pt x="5" y="7"/>
                    </a:cubicBezTo>
                    <a:cubicBezTo>
                      <a:pt x="6" y="6"/>
                      <a:pt x="8" y="5"/>
                      <a:pt x="10" y="5"/>
                    </a:cubicBezTo>
                    <a:cubicBezTo>
                      <a:pt x="13" y="5"/>
                      <a:pt x="14" y="7"/>
                      <a:pt x="14" y="9"/>
                    </a:cubicBezTo>
                    <a:cubicBezTo>
                      <a:pt x="14" y="10"/>
                      <a:pt x="14" y="10"/>
                      <a:pt x="14" y="10"/>
                    </a:cubicBezTo>
                    <a:cubicBezTo>
                      <a:pt x="9" y="10"/>
                      <a:pt x="9" y="10"/>
                      <a:pt x="9" y="10"/>
                    </a:cubicBezTo>
                    <a:cubicBezTo>
                      <a:pt x="6" y="10"/>
                      <a:pt x="4" y="11"/>
                      <a:pt x="3" y="12"/>
                    </a:cubicBezTo>
                    <a:cubicBezTo>
                      <a:pt x="1" y="14"/>
                      <a:pt x="0" y="15"/>
                      <a:pt x="0" y="17"/>
                    </a:cubicBezTo>
                    <a:cubicBezTo>
                      <a:pt x="0" y="19"/>
                      <a:pt x="1" y="21"/>
                      <a:pt x="3" y="23"/>
                    </a:cubicBezTo>
                    <a:cubicBezTo>
                      <a:pt x="4" y="24"/>
                      <a:pt x="6" y="25"/>
                      <a:pt x="9" y="25"/>
                    </a:cubicBezTo>
                    <a:cubicBezTo>
                      <a:pt x="11" y="25"/>
                      <a:pt x="13" y="24"/>
                      <a:pt x="15" y="22"/>
                    </a:cubicBezTo>
                    <a:cubicBezTo>
                      <a:pt x="15" y="25"/>
                      <a:pt x="15" y="25"/>
                      <a:pt x="15"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 name="Freeform 19"/>
              <p:cNvSpPr>
                <a:spLocks/>
              </p:cNvSpPr>
              <p:nvPr/>
            </p:nvSpPr>
            <p:spPr bwMode="auto">
              <a:xfrm>
                <a:off x="5497513" y="3660776"/>
                <a:ext cx="128588" cy="95250"/>
              </a:xfrm>
              <a:custGeom>
                <a:avLst/>
                <a:gdLst>
                  <a:gd name="T0" fmla="*/ 128588 w 34"/>
                  <a:gd name="T1" fmla="*/ 95250 h 25"/>
                  <a:gd name="T2" fmla="*/ 105896 w 34"/>
                  <a:gd name="T3" fmla="*/ 95250 h 25"/>
                  <a:gd name="T4" fmla="*/ 105896 w 34"/>
                  <a:gd name="T5" fmla="*/ 38100 h 25"/>
                  <a:gd name="T6" fmla="*/ 102114 w 34"/>
                  <a:gd name="T7" fmla="*/ 26670 h 25"/>
                  <a:gd name="T8" fmla="*/ 90768 w 34"/>
                  <a:gd name="T9" fmla="*/ 22860 h 25"/>
                  <a:gd name="T10" fmla="*/ 79422 w 34"/>
                  <a:gd name="T11" fmla="*/ 26670 h 25"/>
                  <a:gd name="T12" fmla="*/ 75640 w 34"/>
                  <a:gd name="T13" fmla="*/ 38100 h 25"/>
                  <a:gd name="T14" fmla="*/ 75640 w 34"/>
                  <a:gd name="T15" fmla="*/ 95250 h 25"/>
                  <a:gd name="T16" fmla="*/ 52948 w 34"/>
                  <a:gd name="T17" fmla="*/ 95250 h 25"/>
                  <a:gd name="T18" fmla="*/ 52948 w 34"/>
                  <a:gd name="T19" fmla="*/ 38100 h 25"/>
                  <a:gd name="T20" fmla="*/ 49166 w 34"/>
                  <a:gd name="T21" fmla="*/ 26670 h 25"/>
                  <a:gd name="T22" fmla="*/ 37820 w 34"/>
                  <a:gd name="T23" fmla="*/ 22860 h 25"/>
                  <a:gd name="T24" fmla="*/ 26474 w 34"/>
                  <a:gd name="T25" fmla="*/ 26670 h 25"/>
                  <a:gd name="T26" fmla="*/ 22692 w 34"/>
                  <a:gd name="T27" fmla="*/ 38100 h 25"/>
                  <a:gd name="T28" fmla="*/ 22692 w 34"/>
                  <a:gd name="T29" fmla="*/ 95250 h 25"/>
                  <a:gd name="T30" fmla="*/ 0 w 34"/>
                  <a:gd name="T31" fmla="*/ 95250 h 25"/>
                  <a:gd name="T32" fmla="*/ 0 w 34"/>
                  <a:gd name="T33" fmla="*/ 0 h 25"/>
                  <a:gd name="T34" fmla="*/ 22692 w 34"/>
                  <a:gd name="T35" fmla="*/ 0 h 25"/>
                  <a:gd name="T36" fmla="*/ 22692 w 34"/>
                  <a:gd name="T37" fmla="*/ 11430 h 25"/>
                  <a:gd name="T38" fmla="*/ 45384 w 34"/>
                  <a:gd name="T39" fmla="*/ 0 h 25"/>
                  <a:gd name="T40" fmla="*/ 68076 w 34"/>
                  <a:gd name="T41" fmla="*/ 11430 h 25"/>
                  <a:gd name="T42" fmla="*/ 94550 w 34"/>
                  <a:gd name="T43" fmla="*/ 0 h 25"/>
                  <a:gd name="T44" fmla="*/ 117242 w 34"/>
                  <a:gd name="T45" fmla="*/ 7620 h 25"/>
                  <a:gd name="T46" fmla="*/ 128588 w 34"/>
                  <a:gd name="T47" fmla="*/ 34290 h 25"/>
                  <a:gd name="T48" fmla="*/ 128588 w 34"/>
                  <a:gd name="T49" fmla="*/ 95250 h 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4" h="25">
                    <a:moveTo>
                      <a:pt x="34" y="25"/>
                    </a:moveTo>
                    <a:cubicBezTo>
                      <a:pt x="28" y="25"/>
                      <a:pt x="28" y="25"/>
                      <a:pt x="28" y="25"/>
                    </a:cubicBezTo>
                    <a:cubicBezTo>
                      <a:pt x="28" y="10"/>
                      <a:pt x="28" y="10"/>
                      <a:pt x="28" y="10"/>
                    </a:cubicBezTo>
                    <a:cubicBezTo>
                      <a:pt x="28" y="9"/>
                      <a:pt x="27" y="7"/>
                      <a:pt x="27" y="7"/>
                    </a:cubicBezTo>
                    <a:cubicBezTo>
                      <a:pt x="26" y="6"/>
                      <a:pt x="25" y="6"/>
                      <a:pt x="24" y="6"/>
                    </a:cubicBezTo>
                    <a:cubicBezTo>
                      <a:pt x="23" y="6"/>
                      <a:pt x="22" y="6"/>
                      <a:pt x="21" y="7"/>
                    </a:cubicBezTo>
                    <a:cubicBezTo>
                      <a:pt x="20" y="7"/>
                      <a:pt x="20" y="8"/>
                      <a:pt x="20" y="10"/>
                    </a:cubicBezTo>
                    <a:cubicBezTo>
                      <a:pt x="20" y="25"/>
                      <a:pt x="20" y="25"/>
                      <a:pt x="20" y="25"/>
                    </a:cubicBezTo>
                    <a:cubicBezTo>
                      <a:pt x="14" y="25"/>
                      <a:pt x="14" y="25"/>
                      <a:pt x="14" y="25"/>
                    </a:cubicBezTo>
                    <a:cubicBezTo>
                      <a:pt x="14" y="10"/>
                      <a:pt x="14" y="10"/>
                      <a:pt x="14" y="10"/>
                    </a:cubicBezTo>
                    <a:cubicBezTo>
                      <a:pt x="14" y="9"/>
                      <a:pt x="13" y="7"/>
                      <a:pt x="13" y="7"/>
                    </a:cubicBezTo>
                    <a:cubicBezTo>
                      <a:pt x="12" y="6"/>
                      <a:pt x="11" y="6"/>
                      <a:pt x="10" y="6"/>
                    </a:cubicBezTo>
                    <a:cubicBezTo>
                      <a:pt x="9" y="6"/>
                      <a:pt x="8" y="6"/>
                      <a:pt x="7" y="7"/>
                    </a:cubicBezTo>
                    <a:cubicBezTo>
                      <a:pt x="6" y="7"/>
                      <a:pt x="6" y="9"/>
                      <a:pt x="6" y="10"/>
                    </a:cubicBezTo>
                    <a:cubicBezTo>
                      <a:pt x="6" y="25"/>
                      <a:pt x="6" y="25"/>
                      <a:pt x="6" y="25"/>
                    </a:cubicBezTo>
                    <a:cubicBezTo>
                      <a:pt x="0" y="25"/>
                      <a:pt x="0" y="25"/>
                      <a:pt x="0" y="25"/>
                    </a:cubicBezTo>
                    <a:cubicBezTo>
                      <a:pt x="0" y="0"/>
                      <a:pt x="0" y="0"/>
                      <a:pt x="0" y="0"/>
                    </a:cubicBezTo>
                    <a:cubicBezTo>
                      <a:pt x="6" y="0"/>
                      <a:pt x="6" y="0"/>
                      <a:pt x="6" y="0"/>
                    </a:cubicBezTo>
                    <a:cubicBezTo>
                      <a:pt x="6" y="3"/>
                      <a:pt x="6" y="3"/>
                      <a:pt x="6" y="3"/>
                    </a:cubicBezTo>
                    <a:cubicBezTo>
                      <a:pt x="7" y="1"/>
                      <a:pt x="9" y="0"/>
                      <a:pt x="12" y="0"/>
                    </a:cubicBezTo>
                    <a:cubicBezTo>
                      <a:pt x="14" y="0"/>
                      <a:pt x="17" y="1"/>
                      <a:pt x="18" y="3"/>
                    </a:cubicBezTo>
                    <a:cubicBezTo>
                      <a:pt x="20" y="1"/>
                      <a:pt x="22" y="0"/>
                      <a:pt x="25" y="0"/>
                    </a:cubicBezTo>
                    <a:cubicBezTo>
                      <a:pt x="28" y="0"/>
                      <a:pt x="30" y="1"/>
                      <a:pt x="31" y="2"/>
                    </a:cubicBezTo>
                    <a:cubicBezTo>
                      <a:pt x="33" y="4"/>
                      <a:pt x="34" y="6"/>
                      <a:pt x="34" y="9"/>
                    </a:cubicBezTo>
                    <a:lnTo>
                      <a:pt x="34" y="25"/>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 name="Freeform 20"/>
              <p:cNvSpPr>
                <a:spLocks noEditPoints="1"/>
              </p:cNvSpPr>
              <p:nvPr/>
            </p:nvSpPr>
            <p:spPr bwMode="auto">
              <a:xfrm>
                <a:off x="5645150" y="3660776"/>
                <a:ext cx="74613" cy="95250"/>
              </a:xfrm>
              <a:custGeom>
                <a:avLst/>
                <a:gdLst>
                  <a:gd name="T0" fmla="*/ 48498 w 20"/>
                  <a:gd name="T1" fmla="*/ 68580 h 25"/>
                  <a:gd name="T2" fmla="*/ 33576 w 20"/>
                  <a:gd name="T3" fmla="*/ 76200 h 25"/>
                  <a:gd name="T4" fmla="*/ 18653 w 20"/>
                  <a:gd name="T5" fmla="*/ 64770 h 25"/>
                  <a:gd name="T6" fmla="*/ 33576 w 20"/>
                  <a:gd name="T7" fmla="*/ 53340 h 25"/>
                  <a:gd name="T8" fmla="*/ 52229 w 20"/>
                  <a:gd name="T9" fmla="*/ 53340 h 25"/>
                  <a:gd name="T10" fmla="*/ 52229 w 20"/>
                  <a:gd name="T11" fmla="*/ 60960 h 25"/>
                  <a:gd name="T12" fmla="*/ 48498 w 20"/>
                  <a:gd name="T13" fmla="*/ 68580 h 25"/>
                  <a:gd name="T14" fmla="*/ 74613 w 20"/>
                  <a:gd name="T15" fmla="*/ 34290 h 25"/>
                  <a:gd name="T16" fmla="*/ 33576 w 20"/>
                  <a:gd name="T17" fmla="*/ 0 h 25"/>
                  <a:gd name="T18" fmla="*/ 14923 w 20"/>
                  <a:gd name="T19" fmla="*/ 3810 h 25"/>
                  <a:gd name="T20" fmla="*/ 3731 w 20"/>
                  <a:gd name="T21" fmla="*/ 15240 h 25"/>
                  <a:gd name="T22" fmla="*/ 14923 w 20"/>
                  <a:gd name="T23" fmla="*/ 26670 h 25"/>
                  <a:gd name="T24" fmla="*/ 33576 w 20"/>
                  <a:gd name="T25" fmla="*/ 19050 h 25"/>
                  <a:gd name="T26" fmla="*/ 52229 w 20"/>
                  <a:gd name="T27" fmla="*/ 34290 h 25"/>
                  <a:gd name="T28" fmla="*/ 52229 w 20"/>
                  <a:gd name="T29" fmla="*/ 38100 h 25"/>
                  <a:gd name="T30" fmla="*/ 29845 w 20"/>
                  <a:gd name="T31" fmla="*/ 38100 h 25"/>
                  <a:gd name="T32" fmla="*/ 7461 w 20"/>
                  <a:gd name="T33" fmla="*/ 45720 h 25"/>
                  <a:gd name="T34" fmla="*/ 0 w 20"/>
                  <a:gd name="T35" fmla="*/ 64770 h 25"/>
                  <a:gd name="T36" fmla="*/ 7461 w 20"/>
                  <a:gd name="T37" fmla="*/ 87630 h 25"/>
                  <a:gd name="T38" fmla="*/ 29845 w 20"/>
                  <a:gd name="T39" fmla="*/ 95250 h 25"/>
                  <a:gd name="T40" fmla="*/ 52229 w 20"/>
                  <a:gd name="T41" fmla="*/ 83820 h 25"/>
                  <a:gd name="T42" fmla="*/ 52229 w 20"/>
                  <a:gd name="T43" fmla="*/ 95250 h 25"/>
                  <a:gd name="T44" fmla="*/ 74613 w 20"/>
                  <a:gd name="T45" fmla="*/ 95250 h 25"/>
                  <a:gd name="T46" fmla="*/ 74613 w 20"/>
                  <a:gd name="T47" fmla="*/ 3429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3" y="18"/>
                    </a:moveTo>
                    <a:cubicBezTo>
                      <a:pt x="12" y="19"/>
                      <a:pt x="11" y="20"/>
                      <a:pt x="9" y="20"/>
                    </a:cubicBezTo>
                    <a:cubicBezTo>
                      <a:pt x="7" y="20"/>
                      <a:pt x="5" y="19"/>
                      <a:pt x="5" y="17"/>
                    </a:cubicBezTo>
                    <a:cubicBezTo>
                      <a:pt x="5" y="15"/>
                      <a:pt x="7" y="14"/>
                      <a:pt x="9" y="14"/>
                    </a:cubicBezTo>
                    <a:cubicBezTo>
                      <a:pt x="14" y="14"/>
                      <a:pt x="14" y="14"/>
                      <a:pt x="14" y="14"/>
                    </a:cubicBezTo>
                    <a:cubicBezTo>
                      <a:pt x="14" y="16"/>
                      <a:pt x="14" y="16"/>
                      <a:pt x="14" y="16"/>
                    </a:cubicBezTo>
                    <a:cubicBezTo>
                      <a:pt x="14" y="17"/>
                      <a:pt x="13" y="18"/>
                      <a:pt x="13" y="18"/>
                    </a:cubicBezTo>
                    <a:moveTo>
                      <a:pt x="20" y="9"/>
                    </a:moveTo>
                    <a:cubicBezTo>
                      <a:pt x="20" y="3"/>
                      <a:pt x="16" y="0"/>
                      <a:pt x="9" y="0"/>
                    </a:cubicBezTo>
                    <a:cubicBezTo>
                      <a:pt x="7" y="0"/>
                      <a:pt x="6" y="0"/>
                      <a:pt x="4" y="1"/>
                    </a:cubicBezTo>
                    <a:cubicBezTo>
                      <a:pt x="3" y="1"/>
                      <a:pt x="2" y="2"/>
                      <a:pt x="1" y="4"/>
                    </a:cubicBezTo>
                    <a:cubicBezTo>
                      <a:pt x="4" y="7"/>
                      <a:pt x="4" y="7"/>
                      <a:pt x="4" y="7"/>
                    </a:cubicBezTo>
                    <a:cubicBezTo>
                      <a:pt x="6" y="6"/>
                      <a:pt x="7" y="5"/>
                      <a:pt x="9" y="5"/>
                    </a:cubicBezTo>
                    <a:cubicBezTo>
                      <a:pt x="12" y="5"/>
                      <a:pt x="14" y="7"/>
                      <a:pt x="14" y="9"/>
                    </a:cubicBezTo>
                    <a:cubicBezTo>
                      <a:pt x="14" y="10"/>
                      <a:pt x="14" y="10"/>
                      <a:pt x="14" y="10"/>
                    </a:cubicBezTo>
                    <a:cubicBezTo>
                      <a:pt x="8" y="10"/>
                      <a:pt x="8" y="10"/>
                      <a:pt x="8" y="10"/>
                    </a:cubicBezTo>
                    <a:cubicBezTo>
                      <a:pt x="5" y="10"/>
                      <a:pt x="3" y="11"/>
                      <a:pt x="2" y="12"/>
                    </a:cubicBezTo>
                    <a:cubicBezTo>
                      <a:pt x="0" y="14"/>
                      <a:pt x="0" y="15"/>
                      <a:pt x="0" y="17"/>
                    </a:cubicBezTo>
                    <a:cubicBezTo>
                      <a:pt x="0" y="19"/>
                      <a:pt x="0" y="21"/>
                      <a:pt x="2" y="23"/>
                    </a:cubicBezTo>
                    <a:cubicBezTo>
                      <a:pt x="3" y="24"/>
                      <a:pt x="5" y="25"/>
                      <a:pt x="8" y="25"/>
                    </a:cubicBezTo>
                    <a:cubicBezTo>
                      <a:pt x="10" y="25"/>
                      <a:pt x="12" y="24"/>
                      <a:pt x="14" y="22"/>
                    </a:cubicBezTo>
                    <a:cubicBezTo>
                      <a:pt x="14" y="25"/>
                      <a:pt x="14" y="25"/>
                      <a:pt x="14"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 name="Freeform 21"/>
              <p:cNvSpPr>
                <a:spLocks/>
              </p:cNvSpPr>
              <p:nvPr/>
            </p:nvSpPr>
            <p:spPr bwMode="auto">
              <a:xfrm>
                <a:off x="5741988" y="3660776"/>
                <a:ext cx="68263" cy="95250"/>
              </a:xfrm>
              <a:custGeom>
                <a:avLst/>
                <a:gdLst>
                  <a:gd name="T0" fmla="*/ 68263 w 18"/>
                  <a:gd name="T1" fmla="*/ 11430 h 25"/>
                  <a:gd name="T2" fmla="*/ 49301 w 18"/>
                  <a:gd name="T3" fmla="*/ 26670 h 25"/>
                  <a:gd name="T4" fmla="*/ 37924 w 18"/>
                  <a:gd name="T5" fmla="*/ 22860 h 25"/>
                  <a:gd name="T6" fmla="*/ 26547 w 18"/>
                  <a:gd name="T7" fmla="*/ 26670 h 25"/>
                  <a:gd name="T8" fmla="*/ 22754 w 18"/>
                  <a:gd name="T9" fmla="*/ 38100 h 25"/>
                  <a:gd name="T10" fmla="*/ 22754 w 18"/>
                  <a:gd name="T11" fmla="*/ 95250 h 25"/>
                  <a:gd name="T12" fmla="*/ 0 w 18"/>
                  <a:gd name="T13" fmla="*/ 95250 h 25"/>
                  <a:gd name="T14" fmla="*/ 0 w 18"/>
                  <a:gd name="T15" fmla="*/ 0 h 25"/>
                  <a:gd name="T16" fmla="*/ 22754 w 18"/>
                  <a:gd name="T17" fmla="*/ 0 h 25"/>
                  <a:gd name="T18" fmla="*/ 22754 w 18"/>
                  <a:gd name="T19" fmla="*/ 11430 h 25"/>
                  <a:gd name="T20" fmla="*/ 45509 w 18"/>
                  <a:gd name="T21" fmla="*/ 0 h 25"/>
                  <a:gd name="T22" fmla="*/ 68263 w 18"/>
                  <a:gd name="T23" fmla="*/ 11430 h 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25">
                    <a:moveTo>
                      <a:pt x="18" y="3"/>
                    </a:moveTo>
                    <a:cubicBezTo>
                      <a:pt x="13" y="7"/>
                      <a:pt x="13" y="7"/>
                      <a:pt x="13" y="7"/>
                    </a:cubicBezTo>
                    <a:cubicBezTo>
                      <a:pt x="12" y="6"/>
                      <a:pt x="11" y="6"/>
                      <a:pt x="10" y="6"/>
                    </a:cubicBezTo>
                    <a:cubicBezTo>
                      <a:pt x="9" y="6"/>
                      <a:pt x="8" y="6"/>
                      <a:pt x="7" y="7"/>
                    </a:cubicBezTo>
                    <a:cubicBezTo>
                      <a:pt x="6" y="8"/>
                      <a:pt x="6" y="9"/>
                      <a:pt x="6" y="10"/>
                    </a:cubicBezTo>
                    <a:cubicBezTo>
                      <a:pt x="6" y="25"/>
                      <a:pt x="6" y="25"/>
                      <a:pt x="6" y="25"/>
                    </a:cubicBezTo>
                    <a:cubicBezTo>
                      <a:pt x="0" y="25"/>
                      <a:pt x="0" y="25"/>
                      <a:pt x="0" y="25"/>
                    </a:cubicBezTo>
                    <a:cubicBezTo>
                      <a:pt x="0" y="0"/>
                      <a:pt x="0" y="0"/>
                      <a:pt x="0" y="0"/>
                    </a:cubicBezTo>
                    <a:cubicBezTo>
                      <a:pt x="6" y="0"/>
                      <a:pt x="6" y="0"/>
                      <a:pt x="6" y="0"/>
                    </a:cubicBezTo>
                    <a:cubicBezTo>
                      <a:pt x="6" y="3"/>
                      <a:pt x="6" y="3"/>
                      <a:pt x="6" y="3"/>
                    </a:cubicBezTo>
                    <a:cubicBezTo>
                      <a:pt x="7" y="1"/>
                      <a:pt x="9" y="0"/>
                      <a:pt x="12" y="0"/>
                    </a:cubicBezTo>
                    <a:cubicBezTo>
                      <a:pt x="14" y="0"/>
                      <a:pt x="16" y="1"/>
                      <a:pt x="18" y="3"/>
                    </a:cubicBezTo>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 name="Freeform 22"/>
              <p:cNvSpPr>
                <a:spLocks noEditPoints="1"/>
              </p:cNvSpPr>
              <p:nvPr/>
            </p:nvSpPr>
            <p:spPr bwMode="auto">
              <a:xfrm>
                <a:off x="5821363" y="3630613"/>
                <a:ext cx="22225" cy="125413"/>
              </a:xfrm>
              <a:custGeom>
                <a:avLst/>
                <a:gdLst>
                  <a:gd name="T0" fmla="*/ 22225 w 14"/>
                  <a:gd name="T1" fmla="*/ 15875 h 79"/>
                  <a:gd name="T2" fmla="*/ 0 w 14"/>
                  <a:gd name="T3" fmla="*/ 15875 h 79"/>
                  <a:gd name="T4" fmla="*/ 0 w 14"/>
                  <a:gd name="T5" fmla="*/ 0 h 79"/>
                  <a:gd name="T6" fmla="*/ 22225 w 14"/>
                  <a:gd name="T7" fmla="*/ 0 h 79"/>
                  <a:gd name="T8" fmla="*/ 22225 w 14"/>
                  <a:gd name="T9" fmla="*/ 15875 h 79"/>
                  <a:gd name="T10" fmla="*/ 22225 w 14"/>
                  <a:gd name="T11" fmla="*/ 125413 h 79"/>
                  <a:gd name="T12" fmla="*/ 0 w 14"/>
                  <a:gd name="T13" fmla="*/ 125413 h 79"/>
                  <a:gd name="T14" fmla="*/ 0 w 14"/>
                  <a:gd name="T15" fmla="*/ 30163 h 79"/>
                  <a:gd name="T16" fmla="*/ 22225 w 14"/>
                  <a:gd name="T17" fmla="*/ 30163 h 79"/>
                  <a:gd name="T18" fmla="*/ 22225 w 14"/>
                  <a:gd name="T19" fmla="*/ 125413 h 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79">
                    <a:moveTo>
                      <a:pt x="14" y="10"/>
                    </a:moveTo>
                    <a:lnTo>
                      <a:pt x="0" y="10"/>
                    </a:lnTo>
                    <a:lnTo>
                      <a:pt x="0" y="0"/>
                    </a:lnTo>
                    <a:lnTo>
                      <a:pt x="14" y="0"/>
                    </a:lnTo>
                    <a:lnTo>
                      <a:pt x="14" y="10"/>
                    </a:lnTo>
                    <a:close/>
                    <a:moveTo>
                      <a:pt x="14" y="79"/>
                    </a:moveTo>
                    <a:lnTo>
                      <a:pt x="0" y="79"/>
                    </a:lnTo>
                    <a:lnTo>
                      <a:pt x="0" y="19"/>
                    </a:lnTo>
                    <a:lnTo>
                      <a:pt x="14" y="19"/>
                    </a:lnTo>
                    <a:lnTo>
                      <a:pt x="14"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 name="Freeform 23"/>
              <p:cNvSpPr>
                <a:spLocks/>
              </p:cNvSpPr>
              <p:nvPr/>
            </p:nvSpPr>
            <p:spPr bwMode="auto">
              <a:xfrm>
                <a:off x="5897563" y="3630613"/>
                <a:ext cx="74613" cy="125413"/>
              </a:xfrm>
              <a:custGeom>
                <a:avLst/>
                <a:gdLst>
                  <a:gd name="T0" fmla="*/ 74613 w 20"/>
                  <a:gd name="T1" fmla="*/ 83609 h 33"/>
                  <a:gd name="T2" fmla="*/ 63421 w 20"/>
                  <a:gd name="T3" fmla="*/ 114012 h 33"/>
                  <a:gd name="T4" fmla="*/ 33576 w 20"/>
                  <a:gd name="T5" fmla="*/ 125413 h 33"/>
                  <a:gd name="T6" fmla="*/ 0 w 20"/>
                  <a:gd name="T7" fmla="*/ 110211 h 33"/>
                  <a:gd name="T8" fmla="*/ 18653 w 20"/>
                  <a:gd name="T9" fmla="*/ 95010 h 33"/>
                  <a:gd name="T10" fmla="*/ 33576 w 20"/>
                  <a:gd name="T11" fmla="*/ 102611 h 33"/>
                  <a:gd name="T12" fmla="*/ 52229 w 20"/>
                  <a:gd name="T13" fmla="*/ 83609 h 33"/>
                  <a:gd name="T14" fmla="*/ 52229 w 20"/>
                  <a:gd name="T15" fmla="*/ 0 h 33"/>
                  <a:gd name="T16" fmla="*/ 74613 w 20"/>
                  <a:gd name="T17" fmla="*/ 0 h 33"/>
                  <a:gd name="T18" fmla="*/ 74613 w 20"/>
                  <a:gd name="T19" fmla="*/ 83609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33">
                    <a:moveTo>
                      <a:pt x="20" y="22"/>
                    </a:moveTo>
                    <a:cubicBezTo>
                      <a:pt x="20" y="25"/>
                      <a:pt x="19" y="28"/>
                      <a:pt x="17" y="30"/>
                    </a:cubicBezTo>
                    <a:cubicBezTo>
                      <a:pt x="15" y="32"/>
                      <a:pt x="12" y="33"/>
                      <a:pt x="9" y="33"/>
                    </a:cubicBezTo>
                    <a:cubicBezTo>
                      <a:pt x="5" y="33"/>
                      <a:pt x="3" y="32"/>
                      <a:pt x="0" y="29"/>
                    </a:cubicBezTo>
                    <a:cubicBezTo>
                      <a:pt x="5" y="25"/>
                      <a:pt x="5" y="25"/>
                      <a:pt x="5" y="25"/>
                    </a:cubicBezTo>
                    <a:cubicBezTo>
                      <a:pt x="6" y="27"/>
                      <a:pt x="7" y="27"/>
                      <a:pt x="9" y="27"/>
                    </a:cubicBezTo>
                    <a:cubicBezTo>
                      <a:pt x="12" y="27"/>
                      <a:pt x="14" y="25"/>
                      <a:pt x="14" y="22"/>
                    </a:cubicBezTo>
                    <a:cubicBezTo>
                      <a:pt x="14" y="0"/>
                      <a:pt x="14" y="0"/>
                      <a:pt x="14" y="0"/>
                    </a:cubicBezTo>
                    <a:cubicBezTo>
                      <a:pt x="20" y="0"/>
                      <a:pt x="20" y="0"/>
                      <a:pt x="20" y="0"/>
                    </a:cubicBezTo>
                    <a:lnTo>
                      <a:pt x="20" y="2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 name="Freeform 24"/>
              <p:cNvSpPr>
                <a:spLocks noEditPoints="1"/>
              </p:cNvSpPr>
              <p:nvPr/>
            </p:nvSpPr>
            <p:spPr bwMode="auto">
              <a:xfrm>
                <a:off x="5994400" y="3660776"/>
                <a:ext cx="79375" cy="95250"/>
              </a:xfrm>
              <a:custGeom>
                <a:avLst/>
                <a:gdLst>
                  <a:gd name="T0" fmla="*/ 22679 w 21"/>
                  <a:gd name="T1" fmla="*/ 38100 h 25"/>
                  <a:gd name="T2" fmla="*/ 22679 w 21"/>
                  <a:gd name="T3" fmla="*/ 30480 h 25"/>
                  <a:gd name="T4" fmla="*/ 37798 w 21"/>
                  <a:gd name="T5" fmla="*/ 19050 h 25"/>
                  <a:gd name="T6" fmla="*/ 52917 w 21"/>
                  <a:gd name="T7" fmla="*/ 30480 h 25"/>
                  <a:gd name="T8" fmla="*/ 56696 w 21"/>
                  <a:gd name="T9" fmla="*/ 38100 h 25"/>
                  <a:gd name="T10" fmla="*/ 22679 w 21"/>
                  <a:gd name="T11" fmla="*/ 38100 h 25"/>
                  <a:gd name="T12" fmla="*/ 79375 w 21"/>
                  <a:gd name="T13" fmla="*/ 45720 h 25"/>
                  <a:gd name="T14" fmla="*/ 68036 w 21"/>
                  <a:gd name="T15" fmla="*/ 15240 h 25"/>
                  <a:gd name="T16" fmla="*/ 37798 w 21"/>
                  <a:gd name="T17" fmla="*/ 0 h 25"/>
                  <a:gd name="T18" fmla="*/ 11339 w 21"/>
                  <a:gd name="T19" fmla="*/ 11430 h 25"/>
                  <a:gd name="T20" fmla="*/ 0 w 21"/>
                  <a:gd name="T21" fmla="*/ 49530 h 25"/>
                  <a:gd name="T22" fmla="*/ 41577 w 21"/>
                  <a:gd name="T23" fmla="*/ 95250 h 25"/>
                  <a:gd name="T24" fmla="*/ 60476 w 21"/>
                  <a:gd name="T25" fmla="*/ 91440 h 25"/>
                  <a:gd name="T26" fmla="*/ 75595 w 21"/>
                  <a:gd name="T27" fmla="*/ 80010 h 25"/>
                  <a:gd name="T28" fmla="*/ 60476 w 21"/>
                  <a:gd name="T29" fmla="*/ 68580 h 25"/>
                  <a:gd name="T30" fmla="*/ 41577 w 21"/>
                  <a:gd name="T31" fmla="*/ 76200 h 25"/>
                  <a:gd name="T32" fmla="*/ 26458 w 21"/>
                  <a:gd name="T33" fmla="*/ 68580 h 25"/>
                  <a:gd name="T34" fmla="*/ 22679 w 21"/>
                  <a:gd name="T35" fmla="*/ 53340 h 25"/>
                  <a:gd name="T36" fmla="*/ 79375 w 21"/>
                  <a:gd name="T37" fmla="*/ 53340 h 25"/>
                  <a:gd name="T38" fmla="*/ 79375 w 21"/>
                  <a:gd name="T39" fmla="*/ 4572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6" y="8"/>
                    </a:cubicBezTo>
                    <a:cubicBezTo>
                      <a:pt x="7" y="6"/>
                      <a:pt x="8" y="5"/>
                      <a:pt x="10" y="5"/>
                    </a:cubicBezTo>
                    <a:cubicBezTo>
                      <a:pt x="12" y="5"/>
                      <a:pt x="14" y="6"/>
                      <a:pt x="14" y="8"/>
                    </a:cubicBezTo>
                    <a:cubicBezTo>
                      <a:pt x="15" y="8"/>
                      <a:pt x="15" y="9"/>
                      <a:pt x="15" y="10"/>
                    </a:cubicBezTo>
                    <a:lnTo>
                      <a:pt x="6" y="10"/>
                    </a:lnTo>
                    <a:close/>
                    <a:moveTo>
                      <a:pt x="21" y="12"/>
                    </a:moveTo>
                    <a:cubicBezTo>
                      <a:pt x="21" y="8"/>
                      <a:pt x="20" y="6"/>
                      <a:pt x="18" y="4"/>
                    </a:cubicBezTo>
                    <a:cubicBezTo>
                      <a:pt x="16" y="1"/>
                      <a:pt x="14" y="0"/>
                      <a:pt x="10" y="0"/>
                    </a:cubicBezTo>
                    <a:cubicBezTo>
                      <a:pt x="7" y="0"/>
                      <a:pt x="5" y="1"/>
                      <a:pt x="3" y="3"/>
                    </a:cubicBezTo>
                    <a:cubicBezTo>
                      <a:pt x="1" y="6"/>
                      <a:pt x="0" y="9"/>
                      <a:pt x="0" y="13"/>
                    </a:cubicBezTo>
                    <a:cubicBezTo>
                      <a:pt x="0" y="21"/>
                      <a:pt x="4" y="25"/>
                      <a:pt x="11" y="25"/>
                    </a:cubicBezTo>
                    <a:cubicBezTo>
                      <a:pt x="13" y="25"/>
                      <a:pt x="15" y="25"/>
                      <a:pt x="16" y="24"/>
                    </a:cubicBezTo>
                    <a:cubicBezTo>
                      <a:pt x="18" y="23"/>
                      <a:pt x="19" y="22"/>
                      <a:pt x="20" y="21"/>
                    </a:cubicBezTo>
                    <a:cubicBezTo>
                      <a:pt x="16" y="18"/>
                      <a:pt x="16" y="18"/>
                      <a:pt x="16" y="18"/>
                    </a:cubicBezTo>
                    <a:cubicBezTo>
                      <a:pt x="15" y="19"/>
                      <a:pt x="13" y="20"/>
                      <a:pt x="11" y="20"/>
                    </a:cubicBezTo>
                    <a:cubicBezTo>
                      <a:pt x="9" y="20"/>
                      <a:pt x="8" y="19"/>
                      <a:pt x="7" y="18"/>
                    </a:cubicBezTo>
                    <a:cubicBezTo>
                      <a:pt x="6"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 name="Freeform 25"/>
              <p:cNvSpPr>
                <a:spLocks noEditPoints="1"/>
              </p:cNvSpPr>
              <p:nvPr/>
            </p:nvSpPr>
            <p:spPr bwMode="auto">
              <a:xfrm>
                <a:off x="6089650" y="3660776"/>
                <a:ext cx="77788" cy="95250"/>
              </a:xfrm>
              <a:custGeom>
                <a:avLst/>
                <a:gdLst>
                  <a:gd name="T0" fmla="*/ 22225 w 21"/>
                  <a:gd name="T1" fmla="*/ 38100 h 25"/>
                  <a:gd name="T2" fmla="*/ 25929 w 21"/>
                  <a:gd name="T3" fmla="*/ 30480 h 25"/>
                  <a:gd name="T4" fmla="*/ 40746 w 21"/>
                  <a:gd name="T5" fmla="*/ 19050 h 25"/>
                  <a:gd name="T6" fmla="*/ 55563 w 21"/>
                  <a:gd name="T7" fmla="*/ 30480 h 25"/>
                  <a:gd name="T8" fmla="*/ 55563 w 21"/>
                  <a:gd name="T9" fmla="*/ 38100 h 25"/>
                  <a:gd name="T10" fmla="*/ 22225 w 21"/>
                  <a:gd name="T11" fmla="*/ 38100 h 25"/>
                  <a:gd name="T12" fmla="*/ 77788 w 21"/>
                  <a:gd name="T13" fmla="*/ 45720 h 25"/>
                  <a:gd name="T14" fmla="*/ 66675 w 21"/>
                  <a:gd name="T15" fmla="*/ 15240 h 25"/>
                  <a:gd name="T16" fmla="*/ 40746 w 21"/>
                  <a:gd name="T17" fmla="*/ 0 h 25"/>
                  <a:gd name="T18" fmla="*/ 11113 w 21"/>
                  <a:gd name="T19" fmla="*/ 11430 h 25"/>
                  <a:gd name="T20" fmla="*/ 0 w 21"/>
                  <a:gd name="T21" fmla="*/ 49530 h 25"/>
                  <a:gd name="T22" fmla="*/ 40746 w 21"/>
                  <a:gd name="T23" fmla="*/ 95250 h 25"/>
                  <a:gd name="T24" fmla="*/ 62971 w 21"/>
                  <a:gd name="T25" fmla="*/ 91440 h 25"/>
                  <a:gd name="T26" fmla="*/ 74084 w 21"/>
                  <a:gd name="T27" fmla="*/ 80010 h 25"/>
                  <a:gd name="T28" fmla="*/ 62971 w 21"/>
                  <a:gd name="T29" fmla="*/ 68580 h 25"/>
                  <a:gd name="T30" fmla="*/ 40746 w 21"/>
                  <a:gd name="T31" fmla="*/ 76200 h 25"/>
                  <a:gd name="T32" fmla="*/ 25929 w 21"/>
                  <a:gd name="T33" fmla="*/ 68580 h 25"/>
                  <a:gd name="T34" fmla="*/ 22225 w 21"/>
                  <a:gd name="T35" fmla="*/ 53340 h 25"/>
                  <a:gd name="T36" fmla="*/ 77788 w 21"/>
                  <a:gd name="T37" fmla="*/ 53340 h 25"/>
                  <a:gd name="T38" fmla="*/ 77788 w 21"/>
                  <a:gd name="T39" fmla="*/ 4572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7" y="8"/>
                    </a:cubicBezTo>
                    <a:cubicBezTo>
                      <a:pt x="7" y="6"/>
                      <a:pt x="9" y="5"/>
                      <a:pt x="11" y="5"/>
                    </a:cubicBezTo>
                    <a:cubicBezTo>
                      <a:pt x="13" y="5"/>
                      <a:pt x="14" y="6"/>
                      <a:pt x="15" y="8"/>
                    </a:cubicBezTo>
                    <a:cubicBezTo>
                      <a:pt x="15" y="8"/>
                      <a:pt x="15" y="9"/>
                      <a:pt x="15" y="10"/>
                    </a:cubicBezTo>
                    <a:lnTo>
                      <a:pt x="6" y="10"/>
                    </a:lnTo>
                    <a:close/>
                    <a:moveTo>
                      <a:pt x="21" y="12"/>
                    </a:moveTo>
                    <a:cubicBezTo>
                      <a:pt x="21" y="8"/>
                      <a:pt x="20" y="6"/>
                      <a:pt x="18" y="4"/>
                    </a:cubicBezTo>
                    <a:cubicBezTo>
                      <a:pt x="17" y="1"/>
                      <a:pt x="14" y="0"/>
                      <a:pt x="11" y="0"/>
                    </a:cubicBezTo>
                    <a:cubicBezTo>
                      <a:pt x="8" y="0"/>
                      <a:pt x="5" y="1"/>
                      <a:pt x="3" y="3"/>
                    </a:cubicBezTo>
                    <a:cubicBezTo>
                      <a:pt x="1" y="6"/>
                      <a:pt x="0" y="9"/>
                      <a:pt x="0" y="13"/>
                    </a:cubicBezTo>
                    <a:cubicBezTo>
                      <a:pt x="0" y="21"/>
                      <a:pt x="4" y="25"/>
                      <a:pt x="11" y="25"/>
                    </a:cubicBezTo>
                    <a:cubicBezTo>
                      <a:pt x="13" y="25"/>
                      <a:pt x="15" y="25"/>
                      <a:pt x="17" y="24"/>
                    </a:cubicBezTo>
                    <a:cubicBezTo>
                      <a:pt x="18" y="23"/>
                      <a:pt x="19" y="22"/>
                      <a:pt x="20" y="21"/>
                    </a:cubicBezTo>
                    <a:cubicBezTo>
                      <a:pt x="17" y="18"/>
                      <a:pt x="17" y="18"/>
                      <a:pt x="17" y="18"/>
                    </a:cubicBezTo>
                    <a:cubicBezTo>
                      <a:pt x="15" y="19"/>
                      <a:pt x="13" y="20"/>
                      <a:pt x="11" y="20"/>
                    </a:cubicBezTo>
                    <a:cubicBezTo>
                      <a:pt x="10" y="20"/>
                      <a:pt x="8" y="19"/>
                      <a:pt x="7" y="18"/>
                    </a:cubicBezTo>
                    <a:cubicBezTo>
                      <a:pt x="7"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 name="Freeform 26"/>
              <p:cNvSpPr>
                <a:spLocks/>
              </p:cNvSpPr>
              <p:nvPr/>
            </p:nvSpPr>
            <p:spPr bwMode="auto">
              <a:xfrm>
                <a:off x="6183313" y="3638551"/>
                <a:ext cx="49213" cy="117475"/>
              </a:xfrm>
              <a:custGeom>
                <a:avLst/>
                <a:gdLst>
                  <a:gd name="T0" fmla="*/ 49213 w 13"/>
                  <a:gd name="T1" fmla="*/ 117475 h 31"/>
                  <a:gd name="T2" fmla="*/ 34071 w 13"/>
                  <a:gd name="T3" fmla="*/ 117475 h 31"/>
                  <a:gd name="T4" fmla="*/ 15142 w 13"/>
                  <a:gd name="T5" fmla="*/ 106106 h 31"/>
                  <a:gd name="T6" fmla="*/ 7571 w 13"/>
                  <a:gd name="T7" fmla="*/ 90948 h 31"/>
                  <a:gd name="T8" fmla="*/ 7571 w 13"/>
                  <a:gd name="T9" fmla="*/ 45474 h 31"/>
                  <a:gd name="T10" fmla="*/ 0 w 13"/>
                  <a:gd name="T11" fmla="*/ 45474 h 31"/>
                  <a:gd name="T12" fmla="*/ 0 w 13"/>
                  <a:gd name="T13" fmla="*/ 26527 h 31"/>
                  <a:gd name="T14" fmla="*/ 7571 w 13"/>
                  <a:gd name="T15" fmla="*/ 26527 h 31"/>
                  <a:gd name="T16" fmla="*/ 7571 w 13"/>
                  <a:gd name="T17" fmla="*/ 0 h 31"/>
                  <a:gd name="T18" fmla="*/ 30285 w 13"/>
                  <a:gd name="T19" fmla="*/ 0 h 31"/>
                  <a:gd name="T20" fmla="*/ 30285 w 13"/>
                  <a:gd name="T21" fmla="*/ 26527 h 31"/>
                  <a:gd name="T22" fmla="*/ 49213 w 13"/>
                  <a:gd name="T23" fmla="*/ 26527 h 31"/>
                  <a:gd name="T24" fmla="*/ 49213 w 13"/>
                  <a:gd name="T25" fmla="*/ 45474 h 31"/>
                  <a:gd name="T26" fmla="*/ 30285 w 13"/>
                  <a:gd name="T27" fmla="*/ 45474 h 31"/>
                  <a:gd name="T28" fmla="*/ 30285 w 13"/>
                  <a:gd name="T29" fmla="*/ 87159 h 31"/>
                  <a:gd name="T30" fmla="*/ 37856 w 13"/>
                  <a:gd name="T31" fmla="*/ 94738 h 31"/>
                  <a:gd name="T32" fmla="*/ 49213 w 13"/>
                  <a:gd name="T33" fmla="*/ 94738 h 31"/>
                  <a:gd name="T34" fmla="*/ 49213 w 13"/>
                  <a:gd name="T35" fmla="*/ 117475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31">
                    <a:moveTo>
                      <a:pt x="13" y="31"/>
                    </a:moveTo>
                    <a:cubicBezTo>
                      <a:pt x="9" y="31"/>
                      <a:pt x="9" y="31"/>
                      <a:pt x="9" y="31"/>
                    </a:cubicBezTo>
                    <a:cubicBezTo>
                      <a:pt x="7" y="31"/>
                      <a:pt x="5" y="30"/>
                      <a:pt x="4" y="28"/>
                    </a:cubicBezTo>
                    <a:cubicBezTo>
                      <a:pt x="3" y="27"/>
                      <a:pt x="2" y="26"/>
                      <a:pt x="2" y="24"/>
                    </a:cubicBezTo>
                    <a:cubicBezTo>
                      <a:pt x="2" y="12"/>
                      <a:pt x="2" y="12"/>
                      <a:pt x="2" y="12"/>
                    </a:cubicBezTo>
                    <a:cubicBezTo>
                      <a:pt x="0" y="12"/>
                      <a:pt x="0" y="12"/>
                      <a:pt x="0" y="12"/>
                    </a:cubicBezTo>
                    <a:cubicBezTo>
                      <a:pt x="0" y="7"/>
                      <a:pt x="0" y="7"/>
                      <a:pt x="0" y="7"/>
                    </a:cubicBezTo>
                    <a:cubicBezTo>
                      <a:pt x="2" y="7"/>
                      <a:pt x="2" y="7"/>
                      <a:pt x="2" y="7"/>
                    </a:cubicBezTo>
                    <a:cubicBezTo>
                      <a:pt x="2" y="0"/>
                      <a:pt x="2" y="0"/>
                      <a:pt x="2" y="0"/>
                    </a:cubicBezTo>
                    <a:cubicBezTo>
                      <a:pt x="8" y="0"/>
                      <a:pt x="8" y="0"/>
                      <a:pt x="8" y="0"/>
                    </a:cubicBezTo>
                    <a:cubicBezTo>
                      <a:pt x="8" y="7"/>
                      <a:pt x="8" y="7"/>
                      <a:pt x="8" y="7"/>
                    </a:cubicBezTo>
                    <a:cubicBezTo>
                      <a:pt x="13" y="7"/>
                      <a:pt x="13" y="7"/>
                      <a:pt x="13" y="7"/>
                    </a:cubicBezTo>
                    <a:cubicBezTo>
                      <a:pt x="13" y="12"/>
                      <a:pt x="13" y="12"/>
                      <a:pt x="13" y="12"/>
                    </a:cubicBezTo>
                    <a:cubicBezTo>
                      <a:pt x="8" y="12"/>
                      <a:pt x="8" y="12"/>
                      <a:pt x="8" y="12"/>
                    </a:cubicBezTo>
                    <a:cubicBezTo>
                      <a:pt x="8" y="23"/>
                      <a:pt x="8" y="23"/>
                      <a:pt x="8" y="23"/>
                    </a:cubicBezTo>
                    <a:cubicBezTo>
                      <a:pt x="8" y="25"/>
                      <a:pt x="9" y="25"/>
                      <a:pt x="10" y="25"/>
                    </a:cubicBezTo>
                    <a:cubicBezTo>
                      <a:pt x="13" y="25"/>
                      <a:pt x="13" y="25"/>
                      <a:pt x="13" y="25"/>
                    </a:cubicBezTo>
                    <a:lnTo>
                      <a:pt x="13" y="31"/>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 name="Rectangle 27"/>
              <p:cNvSpPr>
                <a:spLocks noChangeArrowheads="1"/>
              </p:cNvSpPr>
              <p:nvPr/>
            </p:nvSpPr>
            <p:spPr bwMode="auto">
              <a:xfrm>
                <a:off x="6249988" y="3729038"/>
                <a:ext cx="26988" cy="26988"/>
              </a:xfrm>
              <a:prstGeom prst="rect">
                <a:avLst/>
              </a:prstGeom>
              <a:solidFill>
                <a:srgbClr val="2B252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4" name="Group 9"/>
            <p:cNvGrpSpPr>
              <a:grpSpLocks/>
            </p:cNvGrpSpPr>
            <p:nvPr/>
          </p:nvGrpSpPr>
          <p:grpSpPr bwMode="auto">
            <a:xfrm>
              <a:off x="2863850" y="3078163"/>
              <a:ext cx="3413126" cy="552450"/>
              <a:chOff x="2863850" y="3078163"/>
              <a:chExt cx="3413126" cy="552450"/>
            </a:xfrm>
          </p:grpSpPr>
          <p:sp>
            <p:nvSpPr>
              <p:cNvPr id="5" name="Freeform 28"/>
              <p:cNvSpPr>
                <a:spLocks/>
              </p:cNvSpPr>
              <p:nvPr/>
            </p:nvSpPr>
            <p:spPr bwMode="auto">
              <a:xfrm>
                <a:off x="4772025" y="3273426"/>
                <a:ext cx="157163" cy="158750"/>
              </a:xfrm>
              <a:custGeom>
                <a:avLst/>
                <a:gdLst>
                  <a:gd name="T0" fmla="*/ 48646 w 42"/>
                  <a:gd name="T1" fmla="*/ 120952 h 42"/>
                  <a:gd name="T2" fmla="*/ 157163 w 42"/>
                  <a:gd name="T3" fmla="*/ 120952 h 42"/>
                  <a:gd name="T4" fmla="*/ 157163 w 42"/>
                  <a:gd name="T5" fmla="*/ 158750 h 42"/>
                  <a:gd name="T6" fmla="*/ 0 w 42"/>
                  <a:gd name="T7" fmla="*/ 158750 h 42"/>
                  <a:gd name="T8" fmla="*/ 0 w 42"/>
                  <a:gd name="T9" fmla="*/ 0 h 42"/>
                  <a:gd name="T10" fmla="*/ 14968 w 42"/>
                  <a:gd name="T11" fmla="*/ 0 h 42"/>
                  <a:gd name="T12" fmla="*/ 48646 w 42"/>
                  <a:gd name="T13" fmla="*/ 26458 h 42"/>
                  <a:gd name="T14" fmla="*/ 48646 w 42"/>
                  <a:gd name="T15" fmla="*/ 120952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2">
                    <a:moveTo>
                      <a:pt x="13" y="32"/>
                    </a:moveTo>
                    <a:cubicBezTo>
                      <a:pt x="42" y="32"/>
                      <a:pt x="42" y="32"/>
                      <a:pt x="42" y="32"/>
                    </a:cubicBezTo>
                    <a:cubicBezTo>
                      <a:pt x="42" y="42"/>
                      <a:pt x="42" y="42"/>
                      <a:pt x="42" y="42"/>
                    </a:cubicBezTo>
                    <a:cubicBezTo>
                      <a:pt x="0" y="42"/>
                      <a:pt x="0" y="42"/>
                      <a:pt x="0" y="42"/>
                    </a:cubicBezTo>
                    <a:cubicBezTo>
                      <a:pt x="0" y="0"/>
                      <a:pt x="0" y="0"/>
                      <a:pt x="0" y="0"/>
                    </a:cubicBezTo>
                    <a:cubicBezTo>
                      <a:pt x="4" y="0"/>
                      <a:pt x="4" y="0"/>
                      <a:pt x="4" y="0"/>
                    </a:cubicBezTo>
                    <a:cubicBezTo>
                      <a:pt x="10" y="0"/>
                      <a:pt x="13" y="2"/>
                      <a:pt x="13" y="7"/>
                    </a:cubicBezTo>
                    <a:lnTo>
                      <a:pt x="13" y="3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 name="Freeform 29"/>
              <p:cNvSpPr>
                <a:spLocks/>
              </p:cNvSpPr>
              <p:nvPr/>
            </p:nvSpPr>
            <p:spPr bwMode="auto">
              <a:xfrm>
                <a:off x="4462463" y="3273426"/>
                <a:ext cx="211138" cy="158750"/>
              </a:xfrm>
              <a:custGeom>
                <a:avLst/>
                <a:gdLst>
                  <a:gd name="T0" fmla="*/ 49014 w 56"/>
                  <a:gd name="T1" fmla="*/ 60476 h 42"/>
                  <a:gd name="T2" fmla="*/ 67866 w 56"/>
                  <a:gd name="T3" fmla="*/ 60476 h 42"/>
                  <a:gd name="T4" fmla="*/ 116880 w 56"/>
                  <a:gd name="T5" fmla="*/ 15119 h 42"/>
                  <a:gd name="T6" fmla="*/ 162124 w 56"/>
                  <a:gd name="T7" fmla="*/ 0 h 42"/>
                  <a:gd name="T8" fmla="*/ 199827 w 56"/>
                  <a:gd name="T9" fmla="*/ 0 h 42"/>
                  <a:gd name="T10" fmla="*/ 113110 w 56"/>
                  <a:gd name="T11" fmla="*/ 79375 h 42"/>
                  <a:gd name="T12" fmla="*/ 211138 w 56"/>
                  <a:gd name="T13" fmla="*/ 158750 h 42"/>
                  <a:gd name="T14" fmla="*/ 173435 w 56"/>
                  <a:gd name="T15" fmla="*/ 158750 h 42"/>
                  <a:gd name="T16" fmla="*/ 124421 w 56"/>
                  <a:gd name="T17" fmla="*/ 143631 h 42"/>
                  <a:gd name="T18" fmla="*/ 67866 w 56"/>
                  <a:gd name="T19" fmla="*/ 98274 h 42"/>
                  <a:gd name="T20" fmla="*/ 49014 w 56"/>
                  <a:gd name="T21" fmla="*/ 98274 h 42"/>
                  <a:gd name="T22" fmla="*/ 49014 w 56"/>
                  <a:gd name="T23" fmla="*/ 158750 h 42"/>
                  <a:gd name="T24" fmla="*/ 0 w 56"/>
                  <a:gd name="T25" fmla="*/ 158750 h 42"/>
                  <a:gd name="T26" fmla="*/ 0 w 56"/>
                  <a:gd name="T27" fmla="*/ 0 h 42"/>
                  <a:gd name="T28" fmla="*/ 49014 w 56"/>
                  <a:gd name="T29" fmla="*/ 0 h 42"/>
                  <a:gd name="T30" fmla="*/ 49014 w 56"/>
                  <a:gd name="T31" fmla="*/ 60476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6" h="42">
                    <a:moveTo>
                      <a:pt x="13" y="16"/>
                    </a:moveTo>
                    <a:cubicBezTo>
                      <a:pt x="18" y="16"/>
                      <a:pt x="18" y="16"/>
                      <a:pt x="18" y="16"/>
                    </a:cubicBezTo>
                    <a:cubicBezTo>
                      <a:pt x="23" y="12"/>
                      <a:pt x="27" y="8"/>
                      <a:pt x="31" y="4"/>
                    </a:cubicBezTo>
                    <a:cubicBezTo>
                      <a:pt x="35" y="1"/>
                      <a:pt x="39" y="0"/>
                      <a:pt x="43" y="0"/>
                    </a:cubicBezTo>
                    <a:cubicBezTo>
                      <a:pt x="53" y="0"/>
                      <a:pt x="53" y="0"/>
                      <a:pt x="53" y="0"/>
                    </a:cubicBezTo>
                    <a:cubicBezTo>
                      <a:pt x="30" y="21"/>
                      <a:pt x="30" y="21"/>
                      <a:pt x="30" y="21"/>
                    </a:cubicBezTo>
                    <a:cubicBezTo>
                      <a:pt x="56" y="42"/>
                      <a:pt x="56" y="42"/>
                      <a:pt x="56" y="42"/>
                    </a:cubicBezTo>
                    <a:cubicBezTo>
                      <a:pt x="46" y="42"/>
                      <a:pt x="46" y="42"/>
                      <a:pt x="46" y="42"/>
                    </a:cubicBezTo>
                    <a:cubicBezTo>
                      <a:pt x="40" y="42"/>
                      <a:pt x="37" y="42"/>
                      <a:pt x="33" y="38"/>
                    </a:cubicBezTo>
                    <a:cubicBezTo>
                      <a:pt x="18" y="26"/>
                      <a:pt x="18" y="26"/>
                      <a:pt x="18" y="26"/>
                    </a:cubicBezTo>
                    <a:cubicBezTo>
                      <a:pt x="13" y="26"/>
                      <a:pt x="13" y="26"/>
                      <a:pt x="13" y="26"/>
                    </a:cubicBezTo>
                    <a:cubicBezTo>
                      <a:pt x="13" y="42"/>
                      <a:pt x="13" y="42"/>
                      <a:pt x="13" y="42"/>
                    </a:cubicBezTo>
                    <a:cubicBezTo>
                      <a:pt x="0" y="42"/>
                      <a:pt x="0" y="42"/>
                      <a:pt x="0" y="42"/>
                    </a:cubicBezTo>
                    <a:cubicBezTo>
                      <a:pt x="0" y="0"/>
                      <a:pt x="0" y="0"/>
                      <a:pt x="0" y="0"/>
                    </a:cubicBezTo>
                    <a:cubicBezTo>
                      <a:pt x="13" y="0"/>
                      <a:pt x="13" y="0"/>
                      <a:pt x="13" y="0"/>
                    </a:cubicBezTo>
                    <a:lnTo>
                      <a:pt x="13" y="16"/>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7" name="Freeform 30"/>
              <p:cNvSpPr>
                <a:spLocks/>
              </p:cNvSpPr>
              <p:nvPr/>
            </p:nvSpPr>
            <p:spPr bwMode="auto">
              <a:xfrm>
                <a:off x="3984625" y="3273426"/>
                <a:ext cx="203200" cy="158750"/>
              </a:xfrm>
              <a:custGeom>
                <a:avLst/>
                <a:gdLst>
                  <a:gd name="T0" fmla="*/ 48919 w 54"/>
                  <a:gd name="T1" fmla="*/ 158750 h 42"/>
                  <a:gd name="T2" fmla="*/ 0 w 54"/>
                  <a:gd name="T3" fmla="*/ 158750 h 42"/>
                  <a:gd name="T4" fmla="*/ 0 w 54"/>
                  <a:gd name="T5" fmla="*/ 0 h 42"/>
                  <a:gd name="T6" fmla="*/ 22578 w 54"/>
                  <a:gd name="T7" fmla="*/ 0 h 42"/>
                  <a:gd name="T8" fmla="*/ 48919 w 54"/>
                  <a:gd name="T9" fmla="*/ 26458 h 42"/>
                  <a:gd name="T10" fmla="*/ 48919 w 54"/>
                  <a:gd name="T11" fmla="*/ 56696 h 42"/>
                  <a:gd name="T12" fmla="*/ 150519 w 54"/>
                  <a:gd name="T13" fmla="*/ 56696 h 42"/>
                  <a:gd name="T14" fmla="*/ 150519 w 54"/>
                  <a:gd name="T15" fmla="*/ 26458 h 42"/>
                  <a:gd name="T16" fmla="*/ 180622 w 54"/>
                  <a:gd name="T17" fmla="*/ 0 h 42"/>
                  <a:gd name="T18" fmla="*/ 203200 w 54"/>
                  <a:gd name="T19" fmla="*/ 0 h 42"/>
                  <a:gd name="T20" fmla="*/ 203200 w 54"/>
                  <a:gd name="T21" fmla="*/ 30238 h 42"/>
                  <a:gd name="T22" fmla="*/ 203200 w 54"/>
                  <a:gd name="T23" fmla="*/ 158750 h 42"/>
                  <a:gd name="T24" fmla="*/ 150519 w 54"/>
                  <a:gd name="T25" fmla="*/ 158750 h 42"/>
                  <a:gd name="T26" fmla="*/ 150519 w 54"/>
                  <a:gd name="T27" fmla="*/ 98274 h 42"/>
                  <a:gd name="T28" fmla="*/ 48919 w 54"/>
                  <a:gd name="T29" fmla="*/ 98274 h 42"/>
                  <a:gd name="T30" fmla="*/ 48919 w 54"/>
                  <a:gd name="T31" fmla="*/ 158750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4" h="42">
                    <a:moveTo>
                      <a:pt x="13" y="42"/>
                    </a:moveTo>
                    <a:cubicBezTo>
                      <a:pt x="0" y="42"/>
                      <a:pt x="0" y="42"/>
                      <a:pt x="0" y="42"/>
                    </a:cubicBezTo>
                    <a:cubicBezTo>
                      <a:pt x="0" y="0"/>
                      <a:pt x="0" y="0"/>
                      <a:pt x="0" y="0"/>
                    </a:cubicBezTo>
                    <a:cubicBezTo>
                      <a:pt x="6" y="0"/>
                      <a:pt x="6" y="0"/>
                      <a:pt x="6" y="0"/>
                    </a:cubicBezTo>
                    <a:cubicBezTo>
                      <a:pt x="11" y="0"/>
                      <a:pt x="13" y="3"/>
                      <a:pt x="13" y="7"/>
                    </a:cubicBezTo>
                    <a:cubicBezTo>
                      <a:pt x="13" y="15"/>
                      <a:pt x="13" y="15"/>
                      <a:pt x="13" y="15"/>
                    </a:cubicBezTo>
                    <a:cubicBezTo>
                      <a:pt x="40" y="15"/>
                      <a:pt x="40" y="15"/>
                      <a:pt x="40" y="15"/>
                    </a:cubicBezTo>
                    <a:cubicBezTo>
                      <a:pt x="40" y="7"/>
                      <a:pt x="40" y="7"/>
                      <a:pt x="40" y="7"/>
                    </a:cubicBezTo>
                    <a:cubicBezTo>
                      <a:pt x="40" y="4"/>
                      <a:pt x="42" y="0"/>
                      <a:pt x="48" y="0"/>
                    </a:cubicBezTo>
                    <a:cubicBezTo>
                      <a:pt x="54" y="0"/>
                      <a:pt x="54" y="0"/>
                      <a:pt x="54" y="0"/>
                    </a:cubicBezTo>
                    <a:cubicBezTo>
                      <a:pt x="54" y="8"/>
                      <a:pt x="54" y="8"/>
                      <a:pt x="54" y="8"/>
                    </a:cubicBezTo>
                    <a:cubicBezTo>
                      <a:pt x="54" y="42"/>
                      <a:pt x="54" y="42"/>
                      <a:pt x="54" y="42"/>
                    </a:cubicBezTo>
                    <a:cubicBezTo>
                      <a:pt x="40" y="42"/>
                      <a:pt x="40" y="42"/>
                      <a:pt x="40" y="42"/>
                    </a:cubicBezTo>
                    <a:cubicBezTo>
                      <a:pt x="40" y="26"/>
                      <a:pt x="40" y="26"/>
                      <a:pt x="40" y="26"/>
                    </a:cubicBezTo>
                    <a:cubicBezTo>
                      <a:pt x="13" y="26"/>
                      <a:pt x="13" y="26"/>
                      <a:pt x="13" y="26"/>
                    </a:cubicBezTo>
                    <a:lnTo>
                      <a:pt x="13"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8" name="Freeform 31"/>
              <p:cNvSpPr>
                <a:spLocks/>
              </p:cNvSpPr>
              <p:nvPr/>
            </p:nvSpPr>
            <p:spPr bwMode="auto">
              <a:xfrm>
                <a:off x="4951413" y="3273426"/>
                <a:ext cx="180975" cy="158750"/>
              </a:xfrm>
              <a:custGeom>
                <a:avLst/>
                <a:gdLst>
                  <a:gd name="T0" fmla="*/ 180975 w 48"/>
                  <a:gd name="T1" fmla="*/ 37798 h 42"/>
                  <a:gd name="T2" fmla="*/ 52784 w 48"/>
                  <a:gd name="T3" fmla="*/ 37798 h 42"/>
                  <a:gd name="T4" fmla="*/ 52784 w 48"/>
                  <a:gd name="T5" fmla="*/ 64256 h 42"/>
                  <a:gd name="T6" fmla="*/ 180975 w 48"/>
                  <a:gd name="T7" fmla="*/ 64256 h 42"/>
                  <a:gd name="T8" fmla="*/ 180975 w 48"/>
                  <a:gd name="T9" fmla="*/ 98274 h 42"/>
                  <a:gd name="T10" fmla="*/ 52784 w 48"/>
                  <a:gd name="T11" fmla="*/ 98274 h 42"/>
                  <a:gd name="T12" fmla="*/ 52784 w 48"/>
                  <a:gd name="T13" fmla="*/ 120952 h 42"/>
                  <a:gd name="T14" fmla="*/ 180975 w 48"/>
                  <a:gd name="T15" fmla="*/ 120952 h 42"/>
                  <a:gd name="T16" fmla="*/ 180975 w 48"/>
                  <a:gd name="T17" fmla="*/ 158750 h 42"/>
                  <a:gd name="T18" fmla="*/ 0 w 48"/>
                  <a:gd name="T19" fmla="*/ 158750 h 42"/>
                  <a:gd name="T20" fmla="*/ 0 w 48"/>
                  <a:gd name="T21" fmla="*/ 37798 h 42"/>
                  <a:gd name="T22" fmla="*/ 41473 w 48"/>
                  <a:gd name="T23" fmla="*/ 0 h 42"/>
                  <a:gd name="T24" fmla="*/ 180975 w 48"/>
                  <a:gd name="T25" fmla="*/ 0 h 42"/>
                  <a:gd name="T26" fmla="*/ 180975 w 48"/>
                  <a:gd name="T27" fmla="*/ 37798 h 4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42">
                    <a:moveTo>
                      <a:pt x="48" y="10"/>
                    </a:moveTo>
                    <a:cubicBezTo>
                      <a:pt x="14" y="10"/>
                      <a:pt x="14" y="10"/>
                      <a:pt x="14" y="10"/>
                    </a:cubicBezTo>
                    <a:cubicBezTo>
                      <a:pt x="14" y="17"/>
                      <a:pt x="14" y="17"/>
                      <a:pt x="14" y="17"/>
                    </a:cubicBezTo>
                    <a:cubicBezTo>
                      <a:pt x="48" y="17"/>
                      <a:pt x="48" y="17"/>
                      <a:pt x="48" y="17"/>
                    </a:cubicBezTo>
                    <a:cubicBezTo>
                      <a:pt x="48" y="26"/>
                      <a:pt x="48" y="26"/>
                      <a:pt x="48" y="26"/>
                    </a:cubicBezTo>
                    <a:cubicBezTo>
                      <a:pt x="14" y="26"/>
                      <a:pt x="14" y="26"/>
                      <a:pt x="14" y="26"/>
                    </a:cubicBezTo>
                    <a:cubicBezTo>
                      <a:pt x="14" y="32"/>
                      <a:pt x="14" y="32"/>
                      <a:pt x="14" y="32"/>
                    </a:cubicBezTo>
                    <a:cubicBezTo>
                      <a:pt x="48" y="32"/>
                      <a:pt x="48" y="32"/>
                      <a:pt x="48" y="32"/>
                    </a:cubicBezTo>
                    <a:cubicBezTo>
                      <a:pt x="48" y="42"/>
                      <a:pt x="48" y="42"/>
                      <a:pt x="48" y="42"/>
                    </a:cubicBezTo>
                    <a:cubicBezTo>
                      <a:pt x="0" y="42"/>
                      <a:pt x="0" y="42"/>
                      <a:pt x="0" y="42"/>
                    </a:cubicBezTo>
                    <a:cubicBezTo>
                      <a:pt x="0" y="10"/>
                      <a:pt x="0" y="10"/>
                      <a:pt x="0" y="10"/>
                    </a:cubicBezTo>
                    <a:cubicBezTo>
                      <a:pt x="1" y="5"/>
                      <a:pt x="3" y="1"/>
                      <a:pt x="11" y="0"/>
                    </a:cubicBezTo>
                    <a:cubicBezTo>
                      <a:pt x="48" y="0"/>
                      <a:pt x="48" y="0"/>
                      <a:pt x="48" y="0"/>
                    </a:cubicBezTo>
                    <a:lnTo>
                      <a:pt x="48" y="1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9" name="Freeform 32"/>
              <p:cNvSpPr>
                <a:spLocks/>
              </p:cNvSpPr>
              <p:nvPr/>
            </p:nvSpPr>
            <p:spPr bwMode="auto">
              <a:xfrm>
                <a:off x="5143500" y="3273426"/>
                <a:ext cx="233363" cy="158750"/>
              </a:xfrm>
              <a:custGeom>
                <a:avLst/>
                <a:gdLst>
                  <a:gd name="T0" fmla="*/ 143029 w 62"/>
                  <a:gd name="T1" fmla="*/ 158750 h 42"/>
                  <a:gd name="T2" fmla="*/ 90334 w 62"/>
                  <a:gd name="T3" fmla="*/ 158750 h 42"/>
                  <a:gd name="T4" fmla="*/ 90334 w 62"/>
                  <a:gd name="T5" fmla="*/ 102054 h 42"/>
                  <a:gd name="T6" fmla="*/ 0 w 62"/>
                  <a:gd name="T7" fmla="*/ 0 h 42"/>
                  <a:gd name="T8" fmla="*/ 41403 w 62"/>
                  <a:gd name="T9" fmla="*/ 0 h 42"/>
                  <a:gd name="T10" fmla="*/ 75278 w 62"/>
                  <a:gd name="T11" fmla="*/ 15119 h 42"/>
                  <a:gd name="T12" fmla="*/ 116682 w 62"/>
                  <a:gd name="T13" fmla="*/ 64256 h 42"/>
                  <a:gd name="T14" fmla="*/ 158085 w 62"/>
                  <a:gd name="T15" fmla="*/ 15119 h 42"/>
                  <a:gd name="T16" fmla="*/ 199488 w 62"/>
                  <a:gd name="T17" fmla="*/ 0 h 42"/>
                  <a:gd name="T18" fmla="*/ 233363 w 62"/>
                  <a:gd name="T19" fmla="*/ 0 h 42"/>
                  <a:gd name="T20" fmla="*/ 143029 w 62"/>
                  <a:gd name="T21" fmla="*/ 102054 h 42"/>
                  <a:gd name="T22" fmla="*/ 143029 w 62"/>
                  <a:gd name="T23" fmla="*/ 158750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2" h="42">
                    <a:moveTo>
                      <a:pt x="38" y="42"/>
                    </a:moveTo>
                    <a:cubicBezTo>
                      <a:pt x="24" y="42"/>
                      <a:pt x="24" y="42"/>
                      <a:pt x="24" y="42"/>
                    </a:cubicBezTo>
                    <a:cubicBezTo>
                      <a:pt x="24" y="27"/>
                      <a:pt x="24" y="27"/>
                      <a:pt x="24" y="27"/>
                    </a:cubicBezTo>
                    <a:cubicBezTo>
                      <a:pt x="0" y="0"/>
                      <a:pt x="0" y="0"/>
                      <a:pt x="0" y="0"/>
                    </a:cubicBezTo>
                    <a:cubicBezTo>
                      <a:pt x="11" y="0"/>
                      <a:pt x="11" y="0"/>
                      <a:pt x="11" y="0"/>
                    </a:cubicBezTo>
                    <a:cubicBezTo>
                      <a:pt x="14" y="0"/>
                      <a:pt x="17" y="1"/>
                      <a:pt x="20" y="4"/>
                    </a:cubicBezTo>
                    <a:cubicBezTo>
                      <a:pt x="31" y="17"/>
                      <a:pt x="31" y="17"/>
                      <a:pt x="31" y="17"/>
                    </a:cubicBezTo>
                    <a:cubicBezTo>
                      <a:pt x="35" y="13"/>
                      <a:pt x="38" y="9"/>
                      <a:pt x="42" y="4"/>
                    </a:cubicBezTo>
                    <a:cubicBezTo>
                      <a:pt x="44" y="2"/>
                      <a:pt x="47" y="0"/>
                      <a:pt x="53" y="0"/>
                    </a:cubicBezTo>
                    <a:cubicBezTo>
                      <a:pt x="62" y="0"/>
                      <a:pt x="62" y="0"/>
                      <a:pt x="62" y="0"/>
                    </a:cubicBezTo>
                    <a:cubicBezTo>
                      <a:pt x="38" y="27"/>
                      <a:pt x="38" y="27"/>
                      <a:pt x="38" y="27"/>
                    </a:cubicBezTo>
                    <a:lnTo>
                      <a:pt x="38"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0" name="Freeform 33"/>
              <p:cNvSpPr>
                <a:spLocks/>
              </p:cNvSpPr>
              <p:nvPr/>
            </p:nvSpPr>
            <p:spPr bwMode="auto">
              <a:xfrm>
                <a:off x="5389563" y="3273426"/>
                <a:ext cx="157163" cy="158750"/>
              </a:xfrm>
              <a:custGeom>
                <a:avLst/>
                <a:gdLst>
                  <a:gd name="T0" fmla="*/ 48646 w 42"/>
                  <a:gd name="T1" fmla="*/ 120952 h 42"/>
                  <a:gd name="T2" fmla="*/ 157163 w 42"/>
                  <a:gd name="T3" fmla="*/ 120952 h 42"/>
                  <a:gd name="T4" fmla="*/ 157163 w 42"/>
                  <a:gd name="T5" fmla="*/ 158750 h 42"/>
                  <a:gd name="T6" fmla="*/ 0 w 42"/>
                  <a:gd name="T7" fmla="*/ 158750 h 42"/>
                  <a:gd name="T8" fmla="*/ 0 w 42"/>
                  <a:gd name="T9" fmla="*/ 0 h 42"/>
                  <a:gd name="T10" fmla="*/ 18710 w 42"/>
                  <a:gd name="T11" fmla="*/ 0 h 42"/>
                  <a:gd name="T12" fmla="*/ 48646 w 42"/>
                  <a:gd name="T13" fmla="*/ 26458 h 42"/>
                  <a:gd name="T14" fmla="*/ 48646 w 42"/>
                  <a:gd name="T15" fmla="*/ 120952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2">
                    <a:moveTo>
                      <a:pt x="13" y="32"/>
                    </a:moveTo>
                    <a:cubicBezTo>
                      <a:pt x="42" y="32"/>
                      <a:pt x="42" y="32"/>
                      <a:pt x="42" y="32"/>
                    </a:cubicBezTo>
                    <a:cubicBezTo>
                      <a:pt x="42" y="42"/>
                      <a:pt x="42" y="42"/>
                      <a:pt x="42" y="42"/>
                    </a:cubicBezTo>
                    <a:cubicBezTo>
                      <a:pt x="0" y="42"/>
                      <a:pt x="0" y="42"/>
                      <a:pt x="0" y="42"/>
                    </a:cubicBezTo>
                    <a:cubicBezTo>
                      <a:pt x="0" y="0"/>
                      <a:pt x="0" y="0"/>
                      <a:pt x="0" y="0"/>
                    </a:cubicBezTo>
                    <a:cubicBezTo>
                      <a:pt x="5" y="0"/>
                      <a:pt x="5" y="0"/>
                      <a:pt x="5" y="0"/>
                    </a:cubicBezTo>
                    <a:cubicBezTo>
                      <a:pt x="10" y="0"/>
                      <a:pt x="13" y="2"/>
                      <a:pt x="13" y="7"/>
                    </a:cubicBezTo>
                    <a:lnTo>
                      <a:pt x="13" y="3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1" name="Freeform 34"/>
              <p:cNvSpPr>
                <a:spLocks/>
              </p:cNvSpPr>
              <p:nvPr/>
            </p:nvSpPr>
            <p:spPr bwMode="auto">
              <a:xfrm>
                <a:off x="5818188" y="3273426"/>
                <a:ext cx="222250" cy="158750"/>
              </a:xfrm>
              <a:custGeom>
                <a:avLst/>
                <a:gdLst>
                  <a:gd name="T0" fmla="*/ 222250 w 59"/>
                  <a:gd name="T1" fmla="*/ 158750 h 42"/>
                  <a:gd name="T2" fmla="*/ 146911 w 59"/>
                  <a:gd name="T3" fmla="*/ 158750 h 42"/>
                  <a:gd name="T4" fmla="*/ 48970 w 59"/>
                  <a:gd name="T5" fmla="*/ 45357 h 42"/>
                  <a:gd name="T6" fmla="*/ 48970 w 59"/>
                  <a:gd name="T7" fmla="*/ 158750 h 42"/>
                  <a:gd name="T8" fmla="*/ 0 w 59"/>
                  <a:gd name="T9" fmla="*/ 158750 h 42"/>
                  <a:gd name="T10" fmla="*/ 0 w 59"/>
                  <a:gd name="T11" fmla="*/ 0 h 42"/>
                  <a:gd name="T12" fmla="*/ 41436 w 59"/>
                  <a:gd name="T13" fmla="*/ 0 h 42"/>
                  <a:gd name="T14" fmla="*/ 101708 w 59"/>
                  <a:gd name="T15" fmla="*/ 30238 h 42"/>
                  <a:gd name="T16" fmla="*/ 169513 w 59"/>
                  <a:gd name="T17" fmla="*/ 117173 h 42"/>
                  <a:gd name="T18" fmla="*/ 169513 w 59"/>
                  <a:gd name="T19" fmla="*/ 0 h 42"/>
                  <a:gd name="T20" fmla="*/ 222250 w 59"/>
                  <a:gd name="T21" fmla="*/ 0 h 42"/>
                  <a:gd name="T22" fmla="*/ 222250 w 59"/>
                  <a:gd name="T23" fmla="*/ 158750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42">
                    <a:moveTo>
                      <a:pt x="59" y="42"/>
                    </a:moveTo>
                    <a:cubicBezTo>
                      <a:pt x="39" y="42"/>
                      <a:pt x="39" y="42"/>
                      <a:pt x="39" y="42"/>
                    </a:cubicBezTo>
                    <a:cubicBezTo>
                      <a:pt x="13" y="12"/>
                      <a:pt x="13" y="12"/>
                      <a:pt x="13" y="12"/>
                    </a:cubicBezTo>
                    <a:cubicBezTo>
                      <a:pt x="13" y="42"/>
                      <a:pt x="13" y="42"/>
                      <a:pt x="13" y="42"/>
                    </a:cubicBezTo>
                    <a:cubicBezTo>
                      <a:pt x="0" y="42"/>
                      <a:pt x="0" y="42"/>
                      <a:pt x="0" y="42"/>
                    </a:cubicBezTo>
                    <a:cubicBezTo>
                      <a:pt x="0" y="0"/>
                      <a:pt x="0" y="0"/>
                      <a:pt x="0" y="0"/>
                    </a:cubicBezTo>
                    <a:cubicBezTo>
                      <a:pt x="11" y="0"/>
                      <a:pt x="11" y="0"/>
                      <a:pt x="11" y="0"/>
                    </a:cubicBezTo>
                    <a:cubicBezTo>
                      <a:pt x="19" y="0"/>
                      <a:pt x="23" y="4"/>
                      <a:pt x="27" y="8"/>
                    </a:cubicBezTo>
                    <a:cubicBezTo>
                      <a:pt x="45" y="31"/>
                      <a:pt x="45" y="31"/>
                      <a:pt x="45" y="31"/>
                    </a:cubicBezTo>
                    <a:cubicBezTo>
                      <a:pt x="45" y="0"/>
                      <a:pt x="45" y="0"/>
                      <a:pt x="45" y="0"/>
                    </a:cubicBezTo>
                    <a:cubicBezTo>
                      <a:pt x="59" y="0"/>
                      <a:pt x="59" y="0"/>
                      <a:pt x="59" y="0"/>
                    </a:cubicBezTo>
                    <a:lnTo>
                      <a:pt x="59"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2" name="Freeform 35"/>
              <p:cNvSpPr>
                <a:spLocks noEditPoints="1"/>
              </p:cNvSpPr>
              <p:nvPr/>
            </p:nvSpPr>
            <p:spPr bwMode="auto">
              <a:xfrm>
                <a:off x="6062663" y="3273426"/>
                <a:ext cx="214313" cy="158750"/>
              </a:xfrm>
              <a:custGeom>
                <a:avLst/>
                <a:gdLst>
                  <a:gd name="T0" fmla="*/ 127836 w 57"/>
                  <a:gd name="T1" fmla="*/ 37798 h 42"/>
                  <a:gd name="T2" fmla="*/ 48878 w 57"/>
                  <a:gd name="T3" fmla="*/ 37798 h 42"/>
                  <a:gd name="T4" fmla="*/ 48878 w 57"/>
                  <a:gd name="T5" fmla="*/ 120952 h 42"/>
                  <a:gd name="T6" fmla="*/ 131596 w 57"/>
                  <a:gd name="T7" fmla="*/ 120952 h 42"/>
                  <a:gd name="T8" fmla="*/ 154155 w 57"/>
                  <a:gd name="T9" fmla="*/ 113393 h 42"/>
                  <a:gd name="T10" fmla="*/ 161675 w 57"/>
                  <a:gd name="T11" fmla="*/ 94494 h 42"/>
                  <a:gd name="T12" fmla="*/ 161675 w 57"/>
                  <a:gd name="T13" fmla="*/ 68036 h 42"/>
                  <a:gd name="T14" fmla="*/ 154155 w 57"/>
                  <a:gd name="T15" fmla="*/ 45357 h 42"/>
                  <a:gd name="T16" fmla="*/ 127836 w 57"/>
                  <a:gd name="T17" fmla="*/ 37798 h 42"/>
                  <a:gd name="T18" fmla="*/ 142875 w 57"/>
                  <a:gd name="T19" fmla="*/ 0 h 42"/>
                  <a:gd name="T20" fmla="*/ 195514 w 57"/>
                  <a:gd name="T21" fmla="*/ 11339 h 42"/>
                  <a:gd name="T22" fmla="*/ 214313 w 57"/>
                  <a:gd name="T23" fmla="*/ 52917 h 42"/>
                  <a:gd name="T24" fmla="*/ 214313 w 57"/>
                  <a:gd name="T25" fmla="*/ 109613 h 42"/>
                  <a:gd name="T26" fmla="*/ 199273 w 57"/>
                  <a:gd name="T27" fmla="*/ 147411 h 42"/>
                  <a:gd name="T28" fmla="*/ 157915 w 57"/>
                  <a:gd name="T29" fmla="*/ 158750 h 42"/>
                  <a:gd name="T30" fmla="*/ 0 w 57"/>
                  <a:gd name="T31" fmla="*/ 158750 h 42"/>
                  <a:gd name="T32" fmla="*/ 0 w 57"/>
                  <a:gd name="T33" fmla="*/ 0 h 42"/>
                  <a:gd name="T34" fmla="*/ 142875 w 57"/>
                  <a:gd name="T35" fmla="*/ 0 h 4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7" h="42">
                    <a:moveTo>
                      <a:pt x="34" y="10"/>
                    </a:moveTo>
                    <a:cubicBezTo>
                      <a:pt x="13" y="10"/>
                      <a:pt x="13" y="10"/>
                      <a:pt x="13" y="10"/>
                    </a:cubicBezTo>
                    <a:cubicBezTo>
                      <a:pt x="13" y="32"/>
                      <a:pt x="13" y="32"/>
                      <a:pt x="13" y="32"/>
                    </a:cubicBezTo>
                    <a:cubicBezTo>
                      <a:pt x="35" y="32"/>
                      <a:pt x="35" y="32"/>
                      <a:pt x="35" y="32"/>
                    </a:cubicBezTo>
                    <a:cubicBezTo>
                      <a:pt x="38" y="32"/>
                      <a:pt x="40" y="31"/>
                      <a:pt x="41" y="30"/>
                    </a:cubicBezTo>
                    <a:cubicBezTo>
                      <a:pt x="43" y="29"/>
                      <a:pt x="43" y="27"/>
                      <a:pt x="43" y="25"/>
                    </a:cubicBezTo>
                    <a:cubicBezTo>
                      <a:pt x="43" y="18"/>
                      <a:pt x="43" y="18"/>
                      <a:pt x="43" y="18"/>
                    </a:cubicBezTo>
                    <a:cubicBezTo>
                      <a:pt x="43" y="15"/>
                      <a:pt x="43" y="13"/>
                      <a:pt x="41" y="12"/>
                    </a:cubicBezTo>
                    <a:cubicBezTo>
                      <a:pt x="39" y="11"/>
                      <a:pt x="37" y="10"/>
                      <a:pt x="34" y="10"/>
                    </a:cubicBezTo>
                    <a:moveTo>
                      <a:pt x="38" y="0"/>
                    </a:moveTo>
                    <a:cubicBezTo>
                      <a:pt x="44" y="0"/>
                      <a:pt x="49" y="1"/>
                      <a:pt x="52" y="3"/>
                    </a:cubicBezTo>
                    <a:cubicBezTo>
                      <a:pt x="55" y="6"/>
                      <a:pt x="57" y="9"/>
                      <a:pt x="57" y="14"/>
                    </a:cubicBezTo>
                    <a:cubicBezTo>
                      <a:pt x="57" y="29"/>
                      <a:pt x="57" y="29"/>
                      <a:pt x="57" y="29"/>
                    </a:cubicBezTo>
                    <a:cubicBezTo>
                      <a:pt x="57" y="33"/>
                      <a:pt x="55" y="37"/>
                      <a:pt x="53" y="39"/>
                    </a:cubicBezTo>
                    <a:cubicBezTo>
                      <a:pt x="51" y="41"/>
                      <a:pt x="47" y="42"/>
                      <a:pt x="42" y="42"/>
                    </a:cubicBezTo>
                    <a:cubicBezTo>
                      <a:pt x="0" y="42"/>
                      <a:pt x="0" y="42"/>
                      <a:pt x="0" y="42"/>
                    </a:cubicBezTo>
                    <a:cubicBezTo>
                      <a:pt x="0" y="0"/>
                      <a:pt x="0" y="0"/>
                      <a:pt x="0" y="0"/>
                    </a:cubicBezTo>
                    <a:lnTo>
                      <a:pt x="38" y="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3" name="Freeform 36"/>
              <p:cNvSpPr>
                <a:spLocks/>
              </p:cNvSpPr>
              <p:nvPr/>
            </p:nvSpPr>
            <p:spPr bwMode="auto">
              <a:xfrm>
                <a:off x="3756025" y="3273426"/>
                <a:ext cx="203200" cy="163513"/>
              </a:xfrm>
              <a:custGeom>
                <a:avLst/>
                <a:gdLst>
                  <a:gd name="T0" fmla="*/ 135467 w 54"/>
                  <a:gd name="T1" fmla="*/ 125487 h 43"/>
                  <a:gd name="T2" fmla="*/ 150519 w 54"/>
                  <a:gd name="T3" fmla="*/ 121684 h 43"/>
                  <a:gd name="T4" fmla="*/ 154281 w 54"/>
                  <a:gd name="T5" fmla="*/ 114079 h 43"/>
                  <a:gd name="T6" fmla="*/ 150519 w 54"/>
                  <a:gd name="T7" fmla="*/ 102671 h 43"/>
                  <a:gd name="T8" fmla="*/ 127941 w 54"/>
                  <a:gd name="T9" fmla="*/ 98868 h 43"/>
                  <a:gd name="T10" fmla="*/ 52681 w 54"/>
                  <a:gd name="T11" fmla="*/ 95066 h 43"/>
                  <a:gd name="T12" fmla="*/ 11289 w 54"/>
                  <a:gd name="T13" fmla="*/ 83658 h 43"/>
                  <a:gd name="T14" fmla="*/ 0 w 54"/>
                  <a:gd name="T15" fmla="*/ 49434 h 43"/>
                  <a:gd name="T16" fmla="*/ 3763 w 54"/>
                  <a:gd name="T17" fmla="*/ 26618 h 43"/>
                  <a:gd name="T18" fmla="*/ 11289 w 54"/>
                  <a:gd name="T19" fmla="*/ 11408 h 43"/>
                  <a:gd name="T20" fmla="*/ 30104 w 54"/>
                  <a:gd name="T21" fmla="*/ 0 h 43"/>
                  <a:gd name="T22" fmla="*/ 67733 w 54"/>
                  <a:gd name="T23" fmla="*/ 0 h 43"/>
                  <a:gd name="T24" fmla="*/ 146756 w 54"/>
                  <a:gd name="T25" fmla="*/ 0 h 43"/>
                  <a:gd name="T26" fmla="*/ 184385 w 54"/>
                  <a:gd name="T27" fmla="*/ 7605 h 43"/>
                  <a:gd name="T28" fmla="*/ 199437 w 54"/>
                  <a:gd name="T29" fmla="*/ 34224 h 43"/>
                  <a:gd name="T30" fmla="*/ 75259 w 54"/>
                  <a:gd name="T31" fmla="*/ 34224 h 43"/>
                  <a:gd name="T32" fmla="*/ 56444 w 54"/>
                  <a:gd name="T33" fmla="*/ 38026 h 43"/>
                  <a:gd name="T34" fmla="*/ 52681 w 54"/>
                  <a:gd name="T35" fmla="*/ 45632 h 43"/>
                  <a:gd name="T36" fmla="*/ 56444 w 54"/>
                  <a:gd name="T37" fmla="*/ 57039 h 43"/>
                  <a:gd name="T38" fmla="*/ 71496 w 54"/>
                  <a:gd name="T39" fmla="*/ 60842 h 43"/>
                  <a:gd name="T40" fmla="*/ 154281 w 54"/>
                  <a:gd name="T41" fmla="*/ 60842 h 43"/>
                  <a:gd name="T42" fmla="*/ 191911 w 54"/>
                  <a:gd name="T43" fmla="*/ 72250 h 43"/>
                  <a:gd name="T44" fmla="*/ 203200 w 54"/>
                  <a:gd name="T45" fmla="*/ 114079 h 43"/>
                  <a:gd name="T46" fmla="*/ 199437 w 54"/>
                  <a:gd name="T47" fmla="*/ 140697 h 43"/>
                  <a:gd name="T48" fmla="*/ 184385 w 54"/>
                  <a:gd name="T49" fmla="*/ 155908 h 43"/>
                  <a:gd name="T50" fmla="*/ 169333 w 54"/>
                  <a:gd name="T51" fmla="*/ 159710 h 43"/>
                  <a:gd name="T52" fmla="*/ 135467 w 54"/>
                  <a:gd name="T53" fmla="*/ 163513 h 43"/>
                  <a:gd name="T54" fmla="*/ 67733 w 54"/>
                  <a:gd name="T55" fmla="*/ 163513 h 43"/>
                  <a:gd name="T56" fmla="*/ 15052 w 54"/>
                  <a:gd name="T57" fmla="*/ 152105 h 43"/>
                  <a:gd name="T58" fmla="*/ 0 w 54"/>
                  <a:gd name="T59" fmla="*/ 125487 h 43"/>
                  <a:gd name="T60" fmla="*/ 135467 w 54"/>
                  <a:gd name="T61" fmla="*/ 125487 h 4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43">
                    <a:moveTo>
                      <a:pt x="36" y="33"/>
                    </a:moveTo>
                    <a:cubicBezTo>
                      <a:pt x="38" y="33"/>
                      <a:pt x="39" y="33"/>
                      <a:pt x="40" y="32"/>
                    </a:cubicBezTo>
                    <a:cubicBezTo>
                      <a:pt x="40" y="32"/>
                      <a:pt x="41" y="31"/>
                      <a:pt x="41" y="30"/>
                    </a:cubicBezTo>
                    <a:cubicBezTo>
                      <a:pt x="41" y="28"/>
                      <a:pt x="40" y="27"/>
                      <a:pt x="40" y="27"/>
                    </a:cubicBezTo>
                    <a:cubicBezTo>
                      <a:pt x="39" y="26"/>
                      <a:pt x="37" y="26"/>
                      <a:pt x="34" y="26"/>
                    </a:cubicBezTo>
                    <a:cubicBezTo>
                      <a:pt x="14" y="25"/>
                      <a:pt x="14" y="25"/>
                      <a:pt x="14" y="25"/>
                    </a:cubicBezTo>
                    <a:cubicBezTo>
                      <a:pt x="8" y="25"/>
                      <a:pt x="5" y="24"/>
                      <a:pt x="3" y="22"/>
                    </a:cubicBezTo>
                    <a:cubicBezTo>
                      <a:pt x="1" y="21"/>
                      <a:pt x="0" y="17"/>
                      <a:pt x="0" y="13"/>
                    </a:cubicBezTo>
                    <a:cubicBezTo>
                      <a:pt x="0" y="10"/>
                      <a:pt x="1" y="8"/>
                      <a:pt x="1" y="7"/>
                    </a:cubicBezTo>
                    <a:cubicBezTo>
                      <a:pt x="2" y="5"/>
                      <a:pt x="2" y="4"/>
                      <a:pt x="3" y="3"/>
                    </a:cubicBezTo>
                    <a:cubicBezTo>
                      <a:pt x="5" y="2"/>
                      <a:pt x="6" y="1"/>
                      <a:pt x="8" y="0"/>
                    </a:cubicBezTo>
                    <a:cubicBezTo>
                      <a:pt x="10" y="0"/>
                      <a:pt x="14" y="0"/>
                      <a:pt x="18" y="0"/>
                    </a:cubicBezTo>
                    <a:cubicBezTo>
                      <a:pt x="39" y="0"/>
                      <a:pt x="39" y="0"/>
                      <a:pt x="39" y="0"/>
                    </a:cubicBezTo>
                    <a:cubicBezTo>
                      <a:pt x="44" y="0"/>
                      <a:pt x="47" y="0"/>
                      <a:pt x="49" y="2"/>
                    </a:cubicBezTo>
                    <a:cubicBezTo>
                      <a:pt x="51" y="4"/>
                      <a:pt x="52" y="6"/>
                      <a:pt x="53" y="9"/>
                    </a:cubicBezTo>
                    <a:cubicBezTo>
                      <a:pt x="20" y="9"/>
                      <a:pt x="20" y="9"/>
                      <a:pt x="20" y="9"/>
                    </a:cubicBezTo>
                    <a:cubicBezTo>
                      <a:pt x="18" y="9"/>
                      <a:pt x="16" y="9"/>
                      <a:pt x="15" y="10"/>
                    </a:cubicBezTo>
                    <a:cubicBezTo>
                      <a:pt x="14" y="10"/>
                      <a:pt x="14" y="11"/>
                      <a:pt x="14" y="12"/>
                    </a:cubicBezTo>
                    <a:cubicBezTo>
                      <a:pt x="14" y="13"/>
                      <a:pt x="14" y="14"/>
                      <a:pt x="15" y="15"/>
                    </a:cubicBezTo>
                    <a:cubicBezTo>
                      <a:pt x="16" y="15"/>
                      <a:pt x="17" y="16"/>
                      <a:pt x="19" y="16"/>
                    </a:cubicBezTo>
                    <a:cubicBezTo>
                      <a:pt x="41" y="16"/>
                      <a:pt x="41" y="16"/>
                      <a:pt x="41" y="16"/>
                    </a:cubicBezTo>
                    <a:cubicBezTo>
                      <a:pt x="46" y="16"/>
                      <a:pt x="49" y="17"/>
                      <a:pt x="51" y="19"/>
                    </a:cubicBezTo>
                    <a:cubicBezTo>
                      <a:pt x="53" y="21"/>
                      <a:pt x="54" y="25"/>
                      <a:pt x="54" y="30"/>
                    </a:cubicBezTo>
                    <a:cubicBezTo>
                      <a:pt x="54" y="33"/>
                      <a:pt x="54" y="35"/>
                      <a:pt x="53" y="37"/>
                    </a:cubicBezTo>
                    <a:cubicBezTo>
                      <a:pt x="53" y="38"/>
                      <a:pt x="51" y="40"/>
                      <a:pt x="49" y="41"/>
                    </a:cubicBezTo>
                    <a:cubicBezTo>
                      <a:pt x="48" y="41"/>
                      <a:pt x="47" y="42"/>
                      <a:pt x="45" y="42"/>
                    </a:cubicBezTo>
                    <a:cubicBezTo>
                      <a:pt x="43" y="43"/>
                      <a:pt x="40" y="43"/>
                      <a:pt x="36" y="43"/>
                    </a:cubicBezTo>
                    <a:cubicBezTo>
                      <a:pt x="18" y="43"/>
                      <a:pt x="18" y="43"/>
                      <a:pt x="18" y="43"/>
                    </a:cubicBezTo>
                    <a:cubicBezTo>
                      <a:pt x="11" y="43"/>
                      <a:pt x="6" y="42"/>
                      <a:pt x="4" y="40"/>
                    </a:cubicBezTo>
                    <a:cubicBezTo>
                      <a:pt x="2" y="39"/>
                      <a:pt x="0" y="36"/>
                      <a:pt x="0" y="33"/>
                    </a:cubicBezTo>
                    <a:lnTo>
                      <a:pt x="36" y="33"/>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4" name="Freeform 37"/>
              <p:cNvSpPr>
                <a:spLocks noEditPoints="1"/>
              </p:cNvSpPr>
              <p:nvPr/>
            </p:nvSpPr>
            <p:spPr bwMode="auto">
              <a:xfrm>
                <a:off x="3506788" y="3273426"/>
                <a:ext cx="241300" cy="158750"/>
              </a:xfrm>
              <a:custGeom>
                <a:avLst/>
                <a:gdLst>
                  <a:gd name="T0" fmla="*/ 57150 w 152"/>
                  <a:gd name="T1" fmla="*/ 158750 h 100"/>
                  <a:gd name="T2" fmla="*/ 0 w 152"/>
                  <a:gd name="T3" fmla="*/ 158750 h 100"/>
                  <a:gd name="T4" fmla="*/ 90488 w 152"/>
                  <a:gd name="T5" fmla="*/ 0 h 100"/>
                  <a:gd name="T6" fmla="*/ 153988 w 152"/>
                  <a:gd name="T7" fmla="*/ 0 h 100"/>
                  <a:gd name="T8" fmla="*/ 241300 w 152"/>
                  <a:gd name="T9" fmla="*/ 158750 h 100"/>
                  <a:gd name="T10" fmla="*/ 188913 w 152"/>
                  <a:gd name="T11" fmla="*/ 158750 h 100"/>
                  <a:gd name="T12" fmla="*/ 169863 w 152"/>
                  <a:gd name="T13" fmla="*/ 133350 h 100"/>
                  <a:gd name="T14" fmla="*/ 71438 w 152"/>
                  <a:gd name="T15" fmla="*/ 133350 h 100"/>
                  <a:gd name="T16" fmla="*/ 57150 w 152"/>
                  <a:gd name="T17" fmla="*/ 158750 h 100"/>
                  <a:gd name="T18" fmla="*/ 90488 w 152"/>
                  <a:gd name="T19" fmla="*/ 95250 h 100"/>
                  <a:gd name="T20" fmla="*/ 153988 w 152"/>
                  <a:gd name="T21" fmla="*/ 95250 h 100"/>
                  <a:gd name="T22" fmla="*/ 120650 w 152"/>
                  <a:gd name="T23" fmla="*/ 38100 h 100"/>
                  <a:gd name="T24" fmla="*/ 90488 w 152"/>
                  <a:gd name="T25" fmla="*/ 9525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2" h="100">
                    <a:moveTo>
                      <a:pt x="36" y="100"/>
                    </a:moveTo>
                    <a:lnTo>
                      <a:pt x="0" y="100"/>
                    </a:lnTo>
                    <a:lnTo>
                      <a:pt x="57" y="0"/>
                    </a:lnTo>
                    <a:lnTo>
                      <a:pt x="97" y="0"/>
                    </a:lnTo>
                    <a:lnTo>
                      <a:pt x="152" y="100"/>
                    </a:lnTo>
                    <a:lnTo>
                      <a:pt x="119" y="100"/>
                    </a:lnTo>
                    <a:lnTo>
                      <a:pt x="107" y="84"/>
                    </a:lnTo>
                    <a:lnTo>
                      <a:pt x="45" y="84"/>
                    </a:lnTo>
                    <a:lnTo>
                      <a:pt x="36" y="100"/>
                    </a:lnTo>
                    <a:close/>
                    <a:moveTo>
                      <a:pt x="57" y="60"/>
                    </a:moveTo>
                    <a:lnTo>
                      <a:pt x="97" y="60"/>
                    </a:lnTo>
                    <a:lnTo>
                      <a:pt x="76" y="24"/>
                    </a:lnTo>
                    <a:lnTo>
                      <a:pt x="57" y="6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5" name="Freeform 38"/>
              <p:cNvSpPr>
                <a:spLocks noEditPoints="1"/>
              </p:cNvSpPr>
              <p:nvPr/>
            </p:nvSpPr>
            <p:spPr bwMode="auto">
              <a:xfrm>
                <a:off x="4214813" y="3273426"/>
                <a:ext cx="222250" cy="163513"/>
              </a:xfrm>
              <a:custGeom>
                <a:avLst/>
                <a:gdLst>
                  <a:gd name="T0" fmla="*/ 79106 w 59"/>
                  <a:gd name="T1" fmla="*/ 163513 h 43"/>
                  <a:gd name="T2" fmla="*/ 37669 w 59"/>
                  <a:gd name="T3" fmla="*/ 159710 h 43"/>
                  <a:gd name="T4" fmla="*/ 18835 w 59"/>
                  <a:gd name="T5" fmla="*/ 152105 h 43"/>
                  <a:gd name="T6" fmla="*/ 3767 w 59"/>
                  <a:gd name="T7" fmla="*/ 133092 h 43"/>
                  <a:gd name="T8" fmla="*/ 0 w 59"/>
                  <a:gd name="T9" fmla="*/ 102671 h 43"/>
                  <a:gd name="T10" fmla="*/ 0 w 59"/>
                  <a:gd name="T11" fmla="*/ 60842 h 43"/>
                  <a:gd name="T12" fmla="*/ 3767 w 59"/>
                  <a:gd name="T13" fmla="*/ 26618 h 43"/>
                  <a:gd name="T14" fmla="*/ 18835 w 59"/>
                  <a:gd name="T15" fmla="*/ 7605 h 43"/>
                  <a:gd name="T16" fmla="*/ 37669 w 59"/>
                  <a:gd name="T17" fmla="*/ 0 h 43"/>
                  <a:gd name="T18" fmla="*/ 79106 w 59"/>
                  <a:gd name="T19" fmla="*/ 0 h 43"/>
                  <a:gd name="T20" fmla="*/ 139377 w 59"/>
                  <a:gd name="T21" fmla="*/ 0 h 43"/>
                  <a:gd name="T22" fmla="*/ 180814 w 59"/>
                  <a:gd name="T23" fmla="*/ 0 h 43"/>
                  <a:gd name="T24" fmla="*/ 203415 w 59"/>
                  <a:gd name="T25" fmla="*/ 7605 h 43"/>
                  <a:gd name="T26" fmla="*/ 214716 w 59"/>
                  <a:gd name="T27" fmla="*/ 26618 h 43"/>
                  <a:gd name="T28" fmla="*/ 222250 w 59"/>
                  <a:gd name="T29" fmla="*/ 57039 h 43"/>
                  <a:gd name="T30" fmla="*/ 222250 w 59"/>
                  <a:gd name="T31" fmla="*/ 102671 h 43"/>
                  <a:gd name="T32" fmla="*/ 214716 w 59"/>
                  <a:gd name="T33" fmla="*/ 133092 h 43"/>
                  <a:gd name="T34" fmla="*/ 203415 w 59"/>
                  <a:gd name="T35" fmla="*/ 152105 h 43"/>
                  <a:gd name="T36" fmla="*/ 180814 w 59"/>
                  <a:gd name="T37" fmla="*/ 159710 h 43"/>
                  <a:gd name="T38" fmla="*/ 139377 w 59"/>
                  <a:gd name="T39" fmla="*/ 163513 h 43"/>
                  <a:gd name="T40" fmla="*/ 79106 w 59"/>
                  <a:gd name="T41" fmla="*/ 163513 h 43"/>
                  <a:gd name="T42" fmla="*/ 94174 w 59"/>
                  <a:gd name="T43" fmla="*/ 121684 h 43"/>
                  <a:gd name="T44" fmla="*/ 124309 w 59"/>
                  <a:gd name="T45" fmla="*/ 121684 h 43"/>
                  <a:gd name="T46" fmla="*/ 161979 w 59"/>
                  <a:gd name="T47" fmla="*/ 114079 h 43"/>
                  <a:gd name="T48" fmla="*/ 169513 w 59"/>
                  <a:gd name="T49" fmla="*/ 91263 h 43"/>
                  <a:gd name="T50" fmla="*/ 169513 w 59"/>
                  <a:gd name="T51" fmla="*/ 68447 h 43"/>
                  <a:gd name="T52" fmla="*/ 161979 w 59"/>
                  <a:gd name="T53" fmla="*/ 45632 h 43"/>
                  <a:gd name="T54" fmla="*/ 124309 w 59"/>
                  <a:gd name="T55" fmla="*/ 38026 h 43"/>
                  <a:gd name="T56" fmla="*/ 94174 w 59"/>
                  <a:gd name="T57" fmla="*/ 38026 h 43"/>
                  <a:gd name="T58" fmla="*/ 60271 w 59"/>
                  <a:gd name="T59" fmla="*/ 45632 h 43"/>
                  <a:gd name="T60" fmla="*/ 48970 w 59"/>
                  <a:gd name="T61" fmla="*/ 68447 h 43"/>
                  <a:gd name="T62" fmla="*/ 48970 w 59"/>
                  <a:gd name="T63" fmla="*/ 91263 h 43"/>
                  <a:gd name="T64" fmla="*/ 60271 w 59"/>
                  <a:gd name="T65" fmla="*/ 114079 h 43"/>
                  <a:gd name="T66" fmla="*/ 94174 w 59"/>
                  <a:gd name="T67" fmla="*/ 121684 h 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9" h="43">
                    <a:moveTo>
                      <a:pt x="21" y="43"/>
                    </a:moveTo>
                    <a:cubicBezTo>
                      <a:pt x="16" y="43"/>
                      <a:pt x="13" y="42"/>
                      <a:pt x="10" y="42"/>
                    </a:cubicBezTo>
                    <a:cubicBezTo>
                      <a:pt x="8" y="42"/>
                      <a:pt x="6" y="41"/>
                      <a:pt x="5" y="40"/>
                    </a:cubicBezTo>
                    <a:cubicBezTo>
                      <a:pt x="3" y="39"/>
                      <a:pt x="2" y="37"/>
                      <a:pt x="1" y="35"/>
                    </a:cubicBezTo>
                    <a:cubicBezTo>
                      <a:pt x="0" y="33"/>
                      <a:pt x="0" y="30"/>
                      <a:pt x="0" y="27"/>
                    </a:cubicBezTo>
                    <a:cubicBezTo>
                      <a:pt x="0" y="16"/>
                      <a:pt x="0" y="16"/>
                      <a:pt x="0" y="16"/>
                    </a:cubicBezTo>
                    <a:cubicBezTo>
                      <a:pt x="0" y="12"/>
                      <a:pt x="0" y="9"/>
                      <a:pt x="1" y="7"/>
                    </a:cubicBezTo>
                    <a:cubicBezTo>
                      <a:pt x="2" y="5"/>
                      <a:pt x="3" y="4"/>
                      <a:pt x="5" y="2"/>
                    </a:cubicBezTo>
                    <a:cubicBezTo>
                      <a:pt x="6" y="1"/>
                      <a:pt x="8" y="1"/>
                      <a:pt x="10" y="0"/>
                    </a:cubicBezTo>
                    <a:cubicBezTo>
                      <a:pt x="13" y="0"/>
                      <a:pt x="17" y="0"/>
                      <a:pt x="21" y="0"/>
                    </a:cubicBezTo>
                    <a:cubicBezTo>
                      <a:pt x="37" y="0"/>
                      <a:pt x="37" y="0"/>
                      <a:pt x="37" y="0"/>
                    </a:cubicBezTo>
                    <a:cubicBezTo>
                      <a:pt x="42" y="0"/>
                      <a:pt x="46" y="0"/>
                      <a:pt x="48" y="0"/>
                    </a:cubicBezTo>
                    <a:cubicBezTo>
                      <a:pt x="51" y="1"/>
                      <a:pt x="52" y="1"/>
                      <a:pt x="54" y="2"/>
                    </a:cubicBezTo>
                    <a:cubicBezTo>
                      <a:pt x="56" y="4"/>
                      <a:pt x="57" y="5"/>
                      <a:pt x="57" y="7"/>
                    </a:cubicBezTo>
                    <a:cubicBezTo>
                      <a:pt x="58" y="9"/>
                      <a:pt x="59" y="12"/>
                      <a:pt x="59" y="15"/>
                    </a:cubicBezTo>
                    <a:cubicBezTo>
                      <a:pt x="59" y="27"/>
                      <a:pt x="59" y="27"/>
                      <a:pt x="59" y="27"/>
                    </a:cubicBezTo>
                    <a:cubicBezTo>
                      <a:pt x="59" y="30"/>
                      <a:pt x="58" y="33"/>
                      <a:pt x="57" y="35"/>
                    </a:cubicBezTo>
                    <a:cubicBezTo>
                      <a:pt x="57" y="37"/>
                      <a:pt x="56" y="39"/>
                      <a:pt x="54" y="40"/>
                    </a:cubicBezTo>
                    <a:cubicBezTo>
                      <a:pt x="52" y="41"/>
                      <a:pt x="51" y="42"/>
                      <a:pt x="48" y="42"/>
                    </a:cubicBezTo>
                    <a:cubicBezTo>
                      <a:pt x="46" y="42"/>
                      <a:pt x="42" y="43"/>
                      <a:pt x="37" y="43"/>
                    </a:cubicBezTo>
                    <a:lnTo>
                      <a:pt x="21" y="43"/>
                    </a:lnTo>
                    <a:close/>
                    <a:moveTo>
                      <a:pt x="25" y="32"/>
                    </a:moveTo>
                    <a:cubicBezTo>
                      <a:pt x="33" y="32"/>
                      <a:pt x="33" y="32"/>
                      <a:pt x="33" y="32"/>
                    </a:cubicBezTo>
                    <a:cubicBezTo>
                      <a:pt x="38" y="32"/>
                      <a:pt x="41" y="32"/>
                      <a:pt x="43" y="30"/>
                    </a:cubicBezTo>
                    <a:cubicBezTo>
                      <a:pt x="44" y="29"/>
                      <a:pt x="45" y="27"/>
                      <a:pt x="45" y="24"/>
                    </a:cubicBezTo>
                    <a:cubicBezTo>
                      <a:pt x="45" y="18"/>
                      <a:pt x="45" y="18"/>
                      <a:pt x="45" y="18"/>
                    </a:cubicBezTo>
                    <a:cubicBezTo>
                      <a:pt x="45" y="15"/>
                      <a:pt x="44" y="13"/>
                      <a:pt x="43" y="12"/>
                    </a:cubicBezTo>
                    <a:cubicBezTo>
                      <a:pt x="41" y="11"/>
                      <a:pt x="38" y="10"/>
                      <a:pt x="33" y="10"/>
                    </a:cubicBezTo>
                    <a:cubicBezTo>
                      <a:pt x="25" y="10"/>
                      <a:pt x="25" y="10"/>
                      <a:pt x="25" y="10"/>
                    </a:cubicBezTo>
                    <a:cubicBezTo>
                      <a:pt x="20" y="10"/>
                      <a:pt x="17" y="11"/>
                      <a:pt x="16" y="12"/>
                    </a:cubicBezTo>
                    <a:cubicBezTo>
                      <a:pt x="14" y="13"/>
                      <a:pt x="13" y="15"/>
                      <a:pt x="13" y="18"/>
                    </a:cubicBezTo>
                    <a:cubicBezTo>
                      <a:pt x="13" y="24"/>
                      <a:pt x="13" y="24"/>
                      <a:pt x="13" y="24"/>
                    </a:cubicBezTo>
                    <a:cubicBezTo>
                      <a:pt x="13" y="27"/>
                      <a:pt x="14" y="29"/>
                      <a:pt x="16" y="30"/>
                    </a:cubicBezTo>
                    <a:cubicBezTo>
                      <a:pt x="17" y="32"/>
                      <a:pt x="20" y="32"/>
                      <a:pt x="25" y="32"/>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6" name="Freeform 39"/>
              <p:cNvSpPr>
                <a:spLocks noEditPoints="1"/>
              </p:cNvSpPr>
              <p:nvPr/>
            </p:nvSpPr>
            <p:spPr bwMode="auto">
              <a:xfrm>
                <a:off x="5562600" y="3273426"/>
                <a:ext cx="239713" cy="158750"/>
              </a:xfrm>
              <a:custGeom>
                <a:avLst/>
                <a:gdLst>
                  <a:gd name="T0" fmla="*/ 52388 w 151"/>
                  <a:gd name="T1" fmla="*/ 158750 h 100"/>
                  <a:gd name="T2" fmla="*/ 0 w 151"/>
                  <a:gd name="T3" fmla="*/ 158750 h 100"/>
                  <a:gd name="T4" fmla="*/ 85725 w 151"/>
                  <a:gd name="T5" fmla="*/ 0 h 100"/>
                  <a:gd name="T6" fmla="*/ 149225 w 151"/>
                  <a:gd name="T7" fmla="*/ 0 h 100"/>
                  <a:gd name="T8" fmla="*/ 239713 w 151"/>
                  <a:gd name="T9" fmla="*/ 158750 h 100"/>
                  <a:gd name="T10" fmla="*/ 184150 w 151"/>
                  <a:gd name="T11" fmla="*/ 158750 h 100"/>
                  <a:gd name="T12" fmla="*/ 168275 w 151"/>
                  <a:gd name="T13" fmla="*/ 133350 h 100"/>
                  <a:gd name="T14" fmla="*/ 66675 w 151"/>
                  <a:gd name="T15" fmla="*/ 133350 h 100"/>
                  <a:gd name="T16" fmla="*/ 52388 w 151"/>
                  <a:gd name="T17" fmla="*/ 158750 h 100"/>
                  <a:gd name="T18" fmla="*/ 85725 w 151"/>
                  <a:gd name="T19" fmla="*/ 95250 h 100"/>
                  <a:gd name="T20" fmla="*/ 149225 w 151"/>
                  <a:gd name="T21" fmla="*/ 95250 h 100"/>
                  <a:gd name="T22" fmla="*/ 119063 w 151"/>
                  <a:gd name="T23" fmla="*/ 38100 h 100"/>
                  <a:gd name="T24" fmla="*/ 85725 w 151"/>
                  <a:gd name="T25" fmla="*/ 9525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 h="100">
                    <a:moveTo>
                      <a:pt x="33" y="100"/>
                    </a:moveTo>
                    <a:lnTo>
                      <a:pt x="0" y="100"/>
                    </a:lnTo>
                    <a:lnTo>
                      <a:pt x="54" y="0"/>
                    </a:lnTo>
                    <a:lnTo>
                      <a:pt x="94" y="0"/>
                    </a:lnTo>
                    <a:lnTo>
                      <a:pt x="151" y="100"/>
                    </a:lnTo>
                    <a:lnTo>
                      <a:pt x="116" y="100"/>
                    </a:lnTo>
                    <a:lnTo>
                      <a:pt x="106" y="84"/>
                    </a:lnTo>
                    <a:lnTo>
                      <a:pt x="42" y="84"/>
                    </a:lnTo>
                    <a:lnTo>
                      <a:pt x="33" y="100"/>
                    </a:lnTo>
                    <a:close/>
                    <a:moveTo>
                      <a:pt x="54" y="60"/>
                    </a:moveTo>
                    <a:lnTo>
                      <a:pt x="94" y="60"/>
                    </a:lnTo>
                    <a:lnTo>
                      <a:pt x="75" y="24"/>
                    </a:lnTo>
                    <a:lnTo>
                      <a:pt x="54" y="6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7" name="Freeform 40"/>
              <p:cNvSpPr>
                <a:spLocks/>
              </p:cNvSpPr>
              <p:nvPr/>
            </p:nvSpPr>
            <p:spPr bwMode="auto">
              <a:xfrm>
                <a:off x="3059113" y="3273426"/>
                <a:ext cx="173038" cy="139700"/>
              </a:xfrm>
              <a:custGeom>
                <a:avLst/>
                <a:gdLst>
                  <a:gd name="T0" fmla="*/ 124136 w 46"/>
                  <a:gd name="T1" fmla="*/ 18878 h 37"/>
                  <a:gd name="T2" fmla="*/ 127898 w 46"/>
                  <a:gd name="T3" fmla="*/ 0 h 37"/>
                  <a:gd name="T4" fmla="*/ 45140 w 46"/>
                  <a:gd name="T5" fmla="*/ 0 h 37"/>
                  <a:gd name="T6" fmla="*/ 41379 w 46"/>
                  <a:gd name="T7" fmla="*/ 0 h 37"/>
                  <a:gd name="T8" fmla="*/ 37617 w 46"/>
                  <a:gd name="T9" fmla="*/ 11327 h 37"/>
                  <a:gd name="T10" fmla="*/ 45140 w 46"/>
                  <a:gd name="T11" fmla="*/ 15103 h 37"/>
                  <a:gd name="T12" fmla="*/ 52664 w 46"/>
                  <a:gd name="T13" fmla="*/ 30205 h 37"/>
                  <a:gd name="T14" fmla="*/ 26332 w 46"/>
                  <a:gd name="T15" fmla="*/ 113270 h 37"/>
                  <a:gd name="T16" fmla="*/ 3762 w 46"/>
                  <a:gd name="T17" fmla="*/ 124597 h 37"/>
                  <a:gd name="T18" fmla="*/ 0 w 46"/>
                  <a:gd name="T19" fmla="*/ 139700 h 37"/>
                  <a:gd name="T20" fmla="*/ 0 w 46"/>
                  <a:gd name="T21" fmla="*/ 139700 h 37"/>
                  <a:gd name="T22" fmla="*/ 154230 w 46"/>
                  <a:gd name="T23" fmla="*/ 139700 h 37"/>
                  <a:gd name="T24" fmla="*/ 173038 w 46"/>
                  <a:gd name="T25" fmla="*/ 79289 h 37"/>
                  <a:gd name="T26" fmla="*/ 157991 w 46"/>
                  <a:gd name="T27" fmla="*/ 79289 h 37"/>
                  <a:gd name="T28" fmla="*/ 150468 w 46"/>
                  <a:gd name="T29" fmla="*/ 101943 h 37"/>
                  <a:gd name="T30" fmla="*/ 135421 w 46"/>
                  <a:gd name="T31" fmla="*/ 117046 h 37"/>
                  <a:gd name="T32" fmla="*/ 86519 w 46"/>
                  <a:gd name="T33" fmla="*/ 120822 h 37"/>
                  <a:gd name="T34" fmla="*/ 82757 w 46"/>
                  <a:gd name="T35" fmla="*/ 120822 h 37"/>
                  <a:gd name="T36" fmla="*/ 78996 w 46"/>
                  <a:gd name="T37" fmla="*/ 117046 h 37"/>
                  <a:gd name="T38" fmla="*/ 105327 w 46"/>
                  <a:gd name="T39" fmla="*/ 30205 h 37"/>
                  <a:gd name="T40" fmla="*/ 124136 w 46"/>
                  <a:gd name="T41" fmla="*/ 18878 h 3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6" h="37">
                    <a:moveTo>
                      <a:pt x="33" y="5"/>
                    </a:moveTo>
                    <a:cubicBezTo>
                      <a:pt x="34" y="3"/>
                      <a:pt x="34" y="2"/>
                      <a:pt x="34" y="0"/>
                    </a:cubicBezTo>
                    <a:cubicBezTo>
                      <a:pt x="12" y="0"/>
                      <a:pt x="12" y="0"/>
                      <a:pt x="12" y="0"/>
                    </a:cubicBezTo>
                    <a:cubicBezTo>
                      <a:pt x="11" y="0"/>
                      <a:pt x="11" y="0"/>
                      <a:pt x="11" y="0"/>
                    </a:cubicBezTo>
                    <a:cubicBezTo>
                      <a:pt x="10" y="3"/>
                      <a:pt x="10" y="3"/>
                      <a:pt x="10" y="3"/>
                    </a:cubicBezTo>
                    <a:cubicBezTo>
                      <a:pt x="10" y="4"/>
                      <a:pt x="11" y="4"/>
                      <a:pt x="12" y="4"/>
                    </a:cubicBezTo>
                    <a:cubicBezTo>
                      <a:pt x="14" y="5"/>
                      <a:pt x="14" y="6"/>
                      <a:pt x="14" y="8"/>
                    </a:cubicBezTo>
                    <a:cubicBezTo>
                      <a:pt x="7" y="30"/>
                      <a:pt x="7" y="30"/>
                      <a:pt x="7" y="30"/>
                    </a:cubicBezTo>
                    <a:cubicBezTo>
                      <a:pt x="6" y="33"/>
                      <a:pt x="4" y="33"/>
                      <a:pt x="1" y="33"/>
                    </a:cubicBezTo>
                    <a:cubicBezTo>
                      <a:pt x="1" y="35"/>
                      <a:pt x="0" y="35"/>
                      <a:pt x="0" y="37"/>
                    </a:cubicBezTo>
                    <a:cubicBezTo>
                      <a:pt x="0" y="37"/>
                      <a:pt x="0" y="37"/>
                      <a:pt x="0" y="37"/>
                    </a:cubicBezTo>
                    <a:cubicBezTo>
                      <a:pt x="41" y="37"/>
                      <a:pt x="41" y="37"/>
                      <a:pt x="41" y="37"/>
                    </a:cubicBezTo>
                    <a:cubicBezTo>
                      <a:pt x="46" y="21"/>
                      <a:pt x="46" y="21"/>
                      <a:pt x="46" y="21"/>
                    </a:cubicBezTo>
                    <a:cubicBezTo>
                      <a:pt x="45" y="21"/>
                      <a:pt x="44" y="21"/>
                      <a:pt x="42" y="21"/>
                    </a:cubicBezTo>
                    <a:cubicBezTo>
                      <a:pt x="41" y="23"/>
                      <a:pt x="41" y="25"/>
                      <a:pt x="40" y="27"/>
                    </a:cubicBezTo>
                    <a:cubicBezTo>
                      <a:pt x="39" y="29"/>
                      <a:pt x="38" y="30"/>
                      <a:pt x="36" y="31"/>
                    </a:cubicBezTo>
                    <a:cubicBezTo>
                      <a:pt x="32" y="33"/>
                      <a:pt x="29" y="32"/>
                      <a:pt x="23" y="32"/>
                    </a:cubicBezTo>
                    <a:cubicBezTo>
                      <a:pt x="23" y="32"/>
                      <a:pt x="22" y="32"/>
                      <a:pt x="22" y="32"/>
                    </a:cubicBezTo>
                    <a:cubicBezTo>
                      <a:pt x="21" y="32"/>
                      <a:pt x="21" y="32"/>
                      <a:pt x="21" y="31"/>
                    </a:cubicBezTo>
                    <a:cubicBezTo>
                      <a:pt x="28" y="8"/>
                      <a:pt x="28" y="8"/>
                      <a:pt x="28" y="8"/>
                    </a:cubicBezTo>
                    <a:cubicBezTo>
                      <a:pt x="29" y="5"/>
                      <a:pt x="31" y="5"/>
                      <a:pt x="33" y="5"/>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8" name="Freeform 41"/>
              <p:cNvSpPr>
                <a:spLocks noEditPoints="1"/>
              </p:cNvSpPr>
              <p:nvPr/>
            </p:nvSpPr>
            <p:spPr bwMode="auto">
              <a:xfrm>
                <a:off x="2863850" y="3078163"/>
                <a:ext cx="549275" cy="552450"/>
              </a:xfrm>
              <a:custGeom>
                <a:avLst/>
                <a:gdLst>
                  <a:gd name="T0" fmla="*/ 274638 w 146"/>
                  <a:gd name="T1" fmla="*/ 0 h 145"/>
                  <a:gd name="T2" fmla="*/ 549275 w 146"/>
                  <a:gd name="T3" fmla="*/ 278130 h 145"/>
                  <a:gd name="T4" fmla="*/ 274638 w 146"/>
                  <a:gd name="T5" fmla="*/ 552450 h 145"/>
                  <a:gd name="T6" fmla="*/ 0 w 146"/>
                  <a:gd name="T7" fmla="*/ 278130 h 145"/>
                  <a:gd name="T8" fmla="*/ 274638 w 146"/>
                  <a:gd name="T9" fmla="*/ 0 h 145"/>
                  <a:gd name="T10" fmla="*/ 274638 w 146"/>
                  <a:gd name="T11" fmla="*/ 160020 h 145"/>
                  <a:gd name="T12" fmla="*/ 395027 w 146"/>
                  <a:gd name="T13" fmla="*/ 278130 h 145"/>
                  <a:gd name="T14" fmla="*/ 274638 w 146"/>
                  <a:gd name="T15" fmla="*/ 396240 h 145"/>
                  <a:gd name="T16" fmla="*/ 154248 w 146"/>
                  <a:gd name="T17" fmla="*/ 278130 h 145"/>
                  <a:gd name="T18" fmla="*/ 274638 w 146"/>
                  <a:gd name="T19" fmla="*/ 160020 h 145"/>
                  <a:gd name="T20" fmla="*/ 282162 w 146"/>
                  <a:gd name="T21" fmla="*/ 41910 h 145"/>
                  <a:gd name="T22" fmla="*/ 127913 w 146"/>
                  <a:gd name="T23" fmla="*/ 270510 h 145"/>
                  <a:gd name="T24" fmla="*/ 86530 w 146"/>
                  <a:gd name="T25" fmla="*/ 137160 h 145"/>
                  <a:gd name="T26" fmla="*/ 90292 w 146"/>
                  <a:gd name="T27" fmla="*/ 133350 h 145"/>
                  <a:gd name="T28" fmla="*/ 282162 w 146"/>
                  <a:gd name="T29" fmla="*/ 41910 h 145"/>
                  <a:gd name="T30" fmla="*/ 41384 w 146"/>
                  <a:gd name="T31" fmla="*/ 266700 h 145"/>
                  <a:gd name="T32" fmla="*/ 267113 w 146"/>
                  <a:gd name="T33" fmla="*/ 422910 h 145"/>
                  <a:gd name="T34" fmla="*/ 135438 w 146"/>
                  <a:gd name="T35" fmla="*/ 464820 h 145"/>
                  <a:gd name="T36" fmla="*/ 131676 w 146"/>
                  <a:gd name="T37" fmla="*/ 464820 h 145"/>
                  <a:gd name="T38" fmla="*/ 41384 w 146"/>
                  <a:gd name="T39" fmla="*/ 266700 h 145"/>
                  <a:gd name="T40" fmla="*/ 267113 w 146"/>
                  <a:gd name="T41" fmla="*/ 514350 h 145"/>
                  <a:gd name="T42" fmla="*/ 421362 w 146"/>
                  <a:gd name="T43" fmla="*/ 281940 h 145"/>
                  <a:gd name="T44" fmla="*/ 462745 w 146"/>
                  <a:gd name="T45" fmla="*/ 419100 h 145"/>
                  <a:gd name="T46" fmla="*/ 458983 w 146"/>
                  <a:gd name="T47" fmla="*/ 422910 h 145"/>
                  <a:gd name="T48" fmla="*/ 267113 w 146"/>
                  <a:gd name="T49" fmla="*/ 514350 h 145"/>
                  <a:gd name="T50" fmla="*/ 507891 w 146"/>
                  <a:gd name="T51" fmla="*/ 285750 h 145"/>
                  <a:gd name="T52" fmla="*/ 282162 w 146"/>
                  <a:gd name="T53" fmla="*/ 133350 h 145"/>
                  <a:gd name="T54" fmla="*/ 413837 w 146"/>
                  <a:gd name="T55" fmla="*/ 87630 h 145"/>
                  <a:gd name="T56" fmla="*/ 417599 w 146"/>
                  <a:gd name="T57" fmla="*/ 91440 h 145"/>
                  <a:gd name="T58" fmla="*/ 507891 w 146"/>
                  <a:gd name="T59" fmla="*/ 285750 h 1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46" h="145">
                    <a:moveTo>
                      <a:pt x="73" y="0"/>
                    </a:moveTo>
                    <a:cubicBezTo>
                      <a:pt x="113" y="0"/>
                      <a:pt x="146" y="33"/>
                      <a:pt x="146" y="73"/>
                    </a:cubicBezTo>
                    <a:cubicBezTo>
                      <a:pt x="146" y="113"/>
                      <a:pt x="113" y="145"/>
                      <a:pt x="73" y="145"/>
                    </a:cubicBezTo>
                    <a:cubicBezTo>
                      <a:pt x="33" y="145"/>
                      <a:pt x="0" y="113"/>
                      <a:pt x="0" y="73"/>
                    </a:cubicBezTo>
                    <a:cubicBezTo>
                      <a:pt x="0" y="33"/>
                      <a:pt x="33" y="0"/>
                      <a:pt x="73" y="0"/>
                    </a:cubicBezTo>
                    <a:moveTo>
                      <a:pt x="73" y="42"/>
                    </a:moveTo>
                    <a:cubicBezTo>
                      <a:pt x="90" y="42"/>
                      <a:pt x="105" y="56"/>
                      <a:pt x="105" y="73"/>
                    </a:cubicBezTo>
                    <a:cubicBezTo>
                      <a:pt x="105" y="90"/>
                      <a:pt x="90" y="104"/>
                      <a:pt x="73" y="104"/>
                    </a:cubicBezTo>
                    <a:cubicBezTo>
                      <a:pt x="56" y="104"/>
                      <a:pt x="41" y="90"/>
                      <a:pt x="41" y="73"/>
                    </a:cubicBezTo>
                    <a:cubicBezTo>
                      <a:pt x="41" y="56"/>
                      <a:pt x="56" y="42"/>
                      <a:pt x="73" y="42"/>
                    </a:cubicBezTo>
                    <a:moveTo>
                      <a:pt x="75" y="11"/>
                    </a:moveTo>
                    <a:cubicBezTo>
                      <a:pt x="66" y="15"/>
                      <a:pt x="37" y="35"/>
                      <a:pt x="34" y="71"/>
                    </a:cubicBezTo>
                    <a:cubicBezTo>
                      <a:pt x="30" y="66"/>
                      <a:pt x="23" y="52"/>
                      <a:pt x="23" y="36"/>
                    </a:cubicBezTo>
                    <a:cubicBezTo>
                      <a:pt x="24" y="35"/>
                      <a:pt x="24" y="35"/>
                      <a:pt x="24" y="35"/>
                    </a:cubicBezTo>
                    <a:cubicBezTo>
                      <a:pt x="28" y="26"/>
                      <a:pt x="51" y="8"/>
                      <a:pt x="75" y="11"/>
                    </a:cubicBezTo>
                    <a:moveTo>
                      <a:pt x="11" y="70"/>
                    </a:moveTo>
                    <a:cubicBezTo>
                      <a:pt x="15" y="79"/>
                      <a:pt x="35" y="108"/>
                      <a:pt x="71" y="111"/>
                    </a:cubicBezTo>
                    <a:cubicBezTo>
                      <a:pt x="67" y="115"/>
                      <a:pt x="52" y="122"/>
                      <a:pt x="36" y="122"/>
                    </a:cubicBezTo>
                    <a:cubicBezTo>
                      <a:pt x="35" y="122"/>
                      <a:pt x="35" y="122"/>
                      <a:pt x="35" y="122"/>
                    </a:cubicBezTo>
                    <a:cubicBezTo>
                      <a:pt x="27" y="118"/>
                      <a:pt x="9" y="95"/>
                      <a:pt x="11" y="70"/>
                    </a:cubicBezTo>
                    <a:moveTo>
                      <a:pt x="71" y="135"/>
                    </a:moveTo>
                    <a:cubicBezTo>
                      <a:pt x="80" y="130"/>
                      <a:pt x="109" y="110"/>
                      <a:pt x="112" y="74"/>
                    </a:cubicBezTo>
                    <a:cubicBezTo>
                      <a:pt x="116" y="79"/>
                      <a:pt x="123" y="94"/>
                      <a:pt x="123" y="110"/>
                    </a:cubicBezTo>
                    <a:cubicBezTo>
                      <a:pt x="122" y="111"/>
                      <a:pt x="122" y="111"/>
                      <a:pt x="122" y="111"/>
                    </a:cubicBezTo>
                    <a:cubicBezTo>
                      <a:pt x="118" y="119"/>
                      <a:pt x="95" y="137"/>
                      <a:pt x="71" y="135"/>
                    </a:cubicBezTo>
                    <a:moveTo>
                      <a:pt x="135" y="75"/>
                    </a:moveTo>
                    <a:cubicBezTo>
                      <a:pt x="131" y="66"/>
                      <a:pt x="111" y="37"/>
                      <a:pt x="75" y="35"/>
                    </a:cubicBezTo>
                    <a:cubicBezTo>
                      <a:pt x="79" y="30"/>
                      <a:pt x="94" y="23"/>
                      <a:pt x="110" y="23"/>
                    </a:cubicBezTo>
                    <a:cubicBezTo>
                      <a:pt x="111" y="24"/>
                      <a:pt x="111" y="24"/>
                      <a:pt x="111" y="24"/>
                    </a:cubicBezTo>
                    <a:cubicBezTo>
                      <a:pt x="119" y="28"/>
                      <a:pt x="137" y="51"/>
                      <a:pt x="135" y="75"/>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spTree>
    <p:extLst>
      <p:ext uri="{BB962C8B-B14F-4D97-AF65-F5344CB8AC3E}">
        <p14:creationId xmlns:p14="http://schemas.microsoft.com/office/powerpoint/2010/main" val="7849897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2"/>
            </p:custDataLst>
          </p:nvPr>
        </p:nvSpPr>
        <p:spPr>
          <a:xfrm>
            <a:off x="1" y="1"/>
            <a:ext cx="158751" cy="158751"/>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121917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sym typeface="Calibri" panose="020F0502020204030204" pitchFamily="34" charset="0"/>
            </a:endParaRPr>
          </a:p>
        </p:txBody>
      </p:sp>
      <p:sp>
        <p:nvSpPr>
          <p:cNvPr id="5" name="FooterSimple" hidden="1"/>
          <p:cNvSpPr txBox="1"/>
          <p:nvPr userDrawn="1">
            <p:custDataLst>
              <p:tags r:id="rId3"/>
            </p:custDataLst>
          </p:nvPr>
        </p:nvSpPr>
        <p:spPr>
          <a:xfrm rot="16200000">
            <a:off x="10562168" y="5118309"/>
            <a:ext cx="2743200" cy="96950"/>
          </a:xfrm>
          <a:prstGeom prst="rect">
            <a:avLst/>
          </a:prstGeom>
          <a:noFill/>
        </p:spPr>
        <p:txBody>
          <a:bodyPr lIns="0" tIns="0" rIns="0" bIns="0" anchor="b">
            <a:spAutoFit/>
          </a:bodyPr>
          <a:lstStyle/>
          <a:p>
            <a:pPr marL="0" marR="0" lvl="0" indent="0" algn="l" defTabSz="121917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Calibri"/>
                <a:ea typeface="+mn-ea"/>
                <a:cs typeface="+mn-cs"/>
                <a:sym typeface="+mn-lt"/>
              </a:rPr>
              <a:t>DSE &amp; DSM Training Deck_with Intune Login.pptx</a:t>
            </a:r>
            <a:endParaRPr kumimoji="0" lang="en-US" sz="700" b="0" i="0" u="none" strike="noStrike" kern="1200" cap="none" spc="0" normalizeH="0" baseline="0" noProof="0" dirty="0">
              <a:ln>
                <a:noFill/>
              </a:ln>
              <a:solidFill>
                <a:prstClr val="white">
                  <a:lumMod val="50000"/>
                </a:prstClr>
              </a:solidFill>
              <a:effectLst/>
              <a:uLnTx/>
              <a:uFillTx/>
              <a:latin typeface="Calibri"/>
              <a:ea typeface="+mn-ea"/>
              <a:cs typeface="+mn-cs"/>
              <a:sym typeface="+mn-lt"/>
            </a:endParaRPr>
          </a:p>
        </p:txBody>
      </p:sp>
      <p:sp>
        <p:nvSpPr>
          <p:cNvPr id="6" name="Line 11"/>
          <p:cNvSpPr>
            <a:spLocks noChangeShapeType="1"/>
          </p:cNvSpPr>
          <p:nvPr userDrawn="1"/>
        </p:nvSpPr>
        <p:spPr bwMode="auto">
          <a:xfrm>
            <a:off x="0" y="1253067"/>
            <a:ext cx="12192000" cy="0"/>
          </a:xfrm>
          <a:prstGeom prst="line">
            <a:avLst/>
          </a:prstGeom>
          <a:noFill/>
          <a:ln w="63500">
            <a:solidFill>
              <a:srgbClr val="808080"/>
            </a:solidFill>
            <a:round/>
            <a:headEnd/>
            <a:tailEnd/>
          </a:ln>
          <a:extLst>
            <a:ext uri="{909E8E84-426E-40DD-AFC4-6F175D3DCCD1}">
              <a14:hiddenFill xmlns:a14="http://schemas.microsoft.com/office/drawing/2010/main">
                <a:noFill/>
              </a14:hiddenFill>
            </a:ext>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Calibri"/>
              <a:ea typeface="+mn-ea"/>
              <a:cs typeface="+mn-cs"/>
              <a:sym typeface="+mn-lt"/>
            </a:endParaRPr>
          </a:p>
        </p:txBody>
      </p:sp>
      <p:pic>
        <p:nvPicPr>
          <p:cNvPr id="7" name="Picture 11"/>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065934" y="112185"/>
            <a:ext cx="994833" cy="994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307778" y="689478"/>
            <a:ext cx="10614225" cy="339225"/>
          </a:xfrm>
        </p:spPr>
        <p:txBody>
          <a:bodyPr/>
          <a:lstStyle>
            <a:lvl1pPr>
              <a:defRPr>
                <a:latin typeface="+mj-lt"/>
                <a:ea typeface="+mj-ea"/>
                <a:cs typeface="+mj-cs"/>
                <a:sym typeface="+mj-lt"/>
              </a:defRPr>
            </a:lvl1pPr>
          </a:lstStyle>
          <a:p>
            <a:r>
              <a:rPr lang="en-US"/>
              <a:t>Click to edit Master title style</a:t>
            </a:r>
            <a:endParaRPr lang="en-US" dirty="0"/>
          </a:p>
        </p:txBody>
      </p:sp>
      <p:sp>
        <p:nvSpPr>
          <p:cNvPr id="9" name="Date Placeholder 3"/>
          <p:cNvSpPr>
            <a:spLocks noGrp="1"/>
          </p:cNvSpPr>
          <p:nvPr>
            <p:ph type="dt" sz="half" idx="10"/>
          </p:nvPr>
        </p:nvSpPr>
        <p:spPr>
          <a:xfrm>
            <a:off x="10155767" y="6532663"/>
            <a:ext cx="1481667" cy="153888"/>
          </a:xfrm>
        </p:spPr>
        <p:txBody>
          <a:bodyPr wrap="square" lIns="0" tIns="0" rIns="0" bIns="0" anchor="b">
            <a:spAutoFit/>
          </a:bodyPr>
          <a:lstStyle>
            <a:lvl1pPr algn="r">
              <a:defRPr sz="1000" dirty="0">
                <a:solidFill>
                  <a:schemeClr val="tx1"/>
                </a:solidFill>
                <a:latin typeface="+mn-lt"/>
                <a:ea typeface="+mn-ea"/>
                <a:cs typeface="+mn-cs"/>
                <a:sym typeface="+mn-lt"/>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a:ea typeface="+mn-ea"/>
              <a:cs typeface="+mn-cs"/>
              <a:sym typeface="+mn-lt"/>
            </a:endParaRPr>
          </a:p>
        </p:txBody>
      </p:sp>
    </p:spTree>
    <p:extLst>
      <p:ext uri="{BB962C8B-B14F-4D97-AF65-F5344CB8AC3E}">
        <p14:creationId xmlns:p14="http://schemas.microsoft.com/office/powerpoint/2010/main" val="59538280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4_After Sales Support layout 1">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04601" y="-12699"/>
            <a:ext cx="774700"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12">
            <a:extLst>
              <a:ext uri="{FF2B5EF4-FFF2-40B4-BE49-F238E27FC236}">
                <a16:creationId xmlns:a16="http://schemas.microsoft.com/office/drawing/2014/main" id="{9334D842-888D-4852-BE61-491A2F8CBB6E}"/>
              </a:ext>
            </a:extLst>
          </p:cNvPr>
          <p:cNvSpPr>
            <a:spLocks noGrp="1"/>
          </p:cNvSpPr>
          <p:nvPr>
            <p:ph type="body" sz="quarter" idx="10"/>
          </p:nvPr>
        </p:nvSpPr>
        <p:spPr>
          <a:xfrm>
            <a:off x="13063" y="1"/>
            <a:ext cx="11377883" cy="761867"/>
          </a:xfrm>
        </p:spPr>
        <p:txBody>
          <a:bodyPr anchor="ctr">
            <a:normAutofit/>
          </a:bodyPr>
          <a:lstStyle>
            <a:lvl1pPr marL="0" indent="0" algn="ctr">
              <a:buNone/>
              <a:defRPr sz="3600" b="1">
                <a:solidFill>
                  <a:schemeClr val="tx1"/>
                </a:solidFill>
                <a:latin typeface="Century Gothic" panose="020B0502020202020204" pitchFamily="34" charset="0"/>
              </a:defRPr>
            </a:lvl1pPr>
          </a:lstStyle>
          <a:p>
            <a:pPr lvl="0"/>
            <a:endParaRPr lang="en-IN" dirty="0"/>
          </a:p>
        </p:txBody>
      </p:sp>
    </p:spTree>
    <p:extLst>
      <p:ext uri="{BB962C8B-B14F-4D97-AF65-F5344CB8AC3E}">
        <p14:creationId xmlns:p14="http://schemas.microsoft.com/office/powerpoint/2010/main" val="320510011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46934" y="148167"/>
            <a:ext cx="622300" cy="620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4F63DCBE-15F8-4AC4-BDDF-F3FCB171ED61}"/>
              </a:ext>
            </a:extLst>
          </p:cNvPr>
          <p:cNvSpPr/>
          <p:nvPr userDrawn="1"/>
        </p:nvSpPr>
        <p:spPr>
          <a:xfrm>
            <a:off x="273051" y="156634"/>
            <a:ext cx="368300" cy="723900"/>
          </a:xfrm>
          <a:prstGeom prst="rect">
            <a:avLst/>
          </a:prstGeom>
          <a:solidFill>
            <a:srgbClr val="0089C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0C7BF96B-52B9-4468-895F-03CC7655E9F6}"/>
              </a:ext>
            </a:extLst>
          </p:cNvPr>
          <p:cNvSpPr/>
          <p:nvPr userDrawn="1"/>
        </p:nvSpPr>
        <p:spPr>
          <a:xfrm>
            <a:off x="1" y="156634"/>
            <a:ext cx="190500" cy="723900"/>
          </a:xfrm>
          <a:prstGeom prst="rect">
            <a:avLst/>
          </a:prstGeom>
          <a:solidFill>
            <a:srgbClr val="0089C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6" name="Straight Connector 5">
            <a:extLst>
              <a:ext uri="{FF2B5EF4-FFF2-40B4-BE49-F238E27FC236}">
                <a16:creationId xmlns:a16="http://schemas.microsoft.com/office/drawing/2014/main" id="{7C1380B8-D9A5-444E-BE82-128F8872EC7B}"/>
              </a:ext>
            </a:extLst>
          </p:cNvPr>
          <p:cNvCxnSpPr/>
          <p:nvPr userDrawn="1"/>
        </p:nvCxnSpPr>
        <p:spPr>
          <a:xfrm>
            <a:off x="723901" y="880533"/>
            <a:ext cx="10723033"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7" name="Title 5">
            <a:extLst>
              <a:ext uri="{FF2B5EF4-FFF2-40B4-BE49-F238E27FC236}">
                <a16:creationId xmlns:a16="http://schemas.microsoft.com/office/drawing/2014/main" id="{AE5712BB-CC71-45AE-9B5B-1FEAFCA32365}"/>
              </a:ext>
            </a:extLst>
          </p:cNvPr>
          <p:cNvSpPr>
            <a:spLocks noGrp="1"/>
          </p:cNvSpPr>
          <p:nvPr>
            <p:ph type="title"/>
          </p:nvPr>
        </p:nvSpPr>
        <p:spPr>
          <a:xfrm>
            <a:off x="723326" y="196625"/>
            <a:ext cx="10314793" cy="662783"/>
          </a:xfrm>
        </p:spPr>
        <p:txBody>
          <a:bodyPr>
            <a:normAutofit/>
          </a:bodyPr>
          <a:lstStyle>
            <a:lvl1pPr>
              <a:defRPr sz="3600"/>
            </a:lvl1pPr>
          </a:lstStyle>
          <a:p>
            <a:r>
              <a:rPr lang="en-US" dirty="0"/>
              <a:t>Click to edit Master title style</a:t>
            </a:r>
          </a:p>
        </p:txBody>
      </p:sp>
    </p:spTree>
    <p:extLst>
      <p:ext uri="{BB962C8B-B14F-4D97-AF65-F5344CB8AC3E}">
        <p14:creationId xmlns:p14="http://schemas.microsoft.com/office/powerpoint/2010/main" val="201253640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2" y="2246811"/>
            <a:ext cx="9144000" cy="727574"/>
          </a:xfrm>
          <a:prstGeom prst="rect">
            <a:avLst/>
          </a:prstGeom>
        </p:spPr>
        <p:txBody>
          <a:bodyPr anchor="b"/>
          <a:lstStyle>
            <a:lvl1pPr algn="ctr">
              <a:defRPr sz="4398"/>
            </a:lvl1pPr>
          </a:lstStyle>
          <a:p>
            <a:r>
              <a:rPr lang="en-US"/>
              <a:t>Click to edit Master title style</a:t>
            </a:r>
            <a:endParaRPr lang="en-IN" dirty="0"/>
          </a:p>
        </p:txBody>
      </p:sp>
      <p:sp>
        <p:nvSpPr>
          <p:cNvPr id="3" name="Subtitle 2"/>
          <p:cNvSpPr>
            <a:spLocks noGrp="1"/>
          </p:cNvSpPr>
          <p:nvPr>
            <p:ph type="subTitle" idx="1"/>
          </p:nvPr>
        </p:nvSpPr>
        <p:spPr>
          <a:xfrm>
            <a:off x="1524002" y="3602042"/>
            <a:ext cx="9144000" cy="525825"/>
          </a:xfrm>
          <a:prstGeom prst="rect">
            <a:avLst/>
          </a:prstGeom>
        </p:spPr>
        <p:txBody>
          <a:bodyPr/>
          <a:lstStyle>
            <a:lvl1pPr marL="0" indent="0" algn="ctr">
              <a:buNone/>
              <a:defRPr sz="2398"/>
            </a:lvl1pPr>
            <a:lvl2pPr marL="456926" indent="0" algn="ctr">
              <a:buNone/>
              <a:defRPr sz="1998"/>
            </a:lvl2pPr>
            <a:lvl3pPr marL="913852" indent="0" algn="ctr">
              <a:buNone/>
              <a:defRPr sz="1798"/>
            </a:lvl3pPr>
            <a:lvl4pPr marL="1370778" indent="0" algn="ctr">
              <a:buNone/>
              <a:defRPr sz="1600"/>
            </a:lvl4pPr>
            <a:lvl5pPr marL="1827703" indent="0" algn="ctr">
              <a:buNone/>
              <a:defRPr sz="1600"/>
            </a:lvl5pPr>
            <a:lvl6pPr marL="2284628" indent="0" algn="ctr">
              <a:buNone/>
              <a:defRPr sz="1600"/>
            </a:lvl6pPr>
            <a:lvl7pPr marL="2741554" indent="0" algn="ctr">
              <a:buNone/>
              <a:defRPr sz="1600"/>
            </a:lvl7pPr>
            <a:lvl8pPr marL="3198480" indent="0" algn="ctr">
              <a:buNone/>
              <a:defRPr sz="1600"/>
            </a:lvl8pPr>
            <a:lvl9pPr marL="3655406" indent="0" algn="ctr">
              <a:buNone/>
              <a:defRPr sz="1600"/>
            </a:lvl9pPr>
          </a:lstStyle>
          <a:p>
            <a:r>
              <a:rPr lang="en-US"/>
              <a:t>Click to edit Master subtitle style</a:t>
            </a:r>
            <a:endParaRPr lang="en-IN" dirty="0"/>
          </a:p>
        </p:txBody>
      </p:sp>
      <p:sp>
        <p:nvSpPr>
          <p:cNvPr id="4" name="Date Placeholder 3"/>
          <p:cNvSpPr>
            <a:spLocks noGrp="1"/>
          </p:cNvSpPr>
          <p:nvPr>
            <p:ph type="dt" sz="half" idx="10"/>
          </p:nvPr>
        </p:nvSpPr>
        <p:spPr>
          <a:xfrm>
            <a:off x="838200" y="6356354"/>
            <a:ext cx="2743200" cy="365125"/>
          </a:xfrm>
          <a:prstGeom prst="rect">
            <a:avLst/>
          </a:prstGeom>
        </p:spPr>
        <p:txBody>
          <a:bodyPr/>
          <a:lstStyle/>
          <a:p>
            <a:pPr defTabSz="913852">
              <a:defRPr/>
            </a:pPr>
            <a:fld id="{83CDDF50-2691-4A96-A320-FAE26882475A}" type="datetimeFigureOut">
              <a:rPr lang="en-IN" sz="1798" smtClean="0">
                <a:solidFill>
                  <a:prstClr val="black"/>
                </a:solidFill>
              </a:rPr>
              <a:pPr defTabSz="913852">
                <a:defRPr/>
              </a:pPr>
              <a:t>01-12-2022</a:t>
            </a:fld>
            <a:endParaRPr lang="en-IN" sz="1798">
              <a:solidFill>
                <a:prstClr val="black"/>
              </a:solidFill>
            </a:endParaRPr>
          </a:p>
        </p:txBody>
      </p:sp>
      <p:sp>
        <p:nvSpPr>
          <p:cNvPr id="5" name="Footer Placeholder 4"/>
          <p:cNvSpPr>
            <a:spLocks noGrp="1"/>
          </p:cNvSpPr>
          <p:nvPr>
            <p:ph type="ftr" sz="quarter" idx="11"/>
          </p:nvPr>
        </p:nvSpPr>
        <p:spPr>
          <a:xfrm>
            <a:off x="4038601" y="6356354"/>
            <a:ext cx="4114800" cy="365125"/>
          </a:xfrm>
          <a:prstGeom prst="rect">
            <a:avLst/>
          </a:prstGeom>
        </p:spPr>
        <p:txBody>
          <a:bodyPr/>
          <a:lstStyle/>
          <a:p>
            <a:pPr defTabSz="913852">
              <a:defRPr/>
            </a:pPr>
            <a:endParaRPr lang="en-IN" sz="1798">
              <a:solidFill>
                <a:prstClr val="black"/>
              </a:solidFill>
            </a:endParaRPr>
          </a:p>
        </p:txBody>
      </p:sp>
      <p:sp>
        <p:nvSpPr>
          <p:cNvPr id="6" name="Slide Number Placeholder 5"/>
          <p:cNvSpPr>
            <a:spLocks noGrp="1"/>
          </p:cNvSpPr>
          <p:nvPr>
            <p:ph type="sldNum" sz="quarter" idx="12"/>
          </p:nvPr>
        </p:nvSpPr>
        <p:spPr>
          <a:xfrm>
            <a:off x="8610600" y="6356354"/>
            <a:ext cx="2743200" cy="365125"/>
          </a:xfrm>
          <a:prstGeom prst="rect">
            <a:avLst/>
          </a:prstGeom>
        </p:spPr>
        <p:txBody>
          <a:bodyPr/>
          <a:lstStyle/>
          <a:p>
            <a:pPr defTabSz="913852">
              <a:defRPr/>
            </a:pPr>
            <a:fld id="{E74C42B1-5A19-486C-A487-15095F4D7BCC}" type="slidenum">
              <a:rPr lang="en-IN" smtClean="0">
                <a:solidFill>
                  <a:prstClr val="black"/>
                </a:solidFill>
              </a:rPr>
              <a:pPr defTabSz="913852">
                <a:defRPr/>
              </a:pPr>
              <a:t>‹#›</a:t>
            </a:fld>
            <a:endParaRPr lang="en-IN">
              <a:solidFill>
                <a:prstClr val="black"/>
              </a:solidFill>
            </a:endParaRPr>
          </a:p>
        </p:txBody>
      </p:sp>
    </p:spTree>
    <p:extLst>
      <p:ext uri="{BB962C8B-B14F-4D97-AF65-F5344CB8AC3E}">
        <p14:creationId xmlns:p14="http://schemas.microsoft.com/office/powerpoint/2010/main" val="236119992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31075" y="6363520"/>
            <a:ext cx="2743200" cy="365125"/>
          </a:xfrm>
          <a:prstGeom prst="rect">
            <a:avLst/>
          </a:prstGeom>
        </p:spPr>
        <p:txBody>
          <a:bodyPr/>
          <a:lstStyle/>
          <a:p>
            <a:pPr defTabSz="913852">
              <a:defRPr/>
            </a:pPr>
            <a:fld id="{83CDDF50-2691-4A96-A320-FAE26882475A}" type="datetimeFigureOut">
              <a:rPr lang="en-IN" sz="1798" smtClean="0">
                <a:solidFill>
                  <a:prstClr val="black"/>
                </a:solidFill>
              </a:rPr>
              <a:pPr defTabSz="913852">
                <a:defRPr/>
              </a:pPr>
              <a:t>01-12-2022</a:t>
            </a:fld>
            <a:endParaRPr lang="en-IN" sz="1798">
              <a:solidFill>
                <a:prstClr val="black"/>
              </a:solidFill>
            </a:endParaRPr>
          </a:p>
        </p:txBody>
      </p:sp>
      <p:sp>
        <p:nvSpPr>
          <p:cNvPr id="5" name="Footer Placeholder 4"/>
          <p:cNvSpPr>
            <a:spLocks noGrp="1"/>
          </p:cNvSpPr>
          <p:nvPr>
            <p:ph type="ftr" sz="quarter" idx="11"/>
          </p:nvPr>
        </p:nvSpPr>
        <p:spPr>
          <a:xfrm>
            <a:off x="4038601" y="6356354"/>
            <a:ext cx="4114800" cy="365125"/>
          </a:xfrm>
          <a:prstGeom prst="rect">
            <a:avLst/>
          </a:prstGeom>
        </p:spPr>
        <p:txBody>
          <a:bodyPr/>
          <a:lstStyle/>
          <a:p>
            <a:pPr defTabSz="913852">
              <a:defRPr/>
            </a:pPr>
            <a:endParaRPr lang="en-IN" sz="1798">
              <a:solidFill>
                <a:prstClr val="black"/>
              </a:solidFill>
            </a:endParaRPr>
          </a:p>
        </p:txBody>
      </p:sp>
      <p:sp>
        <p:nvSpPr>
          <p:cNvPr id="6" name="Slide Number Placeholder 5"/>
          <p:cNvSpPr>
            <a:spLocks noGrp="1"/>
          </p:cNvSpPr>
          <p:nvPr>
            <p:ph type="sldNum" sz="quarter" idx="12"/>
          </p:nvPr>
        </p:nvSpPr>
        <p:spPr>
          <a:xfrm>
            <a:off x="8739051" y="6354720"/>
            <a:ext cx="2743200" cy="365125"/>
          </a:xfrm>
          <a:prstGeom prst="rect">
            <a:avLst/>
          </a:prstGeom>
        </p:spPr>
        <p:txBody>
          <a:bodyPr/>
          <a:lstStyle/>
          <a:p>
            <a:pPr defTabSz="913852">
              <a:defRPr/>
            </a:pPr>
            <a:fld id="{E74C42B1-5A19-486C-A487-15095F4D7BCC}" type="slidenum">
              <a:rPr lang="en-IN" smtClean="0">
                <a:solidFill>
                  <a:prstClr val="black"/>
                </a:solidFill>
              </a:rPr>
              <a:pPr defTabSz="913852">
                <a:defRPr/>
              </a:pPr>
              <a:t>‹#›</a:t>
            </a:fld>
            <a:endParaRPr lang="en-IN">
              <a:solidFill>
                <a:prstClr val="black"/>
              </a:solidFill>
            </a:endParaRPr>
          </a:p>
        </p:txBody>
      </p:sp>
      <p:sp>
        <p:nvSpPr>
          <p:cNvPr id="7" name="Rectangle 2"/>
          <p:cNvSpPr>
            <a:spLocks noGrp="1" noChangeArrowheads="1"/>
          </p:cNvSpPr>
          <p:nvPr>
            <p:ph type="title"/>
          </p:nvPr>
        </p:nvSpPr>
        <p:spPr bwMode="auto">
          <a:xfrm>
            <a:off x="457202"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
        <p:nvSpPr>
          <p:cNvPr id="8" name="Rectangle 3"/>
          <p:cNvSpPr>
            <a:spLocks noGrp="1" noChangeArrowheads="1"/>
          </p:cNvSpPr>
          <p:nvPr>
            <p:ph idx="1"/>
          </p:nvPr>
        </p:nvSpPr>
        <p:spPr bwMode="auto">
          <a:xfrm>
            <a:off x="431075" y="1371603"/>
            <a:ext cx="11051176" cy="4950817"/>
          </a:xfrm>
          <a:prstGeom prst="rect">
            <a:avLst/>
          </a:prstGeom>
          <a:noFill/>
          <a:ln w="9525">
            <a:noFill/>
            <a:miter lim="800000"/>
          </a:ln>
        </p:spPr>
        <p:txBody>
          <a:bodyPr vert="horz" wrap="square" lIns="91429" tIns="45715" rIns="91429" bIns="45715" numCol="1" anchor="t" anchorCtr="0" compatLnSpc="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920202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2"/>
            <a:ext cx="10515600" cy="2852737"/>
          </a:xfrm>
          <a:prstGeom prst="rect">
            <a:avLst/>
          </a:prstGeom>
        </p:spPr>
        <p:txBody>
          <a:bodyPr anchor="ctr"/>
          <a:lstStyle>
            <a:lvl1pPr algn="ctr">
              <a:defRPr sz="4398"/>
            </a:lvl1pPr>
          </a:lstStyle>
          <a:p>
            <a:r>
              <a:rPr lang="en-US"/>
              <a:t>Click to edit Master title style</a:t>
            </a:r>
            <a:endParaRPr lang="en-IN" dirty="0"/>
          </a:p>
        </p:txBody>
      </p:sp>
      <p:sp>
        <p:nvSpPr>
          <p:cNvPr id="3" name="Text Placeholder 2"/>
          <p:cNvSpPr>
            <a:spLocks noGrp="1"/>
          </p:cNvSpPr>
          <p:nvPr>
            <p:ph type="body" idx="1"/>
          </p:nvPr>
        </p:nvSpPr>
        <p:spPr>
          <a:xfrm>
            <a:off x="831850" y="4589467"/>
            <a:ext cx="10515600" cy="1500187"/>
          </a:xfrm>
          <a:prstGeom prst="rect">
            <a:avLst/>
          </a:prstGeom>
        </p:spPr>
        <p:txBody>
          <a:bodyPr anchor="ctr"/>
          <a:lstStyle>
            <a:lvl1pPr marL="0" indent="0" algn="ctr">
              <a:buNone/>
              <a:defRPr sz="2398">
                <a:solidFill>
                  <a:schemeClr val="tx1">
                    <a:tint val="75000"/>
                  </a:schemeClr>
                </a:solidFill>
              </a:defRPr>
            </a:lvl1pPr>
            <a:lvl2pPr marL="456926" indent="0">
              <a:buNone/>
              <a:defRPr sz="1998">
                <a:solidFill>
                  <a:schemeClr val="tx1">
                    <a:tint val="75000"/>
                  </a:schemeClr>
                </a:solidFill>
              </a:defRPr>
            </a:lvl2pPr>
            <a:lvl3pPr marL="913852" indent="0">
              <a:buNone/>
              <a:defRPr sz="1798">
                <a:solidFill>
                  <a:schemeClr val="tx1">
                    <a:tint val="75000"/>
                  </a:schemeClr>
                </a:solidFill>
              </a:defRPr>
            </a:lvl3pPr>
            <a:lvl4pPr marL="1370778" indent="0">
              <a:buNone/>
              <a:defRPr sz="1600">
                <a:solidFill>
                  <a:schemeClr val="tx1">
                    <a:tint val="75000"/>
                  </a:schemeClr>
                </a:solidFill>
              </a:defRPr>
            </a:lvl4pPr>
            <a:lvl5pPr marL="1827703" indent="0">
              <a:buNone/>
              <a:defRPr sz="1600">
                <a:solidFill>
                  <a:schemeClr val="tx1">
                    <a:tint val="75000"/>
                  </a:schemeClr>
                </a:solidFill>
              </a:defRPr>
            </a:lvl5pPr>
            <a:lvl6pPr marL="2284628" indent="0">
              <a:buNone/>
              <a:defRPr sz="1600">
                <a:solidFill>
                  <a:schemeClr val="tx1">
                    <a:tint val="75000"/>
                  </a:schemeClr>
                </a:solidFill>
              </a:defRPr>
            </a:lvl6pPr>
            <a:lvl7pPr marL="2741554" indent="0">
              <a:buNone/>
              <a:defRPr sz="1600">
                <a:solidFill>
                  <a:schemeClr val="tx1">
                    <a:tint val="75000"/>
                  </a:schemeClr>
                </a:solidFill>
              </a:defRPr>
            </a:lvl7pPr>
            <a:lvl8pPr marL="3198480" indent="0">
              <a:buNone/>
              <a:defRPr sz="1600">
                <a:solidFill>
                  <a:schemeClr val="tx1">
                    <a:tint val="75000"/>
                  </a:schemeClr>
                </a:solidFill>
              </a:defRPr>
            </a:lvl8pPr>
            <a:lvl9pPr marL="365540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4"/>
            <a:ext cx="2743200" cy="365125"/>
          </a:xfrm>
          <a:prstGeom prst="rect">
            <a:avLst/>
          </a:prstGeom>
        </p:spPr>
        <p:txBody>
          <a:bodyPr/>
          <a:lstStyle/>
          <a:p>
            <a:pPr defTabSz="913852">
              <a:defRPr/>
            </a:pPr>
            <a:fld id="{83CDDF50-2691-4A96-A320-FAE26882475A}" type="datetimeFigureOut">
              <a:rPr lang="en-IN" sz="1798" smtClean="0">
                <a:solidFill>
                  <a:prstClr val="black"/>
                </a:solidFill>
              </a:rPr>
              <a:pPr defTabSz="913852">
                <a:defRPr/>
              </a:pPr>
              <a:t>01-12-2022</a:t>
            </a:fld>
            <a:endParaRPr lang="en-IN" sz="1798">
              <a:solidFill>
                <a:prstClr val="black"/>
              </a:solidFill>
            </a:endParaRPr>
          </a:p>
        </p:txBody>
      </p:sp>
      <p:sp>
        <p:nvSpPr>
          <p:cNvPr id="5" name="Footer Placeholder 4"/>
          <p:cNvSpPr>
            <a:spLocks noGrp="1"/>
          </p:cNvSpPr>
          <p:nvPr>
            <p:ph type="ftr" sz="quarter" idx="11"/>
          </p:nvPr>
        </p:nvSpPr>
        <p:spPr>
          <a:xfrm>
            <a:off x="4038601" y="6356354"/>
            <a:ext cx="4114800" cy="365125"/>
          </a:xfrm>
          <a:prstGeom prst="rect">
            <a:avLst/>
          </a:prstGeom>
        </p:spPr>
        <p:txBody>
          <a:bodyPr/>
          <a:lstStyle/>
          <a:p>
            <a:pPr defTabSz="913852">
              <a:defRPr/>
            </a:pPr>
            <a:endParaRPr lang="en-IN" sz="1798">
              <a:solidFill>
                <a:prstClr val="black"/>
              </a:solidFill>
            </a:endParaRPr>
          </a:p>
        </p:txBody>
      </p:sp>
      <p:sp>
        <p:nvSpPr>
          <p:cNvPr id="6" name="Slide Number Placeholder 5"/>
          <p:cNvSpPr>
            <a:spLocks noGrp="1"/>
          </p:cNvSpPr>
          <p:nvPr>
            <p:ph type="sldNum" sz="quarter" idx="12"/>
          </p:nvPr>
        </p:nvSpPr>
        <p:spPr>
          <a:xfrm>
            <a:off x="8610600" y="6356354"/>
            <a:ext cx="2743200" cy="365125"/>
          </a:xfrm>
          <a:prstGeom prst="rect">
            <a:avLst/>
          </a:prstGeom>
        </p:spPr>
        <p:txBody>
          <a:bodyPr/>
          <a:lstStyle/>
          <a:p>
            <a:pPr defTabSz="913852">
              <a:defRPr/>
            </a:pPr>
            <a:fld id="{E74C42B1-5A19-486C-A487-15095F4D7BCC}" type="slidenum">
              <a:rPr lang="en-IN" smtClean="0">
                <a:solidFill>
                  <a:prstClr val="black"/>
                </a:solidFill>
              </a:rPr>
              <a:pPr defTabSz="913852">
                <a:defRPr/>
              </a:pPr>
              <a:t>‹#›</a:t>
            </a:fld>
            <a:endParaRPr lang="en-IN">
              <a:solidFill>
                <a:prstClr val="black"/>
              </a:solidFill>
            </a:endParaRPr>
          </a:p>
        </p:txBody>
      </p:sp>
    </p:spTree>
    <p:extLst>
      <p:ext uri="{BB962C8B-B14F-4D97-AF65-F5344CB8AC3E}">
        <p14:creationId xmlns:p14="http://schemas.microsoft.com/office/powerpoint/2010/main" val="45320694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81002" y="1348669"/>
            <a:ext cx="5418910" cy="4817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199" y="1348669"/>
            <a:ext cx="5638802" cy="48169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a:xfrm>
            <a:off x="381000" y="6356354"/>
            <a:ext cx="2743200" cy="365125"/>
          </a:xfrm>
          <a:prstGeom prst="rect">
            <a:avLst/>
          </a:prstGeom>
        </p:spPr>
        <p:txBody>
          <a:bodyPr/>
          <a:lstStyle/>
          <a:p>
            <a:pPr defTabSz="913852">
              <a:defRPr/>
            </a:pPr>
            <a:fld id="{83CDDF50-2691-4A96-A320-FAE26882475A}" type="datetimeFigureOut">
              <a:rPr lang="en-IN" sz="1798" smtClean="0">
                <a:solidFill>
                  <a:prstClr val="black"/>
                </a:solidFill>
              </a:rPr>
              <a:pPr defTabSz="913852">
                <a:defRPr/>
              </a:pPr>
              <a:t>01-12-2022</a:t>
            </a:fld>
            <a:endParaRPr lang="en-IN" sz="1798">
              <a:solidFill>
                <a:prstClr val="black"/>
              </a:solidFill>
            </a:endParaRPr>
          </a:p>
        </p:txBody>
      </p:sp>
      <p:sp>
        <p:nvSpPr>
          <p:cNvPr id="6" name="Footer Placeholder 5"/>
          <p:cNvSpPr>
            <a:spLocks noGrp="1"/>
          </p:cNvSpPr>
          <p:nvPr>
            <p:ph type="ftr" sz="quarter" idx="11"/>
          </p:nvPr>
        </p:nvSpPr>
        <p:spPr>
          <a:xfrm>
            <a:off x="4038601" y="6356354"/>
            <a:ext cx="4114800" cy="365125"/>
          </a:xfrm>
          <a:prstGeom prst="rect">
            <a:avLst/>
          </a:prstGeom>
        </p:spPr>
        <p:txBody>
          <a:bodyPr/>
          <a:lstStyle/>
          <a:p>
            <a:pPr defTabSz="913852">
              <a:defRPr/>
            </a:pPr>
            <a:endParaRPr lang="en-IN" sz="1798">
              <a:solidFill>
                <a:prstClr val="black"/>
              </a:solidFill>
            </a:endParaRPr>
          </a:p>
        </p:txBody>
      </p:sp>
      <p:sp>
        <p:nvSpPr>
          <p:cNvPr id="7" name="Slide Number Placeholder 6"/>
          <p:cNvSpPr>
            <a:spLocks noGrp="1"/>
          </p:cNvSpPr>
          <p:nvPr>
            <p:ph type="sldNum" sz="quarter" idx="12"/>
          </p:nvPr>
        </p:nvSpPr>
        <p:spPr>
          <a:xfrm>
            <a:off x="9067800" y="6356354"/>
            <a:ext cx="2743200" cy="365125"/>
          </a:xfrm>
          <a:prstGeom prst="rect">
            <a:avLst/>
          </a:prstGeom>
        </p:spPr>
        <p:txBody>
          <a:bodyPr/>
          <a:lstStyle/>
          <a:p>
            <a:pPr defTabSz="913852">
              <a:defRPr/>
            </a:pPr>
            <a:fld id="{E74C42B1-5A19-486C-A487-15095F4D7BCC}" type="slidenum">
              <a:rPr lang="en-IN" smtClean="0">
                <a:solidFill>
                  <a:prstClr val="black"/>
                </a:solidFill>
              </a:rPr>
              <a:pPr defTabSz="913852">
                <a:defRPr/>
              </a:pPr>
              <a:t>‹#›</a:t>
            </a:fld>
            <a:endParaRPr lang="en-IN">
              <a:solidFill>
                <a:prstClr val="black"/>
              </a:solidFill>
            </a:endParaRPr>
          </a:p>
        </p:txBody>
      </p:sp>
      <p:sp>
        <p:nvSpPr>
          <p:cNvPr id="8" name="Rectangle 2"/>
          <p:cNvSpPr>
            <a:spLocks noGrp="1" noChangeArrowheads="1"/>
          </p:cNvSpPr>
          <p:nvPr>
            <p:ph type="title"/>
          </p:nvPr>
        </p:nvSpPr>
        <p:spPr bwMode="auto">
          <a:xfrm>
            <a:off x="457202"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Tree>
    <p:extLst>
      <p:ext uri="{BB962C8B-B14F-4D97-AF65-F5344CB8AC3E}">
        <p14:creationId xmlns:p14="http://schemas.microsoft.com/office/powerpoint/2010/main" val="376520628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1002" y="1295334"/>
            <a:ext cx="5418910" cy="368910"/>
          </a:xfrm>
          <a:prstGeom prst="rect">
            <a:avLst/>
          </a:prstGeom>
        </p:spPr>
        <p:txBody>
          <a:bodyPr anchor="b"/>
          <a:lstStyle>
            <a:lvl1pPr marL="0" indent="0">
              <a:buNone/>
              <a:defRPr sz="2398" b="1"/>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Edit Master text styles</a:t>
            </a:r>
          </a:p>
        </p:txBody>
      </p:sp>
      <p:sp>
        <p:nvSpPr>
          <p:cNvPr id="5" name="Text Placeholder 4"/>
          <p:cNvSpPr>
            <a:spLocks noGrp="1"/>
          </p:cNvSpPr>
          <p:nvPr>
            <p:ph type="body" sz="quarter" idx="3"/>
          </p:nvPr>
        </p:nvSpPr>
        <p:spPr>
          <a:xfrm>
            <a:off x="6172200" y="1330577"/>
            <a:ext cx="5638800" cy="368910"/>
          </a:xfrm>
          <a:prstGeom prst="rect">
            <a:avLst/>
          </a:prstGeom>
        </p:spPr>
        <p:txBody>
          <a:bodyPr anchor="b"/>
          <a:lstStyle>
            <a:lvl1pPr marL="0" indent="0">
              <a:buNone/>
              <a:defRPr sz="2398" b="1"/>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Edit Master text styles</a:t>
            </a:r>
          </a:p>
        </p:txBody>
      </p:sp>
      <p:sp>
        <p:nvSpPr>
          <p:cNvPr id="10" name="Rectangle 2"/>
          <p:cNvSpPr>
            <a:spLocks noGrp="1" noChangeArrowheads="1"/>
          </p:cNvSpPr>
          <p:nvPr>
            <p:ph type="title"/>
          </p:nvPr>
        </p:nvSpPr>
        <p:spPr bwMode="auto">
          <a:xfrm>
            <a:off x="457202"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
        <p:nvSpPr>
          <p:cNvPr id="11" name="Content Placeholder 2"/>
          <p:cNvSpPr>
            <a:spLocks noGrp="1"/>
          </p:cNvSpPr>
          <p:nvPr>
            <p:ph sz="half" idx="10"/>
          </p:nvPr>
        </p:nvSpPr>
        <p:spPr>
          <a:xfrm>
            <a:off x="381002" y="1854925"/>
            <a:ext cx="5418910" cy="431074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2" name="Content Placeholder 3"/>
          <p:cNvSpPr>
            <a:spLocks noGrp="1"/>
          </p:cNvSpPr>
          <p:nvPr>
            <p:ph sz="half" idx="2"/>
          </p:nvPr>
        </p:nvSpPr>
        <p:spPr>
          <a:xfrm>
            <a:off x="6172199" y="1854926"/>
            <a:ext cx="5638802" cy="431074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3" name="Date Placeholder 4"/>
          <p:cNvSpPr>
            <a:spLocks noGrp="1"/>
          </p:cNvSpPr>
          <p:nvPr>
            <p:ph type="dt" sz="half" idx="11"/>
          </p:nvPr>
        </p:nvSpPr>
        <p:spPr>
          <a:xfrm>
            <a:off x="381000" y="6356354"/>
            <a:ext cx="2743200" cy="365125"/>
          </a:xfrm>
          <a:prstGeom prst="rect">
            <a:avLst/>
          </a:prstGeom>
        </p:spPr>
        <p:txBody>
          <a:bodyPr/>
          <a:lstStyle/>
          <a:p>
            <a:pPr defTabSz="913852">
              <a:defRPr/>
            </a:pPr>
            <a:fld id="{83CDDF50-2691-4A96-A320-FAE26882475A}" type="datetimeFigureOut">
              <a:rPr lang="en-IN" sz="1798" smtClean="0">
                <a:solidFill>
                  <a:prstClr val="black"/>
                </a:solidFill>
              </a:rPr>
              <a:pPr defTabSz="913852">
                <a:defRPr/>
              </a:pPr>
              <a:t>01-12-2022</a:t>
            </a:fld>
            <a:endParaRPr lang="en-IN" sz="1798">
              <a:solidFill>
                <a:prstClr val="black"/>
              </a:solidFill>
            </a:endParaRPr>
          </a:p>
        </p:txBody>
      </p:sp>
      <p:sp>
        <p:nvSpPr>
          <p:cNvPr id="14" name="Footer Placeholder 5"/>
          <p:cNvSpPr>
            <a:spLocks noGrp="1"/>
          </p:cNvSpPr>
          <p:nvPr>
            <p:ph type="ftr" sz="quarter" idx="12"/>
          </p:nvPr>
        </p:nvSpPr>
        <p:spPr>
          <a:xfrm>
            <a:off x="4038601" y="6356354"/>
            <a:ext cx="4114800" cy="365125"/>
          </a:xfrm>
          <a:prstGeom prst="rect">
            <a:avLst/>
          </a:prstGeom>
        </p:spPr>
        <p:txBody>
          <a:bodyPr/>
          <a:lstStyle/>
          <a:p>
            <a:pPr defTabSz="913852">
              <a:defRPr/>
            </a:pPr>
            <a:endParaRPr lang="en-IN" sz="1798">
              <a:solidFill>
                <a:prstClr val="black"/>
              </a:solidFill>
            </a:endParaRPr>
          </a:p>
        </p:txBody>
      </p:sp>
      <p:sp>
        <p:nvSpPr>
          <p:cNvPr id="15" name="Slide Number Placeholder 6"/>
          <p:cNvSpPr>
            <a:spLocks noGrp="1"/>
          </p:cNvSpPr>
          <p:nvPr>
            <p:ph type="sldNum" sz="quarter" idx="13"/>
          </p:nvPr>
        </p:nvSpPr>
        <p:spPr>
          <a:xfrm>
            <a:off x="9067800" y="6356354"/>
            <a:ext cx="2743200" cy="365125"/>
          </a:xfrm>
          <a:prstGeom prst="rect">
            <a:avLst/>
          </a:prstGeom>
        </p:spPr>
        <p:txBody>
          <a:bodyPr/>
          <a:lstStyle/>
          <a:p>
            <a:pPr defTabSz="913852">
              <a:defRPr/>
            </a:pPr>
            <a:fld id="{E74C42B1-5A19-486C-A487-15095F4D7BCC}" type="slidenum">
              <a:rPr lang="en-IN" smtClean="0">
                <a:solidFill>
                  <a:prstClr val="black"/>
                </a:solidFill>
              </a:rPr>
              <a:pPr defTabSz="913852">
                <a:defRPr/>
              </a:pPr>
              <a:t>‹#›</a:t>
            </a:fld>
            <a:endParaRPr lang="en-IN">
              <a:solidFill>
                <a:prstClr val="black"/>
              </a:solidFill>
            </a:endParaRPr>
          </a:p>
        </p:txBody>
      </p:sp>
    </p:spTree>
    <p:extLst>
      <p:ext uri="{BB962C8B-B14F-4D97-AF65-F5344CB8AC3E}">
        <p14:creationId xmlns:p14="http://schemas.microsoft.com/office/powerpoint/2010/main" val="12985277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ustom layout">
  <p:cSld name="Custom layout">
    <p:bg>
      <p:bgPr>
        <a:solidFill>
          <a:srgbClr val="FFFFFF"/>
        </a:solidFill>
        <a:effectLst/>
      </p:bgPr>
    </p:bg>
    <p:spTree>
      <p:nvGrpSpPr>
        <p:cNvPr id="1" name="Shape 130"/>
        <p:cNvGrpSpPr/>
        <p:nvPr/>
      </p:nvGrpSpPr>
      <p:grpSpPr>
        <a:xfrm>
          <a:off x="0" y="0"/>
          <a:ext cx="0" cy="0"/>
          <a:chOff x="0" y="0"/>
          <a:chExt cx="0" cy="0"/>
        </a:xfrm>
      </p:grpSpPr>
      <p:sp>
        <p:nvSpPr>
          <p:cNvPr id="131" name="Google Shape;131;g91f7f3216c_0_198"/>
          <p:cNvSpPr/>
          <p:nvPr/>
        </p:nvSpPr>
        <p:spPr>
          <a:xfrm>
            <a:off x="0" y="0"/>
            <a:ext cx="12192000" cy="6858000"/>
          </a:xfrm>
          <a:prstGeom prst="rect">
            <a:avLst/>
          </a:prstGeom>
          <a:solidFill>
            <a:schemeClr val="dk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400"/>
              <a:buFont typeface="Arial"/>
              <a:buNone/>
              <a:tabLst/>
              <a:defRPr/>
            </a:pPr>
            <a:endParaRPr kumimoji="0" sz="1867"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2" name="Google Shape;132;g91f7f3216c_0_198"/>
          <p:cNvSpPr/>
          <p:nvPr/>
        </p:nvSpPr>
        <p:spPr>
          <a:xfrm>
            <a:off x="599013" y="708200"/>
            <a:ext cx="850800" cy="96000"/>
          </a:xfrm>
          <a:prstGeom prst="rect">
            <a:avLst/>
          </a:prstGeom>
          <a:solidFill>
            <a:srgbClr val="FFFFF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400"/>
              <a:buFont typeface="Arial"/>
              <a:buNone/>
              <a:tabLst/>
              <a:defRPr/>
            </a:pPr>
            <a:endParaRPr kumimoji="0" sz="1867"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3" name="Google Shape;133;g91f7f3216c_0_198"/>
          <p:cNvSpPr txBox="1">
            <a:spLocks noGrp="1"/>
          </p:cNvSpPr>
          <p:nvPr>
            <p:ph type="ctrTitle"/>
          </p:nvPr>
        </p:nvSpPr>
        <p:spPr>
          <a:xfrm>
            <a:off x="431067" y="1030467"/>
            <a:ext cx="3605600" cy="4186800"/>
          </a:xfrm>
          <a:prstGeom prst="rect">
            <a:avLst/>
          </a:prstGeom>
          <a:noFill/>
          <a:ln>
            <a:noFill/>
          </a:ln>
        </p:spPr>
        <p:txBody>
          <a:bodyPr spcFirstLastPara="1" wrap="square" lIns="91425" tIns="91425" rIns="91425" bIns="91425" anchor="t" anchorCtr="0">
            <a:noAutofit/>
          </a:bodyPr>
          <a:lstStyle>
            <a:lvl1pPr lvl="0" algn="l" rtl="0">
              <a:lnSpc>
                <a:spcPct val="100000"/>
              </a:lnSpc>
              <a:spcBef>
                <a:spcPts val="0"/>
              </a:spcBef>
              <a:spcAft>
                <a:spcPts val="0"/>
              </a:spcAft>
              <a:buClr>
                <a:srgbClr val="FFFFFF"/>
              </a:buClr>
              <a:buSzPts val="2800"/>
              <a:buNone/>
              <a:defRPr sz="3733">
                <a:solidFill>
                  <a:srgbClr val="FFFFFF"/>
                </a:solidFill>
              </a:defRPr>
            </a:lvl1pPr>
            <a:lvl2pPr lvl="1" algn="l" rtl="0">
              <a:lnSpc>
                <a:spcPct val="100000"/>
              </a:lnSpc>
              <a:spcBef>
                <a:spcPts val="0"/>
              </a:spcBef>
              <a:spcAft>
                <a:spcPts val="0"/>
              </a:spcAft>
              <a:buClr>
                <a:srgbClr val="FFFFFF"/>
              </a:buClr>
              <a:buSzPts val="2800"/>
              <a:buNone/>
              <a:defRPr sz="3733">
                <a:solidFill>
                  <a:srgbClr val="FFFFFF"/>
                </a:solidFill>
              </a:defRPr>
            </a:lvl2pPr>
            <a:lvl3pPr lvl="2" algn="l" rtl="0">
              <a:lnSpc>
                <a:spcPct val="100000"/>
              </a:lnSpc>
              <a:spcBef>
                <a:spcPts val="0"/>
              </a:spcBef>
              <a:spcAft>
                <a:spcPts val="0"/>
              </a:spcAft>
              <a:buClr>
                <a:srgbClr val="FFFFFF"/>
              </a:buClr>
              <a:buSzPts val="2800"/>
              <a:buNone/>
              <a:defRPr sz="3733">
                <a:solidFill>
                  <a:srgbClr val="FFFFFF"/>
                </a:solidFill>
              </a:defRPr>
            </a:lvl3pPr>
            <a:lvl4pPr lvl="3" algn="l" rtl="0">
              <a:lnSpc>
                <a:spcPct val="100000"/>
              </a:lnSpc>
              <a:spcBef>
                <a:spcPts val="0"/>
              </a:spcBef>
              <a:spcAft>
                <a:spcPts val="0"/>
              </a:spcAft>
              <a:buClr>
                <a:srgbClr val="FFFFFF"/>
              </a:buClr>
              <a:buSzPts val="2800"/>
              <a:buNone/>
              <a:defRPr sz="3733">
                <a:solidFill>
                  <a:srgbClr val="FFFFFF"/>
                </a:solidFill>
              </a:defRPr>
            </a:lvl4pPr>
            <a:lvl5pPr lvl="4" algn="l" rtl="0">
              <a:lnSpc>
                <a:spcPct val="100000"/>
              </a:lnSpc>
              <a:spcBef>
                <a:spcPts val="0"/>
              </a:spcBef>
              <a:spcAft>
                <a:spcPts val="0"/>
              </a:spcAft>
              <a:buClr>
                <a:srgbClr val="FFFFFF"/>
              </a:buClr>
              <a:buSzPts val="2800"/>
              <a:buNone/>
              <a:defRPr sz="3733">
                <a:solidFill>
                  <a:srgbClr val="FFFFFF"/>
                </a:solidFill>
              </a:defRPr>
            </a:lvl5pPr>
            <a:lvl6pPr lvl="5" algn="l" rtl="0">
              <a:lnSpc>
                <a:spcPct val="100000"/>
              </a:lnSpc>
              <a:spcBef>
                <a:spcPts val="0"/>
              </a:spcBef>
              <a:spcAft>
                <a:spcPts val="0"/>
              </a:spcAft>
              <a:buClr>
                <a:srgbClr val="FFFFFF"/>
              </a:buClr>
              <a:buSzPts val="2800"/>
              <a:buNone/>
              <a:defRPr sz="3733">
                <a:solidFill>
                  <a:srgbClr val="FFFFFF"/>
                </a:solidFill>
              </a:defRPr>
            </a:lvl6pPr>
            <a:lvl7pPr lvl="6" algn="l" rtl="0">
              <a:lnSpc>
                <a:spcPct val="100000"/>
              </a:lnSpc>
              <a:spcBef>
                <a:spcPts val="0"/>
              </a:spcBef>
              <a:spcAft>
                <a:spcPts val="0"/>
              </a:spcAft>
              <a:buClr>
                <a:srgbClr val="FFFFFF"/>
              </a:buClr>
              <a:buSzPts val="2800"/>
              <a:buNone/>
              <a:defRPr sz="3733">
                <a:solidFill>
                  <a:srgbClr val="FFFFFF"/>
                </a:solidFill>
              </a:defRPr>
            </a:lvl7pPr>
            <a:lvl8pPr lvl="7" algn="l" rtl="0">
              <a:lnSpc>
                <a:spcPct val="100000"/>
              </a:lnSpc>
              <a:spcBef>
                <a:spcPts val="0"/>
              </a:spcBef>
              <a:spcAft>
                <a:spcPts val="0"/>
              </a:spcAft>
              <a:buClr>
                <a:srgbClr val="FFFFFF"/>
              </a:buClr>
              <a:buSzPts val="2800"/>
              <a:buNone/>
              <a:defRPr sz="3733">
                <a:solidFill>
                  <a:srgbClr val="FFFFFF"/>
                </a:solidFill>
              </a:defRPr>
            </a:lvl8pPr>
            <a:lvl9pPr lvl="8" algn="l" rtl="0">
              <a:lnSpc>
                <a:spcPct val="100000"/>
              </a:lnSpc>
              <a:spcBef>
                <a:spcPts val="0"/>
              </a:spcBef>
              <a:spcAft>
                <a:spcPts val="0"/>
              </a:spcAft>
              <a:buClr>
                <a:srgbClr val="FFFFFF"/>
              </a:buClr>
              <a:buSzPts val="2800"/>
              <a:buNone/>
              <a:defRPr sz="3733">
                <a:solidFill>
                  <a:srgbClr val="FFFFFF"/>
                </a:solidFill>
              </a:defRPr>
            </a:lvl9pPr>
          </a:lstStyle>
          <a:p>
            <a:endParaRPr/>
          </a:p>
        </p:txBody>
      </p:sp>
      <p:sp>
        <p:nvSpPr>
          <p:cNvPr id="134" name="Google Shape;134;g91f7f3216c_0_198"/>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1000"/>
              <a:buFont typeface="Arial"/>
              <a:buNone/>
              <a:defRPr sz="1333" b="0" i="0" u="none" strike="noStrike" cap="none">
                <a:solidFill>
                  <a:srgbClr val="FFFFFF"/>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333" b="0" i="0" u="none" strike="noStrike" cap="none">
                <a:solidFill>
                  <a:srgbClr val="FFFFFF"/>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333" b="0" i="0" u="none" strike="noStrike" cap="none">
                <a:solidFill>
                  <a:srgbClr val="FFFFFF"/>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333" b="0" i="0" u="none" strike="noStrike" cap="none">
                <a:solidFill>
                  <a:srgbClr val="FFFFFF"/>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333" b="0" i="0" u="none" strike="noStrike" cap="none">
                <a:solidFill>
                  <a:srgbClr val="FFFFFF"/>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333" b="0" i="0" u="none" strike="noStrike" cap="none">
                <a:solidFill>
                  <a:srgbClr val="FFFFFF"/>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333" b="0" i="0" u="none" strike="noStrike" cap="none">
                <a:solidFill>
                  <a:srgbClr val="FFFFFF"/>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333" b="0" i="0" u="none" strike="noStrike" cap="none">
                <a:solidFill>
                  <a:srgbClr val="FFFFFF"/>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333" b="0" i="0" u="none" strike="noStrike" cap="none">
                <a:solidFill>
                  <a:srgbClr val="FFFFFF"/>
                </a:solidFill>
                <a:latin typeface="Arial"/>
                <a:ea typeface="Arial"/>
                <a:cs typeface="Arial"/>
                <a:sym typeface="Arial"/>
              </a:defRPr>
            </a:lvl9pPr>
          </a:lstStyle>
          <a:p>
            <a:pPr defTabSz="1219170"/>
            <a:fld id="{00000000-1234-1234-1234-123412341234}" type="slidenum">
              <a:rPr lang="en-GB" kern="0" smtClean="0"/>
              <a:pPr defTabSz="1219170"/>
              <a:t>‹#›</a:t>
            </a:fld>
            <a:endParaRPr lang="en-GB" kern="0"/>
          </a:p>
        </p:txBody>
      </p:sp>
    </p:spTree>
    <p:extLst>
      <p:ext uri="{BB962C8B-B14F-4D97-AF65-F5344CB8AC3E}">
        <p14:creationId xmlns:p14="http://schemas.microsoft.com/office/powerpoint/2010/main" val="28732006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bwMode="auto">
          <a:xfrm>
            <a:off x="457202"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
        <p:nvSpPr>
          <p:cNvPr id="11" name="Date Placeholder 4"/>
          <p:cNvSpPr>
            <a:spLocks noGrp="1"/>
          </p:cNvSpPr>
          <p:nvPr>
            <p:ph type="dt" sz="half" idx="11"/>
          </p:nvPr>
        </p:nvSpPr>
        <p:spPr>
          <a:xfrm>
            <a:off x="381000" y="6356354"/>
            <a:ext cx="2743200" cy="365125"/>
          </a:xfrm>
          <a:prstGeom prst="rect">
            <a:avLst/>
          </a:prstGeom>
        </p:spPr>
        <p:txBody>
          <a:bodyPr/>
          <a:lstStyle/>
          <a:p>
            <a:pPr defTabSz="913852">
              <a:defRPr/>
            </a:pPr>
            <a:fld id="{83CDDF50-2691-4A96-A320-FAE26882475A}" type="datetimeFigureOut">
              <a:rPr lang="en-IN" sz="1798" smtClean="0">
                <a:solidFill>
                  <a:prstClr val="black"/>
                </a:solidFill>
              </a:rPr>
              <a:pPr defTabSz="913852">
                <a:defRPr/>
              </a:pPr>
              <a:t>01-12-2022</a:t>
            </a:fld>
            <a:endParaRPr lang="en-IN" sz="1798">
              <a:solidFill>
                <a:prstClr val="black"/>
              </a:solidFill>
            </a:endParaRPr>
          </a:p>
        </p:txBody>
      </p:sp>
      <p:sp>
        <p:nvSpPr>
          <p:cNvPr id="12" name="Footer Placeholder 5"/>
          <p:cNvSpPr>
            <a:spLocks noGrp="1"/>
          </p:cNvSpPr>
          <p:nvPr>
            <p:ph type="ftr" sz="quarter" idx="12"/>
          </p:nvPr>
        </p:nvSpPr>
        <p:spPr>
          <a:xfrm>
            <a:off x="4038601" y="6356354"/>
            <a:ext cx="4114800" cy="365125"/>
          </a:xfrm>
          <a:prstGeom prst="rect">
            <a:avLst/>
          </a:prstGeom>
        </p:spPr>
        <p:txBody>
          <a:bodyPr/>
          <a:lstStyle/>
          <a:p>
            <a:pPr defTabSz="913852">
              <a:defRPr/>
            </a:pPr>
            <a:endParaRPr lang="en-IN" sz="1798">
              <a:solidFill>
                <a:prstClr val="black"/>
              </a:solidFill>
            </a:endParaRPr>
          </a:p>
        </p:txBody>
      </p:sp>
      <p:sp>
        <p:nvSpPr>
          <p:cNvPr id="13" name="Slide Number Placeholder 6"/>
          <p:cNvSpPr>
            <a:spLocks noGrp="1"/>
          </p:cNvSpPr>
          <p:nvPr>
            <p:ph type="sldNum" sz="quarter" idx="13"/>
          </p:nvPr>
        </p:nvSpPr>
        <p:spPr>
          <a:xfrm>
            <a:off x="9067800" y="6356354"/>
            <a:ext cx="2743200" cy="365125"/>
          </a:xfrm>
          <a:prstGeom prst="rect">
            <a:avLst/>
          </a:prstGeom>
        </p:spPr>
        <p:txBody>
          <a:bodyPr/>
          <a:lstStyle/>
          <a:p>
            <a:pPr defTabSz="913852">
              <a:defRPr/>
            </a:pPr>
            <a:fld id="{E74C42B1-5A19-486C-A487-15095F4D7BCC}" type="slidenum">
              <a:rPr lang="en-IN" smtClean="0">
                <a:solidFill>
                  <a:prstClr val="black"/>
                </a:solidFill>
              </a:rPr>
              <a:pPr defTabSz="913852">
                <a:defRPr/>
              </a:pPr>
              <a:t>‹#›</a:t>
            </a:fld>
            <a:endParaRPr lang="en-IN">
              <a:solidFill>
                <a:prstClr val="black"/>
              </a:solidFill>
            </a:endParaRPr>
          </a:p>
        </p:txBody>
      </p:sp>
    </p:spTree>
    <p:extLst>
      <p:ext uri="{BB962C8B-B14F-4D97-AF65-F5344CB8AC3E}">
        <p14:creationId xmlns:p14="http://schemas.microsoft.com/office/powerpoint/2010/main" val="333430873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36565" y="1423851"/>
            <a:ext cx="4932271" cy="638674"/>
          </a:xfrm>
          <a:prstGeom prst="rect">
            <a:avLst/>
          </a:prstGeom>
        </p:spPr>
        <p:txBody>
          <a:bodyPr anchor="b"/>
          <a:lstStyle>
            <a:lvl1pPr>
              <a:defRPr sz="2798"/>
            </a:lvl1pPr>
          </a:lstStyle>
          <a:p>
            <a:r>
              <a:rPr lang="en-US"/>
              <a:t>Click to edit Master title style</a:t>
            </a:r>
            <a:endParaRPr lang="en-IN" dirty="0"/>
          </a:p>
        </p:txBody>
      </p:sp>
      <p:sp>
        <p:nvSpPr>
          <p:cNvPr id="3" name="Content Placeholder 2"/>
          <p:cNvSpPr>
            <a:spLocks noGrp="1"/>
          </p:cNvSpPr>
          <p:nvPr>
            <p:ph idx="1"/>
          </p:nvPr>
        </p:nvSpPr>
        <p:spPr>
          <a:xfrm>
            <a:off x="5786846" y="1423852"/>
            <a:ext cx="5968590" cy="4794068"/>
          </a:xfrm>
          <a:prstGeom prst="rect">
            <a:avLst/>
          </a:prstGeom>
        </p:spPr>
        <p:txBody>
          <a:bodyPr/>
          <a:lstStyle>
            <a:lvl1pPr>
              <a:defRPr sz="3198"/>
            </a:lvl1pPr>
            <a:lvl2pPr>
              <a:defRPr sz="2798"/>
            </a:lvl2pPr>
            <a:lvl3pPr>
              <a:defRPr sz="2398"/>
            </a:lvl3pPr>
            <a:lvl4pPr>
              <a:defRPr sz="1998"/>
            </a:lvl4pPr>
            <a:lvl5pPr>
              <a:defRPr sz="1998"/>
            </a:lvl5pPr>
            <a:lvl6pPr>
              <a:defRPr sz="1998"/>
            </a:lvl6pPr>
            <a:lvl7pPr>
              <a:defRPr sz="1998"/>
            </a:lvl7pPr>
            <a:lvl8pPr>
              <a:defRPr sz="1998"/>
            </a:lvl8pPr>
            <a:lvl9pPr>
              <a:defRPr sz="199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4" name="Text Placeholder 3"/>
          <p:cNvSpPr>
            <a:spLocks noGrp="1"/>
          </p:cNvSpPr>
          <p:nvPr>
            <p:ph type="body" sz="half" idx="2"/>
          </p:nvPr>
        </p:nvSpPr>
        <p:spPr>
          <a:xfrm>
            <a:off x="436565" y="2049465"/>
            <a:ext cx="4932271" cy="4106007"/>
          </a:xfrm>
          <a:prstGeom prst="rect">
            <a:avLst/>
          </a:prstGeom>
        </p:spPr>
        <p:txBody>
          <a:bodyPr/>
          <a:lstStyle>
            <a:lvl1pPr marL="0" indent="0">
              <a:buNone/>
              <a:defRPr sz="1798"/>
            </a:lvl1pPr>
            <a:lvl2pPr marL="456926" indent="0">
              <a:buNone/>
              <a:defRPr sz="1400"/>
            </a:lvl2pPr>
            <a:lvl3pPr marL="913852" indent="0">
              <a:buNone/>
              <a:defRPr sz="1200"/>
            </a:lvl3pPr>
            <a:lvl4pPr marL="1370778" indent="0">
              <a:buNone/>
              <a:defRPr sz="1000"/>
            </a:lvl4pPr>
            <a:lvl5pPr marL="1827703" indent="0">
              <a:buNone/>
              <a:defRPr sz="1000"/>
            </a:lvl5pPr>
            <a:lvl6pPr marL="2284628" indent="0">
              <a:buNone/>
              <a:defRPr sz="1000"/>
            </a:lvl6pPr>
            <a:lvl7pPr marL="2741554" indent="0">
              <a:buNone/>
              <a:defRPr sz="1000"/>
            </a:lvl7pPr>
            <a:lvl8pPr marL="3198480" indent="0">
              <a:buNone/>
              <a:defRPr sz="1000"/>
            </a:lvl8pPr>
            <a:lvl9pPr marL="3655406" indent="0">
              <a:buNone/>
              <a:defRPr sz="1000"/>
            </a:lvl9pPr>
          </a:lstStyle>
          <a:p>
            <a:pPr lvl="0"/>
            <a:r>
              <a:rPr lang="en-US"/>
              <a:t>Edit Master text styles</a:t>
            </a:r>
          </a:p>
        </p:txBody>
      </p:sp>
      <p:sp>
        <p:nvSpPr>
          <p:cNvPr id="8" name="Date Placeholder 4"/>
          <p:cNvSpPr>
            <a:spLocks noGrp="1"/>
          </p:cNvSpPr>
          <p:nvPr>
            <p:ph type="dt" sz="half" idx="11"/>
          </p:nvPr>
        </p:nvSpPr>
        <p:spPr>
          <a:xfrm>
            <a:off x="381000" y="6356354"/>
            <a:ext cx="2743200" cy="365125"/>
          </a:xfrm>
          <a:prstGeom prst="rect">
            <a:avLst/>
          </a:prstGeom>
        </p:spPr>
        <p:txBody>
          <a:bodyPr/>
          <a:lstStyle/>
          <a:p>
            <a:pPr defTabSz="913852">
              <a:defRPr/>
            </a:pPr>
            <a:fld id="{83CDDF50-2691-4A96-A320-FAE26882475A}" type="datetimeFigureOut">
              <a:rPr lang="en-IN" sz="1798" smtClean="0">
                <a:solidFill>
                  <a:prstClr val="black"/>
                </a:solidFill>
              </a:rPr>
              <a:pPr defTabSz="913852">
                <a:defRPr/>
              </a:pPr>
              <a:t>01-12-2022</a:t>
            </a:fld>
            <a:endParaRPr lang="en-IN" sz="1798">
              <a:solidFill>
                <a:prstClr val="black"/>
              </a:solidFill>
            </a:endParaRPr>
          </a:p>
        </p:txBody>
      </p:sp>
      <p:sp>
        <p:nvSpPr>
          <p:cNvPr id="9" name="Footer Placeholder 5"/>
          <p:cNvSpPr>
            <a:spLocks noGrp="1"/>
          </p:cNvSpPr>
          <p:nvPr>
            <p:ph type="ftr" sz="quarter" idx="12"/>
          </p:nvPr>
        </p:nvSpPr>
        <p:spPr>
          <a:xfrm>
            <a:off x="4038601" y="6356354"/>
            <a:ext cx="4114800" cy="365125"/>
          </a:xfrm>
          <a:prstGeom prst="rect">
            <a:avLst/>
          </a:prstGeom>
        </p:spPr>
        <p:txBody>
          <a:bodyPr/>
          <a:lstStyle/>
          <a:p>
            <a:pPr defTabSz="913852">
              <a:defRPr/>
            </a:pPr>
            <a:endParaRPr lang="en-IN" sz="1798">
              <a:solidFill>
                <a:prstClr val="black"/>
              </a:solidFill>
            </a:endParaRPr>
          </a:p>
        </p:txBody>
      </p:sp>
      <p:sp>
        <p:nvSpPr>
          <p:cNvPr id="10" name="Slide Number Placeholder 6"/>
          <p:cNvSpPr>
            <a:spLocks noGrp="1"/>
          </p:cNvSpPr>
          <p:nvPr>
            <p:ph type="sldNum" sz="quarter" idx="13"/>
          </p:nvPr>
        </p:nvSpPr>
        <p:spPr>
          <a:xfrm>
            <a:off x="9012236" y="6364155"/>
            <a:ext cx="2743200" cy="365125"/>
          </a:xfrm>
          <a:prstGeom prst="rect">
            <a:avLst/>
          </a:prstGeom>
        </p:spPr>
        <p:txBody>
          <a:bodyPr/>
          <a:lstStyle/>
          <a:p>
            <a:pPr defTabSz="913852">
              <a:defRPr/>
            </a:pPr>
            <a:fld id="{E74C42B1-5A19-486C-A487-15095F4D7BCC}" type="slidenum">
              <a:rPr lang="en-IN" smtClean="0">
                <a:solidFill>
                  <a:prstClr val="black"/>
                </a:solidFill>
              </a:rPr>
              <a:pPr defTabSz="913852">
                <a:defRPr/>
              </a:pPr>
              <a:t>‹#›</a:t>
            </a:fld>
            <a:endParaRPr lang="en-IN">
              <a:solidFill>
                <a:prstClr val="black"/>
              </a:solidFill>
            </a:endParaRPr>
          </a:p>
        </p:txBody>
      </p:sp>
      <p:sp>
        <p:nvSpPr>
          <p:cNvPr id="11" name="Rectangle 2"/>
          <p:cNvSpPr txBox="1">
            <a:spLocks noChangeArrowheads="1"/>
          </p:cNvSpPr>
          <p:nvPr/>
        </p:nvSpPr>
        <p:spPr bwMode="auto">
          <a:xfrm>
            <a:off x="457202" y="171451"/>
            <a:ext cx="7823200" cy="520876"/>
          </a:xfrm>
          <a:prstGeom prst="rect">
            <a:avLst/>
          </a:prstGeom>
          <a:noFill/>
          <a:ln w="9525">
            <a:noFill/>
            <a:miter lim="800000"/>
          </a:ln>
        </p:spPr>
        <p:txBody>
          <a:bodyPr vert="horz" wrap="square" lIns="91381" tIns="45691" rIns="91381" bIns="45691" numCol="1" anchor="ctr" anchorCtr="0" compatLnSpc="1"/>
          <a:lstStyle>
            <a:lvl1pPr algn="l" defTabSz="914400" rtl="0" eaLnBrk="1" latinLnBrk="0" hangingPunct="1">
              <a:lnSpc>
                <a:spcPct val="90000"/>
              </a:lnSpc>
              <a:spcBef>
                <a:spcPct val="0"/>
              </a:spcBef>
              <a:buNone/>
              <a:defRPr sz="3600" kern="1200">
                <a:solidFill>
                  <a:schemeClr val="tx1"/>
                </a:solidFill>
                <a:latin typeface="+mn-lt"/>
                <a:ea typeface="+mj-ea"/>
                <a:cs typeface="+mj-cs"/>
              </a:defRPr>
            </a:lvl1pPr>
          </a:lstStyle>
          <a:p>
            <a:pPr marL="0" marR="0" lvl="0" indent="0" algn="l" defTabSz="913852" rtl="0" eaLnBrk="1" fontAlgn="auto" latinLnBrk="0" hangingPunct="1">
              <a:lnSpc>
                <a:spcPct val="90000"/>
              </a:lnSpc>
              <a:spcBef>
                <a:spcPct val="0"/>
              </a:spcBef>
              <a:spcAft>
                <a:spcPts val="0"/>
              </a:spcAft>
              <a:buClrTx/>
              <a:buSzTx/>
              <a:buFontTx/>
              <a:buNone/>
              <a:tabLst/>
              <a:defRPr/>
            </a:pPr>
            <a:r>
              <a:rPr kumimoji="0" lang="en-US" sz="3598" b="0" i="0" u="none" strike="noStrike" kern="1200" cap="none" spc="0" normalizeH="0" baseline="0" noProof="0" dirty="0">
                <a:ln>
                  <a:noFill/>
                </a:ln>
                <a:solidFill>
                  <a:prstClr val="black"/>
                </a:solidFill>
                <a:effectLst/>
                <a:uLnTx/>
                <a:uFillTx/>
                <a:latin typeface="Calibri"/>
                <a:ea typeface="+mj-ea"/>
                <a:cs typeface="+mj-cs"/>
              </a:rPr>
              <a:t>Click to edit Master title</a:t>
            </a:r>
          </a:p>
        </p:txBody>
      </p:sp>
    </p:spTree>
    <p:extLst>
      <p:ext uri="{BB962C8B-B14F-4D97-AF65-F5344CB8AC3E}">
        <p14:creationId xmlns:p14="http://schemas.microsoft.com/office/powerpoint/2010/main" val="344171800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defTabSz="904966">
              <a:defRPr/>
            </a:pPr>
            <a:fld id="{7422662C-4EA5-40CB-AF95-82CA1EC35BEA}" type="slidenum">
              <a:rPr lang="en-US" smtClean="0">
                <a:solidFill>
                  <a:srgbClr val="000000"/>
                </a:solidFill>
                <a:latin typeface="Arial" panose="020B0604020202020204"/>
              </a:rPr>
              <a:pPr defTabSz="904966">
                <a:defRPr/>
              </a:pPr>
              <a:t>‹#›</a:t>
            </a:fld>
            <a:endParaRPr lang="en-US" dirty="0">
              <a:solidFill>
                <a:srgbClr val="000000"/>
              </a:solidFill>
              <a:latin typeface="Arial" panose="020B0604020202020204"/>
            </a:endParaRPr>
          </a:p>
        </p:txBody>
      </p:sp>
    </p:spTree>
    <p:extLst>
      <p:ext uri="{BB962C8B-B14F-4D97-AF65-F5344CB8AC3E}">
        <p14:creationId xmlns:p14="http://schemas.microsoft.com/office/powerpoint/2010/main" val="107974473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3852">
              <a:defRPr/>
            </a:pPr>
            <a:fld id="{9F566EA9-9EDB-495D-880D-E1C735BBEB7E}" type="datetimeFigureOut">
              <a:rPr lang="en-US" sz="1799" smtClean="0">
                <a:solidFill>
                  <a:prstClr val="black">
                    <a:tint val="75000"/>
                  </a:prstClr>
                </a:solidFill>
              </a:rPr>
              <a:pPr defTabSz="913852">
                <a:defRPr/>
              </a:pPr>
              <a:t>12/1/2022</a:t>
            </a:fld>
            <a:endParaRPr lang="en-US" sz="1799">
              <a:solidFill>
                <a:prstClr val="black">
                  <a:tint val="75000"/>
                </a:prstClr>
              </a:solidFill>
            </a:endParaRPr>
          </a:p>
        </p:txBody>
      </p:sp>
      <p:sp>
        <p:nvSpPr>
          <p:cNvPr id="3" name="Footer Placeholder 2"/>
          <p:cNvSpPr>
            <a:spLocks noGrp="1"/>
          </p:cNvSpPr>
          <p:nvPr>
            <p:ph type="ftr" sz="quarter" idx="11"/>
          </p:nvPr>
        </p:nvSpPr>
        <p:spPr/>
        <p:txBody>
          <a:bodyPr/>
          <a:lstStyle/>
          <a:p>
            <a:pPr defTabSz="913852">
              <a:defRPr/>
            </a:pPr>
            <a:endParaRPr lang="en-US" sz="1799">
              <a:solidFill>
                <a:prstClr val="black">
                  <a:tint val="75000"/>
                </a:prstClr>
              </a:solidFill>
            </a:endParaRPr>
          </a:p>
        </p:txBody>
      </p:sp>
      <p:sp>
        <p:nvSpPr>
          <p:cNvPr id="4" name="Slide Number Placeholder 3"/>
          <p:cNvSpPr>
            <a:spLocks noGrp="1"/>
          </p:cNvSpPr>
          <p:nvPr>
            <p:ph type="sldNum" sz="quarter" idx="12"/>
          </p:nvPr>
        </p:nvSpPr>
        <p:spPr/>
        <p:txBody>
          <a:bodyPr/>
          <a:lstStyle/>
          <a:p>
            <a:pPr defTabSz="913852">
              <a:defRPr/>
            </a:pPr>
            <a:fld id="{F7C73892-8A5D-4336-831B-64421740343D}" type="slidenum">
              <a:rPr lang="en-US" smtClean="0">
                <a:solidFill>
                  <a:prstClr val="black">
                    <a:tint val="75000"/>
                  </a:prstClr>
                </a:solidFill>
              </a:rPr>
              <a:pPr defTabSz="913852">
                <a:defRPr/>
              </a:pPr>
              <a:t>‹#›</a:t>
            </a:fld>
            <a:endParaRPr lang="en-US">
              <a:solidFill>
                <a:prstClr val="black">
                  <a:tint val="75000"/>
                </a:prstClr>
              </a:solidFill>
            </a:endParaRPr>
          </a:p>
        </p:txBody>
      </p:sp>
    </p:spTree>
    <p:extLst>
      <p:ext uri="{BB962C8B-B14F-4D97-AF65-F5344CB8AC3E}">
        <p14:creationId xmlns:p14="http://schemas.microsoft.com/office/powerpoint/2010/main" val="154804288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562710" y="1508400"/>
            <a:ext cx="11068061" cy="4590000"/>
          </a:xfrm>
          <a:prstGeom prst="rect">
            <a:avLst/>
          </a:prstGeom>
        </p:spPr>
        <p:txBody>
          <a:bodyPr lIns="0" tIns="0" rIns="0" bIns="0"/>
          <a:lstStyle>
            <a:lvl1pPr marL="0" indent="-172934">
              <a:buClr>
                <a:schemeClr val="tx2"/>
              </a:buClr>
              <a:buFont typeface="Arial" pitchFamily="34" charset="0"/>
              <a:buChar char="•"/>
              <a:tabLst/>
              <a:defRPr b="0"/>
            </a:lvl1pPr>
            <a:lvl2pPr marL="628272" indent="-228462">
              <a:buFont typeface="Arial" pitchFamily="34" charset="0"/>
              <a:buChar char="–"/>
              <a:defRPr/>
            </a:lvl2pPr>
            <a:lvl3pPr marL="1074094" indent="-228462">
              <a:defRPr/>
            </a:lvl3pPr>
            <a:lvl4pPr marL="1544409" indent="-228462">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671096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847623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Cover slide layout">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97C212F7-184D-4A49-A276-228D2606CDAA}"/>
              </a:ext>
            </a:extLst>
          </p:cNvPr>
          <p:cNvSpPr/>
          <p:nvPr userDrawn="1"/>
        </p:nvSpPr>
        <p:spPr>
          <a:xfrm rot="2710283">
            <a:off x="3230158" y="-3604334"/>
            <a:ext cx="5188207" cy="13481605"/>
          </a:xfrm>
          <a:custGeom>
            <a:avLst/>
            <a:gdLst>
              <a:gd name="connsiteX0" fmla="*/ 4872276 w 5188206"/>
              <a:gd name="connsiteY0" fmla="*/ 0 h 13481605"/>
              <a:gd name="connsiteX1" fmla="*/ 5188206 w 5188206"/>
              <a:gd name="connsiteY1" fmla="*/ 314046 h 13481605"/>
              <a:gd name="connsiteX2" fmla="*/ 5188206 w 5188206"/>
              <a:gd name="connsiteY2" fmla="*/ 9409991 h 13481605"/>
              <a:gd name="connsiteX3" fmla="*/ 1140878 w 5188206"/>
              <a:gd name="connsiteY3" fmla="*/ 13481605 h 13481605"/>
              <a:gd name="connsiteX4" fmla="*/ 0 w 5188206"/>
              <a:gd name="connsiteY4" fmla="*/ 12347532 h 13481605"/>
              <a:gd name="connsiteX5" fmla="*/ 1 w 5188206"/>
              <a:gd name="connsiteY5" fmla="*/ 4901511 h 1348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8206" h="13481605">
                <a:moveTo>
                  <a:pt x="4872276" y="0"/>
                </a:moveTo>
                <a:lnTo>
                  <a:pt x="5188206" y="314046"/>
                </a:lnTo>
                <a:lnTo>
                  <a:pt x="5188206" y="9409991"/>
                </a:lnTo>
                <a:lnTo>
                  <a:pt x="1140878" y="13481605"/>
                </a:lnTo>
                <a:lnTo>
                  <a:pt x="0" y="12347532"/>
                </a:lnTo>
                <a:lnTo>
                  <a:pt x="1" y="4901511"/>
                </a:lnTo>
                <a:close/>
              </a:path>
            </a:pathLst>
          </a:custGeom>
          <a:solidFill>
            <a:schemeClr val="accent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8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Arial Unicode MS"/>
              <a:cs typeface="+mn-cs"/>
            </a:endParaRPr>
          </a:p>
        </p:txBody>
      </p:sp>
      <p:pic>
        <p:nvPicPr>
          <p:cNvPr id="2" name="Picture 1">
            <a:extLst>
              <a:ext uri="{FF2B5EF4-FFF2-40B4-BE49-F238E27FC236}">
                <a16:creationId xmlns:a16="http://schemas.microsoft.com/office/drawing/2014/main" id="{206C027D-380B-4189-ADCD-4C61FF036C00}"/>
              </a:ext>
            </a:extLst>
          </p:cNvPr>
          <p:cNvPicPr>
            <a:picLocks noChangeAspect="1"/>
          </p:cNvPicPr>
          <p:nvPr userDrawn="1"/>
        </p:nvPicPr>
        <p:blipFill rotWithShape="1">
          <a:blip r:embed="rId2">
            <a:alphaModFix amt="29000"/>
            <a:extLst>
              <a:ext uri="{28A0092B-C50C-407E-A947-70E740481C1C}">
                <a14:useLocalDpi xmlns:a14="http://schemas.microsoft.com/office/drawing/2010/main" val="0"/>
              </a:ext>
            </a:extLst>
          </a:blip>
          <a:srcRect l="25587" t="29014" r="22468" b="1915"/>
          <a:stretch/>
        </p:blipFill>
        <p:spPr>
          <a:xfrm>
            <a:off x="7291763" y="1"/>
            <a:ext cx="4900239" cy="6858000"/>
          </a:xfrm>
          <a:prstGeom prst="rect">
            <a:avLst/>
          </a:prstGeom>
        </p:spPr>
      </p:pic>
      <p:pic>
        <p:nvPicPr>
          <p:cNvPr id="3" name="Picture 2">
            <a:extLst>
              <a:ext uri="{FF2B5EF4-FFF2-40B4-BE49-F238E27FC236}">
                <a16:creationId xmlns:a16="http://schemas.microsoft.com/office/drawing/2014/main" id="{CA200259-84FB-42E8-BC41-9E22E38BFFB8}"/>
              </a:ext>
            </a:extLst>
          </p:cNvPr>
          <p:cNvPicPr>
            <a:picLocks noChangeAspect="1"/>
          </p:cNvPicPr>
          <p:nvPr userDrawn="1"/>
        </p:nvPicPr>
        <p:blipFill rotWithShape="1">
          <a:blip r:embed="rId2">
            <a:alphaModFix amt="29000"/>
            <a:extLst>
              <a:ext uri="{28A0092B-C50C-407E-A947-70E740481C1C}">
                <a14:useLocalDpi xmlns:a14="http://schemas.microsoft.com/office/drawing/2010/main" val="0"/>
              </a:ext>
            </a:extLst>
          </a:blip>
          <a:srcRect l="59969" t="27510"/>
          <a:stretch/>
        </p:blipFill>
        <p:spPr>
          <a:xfrm>
            <a:off x="-147" y="0"/>
            <a:ext cx="3611440" cy="6904883"/>
          </a:xfrm>
          <a:prstGeom prst="rect">
            <a:avLst/>
          </a:prstGeom>
        </p:spPr>
      </p:pic>
      <p:sp>
        <p:nvSpPr>
          <p:cNvPr id="4" name="Freeform: Shape 3">
            <a:extLst>
              <a:ext uri="{FF2B5EF4-FFF2-40B4-BE49-F238E27FC236}">
                <a16:creationId xmlns:a16="http://schemas.microsoft.com/office/drawing/2014/main" id="{0363273D-08D0-4F61-9C43-8F313C85A4FB}"/>
              </a:ext>
            </a:extLst>
          </p:cNvPr>
          <p:cNvSpPr/>
          <p:nvPr userDrawn="1"/>
        </p:nvSpPr>
        <p:spPr>
          <a:xfrm rot="18917560">
            <a:off x="6757341" y="5310247"/>
            <a:ext cx="2184923" cy="719635"/>
          </a:xfrm>
          <a:custGeom>
            <a:avLst/>
            <a:gdLst>
              <a:gd name="connsiteX0" fmla="*/ 212221 w 2598991"/>
              <a:gd name="connsiteY0" fmla="*/ 705872 h 856013"/>
              <a:gd name="connsiteX1" fmla="*/ 212221 w 2598991"/>
              <a:gd name="connsiteY1" fmla="*/ 705873 h 856013"/>
              <a:gd name="connsiteX2" fmla="*/ 212221 w 2598991"/>
              <a:gd name="connsiteY2" fmla="*/ 705873 h 856013"/>
              <a:gd name="connsiteX3" fmla="*/ 0 w 2598991"/>
              <a:gd name="connsiteY3" fmla="*/ 150139 h 856013"/>
              <a:gd name="connsiteX4" fmla="*/ 0 w 2598991"/>
              <a:gd name="connsiteY4" fmla="*/ 150139 h 856013"/>
              <a:gd name="connsiteX5" fmla="*/ 0 w 2598991"/>
              <a:gd name="connsiteY5" fmla="*/ 150140 h 856013"/>
              <a:gd name="connsiteX6" fmla="*/ 150140 w 2598991"/>
              <a:gd name="connsiteY6" fmla="*/ 0 h 856013"/>
              <a:gd name="connsiteX7" fmla="*/ 1824103 w 2598991"/>
              <a:gd name="connsiteY7" fmla="*/ 0 h 856013"/>
              <a:gd name="connsiteX8" fmla="*/ 1974243 w 2598991"/>
              <a:gd name="connsiteY8" fmla="*/ 150140 h 856013"/>
              <a:gd name="connsiteX9" fmla="*/ 1974242 w 2598991"/>
              <a:gd name="connsiteY9" fmla="*/ 150140 h 856013"/>
              <a:gd name="connsiteX10" fmla="*/ 1930267 w 2598991"/>
              <a:gd name="connsiteY10" fmla="*/ 256305 h 856013"/>
              <a:gd name="connsiteX11" fmla="*/ 1894334 w 2598991"/>
              <a:gd name="connsiteY11" fmla="*/ 280532 h 856013"/>
              <a:gd name="connsiteX12" fmla="*/ 2457031 w 2598991"/>
              <a:gd name="connsiteY12" fmla="*/ 280532 h 856013"/>
              <a:gd name="connsiteX13" fmla="*/ 2598991 w 2598991"/>
              <a:gd name="connsiteY13" fmla="*/ 422492 h 856013"/>
              <a:gd name="connsiteX14" fmla="*/ 2598990 w 2598991"/>
              <a:gd name="connsiteY14" fmla="*/ 422492 h 856013"/>
              <a:gd name="connsiteX15" fmla="*/ 2457030 w 2598991"/>
              <a:gd name="connsiteY15" fmla="*/ 564452 h 856013"/>
              <a:gd name="connsiteX16" fmla="*/ 2079510 w 2598991"/>
              <a:gd name="connsiteY16" fmla="*/ 564452 h 856013"/>
              <a:gd name="connsiteX17" fmla="*/ 2094765 w 2598991"/>
              <a:gd name="connsiteY17" fmla="*/ 567532 h 856013"/>
              <a:gd name="connsiteX18" fmla="*/ 2186464 w 2598991"/>
              <a:gd name="connsiteY18" fmla="*/ 705873 h 856013"/>
              <a:gd name="connsiteX19" fmla="*/ 2186463 w 2598991"/>
              <a:gd name="connsiteY19" fmla="*/ 705873 h 856013"/>
              <a:gd name="connsiteX20" fmla="*/ 2036323 w 2598991"/>
              <a:gd name="connsiteY20" fmla="*/ 856013 h 856013"/>
              <a:gd name="connsiteX21" fmla="*/ 362361 w 2598991"/>
              <a:gd name="connsiteY21" fmla="*/ 856012 h 856013"/>
              <a:gd name="connsiteX22" fmla="*/ 224020 w 2598991"/>
              <a:gd name="connsiteY22" fmla="*/ 764313 h 856013"/>
              <a:gd name="connsiteX23" fmla="*/ 212221 w 2598991"/>
              <a:gd name="connsiteY23" fmla="*/ 705873 h 856013"/>
              <a:gd name="connsiteX24" fmla="*/ 224020 w 2598991"/>
              <a:gd name="connsiteY24" fmla="*/ 647432 h 856013"/>
              <a:gd name="connsiteX25" fmla="*/ 362361 w 2598991"/>
              <a:gd name="connsiteY25" fmla="*/ 555733 h 856013"/>
              <a:gd name="connsiteX26" fmla="*/ 469765 w 2598991"/>
              <a:gd name="connsiteY26" fmla="*/ 555733 h 856013"/>
              <a:gd name="connsiteX27" fmla="*/ 480117 w 2598991"/>
              <a:gd name="connsiteY27" fmla="*/ 553643 h 856013"/>
              <a:gd name="connsiteX28" fmla="*/ 566820 w 2598991"/>
              <a:gd name="connsiteY28" fmla="*/ 422839 h 856013"/>
              <a:gd name="connsiteX29" fmla="*/ 566821 w 2598991"/>
              <a:gd name="connsiteY29" fmla="*/ 422839 h 856013"/>
              <a:gd name="connsiteX30" fmla="*/ 515161 w 2598991"/>
              <a:gd name="connsiteY30" fmla="*/ 313296 h 856013"/>
              <a:gd name="connsiteX31" fmla="*/ 493706 w 2598991"/>
              <a:gd name="connsiteY31" fmla="*/ 300279 h 856013"/>
              <a:gd name="connsiteX32" fmla="*/ 150140 w 2598991"/>
              <a:gd name="connsiteY32" fmla="*/ 300279 h 856013"/>
              <a:gd name="connsiteX33" fmla="*/ 11799 w 2598991"/>
              <a:gd name="connsiteY33" fmla="*/ 208580 h 856013"/>
              <a:gd name="connsiteX34" fmla="*/ 0 w 2598991"/>
              <a:gd name="connsiteY34" fmla="*/ 150139 h 856013"/>
              <a:gd name="connsiteX35" fmla="*/ 11799 w 2598991"/>
              <a:gd name="connsiteY35" fmla="*/ 91699 h 856013"/>
              <a:gd name="connsiteX36" fmla="*/ 150140 w 2598991"/>
              <a:gd name="connsiteY36" fmla="*/ 0 h 85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98991" h="856013">
                <a:moveTo>
                  <a:pt x="212221" y="705872"/>
                </a:moveTo>
                <a:lnTo>
                  <a:pt x="212221" y="705873"/>
                </a:lnTo>
                <a:lnTo>
                  <a:pt x="212221" y="705873"/>
                </a:lnTo>
                <a:close/>
                <a:moveTo>
                  <a:pt x="0" y="150139"/>
                </a:moveTo>
                <a:lnTo>
                  <a:pt x="0" y="150139"/>
                </a:lnTo>
                <a:lnTo>
                  <a:pt x="0" y="150140"/>
                </a:lnTo>
                <a:close/>
                <a:moveTo>
                  <a:pt x="150140" y="0"/>
                </a:moveTo>
                <a:lnTo>
                  <a:pt x="1824103" y="0"/>
                </a:lnTo>
                <a:cubicBezTo>
                  <a:pt x="1907023" y="0"/>
                  <a:pt x="1974243" y="67220"/>
                  <a:pt x="1974243" y="150140"/>
                </a:cubicBezTo>
                <a:lnTo>
                  <a:pt x="1974242" y="150140"/>
                </a:lnTo>
                <a:cubicBezTo>
                  <a:pt x="1974242" y="191600"/>
                  <a:pt x="1957437" y="229135"/>
                  <a:pt x="1930267" y="256305"/>
                </a:cubicBezTo>
                <a:lnTo>
                  <a:pt x="1894334" y="280532"/>
                </a:lnTo>
                <a:lnTo>
                  <a:pt x="2457031" y="280532"/>
                </a:lnTo>
                <a:cubicBezTo>
                  <a:pt x="2535433" y="280532"/>
                  <a:pt x="2598991" y="344090"/>
                  <a:pt x="2598991" y="422492"/>
                </a:cubicBezTo>
                <a:lnTo>
                  <a:pt x="2598990" y="422492"/>
                </a:lnTo>
                <a:cubicBezTo>
                  <a:pt x="2598990" y="500894"/>
                  <a:pt x="2535432" y="564452"/>
                  <a:pt x="2457030" y="564452"/>
                </a:cubicBezTo>
                <a:lnTo>
                  <a:pt x="2079510" y="564452"/>
                </a:lnTo>
                <a:lnTo>
                  <a:pt x="2094765" y="567532"/>
                </a:lnTo>
                <a:cubicBezTo>
                  <a:pt x="2148653" y="590324"/>
                  <a:pt x="2186464" y="643683"/>
                  <a:pt x="2186464" y="705873"/>
                </a:cubicBezTo>
                <a:lnTo>
                  <a:pt x="2186463" y="705873"/>
                </a:lnTo>
                <a:cubicBezTo>
                  <a:pt x="2186463" y="788793"/>
                  <a:pt x="2119243" y="856013"/>
                  <a:pt x="2036323" y="856013"/>
                </a:cubicBezTo>
                <a:lnTo>
                  <a:pt x="362361" y="856012"/>
                </a:lnTo>
                <a:cubicBezTo>
                  <a:pt x="300171" y="856012"/>
                  <a:pt x="246812" y="818201"/>
                  <a:pt x="224020" y="764313"/>
                </a:cubicBezTo>
                <a:lnTo>
                  <a:pt x="212221" y="705873"/>
                </a:lnTo>
                <a:lnTo>
                  <a:pt x="224020" y="647432"/>
                </a:lnTo>
                <a:cubicBezTo>
                  <a:pt x="246812" y="593544"/>
                  <a:pt x="300171" y="555733"/>
                  <a:pt x="362361" y="555733"/>
                </a:cubicBezTo>
                <a:lnTo>
                  <a:pt x="469765" y="555733"/>
                </a:lnTo>
                <a:lnTo>
                  <a:pt x="480117" y="553643"/>
                </a:lnTo>
                <a:cubicBezTo>
                  <a:pt x="531069" y="532092"/>
                  <a:pt x="566820" y="481641"/>
                  <a:pt x="566820" y="422839"/>
                </a:cubicBezTo>
                <a:lnTo>
                  <a:pt x="566821" y="422839"/>
                </a:lnTo>
                <a:cubicBezTo>
                  <a:pt x="566821" y="378738"/>
                  <a:pt x="546711" y="339334"/>
                  <a:pt x="515161" y="313296"/>
                </a:cubicBezTo>
                <a:lnTo>
                  <a:pt x="493706" y="300279"/>
                </a:lnTo>
                <a:lnTo>
                  <a:pt x="150140" y="300279"/>
                </a:lnTo>
                <a:cubicBezTo>
                  <a:pt x="87950" y="300279"/>
                  <a:pt x="34591" y="262468"/>
                  <a:pt x="11799" y="208580"/>
                </a:cubicBezTo>
                <a:lnTo>
                  <a:pt x="0" y="150139"/>
                </a:lnTo>
                <a:lnTo>
                  <a:pt x="11799" y="91699"/>
                </a:lnTo>
                <a:cubicBezTo>
                  <a:pt x="34591" y="37811"/>
                  <a:pt x="87950" y="0"/>
                  <a:pt x="150140" y="0"/>
                </a:cubicBezTo>
                <a:close/>
              </a:path>
            </a:pathLst>
          </a:custGeom>
          <a:solidFill>
            <a:schemeClr val="accent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8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Arial Unicode MS"/>
              <a:cs typeface="+mn-cs"/>
            </a:endParaRPr>
          </a:p>
        </p:txBody>
      </p:sp>
      <p:sp>
        <p:nvSpPr>
          <p:cNvPr id="5" name="Freeform: Shape 4">
            <a:extLst>
              <a:ext uri="{FF2B5EF4-FFF2-40B4-BE49-F238E27FC236}">
                <a16:creationId xmlns:a16="http://schemas.microsoft.com/office/drawing/2014/main" id="{8F144AE0-43B5-4072-B84A-2621F7237F1E}"/>
              </a:ext>
            </a:extLst>
          </p:cNvPr>
          <p:cNvSpPr/>
          <p:nvPr userDrawn="1"/>
        </p:nvSpPr>
        <p:spPr>
          <a:xfrm rot="18917560">
            <a:off x="2315320" y="657619"/>
            <a:ext cx="2184923" cy="719635"/>
          </a:xfrm>
          <a:custGeom>
            <a:avLst/>
            <a:gdLst>
              <a:gd name="connsiteX0" fmla="*/ 212221 w 2598991"/>
              <a:gd name="connsiteY0" fmla="*/ 705872 h 856013"/>
              <a:gd name="connsiteX1" fmla="*/ 212221 w 2598991"/>
              <a:gd name="connsiteY1" fmla="*/ 705873 h 856013"/>
              <a:gd name="connsiteX2" fmla="*/ 212221 w 2598991"/>
              <a:gd name="connsiteY2" fmla="*/ 705873 h 856013"/>
              <a:gd name="connsiteX3" fmla="*/ 0 w 2598991"/>
              <a:gd name="connsiteY3" fmla="*/ 150139 h 856013"/>
              <a:gd name="connsiteX4" fmla="*/ 0 w 2598991"/>
              <a:gd name="connsiteY4" fmla="*/ 150139 h 856013"/>
              <a:gd name="connsiteX5" fmla="*/ 0 w 2598991"/>
              <a:gd name="connsiteY5" fmla="*/ 150140 h 856013"/>
              <a:gd name="connsiteX6" fmla="*/ 150140 w 2598991"/>
              <a:gd name="connsiteY6" fmla="*/ 0 h 856013"/>
              <a:gd name="connsiteX7" fmla="*/ 1824103 w 2598991"/>
              <a:gd name="connsiteY7" fmla="*/ 0 h 856013"/>
              <a:gd name="connsiteX8" fmla="*/ 1974243 w 2598991"/>
              <a:gd name="connsiteY8" fmla="*/ 150140 h 856013"/>
              <a:gd name="connsiteX9" fmla="*/ 1974242 w 2598991"/>
              <a:gd name="connsiteY9" fmla="*/ 150140 h 856013"/>
              <a:gd name="connsiteX10" fmla="*/ 1930267 w 2598991"/>
              <a:gd name="connsiteY10" fmla="*/ 256305 h 856013"/>
              <a:gd name="connsiteX11" fmla="*/ 1894334 w 2598991"/>
              <a:gd name="connsiteY11" fmla="*/ 280532 h 856013"/>
              <a:gd name="connsiteX12" fmla="*/ 2457031 w 2598991"/>
              <a:gd name="connsiteY12" fmla="*/ 280532 h 856013"/>
              <a:gd name="connsiteX13" fmla="*/ 2598991 w 2598991"/>
              <a:gd name="connsiteY13" fmla="*/ 422492 h 856013"/>
              <a:gd name="connsiteX14" fmla="*/ 2598990 w 2598991"/>
              <a:gd name="connsiteY14" fmla="*/ 422492 h 856013"/>
              <a:gd name="connsiteX15" fmla="*/ 2457030 w 2598991"/>
              <a:gd name="connsiteY15" fmla="*/ 564452 h 856013"/>
              <a:gd name="connsiteX16" fmla="*/ 2079510 w 2598991"/>
              <a:gd name="connsiteY16" fmla="*/ 564452 h 856013"/>
              <a:gd name="connsiteX17" fmla="*/ 2094765 w 2598991"/>
              <a:gd name="connsiteY17" fmla="*/ 567532 h 856013"/>
              <a:gd name="connsiteX18" fmla="*/ 2186464 w 2598991"/>
              <a:gd name="connsiteY18" fmla="*/ 705873 h 856013"/>
              <a:gd name="connsiteX19" fmla="*/ 2186463 w 2598991"/>
              <a:gd name="connsiteY19" fmla="*/ 705873 h 856013"/>
              <a:gd name="connsiteX20" fmla="*/ 2036323 w 2598991"/>
              <a:gd name="connsiteY20" fmla="*/ 856013 h 856013"/>
              <a:gd name="connsiteX21" fmla="*/ 362361 w 2598991"/>
              <a:gd name="connsiteY21" fmla="*/ 856012 h 856013"/>
              <a:gd name="connsiteX22" fmla="*/ 224020 w 2598991"/>
              <a:gd name="connsiteY22" fmla="*/ 764313 h 856013"/>
              <a:gd name="connsiteX23" fmla="*/ 212221 w 2598991"/>
              <a:gd name="connsiteY23" fmla="*/ 705873 h 856013"/>
              <a:gd name="connsiteX24" fmla="*/ 224020 w 2598991"/>
              <a:gd name="connsiteY24" fmla="*/ 647432 h 856013"/>
              <a:gd name="connsiteX25" fmla="*/ 362361 w 2598991"/>
              <a:gd name="connsiteY25" fmla="*/ 555733 h 856013"/>
              <a:gd name="connsiteX26" fmla="*/ 469765 w 2598991"/>
              <a:gd name="connsiteY26" fmla="*/ 555733 h 856013"/>
              <a:gd name="connsiteX27" fmla="*/ 480117 w 2598991"/>
              <a:gd name="connsiteY27" fmla="*/ 553643 h 856013"/>
              <a:gd name="connsiteX28" fmla="*/ 566820 w 2598991"/>
              <a:gd name="connsiteY28" fmla="*/ 422839 h 856013"/>
              <a:gd name="connsiteX29" fmla="*/ 566821 w 2598991"/>
              <a:gd name="connsiteY29" fmla="*/ 422839 h 856013"/>
              <a:gd name="connsiteX30" fmla="*/ 515161 w 2598991"/>
              <a:gd name="connsiteY30" fmla="*/ 313296 h 856013"/>
              <a:gd name="connsiteX31" fmla="*/ 493706 w 2598991"/>
              <a:gd name="connsiteY31" fmla="*/ 300279 h 856013"/>
              <a:gd name="connsiteX32" fmla="*/ 150140 w 2598991"/>
              <a:gd name="connsiteY32" fmla="*/ 300279 h 856013"/>
              <a:gd name="connsiteX33" fmla="*/ 11799 w 2598991"/>
              <a:gd name="connsiteY33" fmla="*/ 208580 h 856013"/>
              <a:gd name="connsiteX34" fmla="*/ 0 w 2598991"/>
              <a:gd name="connsiteY34" fmla="*/ 150139 h 856013"/>
              <a:gd name="connsiteX35" fmla="*/ 11799 w 2598991"/>
              <a:gd name="connsiteY35" fmla="*/ 91699 h 856013"/>
              <a:gd name="connsiteX36" fmla="*/ 150140 w 2598991"/>
              <a:gd name="connsiteY36" fmla="*/ 0 h 85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98991" h="856013">
                <a:moveTo>
                  <a:pt x="212221" y="705872"/>
                </a:moveTo>
                <a:lnTo>
                  <a:pt x="212221" y="705873"/>
                </a:lnTo>
                <a:lnTo>
                  <a:pt x="212221" y="705873"/>
                </a:lnTo>
                <a:close/>
                <a:moveTo>
                  <a:pt x="0" y="150139"/>
                </a:moveTo>
                <a:lnTo>
                  <a:pt x="0" y="150139"/>
                </a:lnTo>
                <a:lnTo>
                  <a:pt x="0" y="150140"/>
                </a:lnTo>
                <a:close/>
                <a:moveTo>
                  <a:pt x="150140" y="0"/>
                </a:moveTo>
                <a:lnTo>
                  <a:pt x="1824103" y="0"/>
                </a:lnTo>
                <a:cubicBezTo>
                  <a:pt x="1907023" y="0"/>
                  <a:pt x="1974243" y="67220"/>
                  <a:pt x="1974243" y="150140"/>
                </a:cubicBezTo>
                <a:lnTo>
                  <a:pt x="1974242" y="150140"/>
                </a:lnTo>
                <a:cubicBezTo>
                  <a:pt x="1974242" y="191600"/>
                  <a:pt x="1957437" y="229135"/>
                  <a:pt x="1930267" y="256305"/>
                </a:cubicBezTo>
                <a:lnTo>
                  <a:pt x="1894334" y="280532"/>
                </a:lnTo>
                <a:lnTo>
                  <a:pt x="2457031" y="280532"/>
                </a:lnTo>
                <a:cubicBezTo>
                  <a:pt x="2535433" y="280532"/>
                  <a:pt x="2598991" y="344090"/>
                  <a:pt x="2598991" y="422492"/>
                </a:cubicBezTo>
                <a:lnTo>
                  <a:pt x="2598990" y="422492"/>
                </a:lnTo>
                <a:cubicBezTo>
                  <a:pt x="2598990" y="500894"/>
                  <a:pt x="2535432" y="564452"/>
                  <a:pt x="2457030" y="564452"/>
                </a:cubicBezTo>
                <a:lnTo>
                  <a:pt x="2079510" y="564452"/>
                </a:lnTo>
                <a:lnTo>
                  <a:pt x="2094765" y="567532"/>
                </a:lnTo>
                <a:cubicBezTo>
                  <a:pt x="2148653" y="590324"/>
                  <a:pt x="2186464" y="643683"/>
                  <a:pt x="2186464" y="705873"/>
                </a:cubicBezTo>
                <a:lnTo>
                  <a:pt x="2186463" y="705873"/>
                </a:lnTo>
                <a:cubicBezTo>
                  <a:pt x="2186463" y="788793"/>
                  <a:pt x="2119243" y="856013"/>
                  <a:pt x="2036323" y="856013"/>
                </a:cubicBezTo>
                <a:lnTo>
                  <a:pt x="362361" y="856012"/>
                </a:lnTo>
                <a:cubicBezTo>
                  <a:pt x="300171" y="856012"/>
                  <a:pt x="246812" y="818201"/>
                  <a:pt x="224020" y="764313"/>
                </a:cubicBezTo>
                <a:lnTo>
                  <a:pt x="212221" y="705873"/>
                </a:lnTo>
                <a:lnTo>
                  <a:pt x="224020" y="647432"/>
                </a:lnTo>
                <a:cubicBezTo>
                  <a:pt x="246812" y="593544"/>
                  <a:pt x="300171" y="555733"/>
                  <a:pt x="362361" y="555733"/>
                </a:cubicBezTo>
                <a:lnTo>
                  <a:pt x="469765" y="555733"/>
                </a:lnTo>
                <a:lnTo>
                  <a:pt x="480117" y="553643"/>
                </a:lnTo>
                <a:cubicBezTo>
                  <a:pt x="531069" y="532092"/>
                  <a:pt x="566820" y="481641"/>
                  <a:pt x="566820" y="422839"/>
                </a:cubicBezTo>
                <a:lnTo>
                  <a:pt x="566821" y="422839"/>
                </a:lnTo>
                <a:cubicBezTo>
                  <a:pt x="566821" y="378738"/>
                  <a:pt x="546711" y="339334"/>
                  <a:pt x="515161" y="313296"/>
                </a:cubicBezTo>
                <a:lnTo>
                  <a:pt x="493706" y="300279"/>
                </a:lnTo>
                <a:lnTo>
                  <a:pt x="150140" y="300279"/>
                </a:lnTo>
                <a:cubicBezTo>
                  <a:pt x="87950" y="300279"/>
                  <a:pt x="34591" y="262468"/>
                  <a:pt x="11799" y="208580"/>
                </a:cubicBezTo>
                <a:lnTo>
                  <a:pt x="0" y="150139"/>
                </a:lnTo>
                <a:lnTo>
                  <a:pt x="11799" y="91699"/>
                </a:lnTo>
                <a:cubicBezTo>
                  <a:pt x="34591" y="37811"/>
                  <a:pt x="87950" y="0"/>
                  <a:pt x="150140" y="0"/>
                </a:cubicBezTo>
                <a:close/>
              </a:path>
            </a:pathLst>
          </a:custGeom>
          <a:solidFill>
            <a:schemeClr val="accent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8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Arial Unicode MS"/>
              <a:cs typeface="+mn-cs"/>
            </a:endParaRPr>
          </a:p>
        </p:txBody>
      </p:sp>
      <p:sp>
        <p:nvSpPr>
          <p:cNvPr id="6" name="Rectangle: Rounded Corners 5">
            <a:extLst>
              <a:ext uri="{FF2B5EF4-FFF2-40B4-BE49-F238E27FC236}">
                <a16:creationId xmlns:a16="http://schemas.microsoft.com/office/drawing/2014/main" id="{4F73E14A-31CD-46CC-9655-417F344E964D}"/>
              </a:ext>
            </a:extLst>
          </p:cNvPr>
          <p:cNvSpPr/>
          <p:nvPr userDrawn="1"/>
        </p:nvSpPr>
        <p:spPr>
          <a:xfrm rot="18900000">
            <a:off x="3249098" y="3545175"/>
            <a:ext cx="898779" cy="18823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8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Arial Unicode MS"/>
              <a:cs typeface="+mn-cs"/>
            </a:endParaRPr>
          </a:p>
        </p:txBody>
      </p:sp>
      <p:sp>
        <p:nvSpPr>
          <p:cNvPr id="7" name="Rectangle: Rounded Corners 6">
            <a:extLst>
              <a:ext uri="{FF2B5EF4-FFF2-40B4-BE49-F238E27FC236}">
                <a16:creationId xmlns:a16="http://schemas.microsoft.com/office/drawing/2014/main" id="{7B359B05-6AC3-460B-AADD-EF4FE88E5E15}"/>
              </a:ext>
            </a:extLst>
          </p:cNvPr>
          <p:cNvSpPr/>
          <p:nvPr userDrawn="1"/>
        </p:nvSpPr>
        <p:spPr>
          <a:xfrm rot="18900000">
            <a:off x="3933049" y="3402151"/>
            <a:ext cx="471088" cy="9866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8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Arial Unicode MS"/>
              <a:cs typeface="+mn-cs"/>
            </a:endParaRPr>
          </a:p>
        </p:txBody>
      </p:sp>
      <p:sp>
        <p:nvSpPr>
          <p:cNvPr id="8" name="Cross 7">
            <a:extLst>
              <a:ext uri="{FF2B5EF4-FFF2-40B4-BE49-F238E27FC236}">
                <a16:creationId xmlns:a16="http://schemas.microsoft.com/office/drawing/2014/main" id="{01AE4C7D-0581-4EF7-B01A-57774F1B5217}"/>
              </a:ext>
            </a:extLst>
          </p:cNvPr>
          <p:cNvSpPr/>
          <p:nvPr userDrawn="1"/>
        </p:nvSpPr>
        <p:spPr>
          <a:xfrm>
            <a:off x="8690532" y="3132960"/>
            <a:ext cx="296040" cy="296040"/>
          </a:xfrm>
          <a:prstGeom prst="plus">
            <a:avLst>
              <a:gd name="adj" fmla="val 437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8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Arial Unicode MS"/>
              <a:cs typeface="+mn-cs"/>
            </a:endParaRPr>
          </a:p>
        </p:txBody>
      </p:sp>
      <p:sp>
        <p:nvSpPr>
          <p:cNvPr id="9" name="Cross 8">
            <a:extLst>
              <a:ext uri="{FF2B5EF4-FFF2-40B4-BE49-F238E27FC236}">
                <a16:creationId xmlns:a16="http://schemas.microsoft.com/office/drawing/2014/main" id="{E15BDB5E-8F00-405C-BB7A-30DEF75B5163}"/>
              </a:ext>
            </a:extLst>
          </p:cNvPr>
          <p:cNvSpPr/>
          <p:nvPr userDrawn="1"/>
        </p:nvSpPr>
        <p:spPr>
          <a:xfrm rot="1642289">
            <a:off x="1982543" y="4138539"/>
            <a:ext cx="296040" cy="296040"/>
          </a:xfrm>
          <a:prstGeom prst="plus">
            <a:avLst>
              <a:gd name="adj" fmla="val 437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8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0" name="Isosceles Triangle 9">
            <a:extLst>
              <a:ext uri="{FF2B5EF4-FFF2-40B4-BE49-F238E27FC236}">
                <a16:creationId xmlns:a16="http://schemas.microsoft.com/office/drawing/2014/main" id="{DEAC9489-BCB7-4E3A-A896-B35B3A48F178}"/>
              </a:ext>
            </a:extLst>
          </p:cNvPr>
          <p:cNvSpPr/>
          <p:nvPr userDrawn="1"/>
        </p:nvSpPr>
        <p:spPr>
          <a:xfrm rot="12056913">
            <a:off x="5363426" y="5089805"/>
            <a:ext cx="251202" cy="216553"/>
          </a:xfrm>
          <a:prstGeom prst="triangl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8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1" name="Isosceles Triangle 10">
            <a:extLst>
              <a:ext uri="{FF2B5EF4-FFF2-40B4-BE49-F238E27FC236}">
                <a16:creationId xmlns:a16="http://schemas.microsoft.com/office/drawing/2014/main" id="{6B27FEF4-8DD6-4FAC-9895-F6E35C1DA54A}"/>
              </a:ext>
            </a:extLst>
          </p:cNvPr>
          <p:cNvSpPr/>
          <p:nvPr userDrawn="1"/>
        </p:nvSpPr>
        <p:spPr>
          <a:xfrm rot="12056913">
            <a:off x="8103107" y="591387"/>
            <a:ext cx="251202" cy="216553"/>
          </a:xfrm>
          <a:prstGeom prst="triangl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8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2" name="Oval 11">
            <a:extLst>
              <a:ext uri="{FF2B5EF4-FFF2-40B4-BE49-F238E27FC236}">
                <a16:creationId xmlns:a16="http://schemas.microsoft.com/office/drawing/2014/main" id="{14D70D1D-AA00-4B06-A452-6DFDE7FFF4E9}"/>
              </a:ext>
            </a:extLst>
          </p:cNvPr>
          <p:cNvSpPr/>
          <p:nvPr userDrawn="1"/>
        </p:nvSpPr>
        <p:spPr>
          <a:xfrm>
            <a:off x="3621419" y="2170601"/>
            <a:ext cx="213463" cy="213463"/>
          </a:xfrm>
          <a:prstGeom prst="ellips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78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3" name="Oval 12">
            <a:extLst>
              <a:ext uri="{FF2B5EF4-FFF2-40B4-BE49-F238E27FC236}">
                <a16:creationId xmlns:a16="http://schemas.microsoft.com/office/drawing/2014/main" id="{85D1B683-76F6-46BE-9D4C-38ADA1B32309}"/>
              </a:ext>
            </a:extLst>
          </p:cNvPr>
          <p:cNvSpPr/>
          <p:nvPr userDrawn="1"/>
        </p:nvSpPr>
        <p:spPr>
          <a:xfrm>
            <a:off x="10794551" y="1222470"/>
            <a:ext cx="213463" cy="213463"/>
          </a:xfrm>
          <a:prstGeom prst="ellips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78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5" name="Rectangle: Rounded Corners 14">
            <a:extLst>
              <a:ext uri="{FF2B5EF4-FFF2-40B4-BE49-F238E27FC236}">
                <a16:creationId xmlns:a16="http://schemas.microsoft.com/office/drawing/2014/main" id="{0B4C9FD5-DF32-4DAC-8E2E-373DFB75D439}"/>
              </a:ext>
            </a:extLst>
          </p:cNvPr>
          <p:cNvSpPr/>
          <p:nvPr userDrawn="1"/>
        </p:nvSpPr>
        <p:spPr>
          <a:xfrm rot="18900000">
            <a:off x="7806767" y="2002513"/>
            <a:ext cx="898779" cy="18823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8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6" name="Rectangle: Rounded Corners 15">
            <a:extLst>
              <a:ext uri="{FF2B5EF4-FFF2-40B4-BE49-F238E27FC236}">
                <a16:creationId xmlns:a16="http://schemas.microsoft.com/office/drawing/2014/main" id="{94E87BE3-6EEF-461A-BBF4-750890F3D4AF}"/>
              </a:ext>
            </a:extLst>
          </p:cNvPr>
          <p:cNvSpPr/>
          <p:nvPr userDrawn="1"/>
        </p:nvSpPr>
        <p:spPr>
          <a:xfrm rot="18900000">
            <a:off x="8490717" y="1859485"/>
            <a:ext cx="471088" cy="9866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8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Arial Unicode MS"/>
              <a:cs typeface="+mn-cs"/>
            </a:endParaRPr>
          </a:p>
        </p:txBody>
      </p:sp>
    </p:spTree>
    <p:extLst>
      <p:ext uri="{BB962C8B-B14F-4D97-AF65-F5344CB8AC3E}">
        <p14:creationId xmlns:p14="http://schemas.microsoft.com/office/powerpoint/2010/main" val="26390296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 y="287262"/>
            <a:ext cx="12192000" cy="724247"/>
          </a:xfrm>
          <a:prstGeom prst="rect">
            <a:avLst/>
          </a:prstGeom>
        </p:spPr>
        <p:txBody>
          <a:bodyPr anchor="ctr"/>
          <a:lstStyle>
            <a:lvl1pPr marL="0" indent="0" algn="ctr">
              <a:buNone/>
              <a:defRPr sz="5395" b="0" baseline="0">
                <a:solidFill>
                  <a:schemeClr val="tx1">
                    <a:lumMod val="85000"/>
                    <a:lumOff val="15000"/>
                  </a:schemeClr>
                </a:solidFill>
                <a:latin typeface="+mj-lt"/>
                <a:cs typeface="Arial" pitchFamily="34" charset="0"/>
              </a:defRPr>
            </a:lvl1pPr>
          </a:lstStyle>
          <a:p>
            <a:pPr lvl="0"/>
            <a:r>
              <a:rPr lang="en-US" altLang="ko-KR" dirty="0"/>
              <a:t>BASIC LAYOUT</a:t>
            </a:r>
          </a:p>
        </p:txBody>
      </p:sp>
      <p:grpSp>
        <p:nvGrpSpPr>
          <p:cNvPr id="6" name="Group 5">
            <a:extLst>
              <a:ext uri="{FF2B5EF4-FFF2-40B4-BE49-F238E27FC236}">
                <a16:creationId xmlns:a16="http://schemas.microsoft.com/office/drawing/2014/main" id="{39E32B89-F037-40D0-AF12-764A7C2FA486}"/>
              </a:ext>
            </a:extLst>
          </p:cNvPr>
          <p:cNvGrpSpPr/>
          <p:nvPr userDrawn="1"/>
        </p:nvGrpSpPr>
        <p:grpSpPr>
          <a:xfrm>
            <a:off x="-9523" y="6378431"/>
            <a:ext cx="12280605" cy="489096"/>
            <a:chOff x="-10633" y="6411432"/>
            <a:chExt cx="11109042" cy="446567"/>
          </a:xfrm>
        </p:grpSpPr>
        <p:sp>
          <p:nvSpPr>
            <p:cNvPr id="7" name="Graphic 41">
              <a:extLst>
                <a:ext uri="{FF2B5EF4-FFF2-40B4-BE49-F238E27FC236}">
                  <a16:creationId xmlns:a16="http://schemas.microsoft.com/office/drawing/2014/main" id="{3BC4C72F-286E-4B83-A4A4-AD0BA626627E}"/>
                </a:ext>
              </a:extLst>
            </p:cNvPr>
            <p:cNvSpPr/>
            <p:nvPr userDrawn="1"/>
          </p:nvSpPr>
          <p:spPr>
            <a:xfrm>
              <a:off x="-10633" y="6411432"/>
              <a:ext cx="5608465" cy="446567"/>
            </a:xfrm>
            <a:custGeom>
              <a:avLst/>
              <a:gdLst>
                <a:gd name="connsiteX0" fmla="*/ 7144 w 6400800"/>
                <a:gd name="connsiteY0" fmla="*/ 511016 h 514350"/>
                <a:gd name="connsiteX1" fmla="*/ 6354604 w 6400800"/>
                <a:gd name="connsiteY1" fmla="*/ 511016 h 514350"/>
                <a:gd name="connsiteX2" fmla="*/ 6354604 w 6400800"/>
                <a:gd name="connsiteY2" fmla="*/ 409099 h 514350"/>
                <a:gd name="connsiteX3" fmla="*/ 6327934 w 6400800"/>
                <a:gd name="connsiteY3" fmla="*/ 415766 h 514350"/>
                <a:gd name="connsiteX4" fmla="*/ 6327934 w 6400800"/>
                <a:gd name="connsiteY4" fmla="*/ 404336 h 514350"/>
                <a:gd name="connsiteX5" fmla="*/ 6328887 w 6400800"/>
                <a:gd name="connsiteY5" fmla="*/ 383381 h 514350"/>
                <a:gd name="connsiteX6" fmla="*/ 6329839 w 6400800"/>
                <a:gd name="connsiteY6" fmla="*/ 365284 h 514350"/>
                <a:gd name="connsiteX7" fmla="*/ 6324124 w 6400800"/>
                <a:gd name="connsiteY7" fmla="*/ 383381 h 514350"/>
                <a:gd name="connsiteX8" fmla="*/ 6319362 w 6400800"/>
                <a:gd name="connsiteY8" fmla="*/ 404336 h 514350"/>
                <a:gd name="connsiteX9" fmla="*/ 6316504 w 6400800"/>
                <a:gd name="connsiteY9" fmla="*/ 419576 h 514350"/>
                <a:gd name="connsiteX10" fmla="*/ 6303169 w 6400800"/>
                <a:gd name="connsiteY10" fmla="*/ 423386 h 514350"/>
                <a:gd name="connsiteX11" fmla="*/ 6304121 w 6400800"/>
                <a:gd name="connsiteY11" fmla="*/ 405289 h 514350"/>
                <a:gd name="connsiteX12" fmla="*/ 6319362 w 6400800"/>
                <a:gd name="connsiteY12" fmla="*/ 358616 h 514350"/>
                <a:gd name="connsiteX13" fmla="*/ 6322219 w 6400800"/>
                <a:gd name="connsiteY13" fmla="*/ 349091 h 514350"/>
                <a:gd name="connsiteX14" fmla="*/ 6334601 w 6400800"/>
                <a:gd name="connsiteY14" fmla="*/ 312896 h 514350"/>
                <a:gd name="connsiteX15" fmla="*/ 6349842 w 6400800"/>
                <a:gd name="connsiteY15" fmla="*/ 269081 h 514350"/>
                <a:gd name="connsiteX16" fmla="*/ 6363176 w 6400800"/>
                <a:gd name="connsiteY16" fmla="*/ 228124 h 514350"/>
                <a:gd name="connsiteX17" fmla="*/ 6375559 w 6400800"/>
                <a:gd name="connsiteY17" fmla="*/ 190976 h 514350"/>
                <a:gd name="connsiteX18" fmla="*/ 6393656 w 6400800"/>
                <a:gd name="connsiteY18" fmla="*/ 134779 h 514350"/>
                <a:gd name="connsiteX19" fmla="*/ 6400324 w 6400800"/>
                <a:gd name="connsiteY19" fmla="*/ 113824 h 514350"/>
                <a:gd name="connsiteX20" fmla="*/ 6389846 w 6400800"/>
                <a:gd name="connsiteY20" fmla="*/ 133826 h 514350"/>
                <a:gd name="connsiteX21" fmla="*/ 6380321 w 6400800"/>
                <a:gd name="connsiteY21" fmla="*/ 153829 h 514350"/>
                <a:gd name="connsiteX22" fmla="*/ 6392704 w 6400800"/>
                <a:gd name="connsiteY22" fmla="*/ 110966 h 514350"/>
                <a:gd name="connsiteX23" fmla="*/ 6399371 w 6400800"/>
                <a:gd name="connsiteY23" fmla="*/ 87154 h 514350"/>
                <a:gd name="connsiteX24" fmla="*/ 6388894 w 6400800"/>
                <a:gd name="connsiteY24" fmla="*/ 109061 h 514350"/>
                <a:gd name="connsiteX25" fmla="*/ 6377464 w 6400800"/>
                <a:gd name="connsiteY25" fmla="*/ 134779 h 514350"/>
                <a:gd name="connsiteX26" fmla="*/ 6364129 w 6400800"/>
                <a:gd name="connsiteY26" fmla="*/ 168116 h 514350"/>
                <a:gd name="connsiteX27" fmla="*/ 6332696 w 6400800"/>
                <a:gd name="connsiteY27" fmla="*/ 253841 h 514350"/>
                <a:gd name="connsiteX28" fmla="*/ 6316504 w 6400800"/>
                <a:gd name="connsiteY28" fmla="*/ 302419 h 514350"/>
                <a:gd name="connsiteX29" fmla="*/ 6314599 w 6400800"/>
                <a:gd name="connsiteY29" fmla="*/ 308134 h 514350"/>
                <a:gd name="connsiteX30" fmla="*/ 6317456 w 6400800"/>
                <a:gd name="connsiteY30" fmla="*/ 287179 h 514350"/>
                <a:gd name="connsiteX31" fmla="*/ 6319362 w 6400800"/>
                <a:gd name="connsiteY31" fmla="*/ 267176 h 514350"/>
                <a:gd name="connsiteX32" fmla="*/ 6320314 w 6400800"/>
                <a:gd name="connsiteY32" fmla="*/ 250031 h 514350"/>
                <a:gd name="connsiteX33" fmla="*/ 6314599 w 6400800"/>
                <a:gd name="connsiteY33" fmla="*/ 266224 h 514350"/>
                <a:gd name="connsiteX34" fmla="*/ 6302217 w 6400800"/>
                <a:gd name="connsiteY34" fmla="*/ 310039 h 514350"/>
                <a:gd name="connsiteX35" fmla="*/ 6293644 w 6400800"/>
                <a:gd name="connsiteY35" fmla="*/ 339566 h 514350"/>
                <a:gd name="connsiteX36" fmla="*/ 6286976 w 6400800"/>
                <a:gd name="connsiteY36" fmla="*/ 362426 h 514350"/>
                <a:gd name="connsiteX37" fmla="*/ 6284119 w 6400800"/>
                <a:gd name="connsiteY37" fmla="*/ 335756 h 514350"/>
                <a:gd name="connsiteX38" fmla="*/ 6288881 w 6400800"/>
                <a:gd name="connsiteY38" fmla="*/ 318611 h 514350"/>
                <a:gd name="connsiteX39" fmla="*/ 6302217 w 6400800"/>
                <a:gd name="connsiteY39" fmla="*/ 274796 h 514350"/>
                <a:gd name="connsiteX40" fmla="*/ 6307931 w 6400800"/>
                <a:gd name="connsiteY40" fmla="*/ 255746 h 514350"/>
                <a:gd name="connsiteX41" fmla="*/ 6313646 w 6400800"/>
                <a:gd name="connsiteY41" fmla="*/ 238601 h 514350"/>
                <a:gd name="connsiteX42" fmla="*/ 6323171 w 6400800"/>
                <a:gd name="connsiteY42" fmla="*/ 210026 h 514350"/>
                <a:gd name="connsiteX43" fmla="*/ 6330792 w 6400800"/>
                <a:gd name="connsiteY43" fmla="*/ 185261 h 514350"/>
                <a:gd name="connsiteX44" fmla="*/ 6319362 w 6400800"/>
                <a:gd name="connsiteY44" fmla="*/ 208121 h 514350"/>
                <a:gd name="connsiteX45" fmla="*/ 6306026 w 6400800"/>
                <a:gd name="connsiteY45" fmla="*/ 234791 h 514350"/>
                <a:gd name="connsiteX46" fmla="*/ 6298406 w 6400800"/>
                <a:gd name="connsiteY46" fmla="*/ 250984 h 514350"/>
                <a:gd name="connsiteX47" fmla="*/ 6290787 w 6400800"/>
                <a:gd name="connsiteY47" fmla="*/ 270034 h 514350"/>
                <a:gd name="connsiteX48" fmla="*/ 6278404 w 6400800"/>
                <a:gd name="connsiteY48" fmla="*/ 301466 h 514350"/>
                <a:gd name="connsiteX49" fmla="*/ 6277451 w 6400800"/>
                <a:gd name="connsiteY49" fmla="*/ 292894 h 514350"/>
                <a:gd name="connsiteX50" fmla="*/ 6276499 w 6400800"/>
                <a:gd name="connsiteY50" fmla="*/ 306229 h 514350"/>
                <a:gd name="connsiteX51" fmla="*/ 6273642 w 6400800"/>
                <a:gd name="connsiteY51" fmla="*/ 312896 h 514350"/>
                <a:gd name="connsiteX52" fmla="*/ 6269831 w 6400800"/>
                <a:gd name="connsiteY52" fmla="*/ 322421 h 514350"/>
                <a:gd name="connsiteX53" fmla="*/ 6273642 w 6400800"/>
                <a:gd name="connsiteY53" fmla="*/ 300514 h 514350"/>
                <a:gd name="connsiteX54" fmla="*/ 6283167 w 6400800"/>
                <a:gd name="connsiteY54" fmla="*/ 252889 h 514350"/>
                <a:gd name="connsiteX55" fmla="*/ 6287929 w 6400800"/>
                <a:gd name="connsiteY55" fmla="*/ 231934 h 514350"/>
                <a:gd name="connsiteX56" fmla="*/ 6292692 w 6400800"/>
                <a:gd name="connsiteY56" fmla="*/ 212884 h 514350"/>
                <a:gd name="connsiteX57" fmla="*/ 6300312 w 6400800"/>
                <a:gd name="connsiteY57" fmla="*/ 181451 h 514350"/>
                <a:gd name="connsiteX58" fmla="*/ 6306026 w 6400800"/>
                <a:gd name="connsiteY58" fmla="*/ 153829 h 514350"/>
                <a:gd name="connsiteX59" fmla="*/ 6296501 w 6400800"/>
                <a:gd name="connsiteY59" fmla="*/ 180499 h 514350"/>
                <a:gd name="connsiteX60" fmla="*/ 6286024 w 6400800"/>
                <a:gd name="connsiteY60" fmla="*/ 210979 h 514350"/>
                <a:gd name="connsiteX61" fmla="*/ 6279356 w 6400800"/>
                <a:gd name="connsiteY61" fmla="*/ 230029 h 514350"/>
                <a:gd name="connsiteX62" fmla="*/ 6273642 w 6400800"/>
                <a:gd name="connsiteY62" fmla="*/ 250984 h 514350"/>
                <a:gd name="connsiteX63" fmla="*/ 6260306 w 6400800"/>
                <a:gd name="connsiteY63" fmla="*/ 298609 h 514350"/>
                <a:gd name="connsiteX64" fmla="*/ 6246971 w 6400800"/>
                <a:gd name="connsiteY64" fmla="*/ 351949 h 514350"/>
                <a:gd name="connsiteX65" fmla="*/ 6236494 w 6400800"/>
                <a:gd name="connsiteY65" fmla="*/ 396716 h 514350"/>
                <a:gd name="connsiteX66" fmla="*/ 6235542 w 6400800"/>
                <a:gd name="connsiteY66" fmla="*/ 394811 h 514350"/>
                <a:gd name="connsiteX67" fmla="*/ 6234589 w 6400800"/>
                <a:gd name="connsiteY67" fmla="*/ 370046 h 514350"/>
                <a:gd name="connsiteX68" fmla="*/ 6230779 w 6400800"/>
                <a:gd name="connsiteY68" fmla="*/ 389096 h 514350"/>
                <a:gd name="connsiteX69" fmla="*/ 6227921 w 6400800"/>
                <a:gd name="connsiteY69" fmla="*/ 384334 h 514350"/>
                <a:gd name="connsiteX70" fmla="*/ 6216492 w 6400800"/>
                <a:gd name="connsiteY70" fmla="*/ 367189 h 514350"/>
                <a:gd name="connsiteX71" fmla="*/ 6223159 w 6400800"/>
                <a:gd name="connsiteY71" fmla="*/ 348139 h 514350"/>
                <a:gd name="connsiteX72" fmla="*/ 6236494 w 6400800"/>
                <a:gd name="connsiteY72" fmla="*/ 310991 h 514350"/>
                <a:gd name="connsiteX73" fmla="*/ 6247924 w 6400800"/>
                <a:gd name="connsiteY73" fmla="*/ 279559 h 514350"/>
                <a:gd name="connsiteX74" fmla="*/ 6256496 w 6400800"/>
                <a:gd name="connsiteY74" fmla="*/ 254794 h 514350"/>
                <a:gd name="connsiteX75" fmla="*/ 6264117 w 6400800"/>
                <a:gd name="connsiteY75" fmla="*/ 233839 h 514350"/>
                <a:gd name="connsiteX76" fmla="*/ 6252687 w 6400800"/>
                <a:gd name="connsiteY76" fmla="*/ 253841 h 514350"/>
                <a:gd name="connsiteX77" fmla="*/ 6240304 w 6400800"/>
                <a:gd name="connsiteY77" fmla="*/ 276701 h 514350"/>
                <a:gd name="connsiteX78" fmla="*/ 6225064 w 6400800"/>
                <a:gd name="connsiteY78" fmla="*/ 307181 h 514350"/>
                <a:gd name="connsiteX79" fmla="*/ 6208871 w 6400800"/>
                <a:gd name="connsiteY79" fmla="*/ 343376 h 514350"/>
                <a:gd name="connsiteX80" fmla="*/ 6205062 w 6400800"/>
                <a:gd name="connsiteY80" fmla="*/ 351949 h 514350"/>
                <a:gd name="connsiteX81" fmla="*/ 6204109 w 6400800"/>
                <a:gd name="connsiteY81" fmla="*/ 350996 h 514350"/>
                <a:gd name="connsiteX82" fmla="*/ 6210776 w 6400800"/>
                <a:gd name="connsiteY82" fmla="*/ 320516 h 514350"/>
                <a:gd name="connsiteX83" fmla="*/ 6222206 w 6400800"/>
                <a:gd name="connsiteY83" fmla="*/ 268129 h 514350"/>
                <a:gd name="connsiteX84" fmla="*/ 6226017 w 6400800"/>
                <a:gd name="connsiteY84" fmla="*/ 248126 h 514350"/>
                <a:gd name="connsiteX85" fmla="*/ 6218396 w 6400800"/>
                <a:gd name="connsiteY85" fmla="*/ 267176 h 514350"/>
                <a:gd name="connsiteX86" fmla="*/ 6209824 w 6400800"/>
                <a:gd name="connsiteY86" fmla="*/ 289084 h 514350"/>
                <a:gd name="connsiteX87" fmla="*/ 6199346 w 6400800"/>
                <a:gd name="connsiteY87" fmla="*/ 317659 h 514350"/>
                <a:gd name="connsiteX88" fmla="*/ 6193631 w 6400800"/>
                <a:gd name="connsiteY88" fmla="*/ 335756 h 514350"/>
                <a:gd name="connsiteX89" fmla="*/ 6184106 w 6400800"/>
                <a:gd name="connsiteY89" fmla="*/ 322421 h 514350"/>
                <a:gd name="connsiteX90" fmla="*/ 6181249 w 6400800"/>
                <a:gd name="connsiteY90" fmla="*/ 318611 h 514350"/>
                <a:gd name="connsiteX91" fmla="*/ 6184106 w 6400800"/>
                <a:gd name="connsiteY91" fmla="*/ 302419 h 514350"/>
                <a:gd name="connsiteX92" fmla="*/ 6189821 w 6400800"/>
                <a:gd name="connsiteY92" fmla="*/ 274796 h 514350"/>
                <a:gd name="connsiteX93" fmla="*/ 6195537 w 6400800"/>
                <a:gd name="connsiteY93" fmla="*/ 250984 h 514350"/>
                <a:gd name="connsiteX94" fmla="*/ 6186012 w 6400800"/>
                <a:gd name="connsiteY94" fmla="*/ 273844 h 514350"/>
                <a:gd name="connsiteX95" fmla="*/ 6176487 w 6400800"/>
                <a:gd name="connsiteY95" fmla="*/ 300514 h 514350"/>
                <a:gd name="connsiteX96" fmla="*/ 6173629 w 6400800"/>
                <a:gd name="connsiteY96" fmla="*/ 309086 h 514350"/>
                <a:gd name="connsiteX97" fmla="*/ 6172676 w 6400800"/>
                <a:gd name="connsiteY97" fmla="*/ 308134 h 514350"/>
                <a:gd name="connsiteX98" fmla="*/ 6174581 w 6400800"/>
                <a:gd name="connsiteY98" fmla="*/ 294799 h 514350"/>
                <a:gd name="connsiteX99" fmla="*/ 6180296 w 6400800"/>
                <a:gd name="connsiteY99" fmla="*/ 263366 h 514350"/>
                <a:gd name="connsiteX100" fmla="*/ 6185059 w 6400800"/>
                <a:gd name="connsiteY100" fmla="*/ 236696 h 514350"/>
                <a:gd name="connsiteX101" fmla="*/ 6188869 w 6400800"/>
                <a:gd name="connsiteY101" fmla="*/ 215741 h 514350"/>
                <a:gd name="connsiteX102" fmla="*/ 6192679 w 6400800"/>
                <a:gd name="connsiteY102" fmla="*/ 197644 h 514350"/>
                <a:gd name="connsiteX103" fmla="*/ 6185059 w 6400800"/>
                <a:gd name="connsiteY103" fmla="*/ 214789 h 514350"/>
                <a:gd name="connsiteX104" fmla="*/ 6168867 w 6400800"/>
                <a:gd name="connsiteY104" fmla="*/ 260509 h 514350"/>
                <a:gd name="connsiteX105" fmla="*/ 6163151 w 6400800"/>
                <a:gd name="connsiteY105" fmla="*/ 280511 h 514350"/>
                <a:gd name="connsiteX106" fmla="*/ 6159342 w 6400800"/>
                <a:gd name="connsiteY106" fmla="*/ 253841 h 514350"/>
                <a:gd name="connsiteX107" fmla="*/ 6154579 w 6400800"/>
                <a:gd name="connsiteY107" fmla="*/ 225266 h 514350"/>
                <a:gd name="connsiteX108" fmla="*/ 6156484 w 6400800"/>
                <a:gd name="connsiteY108" fmla="*/ 285274 h 514350"/>
                <a:gd name="connsiteX109" fmla="*/ 6143149 w 6400800"/>
                <a:gd name="connsiteY109" fmla="*/ 268129 h 514350"/>
                <a:gd name="connsiteX110" fmla="*/ 6143149 w 6400800"/>
                <a:gd name="connsiteY110" fmla="*/ 267176 h 514350"/>
                <a:gd name="connsiteX111" fmla="*/ 6146006 w 6400800"/>
                <a:gd name="connsiteY111" fmla="*/ 256699 h 514350"/>
                <a:gd name="connsiteX112" fmla="*/ 6161246 w 6400800"/>
                <a:gd name="connsiteY112" fmla="*/ 178594 h 514350"/>
                <a:gd name="connsiteX113" fmla="*/ 6152674 w 6400800"/>
                <a:gd name="connsiteY113" fmla="*/ 200501 h 514350"/>
                <a:gd name="connsiteX114" fmla="*/ 6152674 w 6400800"/>
                <a:gd name="connsiteY114" fmla="*/ 197644 h 514350"/>
                <a:gd name="connsiteX115" fmla="*/ 6156484 w 6400800"/>
                <a:gd name="connsiteY115" fmla="*/ 172879 h 514350"/>
                <a:gd name="connsiteX116" fmla="*/ 6160294 w 6400800"/>
                <a:gd name="connsiteY116" fmla="*/ 150971 h 514350"/>
                <a:gd name="connsiteX117" fmla="*/ 6152674 w 6400800"/>
                <a:gd name="connsiteY117" fmla="*/ 171926 h 514350"/>
                <a:gd name="connsiteX118" fmla="*/ 6145054 w 6400800"/>
                <a:gd name="connsiteY118" fmla="*/ 196691 h 514350"/>
                <a:gd name="connsiteX119" fmla="*/ 6138387 w 6400800"/>
                <a:gd name="connsiteY119" fmla="*/ 220504 h 514350"/>
                <a:gd name="connsiteX120" fmla="*/ 6135529 w 6400800"/>
                <a:gd name="connsiteY120" fmla="*/ 202406 h 514350"/>
                <a:gd name="connsiteX121" fmla="*/ 6134576 w 6400800"/>
                <a:gd name="connsiteY121" fmla="*/ 221456 h 514350"/>
                <a:gd name="connsiteX122" fmla="*/ 6132671 w 6400800"/>
                <a:gd name="connsiteY122" fmla="*/ 242411 h 514350"/>
                <a:gd name="connsiteX123" fmla="*/ 6131719 w 6400800"/>
                <a:gd name="connsiteY123" fmla="*/ 249079 h 514350"/>
                <a:gd name="connsiteX124" fmla="*/ 6130767 w 6400800"/>
                <a:gd name="connsiteY124" fmla="*/ 253841 h 514350"/>
                <a:gd name="connsiteX125" fmla="*/ 6129814 w 6400800"/>
                <a:gd name="connsiteY125" fmla="*/ 251936 h 514350"/>
                <a:gd name="connsiteX126" fmla="*/ 6130767 w 6400800"/>
                <a:gd name="connsiteY126" fmla="*/ 254794 h 514350"/>
                <a:gd name="connsiteX127" fmla="*/ 6129814 w 6400800"/>
                <a:gd name="connsiteY127" fmla="*/ 261461 h 514350"/>
                <a:gd name="connsiteX128" fmla="*/ 6129814 w 6400800"/>
                <a:gd name="connsiteY128" fmla="*/ 243364 h 514350"/>
                <a:gd name="connsiteX129" fmla="*/ 6126004 w 6400800"/>
                <a:gd name="connsiteY129" fmla="*/ 274796 h 514350"/>
                <a:gd name="connsiteX130" fmla="*/ 6125051 w 6400800"/>
                <a:gd name="connsiteY130" fmla="*/ 281464 h 514350"/>
                <a:gd name="connsiteX131" fmla="*/ 6122194 w 6400800"/>
                <a:gd name="connsiteY131" fmla="*/ 267176 h 514350"/>
                <a:gd name="connsiteX132" fmla="*/ 6117431 w 6400800"/>
                <a:gd name="connsiteY132" fmla="*/ 243364 h 514350"/>
                <a:gd name="connsiteX133" fmla="*/ 6118384 w 6400800"/>
                <a:gd name="connsiteY133" fmla="*/ 267176 h 514350"/>
                <a:gd name="connsiteX134" fmla="*/ 6119337 w 6400800"/>
                <a:gd name="connsiteY134" fmla="*/ 300514 h 514350"/>
                <a:gd name="connsiteX135" fmla="*/ 6114574 w 6400800"/>
                <a:gd name="connsiteY135" fmla="*/ 317659 h 514350"/>
                <a:gd name="connsiteX136" fmla="*/ 6114574 w 6400800"/>
                <a:gd name="connsiteY136" fmla="*/ 307181 h 514350"/>
                <a:gd name="connsiteX137" fmla="*/ 6112669 w 6400800"/>
                <a:gd name="connsiteY137" fmla="*/ 286226 h 514350"/>
                <a:gd name="connsiteX138" fmla="*/ 6109812 w 6400800"/>
                <a:gd name="connsiteY138" fmla="*/ 270986 h 514350"/>
                <a:gd name="connsiteX139" fmla="*/ 6105049 w 6400800"/>
                <a:gd name="connsiteY139" fmla="*/ 258604 h 514350"/>
                <a:gd name="connsiteX140" fmla="*/ 6106001 w 6400800"/>
                <a:gd name="connsiteY140" fmla="*/ 272891 h 514350"/>
                <a:gd name="connsiteX141" fmla="*/ 6106001 w 6400800"/>
                <a:gd name="connsiteY141" fmla="*/ 282416 h 514350"/>
                <a:gd name="connsiteX142" fmla="*/ 6104096 w 6400800"/>
                <a:gd name="connsiteY142" fmla="*/ 273844 h 514350"/>
                <a:gd name="connsiteX143" fmla="*/ 6102192 w 6400800"/>
                <a:gd name="connsiteY143" fmla="*/ 268129 h 514350"/>
                <a:gd name="connsiteX144" fmla="*/ 6101239 w 6400800"/>
                <a:gd name="connsiteY144" fmla="*/ 253841 h 514350"/>
                <a:gd name="connsiteX145" fmla="*/ 6103144 w 6400800"/>
                <a:gd name="connsiteY145" fmla="*/ 247174 h 514350"/>
                <a:gd name="connsiteX146" fmla="*/ 6107906 w 6400800"/>
                <a:gd name="connsiteY146" fmla="*/ 225266 h 514350"/>
                <a:gd name="connsiteX147" fmla="*/ 6111717 w 6400800"/>
                <a:gd name="connsiteY147" fmla="*/ 205264 h 514350"/>
                <a:gd name="connsiteX148" fmla="*/ 6104096 w 6400800"/>
                <a:gd name="connsiteY148" fmla="*/ 223361 h 514350"/>
                <a:gd name="connsiteX149" fmla="*/ 6099334 w 6400800"/>
                <a:gd name="connsiteY149" fmla="*/ 234791 h 514350"/>
                <a:gd name="connsiteX150" fmla="*/ 6096476 w 6400800"/>
                <a:gd name="connsiteY150" fmla="*/ 206216 h 514350"/>
                <a:gd name="connsiteX151" fmla="*/ 6097429 w 6400800"/>
                <a:gd name="connsiteY151" fmla="*/ 199549 h 514350"/>
                <a:gd name="connsiteX152" fmla="*/ 6101239 w 6400800"/>
                <a:gd name="connsiteY152" fmla="*/ 177641 h 514350"/>
                <a:gd name="connsiteX153" fmla="*/ 6104096 w 6400800"/>
                <a:gd name="connsiteY153" fmla="*/ 157639 h 514350"/>
                <a:gd name="connsiteX154" fmla="*/ 6107906 w 6400800"/>
                <a:gd name="connsiteY154" fmla="*/ 124301 h 514350"/>
                <a:gd name="connsiteX155" fmla="*/ 6110764 w 6400800"/>
                <a:gd name="connsiteY155" fmla="*/ 95726 h 514350"/>
                <a:gd name="connsiteX156" fmla="*/ 6104096 w 6400800"/>
                <a:gd name="connsiteY156" fmla="*/ 124301 h 514350"/>
                <a:gd name="connsiteX157" fmla="*/ 6096476 w 6400800"/>
                <a:gd name="connsiteY157" fmla="*/ 156686 h 514350"/>
                <a:gd name="connsiteX158" fmla="*/ 6091714 w 6400800"/>
                <a:gd name="connsiteY158" fmla="*/ 176689 h 514350"/>
                <a:gd name="connsiteX159" fmla="*/ 6085999 w 6400800"/>
                <a:gd name="connsiteY159" fmla="*/ 198596 h 514350"/>
                <a:gd name="connsiteX160" fmla="*/ 6081237 w 6400800"/>
                <a:gd name="connsiteY160" fmla="*/ 214789 h 514350"/>
                <a:gd name="connsiteX161" fmla="*/ 6074569 w 6400800"/>
                <a:gd name="connsiteY161" fmla="*/ 201454 h 514350"/>
                <a:gd name="connsiteX162" fmla="*/ 6079331 w 6400800"/>
                <a:gd name="connsiteY162" fmla="*/ 219551 h 514350"/>
                <a:gd name="connsiteX163" fmla="*/ 6073617 w 6400800"/>
                <a:gd name="connsiteY163" fmla="*/ 230029 h 514350"/>
                <a:gd name="connsiteX164" fmla="*/ 6069806 w 6400800"/>
                <a:gd name="connsiteY164" fmla="*/ 237649 h 514350"/>
                <a:gd name="connsiteX165" fmla="*/ 6069806 w 6400800"/>
                <a:gd name="connsiteY165" fmla="*/ 228124 h 514350"/>
                <a:gd name="connsiteX166" fmla="*/ 6069806 w 6400800"/>
                <a:gd name="connsiteY166" fmla="*/ 205264 h 514350"/>
                <a:gd name="connsiteX167" fmla="*/ 6065996 w 6400800"/>
                <a:gd name="connsiteY167" fmla="*/ 228124 h 514350"/>
                <a:gd name="connsiteX168" fmla="*/ 6061234 w 6400800"/>
                <a:gd name="connsiteY168" fmla="*/ 253841 h 514350"/>
                <a:gd name="connsiteX169" fmla="*/ 6059329 w 6400800"/>
                <a:gd name="connsiteY169" fmla="*/ 263366 h 514350"/>
                <a:gd name="connsiteX170" fmla="*/ 6057424 w 6400800"/>
                <a:gd name="connsiteY170" fmla="*/ 268129 h 514350"/>
                <a:gd name="connsiteX171" fmla="*/ 6048851 w 6400800"/>
                <a:gd name="connsiteY171" fmla="*/ 294799 h 514350"/>
                <a:gd name="connsiteX172" fmla="*/ 6041231 w 6400800"/>
                <a:gd name="connsiteY172" fmla="*/ 324326 h 514350"/>
                <a:gd name="connsiteX173" fmla="*/ 6041231 w 6400800"/>
                <a:gd name="connsiteY173" fmla="*/ 325279 h 514350"/>
                <a:gd name="connsiteX174" fmla="*/ 6033612 w 6400800"/>
                <a:gd name="connsiteY174" fmla="*/ 306229 h 514350"/>
                <a:gd name="connsiteX175" fmla="*/ 6029801 w 6400800"/>
                <a:gd name="connsiteY175" fmla="*/ 296704 h 514350"/>
                <a:gd name="connsiteX176" fmla="*/ 6029801 w 6400800"/>
                <a:gd name="connsiteY176" fmla="*/ 295751 h 514350"/>
                <a:gd name="connsiteX177" fmla="*/ 6031706 w 6400800"/>
                <a:gd name="connsiteY177" fmla="*/ 281464 h 514350"/>
                <a:gd name="connsiteX178" fmla="*/ 6033612 w 6400800"/>
                <a:gd name="connsiteY178" fmla="*/ 269081 h 514350"/>
                <a:gd name="connsiteX179" fmla="*/ 6027896 w 6400800"/>
                <a:gd name="connsiteY179" fmla="*/ 280511 h 514350"/>
                <a:gd name="connsiteX180" fmla="*/ 6025039 w 6400800"/>
                <a:gd name="connsiteY180" fmla="*/ 286226 h 514350"/>
                <a:gd name="connsiteX181" fmla="*/ 6020276 w 6400800"/>
                <a:gd name="connsiteY181" fmla="*/ 272891 h 514350"/>
                <a:gd name="connsiteX182" fmla="*/ 6008846 w 6400800"/>
                <a:gd name="connsiteY182" fmla="*/ 244316 h 514350"/>
                <a:gd name="connsiteX183" fmla="*/ 6016467 w 6400800"/>
                <a:gd name="connsiteY183" fmla="*/ 273844 h 514350"/>
                <a:gd name="connsiteX184" fmla="*/ 6022181 w 6400800"/>
                <a:gd name="connsiteY184" fmla="*/ 293846 h 514350"/>
                <a:gd name="connsiteX185" fmla="*/ 6019324 w 6400800"/>
                <a:gd name="connsiteY185" fmla="*/ 302419 h 514350"/>
                <a:gd name="connsiteX186" fmla="*/ 6016467 w 6400800"/>
                <a:gd name="connsiteY186" fmla="*/ 311944 h 514350"/>
                <a:gd name="connsiteX187" fmla="*/ 6010751 w 6400800"/>
                <a:gd name="connsiteY187" fmla="*/ 333851 h 514350"/>
                <a:gd name="connsiteX188" fmla="*/ 6010751 w 6400800"/>
                <a:gd name="connsiteY188" fmla="*/ 334804 h 514350"/>
                <a:gd name="connsiteX189" fmla="*/ 6003131 w 6400800"/>
                <a:gd name="connsiteY189" fmla="*/ 320516 h 514350"/>
                <a:gd name="connsiteX190" fmla="*/ 5996464 w 6400800"/>
                <a:gd name="connsiteY190" fmla="*/ 308134 h 514350"/>
                <a:gd name="connsiteX191" fmla="*/ 5999321 w 6400800"/>
                <a:gd name="connsiteY191" fmla="*/ 302419 h 514350"/>
                <a:gd name="connsiteX192" fmla="*/ 6007894 w 6400800"/>
                <a:gd name="connsiteY192" fmla="*/ 283369 h 514350"/>
                <a:gd name="connsiteX193" fmla="*/ 6014562 w 6400800"/>
                <a:gd name="connsiteY193" fmla="*/ 267176 h 514350"/>
                <a:gd name="connsiteX194" fmla="*/ 6004084 w 6400800"/>
                <a:gd name="connsiteY194" fmla="*/ 281464 h 514350"/>
                <a:gd name="connsiteX195" fmla="*/ 5993606 w 6400800"/>
                <a:gd name="connsiteY195" fmla="*/ 297656 h 514350"/>
                <a:gd name="connsiteX196" fmla="*/ 5989796 w 6400800"/>
                <a:gd name="connsiteY196" fmla="*/ 273844 h 514350"/>
                <a:gd name="connsiteX197" fmla="*/ 5991701 w 6400800"/>
                <a:gd name="connsiteY197" fmla="*/ 250984 h 514350"/>
                <a:gd name="connsiteX198" fmla="*/ 5997417 w 6400800"/>
                <a:gd name="connsiteY198" fmla="*/ 212884 h 514350"/>
                <a:gd name="connsiteX199" fmla="*/ 6003131 w 6400800"/>
                <a:gd name="connsiteY199" fmla="*/ 179546 h 514350"/>
                <a:gd name="connsiteX200" fmla="*/ 5993606 w 6400800"/>
                <a:gd name="connsiteY200" fmla="*/ 211931 h 514350"/>
                <a:gd name="connsiteX201" fmla="*/ 5985034 w 6400800"/>
                <a:gd name="connsiteY201" fmla="*/ 248126 h 514350"/>
                <a:gd name="connsiteX202" fmla="*/ 5974556 w 6400800"/>
                <a:gd name="connsiteY202" fmla="*/ 206216 h 514350"/>
                <a:gd name="connsiteX203" fmla="*/ 5974556 w 6400800"/>
                <a:gd name="connsiteY203" fmla="*/ 206216 h 514350"/>
                <a:gd name="connsiteX204" fmla="*/ 5977414 w 6400800"/>
                <a:gd name="connsiteY204" fmla="*/ 178594 h 514350"/>
                <a:gd name="connsiteX205" fmla="*/ 5979319 w 6400800"/>
                <a:gd name="connsiteY205" fmla="*/ 153829 h 514350"/>
                <a:gd name="connsiteX206" fmla="*/ 5973604 w 6400800"/>
                <a:gd name="connsiteY206" fmla="*/ 177641 h 514350"/>
                <a:gd name="connsiteX207" fmla="*/ 5969794 w 6400800"/>
                <a:gd name="connsiteY207" fmla="*/ 191929 h 514350"/>
                <a:gd name="connsiteX208" fmla="*/ 5959317 w 6400800"/>
                <a:gd name="connsiteY208" fmla="*/ 160496 h 514350"/>
                <a:gd name="connsiteX209" fmla="*/ 5946934 w 6400800"/>
                <a:gd name="connsiteY209" fmla="*/ 130016 h 514350"/>
                <a:gd name="connsiteX210" fmla="*/ 5934551 w 6400800"/>
                <a:gd name="connsiteY210" fmla="*/ 104299 h 514350"/>
                <a:gd name="connsiteX211" fmla="*/ 5943124 w 6400800"/>
                <a:gd name="connsiteY211" fmla="*/ 131921 h 514350"/>
                <a:gd name="connsiteX212" fmla="*/ 5951696 w 6400800"/>
                <a:gd name="connsiteY212" fmla="*/ 163354 h 514350"/>
                <a:gd name="connsiteX213" fmla="*/ 5961221 w 6400800"/>
                <a:gd name="connsiteY213" fmla="*/ 204311 h 514350"/>
                <a:gd name="connsiteX214" fmla="*/ 5964079 w 6400800"/>
                <a:gd name="connsiteY214" fmla="*/ 216694 h 514350"/>
                <a:gd name="connsiteX215" fmla="*/ 5962174 w 6400800"/>
                <a:gd name="connsiteY215" fmla="*/ 222409 h 514350"/>
                <a:gd name="connsiteX216" fmla="*/ 5958364 w 6400800"/>
                <a:gd name="connsiteY216" fmla="*/ 235744 h 514350"/>
                <a:gd name="connsiteX217" fmla="*/ 5956459 w 6400800"/>
                <a:gd name="connsiteY217" fmla="*/ 232886 h 514350"/>
                <a:gd name="connsiteX218" fmla="*/ 5956459 w 6400800"/>
                <a:gd name="connsiteY218" fmla="*/ 231934 h 514350"/>
                <a:gd name="connsiteX219" fmla="*/ 5956459 w 6400800"/>
                <a:gd name="connsiteY219" fmla="*/ 232886 h 514350"/>
                <a:gd name="connsiteX220" fmla="*/ 5938362 w 6400800"/>
                <a:gd name="connsiteY220" fmla="*/ 199549 h 514350"/>
                <a:gd name="connsiteX221" fmla="*/ 5927884 w 6400800"/>
                <a:gd name="connsiteY221" fmla="*/ 180499 h 514350"/>
                <a:gd name="connsiteX222" fmla="*/ 5953601 w 6400800"/>
                <a:gd name="connsiteY222" fmla="*/ 250984 h 514350"/>
                <a:gd name="connsiteX223" fmla="*/ 5952649 w 6400800"/>
                <a:gd name="connsiteY223" fmla="*/ 255746 h 514350"/>
                <a:gd name="connsiteX224" fmla="*/ 5945029 w 6400800"/>
                <a:gd name="connsiteY224" fmla="*/ 282416 h 514350"/>
                <a:gd name="connsiteX225" fmla="*/ 5944076 w 6400800"/>
                <a:gd name="connsiteY225" fmla="*/ 285274 h 514350"/>
                <a:gd name="connsiteX226" fmla="*/ 5940267 w 6400800"/>
                <a:gd name="connsiteY226" fmla="*/ 271939 h 514350"/>
                <a:gd name="connsiteX227" fmla="*/ 5928837 w 6400800"/>
                <a:gd name="connsiteY227" fmla="*/ 237649 h 514350"/>
                <a:gd name="connsiteX228" fmla="*/ 5922169 w 6400800"/>
                <a:gd name="connsiteY228" fmla="*/ 220504 h 514350"/>
                <a:gd name="connsiteX229" fmla="*/ 5923121 w 6400800"/>
                <a:gd name="connsiteY229" fmla="*/ 216694 h 514350"/>
                <a:gd name="connsiteX230" fmla="*/ 5921217 w 6400800"/>
                <a:gd name="connsiteY230" fmla="*/ 219551 h 514350"/>
                <a:gd name="connsiteX231" fmla="*/ 5917406 w 6400800"/>
                <a:gd name="connsiteY231" fmla="*/ 211931 h 514350"/>
                <a:gd name="connsiteX232" fmla="*/ 5908834 w 6400800"/>
                <a:gd name="connsiteY232" fmla="*/ 194786 h 514350"/>
                <a:gd name="connsiteX233" fmla="*/ 5907881 w 6400800"/>
                <a:gd name="connsiteY233" fmla="*/ 183356 h 514350"/>
                <a:gd name="connsiteX234" fmla="*/ 5905024 w 6400800"/>
                <a:gd name="connsiteY234" fmla="*/ 159544 h 514350"/>
                <a:gd name="connsiteX235" fmla="*/ 5904071 w 6400800"/>
                <a:gd name="connsiteY235" fmla="*/ 184309 h 514350"/>
                <a:gd name="connsiteX236" fmla="*/ 5903119 w 6400800"/>
                <a:gd name="connsiteY236" fmla="*/ 211931 h 514350"/>
                <a:gd name="connsiteX237" fmla="*/ 5902167 w 6400800"/>
                <a:gd name="connsiteY237" fmla="*/ 229076 h 514350"/>
                <a:gd name="connsiteX238" fmla="*/ 5902167 w 6400800"/>
                <a:gd name="connsiteY238" fmla="*/ 248126 h 514350"/>
                <a:gd name="connsiteX239" fmla="*/ 5903119 w 6400800"/>
                <a:gd name="connsiteY239" fmla="*/ 270034 h 514350"/>
                <a:gd name="connsiteX240" fmla="*/ 5900262 w 6400800"/>
                <a:gd name="connsiteY240" fmla="*/ 285274 h 514350"/>
                <a:gd name="connsiteX241" fmla="*/ 5899309 w 6400800"/>
                <a:gd name="connsiteY241" fmla="*/ 282416 h 514350"/>
                <a:gd name="connsiteX242" fmla="*/ 5895499 w 6400800"/>
                <a:gd name="connsiteY242" fmla="*/ 263366 h 514350"/>
                <a:gd name="connsiteX243" fmla="*/ 5891689 w 6400800"/>
                <a:gd name="connsiteY243" fmla="*/ 248126 h 514350"/>
                <a:gd name="connsiteX244" fmla="*/ 5891689 w 6400800"/>
                <a:gd name="connsiteY244" fmla="*/ 245269 h 514350"/>
                <a:gd name="connsiteX245" fmla="*/ 5890737 w 6400800"/>
                <a:gd name="connsiteY245" fmla="*/ 247174 h 514350"/>
                <a:gd name="connsiteX246" fmla="*/ 5890737 w 6400800"/>
                <a:gd name="connsiteY246" fmla="*/ 247174 h 514350"/>
                <a:gd name="connsiteX247" fmla="*/ 5890737 w 6400800"/>
                <a:gd name="connsiteY247" fmla="*/ 248126 h 514350"/>
                <a:gd name="connsiteX248" fmla="*/ 5881212 w 6400800"/>
                <a:gd name="connsiteY248" fmla="*/ 275749 h 514350"/>
                <a:gd name="connsiteX249" fmla="*/ 5878354 w 6400800"/>
                <a:gd name="connsiteY249" fmla="*/ 262414 h 514350"/>
                <a:gd name="connsiteX250" fmla="*/ 5874544 w 6400800"/>
                <a:gd name="connsiteY250" fmla="*/ 240506 h 514350"/>
                <a:gd name="connsiteX251" fmla="*/ 5874544 w 6400800"/>
                <a:gd name="connsiteY251" fmla="*/ 262414 h 514350"/>
                <a:gd name="connsiteX252" fmla="*/ 5875496 w 6400800"/>
                <a:gd name="connsiteY252" fmla="*/ 290989 h 514350"/>
                <a:gd name="connsiteX253" fmla="*/ 5873592 w 6400800"/>
                <a:gd name="connsiteY253" fmla="*/ 298609 h 514350"/>
                <a:gd name="connsiteX254" fmla="*/ 5870734 w 6400800"/>
                <a:gd name="connsiteY254" fmla="*/ 271939 h 514350"/>
                <a:gd name="connsiteX255" fmla="*/ 5867876 w 6400800"/>
                <a:gd name="connsiteY255" fmla="*/ 292894 h 514350"/>
                <a:gd name="connsiteX256" fmla="*/ 5866924 w 6400800"/>
                <a:gd name="connsiteY256" fmla="*/ 269081 h 514350"/>
                <a:gd name="connsiteX257" fmla="*/ 5865971 w 6400800"/>
                <a:gd name="connsiteY257" fmla="*/ 243364 h 514350"/>
                <a:gd name="connsiteX258" fmla="*/ 5873592 w 6400800"/>
                <a:gd name="connsiteY258" fmla="*/ 225266 h 514350"/>
                <a:gd name="connsiteX259" fmla="*/ 5865971 w 6400800"/>
                <a:gd name="connsiteY259" fmla="*/ 237649 h 514350"/>
                <a:gd name="connsiteX260" fmla="*/ 5865971 w 6400800"/>
                <a:gd name="connsiteY260" fmla="*/ 230029 h 514350"/>
                <a:gd name="connsiteX261" fmla="*/ 5865019 w 6400800"/>
                <a:gd name="connsiteY261" fmla="*/ 194786 h 514350"/>
                <a:gd name="connsiteX262" fmla="*/ 5863114 w 6400800"/>
                <a:gd name="connsiteY262" fmla="*/ 141446 h 514350"/>
                <a:gd name="connsiteX263" fmla="*/ 5862162 w 6400800"/>
                <a:gd name="connsiteY263" fmla="*/ 121444 h 514350"/>
                <a:gd name="connsiteX264" fmla="*/ 5859304 w 6400800"/>
                <a:gd name="connsiteY264" fmla="*/ 141446 h 514350"/>
                <a:gd name="connsiteX265" fmla="*/ 5856446 w 6400800"/>
                <a:gd name="connsiteY265" fmla="*/ 161449 h 514350"/>
                <a:gd name="connsiteX266" fmla="*/ 5853589 w 6400800"/>
                <a:gd name="connsiteY266" fmla="*/ 120491 h 514350"/>
                <a:gd name="connsiteX267" fmla="*/ 5851684 w 6400800"/>
                <a:gd name="connsiteY267" fmla="*/ 98584 h 514350"/>
                <a:gd name="connsiteX268" fmla="*/ 5849779 w 6400800"/>
                <a:gd name="connsiteY268" fmla="*/ 120491 h 514350"/>
                <a:gd name="connsiteX269" fmla="*/ 5847874 w 6400800"/>
                <a:gd name="connsiteY269" fmla="*/ 146209 h 514350"/>
                <a:gd name="connsiteX270" fmla="*/ 5846921 w 6400800"/>
                <a:gd name="connsiteY270" fmla="*/ 179546 h 514350"/>
                <a:gd name="connsiteX271" fmla="*/ 5846921 w 6400800"/>
                <a:gd name="connsiteY271" fmla="*/ 262414 h 514350"/>
                <a:gd name="connsiteX272" fmla="*/ 5846921 w 6400800"/>
                <a:gd name="connsiteY272" fmla="*/ 269081 h 514350"/>
                <a:gd name="connsiteX273" fmla="*/ 5843112 w 6400800"/>
                <a:gd name="connsiteY273" fmla="*/ 274796 h 514350"/>
                <a:gd name="connsiteX274" fmla="*/ 5840254 w 6400800"/>
                <a:gd name="connsiteY274" fmla="*/ 261461 h 514350"/>
                <a:gd name="connsiteX275" fmla="*/ 5841206 w 6400800"/>
                <a:gd name="connsiteY275" fmla="*/ 242411 h 514350"/>
                <a:gd name="connsiteX276" fmla="*/ 5841206 w 6400800"/>
                <a:gd name="connsiteY276" fmla="*/ 223361 h 514350"/>
                <a:gd name="connsiteX277" fmla="*/ 5837396 w 6400800"/>
                <a:gd name="connsiteY277" fmla="*/ 242411 h 514350"/>
                <a:gd name="connsiteX278" fmla="*/ 5836444 w 6400800"/>
                <a:gd name="connsiteY278" fmla="*/ 245269 h 514350"/>
                <a:gd name="connsiteX279" fmla="*/ 5829776 w 6400800"/>
                <a:gd name="connsiteY279" fmla="*/ 215741 h 514350"/>
                <a:gd name="connsiteX280" fmla="*/ 5824062 w 6400800"/>
                <a:gd name="connsiteY280" fmla="*/ 189071 h 514350"/>
                <a:gd name="connsiteX281" fmla="*/ 5825967 w 6400800"/>
                <a:gd name="connsiteY281" fmla="*/ 215741 h 514350"/>
                <a:gd name="connsiteX282" fmla="*/ 5828824 w 6400800"/>
                <a:gd name="connsiteY282" fmla="*/ 246221 h 514350"/>
                <a:gd name="connsiteX283" fmla="*/ 5831681 w 6400800"/>
                <a:gd name="connsiteY283" fmla="*/ 268129 h 514350"/>
                <a:gd name="connsiteX284" fmla="*/ 5826919 w 6400800"/>
                <a:gd name="connsiteY284" fmla="*/ 276701 h 514350"/>
                <a:gd name="connsiteX285" fmla="*/ 5825967 w 6400800"/>
                <a:gd name="connsiteY285" fmla="*/ 270986 h 514350"/>
                <a:gd name="connsiteX286" fmla="*/ 5822156 w 6400800"/>
                <a:gd name="connsiteY286" fmla="*/ 250031 h 514350"/>
                <a:gd name="connsiteX287" fmla="*/ 5818346 w 6400800"/>
                <a:gd name="connsiteY287" fmla="*/ 231934 h 514350"/>
                <a:gd name="connsiteX288" fmla="*/ 5818346 w 6400800"/>
                <a:gd name="connsiteY288" fmla="*/ 250031 h 514350"/>
                <a:gd name="connsiteX289" fmla="*/ 5818346 w 6400800"/>
                <a:gd name="connsiteY289" fmla="*/ 270986 h 514350"/>
                <a:gd name="connsiteX290" fmla="*/ 5812631 w 6400800"/>
                <a:gd name="connsiteY290" fmla="*/ 262414 h 514350"/>
                <a:gd name="connsiteX291" fmla="*/ 5812631 w 6400800"/>
                <a:gd name="connsiteY291" fmla="*/ 246221 h 514350"/>
                <a:gd name="connsiteX292" fmla="*/ 5814537 w 6400800"/>
                <a:gd name="connsiteY292" fmla="*/ 220504 h 514350"/>
                <a:gd name="connsiteX293" fmla="*/ 5816442 w 6400800"/>
                <a:gd name="connsiteY293" fmla="*/ 221456 h 514350"/>
                <a:gd name="connsiteX294" fmla="*/ 5819299 w 6400800"/>
                <a:gd name="connsiteY294" fmla="*/ 224314 h 514350"/>
                <a:gd name="connsiteX295" fmla="*/ 5822156 w 6400800"/>
                <a:gd name="connsiteY295" fmla="*/ 231934 h 514350"/>
                <a:gd name="connsiteX296" fmla="*/ 5821204 w 6400800"/>
                <a:gd name="connsiteY296" fmla="*/ 223361 h 514350"/>
                <a:gd name="connsiteX297" fmla="*/ 5818346 w 6400800"/>
                <a:gd name="connsiteY297" fmla="*/ 219551 h 514350"/>
                <a:gd name="connsiteX298" fmla="*/ 5813584 w 6400800"/>
                <a:gd name="connsiteY298" fmla="*/ 217646 h 514350"/>
                <a:gd name="connsiteX299" fmla="*/ 5811679 w 6400800"/>
                <a:gd name="connsiteY299" fmla="*/ 217646 h 514350"/>
                <a:gd name="connsiteX300" fmla="*/ 5811679 w 6400800"/>
                <a:gd name="connsiteY300" fmla="*/ 219551 h 514350"/>
                <a:gd name="connsiteX301" fmla="*/ 5805012 w 6400800"/>
                <a:gd name="connsiteY301" fmla="*/ 246221 h 514350"/>
                <a:gd name="connsiteX302" fmla="*/ 5803106 w 6400800"/>
                <a:gd name="connsiteY302" fmla="*/ 256699 h 514350"/>
                <a:gd name="connsiteX303" fmla="*/ 5796439 w 6400800"/>
                <a:gd name="connsiteY303" fmla="*/ 264319 h 514350"/>
                <a:gd name="connsiteX304" fmla="*/ 5795487 w 6400800"/>
                <a:gd name="connsiteY304" fmla="*/ 253841 h 514350"/>
                <a:gd name="connsiteX305" fmla="*/ 5794534 w 6400800"/>
                <a:gd name="connsiteY305" fmla="*/ 248126 h 514350"/>
                <a:gd name="connsiteX306" fmla="*/ 5794534 w 6400800"/>
                <a:gd name="connsiteY306" fmla="*/ 253841 h 514350"/>
                <a:gd name="connsiteX307" fmla="*/ 5793581 w 6400800"/>
                <a:gd name="connsiteY307" fmla="*/ 268129 h 514350"/>
                <a:gd name="connsiteX308" fmla="*/ 5791676 w 6400800"/>
                <a:gd name="connsiteY308" fmla="*/ 270034 h 514350"/>
                <a:gd name="connsiteX309" fmla="*/ 5791676 w 6400800"/>
                <a:gd name="connsiteY309" fmla="*/ 270034 h 514350"/>
                <a:gd name="connsiteX310" fmla="*/ 5787867 w 6400800"/>
                <a:gd name="connsiteY310" fmla="*/ 239554 h 514350"/>
                <a:gd name="connsiteX311" fmla="*/ 5793581 w 6400800"/>
                <a:gd name="connsiteY311" fmla="*/ 224314 h 514350"/>
                <a:gd name="connsiteX312" fmla="*/ 5786914 w 6400800"/>
                <a:gd name="connsiteY312" fmla="*/ 234791 h 514350"/>
                <a:gd name="connsiteX313" fmla="*/ 5785009 w 6400800"/>
                <a:gd name="connsiteY313" fmla="*/ 205264 h 514350"/>
                <a:gd name="connsiteX314" fmla="*/ 5795487 w 6400800"/>
                <a:gd name="connsiteY314" fmla="*/ 183356 h 514350"/>
                <a:gd name="connsiteX315" fmla="*/ 5795487 w 6400800"/>
                <a:gd name="connsiteY315" fmla="*/ 184309 h 514350"/>
                <a:gd name="connsiteX316" fmla="*/ 5795487 w 6400800"/>
                <a:gd name="connsiteY316" fmla="*/ 183356 h 514350"/>
                <a:gd name="connsiteX317" fmla="*/ 5797392 w 6400800"/>
                <a:gd name="connsiteY317" fmla="*/ 178594 h 514350"/>
                <a:gd name="connsiteX318" fmla="*/ 5812631 w 6400800"/>
                <a:gd name="connsiteY318" fmla="*/ 145256 h 514350"/>
                <a:gd name="connsiteX319" fmla="*/ 5825967 w 6400800"/>
                <a:gd name="connsiteY319" fmla="*/ 115729 h 514350"/>
                <a:gd name="connsiteX320" fmla="*/ 5809774 w 6400800"/>
                <a:gd name="connsiteY320" fmla="*/ 143351 h 514350"/>
                <a:gd name="connsiteX321" fmla="*/ 5791676 w 6400800"/>
                <a:gd name="connsiteY321" fmla="*/ 173831 h 514350"/>
                <a:gd name="connsiteX322" fmla="*/ 5788819 w 6400800"/>
                <a:gd name="connsiteY322" fmla="*/ 170974 h 514350"/>
                <a:gd name="connsiteX323" fmla="*/ 5783104 w 6400800"/>
                <a:gd name="connsiteY323" fmla="*/ 169069 h 514350"/>
                <a:gd name="connsiteX324" fmla="*/ 5781199 w 6400800"/>
                <a:gd name="connsiteY324" fmla="*/ 169069 h 514350"/>
                <a:gd name="connsiteX325" fmla="*/ 5781199 w 6400800"/>
                <a:gd name="connsiteY325" fmla="*/ 170974 h 514350"/>
                <a:gd name="connsiteX326" fmla="*/ 5777389 w 6400800"/>
                <a:gd name="connsiteY326" fmla="*/ 197644 h 514350"/>
                <a:gd name="connsiteX327" fmla="*/ 5766912 w 6400800"/>
                <a:gd name="connsiteY327" fmla="*/ 217646 h 514350"/>
                <a:gd name="connsiteX328" fmla="*/ 5752624 w 6400800"/>
                <a:gd name="connsiteY328" fmla="*/ 244316 h 514350"/>
                <a:gd name="connsiteX329" fmla="*/ 5751671 w 6400800"/>
                <a:gd name="connsiteY329" fmla="*/ 233839 h 514350"/>
                <a:gd name="connsiteX330" fmla="*/ 5749767 w 6400800"/>
                <a:gd name="connsiteY330" fmla="*/ 216694 h 514350"/>
                <a:gd name="connsiteX331" fmla="*/ 5757387 w 6400800"/>
                <a:gd name="connsiteY331" fmla="*/ 190024 h 514350"/>
                <a:gd name="connsiteX332" fmla="*/ 5749767 w 6400800"/>
                <a:gd name="connsiteY332" fmla="*/ 210979 h 514350"/>
                <a:gd name="connsiteX333" fmla="*/ 5748814 w 6400800"/>
                <a:gd name="connsiteY333" fmla="*/ 204311 h 514350"/>
                <a:gd name="connsiteX334" fmla="*/ 5745004 w 6400800"/>
                <a:gd name="connsiteY334" fmla="*/ 178594 h 514350"/>
                <a:gd name="connsiteX335" fmla="*/ 5745004 w 6400800"/>
                <a:gd name="connsiteY335" fmla="*/ 204311 h 514350"/>
                <a:gd name="connsiteX336" fmla="*/ 5745004 w 6400800"/>
                <a:gd name="connsiteY336" fmla="*/ 222409 h 514350"/>
                <a:gd name="connsiteX337" fmla="*/ 5744051 w 6400800"/>
                <a:gd name="connsiteY337" fmla="*/ 225266 h 514350"/>
                <a:gd name="connsiteX338" fmla="*/ 5731669 w 6400800"/>
                <a:gd name="connsiteY338" fmla="*/ 259556 h 514350"/>
                <a:gd name="connsiteX339" fmla="*/ 5731669 w 6400800"/>
                <a:gd name="connsiteY339" fmla="*/ 258604 h 514350"/>
                <a:gd name="connsiteX340" fmla="*/ 5734526 w 6400800"/>
                <a:gd name="connsiteY340" fmla="*/ 238601 h 514350"/>
                <a:gd name="connsiteX341" fmla="*/ 5727859 w 6400800"/>
                <a:gd name="connsiteY341" fmla="*/ 258604 h 514350"/>
                <a:gd name="connsiteX342" fmla="*/ 5725954 w 6400800"/>
                <a:gd name="connsiteY342" fmla="*/ 264319 h 514350"/>
                <a:gd name="connsiteX343" fmla="*/ 5725954 w 6400800"/>
                <a:gd name="connsiteY343" fmla="*/ 263366 h 514350"/>
                <a:gd name="connsiteX344" fmla="*/ 5725954 w 6400800"/>
                <a:gd name="connsiteY344" fmla="*/ 262414 h 514350"/>
                <a:gd name="connsiteX345" fmla="*/ 5726906 w 6400800"/>
                <a:gd name="connsiteY345" fmla="*/ 256699 h 514350"/>
                <a:gd name="connsiteX346" fmla="*/ 5729764 w 6400800"/>
                <a:gd name="connsiteY346" fmla="*/ 242411 h 514350"/>
                <a:gd name="connsiteX347" fmla="*/ 5732621 w 6400800"/>
                <a:gd name="connsiteY347" fmla="*/ 230029 h 514350"/>
                <a:gd name="connsiteX348" fmla="*/ 5737384 w 6400800"/>
                <a:gd name="connsiteY348" fmla="*/ 210026 h 514350"/>
                <a:gd name="connsiteX349" fmla="*/ 5741194 w 6400800"/>
                <a:gd name="connsiteY349" fmla="*/ 191929 h 514350"/>
                <a:gd name="connsiteX350" fmla="*/ 5739289 w 6400800"/>
                <a:gd name="connsiteY350" fmla="*/ 196691 h 514350"/>
                <a:gd name="connsiteX351" fmla="*/ 5740242 w 6400800"/>
                <a:gd name="connsiteY351" fmla="*/ 190024 h 514350"/>
                <a:gd name="connsiteX352" fmla="*/ 5731669 w 6400800"/>
                <a:gd name="connsiteY352" fmla="*/ 211931 h 514350"/>
                <a:gd name="connsiteX353" fmla="*/ 5726906 w 6400800"/>
                <a:gd name="connsiteY353" fmla="*/ 224314 h 514350"/>
                <a:gd name="connsiteX354" fmla="*/ 5725001 w 6400800"/>
                <a:gd name="connsiteY354" fmla="*/ 228124 h 514350"/>
                <a:gd name="connsiteX355" fmla="*/ 5720239 w 6400800"/>
                <a:gd name="connsiteY355" fmla="*/ 240506 h 514350"/>
                <a:gd name="connsiteX356" fmla="*/ 5717381 w 6400800"/>
                <a:gd name="connsiteY356" fmla="*/ 250031 h 514350"/>
                <a:gd name="connsiteX357" fmla="*/ 5715476 w 6400800"/>
                <a:gd name="connsiteY357" fmla="*/ 254794 h 514350"/>
                <a:gd name="connsiteX358" fmla="*/ 5709762 w 6400800"/>
                <a:gd name="connsiteY358" fmla="*/ 272891 h 514350"/>
                <a:gd name="connsiteX359" fmla="*/ 5704046 w 6400800"/>
                <a:gd name="connsiteY359" fmla="*/ 290989 h 514350"/>
                <a:gd name="connsiteX360" fmla="*/ 5696426 w 6400800"/>
                <a:gd name="connsiteY360" fmla="*/ 275749 h 514350"/>
                <a:gd name="connsiteX361" fmla="*/ 5695474 w 6400800"/>
                <a:gd name="connsiteY361" fmla="*/ 269081 h 514350"/>
                <a:gd name="connsiteX362" fmla="*/ 5695474 w 6400800"/>
                <a:gd name="connsiteY362" fmla="*/ 272891 h 514350"/>
                <a:gd name="connsiteX363" fmla="*/ 5688806 w 6400800"/>
                <a:gd name="connsiteY363" fmla="*/ 259556 h 514350"/>
                <a:gd name="connsiteX364" fmla="*/ 5680234 w 6400800"/>
                <a:gd name="connsiteY364" fmla="*/ 243364 h 514350"/>
                <a:gd name="connsiteX365" fmla="*/ 5684996 w 6400800"/>
                <a:gd name="connsiteY365" fmla="*/ 260509 h 514350"/>
                <a:gd name="connsiteX366" fmla="*/ 5694521 w 6400800"/>
                <a:gd name="connsiteY366" fmla="*/ 292894 h 514350"/>
                <a:gd name="connsiteX367" fmla="*/ 5694521 w 6400800"/>
                <a:gd name="connsiteY367" fmla="*/ 309086 h 514350"/>
                <a:gd name="connsiteX368" fmla="*/ 5694521 w 6400800"/>
                <a:gd name="connsiteY368" fmla="*/ 323374 h 514350"/>
                <a:gd name="connsiteX369" fmla="*/ 5691664 w 6400800"/>
                <a:gd name="connsiteY369" fmla="*/ 331946 h 514350"/>
                <a:gd name="connsiteX370" fmla="*/ 5689759 w 6400800"/>
                <a:gd name="connsiteY370" fmla="*/ 329089 h 514350"/>
                <a:gd name="connsiteX371" fmla="*/ 5689759 w 6400800"/>
                <a:gd name="connsiteY371" fmla="*/ 320516 h 514350"/>
                <a:gd name="connsiteX372" fmla="*/ 5687854 w 6400800"/>
                <a:gd name="connsiteY372" fmla="*/ 286226 h 514350"/>
                <a:gd name="connsiteX373" fmla="*/ 5684996 w 6400800"/>
                <a:gd name="connsiteY373" fmla="*/ 319564 h 514350"/>
                <a:gd name="connsiteX374" fmla="*/ 5681187 w 6400800"/>
                <a:gd name="connsiteY374" fmla="*/ 312896 h 514350"/>
                <a:gd name="connsiteX375" fmla="*/ 5675471 w 6400800"/>
                <a:gd name="connsiteY375" fmla="*/ 273844 h 514350"/>
                <a:gd name="connsiteX376" fmla="*/ 5672614 w 6400800"/>
                <a:gd name="connsiteY376" fmla="*/ 253841 h 514350"/>
                <a:gd name="connsiteX377" fmla="*/ 5670709 w 6400800"/>
                <a:gd name="connsiteY377" fmla="*/ 235744 h 514350"/>
                <a:gd name="connsiteX378" fmla="*/ 5667851 w 6400800"/>
                <a:gd name="connsiteY378" fmla="*/ 207169 h 514350"/>
                <a:gd name="connsiteX379" fmla="*/ 5665946 w 6400800"/>
                <a:gd name="connsiteY379" fmla="*/ 188119 h 514350"/>
                <a:gd name="connsiteX380" fmla="*/ 5666899 w 6400800"/>
                <a:gd name="connsiteY380" fmla="*/ 183356 h 514350"/>
                <a:gd name="connsiteX381" fmla="*/ 5665946 w 6400800"/>
                <a:gd name="connsiteY381" fmla="*/ 186214 h 514350"/>
                <a:gd name="connsiteX382" fmla="*/ 5664994 w 6400800"/>
                <a:gd name="connsiteY382" fmla="*/ 181451 h 514350"/>
                <a:gd name="connsiteX383" fmla="*/ 5664994 w 6400800"/>
                <a:gd name="connsiteY383" fmla="*/ 188119 h 514350"/>
                <a:gd name="connsiteX384" fmla="*/ 5654517 w 6400800"/>
                <a:gd name="connsiteY384" fmla="*/ 211931 h 514350"/>
                <a:gd name="connsiteX385" fmla="*/ 5653564 w 6400800"/>
                <a:gd name="connsiteY385" fmla="*/ 205264 h 514350"/>
                <a:gd name="connsiteX386" fmla="*/ 5652612 w 6400800"/>
                <a:gd name="connsiteY386" fmla="*/ 189071 h 514350"/>
                <a:gd name="connsiteX387" fmla="*/ 5657374 w 6400800"/>
                <a:gd name="connsiteY387" fmla="*/ 179546 h 514350"/>
                <a:gd name="connsiteX388" fmla="*/ 5652612 w 6400800"/>
                <a:gd name="connsiteY388" fmla="*/ 187166 h 514350"/>
                <a:gd name="connsiteX389" fmla="*/ 5652612 w 6400800"/>
                <a:gd name="connsiteY389" fmla="*/ 185261 h 514350"/>
                <a:gd name="connsiteX390" fmla="*/ 5651659 w 6400800"/>
                <a:gd name="connsiteY390" fmla="*/ 167164 h 514350"/>
                <a:gd name="connsiteX391" fmla="*/ 5649754 w 6400800"/>
                <a:gd name="connsiteY391" fmla="*/ 179546 h 514350"/>
                <a:gd name="connsiteX392" fmla="*/ 5649754 w 6400800"/>
                <a:gd name="connsiteY392" fmla="*/ 178594 h 514350"/>
                <a:gd name="connsiteX393" fmla="*/ 5647849 w 6400800"/>
                <a:gd name="connsiteY393" fmla="*/ 159544 h 514350"/>
                <a:gd name="connsiteX394" fmla="*/ 5646896 w 6400800"/>
                <a:gd name="connsiteY394" fmla="*/ 142399 h 514350"/>
                <a:gd name="connsiteX395" fmla="*/ 5645944 w 6400800"/>
                <a:gd name="connsiteY395" fmla="*/ 114776 h 514350"/>
                <a:gd name="connsiteX396" fmla="*/ 5644992 w 6400800"/>
                <a:gd name="connsiteY396" fmla="*/ 90011 h 514350"/>
                <a:gd name="connsiteX397" fmla="*/ 5641181 w 6400800"/>
                <a:gd name="connsiteY397" fmla="*/ 113824 h 514350"/>
                <a:gd name="connsiteX398" fmla="*/ 5639276 w 6400800"/>
                <a:gd name="connsiteY398" fmla="*/ 141446 h 514350"/>
                <a:gd name="connsiteX399" fmla="*/ 5638324 w 6400800"/>
                <a:gd name="connsiteY399" fmla="*/ 158591 h 514350"/>
                <a:gd name="connsiteX400" fmla="*/ 5638324 w 6400800"/>
                <a:gd name="connsiteY400" fmla="*/ 177641 h 514350"/>
                <a:gd name="connsiteX401" fmla="*/ 5639276 w 6400800"/>
                <a:gd name="connsiteY401" fmla="*/ 205264 h 514350"/>
                <a:gd name="connsiteX402" fmla="*/ 5637371 w 6400800"/>
                <a:gd name="connsiteY402" fmla="*/ 208121 h 514350"/>
                <a:gd name="connsiteX403" fmla="*/ 5636419 w 6400800"/>
                <a:gd name="connsiteY403" fmla="*/ 209074 h 514350"/>
                <a:gd name="connsiteX404" fmla="*/ 5636419 w 6400800"/>
                <a:gd name="connsiteY404" fmla="*/ 208121 h 514350"/>
                <a:gd name="connsiteX405" fmla="*/ 5636419 w 6400800"/>
                <a:gd name="connsiteY405" fmla="*/ 209074 h 514350"/>
                <a:gd name="connsiteX406" fmla="*/ 5631656 w 6400800"/>
                <a:gd name="connsiteY406" fmla="*/ 215741 h 514350"/>
                <a:gd name="connsiteX407" fmla="*/ 5626894 w 6400800"/>
                <a:gd name="connsiteY407" fmla="*/ 192881 h 514350"/>
                <a:gd name="connsiteX408" fmla="*/ 5626894 w 6400800"/>
                <a:gd name="connsiteY408" fmla="*/ 222409 h 514350"/>
                <a:gd name="connsiteX409" fmla="*/ 5626894 w 6400800"/>
                <a:gd name="connsiteY409" fmla="*/ 223361 h 514350"/>
                <a:gd name="connsiteX410" fmla="*/ 5618321 w 6400800"/>
                <a:gd name="connsiteY410" fmla="*/ 211931 h 514350"/>
                <a:gd name="connsiteX411" fmla="*/ 5593556 w 6400800"/>
                <a:gd name="connsiteY411" fmla="*/ 181451 h 514350"/>
                <a:gd name="connsiteX412" fmla="*/ 5570696 w 6400800"/>
                <a:gd name="connsiteY412" fmla="*/ 155734 h 514350"/>
                <a:gd name="connsiteX413" fmla="*/ 5590699 w 6400800"/>
                <a:gd name="connsiteY413" fmla="*/ 184309 h 514350"/>
                <a:gd name="connsiteX414" fmla="*/ 5612606 w 6400800"/>
                <a:gd name="connsiteY414" fmla="*/ 217646 h 514350"/>
                <a:gd name="connsiteX415" fmla="*/ 5616417 w 6400800"/>
                <a:gd name="connsiteY415" fmla="*/ 223361 h 514350"/>
                <a:gd name="connsiteX416" fmla="*/ 5620226 w 6400800"/>
                <a:gd name="connsiteY416" fmla="*/ 233839 h 514350"/>
                <a:gd name="connsiteX417" fmla="*/ 5620226 w 6400800"/>
                <a:gd name="connsiteY417" fmla="*/ 234791 h 514350"/>
                <a:gd name="connsiteX418" fmla="*/ 5616417 w 6400800"/>
                <a:gd name="connsiteY418" fmla="*/ 241459 h 514350"/>
                <a:gd name="connsiteX419" fmla="*/ 5616417 w 6400800"/>
                <a:gd name="connsiteY419" fmla="*/ 240506 h 514350"/>
                <a:gd name="connsiteX420" fmla="*/ 5616417 w 6400800"/>
                <a:gd name="connsiteY420" fmla="*/ 241459 h 514350"/>
                <a:gd name="connsiteX421" fmla="*/ 5614512 w 6400800"/>
                <a:gd name="connsiteY421" fmla="*/ 245269 h 514350"/>
                <a:gd name="connsiteX422" fmla="*/ 5594509 w 6400800"/>
                <a:gd name="connsiteY422" fmla="*/ 280511 h 514350"/>
                <a:gd name="connsiteX423" fmla="*/ 5594509 w 6400800"/>
                <a:gd name="connsiteY423" fmla="*/ 275749 h 514350"/>
                <a:gd name="connsiteX424" fmla="*/ 5594509 w 6400800"/>
                <a:gd name="connsiteY424" fmla="*/ 268129 h 514350"/>
                <a:gd name="connsiteX425" fmla="*/ 5596414 w 6400800"/>
                <a:gd name="connsiteY425" fmla="*/ 256699 h 514350"/>
                <a:gd name="connsiteX426" fmla="*/ 5594509 w 6400800"/>
                <a:gd name="connsiteY426" fmla="*/ 263366 h 514350"/>
                <a:gd name="connsiteX427" fmla="*/ 5594509 w 6400800"/>
                <a:gd name="connsiteY427" fmla="*/ 262414 h 514350"/>
                <a:gd name="connsiteX428" fmla="*/ 5592604 w 6400800"/>
                <a:gd name="connsiteY428" fmla="*/ 250031 h 514350"/>
                <a:gd name="connsiteX429" fmla="*/ 5590699 w 6400800"/>
                <a:gd name="connsiteY429" fmla="*/ 232886 h 514350"/>
                <a:gd name="connsiteX430" fmla="*/ 5596414 w 6400800"/>
                <a:gd name="connsiteY430" fmla="*/ 217646 h 514350"/>
                <a:gd name="connsiteX431" fmla="*/ 5589746 w 6400800"/>
                <a:gd name="connsiteY431" fmla="*/ 230029 h 514350"/>
                <a:gd name="connsiteX432" fmla="*/ 5589746 w 6400800"/>
                <a:gd name="connsiteY432" fmla="*/ 230029 h 514350"/>
                <a:gd name="connsiteX433" fmla="*/ 5586889 w 6400800"/>
                <a:gd name="connsiteY433" fmla="*/ 211931 h 514350"/>
                <a:gd name="connsiteX434" fmla="*/ 5585937 w 6400800"/>
                <a:gd name="connsiteY434" fmla="*/ 230029 h 514350"/>
                <a:gd name="connsiteX435" fmla="*/ 5585937 w 6400800"/>
                <a:gd name="connsiteY435" fmla="*/ 230981 h 514350"/>
                <a:gd name="connsiteX436" fmla="*/ 5583079 w 6400800"/>
                <a:gd name="connsiteY436" fmla="*/ 213836 h 514350"/>
                <a:gd name="connsiteX437" fmla="*/ 5583079 w 6400800"/>
                <a:gd name="connsiteY437" fmla="*/ 242411 h 514350"/>
                <a:gd name="connsiteX438" fmla="*/ 5581174 w 6400800"/>
                <a:gd name="connsiteY438" fmla="*/ 246221 h 514350"/>
                <a:gd name="connsiteX439" fmla="*/ 5579269 w 6400800"/>
                <a:gd name="connsiteY439" fmla="*/ 250031 h 514350"/>
                <a:gd name="connsiteX440" fmla="*/ 5571649 w 6400800"/>
                <a:gd name="connsiteY440" fmla="*/ 209074 h 514350"/>
                <a:gd name="connsiteX441" fmla="*/ 5567839 w 6400800"/>
                <a:gd name="connsiteY441" fmla="*/ 189071 h 514350"/>
                <a:gd name="connsiteX442" fmla="*/ 5563076 w 6400800"/>
                <a:gd name="connsiteY442" fmla="*/ 170974 h 514350"/>
                <a:gd name="connsiteX443" fmla="*/ 5555456 w 6400800"/>
                <a:gd name="connsiteY443" fmla="*/ 141446 h 514350"/>
                <a:gd name="connsiteX444" fmla="*/ 5548789 w 6400800"/>
                <a:gd name="connsiteY444" fmla="*/ 115729 h 514350"/>
                <a:gd name="connsiteX445" fmla="*/ 5551646 w 6400800"/>
                <a:gd name="connsiteY445" fmla="*/ 142399 h 514350"/>
                <a:gd name="connsiteX446" fmla="*/ 5555456 w 6400800"/>
                <a:gd name="connsiteY446" fmla="*/ 172879 h 514350"/>
                <a:gd name="connsiteX447" fmla="*/ 5558314 w 6400800"/>
                <a:gd name="connsiteY447" fmla="*/ 190976 h 514350"/>
                <a:gd name="connsiteX448" fmla="*/ 5560219 w 6400800"/>
                <a:gd name="connsiteY448" fmla="*/ 211931 h 514350"/>
                <a:gd name="connsiteX449" fmla="*/ 5564981 w 6400800"/>
                <a:gd name="connsiteY449" fmla="*/ 257651 h 514350"/>
                <a:gd name="connsiteX450" fmla="*/ 5565934 w 6400800"/>
                <a:gd name="connsiteY450" fmla="*/ 274796 h 514350"/>
                <a:gd name="connsiteX451" fmla="*/ 5564029 w 6400800"/>
                <a:gd name="connsiteY451" fmla="*/ 278606 h 514350"/>
                <a:gd name="connsiteX452" fmla="*/ 5561171 w 6400800"/>
                <a:gd name="connsiteY452" fmla="*/ 284321 h 514350"/>
                <a:gd name="connsiteX453" fmla="*/ 5549742 w 6400800"/>
                <a:gd name="connsiteY453" fmla="*/ 264319 h 514350"/>
                <a:gd name="connsiteX454" fmla="*/ 5548789 w 6400800"/>
                <a:gd name="connsiteY454" fmla="*/ 261461 h 514350"/>
                <a:gd name="connsiteX455" fmla="*/ 5544026 w 6400800"/>
                <a:gd name="connsiteY455" fmla="*/ 247174 h 514350"/>
                <a:gd name="connsiteX456" fmla="*/ 5547837 w 6400800"/>
                <a:gd name="connsiteY456" fmla="*/ 228124 h 514350"/>
                <a:gd name="connsiteX457" fmla="*/ 5542121 w 6400800"/>
                <a:gd name="connsiteY457" fmla="*/ 241459 h 514350"/>
                <a:gd name="connsiteX458" fmla="*/ 5541169 w 6400800"/>
                <a:gd name="connsiteY458" fmla="*/ 238601 h 514350"/>
                <a:gd name="connsiteX459" fmla="*/ 5538312 w 6400800"/>
                <a:gd name="connsiteY459" fmla="*/ 230029 h 514350"/>
                <a:gd name="connsiteX460" fmla="*/ 5551646 w 6400800"/>
                <a:gd name="connsiteY460" fmla="*/ 167164 h 514350"/>
                <a:gd name="connsiteX461" fmla="*/ 5528787 w 6400800"/>
                <a:gd name="connsiteY461" fmla="*/ 225266 h 514350"/>
                <a:gd name="connsiteX462" fmla="*/ 5524976 w 6400800"/>
                <a:gd name="connsiteY462" fmla="*/ 217646 h 514350"/>
                <a:gd name="connsiteX463" fmla="*/ 5524024 w 6400800"/>
                <a:gd name="connsiteY463" fmla="*/ 207169 h 514350"/>
                <a:gd name="connsiteX464" fmla="*/ 5521167 w 6400800"/>
                <a:gd name="connsiteY464" fmla="*/ 185261 h 514350"/>
                <a:gd name="connsiteX465" fmla="*/ 5520214 w 6400800"/>
                <a:gd name="connsiteY465" fmla="*/ 207169 h 514350"/>
                <a:gd name="connsiteX466" fmla="*/ 5520214 w 6400800"/>
                <a:gd name="connsiteY466" fmla="*/ 232886 h 514350"/>
                <a:gd name="connsiteX467" fmla="*/ 5520214 w 6400800"/>
                <a:gd name="connsiteY467" fmla="*/ 248126 h 514350"/>
                <a:gd name="connsiteX468" fmla="*/ 5520214 w 6400800"/>
                <a:gd name="connsiteY468" fmla="*/ 250984 h 514350"/>
                <a:gd name="connsiteX469" fmla="*/ 5505926 w 6400800"/>
                <a:gd name="connsiteY469" fmla="*/ 291941 h 514350"/>
                <a:gd name="connsiteX470" fmla="*/ 5503069 w 6400800"/>
                <a:gd name="connsiteY470" fmla="*/ 300514 h 514350"/>
                <a:gd name="connsiteX471" fmla="*/ 5498306 w 6400800"/>
                <a:gd name="connsiteY471" fmla="*/ 290989 h 514350"/>
                <a:gd name="connsiteX472" fmla="*/ 5498306 w 6400800"/>
                <a:gd name="connsiteY472" fmla="*/ 285274 h 514350"/>
                <a:gd name="connsiteX473" fmla="*/ 5499259 w 6400800"/>
                <a:gd name="connsiteY473" fmla="*/ 269081 h 514350"/>
                <a:gd name="connsiteX474" fmla="*/ 5494496 w 6400800"/>
                <a:gd name="connsiteY474" fmla="*/ 284321 h 514350"/>
                <a:gd name="connsiteX475" fmla="*/ 5481162 w 6400800"/>
                <a:gd name="connsiteY475" fmla="*/ 257651 h 514350"/>
                <a:gd name="connsiteX476" fmla="*/ 5483067 w 6400800"/>
                <a:gd name="connsiteY476" fmla="*/ 251936 h 514350"/>
                <a:gd name="connsiteX477" fmla="*/ 5492592 w 6400800"/>
                <a:gd name="connsiteY477" fmla="*/ 224314 h 514350"/>
                <a:gd name="connsiteX478" fmla="*/ 5500212 w 6400800"/>
                <a:gd name="connsiteY478" fmla="*/ 200501 h 514350"/>
                <a:gd name="connsiteX479" fmla="*/ 5493544 w 6400800"/>
                <a:gd name="connsiteY479" fmla="*/ 212884 h 514350"/>
                <a:gd name="connsiteX480" fmla="*/ 5502117 w 6400800"/>
                <a:gd name="connsiteY480" fmla="*/ 188119 h 514350"/>
                <a:gd name="connsiteX481" fmla="*/ 5511642 w 6400800"/>
                <a:gd name="connsiteY481" fmla="*/ 160496 h 514350"/>
                <a:gd name="connsiteX482" fmla="*/ 5498306 w 6400800"/>
                <a:gd name="connsiteY482" fmla="*/ 186214 h 514350"/>
                <a:gd name="connsiteX483" fmla="*/ 5484019 w 6400800"/>
                <a:gd name="connsiteY483" fmla="*/ 215741 h 514350"/>
                <a:gd name="connsiteX484" fmla="*/ 5475446 w 6400800"/>
                <a:gd name="connsiteY484" fmla="*/ 233839 h 514350"/>
                <a:gd name="connsiteX485" fmla="*/ 5472589 w 6400800"/>
                <a:gd name="connsiteY485" fmla="*/ 241459 h 514350"/>
                <a:gd name="connsiteX486" fmla="*/ 5461159 w 6400800"/>
                <a:gd name="connsiteY486" fmla="*/ 221456 h 514350"/>
                <a:gd name="connsiteX487" fmla="*/ 5469731 w 6400800"/>
                <a:gd name="connsiteY487" fmla="*/ 248126 h 514350"/>
                <a:gd name="connsiteX488" fmla="*/ 5466874 w 6400800"/>
                <a:gd name="connsiteY488" fmla="*/ 254794 h 514350"/>
                <a:gd name="connsiteX489" fmla="*/ 5465921 w 6400800"/>
                <a:gd name="connsiteY489" fmla="*/ 257651 h 514350"/>
                <a:gd name="connsiteX490" fmla="*/ 5464969 w 6400800"/>
                <a:gd name="connsiteY490" fmla="*/ 256699 h 514350"/>
                <a:gd name="connsiteX491" fmla="*/ 5455444 w 6400800"/>
                <a:gd name="connsiteY491" fmla="*/ 246221 h 514350"/>
                <a:gd name="connsiteX492" fmla="*/ 5452587 w 6400800"/>
                <a:gd name="connsiteY492" fmla="*/ 230029 h 514350"/>
                <a:gd name="connsiteX493" fmla="*/ 5448776 w 6400800"/>
                <a:gd name="connsiteY493" fmla="*/ 214789 h 514350"/>
                <a:gd name="connsiteX494" fmla="*/ 5442109 w 6400800"/>
                <a:gd name="connsiteY494" fmla="*/ 190024 h 514350"/>
                <a:gd name="connsiteX495" fmla="*/ 5442109 w 6400800"/>
                <a:gd name="connsiteY495" fmla="*/ 190024 h 514350"/>
                <a:gd name="connsiteX496" fmla="*/ 5442109 w 6400800"/>
                <a:gd name="connsiteY496" fmla="*/ 180499 h 514350"/>
                <a:gd name="connsiteX497" fmla="*/ 5441156 w 6400800"/>
                <a:gd name="connsiteY497" fmla="*/ 186214 h 514350"/>
                <a:gd name="connsiteX498" fmla="*/ 5436394 w 6400800"/>
                <a:gd name="connsiteY498" fmla="*/ 169069 h 514350"/>
                <a:gd name="connsiteX499" fmla="*/ 5438299 w 6400800"/>
                <a:gd name="connsiteY499" fmla="*/ 190976 h 514350"/>
                <a:gd name="connsiteX500" fmla="*/ 5439251 w 6400800"/>
                <a:gd name="connsiteY500" fmla="*/ 195739 h 514350"/>
                <a:gd name="connsiteX501" fmla="*/ 5433537 w 6400800"/>
                <a:gd name="connsiteY501" fmla="*/ 225266 h 514350"/>
                <a:gd name="connsiteX502" fmla="*/ 5429726 w 6400800"/>
                <a:gd name="connsiteY502" fmla="*/ 221456 h 514350"/>
                <a:gd name="connsiteX503" fmla="*/ 5433537 w 6400800"/>
                <a:gd name="connsiteY503" fmla="*/ 225266 h 514350"/>
                <a:gd name="connsiteX504" fmla="*/ 5430679 w 6400800"/>
                <a:gd name="connsiteY504" fmla="*/ 240506 h 514350"/>
                <a:gd name="connsiteX505" fmla="*/ 5428774 w 6400800"/>
                <a:gd name="connsiteY505" fmla="*/ 228124 h 514350"/>
                <a:gd name="connsiteX506" fmla="*/ 5428774 w 6400800"/>
                <a:gd name="connsiteY506" fmla="*/ 242411 h 514350"/>
                <a:gd name="connsiteX507" fmla="*/ 5424012 w 6400800"/>
                <a:gd name="connsiteY507" fmla="*/ 222409 h 514350"/>
                <a:gd name="connsiteX508" fmla="*/ 5419249 w 6400800"/>
                <a:gd name="connsiteY508" fmla="*/ 200501 h 514350"/>
                <a:gd name="connsiteX509" fmla="*/ 5420201 w 6400800"/>
                <a:gd name="connsiteY509" fmla="*/ 223361 h 514350"/>
                <a:gd name="connsiteX510" fmla="*/ 5424964 w 6400800"/>
                <a:gd name="connsiteY510" fmla="*/ 274796 h 514350"/>
                <a:gd name="connsiteX511" fmla="*/ 5420201 w 6400800"/>
                <a:gd name="connsiteY511" fmla="*/ 299561 h 514350"/>
                <a:gd name="connsiteX512" fmla="*/ 5418296 w 6400800"/>
                <a:gd name="connsiteY512" fmla="*/ 305276 h 514350"/>
                <a:gd name="connsiteX513" fmla="*/ 5415439 w 6400800"/>
                <a:gd name="connsiteY513" fmla="*/ 298609 h 514350"/>
                <a:gd name="connsiteX514" fmla="*/ 5417344 w 6400800"/>
                <a:gd name="connsiteY514" fmla="*/ 291941 h 514350"/>
                <a:gd name="connsiteX515" fmla="*/ 5414487 w 6400800"/>
                <a:gd name="connsiteY515" fmla="*/ 296704 h 514350"/>
                <a:gd name="connsiteX516" fmla="*/ 5414487 w 6400800"/>
                <a:gd name="connsiteY516" fmla="*/ 295751 h 514350"/>
                <a:gd name="connsiteX517" fmla="*/ 5411629 w 6400800"/>
                <a:gd name="connsiteY517" fmla="*/ 287179 h 514350"/>
                <a:gd name="connsiteX518" fmla="*/ 5414487 w 6400800"/>
                <a:gd name="connsiteY518" fmla="*/ 268129 h 514350"/>
                <a:gd name="connsiteX519" fmla="*/ 5409724 w 6400800"/>
                <a:gd name="connsiteY519" fmla="*/ 282416 h 514350"/>
                <a:gd name="connsiteX520" fmla="*/ 5404009 w 6400800"/>
                <a:gd name="connsiteY520" fmla="*/ 267176 h 514350"/>
                <a:gd name="connsiteX521" fmla="*/ 5399246 w 6400800"/>
                <a:gd name="connsiteY521" fmla="*/ 253841 h 514350"/>
                <a:gd name="connsiteX522" fmla="*/ 5400199 w 6400800"/>
                <a:gd name="connsiteY522" fmla="*/ 232886 h 514350"/>
                <a:gd name="connsiteX523" fmla="*/ 5396389 w 6400800"/>
                <a:gd name="connsiteY523" fmla="*/ 247174 h 514350"/>
                <a:gd name="connsiteX524" fmla="*/ 5395437 w 6400800"/>
                <a:gd name="connsiteY524" fmla="*/ 244316 h 514350"/>
                <a:gd name="connsiteX525" fmla="*/ 5387817 w 6400800"/>
                <a:gd name="connsiteY525" fmla="*/ 224314 h 514350"/>
                <a:gd name="connsiteX526" fmla="*/ 5391626 w 6400800"/>
                <a:gd name="connsiteY526" fmla="*/ 245269 h 514350"/>
                <a:gd name="connsiteX527" fmla="*/ 5394484 w 6400800"/>
                <a:gd name="connsiteY527" fmla="*/ 257651 h 514350"/>
                <a:gd name="connsiteX528" fmla="*/ 5384959 w 6400800"/>
                <a:gd name="connsiteY528" fmla="*/ 300514 h 514350"/>
                <a:gd name="connsiteX529" fmla="*/ 5384006 w 6400800"/>
                <a:gd name="connsiteY529" fmla="*/ 297656 h 514350"/>
                <a:gd name="connsiteX530" fmla="*/ 5382101 w 6400800"/>
                <a:gd name="connsiteY530" fmla="*/ 283369 h 514350"/>
                <a:gd name="connsiteX531" fmla="*/ 5382101 w 6400800"/>
                <a:gd name="connsiteY531" fmla="*/ 287179 h 514350"/>
                <a:gd name="connsiteX532" fmla="*/ 5380196 w 6400800"/>
                <a:gd name="connsiteY532" fmla="*/ 276701 h 514350"/>
                <a:gd name="connsiteX533" fmla="*/ 5379244 w 6400800"/>
                <a:gd name="connsiteY533" fmla="*/ 272891 h 514350"/>
                <a:gd name="connsiteX534" fmla="*/ 5380196 w 6400800"/>
                <a:gd name="connsiteY534" fmla="*/ 269081 h 514350"/>
                <a:gd name="connsiteX535" fmla="*/ 5379244 w 6400800"/>
                <a:gd name="connsiteY535" fmla="*/ 271939 h 514350"/>
                <a:gd name="connsiteX536" fmla="*/ 5372576 w 6400800"/>
                <a:gd name="connsiteY536" fmla="*/ 241459 h 514350"/>
                <a:gd name="connsiteX537" fmla="*/ 5373529 w 6400800"/>
                <a:gd name="connsiteY537" fmla="*/ 232886 h 514350"/>
                <a:gd name="connsiteX538" fmla="*/ 5378292 w 6400800"/>
                <a:gd name="connsiteY538" fmla="*/ 190024 h 514350"/>
                <a:gd name="connsiteX539" fmla="*/ 5384006 w 6400800"/>
                <a:gd name="connsiteY539" fmla="*/ 153829 h 514350"/>
                <a:gd name="connsiteX540" fmla="*/ 5386864 w 6400800"/>
                <a:gd name="connsiteY540" fmla="*/ 138589 h 514350"/>
                <a:gd name="connsiteX541" fmla="*/ 5389721 w 6400800"/>
                <a:gd name="connsiteY541" fmla="*/ 126206 h 514350"/>
                <a:gd name="connsiteX542" fmla="*/ 5394484 w 6400800"/>
                <a:gd name="connsiteY542" fmla="*/ 102394 h 514350"/>
                <a:gd name="connsiteX543" fmla="*/ 5385912 w 6400800"/>
                <a:gd name="connsiteY543" fmla="*/ 125254 h 514350"/>
                <a:gd name="connsiteX544" fmla="*/ 5381149 w 6400800"/>
                <a:gd name="connsiteY544" fmla="*/ 137636 h 514350"/>
                <a:gd name="connsiteX545" fmla="*/ 5376387 w 6400800"/>
                <a:gd name="connsiteY545" fmla="*/ 151924 h 514350"/>
                <a:gd name="connsiteX546" fmla="*/ 5366862 w 6400800"/>
                <a:gd name="connsiteY546" fmla="*/ 188119 h 514350"/>
                <a:gd name="connsiteX547" fmla="*/ 5363051 w 6400800"/>
                <a:gd name="connsiteY547" fmla="*/ 205264 h 514350"/>
                <a:gd name="connsiteX548" fmla="*/ 5360194 w 6400800"/>
                <a:gd name="connsiteY548" fmla="*/ 196691 h 514350"/>
                <a:gd name="connsiteX549" fmla="*/ 5361146 w 6400800"/>
                <a:gd name="connsiteY549" fmla="*/ 210979 h 514350"/>
                <a:gd name="connsiteX550" fmla="*/ 5357337 w 6400800"/>
                <a:gd name="connsiteY550" fmla="*/ 230981 h 514350"/>
                <a:gd name="connsiteX551" fmla="*/ 5355431 w 6400800"/>
                <a:gd name="connsiteY551" fmla="*/ 245269 h 514350"/>
                <a:gd name="connsiteX552" fmla="*/ 5354479 w 6400800"/>
                <a:gd name="connsiteY552" fmla="*/ 235744 h 514350"/>
                <a:gd name="connsiteX553" fmla="*/ 5354479 w 6400800"/>
                <a:gd name="connsiteY553" fmla="*/ 230029 h 514350"/>
                <a:gd name="connsiteX554" fmla="*/ 5355431 w 6400800"/>
                <a:gd name="connsiteY554" fmla="*/ 210979 h 514350"/>
                <a:gd name="connsiteX555" fmla="*/ 5352574 w 6400800"/>
                <a:gd name="connsiteY555" fmla="*/ 222409 h 514350"/>
                <a:gd name="connsiteX556" fmla="*/ 5347812 w 6400800"/>
                <a:gd name="connsiteY556" fmla="*/ 190024 h 514350"/>
                <a:gd name="connsiteX557" fmla="*/ 5347812 w 6400800"/>
                <a:gd name="connsiteY557" fmla="*/ 179546 h 514350"/>
                <a:gd name="connsiteX558" fmla="*/ 5347812 w 6400800"/>
                <a:gd name="connsiteY558" fmla="*/ 160496 h 514350"/>
                <a:gd name="connsiteX559" fmla="*/ 5344954 w 6400800"/>
                <a:gd name="connsiteY559" fmla="*/ 173831 h 514350"/>
                <a:gd name="connsiteX560" fmla="*/ 5341144 w 6400800"/>
                <a:gd name="connsiteY560" fmla="*/ 150019 h 514350"/>
                <a:gd name="connsiteX561" fmla="*/ 5342096 w 6400800"/>
                <a:gd name="connsiteY561" fmla="*/ 177641 h 514350"/>
                <a:gd name="connsiteX562" fmla="*/ 5342096 w 6400800"/>
                <a:gd name="connsiteY562" fmla="*/ 187166 h 514350"/>
                <a:gd name="connsiteX563" fmla="*/ 5340192 w 6400800"/>
                <a:gd name="connsiteY563" fmla="*/ 200501 h 514350"/>
                <a:gd name="connsiteX564" fmla="*/ 5337334 w 6400800"/>
                <a:gd name="connsiteY564" fmla="*/ 229076 h 514350"/>
                <a:gd name="connsiteX565" fmla="*/ 5336381 w 6400800"/>
                <a:gd name="connsiteY565" fmla="*/ 263366 h 514350"/>
                <a:gd name="connsiteX566" fmla="*/ 5336381 w 6400800"/>
                <a:gd name="connsiteY566" fmla="*/ 282416 h 514350"/>
                <a:gd name="connsiteX567" fmla="*/ 5336381 w 6400800"/>
                <a:gd name="connsiteY567" fmla="*/ 282416 h 514350"/>
                <a:gd name="connsiteX568" fmla="*/ 5333524 w 6400800"/>
                <a:gd name="connsiteY568" fmla="*/ 293846 h 514350"/>
                <a:gd name="connsiteX569" fmla="*/ 5332571 w 6400800"/>
                <a:gd name="connsiteY569" fmla="*/ 291941 h 514350"/>
                <a:gd name="connsiteX570" fmla="*/ 5327809 w 6400800"/>
                <a:gd name="connsiteY570" fmla="*/ 278606 h 514350"/>
                <a:gd name="connsiteX571" fmla="*/ 5319237 w 6400800"/>
                <a:gd name="connsiteY571" fmla="*/ 252889 h 514350"/>
                <a:gd name="connsiteX572" fmla="*/ 5310664 w 6400800"/>
                <a:gd name="connsiteY572" fmla="*/ 230029 h 514350"/>
                <a:gd name="connsiteX573" fmla="*/ 5315426 w 6400800"/>
                <a:gd name="connsiteY573" fmla="*/ 253841 h 514350"/>
                <a:gd name="connsiteX574" fmla="*/ 5318284 w 6400800"/>
                <a:gd name="connsiteY574" fmla="*/ 267176 h 514350"/>
                <a:gd name="connsiteX575" fmla="*/ 5315426 w 6400800"/>
                <a:gd name="connsiteY575" fmla="*/ 263366 h 514350"/>
                <a:gd name="connsiteX576" fmla="*/ 5320189 w 6400800"/>
                <a:gd name="connsiteY576" fmla="*/ 276701 h 514350"/>
                <a:gd name="connsiteX577" fmla="*/ 5321142 w 6400800"/>
                <a:gd name="connsiteY577" fmla="*/ 281464 h 514350"/>
                <a:gd name="connsiteX578" fmla="*/ 5324951 w 6400800"/>
                <a:gd name="connsiteY578" fmla="*/ 297656 h 514350"/>
                <a:gd name="connsiteX579" fmla="*/ 5326856 w 6400800"/>
                <a:gd name="connsiteY579" fmla="*/ 306229 h 514350"/>
                <a:gd name="connsiteX580" fmla="*/ 5316379 w 6400800"/>
                <a:gd name="connsiteY580" fmla="*/ 322421 h 514350"/>
                <a:gd name="connsiteX581" fmla="*/ 5306854 w 6400800"/>
                <a:gd name="connsiteY581" fmla="*/ 338614 h 514350"/>
                <a:gd name="connsiteX582" fmla="*/ 5298281 w 6400800"/>
                <a:gd name="connsiteY582" fmla="*/ 354806 h 514350"/>
                <a:gd name="connsiteX583" fmla="*/ 5298281 w 6400800"/>
                <a:gd name="connsiteY583" fmla="*/ 344329 h 514350"/>
                <a:gd name="connsiteX584" fmla="*/ 5301139 w 6400800"/>
                <a:gd name="connsiteY584" fmla="*/ 318611 h 514350"/>
                <a:gd name="connsiteX585" fmla="*/ 5305901 w 6400800"/>
                <a:gd name="connsiteY585" fmla="*/ 291941 h 514350"/>
                <a:gd name="connsiteX586" fmla="*/ 5311617 w 6400800"/>
                <a:gd name="connsiteY586" fmla="*/ 269081 h 514350"/>
                <a:gd name="connsiteX587" fmla="*/ 5302092 w 6400800"/>
                <a:gd name="connsiteY587" fmla="*/ 290989 h 514350"/>
                <a:gd name="connsiteX588" fmla="*/ 5299234 w 6400800"/>
                <a:gd name="connsiteY588" fmla="*/ 298609 h 514350"/>
                <a:gd name="connsiteX589" fmla="*/ 5299234 w 6400800"/>
                <a:gd name="connsiteY589" fmla="*/ 263366 h 514350"/>
                <a:gd name="connsiteX590" fmla="*/ 5290662 w 6400800"/>
                <a:gd name="connsiteY590" fmla="*/ 317659 h 514350"/>
                <a:gd name="connsiteX591" fmla="*/ 5289709 w 6400800"/>
                <a:gd name="connsiteY591" fmla="*/ 312896 h 514350"/>
                <a:gd name="connsiteX592" fmla="*/ 5284946 w 6400800"/>
                <a:gd name="connsiteY592" fmla="*/ 295751 h 514350"/>
                <a:gd name="connsiteX593" fmla="*/ 5284946 w 6400800"/>
                <a:gd name="connsiteY593" fmla="*/ 295751 h 514350"/>
                <a:gd name="connsiteX594" fmla="*/ 5284946 w 6400800"/>
                <a:gd name="connsiteY594" fmla="*/ 295751 h 514350"/>
                <a:gd name="connsiteX595" fmla="*/ 5282089 w 6400800"/>
                <a:gd name="connsiteY595" fmla="*/ 284321 h 514350"/>
                <a:gd name="connsiteX596" fmla="*/ 5281137 w 6400800"/>
                <a:gd name="connsiteY596" fmla="*/ 282416 h 514350"/>
                <a:gd name="connsiteX597" fmla="*/ 5288756 w 6400800"/>
                <a:gd name="connsiteY597" fmla="*/ 252889 h 514350"/>
                <a:gd name="connsiteX598" fmla="*/ 5279231 w 6400800"/>
                <a:gd name="connsiteY598" fmla="*/ 273844 h 514350"/>
                <a:gd name="connsiteX599" fmla="*/ 5275421 w 6400800"/>
                <a:gd name="connsiteY599" fmla="*/ 262414 h 514350"/>
                <a:gd name="connsiteX600" fmla="*/ 5268754 w 6400800"/>
                <a:gd name="connsiteY600" fmla="*/ 243364 h 514350"/>
                <a:gd name="connsiteX601" fmla="*/ 5271612 w 6400800"/>
                <a:gd name="connsiteY601" fmla="*/ 262414 h 514350"/>
                <a:gd name="connsiteX602" fmla="*/ 5274469 w 6400800"/>
                <a:gd name="connsiteY602" fmla="*/ 283369 h 514350"/>
                <a:gd name="connsiteX603" fmla="*/ 5263039 w 6400800"/>
                <a:gd name="connsiteY603" fmla="*/ 310039 h 514350"/>
                <a:gd name="connsiteX604" fmla="*/ 5263039 w 6400800"/>
                <a:gd name="connsiteY604" fmla="*/ 302419 h 514350"/>
                <a:gd name="connsiteX605" fmla="*/ 5260181 w 6400800"/>
                <a:gd name="connsiteY605" fmla="*/ 310039 h 514350"/>
                <a:gd name="connsiteX606" fmla="*/ 5260181 w 6400800"/>
                <a:gd name="connsiteY606" fmla="*/ 309086 h 514350"/>
                <a:gd name="connsiteX607" fmla="*/ 5261134 w 6400800"/>
                <a:gd name="connsiteY607" fmla="*/ 301466 h 514350"/>
                <a:gd name="connsiteX608" fmla="*/ 5262087 w 6400800"/>
                <a:gd name="connsiteY608" fmla="*/ 284321 h 514350"/>
                <a:gd name="connsiteX609" fmla="*/ 5263039 w 6400800"/>
                <a:gd name="connsiteY609" fmla="*/ 269081 h 514350"/>
                <a:gd name="connsiteX610" fmla="*/ 5258276 w 6400800"/>
                <a:gd name="connsiteY610" fmla="*/ 283369 h 514350"/>
                <a:gd name="connsiteX611" fmla="*/ 5257324 w 6400800"/>
                <a:gd name="connsiteY611" fmla="*/ 287179 h 514350"/>
                <a:gd name="connsiteX612" fmla="*/ 5255419 w 6400800"/>
                <a:gd name="connsiteY612" fmla="*/ 273844 h 514350"/>
                <a:gd name="connsiteX613" fmla="*/ 5255419 w 6400800"/>
                <a:gd name="connsiteY613" fmla="*/ 271939 h 514350"/>
                <a:gd name="connsiteX614" fmla="*/ 5255419 w 6400800"/>
                <a:gd name="connsiteY614" fmla="*/ 270986 h 514350"/>
                <a:gd name="connsiteX615" fmla="*/ 5256371 w 6400800"/>
                <a:gd name="connsiteY615" fmla="*/ 266224 h 514350"/>
                <a:gd name="connsiteX616" fmla="*/ 5255419 w 6400800"/>
                <a:gd name="connsiteY616" fmla="*/ 268129 h 514350"/>
                <a:gd name="connsiteX617" fmla="*/ 5258276 w 6400800"/>
                <a:gd name="connsiteY617" fmla="*/ 232886 h 514350"/>
                <a:gd name="connsiteX618" fmla="*/ 5263039 w 6400800"/>
                <a:gd name="connsiteY618" fmla="*/ 158591 h 514350"/>
                <a:gd name="connsiteX619" fmla="*/ 5252562 w 6400800"/>
                <a:gd name="connsiteY619" fmla="*/ 204311 h 514350"/>
                <a:gd name="connsiteX620" fmla="*/ 5255419 w 6400800"/>
                <a:gd name="connsiteY620" fmla="*/ 173831 h 514350"/>
                <a:gd name="connsiteX621" fmla="*/ 5258276 w 6400800"/>
                <a:gd name="connsiteY621" fmla="*/ 140494 h 514350"/>
                <a:gd name="connsiteX622" fmla="*/ 5260181 w 6400800"/>
                <a:gd name="connsiteY622" fmla="*/ 110966 h 514350"/>
                <a:gd name="connsiteX623" fmla="*/ 5254467 w 6400800"/>
                <a:gd name="connsiteY623" fmla="*/ 139541 h 514350"/>
                <a:gd name="connsiteX624" fmla="*/ 5247799 w 6400800"/>
                <a:gd name="connsiteY624" fmla="*/ 172879 h 514350"/>
                <a:gd name="connsiteX625" fmla="*/ 5243989 w 6400800"/>
                <a:gd name="connsiteY625" fmla="*/ 192881 h 514350"/>
                <a:gd name="connsiteX626" fmla="*/ 5243037 w 6400800"/>
                <a:gd name="connsiteY626" fmla="*/ 201454 h 514350"/>
                <a:gd name="connsiteX627" fmla="*/ 5241131 w 6400800"/>
                <a:gd name="connsiteY627" fmla="*/ 194786 h 514350"/>
                <a:gd name="connsiteX628" fmla="*/ 5241131 w 6400800"/>
                <a:gd name="connsiteY628" fmla="*/ 209074 h 514350"/>
                <a:gd name="connsiteX629" fmla="*/ 5240179 w 6400800"/>
                <a:gd name="connsiteY629" fmla="*/ 215741 h 514350"/>
                <a:gd name="connsiteX630" fmla="*/ 5235417 w 6400800"/>
                <a:gd name="connsiteY630" fmla="*/ 246221 h 514350"/>
                <a:gd name="connsiteX631" fmla="*/ 5230654 w 6400800"/>
                <a:gd name="connsiteY631" fmla="*/ 252889 h 514350"/>
                <a:gd name="connsiteX632" fmla="*/ 5222081 w 6400800"/>
                <a:gd name="connsiteY632" fmla="*/ 266224 h 514350"/>
                <a:gd name="connsiteX633" fmla="*/ 5215414 w 6400800"/>
                <a:gd name="connsiteY633" fmla="*/ 279559 h 514350"/>
                <a:gd name="connsiteX634" fmla="*/ 5215414 w 6400800"/>
                <a:gd name="connsiteY634" fmla="*/ 278606 h 514350"/>
                <a:gd name="connsiteX635" fmla="*/ 5216367 w 6400800"/>
                <a:gd name="connsiteY635" fmla="*/ 275749 h 514350"/>
                <a:gd name="connsiteX636" fmla="*/ 5215414 w 6400800"/>
                <a:gd name="connsiteY636" fmla="*/ 277654 h 514350"/>
                <a:gd name="connsiteX637" fmla="*/ 5211604 w 6400800"/>
                <a:gd name="connsiteY637" fmla="*/ 249079 h 514350"/>
                <a:gd name="connsiteX638" fmla="*/ 5208746 w 6400800"/>
                <a:gd name="connsiteY638" fmla="*/ 224314 h 514350"/>
                <a:gd name="connsiteX639" fmla="*/ 5205889 w 6400800"/>
                <a:gd name="connsiteY639" fmla="*/ 202406 h 514350"/>
                <a:gd name="connsiteX640" fmla="*/ 5204937 w 6400800"/>
                <a:gd name="connsiteY640" fmla="*/ 224314 h 514350"/>
                <a:gd name="connsiteX641" fmla="*/ 5204937 w 6400800"/>
                <a:gd name="connsiteY641" fmla="*/ 249079 h 514350"/>
                <a:gd name="connsiteX642" fmla="*/ 5204937 w 6400800"/>
                <a:gd name="connsiteY642" fmla="*/ 264319 h 514350"/>
                <a:gd name="connsiteX643" fmla="*/ 5205889 w 6400800"/>
                <a:gd name="connsiteY643" fmla="*/ 281464 h 514350"/>
                <a:gd name="connsiteX644" fmla="*/ 5205889 w 6400800"/>
                <a:gd name="connsiteY644" fmla="*/ 289084 h 514350"/>
                <a:gd name="connsiteX645" fmla="*/ 5203984 w 6400800"/>
                <a:gd name="connsiteY645" fmla="*/ 286226 h 514350"/>
                <a:gd name="connsiteX646" fmla="*/ 5205889 w 6400800"/>
                <a:gd name="connsiteY646" fmla="*/ 290989 h 514350"/>
                <a:gd name="connsiteX647" fmla="*/ 5205889 w 6400800"/>
                <a:gd name="connsiteY647" fmla="*/ 291941 h 514350"/>
                <a:gd name="connsiteX648" fmla="*/ 5203984 w 6400800"/>
                <a:gd name="connsiteY648" fmla="*/ 287179 h 514350"/>
                <a:gd name="connsiteX649" fmla="*/ 5203984 w 6400800"/>
                <a:gd name="connsiteY649" fmla="*/ 287179 h 514350"/>
                <a:gd name="connsiteX650" fmla="*/ 5203984 w 6400800"/>
                <a:gd name="connsiteY650" fmla="*/ 287179 h 514350"/>
                <a:gd name="connsiteX651" fmla="*/ 5199221 w 6400800"/>
                <a:gd name="connsiteY651" fmla="*/ 278606 h 514350"/>
                <a:gd name="connsiteX652" fmla="*/ 5202079 w 6400800"/>
                <a:gd name="connsiteY652" fmla="*/ 290989 h 514350"/>
                <a:gd name="connsiteX653" fmla="*/ 5198269 w 6400800"/>
                <a:gd name="connsiteY653" fmla="*/ 300514 h 514350"/>
                <a:gd name="connsiteX654" fmla="*/ 5195412 w 6400800"/>
                <a:gd name="connsiteY654" fmla="*/ 295751 h 514350"/>
                <a:gd name="connsiteX655" fmla="*/ 5191601 w 6400800"/>
                <a:gd name="connsiteY655" fmla="*/ 263366 h 514350"/>
                <a:gd name="connsiteX656" fmla="*/ 5184934 w 6400800"/>
                <a:gd name="connsiteY656" fmla="*/ 190024 h 514350"/>
                <a:gd name="connsiteX657" fmla="*/ 5183981 w 6400800"/>
                <a:gd name="connsiteY657" fmla="*/ 169069 h 514350"/>
                <a:gd name="connsiteX658" fmla="*/ 5183981 w 6400800"/>
                <a:gd name="connsiteY658" fmla="*/ 161449 h 514350"/>
                <a:gd name="connsiteX659" fmla="*/ 5183029 w 6400800"/>
                <a:gd name="connsiteY659" fmla="*/ 169069 h 514350"/>
                <a:gd name="connsiteX660" fmla="*/ 5181124 w 6400800"/>
                <a:gd name="connsiteY660" fmla="*/ 190024 h 514350"/>
                <a:gd name="connsiteX661" fmla="*/ 5180171 w 6400800"/>
                <a:gd name="connsiteY661" fmla="*/ 211931 h 514350"/>
                <a:gd name="connsiteX662" fmla="*/ 5177314 w 6400800"/>
                <a:gd name="connsiteY662" fmla="*/ 215741 h 514350"/>
                <a:gd name="connsiteX663" fmla="*/ 5165884 w 6400800"/>
                <a:gd name="connsiteY663" fmla="*/ 231934 h 514350"/>
                <a:gd name="connsiteX664" fmla="*/ 5163979 w 6400800"/>
                <a:gd name="connsiteY664" fmla="*/ 235744 h 514350"/>
                <a:gd name="connsiteX665" fmla="*/ 5161121 w 6400800"/>
                <a:gd name="connsiteY665" fmla="*/ 230029 h 514350"/>
                <a:gd name="connsiteX666" fmla="*/ 5161121 w 6400800"/>
                <a:gd name="connsiteY666" fmla="*/ 229076 h 514350"/>
                <a:gd name="connsiteX667" fmla="*/ 5163026 w 6400800"/>
                <a:gd name="connsiteY667" fmla="*/ 213836 h 514350"/>
                <a:gd name="connsiteX668" fmla="*/ 5163979 w 6400800"/>
                <a:gd name="connsiteY668" fmla="*/ 208121 h 514350"/>
                <a:gd name="connsiteX669" fmla="*/ 5158264 w 6400800"/>
                <a:gd name="connsiteY669" fmla="*/ 224314 h 514350"/>
                <a:gd name="connsiteX670" fmla="*/ 5156359 w 6400800"/>
                <a:gd name="connsiteY670" fmla="*/ 220504 h 514350"/>
                <a:gd name="connsiteX671" fmla="*/ 5147787 w 6400800"/>
                <a:gd name="connsiteY671" fmla="*/ 205264 h 514350"/>
                <a:gd name="connsiteX672" fmla="*/ 5144929 w 6400800"/>
                <a:gd name="connsiteY672" fmla="*/ 178594 h 514350"/>
                <a:gd name="connsiteX673" fmla="*/ 5141119 w 6400800"/>
                <a:gd name="connsiteY673" fmla="*/ 149066 h 514350"/>
                <a:gd name="connsiteX674" fmla="*/ 5141119 w 6400800"/>
                <a:gd name="connsiteY674" fmla="*/ 178594 h 514350"/>
                <a:gd name="connsiteX675" fmla="*/ 5141119 w 6400800"/>
                <a:gd name="connsiteY675" fmla="*/ 255746 h 514350"/>
                <a:gd name="connsiteX676" fmla="*/ 5141119 w 6400800"/>
                <a:gd name="connsiteY676" fmla="*/ 258604 h 514350"/>
                <a:gd name="connsiteX677" fmla="*/ 5139214 w 6400800"/>
                <a:gd name="connsiteY677" fmla="*/ 260509 h 514350"/>
                <a:gd name="connsiteX678" fmla="*/ 5134451 w 6400800"/>
                <a:gd name="connsiteY678" fmla="*/ 265271 h 514350"/>
                <a:gd name="connsiteX679" fmla="*/ 5128737 w 6400800"/>
                <a:gd name="connsiteY679" fmla="*/ 184309 h 514350"/>
                <a:gd name="connsiteX680" fmla="*/ 5124926 w 6400800"/>
                <a:gd name="connsiteY680" fmla="*/ 236696 h 514350"/>
                <a:gd name="connsiteX681" fmla="*/ 5119212 w 6400800"/>
                <a:gd name="connsiteY681" fmla="*/ 219551 h 514350"/>
                <a:gd name="connsiteX682" fmla="*/ 5123974 w 6400800"/>
                <a:gd name="connsiteY682" fmla="*/ 249079 h 514350"/>
                <a:gd name="connsiteX683" fmla="*/ 5123021 w 6400800"/>
                <a:gd name="connsiteY683" fmla="*/ 258604 h 514350"/>
                <a:gd name="connsiteX684" fmla="*/ 5120164 w 6400800"/>
                <a:gd name="connsiteY684" fmla="*/ 279559 h 514350"/>
                <a:gd name="connsiteX685" fmla="*/ 5116354 w 6400800"/>
                <a:gd name="connsiteY685" fmla="*/ 285274 h 514350"/>
                <a:gd name="connsiteX686" fmla="*/ 5106829 w 6400800"/>
                <a:gd name="connsiteY686" fmla="*/ 298609 h 514350"/>
                <a:gd name="connsiteX687" fmla="*/ 5103971 w 6400800"/>
                <a:gd name="connsiteY687" fmla="*/ 303371 h 514350"/>
                <a:gd name="connsiteX688" fmla="*/ 5085874 w 6400800"/>
                <a:gd name="connsiteY688" fmla="*/ 261461 h 514350"/>
                <a:gd name="connsiteX689" fmla="*/ 5086826 w 6400800"/>
                <a:gd name="connsiteY689" fmla="*/ 261461 h 514350"/>
                <a:gd name="connsiteX690" fmla="*/ 5091589 w 6400800"/>
                <a:gd name="connsiteY690" fmla="*/ 260509 h 514350"/>
                <a:gd name="connsiteX691" fmla="*/ 5086826 w 6400800"/>
                <a:gd name="connsiteY691" fmla="*/ 260509 h 514350"/>
                <a:gd name="connsiteX692" fmla="*/ 5085874 w 6400800"/>
                <a:gd name="connsiteY692" fmla="*/ 260509 h 514350"/>
                <a:gd name="connsiteX693" fmla="*/ 5071587 w 6400800"/>
                <a:gd name="connsiteY693" fmla="*/ 230029 h 514350"/>
                <a:gd name="connsiteX694" fmla="*/ 5071587 w 6400800"/>
                <a:gd name="connsiteY694" fmla="*/ 222409 h 514350"/>
                <a:gd name="connsiteX695" fmla="*/ 5069681 w 6400800"/>
                <a:gd name="connsiteY695" fmla="*/ 227171 h 514350"/>
                <a:gd name="connsiteX696" fmla="*/ 5062062 w 6400800"/>
                <a:gd name="connsiteY696" fmla="*/ 192881 h 514350"/>
                <a:gd name="connsiteX697" fmla="*/ 5058251 w 6400800"/>
                <a:gd name="connsiteY697" fmla="*/ 174784 h 514350"/>
                <a:gd name="connsiteX698" fmla="*/ 5055394 w 6400800"/>
                <a:gd name="connsiteY698" fmla="*/ 159544 h 514350"/>
                <a:gd name="connsiteX699" fmla="*/ 5049679 w 6400800"/>
                <a:gd name="connsiteY699" fmla="*/ 130016 h 514350"/>
                <a:gd name="connsiteX700" fmla="*/ 5050631 w 6400800"/>
                <a:gd name="connsiteY700" fmla="*/ 159544 h 514350"/>
                <a:gd name="connsiteX701" fmla="*/ 5051584 w 6400800"/>
                <a:gd name="connsiteY701" fmla="*/ 174784 h 514350"/>
                <a:gd name="connsiteX702" fmla="*/ 5053489 w 6400800"/>
                <a:gd name="connsiteY702" fmla="*/ 192881 h 514350"/>
                <a:gd name="connsiteX703" fmla="*/ 5059204 w 6400800"/>
                <a:gd name="connsiteY703" fmla="*/ 236696 h 514350"/>
                <a:gd name="connsiteX704" fmla="*/ 5061109 w 6400800"/>
                <a:gd name="connsiteY704" fmla="*/ 249079 h 514350"/>
                <a:gd name="connsiteX705" fmla="*/ 5055394 w 6400800"/>
                <a:gd name="connsiteY705" fmla="*/ 270034 h 514350"/>
                <a:gd name="connsiteX706" fmla="*/ 5052537 w 6400800"/>
                <a:gd name="connsiteY706" fmla="*/ 271939 h 514350"/>
                <a:gd name="connsiteX707" fmla="*/ 5052537 w 6400800"/>
                <a:gd name="connsiteY707" fmla="*/ 271939 h 514350"/>
                <a:gd name="connsiteX708" fmla="*/ 5051584 w 6400800"/>
                <a:gd name="connsiteY708" fmla="*/ 267176 h 514350"/>
                <a:gd name="connsiteX709" fmla="*/ 5051584 w 6400800"/>
                <a:gd name="connsiteY709" fmla="*/ 269081 h 514350"/>
                <a:gd name="connsiteX710" fmla="*/ 5048726 w 6400800"/>
                <a:gd name="connsiteY710" fmla="*/ 261461 h 514350"/>
                <a:gd name="connsiteX711" fmla="*/ 5048726 w 6400800"/>
                <a:gd name="connsiteY711" fmla="*/ 261461 h 514350"/>
                <a:gd name="connsiteX712" fmla="*/ 5050631 w 6400800"/>
                <a:gd name="connsiteY712" fmla="*/ 252889 h 514350"/>
                <a:gd name="connsiteX713" fmla="*/ 5047774 w 6400800"/>
                <a:gd name="connsiteY713" fmla="*/ 259556 h 514350"/>
                <a:gd name="connsiteX714" fmla="*/ 5039201 w 6400800"/>
                <a:gd name="connsiteY714" fmla="*/ 236696 h 514350"/>
                <a:gd name="connsiteX715" fmla="*/ 5031581 w 6400800"/>
                <a:gd name="connsiteY715" fmla="*/ 214789 h 514350"/>
                <a:gd name="connsiteX716" fmla="*/ 5035392 w 6400800"/>
                <a:gd name="connsiteY716" fmla="*/ 237649 h 514350"/>
                <a:gd name="connsiteX717" fmla="*/ 5039201 w 6400800"/>
                <a:gd name="connsiteY717" fmla="*/ 256699 h 514350"/>
                <a:gd name="connsiteX718" fmla="*/ 5034439 w 6400800"/>
                <a:gd name="connsiteY718" fmla="*/ 265271 h 514350"/>
                <a:gd name="connsiteX719" fmla="*/ 5034439 w 6400800"/>
                <a:gd name="connsiteY719" fmla="*/ 262414 h 514350"/>
                <a:gd name="connsiteX720" fmla="*/ 5030629 w 6400800"/>
                <a:gd name="connsiteY720" fmla="*/ 241459 h 514350"/>
                <a:gd name="connsiteX721" fmla="*/ 5026819 w 6400800"/>
                <a:gd name="connsiteY721" fmla="*/ 223361 h 514350"/>
                <a:gd name="connsiteX722" fmla="*/ 5025867 w 6400800"/>
                <a:gd name="connsiteY722" fmla="*/ 242411 h 514350"/>
                <a:gd name="connsiteX723" fmla="*/ 5025867 w 6400800"/>
                <a:gd name="connsiteY723" fmla="*/ 263366 h 514350"/>
                <a:gd name="connsiteX724" fmla="*/ 5025867 w 6400800"/>
                <a:gd name="connsiteY724" fmla="*/ 276701 h 514350"/>
                <a:gd name="connsiteX725" fmla="*/ 5025867 w 6400800"/>
                <a:gd name="connsiteY725" fmla="*/ 281464 h 514350"/>
                <a:gd name="connsiteX726" fmla="*/ 5010626 w 6400800"/>
                <a:gd name="connsiteY726" fmla="*/ 263366 h 514350"/>
                <a:gd name="connsiteX727" fmla="*/ 4995387 w 6400800"/>
                <a:gd name="connsiteY727" fmla="*/ 248126 h 514350"/>
                <a:gd name="connsiteX728" fmla="*/ 4997292 w 6400800"/>
                <a:gd name="connsiteY728" fmla="*/ 243364 h 514350"/>
                <a:gd name="connsiteX729" fmla="*/ 4994434 w 6400800"/>
                <a:gd name="connsiteY729" fmla="*/ 248126 h 514350"/>
                <a:gd name="connsiteX730" fmla="*/ 4992529 w 6400800"/>
                <a:gd name="connsiteY730" fmla="*/ 246221 h 514350"/>
                <a:gd name="connsiteX731" fmla="*/ 4994434 w 6400800"/>
                <a:gd name="connsiteY731" fmla="*/ 190024 h 514350"/>
                <a:gd name="connsiteX732" fmla="*/ 4983004 w 6400800"/>
                <a:gd name="connsiteY732" fmla="*/ 240506 h 514350"/>
                <a:gd name="connsiteX733" fmla="*/ 4981099 w 6400800"/>
                <a:gd name="connsiteY733" fmla="*/ 238601 h 514350"/>
                <a:gd name="connsiteX734" fmla="*/ 4959192 w 6400800"/>
                <a:gd name="connsiteY734" fmla="*/ 219551 h 514350"/>
                <a:gd name="connsiteX735" fmla="*/ 4978242 w 6400800"/>
                <a:gd name="connsiteY735" fmla="*/ 241459 h 514350"/>
                <a:gd name="connsiteX736" fmla="*/ 4982051 w 6400800"/>
                <a:gd name="connsiteY736" fmla="*/ 246221 h 514350"/>
                <a:gd name="connsiteX737" fmla="*/ 4982051 w 6400800"/>
                <a:gd name="connsiteY737" fmla="*/ 248126 h 514350"/>
                <a:gd name="connsiteX738" fmla="*/ 4976337 w 6400800"/>
                <a:gd name="connsiteY738" fmla="*/ 279559 h 514350"/>
                <a:gd name="connsiteX739" fmla="*/ 4969669 w 6400800"/>
                <a:gd name="connsiteY739" fmla="*/ 290989 h 514350"/>
                <a:gd name="connsiteX740" fmla="*/ 4960144 w 6400800"/>
                <a:gd name="connsiteY740" fmla="*/ 265271 h 514350"/>
                <a:gd name="connsiteX741" fmla="*/ 4960144 w 6400800"/>
                <a:gd name="connsiteY741" fmla="*/ 264319 h 514350"/>
                <a:gd name="connsiteX742" fmla="*/ 4959192 w 6400800"/>
                <a:gd name="connsiteY742" fmla="*/ 237649 h 514350"/>
                <a:gd name="connsiteX743" fmla="*/ 4958239 w 6400800"/>
                <a:gd name="connsiteY743" fmla="*/ 214789 h 514350"/>
                <a:gd name="connsiteX744" fmla="*/ 4968717 w 6400800"/>
                <a:gd name="connsiteY744" fmla="*/ 164306 h 514350"/>
                <a:gd name="connsiteX745" fmla="*/ 4974431 w 6400800"/>
                <a:gd name="connsiteY745" fmla="*/ 134779 h 514350"/>
                <a:gd name="connsiteX746" fmla="*/ 4964906 w 6400800"/>
                <a:gd name="connsiteY746" fmla="*/ 163354 h 514350"/>
                <a:gd name="connsiteX747" fmla="*/ 4955381 w 6400800"/>
                <a:gd name="connsiteY747" fmla="*/ 191929 h 514350"/>
                <a:gd name="connsiteX748" fmla="*/ 4955381 w 6400800"/>
                <a:gd name="connsiteY748" fmla="*/ 176689 h 514350"/>
                <a:gd name="connsiteX749" fmla="*/ 4952524 w 6400800"/>
                <a:gd name="connsiteY749" fmla="*/ 202406 h 514350"/>
                <a:gd name="connsiteX750" fmla="*/ 4952524 w 6400800"/>
                <a:gd name="connsiteY750" fmla="*/ 203359 h 514350"/>
                <a:gd name="connsiteX751" fmla="*/ 4944904 w 6400800"/>
                <a:gd name="connsiteY751" fmla="*/ 227171 h 514350"/>
                <a:gd name="connsiteX752" fmla="*/ 4944904 w 6400800"/>
                <a:gd name="connsiteY752" fmla="*/ 226219 h 514350"/>
                <a:gd name="connsiteX753" fmla="*/ 4936331 w 6400800"/>
                <a:gd name="connsiteY753" fmla="*/ 199549 h 514350"/>
                <a:gd name="connsiteX754" fmla="*/ 4942046 w 6400800"/>
                <a:gd name="connsiteY754" fmla="*/ 236696 h 514350"/>
                <a:gd name="connsiteX755" fmla="*/ 4941094 w 6400800"/>
                <a:gd name="connsiteY755" fmla="*/ 239554 h 514350"/>
                <a:gd name="connsiteX756" fmla="*/ 4922996 w 6400800"/>
                <a:gd name="connsiteY756" fmla="*/ 292894 h 514350"/>
                <a:gd name="connsiteX757" fmla="*/ 4922996 w 6400800"/>
                <a:gd name="connsiteY757" fmla="*/ 289084 h 514350"/>
                <a:gd name="connsiteX758" fmla="*/ 4920139 w 6400800"/>
                <a:gd name="connsiteY758" fmla="*/ 269081 h 514350"/>
                <a:gd name="connsiteX759" fmla="*/ 4919187 w 6400800"/>
                <a:gd name="connsiteY759" fmla="*/ 290036 h 514350"/>
                <a:gd name="connsiteX760" fmla="*/ 4919187 w 6400800"/>
                <a:gd name="connsiteY760" fmla="*/ 296704 h 514350"/>
                <a:gd name="connsiteX761" fmla="*/ 4917281 w 6400800"/>
                <a:gd name="connsiteY761" fmla="*/ 289084 h 514350"/>
                <a:gd name="connsiteX762" fmla="*/ 4911567 w 6400800"/>
                <a:gd name="connsiteY762" fmla="*/ 266224 h 514350"/>
                <a:gd name="connsiteX763" fmla="*/ 4904899 w 6400800"/>
                <a:gd name="connsiteY763" fmla="*/ 246221 h 514350"/>
                <a:gd name="connsiteX764" fmla="*/ 4907756 w 6400800"/>
                <a:gd name="connsiteY764" fmla="*/ 267176 h 514350"/>
                <a:gd name="connsiteX765" fmla="*/ 4909662 w 6400800"/>
                <a:gd name="connsiteY765" fmla="*/ 290989 h 514350"/>
                <a:gd name="connsiteX766" fmla="*/ 4911567 w 6400800"/>
                <a:gd name="connsiteY766" fmla="*/ 321469 h 514350"/>
                <a:gd name="connsiteX767" fmla="*/ 4908709 w 6400800"/>
                <a:gd name="connsiteY767" fmla="*/ 327184 h 514350"/>
                <a:gd name="connsiteX768" fmla="*/ 4902042 w 6400800"/>
                <a:gd name="connsiteY768" fmla="*/ 313849 h 514350"/>
                <a:gd name="connsiteX769" fmla="*/ 4894421 w 6400800"/>
                <a:gd name="connsiteY769" fmla="*/ 298609 h 514350"/>
                <a:gd name="connsiteX770" fmla="*/ 4892517 w 6400800"/>
                <a:gd name="connsiteY770" fmla="*/ 285274 h 514350"/>
                <a:gd name="connsiteX771" fmla="*/ 4891564 w 6400800"/>
                <a:gd name="connsiteY771" fmla="*/ 293846 h 514350"/>
                <a:gd name="connsiteX772" fmla="*/ 4888706 w 6400800"/>
                <a:gd name="connsiteY772" fmla="*/ 289084 h 514350"/>
                <a:gd name="connsiteX773" fmla="*/ 4891564 w 6400800"/>
                <a:gd name="connsiteY773" fmla="*/ 295751 h 514350"/>
                <a:gd name="connsiteX774" fmla="*/ 4887754 w 6400800"/>
                <a:gd name="connsiteY774" fmla="*/ 348139 h 514350"/>
                <a:gd name="connsiteX775" fmla="*/ 4887754 w 6400800"/>
                <a:gd name="connsiteY775" fmla="*/ 357664 h 514350"/>
                <a:gd name="connsiteX776" fmla="*/ 4882991 w 6400800"/>
                <a:gd name="connsiteY776" fmla="*/ 350996 h 514350"/>
                <a:gd name="connsiteX777" fmla="*/ 4882039 w 6400800"/>
                <a:gd name="connsiteY777" fmla="*/ 338614 h 514350"/>
                <a:gd name="connsiteX778" fmla="*/ 4882039 w 6400800"/>
                <a:gd name="connsiteY778" fmla="*/ 337661 h 514350"/>
                <a:gd name="connsiteX779" fmla="*/ 4883944 w 6400800"/>
                <a:gd name="connsiteY779" fmla="*/ 327184 h 514350"/>
                <a:gd name="connsiteX780" fmla="*/ 4885849 w 6400800"/>
                <a:gd name="connsiteY780" fmla="*/ 319564 h 514350"/>
                <a:gd name="connsiteX781" fmla="*/ 4887754 w 6400800"/>
                <a:gd name="connsiteY781" fmla="*/ 312896 h 514350"/>
                <a:gd name="connsiteX782" fmla="*/ 4884896 w 6400800"/>
                <a:gd name="connsiteY782" fmla="*/ 318611 h 514350"/>
                <a:gd name="connsiteX783" fmla="*/ 4882039 w 6400800"/>
                <a:gd name="connsiteY783" fmla="*/ 326231 h 514350"/>
                <a:gd name="connsiteX784" fmla="*/ 4882039 w 6400800"/>
                <a:gd name="connsiteY784" fmla="*/ 328136 h 514350"/>
                <a:gd name="connsiteX785" fmla="*/ 4882039 w 6400800"/>
                <a:gd name="connsiteY785" fmla="*/ 326231 h 514350"/>
                <a:gd name="connsiteX786" fmla="*/ 4877276 w 6400800"/>
                <a:gd name="connsiteY786" fmla="*/ 288131 h 514350"/>
                <a:gd name="connsiteX787" fmla="*/ 4873466 w 6400800"/>
                <a:gd name="connsiteY787" fmla="*/ 263366 h 514350"/>
                <a:gd name="connsiteX788" fmla="*/ 4878229 w 6400800"/>
                <a:gd name="connsiteY788" fmla="*/ 238601 h 514350"/>
                <a:gd name="connsiteX789" fmla="*/ 4882039 w 6400800"/>
                <a:gd name="connsiteY789" fmla="*/ 211931 h 514350"/>
                <a:gd name="connsiteX790" fmla="*/ 4874419 w 6400800"/>
                <a:gd name="connsiteY790" fmla="*/ 237649 h 514350"/>
                <a:gd name="connsiteX791" fmla="*/ 4870609 w 6400800"/>
                <a:gd name="connsiteY791" fmla="*/ 249079 h 514350"/>
                <a:gd name="connsiteX792" fmla="*/ 4866799 w 6400800"/>
                <a:gd name="connsiteY792" fmla="*/ 231934 h 514350"/>
                <a:gd name="connsiteX793" fmla="*/ 4862037 w 6400800"/>
                <a:gd name="connsiteY793" fmla="*/ 210979 h 514350"/>
                <a:gd name="connsiteX794" fmla="*/ 4862989 w 6400800"/>
                <a:gd name="connsiteY794" fmla="*/ 232886 h 514350"/>
                <a:gd name="connsiteX795" fmla="*/ 4863941 w 6400800"/>
                <a:gd name="connsiteY795" fmla="*/ 248126 h 514350"/>
                <a:gd name="connsiteX796" fmla="*/ 4863941 w 6400800"/>
                <a:gd name="connsiteY796" fmla="*/ 261461 h 514350"/>
                <a:gd name="connsiteX797" fmla="*/ 4860131 w 6400800"/>
                <a:gd name="connsiteY797" fmla="*/ 264319 h 514350"/>
                <a:gd name="connsiteX798" fmla="*/ 4843939 w 6400800"/>
                <a:gd name="connsiteY798" fmla="*/ 281464 h 514350"/>
                <a:gd name="connsiteX799" fmla="*/ 4841081 w 6400800"/>
                <a:gd name="connsiteY799" fmla="*/ 270986 h 514350"/>
                <a:gd name="connsiteX800" fmla="*/ 4842987 w 6400800"/>
                <a:gd name="connsiteY800" fmla="*/ 266224 h 514350"/>
                <a:gd name="connsiteX801" fmla="*/ 4841081 w 6400800"/>
                <a:gd name="connsiteY801" fmla="*/ 269081 h 514350"/>
                <a:gd name="connsiteX802" fmla="*/ 4840129 w 6400800"/>
                <a:gd name="connsiteY802" fmla="*/ 262414 h 514350"/>
                <a:gd name="connsiteX803" fmla="*/ 4840129 w 6400800"/>
                <a:gd name="connsiteY803" fmla="*/ 270034 h 514350"/>
                <a:gd name="connsiteX804" fmla="*/ 4833462 w 6400800"/>
                <a:gd name="connsiteY804" fmla="*/ 278606 h 514350"/>
                <a:gd name="connsiteX805" fmla="*/ 4822984 w 6400800"/>
                <a:gd name="connsiteY805" fmla="*/ 294799 h 514350"/>
                <a:gd name="connsiteX806" fmla="*/ 4816316 w 6400800"/>
                <a:gd name="connsiteY806" fmla="*/ 304324 h 514350"/>
                <a:gd name="connsiteX807" fmla="*/ 4809649 w 6400800"/>
                <a:gd name="connsiteY807" fmla="*/ 315754 h 514350"/>
                <a:gd name="connsiteX808" fmla="*/ 4807744 w 6400800"/>
                <a:gd name="connsiteY808" fmla="*/ 318611 h 514350"/>
                <a:gd name="connsiteX809" fmla="*/ 4807744 w 6400800"/>
                <a:gd name="connsiteY809" fmla="*/ 304324 h 514350"/>
                <a:gd name="connsiteX810" fmla="*/ 4803934 w 6400800"/>
                <a:gd name="connsiteY810" fmla="*/ 327184 h 514350"/>
                <a:gd name="connsiteX811" fmla="*/ 4795362 w 6400800"/>
                <a:gd name="connsiteY811" fmla="*/ 342424 h 514350"/>
                <a:gd name="connsiteX812" fmla="*/ 4795362 w 6400800"/>
                <a:gd name="connsiteY812" fmla="*/ 324326 h 514350"/>
                <a:gd name="connsiteX813" fmla="*/ 4795362 w 6400800"/>
                <a:gd name="connsiteY813" fmla="*/ 311944 h 514350"/>
                <a:gd name="connsiteX814" fmla="*/ 4796314 w 6400800"/>
                <a:gd name="connsiteY814" fmla="*/ 302419 h 514350"/>
                <a:gd name="connsiteX815" fmla="*/ 4797266 w 6400800"/>
                <a:gd name="connsiteY815" fmla="*/ 297656 h 514350"/>
                <a:gd name="connsiteX816" fmla="*/ 4803934 w 6400800"/>
                <a:gd name="connsiteY816" fmla="*/ 264319 h 514350"/>
                <a:gd name="connsiteX817" fmla="*/ 4815364 w 6400800"/>
                <a:gd name="connsiteY817" fmla="*/ 192881 h 514350"/>
                <a:gd name="connsiteX818" fmla="*/ 4792504 w 6400800"/>
                <a:gd name="connsiteY818" fmla="*/ 262414 h 514350"/>
                <a:gd name="connsiteX819" fmla="*/ 4790599 w 6400800"/>
                <a:gd name="connsiteY819" fmla="*/ 268129 h 514350"/>
                <a:gd name="connsiteX820" fmla="*/ 4788694 w 6400800"/>
                <a:gd name="connsiteY820" fmla="*/ 250031 h 514350"/>
                <a:gd name="connsiteX821" fmla="*/ 4787741 w 6400800"/>
                <a:gd name="connsiteY821" fmla="*/ 270986 h 514350"/>
                <a:gd name="connsiteX822" fmla="*/ 4787741 w 6400800"/>
                <a:gd name="connsiteY822" fmla="*/ 281464 h 514350"/>
                <a:gd name="connsiteX823" fmla="*/ 4782979 w 6400800"/>
                <a:gd name="connsiteY823" fmla="*/ 299561 h 514350"/>
                <a:gd name="connsiteX824" fmla="*/ 4782979 w 6400800"/>
                <a:gd name="connsiteY824" fmla="*/ 293846 h 514350"/>
                <a:gd name="connsiteX825" fmla="*/ 4784884 w 6400800"/>
                <a:gd name="connsiteY825" fmla="*/ 263366 h 514350"/>
                <a:gd name="connsiteX826" fmla="*/ 4786789 w 6400800"/>
                <a:gd name="connsiteY826" fmla="*/ 239554 h 514350"/>
                <a:gd name="connsiteX827" fmla="*/ 4789647 w 6400800"/>
                <a:gd name="connsiteY827" fmla="*/ 218599 h 514350"/>
                <a:gd name="connsiteX828" fmla="*/ 4782979 w 6400800"/>
                <a:gd name="connsiteY828" fmla="*/ 238601 h 514350"/>
                <a:gd name="connsiteX829" fmla="*/ 4777264 w 6400800"/>
                <a:gd name="connsiteY829" fmla="*/ 262414 h 514350"/>
                <a:gd name="connsiteX830" fmla="*/ 4776312 w 6400800"/>
                <a:gd name="connsiteY830" fmla="*/ 269081 h 514350"/>
                <a:gd name="connsiteX831" fmla="*/ 4773454 w 6400800"/>
                <a:gd name="connsiteY831" fmla="*/ 251936 h 514350"/>
                <a:gd name="connsiteX832" fmla="*/ 4773454 w 6400800"/>
                <a:gd name="connsiteY832" fmla="*/ 284321 h 514350"/>
                <a:gd name="connsiteX833" fmla="*/ 4771549 w 6400800"/>
                <a:gd name="connsiteY833" fmla="*/ 293846 h 514350"/>
                <a:gd name="connsiteX834" fmla="*/ 4771549 w 6400800"/>
                <a:gd name="connsiteY834" fmla="*/ 295751 h 514350"/>
                <a:gd name="connsiteX835" fmla="*/ 4767739 w 6400800"/>
                <a:gd name="connsiteY835" fmla="*/ 260509 h 514350"/>
                <a:gd name="connsiteX836" fmla="*/ 4764881 w 6400800"/>
                <a:gd name="connsiteY836" fmla="*/ 297656 h 514350"/>
                <a:gd name="connsiteX837" fmla="*/ 4755356 w 6400800"/>
                <a:gd name="connsiteY837" fmla="*/ 276701 h 514350"/>
                <a:gd name="connsiteX838" fmla="*/ 4750594 w 6400800"/>
                <a:gd name="connsiteY838" fmla="*/ 270034 h 514350"/>
                <a:gd name="connsiteX839" fmla="*/ 4758214 w 6400800"/>
                <a:gd name="connsiteY839" fmla="*/ 243364 h 514350"/>
                <a:gd name="connsiteX840" fmla="*/ 4780122 w 6400800"/>
                <a:gd name="connsiteY840" fmla="*/ 161449 h 514350"/>
                <a:gd name="connsiteX841" fmla="*/ 4787741 w 6400800"/>
                <a:gd name="connsiteY841" fmla="*/ 130016 h 514350"/>
                <a:gd name="connsiteX842" fmla="*/ 4776312 w 6400800"/>
                <a:gd name="connsiteY842" fmla="*/ 160496 h 514350"/>
                <a:gd name="connsiteX843" fmla="*/ 4747737 w 6400800"/>
                <a:gd name="connsiteY843" fmla="*/ 240506 h 514350"/>
                <a:gd name="connsiteX844" fmla="*/ 4742022 w 6400800"/>
                <a:gd name="connsiteY844" fmla="*/ 257651 h 514350"/>
                <a:gd name="connsiteX845" fmla="*/ 4742022 w 6400800"/>
                <a:gd name="connsiteY845" fmla="*/ 257651 h 514350"/>
                <a:gd name="connsiteX846" fmla="*/ 4727734 w 6400800"/>
                <a:gd name="connsiteY846" fmla="*/ 244316 h 514350"/>
                <a:gd name="connsiteX847" fmla="*/ 4721066 w 6400800"/>
                <a:gd name="connsiteY847" fmla="*/ 240506 h 514350"/>
                <a:gd name="connsiteX848" fmla="*/ 4716304 w 6400800"/>
                <a:gd name="connsiteY848" fmla="*/ 238601 h 514350"/>
                <a:gd name="connsiteX849" fmla="*/ 4712494 w 6400800"/>
                <a:gd name="connsiteY849" fmla="*/ 237649 h 514350"/>
                <a:gd name="connsiteX850" fmla="*/ 4716304 w 6400800"/>
                <a:gd name="connsiteY850" fmla="*/ 239554 h 514350"/>
                <a:gd name="connsiteX851" fmla="*/ 4725829 w 6400800"/>
                <a:gd name="connsiteY851" fmla="*/ 246221 h 514350"/>
                <a:gd name="connsiteX852" fmla="*/ 4736306 w 6400800"/>
                <a:gd name="connsiteY852" fmla="*/ 260509 h 514350"/>
                <a:gd name="connsiteX853" fmla="*/ 4739164 w 6400800"/>
                <a:gd name="connsiteY853" fmla="*/ 266224 h 514350"/>
                <a:gd name="connsiteX854" fmla="*/ 4729639 w 6400800"/>
                <a:gd name="connsiteY854" fmla="*/ 293846 h 514350"/>
                <a:gd name="connsiteX855" fmla="*/ 4728687 w 6400800"/>
                <a:gd name="connsiteY855" fmla="*/ 295751 h 514350"/>
                <a:gd name="connsiteX856" fmla="*/ 4728687 w 6400800"/>
                <a:gd name="connsiteY856" fmla="*/ 294799 h 514350"/>
                <a:gd name="connsiteX857" fmla="*/ 4728687 w 6400800"/>
                <a:gd name="connsiteY857" fmla="*/ 290989 h 514350"/>
                <a:gd name="connsiteX858" fmla="*/ 4727734 w 6400800"/>
                <a:gd name="connsiteY858" fmla="*/ 293846 h 514350"/>
                <a:gd name="connsiteX859" fmla="*/ 4717256 w 6400800"/>
                <a:gd name="connsiteY859" fmla="*/ 270986 h 514350"/>
                <a:gd name="connsiteX860" fmla="*/ 4714399 w 6400800"/>
                <a:gd name="connsiteY860" fmla="*/ 265271 h 514350"/>
                <a:gd name="connsiteX861" fmla="*/ 4716304 w 6400800"/>
                <a:gd name="connsiteY861" fmla="*/ 252889 h 514350"/>
                <a:gd name="connsiteX862" fmla="*/ 4713447 w 6400800"/>
                <a:gd name="connsiteY862" fmla="*/ 262414 h 514350"/>
                <a:gd name="connsiteX863" fmla="*/ 4706779 w 6400800"/>
                <a:gd name="connsiteY863" fmla="*/ 248126 h 514350"/>
                <a:gd name="connsiteX864" fmla="*/ 4712494 w 6400800"/>
                <a:gd name="connsiteY864" fmla="*/ 267176 h 514350"/>
                <a:gd name="connsiteX865" fmla="*/ 4708684 w 6400800"/>
                <a:gd name="connsiteY865" fmla="*/ 277654 h 514350"/>
                <a:gd name="connsiteX866" fmla="*/ 4694397 w 6400800"/>
                <a:gd name="connsiteY866" fmla="*/ 236696 h 514350"/>
                <a:gd name="connsiteX867" fmla="*/ 4702969 w 6400800"/>
                <a:gd name="connsiteY867" fmla="*/ 293846 h 514350"/>
                <a:gd name="connsiteX868" fmla="*/ 4691539 w 6400800"/>
                <a:gd name="connsiteY868" fmla="*/ 331946 h 514350"/>
                <a:gd name="connsiteX869" fmla="*/ 4690587 w 6400800"/>
                <a:gd name="connsiteY869" fmla="*/ 329089 h 514350"/>
                <a:gd name="connsiteX870" fmla="*/ 4682966 w 6400800"/>
                <a:gd name="connsiteY870" fmla="*/ 313849 h 514350"/>
                <a:gd name="connsiteX871" fmla="*/ 4684872 w 6400800"/>
                <a:gd name="connsiteY871" fmla="*/ 322421 h 514350"/>
                <a:gd name="connsiteX872" fmla="*/ 4684872 w 6400800"/>
                <a:gd name="connsiteY872" fmla="*/ 322421 h 514350"/>
                <a:gd name="connsiteX873" fmla="*/ 4671537 w 6400800"/>
                <a:gd name="connsiteY873" fmla="*/ 304324 h 514350"/>
                <a:gd name="connsiteX874" fmla="*/ 4682014 w 6400800"/>
                <a:gd name="connsiteY874" fmla="*/ 324326 h 514350"/>
                <a:gd name="connsiteX875" fmla="*/ 4688681 w 6400800"/>
                <a:gd name="connsiteY875" fmla="*/ 337661 h 514350"/>
                <a:gd name="connsiteX876" fmla="*/ 4689634 w 6400800"/>
                <a:gd name="connsiteY876" fmla="*/ 340519 h 514350"/>
                <a:gd name="connsiteX877" fmla="*/ 4682966 w 6400800"/>
                <a:gd name="connsiteY877" fmla="*/ 366236 h 514350"/>
                <a:gd name="connsiteX878" fmla="*/ 4678204 w 6400800"/>
                <a:gd name="connsiteY878" fmla="*/ 359569 h 514350"/>
                <a:gd name="connsiteX879" fmla="*/ 4669631 w 6400800"/>
                <a:gd name="connsiteY879" fmla="*/ 349091 h 514350"/>
                <a:gd name="connsiteX880" fmla="*/ 4668679 w 6400800"/>
                <a:gd name="connsiteY880" fmla="*/ 348139 h 514350"/>
                <a:gd name="connsiteX881" fmla="*/ 4669631 w 6400800"/>
                <a:gd name="connsiteY881" fmla="*/ 330994 h 514350"/>
                <a:gd name="connsiteX882" fmla="*/ 4669631 w 6400800"/>
                <a:gd name="connsiteY882" fmla="*/ 310991 h 514350"/>
                <a:gd name="connsiteX883" fmla="*/ 4669631 w 6400800"/>
                <a:gd name="connsiteY883" fmla="*/ 313849 h 514350"/>
                <a:gd name="connsiteX884" fmla="*/ 4670584 w 6400800"/>
                <a:gd name="connsiteY884" fmla="*/ 301466 h 514350"/>
                <a:gd name="connsiteX885" fmla="*/ 4670584 w 6400800"/>
                <a:gd name="connsiteY885" fmla="*/ 287179 h 514350"/>
                <a:gd name="connsiteX886" fmla="*/ 4675347 w 6400800"/>
                <a:gd name="connsiteY886" fmla="*/ 274796 h 514350"/>
                <a:gd name="connsiteX887" fmla="*/ 4689634 w 6400800"/>
                <a:gd name="connsiteY887" fmla="*/ 250984 h 514350"/>
                <a:gd name="connsiteX888" fmla="*/ 4681062 w 6400800"/>
                <a:gd name="connsiteY888" fmla="*/ 262414 h 514350"/>
                <a:gd name="connsiteX889" fmla="*/ 4686776 w 6400800"/>
                <a:gd name="connsiteY889" fmla="*/ 248126 h 514350"/>
                <a:gd name="connsiteX890" fmla="*/ 4675347 w 6400800"/>
                <a:gd name="connsiteY890" fmla="*/ 265271 h 514350"/>
                <a:gd name="connsiteX891" fmla="*/ 4670584 w 6400800"/>
                <a:gd name="connsiteY891" fmla="*/ 272891 h 514350"/>
                <a:gd name="connsiteX892" fmla="*/ 4670584 w 6400800"/>
                <a:gd name="connsiteY892" fmla="*/ 268129 h 514350"/>
                <a:gd name="connsiteX893" fmla="*/ 4668679 w 6400800"/>
                <a:gd name="connsiteY893" fmla="*/ 250984 h 514350"/>
                <a:gd name="connsiteX894" fmla="*/ 4669631 w 6400800"/>
                <a:gd name="connsiteY894" fmla="*/ 247174 h 514350"/>
                <a:gd name="connsiteX895" fmla="*/ 4671537 w 6400800"/>
                <a:gd name="connsiteY895" fmla="*/ 222409 h 514350"/>
                <a:gd name="connsiteX896" fmla="*/ 4670584 w 6400800"/>
                <a:gd name="connsiteY896" fmla="*/ 229076 h 514350"/>
                <a:gd name="connsiteX897" fmla="*/ 4666774 w 6400800"/>
                <a:gd name="connsiteY897" fmla="*/ 242411 h 514350"/>
                <a:gd name="connsiteX898" fmla="*/ 4666774 w 6400800"/>
                <a:gd name="connsiteY898" fmla="*/ 241459 h 514350"/>
                <a:gd name="connsiteX899" fmla="*/ 4666774 w 6400800"/>
                <a:gd name="connsiteY899" fmla="*/ 241459 h 514350"/>
                <a:gd name="connsiteX900" fmla="*/ 4666774 w 6400800"/>
                <a:gd name="connsiteY900" fmla="*/ 241459 h 514350"/>
                <a:gd name="connsiteX901" fmla="*/ 4662012 w 6400800"/>
                <a:gd name="connsiteY901" fmla="*/ 228124 h 514350"/>
                <a:gd name="connsiteX902" fmla="*/ 4660106 w 6400800"/>
                <a:gd name="connsiteY902" fmla="*/ 222409 h 514350"/>
                <a:gd name="connsiteX903" fmla="*/ 4661059 w 6400800"/>
                <a:gd name="connsiteY903" fmla="*/ 228124 h 514350"/>
                <a:gd name="connsiteX904" fmla="*/ 4662964 w 6400800"/>
                <a:gd name="connsiteY904" fmla="*/ 244316 h 514350"/>
                <a:gd name="connsiteX905" fmla="*/ 4662964 w 6400800"/>
                <a:gd name="connsiteY905" fmla="*/ 246221 h 514350"/>
                <a:gd name="connsiteX906" fmla="*/ 4662964 w 6400800"/>
                <a:gd name="connsiteY906" fmla="*/ 246221 h 514350"/>
                <a:gd name="connsiteX907" fmla="*/ 4654391 w 6400800"/>
                <a:gd name="connsiteY907" fmla="*/ 262414 h 514350"/>
                <a:gd name="connsiteX908" fmla="*/ 4650581 w 6400800"/>
                <a:gd name="connsiteY908" fmla="*/ 271939 h 514350"/>
                <a:gd name="connsiteX909" fmla="*/ 4646772 w 6400800"/>
                <a:gd name="connsiteY909" fmla="*/ 261461 h 514350"/>
                <a:gd name="connsiteX910" fmla="*/ 4645819 w 6400800"/>
                <a:gd name="connsiteY910" fmla="*/ 259556 h 514350"/>
                <a:gd name="connsiteX911" fmla="*/ 4646772 w 6400800"/>
                <a:gd name="connsiteY911" fmla="*/ 253841 h 514350"/>
                <a:gd name="connsiteX912" fmla="*/ 4653439 w 6400800"/>
                <a:gd name="connsiteY912" fmla="*/ 227171 h 514350"/>
                <a:gd name="connsiteX913" fmla="*/ 4660106 w 6400800"/>
                <a:gd name="connsiteY913" fmla="*/ 204311 h 514350"/>
                <a:gd name="connsiteX914" fmla="*/ 4650581 w 6400800"/>
                <a:gd name="connsiteY914" fmla="*/ 226219 h 514350"/>
                <a:gd name="connsiteX915" fmla="*/ 4641056 w 6400800"/>
                <a:gd name="connsiteY915" fmla="*/ 251936 h 514350"/>
                <a:gd name="connsiteX916" fmla="*/ 4636294 w 6400800"/>
                <a:gd name="connsiteY916" fmla="*/ 267176 h 514350"/>
                <a:gd name="connsiteX917" fmla="*/ 4636294 w 6400800"/>
                <a:gd name="connsiteY917" fmla="*/ 259556 h 514350"/>
                <a:gd name="connsiteX918" fmla="*/ 4638199 w 6400800"/>
                <a:gd name="connsiteY918" fmla="*/ 242411 h 514350"/>
                <a:gd name="connsiteX919" fmla="*/ 4639151 w 6400800"/>
                <a:gd name="connsiteY919" fmla="*/ 235744 h 514350"/>
                <a:gd name="connsiteX920" fmla="*/ 4637247 w 6400800"/>
                <a:gd name="connsiteY920" fmla="*/ 241459 h 514350"/>
                <a:gd name="connsiteX921" fmla="*/ 4632484 w 6400800"/>
                <a:gd name="connsiteY921" fmla="*/ 258604 h 514350"/>
                <a:gd name="connsiteX922" fmla="*/ 4632484 w 6400800"/>
                <a:gd name="connsiteY922" fmla="*/ 258604 h 514350"/>
                <a:gd name="connsiteX923" fmla="*/ 4631531 w 6400800"/>
                <a:gd name="connsiteY923" fmla="*/ 254794 h 514350"/>
                <a:gd name="connsiteX924" fmla="*/ 4632484 w 6400800"/>
                <a:gd name="connsiteY924" fmla="*/ 259556 h 514350"/>
                <a:gd name="connsiteX925" fmla="*/ 4628674 w 6400800"/>
                <a:gd name="connsiteY925" fmla="*/ 285274 h 514350"/>
                <a:gd name="connsiteX926" fmla="*/ 4628674 w 6400800"/>
                <a:gd name="connsiteY926" fmla="*/ 293846 h 514350"/>
                <a:gd name="connsiteX927" fmla="*/ 4625816 w 6400800"/>
                <a:gd name="connsiteY927" fmla="*/ 303371 h 514350"/>
                <a:gd name="connsiteX928" fmla="*/ 4610576 w 6400800"/>
                <a:gd name="connsiteY928" fmla="*/ 293846 h 514350"/>
                <a:gd name="connsiteX929" fmla="*/ 4604862 w 6400800"/>
                <a:gd name="connsiteY929" fmla="*/ 290989 h 514350"/>
                <a:gd name="connsiteX930" fmla="*/ 4610576 w 6400800"/>
                <a:gd name="connsiteY930" fmla="*/ 294799 h 514350"/>
                <a:gd name="connsiteX931" fmla="*/ 4624864 w 6400800"/>
                <a:gd name="connsiteY931" fmla="*/ 307181 h 514350"/>
                <a:gd name="connsiteX932" fmla="*/ 4625816 w 6400800"/>
                <a:gd name="connsiteY932" fmla="*/ 308134 h 514350"/>
                <a:gd name="connsiteX933" fmla="*/ 4622006 w 6400800"/>
                <a:gd name="connsiteY933" fmla="*/ 325279 h 514350"/>
                <a:gd name="connsiteX934" fmla="*/ 4619149 w 6400800"/>
                <a:gd name="connsiteY934" fmla="*/ 343376 h 514350"/>
                <a:gd name="connsiteX935" fmla="*/ 4607719 w 6400800"/>
                <a:gd name="connsiteY935" fmla="*/ 306229 h 514350"/>
                <a:gd name="connsiteX936" fmla="*/ 4602956 w 6400800"/>
                <a:gd name="connsiteY936" fmla="*/ 290989 h 514350"/>
                <a:gd name="connsiteX937" fmla="*/ 4601051 w 6400800"/>
                <a:gd name="connsiteY937" fmla="*/ 269081 h 514350"/>
                <a:gd name="connsiteX938" fmla="*/ 4599147 w 6400800"/>
                <a:gd name="connsiteY938" fmla="*/ 248126 h 514350"/>
                <a:gd name="connsiteX939" fmla="*/ 4597241 w 6400800"/>
                <a:gd name="connsiteY939" fmla="*/ 269081 h 514350"/>
                <a:gd name="connsiteX940" fmla="*/ 4597241 w 6400800"/>
                <a:gd name="connsiteY940" fmla="*/ 271939 h 514350"/>
                <a:gd name="connsiteX941" fmla="*/ 4589622 w 6400800"/>
                <a:gd name="connsiteY941" fmla="*/ 250031 h 514350"/>
                <a:gd name="connsiteX942" fmla="*/ 4589622 w 6400800"/>
                <a:gd name="connsiteY942" fmla="*/ 240506 h 514350"/>
                <a:gd name="connsiteX943" fmla="*/ 4590574 w 6400800"/>
                <a:gd name="connsiteY943" fmla="*/ 197644 h 514350"/>
                <a:gd name="connsiteX944" fmla="*/ 4590574 w 6400800"/>
                <a:gd name="connsiteY944" fmla="*/ 109061 h 514350"/>
                <a:gd name="connsiteX945" fmla="*/ 4579144 w 6400800"/>
                <a:gd name="connsiteY945" fmla="*/ 197644 h 514350"/>
                <a:gd name="connsiteX946" fmla="*/ 4574381 w 6400800"/>
                <a:gd name="connsiteY946" fmla="*/ 240506 h 514350"/>
                <a:gd name="connsiteX947" fmla="*/ 4573429 w 6400800"/>
                <a:gd name="connsiteY947" fmla="*/ 256699 h 514350"/>
                <a:gd name="connsiteX948" fmla="*/ 4572476 w 6400800"/>
                <a:gd name="connsiteY948" fmla="*/ 257651 h 514350"/>
                <a:gd name="connsiteX949" fmla="*/ 4563904 w 6400800"/>
                <a:gd name="connsiteY949" fmla="*/ 265271 h 514350"/>
                <a:gd name="connsiteX950" fmla="*/ 4563904 w 6400800"/>
                <a:gd name="connsiteY950" fmla="*/ 264319 h 514350"/>
                <a:gd name="connsiteX951" fmla="*/ 4559141 w 6400800"/>
                <a:gd name="connsiteY951" fmla="*/ 255746 h 514350"/>
                <a:gd name="connsiteX952" fmla="*/ 4560094 w 6400800"/>
                <a:gd name="connsiteY952" fmla="*/ 249079 h 514350"/>
                <a:gd name="connsiteX953" fmla="*/ 4576287 w 6400800"/>
                <a:gd name="connsiteY953" fmla="*/ 159544 h 514350"/>
                <a:gd name="connsiteX954" fmla="*/ 4550569 w 6400800"/>
                <a:gd name="connsiteY954" fmla="*/ 243364 h 514350"/>
                <a:gd name="connsiteX955" fmla="*/ 4550569 w 6400800"/>
                <a:gd name="connsiteY955" fmla="*/ 243364 h 514350"/>
                <a:gd name="connsiteX956" fmla="*/ 4550569 w 6400800"/>
                <a:gd name="connsiteY956" fmla="*/ 243364 h 514350"/>
                <a:gd name="connsiteX957" fmla="*/ 4549616 w 6400800"/>
                <a:gd name="connsiteY957" fmla="*/ 246221 h 514350"/>
                <a:gd name="connsiteX958" fmla="*/ 4548664 w 6400800"/>
                <a:gd name="connsiteY958" fmla="*/ 248126 h 514350"/>
                <a:gd name="connsiteX959" fmla="*/ 4548664 w 6400800"/>
                <a:gd name="connsiteY959" fmla="*/ 248126 h 514350"/>
                <a:gd name="connsiteX960" fmla="*/ 4548664 w 6400800"/>
                <a:gd name="connsiteY960" fmla="*/ 248126 h 514350"/>
                <a:gd name="connsiteX961" fmla="*/ 4536281 w 6400800"/>
                <a:gd name="connsiteY961" fmla="*/ 292894 h 514350"/>
                <a:gd name="connsiteX962" fmla="*/ 4531519 w 6400800"/>
                <a:gd name="connsiteY962" fmla="*/ 241459 h 514350"/>
                <a:gd name="connsiteX963" fmla="*/ 4525804 w 6400800"/>
                <a:gd name="connsiteY963" fmla="*/ 303371 h 514350"/>
                <a:gd name="connsiteX964" fmla="*/ 4525804 w 6400800"/>
                <a:gd name="connsiteY964" fmla="*/ 309086 h 514350"/>
                <a:gd name="connsiteX965" fmla="*/ 4524851 w 6400800"/>
                <a:gd name="connsiteY965" fmla="*/ 308134 h 514350"/>
                <a:gd name="connsiteX966" fmla="*/ 4525804 w 6400800"/>
                <a:gd name="connsiteY966" fmla="*/ 310039 h 514350"/>
                <a:gd name="connsiteX967" fmla="*/ 4523899 w 6400800"/>
                <a:gd name="connsiteY967" fmla="*/ 333851 h 514350"/>
                <a:gd name="connsiteX968" fmla="*/ 4523899 w 6400800"/>
                <a:gd name="connsiteY968" fmla="*/ 337661 h 514350"/>
                <a:gd name="connsiteX969" fmla="*/ 4522947 w 6400800"/>
                <a:gd name="connsiteY969" fmla="*/ 339566 h 514350"/>
                <a:gd name="connsiteX970" fmla="*/ 4517231 w 6400800"/>
                <a:gd name="connsiteY970" fmla="*/ 322421 h 514350"/>
                <a:gd name="connsiteX971" fmla="*/ 4514374 w 6400800"/>
                <a:gd name="connsiteY971" fmla="*/ 301466 h 514350"/>
                <a:gd name="connsiteX972" fmla="*/ 4517231 w 6400800"/>
                <a:gd name="connsiteY972" fmla="*/ 297656 h 514350"/>
                <a:gd name="connsiteX973" fmla="*/ 4521041 w 6400800"/>
                <a:gd name="connsiteY973" fmla="*/ 291941 h 514350"/>
                <a:gd name="connsiteX974" fmla="*/ 4516279 w 6400800"/>
                <a:gd name="connsiteY974" fmla="*/ 297656 h 514350"/>
                <a:gd name="connsiteX975" fmla="*/ 4514374 w 6400800"/>
                <a:gd name="connsiteY975" fmla="*/ 300514 h 514350"/>
                <a:gd name="connsiteX976" fmla="*/ 4514374 w 6400800"/>
                <a:gd name="connsiteY976" fmla="*/ 298609 h 514350"/>
                <a:gd name="connsiteX977" fmla="*/ 4517231 w 6400800"/>
                <a:gd name="connsiteY977" fmla="*/ 293846 h 514350"/>
                <a:gd name="connsiteX978" fmla="*/ 4520089 w 6400800"/>
                <a:gd name="connsiteY978" fmla="*/ 288131 h 514350"/>
                <a:gd name="connsiteX979" fmla="*/ 4516279 w 6400800"/>
                <a:gd name="connsiteY979" fmla="*/ 292894 h 514350"/>
                <a:gd name="connsiteX980" fmla="*/ 4514374 w 6400800"/>
                <a:gd name="connsiteY980" fmla="*/ 295751 h 514350"/>
                <a:gd name="connsiteX981" fmla="*/ 4512469 w 6400800"/>
                <a:gd name="connsiteY981" fmla="*/ 281464 h 514350"/>
                <a:gd name="connsiteX982" fmla="*/ 4511516 w 6400800"/>
                <a:gd name="connsiteY982" fmla="*/ 268129 h 514350"/>
                <a:gd name="connsiteX983" fmla="*/ 4510564 w 6400800"/>
                <a:gd name="connsiteY983" fmla="*/ 272891 h 514350"/>
                <a:gd name="connsiteX984" fmla="*/ 4506754 w 6400800"/>
                <a:gd name="connsiteY984" fmla="*/ 250984 h 514350"/>
                <a:gd name="connsiteX985" fmla="*/ 4506754 w 6400800"/>
                <a:gd name="connsiteY985" fmla="*/ 292894 h 514350"/>
                <a:gd name="connsiteX986" fmla="*/ 4501991 w 6400800"/>
                <a:gd name="connsiteY986" fmla="*/ 282416 h 514350"/>
                <a:gd name="connsiteX987" fmla="*/ 4494372 w 6400800"/>
                <a:gd name="connsiteY987" fmla="*/ 267176 h 514350"/>
                <a:gd name="connsiteX988" fmla="*/ 4486751 w 6400800"/>
                <a:gd name="connsiteY988" fmla="*/ 254794 h 514350"/>
                <a:gd name="connsiteX989" fmla="*/ 4480084 w 6400800"/>
                <a:gd name="connsiteY989" fmla="*/ 245269 h 514350"/>
                <a:gd name="connsiteX990" fmla="*/ 4474369 w 6400800"/>
                <a:gd name="connsiteY990" fmla="*/ 238601 h 514350"/>
                <a:gd name="connsiteX991" fmla="*/ 4469606 w 6400800"/>
                <a:gd name="connsiteY991" fmla="*/ 233839 h 514350"/>
                <a:gd name="connsiteX992" fmla="*/ 4471512 w 6400800"/>
                <a:gd name="connsiteY992" fmla="*/ 225266 h 514350"/>
                <a:gd name="connsiteX993" fmla="*/ 4477226 w 6400800"/>
                <a:gd name="connsiteY993" fmla="*/ 198596 h 514350"/>
                <a:gd name="connsiteX994" fmla="*/ 4481037 w 6400800"/>
                <a:gd name="connsiteY994" fmla="*/ 175736 h 514350"/>
                <a:gd name="connsiteX995" fmla="*/ 4473416 w 6400800"/>
                <a:gd name="connsiteY995" fmla="*/ 197644 h 514350"/>
                <a:gd name="connsiteX996" fmla="*/ 4463891 w 6400800"/>
                <a:gd name="connsiteY996" fmla="*/ 222409 h 514350"/>
                <a:gd name="connsiteX997" fmla="*/ 4455319 w 6400800"/>
                <a:gd name="connsiteY997" fmla="*/ 244316 h 514350"/>
                <a:gd name="connsiteX998" fmla="*/ 4453414 w 6400800"/>
                <a:gd name="connsiteY998" fmla="*/ 237649 h 514350"/>
                <a:gd name="connsiteX999" fmla="*/ 4454366 w 6400800"/>
                <a:gd name="connsiteY999" fmla="*/ 247174 h 514350"/>
                <a:gd name="connsiteX1000" fmla="*/ 4451509 w 6400800"/>
                <a:gd name="connsiteY1000" fmla="*/ 253841 h 514350"/>
                <a:gd name="connsiteX1001" fmla="*/ 4436269 w 6400800"/>
                <a:gd name="connsiteY1001" fmla="*/ 289084 h 514350"/>
                <a:gd name="connsiteX1002" fmla="*/ 4435316 w 6400800"/>
                <a:gd name="connsiteY1002" fmla="*/ 287179 h 514350"/>
                <a:gd name="connsiteX1003" fmla="*/ 4438174 w 6400800"/>
                <a:gd name="connsiteY1003" fmla="*/ 274796 h 514350"/>
                <a:gd name="connsiteX1004" fmla="*/ 4444841 w 6400800"/>
                <a:gd name="connsiteY1004" fmla="*/ 247174 h 514350"/>
                <a:gd name="connsiteX1005" fmla="*/ 4454366 w 6400800"/>
                <a:gd name="connsiteY1005" fmla="*/ 195739 h 514350"/>
                <a:gd name="connsiteX1006" fmla="*/ 4460081 w 6400800"/>
                <a:gd name="connsiteY1006" fmla="*/ 151924 h 514350"/>
                <a:gd name="connsiteX1007" fmla="*/ 4461987 w 6400800"/>
                <a:gd name="connsiteY1007" fmla="*/ 133826 h 514350"/>
                <a:gd name="connsiteX1008" fmla="*/ 4462939 w 6400800"/>
                <a:gd name="connsiteY1008" fmla="*/ 118586 h 514350"/>
                <a:gd name="connsiteX1009" fmla="*/ 4463891 w 6400800"/>
                <a:gd name="connsiteY1009" fmla="*/ 89059 h 514350"/>
                <a:gd name="connsiteX1010" fmla="*/ 4458176 w 6400800"/>
                <a:gd name="connsiteY1010" fmla="*/ 118586 h 514350"/>
                <a:gd name="connsiteX1011" fmla="*/ 4455319 w 6400800"/>
                <a:gd name="connsiteY1011" fmla="*/ 133826 h 514350"/>
                <a:gd name="connsiteX1012" fmla="*/ 4451509 w 6400800"/>
                <a:gd name="connsiteY1012" fmla="*/ 151924 h 514350"/>
                <a:gd name="connsiteX1013" fmla="*/ 4441984 w 6400800"/>
                <a:gd name="connsiteY1013" fmla="*/ 194786 h 514350"/>
                <a:gd name="connsiteX1014" fmla="*/ 4428649 w 6400800"/>
                <a:gd name="connsiteY1014" fmla="*/ 245269 h 514350"/>
                <a:gd name="connsiteX1015" fmla="*/ 4421981 w 6400800"/>
                <a:gd name="connsiteY1015" fmla="*/ 269081 h 514350"/>
                <a:gd name="connsiteX1016" fmla="*/ 4414362 w 6400800"/>
                <a:gd name="connsiteY1016" fmla="*/ 258604 h 514350"/>
                <a:gd name="connsiteX1017" fmla="*/ 4394359 w 6400800"/>
                <a:gd name="connsiteY1017" fmla="*/ 230029 h 514350"/>
                <a:gd name="connsiteX1018" fmla="*/ 4387691 w 6400800"/>
                <a:gd name="connsiteY1018" fmla="*/ 221456 h 514350"/>
                <a:gd name="connsiteX1019" fmla="*/ 4395312 w 6400800"/>
                <a:gd name="connsiteY1019" fmla="*/ 180499 h 514350"/>
                <a:gd name="connsiteX1020" fmla="*/ 4382929 w 6400800"/>
                <a:gd name="connsiteY1020" fmla="*/ 215741 h 514350"/>
                <a:gd name="connsiteX1021" fmla="*/ 4375309 w 6400800"/>
                <a:gd name="connsiteY1021" fmla="*/ 206216 h 514350"/>
                <a:gd name="connsiteX1022" fmla="*/ 4381976 w 6400800"/>
                <a:gd name="connsiteY1022" fmla="*/ 218599 h 514350"/>
                <a:gd name="connsiteX1023" fmla="*/ 4369594 w 6400800"/>
                <a:gd name="connsiteY1023" fmla="*/ 259556 h 514350"/>
                <a:gd name="connsiteX1024" fmla="*/ 4368641 w 6400800"/>
                <a:gd name="connsiteY1024" fmla="*/ 241459 h 514350"/>
                <a:gd name="connsiteX1025" fmla="*/ 4366737 w 6400800"/>
                <a:gd name="connsiteY1025" fmla="*/ 263366 h 514350"/>
                <a:gd name="connsiteX1026" fmla="*/ 4365784 w 6400800"/>
                <a:gd name="connsiteY1026" fmla="*/ 274796 h 514350"/>
                <a:gd name="connsiteX1027" fmla="*/ 4362926 w 6400800"/>
                <a:gd name="connsiteY1027" fmla="*/ 285274 h 514350"/>
                <a:gd name="connsiteX1028" fmla="*/ 4362926 w 6400800"/>
                <a:gd name="connsiteY1028" fmla="*/ 282416 h 514350"/>
                <a:gd name="connsiteX1029" fmla="*/ 4361022 w 6400800"/>
                <a:gd name="connsiteY1029" fmla="*/ 261461 h 514350"/>
                <a:gd name="connsiteX1030" fmla="*/ 4359116 w 6400800"/>
                <a:gd name="connsiteY1030" fmla="*/ 283369 h 514350"/>
                <a:gd name="connsiteX1031" fmla="*/ 4359116 w 6400800"/>
                <a:gd name="connsiteY1031" fmla="*/ 290989 h 514350"/>
                <a:gd name="connsiteX1032" fmla="*/ 4357212 w 6400800"/>
                <a:gd name="connsiteY1032" fmla="*/ 295751 h 514350"/>
                <a:gd name="connsiteX1033" fmla="*/ 4351497 w 6400800"/>
                <a:gd name="connsiteY1033" fmla="*/ 284321 h 514350"/>
                <a:gd name="connsiteX1034" fmla="*/ 4351497 w 6400800"/>
                <a:gd name="connsiteY1034" fmla="*/ 257651 h 514350"/>
                <a:gd name="connsiteX1035" fmla="*/ 4351497 w 6400800"/>
                <a:gd name="connsiteY1035" fmla="*/ 238601 h 514350"/>
                <a:gd name="connsiteX1036" fmla="*/ 4349591 w 6400800"/>
                <a:gd name="connsiteY1036" fmla="*/ 221456 h 514350"/>
                <a:gd name="connsiteX1037" fmla="*/ 4345781 w 6400800"/>
                <a:gd name="connsiteY1037" fmla="*/ 194786 h 514350"/>
                <a:gd name="connsiteX1038" fmla="*/ 4342924 w 6400800"/>
                <a:gd name="connsiteY1038" fmla="*/ 170974 h 514350"/>
                <a:gd name="connsiteX1039" fmla="*/ 4341972 w 6400800"/>
                <a:gd name="connsiteY1039" fmla="*/ 194786 h 514350"/>
                <a:gd name="connsiteX1040" fmla="*/ 4341972 w 6400800"/>
                <a:gd name="connsiteY1040" fmla="*/ 217646 h 514350"/>
                <a:gd name="connsiteX1041" fmla="*/ 4340066 w 6400800"/>
                <a:gd name="connsiteY1041" fmla="*/ 205264 h 514350"/>
                <a:gd name="connsiteX1042" fmla="*/ 4339114 w 6400800"/>
                <a:gd name="connsiteY1042" fmla="*/ 226219 h 514350"/>
                <a:gd name="connsiteX1043" fmla="*/ 4338162 w 6400800"/>
                <a:gd name="connsiteY1043" fmla="*/ 250031 h 514350"/>
                <a:gd name="connsiteX1044" fmla="*/ 4338162 w 6400800"/>
                <a:gd name="connsiteY1044" fmla="*/ 252889 h 514350"/>
                <a:gd name="connsiteX1045" fmla="*/ 4337209 w 6400800"/>
                <a:gd name="connsiteY1045" fmla="*/ 250984 h 514350"/>
                <a:gd name="connsiteX1046" fmla="*/ 4318159 w 6400800"/>
                <a:gd name="connsiteY1046" fmla="*/ 196691 h 514350"/>
                <a:gd name="connsiteX1047" fmla="*/ 4289584 w 6400800"/>
                <a:gd name="connsiteY1047" fmla="*/ 116681 h 514350"/>
                <a:gd name="connsiteX1048" fmla="*/ 4278154 w 6400800"/>
                <a:gd name="connsiteY1048" fmla="*/ 86201 h 514350"/>
                <a:gd name="connsiteX1049" fmla="*/ 4285774 w 6400800"/>
                <a:gd name="connsiteY1049" fmla="*/ 117634 h 514350"/>
                <a:gd name="connsiteX1050" fmla="*/ 4307681 w 6400800"/>
                <a:gd name="connsiteY1050" fmla="*/ 199549 h 514350"/>
                <a:gd name="connsiteX1051" fmla="*/ 4334351 w 6400800"/>
                <a:gd name="connsiteY1051" fmla="*/ 295751 h 514350"/>
                <a:gd name="connsiteX1052" fmla="*/ 4334351 w 6400800"/>
                <a:gd name="connsiteY1052" fmla="*/ 296704 h 514350"/>
                <a:gd name="connsiteX1053" fmla="*/ 4334351 w 6400800"/>
                <a:gd name="connsiteY1053" fmla="*/ 294799 h 514350"/>
                <a:gd name="connsiteX1054" fmla="*/ 4334351 w 6400800"/>
                <a:gd name="connsiteY1054" fmla="*/ 301466 h 514350"/>
                <a:gd name="connsiteX1055" fmla="*/ 4333399 w 6400800"/>
                <a:gd name="connsiteY1055" fmla="*/ 315754 h 514350"/>
                <a:gd name="connsiteX1056" fmla="*/ 4329589 w 6400800"/>
                <a:gd name="connsiteY1056" fmla="*/ 344329 h 514350"/>
                <a:gd name="connsiteX1057" fmla="*/ 4328637 w 6400800"/>
                <a:gd name="connsiteY1057" fmla="*/ 343376 h 514350"/>
                <a:gd name="connsiteX1058" fmla="*/ 4326731 w 6400800"/>
                <a:gd name="connsiteY1058" fmla="*/ 340519 h 514350"/>
                <a:gd name="connsiteX1059" fmla="*/ 4325779 w 6400800"/>
                <a:gd name="connsiteY1059" fmla="*/ 333851 h 514350"/>
                <a:gd name="connsiteX1060" fmla="*/ 4315301 w 6400800"/>
                <a:gd name="connsiteY1060" fmla="*/ 267176 h 514350"/>
                <a:gd name="connsiteX1061" fmla="*/ 4301966 w 6400800"/>
                <a:gd name="connsiteY1061" fmla="*/ 202406 h 514350"/>
                <a:gd name="connsiteX1062" fmla="*/ 4303872 w 6400800"/>
                <a:gd name="connsiteY1062" fmla="*/ 268129 h 514350"/>
                <a:gd name="connsiteX1063" fmla="*/ 4303872 w 6400800"/>
                <a:gd name="connsiteY1063" fmla="*/ 274796 h 514350"/>
                <a:gd name="connsiteX1064" fmla="*/ 4301966 w 6400800"/>
                <a:gd name="connsiteY1064" fmla="*/ 290036 h 514350"/>
                <a:gd name="connsiteX1065" fmla="*/ 4300062 w 6400800"/>
                <a:gd name="connsiteY1065" fmla="*/ 300514 h 514350"/>
                <a:gd name="connsiteX1066" fmla="*/ 4288631 w 6400800"/>
                <a:gd name="connsiteY1066" fmla="*/ 286226 h 514350"/>
                <a:gd name="connsiteX1067" fmla="*/ 4299109 w 6400800"/>
                <a:gd name="connsiteY1067" fmla="*/ 305276 h 514350"/>
                <a:gd name="connsiteX1068" fmla="*/ 4296251 w 6400800"/>
                <a:gd name="connsiteY1068" fmla="*/ 323374 h 514350"/>
                <a:gd name="connsiteX1069" fmla="*/ 4292441 w 6400800"/>
                <a:gd name="connsiteY1069" fmla="*/ 346234 h 514350"/>
                <a:gd name="connsiteX1070" fmla="*/ 4290537 w 6400800"/>
                <a:gd name="connsiteY1070" fmla="*/ 343376 h 514350"/>
                <a:gd name="connsiteX1071" fmla="*/ 4288631 w 6400800"/>
                <a:gd name="connsiteY1071" fmla="*/ 308134 h 514350"/>
                <a:gd name="connsiteX1072" fmla="*/ 4281964 w 6400800"/>
                <a:gd name="connsiteY1072" fmla="*/ 231934 h 514350"/>
                <a:gd name="connsiteX1073" fmla="*/ 4277201 w 6400800"/>
                <a:gd name="connsiteY1073" fmla="*/ 309086 h 514350"/>
                <a:gd name="connsiteX1074" fmla="*/ 4277201 w 6400800"/>
                <a:gd name="connsiteY1074" fmla="*/ 318611 h 514350"/>
                <a:gd name="connsiteX1075" fmla="*/ 4273391 w 6400800"/>
                <a:gd name="connsiteY1075" fmla="*/ 310039 h 514350"/>
                <a:gd name="connsiteX1076" fmla="*/ 4272439 w 6400800"/>
                <a:gd name="connsiteY1076" fmla="*/ 303371 h 514350"/>
                <a:gd name="connsiteX1077" fmla="*/ 4270534 w 6400800"/>
                <a:gd name="connsiteY1077" fmla="*/ 273844 h 514350"/>
                <a:gd name="connsiteX1078" fmla="*/ 4269581 w 6400800"/>
                <a:gd name="connsiteY1078" fmla="*/ 260509 h 514350"/>
                <a:gd name="connsiteX1079" fmla="*/ 4269581 w 6400800"/>
                <a:gd name="connsiteY1079" fmla="*/ 255746 h 514350"/>
                <a:gd name="connsiteX1080" fmla="*/ 4270534 w 6400800"/>
                <a:gd name="connsiteY1080" fmla="*/ 234791 h 514350"/>
                <a:gd name="connsiteX1081" fmla="*/ 4273391 w 6400800"/>
                <a:gd name="connsiteY1081" fmla="*/ 155734 h 514350"/>
                <a:gd name="connsiteX1082" fmla="*/ 4259104 w 6400800"/>
                <a:gd name="connsiteY1082" fmla="*/ 233839 h 514350"/>
                <a:gd name="connsiteX1083" fmla="*/ 4253389 w 6400800"/>
                <a:gd name="connsiteY1083" fmla="*/ 271939 h 514350"/>
                <a:gd name="connsiteX1084" fmla="*/ 4252437 w 6400800"/>
                <a:gd name="connsiteY1084" fmla="*/ 270034 h 514350"/>
                <a:gd name="connsiteX1085" fmla="*/ 4253389 w 6400800"/>
                <a:gd name="connsiteY1085" fmla="*/ 262414 h 514350"/>
                <a:gd name="connsiteX1086" fmla="*/ 4255294 w 6400800"/>
                <a:gd name="connsiteY1086" fmla="*/ 240506 h 514350"/>
                <a:gd name="connsiteX1087" fmla="*/ 4249579 w 6400800"/>
                <a:gd name="connsiteY1087" fmla="*/ 262414 h 514350"/>
                <a:gd name="connsiteX1088" fmla="*/ 4248626 w 6400800"/>
                <a:gd name="connsiteY1088" fmla="*/ 264319 h 514350"/>
                <a:gd name="connsiteX1089" fmla="*/ 4246722 w 6400800"/>
                <a:gd name="connsiteY1089" fmla="*/ 261461 h 514350"/>
                <a:gd name="connsiteX1090" fmla="*/ 4244816 w 6400800"/>
                <a:gd name="connsiteY1090" fmla="*/ 257651 h 514350"/>
                <a:gd name="connsiteX1091" fmla="*/ 4244816 w 6400800"/>
                <a:gd name="connsiteY1091" fmla="*/ 251936 h 514350"/>
                <a:gd name="connsiteX1092" fmla="*/ 4243864 w 6400800"/>
                <a:gd name="connsiteY1092" fmla="*/ 256699 h 514350"/>
                <a:gd name="connsiteX1093" fmla="*/ 4240054 w 6400800"/>
                <a:gd name="connsiteY1093" fmla="*/ 251936 h 514350"/>
                <a:gd name="connsiteX1094" fmla="*/ 4229576 w 6400800"/>
                <a:gd name="connsiteY1094" fmla="*/ 235744 h 514350"/>
                <a:gd name="connsiteX1095" fmla="*/ 4220051 w 6400800"/>
                <a:gd name="connsiteY1095" fmla="*/ 222409 h 514350"/>
                <a:gd name="connsiteX1096" fmla="*/ 4226719 w 6400800"/>
                <a:gd name="connsiteY1096" fmla="*/ 237649 h 514350"/>
                <a:gd name="connsiteX1097" fmla="*/ 4234339 w 6400800"/>
                <a:gd name="connsiteY1097" fmla="*/ 254794 h 514350"/>
                <a:gd name="connsiteX1098" fmla="*/ 4236244 w 6400800"/>
                <a:gd name="connsiteY1098" fmla="*/ 258604 h 514350"/>
                <a:gd name="connsiteX1099" fmla="*/ 4231481 w 6400800"/>
                <a:gd name="connsiteY1099" fmla="*/ 251936 h 514350"/>
                <a:gd name="connsiteX1100" fmla="*/ 4220051 w 6400800"/>
                <a:gd name="connsiteY1100" fmla="*/ 237649 h 514350"/>
                <a:gd name="connsiteX1101" fmla="*/ 4202906 w 6400800"/>
                <a:gd name="connsiteY1101" fmla="*/ 219551 h 514350"/>
                <a:gd name="connsiteX1102" fmla="*/ 4196239 w 6400800"/>
                <a:gd name="connsiteY1102" fmla="*/ 213836 h 514350"/>
                <a:gd name="connsiteX1103" fmla="*/ 4201954 w 6400800"/>
                <a:gd name="connsiteY1103" fmla="*/ 220504 h 514350"/>
                <a:gd name="connsiteX1104" fmla="*/ 4216241 w 6400800"/>
                <a:gd name="connsiteY1104" fmla="*/ 240506 h 514350"/>
                <a:gd name="connsiteX1105" fmla="*/ 4225766 w 6400800"/>
                <a:gd name="connsiteY1105" fmla="*/ 255746 h 514350"/>
                <a:gd name="connsiteX1106" fmla="*/ 4235291 w 6400800"/>
                <a:gd name="connsiteY1106" fmla="*/ 273844 h 514350"/>
                <a:gd name="connsiteX1107" fmla="*/ 4235291 w 6400800"/>
                <a:gd name="connsiteY1107" fmla="*/ 274796 h 514350"/>
                <a:gd name="connsiteX1108" fmla="*/ 4235291 w 6400800"/>
                <a:gd name="connsiteY1108" fmla="*/ 282416 h 514350"/>
                <a:gd name="connsiteX1109" fmla="*/ 4234339 w 6400800"/>
                <a:gd name="connsiteY1109" fmla="*/ 281464 h 514350"/>
                <a:gd name="connsiteX1110" fmla="*/ 4229576 w 6400800"/>
                <a:gd name="connsiteY1110" fmla="*/ 276701 h 514350"/>
                <a:gd name="connsiteX1111" fmla="*/ 4233387 w 6400800"/>
                <a:gd name="connsiteY1111" fmla="*/ 282416 h 514350"/>
                <a:gd name="connsiteX1112" fmla="*/ 4235291 w 6400800"/>
                <a:gd name="connsiteY1112" fmla="*/ 284321 h 514350"/>
                <a:gd name="connsiteX1113" fmla="*/ 4235291 w 6400800"/>
                <a:gd name="connsiteY1113" fmla="*/ 285274 h 514350"/>
                <a:gd name="connsiteX1114" fmla="*/ 4229576 w 6400800"/>
                <a:gd name="connsiteY1114" fmla="*/ 310039 h 514350"/>
                <a:gd name="connsiteX1115" fmla="*/ 4222909 w 6400800"/>
                <a:gd name="connsiteY1115" fmla="*/ 295751 h 514350"/>
                <a:gd name="connsiteX1116" fmla="*/ 4228624 w 6400800"/>
                <a:gd name="connsiteY1116" fmla="*/ 316706 h 514350"/>
                <a:gd name="connsiteX1117" fmla="*/ 4226719 w 6400800"/>
                <a:gd name="connsiteY1117" fmla="*/ 327184 h 514350"/>
                <a:gd name="connsiteX1118" fmla="*/ 4223862 w 6400800"/>
                <a:gd name="connsiteY1118" fmla="*/ 341471 h 514350"/>
                <a:gd name="connsiteX1119" fmla="*/ 4222909 w 6400800"/>
                <a:gd name="connsiteY1119" fmla="*/ 334804 h 514350"/>
                <a:gd name="connsiteX1120" fmla="*/ 4219099 w 6400800"/>
                <a:gd name="connsiteY1120" fmla="*/ 311944 h 514350"/>
                <a:gd name="connsiteX1121" fmla="*/ 4219099 w 6400800"/>
                <a:gd name="connsiteY1121" fmla="*/ 331946 h 514350"/>
                <a:gd name="connsiteX1122" fmla="*/ 4217194 w 6400800"/>
                <a:gd name="connsiteY1122" fmla="*/ 322421 h 514350"/>
                <a:gd name="connsiteX1123" fmla="*/ 4198144 w 6400800"/>
                <a:gd name="connsiteY1123" fmla="*/ 240506 h 514350"/>
                <a:gd name="connsiteX1124" fmla="*/ 4205764 w 6400800"/>
                <a:gd name="connsiteY1124" fmla="*/ 323374 h 514350"/>
                <a:gd name="connsiteX1125" fmla="*/ 4210526 w 6400800"/>
                <a:gd name="connsiteY1125" fmla="*/ 364331 h 514350"/>
                <a:gd name="connsiteX1126" fmla="*/ 4210526 w 6400800"/>
                <a:gd name="connsiteY1126" fmla="*/ 363379 h 514350"/>
                <a:gd name="connsiteX1127" fmla="*/ 4206716 w 6400800"/>
                <a:gd name="connsiteY1127" fmla="*/ 350044 h 514350"/>
                <a:gd name="connsiteX1128" fmla="*/ 4202906 w 6400800"/>
                <a:gd name="connsiteY1128" fmla="*/ 338614 h 514350"/>
                <a:gd name="connsiteX1129" fmla="*/ 4202906 w 6400800"/>
                <a:gd name="connsiteY1129" fmla="*/ 350996 h 514350"/>
                <a:gd name="connsiteX1130" fmla="*/ 4202906 w 6400800"/>
                <a:gd name="connsiteY1130" fmla="*/ 365284 h 514350"/>
                <a:gd name="connsiteX1131" fmla="*/ 4202906 w 6400800"/>
                <a:gd name="connsiteY1131" fmla="*/ 373856 h 514350"/>
                <a:gd name="connsiteX1132" fmla="*/ 4202906 w 6400800"/>
                <a:gd name="connsiteY1132" fmla="*/ 380524 h 514350"/>
                <a:gd name="connsiteX1133" fmla="*/ 4201954 w 6400800"/>
                <a:gd name="connsiteY1133" fmla="*/ 378619 h 514350"/>
                <a:gd name="connsiteX1134" fmla="*/ 4201001 w 6400800"/>
                <a:gd name="connsiteY1134" fmla="*/ 361474 h 514350"/>
                <a:gd name="connsiteX1135" fmla="*/ 4196239 w 6400800"/>
                <a:gd name="connsiteY1135" fmla="*/ 290989 h 514350"/>
                <a:gd name="connsiteX1136" fmla="*/ 4191476 w 6400800"/>
                <a:gd name="connsiteY1136" fmla="*/ 343376 h 514350"/>
                <a:gd name="connsiteX1137" fmla="*/ 4188619 w 6400800"/>
                <a:gd name="connsiteY1137" fmla="*/ 335756 h 514350"/>
                <a:gd name="connsiteX1138" fmla="*/ 4181951 w 6400800"/>
                <a:gd name="connsiteY1138" fmla="*/ 319564 h 514350"/>
                <a:gd name="connsiteX1139" fmla="*/ 4180999 w 6400800"/>
                <a:gd name="connsiteY1139" fmla="*/ 316706 h 514350"/>
                <a:gd name="connsiteX1140" fmla="*/ 4180999 w 6400800"/>
                <a:gd name="connsiteY1140" fmla="*/ 256699 h 514350"/>
                <a:gd name="connsiteX1141" fmla="*/ 4180999 w 6400800"/>
                <a:gd name="connsiteY1141" fmla="*/ 230029 h 514350"/>
                <a:gd name="connsiteX1142" fmla="*/ 4177189 w 6400800"/>
                <a:gd name="connsiteY1142" fmla="*/ 256699 h 514350"/>
                <a:gd name="connsiteX1143" fmla="*/ 4175284 w 6400800"/>
                <a:gd name="connsiteY1143" fmla="*/ 270034 h 514350"/>
                <a:gd name="connsiteX1144" fmla="*/ 4174331 w 6400800"/>
                <a:gd name="connsiteY1144" fmla="*/ 251936 h 514350"/>
                <a:gd name="connsiteX1145" fmla="*/ 4168616 w 6400800"/>
                <a:gd name="connsiteY1145" fmla="*/ 176689 h 514350"/>
                <a:gd name="connsiteX1146" fmla="*/ 4162901 w 6400800"/>
                <a:gd name="connsiteY1146" fmla="*/ 251936 h 514350"/>
                <a:gd name="connsiteX1147" fmla="*/ 4160996 w 6400800"/>
                <a:gd name="connsiteY1147" fmla="*/ 287179 h 514350"/>
                <a:gd name="connsiteX1148" fmla="*/ 4154329 w 6400800"/>
                <a:gd name="connsiteY1148" fmla="*/ 303371 h 514350"/>
                <a:gd name="connsiteX1149" fmla="*/ 4146709 w 6400800"/>
                <a:gd name="connsiteY1149" fmla="*/ 280511 h 514350"/>
                <a:gd name="connsiteX1150" fmla="*/ 4140041 w 6400800"/>
                <a:gd name="connsiteY1150" fmla="*/ 246221 h 514350"/>
                <a:gd name="connsiteX1151" fmla="*/ 4133374 w 6400800"/>
                <a:gd name="connsiteY1151" fmla="*/ 224314 h 514350"/>
                <a:gd name="connsiteX1152" fmla="*/ 4134326 w 6400800"/>
                <a:gd name="connsiteY1152" fmla="*/ 230029 h 514350"/>
                <a:gd name="connsiteX1153" fmla="*/ 4136231 w 6400800"/>
                <a:gd name="connsiteY1153" fmla="*/ 247174 h 514350"/>
                <a:gd name="connsiteX1154" fmla="*/ 4136231 w 6400800"/>
                <a:gd name="connsiteY1154" fmla="*/ 250031 h 514350"/>
                <a:gd name="connsiteX1155" fmla="*/ 4118134 w 6400800"/>
                <a:gd name="connsiteY1155" fmla="*/ 197644 h 514350"/>
                <a:gd name="connsiteX1156" fmla="*/ 4093369 w 6400800"/>
                <a:gd name="connsiteY1156" fmla="*/ 121444 h 514350"/>
                <a:gd name="connsiteX1157" fmla="*/ 4083844 w 6400800"/>
                <a:gd name="connsiteY1157" fmla="*/ 92869 h 514350"/>
                <a:gd name="connsiteX1158" fmla="*/ 4089559 w 6400800"/>
                <a:gd name="connsiteY1158" fmla="*/ 122396 h 514350"/>
                <a:gd name="connsiteX1159" fmla="*/ 4106704 w 6400800"/>
                <a:gd name="connsiteY1159" fmla="*/ 200501 h 514350"/>
                <a:gd name="connsiteX1160" fmla="*/ 4119086 w 6400800"/>
                <a:gd name="connsiteY1160" fmla="*/ 248126 h 514350"/>
                <a:gd name="connsiteX1161" fmla="*/ 4117181 w 6400800"/>
                <a:gd name="connsiteY1161" fmla="*/ 262414 h 514350"/>
                <a:gd name="connsiteX1162" fmla="*/ 4114324 w 6400800"/>
                <a:gd name="connsiteY1162" fmla="*/ 290036 h 514350"/>
                <a:gd name="connsiteX1163" fmla="*/ 4110514 w 6400800"/>
                <a:gd name="connsiteY1163" fmla="*/ 284321 h 514350"/>
                <a:gd name="connsiteX1164" fmla="*/ 4114324 w 6400800"/>
                <a:gd name="connsiteY1164" fmla="*/ 269081 h 514350"/>
                <a:gd name="connsiteX1165" fmla="*/ 4108609 w 6400800"/>
                <a:gd name="connsiteY1165" fmla="*/ 282416 h 514350"/>
                <a:gd name="connsiteX1166" fmla="*/ 4102894 w 6400800"/>
                <a:gd name="connsiteY1166" fmla="*/ 273844 h 514350"/>
                <a:gd name="connsiteX1167" fmla="*/ 4096226 w 6400800"/>
                <a:gd name="connsiteY1167" fmla="*/ 263366 h 514350"/>
                <a:gd name="connsiteX1168" fmla="*/ 4097179 w 6400800"/>
                <a:gd name="connsiteY1168" fmla="*/ 262414 h 514350"/>
                <a:gd name="connsiteX1169" fmla="*/ 4096226 w 6400800"/>
                <a:gd name="connsiteY1169" fmla="*/ 263366 h 514350"/>
                <a:gd name="connsiteX1170" fmla="*/ 4090511 w 6400800"/>
                <a:gd name="connsiteY1170" fmla="*/ 253841 h 514350"/>
                <a:gd name="connsiteX1171" fmla="*/ 4090511 w 6400800"/>
                <a:gd name="connsiteY1171" fmla="*/ 252889 h 514350"/>
                <a:gd name="connsiteX1172" fmla="*/ 4090511 w 6400800"/>
                <a:gd name="connsiteY1172" fmla="*/ 238601 h 514350"/>
                <a:gd name="connsiteX1173" fmla="*/ 4090511 w 6400800"/>
                <a:gd name="connsiteY1173" fmla="*/ 215741 h 514350"/>
                <a:gd name="connsiteX1174" fmla="*/ 4089559 w 6400800"/>
                <a:gd name="connsiteY1174" fmla="*/ 195739 h 514350"/>
                <a:gd name="connsiteX1175" fmla="*/ 4086701 w 6400800"/>
                <a:gd name="connsiteY1175" fmla="*/ 214789 h 514350"/>
                <a:gd name="connsiteX1176" fmla="*/ 4083844 w 6400800"/>
                <a:gd name="connsiteY1176" fmla="*/ 236696 h 514350"/>
                <a:gd name="connsiteX1177" fmla="*/ 4083844 w 6400800"/>
                <a:gd name="connsiteY1177" fmla="*/ 239554 h 514350"/>
                <a:gd name="connsiteX1178" fmla="*/ 4081939 w 6400800"/>
                <a:gd name="connsiteY1178" fmla="*/ 236696 h 514350"/>
                <a:gd name="connsiteX1179" fmla="*/ 4081939 w 6400800"/>
                <a:gd name="connsiteY1179" fmla="*/ 234791 h 514350"/>
                <a:gd name="connsiteX1180" fmla="*/ 4081939 w 6400800"/>
                <a:gd name="connsiteY1180" fmla="*/ 210026 h 514350"/>
                <a:gd name="connsiteX1181" fmla="*/ 4081939 w 6400800"/>
                <a:gd name="connsiteY1181" fmla="*/ 188119 h 514350"/>
                <a:gd name="connsiteX1182" fmla="*/ 4078129 w 6400800"/>
                <a:gd name="connsiteY1182" fmla="*/ 210026 h 514350"/>
                <a:gd name="connsiteX1183" fmla="*/ 4075271 w 6400800"/>
                <a:gd name="connsiteY1183" fmla="*/ 227171 h 514350"/>
                <a:gd name="connsiteX1184" fmla="*/ 4059079 w 6400800"/>
                <a:gd name="connsiteY1184" fmla="*/ 202406 h 514350"/>
                <a:gd name="connsiteX1185" fmla="*/ 4073366 w 6400800"/>
                <a:gd name="connsiteY1185" fmla="*/ 236696 h 514350"/>
                <a:gd name="connsiteX1186" fmla="*/ 4071461 w 6400800"/>
                <a:gd name="connsiteY1186" fmla="*/ 250984 h 514350"/>
                <a:gd name="connsiteX1187" fmla="*/ 4067651 w 6400800"/>
                <a:gd name="connsiteY1187" fmla="*/ 268129 h 514350"/>
                <a:gd name="connsiteX1188" fmla="*/ 4064794 w 6400800"/>
                <a:gd name="connsiteY1188" fmla="*/ 279559 h 514350"/>
                <a:gd name="connsiteX1189" fmla="*/ 4061936 w 6400800"/>
                <a:gd name="connsiteY1189" fmla="*/ 253841 h 514350"/>
                <a:gd name="connsiteX1190" fmla="*/ 4054316 w 6400800"/>
                <a:gd name="connsiteY1190" fmla="*/ 207169 h 514350"/>
                <a:gd name="connsiteX1191" fmla="*/ 4050506 w 6400800"/>
                <a:gd name="connsiteY1191" fmla="*/ 186214 h 514350"/>
                <a:gd name="connsiteX1192" fmla="*/ 4046696 w 6400800"/>
                <a:gd name="connsiteY1192" fmla="*/ 168116 h 514350"/>
                <a:gd name="connsiteX1193" fmla="*/ 4040029 w 6400800"/>
                <a:gd name="connsiteY1193" fmla="*/ 137636 h 514350"/>
                <a:gd name="connsiteX1194" fmla="*/ 4034314 w 6400800"/>
                <a:gd name="connsiteY1194" fmla="*/ 111919 h 514350"/>
                <a:gd name="connsiteX1195" fmla="*/ 4036219 w 6400800"/>
                <a:gd name="connsiteY1195" fmla="*/ 138589 h 514350"/>
                <a:gd name="connsiteX1196" fmla="*/ 4039076 w 6400800"/>
                <a:gd name="connsiteY1196" fmla="*/ 169069 h 514350"/>
                <a:gd name="connsiteX1197" fmla="*/ 4042886 w 6400800"/>
                <a:gd name="connsiteY1197" fmla="*/ 208121 h 514350"/>
                <a:gd name="connsiteX1198" fmla="*/ 4044791 w 6400800"/>
                <a:gd name="connsiteY1198" fmla="*/ 238601 h 514350"/>
                <a:gd name="connsiteX1199" fmla="*/ 4031456 w 6400800"/>
                <a:gd name="connsiteY1199" fmla="*/ 170021 h 514350"/>
                <a:gd name="connsiteX1200" fmla="*/ 4036219 w 6400800"/>
                <a:gd name="connsiteY1200" fmla="*/ 252889 h 514350"/>
                <a:gd name="connsiteX1201" fmla="*/ 4037171 w 6400800"/>
                <a:gd name="connsiteY1201" fmla="*/ 264319 h 514350"/>
                <a:gd name="connsiteX1202" fmla="*/ 4035266 w 6400800"/>
                <a:gd name="connsiteY1202" fmla="*/ 271939 h 514350"/>
                <a:gd name="connsiteX1203" fmla="*/ 4030504 w 6400800"/>
                <a:gd name="connsiteY1203" fmla="*/ 266224 h 514350"/>
                <a:gd name="connsiteX1204" fmla="*/ 4023836 w 6400800"/>
                <a:gd name="connsiteY1204" fmla="*/ 258604 h 514350"/>
                <a:gd name="connsiteX1205" fmla="*/ 4009549 w 6400800"/>
                <a:gd name="connsiteY1205" fmla="*/ 229076 h 514350"/>
                <a:gd name="connsiteX1206" fmla="*/ 3996214 w 6400800"/>
                <a:gd name="connsiteY1206" fmla="*/ 203359 h 514350"/>
                <a:gd name="connsiteX1207" fmla="*/ 4005739 w 6400800"/>
                <a:gd name="connsiteY1207" fmla="*/ 230981 h 514350"/>
                <a:gd name="connsiteX1208" fmla="*/ 4014311 w 6400800"/>
                <a:gd name="connsiteY1208" fmla="*/ 255746 h 514350"/>
                <a:gd name="connsiteX1209" fmla="*/ 4007644 w 6400800"/>
                <a:gd name="connsiteY1209" fmla="*/ 243364 h 514350"/>
                <a:gd name="connsiteX1210" fmla="*/ 4015264 w 6400800"/>
                <a:gd name="connsiteY1210" fmla="*/ 267176 h 514350"/>
                <a:gd name="connsiteX1211" fmla="*/ 4024789 w 6400800"/>
                <a:gd name="connsiteY1211" fmla="*/ 294799 h 514350"/>
                <a:gd name="connsiteX1212" fmla="*/ 4026694 w 6400800"/>
                <a:gd name="connsiteY1212" fmla="*/ 301466 h 514350"/>
                <a:gd name="connsiteX1213" fmla="*/ 4017169 w 6400800"/>
                <a:gd name="connsiteY1213" fmla="*/ 329089 h 514350"/>
                <a:gd name="connsiteX1214" fmla="*/ 4016216 w 6400800"/>
                <a:gd name="connsiteY1214" fmla="*/ 328136 h 514350"/>
                <a:gd name="connsiteX1215" fmla="*/ 4005739 w 6400800"/>
                <a:gd name="connsiteY1215" fmla="*/ 320516 h 514350"/>
                <a:gd name="connsiteX1216" fmla="*/ 4005739 w 6400800"/>
                <a:gd name="connsiteY1216" fmla="*/ 318611 h 514350"/>
                <a:gd name="connsiteX1217" fmla="*/ 4004786 w 6400800"/>
                <a:gd name="connsiteY1217" fmla="*/ 310991 h 514350"/>
                <a:gd name="connsiteX1218" fmla="*/ 4002881 w 6400800"/>
                <a:gd name="connsiteY1218" fmla="*/ 269081 h 514350"/>
                <a:gd name="connsiteX1219" fmla="*/ 4000024 w 6400800"/>
                <a:gd name="connsiteY1219" fmla="*/ 284321 h 514350"/>
                <a:gd name="connsiteX1220" fmla="*/ 3993356 w 6400800"/>
                <a:gd name="connsiteY1220" fmla="*/ 248126 h 514350"/>
                <a:gd name="connsiteX1221" fmla="*/ 3993356 w 6400800"/>
                <a:gd name="connsiteY1221" fmla="*/ 286226 h 514350"/>
                <a:gd name="connsiteX1222" fmla="*/ 3992404 w 6400800"/>
                <a:gd name="connsiteY1222" fmla="*/ 286226 h 514350"/>
                <a:gd name="connsiteX1223" fmla="*/ 3990499 w 6400800"/>
                <a:gd name="connsiteY1223" fmla="*/ 287179 h 514350"/>
                <a:gd name="connsiteX1224" fmla="*/ 3985736 w 6400800"/>
                <a:gd name="connsiteY1224" fmla="*/ 292894 h 514350"/>
                <a:gd name="connsiteX1225" fmla="*/ 3985736 w 6400800"/>
                <a:gd name="connsiteY1225" fmla="*/ 292894 h 514350"/>
                <a:gd name="connsiteX1226" fmla="*/ 3985736 w 6400800"/>
                <a:gd name="connsiteY1226" fmla="*/ 293846 h 514350"/>
                <a:gd name="connsiteX1227" fmla="*/ 3983831 w 6400800"/>
                <a:gd name="connsiteY1227" fmla="*/ 313849 h 514350"/>
                <a:gd name="connsiteX1228" fmla="*/ 3978116 w 6400800"/>
                <a:gd name="connsiteY1228" fmla="*/ 303371 h 514350"/>
                <a:gd name="connsiteX1229" fmla="*/ 3987641 w 6400800"/>
                <a:gd name="connsiteY1229" fmla="*/ 272891 h 514350"/>
                <a:gd name="connsiteX1230" fmla="*/ 3976211 w 6400800"/>
                <a:gd name="connsiteY1230" fmla="*/ 298609 h 514350"/>
                <a:gd name="connsiteX1231" fmla="*/ 3973354 w 6400800"/>
                <a:gd name="connsiteY1231" fmla="*/ 293846 h 514350"/>
                <a:gd name="connsiteX1232" fmla="*/ 3973354 w 6400800"/>
                <a:gd name="connsiteY1232" fmla="*/ 288131 h 514350"/>
                <a:gd name="connsiteX1233" fmla="*/ 3973354 w 6400800"/>
                <a:gd name="connsiteY1233" fmla="*/ 287179 h 514350"/>
                <a:gd name="connsiteX1234" fmla="*/ 3977164 w 6400800"/>
                <a:gd name="connsiteY1234" fmla="*/ 278606 h 514350"/>
                <a:gd name="connsiteX1235" fmla="*/ 3980974 w 6400800"/>
                <a:gd name="connsiteY1235" fmla="*/ 270986 h 514350"/>
                <a:gd name="connsiteX1236" fmla="*/ 3976211 w 6400800"/>
                <a:gd name="connsiteY1236" fmla="*/ 277654 h 514350"/>
                <a:gd name="connsiteX1237" fmla="*/ 3973354 w 6400800"/>
                <a:gd name="connsiteY1237" fmla="*/ 282416 h 514350"/>
                <a:gd name="connsiteX1238" fmla="*/ 3974306 w 6400800"/>
                <a:gd name="connsiteY1238" fmla="*/ 254794 h 514350"/>
                <a:gd name="connsiteX1239" fmla="*/ 3975259 w 6400800"/>
                <a:gd name="connsiteY1239" fmla="*/ 230029 h 514350"/>
                <a:gd name="connsiteX1240" fmla="*/ 3970496 w 6400800"/>
                <a:gd name="connsiteY1240" fmla="*/ 254794 h 514350"/>
                <a:gd name="connsiteX1241" fmla="*/ 3965734 w 6400800"/>
                <a:gd name="connsiteY1241" fmla="*/ 281464 h 514350"/>
                <a:gd name="connsiteX1242" fmla="*/ 3961924 w 6400800"/>
                <a:gd name="connsiteY1242" fmla="*/ 274796 h 514350"/>
                <a:gd name="connsiteX1243" fmla="*/ 3962876 w 6400800"/>
                <a:gd name="connsiteY1243" fmla="*/ 269081 h 514350"/>
                <a:gd name="connsiteX1244" fmla="*/ 3966686 w 6400800"/>
                <a:gd name="connsiteY1244" fmla="*/ 245269 h 514350"/>
                <a:gd name="connsiteX1245" fmla="*/ 3959066 w 6400800"/>
                <a:gd name="connsiteY1245" fmla="*/ 268129 h 514350"/>
                <a:gd name="connsiteX1246" fmla="*/ 3959066 w 6400800"/>
                <a:gd name="connsiteY1246" fmla="*/ 269081 h 514350"/>
                <a:gd name="connsiteX1247" fmla="*/ 3958114 w 6400800"/>
                <a:gd name="connsiteY1247" fmla="*/ 267176 h 514350"/>
                <a:gd name="connsiteX1248" fmla="*/ 3958114 w 6400800"/>
                <a:gd name="connsiteY1248" fmla="*/ 269081 h 514350"/>
                <a:gd name="connsiteX1249" fmla="*/ 3955256 w 6400800"/>
                <a:gd name="connsiteY1249" fmla="*/ 264319 h 514350"/>
                <a:gd name="connsiteX1250" fmla="*/ 3954304 w 6400800"/>
                <a:gd name="connsiteY1250" fmla="*/ 247174 h 514350"/>
                <a:gd name="connsiteX1251" fmla="*/ 3951446 w 6400800"/>
                <a:gd name="connsiteY1251" fmla="*/ 214789 h 514350"/>
                <a:gd name="connsiteX1252" fmla="*/ 3947636 w 6400800"/>
                <a:gd name="connsiteY1252" fmla="*/ 190024 h 514350"/>
                <a:gd name="connsiteX1253" fmla="*/ 3943826 w 6400800"/>
                <a:gd name="connsiteY1253" fmla="*/ 169069 h 514350"/>
                <a:gd name="connsiteX1254" fmla="*/ 3943826 w 6400800"/>
                <a:gd name="connsiteY1254" fmla="*/ 190024 h 514350"/>
                <a:gd name="connsiteX1255" fmla="*/ 3943826 w 6400800"/>
                <a:gd name="connsiteY1255" fmla="*/ 214789 h 514350"/>
                <a:gd name="connsiteX1256" fmla="*/ 3943826 w 6400800"/>
                <a:gd name="connsiteY1256" fmla="*/ 225266 h 514350"/>
                <a:gd name="connsiteX1257" fmla="*/ 3940969 w 6400800"/>
                <a:gd name="connsiteY1257" fmla="*/ 215741 h 514350"/>
                <a:gd name="connsiteX1258" fmla="*/ 3939064 w 6400800"/>
                <a:gd name="connsiteY1258" fmla="*/ 207169 h 514350"/>
                <a:gd name="connsiteX1259" fmla="*/ 3940016 w 6400800"/>
                <a:gd name="connsiteY1259" fmla="*/ 205264 h 514350"/>
                <a:gd name="connsiteX1260" fmla="*/ 3939064 w 6400800"/>
                <a:gd name="connsiteY1260" fmla="*/ 206216 h 514350"/>
                <a:gd name="connsiteX1261" fmla="*/ 3936206 w 6400800"/>
                <a:gd name="connsiteY1261" fmla="*/ 197644 h 514350"/>
                <a:gd name="connsiteX1262" fmla="*/ 3937159 w 6400800"/>
                <a:gd name="connsiteY1262" fmla="*/ 208121 h 514350"/>
                <a:gd name="connsiteX1263" fmla="*/ 3929539 w 6400800"/>
                <a:gd name="connsiteY1263" fmla="*/ 216694 h 514350"/>
                <a:gd name="connsiteX1264" fmla="*/ 3925729 w 6400800"/>
                <a:gd name="connsiteY1264" fmla="*/ 197644 h 514350"/>
                <a:gd name="connsiteX1265" fmla="*/ 3916204 w 6400800"/>
                <a:gd name="connsiteY1265" fmla="*/ 158591 h 514350"/>
                <a:gd name="connsiteX1266" fmla="*/ 3912394 w 6400800"/>
                <a:gd name="connsiteY1266" fmla="*/ 144304 h 514350"/>
                <a:gd name="connsiteX1267" fmla="*/ 3915251 w 6400800"/>
                <a:gd name="connsiteY1267" fmla="*/ 139541 h 514350"/>
                <a:gd name="connsiteX1268" fmla="*/ 3935254 w 6400800"/>
                <a:gd name="connsiteY1268" fmla="*/ 110966 h 514350"/>
                <a:gd name="connsiteX1269" fmla="*/ 3912394 w 6400800"/>
                <a:gd name="connsiteY1269" fmla="*/ 136684 h 514350"/>
                <a:gd name="connsiteX1270" fmla="*/ 3910489 w 6400800"/>
                <a:gd name="connsiteY1270" fmla="*/ 138589 h 514350"/>
                <a:gd name="connsiteX1271" fmla="*/ 3906679 w 6400800"/>
                <a:gd name="connsiteY1271" fmla="*/ 128111 h 514350"/>
                <a:gd name="connsiteX1272" fmla="*/ 3898106 w 6400800"/>
                <a:gd name="connsiteY1272" fmla="*/ 102394 h 514350"/>
                <a:gd name="connsiteX1273" fmla="*/ 3902869 w 6400800"/>
                <a:gd name="connsiteY1273" fmla="*/ 129064 h 514350"/>
                <a:gd name="connsiteX1274" fmla="*/ 3905726 w 6400800"/>
                <a:gd name="connsiteY1274" fmla="*/ 143351 h 514350"/>
                <a:gd name="connsiteX1275" fmla="*/ 3905726 w 6400800"/>
                <a:gd name="connsiteY1275" fmla="*/ 143351 h 514350"/>
                <a:gd name="connsiteX1276" fmla="*/ 3887629 w 6400800"/>
                <a:gd name="connsiteY1276" fmla="*/ 167164 h 514350"/>
                <a:gd name="connsiteX1277" fmla="*/ 3866674 w 6400800"/>
                <a:gd name="connsiteY1277" fmla="*/ 195739 h 514350"/>
                <a:gd name="connsiteX1278" fmla="*/ 3862864 w 6400800"/>
                <a:gd name="connsiteY1278" fmla="*/ 182404 h 514350"/>
                <a:gd name="connsiteX1279" fmla="*/ 3854291 w 6400800"/>
                <a:gd name="connsiteY1279" fmla="*/ 155734 h 514350"/>
                <a:gd name="connsiteX1280" fmla="*/ 3859054 w 6400800"/>
                <a:gd name="connsiteY1280" fmla="*/ 183356 h 514350"/>
                <a:gd name="connsiteX1281" fmla="*/ 3862864 w 6400800"/>
                <a:gd name="connsiteY1281" fmla="*/ 202406 h 514350"/>
                <a:gd name="connsiteX1282" fmla="*/ 3858101 w 6400800"/>
                <a:gd name="connsiteY1282" fmla="*/ 209074 h 514350"/>
                <a:gd name="connsiteX1283" fmla="*/ 3853339 w 6400800"/>
                <a:gd name="connsiteY1283" fmla="*/ 216694 h 514350"/>
                <a:gd name="connsiteX1284" fmla="*/ 3849529 w 6400800"/>
                <a:gd name="connsiteY1284" fmla="*/ 195739 h 514350"/>
                <a:gd name="connsiteX1285" fmla="*/ 3852386 w 6400800"/>
                <a:gd name="connsiteY1285" fmla="*/ 178594 h 514350"/>
                <a:gd name="connsiteX1286" fmla="*/ 3855244 w 6400800"/>
                <a:gd name="connsiteY1286" fmla="*/ 158591 h 514350"/>
                <a:gd name="connsiteX1287" fmla="*/ 3848576 w 6400800"/>
                <a:gd name="connsiteY1287" fmla="*/ 177641 h 514350"/>
                <a:gd name="connsiteX1288" fmla="*/ 3841909 w 6400800"/>
                <a:gd name="connsiteY1288" fmla="*/ 199549 h 514350"/>
                <a:gd name="connsiteX1289" fmla="*/ 3838099 w 6400800"/>
                <a:gd name="connsiteY1289" fmla="*/ 212884 h 514350"/>
                <a:gd name="connsiteX1290" fmla="*/ 3835241 w 6400800"/>
                <a:gd name="connsiteY1290" fmla="*/ 225266 h 514350"/>
                <a:gd name="connsiteX1291" fmla="*/ 3834289 w 6400800"/>
                <a:gd name="connsiteY1291" fmla="*/ 222409 h 514350"/>
                <a:gd name="connsiteX1292" fmla="*/ 3825716 w 6400800"/>
                <a:gd name="connsiteY1292" fmla="*/ 209074 h 514350"/>
                <a:gd name="connsiteX1293" fmla="*/ 3809524 w 6400800"/>
                <a:gd name="connsiteY1293" fmla="*/ 184309 h 514350"/>
                <a:gd name="connsiteX1294" fmla="*/ 3821906 w 6400800"/>
                <a:gd name="connsiteY1294" fmla="*/ 210979 h 514350"/>
                <a:gd name="connsiteX1295" fmla="*/ 3828574 w 6400800"/>
                <a:gd name="connsiteY1295" fmla="*/ 224314 h 514350"/>
                <a:gd name="connsiteX1296" fmla="*/ 3832384 w 6400800"/>
                <a:gd name="connsiteY1296" fmla="*/ 234791 h 514350"/>
                <a:gd name="connsiteX1297" fmla="*/ 3828574 w 6400800"/>
                <a:gd name="connsiteY1297" fmla="*/ 254794 h 514350"/>
                <a:gd name="connsiteX1298" fmla="*/ 3825716 w 6400800"/>
                <a:gd name="connsiteY1298" fmla="*/ 259556 h 514350"/>
                <a:gd name="connsiteX1299" fmla="*/ 3820954 w 6400800"/>
                <a:gd name="connsiteY1299" fmla="*/ 269081 h 514350"/>
                <a:gd name="connsiteX1300" fmla="*/ 3820001 w 6400800"/>
                <a:gd name="connsiteY1300" fmla="*/ 267176 h 514350"/>
                <a:gd name="connsiteX1301" fmla="*/ 3804761 w 6400800"/>
                <a:gd name="connsiteY1301" fmla="*/ 249079 h 514350"/>
                <a:gd name="connsiteX1302" fmla="*/ 3817144 w 6400800"/>
                <a:gd name="connsiteY1302" fmla="*/ 270034 h 514350"/>
                <a:gd name="connsiteX1303" fmla="*/ 3819049 w 6400800"/>
                <a:gd name="connsiteY1303" fmla="*/ 272891 h 514350"/>
                <a:gd name="connsiteX1304" fmla="*/ 3806666 w 6400800"/>
                <a:gd name="connsiteY1304" fmla="*/ 294799 h 514350"/>
                <a:gd name="connsiteX1305" fmla="*/ 3806666 w 6400800"/>
                <a:gd name="connsiteY1305" fmla="*/ 294799 h 514350"/>
                <a:gd name="connsiteX1306" fmla="*/ 3803809 w 6400800"/>
                <a:gd name="connsiteY1306" fmla="*/ 290989 h 514350"/>
                <a:gd name="connsiteX1307" fmla="*/ 3802856 w 6400800"/>
                <a:gd name="connsiteY1307" fmla="*/ 287179 h 514350"/>
                <a:gd name="connsiteX1308" fmla="*/ 3799999 w 6400800"/>
                <a:gd name="connsiteY1308" fmla="*/ 276701 h 514350"/>
                <a:gd name="connsiteX1309" fmla="*/ 3795236 w 6400800"/>
                <a:gd name="connsiteY1309" fmla="*/ 260509 h 514350"/>
                <a:gd name="connsiteX1310" fmla="*/ 3790474 w 6400800"/>
                <a:gd name="connsiteY1310" fmla="*/ 246221 h 514350"/>
                <a:gd name="connsiteX1311" fmla="*/ 3791426 w 6400800"/>
                <a:gd name="connsiteY1311" fmla="*/ 260509 h 514350"/>
                <a:gd name="connsiteX1312" fmla="*/ 3792379 w 6400800"/>
                <a:gd name="connsiteY1312" fmla="*/ 273844 h 514350"/>
                <a:gd name="connsiteX1313" fmla="*/ 3787616 w 6400800"/>
                <a:gd name="connsiteY1313" fmla="*/ 268129 h 514350"/>
                <a:gd name="connsiteX1314" fmla="*/ 3777139 w 6400800"/>
                <a:gd name="connsiteY1314" fmla="*/ 255746 h 514350"/>
                <a:gd name="connsiteX1315" fmla="*/ 3773329 w 6400800"/>
                <a:gd name="connsiteY1315" fmla="*/ 246221 h 514350"/>
                <a:gd name="connsiteX1316" fmla="*/ 3764756 w 6400800"/>
                <a:gd name="connsiteY1316" fmla="*/ 224314 h 514350"/>
                <a:gd name="connsiteX1317" fmla="*/ 3769519 w 6400800"/>
                <a:gd name="connsiteY1317" fmla="*/ 247174 h 514350"/>
                <a:gd name="connsiteX1318" fmla="*/ 3776186 w 6400800"/>
                <a:gd name="connsiteY1318" fmla="*/ 273844 h 514350"/>
                <a:gd name="connsiteX1319" fmla="*/ 3781901 w 6400800"/>
                <a:gd name="connsiteY1319" fmla="*/ 299561 h 514350"/>
                <a:gd name="connsiteX1320" fmla="*/ 3760946 w 6400800"/>
                <a:gd name="connsiteY1320" fmla="*/ 234791 h 514350"/>
                <a:gd name="connsiteX1321" fmla="*/ 3755231 w 6400800"/>
                <a:gd name="connsiteY1321" fmla="*/ 218599 h 514350"/>
                <a:gd name="connsiteX1322" fmla="*/ 3759041 w 6400800"/>
                <a:gd name="connsiteY1322" fmla="*/ 211931 h 514350"/>
                <a:gd name="connsiteX1323" fmla="*/ 3754279 w 6400800"/>
                <a:gd name="connsiteY1323" fmla="*/ 217646 h 514350"/>
                <a:gd name="connsiteX1324" fmla="*/ 3750469 w 6400800"/>
                <a:gd name="connsiteY1324" fmla="*/ 208121 h 514350"/>
                <a:gd name="connsiteX1325" fmla="*/ 3752374 w 6400800"/>
                <a:gd name="connsiteY1325" fmla="*/ 197644 h 514350"/>
                <a:gd name="connsiteX1326" fmla="*/ 3748564 w 6400800"/>
                <a:gd name="connsiteY1326" fmla="*/ 205264 h 514350"/>
                <a:gd name="connsiteX1327" fmla="*/ 3734276 w 6400800"/>
                <a:gd name="connsiteY1327" fmla="*/ 167164 h 514350"/>
                <a:gd name="connsiteX1328" fmla="*/ 3742849 w 6400800"/>
                <a:gd name="connsiteY1328" fmla="*/ 217646 h 514350"/>
                <a:gd name="connsiteX1329" fmla="*/ 3736181 w 6400800"/>
                <a:gd name="connsiteY1329" fmla="*/ 236696 h 514350"/>
                <a:gd name="connsiteX1330" fmla="*/ 3735229 w 6400800"/>
                <a:gd name="connsiteY1330" fmla="*/ 238601 h 514350"/>
                <a:gd name="connsiteX1331" fmla="*/ 3730466 w 6400800"/>
                <a:gd name="connsiteY1331" fmla="*/ 245269 h 514350"/>
                <a:gd name="connsiteX1332" fmla="*/ 3726656 w 6400800"/>
                <a:gd name="connsiteY1332" fmla="*/ 236696 h 514350"/>
                <a:gd name="connsiteX1333" fmla="*/ 3726656 w 6400800"/>
                <a:gd name="connsiteY1333" fmla="*/ 232886 h 514350"/>
                <a:gd name="connsiteX1334" fmla="*/ 3725704 w 6400800"/>
                <a:gd name="connsiteY1334" fmla="*/ 214789 h 514350"/>
                <a:gd name="connsiteX1335" fmla="*/ 3722846 w 6400800"/>
                <a:gd name="connsiteY1335" fmla="*/ 230029 h 514350"/>
                <a:gd name="connsiteX1336" fmla="*/ 3721894 w 6400800"/>
                <a:gd name="connsiteY1336" fmla="*/ 229076 h 514350"/>
                <a:gd name="connsiteX1337" fmla="*/ 3721894 w 6400800"/>
                <a:gd name="connsiteY1337" fmla="*/ 229076 h 514350"/>
                <a:gd name="connsiteX1338" fmla="*/ 3725704 w 6400800"/>
                <a:gd name="connsiteY1338" fmla="*/ 190976 h 514350"/>
                <a:gd name="connsiteX1339" fmla="*/ 3727609 w 6400800"/>
                <a:gd name="connsiteY1339" fmla="*/ 172879 h 514350"/>
                <a:gd name="connsiteX1340" fmla="*/ 3730466 w 6400800"/>
                <a:gd name="connsiteY1340" fmla="*/ 155734 h 514350"/>
                <a:gd name="connsiteX1341" fmla="*/ 3734276 w 6400800"/>
                <a:gd name="connsiteY1341" fmla="*/ 128111 h 514350"/>
                <a:gd name="connsiteX1342" fmla="*/ 3737134 w 6400800"/>
                <a:gd name="connsiteY1342" fmla="*/ 104299 h 514350"/>
                <a:gd name="connsiteX1343" fmla="*/ 3730466 w 6400800"/>
                <a:gd name="connsiteY1343" fmla="*/ 127159 h 514350"/>
                <a:gd name="connsiteX1344" fmla="*/ 3722846 w 6400800"/>
                <a:gd name="connsiteY1344" fmla="*/ 153829 h 514350"/>
                <a:gd name="connsiteX1345" fmla="*/ 3718084 w 6400800"/>
                <a:gd name="connsiteY1345" fmla="*/ 170021 h 514350"/>
                <a:gd name="connsiteX1346" fmla="*/ 3714274 w 6400800"/>
                <a:gd name="connsiteY1346" fmla="*/ 188119 h 514350"/>
                <a:gd name="connsiteX1347" fmla="*/ 3710464 w 6400800"/>
                <a:gd name="connsiteY1347" fmla="*/ 208121 h 514350"/>
                <a:gd name="connsiteX1348" fmla="*/ 3710464 w 6400800"/>
                <a:gd name="connsiteY1348" fmla="*/ 207169 h 514350"/>
                <a:gd name="connsiteX1349" fmla="*/ 3691414 w 6400800"/>
                <a:gd name="connsiteY1349" fmla="*/ 174784 h 514350"/>
                <a:gd name="connsiteX1350" fmla="*/ 3677126 w 6400800"/>
                <a:gd name="connsiteY1350" fmla="*/ 150971 h 514350"/>
                <a:gd name="connsiteX1351" fmla="*/ 3678079 w 6400800"/>
                <a:gd name="connsiteY1351" fmla="*/ 137636 h 514350"/>
                <a:gd name="connsiteX1352" fmla="*/ 3675221 w 6400800"/>
                <a:gd name="connsiteY1352" fmla="*/ 149066 h 514350"/>
                <a:gd name="connsiteX1353" fmla="*/ 3674269 w 6400800"/>
                <a:gd name="connsiteY1353" fmla="*/ 147161 h 514350"/>
                <a:gd name="connsiteX1354" fmla="*/ 3675221 w 6400800"/>
                <a:gd name="connsiteY1354" fmla="*/ 150019 h 514350"/>
                <a:gd name="connsiteX1355" fmla="*/ 3672364 w 6400800"/>
                <a:gd name="connsiteY1355" fmla="*/ 164306 h 514350"/>
                <a:gd name="connsiteX1356" fmla="*/ 3665696 w 6400800"/>
                <a:gd name="connsiteY1356" fmla="*/ 194786 h 514350"/>
                <a:gd name="connsiteX1357" fmla="*/ 3662839 w 6400800"/>
                <a:gd name="connsiteY1357" fmla="*/ 209074 h 514350"/>
                <a:gd name="connsiteX1358" fmla="*/ 3661886 w 6400800"/>
                <a:gd name="connsiteY1358" fmla="*/ 210026 h 514350"/>
                <a:gd name="connsiteX1359" fmla="*/ 3658076 w 6400800"/>
                <a:gd name="connsiteY1359" fmla="*/ 216694 h 514350"/>
                <a:gd name="connsiteX1360" fmla="*/ 3658076 w 6400800"/>
                <a:gd name="connsiteY1360" fmla="*/ 174784 h 514350"/>
                <a:gd name="connsiteX1361" fmla="*/ 3645694 w 6400800"/>
                <a:gd name="connsiteY1361" fmla="*/ 239554 h 514350"/>
                <a:gd name="connsiteX1362" fmla="*/ 3644741 w 6400800"/>
                <a:gd name="connsiteY1362" fmla="*/ 246221 h 514350"/>
                <a:gd name="connsiteX1363" fmla="*/ 3643789 w 6400800"/>
                <a:gd name="connsiteY1363" fmla="*/ 249079 h 514350"/>
                <a:gd name="connsiteX1364" fmla="*/ 3640931 w 6400800"/>
                <a:gd name="connsiteY1364" fmla="*/ 259556 h 514350"/>
                <a:gd name="connsiteX1365" fmla="*/ 3633311 w 6400800"/>
                <a:gd name="connsiteY1365" fmla="*/ 243364 h 514350"/>
                <a:gd name="connsiteX1366" fmla="*/ 3639979 w 6400800"/>
                <a:gd name="connsiteY1366" fmla="*/ 265271 h 514350"/>
                <a:gd name="connsiteX1367" fmla="*/ 3637121 w 6400800"/>
                <a:gd name="connsiteY1367" fmla="*/ 275749 h 514350"/>
                <a:gd name="connsiteX1368" fmla="*/ 3627596 w 6400800"/>
                <a:gd name="connsiteY1368" fmla="*/ 261461 h 514350"/>
                <a:gd name="connsiteX1369" fmla="*/ 3635216 w 6400800"/>
                <a:gd name="connsiteY1369" fmla="*/ 280511 h 514350"/>
                <a:gd name="connsiteX1370" fmla="*/ 3635216 w 6400800"/>
                <a:gd name="connsiteY1370" fmla="*/ 281464 h 514350"/>
                <a:gd name="connsiteX1371" fmla="*/ 3630454 w 6400800"/>
                <a:gd name="connsiteY1371" fmla="*/ 309086 h 514350"/>
                <a:gd name="connsiteX1372" fmla="*/ 3627596 w 6400800"/>
                <a:gd name="connsiteY1372" fmla="*/ 332899 h 514350"/>
                <a:gd name="connsiteX1373" fmla="*/ 3620929 w 6400800"/>
                <a:gd name="connsiteY1373" fmla="*/ 312896 h 514350"/>
                <a:gd name="connsiteX1374" fmla="*/ 3620929 w 6400800"/>
                <a:gd name="connsiteY1374" fmla="*/ 309086 h 514350"/>
                <a:gd name="connsiteX1375" fmla="*/ 3619976 w 6400800"/>
                <a:gd name="connsiteY1375" fmla="*/ 310991 h 514350"/>
                <a:gd name="connsiteX1376" fmla="*/ 3619024 w 6400800"/>
                <a:gd name="connsiteY1376" fmla="*/ 308134 h 514350"/>
                <a:gd name="connsiteX1377" fmla="*/ 3622834 w 6400800"/>
                <a:gd name="connsiteY1377" fmla="*/ 272891 h 514350"/>
                <a:gd name="connsiteX1378" fmla="*/ 3626644 w 6400800"/>
                <a:gd name="connsiteY1378" fmla="*/ 221456 h 514350"/>
                <a:gd name="connsiteX1379" fmla="*/ 3630454 w 6400800"/>
                <a:gd name="connsiteY1379" fmla="*/ 211931 h 514350"/>
                <a:gd name="connsiteX1380" fmla="*/ 3626644 w 6400800"/>
                <a:gd name="connsiteY1380" fmla="*/ 216694 h 514350"/>
                <a:gd name="connsiteX1381" fmla="*/ 3626644 w 6400800"/>
                <a:gd name="connsiteY1381" fmla="*/ 214789 h 514350"/>
                <a:gd name="connsiteX1382" fmla="*/ 3626644 w 6400800"/>
                <a:gd name="connsiteY1382" fmla="*/ 192881 h 514350"/>
                <a:gd name="connsiteX1383" fmla="*/ 3622834 w 6400800"/>
                <a:gd name="connsiteY1383" fmla="*/ 214789 h 514350"/>
                <a:gd name="connsiteX1384" fmla="*/ 3620929 w 6400800"/>
                <a:gd name="connsiteY1384" fmla="*/ 226219 h 514350"/>
                <a:gd name="connsiteX1385" fmla="*/ 3620929 w 6400800"/>
                <a:gd name="connsiteY1385" fmla="*/ 227171 h 514350"/>
                <a:gd name="connsiteX1386" fmla="*/ 3609499 w 6400800"/>
                <a:gd name="connsiteY1386" fmla="*/ 243364 h 514350"/>
                <a:gd name="connsiteX1387" fmla="*/ 3603784 w 6400800"/>
                <a:gd name="connsiteY1387" fmla="*/ 251936 h 514350"/>
                <a:gd name="connsiteX1388" fmla="*/ 3613309 w 6400800"/>
                <a:gd name="connsiteY1388" fmla="*/ 225266 h 514350"/>
                <a:gd name="connsiteX1389" fmla="*/ 3619024 w 6400800"/>
                <a:gd name="connsiteY1389" fmla="*/ 208121 h 514350"/>
                <a:gd name="connsiteX1390" fmla="*/ 3624739 w 6400800"/>
                <a:gd name="connsiteY1390" fmla="*/ 192881 h 514350"/>
                <a:gd name="connsiteX1391" fmla="*/ 3634264 w 6400800"/>
                <a:gd name="connsiteY1391" fmla="*/ 168116 h 514350"/>
                <a:gd name="connsiteX1392" fmla="*/ 3642836 w 6400800"/>
                <a:gd name="connsiteY1392" fmla="*/ 146209 h 514350"/>
                <a:gd name="connsiteX1393" fmla="*/ 3631406 w 6400800"/>
                <a:gd name="connsiteY1393" fmla="*/ 166211 h 514350"/>
                <a:gd name="connsiteX1394" fmla="*/ 3618071 w 6400800"/>
                <a:gd name="connsiteY1394" fmla="*/ 189071 h 514350"/>
                <a:gd name="connsiteX1395" fmla="*/ 3610451 w 6400800"/>
                <a:gd name="connsiteY1395" fmla="*/ 203359 h 514350"/>
                <a:gd name="connsiteX1396" fmla="*/ 3602831 w 6400800"/>
                <a:gd name="connsiteY1396" fmla="*/ 219551 h 514350"/>
                <a:gd name="connsiteX1397" fmla="*/ 3588544 w 6400800"/>
                <a:gd name="connsiteY1397" fmla="*/ 250031 h 514350"/>
                <a:gd name="connsiteX1398" fmla="*/ 3588544 w 6400800"/>
                <a:gd name="connsiteY1398" fmla="*/ 242411 h 514350"/>
                <a:gd name="connsiteX1399" fmla="*/ 3585686 w 6400800"/>
                <a:gd name="connsiteY1399" fmla="*/ 256699 h 514350"/>
                <a:gd name="connsiteX1400" fmla="*/ 3585686 w 6400800"/>
                <a:gd name="connsiteY1400" fmla="*/ 257651 h 514350"/>
                <a:gd name="connsiteX1401" fmla="*/ 3579971 w 6400800"/>
                <a:gd name="connsiteY1401" fmla="*/ 270986 h 514350"/>
                <a:gd name="connsiteX1402" fmla="*/ 3573304 w 6400800"/>
                <a:gd name="connsiteY1402" fmla="*/ 282416 h 514350"/>
                <a:gd name="connsiteX1403" fmla="*/ 3568541 w 6400800"/>
                <a:gd name="connsiteY1403" fmla="*/ 263366 h 514350"/>
                <a:gd name="connsiteX1404" fmla="*/ 3564731 w 6400800"/>
                <a:gd name="connsiteY1404" fmla="*/ 248126 h 514350"/>
                <a:gd name="connsiteX1405" fmla="*/ 3564731 w 6400800"/>
                <a:gd name="connsiteY1405" fmla="*/ 248126 h 514350"/>
                <a:gd name="connsiteX1406" fmla="*/ 3562826 w 6400800"/>
                <a:gd name="connsiteY1406" fmla="*/ 237649 h 514350"/>
                <a:gd name="connsiteX1407" fmla="*/ 3561874 w 6400800"/>
                <a:gd name="connsiteY1407" fmla="*/ 233839 h 514350"/>
                <a:gd name="connsiteX1408" fmla="*/ 3566636 w 6400800"/>
                <a:gd name="connsiteY1408" fmla="*/ 227171 h 514350"/>
                <a:gd name="connsiteX1409" fmla="*/ 3561874 w 6400800"/>
                <a:gd name="connsiteY1409" fmla="*/ 230981 h 514350"/>
                <a:gd name="connsiteX1410" fmla="*/ 3559016 w 6400800"/>
                <a:gd name="connsiteY1410" fmla="*/ 218599 h 514350"/>
                <a:gd name="connsiteX1411" fmla="*/ 3559016 w 6400800"/>
                <a:gd name="connsiteY1411" fmla="*/ 231934 h 514350"/>
                <a:gd name="connsiteX1412" fmla="*/ 3554254 w 6400800"/>
                <a:gd name="connsiteY1412" fmla="*/ 220504 h 514350"/>
                <a:gd name="connsiteX1413" fmla="*/ 3569494 w 6400800"/>
                <a:gd name="connsiteY1413" fmla="*/ 197644 h 514350"/>
                <a:gd name="connsiteX1414" fmla="*/ 3585686 w 6400800"/>
                <a:gd name="connsiteY1414" fmla="*/ 174784 h 514350"/>
                <a:gd name="connsiteX1415" fmla="*/ 3600926 w 6400800"/>
                <a:gd name="connsiteY1415" fmla="*/ 154781 h 514350"/>
                <a:gd name="connsiteX1416" fmla="*/ 3582829 w 6400800"/>
                <a:gd name="connsiteY1416" fmla="*/ 171926 h 514350"/>
                <a:gd name="connsiteX1417" fmla="*/ 3562826 w 6400800"/>
                <a:gd name="connsiteY1417" fmla="*/ 192881 h 514350"/>
                <a:gd name="connsiteX1418" fmla="*/ 3549491 w 6400800"/>
                <a:gd name="connsiteY1418" fmla="*/ 209074 h 514350"/>
                <a:gd name="connsiteX1419" fmla="*/ 3542824 w 6400800"/>
                <a:gd name="connsiteY1419" fmla="*/ 193834 h 514350"/>
                <a:gd name="connsiteX1420" fmla="*/ 3546634 w 6400800"/>
                <a:gd name="connsiteY1420" fmla="*/ 212884 h 514350"/>
                <a:gd name="connsiteX1421" fmla="*/ 3539966 w 6400800"/>
                <a:gd name="connsiteY1421" fmla="*/ 222409 h 514350"/>
                <a:gd name="connsiteX1422" fmla="*/ 3539014 w 6400800"/>
                <a:gd name="connsiteY1422" fmla="*/ 223361 h 514350"/>
                <a:gd name="connsiteX1423" fmla="*/ 3539014 w 6400800"/>
                <a:gd name="connsiteY1423" fmla="*/ 210979 h 514350"/>
                <a:gd name="connsiteX1424" fmla="*/ 3539014 w 6400800"/>
                <a:gd name="connsiteY1424" fmla="*/ 184309 h 514350"/>
                <a:gd name="connsiteX1425" fmla="*/ 3539014 w 6400800"/>
                <a:gd name="connsiteY1425" fmla="*/ 173831 h 514350"/>
                <a:gd name="connsiteX1426" fmla="*/ 3540919 w 6400800"/>
                <a:gd name="connsiteY1426" fmla="*/ 170021 h 514350"/>
                <a:gd name="connsiteX1427" fmla="*/ 3539014 w 6400800"/>
                <a:gd name="connsiteY1427" fmla="*/ 172879 h 514350"/>
                <a:gd name="connsiteX1428" fmla="*/ 3539014 w 6400800"/>
                <a:gd name="connsiteY1428" fmla="*/ 162401 h 514350"/>
                <a:gd name="connsiteX1429" fmla="*/ 3537109 w 6400800"/>
                <a:gd name="connsiteY1429" fmla="*/ 176689 h 514350"/>
                <a:gd name="connsiteX1430" fmla="*/ 3527584 w 6400800"/>
                <a:gd name="connsiteY1430" fmla="*/ 190976 h 514350"/>
                <a:gd name="connsiteX1431" fmla="*/ 3511391 w 6400800"/>
                <a:gd name="connsiteY1431" fmla="*/ 214789 h 514350"/>
                <a:gd name="connsiteX1432" fmla="*/ 3510439 w 6400800"/>
                <a:gd name="connsiteY1432" fmla="*/ 215741 h 514350"/>
                <a:gd name="connsiteX1433" fmla="*/ 3508534 w 6400800"/>
                <a:gd name="connsiteY1433" fmla="*/ 201454 h 514350"/>
                <a:gd name="connsiteX1434" fmla="*/ 3505676 w 6400800"/>
                <a:gd name="connsiteY1434" fmla="*/ 180499 h 514350"/>
                <a:gd name="connsiteX1435" fmla="*/ 3504724 w 6400800"/>
                <a:gd name="connsiteY1435" fmla="*/ 202406 h 514350"/>
                <a:gd name="connsiteX1436" fmla="*/ 3503771 w 6400800"/>
                <a:gd name="connsiteY1436" fmla="*/ 226219 h 514350"/>
                <a:gd name="connsiteX1437" fmla="*/ 3500914 w 6400800"/>
                <a:gd name="connsiteY1437" fmla="*/ 230981 h 514350"/>
                <a:gd name="connsiteX1438" fmla="*/ 3491389 w 6400800"/>
                <a:gd name="connsiteY1438" fmla="*/ 247174 h 514350"/>
                <a:gd name="connsiteX1439" fmla="*/ 3483769 w 6400800"/>
                <a:gd name="connsiteY1439" fmla="*/ 230029 h 514350"/>
                <a:gd name="connsiteX1440" fmla="*/ 3469481 w 6400800"/>
                <a:gd name="connsiteY1440" fmla="*/ 200501 h 514350"/>
                <a:gd name="connsiteX1441" fmla="*/ 3471386 w 6400800"/>
                <a:gd name="connsiteY1441" fmla="*/ 190976 h 514350"/>
                <a:gd name="connsiteX1442" fmla="*/ 3477101 w 6400800"/>
                <a:gd name="connsiteY1442" fmla="*/ 167164 h 514350"/>
                <a:gd name="connsiteX1443" fmla="*/ 3482816 w 6400800"/>
                <a:gd name="connsiteY1443" fmla="*/ 146209 h 514350"/>
                <a:gd name="connsiteX1444" fmla="*/ 3492341 w 6400800"/>
                <a:gd name="connsiteY1444" fmla="*/ 111919 h 514350"/>
                <a:gd name="connsiteX1445" fmla="*/ 3499961 w 6400800"/>
                <a:gd name="connsiteY1445" fmla="*/ 82391 h 514350"/>
                <a:gd name="connsiteX1446" fmla="*/ 3488531 w 6400800"/>
                <a:gd name="connsiteY1446" fmla="*/ 110966 h 514350"/>
                <a:gd name="connsiteX1447" fmla="*/ 3476149 w 6400800"/>
                <a:gd name="connsiteY1447" fmla="*/ 144304 h 514350"/>
                <a:gd name="connsiteX1448" fmla="*/ 3468529 w 6400800"/>
                <a:gd name="connsiteY1448" fmla="*/ 164306 h 514350"/>
                <a:gd name="connsiteX1449" fmla="*/ 3461861 w 6400800"/>
                <a:gd name="connsiteY1449" fmla="*/ 185261 h 514350"/>
                <a:gd name="connsiteX1450" fmla="*/ 3452336 w 6400800"/>
                <a:gd name="connsiteY1450" fmla="*/ 168116 h 514350"/>
                <a:gd name="connsiteX1451" fmla="*/ 3460909 w 6400800"/>
                <a:gd name="connsiteY1451" fmla="*/ 189071 h 514350"/>
                <a:gd name="connsiteX1452" fmla="*/ 3450431 w 6400800"/>
                <a:gd name="connsiteY1452" fmla="*/ 225266 h 514350"/>
                <a:gd name="connsiteX1453" fmla="*/ 3441859 w 6400800"/>
                <a:gd name="connsiteY1453" fmla="*/ 210026 h 514350"/>
                <a:gd name="connsiteX1454" fmla="*/ 3442811 w 6400800"/>
                <a:gd name="connsiteY1454" fmla="*/ 208121 h 514350"/>
                <a:gd name="connsiteX1455" fmla="*/ 3445669 w 6400800"/>
                <a:gd name="connsiteY1455" fmla="*/ 190976 h 514350"/>
                <a:gd name="connsiteX1456" fmla="*/ 3439001 w 6400800"/>
                <a:gd name="connsiteY1456" fmla="*/ 205264 h 514350"/>
                <a:gd name="connsiteX1457" fmla="*/ 3439001 w 6400800"/>
                <a:gd name="connsiteY1457" fmla="*/ 205264 h 514350"/>
                <a:gd name="connsiteX1458" fmla="*/ 3438049 w 6400800"/>
                <a:gd name="connsiteY1458" fmla="*/ 165259 h 514350"/>
                <a:gd name="connsiteX1459" fmla="*/ 3437096 w 6400800"/>
                <a:gd name="connsiteY1459" fmla="*/ 135731 h 514350"/>
                <a:gd name="connsiteX1460" fmla="*/ 3435191 w 6400800"/>
                <a:gd name="connsiteY1460" fmla="*/ 112871 h 514350"/>
                <a:gd name="connsiteX1461" fmla="*/ 3433286 w 6400800"/>
                <a:gd name="connsiteY1461" fmla="*/ 92869 h 514350"/>
                <a:gd name="connsiteX1462" fmla="*/ 3431381 w 6400800"/>
                <a:gd name="connsiteY1462" fmla="*/ 112871 h 514350"/>
                <a:gd name="connsiteX1463" fmla="*/ 3428524 w 6400800"/>
                <a:gd name="connsiteY1463" fmla="*/ 149066 h 514350"/>
                <a:gd name="connsiteX1464" fmla="*/ 3428524 w 6400800"/>
                <a:gd name="connsiteY1464" fmla="*/ 150019 h 514350"/>
                <a:gd name="connsiteX1465" fmla="*/ 3426619 w 6400800"/>
                <a:gd name="connsiteY1465" fmla="*/ 131921 h 514350"/>
                <a:gd name="connsiteX1466" fmla="*/ 3423761 w 6400800"/>
                <a:gd name="connsiteY1466" fmla="*/ 113824 h 514350"/>
                <a:gd name="connsiteX1467" fmla="*/ 3422809 w 6400800"/>
                <a:gd name="connsiteY1467" fmla="*/ 131921 h 514350"/>
                <a:gd name="connsiteX1468" fmla="*/ 3420904 w 6400800"/>
                <a:gd name="connsiteY1468" fmla="*/ 174784 h 514350"/>
                <a:gd name="connsiteX1469" fmla="*/ 3412331 w 6400800"/>
                <a:gd name="connsiteY1469" fmla="*/ 162401 h 514350"/>
                <a:gd name="connsiteX1470" fmla="*/ 3398044 w 6400800"/>
                <a:gd name="connsiteY1470" fmla="*/ 141446 h 514350"/>
                <a:gd name="connsiteX1471" fmla="*/ 3401854 w 6400800"/>
                <a:gd name="connsiteY1471" fmla="*/ 123349 h 514350"/>
                <a:gd name="connsiteX1472" fmla="*/ 3396139 w 6400800"/>
                <a:gd name="connsiteY1472" fmla="*/ 139541 h 514350"/>
                <a:gd name="connsiteX1473" fmla="*/ 3391376 w 6400800"/>
                <a:gd name="connsiteY1473" fmla="*/ 132874 h 514350"/>
                <a:gd name="connsiteX1474" fmla="*/ 3395186 w 6400800"/>
                <a:gd name="connsiteY1474" fmla="*/ 139541 h 514350"/>
                <a:gd name="connsiteX1475" fmla="*/ 3395186 w 6400800"/>
                <a:gd name="connsiteY1475" fmla="*/ 141446 h 514350"/>
                <a:gd name="connsiteX1476" fmla="*/ 3382804 w 6400800"/>
                <a:gd name="connsiteY1476" fmla="*/ 177641 h 514350"/>
                <a:gd name="connsiteX1477" fmla="*/ 3382804 w 6400800"/>
                <a:gd name="connsiteY1477" fmla="*/ 172879 h 514350"/>
                <a:gd name="connsiteX1478" fmla="*/ 3381851 w 6400800"/>
                <a:gd name="connsiteY1478" fmla="*/ 150971 h 514350"/>
                <a:gd name="connsiteX1479" fmla="*/ 3378994 w 6400800"/>
                <a:gd name="connsiteY1479" fmla="*/ 172879 h 514350"/>
                <a:gd name="connsiteX1480" fmla="*/ 3376136 w 6400800"/>
                <a:gd name="connsiteY1480" fmla="*/ 197644 h 514350"/>
                <a:gd name="connsiteX1481" fmla="*/ 3365659 w 6400800"/>
                <a:gd name="connsiteY1481" fmla="*/ 234791 h 514350"/>
                <a:gd name="connsiteX1482" fmla="*/ 3358991 w 6400800"/>
                <a:gd name="connsiteY1482" fmla="*/ 253841 h 514350"/>
                <a:gd name="connsiteX1483" fmla="*/ 3358039 w 6400800"/>
                <a:gd name="connsiteY1483" fmla="*/ 257651 h 514350"/>
                <a:gd name="connsiteX1484" fmla="*/ 3351371 w 6400800"/>
                <a:gd name="connsiteY1484" fmla="*/ 239554 h 514350"/>
                <a:gd name="connsiteX1485" fmla="*/ 3351371 w 6400800"/>
                <a:gd name="connsiteY1485" fmla="*/ 237649 h 514350"/>
                <a:gd name="connsiteX1486" fmla="*/ 3351371 w 6400800"/>
                <a:gd name="connsiteY1486" fmla="*/ 238601 h 514350"/>
                <a:gd name="connsiteX1487" fmla="*/ 3344704 w 6400800"/>
                <a:gd name="connsiteY1487" fmla="*/ 221456 h 514350"/>
                <a:gd name="connsiteX1488" fmla="*/ 3349466 w 6400800"/>
                <a:gd name="connsiteY1488" fmla="*/ 248126 h 514350"/>
                <a:gd name="connsiteX1489" fmla="*/ 3347561 w 6400800"/>
                <a:gd name="connsiteY1489" fmla="*/ 265271 h 514350"/>
                <a:gd name="connsiteX1490" fmla="*/ 3345656 w 6400800"/>
                <a:gd name="connsiteY1490" fmla="*/ 283369 h 514350"/>
                <a:gd name="connsiteX1491" fmla="*/ 3343751 w 6400800"/>
                <a:gd name="connsiteY1491" fmla="*/ 287179 h 514350"/>
                <a:gd name="connsiteX1492" fmla="*/ 3339941 w 6400800"/>
                <a:gd name="connsiteY1492" fmla="*/ 274796 h 514350"/>
                <a:gd name="connsiteX1493" fmla="*/ 3325654 w 6400800"/>
                <a:gd name="connsiteY1493" fmla="*/ 231934 h 514350"/>
                <a:gd name="connsiteX1494" fmla="*/ 3328511 w 6400800"/>
                <a:gd name="connsiteY1494" fmla="*/ 216694 h 514350"/>
                <a:gd name="connsiteX1495" fmla="*/ 3338036 w 6400800"/>
                <a:gd name="connsiteY1495" fmla="*/ 170974 h 514350"/>
                <a:gd name="connsiteX1496" fmla="*/ 3346609 w 6400800"/>
                <a:gd name="connsiteY1496" fmla="*/ 136684 h 514350"/>
                <a:gd name="connsiteX1497" fmla="*/ 3355181 w 6400800"/>
                <a:gd name="connsiteY1497" fmla="*/ 106204 h 514350"/>
                <a:gd name="connsiteX1498" fmla="*/ 3342799 w 6400800"/>
                <a:gd name="connsiteY1498" fmla="*/ 134779 h 514350"/>
                <a:gd name="connsiteX1499" fmla="*/ 3330416 w 6400800"/>
                <a:gd name="connsiteY1499" fmla="*/ 169069 h 514350"/>
                <a:gd name="connsiteX1500" fmla="*/ 3318986 w 6400800"/>
                <a:gd name="connsiteY1500" fmla="*/ 208121 h 514350"/>
                <a:gd name="connsiteX1501" fmla="*/ 3318986 w 6400800"/>
                <a:gd name="connsiteY1501" fmla="*/ 203359 h 514350"/>
                <a:gd name="connsiteX1502" fmla="*/ 3320891 w 6400800"/>
                <a:gd name="connsiteY1502" fmla="*/ 195739 h 514350"/>
                <a:gd name="connsiteX1503" fmla="*/ 3327559 w 6400800"/>
                <a:gd name="connsiteY1503" fmla="*/ 170021 h 514350"/>
                <a:gd name="connsiteX1504" fmla="*/ 3332321 w 6400800"/>
                <a:gd name="connsiteY1504" fmla="*/ 147161 h 514350"/>
                <a:gd name="connsiteX1505" fmla="*/ 3323749 w 6400800"/>
                <a:gd name="connsiteY1505" fmla="*/ 169069 h 514350"/>
                <a:gd name="connsiteX1506" fmla="*/ 3322796 w 6400800"/>
                <a:gd name="connsiteY1506" fmla="*/ 171926 h 514350"/>
                <a:gd name="connsiteX1507" fmla="*/ 3323749 w 6400800"/>
                <a:gd name="connsiteY1507" fmla="*/ 165259 h 514350"/>
                <a:gd name="connsiteX1508" fmla="*/ 3328511 w 6400800"/>
                <a:gd name="connsiteY1508" fmla="*/ 147161 h 514350"/>
                <a:gd name="connsiteX1509" fmla="*/ 3336131 w 6400800"/>
                <a:gd name="connsiteY1509" fmla="*/ 116681 h 514350"/>
                <a:gd name="connsiteX1510" fmla="*/ 3341846 w 6400800"/>
                <a:gd name="connsiteY1510" fmla="*/ 90011 h 514350"/>
                <a:gd name="connsiteX1511" fmla="*/ 3332321 w 6400800"/>
                <a:gd name="connsiteY1511" fmla="*/ 114776 h 514350"/>
                <a:gd name="connsiteX1512" fmla="*/ 3321844 w 6400800"/>
                <a:gd name="connsiteY1512" fmla="*/ 143351 h 514350"/>
                <a:gd name="connsiteX1513" fmla="*/ 3315176 w 6400800"/>
                <a:gd name="connsiteY1513" fmla="*/ 161449 h 514350"/>
                <a:gd name="connsiteX1514" fmla="*/ 3308509 w 6400800"/>
                <a:gd name="connsiteY1514" fmla="*/ 181451 h 514350"/>
                <a:gd name="connsiteX1515" fmla="*/ 3308509 w 6400800"/>
                <a:gd name="connsiteY1515" fmla="*/ 181451 h 514350"/>
                <a:gd name="connsiteX1516" fmla="*/ 3306604 w 6400800"/>
                <a:gd name="connsiteY1516" fmla="*/ 176689 h 514350"/>
                <a:gd name="connsiteX1517" fmla="*/ 3292316 w 6400800"/>
                <a:gd name="connsiteY1517" fmla="*/ 140494 h 514350"/>
                <a:gd name="connsiteX1518" fmla="*/ 3305651 w 6400800"/>
                <a:gd name="connsiteY1518" fmla="*/ 189071 h 514350"/>
                <a:gd name="connsiteX1519" fmla="*/ 3294221 w 6400800"/>
                <a:gd name="connsiteY1519" fmla="*/ 227171 h 514350"/>
                <a:gd name="connsiteX1520" fmla="*/ 3293269 w 6400800"/>
                <a:gd name="connsiteY1520" fmla="*/ 230981 h 514350"/>
                <a:gd name="connsiteX1521" fmla="*/ 3292316 w 6400800"/>
                <a:gd name="connsiteY1521" fmla="*/ 229076 h 514350"/>
                <a:gd name="connsiteX1522" fmla="*/ 3277076 w 6400800"/>
                <a:gd name="connsiteY1522" fmla="*/ 197644 h 514350"/>
                <a:gd name="connsiteX1523" fmla="*/ 3291364 w 6400800"/>
                <a:gd name="connsiteY1523" fmla="*/ 237649 h 514350"/>
                <a:gd name="connsiteX1524" fmla="*/ 3285649 w 6400800"/>
                <a:gd name="connsiteY1524" fmla="*/ 257651 h 514350"/>
                <a:gd name="connsiteX1525" fmla="*/ 3277076 w 6400800"/>
                <a:gd name="connsiteY1525" fmla="*/ 246221 h 514350"/>
                <a:gd name="connsiteX1526" fmla="*/ 3274219 w 6400800"/>
                <a:gd name="connsiteY1526" fmla="*/ 242411 h 514350"/>
                <a:gd name="connsiteX1527" fmla="*/ 3277076 w 6400800"/>
                <a:gd name="connsiteY1527" fmla="*/ 199549 h 514350"/>
                <a:gd name="connsiteX1528" fmla="*/ 3272314 w 6400800"/>
                <a:gd name="connsiteY1528" fmla="*/ 217646 h 514350"/>
                <a:gd name="connsiteX1529" fmla="*/ 3268504 w 6400800"/>
                <a:gd name="connsiteY1529" fmla="*/ 234791 h 514350"/>
                <a:gd name="connsiteX1530" fmla="*/ 3258979 w 6400800"/>
                <a:gd name="connsiteY1530" fmla="*/ 223361 h 514350"/>
                <a:gd name="connsiteX1531" fmla="*/ 3241834 w 6400800"/>
                <a:gd name="connsiteY1531" fmla="*/ 203359 h 514350"/>
                <a:gd name="connsiteX1532" fmla="*/ 3256121 w 6400800"/>
                <a:gd name="connsiteY1532" fmla="*/ 226219 h 514350"/>
                <a:gd name="connsiteX1533" fmla="*/ 3266599 w 6400800"/>
                <a:gd name="connsiteY1533" fmla="*/ 243364 h 514350"/>
                <a:gd name="connsiteX1534" fmla="*/ 3260884 w 6400800"/>
                <a:gd name="connsiteY1534" fmla="*/ 265271 h 514350"/>
                <a:gd name="connsiteX1535" fmla="*/ 3256121 w 6400800"/>
                <a:gd name="connsiteY1535" fmla="*/ 288131 h 514350"/>
                <a:gd name="connsiteX1536" fmla="*/ 3256121 w 6400800"/>
                <a:gd name="connsiteY1536" fmla="*/ 287179 h 514350"/>
                <a:gd name="connsiteX1537" fmla="*/ 3256121 w 6400800"/>
                <a:gd name="connsiteY1537" fmla="*/ 289084 h 514350"/>
                <a:gd name="connsiteX1538" fmla="*/ 3255169 w 6400800"/>
                <a:gd name="connsiteY1538" fmla="*/ 293846 h 514350"/>
                <a:gd name="connsiteX1539" fmla="*/ 3253264 w 6400800"/>
                <a:gd name="connsiteY1539" fmla="*/ 290036 h 514350"/>
                <a:gd name="connsiteX1540" fmla="*/ 3254216 w 6400800"/>
                <a:gd name="connsiteY1540" fmla="*/ 280511 h 514350"/>
                <a:gd name="connsiteX1541" fmla="*/ 3252311 w 6400800"/>
                <a:gd name="connsiteY1541" fmla="*/ 287179 h 514350"/>
                <a:gd name="connsiteX1542" fmla="*/ 3246596 w 6400800"/>
                <a:gd name="connsiteY1542" fmla="*/ 276701 h 514350"/>
                <a:gd name="connsiteX1543" fmla="*/ 3251359 w 6400800"/>
                <a:gd name="connsiteY1543" fmla="*/ 290989 h 514350"/>
                <a:gd name="connsiteX1544" fmla="*/ 3249454 w 6400800"/>
                <a:gd name="connsiteY1544" fmla="*/ 298609 h 514350"/>
                <a:gd name="connsiteX1545" fmla="*/ 3247549 w 6400800"/>
                <a:gd name="connsiteY1545" fmla="*/ 304324 h 514350"/>
                <a:gd name="connsiteX1546" fmla="*/ 3246596 w 6400800"/>
                <a:gd name="connsiteY1546" fmla="*/ 301466 h 514350"/>
                <a:gd name="connsiteX1547" fmla="*/ 3246596 w 6400800"/>
                <a:gd name="connsiteY1547" fmla="*/ 306229 h 514350"/>
                <a:gd name="connsiteX1548" fmla="*/ 3243739 w 6400800"/>
                <a:gd name="connsiteY1548" fmla="*/ 317659 h 514350"/>
                <a:gd name="connsiteX1549" fmla="*/ 3239929 w 6400800"/>
                <a:gd name="connsiteY1549" fmla="*/ 304324 h 514350"/>
                <a:gd name="connsiteX1550" fmla="*/ 3242786 w 6400800"/>
                <a:gd name="connsiteY1550" fmla="*/ 296704 h 514350"/>
                <a:gd name="connsiteX1551" fmla="*/ 3238976 w 6400800"/>
                <a:gd name="connsiteY1551" fmla="*/ 302419 h 514350"/>
                <a:gd name="connsiteX1552" fmla="*/ 3236119 w 6400800"/>
                <a:gd name="connsiteY1552" fmla="*/ 293846 h 514350"/>
                <a:gd name="connsiteX1553" fmla="*/ 3235166 w 6400800"/>
                <a:gd name="connsiteY1553" fmla="*/ 290036 h 514350"/>
                <a:gd name="connsiteX1554" fmla="*/ 3241834 w 6400800"/>
                <a:gd name="connsiteY1554" fmla="*/ 273844 h 514350"/>
                <a:gd name="connsiteX1555" fmla="*/ 3249454 w 6400800"/>
                <a:gd name="connsiteY1555" fmla="*/ 256699 h 514350"/>
                <a:gd name="connsiteX1556" fmla="*/ 3256121 w 6400800"/>
                <a:gd name="connsiteY1556" fmla="*/ 242411 h 514350"/>
                <a:gd name="connsiteX1557" fmla="*/ 3245644 w 6400800"/>
                <a:gd name="connsiteY1557" fmla="*/ 254794 h 514350"/>
                <a:gd name="connsiteX1558" fmla="*/ 3235166 w 6400800"/>
                <a:gd name="connsiteY1558" fmla="*/ 270034 h 514350"/>
                <a:gd name="connsiteX1559" fmla="*/ 3230404 w 6400800"/>
                <a:gd name="connsiteY1559" fmla="*/ 276701 h 514350"/>
                <a:gd name="connsiteX1560" fmla="*/ 3229451 w 6400800"/>
                <a:gd name="connsiteY1560" fmla="*/ 272891 h 514350"/>
                <a:gd name="connsiteX1561" fmla="*/ 3222784 w 6400800"/>
                <a:gd name="connsiteY1561" fmla="*/ 253841 h 514350"/>
                <a:gd name="connsiteX1562" fmla="*/ 3218021 w 6400800"/>
                <a:gd name="connsiteY1562" fmla="*/ 241459 h 514350"/>
                <a:gd name="connsiteX1563" fmla="*/ 3218021 w 6400800"/>
                <a:gd name="connsiteY1563" fmla="*/ 236696 h 514350"/>
                <a:gd name="connsiteX1564" fmla="*/ 3222784 w 6400800"/>
                <a:gd name="connsiteY1564" fmla="*/ 206216 h 514350"/>
                <a:gd name="connsiteX1565" fmla="*/ 3229451 w 6400800"/>
                <a:gd name="connsiteY1565" fmla="*/ 166211 h 514350"/>
                <a:gd name="connsiteX1566" fmla="*/ 3235166 w 6400800"/>
                <a:gd name="connsiteY1566" fmla="*/ 135731 h 514350"/>
                <a:gd name="connsiteX1567" fmla="*/ 3239929 w 6400800"/>
                <a:gd name="connsiteY1567" fmla="*/ 109061 h 514350"/>
                <a:gd name="connsiteX1568" fmla="*/ 3231356 w 6400800"/>
                <a:gd name="connsiteY1568" fmla="*/ 134779 h 514350"/>
                <a:gd name="connsiteX1569" fmla="*/ 3212306 w 6400800"/>
                <a:gd name="connsiteY1569" fmla="*/ 204311 h 514350"/>
                <a:gd name="connsiteX1570" fmla="*/ 3209449 w 6400800"/>
                <a:gd name="connsiteY1570" fmla="*/ 215741 h 514350"/>
                <a:gd name="connsiteX1571" fmla="*/ 3204686 w 6400800"/>
                <a:gd name="connsiteY1571" fmla="*/ 204311 h 514350"/>
                <a:gd name="connsiteX1572" fmla="*/ 3203734 w 6400800"/>
                <a:gd name="connsiteY1572" fmla="*/ 175736 h 514350"/>
                <a:gd name="connsiteX1573" fmla="*/ 3200876 w 6400800"/>
                <a:gd name="connsiteY1573" fmla="*/ 206216 h 514350"/>
                <a:gd name="connsiteX1574" fmla="*/ 3196114 w 6400800"/>
                <a:gd name="connsiteY1574" fmla="*/ 240506 h 514350"/>
                <a:gd name="connsiteX1575" fmla="*/ 3195161 w 6400800"/>
                <a:gd name="connsiteY1575" fmla="*/ 243364 h 514350"/>
                <a:gd name="connsiteX1576" fmla="*/ 3196114 w 6400800"/>
                <a:gd name="connsiteY1576" fmla="*/ 217646 h 514350"/>
                <a:gd name="connsiteX1577" fmla="*/ 3198019 w 6400800"/>
                <a:gd name="connsiteY1577" fmla="*/ 180499 h 514350"/>
                <a:gd name="connsiteX1578" fmla="*/ 3199924 w 6400800"/>
                <a:gd name="connsiteY1578" fmla="*/ 151924 h 514350"/>
                <a:gd name="connsiteX1579" fmla="*/ 3200876 w 6400800"/>
                <a:gd name="connsiteY1579" fmla="*/ 127159 h 514350"/>
                <a:gd name="connsiteX1580" fmla="*/ 3195161 w 6400800"/>
                <a:gd name="connsiteY1580" fmla="*/ 151924 h 514350"/>
                <a:gd name="connsiteX1581" fmla="*/ 3184684 w 6400800"/>
                <a:gd name="connsiteY1581" fmla="*/ 217646 h 514350"/>
                <a:gd name="connsiteX1582" fmla="*/ 3181826 w 6400800"/>
                <a:gd name="connsiteY1582" fmla="*/ 235744 h 514350"/>
                <a:gd name="connsiteX1583" fmla="*/ 3179921 w 6400800"/>
                <a:gd name="connsiteY1583" fmla="*/ 231934 h 514350"/>
                <a:gd name="connsiteX1584" fmla="*/ 3179921 w 6400800"/>
                <a:gd name="connsiteY1584" fmla="*/ 224314 h 514350"/>
                <a:gd name="connsiteX1585" fmla="*/ 3178969 w 6400800"/>
                <a:gd name="connsiteY1585" fmla="*/ 230029 h 514350"/>
                <a:gd name="connsiteX1586" fmla="*/ 3177064 w 6400800"/>
                <a:gd name="connsiteY1586" fmla="*/ 227171 h 514350"/>
                <a:gd name="connsiteX1587" fmla="*/ 3178016 w 6400800"/>
                <a:gd name="connsiteY1587" fmla="*/ 231934 h 514350"/>
                <a:gd name="connsiteX1588" fmla="*/ 3174206 w 6400800"/>
                <a:gd name="connsiteY1588" fmla="*/ 250984 h 514350"/>
                <a:gd name="connsiteX1589" fmla="*/ 3170396 w 6400800"/>
                <a:gd name="connsiteY1589" fmla="*/ 277654 h 514350"/>
                <a:gd name="connsiteX1590" fmla="*/ 3169444 w 6400800"/>
                <a:gd name="connsiteY1590" fmla="*/ 275749 h 514350"/>
                <a:gd name="connsiteX1591" fmla="*/ 3163729 w 6400800"/>
                <a:gd name="connsiteY1591" fmla="*/ 215741 h 514350"/>
                <a:gd name="connsiteX1592" fmla="*/ 3162776 w 6400800"/>
                <a:gd name="connsiteY1592" fmla="*/ 207169 h 514350"/>
                <a:gd name="connsiteX1593" fmla="*/ 3163729 w 6400800"/>
                <a:gd name="connsiteY1593" fmla="*/ 203359 h 514350"/>
                <a:gd name="connsiteX1594" fmla="*/ 3174206 w 6400800"/>
                <a:gd name="connsiteY1594" fmla="*/ 132874 h 514350"/>
                <a:gd name="connsiteX1595" fmla="*/ 3178016 w 6400800"/>
                <a:gd name="connsiteY1595" fmla="*/ 106204 h 514350"/>
                <a:gd name="connsiteX1596" fmla="*/ 3170396 w 6400800"/>
                <a:gd name="connsiteY1596" fmla="*/ 131921 h 514350"/>
                <a:gd name="connsiteX1597" fmla="*/ 3158014 w 6400800"/>
                <a:gd name="connsiteY1597" fmla="*/ 177641 h 514350"/>
                <a:gd name="connsiteX1598" fmla="*/ 3154204 w 6400800"/>
                <a:gd name="connsiteY1598" fmla="*/ 159544 h 514350"/>
                <a:gd name="connsiteX1599" fmla="*/ 3149441 w 6400800"/>
                <a:gd name="connsiteY1599" fmla="*/ 134779 h 514350"/>
                <a:gd name="connsiteX1600" fmla="*/ 3143726 w 6400800"/>
                <a:gd name="connsiteY1600" fmla="*/ 112871 h 514350"/>
                <a:gd name="connsiteX1601" fmla="*/ 3133249 w 6400800"/>
                <a:gd name="connsiteY1601" fmla="*/ 77629 h 514350"/>
                <a:gd name="connsiteX1602" fmla="*/ 3122771 w 6400800"/>
                <a:gd name="connsiteY1602" fmla="*/ 47149 h 514350"/>
                <a:gd name="connsiteX1603" fmla="*/ 3129439 w 6400800"/>
                <a:gd name="connsiteY1603" fmla="*/ 78581 h 514350"/>
                <a:gd name="connsiteX1604" fmla="*/ 3136106 w 6400800"/>
                <a:gd name="connsiteY1604" fmla="*/ 114776 h 514350"/>
                <a:gd name="connsiteX1605" fmla="*/ 3139916 w 6400800"/>
                <a:gd name="connsiteY1605" fmla="*/ 136684 h 514350"/>
                <a:gd name="connsiteX1606" fmla="*/ 3142774 w 6400800"/>
                <a:gd name="connsiteY1606" fmla="*/ 161449 h 514350"/>
                <a:gd name="connsiteX1607" fmla="*/ 3147536 w 6400800"/>
                <a:gd name="connsiteY1607" fmla="*/ 213836 h 514350"/>
                <a:gd name="connsiteX1608" fmla="*/ 3146584 w 6400800"/>
                <a:gd name="connsiteY1608" fmla="*/ 217646 h 514350"/>
                <a:gd name="connsiteX1609" fmla="*/ 3143726 w 6400800"/>
                <a:gd name="connsiteY1609" fmla="*/ 210026 h 514350"/>
                <a:gd name="connsiteX1610" fmla="*/ 3138964 w 6400800"/>
                <a:gd name="connsiteY1610" fmla="*/ 196691 h 514350"/>
                <a:gd name="connsiteX1611" fmla="*/ 3134201 w 6400800"/>
                <a:gd name="connsiteY1611" fmla="*/ 179546 h 514350"/>
                <a:gd name="connsiteX1612" fmla="*/ 3126581 w 6400800"/>
                <a:gd name="connsiteY1612" fmla="*/ 155734 h 514350"/>
                <a:gd name="connsiteX1613" fmla="*/ 3129439 w 6400800"/>
                <a:gd name="connsiteY1613" fmla="*/ 172879 h 514350"/>
                <a:gd name="connsiteX1614" fmla="*/ 3118961 w 6400800"/>
                <a:gd name="connsiteY1614" fmla="*/ 150019 h 514350"/>
                <a:gd name="connsiteX1615" fmla="*/ 3112294 w 6400800"/>
                <a:gd name="connsiteY1615" fmla="*/ 136684 h 514350"/>
                <a:gd name="connsiteX1616" fmla="*/ 3102769 w 6400800"/>
                <a:gd name="connsiteY1616" fmla="*/ 113824 h 514350"/>
                <a:gd name="connsiteX1617" fmla="*/ 3090386 w 6400800"/>
                <a:gd name="connsiteY1617" fmla="*/ 87154 h 514350"/>
                <a:gd name="connsiteX1618" fmla="*/ 3099911 w 6400800"/>
                <a:gd name="connsiteY1618" fmla="*/ 114776 h 514350"/>
                <a:gd name="connsiteX1619" fmla="*/ 3109436 w 6400800"/>
                <a:gd name="connsiteY1619" fmla="*/ 146209 h 514350"/>
                <a:gd name="connsiteX1620" fmla="*/ 3115151 w 6400800"/>
                <a:gd name="connsiteY1620" fmla="*/ 167164 h 514350"/>
                <a:gd name="connsiteX1621" fmla="*/ 3109436 w 6400800"/>
                <a:gd name="connsiteY1621" fmla="*/ 155734 h 514350"/>
                <a:gd name="connsiteX1622" fmla="*/ 3116104 w 6400800"/>
                <a:gd name="connsiteY1622" fmla="*/ 176689 h 514350"/>
                <a:gd name="connsiteX1623" fmla="*/ 3121819 w 6400800"/>
                <a:gd name="connsiteY1623" fmla="*/ 194786 h 514350"/>
                <a:gd name="connsiteX1624" fmla="*/ 3125629 w 6400800"/>
                <a:gd name="connsiteY1624" fmla="*/ 213836 h 514350"/>
                <a:gd name="connsiteX1625" fmla="*/ 3123724 w 6400800"/>
                <a:gd name="connsiteY1625" fmla="*/ 215741 h 514350"/>
                <a:gd name="connsiteX1626" fmla="*/ 3122771 w 6400800"/>
                <a:gd name="connsiteY1626" fmla="*/ 210979 h 514350"/>
                <a:gd name="connsiteX1627" fmla="*/ 3122771 w 6400800"/>
                <a:gd name="connsiteY1627" fmla="*/ 216694 h 514350"/>
                <a:gd name="connsiteX1628" fmla="*/ 3113246 w 6400800"/>
                <a:gd name="connsiteY1628" fmla="*/ 228124 h 514350"/>
                <a:gd name="connsiteX1629" fmla="*/ 3113246 w 6400800"/>
                <a:gd name="connsiteY1629" fmla="*/ 228124 h 514350"/>
                <a:gd name="connsiteX1630" fmla="*/ 3110389 w 6400800"/>
                <a:gd name="connsiteY1630" fmla="*/ 191929 h 514350"/>
                <a:gd name="connsiteX1631" fmla="*/ 3108484 w 6400800"/>
                <a:gd name="connsiteY1631" fmla="*/ 171926 h 514350"/>
                <a:gd name="connsiteX1632" fmla="*/ 3106579 w 6400800"/>
                <a:gd name="connsiteY1632" fmla="*/ 192881 h 514350"/>
                <a:gd name="connsiteX1633" fmla="*/ 3104674 w 6400800"/>
                <a:gd name="connsiteY1633" fmla="*/ 228124 h 514350"/>
                <a:gd name="connsiteX1634" fmla="*/ 3104674 w 6400800"/>
                <a:gd name="connsiteY1634" fmla="*/ 227171 h 514350"/>
                <a:gd name="connsiteX1635" fmla="*/ 3097054 w 6400800"/>
                <a:gd name="connsiteY1635" fmla="*/ 208121 h 514350"/>
                <a:gd name="connsiteX1636" fmla="*/ 3100864 w 6400800"/>
                <a:gd name="connsiteY1636" fmla="*/ 228124 h 514350"/>
                <a:gd name="connsiteX1637" fmla="*/ 3103721 w 6400800"/>
                <a:gd name="connsiteY1637" fmla="*/ 244316 h 514350"/>
                <a:gd name="connsiteX1638" fmla="*/ 3096101 w 6400800"/>
                <a:gd name="connsiteY1638" fmla="*/ 255746 h 514350"/>
                <a:gd name="connsiteX1639" fmla="*/ 3087529 w 6400800"/>
                <a:gd name="connsiteY1639" fmla="*/ 270034 h 514350"/>
                <a:gd name="connsiteX1640" fmla="*/ 3082766 w 6400800"/>
                <a:gd name="connsiteY1640" fmla="*/ 252889 h 514350"/>
                <a:gd name="connsiteX1641" fmla="*/ 3077051 w 6400800"/>
                <a:gd name="connsiteY1641" fmla="*/ 233839 h 514350"/>
                <a:gd name="connsiteX1642" fmla="*/ 3078956 w 6400800"/>
                <a:gd name="connsiteY1642" fmla="*/ 252889 h 514350"/>
                <a:gd name="connsiteX1643" fmla="*/ 3079909 w 6400800"/>
                <a:gd name="connsiteY1643" fmla="*/ 264319 h 514350"/>
                <a:gd name="connsiteX1644" fmla="*/ 3077051 w 6400800"/>
                <a:gd name="connsiteY1644" fmla="*/ 255746 h 514350"/>
                <a:gd name="connsiteX1645" fmla="*/ 3074194 w 6400800"/>
                <a:gd name="connsiteY1645" fmla="*/ 248126 h 514350"/>
                <a:gd name="connsiteX1646" fmla="*/ 3074194 w 6400800"/>
                <a:gd name="connsiteY1646" fmla="*/ 242411 h 514350"/>
                <a:gd name="connsiteX1647" fmla="*/ 3075146 w 6400800"/>
                <a:gd name="connsiteY1647" fmla="*/ 229076 h 514350"/>
                <a:gd name="connsiteX1648" fmla="*/ 3077051 w 6400800"/>
                <a:gd name="connsiteY1648" fmla="*/ 220504 h 514350"/>
                <a:gd name="connsiteX1649" fmla="*/ 3086576 w 6400800"/>
                <a:gd name="connsiteY1649" fmla="*/ 189071 h 514350"/>
                <a:gd name="connsiteX1650" fmla="*/ 3096101 w 6400800"/>
                <a:gd name="connsiteY1650" fmla="*/ 161449 h 514350"/>
                <a:gd name="connsiteX1651" fmla="*/ 3083719 w 6400800"/>
                <a:gd name="connsiteY1651" fmla="*/ 188119 h 514350"/>
                <a:gd name="connsiteX1652" fmla="*/ 3071336 w 6400800"/>
                <a:gd name="connsiteY1652" fmla="*/ 218599 h 514350"/>
                <a:gd name="connsiteX1653" fmla="*/ 3068479 w 6400800"/>
                <a:gd name="connsiteY1653" fmla="*/ 224314 h 514350"/>
                <a:gd name="connsiteX1654" fmla="*/ 3068479 w 6400800"/>
                <a:gd name="connsiteY1654" fmla="*/ 216694 h 514350"/>
                <a:gd name="connsiteX1655" fmla="*/ 3069431 w 6400800"/>
                <a:gd name="connsiteY1655" fmla="*/ 209074 h 514350"/>
                <a:gd name="connsiteX1656" fmla="*/ 3072289 w 6400800"/>
                <a:gd name="connsiteY1656" fmla="*/ 181451 h 514350"/>
                <a:gd name="connsiteX1657" fmla="*/ 3073241 w 6400800"/>
                <a:gd name="connsiteY1657" fmla="*/ 157639 h 514350"/>
                <a:gd name="connsiteX1658" fmla="*/ 3067526 w 6400800"/>
                <a:gd name="connsiteY1658" fmla="*/ 180499 h 514350"/>
                <a:gd name="connsiteX1659" fmla="*/ 3066574 w 6400800"/>
                <a:gd name="connsiteY1659" fmla="*/ 183356 h 514350"/>
                <a:gd name="connsiteX1660" fmla="*/ 3064669 w 6400800"/>
                <a:gd name="connsiteY1660" fmla="*/ 148114 h 514350"/>
                <a:gd name="connsiteX1661" fmla="*/ 3064669 w 6400800"/>
                <a:gd name="connsiteY1661" fmla="*/ 145256 h 514350"/>
                <a:gd name="connsiteX1662" fmla="*/ 3064669 w 6400800"/>
                <a:gd name="connsiteY1662" fmla="*/ 146209 h 514350"/>
                <a:gd name="connsiteX1663" fmla="*/ 3063716 w 6400800"/>
                <a:gd name="connsiteY1663" fmla="*/ 131921 h 514350"/>
                <a:gd name="connsiteX1664" fmla="*/ 3058954 w 6400800"/>
                <a:gd name="connsiteY1664" fmla="*/ 174784 h 514350"/>
                <a:gd name="connsiteX1665" fmla="*/ 3056096 w 6400800"/>
                <a:gd name="connsiteY1665" fmla="*/ 190976 h 514350"/>
                <a:gd name="connsiteX1666" fmla="*/ 3054191 w 6400800"/>
                <a:gd name="connsiteY1666" fmla="*/ 201454 h 514350"/>
                <a:gd name="connsiteX1667" fmla="*/ 3049429 w 6400800"/>
                <a:gd name="connsiteY1667" fmla="*/ 189071 h 514350"/>
                <a:gd name="connsiteX1668" fmla="*/ 3049429 w 6400800"/>
                <a:gd name="connsiteY1668" fmla="*/ 188119 h 514350"/>
                <a:gd name="connsiteX1669" fmla="*/ 3056096 w 6400800"/>
                <a:gd name="connsiteY1669" fmla="*/ 151924 h 514350"/>
                <a:gd name="connsiteX1670" fmla="*/ 3062764 w 6400800"/>
                <a:gd name="connsiteY1670" fmla="*/ 120491 h 514350"/>
                <a:gd name="connsiteX1671" fmla="*/ 3052286 w 6400800"/>
                <a:gd name="connsiteY1671" fmla="*/ 150971 h 514350"/>
                <a:gd name="connsiteX1672" fmla="*/ 3041809 w 6400800"/>
                <a:gd name="connsiteY1672" fmla="*/ 186214 h 514350"/>
                <a:gd name="connsiteX1673" fmla="*/ 3036094 w 6400800"/>
                <a:gd name="connsiteY1673" fmla="*/ 208121 h 514350"/>
                <a:gd name="connsiteX1674" fmla="*/ 3034189 w 6400800"/>
                <a:gd name="connsiteY1674" fmla="*/ 215741 h 514350"/>
                <a:gd name="connsiteX1675" fmla="*/ 3032284 w 6400800"/>
                <a:gd name="connsiteY1675" fmla="*/ 205264 h 514350"/>
                <a:gd name="connsiteX1676" fmla="*/ 3048476 w 6400800"/>
                <a:gd name="connsiteY1676" fmla="*/ 148114 h 514350"/>
                <a:gd name="connsiteX1677" fmla="*/ 3057049 w 6400800"/>
                <a:gd name="connsiteY1677" fmla="*/ 123349 h 514350"/>
                <a:gd name="connsiteX1678" fmla="*/ 3054191 w 6400800"/>
                <a:gd name="connsiteY1678" fmla="*/ 129064 h 514350"/>
                <a:gd name="connsiteX1679" fmla="*/ 3045619 w 6400800"/>
                <a:gd name="connsiteY1679" fmla="*/ 146209 h 514350"/>
                <a:gd name="connsiteX1680" fmla="*/ 3029426 w 6400800"/>
                <a:gd name="connsiteY1680" fmla="*/ 184309 h 514350"/>
                <a:gd name="connsiteX1681" fmla="*/ 3029426 w 6400800"/>
                <a:gd name="connsiteY1681" fmla="*/ 167164 h 514350"/>
                <a:gd name="connsiteX1682" fmla="*/ 3030379 w 6400800"/>
                <a:gd name="connsiteY1682" fmla="*/ 140494 h 514350"/>
                <a:gd name="connsiteX1683" fmla="*/ 3025616 w 6400800"/>
                <a:gd name="connsiteY1683" fmla="*/ 166211 h 514350"/>
                <a:gd name="connsiteX1684" fmla="*/ 3022759 w 6400800"/>
                <a:gd name="connsiteY1684" fmla="*/ 196691 h 514350"/>
                <a:gd name="connsiteX1685" fmla="*/ 3022759 w 6400800"/>
                <a:gd name="connsiteY1685" fmla="*/ 202406 h 514350"/>
                <a:gd name="connsiteX1686" fmla="*/ 3019901 w 6400800"/>
                <a:gd name="connsiteY1686" fmla="*/ 210979 h 514350"/>
                <a:gd name="connsiteX1687" fmla="*/ 3011329 w 6400800"/>
                <a:gd name="connsiteY1687" fmla="*/ 234791 h 514350"/>
                <a:gd name="connsiteX1688" fmla="*/ 3007519 w 6400800"/>
                <a:gd name="connsiteY1688" fmla="*/ 226219 h 514350"/>
                <a:gd name="connsiteX1689" fmla="*/ 3011329 w 6400800"/>
                <a:gd name="connsiteY1689" fmla="*/ 215741 h 514350"/>
                <a:gd name="connsiteX1690" fmla="*/ 3006566 w 6400800"/>
                <a:gd name="connsiteY1690" fmla="*/ 222409 h 514350"/>
                <a:gd name="connsiteX1691" fmla="*/ 3001804 w 6400800"/>
                <a:gd name="connsiteY1691" fmla="*/ 202406 h 514350"/>
                <a:gd name="connsiteX1692" fmla="*/ 3000851 w 6400800"/>
                <a:gd name="connsiteY1692" fmla="*/ 197644 h 514350"/>
                <a:gd name="connsiteX1693" fmla="*/ 3003709 w 6400800"/>
                <a:gd name="connsiteY1693" fmla="*/ 189071 h 514350"/>
                <a:gd name="connsiteX1694" fmla="*/ 3011329 w 6400800"/>
                <a:gd name="connsiteY1694" fmla="*/ 164306 h 514350"/>
                <a:gd name="connsiteX1695" fmla="*/ 3018949 w 6400800"/>
                <a:gd name="connsiteY1695" fmla="*/ 142399 h 514350"/>
                <a:gd name="connsiteX1696" fmla="*/ 3007519 w 6400800"/>
                <a:gd name="connsiteY1696" fmla="*/ 162401 h 514350"/>
                <a:gd name="connsiteX1697" fmla="*/ 2997994 w 6400800"/>
                <a:gd name="connsiteY1697" fmla="*/ 182404 h 514350"/>
                <a:gd name="connsiteX1698" fmla="*/ 2995136 w 6400800"/>
                <a:gd name="connsiteY1698" fmla="*/ 169069 h 514350"/>
                <a:gd name="connsiteX1699" fmla="*/ 3014186 w 6400800"/>
                <a:gd name="connsiteY1699" fmla="*/ 100489 h 514350"/>
                <a:gd name="connsiteX1700" fmla="*/ 3021806 w 6400800"/>
                <a:gd name="connsiteY1700" fmla="*/ 76676 h 514350"/>
                <a:gd name="connsiteX1701" fmla="*/ 3024664 w 6400800"/>
                <a:gd name="connsiteY1701" fmla="*/ 68104 h 514350"/>
                <a:gd name="connsiteX1702" fmla="*/ 3020854 w 6400800"/>
                <a:gd name="connsiteY1702" fmla="*/ 75724 h 514350"/>
                <a:gd name="connsiteX1703" fmla="*/ 3010376 w 6400800"/>
                <a:gd name="connsiteY1703" fmla="*/ 98584 h 514350"/>
                <a:gd name="connsiteX1704" fmla="*/ 2996089 w 6400800"/>
                <a:gd name="connsiteY1704" fmla="*/ 134779 h 514350"/>
                <a:gd name="connsiteX1705" fmla="*/ 2991326 w 6400800"/>
                <a:gd name="connsiteY1705" fmla="*/ 148114 h 514350"/>
                <a:gd name="connsiteX1706" fmla="*/ 2987516 w 6400800"/>
                <a:gd name="connsiteY1706" fmla="*/ 122396 h 514350"/>
                <a:gd name="connsiteX1707" fmla="*/ 2984659 w 6400800"/>
                <a:gd name="connsiteY1707" fmla="*/ 91916 h 514350"/>
                <a:gd name="connsiteX1708" fmla="*/ 2983706 w 6400800"/>
                <a:gd name="connsiteY1708" fmla="*/ 122396 h 514350"/>
                <a:gd name="connsiteX1709" fmla="*/ 2985611 w 6400800"/>
                <a:gd name="connsiteY1709" fmla="*/ 157639 h 514350"/>
                <a:gd name="connsiteX1710" fmla="*/ 2985611 w 6400800"/>
                <a:gd name="connsiteY1710" fmla="*/ 163354 h 514350"/>
                <a:gd name="connsiteX1711" fmla="*/ 2978944 w 6400800"/>
                <a:gd name="connsiteY1711" fmla="*/ 182404 h 514350"/>
                <a:gd name="connsiteX1712" fmla="*/ 2960846 w 6400800"/>
                <a:gd name="connsiteY1712" fmla="*/ 238601 h 514350"/>
                <a:gd name="connsiteX1713" fmla="*/ 2959894 w 6400800"/>
                <a:gd name="connsiteY1713" fmla="*/ 234791 h 514350"/>
                <a:gd name="connsiteX1714" fmla="*/ 2960846 w 6400800"/>
                <a:gd name="connsiteY1714" fmla="*/ 239554 h 514350"/>
                <a:gd name="connsiteX1715" fmla="*/ 2950369 w 6400800"/>
                <a:gd name="connsiteY1715" fmla="*/ 274796 h 514350"/>
                <a:gd name="connsiteX1716" fmla="*/ 2952274 w 6400800"/>
                <a:gd name="connsiteY1716" fmla="*/ 264319 h 514350"/>
                <a:gd name="connsiteX1717" fmla="*/ 2944654 w 6400800"/>
                <a:gd name="connsiteY1717" fmla="*/ 284321 h 514350"/>
                <a:gd name="connsiteX1718" fmla="*/ 2944654 w 6400800"/>
                <a:gd name="connsiteY1718" fmla="*/ 283369 h 514350"/>
                <a:gd name="connsiteX1719" fmla="*/ 2945606 w 6400800"/>
                <a:gd name="connsiteY1719" fmla="*/ 277654 h 514350"/>
                <a:gd name="connsiteX1720" fmla="*/ 2949416 w 6400800"/>
                <a:gd name="connsiteY1720" fmla="*/ 238601 h 514350"/>
                <a:gd name="connsiteX1721" fmla="*/ 2951321 w 6400800"/>
                <a:gd name="connsiteY1721" fmla="*/ 221456 h 514350"/>
                <a:gd name="connsiteX1722" fmla="*/ 2953226 w 6400800"/>
                <a:gd name="connsiteY1722" fmla="*/ 205264 h 514350"/>
                <a:gd name="connsiteX1723" fmla="*/ 2956084 w 6400800"/>
                <a:gd name="connsiteY1723" fmla="*/ 179546 h 514350"/>
                <a:gd name="connsiteX1724" fmla="*/ 2958941 w 6400800"/>
                <a:gd name="connsiteY1724" fmla="*/ 156686 h 514350"/>
                <a:gd name="connsiteX1725" fmla="*/ 2952274 w 6400800"/>
                <a:gd name="connsiteY1725" fmla="*/ 178594 h 514350"/>
                <a:gd name="connsiteX1726" fmla="*/ 2945606 w 6400800"/>
                <a:gd name="connsiteY1726" fmla="*/ 203359 h 514350"/>
                <a:gd name="connsiteX1727" fmla="*/ 2941796 w 6400800"/>
                <a:gd name="connsiteY1727" fmla="*/ 218599 h 514350"/>
                <a:gd name="connsiteX1728" fmla="*/ 2937986 w 6400800"/>
                <a:gd name="connsiteY1728" fmla="*/ 235744 h 514350"/>
                <a:gd name="connsiteX1729" fmla="*/ 2931319 w 6400800"/>
                <a:gd name="connsiteY1729" fmla="*/ 270034 h 514350"/>
                <a:gd name="connsiteX1730" fmla="*/ 2929414 w 6400800"/>
                <a:gd name="connsiteY1730" fmla="*/ 260509 h 514350"/>
                <a:gd name="connsiteX1731" fmla="*/ 2928461 w 6400800"/>
                <a:gd name="connsiteY1731" fmla="*/ 256699 h 514350"/>
                <a:gd name="connsiteX1732" fmla="*/ 2931319 w 6400800"/>
                <a:gd name="connsiteY1732" fmla="*/ 251936 h 514350"/>
                <a:gd name="connsiteX1733" fmla="*/ 2927509 w 6400800"/>
                <a:gd name="connsiteY1733" fmla="*/ 254794 h 514350"/>
                <a:gd name="connsiteX1734" fmla="*/ 2925604 w 6400800"/>
                <a:gd name="connsiteY1734" fmla="*/ 247174 h 514350"/>
                <a:gd name="connsiteX1735" fmla="*/ 2931319 w 6400800"/>
                <a:gd name="connsiteY1735" fmla="*/ 231934 h 514350"/>
                <a:gd name="connsiteX1736" fmla="*/ 2924651 w 6400800"/>
                <a:gd name="connsiteY1736" fmla="*/ 243364 h 514350"/>
                <a:gd name="connsiteX1737" fmla="*/ 2922746 w 6400800"/>
                <a:gd name="connsiteY1737" fmla="*/ 237649 h 514350"/>
                <a:gd name="connsiteX1738" fmla="*/ 2922746 w 6400800"/>
                <a:gd name="connsiteY1738" fmla="*/ 236696 h 514350"/>
                <a:gd name="connsiteX1739" fmla="*/ 2921794 w 6400800"/>
                <a:gd name="connsiteY1739" fmla="*/ 236696 h 514350"/>
                <a:gd name="connsiteX1740" fmla="*/ 2916079 w 6400800"/>
                <a:gd name="connsiteY1740" fmla="*/ 236696 h 514350"/>
                <a:gd name="connsiteX1741" fmla="*/ 2916079 w 6400800"/>
                <a:gd name="connsiteY1741" fmla="*/ 236696 h 514350"/>
                <a:gd name="connsiteX1742" fmla="*/ 2935129 w 6400800"/>
                <a:gd name="connsiteY1742" fmla="*/ 176689 h 514350"/>
                <a:gd name="connsiteX1743" fmla="*/ 2909411 w 6400800"/>
                <a:gd name="connsiteY1743" fmla="*/ 230029 h 514350"/>
                <a:gd name="connsiteX1744" fmla="*/ 2902744 w 6400800"/>
                <a:gd name="connsiteY1744" fmla="*/ 211931 h 514350"/>
                <a:gd name="connsiteX1745" fmla="*/ 2900839 w 6400800"/>
                <a:gd name="connsiteY1745" fmla="*/ 195739 h 514350"/>
                <a:gd name="connsiteX1746" fmla="*/ 2897981 w 6400800"/>
                <a:gd name="connsiteY1746" fmla="*/ 173831 h 514350"/>
                <a:gd name="connsiteX1747" fmla="*/ 2896076 w 6400800"/>
                <a:gd name="connsiteY1747" fmla="*/ 153829 h 514350"/>
                <a:gd name="connsiteX1748" fmla="*/ 2893219 w 6400800"/>
                <a:gd name="connsiteY1748" fmla="*/ 121444 h 514350"/>
                <a:gd name="connsiteX1749" fmla="*/ 2890361 w 6400800"/>
                <a:gd name="connsiteY1749" fmla="*/ 93821 h 514350"/>
                <a:gd name="connsiteX1750" fmla="*/ 2889409 w 6400800"/>
                <a:gd name="connsiteY1750" fmla="*/ 121444 h 514350"/>
                <a:gd name="connsiteX1751" fmla="*/ 2889409 w 6400800"/>
                <a:gd name="connsiteY1751" fmla="*/ 153829 h 514350"/>
                <a:gd name="connsiteX1752" fmla="*/ 2889409 w 6400800"/>
                <a:gd name="connsiteY1752" fmla="*/ 173831 h 514350"/>
                <a:gd name="connsiteX1753" fmla="*/ 2890361 w 6400800"/>
                <a:gd name="connsiteY1753" fmla="*/ 195739 h 514350"/>
                <a:gd name="connsiteX1754" fmla="*/ 2891314 w 6400800"/>
                <a:gd name="connsiteY1754" fmla="*/ 211931 h 514350"/>
                <a:gd name="connsiteX1755" fmla="*/ 2887504 w 6400800"/>
                <a:gd name="connsiteY1755" fmla="*/ 217646 h 514350"/>
                <a:gd name="connsiteX1756" fmla="*/ 2885599 w 6400800"/>
                <a:gd name="connsiteY1756" fmla="*/ 221456 h 514350"/>
                <a:gd name="connsiteX1757" fmla="*/ 2880836 w 6400800"/>
                <a:gd name="connsiteY1757" fmla="*/ 195739 h 514350"/>
                <a:gd name="connsiteX1758" fmla="*/ 2874169 w 6400800"/>
                <a:gd name="connsiteY1758" fmla="*/ 166211 h 514350"/>
                <a:gd name="connsiteX1759" fmla="*/ 2867501 w 6400800"/>
                <a:gd name="connsiteY1759" fmla="*/ 144304 h 514350"/>
                <a:gd name="connsiteX1760" fmla="*/ 2860834 w 6400800"/>
                <a:gd name="connsiteY1760" fmla="*/ 125254 h 514350"/>
                <a:gd name="connsiteX1761" fmla="*/ 2863691 w 6400800"/>
                <a:gd name="connsiteY1761" fmla="*/ 145256 h 514350"/>
                <a:gd name="connsiteX1762" fmla="*/ 2866549 w 6400800"/>
                <a:gd name="connsiteY1762" fmla="*/ 168116 h 514350"/>
                <a:gd name="connsiteX1763" fmla="*/ 2869406 w 6400800"/>
                <a:gd name="connsiteY1763" fmla="*/ 197644 h 514350"/>
                <a:gd name="connsiteX1764" fmla="*/ 2872264 w 6400800"/>
                <a:gd name="connsiteY1764" fmla="*/ 232886 h 514350"/>
                <a:gd name="connsiteX1765" fmla="*/ 2873216 w 6400800"/>
                <a:gd name="connsiteY1765" fmla="*/ 247174 h 514350"/>
                <a:gd name="connsiteX1766" fmla="*/ 2864644 w 6400800"/>
                <a:gd name="connsiteY1766" fmla="*/ 270034 h 514350"/>
                <a:gd name="connsiteX1767" fmla="*/ 2863691 w 6400800"/>
                <a:gd name="connsiteY1767" fmla="*/ 274796 h 514350"/>
                <a:gd name="connsiteX1768" fmla="*/ 2855119 w 6400800"/>
                <a:gd name="connsiteY1768" fmla="*/ 257651 h 514350"/>
                <a:gd name="connsiteX1769" fmla="*/ 2841784 w 6400800"/>
                <a:gd name="connsiteY1769" fmla="*/ 230029 h 514350"/>
                <a:gd name="connsiteX1770" fmla="*/ 2855119 w 6400800"/>
                <a:gd name="connsiteY1770" fmla="*/ 226219 h 514350"/>
                <a:gd name="connsiteX1771" fmla="*/ 2853214 w 6400800"/>
                <a:gd name="connsiteY1771" fmla="*/ 231934 h 514350"/>
                <a:gd name="connsiteX1772" fmla="*/ 2840831 w 6400800"/>
                <a:gd name="connsiteY1772" fmla="*/ 209074 h 514350"/>
                <a:gd name="connsiteX1773" fmla="*/ 2866549 w 6400800"/>
                <a:gd name="connsiteY1773" fmla="*/ 150971 h 514350"/>
                <a:gd name="connsiteX1774" fmla="*/ 2835116 w 6400800"/>
                <a:gd name="connsiteY1774" fmla="*/ 198596 h 514350"/>
                <a:gd name="connsiteX1775" fmla="*/ 2829401 w 6400800"/>
                <a:gd name="connsiteY1775" fmla="*/ 188119 h 514350"/>
                <a:gd name="connsiteX1776" fmla="*/ 2820829 w 6400800"/>
                <a:gd name="connsiteY1776" fmla="*/ 132874 h 514350"/>
                <a:gd name="connsiteX1777" fmla="*/ 2821781 w 6400800"/>
                <a:gd name="connsiteY1777" fmla="*/ 173831 h 514350"/>
                <a:gd name="connsiteX1778" fmla="*/ 2807494 w 6400800"/>
                <a:gd name="connsiteY1778" fmla="*/ 151924 h 514350"/>
                <a:gd name="connsiteX1779" fmla="*/ 2782729 w 6400800"/>
                <a:gd name="connsiteY1779" fmla="*/ 115729 h 514350"/>
                <a:gd name="connsiteX1780" fmla="*/ 2759869 w 6400800"/>
                <a:gd name="connsiteY1780" fmla="*/ 85249 h 514350"/>
                <a:gd name="connsiteX1781" fmla="*/ 2778919 w 6400800"/>
                <a:gd name="connsiteY1781" fmla="*/ 118586 h 514350"/>
                <a:gd name="connsiteX1782" fmla="*/ 2799874 w 6400800"/>
                <a:gd name="connsiteY1782" fmla="*/ 156686 h 514350"/>
                <a:gd name="connsiteX1783" fmla="*/ 2812256 w 6400800"/>
                <a:gd name="connsiteY1783" fmla="*/ 180499 h 514350"/>
                <a:gd name="connsiteX1784" fmla="*/ 2820829 w 6400800"/>
                <a:gd name="connsiteY1784" fmla="*/ 197644 h 514350"/>
                <a:gd name="connsiteX1785" fmla="*/ 2820829 w 6400800"/>
                <a:gd name="connsiteY1785" fmla="*/ 204311 h 514350"/>
                <a:gd name="connsiteX1786" fmla="*/ 2821781 w 6400800"/>
                <a:gd name="connsiteY1786" fmla="*/ 218599 h 514350"/>
                <a:gd name="connsiteX1787" fmla="*/ 2817019 w 6400800"/>
                <a:gd name="connsiteY1787" fmla="*/ 227171 h 514350"/>
                <a:gd name="connsiteX1788" fmla="*/ 2806541 w 6400800"/>
                <a:gd name="connsiteY1788" fmla="*/ 211931 h 514350"/>
                <a:gd name="connsiteX1789" fmla="*/ 2805589 w 6400800"/>
                <a:gd name="connsiteY1789" fmla="*/ 210026 h 514350"/>
                <a:gd name="connsiteX1790" fmla="*/ 2806541 w 6400800"/>
                <a:gd name="connsiteY1790" fmla="*/ 208121 h 514350"/>
                <a:gd name="connsiteX1791" fmla="*/ 2805589 w 6400800"/>
                <a:gd name="connsiteY1791" fmla="*/ 209074 h 514350"/>
                <a:gd name="connsiteX1792" fmla="*/ 2792254 w 6400800"/>
                <a:gd name="connsiteY1792" fmla="*/ 191929 h 514350"/>
                <a:gd name="connsiteX1793" fmla="*/ 2767489 w 6400800"/>
                <a:gd name="connsiteY1793" fmla="*/ 161449 h 514350"/>
                <a:gd name="connsiteX1794" fmla="*/ 2765584 w 6400800"/>
                <a:gd name="connsiteY1794" fmla="*/ 158591 h 514350"/>
                <a:gd name="connsiteX1795" fmla="*/ 2765584 w 6400800"/>
                <a:gd name="connsiteY1795" fmla="*/ 155734 h 514350"/>
                <a:gd name="connsiteX1796" fmla="*/ 2762726 w 6400800"/>
                <a:gd name="connsiteY1796" fmla="*/ 128111 h 514350"/>
                <a:gd name="connsiteX1797" fmla="*/ 2759869 w 6400800"/>
                <a:gd name="connsiteY1797" fmla="*/ 103346 h 514350"/>
                <a:gd name="connsiteX1798" fmla="*/ 2758916 w 6400800"/>
                <a:gd name="connsiteY1798" fmla="*/ 128111 h 514350"/>
                <a:gd name="connsiteX1799" fmla="*/ 2758916 w 6400800"/>
                <a:gd name="connsiteY1799" fmla="*/ 150019 h 514350"/>
                <a:gd name="connsiteX1800" fmla="*/ 2745581 w 6400800"/>
                <a:gd name="connsiteY1800" fmla="*/ 135731 h 514350"/>
                <a:gd name="connsiteX1801" fmla="*/ 2758916 w 6400800"/>
                <a:gd name="connsiteY1801" fmla="*/ 153829 h 514350"/>
                <a:gd name="connsiteX1802" fmla="*/ 2758916 w 6400800"/>
                <a:gd name="connsiteY1802" fmla="*/ 155734 h 514350"/>
                <a:gd name="connsiteX1803" fmla="*/ 2758916 w 6400800"/>
                <a:gd name="connsiteY1803" fmla="*/ 172879 h 514350"/>
                <a:gd name="connsiteX1804" fmla="*/ 2759869 w 6400800"/>
                <a:gd name="connsiteY1804" fmla="*/ 191929 h 514350"/>
                <a:gd name="connsiteX1805" fmla="*/ 2761774 w 6400800"/>
                <a:gd name="connsiteY1805" fmla="*/ 219551 h 514350"/>
                <a:gd name="connsiteX1806" fmla="*/ 2760821 w 6400800"/>
                <a:gd name="connsiteY1806" fmla="*/ 217646 h 514350"/>
                <a:gd name="connsiteX1807" fmla="*/ 2760821 w 6400800"/>
                <a:gd name="connsiteY1807" fmla="*/ 216694 h 514350"/>
                <a:gd name="connsiteX1808" fmla="*/ 2760821 w 6400800"/>
                <a:gd name="connsiteY1808" fmla="*/ 217646 h 514350"/>
                <a:gd name="connsiteX1809" fmla="*/ 2741771 w 6400800"/>
                <a:gd name="connsiteY1809" fmla="*/ 172879 h 514350"/>
                <a:gd name="connsiteX1810" fmla="*/ 2757011 w 6400800"/>
                <a:gd name="connsiteY1810" fmla="*/ 228124 h 514350"/>
                <a:gd name="connsiteX1811" fmla="*/ 2743676 w 6400800"/>
                <a:gd name="connsiteY1811" fmla="*/ 268129 h 514350"/>
                <a:gd name="connsiteX1812" fmla="*/ 2736056 w 6400800"/>
                <a:gd name="connsiteY1812" fmla="*/ 254794 h 514350"/>
                <a:gd name="connsiteX1813" fmla="*/ 2737009 w 6400800"/>
                <a:gd name="connsiteY1813" fmla="*/ 232886 h 514350"/>
                <a:gd name="connsiteX1814" fmla="*/ 2732246 w 6400800"/>
                <a:gd name="connsiteY1814" fmla="*/ 249079 h 514350"/>
                <a:gd name="connsiteX1815" fmla="*/ 2730341 w 6400800"/>
                <a:gd name="connsiteY1815" fmla="*/ 246221 h 514350"/>
                <a:gd name="connsiteX1816" fmla="*/ 2731294 w 6400800"/>
                <a:gd name="connsiteY1816" fmla="*/ 250031 h 514350"/>
                <a:gd name="connsiteX1817" fmla="*/ 2729389 w 6400800"/>
                <a:gd name="connsiteY1817" fmla="*/ 258604 h 514350"/>
                <a:gd name="connsiteX1818" fmla="*/ 2729389 w 6400800"/>
                <a:gd name="connsiteY1818" fmla="*/ 247174 h 514350"/>
                <a:gd name="connsiteX1819" fmla="*/ 2731294 w 6400800"/>
                <a:gd name="connsiteY1819" fmla="*/ 218599 h 514350"/>
                <a:gd name="connsiteX1820" fmla="*/ 2733199 w 6400800"/>
                <a:gd name="connsiteY1820" fmla="*/ 219551 h 514350"/>
                <a:gd name="connsiteX1821" fmla="*/ 2736056 w 6400800"/>
                <a:gd name="connsiteY1821" fmla="*/ 222409 h 514350"/>
                <a:gd name="connsiteX1822" fmla="*/ 2738914 w 6400800"/>
                <a:gd name="connsiteY1822" fmla="*/ 230981 h 514350"/>
                <a:gd name="connsiteX1823" fmla="*/ 2737961 w 6400800"/>
                <a:gd name="connsiteY1823" fmla="*/ 222409 h 514350"/>
                <a:gd name="connsiteX1824" fmla="*/ 2735104 w 6400800"/>
                <a:gd name="connsiteY1824" fmla="*/ 218599 h 514350"/>
                <a:gd name="connsiteX1825" fmla="*/ 2730341 w 6400800"/>
                <a:gd name="connsiteY1825" fmla="*/ 216694 h 514350"/>
                <a:gd name="connsiteX1826" fmla="*/ 2728436 w 6400800"/>
                <a:gd name="connsiteY1826" fmla="*/ 216694 h 514350"/>
                <a:gd name="connsiteX1827" fmla="*/ 2728436 w 6400800"/>
                <a:gd name="connsiteY1827" fmla="*/ 218599 h 514350"/>
                <a:gd name="connsiteX1828" fmla="*/ 2721769 w 6400800"/>
                <a:gd name="connsiteY1828" fmla="*/ 248126 h 514350"/>
                <a:gd name="connsiteX1829" fmla="*/ 2719864 w 6400800"/>
                <a:gd name="connsiteY1829" fmla="*/ 260509 h 514350"/>
                <a:gd name="connsiteX1830" fmla="*/ 2717006 w 6400800"/>
                <a:gd name="connsiteY1830" fmla="*/ 254794 h 514350"/>
                <a:gd name="connsiteX1831" fmla="*/ 2717006 w 6400800"/>
                <a:gd name="connsiteY1831" fmla="*/ 253841 h 514350"/>
                <a:gd name="connsiteX1832" fmla="*/ 2718911 w 6400800"/>
                <a:gd name="connsiteY1832" fmla="*/ 238601 h 514350"/>
                <a:gd name="connsiteX1833" fmla="*/ 2716054 w 6400800"/>
                <a:gd name="connsiteY1833" fmla="*/ 247174 h 514350"/>
                <a:gd name="connsiteX1834" fmla="*/ 2716054 w 6400800"/>
                <a:gd name="connsiteY1834" fmla="*/ 176689 h 514350"/>
                <a:gd name="connsiteX1835" fmla="*/ 2713196 w 6400800"/>
                <a:gd name="connsiteY1835" fmla="*/ 198596 h 514350"/>
                <a:gd name="connsiteX1836" fmla="*/ 2709386 w 6400800"/>
                <a:gd name="connsiteY1836" fmla="*/ 230029 h 514350"/>
                <a:gd name="connsiteX1837" fmla="*/ 2704624 w 6400800"/>
                <a:gd name="connsiteY1837" fmla="*/ 218599 h 514350"/>
                <a:gd name="connsiteX1838" fmla="*/ 2703671 w 6400800"/>
                <a:gd name="connsiteY1838" fmla="*/ 199549 h 514350"/>
                <a:gd name="connsiteX1839" fmla="*/ 2703671 w 6400800"/>
                <a:gd name="connsiteY1839" fmla="*/ 163354 h 514350"/>
                <a:gd name="connsiteX1840" fmla="*/ 2706529 w 6400800"/>
                <a:gd name="connsiteY1840" fmla="*/ 164306 h 514350"/>
                <a:gd name="connsiteX1841" fmla="*/ 2710339 w 6400800"/>
                <a:gd name="connsiteY1841" fmla="*/ 167164 h 514350"/>
                <a:gd name="connsiteX1842" fmla="*/ 2714149 w 6400800"/>
                <a:gd name="connsiteY1842" fmla="*/ 176689 h 514350"/>
                <a:gd name="connsiteX1843" fmla="*/ 2712244 w 6400800"/>
                <a:gd name="connsiteY1843" fmla="*/ 166211 h 514350"/>
                <a:gd name="connsiteX1844" fmla="*/ 2708434 w 6400800"/>
                <a:gd name="connsiteY1844" fmla="*/ 161449 h 514350"/>
                <a:gd name="connsiteX1845" fmla="*/ 2702719 w 6400800"/>
                <a:gd name="connsiteY1845" fmla="*/ 159544 h 514350"/>
                <a:gd name="connsiteX1846" fmla="*/ 2700814 w 6400800"/>
                <a:gd name="connsiteY1846" fmla="*/ 159544 h 514350"/>
                <a:gd name="connsiteX1847" fmla="*/ 2700814 w 6400800"/>
                <a:gd name="connsiteY1847" fmla="*/ 161449 h 514350"/>
                <a:gd name="connsiteX1848" fmla="*/ 2697004 w 6400800"/>
                <a:gd name="connsiteY1848" fmla="*/ 193834 h 514350"/>
                <a:gd name="connsiteX1849" fmla="*/ 2693194 w 6400800"/>
                <a:gd name="connsiteY1849" fmla="*/ 181451 h 514350"/>
                <a:gd name="connsiteX1850" fmla="*/ 2697004 w 6400800"/>
                <a:gd name="connsiteY1850" fmla="*/ 198596 h 514350"/>
                <a:gd name="connsiteX1851" fmla="*/ 2697004 w 6400800"/>
                <a:gd name="connsiteY1851" fmla="*/ 198596 h 514350"/>
                <a:gd name="connsiteX1852" fmla="*/ 2696051 w 6400800"/>
                <a:gd name="connsiteY1852" fmla="*/ 236696 h 514350"/>
                <a:gd name="connsiteX1853" fmla="*/ 2697004 w 6400800"/>
                <a:gd name="connsiteY1853" fmla="*/ 262414 h 514350"/>
                <a:gd name="connsiteX1854" fmla="*/ 2697004 w 6400800"/>
                <a:gd name="connsiteY1854" fmla="*/ 263366 h 514350"/>
                <a:gd name="connsiteX1855" fmla="*/ 2696051 w 6400800"/>
                <a:gd name="connsiteY1855" fmla="*/ 265271 h 514350"/>
                <a:gd name="connsiteX1856" fmla="*/ 2694146 w 6400800"/>
                <a:gd name="connsiteY1856" fmla="*/ 261461 h 514350"/>
                <a:gd name="connsiteX1857" fmla="*/ 2685574 w 6400800"/>
                <a:gd name="connsiteY1857" fmla="*/ 246221 h 514350"/>
                <a:gd name="connsiteX1858" fmla="*/ 2677954 w 6400800"/>
                <a:gd name="connsiteY1858" fmla="*/ 210979 h 514350"/>
                <a:gd name="connsiteX1859" fmla="*/ 2676049 w 6400800"/>
                <a:gd name="connsiteY1859" fmla="*/ 200501 h 514350"/>
                <a:gd name="connsiteX1860" fmla="*/ 2681764 w 6400800"/>
                <a:gd name="connsiteY1860" fmla="*/ 173831 h 514350"/>
                <a:gd name="connsiteX1861" fmla="*/ 2687479 w 6400800"/>
                <a:gd name="connsiteY1861" fmla="*/ 144304 h 514350"/>
                <a:gd name="connsiteX1862" fmla="*/ 2691289 w 6400800"/>
                <a:gd name="connsiteY1862" fmla="*/ 118586 h 514350"/>
                <a:gd name="connsiteX1863" fmla="*/ 2683669 w 6400800"/>
                <a:gd name="connsiteY1863" fmla="*/ 143351 h 514350"/>
                <a:gd name="connsiteX1864" fmla="*/ 2677954 w 6400800"/>
                <a:gd name="connsiteY1864" fmla="*/ 162401 h 514350"/>
                <a:gd name="connsiteX1865" fmla="*/ 2673191 w 6400800"/>
                <a:gd name="connsiteY1865" fmla="*/ 176689 h 514350"/>
                <a:gd name="connsiteX1866" fmla="*/ 2673191 w 6400800"/>
                <a:gd name="connsiteY1866" fmla="*/ 177641 h 514350"/>
                <a:gd name="connsiteX1867" fmla="*/ 2672239 w 6400800"/>
                <a:gd name="connsiteY1867" fmla="*/ 173831 h 514350"/>
                <a:gd name="connsiteX1868" fmla="*/ 2666524 w 6400800"/>
                <a:gd name="connsiteY1868" fmla="*/ 146209 h 514350"/>
                <a:gd name="connsiteX1869" fmla="*/ 2661761 w 6400800"/>
                <a:gd name="connsiteY1869" fmla="*/ 121444 h 514350"/>
                <a:gd name="connsiteX1870" fmla="*/ 2662714 w 6400800"/>
                <a:gd name="connsiteY1870" fmla="*/ 146209 h 514350"/>
                <a:gd name="connsiteX1871" fmla="*/ 2666524 w 6400800"/>
                <a:gd name="connsiteY1871" fmla="*/ 196691 h 514350"/>
                <a:gd name="connsiteX1872" fmla="*/ 2665571 w 6400800"/>
                <a:gd name="connsiteY1872" fmla="*/ 200501 h 514350"/>
                <a:gd name="connsiteX1873" fmla="*/ 2664619 w 6400800"/>
                <a:gd name="connsiteY1873" fmla="*/ 204311 h 514350"/>
                <a:gd name="connsiteX1874" fmla="*/ 2649379 w 6400800"/>
                <a:gd name="connsiteY1874" fmla="*/ 174784 h 514350"/>
                <a:gd name="connsiteX1875" fmla="*/ 2634139 w 6400800"/>
                <a:gd name="connsiteY1875" fmla="*/ 141446 h 514350"/>
                <a:gd name="connsiteX1876" fmla="*/ 2646521 w 6400800"/>
                <a:gd name="connsiteY1876" fmla="*/ 176689 h 514350"/>
                <a:gd name="connsiteX1877" fmla="*/ 2661761 w 6400800"/>
                <a:gd name="connsiteY1877" fmla="*/ 214789 h 514350"/>
                <a:gd name="connsiteX1878" fmla="*/ 2660809 w 6400800"/>
                <a:gd name="connsiteY1878" fmla="*/ 216694 h 514350"/>
                <a:gd name="connsiteX1879" fmla="*/ 2652236 w 6400800"/>
                <a:gd name="connsiteY1879" fmla="*/ 201454 h 514350"/>
                <a:gd name="connsiteX1880" fmla="*/ 2648426 w 6400800"/>
                <a:gd name="connsiteY1880" fmla="*/ 196691 h 514350"/>
                <a:gd name="connsiteX1881" fmla="*/ 2651284 w 6400800"/>
                <a:gd name="connsiteY1881" fmla="*/ 202406 h 514350"/>
                <a:gd name="connsiteX1882" fmla="*/ 2657951 w 6400800"/>
                <a:gd name="connsiteY1882" fmla="*/ 218599 h 514350"/>
                <a:gd name="connsiteX1883" fmla="*/ 2658904 w 6400800"/>
                <a:gd name="connsiteY1883" fmla="*/ 223361 h 514350"/>
                <a:gd name="connsiteX1884" fmla="*/ 2657951 w 6400800"/>
                <a:gd name="connsiteY1884" fmla="*/ 226219 h 514350"/>
                <a:gd name="connsiteX1885" fmla="*/ 2647474 w 6400800"/>
                <a:gd name="connsiteY1885" fmla="*/ 193834 h 514350"/>
                <a:gd name="connsiteX1886" fmla="*/ 2638901 w 6400800"/>
                <a:gd name="connsiteY1886" fmla="*/ 169069 h 514350"/>
                <a:gd name="connsiteX1887" fmla="*/ 2631281 w 6400800"/>
                <a:gd name="connsiteY1887" fmla="*/ 147161 h 514350"/>
                <a:gd name="connsiteX1888" fmla="*/ 2635091 w 6400800"/>
                <a:gd name="connsiteY1888" fmla="*/ 170021 h 514350"/>
                <a:gd name="connsiteX1889" fmla="*/ 2647474 w 6400800"/>
                <a:gd name="connsiteY1889" fmla="*/ 230029 h 514350"/>
                <a:gd name="connsiteX1890" fmla="*/ 2651284 w 6400800"/>
                <a:gd name="connsiteY1890" fmla="*/ 247174 h 514350"/>
                <a:gd name="connsiteX1891" fmla="*/ 2642711 w 6400800"/>
                <a:gd name="connsiteY1891" fmla="*/ 273844 h 514350"/>
                <a:gd name="connsiteX1892" fmla="*/ 2640806 w 6400800"/>
                <a:gd name="connsiteY1892" fmla="*/ 270034 h 514350"/>
                <a:gd name="connsiteX1893" fmla="*/ 2639854 w 6400800"/>
                <a:gd name="connsiteY1893" fmla="*/ 268129 h 514350"/>
                <a:gd name="connsiteX1894" fmla="*/ 2643664 w 6400800"/>
                <a:gd name="connsiteY1894" fmla="*/ 220504 h 514350"/>
                <a:gd name="connsiteX1895" fmla="*/ 2636996 w 6400800"/>
                <a:gd name="connsiteY1895" fmla="*/ 247174 h 514350"/>
                <a:gd name="connsiteX1896" fmla="*/ 2636044 w 6400800"/>
                <a:gd name="connsiteY1896" fmla="*/ 204311 h 514350"/>
                <a:gd name="connsiteX1897" fmla="*/ 2630329 w 6400800"/>
                <a:gd name="connsiteY1897" fmla="*/ 240506 h 514350"/>
                <a:gd name="connsiteX1898" fmla="*/ 2623661 w 6400800"/>
                <a:gd name="connsiteY1898" fmla="*/ 206216 h 514350"/>
                <a:gd name="connsiteX1899" fmla="*/ 2610326 w 6400800"/>
                <a:gd name="connsiteY1899" fmla="*/ 147161 h 514350"/>
                <a:gd name="connsiteX1900" fmla="*/ 2615089 w 6400800"/>
                <a:gd name="connsiteY1900" fmla="*/ 137636 h 514350"/>
                <a:gd name="connsiteX1901" fmla="*/ 2610326 w 6400800"/>
                <a:gd name="connsiteY1901" fmla="*/ 145256 h 514350"/>
                <a:gd name="connsiteX1902" fmla="*/ 2609374 w 6400800"/>
                <a:gd name="connsiteY1902" fmla="*/ 143351 h 514350"/>
                <a:gd name="connsiteX1903" fmla="*/ 2603659 w 6400800"/>
                <a:gd name="connsiteY1903" fmla="*/ 119539 h 514350"/>
                <a:gd name="connsiteX1904" fmla="*/ 2605564 w 6400800"/>
                <a:gd name="connsiteY1904" fmla="*/ 144304 h 514350"/>
                <a:gd name="connsiteX1905" fmla="*/ 2606516 w 6400800"/>
                <a:gd name="connsiteY1905" fmla="*/ 150971 h 514350"/>
                <a:gd name="connsiteX1906" fmla="*/ 2600801 w 6400800"/>
                <a:gd name="connsiteY1906" fmla="*/ 158591 h 514350"/>
                <a:gd name="connsiteX1907" fmla="*/ 2589371 w 6400800"/>
                <a:gd name="connsiteY1907" fmla="*/ 175736 h 514350"/>
                <a:gd name="connsiteX1908" fmla="*/ 2588419 w 6400800"/>
                <a:gd name="connsiteY1908" fmla="*/ 171926 h 514350"/>
                <a:gd name="connsiteX1909" fmla="*/ 2583656 w 6400800"/>
                <a:gd name="connsiteY1909" fmla="*/ 147161 h 514350"/>
                <a:gd name="connsiteX1910" fmla="*/ 2584609 w 6400800"/>
                <a:gd name="connsiteY1910" fmla="*/ 171926 h 514350"/>
                <a:gd name="connsiteX1911" fmla="*/ 2585561 w 6400800"/>
                <a:gd name="connsiteY1911" fmla="*/ 182404 h 514350"/>
                <a:gd name="connsiteX1912" fmla="*/ 2585561 w 6400800"/>
                <a:gd name="connsiteY1912" fmla="*/ 182404 h 514350"/>
                <a:gd name="connsiteX1913" fmla="*/ 2576036 w 6400800"/>
                <a:gd name="connsiteY1913" fmla="*/ 198596 h 514350"/>
                <a:gd name="connsiteX1914" fmla="*/ 2574131 w 6400800"/>
                <a:gd name="connsiteY1914" fmla="*/ 177641 h 514350"/>
                <a:gd name="connsiteX1915" fmla="*/ 2573179 w 6400800"/>
                <a:gd name="connsiteY1915" fmla="*/ 157639 h 514350"/>
                <a:gd name="connsiteX1916" fmla="*/ 2571274 w 6400800"/>
                <a:gd name="connsiteY1916" fmla="*/ 170974 h 514350"/>
                <a:gd name="connsiteX1917" fmla="*/ 2571274 w 6400800"/>
                <a:gd name="connsiteY1917" fmla="*/ 170021 h 514350"/>
                <a:gd name="connsiteX1918" fmla="*/ 2569369 w 6400800"/>
                <a:gd name="connsiteY1918" fmla="*/ 149066 h 514350"/>
                <a:gd name="connsiteX1919" fmla="*/ 2568416 w 6400800"/>
                <a:gd name="connsiteY1919" fmla="*/ 130016 h 514350"/>
                <a:gd name="connsiteX1920" fmla="*/ 2567464 w 6400800"/>
                <a:gd name="connsiteY1920" fmla="*/ 99536 h 514350"/>
                <a:gd name="connsiteX1921" fmla="*/ 2566511 w 6400800"/>
                <a:gd name="connsiteY1921" fmla="*/ 72866 h 514350"/>
                <a:gd name="connsiteX1922" fmla="*/ 2562701 w 6400800"/>
                <a:gd name="connsiteY1922" fmla="*/ 99536 h 514350"/>
                <a:gd name="connsiteX1923" fmla="*/ 2560796 w 6400800"/>
                <a:gd name="connsiteY1923" fmla="*/ 130016 h 514350"/>
                <a:gd name="connsiteX1924" fmla="*/ 2559844 w 6400800"/>
                <a:gd name="connsiteY1924" fmla="*/ 149066 h 514350"/>
                <a:gd name="connsiteX1925" fmla="*/ 2559844 w 6400800"/>
                <a:gd name="connsiteY1925" fmla="*/ 170021 h 514350"/>
                <a:gd name="connsiteX1926" fmla="*/ 2560796 w 6400800"/>
                <a:gd name="connsiteY1926" fmla="*/ 195739 h 514350"/>
                <a:gd name="connsiteX1927" fmla="*/ 2558891 w 6400800"/>
                <a:gd name="connsiteY1927" fmla="*/ 191929 h 514350"/>
                <a:gd name="connsiteX1928" fmla="*/ 2561749 w 6400800"/>
                <a:gd name="connsiteY1928" fmla="*/ 200501 h 514350"/>
                <a:gd name="connsiteX1929" fmla="*/ 2562701 w 6400800"/>
                <a:gd name="connsiteY1929" fmla="*/ 217646 h 514350"/>
                <a:gd name="connsiteX1930" fmla="*/ 2562701 w 6400800"/>
                <a:gd name="connsiteY1930" fmla="*/ 223361 h 514350"/>
                <a:gd name="connsiteX1931" fmla="*/ 2551271 w 6400800"/>
                <a:gd name="connsiteY1931" fmla="*/ 247174 h 514350"/>
                <a:gd name="connsiteX1932" fmla="*/ 2549366 w 6400800"/>
                <a:gd name="connsiteY1932" fmla="*/ 230029 h 514350"/>
                <a:gd name="connsiteX1933" fmla="*/ 2555081 w 6400800"/>
                <a:gd name="connsiteY1933" fmla="*/ 212884 h 514350"/>
                <a:gd name="connsiteX1934" fmla="*/ 2546509 w 6400800"/>
                <a:gd name="connsiteY1934" fmla="*/ 228124 h 514350"/>
                <a:gd name="connsiteX1935" fmla="*/ 2547461 w 6400800"/>
                <a:gd name="connsiteY1935" fmla="*/ 222409 h 514350"/>
                <a:gd name="connsiteX1936" fmla="*/ 2553176 w 6400800"/>
                <a:gd name="connsiteY1936" fmla="*/ 196691 h 514350"/>
                <a:gd name="connsiteX1937" fmla="*/ 2543651 w 6400800"/>
                <a:gd name="connsiteY1937" fmla="*/ 221456 h 514350"/>
                <a:gd name="connsiteX1938" fmla="*/ 2536984 w 6400800"/>
                <a:gd name="connsiteY1938" fmla="*/ 246221 h 514350"/>
                <a:gd name="connsiteX1939" fmla="*/ 2536984 w 6400800"/>
                <a:gd name="connsiteY1939" fmla="*/ 244316 h 514350"/>
                <a:gd name="connsiteX1940" fmla="*/ 2534126 w 6400800"/>
                <a:gd name="connsiteY1940" fmla="*/ 221456 h 514350"/>
                <a:gd name="connsiteX1941" fmla="*/ 2533174 w 6400800"/>
                <a:gd name="connsiteY1941" fmla="*/ 244316 h 514350"/>
                <a:gd name="connsiteX1942" fmla="*/ 2533174 w 6400800"/>
                <a:gd name="connsiteY1942" fmla="*/ 250984 h 514350"/>
                <a:gd name="connsiteX1943" fmla="*/ 2532221 w 6400800"/>
                <a:gd name="connsiteY1943" fmla="*/ 245269 h 514350"/>
                <a:gd name="connsiteX1944" fmla="*/ 2524601 w 6400800"/>
                <a:gd name="connsiteY1944" fmla="*/ 213836 h 514350"/>
                <a:gd name="connsiteX1945" fmla="*/ 2517934 w 6400800"/>
                <a:gd name="connsiteY1945" fmla="*/ 190024 h 514350"/>
                <a:gd name="connsiteX1946" fmla="*/ 2511266 w 6400800"/>
                <a:gd name="connsiteY1946" fmla="*/ 169069 h 514350"/>
                <a:gd name="connsiteX1947" fmla="*/ 2514124 w 6400800"/>
                <a:gd name="connsiteY1947" fmla="*/ 190976 h 514350"/>
                <a:gd name="connsiteX1948" fmla="*/ 2516981 w 6400800"/>
                <a:gd name="connsiteY1948" fmla="*/ 215741 h 514350"/>
                <a:gd name="connsiteX1949" fmla="*/ 2520791 w 6400800"/>
                <a:gd name="connsiteY1949" fmla="*/ 248126 h 514350"/>
                <a:gd name="connsiteX1950" fmla="*/ 2523649 w 6400800"/>
                <a:gd name="connsiteY1950" fmla="*/ 277654 h 514350"/>
                <a:gd name="connsiteX1951" fmla="*/ 2521744 w 6400800"/>
                <a:gd name="connsiteY1951" fmla="*/ 282416 h 514350"/>
                <a:gd name="connsiteX1952" fmla="*/ 2516981 w 6400800"/>
                <a:gd name="connsiteY1952" fmla="*/ 263366 h 514350"/>
                <a:gd name="connsiteX1953" fmla="*/ 2511266 w 6400800"/>
                <a:gd name="connsiteY1953" fmla="*/ 243364 h 514350"/>
                <a:gd name="connsiteX1954" fmla="*/ 2513171 w 6400800"/>
                <a:gd name="connsiteY1954" fmla="*/ 264319 h 514350"/>
                <a:gd name="connsiteX1955" fmla="*/ 2514124 w 6400800"/>
                <a:gd name="connsiteY1955" fmla="*/ 277654 h 514350"/>
                <a:gd name="connsiteX1956" fmla="*/ 2504599 w 6400800"/>
                <a:gd name="connsiteY1956" fmla="*/ 256699 h 514350"/>
                <a:gd name="connsiteX1957" fmla="*/ 2504599 w 6400800"/>
                <a:gd name="connsiteY1957" fmla="*/ 253841 h 514350"/>
                <a:gd name="connsiteX1958" fmla="*/ 2503646 w 6400800"/>
                <a:gd name="connsiteY1958" fmla="*/ 255746 h 514350"/>
                <a:gd name="connsiteX1959" fmla="*/ 2497931 w 6400800"/>
                <a:gd name="connsiteY1959" fmla="*/ 243364 h 514350"/>
                <a:gd name="connsiteX1960" fmla="*/ 2502694 w 6400800"/>
                <a:gd name="connsiteY1960" fmla="*/ 259556 h 514350"/>
                <a:gd name="connsiteX1961" fmla="*/ 2499836 w 6400800"/>
                <a:gd name="connsiteY1961" fmla="*/ 267176 h 514350"/>
                <a:gd name="connsiteX1962" fmla="*/ 2498884 w 6400800"/>
                <a:gd name="connsiteY1962" fmla="*/ 270034 h 514350"/>
                <a:gd name="connsiteX1963" fmla="*/ 2494121 w 6400800"/>
                <a:gd name="connsiteY1963" fmla="*/ 223361 h 514350"/>
                <a:gd name="connsiteX1964" fmla="*/ 2496026 w 6400800"/>
                <a:gd name="connsiteY1964" fmla="*/ 220504 h 514350"/>
                <a:gd name="connsiteX1965" fmla="*/ 2506504 w 6400800"/>
                <a:gd name="connsiteY1965" fmla="*/ 203359 h 514350"/>
                <a:gd name="connsiteX1966" fmla="*/ 2510314 w 6400800"/>
                <a:gd name="connsiteY1966" fmla="*/ 197644 h 514350"/>
                <a:gd name="connsiteX1967" fmla="*/ 2505551 w 6400800"/>
                <a:gd name="connsiteY1967" fmla="*/ 203359 h 514350"/>
                <a:gd name="connsiteX1968" fmla="*/ 2493169 w 6400800"/>
                <a:gd name="connsiteY1968" fmla="*/ 217646 h 514350"/>
                <a:gd name="connsiteX1969" fmla="*/ 2493169 w 6400800"/>
                <a:gd name="connsiteY1969" fmla="*/ 216694 h 514350"/>
                <a:gd name="connsiteX1970" fmla="*/ 2491264 w 6400800"/>
                <a:gd name="connsiteY1970" fmla="*/ 196691 h 514350"/>
                <a:gd name="connsiteX1971" fmla="*/ 2501741 w 6400800"/>
                <a:gd name="connsiteY1971" fmla="*/ 183356 h 514350"/>
                <a:gd name="connsiteX1972" fmla="*/ 2490311 w 6400800"/>
                <a:gd name="connsiteY1972" fmla="*/ 192881 h 514350"/>
                <a:gd name="connsiteX1973" fmla="*/ 2489359 w 6400800"/>
                <a:gd name="connsiteY1973" fmla="*/ 176689 h 514350"/>
                <a:gd name="connsiteX1974" fmla="*/ 2497931 w 6400800"/>
                <a:gd name="connsiteY1974" fmla="*/ 165259 h 514350"/>
                <a:gd name="connsiteX1975" fmla="*/ 2502694 w 6400800"/>
                <a:gd name="connsiteY1975" fmla="*/ 159544 h 514350"/>
                <a:gd name="connsiteX1976" fmla="*/ 2496979 w 6400800"/>
                <a:gd name="connsiteY1976" fmla="*/ 164306 h 514350"/>
                <a:gd name="connsiteX1977" fmla="*/ 2489359 w 6400800"/>
                <a:gd name="connsiteY1977" fmla="*/ 171926 h 514350"/>
                <a:gd name="connsiteX1978" fmla="*/ 2488406 w 6400800"/>
                <a:gd name="connsiteY1978" fmla="*/ 153829 h 514350"/>
                <a:gd name="connsiteX1979" fmla="*/ 2487454 w 6400800"/>
                <a:gd name="connsiteY1979" fmla="*/ 135731 h 514350"/>
                <a:gd name="connsiteX1980" fmla="*/ 2494121 w 6400800"/>
                <a:gd name="connsiteY1980" fmla="*/ 125254 h 514350"/>
                <a:gd name="connsiteX1981" fmla="*/ 2487454 w 6400800"/>
                <a:gd name="connsiteY1981" fmla="*/ 132874 h 514350"/>
                <a:gd name="connsiteX1982" fmla="*/ 2487454 w 6400800"/>
                <a:gd name="connsiteY1982" fmla="*/ 129064 h 514350"/>
                <a:gd name="connsiteX1983" fmla="*/ 2486501 w 6400800"/>
                <a:gd name="connsiteY1983" fmla="*/ 132874 h 514350"/>
                <a:gd name="connsiteX1984" fmla="*/ 2475071 w 6400800"/>
                <a:gd name="connsiteY1984" fmla="*/ 146209 h 514350"/>
                <a:gd name="connsiteX1985" fmla="*/ 2455069 w 6400800"/>
                <a:gd name="connsiteY1985" fmla="*/ 171926 h 514350"/>
                <a:gd name="connsiteX1986" fmla="*/ 2442686 w 6400800"/>
                <a:gd name="connsiteY1986" fmla="*/ 188119 h 514350"/>
                <a:gd name="connsiteX1987" fmla="*/ 2433161 w 6400800"/>
                <a:gd name="connsiteY1987" fmla="*/ 203359 h 514350"/>
                <a:gd name="connsiteX1988" fmla="*/ 2432209 w 6400800"/>
                <a:gd name="connsiteY1988" fmla="*/ 191929 h 514350"/>
                <a:gd name="connsiteX1989" fmla="*/ 2425541 w 6400800"/>
                <a:gd name="connsiteY1989" fmla="*/ 110966 h 514350"/>
                <a:gd name="connsiteX1990" fmla="*/ 2424589 w 6400800"/>
                <a:gd name="connsiteY1990" fmla="*/ 88106 h 514350"/>
                <a:gd name="connsiteX1991" fmla="*/ 2424589 w 6400800"/>
                <a:gd name="connsiteY1991" fmla="*/ 80486 h 514350"/>
                <a:gd name="connsiteX1992" fmla="*/ 2423636 w 6400800"/>
                <a:gd name="connsiteY1992" fmla="*/ 88106 h 514350"/>
                <a:gd name="connsiteX1993" fmla="*/ 2421731 w 6400800"/>
                <a:gd name="connsiteY1993" fmla="*/ 110966 h 514350"/>
                <a:gd name="connsiteX1994" fmla="*/ 2420779 w 6400800"/>
                <a:gd name="connsiteY1994" fmla="*/ 146209 h 514350"/>
                <a:gd name="connsiteX1995" fmla="*/ 2421731 w 6400800"/>
                <a:gd name="connsiteY1995" fmla="*/ 191929 h 514350"/>
                <a:gd name="connsiteX1996" fmla="*/ 2422684 w 6400800"/>
                <a:gd name="connsiteY1996" fmla="*/ 220504 h 514350"/>
                <a:gd name="connsiteX1997" fmla="*/ 2405539 w 6400800"/>
                <a:gd name="connsiteY1997" fmla="*/ 250031 h 514350"/>
                <a:gd name="connsiteX1998" fmla="*/ 2401729 w 6400800"/>
                <a:gd name="connsiteY1998" fmla="*/ 256699 h 514350"/>
                <a:gd name="connsiteX1999" fmla="*/ 2400776 w 6400800"/>
                <a:gd name="connsiteY1999" fmla="*/ 255746 h 514350"/>
                <a:gd name="connsiteX2000" fmla="*/ 2392204 w 6400800"/>
                <a:gd name="connsiteY2000" fmla="*/ 233839 h 514350"/>
                <a:gd name="connsiteX2001" fmla="*/ 2385536 w 6400800"/>
                <a:gd name="connsiteY2001" fmla="*/ 170974 h 514350"/>
                <a:gd name="connsiteX2002" fmla="*/ 2382679 w 6400800"/>
                <a:gd name="connsiteY2002" fmla="*/ 150971 h 514350"/>
                <a:gd name="connsiteX2003" fmla="*/ 2384584 w 6400800"/>
                <a:gd name="connsiteY2003" fmla="*/ 140494 h 514350"/>
                <a:gd name="connsiteX2004" fmla="*/ 2382679 w 6400800"/>
                <a:gd name="connsiteY2004" fmla="*/ 135731 h 514350"/>
                <a:gd name="connsiteX2005" fmla="*/ 2390299 w 6400800"/>
                <a:gd name="connsiteY2005" fmla="*/ 114776 h 514350"/>
                <a:gd name="connsiteX2006" fmla="*/ 2427446 w 6400800"/>
                <a:gd name="connsiteY2006" fmla="*/ 12859 h 514350"/>
                <a:gd name="connsiteX2007" fmla="*/ 2380774 w 6400800"/>
                <a:gd name="connsiteY2007" fmla="*/ 110014 h 514350"/>
                <a:gd name="connsiteX2008" fmla="*/ 2358866 w 6400800"/>
                <a:gd name="connsiteY2008" fmla="*/ 157639 h 514350"/>
                <a:gd name="connsiteX2009" fmla="*/ 2355056 w 6400800"/>
                <a:gd name="connsiteY2009" fmla="*/ 166211 h 514350"/>
                <a:gd name="connsiteX2010" fmla="*/ 2357914 w 6400800"/>
                <a:gd name="connsiteY2010" fmla="*/ 155734 h 514350"/>
                <a:gd name="connsiteX2011" fmla="*/ 2362676 w 6400800"/>
                <a:gd name="connsiteY2011" fmla="*/ 132874 h 514350"/>
                <a:gd name="connsiteX2012" fmla="*/ 2354104 w 6400800"/>
                <a:gd name="connsiteY2012" fmla="*/ 154781 h 514350"/>
                <a:gd name="connsiteX2013" fmla="*/ 2344579 w 6400800"/>
                <a:gd name="connsiteY2013" fmla="*/ 179546 h 514350"/>
                <a:gd name="connsiteX2014" fmla="*/ 2334101 w 6400800"/>
                <a:gd name="connsiteY2014" fmla="*/ 211931 h 514350"/>
                <a:gd name="connsiteX2015" fmla="*/ 2334101 w 6400800"/>
                <a:gd name="connsiteY2015" fmla="*/ 211931 h 514350"/>
                <a:gd name="connsiteX2016" fmla="*/ 2340769 w 6400800"/>
                <a:gd name="connsiteY2016" fmla="*/ 171926 h 514350"/>
                <a:gd name="connsiteX2017" fmla="*/ 2347436 w 6400800"/>
                <a:gd name="connsiteY2017" fmla="*/ 130969 h 514350"/>
                <a:gd name="connsiteX2018" fmla="*/ 2354104 w 6400800"/>
                <a:gd name="connsiteY2018" fmla="*/ 99536 h 514350"/>
                <a:gd name="connsiteX2019" fmla="*/ 2358866 w 6400800"/>
                <a:gd name="connsiteY2019" fmla="*/ 71914 h 514350"/>
                <a:gd name="connsiteX2020" fmla="*/ 2350294 w 6400800"/>
                <a:gd name="connsiteY2020" fmla="*/ 98584 h 514350"/>
                <a:gd name="connsiteX2021" fmla="*/ 2340769 w 6400800"/>
                <a:gd name="connsiteY2021" fmla="*/ 129064 h 514350"/>
                <a:gd name="connsiteX2022" fmla="*/ 2330291 w 6400800"/>
                <a:gd name="connsiteY2022" fmla="*/ 170021 h 514350"/>
                <a:gd name="connsiteX2023" fmla="*/ 2324576 w 6400800"/>
                <a:gd name="connsiteY2023" fmla="*/ 193834 h 514350"/>
                <a:gd name="connsiteX2024" fmla="*/ 2320766 w 6400800"/>
                <a:gd name="connsiteY2024" fmla="*/ 185261 h 514350"/>
                <a:gd name="connsiteX2025" fmla="*/ 2326481 w 6400800"/>
                <a:gd name="connsiteY2025" fmla="*/ 157639 h 514350"/>
                <a:gd name="connsiteX2026" fmla="*/ 2318861 w 6400800"/>
                <a:gd name="connsiteY2026" fmla="*/ 179546 h 514350"/>
                <a:gd name="connsiteX2027" fmla="*/ 2315051 w 6400800"/>
                <a:gd name="connsiteY2027" fmla="*/ 170974 h 514350"/>
                <a:gd name="connsiteX2028" fmla="*/ 2317909 w 6400800"/>
                <a:gd name="connsiteY2028" fmla="*/ 181451 h 514350"/>
                <a:gd name="connsiteX2029" fmla="*/ 2313146 w 6400800"/>
                <a:gd name="connsiteY2029" fmla="*/ 193834 h 514350"/>
                <a:gd name="connsiteX2030" fmla="*/ 2311241 w 6400800"/>
                <a:gd name="connsiteY2030" fmla="*/ 190976 h 514350"/>
                <a:gd name="connsiteX2031" fmla="*/ 2314099 w 6400800"/>
                <a:gd name="connsiteY2031" fmla="*/ 141446 h 514350"/>
                <a:gd name="connsiteX2032" fmla="*/ 2298859 w 6400800"/>
                <a:gd name="connsiteY2032" fmla="*/ 202406 h 514350"/>
                <a:gd name="connsiteX2033" fmla="*/ 2292191 w 6400800"/>
                <a:gd name="connsiteY2033" fmla="*/ 231934 h 514350"/>
                <a:gd name="connsiteX2034" fmla="*/ 2289334 w 6400800"/>
                <a:gd name="connsiteY2034" fmla="*/ 250031 h 514350"/>
                <a:gd name="connsiteX2035" fmla="*/ 2285524 w 6400800"/>
                <a:gd name="connsiteY2035" fmla="*/ 259556 h 514350"/>
                <a:gd name="connsiteX2036" fmla="*/ 2275999 w 6400800"/>
                <a:gd name="connsiteY2036" fmla="*/ 287179 h 514350"/>
                <a:gd name="connsiteX2037" fmla="*/ 2275999 w 6400800"/>
                <a:gd name="connsiteY2037" fmla="*/ 288131 h 514350"/>
                <a:gd name="connsiteX2038" fmla="*/ 2275999 w 6400800"/>
                <a:gd name="connsiteY2038" fmla="*/ 282416 h 514350"/>
                <a:gd name="connsiteX2039" fmla="*/ 2276951 w 6400800"/>
                <a:gd name="connsiteY2039" fmla="*/ 265271 h 514350"/>
                <a:gd name="connsiteX2040" fmla="*/ 2272189 w 6400800"/>
                <a:gd name="connsiteY2040" fmla="*/ 281464 h 514350"/>
                <a:gd name="connsiteX2041" fmla="*/ 2269331 w 6400800"/>
                <a:gd name="connsiteY2041" fmla="*/ 290989 h 514350"/>
                <a:gd name="connsiteX2042" fmla="*/ 2269331 w 6400800"/>
                <a:gd name="connsiteY2042" fmla="*/ 290989 h 514350"/>
                <a:gd name="connsiteX2043" fmla="*/ 2269331 w 6400800"/>
                <a:gd name="connsiteY2043" fmla="*/ 261461 h 514350"/>
                <a:gd name="connsiteX2044" fmla="*/ 2270284 w 6400800"/>
                <a:gd name="connsiteY2044" fmla="*/ 238601 h 514350"/>
                <a:gd name="connsiteX2045" fmla="*/ 2272189 w 6400800"/>
                <a:gd name="connsiteY2045" fmla="*/ 225266 h 514350"/>
                <a:gd name="connsiteX2046" fmla="*/ 2275999 w 6400800"/>
                <a:gd name="connsiteY2046" fmla="*/ 210979 h 514350"/>
                <a:gd name="connsiteX2047" fmla="*/ 2266474 w 6400800"/>
                <a:gd name="connsiteY2047" fmla="*/ 232886 h 514350"/>
                <a:gd name="connsiteX2048" fmla="*/ 2267426 w 6400800"/>
                <a:gd name="connsiteY2048" fmla="*/ 228124 h 514350"/>
                <a:gd name="connsiteX2049" fmla="*/ 2263616 w 6400800"/>
                <a:gd name="connsiteY2049" fmla="*/ 235744 h 514350"/>
                <a:gd name="connsiteX2050" fmla="*/ 2265521 w 6400800"/>
                <a:gd name="connsiteY2050" fmla="*/ 220504 h 514350"/>
                <a:gd name="connsiteX2051" fmla="*/ 2256949 w 6400800"/>
                <a:gd name="connsiteY2051" fmla="*/ 247174 h 514350"/>
                <a:gd name="connsiteX2052" fmla="*/ 2252186 w 6400800"/>
                <a:gd name="connsiteY2052" fmla="*/ 258604 h 514350"/>
                <a:gd name="connsiteX2053" fmla="*/ 2250281 w 6400800"/>
                <a:gd name="connsiteY2053" fmla="*/ 262414 h 514350"/>
                <a:gd name="connsiteX2054" fmla="*/ 2255044 w 6400800"/>
                <a:gd name="connsiteY2054" fmla="*/ 243364 h 514350"/>
                <a:gd name="connsiteX2055" fmla="*/ 2267426 w 6400800"/>
                <a:gd name="connsiteY2055" fmla="*/ 178594 h 514350"/>
                <a:gd name="connsiteX2056" fmla="*/ 2270284 w 6400800"/>
                <a:gd name="connsiteY2056" fmla="*/ 153829 h 514350"/>
                <a:gd name="connsiteX2057" fmla="*/ 2262664 w 6400800"/>
                <a:gd name="connsiteY2057" fmla="*/ 177641 h 514350"/>
                <a:gd name="connsiteX2058" fmla="*/ 2254091 w 6400800"/>
                <a:gd name="connsiteY2058" fmla="*/ 205264 h 514350"/>
                <a:gd name="connsiteX2059" fmla="*/ 2246471 w 6400800"/>
                <a:gd name="connsiteY2059" fmla="*/ 230981 h 514350"/>
                <a:gd name="connsiteX2060" fmla="*/ 2241709 w 6400800"/>
                <a:gd name="connsiteY2060" fmla="*/ 244316 h 514350"/>
                <a:gd name="connsiteX2061" fmla="*/ 2239804 w 6400800"/>
                <a:gd name="connsiteY2061" fmla="*/ 233839 h 514350"/>
                <a:gd name="connsiteX2062" fmla="*/ 2233136 w 6400800"/>
                <a:gd name="connsiteY2062" fmla="*/ 205264 h 514350"/>
                <a:gd name="connsiteX2063" fmla="*/ 2237899 w 6400800"/>
                <a:gd name="connsiteY2063" fmla="*/ 255746 h 514350"/>
                <a:gd name="connsiteX2064" fmla="*/ 2234089 w 6400800"/>
                <a:gd name="connsiteY2064" fmla="*/ 269081 h 514350"/>
                <a:gd name="connsiteX2065" fmla="*/ 2233136 w 6400800"/>
                <a:gd name="connsiteY2065" fmla="*/ 270034 h 514350"/>
                <a:gd name="connsiteX2066" fmla="*/ 2233136 w 6400800"/>
                <a:gd name="connsiteY2066" fmla="*/ 263366 h 514350"/>
                <a:gd name="connsiteX2067" fmla="*/ 2231231 w 6400800"/>
                <a:gd name="connsiteY2067" fmla="*/ 234791 h 514350"/>
                <a:gd name="connsiteX2068" fmla="*/ 2228374 w 6400800"/>
                <a:gd name="connsiteY2068" fmla="*/ 207169 h 514350"/>
                <a:gd name="connsiteX2069" fmla="*/ 2230279 w 6400800"/>
                <a:gd name="connsiteY2069" fmla="*/ 193834 h 514350"/>
                <a:gd name="connsiteX2070" fmla="*/ 2226469 w 6400800"/>
                <a:gd name="connsiteY2070" fmla="*/ 204311 h 514350"/>
                <a:gd name="connsiteX2071" fmla="*/ 2222659 w 6400800"/>
                <a:gd name="connsiteY2071" fmla="*/ 200501 h 514350"/>
                <a:gd name="connsiteX2072" fmla="*/ 2220754 w 6400800"/>
                <a:gd name="connsiteY2072" fmla="*/ 199549 h 514350"/>
                <a:gd name="connsiteX2073" fmla="*/ 2217896 w 6400800"/>
                <a:gd name="connsiteY2073" fmla="*/ 199549 h 514350"/>
                <a:gd name="connsiteX2074" fmla="*/ 2215039 w 6400800"/>
                <a:gd name="connsiteY2074" fmla="*/ 202406 h 514350"/>
                <a:gd name="connsiteX2075" fmla="*/ 2213134 w 6400800"/>
                <a:gd name="connsiteY2075" fmla="*/ 214789 h 514350"/>
                <a:gd name="connsiteX2076" fmla="*/ 2217896 w 6400800"/>
                <a:gd name="connsiteY2076" fmla="*/ 203359 h 514350"/>
                <a:gd name="connsiteX2077" fmla="*/ 2219801 w 6400800"/>
                <a:gd name="connsiteY2077" fmla="*/ 201454 h 514350"/>
                <a:gd name="connsiteX2078" fmla="*/ 2220754 w 6400800"/>
                <a:gd name="connsiteY2078" fmla="*/ 202406 h 514350"/>
                <a:gd name="connsiteX2079" fmla="*/ 2223611 w 6400800"/>
                <a:gd name="connsiteY2079" fmla="*/ 207169 h 514350"/>
                <a:gd name="connsiteX2080" fmla="*/ 2223611 w 6400800"/>
                <a:gd name="connsiteY2080" fmla="*/ 215741 h 514350"/>
                <a:gd name="connsiteX2081" fmla="*/ 2223611 w 6400800"/>
                <a:gd name="connsiteY2081" fmla="*/ 215741 h 514350"/>
                <a:gd name="connsiteX2082" fmla="*/ 2215991 w 6400800"/>
                <a:gd name="connsiteY2082" fmla="*/ 241459 h 514350"/>
                <a:gd name="connsiteX2083" fmla="*/ 2206466 w 6400800"/>
                <a:gd name="connsiteY2083" fmla="*/ 274796 h 514350"/>
                <a:gd name="connsiteX2084" fmla="*/ 2196941 w 6400800"/>
                <a:gd name="connsiteY2084" fmla="*/ 313849 h 514350"/>
                <a:gd name="connsiteX2085" fmla="*/ 2195989 w 6400800"/>
                <a:gd name="connsiteY2085" fmla="*/ 305276 h 514350"/>
                <a:gd name="connsiteX2086" fmla="*/ 2195036 w 6400800"/>
                <a:gd name="connsiteY2086" fmla="*/ 317659 h 514350"/>
                <a:gd name="connsiteX2087" fmla="*/ 2193131 w 6400800"/>
                <a:gd name="connsiteY2087" fmla="*/ 314801 h 514350"/>
                <a:gd name="connsiteX2088" fmla="*/ 2195036 w 6400800"/>
                <a:gd name="connsiteY2088" fmla="*/ 318611 h 514350"/>
                <a:gd name="connsiteX2089" fmla="*/ 2195036 w 6400800"/>
                <a:gd name="connsiteY2089" fmla="*/ 323374 h 514350"/>
                <a:gd name="connsiteX2090" fmla="*/ 2192179 w 6400800"/>
                <a:gd name="connsiteY2090" fmla="*/ 334804 h 514350"/>
                <a:gd name="connsiteX2091" fmla="*/ 2190274 w 6400800"/>
                <a:gd name="connsiteY2091" fmla="*/ 330994 h 514350"/>
                <a:gd name="connsiteX2092" fmla="*/ 2191226 w 6400800"/>
                <a:gd name="connsiteY2092" fmla="*/ 330041 h 514350"/>
                <a:gd name="connsiteX2093" fmla="*/ 2190274 w 6400800"/>
                <a:gd name="connsiteY2093" fmla="*/ 330994 h 514350"/>
                <a:gd name="connsiteX2094" fmla="*/ 2188369 w 6400800"/>
                <a:gd name="connsiteY2094" fmla="*/ 326231 h 514350"/>
                <a:gd name="connsiteX2095" fmla="*/ 2189321 w 6400800"/>
                <a:gd name="connsiteY2095" fmla="*/ 331946 h 514350"/>
                <a:gd name="connsiteX2096" fmla="*/ 2188369 w 6400800"/>
                <a:gd name="connsiteY2096" fmla="*/ 332899 h 514350"/>
                <a:gd name="connsiteX2097" fmla="*/ 2185511 w 6400800"/>
                <a:gd name="connsiteY2097" fmla="*/ 315754 h 514350"/>
                <a:gd name="connsiteX2098" fmla="*/ 2184559 w 6400800"/>
                <a:gd name="connsiteY2098" fmla="*/ 336709 h 514350"/>
                <a:gd name="connsiteX2099" fmla="*/ 2184559 w 6400800"/>
                <a:gd name="connsiteY2099" fmla="*/ 337661 h 514350"/>
                <a:gd name="connsiteX2100" fmla="*/ 2179796 w 6400800"/>
                <a:gd name="connsiteY2100" fmla="*/ 343376 h 514350"/>
                <a:gd name="connsiteX2101" fmla="*/ 2178844 w 6400800"/>
                <a:gd name="connsiteY2101" fmla="*/ 340519 h 514350"/>
                <a:gd name="connsiteX2102" fmla="*/ 2192179 w 6400800"/>
                <a:gd name="connsiteY2102" fmla="*/ 283369 h 514350"/>
                <a:gd name="connsiteX2103" fmla="*/ 2212181 w 6400800"/>
                <a:gd name="connsiteY2103" fmla="*/ 190024 h 514350"/>
                <a:gd name="connsiteX2104" fmla="*/ 2183606 w 6400800"/>
                <a:gd name="connsiteY2104" fmla="*/ 272891 h 514350"/>
                <a:gd name="connsiteX2105" fmla="*/ 2187416 w 6400800"/>
                <a:gd name="connsiteY2105" fmla="*/ 253841 h 514350"/>
                <a:gd name="connsiteX2106" fmla="*/ 2192179 w 6400800"/>
                <a:gd name="connsiteY2106" fmla="*/ 231934 h 514350"/>
                <a:gd name="connsiteX2107" fmla="*/ 2196941 w 6400800"/>
                <a:gd name="connsiteY2107" fmla="*/ 210026 h 514350"/>
                <a:gd name="connsiteX2108" fmla="*/ 2200751 w 6400800"/>
                <a:gd name="connsiteY2108" fmla="*/ 193834 h 514350"/>
                <a:gd name="connsiteX2109" fmla="*/ 2204561 w 6400800"/>
                <a:gd name="connsiteY2109" fmla="*/ 179546 h 514350"/>
                <a:gd name="connsiteX2110" fmla="*/ 2211229 w 6400800"/>
                <a:gd name="connsiteY2110" fmla="*/ 155734 h 514350"/>
                <a:gd name="connsiteX2111" fmla="*/ 2217896 w 6400800"/>
                <a:gd name="connsiteY2111" fmla="*/ 134779 h 514350"/>
                <a:gd name="connsiteX2112" fmla="*/ 2211229 w 6400800"/>
                <a:gd name="connsiteY2112" fmla="*/ 148114 h 514350"/>
                <a:gd name="connsiteX2113" fmla="*/ 2211229 w 6400800"/>
                <a:gd name="connsiteY2113" fmla="*/ 147161 h 514350"/>
                <a:gd name="connsiteX2114" fmla="*/ 2216944 w 6400800"/>
                <a:gd name="connsiteY2114" fmla="*/ 125254 h 514350"/>
                <a:gd name="connsiteX2115" fmla="*/ 2222659 w 6400800"/>
                <a:gd name="connsiteY2115" fmla="*/ 105251 h 514350"/>
                <a:gd name="connsiteX2116" fmla="*/ 2233136 w 6400800"/>
                <a:gd name="connsiteY2116" fmla="*/ 72866 h 514350"/>
                <a:gd name="connsiteX2117" fmla="*/ 2242661 w 6400800"/>
                <a:gd name="connsiteY2117" fmla="*/ 45244 h 514350"/>
                <a:gd name="connsiteX2118" fmla="*/ 2229326 w 6400800"/>
                <a:gd name="connsiteY2118" fmla="*/ 71914 h 514350"/>
                <a:gd name="connsiteX2119" fmla="*/ 2215991 w 6400800"/>
                <a:gd name="connsiteY2119" fmla="*/ 103346 h 514350"/>
                <a:gd name="connsiteX2120" fmla="*/ 2208371 w 6400800"/>
                <a:gd name="connsiteY2120" fmla="*/ 122396 h 514350"/>
                <a:gd name="connsiteX2121" fmla="*/ 2200751 w 6400800"/>
                <a:gd name="connsiteY2121" fmla="*/ 144304 h 514350"/>
                <a:gd name="connsiteX2122" fmla="*/ 2184559 w 6400800"/>
                <a:gd name="connsiteY2122" fmla="*/ 193834 h 514350"/>
                <a:gd name="connsiteX2123" fmla="*/ 2175034 w 6400800"/>
                <a:gd name="connsiteY2123" fmla="*/ 228124 h 514350"/>
                <a:gd name="connsiteX2124" fmla="*/ 2177891 w 6400800"/>
                <a:gd name="connsiteY2124" fmla="*/ 203359 h 514350"/>
                <a:gd name="connsiteX2125" fmla="*/ 2178844 w 6400800"/>
                <a:gd name="connsiteY2125" fmla="*/ 190024 h 514350"/>
                <a:gd name="connsiteX2126" fmla="*/ 2180749 w 6400800"/>
                <a:gd name="connsiteY2126" fmla="*/ 184309 h 514350"/>
                <a:gd name="connsiteX2127" fmla="*/ 2179796 w 6400800"/>
                <a:gd name="connsiteY2127" fmla="*/ 187166 h 514350"/>
                <a:gd name="connsiteX2128" fmla="*/ 2180749 w 6400800"/>
                <a:gd name="connsiteY2128" fmla="*/ 176689 h 514350"/>
                <a:gd name="connsiteX2129" fmla="*/ 2175986 w 6400800"/>
                <a:gd name="connsiteY2129" fmla="*/ 194786 h 514350"/>
                <a:gd name="connsiteX2130" fmla="*/ 2170271 w 6400800"/>
                <a:gd name="connsiteY2130" fmla="*/ 208121 h 514350"/>
                <a:gd name="connsiteX2131" fmla="*/ 2144554 w 6400800"/>
                <a:gd name="connsiteY2131" fmla="*/ 271939 h 514350"/>
                <a:gd name="connsiteX2132" fmla="*/ 2135029 w 6400800"/>
                <a:gd name="connsiteY2132" fmla="*/ 296704 h 514350"/>
                <a:gd name="connsiteX2133" fmla="*/ 2135029 w 6400800"/>
                <a:gd name="connsiteY2133" fmla="*/ 295751 h 514350"/>
                <a:gd name="connsiteX2134" fmla="*/ 2129314 w 6400800"/>
                <a:gd name="connsiteY2134" fmla="*/ 282416 h 514350"/>
                <a:gd name="connsiteX2135" fmla="*/ 2137886 w 6400800"/>
                <a:gd name="connsiteY2135" fmla="*/ 231934 h 514350"/>
                <a:gd name="connsiteX2136" fmla="*/ 2141696 w 6400800"/>
                <a:gd name="connsiteY2136" fmla="*/ 210026 h 514350"/>
                <a:gd name="connsiteX2137" fmla="*/ 2134076 w 6400800"/>
                <a:gd name="connsiteY2137" fmla="*/ 230981 h 514350"/>
                <a:gd name="connsiteX2138" fmla="*/ 2123599 w 6400800"/>
                <a:gd name="connsiteY2138" fmla="*/ 263366 h 514350"/>
                <a:gd name="connsiteX2139" fmla="*/ 2122646 w 6400800"/>
                <a:gd name="connsiteY2139" fmla="*/ 253841 h 514350"/>
                <a:gd name="connsiteX2140" fmla="*/ 2117884 w 6400800"/>
                <a:gd name="connsiteY2140" fmla="*/ 211931 h 514350"/>
                <a:gd name="connsiteX2141" fmla="*/ 2112169 w 6400800"/>
                <a:gd name="connsiteY2141" fmla="*/ 176689 h 514350"/>
                <a:gd name="connsiteX2142" fmla="*/ 2107406 w 6400800"/>
                <a:gd name="connsiteY2142" fmla="*/ 150019 h 514350"/>
                <a:gd name="connsiteX2143" fmla="*/ 2102644 w 6400800"/>
                <a:gd name="connsiteY2143" fmla="*/ 127159 h 514350"/>
                <a:gd name="connsiteX2144" fmla="*/ 2103596 w 6400800"/>
                <a:gd name="connsiteY2144" fmla="*/ 150971 h 514350"/>
                <a:gd name="connsiteX2145" fmla="*/ 2104549 w 6400800"/>
                <a:gd name="connsiteY2145" fmla="*/ 168116 h 514350"/>
                <a:gd name="connsiteX2146" fmla="*/ 2104549 w 6400800"/>
                <a:gd name="connsiteY2146" fmla="*/ 183356 h 514350"/>
                <a:gd name="connsiteX2147" fmla="*/ 2105501 w 6400800"/>
                <a:gd name="connsiteY2147" fmla="*/ 207169 h 514350"/>
                <a:gd name="connsiteX2148" fmla="*/ 2106454 w 6400800"/>
                <a:gd name="connsiteY2148" fmla="*/ 225266 h 514350"/>
                <a:gd name="connsiteX2149" fmla="*/ 2104549 w 6400800"/>
                <a:gd name="connsiteY2149" fmla="*/ 221456 h 514350"/>
                <a:gd name="connsiteX2150" fmla="*/ 2104549 w 6400800"/>
                <a:gd name="connsiteY2150" fmla="*/ 221456 h 514350"/>
                <a:gd name="connsiteX2151" fmla="*/ 2104549 w 6400800"/>
                <a:gd name="connsiteY2151" fmla="*/ 221456 h 514350"/>
                <a:gd name="connsiteX2152" fmla="*/ 2102644 w 6400800"/>
                <a:gd name="connsiteY2152" fmla="*/ 215741 h 514350"/>
                <a:gd name="connsiteX2153" fmla="*/ 2101691 w 6400800"/>
                <a:gd name="connsiteY2153" fmla="*/ 205264 h 514350"/>
                <a:gd name="connsiteX2154" fmla="*/ 2098834 w 6400800"/>
                <a:gd name="connsiteY2154" fmla="*/ 176689 h 514350"/>
                <a:gd name="connsiteX2155" fmla="*/ 2097881 w 6400800"/>
                <a:gd name="connsiteY2155" fmla="*/ 168116 h 514350"/>
                <a:gd name="connsiteX2156" fmla="*/ 2102644 w 6400800"/>
                <a:gd name="connsiteY2156" fmla="*/ 149066 h 514350"/>
                <a:gd name="connsiteX2157" fmla="*/ 2096929 w 6400800"/>
                <a:gd name="connsiteY2157" fmla="*/ 162401 h 514350"/>
                <a:gd name="connsiteX2158" fmla="*/ 2095024 w 6400800"/>
                <a:gd name="connsiteY2158" fmla="*/ 151924 h 514350"/>
                <a:gd name="connsiteX2159" fmla="*/ 2095024 w 6400800"/>
                <a:gd name="connsiteY2159" fmla="*/ 167164 h 514350"/>
                <a:gd name="connsiteX2160" fmla="*/ 2066449 w 6400800"/>
                <a:gd name="connsiteY2160" fmla="*/ 235744 h 514350"/>
                <a:gd name="connsiteX2161" fmla="*/ 2056924 w 6400800"/>
                <a:gd name="connsiteY2161" fmla="*/ 259556 h 514350"/>
                <a:gd name="connsiteX2162" fmla="*/ 2063591 w 6400800"/>
                <a:gd name="connsiteY2162" fmla="*/ 219551 h 514350"/>
                <a:gd name="connsiteX2163" fmla="*/ 2052161 w 6400800"/>
                <a:gd name="connsiteY2163" fmla="*/ 252889 h 514350"/>
                <a:gd name="connsiteX2164" fmla="*/ 2050256 w 6400800"/>
                <a:gd name="connsiteY2164" fmla="*/ 248126 h 514350"/>
                <a:gd name="connsiteX2165" fmla="*/ 2050256 w 6400800"/>
                <a:gd name="connsiteY2165" fmla="*/ 233839 h 514350"/>
                <a:gd name="connsiteX2166" fmla="*/ 2048351 w 6400800"/>
                <a:gd name="connsiteY2166" fmla="*/ 244316 h 514350"/>
                <a:gd name="connsiteX2167" fmla="*/ 2046446 w 6400800"/>
                <a:gd name="connsiteY2167" fmla="*/ 240506 h 514350"/>
                <a:gd name="connsiteX2168" fmla="*/ 2047399 w 6400800"/>
                <a:gd name="connsiteY2168" fmla="*/ 247174 h 514350"/>
                <a:gd name="connsiteX2169" fmla="*/ 2044541 w 6400800"/>
                <a:gd name="connsiteY2169" fmla="*/ 266224 h 514350"/>
                <a:gd name="connsiteX2170" fmla="*/ 2043589 w 6400800"/>
                <a:gd name="connsiteY2170" fmla="*/ 259556 h 514350"/>
                <a:gd name="connsiteX2171" fmla="*/ 2041684 w 6400800"/>
                <a:gd name="connsiteY2171" fmla="*/ 249079 h 514350"/>
                <a:gd name="connsiteX2172" fmla="*/ 2048351 w 6400800"/>
                <a:gd name="connsiteY2172" fmla="*/ 184309 h 514350"/>
                <a:gd name="connsiteX2173" fmla="*/ 2039779 w 6400800"/>
                <a:gd name="connsiteY2173" fmla="*/ 216694 h 514350"/>
                <a:gd name="connsiteX2174" fmla="*/ 2036921 w 6400800"/>
                <a:gd name="connsiteY2174" fmla="*/ 223361 h 514350"/>
                <a:gd name="connsiteX2175" fmla="*/ 2035969 w 6400800"/>
                <a:gd name="connsiteY2175" fmla="*/ 218599 h 514350"/>
                <a:gd name="connsiteX2176" fmla="*/ 2031206 w 6400800"/>
                <a:gd name="connsiteY2176" fmla="*/ 187166 h 514350"/>
                <a:gd name="connsiteX2177" fmla="*/ 2028349 w 6400800"/>
                <a:gd name="connsiteY2177" fmla="*/ 169069 h 514350"/>
                <a:gd name="connsiteX2178" fmla="*/ 2031206 w 6400800"/>
                <a:gd name="connsiteY2178" fmla="*/ 147161 h 514350"/>
                <a:gd name="connsiteX2179" fmla="*/ 2028349 w 6400800"/>
                <a:gd name="connsiteY2179" fmla="*/ 157639 h 514350"/>
                <a:gd name="connsiteX2180" fmla="*/ 2030254 w 6400800"/>
                <a:gd name="connsiteY2180" fmla="*/ 138589 h 514350"/>
                <a:gd name="connsiteX2181" fmla="*/ 2023586 w 6400800"/>
                <a:gd name="connsiteY2181" fmla="*/ 160496 h 514350"/>
                <a:gd name="connsiteX2182" fmla="*/ 2017871 w 6400800"/>
                <a:gd name="connsiteY2182" fmla="*/ 186214 h 514350"/>
                <a:gd name="connsiteX2183" fmla="*/ 2016919 w 6400800"/>
                <a:gd name="connsiteY2183" fmla="*/ 191929 h 514350"/>
                <a:gd name="connsiteX2184" fmla="*/ 2016919 w 6400800"/>
                <a:gd name="connsiteY2184" fmla="*/ 190976 h 514350"/>
                <a:gd name="connsiteX2185" fmla="*/ 2019776 w 6400800"/>
                <a:gd name="connsiteY2185" fmla="*/ 158591 h 514350"/>
                <a:gd name="connsiteX2186" fmla="*/ 2015014 w 6400800"/>
                <a:gd name="connsiteY2186" fmla="*/ 178594 h 514350"/>
                <a:gd name="connsiteX2187" fmla="*/ 2014061 w 6400800"/>
                <a:gd name="connsiteY2187" fmla="*/ 174784 h 514350"/>
                <a:gd name="connsiteX2188" fmla="*/ 2014061 w 6400800"/>
                <a:gd name="connsiteY2188" fmla="*/ 177641 h 514350"/>
                <a:gd name="connsiteX2189" fmla="*/ 2011204 w 6400800"/>
                <a:gd name="connsiteY2189" fmla="*/ 163354 h 514350"/>
                <a:gd name="connsiteX2190" fmla="*/ 2003584 w 6400800"/>
                <a:gd name="connsiteY2190" fmla="*/ 125254 h 514350"/>
                <a:gd name="connsiteX2191" fmla="*/ 1996916 w 6400800"/>
                <a:gd name="connsiteY2191" fmla="*/ 91916 h 514350"/>
                <a:gd name="connsiteX2192" fmla="*/ 1999774 w 6400800"/>
                <a:gd name="connsiteY2192" fmla="*/ 125254 h 514350"/>
                <a:gd name="connsiteX2193" fmla="*/ 2003584 w 6400800"/>
                <a:gd name="connsiteY2193" fmla="*/ 164306 h 514350"/>
                <a:gd name="connsiteX2194" fmla="*/ 2008346 w 6400800"/>
                <a:gd name="connsiteY2194" fmla="*/ 203359 h 514350"/>
                <a:gd name="connsiteX2195" fmla="*/ 1999774 w 6400800"/>
                <a:gd name="connsiteY2195" fmla="*/ 240506 h 514350"/>
                <a:gd name="connsiteX2196" fmla="*/ 1984534 w 6400800"/>
                <a:gd name="connsiteY2196" fmla="*/ 314801 h 514350"/>
                <a:gd name="connsiteX2197" fmla="*/ 1984534 w 6400800"/>
                <a:gd name="connsiteY2197" fmla="*/ 283369 h 514350"/>
                <a:gd name="connsiteX2198" fmla="*/ 1984534 w 6400800"/>
                <a:gd name="connsiteY2198" fmla="*/ 267176 h 514350"/>
                <a:gd name="connsiteX2199" fmla="*/ 1986439 w 6400800"/>
                <a:gd name="connsiteY2199" fmla="*/ 263366 h 514350"/>
                <a:gd name="connsiteX2200" fmla="*/ 1984534 w 6400800"/>
                <a:gd name="connsiteY2200" fmla="*/ 265271 h 514350"/>
                <a:gd name="connsiteX2201" fmla="*/ 1985486 w 6400800"/>
                <a:gd name="connsiteY2201" fmla="*/ 243364 h 514350"/>
                <a:gd name="connsiteX2202" fmla="*/ 1987391 w 6400800"/>
                <a:gd name="connsiteY2202" fmla="*/ 212884 h 514350"/>
                <a:gd name="connsiteX2203" fmla="*/ 1989296 w 6400800"/>
                <a:gd name="connsiteY2203" fmla="*/ 186214 h 514350"/>
                <a:gd name="connsiteX2204" fmla="*/ 1983581 w 6400800"/>
                <a:gd name="connsiteY2204" fmla="*/ 211931 h 514350"/>
                <a:gd name="connsiteX2205" fmla="*/ 1978819 w 6400800"/>
                <a:gd name="connsiteY2205" fmla="*/ 242411 h 514350"/>
                <a:gd name="connsiteX2206" fmla="*/ 1974056 w 6400800"/>
                <a:gd name="connsiteY2206" fmla="*/ 281464 h 514350"/>
                <a:gd name="connsiteX2207" fmla="*/ 1973104 w 6400800"/>
                <a:gd name="connsiteY2207" fmla="*/ 282416 h 514350"/>
                <a:gd name="connsiteX2208" fmla="*/ 1968341 w 6400800"/>
                <a:gd name="connsiteY2208" fmla="*/ 289084 h 514350"/>
                <a:gd name="connsiteX2209" fmla="*/ 1968341 w 6400800"/>
                <a:gd name="connsiteY2209" fmla="*/ 283369 h 514350"/>
                <a:gd name="connsiteX2210" fmla="*/ 1973104 w 6400800"/>
                <a:gd name="connsiteY2210" fmla="*/ 274796 h 514350"/>
                <a:gd name="connsiteX2211" fmla="*/ 1968341 w 6400800"/>
                <a:gd name="connsiteY2211" fmla="*/ 280511 h 514350"/>
                <a:gd name="connsiteX2212" fmla="*/ 1973104 w 6400800"/>
                <a:gd name="connsiteY2212" fmla="*/ 224314 h 514350"/>
                <a:gd name="connsiteX2213" fmla="*/ 1976914 w 6400800"/>
                <a:gd name="connsiteY2213" fmla="*/ 187166 h 514350"/>
                <a:gd name="connsiteX2214" fmla="*/ 1967389 w 6400800"/>
                <a:gd name="connsiteY2214" fmla="*/ 218599 h 514350"/>
                <a:gd name="connsiteX2215" fmla="*/ 1967389 w 6400800"/>
                <a:gd name="connsiteY2215" fmla="*/ 216694 h 514350"/>
                <a:gd name="connsiteX2216" fmla="*/ 1966436 w 6400800"/>
                <a:gd name="connsiteY2216" fmla="*/ 220504 h 514350"/>
                <a:gd name="connsiteX2217" fmla="*/ 1957864 w 6400800"/>
                <a:gd name="connsiteY2217" fmla="*/ 250031 h 514350"/>
                <a:gd name="connsiteX2218" fmla="*/ 1952149 w 6400800"/>
                <a:gd name="connsiteY2218" fmla="*/ 271939 h 514350"/>
                <a:gd name="connsiteX2219" fmla="*/ 1941671 w 6400800"/>
                <a:gd name="connsiteY2219" fmla="*/ 221456 h 514350"/>
                <a:gd name="connsiteX2220" fmla="*/ 1942624 w 6400800"/>
                <a:gd name="connsiteY2220" fmla="*/ 213836 h 514350"/>
                <a:gd name="connsiteX2221" fmla="*/ 1952149 w 6400800"/>
                <a:gd name="connsiteY2221" fmla="*/ 186214 h 514350"/>
                <a:gd name="connsiteX2222" fmla="*/ 1962626 w 6400800"/>
                <a:gd name="connsiteY2222" fmla="*/ 157639 h 514350"/>
                <a:gd name="connsiteX2223" fmla="*/ 1948339 w 6400800"/>
                <a:gd name="connsiteY2223" fmla="*/ 185261 h 514350"/>
                <a:gd name="connsiteX2224" fmla="*/ 1945481 w 6400800"/>
                <a:gd name="connsiteY2224" fmla="*/ 190976 h 514350"/>
                <a:gd name="connsiteX2225" fmla="*/ 1945481 w 6400800"/>
                <a:gd name="connsiteY2225" fmla="*/ 189071 h 514350"/>
                <a:gd name="connsiteX2226" fmla="*/ 1944529 w 6400800"/>
                <a:gd name="connsiteY2226" fmla="*/ 192881 h 514350"/>
                <a:gd name="connsiteX2227" fmla="*/ 1938814 w 6400800"/>
                <a:gd name="connsiteY2227" fmla="*/ 205264 h 514350"/>
                <a:gd name="connsiteX2228" fmla="*/ 1935004 w 6400800"/>
                <a:gd name="connsiteY2228" fmla="*/ 148114 h 514350"/>
                <a:gd name="connsiteX2229" fmla="*/ 1928336 w 6400800"/>
                <a:gd name="connsiteY2229" fmla="*/ 224314 h 514350"/>
                <a:gd name="connsiteX2230" fmla="*/ 1928336 w 6400800"/>
                <a:gd name="connsiteY2230" fmla="*/ 229076 h 514350"/>
                <a:gd name="connsiteX2231" fmla="*/ 1924526 w 6400800"/>
                <a:gd name="connsiteY2231" fmla="*/ 236696 h 514350"/>
                <a:gd name="connsiteX2232" fmla="*/ 1915001 w 6400800"/>
                <a:gd name="connsiteY2232" fmla="*/ 258604 h 514350"/>
                <a:gd name="connsiteX2233" fmla="*/ 1911191 w 6400800"/>
                <a:gd name="connsiteY2233" fmla="*/ 268129 h 514350"/>
                <a:gd name="connsiteX2234" fmla="*/ 1907381 w 6400800"/>
                <a:gd name="connsiteY2234" fmla="*/ 259556 h 514350"/>
                <a:gd name="connsiteX2235" fmla="*/ 1907381 w 6400800"/>
                <a:gd name="connsiteY2235" fmla="*/ 258604 h 514350"/>
                <a:gd name="connsiteX2236" fmla="*/ 1907381 w 6400800"/>
                <a:gd name="connsiteY2236" fmla="*/ 258604 h 514350"/>
                <a:gd name="connsiteX2237" fmla="*/ 1900714 w 6400800"/>
                <a:gd name="connsiteY2237" fmla="*/ 253841 h 514350"/>
                <a:gd name="connsiteX2238" fmla="*/ 1897856 w 6400800"/>
                <a:gd name="connsiteY2238" fmla="*/ 252889 h 514350"/>
                <a:gd name="connsiteX2239" fmla="*/ 1896904 w 6400800"/>
                <a:gd name="connsiteY2239" fmla="*/ 252889 h 514350"/>
                <a:gd name="connsiteX2240" fmla="*/ 1896904 w 6400800"/>
                <a:gd name="connsiteY2240" fmla="*/ 250984 h 514350"/>
                <a:gd name="connsiteX2241" fmla="*/ 1897856 w 6400800"/>
                <a:gd name="connsiteY2241" fmla="*/ 246221 h 514350"/>
                <a:gd name="connsiteX2242" fmla="*/ 1902619 w 6400800"/>
                <a:gd name="connsiteY2242" fmla="*/ 230029 h 514350"/>
                <a:gd name="connsiteX2243" fmla="*/ 1903571 w 6400800"/>
                <a:gd name="connsiteY2243" fmla="*/ 226219 h 514350"/>
                <a:gd name="connsiteX2244" fmla="*/ 1902619 w 6400800"/>
                <a:gd name="connsiteY2244" fmla="*/ 227171 h 514350"/>
                <a:gd name="connsiteX2245" fmla="*/ 1906429 w 6400800"/>
                <a:gd name="connsiteY2245" fmla="*/ 214789 h 514350"/>
                <a:gd name="connsiteX2246" fmla="*/ 1915001 w 6400800"/>
                <a:gd name="connsiteY2246" fmla="*/ 190976 h 514350"/>
                <a:gd name="connsiteX2247" fmla="*/ 1922621 w 6400800"/>
                <a:gd name="connsiteY2247" fmla="*/ 170021 h 514350"/>
                <a:gd name="connsiteX2248" fmla="*/ 1911191 w 6400800"/>
                <a:gd name="connsiteY2248" fmla="*/ 189071 h 514350"/>
                <a:gd name="connsiteX2249" fmla="*/ 1899761 w 6400800"/>
                <a:gd name="connsiteY2249" fmla="*/ 211931 h 514350"/>
                <a:gd name="connsiteX2250" fmla="*/ 1893094 w 6400800"/>
                <a:gd name="connsiteY2250" fmla="*/ 226219 h 514350"/>
                <a:gd name="connsiteX2251" fmla="*/ 1889284 w 6400800"/>
                <a:gd name="connsiteY2251" fmla="*/ 235744 h 514350"/>
                <a:gd name="connsiteX2252" fmla="*/ 1888331 w 6400800"/>
                <a:gd name="connsiteY2252" fmla="*/ 232886 h 514350"/>
                <a:gd name="connsiteX2253" fmla="*/ 1889284 w 6400800"/>
                <a:gd name="connsiteY2253" fmla="*/ 216694 h 514350"/>
                <a:gd name="connsiteX2254" fmla="*/ 1891189 w 6400800"/>
                <a:gd name="connsiteY2254" fmla="*/ 200501 h 514350"/>
                <a:gd name="connsiteX2255" fmla="*/ 1894046 w 6400800"/>
                <a:gd name="connsiteY2255" fmla="*/ 187166 h 514350"/>
                <a:gd name="connsiteX2256" fmla="*/ 1899761 w 6400800"/>
                <a:gd name="connsiteY2256" fmla="*/ 169069 h 514350"/>
                <a:gd name="connsiteX2257" fmla="*/ 1902619 w 6400800"/>
                <a:gd name="connsiteY2257" fmla="*/ 162401 h 514350"/>
                <a:gd name="connsiteX2258" fmla="*/ 1898809 w 6400800"/>
                <a:gd name="connsiteY2258" fmla="*/ 168116 h 514350"/>
                <a:gd name="connsiteX2259" fmla="*/ 1890236 w 6400800"/>
                <a:gd name="connsiteY2259" fmla="*/ 186214 h 514350"/>
                <a:gd name="connsiteX2260" fmla="*/ 1885474 w 6400800"/>
                <a:gd name="connsiteY2260" fmla="*/ 199549 h 514350"/>
                <a:gd name="connsiteX2261" fmla="*/ 1882616 w 6400800"/>
                <a:gd name="connsiteY2261" fmla="*/ 213836 h 514350"/>
                <a:gd name="connsiteX2262" fmla="*/ 1882616 w 6400800"/>
                <a:gd name="connsiteY2262" fmla="*/ 210026 h 514350"/>
                <a:gd name="connsiteX2263" fmla="*/ 1878806 w 6400800"/>
                <a:gd name="connsiteY2263" fmla="*/ 228124 h 514350"/>
                <a:gd name="connsiteX2264" fmla="*/ 1874996 w 6400800"/>
                <a:gd name="connsiteY2264" fmla="*/ 243364 h 514350"/>
                <a:gd name="connsiteX2265" fmla="*/ 1874996 w 6400800"/>
                <a:gd name="connsiteY2265" fmla="*/ 237649 h 514350"/>
                <a:gd name="connsiteX2266" fmla="*/ 1872139 w 6400800"/>
                <a:gd name="connsiteY2266" fmla="*/ 255746 h 514350"/>
                <a:gd name="connsiteX2267" fmla="*/ 1868329 w 6400800"/>
                <a:gd name="connsiteY2267" fmla="*/ 270986 h 514350"/>
                <a:gd name="connsiteX2268" fmla="*/ 1869281 w 6400800"/>
                <a:gd name="connsiteY2268" fmla="*/ 259556 h 514350"/>
                <a:gd name="connsiteX2269" fmla="*/ 1874996 w 6400800"/>
                <a:gd name="connsiteY2269" fmla="*/ 213836 h 514350"/>
                <a:gd name="connsiteX2270" fmla="*/ 1877854 w 6400800"/>
                <a:gd name="connsiteY2270" fmla="*/ 193834 h 514350"/>
                <a:gd name="connsiteX2271" fmla="*/ 1881664 w 6400800"/>
                <a:gd name="connsiteY2271" fmla="*/ 175736 h 514350"/>
                <a:gd name="connsiteX2272" fmla="*/ 1888331 w 6400800"/>
                <a:gd name="connsiteY2272" fmla="*/ 146209 h 514350"/>
                <a:gd name="connsiteX2273" fmla="*/ 1894999 w 6400800"/>
                <a:gd name="connsiteY2273" fmla="*/ 120491 h 514350"/>
                <a:gd name="connsiteX2274" fmla="*/ 1885474 w 6400800"/>
                <a:gd name="connsiteY2274" fmla="*/ 144304 h 514350"/>
                <a:gd name="connsiteX2275" fmla="*/ 1875949 w 6400800"/>
                <a:gd name="connsiteY2275" fmla="*/ 172879 h 514350"/>
                <a:gd name="connsiteX2276" fmla="*/ 1870234 w 6400800"/>
                <a:gd name="connsiteY2276" fmla="*/ 190976 h 514350"/>
                <a:gd name="connsiteX2277" fmla="*/ 1865471 w 6400800"/>
                <a:gd name="connsiteY2277" fmla="*/ 210979 h 514350"/>
                <a:gd name="connsiteX2278" fmla="*/ 1858804 w 6400800"/>
                <a:gd name="connsiteY2278" fmla="*/ 238601 h 514350"/>
                <a:gd name="connsiteX2279" fmla="*/ 1856899 w 6400800"/>
                <a:gd name="connsiteY2279" fmla="*/ 194786 h 514350"/>
                <a:gd name="connsiteX2280" fmla="*/ 1854994 w 6400800"/>
                <a:gd name="connsiteY2280" fmla="*/ 172879 h 514350"/>
                <a:gd name="connsiteX2281" fmla="*/ 1853089 w 6400800"/>
                <a:gd name="connsiteY2281" fmla="*/ 194786 h 514350"/>
                <a:gd name="connsiteX2282" fmla="*/ 1848326 w 6400800"/>
                <a:gd name="connsiteY2282" fmla="*/ 250984 h 514350"/>
                <a:gd name="connsiteX2283" fmla="*/ 1845469 w 6400800"/>
                <a:gd name="connsiteY2283" fmla="*/ 282416 h 514350"/>
                <a:gd name="connsiteX2284" fmla="*/ 1839754 w 6400800"/>
                <a:gd name="connsiteY2284" fmla="*/ 273844 h 514350"/>
                <a:gd name="connsiteX2285" fmla="*/ 1838801 w 6400800"/>
                <a:gd name="connsiteY2285" fmla="*/ 269081 h 514350"/>
                <a:gd name="connsiteX2286" fmla="*/ 1838801 w 6400800"/>
                <a:gd name="connsiteY2286" fmla="*/ 272891 h 514350"/>
                <a:gd name="connsiteX2287" fmla="*/ 1827371 w 6400800"/>
                <a:gd name="connsiteY2287" fmla="*/ 256699 h 514350"/>
                <a:gd name="connsiteX2288" fmla="*/ 1828324 w 6400800"/>
                <a:gd name="connsiteY2288" fmla="*/ 190976 h 514350"/>
                <a:gd name="connsiteX2289" fmla="*/ 1822609 w 6400800"/>
                <a:gd name="connsiteY2289" fmla="*/ 222409 h 514350"/>
                <a:gd name="connsiteX2290" fmla="*/ 1822609 w 6400800"/>
                <a:gd name="connsiteY2290" fmla="*/ 214789 h 514350"/>
                <a:gd name="connsiteX2291" fmla="*/ 1822609 w 6400800"/>
                <a:gd name="connsiteY2291" fmla="*/ 161449 h 514350"/>
                <a:gd name="connsiteX2292" fmla="*/ 1823561 w 6400800"/>
                <a:gd name="connsiteY2292" fmla="*/ 113824 h 514350"/>
                <a:gd name="connsiteX2293" fmla="*/ 1823561 w 6400800"/>
                <a:gd name="connsiteY2293" fmla="*/ 15716 h 514350"/>
                <a:gd name="connsiteX2294" fmla="*/ 1812131 w 6400800"/>
                <a:gd name="connsiteY2294" fmla="*/ 112871 h 514350"/>
                <a:gd name="connsiteX2295" fmla="*/ 1807369 w 6400800"/>
                <a:gd name="connsiteY2295" fmla="*/ 160496 h 514350"/>
                <a:gd name="connsiteX2296" fmla="*/ 1805464 w 6400800"/>
                <a:gd name="connsiteY2296" fmla="*/ 209074 h 514350"/>
                <a:gd name="connsiteX2297" fmla="*/ 1801654 w 6400800"/>
                <a:gd name="connsiteY2297" fmla="*/ 211931 h 514350"/>
                <a:gd name="connsiteX2298" fmla="*/ 1801654 w 6400800"/>
                <a:gd name="connsiteY2298" fmla="*/ 211931 h 514350"/>
                <a:gd name="connsiteX2299" fmla="*/ 1801654 w 6400800"/>
                <a:gd name="connsiteY2299" fmla="*/ 212884 h 514350"/>
                <a:gd name="connsiteX2300" fmla="*/ 1790224 w 6400800"/>
                <a:gd name="connsiteY2300" fmla="*/ 237649 h 514350"/>
                <a:gd name="connsiteX2301" fmla="*/ 1790224 w 6400800"/>
                <a:gd name="connsiteY2301" fmla="*/ 207169 h 514350"/>
                <a:gd name="connsiteX2302" fmla="*/ 1786414 w 6400800"/>
                <a:gd name="connsiteY2302" fmla="*/ 239554 h 514350"/>
                <a:gd name="connsiteX2303" fmla="*/ 1784509 w 6400800"/>
                <a:gd name="connsiteY2303" fmla="*/ 250984 h 514350"/>
                <a:gd name="connsiteX2304" fmla="*/ 1783556 w 6400800"/>
                <a:gd name="connsiteY2304" fmla="*/ 252889 h 514350"/>
                <a:gd name="connsiteX2305" fmla="*/ 1776889 w 6400800"/>
                <a:gd name="connsiteY2305" fmla="*/ 226219 h 514350"/>
                <a:gd name="connsiteX2306" fmla="*/ 1777841 w 6400800"/>
                <a:gd name="connsiteY2306" fmla="*/ 253841 h 514350"/>
                <a:gd name="connsiteX2307" fmla="*/ 1768316 w 6400800"/>
                <a:gd name="connsiteY2307" fmla="*/ 230029 h 514350"/>
                <a:gd name="connsiteX2308" fmla="*/ 1759744 w 6400800"/>
                <a:gd name="connsiteY2308" fmla="*/ 209074 h 514350"/>
                <a:gd name="connsiteX2309" fmla="*/ 1759744 w 6400800"/>
                <a:gd name="connsiteY2309" fmla="*/ 208121 h 514350"/>
                <a:gd name="connsiteX2310" fmla="*/ 1761649 w 6400800"/>
                <a:gd name="connsiteY2310" fmla="*/ 198596 h 514350"/>
                <a:gd name="connsiteX2311" fmla="*/ 1759744 w 6400800"/>
                <a:gd name="connsiteY2311" fmla="*/ 203359 h 514350"/>
                <a:gd name="connsiteX2312" fmla="*/ 1759744 w 6400800"/>
                <a:gd name="connsiteY2312" fmla="*/ 195739 h 514350"/>
                <a:gd name="connsiteX2313" fmla="*/ 1761649 w 6400800"/>
                <a:gd name="connsiteY2313" fmla="*/ 171926 h 514350"/>
                <a:gd name="connsiteX2314" fmla="*/ 1762601 w 6400800"/>
                <a:gd name="connsiteY2314" fmla="*/ 151924 h 514350"/>
                <a:gd name="connsiteX2315" fmla="*/ 1756886 w 6400800"/>
                <a:gd name="connsiteY2315" fmla="*/ 171926 h 514350"/>
                <a:gd name="connsiteX2316" fmla="*/ 1749266 w 6400800"/>
                <a:gd name="connsiteY2316" fmla="*/ 205264 h 514350"/>
                <a:gd name="connsiteX2317" fmla="*/ 1745456 w 6400800"/>
                <a:gd name="connsiteY2317" fmla="*/ 197644 h 514350"/>
                <a:gd name="connsiteX2318" fmla="*/ 1749266 w 6400800"/>
                <a:gd name="connsiteY2318" fmla="*/ 208121 h 514350"/>
                <a:gd name="connsiteX2319" fmla="*/ 1746409 w 6400800"/>
                <a:gd name="connsiteY2319" fmla="*/ 225266 h 514350"/>
                <a:gd name="connsiteX2320" fmla="*/ 1746409 w 6400800"/>
                <a:gd name="connsiteY2320" fmla="*/ 228124 h 514350"/>
                <a:gd name="connsiteX2321" fmla="*/ 1737836 w 6400800"/>
                <a:gd name="connsiteY2321" fmla="*/ 171926 h 514350"/>
                <a:gd name="connsiteX2322" fmla="*/ 1738789 w 6400800"/>
                <a:gd name="connsiteY2322" fmla="*/ 252889 h 514350"/>
                <a:gd name="connsiteX2323" fmla="*/ 1736884 w 6400800"/>
                <a:gd name="connsiteY2323" fmla="*/ 256699 h 514350"/>
                <a:gd name="connsiteX2324" fmla="*/ 1735931 w 6400800"/>
                <a:gd name="connsiteY2324" fmla="*/ 252889 h 514350"/>
                <a:gd name="connsiteX2325" fmla="*/ 1735931 w 6400800"/>
                <a:gd name="connsiteY2325" fmla="*/ 257651 h 514350"/>
                <a:gd name="connsiteX2326" fmla="*/ 1733074 w 6400800"/>
                <a:gd name="connsiteY2326" fmla="*/ 264319 h 514350"/>
                <a:gd name="connsiteX2327" fmla="*/ 1727359 w 6400800"/>
                <a:gd name="connsiteY2327" fmla="*/ 283369 h 514350"/>
                <a:gd name="connsiteX2328" fmla="*/ 1722596 w 6400800"/>
                <a:gd name="connsiteY2328" fmla="*/ 299561 h 514350"/>
                <a:gd name="connsiteX2329" fmla="*/ 1718786 w 6400800"/>
                <a:gd name="connsiteY2329" fmla="*/ 267176 h 514350"/>
                <a:gd name="connsiteX2330" fmla="*/ 1716881 w 6400800"/>
                <a:gd name="connsiteY2330" fmla="*/ 317659 h 514350"/>
                <a:gd name="connsiteX2331" fmla="*/ 1716881 w 6400800"/>
                <a:gd name="connsiteY2331" fmla="*/ 318611 h 514350"/>
                <a:gd name="connsiteX2332" fmla="*/ 1714976 w 6400800"/>
                <a:gd name="connsiteY2332" fmla="*/ 316706 h 514350"/>
                <a:gd name="connsiteX2333" fmla="*/ 1707356 w 6400800"/>
                <a:gd name="connsiteY2333" fmla="*/ 288131 h 514350"/>
                <a:gd name="connsiteX2334" fmla="*/ 1709261 w 6400800"/>
                <a:gd name="connsiteY2334" fmla="*/ 237649 h 514350"/>
                <a:gd name="connsiteX2335" fmla="*/ 1710214 w 6400800"/>
                <a:gd name="connsiteY2335" fmla="*/ 163354 h 514350"/>
                <a:gd name="connsiteX2336" fmla="*/ 1698784 w 6400800"/>
                <a:gd name="connsiteY2336" fmla="*/ 229076 h 514350"/>
                <a:gd name="connsiteX2337" fmla="*/ 1694021 w 6400800"/>
                <a:gd name="connsiteY2337" fmla="*/ 203359 h 514350"/>
                <a:gd name="connsiteX2338" fmla="*/ 1699736 w 6400800"/>
                <a:gd name="connsiteY2338" fmla="*/ 170021 h 514350"/>
                <a:gd name="connsiteX2339" fmla="*/ 1706404 w 6400800"/>
                <a:gd name="connsiteY2339" fmla="*/ 119539 h 514350"/>
                <a:gd name="connsiteX2340" fmla="*/ 1710214 w 6400800"/>
                <a:gd name="connsiteY2340" fmla="*/ 80486 h 514350"/>
                <a:gd name="connsiteX2341" fmla="*/ 1713071 w 6400800"/>
                <a:gd name="connsiteY2341" fmla="*/ 47149 h 514350"/>
                <a:gd name="connsiteX2342" fmla="*/ 1706404 w 6400800"/>
                <a:gd name="connsiteY2342" fmla="*/ 80486 h 514350"/>
                <a:gd name="connsiteX2343" fmla="*/ 1698784 w 6400800"/>
                <a:gd name="connsiteY2343" fmla="*/ 118586 h 514350"/>
                <a:gd name="connsiteX2344" fmla="*/ 1688306 w 6400800"/>
                <a:gd name="connsiteY2344" fmla="*/ 168116 h 514350"/>
                <a:gd name="connsiteX2345" fmla="*/ 1687354 w 6400800"/>
                <a:gd name="connsiteY2345" fmla="*/ 171926 h 514350"/>
                <a:gd name="connsiteX2346" fmla="*/ 1684496 w 6400800"/>
                <a:gd name="connsiteY2346" fmla="*/ 160496 h 514350"/>
                <a:gd name="connsiteX2347" fmla="*/ 1685449 w 6400800"/>
                <a:gd name="connsiteY2347" fmla="*/ 179546 h 514350"/>
                <a:gd name="connsiteX2348" fmla="*/ 1681639 w 6400800"/>
                <a:gd name="connsiteY2348" fmla="*/ 197644 h 514350"/>
                <a:gd name="connsiteX2349" fmla="*/ 1680686 w 6400800"/>
                <a:gd name="connsiteY2349" fmla="*/ 192881 h 514350"/>
                <a:gd name="connsiteX2350" fmla="*/ 1681639 w 6400800"/>
                <a:gd name="connsiteY2350" fmla="*/ 174784 h 514350"/>
                <a:gd name="connsiteX2351" fmla="*/ 1682591 w 6400800"/>
                <a:gd name="connsiteY2351" fmla="*/ 143351 h 514350"/>
                <a:gd name="connsiteX2352" fmla="*/ 1683544 w 6400800"/>
                <a:gd name="connsiteY2352" fmla="*/ 115729 h 514350"/>
                <a:gd name="connsiteX2353" fmla="*/ 1678781 w 6400800"/>
                <a:gd name="connsiteY2353" fmla="*/ 143351 h 514350"/>
                <a:gd name="connsiteX2354" fmla="*/ 1674019 w 6400800"/>
                <a:gd name="connsiteY2354" fmla="*/ 174784 h 514350"/>
                <a:gd name="connsiteX2355" fmla="*/ 1666399 w 6400800"/>
                <a:gd name="connsiteY2355" fmla="*/ 215741 h 514350"/>
                <a:gd name="connsiteX2356" fmla="*/ 1663541 w 6400800"/>
                <a:gd name="connsiteY2356" fmla="*/ 231934 h 514350"/>
                <a:gd name="connsiteX2357" fmla="*/ 1661636 w 6400800"/>
                <a:gd name="connsiteY2357" fmla="*/ 225266 h 514350"/>
                <a:gd name="connsiteX2358" fmla="*/ 1662589 w 6400800"/>
                <a:gd name="connsiteY2358" fmla="*/ 236696 h 514350"/>
                <a:gd name="connsiteX2359" fmla="*/ 1659731 w 6400800"/>
                <a:gd name="connsiteY2359" fmla="*/ 253841 h 514350"/>
                <a:gd name="connsiteX2360" fmla="*/ 1658779 w 6400800"/>
                <a:gd name="connsiteY2360" fmla="*/ 251936 h 514350"/>
                <a:gd name="connsiteX2361" fmla="*/ 1646396 w 6400800"/>
                <a:gd name="connsiteY2361" fmla="*/ 223361 h 514350"/>
                <a:gd name="connsiteX2362" fmla="*/ 1642586 w 6400800"/>
                <a:gd name="connsiteY2362" fmla="*/ 215741 h 514350"/>
                <a:gd name="connsiteX2363" fmla="*/ 1642586 w 6400800"/>
                <a:gd name="connsiteY2363" fmla="*/ 202406 h 514350"/>
                <a:gd name="connsiteX2364" fmla="*/ 1640681 w 6400800"/>
                <a:gd name="connsiteY2364" fmla="*/ 154781 h 514350"/>
                <a:gd name="connsiteX2365" fmla="*/ 1635919 w 6400800"/>
                <a:gd name="connsiteY2365" fmla="*/ 111919 h 514350"/>
                <a:gd name="connsiteX2366" fmla="*/ 1624489 w 6400800"/>
                <a:gd name="connsiteY2366" fmla="*/ 23336 h 514350"/>
                <a:gd name="connsiteX2367" fmla="*/ 1624489 w 6400800"/>
                <a:gd name="connsiteY2367" fmla="*/ 111919 h 514350"/>
                <a:gd name="connsiteX2368" fmla="*/ 1625441 w 6400800"/>
                <a:gd name="connsiteY2368" fmla="*/ 154781 h 514350"/>
                <a:gd name="connsiteX2369" fmla="*/ 1625441 w 6400800"/>
                <a:gd name="connsiteY2369" fmla="*/ 202406 h 514350"/>
                <a:gd name="connsiteX2370" fmla="*/ 1625441 w 6400800"/>
                <a:gd name="connsiteY2370" fmla="*/ 225266 h 514350"/>
                <a:gd name="connsiteX2371" fmla="*/ 1625441 w 6400800"/>
                <a:gd name="connsiteY2371" fmla="*/ 230981 h 514350"/>
                <a:gd name="connsiteX2372" fmla="*/ 1623536 w 6400800"/>
                <a:gd name="connsiteY2372" fmla="*/ 227171 h 514350"/>
                <a:gd name="connsiteX2373" fmla="*/ 1619726 w 6400800"/>
                <a:gd name="connsiteY2373" fmla="*/ 203359 h 514350"/>
                <a:gd name="connsiteX2374" fmla="*/ 1619726 w 6400800"/>
                <a:gd name="connsiteY2374" fmla="*/ 217646 h 514350"/>
                <a:gd name="connsiteX2375" fmla="*/ 1608296 w 6400800"/>
                <a:gd name="connsiteY2375" fmla="*/ 190976 h 514350"/>
                <a:gd name="connsiteX2376" fmla="*/ 1619726 w 6400800"/>
                <a:gd name="connsiteY2376" fmla="*/ 233839 h 514350"/>
                <a:gd name="connsiteX2377" fmla="*/ 1619726 w 6400800"/>
                <a:gd name="connsiteY2377" fmla="*/ 242411 h 514350"/>
                <a:gd name="connsiteX2378" fmla="*/ 1613059 w 6400800"/>
                <a:gd name="connsiteY2378" fmla="*/ 233839 h 514350"/>
                <a:gd name="connsiteX2379" fmla="*/ 1619726 w 6400800"/>
                <a:gd name="connsiteY2379" fmla="*/ 247174 h 514350"/>
                <a:gd name="connsiteX2380" fmla="*/ 1610201 w 6400800"/>
                <a:gd name="connsiteY2380" fmla="*/ 264319 h 514350"/>
                <a:gd name="connsiteX2381" fmla="*/ 1607344 w 6400800"/>
                <a:gd name="connsiteY2381" fmla="*/ 270034 h 514350"/>
                <a:gd name="connsiteX2382" fmla="*/ 1606391 w 6400800"/>
                <a:gd name="connsiteY2382" fmla="*/ 269081 h 514350"/>
                <a:gd name="connsiteX2383" fmla="*/ 1607344 w 6400800"/>
                <a:gd name="connsiteY2383" fmla="*/ 270034 h 514350"/>
                <a:gd name="connsiteX2384" fmla="*/ 1601629 w 6400800"/>
                <a:gd name="connsiteY2384" fmla="*/ 282416 h 514350"/>
                <a:gd name="connsiteX2385" fmla="*/ 1600676 w 6400800"/>
                <a:gd name="connsiteY2385" fmla="*/ 269081 h 514350"/>
                <a:gd name="connsiteX2386" fmla="*/ 1595914 w 6400800"/>
                <a:gd name="connsiteY2386" fmla="*/ 207169 h 514350"/>
                <a:gd name="connsiteX2387" fmla="*/ 1594009 w 6400800"/>
                <a:gd name="connsiteY2387" fmla="*/ 183356 h 514350"/>
                <a:gd name="connsiteX2388" fmla="*/ 1592104 w 6400800"/>
                <a:gd name="connsiteY2388" fmla="*/ 207169 h 514350"/>
                <a:gd name="connsiteX2389" fmla="*/ 1591151 w 6400800"/>
                <a:gd name="connsiteY2389" fmla="*/ 227171 h 514350"/>
                <a:gd name="connsiteX2390" fmla="*/ 1583531 w 6400800"/>
                <a:gd name="connsiteY2390" fmla="*/ 197644 h 514350"/>
                <a:gd name="connsiteX2391" fmla="*/ 1578769 w 6400800"/>
                <a:gd name="connsiteY2391" fmla="*/ 179546 h 514350"/>
                <a:gd name="connsiteX2392" fmla="*/ 1573054 w 6400800"/>
                <a:gd name="connsiteY2392" fmla="*/ 163354 h 514350"/>
                <a:gd name="connsiteX2393" fmla="*/ 1563529 w 6400800"/>
                <a:gd name="connsiteY2393" fmla="*/ 137636 h 514350"/>
                <a:gd name="connsiteX2394" fmla="*/ 1554004 w 6400800"/>
                <a:gd name="connsiteY2394" fmla="*/ 115729 h 514350"/>
                <a:gd name="connsiteX2395" fmla="*/ 1560671 w 6400800"/>
                <a:gd name="connsiteY2395" fmla="*/ 138589 h 514350"/>
                <a:gd name="connsiteX2396" fmla="*/ 1567339 w 6400800"/>
                <a:gd name="connsiteY2396" fmla="*/ 165259 h 514350"/>
                <a:gd name="connsiteX2397" fmla="*/ 1571149 w 6400800"/>
                <a:gd name="connsiteY2397" fmla="*/ 181451 h 514350"/>
                <a:gd name="connsiteX2398" fmla="*/ 1574006 w 6400800"/>
                <a:gd name="connsiteY2398" fmla="*/ 199549 h 514350"/>
                <a:gd name="connsiteX2399" fmla="*/ 1579721 w 6400800"/>
                <a:gd name="connsiteY2399" fmla="*/ 240506 h 514350"/>
                <a:gd name="connsiteX2400" fmla="*/ 1584484 w 6400800"/>
                <a:gd name="connsiteY2400" fmla="*/ 283369 h 514350"/>
                <a:gd name="connsiteX2401" fmla="*/ 1576864 w 6400800"/>
                <a:gd name="connsiteY2401" fmla="*/ 258604 h 514350"/>
                <a:gd name="connsiteX2402" fmla="*/ 1573054 w 6400800"/>
                <a:gd name="connsiteY2402" fmla="*/ 249079 h 514350"/>
                <a:gd name="connsiteX2403" fmla="*/ 1573054 w 6400800"/>
                <a:gd name="connsiteY2403" fmla="*/ 247174 h 514350"/>
                <a:gd name="connsiteX2404" fmla="*/ 1572101 w 6400800"/>
                <a:gd name="connsiteY2404" fmla="*/ 234791 h 514350"/>
                <a:gd name="connsiteX2405" fmla="*/ 1567339 w 6400800"/>
                <a:gd name="connsiteY2405" fmla="*/ 198596 h 514350"/>
                <a:gd name="connsiteX2406" fmla="*/ 1563529 w 6400800"/>
                <a:gd name="connsiteY2406" fmla="*/ 184309 h 514350"/>
                <a:gd name="connsiteX2407" fmla="*/ 1558766 w 6400800"/>
                <a:gd name="connsiteY2407" fmla="*/ 171926 h 514350"/>
                <a:gd name="connsiteX2408" fmla="*/ 1550194 w 6400800"/>
                <a:gd name="connsiteY2408" fmla="*/ 155734 h 514350"/>
                <a:gd name="connsiteX2409" fmla="*/ 1546384 w 6400800"/>
                <a:gd name="connsiteY2409" fmla="*/ 150019 h 514350"/>
                <a:gd name="connsiteX2410" fmla="*/ 1549241 w 6400800"/>
                <a:gd name="connsiteY2410" fmla="*/ 155734 h 514350"/>
                <a:gd name="connsiteX2411" fmla="*/ 1554956 w 6400800"/>
                <a:gd name="connsiteY2411" fmla="*/ 171926 h 514350"/>
                <a:gd name="connsiteX2412" fmla="*/ 1557814 w 6400800"/>
                <a:gd name="connsiteY2412" fmla="*/ 184309 h 514350"/>
                <a:gd name="connsiteX2413" fmla="*/ 1559719 w 6400800"/>
                <a:gd name="connsiteY2413" fmla="*/ 198596 h 514350"/>
                <a:gd name="connsiteX2414" fmla="*/ 1560671 w 6400800"/>
                <a:gd name="connsiteY2414" fmla="*/ 213836 h 514350"/>
                <a:gd name="connsiteX2415" fmla="*/ 1559719 w 6400800"/>
                <a:gd name="connsiteY2415" fmla="*/ 216694 h 514350"/>
                <a:gd name="connsiteX2416" fmla="*/ 1555909 w 6400800"/>
                <a:gd name="connsiteY2416" fmla="*/ 208121 h 514350"/>
                <a:gd name="connsiteX2417" fmla="*/ 1549241 w 6400800"/>
                <a:gd name="connsiteY2417" fmla="*/ 194786 h 514350"/>
                <a:gd name="connsiteX2418" fmla="*/ 1537811 w 6400800"/>
                <a:gd name="connsiteY2418" fmla="*/ 173831 h 514350"/>
                <a:gd name="connsiteX2419" fmla="*/ 1526381 w 6400800"/>
                <a:gd name="connsiteY2419" fmla="*/ 156686 h 514350"/>
                <a:gd name="connsiteX2420" fmla="*/ 1534001 w 6400800"/>
                <a:gd name="connsiteY2420" fmla="*/ 175736 h 514350"/>
                <a:gd name="connsiteX2421" fmla="*/ 1542574 w 6400800"/>
                <a:gd name="connsiteY2421" fmla="*/ 197644 h 514350"/>
                <a:gd name="connsiteX2422" fmla="*/ 1546384 w 6400800"/>
                <a:gd name="connsiteY2422" fmla="*/ 209074 h 514350"/>
                <a:gd name="connsiteX2423" fmla="*/ 1545431 w 6400800"/>
                <a:gd name="connsiteY2423" fmla="*/ 208121 h 514350"/>
                <a:gd name="connsiteX2424" fmla="*/ 1546384 w 6400800"/>
                <a:gd name="connsiteY2424" fmla="*/ 210979 h 514350"/>
                <a:gd name="connsiteX2425" fmla="*/ 1551146 w 6400800"/>
                <a:gd name="connsiteY2425" fmla="*/ 226219 h 514350"/>
                <a:gd name="connsiteX2426" fmla="*/ 1552099 w 6400800"/>
                <a:gd name="connsiteY2426" fmla="*/ 230981 h 514350"/>
                <a:gd name="connsiteX2427" fmla="*/ 1553051 w 6400800"/>
                <a:gd name="connsiteY2427" fmla="*/ 235744 h 514350"/>
                <a:gd name="connsiteX2428" fmla="*/ 1554004 w 6400800"/>
                <a:gd name="connsiteY2428" fmla="*/ 241459 h 514350"/>
                <a:gd name="connsiteX2429" fmla="*/ 1554004 w 6400800"/>
                <a:gd name="connsiteY2429" fmla="*/ 244316 h 514350"/>
                <a:gd name="connsiteX2430" fmla="*/ 1553051 w 6400800"/>
                <a:gd name="connsiteY2430" fmla="*/ 250031 h 514350"/>
                <a:gd name="connsiteX2431" fmla="*/ 1547336 w 6400800"/>
                <a:gd name="connsiteY2431" fmla="*/ 263366 h 514350"/>
                <a:gd name="connsiteX2432" fmla="*/ 1542574 w 6400800"/>
                <a:gd name="connsiteY2432" fmla="*/ 251936 h 514350"/>
                <a:gd name="connsiteX2433" fmla="*/ 1542574 w 6400800"/>
                <a:gd name="connsiteY2433" fmla="*/ 243364 h 514350"/>
                <a:gd name="connsiteX2434" fmla="*/ 1542574 w 6400800"/>
                <a:gd name="connsiteY2434" fmla="*/ 222409 h 514350"/>
                <a:gd name="connsiteX2435" fmla="*/ 1538764 w 6400800"/>
                <a:gd name="connsiteY2435" fmla="*/ 243364 h 514350"/>
                <a:gd name="connsiteX2436" fmla="*/ 1538764 w 6400800"/>
                <a:gd name="connsiteY2436" fmla="*/ 243364 h 514350"/>
                <a:gd name="connsiteX2437" fmla="*/ 1531144 w 6400800"/>
                <a:gd name="connsiteY2437" fmla="*/ 226219 h 514350"/>
                <a:gd name="connsiteX2438" fmla="*/ 1537811 w 6400800"/>
                <a:gd name="connsiteY2438" fmla="*/ 250031 h 514350"/>
                <a:gd name="connsiteX2439" fmla="*/ 1536859 w 6400800"/>
                <a:gd name="connsiteY2439" fmla="*/ 258604 h 514350"/>
                <a:gd name="connsiteX2440" fmla="*/ 1531144 w 6400800"/>
                <a:gd name="connsiteY2440" fmla="*/ 239554 h 514350"/>
                <a:gd name="connsiteX2441" fmla="*/ 1525429 w 6400800"/>
                <a:gd name="connsiteY2441" fmla="*/ 220504 h 514350"/>
                <a:gd name="connsiteX2442" fmla="*/ 1521619 w 6400800"/>
                <a:gd name="connsiteY2442" fmla="*/ 211931 h 514350"/>
                <a:gd name="connsiteX2443" fmla="*/ 1515904 w 6400800"/>
                <a:gd name="connsiteY2443" fmla="*/ 150019 h 514350"/>
                <a:gd name="connsiteX2444" fmla="*/ 1513046 w 6400800"/>
                <a:gd name="connsiteY2444" fmla="*/ 192881 h 514350"/>
                <a:gd name="connsiteX2445" fmla="*/ 1506379 w 6400800"/>
                <a:gd name="connsiteY2445" fmla="*/ 177641 h 514350"/>
                <a:gd name="connsiteX2446" fmla="*/ 1495901 w 6400800"/>
                <a:gd name="connsiteY2446" fmla="*/ 154781 h 514350"/>
                <a:gd name="connsiteX2447" fmla="*/ 1502569 w 6400800"/>
                <a:gd name="connsiteY2447" fmla="*/ 178594 h 514350"/>
                <a:gd name="connsiteX2448" fmla="*/ 1505426 w 6400800"/>
                <a:gd name="connsiteY2448" fmla="*/ 190024 h 514350"/>
                <a:gd name="connsiteX2449" fmla="*/ 1504474 w 6400800"/>
                <a:gd name="connsiteY2449" fmla="*/ 189071 h 514350"/>
                <a:gd name="connsiteX2450" fmla="*/ 1510189 w 6400800"/>
                <a:gd name="connsiteY2450" fmla="*/ 210026 h 514350"/>
                <a:gd name="connsiteX2451" fmla="*/ 1511141 w 6400800"/>
                <a:gd name="connsiteY2451" fmla="*/ 213836 h 514350"/>
                <a:gd name="connsiteX2452" fmla="*/ 1510189 w 6400800"/>
                <a:gd name="connsiteY2452" fmla="*/ 233839 h 514350"/>
                <a:gd name="connsiteX2453" fmla="*/ 1509236 w 6400800"/>
                <a:gd name="connsiteY2453" fmla="*/ 258604 h 514350"/>
                <a:gd name="connsiteX2454" fmla="*/ 1498759 w 6400800"/>
                <a:gd name="connsiteY2454" fmla="*/ 230981 h 514350"/>
                <a:gd name="connsiteX2455" fmla="*/ 1508284 w 6400800"/>
                <a:gd name="connsiteY2455" fmla="*/ 275749 h 514350"/>
                <a:gd name="connsiteX2456" fmla="*/ 1507331 w 6400800"/>
                <a:gd name="connsiteY2456" fmla="*/ 288131 h 514350"/>
                <a:gd name="connsiteX2457" fmla="*/ 1504474 w 6400800"/>
                <a:gd name="connsiteY2457" fmla="*/ 292894 h 514350"/>
                <a:gd name="connsiteX2458" fmla="*/ 1500664 w 6400800"/>
                <a:gd name="connsiteY2458" fmla="*/ 298609 h 514350"/>
                <a:gd name="connsiteX2459" fmla="*/ 1493044 w 6400800"/>
                <a:gd name="connsiteY2459" fmla="*/ 266224 h 514350"/>
                <a:gd name="connsiteX2460" fmla="*/ 1497806 w 6400800"/>
                <a:gd name="connsiteY2460" fmla="*/ 246221 h 514350"/>
                <a:gd name="connsiteX2461" fmla="*/ 1491139 w 6400800"/>
                <a:gd name="connsiteY2461" fmla="*/ 260509 h 514350"/>
                <a:gd name="connsiteX2462" fmla="*/ 1491139 w 6400800"/>
                <a:gd name="connsiteY2462" fmla="*/ 259556 h 514350"/>
                <a:gd name="connsiteX2463" fmla="*/ 1490186 w 6400800"/>
                <a:gd name="connsiteY2463" fmla="*/ 244316 h 514350"/>
                <a:gd name="connsiteX2464" fmla="*/ 1489234 w 6400800"/>
                <a:gd name="connsiteY2464" fmla="*/ 238601 h 514350"/>
                <a:gd name="connsiteX2465" fmla="*/ 1489234 w 6400800"/>
                <a:gd name="connsiteY2465" fmla="*/ 237649 h 514350"/>
                <a:gd name="connsiteX2466" fmla="*/ 1489234 w 6400800"/>
                <a:gd name="connsiteY2466" fmla="*/ 238601 h 514350"/>
                <a:gd name="connsiteX2467" fmla="*/ 1486376 w 6400800"/>
                <a:gd name="connsiteY2467" fmla="*/ 219551 h 514350"/>
                <a:gd name="connsiteX2468" fmla="*/ 1482566 w 6400800"/>
                <a:gd name="connsiteY2468" fmla="*/ 198596 h 514350"/>
                <a:gd name="connsiteX2469" fmla="*/ 1482566 w 6400800"/>
                <a:gd name="connsiteY2469" fmla="*/ 220504 h 514350"/>
                <a:gd name="connsiteX2470" fmla="*/ 1482566 w 6400800"/>
                <a:gd name="connsiteY2470" fmla="*/ 228124 h 514350"/>
                <a:gd name="connsiteX2471" fmla="*/ 1473041 w 6400800"/>
                <a:gd name="connsiteY2471" fmla="*/ 193834 h 514350"/>
                <a:gd name="connsiteX2472" fmla="*/ 1479709 w 6400800"/>
                <a:gd name="connsiteY2472" fmla="*/ 259556 h 514350"/>
                <a:gd name="connsiteX2473" fmla="*/ 1478756 w 6400800"/>
                <a:gd name="connsiteY2473" fmla="*/ 262414 h 514350"/>
                <a:gd name="connsiteX2474" fmla="*/ 1476851 w 6400800"/>
                <a:gd name="connsiteY2474" fmla="*/ 266224 h 514350"/>
                <a:gd name="connsiteX2475" fmla="*/ 1475899 w 6400800"/>
                <a:gd name="connsiteY2475" fmla="*/ 257651 h 514350"/>
                <a:gd name="connsiteX2476" fmla="*/ 1471136 w 6400800"/>
                <a:gd name="connsiteY2476" fmla="*/ 221456 h 514350"/>
                <a:gd name="connsiteX2477" fmla="*/ 1466374 w 6400800"/>
                <a:gd name="connsiteY2477" fmla="*/ 193834 h 514350"/>
                <a:gd name="connsiteX2478" fmla="*/ 1460659 w 6400800"/>
                <a:gd name="connsiteY2478" fmla="*/ 170021 h 514350"/>
                <a:gd name="connsiteX2479" fmla="*/ 1462564 w 6400800"/>
                <a:gd name="connsiteY2479" fmla="*/ 193834 h 514350"/>
                <a:gd name="connsiteX2480" fmla="*/ 1464469 w 6400800"/>
                <a:gd name="connsiteY2480" fmla="*/ 221456 h 514350"/>
                <a:gd name="connsiteX2481" fmla="*/ 1465421 w 6400800"/>
                <a:gd name="connsiteY2481" fmla="*/ 257651 h 514350"/>
                <a:gd name="connsiteX2482" fmla="*/ 1465421 w 6400800"/>
                <a:gd name="connsiteY2482" fmla="*/ 275749 h 514350"/>
                <a:gd name="connsiteX2483" fmla="*/ 1455896 w 6400800"/>
                <a:gd name="connsiteY2483" fmla="*/ 246221 h 514350"/>
                <a:gd name="connsiteX2484" fmla="*/ 1447324 w 6400800"/>
                <a:gd name="connsiteY2484" fmla="*/ 218599 h 514350"/>
                <a:gd name="connsiteX2485" fmla="*/ 1439704 w 6400800"/>
                <a:gd name="connsiteY2485" fmla="*/ 194786 h 514350"/>
                <a:gd name="connsiteX2486" fmla="*/ 1442561 w 6400800"/>
                <a:gd name="connsiteY2486" fmla="*/ 215741 h 514350"/>
                <a:gd name="connsiteX2487" fmla="*/ 1435894 w 6400800"/>
                <a:gd name="connsiteY2487" fmla="*/ 185261 h 514350"/>
                <a:gd name="connsiteX2488" fmla="*/ 1435894 w 6400800"/>
                <a:gd name="connsiteY2488" fmla="*/ 159544 h 514350"/>
                <a:gd name="connsiteX2489" fmla="*/ 1433036 w 6400800"/>
                <a:gd name="connsiteY2489" fmla="*/ 173831 h 514350"/>
                <a:gd name="connsiteX2490" fmla="*/ 1430179 w 6400800"/>
                <a:gd name="connsiteY2490" fmla="*/ 160496 h 514350"/>
                <a:gd name="connsiteX2491" fmla="*/ 1430179 w 6400800"/>
                <a:gd name="connsiteY2491" fmla="*/ 166211 h 514350"/>
                <a:gd name="connsiteX2492" fmla="*/ 1425416 w 6400800"/>
                <a:gd name="connsiteY2492" fmla="*/ 147161 h 514350"/>
                <a:gd name="connsiteX2493" fmla="*/ 1418749 w 6400800"/>
                <a:gd name="connsiteY2493" fmla="*/ 127159 h 514350"/>
                <a:gd name="connsiteX2494" fmla="*/ 1421606 w 6400800"/>
                <a:gd name="connsiteY2494" fmla="*/ 148114 h 514350"/>
                <a:gd name="connsiteX2495" fmla="*/ 1423511 w 6400800"/>
                <a:gd name="connsiteY2495" fmla="*/ 171926 h 514350"/>
                <a:gd name="connsiteX2496" fmla="*/ 1425416 w 6400800"/>
                <a:gd name="connsiteY2496" fmla="*/ 202406 h 514350"/>
                <a:gd name="connsiteX2497" fmla="*/ 1426369 w 6400800"/>
                <a:gd name="connsiteY2497" fmla="*/ 218599 h 514350"/>
                <a:gd name="connsiteX2498" fmla="*/ 1424464 w 6400800"/>
                <a:gd name="connsiteY2498" fmla="*/ 235744 h 514350"/>
                <a:gd name="connsiteX2499" fmla="*/ 1421606 w 6400800"/>
                <a:gd name="connsiteY2499" fmla="*/ 226219 h 514350"/>
                <a:gd name="connsiteX2500" fmla="*/ 1415891 w 6400800"/>
                <a:gd name="connsiteY2500" fmla="*/ 210026 h 514350"/>
                <a:gd name="connsiteX2501" fmla="*/ 1410176 w 6400800"/>
                <a:gd name="connsiteY2501" fmla="*/ 195739 h 514350"/>
                <a:gd name="connsiteX2502" fmla="*/ 1412081 w 6400800"/>
                <a:gd name="connsiteY2502" fmla="*/ 210979 h 514350"/>
                <a:gd name="connsiteX2503" fmla="*/ 1414939 w 6400800"/>
                <a:gd name="connsiteY2503" fmla="*/ 228124 h 514350"/>
                <a:gd name="connsiteX2504" fmla="*/ 1416844 w 6400800"/>
                <a:gd name="connsiteY2504" fmla="*/ 250031 h 514350"/>
                <a:gd name="connsiteX2505" fmla="*/ 1418749 w 6400800"/>
                <a:gd name="connsiteY2505" fmla="*/ 268129 h 514350"/>
                <a:gd name="connsiteX2506" fmla="*/ 1413034 w 6400800"/>
                <a:gd name="connsiteY2506" fmla="*/ 277654 h 514350"/>
                <a:gd name="connsiteX2507" fmla="*/ 1411129 w 6400800"/>
                <a:gd name="connsiteY2507" fmla="*/ 271939 h 514350"/>
                <a:gd name="connsiteX2508" fmla="*/ 1401604 w 6400800"/>
                <a:gd name="connsiteY2508" fmla="*/ 215741 h 514350"/>
                <a:gd name="connsiteX2509" fmla="*/ 1400651 w 6400800"/>
                <a:gd name="connsiteY2509" fmla="*/ 243364 h 514350"/>
                <a:gd name="connsiteX2510" fmla="*/ 1392079 w 6400800"/>
                <a:gd name="connsiteY2510" fmla="*/ 219551 h 514350"/>
                <a:gd name="connsiteX2511" fmla="*/ 1393031 w 6400800"/>
                <a:gd name="connsiteY2511" fmla="*/ 213836 h 514350"/>
                <a:gd name="connsiteX2512" fmla="*/ 1395889 w 6400800"/>
                <a:gd name="connsiteY2512" fmla="*/ 210979 h 514350"/>
                <a:gd name="connsiteX2513" fmla="*/ 1400651 w 6400800"/>
                <a:gd name="connsiteY2513" fmla="*/ 205264 h 514350"/>
                <a:gd name="connsiteX2514" fmla="*/ 1394936 w 6400800"/>
                <a:gd name="connsiteY2514" fmla="*/ 210026 h 514350"/>
                <a:gd name="connsiteX2515" fmla="*/ 1393031 w 6400800"/>
                <a:gd name="connsiteY2515" fmla="*/ 210979 h 514350"/>
                <a:gd name="connsiteX2516" fmla="*/ 1394936 w 6400800"/>
                <a:gd name="connsiteY2516" fmla="*/ 202406 h 514350"/>
                <a:gd name="connsiteX2517" fmla="*/ 1391126 w 6400800"/>
                <a:gd name="connsiteY2517" fmla="*/ 212884 h 514350"/>
                <a:gd name="connsiteX2518" fmla="*/ 1390174 w 6400800"/>
                <a:gd name="connsiteY2518" fmla="*/ 213836 h 514350"/>
                <a:gd name="connsiteX2519" fmla="*/ 1384459 w 6400800"/>
                <a:gd name="connsiteY2519" fmla="*/ 199549 h 514350"/>
                <a:gd name="connsiteX2520" fmla="*/ 1387316 w 6400800"/>
                <a:gd name="connsiteY2520" fmla="*/ 215741 h 514350"/>
                <a:gd name="connsiteX2521" fmla="*/ 1378744 w 6400800"/>
                <a:gd name="connsiteY2521" fmla="*/ 224314 h 514350"/>
                <a:gd name="connsiteX2522" fmla="*/ 1367314 w 6400800"/>
                <a:gd name="connsiteY2522" fmla="*/ 240506 h 514350"/>
                <a:gd name="connsiteX2523" fmla="*/ 1354931 w 6400800"/>
                <a:gd name="connsiteY2523" fmla="*/ 209074 h 514350"/>
                <a:gd name="connsiteX2524" fmla="*/ 1354931 w 6400800"/>
                <a:gd name="connsiteY2524" fmla="*/ 185261 h 514350"/>
                <a:gd name="connsiteX2525" fmla="*/ 1354931 w 6400800"/>
                <a:gd name="connsiteY2525" fmla="*/ 157639 h 514350"/>
                <a:gd name="connsiteX2526" fmla="*/ 1351121 w 6400800"/>
                <a:gd name="connsiteY2526" fmla="*/ 185261 h 514350"/>
                <a:gd name="connsiteX2527" fmla="*/ 1349216 w 6400800"/>
                <a:gd name="connsiteY2527" fmla="*/ 197644 h 514350"/>
                <a:gd name="connsiteX2528" fmla="*/ 1343501 w 6400800"/>
                <a:gd name="connsiteY2528" fmla="*/ 186214 h 514350"/>
                <a:gd name="connsiteX2529" fmla="*/ 1344454 w 6400800"/>
                <a:gd name="connsiteY2529" fmla="*/ 171926 h 514350"/>
                <a:gd name="connsiteX2530" fmla="*/ 1344454 w 6400800"/>
                <a:gd name="connsiteY2530" fmla="*/ 157639 h 514350"/>
                <a:gd name="connsiteX2531" fmla="*/ 1345406 w 6400800"/>
                <a:gd name="connsiteY2531" fmla="*/ 142399 h 514350"/>
                <a:gd name="connsiteX2532" fmla="*/ 1346359 w 6400800"/>
                <a:gd name="connsiteY2532" fmla="*/ 120491 h 514350"/>
                <a:gd name="connsiteX2533" fmla="*/ 1341596 w 6400800"/>
                <a:gd name="connsiteY2533" fmla="*/ 141446 h 514350"/>
                <a:gd name="connsiteX2534" fmla="*/ 1336834 w 6400800"/>
                <a:gd name="connsiteY2534" fmla="*/ 166211 h 514350"/>
                <a:gd name="connsiteX2535" fmla="*/ 1335881 w 6400800"/>
                <a:gd name="connsiteY2535" fmla="*/ 169069 h 514350"/>
                <a:gd name="connsiteX2536" fmla="*/ 1327309 w 6400800"/>
                <a:gd name="connsiteY2536" fmla="*/ 150971 h 514350"/>
                <a:gd name="connsiteX2537" fmla="*/ 1280636 w 6400800"/>
                <a:gd name="connsiteY2537" fmla="*/ 53816 h 514350"/>
                <a:gd name="connsiteX2538" fmla="*/ 1317784 w 6400800"/>
                <a:gd name="connsiteY2538" fmla="*/ 155734 h 514350"/>
                <a:gd name="connsiteX2539" fmla="*/ 1332071 w 6400800"/>
                <a:gd name="connsiteY2539" fmla="*/ 193834 h 514350"/>
                <a:gd name="connsiteX2540" fmla="*/ 1331119 w 6400800"/>
                <a:gd name="connsiteY2540" fmla="*/ 197644 h 514350"/>
                <a:gd name="connsiteX2541" fmla="*/ 1326356 w 6400800"/>
                <a:gd name="connsiteY2541" fmla="*/ 235744 h 514350"/>
                <a:gd name="connsiteX2542" fmla="*/ 1321594 w 6400800"/>
                <a:gd name="connsiteY2542" fmla="*/ 277654 h 514350"/>
                <a:gd name="connsiteX2543" fmla="*/ 1319689 w 6400800"/>
                <a:gd name="connsiteY2543" fmla="*/ 293846 h 514350"/>
                <a:gd name="connsiteX2544" fmla="*/ 1317784 w 6400800"/>
                <a:gd name="connsiteY2544" fmla="*/ 290989 h 514350"/>
                <a:gd name="connsiteX2545" fmla="*/ 1317784 w 6400800"/>
                <a:gd name="connsiteY2545" fmla="*/ 289084 h 514350"/>
                <a:gd name="connsiteX2546" fmla="*/ 1316831 w 6400800"/>
                <a:gd name="connsiteY2546" fmla="*/ 290989 h 514350"/>
                <a:gd name="connsiteX2547" fmla="*/ 1315879 w 6400800"/>
                <a:gd name="connsiteY2547" fmla="*/ 288131 h 514350"/>
                <a:gd name="connsiteX2548" fmla="*/ 1313974 w 6400800"/>
                <a:gd name="connsiteY2548" fmla="*/ 285274 h 514350"/>
                <a:gd name="connsiteX2549" fmla="*/ 1316831 w 6400800"/>
                <a:gd name="connsiteY2549" fmla="*/ 244316 h 514350"/>
                <a:gd name="connsiteX2550" fmla="*/ 1309211 w 6400800"/>
                <a:gd name="connsiteY2550" fmla="*/ 277654 h 514350"/>
                <a:gd name="connsiteX2551" fmla="*/ 1298734 w 6400800"/>
                <a:gd name="connsiteY2551" fmla="*/ 260509 h 514350"/>
                <a:gd name="connsiteX2552" fmla="*/ 1313974 w 6400800"/>
                <a:gd name="connsiteY2552" fmla="*/ 199549 h 514350"/>
                <a:gd name="connsiteX2553" fmla="*/ 1319689 w 6400800"/>
                <a:gd name="connsiteY2553" fmla="*/ 172879 h 514350"/>
                <a:gd name="connsiteX2554" fmla="*/ 1291114 w 6400800"/>
                <a:gd name="connsiteY2554" fmla="*/ 249079 h 514350"/>
                <a:gd name="connsiteX2555" fmla="*/ 1281589 w 6400800"/>
                <a:gd name="connsiteY2555" fmla="*/ 234791 h 514350"/>
                <a:gd name="connsiteX2556" fmla="*/ 1267301 w 6400800"/>
                <a:gd name="connsiteY2556" fmla="*/ 215741 h 514350"/>
                <a:gd name="connsiteX2557" fmla="*/ 1275874 w 6400800"/>
                <a:gd name="connsiteY2557" fmla="*/ 232886 h 514350"/>
                <a:gd name="connsiteX2558" fmla="*/ 1272064 w 6400800"/>
                <a:gd name="connsiteY2558" fmla="*/ 243364 h 514350"/>
                <a:gd name="connsiteX2559" fmla="*/ 1261586 w 6400800"/>
                <a:gd name="connsiteY2559" fmla="*/ 227171 h 514350"/>
                <a:gd name="connsiteX2560" fmla="*/ 1249204 w 6400800"/>
                <a:gd name="connsiteY2560" fmla="*/ 210979 h 514350"/>
                <a:gd name="connsiteX2561" fmla="*/ 1247299 w 6400800"/>
                <a:gd name="connsiteY2561" fmla="*/ 208121 h 514350"/>
                <a:gd name="connsiteX2562" fmla="*/ 1251109 w 6400800"/>
                <a:gd name="connsiteY2562" fmla="*/ 199549 h 514350"/>
                <a:gd name="connsiteX2563" fmla="*/ 1246346 w 6400800"/>
                <a:gd name="connsiteY2563" fmla="*/ 206216 h 514350"/>
                <a:gd name="connsiteX2564" fmla="*/ 1229201 w 6400800"/>
                <a:gd name="connsiteY2564" fmla="*/ 184309 h 514350"/>
                <a:gd name="connsiteX2565" fmla="*/ 1211104 w 6400800"/>
                <a:gd name="connsiteY2565" fmla="*/ 162401 h 514350"/>
                <a:gd name="connsiteX2566" fmla="*/ 1226344 w 6400800"/>
                <a:gd name="connsiteY2566" fmla="*/ 186214 h 514350"/>
                <a:gd name="connsiteX2567" fmla="*/ 1242536 w 6400800"/>
                <a:gd name="connsiteY2567" fmla="*/ 211931 h 514350"/>
                <a:gd name="connsiteX2568" fmla="*/ 1236821 w 6400800"/>
                <a:gd name="connsiteY2568" fmla="*/ 220504 h 514350"/>
                <a:gd name="connsiteX2569" fmla="*/ 1233011 w 6400800"/>
                <a:gd name="connsiteY2569" fmla="*/ 226219 h 514350"/>
                <a:gd name="connsiteX2570" fmla="*/ 1231106 w 6400800"/>
                <a:gd name="connsiteY2570" fmla="*/ 212884 h 514350"/>
                <a:gd name="connsiteX2571" fmla="*/ 1228249 w 6400800"/>
                <a:gd name="connsiteY2571" fmla="*/ 209074 h 514350"/>
                <a:gd name="connsiteX2572" fmla="*/ 1226344 w 6400800"/>
                <a:gd name="connsiteY2572" fmla="*/ 209074 h 514350"/>
                <a:gd name="connsiteX2573" fmla="*/ 1223486 w 6400800"/>
                <a:gd name="connsiteY2573" fmla="*/ 199549 h 514350"/>
                <a:gd name="connsiteX2574" fmla="*/ 1215866 w 6400800"/>
                <a:gd name="connsiteY2574" fmla="*/ 179546 h 514350"/>
                <a:gd name="connsiteX2575" fmla="*/ 1219676 w 6400800"/>
                <a:gd name="connsiteY2575" fmla="*/ 200501 h 514350"/>
                <a:gd name="connsiteX2576" fmla="*/ 1221581 w 6400800"/>
                <a:gd name="connsiteY2576" fmla="*/ 211931 h 514350"/>
                <a:gd name="connsiteX2577" fmla="*/ 1220629 w 6400800"/>
                <a:gd name="connsiteY2577" fmla="*/ 213836 h 514350"/>
                <a:gd name="connsiteX2578" fmla="*/ 1207294 w 6400800"/>
                <a:gd name="connsiteY2578" fmla="*/ 200501 h 514350"/>
                <a:gd name="connsiteX2579" fmla="*/ 1201579 w 6400800"/>
                <a:gd name="connsiteY2579" fmla="*/ 195739 h 514350"/>
                <a:gd name="connsiteX2580" fmla="*/ 1206341 w 6400800"/>
                <a:gd name="connsiteY2580" fmla="*/ 201454 h 514350"/>
                <a:gd name="connsiteX2581" fmla="*/ 1217771 w 6400800"/>
                <a:gd name="connsiteY2581" fmla="*/ 217646 h 514350"/>
                <a:gd name="connsiteX2582" fmla="*/ 1217771 w 6400800"/>
                <a:gd name="connsiteY2582" fmla="*/ 217646 h 514350"/>
                <a:gd name="connsiteX2583" fmla="*/ 1216819 w 6400800"/>
                <a:gd name="connsiteY2583" fmla="*/ 231934 h 514350"/>
                <a:gd name="connsiteX2584" fmla="*/ 1202531 w 6400800"/>
                <a:gd name="connsiteY2584" fmla="*/ 219551 h 514350"/>
                <a:gd name="connsiteX2585" fmla="*/ 1215866 w 6400800"/>
                <a:gd name="connsiteY2585" fmla="*/ 236696 h 514350"/>
                <a:gd name="connsiteX2586" fmla="*/ 1214914 w 6400800"/>
                <a:gd name="connsiteY2586" fmla="*/ 249079 h 514350"/>
                <a:gd name="connsiteX2587" fmla="*/ 1214914 w 6400800"/>
                <a:gd name="connsiteY2587" fmla="*/ 255746 h 514350"/>
                <a:gd name="connsiteX2588" fmla="*/ 1213961 w 6400800"/>
                <a:gd name="connsiteY2588" fmla="*/ 250984 h 514350"/>
                <a:gd name="connsiteX2589" fmla="*/ 1213961 w 6400800"/>
                <a:gd name="connsiteY2589" fmla="*/ 250031 h 514350"/>
                <a:gd name="connsiteX2590" fmla="*/ 1214914 w 6400800"/>
                <a:gd name="connsiteY2590" fmla="*/ 249079 h 514350"/>
                <a:gd name="connsiteX2591" fmla="*/ 1213961 w 6400800"/>
                <a:gd name="connsiteY2591" fmla="*/ 250031 h 514350"/>
                <a:gd name="connsiteX2592" fmla="*/ 1207294 w 6400800"/>
                <a:gd name="connsiteY2592" fmla="*/ 229076 h 514350"/>
                <a:gd name="connsiteX2593" fmla="*/ 1200626 w 6400800"/>
                <a:gd name="connsiteY2593" fmla="*/ 212884 h 514350"/>
                <a:gd name="connsiteX2594" fmla="*/ 1193959 w 6400800"/>
                <a:gd name="connsiteY2594" fmla="*/ 198596 h 514350"/>
                <a:gd name="connsiteX2595" fmla="*/ 1196816 w 6400800"/>
                <a:gd name="connsiteY2595" fmla="*/ 213836 h 514350"/>
                <a:gd name="connsiteX2596" fmla="*/ 1200626 w 6400800"/>
                <a:gd name="connsiteY2596" fmla="*/ 230981 h 514350"/>
                <a:gd name="connsiteX2597" fmla="*/ 1204436 w 6400800"/>
                <a:gd name="connsiteY2597" fmla="*/ 252889 h 514350"/>
                <a:gd name="connsiteX2598" fmla="*/ 1205389 w 6400800"/>
                <a:gd name="connsiteY2598" fmla="*/ 258604 h 514350"/>
                <a:gd name="connsiteX2599" fmla="*/ 1196816 w 6400800"/>
                <a:gd name="connsiteY2599" fmla="*/ 239554 h 514350"/>
                <a:gd name="connsiteX2600" fmla="*/ 1189196 w 6400800"/>
                <a:gd name="connsiteY2600" fmla="*/ 224314 h 514350"/>
                <a:gd name="connsiteX2601" fmla="*/ 1181576 w 6400800"/>
                <a:gd name="connsiteY2601" fmla="*/ 211931 h 514350"/>
                <a:gd name="connsiteX2602" fmla="*/ 1185386 w 6400800"/>
                <a:gd name="connsiteY2602" fmla="*/ 225266 h 514350"/>
                <a:gd name="connsiteX2603" fmla="*/ 1190149 w 6400800"/>
                <a:gd name="connsiteY2603" fmla="*/ 241459 h 514350"/>
                <a:gd name="connsiteX2604" fmla="*/ 1194911 w 6400800"/>
                <a:gd name="connsiteY2604" fmla="*/ 262414 h 514350"/>
                <a:gd name="connsiteX2605" fmla="*/ 1197769 w 6400800"/>
                <a:gd name="connsiteY2605" fmla="*/ 276701 h 514350"/>
                <a:gd name="connsiteX2606" fmla="*/ 1193959 w 6400800"/>
                <a:gd name="connsiteY2606" fmla="*/ 284321 h 514350"/>
                <a:gd name="connsiteX2607" fmla="*/ 1193959 w 6400800"/>
                <a:gd name="connsiteY2607" fmla="*/ 283369 h 514350"/>
                <a:gd name="connsiteX2608" fmla="*/ 1193006 w 6400800"/>
                <a:gd name="connsiteY2608" fmla="*/ 279559 h 514350"/>
                <a:gd name="connsiteX2609" fmla="*/ 1193959 w 6400800"/>
                <a:gd name="connsiteY2609" fmla="*/ 276701 h 514350"/>
                <a:gd name="connsiteX2610" fmla="*/ 1193006 w 6400800"/>
                <a:gd name="connsiteY2610" fmla="*/ 278606 h 514350"/>
                <a:gd name="connsiteX2611" fmla="*/ 1184434 w 6400800"/>
                <a:gd name="connsiteY2611" fmla="*/ 250984 h 514350"/>
                <a:gd name="connsiteX2612" fmla="*/ 1174909 w 6400800"/>
                <a:gd name="connsiteY2612" fmla="*/ 227171 h 514350"/>
                <a:gd name="connsiteX2613" fmla="*/ 1174909 w 6400800"/>
                <a:gd name="connsiteY2613" fmla="*/ 223361 h 514350"/>
                <a:gd name="connsiteX2614" fmla="*/ 1175861 w 6400800"/>
                <a:gd name="connsiteY2614" fmla="*/ 196691 h 514350"/>
                <a:gd name="connsiteX2615" fmla="*/ 1174909 w 6400800"/>
                <a:gd name="connsiteY2615" fmla="*/ 173831 h 514350"/>
                <a:gd name="connsiteX2616" fmla="*/ 1172051 w 6400800"/>
                <a:gd name="connsiteY2616" fmla="*/ 196691 h 514350"/>
                <a:gd name="connsiteX2617" fmla="*/ 1168241 w 6400800"/>
                <a:gd name="connsiteY2617" fmla="*/ 223361 h 514350"/>
                <a:gd name="connsiteX2618" fmla="*/ 1168241 w 6400800"/>
                <a:gd name="connsiteY2618" fmla="*/ 226219 h 514350"/>
                <a:gd name="connsiteX2619" fmla="*/ 1162526 w 6400800"/>
                <a:gd name="connsiteY2619" fmla="*/ 238601 h 514350"/>
                <a:gd name="connsiteX2620" fmla="*/ 1158716 w 6400800"/>
                <a:gd name="connsiteY2620" fmla="*/ 215741 h 514350"/>
                <a:gd name="connsiteX2621" fmla="*/ 1152049 w 6400800"/>
                <a:gd name="connsiteY2621" fmla="*/ 189071 h 514350"/>
                <a:gd name="connsiteX2622" fmla="*/ 1136809 w 6400800"/>
                <a:gd name="connsiteY2622" fmla="*/ 133826 h 514350"/>
                <a:gd name="connsiteX2623" fmla="*/ 1140619 w 6400800"/>
                <a:gd name="connsiteY2623" fmla="*/ 190024 h 514350"/>
                <a:gd name="connsiteX2624" fmla="*/ 1143476 w 6400800"/>
                <a:gd name="connsiteY2624" fmla="*/ 217646 h 514350"/>
                <a:gd name="connsiteX2625" fmla="*/ 1146334 w 6400800"/>
                <a:gd name="connsiteY2625" fmla="*/ 248126 h 514350"/>
                <a:gd name="connsiteX2626" fmla="*/ 1147286 w 6400800"/>
                <a:gd name="connsiteY2626" fmla="*/ 261461 h 514350"/>
                <a:gd name="connsiteX2627" fmla="*/ 1147286 w 6400800"/>
                <a:gd name="connsiteY2627" fmla="*/ 261461 h 514350"/>
                <a:gd name="connsiteX2628" fmla="*/ 1147286 w 6400800"/>
                <a:gd name="connsiteY2628" fmla="*/ 258604 h 514350"/>
                <a:gd name="connsiteX2629" fmla="*/ 1147286 w 6400800"/>
                <a:gd name="connsiteY2629" fmla="*/ 260509 h 514350"/>
                <a:gd name="connsiteX2630" fmla="*/ 1143476 w 6400800"/>
                <a:gd name="connsiteY2630" fmla="*/ 251936 h 514350"/>
                <a:gd name="connsiteX2631" fmla="*/ 1141571 w 6400800"/>
                <a:gd name="connsiteY2631" fmla="*/ 249079 h 514350"/>
                <a:gd name="connsiteX2632" fmla="*/ 1141571 w 6400800"/>
                <a:gd name="connsiteY2632" fmla="*/ 237649 h 514350"/>
                <a:gd name="connsiteX2633" fmla="*/ 1139666 w 6400800"/>
                <a:gd name="connsiteY2633" fmla="*/ 246221 h 514350"/>
                <a:gd name="connsiteX2634" fmla="*/ 1132046 w 6400800"/>
                <a:gd name="connsiteY2634" fmla="*/ 231934 h 514350"/>
                <a:gd name="connsiteX2635" fmla="*/ 1132046 w 6400800"/>
                <a:gd name="connsiteY2635" fmla="*/ 230981 h 514350"/>
                <a:gd name="connsiteX2636" fmla="*/ 1120616 w 6400800"/>
                <a:gd name="connsiteY2636" fmla="*/ 177641 h 514350"/>
                <a:gd name="connsiteX2637" fmla="*/ 1110139 w 6400800"/>
                <a:gd name="connsiteY2637" fmla="*/ 132874 h 514350"/>
                <a:gd name="connsiteX2638" fmla="*/ 1100614 w 6400800"/>
                <a:gd name="connsiteY2638" fmla="*/ 98584 h 514350"/>
                <a:gd name="connsiteX2639" fmla="*/ 1092041 w 6400800"/>
                <a:gd name="connsiteY2639" fmla="*/ 69056 h 514350"/>
                <a:gd name="connsiteX2640" fmla="*/ 1096804 w 6400800"/>
                <a:gd name="connsiteY2640" fmla="*/ 99536 h 514350"/>
                <a:gd name="connsiteX2641" fmla="*/ 1103471 w 6400800"/>
                <a:gd name="connsiteY2641" fmla="*/ 134779 h 514350"/>
                <a:gd name="connsiteX2642" fmla="*/ 1110139 w 6400800"/>
                <a:gd name="connsiteY2642" fmla="*/ 180499 h 514350"/>
                <a:gd name="connsiteX2643" fmla="*/ 1112996 w 6400800"/>
                <a:gd name="connsiteY2643" fmla="*/ 199549 h 514350"/>
                <a:gd name="connsiteX2644" fmla="*/ 1110139 w 6400800"/>
                <a:gd name="connsiteY2644" fmla="*/ 194786 h 514350"/>
                <a:gd name="connsiteX2645" fmla="*/ 1106329 w 6400800"/>
                <a:gd name="connsiteY2645" fmla="*/ 190024 h 514350"/>
                <a:gd name="connsiteX2646" fmla="*/ 1105376 w 6400800"/>
                <a:gd name="connsiteY2646" fmla="*/ 188119 h 514350"/>
                <a:gd name="connsiteX2647" fmla="*/ 1095851 w 6400800"/>
                <a:gd name="connsiteY2647" fmla="*/ 160496 h 514350"/>
                <a:gd name="connsiteX2648" fmla="*/ 1087279 w 6400800"/>
                <a:gd name="connsiteY2648" fmla="*/ 136684 h 514350"/>
                <a:gd name="connsiteX2649" fmla="*/ 1092041 w 6400800"/>
                <a:gd name="connsiteY2649" fmla="*/ 161449 h 514350"/>
                <a:gd name="connsiteX2650" fmla="*/ 1098709 w 6400800"/>
                <a:gd name="connsiteY2650" fmla="*/ 190024 h 514350"/>
                <a:gd name="connsiteX2651" fmla="*/ 1103471 w 6400800"/>
                <a:gd name="connsiteY2651" fmla="*/ 215741 h 514350"/>
                <a:gd name="connsiteX2652" fmla="*/ 1097756 w 6400800"/>
                <a:gd name="connsiteY2652" fmla="*/ 200501 h 514350"/>
                <a:gd name="connsiteX2653" fmla="*/ 1102519 w 6400800"/>
                <a:gd name="connsiteY2653" fmla="*/ 224314 h 514350"/>
                <a:gd name="connsiteX2654" fmla="*/ 1094899 w 6400800"/>
                <a:gd name="connsiteY2654" fmla="*/ 233839 h 514350"/>
                <a:gd name="connsiteX2655" fmla="*/ 1089184 w 6400800"/>
                <a:gd name="connsiteY2655" fmla="*/ 209074 h 514350"/>
                <a:gd name="connsiteX2656" fmla="*/ 1084421 w 6400800"/>
                <a:gd name="connsiteY2656" fmla="*/ 166211 h 514350"/>
                <a:gd name="connsiteX2657" fmla="*/ 1083469 w 6400800"/>
                <a:gd name="connsiteY2657" fmla="*/ 184309 h 514350"/>
                <a:gd name="connsiteX2658" fmla="*/ 1073944 w 6400800"/>
                <a:gd name="connsiteY2658" fmla="*/ 149066 h 514350"/>
                <a:gd name="connsiteX2659" fmla="*/ 1066324 w 6400800"/>
                <a:gd name="connsiteY2659" fmla="*/ 123349 h 514350"/>
                <a:gd name="connsiteX2660" fmla="*/ 1075849 w 6400800"/>
                <a:gd name="connsiteY2660" fmla="*/ 94774 h 514350"/>
                <a:gd name="connsiteX2661" fmla="*/ 1064419 w 6400800"/>
                <a:gd name="connsiteY2661" fmla="*/ 119539 h 514350"/>
                <a:gd name="connsiteX2662" fmla="*/ 1057751 w 6400800"/>
                <a:gd name="connsiteY2662" fmla="*/ 100489 h 514350"/>
                <a:gd name="connsiteX2663" fmla="*/ 1050131 w 6400800"/>
                <a:gd name="connsiteY2663" fmla="*/ 78581 h 514350"/>
                <a:gd name="connsiteX2664" fmla="*/ 1042511 w 6400800"/>
                <a:gd name="connsiteY2664" fmla="*/ 59531 h 514350"/>
                <a:gd name="connsiteX2665" fmla="*/ 1029176 w 6400800"/>
                <a:gd name="connsiteY2665" fmla="*/ 28099 h 514350"/>
                <a:gd name="connsiteX2666" fmla="*/ 1012984 w 6400800"/>
                <a:gd name="connsiteY2666" fmla="*/ 7144 h 514350"/>
                <a:gd name="connsiteX2667" fmla="*/ 1022509 w 6400800"/>
                <a:gd name="connsiteY2667" fmla="*/ 34766 h 514350"/>
                <a:gd name="connsiteX2668" fmla="*/ 1032986 w 6400800"/>
                <a:gd name="connsiteY2668" fmla="*/ 67151 h 514350"/>
                <a:gd name="connsiteX2669" fmla="*/ 1038701 w 6400800"/>
                <a:gd name="connsiteY2669" fmla="*/ 87154 h 514350"/>
                <a:gd name="connsiteX2670" fmla="*/ 1044416 w 6400800"/>
                <a:gd name="connsiteY2670" fmla="*/ 109061 h 514350"/>
                <a:gd name="connsiteX2671" fmla="*/ 1044416 w 6400800"/>
                <a:gd name="connsiteY2671" fmla="*/ 110014 h 514350"/>
                <a:gd name="connsiteX2672" fmla="*/ 1037749 w 6400800"/>
                <a:gd name="connsiteY2672" fmla="*/ 96679 h 514350"/>
                <a:gd name="connsiteX2673" fmla="*/ 1044416 w 6400800"/>
                <a:gd name="connsiteY2673" fmla="*/ 117634 h 514350"/>
                <a:gd name="connsiteX2674" fmla="*/ 1051084 w 6400800"/>
                <a:gd name="connsiteY2674" fmla="*/ 141446 h 514350"/>
                <a:gd name="connsiteX2675" fmla="*/ 1052036 w 6400800"/>
                <a:gd name="connsiteY2675" fmla="*/ 146209 h 514350"/>
                <a:gd name="connsiteX2676" fmla="*/ 1037749 w 6400800"/>
                <a:gd name="connsiteY2676" fmla="*/ 172879 h 514350"/>
                <a:gd name="connsiteX2677" fmla="*/ 1024414 w 6400800"/>
                <a:gd name="connsiteY2677" fmla="*/ 195739 h 514350"/>
                <a:gd name="connsiteX2678" fmla="*/ 1023461 w 6400800"/>
                <a:gd name="connsiteY2678" fmla="*/ 192881 h 514350"/>
                <a:gd name="connsiteX2679" fmla="*/ 1023461 w 6400800"/>
                <a:gd name="connsiteY2679" fmla="*/ 184309 h 514350"/>
                <a:gd name="connsiteX2680" fmla="*/ 1024414 w 6400800"/>
                <a:gd name="connsiteY2680" fmla="*/ 142399 h 514350"/>
                <a:gd name="connsiteX2681" fmla="*/ 1023461 w 6400800"/>
                <a:gd name="connsiteY2681" fmla="*/ 110014 h 514350"/>
                <a:gd name="connsiteX2682" fmla="*/ 1021556 w 6400800"/>
                <a:gd name="connsiteY2682" fmla="*/ 89059 h 514350"/>
                <a:gd name="connsiteX2683" fmla="*/ 1020604 w 6400800"/>
                <a:gd name="connsiteY2683" fmla="*/ 81439 h 514350"/>
                <a:gd name="connsiteX2684" fmla="*/ 1020604 w 6400800"/>
                <a:gd name="connsiteY2684" fmla="*/ 89059 h 514350"/>
                <a:gd name="connsiteX2685" fmla="*/ 1019651 w 6400800"/>
                <a:gd name="connsiteY2685" fmla="*/ 110014 h 514350"/>
                <a:gd name="connsiteX2686" fmla="*/ 1014889 w 6400800"/>
                <a:gd name="connsiteY2686" fmla="*/ 165259 h 514350"/>
                <a:gd name="connsiteX2687" fmla="*/ 1013936 w 6400800"/>
                <a:gd name="connsiteY2687" fmla="*/ 161449 h 514350"/>
                <a:gd name="connsiteX2688" fmla="*/ 1014889 w 6400800"/>
                <a:gd name="connsiteY2688" fmla="*/ 168116 h 514350"/>
                <a:gd name="connsiteX2689" fmla="*/ 1012984 w 6400800"/>
                <a:gd name="connsiteY2689" fmla="*/ 183356 h 514350"/>
                <a:gd name="connsiteX2690" fmla="*/ 1007269 w 6400800"/>
                <a:gd name="connsiteY2690" fmla="*/ 224314 h 514350"/>
                <a:gd name="connsiteX2691" fmla="*/ 972026 w 6400800"/>
                <a:gd name="connsiteY2691" fmla="*/ 283369 h 514350"/>
                <a:gd name="connsiteX2692" fmla="*/ 971074 w 6400800"/>
                <a:gd name="connsiteY2692" fmla="*/ 269081 h 514350"/>
                <a:gd name="connsiteX2693" fmla="*/ 977741 w 6400800"/>
                <a:gd name="connsiteY2693" fmla="*/ 251936 h 514350"/>
                <a:gd name="connsiteX2694" fmla="*/ 992981 w 6400800"/>
                <a:gd name="connsiteY2694" fmla="*/ 206216 h 514350"/>
                <a:gd name="connsiteX2695" fmla="*/ 1002506 w 6400800"/>
                <a:gd name="connsiteY2695" fmla="*/ 170974 h 514350"/>
                <a:gd name="connsiteX2696" fmla="*/ 1009174 w 6400800"/>
                <a:gd name="connsiteY2696" fmla="*/ 139541 h 514350"/>
                <a:gd name="connsiteX2697" fmla="*/ 998696 w 6400800"/>
                <a:gd name="connsiteY2697" fmla="*/ 170021 h 514350"/>
                <a:gd name="connsiteX2698" fmla="*/ 985361 w 6400800"/>
                <a:gd name="connsiteY2698" fmla="*/ 204311 h 514350"/>
                <a:gd name="connsiteX2699" fmla="*/ 966311 w 6400800"/>
                <a:gd name="connsiteY2699" fmla="*/ 248126 h 514350"/>
                <a:gd name="connsiteX2700" fmla="*/ 960596 w 6400800"/>
                <a:gd name="connsiteY2700" fmla="*/ 260509 h 514350"/>
                <a:gd name="connsiteX2701" fmla="*/ 961549 w 6400800"/>
                <a:gd name="connsiteY2701" fmla="*/ 225266 h 514350"/>
                <a:gd name="connsiteX2702" fmla="*/ 969169 w 6400800"/>
                <a:gd name="connsiteY2702" fmla="*/ 206216 h 514350"/>
                <a:gd name="connsiteX2703" fmla="*/ 961549 w 6400800"/>
                <a:gd name="connsiteY2703" fmla="*/ 218599 h 514350"/>
                <a:gd name="connsiteX2704" fmla="*/ 961549 w 6400800"/>
                <a:gd name="connsiteY2704" fmla="*/ 206216 h 514350"/>
                <a:gd name="connsiteX2705" fmla="*/ 958691 w 6400800"/>
                <a:gd name="connsiteY2705" fmla="*/ 149066 h 514350"/>
                <a:gd name="connsiteX2706" fmla="*/ 956786 w 6400800"/>
                <a:gd name="connsiteY2706" fmla="*/ 134779 h 514350"/>
                <a:gd name="connsiteX2707" fmla="*/ 957739 w 6400800"/>
                <a:gd name="connsiteY2707" fmla="*/ 131921 h 514350"/>
                <a:gd name="connsiteX2708" fmla="*/ 956786 w 6400800"/>
                <a:gd name="connsiteY2708" fmla="*/ 133826 h 514350"/>
                <a:gd name="connsiteX2709" fmla="*/ 956786 w 6400800"/>
                <a:gd name="connsiteY2709" fmla="*/ 132874 h 514350"/>
                <a:gd name="connsiteX2710" fmla="*/ 955834 w 6400800"/>
                <a:gd name="connsiteY2710" fmla="*/ 127159 h 514350"/>
                <a:gd name="connsiteX2711" fmla="*/ 955834 w 6400800"/>
                <a:gd name="connsiteY2711" fmla="*/ 136684 h 514350"/>
                <a:gd name="connsiteX2712" fmla="*/ 927259 w 6400800"/>
                <a:gd name="connsiteY2712" fmla="*/ 206216 h 514350"/>
                <a:gd name="connsiteX2713" fmla="*/ 927259 w 6400800"/>
                <a:gd name="connsiteY2713" fmla="*/ 205264 h 514350"/>
                <a:gd name="connsiteX2714" fmla="*/ 930116 w 6400800"/>
                <a:gd name="connsiteY2714" fmla="*/ 183356 h 514350"/>
                <a:gd name="connsiteX2715" fmla="*/ 932974 w 6400800"/>
                <a:gd name="connsiteY2715" fmla="*/ 164306 h 514350"/>
                <a:gd name="connsiteX2716" fmla="*/ 926306 w 6400800"/>
                <a:gd name="connsiteY2716" fmla="*/ 183356 h 514350"/>
                <a:gd name="connsiteX2717" fmla="*/ 920591 w 6400800"/>
                <a:gd name="connsiteY2717" fmla="*/ 203359 h 514350"/>
                <a:gd name="connsiteX2718" fmla="*/ 910114 w 6400800"/>
                <a:gd name="connsiteY2718" fmla="*/ 171926 h 514350"/>
                <a:gd name="connsiteX2719" fmla="*/ 907256 w 6400800"/>
                <a:gd name="connsiteY2719" fmla="*/ 164306 h 514350"/>
                <a:gd name="connsiteX2720" fmla="*/ 912019 w 6400800"/>
                <a:gd name="connsiteY2720" fmla="*/ 157639 h 514350"/>
                <a:gd name="connsiteX2721" fmla="*/ 933926 w 6400800"/>
                <a:gd name="connsiteY2721" fmla="*/ 124301 h 514350"/>
                <a:gd name="connsiteX2722" fmla="*/ 953929 w 6400800"/>
                <a:gd name="connsiteY2722" fmla="*/ 95726 h 514350"/>
                <a:gd name="connsiteX2723" fmla="*/ 931069 w 6400800"/>
                <a:gd name="connsiteY2723" fmla="*/ 121444 h 514350"/>
                <a:gd name="connsiteX2724" fmla="*/ 906304 w 6400800"/>
                <a:gd name="connsiteY2724" fmla="*/ 151924 h 514350"/>
                <a:gd name="connsiteX2725" fmla="*/ 904399 w 6400800"/>
                <a:gd name="connsiteY2725" fmla="*/ 154781 h 514350"/>
                <a:gd name="connsiteX2726" fmla="*/ 894874 w 6400800"/>
                <a:gd name="connsiteY2726" fmla="*/ 131921 h 514350"/>
                <a:gd name="connsiteX2727" fmla="*/ 892016 w 6400800"/>
                <a:gd name="connsiteY2727" fmla="*/ 126206 h 514350"/>
                <a:gd name="connsiteX2728" fmla="*/ 897731 w 6400800"/>
                <a:gd name="connsiteY2728" fmla="*/ 115729 h 514350"/>
                <a:gd name="connsiteX2729" fmla="*/ 918686 w 6400800"/>
                <a:gd name="connsiteY2729" fmla="*/ 77629 h 514350"/>
                <a:gd name="connsiteX2730" fmla="*/ 937736 w 6400800"/>
                <a:gd name="connsiteY2730" fmla="*/ 44291 h 514350"/>
                <a:gd name="connsiteX2731" fmla="*/ 914876 w 6400800"/>
                <a:gd name="connsiteY2731" fmla="*/ 74771 h 514350"/>
                <a:gd name="connsiteX2732" fmla="*/ 890111 w 6400800"/>
                <a:gd name="connsiteY2732" fmla="*/ 110966 h 514350"/>
                <a:gd name="connsiteX2733" fmla="*/ 886301 w 6400800"/>
                <a:gd name="connsiteY2733" fmla="*/ 116681 h 514350"/>
                <a:gd name="connsiteX2734" fmla="*/ 874871 w 6400800"/>
                <a:gd name="connsiteY2734" fmla="*/ 92869 h 514350"/>
                <a:gd name="connsiteX2735" fmla="*/ 873919 w 6400800"/>
                <a:gd name="connsiteY2735" fmla="*/ 90964 h 514350"/>
                <a:gd name="connsiteX2736" fmla="*/ 872966 w 6400800"/>
                <a:gd name="connsiteY2736" fmla="*/ 91916 h 514350"/>
                <a:gd name="connsiteX2737" fmla="*/ 868204 w 6400800"/>
                <a:gd name="connsiteY2737" fmla="*/ 95726 h 514350"/>
                <a:gd name="connsiteX2738" fmla="*/ 866299 w 6400800"/>
                <a:gd name="connsiteY2738" fmla="*/ 101441 h 514350"/>
                <a:gd name="connsiteX2739" fmla="*/ 868204 w 6400800"/>
                <a:gd name="connsiteY2739" fmla="*/ 113824 h 514350"/>
                <a:gd name="connsiteX2740" fmla="*/ 868204 w 6400800"/>
                <a:gd name="connsiteY2740" fmla="*/ 102394 h 514350"/>
                <a:gd name="connsiteX2741" fmla="*/ 870109 w 6400800"/>
                <a:gd name="connsiteY2741" fmla="*/ 97631 h 514350"/>
                <a:gd name="connsiteX2742" fmla="*/ 872966 w 6400800"/>
                <a:gd name="connsiteY2742" fmla="*/ 95726 h 514350"/>
                <a:gd name="connsiteX2743" fmla="*/ 882491 w 6400800"/>
                <a:gd name="connsiteY2743" fmla="*/ 122396 h 514350"/>
                <a:gd name="connsiteX2744" fmla="*/ 875824 w 6400800"/>
                <a:gd name="connsiteY2744" fmla="*/ 132874 h 514350"/>
                <a:gd name="connsiteX2745" fmla="*/ 860584 w 6400800"/>
                <a:gd name="connsiteY2745" fmla="*/ 159544 h 514350"/>
                <a:gd name="connsiteX2746" fmla="*/ 837724 w 6400800"/>
                <a:gd name="connsiteY2746" fmla="*/ 203359 h 514350"/>
                <a:gd name="connsiteX2747" fmla="*/ 832009 w 6400800"/>
                <a:gd name="connsiteY2747" fmla="*/ 194786 h 514350"/>
                <a:gd name="connsiteX2748" fmla="*/ 838676 w 6400800"/>
                <a:gd name="connsiteY2748" fmla="*/ 137636 h 514350"/>
                <a:gd name="connsiteX2749" fmla="*/ 840581 w 6400800"/>
                <a:gd name="connsiteY2749" fmla="*/ 115729 h 514350"/>
                <a:gd name="connsiteX2750" fmla="*/ 834866 w 6400800"/>
                <a:gd name="connsiteY2750" fmla="*/ 137636 h 514350"/>
                <a:gd name="connsiteX2751" fmla="*/ 820579 w 6400800"/>
                <a:gd name="connsiteY2751" fmla="*/ 194786 h 514350"/>
                <a:gd name="connsiteX2752" fmla="*/ 818674 w 6400800"/>
                <a:gd name="connsiteY2752" fmla="*/ 204311 h 514350"/>
                <a:gd name="connsiteX2753" fmla="*/ 815816 w 6400800"/>
                <a:gd name="connsiteY2753" fmla="*/ 197644 h 514350"/>
                <a:gd name="connsiteX2754" fmla="*/ 807244 w 6400800"/>
                <a:gd name="connsiteY2754" fmla="*/ 174784 h 514350"/>
                <a:gd name="connsiteX2755" fmla="*/ 812006 w 6400800"/>
                <a:gd name="connsiteY2755" fmla="*/ 198596 h 514350"/>
                <a:gd name="connsiteX2756" fmla="*/ 814864 w 6400800"/>
                <a:gd name="connsiteY2756" fmla="*/ 210979 h 514350"/>
                <a:gd name="connsiteX2757" fmla="*/ 815816 w 6400800"/>
                <a:gd name="connsiteY2757" fmla="*/ 216694 h 514350"/>
                <a:gd name="connsiteX2758" fmla="*/ 811054 w 6400800"/>
                <a:gd name="connsiteY2758" fmla="*/ 239554 h 514350"/>
                <a:gd name="connsiteX2759" fmla="*/ 808196 w 6400800"/>
                <a:gd name="connsiteY2759" fmla="*/ 219551 h 514350"/>
                <a:gd name="connsiteX2760" fmla="*/ 807244 w 6400800"/>
                <a:gd name="connsiteY2760" fmla="*/ 264319 h 514350"/>
                <a:gd name="connsiteX2761" fmla="*/ 807244 w 6400800"/>
                <a:gd name="connsiteY2761" fmla="*/ 266224 h 514350"/>
                <a:gd name="connsiteX2762" fmla="*/ 798671 w 6400800"/>
                <a:gd name="connsiteY2762" fmla="*/ 246221 h 514350"/>
                <a:gd name="connsiteX2763" fmla="*/ 800576 w 6400800"/>
                <a:gd name="connsiteY2763" fmla="*/ 239554 h 514350"/>
                <a:gd name="connsiteX2764" fmla="*/ 797719 w 6400800"/>
                <a:gd name="connsiteY2764" fmla="*/ 245269 h 514350"/>
                <a:gd name="connsiteX2765" fmla="*/ 796766 w 6400800"/>
                <a:gd name="connsiteY2765" fmla="*/ 242411 h 514350"/>
                <a:gd name="connsiteX2766" fmla="*/ 792956 w 6400800"/>
                <a:gd name="connsiteY2766" fmla="*/ 233839 h 514350"/>
                <a:gd name="connsiteX2767" fmla="*/ 796766 w 6400800"/>
                <a:gd name="connsiteY2767" fmla="*/ 218599 h 514350"/>
                <a:gd name="connsiteX2768" fmla="*/ 809149 w 6400800"/>
                <a:gd name="connsiteY2768" fmla="*/ 164306 h 514350"/>
                <a:gd name="connsiteX2769" fmla="*/ 812959 w 6400800"/>
                <a:gd name="connsiteY2769" fmla="*/ 143351 h 514350"/>
                <a:gd name="connsiteX2770" fmla="*/ 805339 w 6400800"/>
                <a:gd name="connsiteY2770" fmla="*/ 163354 h 514350"/>
                <a:gd name="connsiteX2771" fmla="*/ 796766 w 6400800"/>
                <a:gd name="connsiteY2771" fmla="*/ 186214 h 514350"/>
                <a:gd name="connsiteX2772" fmla="*/ 785336 w 6400800"/>
                <a:gd name="connsiteY2772" fmla="*/ 215741 h 514350"/>
                <a:gd name="connsiteX2773" fmla="*/ 784384 w 6400800"/>
                <a:gd name="connsiteY2773" fmla="*/ 218599 h 514350"/>
                <a:gd name="connsiteX2774" fmla="*/ 776764 w 6400800"/>
                <a:gd name="connsiteY2774" fmla="*/ 205264 h 514350"/>
                <a:gd name="connsiteX2775" fmla="*/ 774859 w 6400800"/>
                <a:gd name="connsiteY2775" fmla="*/ 202406 h 514350"/>
                <a:gd name="connsiteX2776" fmla="*/ 774859 w 6400800"/>
                <a:gd name="connsiteY2776" fmla="*/ 201454 h 514350"/>
                <a:gd name="connsiteX2777" fmla="*/ 780574 w 6400800"/>
                <a:gd name="connsiteY2777" fmla="*/ 142399 h 514350"/>
                <a:gd name="connsiteX2778" fmla="*/ 781526 w 6400800"/>
                <a:gd name="connsiteY2778" fmla="*/ 119539 h 514350"/>
                <a:gd name="connsiteX2779" fmla="*/ 776764 w 6400800"/>
                <a:gd name="connsiteY2779" fmla="*/ 141446 h 514350"/>
                <a:gd name="connsiteX2780" fmla="*/ 771049 w 6400800"/>
                <a:gd name="connsiteY2780" fmla="*/ 167164 h 514350"/>
                <a:gd name="connsiteX2781" fmla="*/ 766286 w 6400800"/>
                <a:gd name="connsiteY2781" fmla="*/ 189071 h 514350"/>
                <a:gd name="connsiteX2782" fmla="*/ 758666 w 6400800"/>
                <a:gd name="connsiteY2782" fmla="*/ 178594 h 514350"/>
                <a:gd name="connsiteX2783" fmla="*/ 745331 w 6400800"/>
                <a:gd name="connsiteY2783" fmla="*/ 163354 h 514350"/>
                <a:gd name="connsiteX2784" fmla="*/ 740569 w 6400800"/>
                <a:gd name="connsiteY2784" fmla="*/ 157639 h 514350"/>
                <a:gd name="connsiteX2785" fmla="*/ 744379 w 6400800"/>
                <a:gd name="connsiteY2785" fmla="*/ 163354 h 514350"/>
                <a:gd name="connsiteX2786" fmla="*/ 754856 w 6400800"/>
                <a:gd name="connsiteY2786" fmla="*/ 180499 h 514350"/>
                <a:gd name="connsiteX2787" fmla="*/ 763429 w 6400800"/>
                <a:gd name="connsiteY2787" fmla="*/ 196691 h 514350"/>
                <a:gd name="connsiteX2788" fmla="*/ 762476 w 6400800"/>
                <a:gd name="connsiteY2788" fmla="*/ 199549 h 514350"/>
                <a:gd name="connsiteX2789" fmla="*/ 753904 w 6400800"/>
                <a:gd name="connsiteY2789" fmla="*/ 238601 h 514350"/>
                <a:gd name="connsiteX2790" fmla="*/ 747236 w 6400800"/>
                <a:gd name="connsiteY2790" fmla="*/ 224314 h 514350"/>
                <a:gd name="connsiteX2791" fmla="*/ 752951 w 6400800"/>
                <a:gd name="connsiteY2791" fmla="*/ 241459 h 514350"/>
                <a:gd name="connsiteX2792" fmla="*/ 751046 w 6400800"/>
                <a:gd name="connsiteY2792" fmla="*/ 243364 h 514350"/>
                <a:gd name="connsiteX2793" fmla="*/ 749141 w 6400800"/>
                <a:gd name="connsiteY2793" fmla="*/ 252889 h 514350"/>
                <a:gd name="connsiteX2794" fmla="*/ 752951 w 6400800"/>
                <a:gd name="connsiteY2794" fmla="*/ 244316 h 514350"/>
                <a:gd name="connsiteX2795" fmla="*/ 752951 w 6400800"/>
                <a:gd name="connsiteY2795" fmla="*/ 244316 h 514350"/>
                <a:gd name="connsiteX2796" fmla="*/ 744379 w 6400800"/>
                <a:gd name="connsiteY2796" fmla="*/ 282416 h 514350"/>
                <a:gd name="connsiteX2797" fmla="*/ 741521 w 6400800"/>
                <a:gd name="connsiteY2797" fmla="*/ 296704 h 514350"/>
                <a:gd name="connsiteX2798" fmla="*/ 738664 w 6400800"/>
                <a:gd name="connsiteY2798" fmla="*/ 306229 h 514350"/>
                <a:gd name="connsiteX2799" fmla="*/ 738664 w 6400800"/>
                <a:gd name="connsiteY2799" fmla="*/ 306229 h 514350"/>
                <a:gd name="connsiteX2800" fmla="*/ 737711 w 6400800"/>
                <a:gd name="connsiteY2800" fmla="*/ 293846 h 514350"/>
                <a:gd name="connsiteX2801" fmla="*/ 733901 w 6400800"/>
                <a:gd name="connsiteY2801" fmla="*/ 270034 h 514350"/>
                <a:gd name="connsiteX2802" fmla="*/ 731996 w 6400800"/>
                <a:gd name="connsiteY2802" fmla="*/ 259556 h 514350"/>
                <a:gd name="connsiteX2803" fmla="*/ 731044 w 6400800"/>
                <a:gd name="connsiteY2803" fmla="*/ 257651 h 514350"/>
                <a:gd name="connsiteX2804" fmla="*/ 725329 w 6400800"/>
                <a:gd name="connsiteY2804" fmla="*/ 210979 h 514350"/>
                <a:gd name="connsiteX2805" fmla="*/ 722471 w 6400800"/>
                <a:gd name="connsiteY2805" fmla="*/ 186214 h 514350"/>
                <a:gd name="connsiteX2806" fmla="*/ 722471 w 6400800"/>
                <a:gd name="connsiteY2806" fmla="*/ 199549 h 514350"/>
                <a:gd name="connsiteX2807" fmla="*/ 709136 w 6400800"/>
                <a:gd name="connsiteY2807" fmla="*/ 243364 h 514350"/>
                <a:gd name="connsiteX2808" fmla="*/ 704374 w 6400800"/>
                <a:gd name="connsiteY2808" fmla="*/ 229076 h 514350"/>
                <a:gd name="connsiteX2809" fmla="*/ 687229 w 6400800"/>
                <a:gd name="connsiteY2809" fmla="*/ 181451 h 514350"/>
                <a:gd name="connsiteX2810" fmla="*/ 679609 w 6400800"/>
                <a:gd name="connsiteY2810" fmla="*/ 161449 h 514350"/>
                <a:gd name="connsiteX2811" fmla="*/ 679609 w 6400800"/>
                <a:gd name="connsiteY2811" fmla="*/ 148114 h 514350"/>
                <a:gd name="connsiteX2812" fmla="*/ 679609 w 6400800"/>
                <a:gd name="connsiteY2812" fmla="*/ 122396 h 514350"/>
                <a:gd name="connsiteX2813" fmla="*/ 678656 w 6400800"/>
                <a:gd name="connsiteY2813" fmla="*/ 100489 h 514350"/>
                <a:gd name="connsiteX2814" fmla="*/ 675799 w 6400800"/>
                <a:gd name="connsiteY2814" fmla="*/ 122396 h 514350"/>
                <a:gd name="connsiteX2815" fmla="*/ 672941 w 6400800"/>
                <a:gd name="connsiteY2815" fmla="*/ 144304 h 514350"/>
                <a:gd name="connsiteX2816" fmla="*/ 663416 w 6400800"/>
                <a:gd name="connsiteY2816" fmla="*/ 122396 h 514350"/>
                <a:gd name="connsiteX2817" fmla="*/ 659606 w 6400800"/>
                <a:gd name="connsiteY2817" fmla="*/ 114776 h 514350"/>
                <a:gd name="connsiteX2818" fmla="*/ 662464 w 6400800"/>
                <a:gd name="connsiteY2818" fmla="*/ 123349 h 514350"/>
                <a:gd name="connsiteX2819" fmla="*/ 670084 w 6400800"/>
                <a:gd name="connsiteY2819" fmla="*/ 147161 h 514350"/>
                <a:gd name="connsiteX2820" fmla="*/ 671989 w 6400800"/>
                <a:gd name="connsiteY2820" fmla="*/ 153829 h 514350"/>
                <a:gd name="connsiteX2821" fmla="*/ 671036 w 6400800"/>
                <a:gd name="connsiteY2821" fmla="*/ 164306 h 514350"/>
                <a:gd name="connsiteX2822" fmla="*/ 668179 w 6400800"/>
                <a:gd name="connsiteY2822" fmla="*/ 181451 h 514350"/>
                <a:gd name="connsiteX2823" fmla="*/ 662464 w 6400800"/>
                <a:gd name="connsiteY2823" fmla="*/ 219551 h 514350"/>
                <a:gd name="connsiteX2824" fmla="*/ 658654 w 6400800"/>
                <a:gd name="connsiteY2824" fmla="*/ 239554 h 514350"/>
                <a:gd name="connsiteX2825" fmla="*/ 655796 w 6400800"/>
                <a:gd name="connsiteY2825" fmla="*/ 231934 h 514350"/>
                <a:gd name="connsiteX2826" fmla="*/ 657701 w 6400800"/>
                <a:gd name="connsiteY2826" fmla="*/ 210026 h 514350"/>
                <a:gd name="connsiteX2827" fmla="*/ 653891 w 6400800"/>
                <a:gd name="connsiteY2827" fmla="*/ 226219 h 514350"/>
                <a:gd name="connsiteX2828" fmla="*/ 638651 w 6400800"/>
                <a:gd name="connsiteY2828" fmla="*/ 191929 h 514350"/>
                <a:gd name="connsiteX2829" fmla="*/ 630079 w 6400800"/>
                <a:gd name="connsiteY2829" fmla="*/ 174784 h 514350"/>
                <a:gd name="connsiteX2830" fmla="*/ 627221 w 6400800"/>
                <a:gd name="connsiteY2830" fmla="*/ 169069 h 514350"/>
                <a:gd name="connsiteX2831" fmla="*/ 635794 w 6400800"/>
                <a:gd name="connsiteY2831" fmla="*/ 193834 h 514350"/>
                <a:gd name="connsiteX2832" fmla="*/ 649129 w 6400800"/>
                <a:gd name="connsiteY2832" fmla="*/ 240506 h 514350"/>
                <a:gd name="connsiteX2833" fmla="*/ 650081 w 6400800"/>
                <a:gd name="connsiteY2833" fmla="*/ 244316 h 514350"/>
                <a:gd name="connsiteX2834" fmla="*/ 647224 w 6400800"/>
                <a:gd name="connsiteY2834" fmla="*/ 262414 h 514350"/>
                <a:gd name="connsiteX2835" fmla="*/ 644366 w 6400800"/>
                <a:gd name="connsiteY2835" fmla="*/ 279559 h 514350"/>
                <a:gd name="connsiteX2836" fmla="*/ 642461 w 6400800"/>
                <a:gd name="connsiteY2836" fmla="*/ 298609 h 514350"/>
                <a:gd name="connsiteX2837" fmla="*/ 642461 w 6400800"/>
                <a:gd name="connsiteY2837" fmla="*/ 298609 h 514350"/>
                <a:gd name="connsiteX2838" fmla="*/ 642461 w 6400800"/>
                <a:gd name="connsiteY2838" fmla="*/ 294799 h 514350"/>
                <a:gd name="connsiteX2839" fmla="*/ 641509 w 6400800"/>
                <a:gd name="connsiteY2839" fmla="*/ 315754 h 514350"/>
                <a:gd name="connsiteX2840" fmla="*/ 641509 w 6400800"/>
                <a:gd name="connsiteY2840" fmla="*/ 317659 h 514350"/>
                <a:gd name="connsiteX2841" fmla="*/ 639604 w 6400800"/>
                <a:gd name="connsiteY2841" fmla="*/ 309086 h 514350"/>
                <a:gd name="connsiteX2842" fmla="*/ 640556 w 6400800"/>
                <a:gd name="connsiteY2842" fmla="*/ 304324 h 514350"/>
                <a:gd name="connsiteX2843" fmla="*/ 638651 w 6400800"/>
                <a:gd name="connsiteY2843" fmla="*/ 307181 h 514350"/>
                <a:gd name="connsiteX2844" fmla="*/ 632936 w 6400800"/>
                <a:gd name="connsiteY2844" fmla="*/ 284321 h 514350"/>
                <a:gd name="connsiteX2845" fmla="*/ 624364 w 6400800"/>
                <a:gd name="connsiteY2845" fmla="*/ 250031 h 514350"/>
                <a:gd name="connsiteX2846" fmla="*/ 617696 w 6400800"/>
                <a:gd name="connsiteY2846" fmla="*/ 223361 h 514350"/>
                <a:gd name="connsiteX2847" fmla="*/ 614839 w 6400800"/>
                <a:gd name="connsiteY2847" fmla="*/ 210979 h 514350"/>
                <a:gd name="connsiteX2848" fmla="*/ 615791 w 6400800"/>
                <a:gd name="connsiteY2848" fmla="*/ 190024 h 514350"/>
                <a:gd name="connsiteX2849" fmla="*/ 617696 w 6400800"/>
                <a:gd name="connsiteY2849" fmla="*/ 126206 h 514350"/>
                <a:gd name="connsiteX2850" fmla="*/ 607219 w 6400800"/>
                <a:gd name="connsiteY2850" fmla="*/ 187166 h 514350"/>
                <a:gd name="connsiteX2851" fmla="*/ 606266 w 6400800"/>
                <a:gd name="connsiteY2851" fmla="*/ 184309 h 514350"/>
                <a:gd name="connsiteX2852" fmla="*/ 606266 w 6400800"/>
                <a:gd name="connsiteY2852" fmla="*/ 189071 h 514350"/>
                <a:gd name="connsiteX2853" fmla="*/ 601504 w 6400800"/>
                <a:gd name="connsiteY2853" fmla="*/ 215741 h 514350"/>
                <a:gd name="connsiteX2854" fmla="*/ 599599 w 6400800"/>
                <a:gd name="connsiteY2854" fmla="*/ 210979 h 514350"/>
                <a:gd name="connsiteX2855" fmla="*/ 591026 w 6400800"/>
                <a:gd name="connsiteY2855" fmla="*/ 191929 h 514350"/>
                <a:gd name="connsiteX2856" fmla="*/ 595789 w 6400800"/>
                <a:gd name="connsiteY2856" fmla="*/ 212884 h 514350"/>
                <a:gd name="connsiteX2857" fmla="*/ 599599 w 6400800"/>
                <a:gd name="connsiteY2857" fmla="*/ 230029 h 514350"/>
                <a:gd name="connsiteX2858" fmla="*/ 595789 w 6400800"/>
                <a:gd name="connsiteY2858" fmla="*/ 251936 h 514350"/>
                <a:gd name="connsiteX2859" fmla="*/ 589121 w 6400800"/>
                <a:gd name="connsiteY2859" fmla="*/ 294799 h 514350"/>
                <a:gd name="connsiteX2860" fmla="*/ 582454 w 6400800"/>
                <a:gd name="connsiteY2860" fmla="*/ 284321 h 514350"/>
                <a:gd name="connsiteX2861" fmla="*/ 585311 w 6400800"/>
                <a:gd name="connsiteY2861" fmla="*/ 265271 h 514350"/>
                <a:gd name="connsiteX2862" fmla="*/ 588169 w 6400800"/>
                <a:gd name="connsiteY2862" fmla="*/ 244316 h 514350"/>
                <a:gd name="connsiteX2863" fmla="*/ 591026 w 6400800"/>
                <a:gd name="connsiteY2863" fmla="*/ 225266 h 514350"/>
                <a:gd name="connsiteX2864" fmla="*/ 584359 w 6400800"/>
                <a:gd name="connsiteY2864" fmla="*/ 243364 h 514350"/>
                <a:gd name="connsiteX2865" fmla="*/ 579596 w 6400800"/>
                <a:gd name="connsiteY2865" fmla="*/ 258604 h 514350"/>
                <a:gd name="connsiteX2866" fmla="*/ 577691 w 6400800"/>
                <a:gd name="connsiteY2866" fmla="*/ 231934 h 514350"/>
                <a:gd name="connsiteX2867" fmla="*/ 575786 w 6400800"/>
                <a:gd name="connsiteY2867" fmla="*/ 210979 h 514350"/>
                <a:gd name="connsiteX2868" fmla="*/ 573881 w 6400800"/>
                <a:gd name="connsiteY2868" fmla="*/ 230981 h 514350"/>
                <a:gd name="connsiteX2869" fmla="*/ 571024 w 6400800"/>
                <a:gd name="connsiteY2869" fmla="*/ 267176 h 514350"/>
                <a:gd name="connsiteX2870" fmla="*/ 571024 w 6400800"/>
                <a:gd name="connsiteY2870" fmla="*/ 267176 h 514350"/>
                <a:gd name="connsiteX2871" fmla="*/ 567214 w 6400800"/>
                <a:gd name="connsiteY2871" fmla="*/ 262414 h 514350"/>
                <a:gd name="connsiteX2872" fmla="*/ 552926 w 6400800"/>
                <a:gd name="connsiteY2872" fmla="*/ 219551 h 514350"/>
                <a:gd name="connsiteX2873" fmla="*/ 552926 w 6400800"/>
                <a:gd name="connsiteY2873" fmla="*/ 218599 h 514350"/>
                <a:gd name="connsiteX2874" fmla="*/ 555784 w 6400800"/>
                <a:gd name="connsiteY2874" fmla="*/ 189071 h 514350"/>
                <a:gd name="connsiteX2875" fmla="*/ 558641 w 6400800"/>
                <a:gd name="connsiteY2875" fmla="*/ 162401 h 514350"/>
                <a:gd name="connsiteX2876" fmla="*/ 561499 w 6400800"/>
                <a:gd name="connsiteY2876" fmla="*/ 141446 h 514350"/>
                <a:gd name="connsiteX2877" fmla="*/ 564356 w 6400800"/>
                <a:gd name="connsiteY2877" fmla="*/ 123349 h 514350"/>
                <a:gd name="connsiteX2878" fmla="*/ 557689 w 6400800"/>
                <a:gd name="connsiteY2878" fmla="*/ 140494 h 514350"/>
                <a:gd name="connsiteX2879" fmla="*/ 551021 w 6400800"/>
                <a:gd name="connsiteY2879" fmla="*/ 160496 h 514350"/>
                <a:gd name="connsiteX2880" fmla="*/ 544354 w 6400800"/>
                <a:gd name="connsiteY2880" fmla="*/ 187166 h 514350"/>
                <a:gd name="connsiteX2881" fmla="*/ 537686 w 6400800"/>
                <a:gd name="connsiteY2881" fmla="*/ 218599 h 514350"/>
                <a:gd name="connsiteX2882" fmla="*/ 535781 w 6400800"/>
                <a:gd name="connsiteY2882" fmla="*/ 231934 h 514350"/>
                <a:gd name="connsiteX2883" fmla="*/ 534829 w 6400800"/>
                <a:gd name="connsiteY2883" fmla="*/ 220504 h 514350"/>
                <a:gd name="connsiteX2884" fmla="*/ 532924 w 6400800"/>
                <a:gd name="connsiteY2884" fmla="*/ 205264 h 514350"/>
                <a:gd name="connsiteX2885" fmla="*/ 533876 w 6400800"/>
                <a:gd name="connsiteY2885" fmla="*/ 186214 h 514350"/>
                <a:gd name="connsiteX2886" fmla="*/ 534829 w 6400800"/>
                <a:gd name="connsiteY2886" fmla="*/ 166211 h 514350"/>
                <a:gd name="connsiteX2887" fmla="*/ 534829 w 6400800"/>
                <a:gd name="connsiteY2887" fmla="*/ 148114 h 514350"/>
                <a:gd name="connsiteX2888" fmla="*/ 534829 w 6400800"/>
                <a:gd name="connsiteY2888" fmla="*/ 118586 h 514350"/>
                <a:gd name="connsiteX2889" fmla="*/ 533876 w 6400800"/>
                <a:gd name="connsiteY2889" fmla="*/ 92869 h 514350"/>
                <a:gd name="connsiteX2890" fmla="*/ 531019 w 6400800"/>
                <a:gd name="connsiteY2890" fmla="*/ 118586 h 514350"/>
                <a:gd name="connsiteX2891" fmla="*/ 528161 w 6400800"/>
                <a:gd name="connsiteY2891" fmla="*/ 147161 h 514350"/>
                <a:gd name="connsiteX2892" fmla="*/ 526256 w 6400800"/>
                <a:gd name="connsiteY2892" fmla="*/ 165259 h 514350"/>
                <a:gd name="connsiteX2893" fmla="*/ 523399 w 6400800"/>
                <a:gd name="connsiteY2893" fmla="*/ 185261 h 514350"/>
                <a:gd name="connsiteX2894" fmla="*/ 521494 w 6400800"/>
                <a:gd name="connsiteY2894" fmla="*/ 197644 h 514350"/>
                <a:gd name="connsiteX2895" fmla="*/ 513874 w 6400800"/>
                <a:gd name="connsiteY2895" fmla="*/ 170021 h 514350"/>
                <a:gd name="connsiteX2896" fmla="*/ 506254 w 6400800"/>
                <a:gd name="connsiteY2896" fmla="*/ 144304 h 514350"/>
                <a:gd name="connsiteX2897" fmla="*/ 510064 w 6400800"/>
                <a:gd name="connsiteY2897" fmla="*/ 170974 h 514350"/>
                <a:gd name="connsiteX2898" fmla="*/ 517684 w 6400800"/>
                <a:gd name="connsiteY2898" fmla="*/ 222409 h 514350"/>
                <a:gd name="connsiteX2899" fmla="*/ 516731 w 6400800"/>
                <a:gd name="connsiteY2899" fmla="*/ 230029 h 514350"/>
                <a:gd name="connsiteX2900" fmla="*/ 512921 w 6400800"/>
                <a:gd name="connsiteY2900" fmla="*/ 251936 h 514350"/>
                <a:gd name="connsiteX2901" fmla="*/ 487204 w 6400800"/>
                <a:gd name="connsiteY2901" fmla="*/ 172879 h 514350"/>
                <a:gd name="connsiteX2902" fmla="*/ 485299 w 6400800"/>
                <a:gd name="connsiteY2902" fmla="*/ 164306 h 514350"/>
                <a:gd name="connsiteX2903" fmla="*/ 486251 w 6400800"/>
                <a:gd name="connsiteY2903" fmla="*/ 189071 h 514350"/>
                <a:gd name="connsiteX2904" fmla="*/ 488156 w 6400800"/>
                <a:gd name="connsiteY2904" fmla="*/ 217646 h 514350"/>
                <a:gd name="connsiteX2905" fmla="*/ 489109 w 6400800"/>
                <a:gd name="connsiteY2905" fmla="*/ 238601 h 514350"/>
                <a:gd name="connsiteX2906" fmla="*/ 486251 w 6400800"/>
                <a:gd name="connsiteY2906" fmla="*/ 223361 h 514350"/>
                <a:gd name="connsiteX2907" fmla="*/ 482441 w 6400800"/>
                <a:gd name="connsiteY2907" fmla="*/ 207169 h 514350"/>
                <a:gd name="connsiteX2908" fmla="*/ 478631 w 6400800"/>
                <a:gd name="connsiteY2908" fmla="*/ 192881 h 514350"/>
                <a:gd name="connsiteX2909" fmla="*/ 471964 w 6400800"/>
                <a:gd name="connsiteY2909" fmla="*/ 170021 h 514350"/>
                <a:gd name="connsiteX2910" fmla="*/ 465296 w 6400800"/>
                <a:gd name="connsiteY2910" fmla="*/ 150019 h 514350"/>
                <a:gd name="connsiteX2911" fmla="*/ 468154 w 6400800"/>
                <a:gd name="connsiteY2911" fmla="*/ 170021 h 514350"/>
                <a:gd name="connsiteX2912" fmla="*/ 471011 w 6400800"/>
                <a:gd name="connsiteY2912" fmla="*/ 193834 h 514350"/>
                <a:gd name="connsiteX2913" fmla="*/ 472916 w 6400800"/>
                <a:gd name="connsiteY2913" fmla="*/ 208121 h 514350"/>
                <a:gd name="connsiteX2914" fmla="*/ 474821 w 6400800"/>
                <a:gd name="connsiteY2914" fmla="*/ 224314 h 514350"/>
                <a:gd name="connsiteX2915" fmla="*/ 478631 w 6400800"/>
                <a:gd name="connsiteY2915" fmla="*/ 255746 h 514350"/>
                <a:gd name="connsiteX2916" fmla="*/ 474821 w 6400800"/>
                <a:gd name="connsiteY2916" fmla="*/ 240506 h 514350"/>
                <a:gd name="connsiteX2917" fmla="*/ 455771 w 6400800"/>
                <a:gd name="connsiteY2917" fmla="*/ 170974 h 514350"/>
                <a:gd name="connsiteX2918" fmla="*/ 447199 w 6400800"/>
                <a:gd name="connsiteY2918" fmla="*/ 145256 h 514350"/>
                <a:gd name="connsiteX2919" fmla="*/ 451961 w 6400800"/>
                <a:gd name="connsiteY2919" fmla="*/ 171926 h 514350"/>
                <a:gd name="connsiteX2920" fmla="*/ 457676 w 6400800"/>
                <a:gd name="connsiteY2920" fmla="*/ 202406 h 514350"/>
                <a:gd name="connsiteX2921" fmla="*/ 464344 w 6400800"/>
                <a:gd name="connsiteY2921" fmla="*/ 242411 h 514350"/>
                <a:gd name="connsiteX2922" fmla="*/ 471011 w 6400800"/>
                <a:gd name="connsiteY2922" fmla="*/ 282416 h 514350"/>
                <a:gd name="connsiteX2923" fmla="*/ 467201 w 6400800"/>
                <a:gd name="connsiteY2923" fmla="*/ 272891 h 514350"/>
                <a:gd name="connsiteX2924" fmla="*/ 459581 w 6400800"/>
                <a:gd name="connsiteY2924" fmla="*/ 255746 h 514350"/>
                <a:gd name="connsiteX2925" fmla="*/ 463391 w 6400800"/>
                <a:gd name="connsiteY2925" fmla="*/ 273844 h 514350"/>
                <a:gd name="connsiteX2926" fmla="*/ 468154 w 6400800"/>
                <a:gd name="connsiteY2926" fmla="*/ 293846 h 514350"/>
                <a:gd name="connsiteX2927" fmla="*/ 471011 w 6400800"/>
                <a:gd name="connsiteY2927" fmla="*/ 306229 h 514350"/>
                <a:gd name="connsiteX2928" fmla="*/ 473869 w 6400800"/>
                <a:gd name="connsiteY2928" fmla="*/ 320516 h 514350"/>
                <a:gd name="connsiteX2929" fmla="*/ 479584 w 6400800"/>
                <a:gd name="connsiteY2929" fmla="*/ 351949 h 514350"/>
                <a:gd name="connsiteX2930" fmla="*/ 479584 w 6400800"/>
                <a:gd name="connsiteY2930" fmla="*/ 353854 h 514350"/>
                <a:gd name="connsiteX2931" fmla="*/ 478631 w 6400800"/>
                <a:gd name="connsiteY2931" fmla="*/ 351949 h 514350"/>
                <a:gd name="connsiteX2932" fmla="*/ 471964 w 6400800"/>
                <a:gd name="connsiteY2932" fmla="*/ 338614 h 514350"/>
                <a:gd name="connsiteX2933" fmla="*/ 470059 w 6400800"/>
                <a:gd name="connsiteY2933" fmla="*/ 324326 h 514350"/>
                <a:gd name="connsiteX2934" fmla="*/ 462439 w 6400800"/>
                <a:gd name="connsiteY2934" fmla="*/ 280511 h 514350"/>
                <a:gd name="connsiteX2935" fmla="*/ 452914 w 6400800"/>
                <a:gd name="connsiteY2935" fmla="*/ 240506 h 514350"/>
                <a:gd name="connsiteX2936" fmla="*/ 441484 w 6400800"/>
                <a:gd name="connsiteY2936" fmla="*/ 205264 h 514350"/>
                <a:gd name="connsiteX2937" fmla="*/ 437674 w 6400800"/>
                <a:gd name="connsiteY2937" fmla="*/ 194786 h 514350"/>
                <a:gd name="connsiteX2938" fmla="*/ 440531 w 6400800"/>
                <a:gd name="connsiteY2938" fmla="*/ 167164 h 514350"/>
                <a:gd name="connsiteX2939" fmla="*/ 442436 w 6400800"/>
                <a:gd name="connsiteY2939" fmla="*/ 128111 h 514350"/>
                <a:gd name="connsiteX2940" fmla="*/ 441484 w 6400800"/>
                <a:gd name="connsiteY2940" fmla="*/ 94774 h 514350"/>
                <a:gd name="connsiteX2941" fmla="*/ 438626 w 6400800"/>
                <a:gd name="connsiteY2941" fmla="*/ 128111 h 514350"/>
                <a:gd name="connsiteX2942" fmla="*/ 433864 w 6400800"/>
                <a:gd name="connsiteY2942" fmla="*/ 166211 h 514350"/>
                <a:gd name="connsiteX2943" fmla="*/ 431959 w 6400800"/>
                <a:gd name="connsiteY2943" fmla="*/ 178594 h 514350"/>
                <a:gd name="connsiteX2944" fmla="*/ 431006 w 6400800"/>
                <a:gd name="connsiteY2944" fmla="*/ 175736 h 514350"/>
                <a:gd name="connsiteX2945" fmla="*/ 419576 w 6400800"/>
                <a:gd name="connsiteY2945" fmla="*/ 153829 h 514350"/>
                <a:gd name="connsiteX2946" fmla="*/ 408146 w 6400800"/>
                <a:gd name="connsiteY2946" fmla="*/ 135731 h 514350"/>
                <a:gd name="connsiteX2947" fmla="*/ 415766 w 6400800"/>
                <a:gd name="connsiteY2947" fmla="*/ 155734 h 514350"/>
                <a:gd name="connsiteX2948" fmla="*/ 423386 w 6400800"/>
                <a:gd name="connsiteY2948" fmla="*/ 178594 h 514350"/>
                <a:gd name="connsiteX2949" fmla="*/ 428149 w 6400800"/>
                <a:gd name="connsiteY2949" fmla="*/ 195739 h 514350"/>
                <a:gd name="connsiteX2950" fmla="*/ 424339 w 6400800"/>
                <a:gd name="connsiteY2950" fmla="*/ 214789 h 514350"/>
                <a:gd name="connsiteX2951" fmla="*/ 424339 w 6400800"/>
                <a:gd name="connsiteY2951" fmla="*/ 214789 h 514350"/>
                <a:gd name="connsiteX2952" fmla="*/ 415766 w 6400800"/>
                <a:gd name="connsiteY2952" fmla="*/ 202406 h 514350"/>
                <a:gd name="connsiteX2953" fmla="*/ 421481 w 6400800"/>
                <a:gd name="connsiteY2953" fmla="*/ 216694 h 514350"/>
                <a:gd name="connsiteX2954" fmla="*/ 423386 w 6400800"/>
                <a:gd name="connsiteY2954" fmla="*/ 223361 h 514350"/>
                <a:gd name="connsiteX2955" fmla="*/ 412909 w 6400800"/>
                <a:gd name="connsiteY2955" fmla="*/ 272891 h 514350"/>
                <a:gd name="connsiteX2956" fmla="*/ 405289 w 6400800"/>
                <a:gd name="connsiteY2956" fmla="*/ 253841 h 514350"/>
                <a:gd name="connsiteX2957" fmla="*/ 405289 w 6400800"/>
                <a:gd name="connsiteY2957" fmla="*/ 253841 h 514350"/>
                <a:gd name="connsiteX2958" fmla="*/ 404336 w 6400800"/>
                <a:gd name="connsiteY2958" fmla="*/ 210026 h 514350"/>
                <a:gd name="connsiteX2959" fmla="*/ 401479 w 6400800"/>
                <a:gd name="connsiteY2959" fmla="*/ 176689 h 514350"/>
                <a:gd name="connsiteX2960" fmla="*/ 396716 w 6400800"/>
                <a:gd name="connsiteY2960" fmla="*/ 148114 h 514350"/>
                <a:gd name="connsiteX2961" fmla="*/ 397669 w 6400800"/>
                <a:gd name="connsiteY2961" fmla="*/ 177641 h 514350"/>
                <a:gd name="connsiteX2962" fmla="*/ 396716 w 6400800"/>
                <a:gd name="connsiteY2962" fmla="*/ 206216 h 514350"/>
                <a:gd name="connsiteX2963" fmla="*/ 389096 w 6400800"/>
                <a:gd name="connsiteY2963" fmla="*/ 244316 h 514350"/>
                <a:gd name="connsiteX2964" fmla="*/ 381476 w 6400800"/>
                <a:gd name="connsiteY2964" fmla="*/ 219551 h 514350"/>
                <a:gd name="connsiteX2965" fmla="*/ 374809 w 6400800"/>
                <a:gd name="connsiteY2965" fmla="*/ 199549 h 514350"/>
                <a:gd name="connsiteX2966" fmla="*/ 372904 w 6400800"/>
                <a:gd name="connsiteY2966" fmla="*/ 194786 h 514350"/>
                <a:gd name="connsiteX2967" fmla="*/ 372904 w 6400800"/>
                <a:gd name="connsiteY2967" fmla="*/ 190976 h 514350"/>
                <a:gd name="connsiteX2968" fmla="*/ 370046 w 6400800"/>
                <a:gd name="connsiteY2968" fmla="*/ 177641 h 514350"/>
                <a:gd name="connsiteX2969" fmla="*/ 366236 w 6400800"/>
                <a:gd name="connsiteY2969" fmla="*/ 155734 h 514350"/>
                <a:gd name="connsiteX2970" fmla="*/ 364331 w 6400800"/>
                <a:gd name="connsiteY2970" fmla="*/ 148114 h 514350"/>
                <a:gd name="connsiteX2971" fmla="*/ 363379 w 6400800"/>
                <a:gd name="connsiteY2971" fmla="*/ 135731 h 514350"/>
                <a:gd name="connsiteX2972" fmla="*/ 363379 w 6400800"/>
                <a:gd name="connsiteY2972" fmla="*/ 140494 h 514350"/>
                <a:gd name="connsiteX2973" fmla="*/ 362426 w 6400800"/>
                <a:gd name="connsiteY2973" fmla="*/ 136684 h 514350"/>
                <a:gd name="connsiteX2974" fmla="*/ 362426 w 6400800"/>
                <a:gd name="connsiteY2974" fmla="*/ 151924 h 514350"/>
                <a:gd name="connsiteX2975" fmla="*/ 361474 w 6400800"/>
                <a:gd name="connsiteY2975" fmla="*/ 163354 h 514350"/>
                <a:gd name="connsiteX2976" fmla="*/ 357664 w 6400800"/>
                <a:gd name="connsiteY2976" fmla="*/ 151924 h 514350"/>
                <a:gd name="connsiteX2977" fmla="*/ 348139 w 6400800"/>
                <a:gd name="connsiteY2977" fmla="*/ 127159 h 514350"/>
                <a:gd name="connsiteX2978" fmla="*/ 353854 w 6400800"/>
                <a:gd name="connsiteY2978" fmla="*/ 153829 h 514350"/>
                <a:gd name="connsiteX2979" fmla="*/ 361474 w 6400800"/>
                <a:gd name="connsiteY2979" fmla="*/ 183356 h 514350"/>
                <a:gd name="connsiteX2980" fmla="*/ 361474 w 6400800"/>
                <a:gd name="connsiteY2980" fmla="*/ 192881 h 514350"/>
                <a:gd name="connsiteX2981" fmla="*/ 357664 w 6400800"/>
                <a:gd name="connsiteY2981" fmla="*/ 184309 h 514350"/>
                <a:gd name="connsiteX2982" fmla="*/ 360521 w 6400800"/>
                <a:gd name="connsiteY2982" fmla="*/ 198596 h 514350"/>
                <a:gd name="connsiteX2983" fmla="*/ 359569 w 6400800"/>
                <a:gd name="connsiteY2983" fmla="*/ 221456 h 514350"/>
                <a:gd name="connsiteX2984" fmla="*/ 355759 w 6400800"/>
                <a:gd name="connsiteY2984" fmla="*/ 208121 h 514350"/>
                <a:gd name="connsiteX2985" fmla="*/ 350996 w 6400800"/>
                <a:gd name="connsiteY2985" fmla="*/ 193834 h 514350"/>
                <a:gd name="connsiteX2986" fmla="*/ 351949 w 6400800"/>
                <a:gd name="connsiteY2986" fmla="*/ 208121 h 514350"/>
                <a:gd name="connsiteX2987" fmla="*/ 352901 w 6400800"/>
                <a:gd name="connsiteY2987" fmla="*/ 224314 h 514350"/>
                <a:gd name="connsiteX2988" fmla="*/ 353854 w 6400800"/>
                <a:gd name="connsiteY2988" fmla="*/ 246221 h 514350"/>
                <a:gd name="connsiteX2989" fmla="*/ 354806 w 6400800"/>
                <a:gd name="connsiteY2989" fmla="*/ 270986 h 514350"/>
                <a:gd name="connsiteX2990" fmla="*/ 355759 w 6400800"/>
                <a:gd name="connsiteY2990" fmla="*/ 299561 h 514350"/>
                <a:gd name="connsiteX2991" fmla="*/ 356711 w 6400800"/>
                <a:gd name="connsiteY2991" fmla="*/ 316706 h 514350"/>
                <a:gd name="connsiteX2992" fmla="*/ 346234 w 6400800"/>
                <a:gd name="connsiteY2992" fmla="*/ 298609 h 514350"/>
                <a:gd name="connsiteX2993" fmla="*/ 345281 w 6400800"/>
                <a:gd name="connsiteY2993" fmla="*/ 296704 h 514350"/>
                <a:gd name="connsiteX2994" fmla="*/ 345281 w 6400800"/>
                <a:gd name="connsiteY2994" fmla="*/ 291941 h 514350"/>
                <a:gd name="connsiteX2995" fmla="*/ 348139 w 6400800"/>
                <a:gd name="connsiteY2995" fmla="*/ 267176 h 514350"/>
                <a:gd name="connsiteX2996" fmla="*/ 350044 w 6400800"/>
                <a:gd name="connsiteY2996" fmla="*/ 246221 h 514350"/>
                <a:gd name="connsiteX2997" fmla="*/ 344329 w 6400800"/>
                <a:gd name="connsiteY2997" fmla="*/ 267176 h 514350"/>
                <a:gd name="connsiteX2998" fmla="*/ 339566 w 6400800"/>
                <a:gd name="connsiteY2998" fmla="*/ 287179 h 514350"/>
                <a:gd name="connsiteX2999" fmla="*/ 339566 w 6400800"/>
                <a:gd name="connsiteY2999" fmla="*/ 287179 h 514350"/>
                <a:gd name="connsiteX3000" fmla="*/ 339566 w 6400800"/>
                <a:gd name="connsiteY3000" fmla="*/ 288131 h 514350"/>
                <a:gd name="connsiteX3001" fmla="*/ 338614 w 6400800"/>
                <a:gd name="connsiteY3001" fmla="*/ 291941 h 514350"/>
                <a:gd name="connsiteX3002" fmla="*/ 337661 w 6400800"/>
                <a:gd name="connsiteY3002" fmla="*/ 297656 h 514350"/>
                <a:gd name="connsiteX3003" fmla="*/ 324326 w 6400800"/>
                <a:gd name="connsiteY3003" fmla="*/ 277654 h 514350"/>
                <a:gd name="connsiteX3004" fmla="*/ 310991 w 6400800"/>
                <a:gd name="connsiteY3004" fmla="*/ 233839 h 514350"/>
                <a:gd name="connsiteX3005" fmla="*/ 303371 w 6400800"/>
                <a:gd name="connsiteY3005" fmla="*/ 211931 h 514350"/>
                <a:gd name="connsiteX3006" fmla="*/ 306229 w 6400800"/>
                <a:gd name="connsiteY3006" fmla="*/ 196691 h 514350"/>
                <a:gd name="connsiteX3007" fmla="*/ 316706 w 6400800"/>
                <a:gd name="connsiteY3007" fmla="*/ 150971 h 514350"/>
                <a:gd name="connsiteX3008" fmla="*/ 326231 w 6400800"/>
                <a:gd name="connsiteY3008" fmla="*/ 115729 h 514350"/>
                <a:gd name="connsiteX3009" fmla="*/ 335756 w 6400800"/>
                <a:gd name="connsiteY3009" fmla="*/ 85249 h 514350"/>
                <a:gd name="connsiteX3010" fmla="*/ 323374 w 6400800"/>
                <a:gd name="connsiteY3010" fmla="*/ 113824 h 514350"/>
                <a:gd name="connsiteX3011" fmla="*/ 310991 w 6400800"/>
                <a:gd name="connsiteY3011" fmla="*/ 148114 h 514350"/>
                <a:gd name="connsiteX3012" fmla="*/ 303371 w 6400800"/>
                <a:gd name="connsiteY3012" fmla="*/ 169069 h 514350"/>
                <a:gd name="connsiteX3013" fmla="*/ 297656 w 6400800"/>
                <a:gd name="connsiteY3013" fmla="*/ 190024 h 514350"/>
                <a:gd name="connsiteX3014" fmla="*/ 287179 w 6400800"/>
                <a:gd name="connsiteY3014" fmla="*/ 159544 h 514350"/>
                <a:gd name="connsiteX3015" fmla="*/ 294799 w 6400800"/>
                <a:gd name="connsiteY3015" fmla="*/ 198596 h 514350"/>
                <a:gd name="connsiteX3016" fmla="*/ 283369 w 6400800"/>
                <a:gd name="connsiteY3016" fmla="*/ 247174 h 514350"/>
                <a:gd name="connsiteX3017" fmla="*/ 279559 w 6400800"/>
                <a:gd name="connsiteY3017" fmla="*/ 264319 h 514350"/>
                <a:gd name="connsiteX3018" fmla="*/ 276701 w 6400800"/>
                <a:gd name="connsiteY3018" fmla="*/ 253841 h 514350"/>
                <a:gd name="connsiteX3019" fmla="*/ 278606 w 6400800"/>
                <a:gd name="connsiteY3019" fmla="*/ 227171 h 514350"/>
                <a:gd name="connsiteX3020" fmla="*/ 284321 w 6400800"/>
                <a:gd name="connsiteY3020" fmla="*/ 166211 h 514350"/>
                <a:gd name="connsiteX3021" fmla="*/ 287179 w 6400800"/>
                <a:gd name="connsiteY3021" fmla="*/ 139541 h 514350"/>
                <a:gd name="connsiteX3022" fmla="*/ 290989 w 6400800"/>
                <a:gd name="connsiteY3022" fmla="*/ 115729 h 514350"/>
                <a:gd name="connsiteX3023" fmla="*/ 297656 w 6400800"/>
                <a:gd name="connsiteY3023" fmla="*/ 76676 h 514350"/>
                <a:gd name="connsiteX3024" fmla="*/ 304324 w 6400800"/>
                <a:gd name="connsiteY3024" fmla="*/ 42386 h 514350"/>
                <a:gd name="connsiteX3025" fmla="*/ 293846 w 6400800"/>
                <a:gd name="connsiteY3025" fmla="*/ 75724 h 514350"/>
                <a:gd name="connsiteX3026" fmla="*/ 283369 w 6400800"/>
                <a:gd name="connsiteY3026" fmla="*/ 114776 h 514350"/>
                <a:gd name="connsiteX3027" fmla="*/ 277654 w 6400800"/>
                <a:gd name="connsiteY3027" fmla="*/ 138589 h 514350"/>
                <a:gd name="connsiteX3028" fmla="*/ 272891 w 6400800"/>
                <a:gd name="connsiteY3028" fmla="*/ 165259 h 514350"/>
                <a:gd name="connsiteX3029" fmla="*/ 270034 w 6400800"/>
                <a:gd name="connsiteY3029" fmla="*/ 178594 h 514350"/>
                <a:gd name="connsiteX3030" fmla="*/ 261461 w 6400800"/>
                <a:gd name="connsiteY3030" fmla="*/ 196691 h 514350"/>
                <a:gd name="connsiteX3031" fmla="*/ 258604 w 6400800"/>
                <a:gd name="connsiteY3031" fmla="*/ 183356 h 514350"/>
                <a:gd name="connsiteX3032" fmla="*/ 253841 w 6400800"/>
                <a:gd name="connsiteY3032" fmla="*/ 161449 h 514350"/>
                <a:gd name="connsiteX3033" fmla="*/ 254794 w 6400800"/>
                <a:gd name="connsiteY3033" fmla="*/ 183356 h 514350"/>
                <a:gd name="connsiteX3034" fmla="*/ 256699 w 6400800"/>
                <a:gd name="connsiteY3034" fmla="*/ 207169 h 514350"/>
                <a:gd name="connsiteX3035" fmla="*/ 247174 w 6400800"/>
                <a:gd name="connsiteY3035" fmla="*/ 231934 h 514350"/>
                <a:gd name="connsiteX3036" fmla="*/ 245269 w 6400800"/>
                <a:gd name="connsiteY3036" fmla="*/ 236696 h 514350"/>
                <a:gd name="connsiteX3037" fmla="*/ 242411 w 6400800"/>
                <a:gd name="connsiteY3037" fmla="*/ 230029 h 514350"/>
                <a:gd name="connsiteX3038" fmla="*/ 244316 w 6400800"/>
                <a:gd name="connsiteY3038" fmla="*/ 240506 h 514350"/>
                <a:gd name="connsiteX3039" fmla="*/ 236696 w 6400800"/>
                <a:gd name="connsiteY3039" fmla="*/ 262414 h 514350"/>
                <a:gd name="connsiteX3040" fmla="*/ 226219 w 6400800"/>
                <a:gd name="connsiteY3040" fmla="*/ 227171 h 514350"/>
                <a:gd name="connsiteX3041" fmla="*/ 218599 w 6400800"/>
                <a:gd name="connsiteY3041" fmla="*/ 204311 h 514350"/>
                <a:gd name="connsiteX3042" fmla="*/ 210979 w 6400800"/>
                <a:gd name="connsiteY3042" fmla="*/ 184309 h 514350"/>
                <a:gd name="connsiteX3043" fmla="*/ 198596 w 6400800"/>
                <a:gd name="connsiteY3043" fmla="*/ 150971 h 514350"/>
                <a:gd name="connsiteX3044" fmla="*/ 187166 w 6400800"/>
                <a:gd name="connsiteY3044" fmla="*/ 122396 h 514350"/>
                <a:gd name="connsiteX3045" fmla="*/ 194786 w 6400800"/>
                <a:gd name="connsiteY3045" fmla="*/ 151924 h 514350"/>
                <a:gd name="connsiteX3046" fmla="*/ 204311 w 6400800"/>
                <a:gd name="connsiteY3046" fmla="*/ 186214 h 514350"/>
                <a:gd name="connsiteX3047" fmla="*/ 210026 w 6400800"/>
                <a:gd name="connsiteY3047" fmla="*/ 207169 h 514350"/>
                <a:gd name="connsiteX3048" fmla="*/ 215741 w 6400800"/>
                <a:gd name="connsiteY3048" fmla="*/ 230981 h 514350"/>
                <a:gd name="connsiteX3049" fmla="*/ 226219 w 6400800"/>
                <a:gd name="connsiteY3049" fmla="*/ 275749 h 514350"/>
                <a:gd name="connsiteX3050" fmla="*/ 218599 w 6400800"/>
                <a:gd name="connsiteY3050" fmla="*/ 295751 h 514350"/>
                <a:gd name="connsiteX3051" fmla="*/ 217646 w 6400800"/>
                <a:gd name="connsiteY3051" fmla="*/ 298609 h 514350"/>
                <a:gd name="connsiteX3052" fmla="*/ 214789 w 6400800"/>
                <a:gd name="connsiteY3052" fmla="*/ 266224 h 514350"/>
                <a:gd name="connsiteX3053" fmla="*/ 212884 w 6400800"/>
                <a:gd name="connsiteY3053" fmla="*/ 241459 h 514350"/>
                <a:gd name="connsiteX3054" fmla="*/ 210979 w 6400800"/>
                <a:gd name="connsiteY3054" fmla="*/ 266224 h 514350"/>
                <a:gd name="connsiteX3055" fmla="*/ 209074 w 6400800"/>
                <a:gd name="connsiteY3055" fmla="*/ 309086 h 514350"/>
                <a:gd name="connsiteX3056" fmla="*/ 196691 w 6400800"/>
                <a:gd name="connsiteY3056" fmla="*/ 287179 h 514350"/>
                <a:gd name="connsiteX3057" fmla="*/ 187166 w 6400800"/>
                <a:gd name="connsiteY3057" fmla="*/ 270034 h 514350"/>
                <a:gd name="connsiteX3058" fmla="*/ 177641 w 6400800"/>
                <a:gd name="connsiteY3058" fmla="*/ 255746 h 514350"/>
                <a:gd name="connsiteX3059" fmla="*/ 161449 w 6400800"/>
                <a:gd name="connsiteY3059" fmla="*/ 231934 h 514350"/>
                <a:gd name="connsiteX3060" fmla="*/ 156686 w 6400800"/>
                <a:gd name="connsiteY3060" fmla="*/ 225266 h 514350"/>
                <a:gd name="connsiteX3061" fmla="*/ 152876 w 6400800"/>
                <a:gd name="connsiteY3061" fmla="*/ 209074 h 514350"/>
                <a:gd name="connsiteX3062" fmla="*/ 152876 w 6400800"/>
                <a:gd name="connsiteY3062" fmla="*/ 219551 h 514350"/>
                <a:gd name="connsiteX3063" fmla="*/ 146209 w 6400800"/>
                <a:gd name="connsiteY3063" fmla="*/ 210979 h 514350"/>
                <a:gd name="connsiteX3064" fmla="*/ 152876 w 6400800"/>
                <a:gd name="connsiteY3064" fmla="*/ 224314 h 514350"/>
                <a:gd name="connsiteX3065" fmla="*/ 156686 w 6400800"/>
                <a:gd name="connsiteY3065" fmla="*/ 275749 h 514350"/>
                <a:gd name="connsiteX3066" fmla="*/ 148114 w 6400800"/>
                <a:gd name="connsiteY3066" fmla="*/ 263366 h 514350"/>
                <a:gd name="connsiteX3067" fmla="*/ 124301 w 6400800"/>
                <a:gd name="connsiteY3067" fmla="*/ 233839 h 514350"/>
                <a:gd name="connsiteX3068" fmla="*/ 104299 w 6400800"/>
                <a:gd name="connsiteY3068" fmla="*/ 212884 h 514350"/>
                <a:gd name="connsiteX3069" fmla="*/ 88106 w 6400800"/>
                <a:gd name="connsiteY3069" fmla="*/ 197644 h 514350"/>
                <a:gd name="connsiteX3070" fmla="*/ 103346 w 6400800"/>
                <a:gd name="connsiteY3070" fmla="*/ 217646 h 514350"/>
                <a:gd name="connsiteX3071" fmla="*/ 119539 w 6400800"/>
                <a:gd name="connsiteY3071" fmla="*/ 240506 h 514350"/>
                <a:gd name="connsiteX3072" fmla="*/ 139541 w 6400800"/>
                <a:gd name="connsiteY3072" fmla="*/ 271939 h 514350"/>
                <a:gd name="connsiteX3073" fmla="*/ 151924 w 6400800"/>
                <a:gd name="connsiteY3073" fmla="*/ 292894 h 514350"/>
                <a:gd name="connsiteX3074" fmla="*/ 151924 w 6400800"/>
                <a:gd name="connsiteY3074" fmla="*/ 297656 h 514350"/>
                <a:gd name="connsiteX3075" fmla="*/ 150971 w 6400800"/>
                <a:gd name="connsiteY3075" fmla="*/ 296704 h 514350"/>
                <a:gd name="connsiteX3076" fmla="*/ 136684 w 6400800"/>
                <a:gd name="connsiteY3076" fmla="*/ 282416 h 514350"/>
                <a:gd name="connsiteX3077" fmla="*/ 131921 w 6400800"/>
                <a:gd name="connsiteY3077" fmla="*/ 278606 h 514350"/>
                <a:gd name="connsiteX3078" fmla="*/ 132874 w 6400800"/>
                <a:gd name="connsiteY3078" fmla="*/ 274796 h 514350"/>
                <a:gd name="connsiteX3079" fmla="*/ 130969 w 6400800"/>
                <a:gd name="connsiteY3079" fmla="*/ 278606 h 514350"/>
                <a:gd name="connsiteX3080" fmla="*/ 122396 w 6400800"/>
                <a:gd name="connsiteY3080" fmla="*/ 270986 h 514350"/>
                <a:gd name="connsiteX3081" fmla="*/ 130016 w 6400800"/>
                <a:gd name="connsiteY3081" fmla="*/ 280511 h 514350"/>
                <a:gd name="connsiteX3082" fmla="*/ 123349 w 6400800"/>
                <a:gd name="connsiteY3082" fmla="*/ 293846 h 514350"/>
                <a:gd name="connsiteX3083" fmla="*/ 114776 w 6400800"/>
                <a:gd name="connsiteY3083" fmla="*/ 316706 h 514350"/>
                <a:gd name="connsiteX3084" fmla="*/ 112871 w 6400800"/>
                <a:gd name="connsiteY3084" fmla="*/ 321469 h 514350"/>
                <a:gd name="connsiteX3085" fmla="*/ 103346 w 6400800"/>
                <a:gd name="connsiteY3085" fmla="*/ 299561 h 514350"/>
                <a:gd name="connsiteX3086" fmla="*/ 86201 w 6400800"/>
                <a:gd name="connsiteY3086" fmla="*/ 262414 h 514350"/>
                <a:gd name="connsiteX3087" fmla="*/ 78581 w 6400800"/>
                <a:gd name="connsiteY3087" fmla="*/ 245269 h 514350"/>
                <a:gd name="connsiteX3088" fmla="*/ 70961 w 6400800"/>
                <a:gd name="connsiteY3088" fmla="*/ 230981 h 514350"/>
                <a:gd name="connsiteX3089" fmla="*/ 57626 w 6400800"/>
                <a:gd name="connsiteY3089" fmla="*/ 208121 h 514350"/>
                <a:gd name="connsiteX3090" fmla="*/ 46196 w 6400800"/>
                <a:gd name="connsiteY3090" fmla="*/ 188119 h 514350"/>
                <a:gd name="connsiteX3091" fmla="*/ 54769 w 6400800"/>
                <a:gd name="connsiteY3091" fmla="*/ 210026 h 514350"/>
                <a:gd name="connsiteX3092" fmla="*/ 64294 w 6400800"/>
                <a:gd name="connsiteY3092" fmla="*/ 234791 h 514350"/>
                <a:gd name="connsiteX3093" fmla="*/ 70009 w 6400800"/>
                <a:gd name="connsiteY3093" fmla="*/ 250031 h 514350"/>
                <a:gd name="connsiteX3094" fmla="*/ 75724 w 6400800"/>
                <a:gd name="connsiteY3094" fmla="*/ 266224 h 514350"/>
                <a:gd name="connsiteX3095" fmla="*/ 85249 w 6400800"/>
                <a:gd name="connsiteY3095" fmla="*/ 292894 h 514350"/>
                <a:gd name="connsiteX3096" fmla="*/ 79534 w 6400800"/>
                <a:gd name="connsiteY3096" fmla="*/ 284321 h 514350"/>
                <a:gd name="connsiteX3097" fmla="*/ 68104 w 6400800"/>
                <a:gd name="connsiteY3097" fmla="*/ 268129 h 514350"/>
                <a:gd name="connsiteX3098" fmla="*/ 57626 w 6400800"/>
                <a:gd name="connsiteY3098" fmla="*/ 253841 h 514350"/>
                <a:gd name="connsiteX3099" fmla="*/ 64294 w 6400800"/>
                <a:gd name="connsiteY3099" fmla="*/ 270034 h 514350"/>
                <a:gd name="connsiteX3100" fmla="*/ 71914 w 6400800"/>
                <a:gd name="connsiteY3100" fmla="*/ 288131 h 514350"/>
                <a:gd name="connsiteX3101" fmla="*/ 83344 w 6400800"/>
                <a:gd name="connsiteY3101" fmla="*/ 311944 h 514350"/>
                <a:gd name="connsiteX3102" fmla="*/ 90964 w 6400800"/>
                <a:gd name="connsiteY3102" fmla="*/ 330994 h 514350"/>
                <a:gd name="connsiteX3103" fmla="*/ 87154 w 6400800"/>
                <a:gd name="connsiteY3103" fmla="*/ 339566 h 514350"/>
                <a:gd name="connsiteX3104" fmla="*/ 81439 w 6400800"/>
                <a:gd name="connsiteY3104" fmla="*/ 352901 h 514350"/>
                <a:gd name="connsiteX3105" fmla="*/ 78581 w 6400800"/>
                <a:gd name="connsiteY3105" fmla="*/ 339566 h 514350"/>
                <a:gd name="connsiteX3106" fmla="*/ 70009 w 6400800"/>
                <a:gd name="connsiteY3106" fmla="*/ 301466 h 514350"/>
                <a:gd name="connsiteX3107" fmla="*/ 61436 w 6400800"/>
                <a:gd name="connsiteY3107" fmla="*/ 269081 h 514350"/>
                <a:gd name="connsiteX3108" fmla="*/ 53816 w 6400800"/>
                <a:gd name="connsiteY3108" fmla="*/ 244316 h 514350"/>
                <a:gd name="connsiteX3109" fmla="*/ 46196 w 6400800"/>
                <a:gd name="connsiteY3109" fmla="*/ 223361 h 514350"/>
                <a:gd name="connsiteX3110" fmla="*/ 50006 w 6400800"/>
                <a:gd name="connsiteY3110" fmla="*/ 245269 h 514350"/>
                <a:gd name="connsiteX3111" fmla="*/ 53816 w 6400800"/>
                <a:gd name="connsiteY3111" fmla="*/ 270034 h 514350"/>
                <a:gd name="connsiteX3112" fmla="*/ 58579 w 6400800"/>
                <a:gd name="connsiteY3112" fmla="*/ 302419 h 514350"/>
                <a:gd name="connsiteX3113" fmla="*/ 64294 w 6400800"/>
                <a:gd name="connsiteY3113" fmla="*/ 340519 h 514350"/>
                <a:gd name="connsiteX3114" fmla="*/ 69056 w 6400800"/>
                <a:gd name="connsiteY3114" fmla="*/ 381476 h 514350"/>
                <a:gd name="connsiteX3115" fmla="*/ 67151 w 6400800"/>
                <a:gd name="connsiteY3115" fmla="*/ 385286 h 514350"/>
                <a:gd name="connsiteX3116" fmla="*/ 60484 w 6400800"/>
                <a:gd name="connsiteY3116" fmla="*/ 405289 h 514350"/>
                <a:gd name="connsiteX3117" fmla="*/ 59531 w 6400800"/>
                <a:gd name="connsiteY3117" fmla="*/ 407194 h 514350"/>
                <a:gd name="connsiteX3118" fmla="*/ 56674 w 6400800"/>
                <a:gd name="connsiteY3118" fmla="*/ 407194 h 514350"/>
                <a:gd name="connsiteX3119" fmla="*/ 54769 w 6400800"/>
                <a:gd name="connsiteY3119" fmla="*/ 399574 h 514350"/>
                <a:gd name="connsiteX3120" fmla="*/ 46196 w 6400800"/>
                <a:gd name="connsiteY3120" fmla="*/ 364331 h 514350"/>
                <a:gd name="connsiteX3121" fmla="*/ 37624 w 6400800"/>
                <a:gd name="connsiteY3121" fmla="*/ 332899 h 514350"/>
                <a:gd name="connsiteX3122" fmla="*/ 21431 w 6400800"/>
                <a:gd name="connsiteY3122" fmla="*/ 287179 h 514350"/>
                <a:gd name="connsiteX3123" fmla="*/ 13811 w 6400800"/>
                <a:gd name="connsiteY3123" fmla="*/ 270034 h 514350"/>
                <a:gd name="connsiteX3124" fmla="*/ 17621 w 6400800"/>
                <a:gd name="connsiteY3124" fmla="*/ 288131 h 514350"/>
                <a:gd name="connsiteX3125" fmla="*/ 21431 w 6400800"/>
                <a:gd name="connsiteY3125" fmla="*/ 309086 h 514350"/>
                <a:gd name="connsiteX3126" fmla="*/ 26194 w 6400800"/>
                <a:gd name="connsiteY3126" fmla="*/ 335756 h 514350"/>
                <a:gd name="connsiteX3127" fmla="*/ 31909 w 6400800"/>
                <a:gd name="connsiteY3127" fmla="*/ 367189 h 514350"/>
                <a:gd name="connsiteX3128" fmla="*/ 39529 w 6400800"/>
                <a:gd name="connsiteY3128" fmla="*/ 402431 h 514350"/>
                <a:gd name="connsiteX3129" fmla="*/ 39529 w 6400800"/>
                <a:gd name="connsiteY3129" fmla="*/ 404336 h 514350"/>
                <a:gd name="connsiteX3130" fmla="*/ 7144 w 6400800"/>
                <a:gd name="connsiteY3130" fmla="*/ 399574 h 514350"/>
                <a:gd name="connsiteX3131" fmla="*/ 7144 w 6400800"/>
                <a:gd name="connsiteY3131" fmla="*/ 511016 h 514350"/>
                <a:gd name="connsiteX3132" fmla="*/ 6277451 w 6400800"/>
                <a:gd name="connsiteY3132" fmla="*/ 364331 h 514350"/>
                <a:gd name="connsiteX3133" fmla="*/ 6279356 w 6400800"/>
                <a:gd name="connsiteY3133" fmla="*/ 357664 h 514350"/>
                <a:gd name="connsiteX3134" fmla="*/ 6279356 w 6400800"/>
                <a:gd name="connsiteY3134" fmla="*/ 361474 h 514350"/>
                <a:gd name="connsiteX3135" fmla="*/ 6277451 w 6400800"/>
                <a:gd name="connsiteY3135" fmla="*/ 399574 h 514350"/>
                <a:gd name="connsiteX3136" fmla="*/ 6267926 w 6400800"/>
                <a:gd name="connsiteY3136" fmla="*/ 430054 h 514350"/>
                <a:gd name="connsiteX3137" fmla="*/ 6266021 w 6400800"/>
                <a:gd name="connsiteY3137" fmla="*/ 430054 h 514350"/>
                <a:gd name="connsiteX3138" fmla="*/ 6260306 w 6400800"/>
                <a:gd name="connsiteY3138" fmla="*/ 421481 h 514350"/>
                <a:gd name="connsiteX3139" fmla="*/ 6277451 w 6400800"/>
                <a:gd name="connsiteY3139" fmla="*/ 364331 h 514350"/>
                <a:gd name="connsiteX3140" fmla="*/ 6211729 w 6400800"/>
                <a:gd name="connsiteY3140" fmla="*/ 425291 h 514350"/>
                <a:gd name="connsiteX3141" fmla="*/ 6212681 w 6400800"/>
                <a:gd name="connsiteY3141" fmla="*/ 398621 h 514350"/>
                <a:gd name="connsiteX3142" fmla="*/ 6213634 w 6400800"/>
                <a:gd name="connsiteY3142" fmla="*/ 390049 h 514350"/>
                <a:gd name="connsiteX3143" fmla="*/ 6216492 w 6400800"/>
                <a:gd name="connsiteY3143" fmla="*/ 393859 h 514350"/>
                <a:gd name="connsiteX3144" fmla="*/ 6227921 w 6400800"/>
                <a:gd name="connsiteY3144" fmla="*/ 408146 h 514350"/>
                <a:gd name="connsiteX3145" fmla="*/ 6225064 w 6400800"/>
                <a:gd name="connsiteY3145" fmla="*/ 412909 h 514350"/>
                <a:gd name="connsiteX3146" fmla="*/ 6221254 w 6400800"/>
                <a:gd name="connsiteY3146" fmla="*/ 420529 h 514350"/>
                <a:gd name="connsiteX3147" fmla="*/ 6218396 w 6400800"/>
                <a:gd name="connsiteY3147" fmla="*/ 429101 h 514350"/>
                <a:gd name="connsiteX3148" fmla="*/ 6217444 w 6400800"/>
                <a:gd name="connsiteY3148" fmla="*/ 431006 h 514350"/>
                <a:gd name="connsiteX3149" fmla="*/ 6217444 w 6400800"/>
                <a:gd name="connsiteY3149" fmla="*/ 429101 h 514350"/>
                <a:gd name="connsiteX3150" fmla="*/ 6215539 w 6400800"/>
                <a:gd name="connsiteY3150" fmla="*/ 413861 h 514350"/>
                <a:gd name="connsiteX3151" fmla="*/ 6213634 w 6400800"/>
                <a:gd name="connsiteY3151" fmla="*/ 429101 h 514350"/>
                <a:gd name="connsiteX3152" fmla="*/ 6211729 w 6400800"/>
                <a:gd name="connsiteY3152" fmla="*/ 441484 h 514350"/>
                <a:gd name="connsiteX3153" fmla="*/ 6211729 w 6400800"/>
                <a:gd name="connsiteY3153" fmla="*/ 425291 h 514350"/>
                <a:gd name="connsiteX3154" fmla="*/ 6183154 w 6400800"/>
                <a:gd name="connsiteY3154" fmla="*/ 343376 h 514350"/>
                <a:gd name="connsiteX3155" fmla="*/ 6187917 w 6400800"/>
                <a:gd name="connsiteY3155" fmla="*/ 350996 h 514350"/>
                <a:gd name="connsiteX3156" fmla="*/ 6191726 w 6400800"/>
                <a:gd name="connsiteY3156" fmla="*/ 356711 h 514350"/>
                <a:gd name="connsiteX3157" fmla="*/ 6183154 w 6400800"/>
                <a:gd name="connsiteY3157" fmla="*/ 388144 h 514350"/>
                <a:gd name="connsiteX3158" fmla="*/ 6182201 w 6400800"/>
                <a:gd name="connsiteY3158" fmla="*/ 391954 h 514350"/>
                <a:gd name="connsiteX3159" fmla="*/ 6181249 w 6400800"/>
                <a:gd name="connsiteY3159" fmla="*/ 375761 h 514350"/>
                <a:gd name="connsiteX3160" fmla="*/ 6181249 w 6400800"/>
                <a:gd name="connsiteY3160" fmla="*/ 372904 h 514350"/>
                <a:gd name="connsiteX3161" fmla="*/ 6183154 w 6400800"/>
                <a:gd name="connsiteY3161" fmla="*/ 343376 h 514350"/>
                <a:gd name="connsiteX3162" fmla="*/ 6144101 w 6400800"/>
                <a:gd name="connsiteY3162" fmla="*/ 308134 h 514350"/>
                <a:gd name="connsiteX3163" fmla="*/ 6147912 w 6400800"/>
                <a:gd name="connsiteY3163" fmla="*/ 276701 h 514350"/>
                <a:gd name="connsiteX3164" fmla="*/ 6153626 w 6400800"/>
                <a:gd name="connsiteY3164" fmla="*/ 289084 h 514350"/>
                <a:gd name="connsiteX3165" fmla="*/ 6161246 w 6400800"/>
                <a:gd name="connsiteY3165" fmla="*/ 305276 h 514350"/>
                <a:gd name="connsiteX3166" fmla="*/ 6157437 w 6400800"/>
                <a:gd name="connsiteY3166" fmla="*/ 319564 h 514350"/>
                <a:gd name="connsiteX3167" fmla="*/ 6152674 w 6400800"/>
                <a:gd name="connsiteY3167" fmla="*/ 342424 h 514350"/>
                <a:gd name="connsiteX3168" fmla="*/ 6150769 w 6400800"/>
                <a:gd name="connsiteY3168" fmla="*/ 356711 h 514350"/>
                <a:gd name="connsiteX3169" fmla="*/ 6149817 w 6400800"/>
                <a:gd name="connsiteY3169" fmla="*/ 360521 h 514350"/>
                <a:gd name="connsiteX3170" fmla="*/ 6148864 w 6400800"/>
                <a:gd name="connsiteY3170" fmla="*/ 365284 h 514350"/>
                <a:gd name="connsiteX3171" fmla="*/ 6146006 w 6400800"/>
                <a:gd name="connsiteY3171" fmla="*/ 360521 h 514350"/>
                <a:gd name="connsiteX3172" fmla="*/ 6147912 w 6400800"/>
                <a:gd name="connsiteY3172" fmla="*/ 368141 h 514350"/>
                <a:gd name="connsiteX3173" fmla="*/ 6145054 w 6400800"/>
                <a:gd name="connsiteY3173" fmla="*/ 389096 h 514350"/>
                <a:gd name="connsiteX3174" fmla="*/ 6144101 w 6400800"/>
                <a:gd name="connsiteY3174" fmla="*/ 386239 h 514350"/>
                <a:gd name="connsiteX3175" fmla="*/ 6143149 w 6400800"/>
                <a:gd name="connsiteY3175" fmla="*/ 384334 h 514350"/>
                <a:gd name="connsiteX3176" fmla="*/ 6142196 w 6400800"/>
                <a:gd name="connsiteY3176" fmla="*/ 369094 h 514350"/>
                <a:gd name="connsiteX3177" fmla="*/ 6139339 w 6400800"/>
                <a:gd name="connsiteY3177" fmla="*/ 343376 h 514350"/>
                <a:gd name="connsiteX3178" fmla="*/ 6144101 w 6400800"/>
                <a:gd name="connsiteY3178" fmla="*/ 308134 h 514350"/>
                <a:gd name="connsiteX3179" fmla="*/ 6095524 w 6400800"/>
                <a:gd name="connsiteY3179" fmla="*/ 384334 h 514350"/>
                <a:gd name="connsiteX3180" fmla="*/ 6088856 w 6400800"/>
                <a:gd name="connsiteY3180" fmla="*/ 412909 h 514350"/>
                <a:gd name="connsiteX3181" fmla="*/ 6083142 w 6400800"/>
                <a:gd name="connsiteY3181" fmla="*/ 435769 h 514350"/>
                <a:gd name="connsiteX3182" fmla="*/ 6076474 w 6400800"/>
                <a:gd name="connsiteY3182" fmla="*/ 411956 h 514350"/>
                <a:gd name="connsiteX3183" fmla="*/ 6079331 w 6400800"/>
                <a:gd name="connsiteY3183" fmla="*/ 391001 h 514350"/>
                <a:gd name="connsiteX3184" fmla="*/ 6084094 w 6400800"/>
                <a:gd name="connsiteY3184" fmla="*/ 368141 h 514350"/>
                <a:gd name="connsiteX3185" fmla="*/ 6088856 w 6400800"/>
                <a:gd name="connsiteY3185" fmla="*/ 347186 h 514350"/>
                <a:gd name="connsiteX3186" fmla="*/ 6091714 w 6400800"/>
                <a:gd name="connsiteY3186" fmla="*/ 348139 h 514350"/>
                <a:gd name="connsiteX3187" fmla="*/ 6095524 w 6400800"/>
                <a:gd name="connsiteY3187" fmla="*/ 350996 h 514350"/>
                <a:gd name="connsiteX3188" fmla="*/ 6100287 w 6400800"/>
                <a:gd name="connsiteY3188" fmla="*/ 359569 h 514350"/>
                <a:gd name="connsiteX3189" fmla="*/ 6095524 w 6400800"/>
                <a:gd name="connsiteY3189" fmla="*/ 384334 h 514350"/>
                <a:gd name="connsiteX3190" fmla="*/ 6102192 w 6400800"/>
                <a:gd name="connsiteY3190" fmla="*/ 206216 h 514350"/>
                <a:gd name="connsiteX3191" fmla="*/ 6101239 w 6400800"/>
                <a:gd name="connsiteY3191" fmla="*/ 235744 h 514350"/>
                <a:gd name="connsiteX3192" fmla="*/ 6101239 w 6400800"/>
                <a:gd name="connsiteY3192" fmla="*/ 241459 h 514350"/>
                <a:gd name="connsiteX3193" fmla="*/ 6101239 w 6400800"/>
                <a:gd name="connsiteY3193" fmla="*/ 242411 h 514350"/>
                <a:gd name="connsiteX3194" fmla="*/ 6101239 w 6400800"/>
                <a:gd name="connsiteY3194" fmla="*/ 242411 h 514350"/>
                <a:gd name="connsiteX3195" fmla="*/ 6100287 w 6400800"/>
                <a:gd name="connsiteY3195" fmla="*/ 239554 h 514350"/>
                <a:gd name="connsiteX3196" fmla="*/ 6097429 w 6400800"/>
                <a:gd name="connsiteY3196" fmla="*/ 230981 h 514350"/>
                <a:gd name="connsiteX3197" fmla="*/ 6102192 w 6400800"/>
                <a:gd name="connsiteY3197" fmla="*/ 206216 h 514350"/>
                <a:gd name="connsiteX3198" fmla="*/ 6100287 w 6400800"/>
                <a:gd name="connsiteY3198" fmla="*/ 284321 h 514350"/>
                <a:gd name="connsiteX3199" fmla="*/ 6098381 w 6400800"/>
                <a:gd name="connsiteY3199" fmla="*/ 279559 h 514350"/>
                <a:gd name="connsiteX3200" fmla="*/ 6099334 w 6400800"/>
                <a:gd name="connsiteY3200" fmla="*/ 277654 h 514350"/>
                <a:gd name="connsiteX3201" fmla="*/ 6100287 w 6400800"/>
                <a:gd name="connsiteY3201" fmla="*/ 284321 h 514350"/>
                <a:gd name="connsiteX3202" fmla="*/ 6093619 w 6400800"/>
                <a:gd name="connsiteY3202" fmla="*/ 247174 h 514350"/>
                <a:gd name="connsiteX3203" fmla="*/ 6095524 w 6400800"/>
                <a:gd name="connsiteY3203" fmla="*/ 255746 h 514350"/>
                <a:gd name="connsiteX3204" fmla="*/ 6091714 w 6400800"/>
                <a:gd name="connsiteY3204" fmla="*/ 264319 h 514350"/>
                <a:gd name="connsiteX3205" fmla="*/ 6090762 w 6400800"/>
                <a:gd name="connsiteY3205" fmla="*/ 262414 h 514350"/>
                <a:gd name="connsiteX3206" fmla="*/ 6093619 w 6400800"/>
                <a:gd name="connsiteY3206" fmla="*/ 247174 h 514350"/>
                <a:gd name="connsiteX3207" fmla="*/ 6088856 w 6400800"/>
                <a:gd name="connsiteY3207" fmla="*/ 269081 h 514350"/>
                <a:gd name="connsiteX3208" fmla="*/ 6088856 w 6400800"/>
                <a:gd name="connsiteY3208" fmla="*/ 270034 h 514350"/>
                <a:gd name="connsiteX3209" fmla="*/ 6088856 w 6400800"/>
                <a:gd name="connsiteY3209" fmla="*/ 270034 h 514350"/>
                <a:gd name="connsiteX3210" fmla="*/ 6087904 w 6400800"/>
                <a:gd name="connsiteY3210" fmla="*/ 272891 h 514350"/>
                <a:gd name="connsiteX3211" fmla="*/ 6088856 w 6400800"/>
                <a:gd name="connsiteY3211" fmla="*/ 269081 h 514350"/>
                <a:gd name="connsiteX3212" fmla="*/ 6067901 w 6400800"/>
                <a:gd name="connsiteY3212" fmla="*/ 369094 h 514350"/>
                <a:gd name="connsiteX3213" fmla="*/ 6080284 w 6400800"/>
                <a:gd name="connsiteY3213" fmla="*/ 339566 h 514350"/>
                <a:gd name="connsiteX3214" fmla="*/ 6085046 w 6400800"/>
                <a:gd name="connsiteY3214" fmla="*/ 326231 h 514350"/>
                <a:gd name="connsiteX3215" fmla="*/ 6088856 w 6400800"/>
                <a:gd name="connsiteY3215" fmla="*/ 313849 h 514350"/>
                <a:gd name="connsiteX3216" fmla="*/ 6093619 w 6400800"/>
                <a:gd name="connsiteY3216" fmla="*/ 293846 h 514350"/>
                <a:gd name="connsiteX3217" fmla="*/ 6093619 w 6400800"/>
                <a:gd name="connsiteY3217" fmla="*/ 293846 h 514350"/>
                <a:gd name="connsiteX3218" fmla="*/ 6096476 w 6400800"/>
                <a:gd name="connsiteY3218" fmla="*/ 310991 h 514350"/>
                <a:gd name="connsiteX3219" fmla="*/ 6100287 w 6400800"/>
                <a:gd name="connsiteY3219" fmla="*/ 339566 h 514350"/>
                <a:gd name="connsiteX3220" fmla="*/ 6101239 w 6400800"/>
                <a:gd name="connsiteY3220" fmla="*/ 355759 h 514350"/>
                <a:gd name="connsiteX3221" fmla="*/ 6101239 w 6400800"/>
                <a:gd name="connsiteY3221" fmla="*/ 355759 h 514350"/>
                <a:gd name="connsiteX3222" fmla="*/ 6100287 w 6400800"/>
                <a:gd name="connsiteY3222" fmla="*/ 359569 h 514350"/>
                <a:gd name="connsiteX3223" fmla="*/ 6097429 w 6400800"/>
                <a:gd name="connsiteY3223" fmla="*/ 350044 h 514350"/>
                <a:gd name="connsiteX3224" fmla="*/ 6093619 w 6400800"/>
                <a:gd name="connsiteY3224" fmla="*/ 345281 h 514350"/>
                <a:gd name="connsiteX3225" fmla="*/ 6087904 w 6400800"/>
                <a:gd name="connsiteY3225" fmla="*/ 342424 h 514350"/>
                <a:gd name="connsiteX3226" fmla="*/ 6085999 w 6400800"/>
                <a:gd name="connsiteY3226" fmla="*/ 341471 h 514350"/>
                <a:gd name="connsiteX3227" fmla="*/ 6085046 w 6400800"/>
                <a:gd name="connsiteY3227" fmla="*/ 343376 h 514350"/>
                <a:gd name="connsiteX3228" fmla="*/ 6076474 w 6400800"/>
                <a:gd name="connsiteY3228" fmla="*/ 365284 h 514350"/>
                <a:gd name="connsiteX3229" fmla="*/ 6069806 w 6400800"/>
                <a:gd name="connsiteY3229" fmla="*/ 384334 h 514350"/>
                <a:gd name="connsiteX3230" fmla="*/ 6065996 w 6400800"/>
                <a:gd name="connsiteY3230" fmla="*/ 372904 h 514350"/>
                <a:gd name="connsiteX3231" fmla="*/ 6067901 w 6400800"/>
                <a:gd name="connsiteY3231" fmla="*/ 369094 h 514350"/>
                <a:gd name="connsiteX3232" fmla="*/ 6035517 w 6400800"/>
                <a:gd name="connsiteY3232" fmla="*/ 310039 h 514350"/>
                <a:gd name="connsiteX3233" fmla="*/ 6035517 w 6400800"/>
                <a:gd name="connsiteY3233" fmla="*/ 308134 h 514350"/>
                <a:gd name="connsiteX3234" fmla="*/ 6040279 w 6400800"/>
                <a:gd name="connsiteY3234" fmla="*/ 324326 h 514350"/>
                <a:gd name="connsiteX3235" fmla="*/ 6044089 w 6400800"/>
                <a:gd name="connsiteY3235" fmla="*/ 338614 h 514350"/>
                <a:gd name="connsiteX3236" fmla="*/ 6038374 w 6400800"/>
                <a:gd name="connsiteY3236" fmla="*/ 355759 h 514350"/>
                <a:gd name="connsiteX3237" fmla="*/ 6033612 w 6400800"/>
                <a:gd name="connsiteY3237" fmla="*/ 330041 h 514350"/>
                <a:gd name="connsiteX3238" fmla="*/ 6035517 w 6400800"/>
                <a:gd name="connsiteY3238" fmla="*/ 310039 h 514350"/>
                <a:gd name="connsiteX3239" fmla="*/ 6012656 w 6400800"/>
                <a:gd name="connsiteY3239" fmla="*/ 361474 h 514350"/>
                <a:gd name="connsiteX3240" fmla="*/ 6012656 w 6400800"/>
                <a:gd name="connsiteY3240" fmla="*/ 363379 h 514350"/>
                <a:gd name="connsiteX3241" fmla="*/ 6012656 w 6400800"/>
                <a:gd name="connsiteY3241" fmla="*/ 359569 h 514350"/>
                <a:gd name="connsiteX3242" fmla="*/ 6012656 w 6400800"/>
                <a:gd name="connsiteY3242" fmla="*/ 361474 h 514350"/>
                <a:gd name="connsiteX3243" fmla="*/ 6007894 w 6400800"/>
                <a:gd name="connsiteY3243" fmla="*/ 351949 h 514350"/>
                <a:gd name="connsiteX3244" fmla="*/ 6007894 w 6400800"/>
                <a:gd name="connsiteY3244" fmla="*/ 352901 h 514350"/>
                <a:gd name="connsiteX3245" fmla="*/ 6007894 w 6400800"/>
                <a:gd name="connsiteY3245" fmla="*/ 351949 h 514350"/>
                <a:gd name="connsiteX3246" fmla="*/ 6007894 w 6400800"/>
                <a:gd name="connsiteY3246" fmla="*/ 351949 h 514350"/>
                <a:gd name="connsiteX3247" fmla="*/ 5976462 w 6400800"/>
                <a:gd name="connsiteY3247" fmla="*/ 410051 h 514350"/>
                <a:gd name="connsiteX3248" fmla="*/ 5973604 w 6400800"/>
                <a:gd name="connsiteY3248" fmla="*/ 402431 h 514350"/>
                <a:gd name="connsiteX3249" fmla="*/ 5972651 w 6400800"/>
                <a:gd name="connsiteY3249" fmla="*/ 398621 h 514350"/>
                <a:gd name="connsiteX3250" fmla="*/ 5971699 w 6400800"/>
                <a:gd name="connsiteY3250" fmla="*/ 391001 h 514350"/>
                <a:gd name="connsiteX3251" fmla="*/ 5973604 w 6400800"/>
                <a:gd name="connsiteY3251" fmla="*/ 386239 h 514350"/>
                <a:gd name="connsiteX3252" fmla="*/ 5977414 w 6400800"/>
                <a:gd name="connsiteY3252" fmla="*/ 374809 h 514350"/>
                <a:gd name="connsiteX3253" fmla="*/ 5976462 w 6400800"/>
                <a:gd name="connsiteY3253" fmla="*/ 410051 h 514350"/>
                <a:gd name="connsiteX3254" fmla="*/ 5976462 w 6400800"/>
                <a:gd name="connsiteY3254" fmla="*/ 239554 h 514350"/>
                <a:gd name="connsiteX3255" fmla="*/ 5978367 w 6400800"/>
                <a:gd name="connsiteY3255" fmla="*/ 250031 h 514350"/>
                <a:gd name="connsiteX3256" fmla="*/ 5979319 w 6400800"/>
                <a:gd name="connsiteY3256" fmla="*/ 256699 h 514350"/>
                <a:gd name="connsiteX3257" fmla="*/ 5974556 w 6400800"/>
                <a:gd name="connsiteY3257" fmla="*/ 248126 h 514350"/>
                <a:gd name="connsiteX3258" fmla="*/ 5976462 w 6400800"/>
                <a:gd name="connsiteY3258" fmla="*/ 239554 h 514350"/>
                <a:gd name="connsiteX3259" fmla="*/ 5965984 w 6400800"/>
                <a:gd name="connsiteY3259" fmla="*/ 291941 h 514350"/>
                <a:gd name="connsiteX3260" fmla="*/ 5966937 w 6400800"/>
                <a:gd name="connsiteY3260" fmla="*/ 286226 h 514350"/>
                <a:gd name="connsiteX3261" fmla="*/ 5967889 w 6400800"/>
                <a:gd name="connsiteY3261" fmla="*/ 282416 h 514350"/>
                <a:gd name="connsiteX3262" fmla="*/ 5970746 w 6400800"/>
                <a:gd name="connsiteY3262" fmla="*/ 269081 h 514350"/>
                <a:gd name="connsiteX3263" fmla="*/ 5983129 w 6400800"/>
                <a:gd name="connsiteY3263" fmla="*/ 298609 h 514350"/>
                <a:gd name="connsiteX3264" fmla="*/ 5980271 w 6400800"/>
                <a:gd name="connsiteY3264" fmla="*/ 330994 h 514350"/>
                <a:gd name="connsiteX3265" fmla="*/ 5979319 w 6400800"/>
                <a:gd name="connsiteY3265" fmla="*/ 331946 h 514350"/>
                <a:gd name="connsiteX3266" fmla="*/ 5976462 w 6400800"/>
                <a:gd name="connsiteY3266" fmla="*/ 328136 h 514350"/>
                <a:gd name="connsiteX3267" fmla="*/ 5979319 w 6400800"/>
                <a:gd name="connsiteY3267" fmla="*/ 332899 h 514350"/>
                <a:gd name="connsiteX3268" fmla="*/ 5972651 w 6400800"/>
                <a:gd name="connsiteY3268" fmla="*/ 346234 h 514350"/>
                <a:gd name="connsiteX3269" fmla="*/ 5967889 w 6400800"/>
                <a:gd name="connsiteY3269" fmla="*/ 355759 h 514350"/>
                <a:gd name="connsiteX3270" fmla="*/ 5967889 w 6400800"/>
                <a:gd name="connsiteY3270" fmla="*/ 355759 h 514350"/>
                <a:gd name="connsiteX3271" fmla="*/ 5966937 w 6400800"/>
                <a:gd name="connsiteY3271" fmla="*/ 351949 h 514350"/>
                <a:gd name="connsiteX3272" fmla="*/ 5965031 w 6400800"/>
                <a:gd name="connsiteY3272" fmla="*/ 333851 h 514350"/>
                <a:gd name="connsiteX3273" fmla="*/ 5963126 w 6400800"/>
                <a:gd name="connsiteY3273" fmla="*/ 299561 h 514350"/>
                <a:gd name="connsiteX3274" fmla="*/ 5965984 w 6400800"/>
                <a:gd name="connsiteY3274" fmla="*/ 291941 h 514350"/>
                <a:gd name="connsiteX3275" fmla="*/ 5952649 w 6400800"/>
                <a:gd name="connsiteY3275" fmla="*/ 385286 h 514350"/>
                <a:gd name="connsiteX3276" fmla="*/ 5952649 w 6400800"/>
                <a:gd name="connsiteY3276" fmla="*/ 385286 h 514350"/>
                <a:gd name="connsiteX3277" fmla="*/ 5952649 w 6400800"/>
                <a:gd name="connsiteY3277" fmla="*/ 385286 h 514350"/>
                <a:gd name="connsiteX3278" fmla="*/ 5952649 w 6400800"/>
                <a:gd name="connsiteY3278" fmla="*/ 385286 h 514350"/>
                <a:gd name="connsiteX3279" fmla="*/ 5934551 w 6400800"/>
                <a:gd name="connsiteY3279" fmla="*/ 339566 h 514350"/>
                <a:gd name="connsiteX3280" fmla="*/ 5933599 w 6400800"/>
                <a:gd name="connsiteY3280" fmla="*/ 332899 h 514350"/>
                <a:gd name="connsiteX3281" fmla="*/ 5933599 w 6400800"/>
                <a:gd name="connsiteY3281" fmla="*/ 330994 h 514350"/>
                <a:gd name="connsiteX3282" fmla="*/ 5935504 w 6400800"/>
                <a:gd name="connsiteY3282" fmla="*/ 336709 h 514350"/>
                <a:gd name="connsiteX3283" fmla="*/ 5934551 w 6400800"/>
                <a:gd name="connsiteY3283" fmla="*/ 339566 h 514350"/>
                <a:gd name="connsiteX3284" fmla="*/ 5948839 w 6400800"/>
                <a:gd name="connsiteY3284" fmla="*/ 371951 h 514350"/>
                <a:gd name="connsiteX3285" fmla="*/ 5945981 w 6400800"/>
                <a:gd name="connsiteY3285" fmla="*/ 382429 h 514350"/>
                <a:gd name="connsiteX3286" fmla="*/ 5943124 w 6400800"/>
                <a:gd name="connsiteY3286" fmla="*/ 392906 h 514350"/>
                <a:gd name="connsiteX3287" fmla="*/ 5943124 w 6400800"/>
                <a:gd name="connsiteY3287" fmla="*/ 378619 h 514350"/>
                <a:gd name="connsiteX3288" fmla="*/ 5943124 w 6400800"/>
                <a:gd name="connsiteY3288" fmla="*/ 378619 h 514350"/>
                <a:gd name="connsiteX3289" fmla="*/ 5946934 w 6400800"/>
                <a:gd name="connsiteY3289" fmla="*/ 365284 h 514350"/>
                <a:gd name="connsiteX3290" fmla="*/ 5948839 w 6400800"/>
                <a:gd name="connsiteY3290" fmla="*/ 371951 h 514350"/>
                <a:gd name="connsiteX3291" fmla="*/ 5930742 w 6400800"/>
                <a:gd name="connsiteY3291" fmla="*/ 234791 h 514350"/>
                <a:gd name="connsiteX3292" fmla="*/ 5938362 w 6400800"/>
                <a:gd name="connsiteY3292" fmla="*/ 269081 h 514350"/>
                <a:gd name="connsiteX3293" fmla="*/ 5945029 w 6400800"/>
                <a:gd name="connsiteY3293" fmla="*/ 307181 h 514350"/>
                <a:gd name="connsiteX3294" fmla="*/ 5940267 w 6400800"/>
                <a:gd name="connsiteY3294" fmla="*/ 323374 h 514350"/>
                <a:gd name="connsiteX3295" fmla="*/ 5940267 w 6400800"/>
                <a:gd name="connsiteY3295" fmla="*/ 324326 h 514350"/>
                <a:gd name="connsiteX3296" fmla="*/ 5931694 w 6400800"/>
                <a:gd name="connsiteY3296" fmla="*/ 307181 h 514350"/>
                <a:gd name="connsiteX3297" fmla="*/ 5928837 w 6400800"/>
                <a:gd name="connsiteY3297" fmla="*/ 284321 h 514350"/>
                <a:gd name="connsiteX3298" fmla="*/ 5926931 w 6400800"/>
                <a:gd name="connsiteY3298" fmla="*/ 266224 h 514350"/>
                <a:gd name="connsiteX3299" fmla="*/ 5929789 w 6400800"/>
                <a:gd name="connsiteY3299" fmla="*/ 259556 h 514350"/>
                <a:gd name="connsiteX3300" fmla="*/ 5926931 w 6400800"/>
                <a:gd name="connsiteY3300" fmla="*/ 264319 h 514350"/>
                <a:gd name="connsiteX3301" fmla="*/ 5925026 w 6400800"/>
                <a:gd name="connsiteY3301" fmla="*/ 245269 h 514350"/>
                <a:gd name="connsiteX3302" fmla="*/ 5926931 w 6400800"/>
                <a:gd name="connsiteY3302" fmla="*/ 233839 h 514350"/>
                <a:gd name="connsiteX3303" fmla="*/ 5928837 w 6400800"/>
                <a:gd name="connsiteY3303" fmla="*/ 226219 h 514350"/>
                <a:gd name="connsiteX3304" fmla="*/ 5930742 w 6400800"/>
                <a:gd name="connsiteY3304" fmla="*/ 234791 h 514350"/>
                <a:gd name="connsiteX3305" fmla="*/ 5923121 w 6400800"/>
                <a:gd name="connsiteY3305" fmla="*/ 209074 h 514350"/>
                <a:gd name="connsiteX3306" fmla="*/ 5926931 w 6400800"/>
                <a:gd name="connsiteY3306" fmla="*/ 222409 h 514350"/>
                <a:gd name="connsiteX3307" fmla="*/ 5922169 w 6400800"/>
                <a:gd name="connsiteY3307" fmla="*/ 232886 h 514350"/>
                <a:gd name="connsiteX3308" fmla="*/ 5919312 w 6400800"/>
                <a:gd name="connsiteY3308" fmla="*/ 206216 h 514350"/>
                <a:gd name="connsiteX3309" fmla="*/ 5918359 w 6400800"/>
                <a:gd name="connsiteY3309" fmla="*/ 193834 h 514350"/>
                <a:gd name="connsiteX3310" fmla="*/ 5923121 w 6400800"/>
                <a:gd name="connsiteY3310" fmla="*/ 209074 h 514350"/>
                <a:gd name="connsiteX3311" fmla="*/ 5901214 w 6400800"/>
                <a:gd name="connsiteY3311" fmla="*/ 244316 h 514350"/>
                <a:gd name="connsiteX3312" fmla="*/ 5901214 w 6400800"/>
                <a:gd name="connsiteY3312" fmla="*/ 258604 h 514350"/>
                <a:gd name="connsiteX3313" fmla="*/ 5902167 w 6400800"/>
                <a:gd name="connsiteY3313" fmla="*/ 278606 h 514350"/>
                <a:gd name="connsiteX3314" fmla="*/ 5904071 w 6400800"/>
                <a:gd name="connsiteY3314" fmla="*/ 302419 h 514350"/>
                <a:gd name="connsiteX3315" fmla="*/ 5900262 w 6400800"/>
                <a:gd name="connsiteY3315" fmla="*/ 310039 h 514350"/>
                <a:gd name="connsiteX3316" fmla="*/ 5895499 w 6400800"/>
                <a:gd name="connsiteY3316" fmla="*/ 284321 h 514350"/>
                <a:gd name="connsiteX3317" fmla="*/ 5901214 w 6400800"/>
                <a:gd name="connsiteY3317" fmla="*/ 244316 h 514350"/>
                <a:gd name="connsiteX3318" fmla="*/ 5903119 w 6400800"/>
                <a:gd name="connsiteY3318" fmla="*/ 324326 h 514350"/>
                <a:gd name="connsiteX3319" fmla="*/ 5903119 w 6400800"/>
                <a:gd name="connsiteY3319" fmla="*/ 328136 h 514350"/>
                <a:gd name="connsiteX3320" fmla="*/ 5902167 w 6400800"/>
                <a:gd name="connsiteY3320" fmla="*/ 325279 h 514350"/>
                <a:gd name="connsiteX3321" fmla="*/ 5903119 w 6400800"/>
                <a:gd name="connsiteY3321" fmla="*/ 324326 h 514350"/>
                <a:gd name="connsiteX3322" fmla="*/ 5892642 w 6400800"/>
                <a:gd name="connsiteY3322" fmla="*/ 348139 h 514350"/>
                <a:gd name="connsiteX3323" fmla="*/ 5893594 w 6400800"/>
                <a:gd name="connsiteY3323" fmla="*/ 352901 h 514350"/>
                <a:gd name="connsiteX3324" fmla="*/ 5893594 w 6400800"/>
                <a:gd name="connsiteY3324" fmla="*/ 355759 h 514350"/>
                <a:gd name="connsiteX3325" fmla="*/ 5891689 w 6400800"/>
                <a:gd name="connsiteY3325" fmla="*/ 350996 h 514350"/>
                <a:gd name="connsiteX3326" fmla="*/ 5892642 w 6400800"/>
                <a:gd name="connsiteY3326" fmla="*/ 348139 h 514350"/>
                <a:gd name="connsiteX3327" fmla="*/ 5893594 w 6400800"/>
                <a:gd name="connsiteY3327" fmla="*/ 373856 h 514350"/>
                <a:gd name="connsiteX3328" fmla="*/ 5898356 w 6400800"/>
                <a:gd name="connsiteY3328" fmla="*/ 391954 h 514350"/>
                <a:gd name="connsiteX3329" fmla="*/ 5902167 w 6400800"/>
                <a:gd name="connsiteY3329" fmla="*/ 408146 h 514350"/>
                <a:gd name="connsiteX3330" fmla="*/ 5904071 w 6400800"/>
                <a:gd name="connsiteY3330" fmla="*/ 417671 h 514350"/>
                <a:gd name="connsiteX3331" fmla="*/ 5904071 w 6400800"/>
                <a:gd name="connsiteY3331" fmla="*/ 417671 h 514350"/>
                <a:gd name="connsiteX3332" fmla="*/ 5890737 w 6400800"/>
                <a:gd name="connsiteY3332" fmla="*/ 387191 h 514350"/>
                <a:gd name="connsiteX3333" fmla="*/ 5888831 w 6400800"/>
                <a:gd name="connsiteY3333" fmla="*/ 383381 h 514350"/>
                <a:gd name="connsiteX3334" fmla="*/ 5887879 w 6400800"/>
                <a:gd name="connsiteY3334" fmla="*/ 357664 h 514350"/>
                <a:gd name="connsiteX3335" fmla="*/ 5888831 w 6400800"/>
                <a:gd name="connsiteY3335" fmla="*/ 356711 h 514350"/>
                <a:gd name="connsiteX3336" fmla="*/ 5893594 w 6400800"/>
                <a:gd name="connsiteY3336" fmla="*/ 373856 h 514350"/>
                <a:gd name="connsiteX3337" fmla="*/ 5886926 w 6400800"/>
                <a:gd name="connsiteY3337" fmla="*/ 321469 h 514350"/>
                <a:gd name="connsiteX3338" fmla="*/ 5888831 w 6400800"/>
                <a:gd name="connsiteY3338" fmla="*/ 311944 h 514350"/>
                <a:gd name="connsiteX3339" fmla="*/ 5888831 w 6400800"/>
                <a:gd name="connsiteY3339" fmla="*/ 314801 h 514350"/>
                <a:gd name="connsiteX3340" fmla="*/ 5889784 w 6400800"/>
                <a:gd name="connsiteY3340" fmla="*/ 326231 h 514350"/>
                <a:gd name="connsiteX3341" fmla="*/ 5885974 w 6400800"/>
                <a:gd name="connsiteY3341" fmla="*/ 332899 h 514350"/>
                <a:gd name="connsiteX3342" fmla="*/ 5885974 w 6400800"/>
                <a:gd name="connsiteY3342" fmla="*/ 325279 h 514350"/>
                <a:gd name="connsiteX3343" fmla="*/ 5886926 w 6400800"/>
                <a:gd name="connsiteY3343" fmla="*/ 321469 h 514350"/>
                <a:gd name="connsiteX3344" fmla="*/ 5858351 w 6400800"/>
                <a:gd name="connsiteY3344" fmla="*/ 279559 h 514350"/>
                <a:gd name="connsiteX3345" fmla="*/ 5858351 w 6400800"/>
                <a:gd name="connsiteY3345" fmla="*/ 284321 h 514350"/>
                <a:gd name="connsiteX3346" fmla="*/ 5858351 w 6400800"/>
                <a:gd name="connsiteY3346" fmla="*/ 285274 h 514350"/>
                <a:gd name="connsiteX3347" fmla="*/ 5857399 w 6400800"/>
                <a:gd name="connsiteY3347" fmla="*/ 281464 h 514350"/>
                <a:gd name="connsiteX3348" fmla="*/ 5858351 w 6400800"/>
                <a:gd name="connsiteY3348" fmla="*/ 279559 h 514350"/>
                <a:gd name="connsiteX3349" fmla="*/ 5841206 w 6400800"/>
                <a:gd name="connsiteY3349" fmla="*/ 264319 h 514350"/>
                <a:gd name="connsiteX3350" fmla="*/ 5840254 w 6400800"/>
                <a:gd name="connsiteY3350" fmla="*/ 270034 h 514350"/>
                <a:gd name="connsiteX3351" fmla="*/ 5839301 w 6400800"/>
                <a:gd name="connsiteY3351" fmla="*/ 277654 h 514350"/>
                <a:gd name="connsiteX3352" fmla="*/ 5838349 w 6400800"/>
                <a:gd name="connsiteY3352" fmla="*/ 271939 h 514350"/>
                <a:gd name="connsiteX3353" fmla="*/ 5841206 w 6400800"/>
                <a:gd name="connsiteY3353" fmla="*/ 264319 h 514350"/>
                <a:gd name="connsiteX3354" fmla="*/ 5828824 w 6400800"/>
                <a:gd name="connsiteY3354" fmla="*/ 305276 h 514350"/>
                <a:gd name="connsiteX3355" fmla="*/ 5826919 w 6400800"/>
                <a:gd name="connsiteY3355" fmla="*/ 308134 h 514350"/>
                <a:gd name="connsiteX3356" fmla="*/ 5826919 w 6400800"/>
                <a:gd name="connsiteY3356" fmla="*/ 306229 h 514350"/>
                <a:gd name="connsiteX3357" fmla="*/ 5829776 w 6400800"/>
                <a:gd name="connsiteY3357" fmla="*/ 299561 h 514350"/>
                <a:gd name="connsiteX3358" fmla="*/ 5828824 w 6400800"/>
                <a:gd name="connsiteY3358" fmla="*/ 305276 h 514350"/>
                <a:gd name="connsiteX3359" fmla="*/ 5823109 w 6400800"/>
                <a:gd name="connsiteY3359" fmla="*/ 259556 h 514350"/>
                <a:gd name="connsiteX3360" fmla="*/ 5827871 w 6400800"/>
                <a:gd name="connsiteY3360" fmla="*/ 270986 h 514350"/>
                <a:gd name="connsiteX3361" fmla="*/ 5828824 w 6400800"/>
                <a:gd name="connsiteY3361" fmla="*/ 273844 h 514350"/>
                <a:gd name="connsiteX3362" fmla="*/ 5828824 w 6400800"/>
                <a:gd name="connsiteY3362" fmla="*/ 286226 h 514350"/>
                <a:gd name="connsiteX3363" fmla="*/ 5824062 w 6400800"/>
                <a:gd name="connsiteY3363" fmla="*/ 295751 h 514350"/>
                <a:gd name="connsiteX3364" fmla="*/ 5824062 w 6400800"/>
                <a:gd name="connsiteY3364" fmla="*/ 294799 h 514350"/>
                <a:gd name="connsiteX3365" fmla="*/ 5823109 w 6400800"/>
                <a:gd name="connsiteY3365" fmla="*/ 267176 h 514350"/>
                <a:gd name="connsiteX3366" fmla="*/ 5823109 w 6400800"/>
                <a:gd name="connsiteY3366" fmla="*/ 259556 h 514350"/>
                <a:gd name="connsiteX3367" fmla="*/ 5813584 w 6400800"/>
                <a:gd name="connsiteY3367" fmla="*/ 252889 h 514350"/>
                <a:gd name="connsiteX3368" fmla="*/ 5812631 w 6400800"/>
                <a:gd name="connsiteY3368" fmla="*/ 258604 h 514350"/>
                <a:gd name="connsiteX3369" fmla="*/ 5811679 w 6400800"/>
                <a:gd name="connsiteY3369" fmla="*/ 255746 h 514350"/>
                <a:gd name="connsiteX3370" fmla="*/ 5811679 w 6400800"/>
                <a:gd name="connsiteY3370" fmla="*/ 262414 h 514350"/>
                <a:gd name="connsiteX3371" fmla="*/ 5810726 w 6400800"/>
                <a:gd name="connsiteY3371" fmla="*/ 267176 h 514350"/>
                <a:gd name="connsiteX3372" fmla="*/ 5808821 w 6400800"/>
                <a:gd name="connsiteY3372" fmla="*/ 294799 h 514350"/>
                <a:gd name="connsiteX3373" fmla="*/ 5808821 w 6400800"/>
                <a:gd name="connsiteY3373" fmla="*/ 304324 h 514350"/>
                <a:gd name="connsiteX3374" fmla="*/ 5807869 w 6400800"/>
                <a:gd name="connsiteY3374" fmla="*/ 300514 h 514350"/>
                <a:gd name="connsiteX3375" fmla="*/ 5806917 w 6400800"/>
                <a:gd name="connsiteY3375" fmla="*/ 264319 h 514350"/>
                <a:gd name="connsiteX3376" fmla="*/ 5806917 w 6400800"/>
                <a:gd name="connsiteY3376" fmla="*/ 262414 h 514350"/>
                <a:gd name="connsiteX3377" fmla="*/ 5813584 w 6400800"/>
                <a:gd name="connsiteY3377" fmla="*/ 252889 h 514350"/>
                <a:gd name="connsiteX3378" fmla="*/ 5804059 w 6400800"/>
                <a:gd name="connsiteY3378" fmla="*/ 268129 h 514350"/>
                <a:gd name="connsiteX3379" fmla="*/ 5804059 w 6400800"/>
                <a:gd name="connsiteY3379" fmla="*/ 269081 h 514350"/>
                <a:gd name="connsiteX3380" fmla="*/ 5804059 w 6400800"/>
                <a:gd name="connsiteY3380" fmla="*/ 268129 h 514350"/>
                <a:gd name="connsiteX3381" fmla="*/ 5804059 w 6400800"/>
                <a:gd name="connsiteY3381" fmla="*/ 268129 h 514350"/>
                <a:gd name="connsiteX3382" fmla="*/ 5799296 w 6400800"/>
                <a:gd name="connsiteY3382" fmla="*/ 164306 h 514350"/>
                <a:gd name="connsiteX3383" fmla="*/ 5802154 w 6400800"/>
                <a:gd name="connsiteY3383" fmla="*/ 166211 h 514350"/>
                <a:gd name="connsiteX3384" fmla="*/ 5796439 w 6400800"/>
                <a:gd name="connsiteY3384" fmla="*/ 176689 h 514350"/>
                <a:gd name="connsiteX3385" fmla="*/ 5796439 w 6400800"/>
                <a:gd name="connsiteY3385" fmla="*/ 163354 h 514350"/>
                <a:gd name="connsiteX3386" fmla="*/ 5799296 w 6400800"/>
                <a:gd name="connsiteY3386" fmla="*/ 164306 h 514350"/>
                <a:gd name="connsiteX3387" fmla="*/ 5770721 w 6400800"/>
                <a:gd name="connsiteY3387" fmla="*/ 386239 h 514350"/>
                <a:gd name="connsiteX3388" fmla="*/ 5770721 w 6400800"/>
                <a:gd name="connsiteY3388" fmla="*/ 383381 h 514350"/>
                <a:gd name="connsiteX3389" fmla="*/ 5770721 w 6400800"/>
                <a:gd name="connsiteY3389" fmla="*/ 382429 h 514350"/>
                <a:gd name="connsiteX3390" fmla="*/ 5771674 w 6400800"/>
                <a:gd name="connsiteY3390" fmla="*/ 387191 h 514350"/>
                <a:gd name="connsiteX3391" fmla="*/ 5770721 w 6400800"/>
                <a:gd name="connsiteY3391" fmla="*/ 386239 h 514350"/>
                <a:gd name="connsiteX3392" fmla="*/ 5782151 w 6400800"/>
                <a:gd name="connsiteY3392" fmla="*/ 253841 h 514350"/>
                <a:gd name="connsiteX3393" fmla="*/ 5780246 w 6400800"/>
                <a:gd name="connsiteY3393" fmla="*/ 258604 h 514350"/>
                <a:gd name="connsiteX3394" fmla="*/ 5777389 w 6400800"/>
                <a:gd name="connsiteY3394" fmla="*/ 267176 h 514350"/>
                <a:gd name="connsiteX3395" fmla="*/ 5773579 w 6400800"/>
                <a:gd name="connsiteY3395" fmla="*/ 275749 h 514350"/>
                <a:gd name="connsiteX3396" fmla="*/ 5772626 w 6400800"/>
                <a:gd name="connsiteY3396" fmla="*/ 273844 h 514350"/>
                <a:gd name="connsiteX3397" fmla="*/ 5771674 w 6400800"/>
                <a:gd name="connsiteY3397" fmla="*/ 272891 h 514350"/>
                <a:gd name="connsiteX3398" fmla="*/ 5783104 w 6400800"/>
                <a:gd name="connsiteY3398" fmla="*/ 241459 h 514350"/>
                <a:gd name="connsiteX3399" fmla="*/ 5782151 w 6400800"/>
                <a:gd name="connsiteY3399" fmla="*/ 253841 h 514350"/>
                <a:gd name="connsiteX3400" fmla="*/ 5785962 w 6400800"/>
                <a:gd name="connsiteY3400" fmla="*/ 221456 h 514350"/>
                <a:gd name="connsiteX3401" fmla="*/ 5784056 w 6400800"/>
                <a:gd name="connsiteY3401" fmla="*/ 239554 h 514350"/>
                <a:gd name="connsiteX3402" fmla="*/ 5784056 w 6400800"/>
                <a:gd name="connsiteY3402" fmla="*/ 240506 h 514350"/>
                <a:gd name="connsiteX3403" fmla="*/ 5770721 w 6400800"/>
                <a:gd name="connsiteY3403" fmla="*/ 267176 h 514350"/>
                <a:gd name="connsiteX3404" fmla="*/ 5769769 w 6400800"/>
                <a:gd name="connsiteY3404" fmla="*/ 261461 h 514350"/>
                <a:gd name="connsiteX3405" fmla="*/ 5769769 w 6400800"/>
                <a:gd name="connsiteY3405" fmla="*/ 258604 h 514350"/>
                <a:gd name="connsiteX3406" fmla="*/ 5785962 w 6400800"/>
                <a:gd name="connsiteY3406" fmla="*/ 221456 h 514350"/>
                <a:gd name="connsiteX3407" fmla="*/ 5754529 w 6400800"/>
                <a:gd name="connsiteY3407" fmla="*/ 333851 h 514350"/>
                <a:gd name="connsiteX3408" fmla="*/ 5746909 w 6400800"/>
                <a:gd name="connsiteY3408" fmla="*/ 348139 h 514350"/>
                <a:gd name="connsiteX3409" fmla="*/ 5745956 w 6400800"/>
                <a:gd name="connsiteY3409" fmla="*/ 346234 h 514350"/>
                <a:gd name="connsiteX3410" fmla="*/ 5754529 w 6400800"/>
                <a:gd name="connsiteY3410" fmla="*/ 322421 h 514350"/>
                <a:gd name="connsiteX3411" fmla="*/ 5754529 w 6400800"/>
                <a:gd name="connsiteY3411" fmla="*/ 333851 h 514350"/>
                <a:gd name="connsiteX3412" fmla="*/ 5754529 w 6400800"/>
                <a:gd name="connsiteY3412" fmla="*/ 333851 h 514350"/>
                <a:gd name="connsiteX3413" fmla="*/ 5762149 w 6400800"/>
                <a:gd name="connsiteY3413" fmla="*/ 302419 h 514350"/>
                <a:gd name="connsiteX3414" fmla="*/ 5762149 w 6400800"/>
                <a:gd name="connsiteY3414" fmla="*/ 302419 h 514350"/>
                <a:gd name="connsiteX3415" fmla="*/ 5762149 w 6400800"/>
                <a:gd name="connsiteY3415" fmla="*/ 302419 h 514350"/>
                <a:gd name="connsiteX3416" fmla="*/ 5762149 w 6400800"/>
                <a:gd name="connsiteY3416" fmla="*/ 302419 h 514350"/>
                <a:gd name="connsiteX3417" fmla="*/ 5761196 w 6400800"/>
                <a:gd name="connsiteY3417" fmla="*/ 304324 h 514350"/>
                <a:gd name="connsiteX3418" fmla="*/ 5762149 w 6400800"/>
                <a:gd name="connsiteY3418" fmla="*/ 305276 h 514350"/>
                <a:gd name="connsiteX3419" fmla="*/ 5762149 w 6400800"/>
                <a:gd name="connsiteY3419" fmla="*/ 308134 h 514350"/>
                <a:gd name="connsiteX3420" fmla="*/ 5762149 w 6400800"/>
                <a:gd name="connsiteY3420" fmla="*/ 310039 h 514350"/>
                <a:gd name="connsiteX3421" fmla="*/ 5759292 w 6400800"/>
                <a:gd name="connsiteY3421" fmla="*/ 320516 h 514350"/>
                <a:gd name="connsiteX3422" fmla="*/ 5757387 w 6400800"/>
                <a:gd name="connsiteY3422" fmla="*/ 328136 h 514350"/>
                <a:gd name="connsiteX3423" fmla="*/ 5755481 w 6400800"/>
                <a:gd name="connsiteY3423" fmla="*/ 320516 h 514350"/>
                <a:gd name="connsiteX3424" fmla="*/ 5761196 w 6400800"/>
                <a:gd name="connsiteY3424" fmla="*/ 304324 h 514350"/>
                <a:gd name="connsiteX3425" fmla="*/ 5760244 w 6400800"/>
                <a:gd name="connsiteY3425" fmla="*/ 289084 h 514350"/>
                <a:gd name="connsiteX3426" fmla="*/ 5759292 w 6400800"/>
                <a:gd name="connsiteY3426" fmla="*/ 290989 h 514350"/>
                <a:gd name="connsiteX3427" fmla="*/ 5751671 w 6400800"/>
                <a:gd name="connsiteY3427" fmla="*/ 301466 h 514350"/>
                <a:gd name="connsiteX3428" fmla="*/ 5748814 w 6400800"/>
                <a:gd name="connsiteY3428" fmla="*/ 305276 h 514350"/>
                <a:gd name="connsiteX3429" fmla="*/ 5759292 w 6400800"/>
                <a:gd name="connsiteY3429" fmla="*/ 280511 h 514350"/>
                <a:gd name="connsiteX3430" fmla="*/ 5760244 w 6400800"/>
                <a:gd name="connsiteY3430" fmla="*/ 289084 h 514350"/>
                <a:gd name="connsiteX3431" fmla="*/ 5756434 w 6400800"/>
                <a:gd name="connsiteY3431" fmla="*/ 227171 h 514350"/>
                <a:gd name="connsiteX3432" fmla="*/ 5756434 w 6400800"/>
                <a:gd name="connsiteY3432" fmla="*/ 243364 h 514350"/>
                <a:gd name="connsiteX3433" fmla="*/ 5757387 w 6400800"/>
                <a:gd name="connsiteY3433" fmla="*/ 250984 h 514350"/>
                <a:gd name="connsiteX3434" fmla="*/ 5753576 w 6400800"/>
                <a:gd name="connsiteY3434" fmla="*/ 259556 h 514350"/>
                <a:gd name="connsiteX3435" fmla="*/ 5741194 w 6400800"/>
                <a:gd name="connsiteY3435" fmla="*/ 285274 h 514350"/>
                <a:gd name="connsiteX3436" fmla="*/ 5756434 w 6400800"/>
                <a:gd name="connsiteY3436" fmla="*/ 227171 h 514350"/>
                <a:gd name="connsiteX3437" fmla="*/ 5676424 w 6400800"/>
                <a:gd name="connsiteY3437" fmla="*/ 184309 h 514350"/>
                <a:gd name="connsiteX3438" fmla="*/ 5676424 w 6400800"/>
                <a:gd name="connsiteY3438" fmla="*/ 198596 h 514350"/>
                <a:gd name="connsiteX3439" fmla="*/ 5676424 w 6400800"/>
                <a:gd name="connsiteY3439" fmla="*/ 228124 h 514350"/>
                <a:gd name="connsiteX3440" fmla="*/ 5676424 w 6400800"/>
                <a:gd name="connsiteY3440" fmla="*/ 246221 h 514350"/>
                <a:gd name="connsiteX3441" fmla="*/ 5677376 w 6400800"/>
                <a:gd name="connsiteY3441" fmla="*/ 266224 h 514350"/>
                <a:gd name="connsiteX3442" fmla="*/ 5678329 w 6400800"/>
                <a:gd name="connsiteY3442" fmla="*/ 276701 h 514350"/>
                <a:gd name="connsiteX3443" fmla="*/ 5678329 w 6400800"/>
                <a:gd name="connsiteY3443" fmla="*/ 276701 h 514350"/>
                <a:gd name="connsiteX3444" fmla="*/ 5675471 w 6400800"/>
                <a:gd name="connsiteY3444" fmla="*/ 259556 h 514350"/>
                <a:gd name="connsiteX3445" fmla="*/ 5672614 w 6400800"/>
                <a:gd name="connsiteY3445" fmla="*/ 242411 h 514350"/>
                <a:gd name="connsiteX3446" fmla="*/ 5669756 w 6400800"/>
                <a:gd name="connsiteY3446" fmla="*/ 223361 h 514350"/>
                <a:gd name="connsiteX3447" fmla="*/ 5668804 w 6400800"/>
                <a:gd name="connsiteY3447" fmla="*/ 216694 h 514350"/>
                <a:gd name="connsiteX3448" fmla="*/ 5676424 w 6400800"/>
                <a:gd name="connsiteY3448" fmla="*/ 184309 h 514350"/>
                <a:gd name="connsiteX3449" fmla="*/ 5652612 w 6400800"/>
                <a:gd name="connsiteY3449" fmla="*/ 263366 h 514350"/>
                <a:gd name="connsiteX3450" fmla="*/ 5653564 w 6400800"/>
                <a:gd name="connsiteY3450" fmla="*/ 261461 h 514350"/>
                <a:gd name="connsiteX3451" fmla="*/ 5655469 w 6400800"/>
                <a:gd name="connsiteY3451" fmla="*/ 264319 h 514350"/>
                <a:gd name="connsiteX3452" fmla="*/ 5655469 w 6400800"/>
                <a:gd name="connsiteY3452" fmla="*/ 268129 h 514350"/>
                <a:gd name="connsiteX3453" fmla="*/ 5657374 w 6400800"/>
                <a:gd name="connsiteY3453" fmla="*/ 286226 h 514350"/>
                <a:gd name="connsiteX3454" fmla="*/ 5652612 w 6400800"/>
                <a:gd name="connsiteY3454" fmla="*/ 269081 h 514350"/>
                <a:gd name="connsiteX3455" fmla="*/ 5651659 w 6400800"/>
                <a:gd name="connsiteY3455" fmla="*/ 267176 h 514350"/>
                <a:gd name="connsiteX3456" fmla="*/ 5652612 w 6400800"/>
                <a:gd name="connsiteY3456" fmla="*/ 263366 h 514350"/>
                <a:gd name="connsiteX3457" fmla="*/ 5650706 w 6400800"/>
                <a:gd name="connsiteY3457" fmla="*/ 205264 h 514350"/>
                <a:gd name="connsiteX3458" fmla="*/ 5651659 w 6400800"/>
                <a:gd name="connsiteY3458" fmla="*/ 212884 h 514350"/>
                <a:gd name="connsiteX3459" fmla="*/ 5649754 w 6400800"/>
                <a:gd name="connsiteY3459" fmla="*/ 207169 h 514350"/>
                <a:gd name="connsiteX3460" fmla="*/ 5650706 w 6400800"/>
                <a:gd name="connsiteY3460" fmla="*/ 205264 h 514350"/>
                <a:gd name="connsiteX3461" fmla="*/ 5647849 w 6400800"/>
                <a:gd name="connsiteY3461" fmla="*/ 209074 h 514350"/>
                <a:gd name="connsiteX3462" fmla="*/ 5649754 w 6400800"/>
                <a:gd name="connsiteY3462" fmla="*/ 219551 h 514350"/>
                <a:gd name="connsiteX3463" fmla="*/ 5651659 w 6400800"/>
                <a:gd name="connsiteY3463" fmla="*/ 235744 h 514350"/>
                <a:gd name="connsiteX3464" fmla="*/ 5651659 w 6400800"/>
                <a:gd name="connsiteY3464" fmla="*/ 236696 h 514350"/>
                <a:gd name="connsiteX3465" fmla="*/ 5645944 w 6400800"/>
                <a:gd name="connsiteY3465" fmla="*/ 228124 h 514350"/>
                <a:gd name="connsiteX3466" fmla="*/ 5644039 w 6400800"/>
                <a:gd name="connsiteY3466" fmla="*/ 216694 h 514350"/>
                <a:gd name="connsiteX3467" fmla="*/ 5647849 w 6400800"/>
                <a:gd name="connsiteY3467" fmla="*/ 209074 h 514350"/>
                <a:gd name="connsiteX3468" fmla="*/ 5642134 w 6400800"/>
                <a:gd name="connsiteY3468" fmla="*/ 370046 h 514350"/>
                <a:gd name="connsiteX3469" fmla="*/ 5643087 w 6400800"/>
                <a:gd name="connsiteY3469" fmla="*/ 377666 h 514350"/>
                <a:gd name="connsiteX3470" fmla="*/ 5641181 w 6400800"/>
                <a:gd name="connsiteY3470" fmla="*/ 385286 h 514350"/>
                <a:gd name="connsiteX3471" fmla="*/ 5642134 w 6400800"/>
                <a:gd name="connsiteY3471" fmla="*/ 370046 h 514350"/>
                <a:gd name="connsiteX3472" fmla="*/ 5624037 w 6400800"/>
                <a:gd name="connsiteY3472" fmla="*/ 272891 h 514350"/>
                <a:gd name="connsiteX3473" fmla="*/ 5625942 w 6400800"/>
                <a:gd name="connsiteY3473" fmla="*/ 258604 h 514350"/>
                <a:gd name="connsiteX3474" fmla="*/ 5625942 w 6400800"/>
                <a:gd name="connsiteY3474" fmla="*/ 254794 h 514350"/>
                <a:gd name="connsiteX3475" fmla="*/ 5632609 w 6400800"/>
                <a:gd name="connsiteY3475" fmla="*/ 241459 h 514350"/>
                <a:gd name="connsiteX3476" fmla="*/ 5634514 w 6400800"/>
                <a:gd name="connsiteY3476" fmla="*/ 236696 h 514350"/>
                <a:gd name="connsiteX3477" fmla="*/ 5637371 w 6400800"/>
                <a:gd name="connsiteY3477" fmla="*/ 245269 h 514350"/>
                <a:gd name="connsiteX3478" fmla="*/ 5640229 w 6400800"/>
                <a:gd name="connsiteY3478" fmla="*/ 259556 h 514350"/>
                <a:gd name="connsiteX3479" fmla="*/ 5640229 w 6400800"/>
                <a:gd name="connsiteY3479" fmla="*/ 266224 h 514350"/>
                <a:gd name="connsiteX3480" fmla="*/ 5631656 w 6400800"/>
                <a:gd name="connsiteY3480" fmla="*/ 288131 h 514350"/>
                <a:gd name="connsiteX3481" fmla="*/ 5624037 w 6400800"/>
                <a:gd name="connsiteY3481" fmla="*/ 277654 h 514350"/>
                <a:gd name="connsiteX3482" fmla="*/ 5624037 w 6400800"/>
                <a:gd name="connsiteY3482" fmla="*/ 272891 h 514350"/>
                <a:gd name="connsiteX3483" fmla="*/ 5623084 w 6400800"/>
                <a:gd name="connsiteY3483" fmla="*/ 289084 h 514350"/>
                <a:gd name="connsiteX3484" fmla="*/ 5623084 w 6400800"/>
                <a:gd name="connsiteY3484" fmla="*/ 287179 h 514350"/>
                <a:gd name="connsiteX3485" fmla="*/ 5624989 w 6400800"/>
                <a:gd name="connsiteY3485" fmla="*/ 290989 h 514350"/>
                <a:gd name="connsiteX3486" fmla="*/ 5626894 w 6400800"/>
                <a:gd name="connsiteY3486" fmla="*/ 298609 h 514350"/>
                <a:gd name="connsiteX3487" fmla="*/ 5625942 w 6400800"/>
                <a:gd name="connsiteY3487" fmla="*/ 300514 h 514350"/>
                <a:gd name="connsiteX3488" fmla="*/ 5625942 w 6400800"/>
                <a:gd name="connsiteY3488" fmla="*/ 300514 h 514350"/>
                <a:gd name="connsiteX3489" fmla="*/ 5622131 w 6400800"/>
                <a:gd name="connsiteY3489" fmla="*/ 295751 h 514350"/>
                <a:gd name="connsiteX3490" fmla="*/ 5623084 w 6400800"/>
                <a:gd name="connsiteY3490" fmla="*/ 289084 h 514350"/>
                <a:gd name="connsiteX3491" fmla="*/ 5621179 w 6400800"/>
                <a:gd name="connsiteY3491" fmla="*/ 310991 h 514350"/>
                <a:gd name="connsiteX3492" fmla="*/ 5621179 w 6400800"/>
                <a:gd name="connsiteY3492" fmla="*/ 310991 h 514350"/>
                <a:gd name="connsiteX3493" fmla="*/ 5621179 w 6400800"/>
                <a:gd name="connsiteY3493" fmla="*/ 310991 h 514350"/>
                <a:gd name="connsiteX3494" fmla="*/ 5621179 w 6400800"/>
                <a:gd name="connsiteY3494" fmla="*/ 310991 h 514350"/>
                <a:gd name="connsiteX3495" fmla="*/ 5618321 w 6400800"/>
                <a:gd name="connsiteY3495" fmla="*/ 270034 h 514350"/>
                <a:gd name="connsiteX3496" fmla="*/ 5618321 w 6400800"/>
                <a:gd name="connsiteY3496" fmla="*/ 270034 h 514350"/>
                <a:gd name="connsiteX3497" fmla="*/ 5618321 w 6400800"/>
                <a:gd name="connsiteY3497" fmla="*/ 270034 h 514350"/>
                <a:gd name="connsiteX3498" fmla="*/ 5618321 w 6400800"/>
                <a:gd name="connsiteY3498" fmla="*/ 270034 h 514350"/>
                <a:gd name="connsiteX3499" fmla="*/ 5617369 w 6400800"/>
                <a:gd name="connsiteY3499" fmla="*/ 272891 h 514350"/>
                <a:gd name="connsiteX3500" fmla="*/ 5618321 w 6400800"/>
                <a:gd name="connsiteY3500" fmla="*/ 273844 h 514350"/>
                <a:gd name="connsiteX3501" fmla="*/ 5616417 w 6400800"/>
                <a:gd name="connsiteY3501" fmla="*/ 286226 h 514350"/>
                <a:gd name="connsiteX3502" fmla="*/ 5613559 w 6400800"/>
                <a:gd name="connsiteY3502" fmla="*/ 282416 h 514350"/>
                <a:gd name="connsiteX3503" fmla="*/ 5617369 w 6400800"/>
                <a:gd name="connsiteY3503" fmla="*/ 272891 h 514350"/>
                <a:gd name="connsiteX3504" fmla="*/ 5608796 w 6400800"/>
                <a:gd name="connsiteY3504" fmla="*/ 290989 h 514350"/>
                <a:gd name="connsiteX3505" fmla="*/ 5608796 w 6400800"/>
                <a:gd name="connsiteY3505" fmla="*/ 290989 h 514350"/>
                <a:gd name="connsiteX3506" fmla="*/ 5611654 w 6400800"/>
                <a:gd name="connsiteY3506" fmla="*/ 294799 h 514350"/>
                <a:gd name="connsiteX3507" fmla="*/ 5613559 w 6400800"/>
                <a:gd name="connsiteY3507" fmla="*/ 297656 h 514350"/>
                <a:gd name="connsiteX3508" fmla="*/ 5611654 w 6400800"/>
                <a:gd name="connsiteY3508" fmla="*/ 310991 h 514350"/>
                <a:gd name="connsiteX3509" fmla="*/ 5608796 w 6400800"/>
                <a:gd name="connsiteY3509" fmla="*/ 292894 h 514350"/>
                <a:gd name="connsiteX3510" fmla="*/ 5608796 w 6400800"/>
                <a:gd name="connsiteY3510" fmla="*/ 290989 h 514350"/>
                <a:gd name="connsiteX3511" fmla="*/ 5594509 w 6400800"/>
                <a:gd name="connsiteY3511" fmla="*/ 241459 h 514350"/>
                <a:gd name="connsiteX3512" fmla="*/ 5595462 w 6400800"/>
                <a:gd name="connsiteY3512" fmla="*/ 258604 h 514350"/>
                <a:gd name="connsiteX3513" fmla="*/ 5595462 w 6400800"/>
                <a:gd name="connsiteY3513" fmla="*/ 259556 h 514350"/>
                <a:gd name="connsiteX3514" fmla="*/ 5595462 w 6400800"/>
                <a:gd name="connsiteY3514" fmla="*/ 261461 h 514350"/>
                <a:gd name="connsiteX3515" fmla="*/ 5593556 w 6400800"/>
                <a:gd name="connsiteY3515" fmla="*/ 259556 h 514350"/>
                <a:gd name="connsiteX3516" fmla="*/ 5592604 w 6400800"/>
                <a:gd name="connsiteY3516" fmla="*/ 250031 h 514350"/>
                <a:gd name="connsiteX3517" fmla="*/ 5594509 w 6400800"/>
                <a:gd name="connsiteY3517" fmla="*/ 241459 h 514350"/>
                <a:gd name="connsiteX3518" fmla="*/ 5578317 w 6400800"/>
                <a:gd name="connsiteY3518" fmla="*/ 284321 h 514350"/>
                <a:gd name="connsiteX3519" fmla="*/ 5578317 w 6400800"/>
                <a:gd name="connsiteY3519" fmla="*/ 286226 h 514350"/>
                <a:gd name="connsiteX3520" fmla="*/ 5577364 w 6400800"/>
                <a:gd name="connsiteY3520" fmla="*/ 285274 h 514350"/>
                <a:gd name="connsiteX3521" fmla="*/ 5578317 w 6400800"/>
                <a:gd name="connsiteY3521" fmla="*/ 284321 h 514350"/>
                <a:gd name="connsiteX3522" fmla="*/ 5573554 w 6400800"/>
                <a:gd name="connsiteY3522" fmla="*/ 299561 h 514350"/>
                <a:gd name="connsiteX3523" fmla="*/ 5576412 w 6400800"/>
                <a:gd name="connsiteY3523" fmla="*/ 305276 h 514350"/>
                <a:gd name="connsiteX3524" fmla="*/ 5577364 w 6400800"/>
                <a:gd name="connsiteY3524" fmla="*/ 307181 h 514350"/>
                <a:gd name="connsiteX3525" fmla="*/ 5576412 w 6400800"/>
                <a:gd name="connsiteY3525" fmla="*/ 325279 h 514350"/>
                <a:gd name="connsiteX3526" fmla="*/ 5576412 w 6400800"/>
                <a:gd name="connsiteY3526" fmla="*/ 328136 h 514350"/>
                <a:gd name="connsiteX3527" fmla="*/ 5575459 w 6400800"/>
                <a:gd name="connsiteY3527" fmla="*/ 319564 h 514350"/>
                <a:gd name="connsiteX3528" fmla="*/ 5573554 w 6400800"/>
                <a:gd name="connsiteY3528" fmla="*/ 303371 h 514350"/>
                <a:gd name="connsiteX3529" fmla="*/ 5573554 w 6400800"/>
                <a:gd name="connsiteY3529" fmla="*/ 299561 h 514350"/>
                <a:gd name="connsiteX3530" fmla="*/ 5550694 w 6400800"/>
                <a:gd name="connsiteY3530" fmla="*/ 308134 h 514350"/>
                <a:gd name="connsiteX3531" fmla="*/ 5549742 w 6400800"/>
                <a:gd name="connsiteY3531" fmla="*/ 301466 h 514350"/>
                <a:gd name="connsiteX3532" fmla="*/ 5551646 w 6400800"/>
                <a:gd name="connsiteY3532" fmla="*/ 294799 h 514350"/>
                <a:gd name="connsiteX3533" fmla="*/ 5552599 w 6400800"/>
                <a:gd name="connsiteY3533" fmla="*/ 291941 h 514350"/>
                <a:gd name="connsiteX3534" fmla="*/ 5554504 w 6400800"/>
                <a:gd name="connsiteY3534" fmla="*/ 302419 h 514350"/>
                <a:gd name="connsiteX3535" fmla="*/ 5552599 w 6400800"/>
                <a:gd name="connsiteY3535" fmla="*/ 306229 h 514350"/>
                <a:gd name="connsiteX3536" fmla="*/ 5550694 w 6400800"/>
                <a:gd name="connsiteY3536" fmla="*/ 308134 h 514350"/>
                <a:gd name="connsiteX3537" fmla="*/ 5557362 w 6400800"/>
                <a:gd name="connsiteY3537" fmla="*/ 313849 h 514350"/>
                <a:gd name="connsiteX3538" fmla="*/ 5557362 w 6400800"/>
                <a:gd name="connsiteY3538" fmla="*/ 313849 h 514350"/>
                <a:gd name="connsiteX3539" fmla="*/ 5553551 w 6400800"/>
                <a:gd name="connsiteY3539" fmla="*/ 318611 h 514350"/>
                <a:gd name="connsiteX3540" fmla="*/ 5556409 w 6400800"/>
                <a:gd name="connsiteY3540" fmla="*/ 310039 h 514350"/>
                <a:gd name="connsiteX3541" fmla="*/ 5557362 w 6400800"/>
                <a:gd name="connsiteY3541" fmla="*/ 313849 h 514350"/>
                <a:gd name="connsiteX3542" fmla="*/ 5557362 w 6400800"/>
                <a:gd name="connsiteY3542" fmla="*/ 313849 h 514350"/>
                <a:gd name="connsiteX3543" fmla="*/ 5561171 w 6400800"/>
                <a:gd name="connsiteY3543" fmla="*/ 359569 h 514350"/>
                <a:gd name="connsiteX3544" fmla="*/ 5561171 w 6400800"/>
                <a:gd name="connsiteY3544" fmla="*/ 361474 h 514350"/>
                <a:gd name="connsiteX3545" fmla="*/ 5560219 w 6400800"/>
                <a:gd name="connsiteY3545" fmla="*/ 360521 h 514350"/>
                <a:gd name="connsiteX3546" fmla="*/ 5558314 w 6400800"/>
                <a:gd name="connsiteY3546" fmla="*/ 350996 h 514350"/>
                <a:gd name="connsiteX3547" fmla="*/ 5560219 w 6400800"/>
                <a:gd name="connsiteY3547" fmla="*/ 342424 h 514350"/>
                <a:gd name="connsiteX3548" fmla="*/ 5561171 w 6400800"/>
                <a:gd name="connsiteY3548" fmla="*/ 359569 h 514350"/>
                <a:gd name="connsiteX3549" fmla="*/ 5559267 w 6400800"/>
                <a:gd name="connsiteY3549" fmla="*/ 303371 h 514350"/>
                <a:gd name="connsiteX3550" fmla="*/ 5559267 w 6400800"/>
                <a:gd name="connsiteY3550" fmla="*/ 303371 h 514350"/>
                <a:gd name="connsiteX3551" fmla="*/ 5559267 w 6400800"/>
                <a:gd name="connsiteY3551" fmla="*/ 303371 h 514350"/>
                <a:gd name="connsiteX3552" fmla="*/ 5559267 w 6400800"/>
                <a:gd name="connsiteY3552" fmla="*/ 303371 h 514350"/>
                <a:gd name="connsiteX3553" fmla="*/ 5557362 w 6400800"/>
                <a:gd name="connsiteY3553" fmla="*/ 277654 h 514350"/>
                <a:gd name="connsiteX3554" fmla="*/ 5558314 w 6400800"/>
                <a:gd name="connsiteY3554" fmla="*/ 283369 h 514350"/>
                <a:gd name="connsiteX3555" fmla="*/ 5559267 w 6400800"/>
                <a:gd name="connsiteY3555" fmla="*/ 293846 h 514350"/>
                <a:gd name="connsiteX3556" fmla="*/ 5557362 w 6400800"/>
                <a:gd name="connsiteY3556" fmla="*/ 296704 h 514350"/>
                <a:gd name="connsiteX3557" fmla="*/ 5554504 w 6400800"/>
                <a:gd name="connsiteY3557" fmla="*/ 287179 h 514350"/>
                <a:gd name="connsiteX3558" fmla="*/ 5557362 w 6400800"/>
                <a:gd name="connsiteY3558" fmla="*/ 277654 h 514350"/>
                <a:gd name="connsiteX3559" fmla="*/ 5553551 w 6400800"/>
                <a:gd name="connsiteY3559" fmla="*/ 252889 h 514350"/>
                <a:gd name="connsiteX3560" fmla="*/ 5553551 w 6400800"/>
                <a:gd name="connsiteY3560" fmla="*/ 252889 h 514350"/>
                <a:gd name="connsiteX3561" fmla="*/ 5553551 w 6400800"/>
                <a:gd name="connsiteY3561" fmla="*/ 253841 h 514350"/>
                <a:gd name="connsiteX3562" fmla="*/ 5555456 w 6400800"/>
                <a:gd name="connsiteY3562" fmla="*/ 268129 h 514350"/>
                <a:gd name="connsiteX3563" fmla="*/ 5555456 w 6400800"/>
                <a:gd name="connsiteY3563" fmla="*/ 270986 h 514350"/>
                <a:gd name="connsiteX3564" fmla="*/ 5552599 w 6400800"/>
                <a:gd name="connsiteY3564" fmla="*/ 275749 h 514350"/>
                <a:gd name="connsiteX3565" fmla="*/ 5549742 w 6400800"/>
                <a:gd name="connsiteY3565" fmla="*/ 280511 h 514350"/>
                <a:gd name="connsiteX3566" fmla="*/ 5549742 w 6400800"/>
                <a:gd name="connsiteY3566" fmla="*/ 280511 h 514350"/>
                <a:gd name="connsiteX3567" fmla="*/ 5549742 w 6400800"/>
                <a:gd name="connsiteY3567" fmla="*/ 280511 h 514350"/>
                <a:gd name="connsiteX3568" fmla="*/ 5545931 w 6400800"/>
                <a:gd name="connsiteY3568" fmla="*/ 286226 h 514350"/>
                <a:gd name="connsiteX3569" fmla="*/ 5544979 w 6400800"/>
                <a:gd name="connsiteY3569" fmla="*/ 281464 h 514350"/>
                <a:gd name="connsiteX3570" fmla="*/ 5546884 w 6400800"/>
                <a:gd name="connsiteY3570" fmla="*/ 275749 h 514350"/>
                <a:gd name="connsiteX3571" fmla="*/ 5549742 w 6400800"/>
                <a:gd name="connsiteY3571" fmla="*/ 261461 h 514350"/>
                <a:gd name="connsiteX3572" fmla="*/ 5553551 w 6400800"/>
                <a:gd name="connsiteY3572" fmla="*/ 252889 h 514350"/>
                <a:gd name="connsiteX3573" fmla="*/ 5548789 w 6400800"/>
                <a:gd name="connsiteY3573" fmla="*/ 226219 h 514350"/>
                <a:gd name="connsiteX3574" fmla="*/ 5549742 w 6400800"/>
                <a:gd name="connsiteY3574" fmla="*/ 230029 h 514350"/>
                <a:gd name="connsiteX3575" fmla="*/ 5550694 w 6400800"/>
                <a:gd name="connsiteY3575" fmla="*/ 234791 h 514350"/>
                <a:gd name="connsiteX3576" fmla="*/ 5547837 w 6400800"/>
                <a:gd name="connsiteY3576" fmla="*/ 230029 h 514350"/>
                <a:gd name="connsiteX3577" fmla="*/ 5548789 w 6400800"/>
                <a:gd name="connsiteY3577" fmla="*/ 226219 h 514350"/>
                <a:gd name="connsiteX3578" fmla="*/ 5546884 w 6400800"/>
                <a:gd name="connsiteY3578" fmla="*/ 235744 h 514350"/>
                <a:gd name="connsiteX3579" fmla="*/ 5550694 w 6400800"/>
                <a:gd name="connsiteY3579" fmla="*/ 244316 h 514350"/>
                <a:gd name="connsiteX3580" fmla="*/ 5544979 w 6400800"/>
                <a:gd name="connsiteY3580" fmla="*/ 259556 h 514350"/>
                <a:gd name="connsiteX3581" fmla="*/ 5544026 w 6400800"/>
                <a:gd name="connsiteY3581" fmla="*/ 262414 h 514350"/>
                <a:gd name="connsiteX3582" fmla="*/ 5543074 w 6400800"/>
                <a:gd name="connsiteY3582" fmla="*/ 257651 h 514350"/>
                <a:gd name="connsiteX3583" fmla="*/ 5542121 w 6400800"/>
                <a:gd name="connsiteY3583" fmla="*/ 254794 h 514350"/>
                <a:gd name="connsiteX3584" fmla="*/ 5546884 w 6400800"/>
                <a:gd name="connsiteY3584" fmla="*/ 235744 h 514350"/>
                <a:gd name="connsiteX3585" fmla="*/ 5540217 w 6400800"/>
                <a:gd name="connsiteY3585" fmla="*/ 218599 h 514350"/>
                <a:gd name="connsiteX3586" fmla="*/ 5539264 w 6400800"/>
                <a:gd name="connsiteY3586" fmla="*/ 220504 h 514350"/>
                <a:gd name="connsiteX3587" fmla="*/ 5538312 w 6400800"/>
                <a:gd name="connsiteY3587" fmla="*/ 223361 h 514350"/>
                <a:gd name="connsiteX3588" fmla="*/ 5536406 w 6400800"/>
                <a:gd name="connsiteY3588" fmla="*/ 210026 h 514350"/>
                <a:gd name="connsiteX3589" fmla="*/ 5540217 w 6400800"/>
                <a:gd name="connsiteY3589" fmla="*/ 218599 h 514350"/>
                <a:gd name="connsiteX3590" fmla="*/ 5507831 w 6400800"/>
                <a:gd name="connsiteY3590" fmla="*/ 312896 h 514350"/>
                <a:gd name="connsiteX3591" fmla="*/ 5507831 w 6400800"/>
                <a:gd name="connsiteY3591" fmla="*/ 312896 h 514350"/>
                <a:gd name="connsiteX3592" fmla="*/ 5507831 w 6400800"/>
                <a:gd name="connsiteY3592" fmla="*/ 313849 h 514350"/>
                <a:gd name="connsiteX3593" fmla="*/ 5507831 w 6400800"/>
                <a:gd name="connsiteY3593" fmla="*/ 312896 h 514350"/>
                <a:gd name="connsiteX3594" fmla="*/ 5481162 w 6400800"/>
                <a:gd name="connsiteY3594" fmla="*/ 326231 h 514350"/>
                <a:gd name="connsiteX3595" fmla="*/ 5480209 w 6400800"/>
                <a:gd name="connsiteY3595" fmla="*/ 330994 h 514350"/>
                <a:gd name="connsiteX3596" fmla="*/ 5479256 w 6400800"/>
                <a:gd name="connsiteY3596" fmla="*/ 324326 h 514350"/>
                <a:gd name="connsiteX3597" fmla="*/ 5479256 w 6400800"/>
                <a:gd name="connsiteY3597" fmla="*/ 322421 h 514350"/>
                <a:gd name="connsiteX3598" fmla="*/ 5478304 w 6400800"/>
                <a:gd name="connsiteY3598" fmla="*/ 311944 h 514350"/>
                <a:gd name="connsiteX3599" fmla="*/ 5482114 w 6400800"/>
                <a:gd name="connsiteY3599" fmla="*/ 325279 h 514350"/>
                <a:gd name="connsiteX3600" fmla="*/ 5481162 w 6400800"/>
                <a:gd name="connsiteY3600" fmla="*/ 326231 h 514350"/>
                <a:gd name="connsiteX3601" fmla="*/ 5493544 w 6400800"/>
                <a:gd name="connsiteY3601" fmla="*/ 339566 h 514350"/>
                <a:gd name="connsiteX3602" fmla="*/ 5493544 w 6400800"/>
                <a:gd name="connsiteY3602" fmla="*/ 339566 h 514350"/>
                <a:gd name="connsiteX3603" fmla="*/ 5493544 w 6400800"/>
                <a:gd name="connsiteY3603" fmla="*/ 339566 h 514350"/>
                <a:gd name="connsiteX3604" fmla="*/ 5493544 w 6400800"/>
                <a:gd name="connsiteY3604" fmla="*/ 339566 h 514350"/>
                <a:gd name="connsiteX3605" fmla="*/ 5488781 w 6400800"/>
                <a:gd name="connsiteY3605" fmla="*/ 261461 h 514350"/>
                <a:gd name="connsiteX3606" fmla="*/ 5488781 w 6400800"/>
                <a:gd name="connsiteY3606" fmla="*/ 261461 h 514350"/>
                <a:gd name="connsiteX3607" fmla="*/ 5490687 w 6400800"/>
                <a:gd name="connsiteY3607" fmla="*/ 267176 h 514350"/>
                <a:gd name="connsiteX3608" fmla="*/ 5487829 w 6400800"/>
                <a:gd name="connsiteY3608" fmla="*/ 264319 h 514350"/>
                <a:gd name="connsiteX3609" fmla="*/ 5488781 w 6400800"/>
                <a:gd name="connsiteY3609" fmla="*/ 261461 h 514350"/>
                <a:gd name="connsiteX3610" fmla="*/ 5483067 w 6400800"/>
                <a:gd name="connsiteY3610" fmla="*/ 280511 h 514350"/>
                <a:gd name="connsiteX3611" fmla="*/ 5484971 w 6400800"/>
                <a:gd name="connsiteY3611" fmla="*/ 272891 h 514350"/>
                <a:gd name="connsiteX3612" fmla="*/ 5496401 w 6400800"/>
                <a:gd name="connsiteY3612" fmla="*/ 291941 h 514350"/>
                <a:gd name="connsiteX3613" fmla="*/ 5500212 w 6400800"/>
                <a:gd name="connsiteY3613" fmla="*/ 297656 h 514350"/>
                <a:gd name="connsiteX3614" fmla="*/ 5497354 w 6400800"/>
                <a:gd name="connsiteY3614" fmla="*/ 307181 h 514350"/>
                <a:gd name="connsiteX3615" fmla="*/ 5496401 w 6400800"/>
                <a:gd name="connsiteY3615" fmla="*/ 310991 h 514350"/>
                <a:gd name="connsiteX3616" fmla="*/ 5493544 w 6400800"/>
                <a:gd name="connsiteY3616" fmla="*/ 307181 h 514350"/>
                <a:gd name="connsiteX3617" fmla="*/ 5495449 w 6400800"/>
                <a:gd name="connsiteY3617" fmla="*/ 311944 h 514350"/>
                <a:gd name="connsiteX3618" fmla="*/ 5494496 w 6400800"/>
                <a:gd name="connsiteY3618" fmla="*/ 319564 h 514350"/>
                <a:gd name="connsiteX3619" fmla="*/ 5492592 w 6400800"/>
                <a:gd name="connsiteY3619" fmla="*/ 330041 h 514350"/>
                <a:gd name="connsiteX3620" fmla="*/ 5488781 w 6400800"/>
                <a:gd name="connsiteY3620" fmla="*/ 333851 h 514350"/>
                <a:gd name="connsiteX3621" fmla="*/ 5485924 w 6400800"/>
                <a:gd name="connsiteY3621" fmla="*/ 327184 h 514350"/>
                <a:gd name="connsiteX3622" fmla="*/ 5487829 w 6400800"/>
                <a:gd name="connsiteY3622" fmla="*/ 312896 h 514350"/>
                <a:gd name="connsiteX3623" fmla="*/ 5489734 w 6400800"/>
                <a:gd name="connsiteY3623" fmla="*/ 299561 h 514350"/>
                <a:gd name="connsiteX3624" fmla="*/ 5484019 w 6400800"/>
                <a:gd name="connsiteY3624" fmla="*/ 311944 h 514350"/>
                <a:gd name="connsiteX3625" fmla="*/ 5483067 w 6400800"/>
                <a:gd name="connsiteY3625" fmla="*/ 313849 h 514350"/>
                <a:gd name="connsiteX3626" fmla="*/ 5483067 w 6400800"/>
                <a:gd name="connsiteY3626" fmla="*/ 312896 h 514350"/>
                <a:gd name="connsiteX3627" fmla="*/ 5478304 w 6400800"/>
                <a:gd name="connsiteY3627" fmla="*/ 292894 h 514350"/>
                <a:gd name="connsiteX3628" fmla="*/ 5479256 w 6400800"/>
                <a:gd name="connsiteY3628" fmla="*/ 309086 h 514350"/>
                <a:gd name="connsiteX3629" fmla="*/ 5479256 w 6400800"/>
                <a:gd name="connsiteY3629" fmla="*/ 308134 h 514350"/>
                <a:gd name="connsiteX3630" fmla="*/ 5476399 w 6400800"/>
                <a:gd name="connsiteY3630" fmla="*/ 300514 h 514350"/>
                <a:gd name="connsiteX3631" fmla="*/ 5483067 w 6400800"/>
                <a:gd name="connsiteY3631" fmla="*/ 280511 h 514350"/>
                <a:gd name="connsiteX3632" fmla="*/ 5472589 w 6400800"/>
                <a:gd name="connsiteY3632" fmla="*/ 254794 h 514350"/>
                <a:gd name="connsiteX3633" fmla="*/ 5475446 w 6400800"/>
                <a:gd name="connsiteY3633" fmla="*/ 258604 h 514350"/>
                <a:gd name="connsiteX3634" fmla="*/ 5471637 w 6400800"/>
                <a:gd name="connsiteY3634" fmla="*/ 268129 h 514350"/>
                <a:gd name="connsiteX3635" fmla="*/ 5468779 w 6400800"/>
                <a:gd name="connsiteY3635" fmla="*/ 249079 h 514350"/>
                <a:gd name="connsiteX3636" fmla="*/ 5472589 w 6400800"/>
                <a:gd name="connsiteY3636" fmla="*/ 254794 h 514350"/>
                <a:gd name="connsiteX3637" fmla="*/ 5452587 w 6400800"/>
                <a:gd name="connsiteY3637" fmla="*/ 208121 h 514350"/>
                <a:gd name="connsiteX3638" fmla="*/ 5452587 w 6400800"/>
                <a:gd name="connsiteY3638" fmla="*/ 210026 h 514350"/>
                <a:gd name="connsiteX3639" fmla="*/ 5454492 w 6400800"/>
                <a:gd name="connsiteY3639" fmla="*/ 225266 h 514350"/>
                <a:gd name="connsiteX3640" fmla="*/ 5454492 w 6400800"/>
                <a:gd name="connsiteY3640" fmla="*/ 228124 h 514350"/>
                <a:gd name="connsiteX3641" fmla="*/ 5450681 w 6400800"/>
                <a:gd name="connsiteY3641" fmla="*/ 225266 h 514350"/>
                <a:gd name="connsiteX3642" fmla="*/ 5452587 w 6400800"/>
                <a:gd name="connsiteY3642" fmla="*/ 208121 h 514350"/>
                <a:gd name="connsiteX3643" fmla="*/ 5449729 w 6400800"/>
                <a:gd name="connsiteY3643" fmla="*/ 250031 h 514350"/>
                <a:gd name="connsiteX3644" fmla="*/ 5451634 w 6400800"/>
                <a:gd name="connsiteY3644" fmla="*/ 228124 h 514350"/>
                <a:gd name="connsiteX3645" fmla="*/ 5453539 w 6400800"/>
                <a:gd name="connsiteY3645" fmla="*/ 230029 h 514350"/>
                <a:gd name="connsiteX3646" fmla="*/ 5455444 w 6400800"/>
                <a:gd name="connsiteY3646" fmla="*/ 232886 h 514350"/>
                <a:gd name="connsiteX3647" fmla="*/ 5456396 w 6400800"/>
                <a:gd name="connsiteY3647" fmla="*/ 243364 h 514350"/>
                <a:gd name="connsiteX3648" fmla="*/ 5459254 w 6400800"/>
                <a:gd name="connsiteY3648" fmla="*/ 282416 h 514350"/>
                <a:gd name="connsiteX3649" fmla="*/ 5460206 w 6400800"/>
                <a:gd name="connsiteY3649" fmla="*/ 299561 h 514350"/>
                <a:gd name="connsiteX3650" fmla="*/ 5455444 w 6400800"/>
                <a:gd name="connsiteY3650" fmla="*/ 313849 h 514350"/>
                <a:gd name="connsiteX3651" fmla="*/ 5447824 w 6400800"/>
                <a:gd name="connsiteY3651" fmla="*/ 280511 h 514350"/>
                <a:gd name="connsiteX3652" fmla="*/ 5446871 w 6400800"/>
                <a:gd name="connsiteY3652" fmla="*/ 276701 h 514350"/>
                <a:gd name="connsiteX3653" fmla="*/ 5449729 w 6400800"/>
                <a:gd name="connsiteY3653" fmla="*/ 250031 h 514350"/>
                <a:gd name="connsiteX3654" fmla="*/ 5443062 w 6400800"/>
                <a:gd name="connsiteY3654" fmla="*/ 327184 h 514350"/>
                <a:gd name="connsiteX3655" fmla="*/ 5445919 w 6400800"/>
                <a:gd name="connsiteY3655" fmla="*/ 343376 h 514350"/>
                <a:gd name="connsiteX3656" fmla="*/ 5443062 w 6400800"/>
                <a:gd name="connsiteY3656" fmla="*/ 334804 h 514350"/>
                <a:gd name="connsiteX3657" fmla="*/ 5443062 w 6400800"/>
                <a:gd name="connsiteY3657" fmla="*/ 327184 h 514350"/>
                <a:gd name="connsiteX3658" fmla="*/ 5417344 w 6400800"/>
                <a:gd name="connsiteY3658" fmla="*/ 318611 h 514350"/>
                <a:gd name="connsiteX3659" fmla="*/ 5419249 w 6400800"/>
                <a:gd name="connsiteY3659" fmla="*/ 312896 h 514350"/>
                <a:gd name="connsiteX3660" fmla="*/ 5421154 w 6400800"/>
                <a:gd name="connsiteY3660" fmla="*/ 320516 h 514350"/>
                <a:gd name="connsiteX3661" fmla="*/ 5421154 w 6400800"/>
                <a:gd name="connsiteY3661" fmla="*/ 321469 h 514350"/>
                <a:gd name="connsiteX3662" fmla="*/ 5421154 w 6400800"/>
                <a:gd name="connsiteY3662" fmla="*/ 320516 h 514350"/>
                <a:gd name="connsiteX3663" fmla="*/ 5421154 w 6400800"/>
                <a:gd name="connsiteY3663" fmla="*/ 322421 h 514350"/>
                <a:gd name="connsiteX3664" fmla="*/ 5418296 w 6400800"/>
                <a:gd name="connsiteY3664" fmla="*/ 331946 h 514350"/>
                <a:gd name="connsiteX3665" fmla="*/ 5417344 w 6400800"/>
                <a:gd name="connsiteY3665" fmla="*/ 329089 h 514350"/>
                <a:gd name="connsiteX3666" fmla="*/ 5417344 w 6400800"/>
                <a:gd name="connsiteY3666" fmla="*/ 318611 h 514350"/>
                <a:gd name="connsiteX3667" fmla="*/ 5416392 w 6400800"/>
                <a:gd name="connsiteY3667" fmla="*/ 334804 h 514350"/>
                <a:gd name="connsiteX3668" fmla="*/ 5417344 w 6400800"/>
                <a:gd name="connsiteY3668" fmla="*/ 335756 h 514350"/>
                <a:gd name="connsiteX3669" fmla="*/ 5416392 w 6400800"/>
                <a:gd name="connsiteY3669" fmla="*/ 337661 h 514350"/>
                <a:gd name="connsiteX3670" fmla="*/ 5416392 w 6400800"/>
                <a:gd name="connsiteY3670" fmla="*/ 334804 h 514350"/>
                <a:gd name="connsiteX3671" fmla="*/ 5405914 w 6400800"/>
                <a:gd name="connsiteY3671" fmla="*/ 325279 h 514350"/>
                <a:gd name="connsiteX3672" fmla="*/ 5407819 w 6400800"/>
                <a:gd name="connsiteY3672" fmla="*/ 271939 h 514350"/>
                <a:gd name="connsiteX3673" fmla="*/ 5407819 w 6400800"/>
                <a:gd name="connsiteY3673" fmla="*/ 267176 h 514350"/>
                <a:gd name="connsiteX3674" fmla="*/ 5414487 w 6400800"/>
                <a:gd name="connsiteY3674" fmla="*/ 292894 h 514350"/>
                <a:gd name="connsiteX3675" fmla="*/ 5414487 w 6400800"/>
                <a:gd name="connsiteY3675" fmla="*/ 293846 h 514350"/>
                <a:gd name="connsiteX3676" fmla="*/ 5411629 w 6400800"/>
                <a:gd name="connsiteY3676" fmla="*/ 303371 h 514350"/>
                <a:gd name="connsiteX3677" fmla="*/ 5404962 w 6400800"/>
                <a:gd name="connsiteY3677" fmla="*/ 331946 h 514350"/>
                <a:gd name="connsiteX3678" fmla="*/ 5404962 w 6400800"/>
                <a:gd name="connsiteY3678" fmla="*/ 332899 h 514350"/>
                <a:gd name="connsiteX3679" fmla="*/ 5405914 w 6400800"/>
                <a:gd name="connsiteY3679" fmla="*/ 325279 h 514350"/>
                <a:gd name="connsiteX3680" fmla="*/ 5384006 w 6400800"/>
                <a:gd name="connsiteY3680" fmla="*/ 310991 h 514350"/>
                <a:gd name="connsiteX3681" fmla="*/ 5386864 w 6400800"/>
                <a:gd name="connsiteY3681" fmla="*/ 334804 h 514350"/>
                <a:gd name="connsiteX3682" fmla="*/ 5384959 w 6400800"/>
                <a:gd name="connsiteY3682" fmla="*/ 341471 h 514350"/>
                <a:gd name="connsiteX3683" fmla="*/ 5382101 w 6400800"/>
                <a:gd name="connsiteY3683" fmla="*/ 325279 h 514350"/>
                <a:gd name="connsiteX3684" fmla="*/ 5378292 w 6400800"/>
                <a:gd name="connsiteY3684" fmla="*/ 305276 h 514350"/>
                <a:gd name="connsiteX3685" fmla="*/ 5381149 w 6400800"/>
                <a:gd name="connsiteY3685" fmla="*/ 294799 h 514350"/>
                <a:gd name="connsiteX3686" fmla="*/ 5384006 w 6400800"/>
                <a:gd name="connsiteY3686" fmla="*/ 310991 h 514350"/>
                <a:gd name="connsiteX3687" fmla="*/ 5379244 w 6400800"/>
                <a:gd name="connsiteY3687" fmla="*/ 274796 h 514350"/>
                <a:gd name="connsiteX3688" fmla="*/ 5379244 w 6400800"/>
                <a:gd name="connsiteY3688" fmla="*/ 271939 h 514350"/>
                <a:gd name="connsiteX3689" fmla="*/ 5381149 w 6400800"/>
                <a:gd name="connsiteY3689" fmla="*/ 284321 h 514350"/>
                <a:gd name="connsiteX3690" fmla="*/ 5380196 w 6400800"/>
                <a:gd name="connsiteY3690" fmla="*/ 285274 h 514350"/>
                <a:gd name="connsiteX3691" fmla="*/ 5378292 w 6400800"/>
                <a:gd name="connsiteY3691" fmla="*/ 290036 h 514350"/>
                <a:gd name="connsiteX3692" fmla="*/ 5379244 w 6400800"/>
                <a:gd name="connsiteY3692" fmla="*/ 274796 h 514350"/>
                <a:gd name="connsiteX3693" fmla="*/ 5332571 w 6400800"/>
                <a:gd name="connsiteY3693" fmla="*/ 321469 h 514350"/>
                <a:gd name="connsiteX3694" fmla="*/ 5338287 w 6400800"/>
                <a:gd name="connsiteY3694" fmla="*/ 309086 h 514350"/>
                <a:gd name="connsiteX3695" fmla="*/ 5338287 w 6400800"/>
                <a:gd name="connsiteY3695" fmla="*/ 310039 h 514350"/>
                <a:gd name="connsiteX3696" fmla="*/ 5326856 w 6400800"/>
                <a:gd name="connsiteY3696" fmla="*/ 351949 h 514350"/>
                <a:gd name="connsiteX3697" fmla="*/ 5323999 w 6400800"/>
                <a:gd name="connsiteY3697" fmla="*/ 336709 h 514350"/>
                <a:gd name="connsiteX3698" fmla="*/ 5332571 w 6400800"/>
                <a:gd name="connsiteY3698" fmla="*/ 321469 h 514350"/>
                <a:gd name="connsiteX3699" fmla="*/ 5319237 w 6400800"/>
                <a:gd name="connsiteY3699" fmla="*/ 350996 h 514350"/>
                <a:gd name="connsiteX3700" fmla="*/ 5323046 w 6400800"/>
                <a:gd name="connsiteY3700" fmla="*/ 342424 h 514350"/>
                <a:gd name="connsiteX3701" fmla="*/ 5322094 w 6400800"/>
                <a:gd name="connsiteY3701" fmla="*/ 371951 h 514350"/>
                <a:gd name="connsiteX3702" fmla="*/ 5319237 w 6400800"/>
                <a:gd name="connsiteY3702" fmla="*/ 362426 h 514350"/>
                <a:gd name="connsiteX3703" fmla="*/ 5319237 w 6400800"/>
                <a:gd name="connsiteY3703" fmla="*/ 350996 h 514350"/>
                <a:gd name="connsiteX3704" fmla="*/ 5316379 w 6400800"/>
                <a:gd name="connsiteY3704" fmla="*/ 392906 h 514350"/>
                <a:gd name="connsiteX3705" fmla="*/ 5317331 w 6400800"/>
                <a:gd name="connsiteY3705" fmla="*/ 382429 h 514350"/>
                <a:gd name="connsiteX3706" fmla="*/ 5318284 w 6400800"/>
                <a:gd name="connsiteY3706" fmla="*/ 390049 h 514350"/>
                <a:gd name="connsiteX3707" fmla="*/ 5315426 w 6400800"/>
                <a:gd name="connsiteY3707" fmla="*/ 399574 h 514350"/>
                <a:gd name="connsiteX3708" fmla="*/ 5316379 w 6400800"/>
                <a:gd name="connsiteY3708" fmla="*/ 392906 h 514350"/>
                <a:gd name="connsiteX3709" fmla="*/ 5285899 w 6400800"/>
                <a:gd name="connsiteY3709" fmla="*/ 293846 h 514350"/>
                <a:gd name="connsiteX3710" fmla="*/ 5286851 w 6400800"/>
                <a:gd name="connsiteY3710" fmla="*/ 298609 h 514350"/>
                <a:gd name="connsiteX3711" fmla="*/ 5283994 w 6400800"/>
                <a:gd name="connsiteY3711" fmla="*/ 302419 h 514350"/>
                <a:gd name="connsiteX3712" fmla="*/ 5285899 w 6400800"/>
                <a:gd name="connsiteY3712" fmla="*/ 293846 h 514350"/>
                <a:gd name="connsiteX3713" fmla="*/ 5279231 w 6400800"/>
                <a:gd name="connsiteY3713" fmla="*/ 319564 h 514350"/>
                <a:gd name="connsiteX3714" fmla="*/ 5282089 w 6400800"/>
                <a:gd name="connsiteY3714" fmla="*/ 311944 h 514350"/>
                <a:gd name="connsiteX3715" fmla="*/ 5287804 w 6400800"/>
                <a:gd name="connsiteY3715" fmla="*/ 302419 h 514350"/>
                <a:gd name="connsiteX3716" fmla="*/ 5288756 w 6400800"/>
                <a:gd name="connsiteY3716" fmla="*/ 309086 h 514350"/>
                <a:gd name="connsiteX3717" fmla="*/ 5292567 w 6400800"/>
                <a:gd name="connsiteY3717" fmla="*/ 340519 h 514350"/>
                <a:gd name="connsiteX3718" fmla="*/ 5287804 w 6400800"/>
                <a:gd name="connsiteY3718" fmla="*/ 363379 h 514350"/>
                <a:gd name="connsiteX3719" fmla="*/ 5287804 w 6400800"/>
                <a:gd name="connsiteY3719" fmla="*/ 351949 h 514350"/>
                <a:gd name="connsiteX3720" fmla="*/ 5287804 w 6400800"/>
                <a:gd name="connsiteY3720" fmla="*/ 335756 h 514350"/>
                <a:gd name="connsiteX3721" fmla="*/ 5283994 w 6400800"/>
                <a:gd name="connsiteY3721" fmla="*/ 350996 h 514350"/>
                <a:gd name="connsiteX3722" fmla="*/ 5280184 w 6400800"/>
                <a:gd name="connsiteY3722" fmla="*/ 369094 h 514350"/>
                <a:gd name="connsiteX3723" fmla="*/ 5280184 w 6400800"/>
                <a:gd name="connsiteY3723" fmla="*/ 370046 h 514350"/>
                <a:gd name="connsiteX3724" fmla="*/ 5277326 w 6400800"/>
                <a:gd name="connsiteY3724" fmla="*/ 350044 h 514350"/>
                <a:gd name="connsiteX3725" fmla="*/ 5275421 w 6400800"/>
                <a:gd name="connsiteY3725" fmla="*/ 335756 h 514350"/>
                <a:gd name="connsiteX3726" fmla="*/ 5279231 w 6400800"/>
                <a:gd name="connsiteY3726" fmla="*/ 319564 h 514350"/>
                <a:gd name="connsiteX3727" fmla="*/ 5236369 w 6400800"/>
                <a:gd name="connsiteY3727" fmla="*/ 318611 h 514350"/>
                <a:gd name="connsiteX3728" fmla="*/ 5235417 w 6400800"/>
                <a:gd name="connsiteY3728" fmla="*/ 320516 h 514350"/>
                <a:gd name="connsiteX3729" fmla="*/ 5230654 w 6400800"/>
                <a:gd name="connsiteY3729" fmla="*/ 311944 h 514350"/>
                <a:gd name="connsiteX3730" fmla="*/ 5230654 w 6400800"/>
                <a:gd name="connsiteY3730" fmla="*/ 310991 h 514350"/>
                <a:gd name="connsiteX3731" fmla="*/ 5239226 w 6400800"/>
                <a:gd name="connsiteY3731" fmla="*/ 295751 h 514350"/>
                <a:gd name="connsiteX3732" fmla="*/ 5236369 w 6400800"/>
                <a:gd name="connsiteY3732" fmla="*/ 318611 h 514350"/>
                <a:gd name="connsiteX3733" fmla="*/ 5230654 w 6400800"/>
                <a:gd name="connsiteY3733" fmla="*/ 281464 h 514350"/>
                <a:gd name="connsiteX3734" fmla="*/ 5237321 w 6400800"/>
                <a:gd name="connsiteY3734" fmla="*/ 265271 h 514350"/>
                <a:gd name="connsiteX3735" fmla="*/ 5243989 w 6400800"/>
                <a:gd name="connsiteY3735" fmla="*/ 251936 h 514350"/>
                <a:gd name="connsiteX3736" fmla="*/ 5242084 w 6400800"/>
                <a:gd name="connsiteY3736" fmla="*/ 264319 h 514350"/>
                <a:gd name="connsiteX3737" fmla="*/ 5240179 w 6400800"/>
                <a:gd name="connsiteY3737" fmla="*/ 283369 h 514350"/>
                <a:gd name="connsiteX3738" fmla="*/ 5228749 w 6400800"/>
                <a:gd name="connsiteY3738" fmla="*/ 299561 h 514350"/>
                <a:gd name="connsiteX3739" fmla="*/ 5227796 w 6400800"/>
                <a:gd name="connsiteY3739" fmla="*/ 290036 h 514350"/>
                <a:gd name="connsiteX3740" fmla="*/ 5230654 w 6400800"/>
                <a:gd name="connsiteY3740" fmla="*/ 281464 h 514350"/>
                <a:gd name="connsiteX3741" fmla="*/ 5211604 w 6400800"/>
                <a:gd name="connsiteY3741" fmla="*/ 344329 h 514350"/>
                <a:gd name="connsiteX3742" fmla="*/ 5213509 w 6400800"/>
                <a:gd name="connsiteY3742" fmla="*/ 341471 h 514350"/>
                <a:gd name="connsiteX3743" fmla="*/ 5213509 w 6400800"/>
                <a:gd name="connsiteY3743" fmla="*/ 341471 h 514350"/>
                <a:gd name="connsiteX3744" fmla="*/ 5213509 w 6400800"/>
                <a:gd name="connsiteY3744" fmla="*/ 342424 h 514350"/>
                <a:gd name="connsiteX3745" fmla="*/ 5211604 w 6400800"/>
                <a:gd name="connsiteY3745" fmla="*/ 344329 h 514350"/>
                <a:gd name="connsiteX3746" fmla="*/ 5211604 w 6400800"/>
                <a:gd name="connsiteY3746" fmla="*/ 344329 h 514350"/>
                <a:gd name="connsiteX3747" fmla="*/ 5214462 w 6400800"/>
                <a:gd name="connsiteY3747" fmla="*/ 343376 h 514350"/>
                <a:gd name="connsiteX3748" fmla="*/ 5216367 w 6400800"/>
                <a:gd name="connsiteY3748" fmla="*/ 348139 h 514350"/>
                <a:gd name="connsiteX3749" fmla="*/ 5213509 w 6400800"/>
                <a:gd name="connsiteY3749" fmla="*/ 352901 h 514350"/>
                <a:gd name="connsiteX3750" fmla="*/ 5212556 w 6400800"/>
                <a:gd name="connsiteY3750" fmla="*/ 350996 h 514350"/>
                <a:gd name="connsiteX3751" fmla="*/ 5212556 w 6400800"/>
                <a:gd name="connsiteY3751" fmla="*/ 349091 h 514350"/>
                <a:gd name="connsiteX3752" fmla="*/ 5214462 w 6400800"/>
                <a:gd name="connsiteY3752" fmla="*/ 343376 h 514350"/>
                <a:gd name="connsiteX3753" fmla="*/ 5214462 w 6400800"/>
                <a:gd name="connsiteY3753" fmla="*/ 343376 h 514350"/>
                <a:gd name="connsiteX3754" fmla="*/ 5211604 w 6400800"/>
                <a:gd name="connsiteY3754" fmla="*/ 290989 h 514350"/>
                <a:gd name="connsiteX3755" fmla="*/ 5211604 w 6400800"/>
                <a:gd name="connsiteY3755" fmla="*/ 290989 h 514350"/>
                <a:gd name="connsiteX3756" fmla="*/ 5213509 w 6400800"/>
                <a:gd name="connsiteY3756" fmla="*/ 296704 h 514350"/>
                <a:gd name="connsiteX3757" fmla="*/ 5210651 w 6400800"/>
                <a:gd name="connsiteY3757" fmla="*/ 302419 h 514350"/>
                <a:gd name="connsiteX3758" fmla="*/ 5211604 w 6400800"/>
                <a:gd name="connsiteY3758" fmla="*/ 290989 h 514350"/>
                <a:gd name="connsiteX3759" fmla="*/ 5189696 w 6400800"/>
                <a:gd name="connsiteY3759" fmla="*/ 260509 h 514350"/>
                <a:gd name="connsiteX3760" fmla="*/ 5189696 w 6400800"/>
                <a:gd name="connsiteY3760" fmla="*/ 264319 h 514350"/>
                <a:gd name="connsiteX3761" fmla="*/ 5186839 w 6400800"/>
                <a:gd name="connsiteY3761" fmla="*/ 258604 h 514350"/>
                <a:gd name="connsiteX3762" fmla="*/ 5187792 w 6400800"/>
                <a:gd name="connsiteY3762" fmla="*/ 257651 h 514350"/>
                <a:gd name="connsiteX3763" fmla="*/ 5189696 w 6400800"/>
                <a:gd name="connsiteY3763" fmla="*/ 253841 h 514350"/>
                <a:gd name="connsiteX3764" fmla="*/ 5189696 w 6400800"/>
                <a:gd name="connsiteY3764" fmla="*/ 260509 h 514350"/>
                <a:gd name="connsiteX3765" fmla="*/ 5178267 w 6400800"/>
                <a:gd name="connsiteY3765" fmla="*/ 230981 h 514350"/>
                <a:gd name="connsiteX3766" fmla="*/ 5186839 w 6400800"/>
                <a:gd name="connsiteY3766" fmla="*/ 213836 h 514350"/>
                <a:gd name="connsiteX3767" fmla="*/ 5188744 w 6400800"/>
                <a:gd name="connsiteY3767" fmla="*/ 210026 h 514350"/>
                <a:gd name="connsiteX3768" fmla="*/ 5188744 w 6400800"/>
                <a:gd name="connsiteY3768" fmla="*/ 219551 h 514350"/>
                <a:gd name="connsiteX3769" fmla="*/ 5188744 w 6400800"/>
                <a:gd name="connsiteY3769" fmla="*/ 254794 h 514350"/>
                <a:gd name="connsiteX3770" fmla="*/ 5185887 w 6400800"/>
                <a:gd name="connsiteY3770" fmla="*/ 258604 h 514350"/>
                <a:gd name="connsiteX3771" fmla="*/ 5185887 w 6400800"/>
                <a:gd name="connsiteY3771" fmla="*/ 258604 h 514350"/>
                <a:gd name="connsiteX3772" fmla="*/ 5178267 w 6400800"/>
                <a:gd name="connsiteY3772" fmla="*/ 243364 h 514350"/>
                <a:gd name="connsiteX3773" fmla="*/ 5175409 w 6400800"/>
                <a:gd name="connsiteY3773" fmla="*/ 238601 h 514350"/>
                <a:gd name="connsiteX3774" fmla="*/ 5178267 w 6400800"/>
                <a:gd name="connsiteY3774" fmla="*/ 230981 h 514350"/>
                <a:gd name="connsiteX3775" fmla="*/ 5168742 w 6400800"/>
                <a:gd name="connsiteY3775" fmla="*/ 238601 h 514350"/>
                <a:gd name="connsiteX3776" fmla="*/ 5168742 w 6400800"/>
                <a:gd name="connsiteY3776" fmla="*/ 238601 h 514350"/>
                <a:gd name="connsiteX3777" fmla="*/ 5168742 w 6400800"/>
                <a:gd name="connsiteY3777" fmla="*/ 238601 h 514350"/>
                <a:gd name="connsiteX3778" fmla="*/ 5168742 w 6400800"/>
                <a:gd name="connsiteY3778" fmla="*/ 238601 h 514350"/>
                <a:gd name="connsiteX3779" fmla="*/ 5166837 w 6400800"/>
                <a:gd name="connsiteY3779" fmla="*/ 280511 h 514350"/>
                <a:gd name="connsiteX3780" fmla="*/ 5167789 w 6400800"/>
                <a:gd name="connsiteY3780" fmla="*/ 259556 h 514350"/>
                <a:gd name="connsiteX3781" fmla="*/ 5167789 w 6400800"/>
                <a:gd name="connsiteY3781" fmla="*/ 259556 h 514350"/>
                <a:gd name="connsiteX3782" fmla="*/ 5171599 w 6400800"/>
                <a:gd name="connsiteY3782" fmla="*/ 248126 h 514350"/>
                <a:gd name="connsiteX3783" fmla="*/ 5177314 w 6400800"/>
                <a:gd name="connsiteY3783" fmla="*/ 263366 h 514350"/>
                <a:gd name="connsiteX3784" fmla="*/ 5179219 w 6400800"/>
                <a:gd name="connsiteY3784" fmla="*/ 267176 h 514350"/>
                <a:gd name="connsiteX3785" fmla="*/ 5176362 w 6400800"/>
                <a:gd name="connsiteY3785" fmla="*/ 271939 h 514350"/>
                <a:gd name="connsiteX3786" fmla="*/ 5166837 w 6400800"/>
                <a:gd name="connsiteY3786" fmla="*/ 287179 h 514350"/>
                <a:gd name="connsiteX3787" fmla="*/ 5166837 w 6400800"/>
                <a:gd name="connsiteY3787" fmla="*/ 280511 h 514350"/>
                <a:gd name="connsiteX3788" fmla="*/ 5166837 w 6400800"/>
                <a:gd name="connsiteY3788" fmla="*/ 307181 h 514350"/>
                <a:gd name="connsiteX3789" fmla="*/ 5170646 w 6400800"/>
                <a:gd name="connsiteY3789" fmla="*/ 296704 h 514350"/>
                <a:gd name="connsiteX3790" fmla="*/ 5171599 w 6400800"/>
                <a:gd name="connsiteY3790" fmla="*/ 293846 h 514350"/>
                <a:gd name="connsiteX3791" fmla="*/ 5176362 w 6400800"/>
                <a:gd name="connsiteY3791" fmla="*/ 289084 h 514350"/>
                <a:gd name="connsiteX3792" fmla="*/ 5181124 w 6400800"/>
                <a:gd name="connsiteY3792" fmla="*/ 284321 h 514350"/>
                <a:gd name="connsiteX3793" fmla="*/ 5175409 w 6400800"/>
                <a:gd name="connsiteY3793" fmla="*/ 288131 h 514350"/>
                <a:gd name="connsiteX3794" fmla="*/ 5172551 w 6400800"/>
                <a:gd name="connsiteY3794" fmla="*/ 290036 h 514350"/>
                <a:gd name="connsiteX3795" fmla="*/ 5179219 w 6400800"/>
                <a:gd name="connsiteY3795" fmla="*/ 272891 h 514350"/>
                <a:gd name="connsiteX3796" fmla="*/ 5180171 w 6400800"/>
                <a:gd name="connsiteY3796" fmla="*/ 270034 h 514350"/>
                <a:gd name="connsiteX3797" fmla="*/ 5184934 w 6400800"/>
                <a:gd name="connsiteY3797" fmla="*/ 280511 h 514350"/>
                <a:gd name="connsiteX3798" fmla="*/ 5190649 w 6400800"/>
                <a:gd name="connsiteY3798" fmla="*/ 292894 h 514350"/>
                <a:gd name="connsiteX3799" fmla="*/ 5190649 w 6400800"/>
                <a:gd name="connsiteY3799" fmla="*/ 298609 h 514350"/>
                <a:gd name="connsiteX3800" fmla="*/ 5192554 w 6400800"/>
                <a:gd name="connsiteY3800" fmla="*/ 330041 h 514350"/>
                <a:gd name="connsiteX3801" fmla="*/ 5192554 w 6400800"/>
                <a:gd name="connsiteY3801" fmla="*/ 335756 h 514350"/>
                <a:gd name="connsiteX3802" fmla="*/ 5192554 w 6400800"/>
                <a:gd name="connsiteY3802" fmla="*/ 336709 h 514350"/>
                <a:gd name="connsiteX3803" fmla="*/ 5191601 w 6400800"/>
                <a:gd name="connsiteY3803" fmla="*/ 338614 h 514350"/>
                <a:gd name="connsiteX3804" fmla="*/ 5187792 w 6400800"/>
                <a:gd name="connsiteY3804" fmla="*/ 348139 h 514350"/>
                <a:gd name="connsiteX3805" fmla="*/ 5183981 w 6400800"/>
                <a:gd name="connsiteY3805" fmla="*/ 309086 h 514350"/>
                <a:gd name="connsiteX3806" fmla="*/ 5177314 w 6400800"/>
                <a:gd name="connsiteY3806" fmla="*/ 348139 h 514350"/>
                <a:gd name="connsiteX3807" fmla="*/ 5176362 w 6400800"/>
                <a:gd name="connsiteY3807" fmla="*/ 354806 h 514350"/>
                <a:gd name="connsiteX3808" fmla="*/ 5174456 w 6400800"/>
                <a:gd name="connsiteY3808" fmla="*/ 349091 h 514350"/>
                <a:gd name="connsiteX3809" fmla="*/ 5171599 w 6400800"/>
                <a:gd name="connsiteY3809" fmla="*/ 341471 h 514350"/>
                <a:gd name="connsiteX3810" fmla="*/ 5173504 w 6400800"/>
                <a:gd name="connsiteY3810" fmla="*/ 328136 h 514350"/>
                <a:gd name="connsiteX3811" fmla="*/ 5169694 w 6400800"/>
                <a:gd name="connsiteY3811" fmla="*/ 338614 h 514350"/>
                <a:gd name="connsiteX3812" fmla="*/ 5167789 w 6400800"/>
                <a:gd name="connsiteY3812" fmla="*/ 334804 h 514350"/>
                <a:gd name="connsiteX3813" fmla="*/ 5165884 w 6400800"/>
                <a:gd name="connsiteY3813" fmla="*/ 312896 h 514350"/>
                <a:gd name="connsiteX3814" fmla="*/ 5166837 w 6400800"/>
                <a:gd name="connsiteY3814" fmla="*/ 307181 h 514350"/>
                <a:gd name="connsiteX3815" fmla="*/ 5161121 w 6400800"/>
                <a:gd name="connsiteY3815" fmla="*/ 218599 h 514350"/>
                <a:gd name="connsiteX3816" fmla="*/ 5164931 w 6400800"/>
                <a:gd name="connsiteY3816" fmla="*/ 229076 h 514350"/>
                <a:gd name="connsiteX3817" fmla="*/ 5161121 w 6400800"/>
                <a:gd name="connsiteY3817" fmla="*/ 248126 h 514350"/>
                <a:gd name="connsiteX3818" fmla="*/ 5157312 w 6400800"/>
                <a:gd name="connsiteY3818" fmla="*/ 206216 h 514350"/>
                <a:gd name="connsiteX3819" fmla="*/ 5161121 w 6400800"/>
                <a:gd name="connsiteY3819" fmla="*/ 218599 h 514350"/>
                <a:gd name="connsiteX3820" fmla="*/ 5148739 w 6400800"/>
                <a:gd name="connsiteY3820" fmla="*/ 256699 h 514350"/>
                <a:gd name="connsiteX3821" fmla="*/ 5149692 w 6400800"/>
                <a:gd name="connsiteY3821" fmla="*/ 255746 h 514350"/>
                <a:gd name="connsiteX3822" fmla="*/ 5149692 w 6400800"/>
                <a:gd name="connsiteY3822" fmla="*/ 283369 h 514350"/>
                <a:gd name="connsiteX3823" fmla="*/ 5149692 w 6400800"/>
                <a:gd name="connsiteY3823" fmla="*/ 284321 h 514350"/>
                <a:gd name="connsiteX3824" fmla="*/ 5143024 w 6400800"/>
                <a:gd name="connsiteY3824" fmla="*/ 263366 h 514350"/>
                <a:gd name="connsiteX3825" fmla="*/ 5148739 w 6400800"/>
                <a:gd name="connsiteY3825" fmla="*/ 256699 h 514350"/>
                <a:gd name="connsiteX3826" fmla="*/ 5087779 w 6400800"/>
                <a:gd name="connsiteY3826" fmla="*/ 317659 h 514350"/>
                <a:gd name="connsiteX3827" fmla="*/ 5087779 w 6400800"/>
                <a:gd name="connsiteY3827" fmla="*/ 315754 h 514350"/>
                <a:gd name="connsiteX3828" fmla="*/ 5087779 w 6400800"/>
                <a:gd name="connsiteY3828" fmla="*/ 317659 h 514350"/>
                <a:gd name="connsiteX3829" fmla="*/ 5087779 w 6400800"/>
                <a:gd name="connsiteY3829" fmla="*/ 317659 h 514350"/>
                <a:gd name="connsiteX3830" fmla="*/ 5122069 w 6400800"/>
                <a:gd name="connsiteY3830" fmla="*/ 298609 h 514350"/>
                <a:gd name="connsiteX3831" fmla="*/ 5128737 w 6400800"/>
                <a:gd name="connsiteY3831" fmla="*/ 287179 h 514350"/>
                <a:gd name="connsiteX3832" fmla="*/ 5124926 w 6400800"/>
                <a:gd name="connsiteY3832" fmla="*/ 327184 h 514350"/>
                <a:gd name="connsiteX3833" fmla="*/ 5121117 w 6400800"/>
                <a:gd name="connsiteY3833" fmla="*/ 318611 h 514350"/>
                <a:gd name="connsiteX3834" fmla="*/ 5117306 w 6400800"/>
                <a:gd name="connsiteY3834" fmla="*/ 308134 h 514350"/>
                <a:gd name="connsiteX3835" fmla="*/ 5122069 w 6400800"/>
                <a:gd name="connsiteY3835" fmla="*/ 298609 h 514350"/>
                <a:gd name="connsiteX3836" fmla="*/ 5110639 w 6400800"/>
                <a:gd name="connsiteY3836" fmla="*/ 321469 h 514350"/>
                <a:gd name="connsiteX3837" fmla="*/ 5110639 w 6400800"/>
                <a:gd name="connsiteY3837" fmla="*/ 321469 h 514350"/>
                <a:gd name="connsiteX3838" fmla="*/ 5118259 w 6400800"/>
                <a:gd name="connsiteY3838" fmla="*/ 344329 h 514350"/>
                <a:gd name="connsiteX3839" fmla="*/ 5116354 w 6400800"/>
                <a:gd name="connsiteY3839" fmla="*/ 347186 h 514350"/>
                <a:gd name="connsiteX3840" fmla="*/ 5114449 w 6400800"/>
                <a:gd name="connsiteY3840" fmla="*/ 349091 h 514350"/>
                <a:gd name="connsiteX3841" fmla="*/ 5110639 w 6400800"/>
                <a:gd name="connsiteY3841" fmla="*/ 335756 h 514350"/>
                <a:gd name="connsiteX3842" fmla="*/ 5107781 w 6400800"/>
                <a:gd name="connsiteY3842" fmla="*/ 327184 h 514350"/>
                <a:gd name="connsiteX3843" fmla="*/ 5110639 w 6400800"/>
                <a:gd name="connsiteY3843" fmla="*/ 321469 h 514350"/>
                <a:gd name="connsiteX3844" fmla="*/ 5105876 w 6400800"/>
                <a:gd name="connsiteY3844" fmla="*/ 308134 h 514350"/>
                <a:gd name="connsiteX3845" fmla="*/ 5103019 w 6400800"/>
                <a:gd name="connsiteY3845" fmla="*/ 311944 h 514350"/>
                <a:gd name="connsiteX3846" fmla="*/ 5101114 w 6400800"/>
                <a:gd name="connsiteY3846" fmla="*/ 306229 h 514350"/>
                <a:gd name="connsiteX3847" fmla="*/ 5101114 w 6400800"/>
                <a:gd name="connsiteY3847" fmla="*/ 304324 h 514350"/>
                <a:gd name="connsiteX3848" fmla="*/ 5101114 w 6400800"/>
                <a:gd name="connsiteY3848" fmla="*/ 305276 h 514350"/>
                <a:gd name="connsiteX3849" fmla="*/ 5096351 w 6400800"/>
                <a:gd name="connsiteY3849" fmla="*/ 288131 h 514350"/>
                <a:gd name="connsiteX3850" fmla="*/ 5097304 w 6400800"/>
                <a:gd name="connsiteY3850" fmla="*/ 281464 h 514350"/>
                <a:gd name="connsiteX3851" fmla="*/ 5105876 w 6400800"/>
                <a:gd name="connsiteY3851" fmla="*/ 308134 h 514350"/>
                <a:gd name="connsiteX3852" fmla="*/ 5097304 w 6400800"/>
                <a:gd name="connsiteY3852" fmla="*/ 282416 h 514350"/>
                <a:gd name="connsiteX3853" fmla="*/ 5095399 w 6400800"/>
                <a:gd name="connsiteY3853" fmla="*/ 286226 h 514350"/>
                <a:gd name="connsiteX3854" fmla="*/ 5093494 w 6400800"/>
                <a:gd name="connsiteY3854" fmla="*/ 279559 h 514350"/>
                <a:gd name="connsiteX3855" fmla="*/ 5087779 w 6400800"/>
                <a:gd name="connsiteY3855" fmla="*/ 258604 h 514350"/>
                <a:gd name="connsiteX3856" fmla="*/ 5089684 w 6400800"/>
                <a:gd name="connsiteY3856" fmla="*/ 257651 h 514350"/>
                <a:gd name="connsiteX3857" fmla="*/ 5097304 w 6400800"/>
                <a:gd name="connsiteY3857" fmla="*/ 282416 h 514350"/>
                <a:gd name="connsiteX3858" fmla="*/ 5080159 w 6400800"/>
                <a:gd name="connsiteY3858" fmla="*/ 224314 h 514350"/>
                <a:gd name="connsiteX3859" fmla="*/ 5089684 w 6400800"/>
                <a:gd name="connsiteY3859" fmla="*/ 254794 h 514350"/>
                <a:gd name="connsiteX3860" fmla="*/ 5087779 w 6400800"/>
                <a:gd name="connsiteY3860" fmla="*/ 254794 h 514350"/>
                <a:gd name="connsiteX3861" fmla="*/ 5081112 w 6400800"/>
                <a:gd name="connsiteY3861" fmla="*/ 228124 h 514350"/>
                <a:gd name="connsiteX3862" fmla="*/ 5080159 w 6400800"/>
                <a:gd name="connsiteY3862" fmla="*/ 224314 h 514350"/>
                <a:gd name="connsiteX3863" fmla="*/ 5080159 w 6400800"/>
                <a:gd name="connsiteY3863" fmla="*/ 224314 h 514350"/>
                <a:gd name="connsiteX3864" fmla="*/ 5076349 w 6400800"/>
                <a:gd name="connsiteY3864" fmla="*/ 272891 h 514350"/>
                <a:gd name="connsiteX3865" fmla="*/ 5076349 w 6400800"/>
                <a:gd name="connsiteY3865" fmla="*/ 268129 h 514350"/>
                <a:gd name="connsiteX3866" fmla="*/ 5079206 w 6400800"/>
                <a:gd name="connsiteY3866" fmla="*/ 283369 h 514350"/>
                <a:gd name="connsiteX3867" fmla="*/ 5083017 w 6400800"/>
                <a:gd name="connsiteY3867" fmla="*/ 301466 h 514350"/>
                <a:gd name="connsiteX3868" fmla="*/ 5083017 w 6400800"/>
                <a:gd name="connsiteY3868" fmla="*/ 304324 h 514350"/>
                <a:gd name="connsiteX3869" fmla="*/ 5082064 w 6400800"/>
                <a:gd name="connsiteY3869" fmla="*/ 311944 h 514350"/>
                <a:gd name="connsiteX3870" fmla="*/ 5073492 w 6400800"/>
                <a:gd name="connsiteY3870" fmla="*/ 292894 h 514350"/>
                <a:gd name="connsiteX3871" fmla="*/ 5076349 w 6400800"/>
                <a:gd name="connsiteY3871" fmla="*/ 272891 h 514350"/>
                <a:gd name="connsiteX3872" fmla="*/ 5066824 w 6400800"/>
                <a:gd name="connsiteY3872" fmla="*/ 377666 h 514350"/>
                <a:gd name="connsiteX3873" fmla="*/ 5066824 w 6400800"/>
                <a:gd name="connsiteY3873" fmla="*/ 380524 h 514350"/>
                <a:gd name="connsiteX3874" fmla="*/ 5066824 w 6400800"/>
                <a:gd name="connsiteY3874" fmla="*/ 383381 h 514350"/>
                <a:gd name="connsiteX3875" fmla="*/ 5065871 w 6400800"/>
                <a:gd name="connsiteY3875" fmla="*/ 384334 h 514350"/>
                <a:gd name="connsiteX3876" fmla="*/ 5064919 w 6400800"/>
                <a:gd name="connsiteY3876" fmla="*/ 381476 h 514350"/>
                <a:gd name="connsiteX3877" fmla="*/ 5066824 w 6400800"/>
                <a:gd name="connsiteY3877" fmla="*/ 377666 h 514350"/>
                <a:gd name="connsiteX3878" fmla="*/ 5057299 w 6400800"/>
                <a:gd name="connsiteY3878" fmla="*/ 303371 h 514350"/>
                <a:gd name="connsiteX3879" fmla="*/ 5051584 w 6400800"/>
                <a:gd name="connsiteY3879" fmla="*/ 294799 h 514350"/>
                <a:gd name="connsiteX3880" fmla="*/ 5052537 w 6400800"/>
                <a:gd name="connsiteY3880" fmla="*/ 290989 h 514350"/>
                <a:gd name="connsiteX3881" fmla="*/ 5055394 w 6400800"/>
                <a:gd name="connsiteY3881" fmla="*/ 287179 h 514350"/>
                <a:gd name="connsiteX3882" fmla="*/ 5057299 w 6400800"/>
                <a:gd name="connsiteY3882" fmla="*/ 303371 h 514350"/>
                <a:gd name="connsiteX3883" fmla="*/ 5050631 w 6400800"/>
                <a:gd name="connsiteY3883" fmla="*/ 252889 h 514350"/>
                <a:gd name="connsiteX3884" fmla="*/ 5052537 w 6400800"/>
                <a:gd name="connsiteY3884" fmla="*/ 258604 h 514350"/>
                <a:gd name="connsiteX3885" fmla="*/ 5053489 w 6400800"/>
                <a:gd name="connsiteY3885" fmla="*/ 260509 h 514350"/>
                <a:gd name="connsiteX3886" fmla="*/ 5054442 w 6400800"/>
                <a:gd name="connsiteY3886" fmla="*/ 268129 h 514350"/>
                <a:gd name="connsiteX3887" fmla="*/ 5052537 w 6400800"/>
                <a:gd name="connsiteY3887" fmla="*/ 273844 h 514350"/>
                <a:gd name="connsiteX3888" fmla="*/ 5051584 w 6400800"/>
                <a:gd name="connsiteY3888" fmla="*/ 276701 h 514350"/>
                <a:gd name="connsiteX3889" fmla="*/ 5048726 w 6400800"/>
                <a:gd name="connsiteY3889" fmla="*/ 279559 h 514350"/>
                <a:gd name="connsiteX3890" fmla="*/ 5048726 w 6400800"/>
                <a:gd name="connsiteY3890" fmla="*/ 278606 h 514350"/>
                <a:gd name="connsiteX3891" fmla="*/ 5048726 w 6400800"/>
                <a:gd name="connsiteY3891" fmla="*/ 274796 h 514350"/>
                <a:gd name="connsiteX3892" fmla="*/ 5049679 w 6400800"/>
                <a:gd name="connsiteY3892" fmla="*/ 268129 h 514350"/>
                <a:gd name="connsiteX3893" fmla="*/ 5050631 w 6400800"/>
                <a:gd name="connsiteY3893" fmla="*/ 262414 h 514350"/>
                <a:gd name="connsiteX3894" fmla="*/ 5048726 w 6400800"/>
                <a:gd name="connsiteY3894" fmla="*/ 268129 h 514350"/>
                <a:gd name="connsiteX3895" fmla="*/ 5048726 w 6400800"/>
                <a:gd name="connsiteY3895" fmla="*/ 269081 h 514350"/>
                <a:gd name="connsiteX3896" fmla="*/ 5048726 w 6400800"/>
                <a:gd name="connsiteY3896" fmla="*/ 266224 h 514350"/>
                <a:gd name="connsiteX3897" fmla="*/ 5050631 w 6400800"/>
                <a:gd name="connsiteY3897" fmla="*/ 252889 h 514350"/>
                <a:gd name="connsiteX3898" fmla="*/ 5020151 w 6400800"/>
                <a:gd name="connsiteY3898" fmla="*/ 390049 h 514350"/>
                <a:gd name="connsiteX3899" fmla="*/ 5014437 w 6400800"/>
                <a:gd name="connsiteY3899" fmla="*/ 376714 h 514350"/>
                <a:gd name="connsiteX3900" fmla="*/ 5014437 w 6400800"/>
                <a:gd name="connsiteY3900" fmla="*/ 375761 h 514350"/>
                <a:gd name="connsiteX3901" fmla="*/ 5022056 w 6400800"/>
                <a:gd name="connsiteY3901" fmla="*/ 347186 h 514350"/>
                <a:gd name="connsiteX3902" fmla="*/ 5022056 w 6400800"/>
                <a:gd name="connsiteY3902" fmla="*/ 348139 h 514350"/>
                <a:gd name="connsiteX3903" fmla="*/ 5022056 w 6400800"/>
                <a:gd name="connsiteY3903" fmla="*/ 363379 h 514350"/>
                <a:gd name="connsiteX3904" fmla="*/ 5023009 w 6400800"/>
                <a:gd name="connsiteY3904" fmla="*/ 379571 h 514350"/>
                <a:gd name="connsiteX3905" fmla="*/ 5023962 w 6400800"/>
                <a:gd name="connsiteY3905" fmla="*/ 386239 h 514350"/>
                <a:gd name="connsiteX3906" fmla="*/ 5020151 w 6400800"/>
                <a:gd name="connsiteY3906" fmla="*/ 390049 h 514350"/>
                <a:gd name="connsiteX3907" fmla="*/ 5024914 w 6400800"/>
                <a:gd name="connsiteY3907" fmla="*/ 400526 h 514350"/>
                <a:gd name="connsiteX3908" fmla="*/ 5024914 w 6400800"/>
                <a:gd name="connsiteY3908" fmla="*/ 400526 h 514350"/>
                <a:gd name="connsiteX3909" fmla="*/ 5024914 w 6400800"/>
                <a:gd name="connsiteY3909" fmla="*/ 400526 h 514350"/>
                <a:gd name="connsiteX3910" fmla="*/ 5024914 w 6400800"/>
                <a:gd name="connsiteY3910" fmla="*/ 400526 h 514350"/>
                <a:gd name="connsiteX3911" fmla="*/ 5035392 w 6400800"/>
                <a:gd name="connsiteY3911" fmla="*/ 314801 h 514350"/>
                <a:gd name="connsiteX3912" fmla="*/ 5035392 w 6400800"/>
                <a:gd name="connsiteY3912" fmla="*/ 317659 h 514350"/>
                <a:gd name="connsiteX3913" fmla="*/ 5031581 w 6400800"/>
                <a:gd name="connsiteY3913" fmla="*/ 353854 h 514350"/>
                <a:gd name="connsiteX3914" fmla="*/ 5031581 w 6400800"/>
                <a:gd name="connsiteY3914" fmla="*/ 353854 h 514350"/>
                <a:gd name="connsiteX3915" fmla="*/ 5031581 w 6400800"/>
                <a:gd name="connsiteY3915" fmla="*/ 354806 h 514350"/>
                <a:gd name="connsiteX3916" fmla="*/ 5030629 w 6400800"/>
                <a:gd name="connsiteY3916" fmla="*/ 347186 h 514350"/>
                <a:gd name="connsiteX3917" fmla="*/ 5027771 w 6400800"/>
                <a:gd name="connsiteY3917" fmla="*/ 329089 h 514350"/>
                <a:gd name="connsiteX3918" fmla="*/ 5028724 w 6400800"/>
                <a:gd name="connsiteY3918" fmla="*/ 325279 h 514350"/>
                <a:gd name="connsiteX3919" fmla="*/ 5032534 w 6400800"/>
                <a:gd name="connsiteY3919" fmla="*/ 319564 h 514350"/>
                <a:gd name="connsiteX3920" fmla="*/ 5035392 w 6400800"/>
                <a:gd name="connsiteY3920" fmla="*/ 314801 h 514350"/>
                <a:gd name="connsiteX3921" fmla="*/ 5006817 w 6400800"/>
                <a:gd name="connsiteY3921" fmla="*/ 242411 h 514350"/>
                <a:gd name="connsiteX3922" fmla="*/ 5019199 w 6400800"/>
                <a:gd name="connsiteY3922" fmla="*/ 259556 h 514350"/>
                <a:gd name="connsiteX3923" fmla="*/ 5025867 w 6400800"/>
                <a:gd name="connsiteY3923" fmla="*/ 270034 h 514350"/>
                <a:gd name="connsiteX3924" fmla="*/ 5021104 w 6400800"/>
                <a:gd name="connsiteY3924" fmla="*/ 263366 h 514350"/>
                <a:gd name="connsiteX3925" fmla="*/ 5014437 w 6400800"/>
                <a:gd name="connsiteY3925" fmla="*/ 255746 h 514350"/>
                <a:gd name="connsiteX3926" fmla="*/ 5004912 w 6400800"/>
                <a:gd name="connsiteY3926" fmla="*/ 245269 h 514350"/>
                <a:gd name="connsiteX3927" fmla="*/ 5006817 w 6400800"/>
                <a:gd name="connsiteY3927" fmla="*/ 242411 h 514350"/>
                <a:gd name="connsiteX3928" fmla="*/ 5004912 w 6400800"/>
                <a:gd name="connsiteY3928" fmla="*/ 242411 h 514350"/>
                <a:gd name="connsiteX3929" fmla="*/ 5004912 w 6400800"/>
                <a:gd name="connsiteY3929" fmla="*/ 238601 h 514350"/>
                <a:gd name="connsiteX3930" fmla="*/ 5006817 w 6400800"/>
                <a:gd name="connsiteY3930" fmla="*/ 241459 h 514350"/>
                <a:gd name="connsiteX3931" fmla="*/ 5004912 w 6400800"/>
                <a:gd name="connsiteY3931" fmla="*/ 244316 h 514350"/>
                <a:gd name="connsiteX3932" fmla="*/ 5004912 w 6400800"/>
                <a:gd name="connsiteY3932" fmla="*/ 243364 h 514350"/>
                <a:gd name="connsiteX3933" fmla="*/ 5004912 w 6400800"/>
                <a:gd name="connsiteY3933" fmla="*/ 242411 h 514350"/>
                <a:gd name="connsiteX3934" fmla="*/ 4999196 w 6400800"/>
                <a:gd name="connsiteY3934" fmla="*/ 303371 h 514350"/>
                <a:gd name="connsiteX3935" fmla="*/ 5003006 w 6400800"/>
                <a:gd name="connsiteY3935" fmla="*/ 252889 h 514350"/>
                <a:gd name="connsiteX3936" fmla="*/ 5008721 w 6400800"/>
                <a:gd name="connsiteY3936" fmla="*/ 260509 h 514350"/>
                <a:gd name="connsiteX3937" fmla="*/ 5014437 w 6400800"/>
                <a:gd name="connsiteY3937" fmla="*/ 268129 h 514350"/>
                <a:gd name="connsiteX3938" fmla="*/ 5020151 w 6400800"/>
                <a:gd name="connsiteY3938" fmla="*/ 276701 h 514350"/>
                <a:gd name="connsiteX3939" fmla="*/ 5029676 w 6400800"/>
                <a:gd name="connsiteY3939" fmla="*/ 292894 h 514350"/>
                <a:gd name="connsiteX3940" fmla="*/ 5029676 w 6400800"/>
                <a:gd name="connsiteY3940" fmla="*/ 293846 h 514350"/>
                <a:gd name="connsiteX3941" fmla="*/ 5025867 w 6400800"/>
                <a:gd name="connsiteY3941" fmla="*/ 302419 h 514350"/>
                <a:gd name="connsiteX3942" fmla="*/ 5023009 w 6400800"/>
                <a:gd name="connsiteY3942" fmla="*/ 305276 h 514350"/>
                <a:gd name="connsiteX3943" fmla="*/ 5022056 w 6400800"/>
                <a:gd name="connsiteY3943" fmla="*/ 301466 h 514350"/>
                <a:gd name="connsiteX3944" fmla="*/ 5022056 w 6400800"/>
                <a:gd name="connsiteY3944" fmla="*/ 306229 h 514350"/>
                <a:gd name="connsiteX3945" fmla="*/ 5019199 w 6400800"/>
                <a:gd name="connsiteY3945" fmla="*/ 309086 h 514350"/>
                <a:gd name="connsiteX3946" fmla="*/ 5012531 w 6400800"/>
                <a:gd name="connsiteY3946" fmla="*/ 318611 h 514350"/>
                <a:gd name="connsiteX3947" fmla="*/ 5013484 w 6400800"/>
                <a:gd name="connsiteY3947" fmla="*/ 311944 h 514350"/>
                <a:gd name="connsiteX3948" fmla="*/ 5017294 w 6400800"/>
                <a:gd name="connsiteY3948" fmla="*/ 294799 h 514350"/>
                <a:gd name="connsiteX3949" fmla="*/ 5020151 w 6400800"/>
                <a:gd name="connsiteY3949" fmla="*/ 279559 h 514350"/>
                <a:gd name="connsiteX3950" fmla="*/ 5013484 w 6400800"/>
                <a:gd name="connsiteY3950" fmla="*/ 293846 h 514350"/>
                <a:gd name="connsiteX3951" fmla="*/ 5006817 w 6400800"/>
                <a:gd name="connsiteY3951" fmla="*/ 310039 h 514350"/>
                <a:gd name="connsiteX3952" fmla="*/ 4999196 w 6400800"/>
                <a:gd name="connsiteY3952" fmla="*/ 331946 h 514350"/>
                <a:gd name="connsiteX3953" fmla="*/ 4999196 w 6400800"/>
                <a:gd name="connsiteY3953" fmla="*/ 332899 h 514350"/>
                <a:gd name="connsiteX3954" fmla="*/ 4997292 w 6400800"/>
                <a:gd name="connsiteY3954" fmla="*/ 327184 h 514350"/>
                <a:gd name="connsiteX3955" fmla="*/ 4999196 w 6400800"/>
                <a:gd name="connsiteY3955" fmla="*/ 303371 h 514350"/>
                <a:gd name="connsiteX3956" fmla="*/ 4968717 w 6400800"/>
                <a:gd name="connsiteY3956" fmla="*/ 208121 h 514350"/>
                <a:gd name="connsiteX3957" fmla="*/ 4967764 w 6400800"/>
                <a:gd name="connsiteY3957" fmla="*/ 212884 h 514350"/>
                <a:gd name="connsiteX3958" fmla="*/ 4966812 w 6400800"/>
                <a:gd name="connsiteY3958" fmla="*/ 217646 h 514350"/>
                <a:gd name="connsiteX3959" fmla="*/ 4966812 w 6400800"/>
                <a:gd name="connsiteY3959" fmla="*/ 215741 h 514350"/>
                <a:gd name="connsiteX3960" fmla="*/ 4968717 w 6400800"/>
                <a:gd name="connsiteY3960" fmla="*/ 208121 h 514350"/>
                <a:gd name="connsiteX3961" fmla="*/ 4960144 w 6400800"/>
                <a:gd name="connsiteY3961" fmla="*/ 364331 h 514350"/>
                <a:gd name="connsiteX3962" fmla="*/ 4961096 w 6400800"/>
                <a:gd name="connsiteY3962" fmla="*/ 381476 h 514350"/>
                <a:gd name="connsiteX3963" fmla="*/ 4958239 w 6400800"/>
                <a:gd name="connsiteY3963" fmla="*/ 391001 h 514350"/>
                <a:gd name="connsiteX3964" fmla="*/ 4957287 w 6400800"/>
                <a:gd name="connsiteY3964" fmla="*/ 386239 h 514350"/>
                <a:gd name="connsiteX3965" fmla="*/ 4957287 w 6400800"/>
                <a:gd name="connsiteY3965" fmla="*/ 380524 h 514350"/>
                <a:gd name="connsiteX3966" fmla="*/ 4956334 w 6400800"/>
                <a:gd name="connsiteY3966" fmla="*/ 356711 h 514350"/>
                <a:gd name="connsiteX3967" fmla="*/ 4956334 w 6400800"/>
                <a:gd name="connsiteY3967" fmla="*/ 351949 h 514350"/>
                <a:gd name="connsiteX3968" fmla="*/ 4958239 w 6400800"/>
                <a:gd name="connsiteY3968" fmla="*/ 348139 h 514350"/>
                <a:gd name="connsiteX3969" fmla="*/ 4960144 w 6400800"/>
                <a:gd name="connsiteY3969" fmla="*/ 364331 h 514350"/>
                <a:gd name="connsiteX3970" fmla="*/ 4957287 w 6400800"/>
                <a:gd name="connsiteY3970" fmla="*/ 256699 h 514350"/>
                <a:gd name="connsiteX3971" fmla="*/ 4957287 w 6400800"/>
                <a:gd name="connsiteY3971" fmla="*/ 258604 h 514350"/>
                <a:gd name="connsiteX3972" fmla="*/ 4957287 w 6400800"/>
                <a:gd name="connsiteY3972" fmla="*/ 259556 h 514350"/>
                <a:gd name="connsiteX3973" fmla="*/ 4955381 w 6400800"/>
                <a:gd name="connsiteY3973" fmla="*/ 267176 h 514350"/>
                <a:gd name="connsiteX3974" fmla="*/ 4954429 w 6400800"/>
                <a:gd name="connsiteY3974" fmla="*/ 265271 h 514350"/>
                <a:gd name="connsiteX3975" fmla="*/ 4957287 w 6400800"/>
                <a:gd name="connsiteY3975" fmla="*/ 256699 h 514350"/>
                <a:gd name="connsiteX3976" fmla="*/ 4954429 w 6400800"/>
                <a:gd name="connsiteY3976" fmla="*/ 268129 h 514350"/>
                <a:gd name="connsiteX3977" fmla="*/ 4955381 w 6400800"/>
                <a:gd name="connsiteY3977" fmla="*/ 270986 h 514350"/>
                <a:gd name="connsiteX3978" fmla="*/ 4951571 w 6400800"/>
                <a:gd name="connsiteY3978" fmla="*/ 290036 h 514350"/>
                <a:gd name="connsiteX3979" fmla="*/ 4944904 w 6400800"/>
                <a:gd name="connsiteY3979" fmla="*/ 316706 h 514350"/>
                <a:gd name="connsiteX3980" fmla="*/ 4943951 w 6400800"/>
                <a:gd name="connsiteY3980" fmla="*/ 310991 h 514350"/>
                <a:gd name="connsiteX3981" fmla="*/ 4943951 w 6400800"/>
                <a:gd name="connsiteY3981" fmla="*/ 320516 h 514350"/>
                <a:gd name="connsiteX3982" fmla="*/ 4940142 w 6400800"/>
                <a:gd name="connsiteY3982" fmla="*/ 336709 h 514350"/>
                <a:gd name="connsiteX3983" fmla="*/ 4940142 w 6400800"/>
                <a:gd name="connsiteY3983" fmla="*/ 335756 h 514350"/>
                <a:gd name="connsiteX3984" fmla="*/ 4938237 w 6400800"/>
                <a:gd name="connsiteY3984" fmla="*/ 325279 h 514350"/>
                <a:gd name="connsiteX3985" fmla="*/ 4954429 w 6400800"/>
                <a:gd name="connsiteY3985" fmla="*/ 268129 h 514350"/>
                <a:gd name="connsiteX3986" fmla="*/ 4922044 w 6400800"/>
                <a:gd name="connsiteY3986" fmla="*/ 378619 h 514350"/>
                <a:gd name="connsiteX3987" fmla="*/ 4922044 w 6400800"/>
                <a:gd name="connsiteY3987" fmla="*/ 378619 h 514350"/>
                <a:gd name="connsiteX3988" fmla="*/ 4922044 w 6400800"/>
                <a:gd name="connsiteY3988" fmla="*/ 378619 h 514350"/>
                <a:gd name="connsiteX3989" fmla="*/ 4922044 w 6400800"/>
                <a:gd name="connsiteY3989" fmla="*/ 378619 h 514350"/>
                <a:gd name="connsiteX3990" fmla="*/ 4908709 w 6400800"/>
                <a:gd name="connsiteY3990" fmla="*/ 307181 h 514350"/>
                <a:gd name="connsiteX3991" fmla="*/ 4915376 w 6400800"/>
                <a:gd name="connsiteY3991" fmla="*/ 326231 h 514350"/>
                <a:gd name="connsiteX3992" fmla="*/ 4909662 w 6400800"/>
                <a:gd name="connsiteY3992" fmla="*/ 338614 h 514350"/>
                <a:gd name="connsiteX3993" fmla="*/ 4906804 w 6400800"/>
                <a:gd name="connsiteY3993" fmla="*/ 308134 h 514350"/>
                <a:gd name="connsiteX3994" fmla="*/ 4906804 w 6400800"/>
                <a:gd name="connsiteY3994" fmla="*/ 305276 h 514350"/>
                <a:gd name="connsiteX3995" fmla="*/ 4905851 w 6400800"/>
                <a:gd name="connsiteY3995" fmla="*/ 307181 h 514350"/>
                <a:gd name="connsiteX3996" fmla="*/ 4904899 w 6400800"/>
                <a:gd name="connsiteY3996" fmla="*/ 297656 h 514350"/>
                <a:gd name="connsiteX3997" fmla="*/ 4908709 w 6400800"/>
                <a:gd name="connsiteY3997" fmla="*/ 307181 h 514350"/>
                <a:gd name="connsiteX3998" fmla="*/ 4897279 w 6400800"/>
                <a:gd name="connsiteY3998" fmla="*/ 351949 h 514350"/>
                <a:gd name="connsiteX3999" fmla="*/ 4896326 w 6400800"/>
                <a:gd name="connsiteY3999" fmla="*/ 365284 h 514350"/>
                <a:gd name="connsiteX4000" fmla="*/ 4895374 w 6400800"/>
                <a:gd name="connsiteY4000" fmla="*/ 368141 h 514350"/>
                <a:gd name="connsiteX4001" fmla="*/ 4894421 w 6400800"/>
                <a:gd name="connsiteY4001" fmla="*/ 357664 h 514350"/>
                <a:gd name="connsiteX4002" fmla="*/ 4892517 w 6400800"/>
                <a:gd name="connsiteY4002" fmla="*/ 341471 h 514350"/>
                <a:gd name="connsiteX4003" fmla="*/ 4897279 w 6400800"/>
                <a:gd name="connsiteY4003" fmla="*/ 351949 h 514350"/>
                <a:gd name="connsiteX4004" fmla="*/ 4822984 w 6400800"/>
                <a:gd name="connsiteY4004" fmla="*/ 387191 h 514350"/>
                <a:gd name="connsiteX4005" fmla="*/ 4822984 w 6400800"/>
                <a:gd name="connsiteY4005" fmla="*/ 385286 h 514350"/>
                <a:gd name="connsiteX4006" fmla="*/ 4822984 w 6400800"/>
                <a:gd name="connsiteY4006" fmla="*/ 387191 h 514350"/>
                <a:gd name="connsiteX4007" fmla="*/ 4822984 w 6400800"/>
                <a:gd name="connsiteY4007" fmla="*/ 387191 h 514350"/>
                <a:gd name="connsiteX4008" fmla="*/ 4842987 w 6400800"/>
                <a:gd name="connsiteY4008" fmla="*/ 338614 h 514350"/>
                <a:gd name="connsiteX4009" fmla="*/ 4842987 w 6400800"/>
                <a:gd name="connsiteY4009" fmla="*/ 356711 h 514350"/>
                <a:gd name="connsiteX4010" fmla="*/ 4842987 w 6400800"/>
                <a:gd name="connsiteY4010" fmla="*/ 360521 h 514350"/>
                <a:gd name="connsiteX4011" fmla="*/ 4840129 w 6400800"/>
                <a:gd name="connsiteY4011" fmla="*/ 382429 h 514350"/>
                <a:gd name="connsiteX4012" fmla="*/ 4838224 w 6400800"/>
                <a:gd name="connsiteY4012" fmla="*/ 390049 h 514350"/>
                <a:gd name="connsiteX4013" fmla="*/ 4826794 w 6400800"/>
                <a:gd name="connsiteY4013" fmla="*/ 387191 h 514350"/>
                <a:gd name="connsiteX4014" fmla="*/ 4824889 w 6400800"/>
                <a:gd name="connsiteY4014" fmla="*/ 379571 h 514350"/>
                <a:gd name="connsiteX4015" fmla="*/ 4827747 w 6400800"/>
                <a:gd name="connsiteY4015" fmla="*/ 370999 h 514350"/>
                <a:gd name="connsiteX4016" fmla="*/ 4838224 w 6400800"/>
                <a:gd name="connsiteY4016" fmla="*/ 346234 h 514350"/>
                <a:gd name="connsiteX4017" fmla="*/ 4843939 w 6400800"/>
                <a:gd name="connsiteY4017" fmla="*/ 336709 h 514350"/>
                <a:gd name="connsiteX4018" fmla="*/ 4842987 w 6400800"/>
                <a:gd name="connsiteY4018" fmla="*/ 338614 h 514350"/>
                <a:gd name="connsiteX4019" fmla="*/ 4842987 w 6400800"/>
                <a:gd name="connsiteY4019" fmla="*/ 338614 h 514350"/>
                <a:gd name="connsiteX4020" fmla="*/ 4843939 w 6400800"/>
                <a:gd name="connsiteY4020" fmla="*/ 329089 h 514350"/>
                <a:gd name="connsiteX4021" fmla="*/ 4843939 w 6400800"/>
                <a:gd name="connsiteY4021" fmla="*/ 329089 h 514350"/>
                <a:gd name="connsiteX4022" fmla="*/ 4836319 w 6400800"/>
                <a:gd name="connsiteY4022" fmla="*/ 318611 h 514350"/>
                <a:gd name="connsiteX4023" fmla="*/ 4836319 w 6400800"/>
                <a:gd name="connsiteY4023" fmla="*/ 318611 h 514350"/>
                <a:gd name="connsiteX4024" fmla="*/ 4839176 w 6400800"/>
                <a:gd name="connsiteY4024" fmla="*/ 314801 h 514350"/>
                <a:gd name="connsiteX4025" fmla="*/ 4842987 w 6400800"/>
                <a:gd name="connsiteY4025" fmla="*/ 321469 h 514350"/>
                <a:gd name="connsiteX4026" fmla="*/ 4843939 w 6400800"/>
                <a:gd name="connsiteY4026" fmla="*/ 323374 h 514350"/>
                <a:gd name="connsiteX4027" fmla="*/ 4843939 w 6400800"/>
                <a:gd name="connsiteY4027" fmla="*/ 329089 h 514350"/>
                <a:gd name="connsiteX4028" fmla="*/ 4845844 w 6400800"/>
                <a:gd name="connsiteY4028" fmla="*/ 296704 h 514350"/>
                <a:gd name="connsiteX4029" fmla="*/ 4844891 w 6400800"/>
                <a:gd name="connsiteY4029" fmla="*/ 316706 h 514350"/>
                <a:gd name="connsiteX4030" fmla="*/ 4840129 w 6400800"/>
                <a:gd name="connsiteY4030" fmla="*/ 310039 h 514350"/>
                <a:gd name="connsiteX4031" fmla="*/ 4837272 w 6400800"/>
                <a:gd name="connsiteY4031" fmla="*/ 306229 h 514350"/>
                <a:gd name="connsiteX4032" fmla="*/ 4845844 w 6400800"/>
                <a:gd name="connsiteY4032" fmla="*/ 290989 h 514350"/>
                <a:gd name="connsiteX4033" fmla="*/ 4847749 w 6400800"/>
                <a:gd name="connsiteY4033" fmla="*/ 288131 h 514350"/>
                <a:gd name="connsiteX4034" fmla="*/ 4845844 w 6400800"/>
                <a:gd name="connsiteY4034" fmla="*/ 296704 h 514350"/>
                <a:gd name="connsiteX4035" fmla="*/ 4869656 w 6400800"/>
                <a:gd name="connsiteY4035" fmla="*/ 325279 h 514350"/>
                <a:gd name="connsiteX4036" fmla="*/ 4869656 w 6400800"/>
                <a:gd name="connsiteY4036" fmla="*/ 327184 h 514350"/>
                <a:gd name="connsiteX4037" fmla="*/ 4869656 w 6400800"/>
                <a:gd name="connsiteY4037" fmla="*/ 325279 h 514350"/>
                <a:gd name="connsiteX4038" fmla="*/ 4869656 w 6400800"/>
                <a:gd name="connsiteY4038" fmla="*/ 318611 h 514350"/>
                <a:gd name="connsiteX4039" fmla="*/ 4869656 w 6400800"/>
                <a:gd name="connsiteY4039" fmla="*/ 325279 h 514350"/>
                <a:gd name="connsiteX4040" fmla="*/ 4854416 w 6400800"/>
                <a:gd name="connsiteY4040" fmla="*/ 276701 h 514350"/>
                <a:gd name="connsiteX4041" fmla="*/ 4868704 w 6400800"/>
                <a:gd name="connsiteY4041" fmla="*/ 256699 h 514350"/>
                <a:gd name="connsiteX4042" fmla="*/ 4871562 w 6400800"/>
                <a:gd name="connsiteY4042" fmla="*/ 252889 h 514350"/>
                <a:gd name="connsiteX4043" fmla="*/ 4871562 w 6400800"/>
                <a:gd name="connsiteY4043" fmla="*/ 259556 h 514350"/>
                <a:gd name="connsiteX4044" fmla="*/ 4861084 w 6400800"/>
                <a:gd name="connsiteY4044" fmla="*/ 296704 h 514350"/>
                <a:gd name="connsiteX4045" fmla="*/ 4860131 w 6400800"/>
                <a:gd name="connsiteY4045" fmla="*/ 300514 h 514350"/>
                <a:gd name="connsiteX4046" fmla="*/ 4853464 w 6400800"/>
                <a:gd name="connsiteY4046" fmla="*/ 278606 h 514350"/>
                <a:gd name="connsiteX4047" fmla="*/ 4854416 w 6400800"/>
                <a:gd name="connsiteY4047" fmla="*/ 276701 h 514350"/>
                <a:gd name="connsiteX4048" fmla="*/ 4854416 w 6400800"/>
                <a:gd name="connsiteY4048" fmla="*/ 276701 h 514350"/>
                <a:gd name="connsiteX4049" fmla="*/ 4850606 w 6400800"/>
                <a:gd name="connsiteY4049" fmla="*/ 281464 h 514350"/>
                <a:gd name="connsiteX4050" fmla="*/ 4857274 w 6400800"/>
                <a:gd name="connsiteY4050" fmla="*/ 316706 h 514350"/>
                <a:gd name="connsiteX4051" fmla="*/ 4854416 w 6400800"/>
                <a:gd name="connsiteY4051" fmla="*/ 330041 h 514350"/>
                <a:gd name="connsiteX4052" fmla="*/ 4852512 w 6400800"/>
                <a:gd name="connsiteY4052" fmla="*/ 326231 h 514350"/>
                <a:gd name="connsiteX4053" fmla="*/ 4852512 w 6400800"/>
                <a:gd name="connsiteY4053" fmla="*/ 322421 h 514350"/>
                <a:gd name="connsiteX4054" fmla="*/ 4850606 w 6400800"/>
                <a:gd name="connsiteY4054" fmla="*/ 295751 h 514350"/>
                <a:gd name="connsiteX4055" fmla="*/ 4849654 w 6400800"/>
                <a:gd name="connsiteY4055" fmla="*/ 284321 h 514350"/>
                <a:gd name="connsiteX4056" fmla="*/ 4850606 w 6400800"/>
                <a:gd name="connsiteY4056" fmla="*/ 281464 h 514350"/>
                <a:gd name="connsiteX4057" fmla="*/ 4838224 w 6400800"/>
                <a:gd name="connsiteY4057" fmla="*/ 290036 h 514350"/>
                <a:gd name="connsiteX4058" fmla="*/ 4845844 w 6400800"/>
                <a:gd name="connsiteY4058" fmla="*/ 272891 h 514350"/>
                <a:gd name="connsiteX4059" fmla="*/ 4848701 w 6400800"/>
                <a:gd name="connsiteY4059" fmla="*/ 265271 h 514350"/>
                <a:gd name="connsiteX4060" fmla="*/ 4849654 w 6400800"/>
                <a:gd name="connsiteY4060" fmla="*/ 275749 h 514350"/>
                <a:gd name="connsiteX4061" fmla="*/ 4847749 w 6400800"/>
                <a:gd name="connsiteY4061" fmla="*/ 277654 h 514350"/>
                <a:gd name="connsiteX4062" fmla="*/ 4847749 w 6400800"/>
                <a:gd name="connsiteY4062" fmla="*/ 273844 h 514350"/>
                <a:gd name="connsiteX4063" fmla="*/ 4847749 w 6400800"/>
                <a:gd name="connsiteY4063" fmla="*/ 278606 h 514350"/>
                <a:gd name="connsiteX4064" fmla="*/ 4841081 w 6400800"/>
                <a:gd name="connsiteY4064" fmla="*/ 288131 h 514350"/>
                <a:gd name="connsiteX4065" fmla="*/ 4836319 w 6400800"/>
                <a:gd name="connsiteY4065" fmla="*/ 294799 h 514350"/>
                <a:gd name="connsiteX4066" fmla="*/ 4838224 w 6400800"/>
                <a:gd name="connsiteY4066" fmla="*/ 290036 h 514350"/>
                <a:gd name="connsiteX4067" fmla="*/ 4835366 w 6400800"/>
                <a:gd name="connsiteY4067" fmla="*/ 309086 h 514350"/>
                <a:gd name="connsiteX4068" fmla="*/ 4836319 w 6400800"/>
                <a:gd name="connsiteY4068" fmla="*/ 308134 h 514350"/>
                <a:gd name="connsiteX4069" fmla="*/ 4838224 w 6400800"/>
                <a:gd name="connsiteY4069" fmla="*/ 311944 h 514350"/>
                <a:gd name="connsiteX4070" fmla="*/ 4839176 w 6400800"/>
                <a:gd name="connsiteY4070" fmla="*/ 313849 h 514350"/>
                <a:gd name="connsiteX4071" fmla="*/ 4835366 w 6400800"/>
                <a:gd name="connsiteY4071" fmla="*/ 317659 h 514350"/>
                <a:gd name="connsiteX4072" fmla="*/ 4835366 w 6400800"/>
                <a:gd name="connsiteY4072" fmla="*/ 317659 h 514350"/>
                <a:gd name="connsiteX4073" fmla="*/ 4834414 w 6400800"/>
                <a:gd name="connsiteY4073" fmla="*/ 316706 h 514350"/>
                <a:gd name="connsiteX4074" fmla="*/ 4832509 w 6400800"/>
                <a:gd name="connsiteY4074" fmla="*/ 314801 h 514350"/>
                <a:gd name="connsiteX4075" fmla="*/ 4835366 w 6400800"/>
                <a:gd name="connsiteY4075" fmla="*/ 309086 h 514350"/>
                <a:gd name="connsiteX4076" fmla="*/ 4830604 w 6400800"/>
                <a:gd name="connsiteY4076" fmla="*/ 319564 h 514350"/>
                <a:gd name="connsiteX4077" fmla="*/ 4832509 w 6400800"/>
                <a:gd name="connsiteY4077" fmla="*/ 314801 h 514350"/>
                <a:gd name="connsiteX4078" fmla="*/ 4833462 w 6400800"/>
                <a:gd name="connsiteY4078" fmla="*/ 316706 h 514350"/>
                <a:gd name="connsiteX4079" fmla="*/ 4834414 w 6400800"/>
                <a:gd name="connsiteY4079" fmla="*/ 318611 h 514350"/>
                <a:gd name="connsiteX4080" fmla="*/ 4828699 w 6400800"/>
                <a:gd name="connsiteY4080" fmla="*/ 324326 h 514350"/>
                <a:gd name="connsiteX4081" fmla="*/ 4830604 w 6400800"/>
                <a:gd name="connsiteY4081" fmla="*/ 319564 h 514350"/>
                <a:gd name="connsiteX4082" fmla="*/ 4817269 w 6400800"/>
                <a:gd name="connsiteY4082" fmla="*/ 364331 h 514350"/>
                <a:gd name="connsiteX4083" fmla="*/ 4817269 w 6400800"/>
                <a:gd name="connsiteY4083" fmla="*/ 356711 h 514350"/>
                <a:gd name="connsiteX4084" fmla="*/ 4824889 w 6400800"/>
                <a:gd name="connsiteY4084" fmla="*/ 335756 h 514350"/>
                <a:gd name="connsiteX4085" fmla="*/ 4825841 w 6400800"/>
                <a:gd name="connsiteY4085" fmla="*/ 334804 h 514350"/>
                <a:gd name="connsiteX4086" fmla="*/ 4835366 w 6400800"/>
                <a:gd name="connsiteY4086" fmla="*/ 319564 h 514350"/>
                <a:gd name="connsiteX4087" fmla="*/ 4837272 w 6400800"/>
                <a:gd name="connsiteY4087" fmla="*/ 322421 h 514350"/>
                <a:gd name="connsiteX4088" fmla="*/ 4841081 w 6400800"/>
                <a:gd name="connsiteY4088" fmla="*/ 330994 h 514350"/>
                <a:gd name="connsiteX4089" fmla="*/ 4842987 w 6400800"/>
                <a:gd name="connsiteY4089" fmla="*/ 335756 h 514350"/>
                <a:gd name="connsiteX4090" fmla="*/ 4835366 w 6400800"/>
                <a:gd name="connsiteY4090" fmla="*/ 345281 h 514350"/>
                <a:gd name="connsiteX4091" fmla="*/ 4822984 w 6400800"/>
                <a:gd name="connsiteY4091" fmla="*/ 366236 h 514350"/>
                <a:gd name="connsiteX4092" fmla="*/ 4820126 w 6400800"/>
                <a:gd name="connsiteY4092" fmla="*/ 369094 h 514350"/>
                <a:gd name="connsiteX4093" fmla="*/ 4817269 w 6400800"/>
                <a:gd name="connsiteY4093" fmla="*/ 371951 h 514350"/>
                <a:gd name="connsiteX4094" fmla="*/ 4817269 w 6400800"/>
                <a:gd name="connsiteY4094" fmla="*/ 364331 h 514350"/>
                <a:gd name="connsiteX4095" fmla="*/ 4816316 w 6400800"/>
                <a:gd name="connsiteY4095" fmla="*/ 376714 h 514350"/>
                <a:gd name="connsiteX4096" fmla="*/ 4820126 w 6400800"/>
                <a:gd name="connsiteY4096" fmla="*/ 370046 h 514350"/>
                <a:gd name="connsiteX4097" fmla="*/ 4820126 w 6400800"/>
                <a:gd name="connsiteY4097" fmla="*/ 370046 h 514350"/>
                <a:gd name="connsiteX4098" fmla="*/ 4820126 w 6400800"/>
                <a:gd name="connsiteY4098" fmla="*/ 370046 h 514350"/>
                <a:gd name="connsiteX4099" fmla="*/ 4816316 w 6400800"/>
                <a:gd name="connsiteY4099" fmla="*/ 378619 h 514350"/>
                <a:gd name="connsiteX4100" fmla="*/ 4816316 w 6400800"/>
                <a:gd name="connsiteY4100" fmla="*/ 376714 h 514350"/>
                <a:gd name="connsiteX4101" fmla="*/ 4762024 w 6400800"/>
                <a:gd name="connsiteY4101" fmla="*/ 305276 h 514350"/>
                <a:gd name="connsiteX4102" fmla="*/ 4763929 w 6400800"/>
                <a:gd name="connsiteY4102" fmla="*/ 322421 h 514350"/>
                <a:gd name="connsiteX4103" fmla="*/ 4760119 w 6400800"/>
                <a:gd name="connsiteY4103" fmla="*/ 309086 h 514350"/>
                <a:gd name="connsiteX4104" fmla="*/ 4762024 w 6400800"/>
                <a:gd name="connsiteY4104" fmla="*/ 300514 h 514350"/>
                <a:gd name="connsiteX4105" fmla="*/ 4762024 w 6400800"/>
                <a:gd name="connsiteY4105" fmla="*/ 305276 h 514350"/>
                <a:gd name="connsiteX4106" fmla="*/ 4755356 w 6400800"/>
                <a:gd name="connsiteY4106" fmla="*/ 279559 h 514350"/>
                <a:gd name="connsiteX4107" fmla="*/ 4760119 w 6400800"/>
                <a:gd name="connsiteY4107" fmla="*/ 294799 h 514350"/>
                <a:gd name="connsiteX4108" fmla="*/ 4761072 w 6400800"/>
                <a:gd name="connsiteY4108" fmla="*/ 297656 h 514350"/>
                <a:gd name="connsiteX4109" fmla="*/ 4758214 w 6400800"/>
                <a:gd name="connsiteY4109" fmla="*/ 304324 h 514350"/>
                <a:gd name="connsiteX4110" fmla="*/ 4754404 w 6400800"/>
                <a:gd name="connsiteY4110" fmla="*/ 292894 h 514350"/>
                <a:gd name="connsiteX4111" fmla="*/ 4755356 w 6400800"/>
                <a:gd name="connsiteY4111" fmla="*/ 279559 h 514350"/>
                <a:gd name="connsiteX4112" fmla="*/ 4759166 w 6400800"/>
                <a:gd name="connsiteY4112" fmla="*/ 342424 h 514350"/>
                <a:gd name="connsiteX4113" fmla="*/ 4755356 w 6400800"/>
                <a:gd name="connsiteY4113" fmla="*/ 331946 h 514350"/>
                <a:gd name="connsiteX4114" fmla="*/ 4756309 w 6400800"/>
                <a:gd name="connsiteY4114" fmla="*/ 326231 h 514350"/>
                <a:gd name="connsiteX4115" fmla="*/ 4759166 w 6400800"/>
                <a:gd name="connsiteY4115" fmla="*/ 342424 h 514350"/>
                <a:gd name="connsiteX4116" fmla="*/ 4753451 w 6400800"/>
                <a:gd name="connsiteY4116" fmla="*/ 312896 h 514350"/>
                <a:gd name="connsiteX4117" fmla="*/ 4754404 w 6400800"/>
                <a:gd name="connsiteY4117" fmla="*/ 315754 h 514350"/>
                <a:gd name="connsiteX4118" fmla="*/ 4753451 w 6400800"/>
                <a:gd name="connsiteY4118" fmla="*/ 317659 h 514350"/>
                <a:gd name="connsiteX4119" fmla="*/ 4753451 w 6400800"/>
                <a:gd name="connsiteY4119" fmla="*/ 312896 h 514350"/>
                <a:gd name="connsiteX4120" fmla="*/ 4755356 w 6400800"/>
                <a:gd name="connsiteY4120" fmla="*/ 373856 h 514350"/>
                <a:gd name="connsiteX4121" fmla="*/ 4756309 w 6400800"/>
                <a:gd name="connsiteY4121" fmla="*/ 375761 h 514350"/>
                <a:gd name="connsiteX4122" fmla="*/ 4754404 w 6400800"/>
                <a:gd name="connsiteY4122" fmla="*/ 379571 h 514350"/>
                <a:gd name="connsiteX4123" fmla="*/ 4752499 w 6400800"/>
                <a:gd name="connsiteY4123" fmla="*/ 379571 h 514350"/>
                <a:gd name="connsiteX4124" fmla="*/ 4755356 w 6400800"/>
                <a:gd name="connsiteY4124" fmla="*/ 373856 h 514350"/>
                <a:gd name="connsiteX4125" fmla="*/ 4748689 w 6400800"/>
                <a:gd name="connsiteY4125" fmla="*/ 291941 h 514350"/>
                <a:gd name="connsiteX4126" fmla="*/ 4746784 w 6400800"/>
                <a:gd name="connsiteY4126" fmla="*/ 303371 h 514350"/>
                <a:gd name="connsiteX4127" fmla="*/ 4746784 w 6400800"/>
                <a:gd name="connsiteY4127" fmla="*/ 303371 h 514350"/>
                <a:gd name="connsiteX4128" fmla="*/ 4746784 w 6400800"/>
                <a:gd name="connsiteY4128" fmla="*/ 299561 h 514350"/>
                <a:gd name="connsiteX4129" fmla="*/ 4748689 w 6400800"/>
                <a:gd name="connsiteY4129" fmla="*/ 291941 h 514350"/>
                <a:gd name="connsiteX4130" fmla="*/ 4738212 w 6400800"/>
                <a:gd name="connsiteY4130" fmla="*/ 327184 h 514350"/>
                <a:gd name="connsiteX4131" fmla="*/ 4737259 w 6400800"/>
                <a:gd name="connsiteY4131" fmla="*/ 341471 h 514350"/>
                <a:gd name="connsiteX4132" fmla="*/ 4736306 w 6400800"/>
                <a:gd name="connsiteY4132" fmla="*/ 336709 h 514350"/>
                <a:gd name="connsiteX4133" fmla="*/ 4738212 w 6400800"/>
                <a:gd name="connsiteY4133" fmla="*/ 327184 h 514350"/>
                <a:gd name="connsiteX4134" fmla="*/ 4720114 w 6400800"/>
                <a:gd name="connsiteY4134" fmla="*/ 261461 h 514350"/>
                <a:gd name="connsiteX4135" fmla="*/ 4720114 w 6400800"/>
                <a:gd name="connsiteY4135" fmla="*/ 261461 h 514350"/>
                <a:gd name="connsiteX4136" fmla="*/ 4729639 w 6400800"/>
                <a:gd name="connsiteY4136" fmla="*/ 290989 h 514350"/>
                <a:gd name="connsiteX4137" fmla="*/ 4731544 w 6400800"/>
                <a:gd name="connsiteY4137" fmla="*/ 296704 h 514350"/>
                <a:gd name="connsiteX4138" fmla="*/ 4727734 w 6400800"/>
                <a:gd name="connsiteY4138" fmla="*/ 308134 h 514350"/>
                <a:gd name="connsiteX4139" fmla="*/ 4723924 w 6400800"/>
                <a:gd name="connsiteY4139" fmla="*/ 295751 h 514350"/>
                <a:gd name="connsiteX4140" fmla="*/ 4718209 w 6400800"/>
                <a:gd name="connsiteY4140" fmla="*/ 276701 h 514350"/>
                <a:gd name="connsiteX4141" fmla="*/ 4720114 w 6400800"/>
                <a:gd name="connsiteY4141" fmla="*/ 261461 h 514350"/>
                <a:gd name="connsiteX4142" fmla="*/ 4709637 w 6400800"/>
                <a:gd name="connsiteY4142" fmla="*/ 324326 h 514350"/>
                <a:gd name="connsiteX4143" fmla="*/ 4713447 w 6400800"/>
                <a:gd name="connsiteY4143" fmla="*/ 301466 h 514350"/>
                <a:gd name="connsiteX4144" fmla="*/ 4719162 w 6400800"/>
                <a:gd name="connsiteY4144" fmla="*/ 331946 h 514350"/>
                <a:gd name="connsiteX4145" fmla="*/ 4715351 w 6400800"/>
                <a:gd name="connsiteY4145" fmla="*/ 343376 h 514350"/>
                <a:gd name="connsiteX4146" fmla="*/ 4715351 w 6400800"/>
                <a:gd name="connsiteY4146" fmla="*/ 343376 h 514350"/>
                <a:gd name="connsiteX4147" fmla="*/ 4707731 w 6400800"/>
                <a:gd name="connsiteY4147" fmla="*/ 332899 h 514350"/>
                <a:gd name="connsiteX4148" fmla="*/ 4709637 w 6400800"/>
                <a:gd name="connsiteY4148" fmla="*/ 324326 h 514350"/>
                <a:gd name="connsiteX4149" fmla="*/ 4703922 w 6400800"/>
                <a:gd name="connsiteY4149" fmla="*/ 355759 h 514350"/>
                <a:gd name="connsiteX4150" fmla="*/ 4705826 w 6400800"/>
                <a:gd name="connsiteY4150" fmla="*/ 360521 h 514350"/>
                <a:gd name="connsiteX4151" fmla="*/ 4708684 w 6400800"/>
                <a:gd name="connsiteY4151" fmla="*/ 369094 h 514350"/>
                <a:gd name="connsiteX4152" fmla="*/ 4704874 w 6400800"/>
                <a:gd name="connsiteY4152" fmla="*/ 377666 h 514350"/>
                <a:gd name="connsiteX4153" fmla="*/ 4704874 w 6400800"/>
                <a:gd name="connsiteY4153" fmla="*/ 376714 h 514350"/>
                <a:gd name="connsiteX4154" fmla="*/ 4702016 w 6400800"/>
                <a:gd name="connsiteY4154" fmla="*/ 371951 h 514350"/>
                <a:gd name="connsiteX4155" fmla="*/ 4703922 w 6400800"/>
                <a:gd name="connsiteY4155" fmla="*/ 355759 h 514350"/>
                <a:gd name="connsiteX4156" fmla="*/ 4682966 w 6400800"/>
                <a:gd name="connsiteY4156" fmla="*/ 380524 h 514350"/>
                <a:gd name="connsiteX4157" fmla="*/ 4680109 w 6400800"/>
                <a:gd name="connsiteY4157" fmla="*/ 392906 h 514350"/>
                <a:gd name="connsiteX4158" fmla="*/ 4676299 w 6400800"/>
                <a:gd name="connsiteY4158" fmla="*/ 393859 h 514350"/>
                <a:gd name="connsiteX4159" fmla="*/ 4675347 w 6400800"/>
                <a:gd name="connsiteY4159" fmla="*/ 388144 h 514350"/>
                <a:gd name="connsiteX4160" fmla="*/ 4682966 w 6400800"/>
                <a:gd name="connsiteY4160" fmla="*/ 378619 h 514350"/>
                <a:gd name="connsiteX4161" fmla="*/ 4682966 w 6400800"/>
                <a:gd name="connsiteY4161" fmla="*/ 380524 h 514350"/>
                <a:gd name="connsiteX4162" fmla="*/ 4672489 w 6400800"/>
                <a:gd name="connsiteY4162" fmla="*/ 361474 h 514350"/>
                <a:gd name="connsiteX4163" fmla="*/ 4679156 w 6400800"/>
                <a:gd name="connsiteY4163" fmla="*/ 373856 h 514350"/>
                <a:gd name="connsiteX4164" fmla="*/ 4672489 w 6400800"/>
                <a:gd name="connsiteY4164" fmla="*/ 379571 h 514350"/>
                <a:gd name="connsiteX4165" fmla="*/ 4671537 w 6400800"/>
                <a:gd name="connsiteY4165" fmla="*/ 376714 h 514350"/>
                <a:gd name="connsiteX4166" fmla="*/ 4670584 w 6400800"/>
                <a:gd name="connsiteY4166" fmla="*/ 370999 h 514350"/>
                <a:gd name="connsiteX4167" fmla="*/ 4672489 w 6400800"/>
                <a:gd name="connsiteY4167" fmla="*/ 361474 h 514350"/>
                <a:gd name="connsiteX4168" fmla="*/ 4661059 w 6400800"/>
                <a:gd name="connsiteY4168" fmla="*/ 265271 h 514350"/>
                <a:gd name="connsiteX4169" fmla="*/ 4663916 w 6400800"/>
                <a:gd name="connsiteY4169" fmla="*/ 252889 h 514350"/>
                <a:gd name="connsiteX4170" fmla="*/ 4669631 w 6400800"/>
                <a:gd name="connsiteY4170" fmla="*/ 237649 h 514350"/>
                <a:gd name="connsiteX4171" fmla="*/ 4669631 w 6400800"/>
                <a:gd name="connsiteY4171" fmla="*/ 242411 h 514350"/>
                <a:gd name="connsiteX4172" fmla="*/ 4661059 w 6400800"/>
                <a:gd name="connsiteY4172" fmla="*/ 269081 h 514350"/>
                <a:gd name="connsiteX4173" fmla="*/ 4661059 w 6400800"/>
                <a:gd name="connsiteY4173" fmla="*/ 265271 h 514350"/>
                <a:gd name="connsiteX4174" fmla="*/ 4645819 w 6400800"/>
                <a:gd name="connsiteY4174" fmla="*/ 278606 h 514350"/>
                <a:gd name="connsiteX4175" fmla="*/ 4648676 w 6400800"/>
                <a:gd name="connsiteY4175" fmla="*/ 260509 h 514350"/>
                <a:gd name="connsiteX4176" fmla="*/ 4650581 w 6400800"/>
                <a:gd name="connsiteY4176" fmla="*/ 250984 h 514350"/>
                <a:gd name="connsiteX4177" fmla="*/ 4650581 w 6400800"/>
                <a:gd name="connsiteY4177" fmla="*/ 251936 h 514350"/>
                <a:gd name="connsiteX4178" fmla="*/ 4652487 w 6400800"/>
                <a:gd name="connsiteY4178" fmla="*/ 265271 h 514350"/>
                <a:gd name="connsiteX4179" fmla="*/ 4652487 w 6400800"/>
                <a:gd name="connsiteY4179" fmla="*/ 270034 h 514350"/>
                <a:gd name="connsiteX4180" fmla="*/ 4650581 w 6400800"/>
                <a:gd name="connsiteY4180" fmla="*/ 278606 h 514350"/>
                <a:gd name="connsiteX4181" fmla="*/ 4648676 w 6400800"/>
                <a:gd name="connsiteY4181" fmla="*/ 290989 h 514350"/>
                <a:gd name="connsiteX4182" fmla="*/ 4645819 w 6400800"/>
                <a:gd name="connsiteY4182" fmla="*/ 278606 h 514350"/>
                <a:gd name="connsiteX4183" fmla="*/ 4645819 w 6400800"/>
                <a:gd name="connsiteY4183" fmla="*/ 278606 h 514350"/>
                <a:gd name="connsiteX4184" fmla="*/ 4642962 w 6400800"/>
                <a:gd name="connsiteY4184" fmla="*/ 293846 h 514350"/>
                <a:gd name="connsiteX4185" fmla="*/ 4644866 w 6400800"/>
                <a:gd name="connsiteY4185" fmla="*/ 302419 h 514350"/>
                <a:gd name="connsiteX4186" fmla="*/ 4645819 w 6400800"/>
                <a:gd name="connsiteY4186" fmla="*/ 309086 h 514350"/>
                <a:gd name="connsiteX4187" fmla="*/ 4645819 w 6400800"/>
                <a:gd name="connsiteY4187" fmla="*/ 309086 h 514350"/>
                <a:gd name="connsiteX4188" fmla="*/ 4642962 w 6400800"/>
                <a:gd name="connsiteY4188" fmla="*/ 306229 h 514350"/>
                <a:gd name="connsiteX4189" fmla="*/ 4642009 w 6400800"/>
                <a:gd name="connsiteY4189" fmla="*/ 299561 h 514350"/>
                <a:gd name="connsiteX4190" fmla="*/ 4642962 w 6400800"/>
                <a:gd name="connsiteY4190" fmla="*/ 293846 h 514350"/>
                <a:gd name="connsiteX4191" fmla="*/ 4595337 w 6400800"/>
                <a:gd name="connsiteY4191" fmla="*/ 280511 h 514350"/>
                <a:gd name="connsiteX4192" fmla="*/ 4598194 w 6400800"/>
                <a:gd name="connsiteY4192" fmla="*/ 293846 h 514350"/>
                <a:gd name="connsiteX4193" fmla="*/ 4598194 w 6400800"/>
                <a:gd name="connsiteY4193" fmla="*/ 300514 h 514350"/>
                <a:gd name="connsiteX4194" fmla="*/ 4598194 w 6400800"/>
                <a:gd name="connsiteY4194" fmla="*/ 311944 h 514350"/>
                <a:gd name="connsiteX4195" fmla="*/ 4596289 w 6400800"/>
                <a:gd name="connsiteY4195" fmla="*/ 319564 h 514350"/>
                <a:gd name="connsiteX4196" fmla="*/ 4593431 w 6400800"/>
                <a:gd name="connsiteY4196" fmla="*/ 311944 h 514350"/>
                <a:gd name="connsiteX4197" fmla="*/ 4593431 w 6400800"/>
                <a:gd name="connsiteY4197" fmla="*/ 305276 h 514350"/>
                <a:gd name="connsiteX4198" fmla="*/ 4593431 w 6400800"/>
                <a:gd name="connsiteY4198" fmla="*/ 286226 h 514350"/>
                <a:gd name="connsiteX4199" fmla="*/ 4595337 w 6400800"/>
                <a:gd name="connsiteY4199" fmla="*/ 280511 h 514350"/>
                <a:gd name="connsiteX4200" fmla="*/ 4595337 w 6400800"/>
                <a:gd name="connsiteY4200" fmla="*/ 280511 h 514350"/>
                <a:gd name="connsiteX4201" fmla="*/ 4595337 w 6400800"/>
                <a:gd name="connsiteY4201" fmla="*/ 277654 h 514350"/>
                <a:gd name="connsiteX4202" fmla="*/ 4593431 w 6400800"/>
                <a:gd name="connsiteY4202" fmla="*/ 279559 h 514350"/>
                <a:gd name="connsiteX4203" fmla="*/ 4592479 w 6400800"/>
                <a:gd name="connsiteY4203" fmla="*/ 280511 h 514350"/>
                <a:gd name="connsiteX4204" fmla="*/ 4592479 w 6400800"/>
                <a:gd name="connsiteY4204" fmla="*/ 263366 h 514350"/>
                <a:gd name="connsiteX4205" fmla="*/ 4595337 w 6400800"/>
                <a:gd name="connsiteY4205" fmla="*/ 277654 h 514350"/>
                <a:gd name="connsiteX4206" fmla="*/ 4576287 w 6400800"/>
                <a:gd name="connsiteY4206" fmla="*/ 253841 h 514350"/>
                <a:gd name="connsiteX4207" fmla="*/ 4575334 w 6400800"/>
                <a:gd name="connsiteY4207" fmla="*/ 273844 h 514350"/>
                <a:gd name="connsiteX4208" fmla="*/ 4569619 w 6400800"/>
                <a:gd name="connsiteY4208" fmla="*/ 262414 h 514350"/>
                <a:gd name="connsiteX4209" fmla="*/ 4576287 w 6400800"/>
                <a:gd name="connsiteY4209" fmla="*/ 253841 h 514350"/>
                <a:gd name="connsiteX4210" fmla="*/ 4566762 w 6400800"/>
                <a:gd name="connsiteY4210" fmla="*/ 268129 h 514350"/>
                <a:gd name="connsiteX4211" fmla="*/ 4566762 w 6400800"/>
                <a:gd name="connsiteY4211" fmla="*/ 268129 h 514350"/>
                <a:gd name="connsiteX4212" fmla="*/ 4571524 w 6400800"/>
                <a:gd name="connsiteY4212" fmla="*/ 284321 h 514350"/>
                <a:gd name="connsiteX4213" fmla="*/ 4574381 w 6400800"/>
                <a:gd name="connsiteY4213" fmla="*/ 296704 h 514350"/>
                <a:gd name="connsiteX4214" fmla="*/ 4574381 w 6400800"/>
                <a:gd name="connsiteY4214" fmla="*/ 301466 h 514350"/>
                <a:gd name="connsiteX4215" fmla="*/ 4568666 w 6400800"/>
                <a:gd name="connsiteY4215" fmla="*/ 289084 h 514350"/>
                <a:gd name="connsiteX4216" fmla="*/ 4574381 w 6400800"/>
                <a:gd name="connsiteY4216" fmla="*/ 309086 h 514350"/>
                <a:gd name="connsiteX4217" fmla="*/ 4571524 w 6400800"/>
                <a:gd name="connsiteY4217" fmla="*/ 314801 h 514350"/>
                <a:gd name="connsiteX4218" fmla="*/ 4571524 w 6400800"/>
                <a:gd name="connsiteY4218" fmla="*/ 315754 h 514350"/>
                <a:gd name="connsiteX4219" fmla="*/ 4564856 w 6400800"/>
                <a:gd name="connsiteY4219" fmla="*/ 271939 h 514350"/>
                <a:gd name="connsiteX4220" fmla="*/ 4566762 w 6400800"/>
                <a:gd name="connsiteY4220" fmla="*/ 268129 h 514350"/>
                <a:gd name="connsiteX4221" fmla="*/ 4560094 w 6400800"/>
                <a:gd name="connsiteY4221" fmla="*/ 254794 h 514350"/>
                <a:gd name="connsiteX4222" fmla="*/ 4562951 w 6400800"/>
                <a:gd name="connsiteY4222" fmla="*/ 260509 h 514350"/>
                <a:gd name="connsiteX4223" fmla="*/ 4561047 w 6400800"/>
                <a:gd name="connsiteY4223" fmla="*/ 263366 h 514350"/>
                <a:gd name="connsiteX4224" fmla="*/ 4557237 w 6400800"/>
                <a:gd name="connsiteY4224" fmla="*/ 268129 h 514350"/>
                <a:gd name="connsiteX4225" fmla="*/ 4560094 w 6400800"/>
                <a:gd name="connsiteY4225" fmla="*/ 254794 h 514350"/>
                <a:gd name="connsiteX4226" fmla="*/ 4548664 w 6400800"/>
                <a:gd name="connsiteY4226" fmla="*/ 317659 h 514350"/>
                <a:gd name="connsiteX4227" fmla="*/ 4557237 w 6400800"/>
                <a:gd name="connsiteY4227" fmla="*/ 290036 h 514350"/>
                <a:gd name="connsiteX4228" fmla="*/ 4562951 w 6400800"/>
                <a:gd name="connsiteY4228" fmla="*/ 275749 h 514350"/>
                <a:gd name="connsiteX4229" fmla="*/ 4560094 w 6400800"/>
                <a:gd name="connsiteY4229" fmla="*/ 318611 h 514350"/>
                <a:gd name="connsiteX4230" fmla="*/ 4555331 w 6400800"/>
                <a:gd name="connsiteY4230" fmla="*/ 310991 h 514350"/>
                <a:gd name="connsiteX4231" fmla="*/ 4560094 w 6400800"/>
                <a:gd name="connsiteY4231" fmla="*/ 321469 h 514350"/>
                <a:gd name="connsiteX4232" fmla="*/ 4560094 w 6400800"/>
                <a:gd name="connsiteY4232" fmla="*/ 321469 h 514350"/>
                <a:gd name="connsiteX4233" fmla="*/ 4559141 w 6400800"/>
                <a:gd name="connsiteY4233" fmla="*/ 342424 h 514350"/>
                <a:gd name="connsiteX4234" fmla="*/ 4555331 w 6400800"/>
                <a:gd name="connsiteY4234" fmla="*/ 352901 h 514350"/>
                <a:gd name="connsiteX4235" fmla="*/ 4552474 w 6400800"/>
                <a:gd name="connsiteY4235" fmla="*/ 361474 h 514350"/>
                <a:gd name="connsiteX4236" fmla="*/ 4547712 w 6400800"/>
                <a:gd name="connsiteY4236" fmla="*/ 343376 h 514350"/>
                <a:gd name="connsiteX4237" fmla="*/ 4547712 w 6400800"/>
                <a:gd name="connsiteY4237" fmla="*/ 328136 h 514350"/>
                <a:gd name="connsiteX4238" fmla="*/ 4545806 w 6400800"/>
                <a:gd name="connsiteY4238" fmla="*/ 338614 h 514350"/>
                <a:gd name="connsiteX4239" fmla="*/ 4545806 w 6400800"/>
                <a:gd name="connsiteY4239" fmla="*/ 337661 h 514350"/>
                <a:gd name="connsiteX4240" fmla="*/ 4544854 w 6400800"/>
                <a:gd name="connsiteY4240" fmla="*/ 335756 h 514350"/>
                <a:gd name="connsiteX4241" fmla="*/ 4548664 w 6400800"/>
                <a:gd name="connsiteY4241" fmla="*/ 317659 h 514350"/>
                <a:gd name="connsiteX4242" fmla="*/ 4457224 w 6400800"/>
                <a:gd name="connsiteY4242" fmla="*/ 306229 h 514350"/>
                <a:gd name="connsiteX4243" fmla="*/ 4457224 w 6400800"/>
                <a:gd name="connsiteY4243" fmla="*/ 306229 h 514350"/>
                <a:gd name="connsiteX4244" fmla="*/ 4457224 w 6400800"/>
                <a:gd name="connsiteY4244" fmla="*/ 304324 h 514350"/>
                <a:gd name="connsiteX4245" fmla="*/ 4457224 w 6400800"/>
                <a:gd name="connsiteY4245" fmla="*/ 306229 h 514350"/>
                <a:gd name="connsiteX4246" fmla="*/ 4478179 w 6400800"/>
                <a:gd name="connsiteY4246" fmla="*/ 359569 h 514350"/>
                <a:gd name="connsiteX4247" fmla="*/ 4476274 w 6400800"/>
                <a:gd name="connsiteY4247" fmla="*/ 339566 h 514350"/>
                <a:gd name="connsiteX4248" fmla="*/ 4476274 w 6400800"/>
                <a:gd name="connsiteY4248" fmla="*/ 336709 h 514350"/>
                <a:gd name="connsiteX4249" fmla="*/ 4483894 w 6400800"/>
                <a:gd name="connsiteY4249" fmla="*/ 347186 h 514350"/>
                <a:gd name="connsiteX4250" fmla="*/ 4478179 w 6400800"/>
                <a:gd name="connsiteY4250" fmla="*/ 359569 h 514350"/>
                <a:gd name="connsiteX4251" fmla="*/ 4497229 w 6400800"/>
                <a:gd name="connsiteY4251" fmla="*/ 371951 h 514350"/>
                <a:gd name="connsiteX4252" fmla="*/ 4497229 w 6400800"/>
                <a:gd name="connsiteY4252" fmla="*/ 367189 h 514350"/>
                <a:gd name="connsiteX4253" fmla="*/ 4498181 w 6400800"/>
                <a:gd name="connsiteY4253" fmla="*/ 370046 h 514350"/>
                <a:gd name="connsiteX4254" fmla="*/ 4497229 w 6400800"/>
                <a:gd name="connsiteY4254" fmla="*/ 371951 h 514350"/>
                <a:gd name="connsiteX4255" fmla="*/ 4504849 w 6400800"/>
                <a:gd name="connsiteY4255" fmla="*/ 322421 h 514350"/>
                <a:gd name="connsiteX4256" fmla="*/ 4504849 w 6400800"/>
                <a:gd name="connsiteY4256" fmla="*/ 330994 h 514350"/>
                <a:gd name="connsiteX4257" fmla="*/ 4501991 w 6400800"/>
                <a:gd name="connsiteY4257" fmla="*/ 341471 h 514350"/>
                <a:gd name="connsiteX4258" fmla="*/ 4501039 w 6400800"/>
                <a:gd name="connsiteY4258" fmla="*/ 348139 h 514350"/>
                <a:gd name="connsiteX4259" fmla="*/ 4499134 w 6400800"/>
                <a:gd name="connsiteY4259" fmla="*/ 345281 h 514350"/>
                <a:gd name="connsiteX4260" fmla="*/ 4498181 w 6400800"/>
                <a:gd name="connsiteY4260" fmla="*/ 342424 h 514350"/>
                <a:gd name="connsiteX4261" fmla="*/ 4501991 w 6400800"/>
                <a:gd name="connsiteY4261" fmla="*/ 326231 h 514350"/>
                <a:gd name="connsiteX4262" fmla="*/ 4506754 w 6400800"/>
                <a:gd name="connsiteY4262" fmla="*/ 310991 h 514350"/>
                <a:gd name="connsiteX4263" fmla="*/ 4504849 w 6400800"/>
                <a:gd name="connsiteY4263" fmla="*/ 322421 h 514350"/>
                <a:gd name="connsiteX4264" fmla="*/ 4462939 w 6400800"/>
                <a:gd name="connsiteY4264" fmla="*/ 250984 h 514350"/>
                <a:gd name="connsiteX4265" fmla="*/ 4470559 w 6400800"/>
                <a:gd name="connsiteY4265" fmla="*/ 226219 h 514350"/>
                <a:gd name="connsiteX4266" fmla="*/ 4474369 w 6400800"/>
                <a:gd name="connsiteY4266" fmla="*/ 231934 h 514350"/>
                <a:gd name="connsiteX4267" fmla="*/ 4479131 w 6400800"/>
                <a:gd name="connsiteY4267" fmla="*/ 238601 h 514350"/>
                <a:gd name="connsiteX4268" fmla="*/ 4483894 w 6400800"/>
                <a:gd name="connsiteY4268" fmla="*/ 248126 h 514350"/>
                <a:gd name="connsiteX4269" fmla="*/ 4489609 w 6400800"/>
                <a:gd name="connsiteY4269" fmla="*/ 260509 h 514350"/>
                <a:gd name="connsiteX4270" fmla="*/ 4495324 w 6400800"/>
                <a:gd name="connsiteY4270" fmla="*/ 275749 h 514350"/>
                <a:gd name="connsiteX4271" fmla="*/ 4501039 w 6400800"/>
                <a:gd name="connsiteY4271" fmla="*/ 293846 h 514350"/>
                <a:gd name="connsiteX4272" fmla="*/ 4503897 w 6400800"/>
                <a:gd name="connsiteY4272" fmla="*/ 303371 h 514350"/>
                <a:gd name="connsiteX4273" fmla="*/ 4497229 w 6400800"/>
                <a:gd name="connsiteY4273" fmla="*/ 317659 h 514350"/>
                <a:gd name="connsiteX4274" fmla="*/ 4493419 w 6400800"/>
                <a:gd name="connsiteY4274" fmla="*/ 326231 h 514350"/>
                <a:gd name="connsiteX4275" fmla="*/ 4488656 w 6400800"/>
                <a:gd name="connsiteY4275" fmla="*/ 280511 h 514350"/>
                <a:gd name="connsiteX4276" fmla="*/ 4487704 w 6400800"/>
                <a:gd name="connsiteY4276" fmla="*/ 319564 h 514350"/>
                <a:gd name="connsiteX4277" fmla="*/ 4483894 w 6400800"/>
                <a:gd name="connsiteY4277" fmla="*/ 311944 h 514350"/>
                <a:gd name="connsiteX4278" fmla="*/ 4473416 w 6400800"/>
                <a:gd name="connsiteY4278" fmla="*/ 289084 h 514350"/>
                <a:gd name="connsiteX4279" fmla="*/ 4481037 w 6400800"/>
                <a:gd name="connsiteY4279" fmla="*/ 312896 h 514350"/>
                <a:gd name="connsiteX4280" fmla="*/ 4486751 w 6400800"/>
                <a:gd name="connsiteY4280" fmla="*/ 330041 h 514350"/>
                <a:gd name="connsiteX4281" fmla="*/ 4484847 w 6400800"/>
                <a:gd name="connsiteY4281" fmla="*/ 328136 h 514350"/>
                <a:gd name="connsiteX4282" fmla="*/ 4475322 w 6400800"/>
                <a:gd name="connsiteY4282" fmla="*/ 318611 h 514350"/>
                <a:gd name="connsiteX4283" fmla="*/ 4473416 w 6400800"/>
                <a:gd name="connsiteY4283" fmla="*/ 304324 h 514350"/>
                <a:gd name="connsiteX4284" fmla="*/ 4468654 w 6400800"/>
                <a:gd name="connsiteY4284" fmla="*/ 278606 h 514350"/>
                <a:gd name="connsiteX4285" fmla="*/ 4477226 w 6400800"/>
                <a:gd name="connsiteY4285" fmla="*/ 256699 h 514350"/>
                <a:gd name="connsiteX4286" fmla="*/ 4466749 w 6400800"/>
                <a:gd name="connsiteY4286" fmla="*/ 273844 h 514350"/>
                <a:gd name="connsiteX4287" fmla="*/ 4462939 w 6400800"/>
                <a:gd name="connsiteY4287" fmla="*/ 258604 h 514350"/>
                <a:gd name="connsiteX4288" fmla="*/ 4462939 w 6400800"/>
                <a:gd name="connsiteY4288" fmla="*/ 256699 h 514350"/>
                <a:gd name="connsiteX4289" fmla="*/ 4462939 w 6400800"/>
                <a:gd name="connsiteY4289" fmla="*/ 250984 h 514350"/>
                <a:gd name="connsiteX4290" fmla="*/ 4461034 w 6400800"/>
                <a:gd name="connsiteY4290" fmla="*/ 255746 h 514350"/>
                <a:gd name="connsiteX4291" fmla="*/ 4461034 w 6400800"/>
                <a:gd name="connsiteY4291" fmla="*/ 255746 h 514350"/>
                <a:gd name="connsiteX4292" fmla="*/ 4461034 w 6400800"/>
                <a:gd name="connsiteY4292" fmla="*/ 255746 h 514350"/>
                <a:gd name="connsiteX4293" fmla="*/ 4461034 w 6400800"/>
                <a:gd name="connsiteY4293" fmla="*/ 255746 h 514350"/>
                <a:gd name="connsiteX4294" fmla="*/ 4455319 w 6400800"/>
                <a:gd name="connsiteY4294" fmla="*/ 274796 h 514350"/>
                <a:gd name="connsiteX4295" fmla="*/ 4457224 w 6400800"/>
                <a:gd name="connsiteY4295" fmla="*/ 268129 h 514350"/>
                <a:gd name="connsiteX4296" fmla="*/ 4457224 w 6400800"/>
                <a:gd name="connsiteY4296" fmla="*/ 273844 h 514350"/>
                <a:gd name="connsiteX4297" fmla="*/ 4458176 w 6400800"/>
                <a:gd name="connsiteY4297" fmla="*/ 284321 h 514350"/>
                <a:gd name="connsiteX4298" fmla="*/ 4454366 w 6400800"/>
                <a:gd name="connsiteY4298" fmla="*/ 292894 h 514350"/>
                <a:gd name="connsiteX4299" fmla="*/ 4455319 w 6400800"/>
                <a:gd name="connsiteY4299" fmla="*/ 274796 h 514350"/>
                <a:gd name="connsiteX4300" fmla="*/ 4449604 w 6400800"/>
                <a:gd name="connsiteY4300" fmla="*/ 361474 h 514350"/>
                <a:gd name="connsiteX4301" fmla="*/ 4451509 w 6400800"/>
                <a:gd name="connsiteY4301" fmla="*/ 339566 h 514350"/>
                <a:gd name="connsiteX4302" fmla="*/ 4453414 w 6400800"/>
                <a:gd name="connsiteY4302" fmla="*/ 343376 h 514350"/>
                <a:gd name="connsiteX4303" fmla="*/ 4453414 w 6400800"/>
                <a:gd name="connsiteY4303" fmla="*/ 344329 h 514350"/>
                <a:gd name="connsiteX4304" fmla="*/ 4453414 w 6400800"/>
                <a:gd name="connsiteY4304" fmla="*/ 344329 h 514350"/>
                <a:gd name="connsiteX4305" fmla="*/ 4451509 w 6400800"/>
                <a:gd name="connsiteY4305" fmla="*/ 366236 h 514350"/>
                <a:gd name="connsiteX4306" fmla="*/ 4448651 w 6400800"/>
                <a:gd name="connsiteY4306" fmla="*/ 388144 h 514350"/>
                <a:gd name="connsiteX4307" fmla="*/ 4446747 w 6400800"/>
                <a:gd name="connsiteY4307" fmla="*/ 386239 h 514350"/>
                <a:gd name="connsiteX4308" fmla="*/ 4449604 w 6400800"/>
                <a:gd name="connsiteY4308" fmla="*/ 361474 h 514350"/>
                <a:gd name="connsiteX4309" fmla="*/ 4386739 w 6400800"/>
                <a:gd name="connsiteY4309" fmla="*/ 331946 h 514350"/>
                <a:gd name="connsiteX4310" fmla="*/ 4390549 w 6400800"/>
                <a:gd name="connsiteY4310" fmla="*/ 335756 h 514350"/>
                <a:gd name="connsiteX4311" fmla="*/ 4390549 w 6400800"/>
                <a:gd name="connsiteY4311" fmla="*/ 342424 h 514350"/>
                <a:gd name="connsiteX4312" fmla="*/ 4386739 w 6400800"/>
                <a:gd name="connsiteY4312" fmla="*/ 347186 h 514350"/>
                <a:gd name="connsiteX4313" fmla="*/ 4386739 w 6400800"/>
                <a:gd name="connsiteY4313" fmla="*/ 331946 h 514350"/>
                <a:gd name="connsiteX4314" fmla="*/ 4389597 w 6400800"/>
                <a:gd name="connsiteY4314" fmla="*/ 376714 h 514350"/>
                <a:gd name="connsiteX4315" fmla="*/ 4388644 w 6400800"/>
                <a:gd name="connsiteY4315" fmla="*/ 375761 h 514350"/>
                <a:gd name="connsiteX4316" fmla="*/ 4387691 w 6400800"/>
                <a:gd name="connsiteY4316" fmla="*/ 370046 h 514350"/>
                <a:gd name="connsiteX4317" fmla="*/ 4387691 w 6400800"/>
                <a:gd name="connsiteY4317" fmla="*/ 360521 h 514350"/>
                <a:gd name="connsiteX4318" fmla="*/ 4387691 w 6400800"/>
                <a:gd name="connsiteY4318" fmla="*/ 351949 h 514350"/>
                <a:gd name="connsiteX4319" fmla="*/ 4391501 w 6400800"/>
                <a:gd name="connsiteY4319" fmla="*/ 345281 h 514350"/>
                <a:gd name="connsiteX4320" fmla="*/ 4391501 w 6400800"/>
                <a:gd name="connsiteY4320" fmla="*/ 349091 h 514350"/>
                <a:gd name="connsiteX4321" fmla="*/ 4392454 w 6400800"/>
                <a:gd name="connsiteY4321" fmla="*/ 370046 h 514350"/>
                <a:gd name="connsiteX4322" fmla="*/ 4389597 w 6400800"/>
                <a:gd name="connsiteY4322" fmla="*/ 376714 h 514350"/>
                <a:gd name="connsiteX4323" fmla="*/ 4424839 w 6400800"/>
                <a:gd name="connsiteY4323" fmla="*/ 351949 h 514350"/>
                <a:gd name="connsiteX4324" fmla="*/ 4424839 w 6400800"/>
                <a:gd name="connsiteY4324" fmla="*/ 354806 h 514350"/>
                <a:gd name="connsiteX4325" fmla="*/ 4422934 w 6400800"/>
                <a:gd name="connsiteY4325" fmla="*/ 356711 h 514350"/>
                <a:gd name="connsiteX4326" fmla="*/ 4424839 w 6400800"/>
                <a:gd name="connsiteY4326" fmla="*/ 351949 h 514350"/>
                <a:gd name="connsiteX4327" fmla="*/ 4415314 w 6400800"/>
                <a:gd name="connsiteY4327" fmla="*/ 411004 h 514350"/>
                <a:gd name="connsiteX4328" fmla="*/ 4415314 w 6400800"/>
                <a:gd name="connsiteY4328" fmla="*/ 411956 h 514350"/>
                <a:gd name="connsiteX4329" fmla="*/ 4412456 w 6400800"/>
                <a:gd name="connsiteY4329" fmla="*/ 409099 h 514350"/>
                <a:gd name="connsiteX4330" fmla="*/ 4411504 w 6400800"/>
                <a:gd name="connsiteY4330" fmla="*/ 385286 h 514350"/>
                <a:gd name="connsiteX4331" fmla="*/ 4420076 w 6400800"/>
                <a:gd name="connsiteY4331" fmla="*/ 372904 h 514350"/>
                <a:gd name="connsiteX4332" fmla="*/ 4421029 w 6400800"/>
                <a:gd name="connsiteY4332" fmla="*/ 374809 h 514350"/>
                <a:gd name="connsiteX4333" fmla="*/ 4415314 w 6400800"/>
                <a:gd name="connsiteY4333" fmla="*/ 411004 h 514350"/>
                <a:gd name="connsiteX4334" fmla="*/ 4410551 w 6400800"/>
                <a:gd name="connsiteY4334" fmla="*/ 254794 h 514350"/>
                <a:gd name="connsiteX4335" fmla="*/ 4421029 w 6400800"/>
                <a:gd name="connsiteY4335" fmla="*/ 273844 h 514350"/>
                <a:gd name="connsiteX4336" fmla="*/ 4415314 w 6400800"/>
                <a:gd name="connsiteY4336" fmla="*/ 293846 h 514350"/>
                <a:gd name="connsiteX4337" fmla="*/ 4408647 w 6400800"/>
                <a:gd name="connsiteY4337" fmla="*/ 316706 h 514350"/>
                <a:gd name="connsiteX4338" fmla="*/ 4406741 w 6400800"/>
                <a:gd name="connsiteY4338" fmla="*/ 297656 h 514350"/>
                <a:gd name="connsiteX4339" fmla="*/ 4402931 w 6400800"/>
                <a:gd name="connsiteY4339" fmla="*/ 331946 h 514350"/>
                <a:gd name="connsiteX4340" fmla="*/ 4401026 w 6400800"/>
                <a:gd name="connsiteY4340" fmla="*/ 337661 h 514350"/>
                <a:gd name="connsiteX4341" fmla="*/ 4400074 w 6400800"/>
                <a:gd name="connsiteY4341" fmla="*/ 336709 h 514350"/>
                <a:gd name="connsiteX4342" fmla="*/ 4388644 w 6400800"/>
                <a:gd name="connsiteY4342" fmla="*/ 270034 h 514350"/>
                <a:gd name="connsiteX4343" fmla="*/ 4389597 w 6400800"/>
                <a:gd name="connsiteY4343" fmla="*/ 328136 h 514350"/>
                <a:gd name="connsiteX4344" fmla="*/ 4386739 w 6400800"/>
                <a:gd name="connsiteY4344" fmla="*/ 325279 h 514350"/>
                <a:gd name="connsiteX4345" fmla="*/ 4386739 w 6400800"/>
                <a:gd name="connsiteY4345" fmla="*/ 323374 h 514350"/>
                <a:gd name="connsiteX4346" fmla="*/ 4387691 w 6400800"/>
                <a:gd name="connsiteY4346" fmla="*/ 290989 h 514350"/>
                <a:gd name="connsiteX4347" fmla="*/ 4389597 w 6400800"/>
                <a:gd name="connsiteY4347" fmla="*/ 263366 h 514350"/>
                <a:gd name="connsiteX4348" fmla="*/ 4391501 w 6400800"/>
                <a:gd name="connsiteY4348" fmla="*/ 242411 h 514350"/>
                <a:gd name="connsiteX4349" fmla="*/ 4393406 w 6400800"/>
                <a:gd name="connsiteY4349" fmla="*/ 225266 h 514350"/>
                <a:gd name="connsiteX4350" fmla="*/ 4410551 w 6400800"/>
                <a:gd name="connsiteY4350" fmla="*/ 254794 h 514350"/>
                <a:gd name="connsiteX4351" fmla="*/ 4389597 w 6400800"/>
                <a:gd name="connsiteY4351" fmla="*/ 217646 h 514350"/>
                <a:gd name="connsiteX4352" fmla="*/ 4393406 w 6400800"/>
                <a:gd name="connsiteY4352" fmla="*/ 224314 h 514350"/>
                <a:gd name="connsiteX4353" fmla="*/ 4387691 w 6400800"/>
                <a:gd name="connsiteY4353" fmla="*/ 240506 h 514350"/>
                <a:gd name="connsiteX4354" fmla="*/ 4381976 w 6400800"/>
                <a:gd name="connsiteY4354" fmla="*/ 260509 h 514350"/>
                <a:gd name="connsiteX4355" fmla="*/ 4381976 w 6400800"/>
                <a:gd name="connsiteY4355" fmla="*/ 256699 h 514350"/>
                <a:gd name="connsiteX4356" fmla="*/ 4389597 w 6400800"/>
                <a:gd name="connsiteY4356" fmla="*/ 217646 h 514350"/>
                <a:gd name="connsiteX4357" fmla="*/ 4374356 w 6400800"/>
                <a:gd name="connsiteY4357" fmla="*/ 291941 h 514350"/>
                <a:gd name="connsiteX4358" fmla="*/ 4374356 w 6400800"/>
                <a:gd name="connsiteY4358" fmla="*/ 292894 h 514350"/>
                <a:gd name="connsiteX4359" fmla="*/ 4374356 w 6400800"/>
                <a:gd name="connsiteY4359" fmla="*/ 291941 h 514350"/>
                <a:gd name="connsiteX4360" fmla="*/ 4374356 w 6400800"/>
                <a:gd name="connsiteY4360" fmla="*/ 291941 h 514350"/>
                <a:gd name="connsiteX4361" fmla="*/ 4360069 w 6400800"/>
                <a:gd name="connsiteY4361" fmla="*/ 282416 h 514350"/>
                <a:gd name="connsiteX4362" fmla="*/ 4360069 w 6400800"/>
                <a:gd name="connsiteY4362" fmla="*/ 290036 h 514350"/>
                <a:gd name="connsiteX4363" fmla="*/ 4359116 w 6400800"/>
                <a:gd name="connsiteY4363" fmla="*/ 288131 h 514350"/>
                <a:gd name="connsiteX4364" fmla="*/ 4360069 w 6400800"/>
                <a:gd name="connsiteY4364" fmla="*/ 282416 h 514350"/>
                <a:gd name="connsiteX4365" fmla="*/ 4313397 w 6400800"/>
                <a:gd name="connsiteY4365" fmla="*/ 387191 h 514350"/>
                <a:gd name="connsiteX4366" fmla="*/ 4311491 w 6400800"/>
                <a:gd name="connsiteY4366" fmla="*/ 391001 h 514350"/>
                <a:gd name="connsiteX4367" fmla="*/ 4313397 w 6400800"/>
                <a:gd name="connsiteY4367" fmla="*/ 387191 h 514350"/>
                <a:gd name="connsiteX4368" fmla="*/ 4313397 w 6400800"/>
                <a:gd name="connsiteY4368" fmla="*/ 387191 h 514350"/>
                <a:gd name="connsiteX4369" fmla="*/ 4311491 w 6400800"/>
                <a:gd name="connsiteY4369" fmla="*/ 351949 h 514350"/>
                <a:gd name="connsiteX4370" fmla="*/ 4312444 w 6400800"/>
                <a:gd name="connsiteY4370" fmla="*/ 365284 h 514350"/>
                <a:gd name="connsiteX4371" fmla="*/ 4311491 w 6400800"/>
                <a:gd name="connsiteY4371" fmla="*/ 363379 h 514350"/>
                <a:gd name="connsiteX4372" fmla="*/ 4311491 w 6400800"/>
                <a:gd name="connsiteY4372" fmla="*/ 351949 h 514350"/>
                <a:gd name="connsiteX4373" fmla="*/ 4247674 w 6400800"/>
                <a:gd name="connsiteY4373" fmla="*/ 313849 h 514350"/>
                <a:gd name="connsiteX4374" fmla="*/ 4247674 w 6400800"/>
                <a:gd name="connsiteY4374" fmla="*/ 311944 h 514350"/>
                <a:gd name="connsiteX4375" fmla="*/ 4247674 w 6400800"/>
                <a:gd name="connsiteY4375" fmla="*/ 313849 h 514350"/>
                <a:gd name="connsiteX4376" fmla="*/ 4246722 w 6400800"/>
                <a:gd name="connsiteY4376" fmla="*/ 324326 h 514350"/>
                <a:gd name="connsiteX4377" fmla="*/ 4246722 w 6400800"/>
                <a:gd name="connsiteY4377" fmla="*/ 322421 h 514350"/>
                <a:gd name="connsiteX4378" fmla="*/ 4247674 w 6400800"/>
                <a:gd name="connsiteY4378" fmla="*/ 313849 h 514350"/>
                <a:gd name="connsiteX4379" fmla="*/ 4181951 w 6400800"/>
                <a:gd name="connsiteY4379" fmla="*/ 367189 h 514350"/>
                <a:gd name="connsiteX4380" fmla="*/ 4182904 w 6400800"/>
                <a:gd name="connsiteY4380" fmla="*/ 324326 h 514350"/>
                <a:gd name="connsiteX4381" fmla="*/ 4183856 w 6400800"/>
                <a:gd name="connsiteY4381" fmla="*/ 330041 h 514350"/>
                <a:gd name="connsiteX4382" fmla="*/ 4185761 w 6400800"/>
                <a:gd name="connsiteY4382" fmla="*/ 340519 h 514350"/>
                <a:gd name="connsiteX4383" fmla="*/ 4185761 w 6400800"/>
                <a:gd name="connsiteY4383" fmla="*/ 342424 h 514350"/>
                <a:gd name="connsiteX4384" fmla="*/ 4183856 w 6400800"/>
                <a:gd name="connsiteY4384" fmla="*/ 338614 h 514350"/>
                <a:gd name="connsiteX4385" fmla="*/ 4187666 w 6400800"/>
                <a:gd name="connsiteY4385" fmla="*/ 357664 h 514350"/>
                <a:gd name="connsiteX4386" fmla="*/ 4189571 w 6400800"/>
                <a:gd name="connsiteY4386" fmla="*/ 365284 h 514350"/>
                <a:gd name="connsiteX4387" fmla="*/ 4191476 w 6400800"/>
                <a:gd name="connsiteY4387" fmla="*/ 373856 h 514350"/>
                <a:gd name="connsiteX4388" fmla="*/ 4190524 w 6400800"/>
                <a:gd name="connsiteY4388" fmla="*/ 386239 h 514350"/>
                <a:gd name="connsiteX4389" fmla="*/ 4190524 w 6400800"/>
                <a:gd name="connsiteY4389" fmla="*/ 391954 h 514350"/>
                <a:gd name="connsiteX4390" fmla="*/ 4181951 w 6400800"/>
                <a:gd name="connsiteY4390" fmla="*/ 367189 h 514350"/>
                <a:gd name="connsiteX4391" fmla="*/ 4181951 w 6400800"/>
                <a:gd name="connsiteY4391" fmla="*/ 367189 h 514350"/>
                <a:gd name="connsiteX4392" fmla="*/ 4161949 w 6400800"/>
                <a:gd name="connsiteY4392" fmla="*/ 401479 h 514350"/>
                <a:gd name="connsiteX4393" fmla="*/ 4161949 w 6400800"/>
                <a:gd name="connsiteY4393" fmla="*/ 399574 h 514350"/>
                <a:gd name="connsiteX4394" fmla="*/ 4161949 w 6400800"/>
                <a:gd name="connsiteY4394" fmla="*/ 399574 h 514350"/>
                <a:gd name="connsiteX4395" fmla="*/ 4161949 w 6400800"/>
                <a:gd name="connsiteY4395" fmla="*/ 401479 h 514350"/>
                <a:gd name="connsiteX4396" fmla="*/ 4160044 w 6400800"/>
                <a:gd name="connsiteY4396" fmla="*/ 306229 h 514350"/>
                <a:gd name="connsiteX4397" fmla="*/ 4160996 w 6400800"/>
                <a:gd name="connsiteY4397" fmla="*/ 292894 h 514350"/>
                <a:gd name="connsiteX4398" fmla="*/ 4163854 w 6400800"/>
                <a:gd name="connsiteY4398" fmla="*/ 282416 h 514350"/>
                <a:gd name="connsiteX4399" fmla="*/ 4162901 w 6400800"/>
                <a:gd name="connsiteY4399" fmla="*/ 313849 h 514350"/>
                <a:gd name="connsiteX4400" fmla="*/ 4160044 w 6400800"/>
                <a:gd name="connsiteY4400" fmla="*/ 306229 h 514350"/>
                <a:gd name="connsiteX4401" fmla="*/ 4160044 w 6400800"/>
                <a:gd name="connsiteY4401" fmla="*/ 306229 h 514350"/>
                <a:gd name="connsiteX4402" fmla="*/ 4128611 w 6400800"/>
                <a:gd name="connsiteY4402" fmla="*/ 354806 h 514350"/>
                <a:gd name="connsiteX4403" fmla="*/ 4127659 w 6400800"/>
                <a:gd name="connsiteY4403" fmla="*/ 343376 h 514350"/>
                <a:gd name="connsiteX4404" fmla="*/ 4128611 w 6400800"/>
                <a:gd name="connsiteY4404" fmla="*/ 350044 h 514350"/>
                <a:gd name="connsiteX4405" fmla="*/ 4130516 w 6400800"/>
                <a:gd name="connsiteY4405" fmla="*/ 365284 h 514350"/>
                <a:gd name="connsiteX4406" fmla="*/ 4128611 w 6400800"/>
                <a:gd name="connsiteY4406" fmla="*/ 354806 h 514350"/>
                <a:gd name="connsiteX4407" fmla="*/ 4124801 w 6400800"/>
                <a:gd name="connsiteY4407" fmla="*/ 255746 h 514350"/>
                <a:gd name="connsiteX4408" fmla="*/ 4124801 w 6400800"/>
                <a:gd name="connsiteY4408" fmla="*/ 248126 h 514350"/>
                <a:gd name="connsiteX4409" fmla="*/ 4140041 w 6400800"/>
                <a:gd name="connsiteY4409" fmla="*/ 303371 h 514350"/>
                <a:gd name="connsiteX4410" fmla="*/ 4140994 w 6400800"/>
                <a:gd name="connsiteY4410" fmla="*/ 307181 h 514350"/>
                <a:gd name="connsiteX4411" fmla="*/ 4140994 w 6400800"/>
                <a:gd name="connsiteY4411" fmla="*/ 321469 h 514350"/>
                <a:gd name="connsiteX4412" fmla="*/ 4133374 w 6400800"/>
                <a:gd name="connsiteY4412" fmla="*/ 305276 h 514350"/>
                <a:gd name="connsiteX4413" fmla="*/ 4135279 w 6400800"/>
                <a:gd name="connsiteY4413" fmla="*/ 312896 h 514350"/>
                <a:gd name="connsiteX4414" fmla="*/ 4127659 w 6400800"/>
                <a:gd name="connsiteY4414" fmla="*/ 300514 h 514350"/>
                <a:gd name="connsiteX4415" fmla="*/ 4123849 w 6400800"/>
                <a:gd name="connsiteY4415" fmla="*/ 284321 h 514350"/>
                <a:gd name="connsiteX4416" fmla="*/ 4124801 w 6400800"/>
                <a:gd name="connsiteY4416" fmla="*/ 255746 h 514350"/>
                <a:gd name="connsiteX4417" fmla="*/ 4095274 w 6400800"/>
                <a:gd name="connsiteY4417" fmla="*/ 395764 h 514350"/>
                <a:gd name="connsiteX4418" fmla="*/ 4095274 w 6400800"/>
                <a:gd name="connsiteY4418" fmla="*/ 395764 h 514350"/>
                <a:gd name="connsiteX4419" fmla="*/ 4095274 w 6400800"/>
                <a:gd name="connsiteY4419" fmla="*/ 394811 h 514350"/>
                <a:gd name="connsiteX4420" fmla="*/ 4095274 w 6400800"/>
                <a:gd name="connsiteY4420" fmla="*/ 395764 h 514350"/>
                <a:gd name="connsiteX4421" fmla="*/ 4093369 w 6400800"/>
                <a:gd name="connsiteY4421" fmla="*/ 386239 h 514350"/>
                <a:gd name="connsiteX4422" fmla="*/ 4093369 w 6400800"/>
                <a:gd name="connsiteY4422" fmla="*/ 376714 h 514350"/>
                <a:gd name="connsiteX4423" fmla="*/ 4096226 w 6400800"/>
                <a:gd name="connsiteY4423" fmla="*/ 382429 h 514350"/>
                <a:gd name="connsiteX4424" fmla="*/ 4093369 w 6400800"/>
                <a:gd name="connsiteY4424" fmla="*/ 386239 h 514350"/>
                <a:gd name="connsiteX4425" fmla="*/ 4097179 w 6400800"/>
                <a:gd name="connsiteY4425" fmla="*/ 342424 h 514350"/>
                <a:gd name="connsiteX4426" fmla="*/ 4099084 w 6400800"/>
                <a:gd name="connsiteY4426" fmla="*/ 334804 h 514350"/>
                <a:gd name="connsiteX4427" fmla="*/ 4099084 w 6400800"/>
                <a:gd name="connsiteY4427" fmla="*/ 337661 h 514350"/>
                <a:gd name="connsiteX4428" fmla="*/ 4097179 w 6400800"/>
                <a:gd name="connsiteY4428" fmla="*/ 342424 h 514350"/>
                <a:gd name="connsiteX4429" fmla="*/ 4100989 w 6400800"/>
                <a:gd name="connsiteY4429" fmla="*/ 353854 h 514350"/>
                <a:gd name="connsiteX4430" fmla="*/ 4100989 w 6400800"/>
                <a:gd name="connsiteY4430" fmla="*/ 351949 h 514350"/>
                <a:gd name="connsiteX4431" fmla="*/ 4100989 w 6400800"/>
                <a:gd name="connsiteY4431" fmla="*/ 351949 h 514350"/>
                <a:gd name="connsiteX4432" fmla="*/ 4100989 w 6400800"/>
                <a:gd name="connsiteY4432" fmla="*/ 353854 h 514350"/>
                <a:gd name="connsiteX4433" fmla="*/ 4100989 w 6400800"/>
                <a:gd name="connsiteY4433" fmla="*/ 353854 h 514350"/>
                <a:gd name="connsiteX4434" fmla="*/ 4115276 w 6400800"/>
                <a:gd name="connsiteY4434" fmla="*/ 322421 h 514350"/>
                <a:gd name="connsiteX4435" fmla="*/ 4114324 w 6400800"/>
                <a:gd name="connsiteY4435" fmla="*/ 350996 h 514350"/>
                <a:gd name="connsiteX4436" fmla="*/ 4111466 w 6400800"/>
                <a:gd name="connsiteY4436" fmla="*/ 327184 h 514350"/>
                <a:gd name="connsiteX4437" fmla="*/ 4108609 w 6400800"/>
                <a:gd name="connsiteY4437" fmla="*/ 342424 h 514350"/>
                <a:gd name="connsiteX4438" fmla="*/ 4107656 w 6400800"/>
                <a:gd name="connsiteY4438" fmla="*/ 341471 h 514350"/>
                <a:gd name="connsiteX4439" fmla="*/ 4106704 w 6400800"/>
                <a:gd name="connsiteY4439" fmla="*/ 336709 h 514350"/>
                <a:gd name="connsiteX4440" fmla="*/ 4113371 w 6400800"/>
                <a:gd name="connsiteY4440" fmla="*/ 322421 h 514350"/>
                <a:gd name="connsiteX4441" fmla="*/ 4115276 w 6400800"/>
                <a:gd name="connsiteY4441" fmla="*/ 318611 h 514350"/>
                <a:gd name="connsiteX4442" fmla="*/ 4115276 w 6400800"/>
                <a:gd name="connsiteY4442" fmla="*/ 322421 h 514350"/>
                <a:gd name="connsiteX4443" fmla="*/ 4109561 w 6400800"/>
                <a:gd name="connsiteY4443" fmla="*/ 295751 h 514350"/>
                <a:gd name="connsiteX4444" fmla="*/ 4116229 w 6400800"/>
                <a:gd name="connsiteY4444" fmla="*/ 308134 h 514350"/>
                <a:gd name="connsiteX4445" fmla="*/ 4116229 w 6400800"/>
                <a:gd name="connsiteY4445" fmla="*/ 311944 h 514350"/>
                <a:gd name="connsiteX4446" fmla="*/ 4110514 w 6400800"/>
                <a:gd name="connsiteY4446" fmla="*/ 320516 h 514350"/>
                <a:gd name="connsiteX4447" fmla="*/ 4104799 w 6400800"/>
                <a:gd name="connsiteY4447" fmla="*/ 329089 h 514350"/>
                <a:gd name="connsiteX4448" fmla="*/ 4102894 w 6400800"/>
                <a:gd name="connsiteY4448" fmla="*/ 322421 h 514350"/>
                <a:gd name="connsiteX4449" fmla="*/ 4109561 w 6400800"/>
                <a:gd name="connsiteY4449" fmla="*/ 295751 h 514350"/>
                <a:gd name="connsiteX4450" fmla="*/ 4092416 w 6400800"/>
                <a:gd name="connsiteY4450" fmla="*/ 294799 h 514350"/>
                <a:gd name="connsiteX4451" fmla="*/ 4094321 w 6400800"/>
                <a:gd name="connsiteY4451" fmla="*/ 265271 h 514350"/>
                <a:gd name="connsiteX4452" fmla="*/ 4098131 w 6400800"/>
                <a:gd name="connsiteY4452" fmla="*/ 272891 h 514350"/>
                <a:gd name="connsiteX4453" fmla="*/ 4106704 w 6400800"/>
                <a:gd name="connsiteY4453" fmla="*/ 290989 h 514350"/>
                <a:gd name="connsiteX4454" fmla="*/ 4098131 w 6400800"/>
                <a:gd name="connsiteY4454" fmla="*/ 311944 h 514350"/>
                <a:gd name="connsiteX4455" fmla="*/ 4096226 w 6400800"/>
                <a:gd name="connsiteY4455" fmla="*/ 306229 h 514350"/>
                <a:gd name="connsiteX4456" fmla="*/ 4097179 w 6400800"/>
                <a:gd name="connsiteY4456" fmla="*/ 315754 h 514350"/>
                <a:gd name="connsiteX4457" fmla="*/ 4092416 w 6400800"/>
                <a:gd name="connsiteY4457" fmla="*/ 329089 h 514350"/>
                <a:gd name="connsiteX4458" fmla="*/ 4091464 w 6400800"/>
                <a:gd name="connsiteY4458" fmla="*/ 325279 h 514350"/>
                <a:gd name="connsiteX4459" fmla="*/ 4090511 w 6400800"/>
                <a:gd name="connsiteY4459" fmla="*/ 321469 h 514350"/>
                <a:gd name="connsiteX4460" fmla="*/ 4092416 w 6400800"/>
                <a:gd name="connsiteY4460" fmla="*/ 294799 h 514350"/>
                <a:gd name="connsiteX4461" fmla="*/ 4085749 w 6400800"/>
                <a:gd name="connsiteY4461" fmla="*/ 244316 h 514350"/>
                <a:gd name="connsiteX4462" fmla="*/ 4085749 w 6400800"/>
                <a:gd name="connsiteY4462" fmla="*/ 244316 h 514350"/>
                <a:gd name="connsiteX4463" fmla="*/ 4084796 w 6400800"/>
                <a:gd name="connsiteY4463" fmla="*/ 250031 h 514350"/>
                <a:gd name="connsiteX4464" fmla="*/ 4085749 w 6400800"/>
                <a:gd name="connsiteY4464" fmla="*/ 244316 h 514350"/>
                <a:gd name="connsiteX4465" fmla="*/ 4043839 w 6400800"/>
                <a:gd name="connsiteY4465" fmla="*/ 279559 h 514350"/>
                <a:gd name="connsiteX4466" fmla="*/ 4043839 w 6400800"/>
                <a:gd name="connsiteY4466" fmla="*/ 279559 h 514350"/>
                <a:gd name="connsiteX4467" fmla="*/ 4044791 w 6400800"/>
                <a:gd name="connsiteY4467" fmla="*/ 283369 h 514350"/>
                <a:gd name="connsiteX4468" fmla="*/ 4043839 w 6400800"/>
                <a:gd name="connsiteY4468" fmla="*/ 281464 h 514350"/>
                <a:gd name="connsiteX4469" fmla="*/ 4044791 w 6400800"/>
                <a:gd name="connsiteY4469" fmla="*/ 286226 h 514350"/>
                <a:gd name="connsiteX4470" fmla="*/ 4044791 w 6400800"/>
                <a:gd name="connsiteY4470" fmla="*/ 290036 h 514350"/>
                <a:gd name="connsiteX4471" fmla="*/ 4042886 w 6400800"/>
                <a:gd name="connsiteY4471" fmla="*/ 284321 h 514350"/>
                <a:gd name="connsiteX4472" fmla="*/ 4043839 w 6400800"/>
                <a:gd name="connsiteY4472" fmla="*/ 279559 h 514350"/>
                <a:gd name="connsiteX4473" fmla="*/ 4044791 w 6400800"/>
                <a:gd name="connsiteY4473" fmla="*/ 333851 h 514350"/>
                <a:gd name="connsiteX4474" fmla="*/ 4044791 w 6400800"/>
                <a:gd name="connsiteY4474" fmla="*/ 333851 h 514350"/>
                <a:gd name="connsiteX4475" fmla="*/ 4044791 w 6400800"/>
                <a:gd name="connsiteY4475" fmla="*/ 339566 h 514350"/>
                <a:gd name="connsiteX4476" fmla="*/ 4042886 w 6400800"/>
                <a:gd name="connsiteY4476" fmla="*/ 337661 h 514350"/>
                <a:gd name="connsiteX4477" fmla="*/ 4044791 w 6400800"/>
                <a:gd name="connsiteY4477" fmla="*/ 333851 h 514350"/>
                <a:gd name="connsiteX4478" fmla="*/ 4039076 w 6400800"/>
                <a:gd name="connsiteY4478" fmla="*/ 271939 h 514350"/>
                <a:gd name="connsiteX4479" fmla="*/ 4039076 w 6400800"/>
                <a:gd name="connsiteY4479" fmla="*/ 273844 h 514350"/>
                <a:gd name="connsiteX4480" fmla="*/ 4038124 w 6400800"/>
                <a:gd name="connsiteY4480" fmla="*/ 270034 h 514350"/>
                <a:gd name="connsiteX4481" fmla="*/ 4036219 w 6400800"/>
                <a:gd name="connsiteY4481" fmla="*/ 265271 h 514350"/>
                <a:gd name="connsiteX4482" fmla="*/ 4039076 w 6400800"/>
                <a:gd name="connsiteY4482" fmla="*/ 271939 h 514350"/>
                <a:gd name="connsiteX4483" fmla="*/ 4033361 w 6400800"/>
                <a:gd name="connsiteY4483" fmla="*/ 358616 h 514350"/>
                <a:gd name="connsiteX4484" fmla="*/ 4034314 w 6400800"/>
                <a:gd name="connsiteY4484" fmla="*/ 351949 h 514350"/>
                <a:gd name="connsiteX4485" fmla="*/ 4038124 w 6400800"/>
                <a:gd name="connsiteY4485" fmla="*/ 345281 h 514350"/>
                <a:gd name="connsiteX4486" fmla="*/ 4043839 w 6400800"/>
                <a:gd name="connsiteY4486" fmla="*/ 351949 h 514350"/>
                <a:gd name="connsiteX4487" fmla="*/ 4040981 w 6400800"/>
                <a:gd name="connsiteY4487" fmla="*/ 391954 h 514350"/>
                <a:gd name="connsiteX4488" fmla="*/ 4035266 w 6400800"/>
                <a:gd name="connsiteY4488" fmla="*/ 413861 h 514350"/>
                <a:gd name="connsiteX4489" fmla="*/ 4029551 w 6400800"/>
                <a:gd name="connsiteY4489" fmla="*/ 395764 h 514350"/>
                <a:gd name="connsiteX4490" fmla="*/ 4027646 w 6400800"/>
                <a:gd name="connsiteY4490" fmla="*/ 388144 h 514350"/>
                <a:gd name="connsiteX4491" fmla="*/ 4033361 w 6400800"/>
                <a:gd name="connsiteY4491" fmla="*/ 358616 h 514350"/>
                <a:gd name="connsiteX4492" fmla="*/ 4020026 w 6400800"/>
                <a:gd name="connsiteY4492" fmla="*/ 324326 h 514350"/>
                <a:gd name="connsiteX4493" fmla="*/ 4021931 w 6400800"/>
                <a:gd name="connsiteY4493" fmla="*/ 326231 h 514350"/>
                <a:gd name="connsiteX4494" fmla="*/ 4019074 w 6400800"/>
                <a:gd name="connsiteY4494" fmla="*/ 334804 h 514350"/>
                <a:gd name="connsiteX4495" fmla="*/ 4017169 w 6400800"/>
                <a:gd name="connsiteY4495" fmla="*/ 341471 h 514350"/>
                <a:gd name="connsiteX4496" fmla="*/ 4016216 w 6400800"/>
                <a:gd name="connsiteY4496" fmla="*/ 342424 h 514350"/>
                <a:gd name="connsiteX4497" fmla="*/ 4015264 w 6400800"/>
                <a:gd name="connsiteY4497" fmla="*/ 344329 h 514350"/>
                <a:gd name="connsiteX4498" fmla="*/ 4011454 w 6400800"/>
                <a:gd name="connsiteY4498" fmla="*/ 315754 h 514350"/>
                <a:gd name="connsiteX4499" fmla="*/ 4020026 w 6400800"/>
                <a:gd name="connsiteY4499" fmla="*/ 324326 h 514350"/>
                <a:gd name="connsiteX4500" fmla="*/ 3999071 w 6400800"/>
                <a:gd name="connsiteY4500" fmla="*/ 282416 h 514350"/>
                <a:gd name="connsiteX4501" fmla="*/ 3999071 w 6400800"/>
                <a:gd name="connsiteY4501" fmla="*/ 282416 h 514350"/>
                <a:gd name="connsiteX4502" fmla="*/ 4000024 w 6400800"/>
                <a:gd name="connsiteY4502" fmla="*/ 310991 h 514350"/>
                <a:gd name="connsiteX4503" fmla="*/ 4000024 w 6400800"/>
                <a:gd name="connsiteY4503" fmla="*/ 316706 h 514350"/>
                <a:gd name="connsiteX4504" fmla="*/ 3999071 w 6400800"/>
                <a:gd name="connsiteY4504" fmla="*/ 325279 h 514350"/>
                <a:gd name="connsiteX4505" fmla="*/ 3999071 w 6400800"/>
                <a:gd name="connsiteY4505" fmla="*/ 327184 h 514350"/>
                <a:gd name="connsiteX4506" fmla="*/ 3998119 w 6400800"/>
                <a:gd name="connsiteY4506" fmla="*/ 324326 h 514350"/>
                <a:gd name="connsiteX4507" fmla="*/ 3997166 w 6400800"/>
                <a:gd name="connsiteY4507" fmla="*/ 314801 h 514350"/>
                <a:gd name="connsiteX4508" fmla="*/ 3996214 w 6400800"/>
                <a:gd name="connsiteY4508" fmla="*/ 286226 h 514350"/>
                <a:gd name="connsiteX4509" fmla="*/ 3999071 w 6400800"/>
                <a:gd name="connsiteY4509" fmla="*/ 282416 h 514350"/>
                <a:gd name="connsiteX4510" fmla="*/ 3983831 w 6400800"/>
                <a:gd name="connsiteY4510" fmla="*/ 405289 h 514350"/>
                <a:gd name="connsiteX4511" fmla="*/ 3980021 w 6400800"/>
                <a:gd name="connsiteY4511" fmla="*/ 412909 h 514350"/>
                <a:gd name="connsiteX4512" fmla="*/ 3980021 w 6400800"/>
                <a:gd name="connsiteY4512" fmla="*/ 412909 h 514350"/>
                <a:gd name="connsiteX4513" fmla="*/ 3982879 w 6400800"/>
                <a:gd name="connsiteY4513" fmla="*/ 402431 h 514350"/>
                <a:gd name="connsiteX4514" fmla="*/ 3983831 w 6400800"/>
                <a:gd name="connsiteY4514" fmla="*/ 405289 h 514350"/>
                <a:gd name="connsiteX4515" fmla="*/ 3980974 w 6400800"/>
                <a:gd name="connsiteY4515" fmla="*/ 395764 h 514350"/>
                <a:gd name="connsiteX4516" fmla="*/ 3982879 w 6400800"/>
                <a:gd name="connsiteY4516" fmla="*/ 401479 h 514350"/>
                <a:gd name="connsiteX4517" fmla="*/ 3979069 w 6400800"/>
                <a:gd name="connsiteY4517" fmla="*/ 407194 h 514350"/>
                <a:gd name="connsiteX4518" fmla="*/ 3979069 w 6400800"/>
                <a:gd name="connsiteY4518" fmla="*/ 406241 h 514350"/>
                <a:gd name="connsiteX4519" fmla="*/ 3980974 w 6400800"/>
                <a:gd name="connsiteY4519" fmla="*/ 395764 h 514350"/>
                <a:gd name="connsiteX4520" fmla="*/ 3976211 w 6400800"/>
                <a:gd name="connsiteY4520" fmla="*/ 378619 h 514350"/>
                <a:gd name="connsiteX4521" fmla="*/ 3976211 w 6400800"/>
                <a:gd name="connsiteY4521" fmla="*/ 378619 h 514350"/>
                <a:gd name="connsiteX4522" fmla="*/ 3976211 w 6400800"/>
                <a:gd name="connsiteY4522" fmla="*/ 380524 h 514350"/>
                <a:gd name="connsiteX4523" fmla="*/ 3976211 w 6400800"/>
                <a:gd name="connsiteY4523" fmla="*/ 378619 h 514350"/>
                <a:gd name="connsiteX4524" fmla="*/ 3948589 w 6400800"/>
                <a:gd name="connsiteY4524" fmla="*/ 255746 h 514350"/>
                <a:gd name="connsiteX4525" fmla="*/ 3946684 w 6400800"/>
                <a:gd name="connsiteY4525" fmla="*/ 277654 h 514350"/>
                <a:gd name="connsiteX4526" fmla="*/ 3945731 w 6400800"/>
                <a:gd name="connsiteY4526" fmla="*/ 285274 h 514350"/>
                <a:gd name="connsiteX4527" fmla="*/ 3943826 w 6400800"/>
                <a:gd name="connsiteY4527" fmla="*/ 266224 h 514350"/>
                <a:gd name="connsiteX4528" fmla="*/ 3940016 w 6400800"/>
                <a:gd name="connsiteY4528" fmla="*/ 240506 h 514350"/>
                <a:gd name="connsiteX4529" fmla="*/ 3940016 w 6400800"/>
                <a:gd name="connsiteY4529" fmla="*/ 239554 h 514350"/>
                <a:gd name="connsiteX4530" fmla="*/ 3940016 w 6400800"/>
                <a:gd name="connsiteY4530" fmla="*/ 236696 h 514350"/>
                <a:gd name="connsiteX4531" fmla="*/ 3942874 w 6400800"/>
                <a:gd name="connsiteY4531" fmla="*/ 240506 h 514350"/>
                <a:gd name="connsiteX4532" fmla="*/ 3947636 w 6400800"/>
                <a:gd name="connsiteY4532" fmla="*/ 248126 h 514350"/>
                <a:gd name="connsiteX4533" fmla="*/ 3948589 w 6400800"/>
                <a:gd name="connsiteY4533" fmla="*/ 255746 h 514350"/>
                <a:gd name="connsiteX4534" fmla="*/ 3943826 w 6400800"/>
                <a:gd name="connsiteY4534" fmla="*/ 205264 h 514350"/>
                <a:gd name="connsiteX4535" fmla="*/ 3943826 w 6400800"/>
                <a:gd name="connsiteY4535" fmla="*/ 210979 h 514350"/>
                <a:gd name="connsiteX4536" fmla="*/ 3945731 w 6400800"/>
                <a:gd name="connsiteY4536" fmla="*/ 230981 h 514350"/>
                <a:gd name="connsiteX4537" fmla="*/ 3946684 w 6400800"/>
                <a:gd name="connsiteY4537" fmla="*/ 236696 h 514350"/>
                <a:gd name="connsiteX4538" fmla="*/ 3939064 w 6400800"/>
                <a:gd name="connsiteY4538" fmla="*/ 228124 h 514350"/>
                <a:gd name="connsiteX4539" fmla="*/ 3937159 w 6400800"/>
                <a:gd name="connsiteY4539" fmla="*/ 215741 h 514350"/>
                <a:gd name="connsiteX4540" fmla="*/ 3943826 w 6400800"/>
                <a:gd name="connsiteY4540" fmla="*/ 205264 h 514350"/>
                <a:gd name="connsiteX4541" fmla="*/ 3866674 w 6400800"/>
                <a:gd name="connsiteY4541" fmla="*/ 369094 h 514350"/>
                <a:gd name="connsiteX4542" fmla="*/ 3867626 w 6400800"/>
                <a:gd name="connsiteY4542" fmla="*/ 368141 h 514350"/>
                <a:gd name="connsiteX4543" fmla="*/ 3867626 w 6400800"/>
                <a:gd name="connsiteY4543" fmla="*/ 370999 h 514350"/>
                <a:gd name="connsiteX4544" fmla="*/ 3866674 w 6400800"/>
                <a:gd name="connsiteY4544" fmla="*/ 369094 h 514350"/>
                <a:gd name="connsiteX4545" fmla="*/ 3886676 w 6400800"/>
                <a:gd name="connsiteY4545" fmla="*/ 354806 h 514350"/>
                <a:gd name="connsiteX4546" fmla="*/ 3882866 w 6400800"/>
                <a:gd name="connsiteY4546" fmla="*/ 348139 h 514350"/>
                <a:gd name="connsiteX4547" fmla="*/ 3881914 w 6400800"/>
                <a:gd name="connsiteY4547" fmla="*/ 338614 h 514350"/>
                <a:gd name="connsiteX4548" fmla="*/ 3886676 w 6400800"/>
                <a:gd name="connsiteY4548" fmla="*/ 354806 h 514350"/>
                <a:gd name="connsiteX4549" fmla="*/ 3887629 w 6400800"/>
                <a:gd name="connsiteY4549" fmla="*/ 356711 h 514350"/>
                <a:gd name="connsiteX4550" fmla="*/ 3886676 w 6400800"/>
                <a:gd name="connsiteY4550" fmla="*/ 354806 h 514350"/>
                <a:gd name="connsiteX4551" fmla="*/ 3897154 w 6400800"/>
                <a:gd name="connsiteY4551" fmla="*/ 278606 h 514350"/>
                <a:gd name="connsiteX4552" fmla="*/ 3901916 w 6400800"/>
                <a:gd name="connsiteY4552" fmla="*/ 270986 h 514350"/>
                <a:gd name="connsiteX4553" fmla="*/ 3901916 w 6400800"/>
                <a:gd name="connsiteY4553" fmla="*/ 270986 h 514350"/>
                <a:gd name="connsiteX4554" fmla="*/ 3897154 w 6400800"/>
                <a:gd name="connsiteY4554" fmla="*/ 278606 h 514350"/>
                <a:gd name="connsiteX4555" fmla="*/ 3897154 w 6400800"/>
                <a:gd name="connsiteY4555" fmla="*/ 278606 h 514350"/>
                <a:gd name="connsiteX4556" fmla="*/ 3900011 w 6400800"/>
                <a:gd name="connsiteY4556" fmla="*/ 291941 h 514350"/>
                <a:gd name="connsiteX4557" fmla="*/ 3901916 w 6400800"/>
                <a:gd name="connsiteY4557" fmla="*/ 288131 h 514350"/>
                <a:gd name="connsiteX4558" fmla="*/ 3902869 w 6400800"/>
                <a:gd name="connsiteY4558" fmla="*/ 286226 h 514350"/>
                <a:gd name="connsiteX4559" fmla="*/ 3903821 w 6400800"/>
                <a:gd name="connsiteY4559" fmla="*/ 297656 h 514350"/>
                <a:gd name="connsiteX4560" fmla="*/ 3902869 w 6400800"/>
                <a:gd name="connsiteY4560" fmla="*/ 301466 h 514350"/>
                <a:gd name="connsiteX4561" fmla="*/ 3901916 w 6400800"/>
                <a:gd name="connsiteY4561" fmla="*/ 298609 h 514350"/>
                <a:gd name="connsiteX4562" fmla="*/ 3900011 w 6400800"/>
                <a:gd name="connsiteY4562" fmla="*/ 291941 h 514350"/>
                <a:gd name="connsiteX4563" fmla="*/ 3903821 w 6400800"/>
                <a:gd name="connsiteY4563" fmla="*/ 431006 h 514350"/>
                <a:gd name="connsiteX4564" fmla="*/ 3902869 w 6400800"/>
                <a:gd name="connsiteY4564" fmla="*/ 431959 h 514350"/>
                <a:gd name="connsiteX4565" fmla="*/ 3901916 w 6400800"/>
                <a:gd name="connsiteY4565" fmla="*/ 431959 h 514350"/>
                <a:gd name="connsiteX4566" fmla="*/ 3903821 w 6400800"/>
                <a:gd name="connsiteY4566" fmla="*/ 426244 h 514350"/>
                <a:gd name="connsiteX4567" fmla="*/ 3904774 w 6400800"/>
                <a:gd name="connsiteY4567" fmla="*/ 428149 h 514350"/>
                <a:gd name="connsiteX4568" fmla="*/ 3903821 w 6400800"/>
                <a:gd name="connsiteY4568" fmla="*/ 431006 h 514350"/>
                <a:gd name="connsiteX4569" fmla="*/ 3925729 w 6400800"/>
                <a:gd name="connsiteY4569" fmla="*/ 309086 h 514350"/>
                <a:gd name="connsiteX4570" fmla="*/ 3922871 w 6400800"/>
                <a:gd name="connsiteY4570" fmla="*/ 297656 h 514350"/>
                <a:gd name="connsiteX4571" fmla="*/ 3923824 w 6400800"/>
                <a:gd name="connsiteY4571" fmla="*/ 308134 h 514350"/>
                <a:gd name="connsiteX4572" fmla="*/ 3919061 w 6400800"/>
                <a:gd name="connsiteY4572" fmla="*/ 291941 h 514350"/>
                <a:gd name="connsiteX4573" fmla="*/ 3922871 w 6400800"/>
                <a:gd name="connsiteY4573" fmla="*/ 317659 h 514350"/>
                <a:gd name="connsiteX4574" fmla="*/ 3923824 w 6400800"/>
                <a:gd name="connsiteY4574" fmla="*/ 325279 h 514350"/>
                <a:gd name="connsiteX4575" fmla="*/ 3921919 w 6400800"/>
                <a:gd name="connsiteY4575" fmla="*/ 334804 h 514350"/>
                <a:gd name="connsiteX4576" fmla="*/ 3921919 w 6400800"/>
                <a:gd name="connsiteY4576" fmla="*/ 335756 h 514350"/>
                <a:gd name="connsiteX4577" fmla="*/ 3920966 w 6400800"/>
                <a:gd name="connsiteY4577" fmla="*/ 330041 h 514350"/>
                <a:gd name="connsiteX4578" fmla="*/ 3915251 w 6400800"/>
                <a:gd name="connsiteY4578" fmla="*/ 301466 h 514350"/>
                <a:gd name="connsiteX4579" fmla="*/ 3911441 w 6400800"/>
                <a:gd name="connsiteY4579" fmla="*/ 281464 h 514350"/>
                <a:gd name="connsiteX4580" fmla="*/ 3912394 w 6400800"/>
                <a:gd name="connsiteY4580" fmla="*/ 264319 h 514350"/>
                <a:gd name="connsiteX4581" fmla="*/ 3912394 w 6400800"/>
                <a:gd name="connsiteY4581" fmla="*/ 263366 h 514350"/>
                <a:gd name="connsiteX4582" fmla="*/ 3919061 w 6400800"/>
                <a:gd name="connsiteY4582" fmla="*/ 270986 h 514350"/>
                <a:gd name="connsiteX4583" fmla="*/ 3923824 w 6400800"/>
                <a:gd name="connsiteY4583" fmla="*/ 277654 h 514350"/>
                <a:gd name="connsiteX4584" fmla="*/ 3924776 w 6400800"/>
                <a:gd name="connsiteY4584" fmla="*/ 284321 h 514350"/>
                <a:gd name="connsiteX4585" fmla="*/ 3921919 w 6400800"/>
                <a:gd name="connsiteY4585" fmla="*/ 277654 h 514350"/>
                <a:gd name="connsiteX4586" fmla="*/ 3926681 w 6400800"/>
                <a:gd name="connsiteY4586" fmla="*/ 296704 h 514350"/>
                <a:gd name="connsiteX4587" fmla="*/ 3927634 w 6400800"/>
                <a:gd name="connsiteY4587" fmla="*/ 304324 h 514350"/>
                <a:gd name="connsiteX4588" fmla="*/ 3927634 w 6400800"/>
                <a:gd name="connsiteY4588" fmla="*/ 305276 h 514350"/>
                <a:gd name="connsiteX4589" fmla="*/ 3925729 w 6400800"/>
                <a:gd name="connsiteY4589" fmla="*/ 309086 h 514350"/>
                <a:gd name="connsiteX4590" fmla="*/ 3929539 w 6400800"/>
                <a:gd name="connsiteY4590" fmla="*/ 287179 h 514350"/>
                <a:gd name="connsiteX4591" fmla="*/ 3928586 w 6400800"/>
                <a:gd name="connsiteY4591" fmla="*/ 292894 h 514350"/>
                <a:gd name="connsiteX4592" fmla="*/ 3927634 w 6400800"/>
                <a:gd name="connsiteY4592" fmla="*/ 290036 h 514350"/>
                <a:gd name="connsiteX4593" fmla="*/ 3923824 w 6400800"/>
                <a:gd name="connsiteY4593" fmla="*/ 275749 h 514350"/>
                <a:gd name="connsiteX4594" fmla="*/ 3927634 w 6400800"/>
                <a:gd name="connsiteY4594" fmla="*/ 281464 h 514350"/>
                <a:gd name="connsiteX4595" fmla="*/ 3929539 w 6400800"/>
                <a:gd name="connsiteY4595" fmla="*/ 284321 h 514350"/>
                <a:gd name="connsiteX4596" fmla="*/ 3929539 w 6400800"/>
                <a:gd name="connsiteY4596" fmla="*/ 287179 h 514350"/>
                <a:gd name="connsiteX4597" fmla="*/ 3926681 w 6400800"/>
                <a:gd name="connsiteY4597" fmla="*/ 242411 h 514350"/>
                <a:gd name="connsiteX4598" fmla="*/ 3928586 w 6400800"/>
                <a:gd name="connsiteY4598" fmla="*/ 270986 h 514350"/>
                <a:gd name="connsiteX4599" fmla="*/ 3921919 w 6400800"/>
                <a:gd name="connsiteY4599" fmla="*/ 265271 h 514350"/>
                <a:gd name="connsiteX4600" fmla="*/ 3913346 w 6400800"/>
                <a:gd name="connsiteY4600" fmla="*/ 257651 h 514350"/>
                <a:gd name="connsiteX4601" fmla="*/ 3917156 w 6400800"/>
                <a:gd name="connsiteY4601" fmla="*/ 246221 h 514350"/>
                <a:gd name="connsiteX4602" fmla="*/ 3925729 w 6400800"/>
                <a:gd name="connsiteY4602" fmla="*/ 232886 h 514350"/>
                <a:gd name="connsiteX4603" fmla="*/ 3926681 w 6400800"/>
                <a:gd name="connsiteY4603" fmla="*/ 242411 h 514350"/>
                <a:gd name="connsiteX4604" fmla="*/ 3900964 w 6400800"/>
                <a:gd name="connsiteY4604" fmla="*/ 168116 h 514350"/>
                <a:gd name="connsiteX4605" fmla="*/ 3914299 w 6400800"/>
                <a:gd name="connsiteY4605" fmla="*/ 147161 h 514350"/>
                <a:gd name="connsiteX4606" fmla="*/ 3915251 w 6400800"/>
                <a:gd name="connsiteY4606" fmla="*/ 156686 h 514350"/>
                <a:gd name="connsiteX4607" fmla="*/ 3920966 w 6400800"/>
                <a:gd name="connsiteY4607" fmla="*/ 196691 h 514350"/>
                <a:gd name="connsiteX4608" fmla="*/ 3922871 w 6400800"/>
                <a:gd name="connsiteY4608" fmla="*/ 213836 h 514350"/>
                <a:gd name="connsiteX4609" fmla="*/ 3920014 w 6400800"/>
                <a:gd name="connsiteY4609" fmla="*/ 210979 h 514350"/>
                <a:gd name="connsiteX4610" fmla="*/ 3923824 w 6400800"/>
                <a:gd name="connsiteY4610" fmla="*/ 214789 h 514350"/>
                <a:gd name="connsiteX4611" fmla="*/ 3924776 w 6400800"/>
                <a:gd name="connsiteY4611" fmla="*/ 226219 h 514350"/>
                <a:gd name="connsiteX4612" fmla="*/ 3906679 w 6400800"/>
                <a:gd name="connsiteY4612" fmla="*/ 249079 h 514350"/>
                <a:gd name="connsiteX4613" fmla="*/ 3904774 w 6400800"/>
                <a:gd name="connsiteY4613" fmla="*/ 251936 h 514350"/>
                <a:gd name="connsiteX4614" fmla="*/ 3902869 w 6400800"/>
                <a:gd name="connsiteY4614" fmla="*/ 250984 h 514350"/>
                <a:gd name="connsiteX4615" fmla="*/ 3900964 w 6400800"/>
                <a:gd name="connsiteY4615" fmla="*/ 242411 h 514350"/>
                <a:gd name="connsiteX4616" fmla="*/ 3900964 w 6400800"/>
                <a:gd name="connsiteY4616" fmla="*/ 249079 h 514350"/>
                <a:gd name="connsiteX4617" fmla="*/ 3897154 w 6400800"/>
                <a:gd name="connsiteY4617" fmla="*/ 247174 h 514350"/>
                <a:gd name="connsiteX4618" fmla="*/ 3891439 w 6400800"/>
                <a:gd name="connsiteY4618" fmla="*/ 243364 h 514350"/>
                <a:gd name="connsiteX4619" fmla="*/ 3896201 w 6400800"/>
                <a:gd name="connsiteY4619" fmla="*/ 248126 h 514350"/>
                <a:gd name="connsiteX4620" fmla="*/ 3900964 w 6400800"/>
                <a:gd name="connsiteY4620" fmla="*/ 251936 h 514350"/>
                <a:gd name="connsiteX4621" fmla="*/ 3900964 w 6400800"/>
                <a:gd name="connsiteY4621" fmla="*/ 256699 h 514350"/>
                <a:gd name="connsiteX4622" fmla="*/ 3894296 w 6400800"/>
                <a:gd name="connsiteY4622" fmla="*/ 266224 h 514350"/>
                <a:gd name="connsiteX4623" fmla="*/ 3890486 w 6400800"/>
                <a:gd name="connsiteY4623" fmla="*/ 250984 h 514350"/>
                <a:gd name="connsiteX4624" fmla="*/ 3880009 w 6400800"/>
                <a:gd name="connsiteY4624" fmla="*/ 210026 h 514350"/>
                <a:gd name="connsiteX4625" fmla="*/ 3879056 w 6400800"/>
                <a:gd name="connsiteY4625" fmla="*/ 206216 h 514350"/>
                <a:gd name="connsiteX4626" fmla="*/ 3900964 w 6400800"/>
                <a:gd name="connsiteY4626" fmla="*/ 168116 h 514350"/>
                <a:gd name="connsiteX4627" fmla="*/ 3873341 w 6400800"/>
                <a:gd name="connsiteY4627" fmla="*/ 214789 h 514350"/>
                <a:gd name="connsiteX4628" fmla="*/ 3879056 w 6400800"/>
                <a:gd name="connsiteY4628" fmla="*/ 251936 h 514350"/>
                <a:gd name="connsiteX4629" fmla="*/ 3883819 w 6400800"/>
                <a:gd name="connsiteY4629" fmla="*/ 280511 h 514350"/>
                <a:gd name="connsiteX4630" fmla="*/ 3882866 w 6400800"/>
                <a:gd name="connsiteY4630" fmla="*/ 282416 h 514350"/>
                <a:gd name="connsiteX4631" fmla="*/ 3875246 w 6400800"/>
                <a:gd name="connsiteY4631" fmla="*/ 259556 h 514350"/>
                <a:gd name="connsiteX4632" fmla="*/ 3865721 w 6400800"/>
                <a:gd name="connsiteY4632" fmla="*/ 234791 h 514350"/>
                <a:gd name="connsiteX4633" fmla="*/ 3864769 w 6400800"/>
                <a:gd name="connsiteY4633" fmla="*/ 231934 h 514350"/>
                <a:gd name="connsiteX4634" fmla="*/ 3873341 w 6400800"/>
                <a:gd name="connsiteY4634" fmla="*/ 214789 h 514350"/>
                <a:gd name="connsiteX4635" fmla="*/ 3864769 w 6400800"/>
                <a:gd name="connsiteY4635" fmla="*/ 341471 h 514350"/>
                <a:gd name="connsiteX4636" fmla="*/ 3862864 w 6400800"/>
                <a:gd name="connsiteY4636" fmla="*/ 345281 h 514350"/>
                <a:gd name="connsiteX4637" fmla="*/ 3864769 w 6400800"/>
                <a:gd name="connsiteY4637" fmla="*/ 341471 h 514350"/>
                <a:gd name="connsiteX4638" fmla="*/ 3864769 w 6400800"/>
                <a:gd name="connsiteY4638" fmla="*/ 341471 h 514350"/>
                <a:gd name="connsiteX4639" fmla="*/ 3854291 w 6400800"/>
                <a:gd name="connsiteY4639" fmla="*/ 211931 h 514350"/>
                <a:gd name="connsiteX4640" fmla="*/ 3856196 w 6400800"/>
                <a:gd name="connsiteY4640" fmla="*/ 201454 h 514350"/>
                <a:gd name="connsiteX4641" fmla="*/ 3857149 w 6400800"/>
                <a:gd name="connsiteY4641" fmla="*/ 220504 h 514350"/>
                <a:gd name="connsiteX4642" fmla="*/ 3854291 w 6400800"/>
                <a:gd name="connsiteY4642" fmla="*/ 226219 h 514350"/>
                <a:gd name="connsiteX4643" fmla="*/ 3854291 w 6400800"/>
                <a:gd name="connsiteY4643" fmla="*/ 211931 h 514350"/>
                <a:gd name="connsiteX4644" fmla="*/ 3849529 w 6400800"/>
                <a:gd name="connsiteY4644" fmla="*/ 262414 h 514350"/>
                <a:gd name="connsiteX4645" fmla="*/ 3849529 w 6400800"/>
                <a:gd name="connsiteY4645" fmla="*/ 257651 h 514350"/>
                <a:gd name="connsiteX4646" fmla="*/ 3850481 w 6400800"/>
                <a:gd name="connsiteY4646" fmla="*/ 256699 h 514350"/>
                <a:gd name="connsiteX4647" fmla="*/ 3859054 w 6400800"/>
                <a:gd name="connsiteY4647" fmla="*/ 278606 h 514350"/>
                <a:gd name="connsiteX4648" fmla="*/ 3860006 w 6400800"/>
                <a:gd name="connsiteY4648" fmla="*/ 280511 h 514350"/>
                <a:gd name="connsiteX4649" fmla="*/ 3862864 w 6400800"/>
                <a:gd name="connsiteY4649" fmla="*/ 313849 h 514350"/>
                <a:gd name="connsiteX4650" fmla="*/ 3862864 w 6400800"/>
                <a:gd name="connsiteY4650" fmla="*/ 313849 h 514350"/>
                <a:gd name="connsiteX4651" fmla="*/ 3847624 w 6400800"/>
                <a:gd name="connsiteY4651" fmla="*/ 291941 h 514350"/>
                <a:gd name="connsiteX4652" fmla="*/ 3849529 w 6400800"/>
                <a:gd name="connsiteY4652" fmla="*/ 262414 h 514350"/>
                <a:gd name="connsiteX4653" fmla="*/ 3846671 w 6400800"/>
                <a:gd name="connsiteY4653" fmla="*/ 308134 h 514350"/>
                <a:gd name="connsiteX4654" fmla="*/ 3855244 w 6400800"/>
                <a:gd name="connsiteY4654" fmla="*/ 323374 h 514350"/>
                <a:gd name="connsiteX4655" fmla="*/ 3856196 w 6400800"/>
                <a:gd name="connsiteY4655" fmla="*/ 325279 h 514350"/>
                <a:gd name="connsiteX4656" fmla="*/ 3855244 w 6400800"/>
                <a:gd name="connsiteY4656" fmla="*/ 327184 h 514350"/>
                <a:gd name="connsiteX4657" fmla="*/ 3849529 w 6400800"/>
                <a:gd name="connsiteY4657" fmla="*/ 336709 h 514350"/>
                <a:gd name="connsiteX4658" fmla="*/ 3845719 w 6400800"/>
                <a:gd name="connsiteY4658" fmla="*/ 330041 h 514350"/>
                <a:gd name="connsiteX4659" fmla="*/ 3846671 w 6400800"/>
                <a:gd name="connsiteY4659" fmla="*/ 308134 h 514350"/>
                <a:gd name="connsiteX4660" fmla="*/ 3843814 w 6400800"/>
                <a:gd name="connsiteY4660" fmla="*/ 415766 h 514350"/>
                <a:gd name="connsiteX4661" fmla="*/ 3846671 w 6400800"/>
                <a:gd name="connsiteY4661" fmla="*/ 410051 h 514350"/>
                <a:gd name="connsiteX4662" fmla="*/ 3847624 w 6400800"/>
                <a:gd name="connsiteY4662" fmla="*/ 416719 h 514350"/>
                <a:gd name="connsiteX4663" fmla="*/ 3847624 w 6400800"/>
                <a:gd name="connsiteY4663" fmla="*/ 419576 h 514350"/>
                <a:gd name="connsiteX4664" fmla="*/ 3846671 w 6400800"/>
                <a:gd name="connsiteY4664" fmla="*/ 422434 h 514350"/>
                <a:gd name="connsiteX4665" fmla="*/ 3844766 w 6400800"/>
                <a:gd name="connsiteY4665" fmla="*/ 426244 h 514350"/>
                <a:gd name="connsiteX4666" fmla="*/ 3842861 w 6400800"/>
                <a:gd name="connsiteY4666" fmla="*/ 426244 h 514350"/>
                <a:gd name="connsiteX4667" fmla="*/ 3843814 w 6400800"/>
                <a:gd name="connsiteY4667" fmla="*/ 415766 h 514350"/>
                <a:gd name="connsiteX4668" fmla="*/ 3830479 w 6400800"/>
                <a:gd name="connsiteY4668" fmla="*/ 297656 h 514350"/>
                <a:gd name="connsiteX4669" fmla="*/ 3830479 w 6400800"/>
                <a:gd name="connsiteY4669" fmla="*/ 299561 h 514350"/>
                <a:gd name="connsiteX4670" fmla="*/ 3830479 w 6400800"/>
                <a:gd name="connsiteY4670" fmla="*/ 301466 h 514350"/>
                <a:gd name="connsiteX4671" fmla="*/ 3829526 w 6400800"/>
                <a:gd name="connsiteY4671" fmla="*/ 307181 h 514350"/>
                <a:gd name="connsiteX4672" fmla="*/ 3827621 w 6400800"/>
                <a:gd name="connsiteY4672" fmla="*/ 304324 h 514350"/>
                <a:gd name="connsiteX4673" fmla="*/ 3830479 w 6400800"/>
                <a:gd name="connsiteY4673" fmla="*/ 297656 h 514350"/>
                <a:gd name="connsiteX4674" fmla="*/ 3826669 w 6400800"/>
                <a:gd name="connsiteY4674" fmla="*/ 305276 h 514350"/>
                <a:gd name="connsiteX4675" fmla="*/ 3828574 w 6400800"/>
                <a:gd name="connsiteY4675" fmla="*/ 310039 h 514350"/>
                <a:gd name="connsiteX4676" fmla="*/ 3827621 w 6400800"/>
                <a:gd name="connsiteY4676" fmla="*/ 314801 h 514350"/>
                <a:gd name="connsiteX4677" fmla="*/ 3823811 w 6400800"/>
                <a:gd name="connsiteY4677" fmla="*/ 309086 h 514350"/>
                <a:gd name="connsiteX4678" fmla="*/ 3826669 w 6400800"/>
                <a:gd name="connsiteY4678" fmla="*/ 305276 h 514350"/>
                <a:gd name="connsiteX4679" fmla="*/ 3820001 w 6400800"/>
                <a:gd name="connsiteY4679" fmla="*/ 319564 h 514350"/>
                <a:gd name="connsiteX4680" fmla="*/ 3826669 w 6400800"/>
                <a:gd name="connsiteY4680" fmla="*/ 332899 h 514350"/>
                <a:gd name="connsiteX4681" fmla="*/ 3827621 w 6400800"/>
                <a:gd name="connsiteY4681" fmla="*/ 333851 h 514350"/>
                <a:gd name="connsiteX4682" fmla="*/ 3826669 w 6400800"/>
                <a:gd name="connsiteY4682" fmla="*/ 343376 h 514350"/>
                <a:gd name="connsiteX4683" fmla="*/ 3824764 w 6400800"/>
                <a:gd name="connsiteY4683" fmla="*/ 377666 h 514350"/>
                <a:gd name="connsiteX4684" fmla="*/ 3820954 w 6400800"/>
                <a:gd name="connsiteY4684" fmla="*/ 364331 h 514350"/>
                <a:gd name="connsiteX4685" fmla="*/ 3820001 w 6400800"/>
                <a:gd name="connsiteY4685" fmla="*/ 352901 h 514350"/>
                <a:gd name="connsiteX4686" fmla="*/ 3818096 w 6400800"/>
                <a:gd name="connsiteY4686" fmla="*/ 336709 h 514350"/>
                <a:gd name="connsiteX4687" fmla="*/ 3821906 w 6400800"/>
                <a:gd name="connsiteY4687" fmla="*/ 332899 h 514350"/>
                <a:gd name="connsiteX4688" fmla="*/ 3818096 w 6400800"/>
                <a:gd name="connsiteY4688" fmla="*/ 335756 h 514350"/>
                <a:gd name="connsiteX4689" fmla="*/ 3817144 w 6400800"/>
                <a:gd name="connsiteY4689" fmla="*/ 326231 h 514350"/>
                <a:gd name="connsiteX4690" fmla="*/ 3820001 w 6400800"/>
                <a:gd name="connsiteY4690" fmla="*/ 319564 h 514350"/>
                <a:gd name="connsiteX4691" fmla="*/ 3788569 w 6400800"/>
                <a:gd name="connsiteY4691" fmla="*/ 264319 h 514350"/>
                <a:gd name="connsiteX4692" fmla="*/ 3792379 w 6400800"/>
                <a:gd name="connsiteY4692" fmla="*/ 270986 h 514350"/>
                <a:gd name="connsiteX4693" fmla="*/ 3800951 w 6400800"/>
                <a:gd name="connsiteY4693" fmla="*/ 285274 h 514350"/>
                <a:gd name="connsiteX4694" fmla="*/ 3800951 w 6400800"/>
                <a:gd name="connsiteY4694" fmla="*/ 287179 h 514350"/>
                <a:gd name="connsiteX4695" fmla="*/ 3800951 w 6400800"/>
                <a:gd name="connsiteY4695" fmla="*/ 298609 h 514350"/>
                <a:gd name="connsiteX4696" fmla="*/ 3800951 w 6400800"/>
                <a:gd name="connsiteY4696" fmla="*/ 300514 h 514350"/>
                <a:gd name="connsiteX4697" fmla="*/ 3797141 w 6400800"/>
                <a:gd name="connsiteY4697" fmla="*/ 287179 h 514350"/>
                <a:gd name="connsiteX4698" fmla="*/ 3796189 w 6400800"/>
                <a:gd name="connsiteY4698" fmla="*/ 285274 h 514350"/>
                <a:gd name="connsiteX4699" fmla="*/ 3796189 w 6400800"/>
                <a:gd name="connsiteY4699" fmla="*/ 280511 h 514350"/>
                <a:gd name="connsiteX4700" fmla="*/ 3795236 w 6400800"/>
                <a:gd name="connsiteY4700" fmla="*/ 283369 h 514350"/>
                <a:gd name="connsiteX4701" fmla="*/ 3791426 w 6400800"/>
                <a:gd name="connsiteY4701" fmla="*/ 271939 h 514350"/>
                <a:gd name="connsiteX4702" fmla="*/ 3788569 w 6400800"/>
                <a:gd name="connsiteY4702" fmla="*/ 264319 h 514350"/>
                <a:gd name="connsiteX4703" fmla="*/ 3748564 w 6400800"/>
                <a:gd name="connsiteY4703" fmla="*/ 364331 h 514350"/>
                <a:gd name="connsiteX4704" fmla="*/ 3748564 w 6400800"/>
                <a:gd name="connsiteY4704" fmla="*/ 351949 h 514350"/>
                <a:gd name="connsiteX4705" fmla="*/ 3750469 w 6400800"/>
                <a:gd name="connsiteY4705" fmla="*/ 358616 h 514350"/>
                <a:gd name="connsiteX4706" fmla="*/ 3748564 w 6400800"/>
                <a:gd name="connsiteY4706" fmla="*/ 364331 h 514350"/>
                <a:gd name="connsiteX4707" fmla="*/ 3762851 w 6400800"/>
                <a:gd name="connsiteY4707" fmla="*/ 399574 h 514350"/>
                <a:gd name="connsiteX4708" fmla="*/ 3759994 w 6400800"/>
                <a:gd name="connsiteY4708" fmla="*/ 405289 h 514350"/>
                <a:gd name="connsiteX4709" fmla="*/ 3760946 w 6400800"/>
                <a:gd name="connsiteY4709" fmla="*/ 391954 h 514350"/>
                <a:gd name="connsiteX4710" fmla="*/ 3760946 w 6400800"/>
                <a:gd name="connsiteY4710" fmla="*/ 391001 h 514350"/>
                <a:gd name="connsiteX4711" fmla="*/ 3762851 w 6400800"/>
                <a:gd name="connsiteY4711" fmla="*/ 396716 h 514350"/>
                <a:gd name="connsiteX4712" fmla="*/ 3762851 w 6400800"/>
                <a:gd name="connsiteY4712" fmla="*/ 399574 h 514350"/>
                <a:gd name="connsiteX4713" fmla="*/ 3770471 w 6400800"/>
                <a:gd name="connsiteY4713" fmla="*/ 290036 h 514350"/>
                <a:gd name="connsiteX4714" fmla="*/ 3775234 w 6400800"/>
                <a:gd name="connsiteY4714" fmla="*/ 309086 h 514350"/>
                <a:gd name="connsiteX4715" fmla="*/ 3771424 w 6400800"/>
                <a:gd name="connsiteY4715" fmla="*/ 301466 h 514350"/>
                <a:gd name="connsiteX4716" fmla="*/ 3770471 w 6400800"/>
                <a:gd name="connsiteY4716" fmla="*/ 299561 h 514350"/>
                <a:gd name="connsiteX4717" fmla="*/ 3770471 w 6400800"/>
                <a:gd name="connsiteY4717" fmla="*/ 290989 h 514350"/>
                <a:gd name="connsiteX4718" fmla="*/ 3770471 w 6400800"/>
                <a:gd name="connsiteY4718" fmla="*/ 290036 h 514350"/>
                <a:gd name="connsiteX4719" fmla="*/ 3769519 w 6400800"/>
                <a:gd name="connsiteY4719" fmla="*/ 370046 h 514350"/>
                <a:gd name="connsiteX4720" fmla="*/ 3770471 w 6400800"/>
                <a:gd name="connsiteY4720" fmla="*/ 372904 h 514350"/>
                <a:gd name="connsiteX4721" fmla="*/ 3767614 w 6400800"/>
                <a:gd name="connsiteY4721" fmla="*/ 366236 h 514350"/>
                <a:gd name="connsiteX4722" fmla="*/ 3767614 w 6400800"/>
                <a:gd name="connsiteY4722" fmla="*/ 359569 h 514350"/>
                <a:gd name="connsiteX4723" fmla="*/ 3766661 w 6400800"/>
                <a:gd name="connsiteY4723" fmla="*/ 364331 h 514350"/>
                <a:gd name="connsiteX4724" fmla="*/ 3764756 w 6400800"/>
                <a:gd name="connsiteY4724" fmla="*/ 360521 h 514350"/>
                <a:gd name="connsiteX4725" fmla="*/ 3764756 w 6400800"/>
                <a:gd name="connsiteY4725" fmla="*/ 357664 h 514350"/>
                <a:gd name="connsiteX4726" fmla="*/ 3765709 w 6400800"/>
                <a:gd name="connsiteY4726" fmla="*/ 351949 h 514350"/>
                <a:gd name="connsiteX4727" fmla="*/ 3769519 w 6400800"/>
                <a:gd name="connsiteY4727" fmla="*/ 370046 h 514350"/>
                <a:gd name="connsiteX4728" fmla="*/ 3753326 w 6400800"/>
                <a:gd name="connsiteY4728" fmla="*/ 250031 h 514350"/>
                <a:gd name="connsiteX4729" fmla="*/ 3755231 w 6400800"/>
                <a:gd name="connsiteY4729" fmla="*/ 236696 h 514350"/>
                <a:gd name="connsiteX4730" fmla="*/ 3756184 w 6400800"/>
                <a:gd name="connsiteY4730" fmla="*/ 232886 h 514350"/>
                <a:gd name="connsiteX4731" fmla="*/ 3758089 w 6400800"/>
                <a:gd name="connsiteY4731" fmla="*/ 230029 h 514350"/>
                <a:gd name="connsiteX4732" fmla="*/ 3759994 w 6400800"/>
                <a:gd name="connsiteY4732" fmla="*/ 237649 h 514350"/>
                <a:gd name="connsiteX4733" fmla="*/ 3769519 w 6400800"/>
                <a:gd name="connsiteY4733" fmla="*/ 281464 h 514350"/>
                <a:gd name="connsiteX4734" fmla="*/ 3767614 w 6400800"/>
                <a:gd name="connsiteY4734" fmla="*/ 290036 h 514350"/>
                <a:gd name="connsiteX4735" fmla="*/ 3767614 w 6400800"/>
                <a:gd name="connsiteY4735" fmla="*/ 290989 h 514350"/>
                <a:gd name="connsiteX4736" fmla="*/ 3752374 w 6400800"/>
                <a:gd name="connsiteY4736" fmla="*/ 261461 h 514350"/>
                <a:gd name="connsiteX4737" fmla="*/ 3753326 w 6400800"/>
                <a:gd name="connsiteY4737" fmla="*/ 250031 h 514350"/>
                <a:gd name="connsiteX4738" fmla="*/ 3748564 w 6400800"/>
                <a:gd name="connsiteY4738" fmla="*/ 296704 h 514350"/>
                <a:gd name="connsiteX4739" fmla="*/ 3748564 w 6400800"/>
                <a:gd name="connsiteY4739" fmla="*/ 296704 h 514350"/>
                <a:gd name="connsiteX4740" fmla="*/ 3756184 w 6400800"/>
                <a:gd name="connsiteY4740" fmla="*/ 313849 h 514350"/>
                <a:gd name="connsiteX4741" fmla="*/ 3757136 w 6400800"/>
                <a:gd name="connsiteY4741" fmla="*/ 316706 h 514350"/>
                <a:gd name="connsiteX4742" fmla="*/ 3759041 w 6400800"/>
                <a:gd name="connsiteY4742" fmla="*/ 323374 h 514350"/>
                <a:gd name="connsiteX4743" fmla="*/ 3757136 w 6400800"/>
                <a:gd name="connsiteY4743" fmla="*/ 330041 h 514350"/>
                <a:gd name="connsiteX4744" fmla="*/ 3754279 w 6400800"/>
                <a:gd name="connsiteY4744" fmla="*/ 341471 h 514350"/>
                <a:gd name="connsiteX4745" fmla="*/ 3750469 w 6400800"/>
                <a:gd name="connsiteY4745" fmla="*/ 335756 h 514350"/>
                <a:gd name="connsiteX4746" fmla="*/ 3747611 w 6400800"/>
                <a:gd name="connsiteY4746" fmla="*/ 331946 h 514350"/>
                <a:gd name="connsiteX4747" fmla="*/ 3748564 w 6400800"/>
                <a:gd name="connsiteY4747" fmla="*/ 296704 h 514350"/>
                <a:gd name="connsiteX4748" fmla="*/ 3738086 w 6400800"/>
                <a:gd name="connsiteY4748" fmla="*/ 273844 h 514350"/>
                <a:gd name="connsiteX4749" fmla="*/ 3738086 w 6400800"/>
                <a:gd name="connsiteY4749" fmla="*/ 273844 h 514350"/>
                <a:gd name="connsiteX4750" fmla="*/ 3738086 w 6400800"/>
                <a:gd name="connsiteY4750" fmla="*/ 274796 h 514350"/>
                <a:gd name="connsiteX4751" fmla="*/ 3738086 w 6400800"/>
                <a:gd name="connsiteY4751" fmla="*/ 273844 h 514350"/>
                <a:gd name="connsiteX4752" fmla="*/ 3689509 w 6400800"/>
                <a:gd name="connsiteY4752" fmla="*/ 326231 h 514350"/>
                <a:gd name="connsiteX4753" fmla="*/ 3686651 w 6400800"/>
                <a:gd name="connsiteY4753" fmla="*/ 331946 h 514350"/>
                <a:gd name="connsiteX4754" fmla="*/ 3685699 w 6400800"/>
                <a:gd name="connsiteY4754" fmla="*/ 330994 h 514350"/>
                <a:gd name="connsiteX4755" fmla="*/ 3685699 w 6400800"/>
                <a:gd name="connsiteY4755" fmla="*/ 322421 h 514350"/>
                <a:gd name="connsiteX4756" fmla="*/ 3685699 w 6400800"/>
                <a:gd name="connsiteY4756" fmla="*/ 313849 h 514350"/>
                <a:gd name="connsiteX4757" fmla="*/ 3689509 w 6400800"/>
                <a:gd name="connsiteY4757" fmla="*/ 325279 h 514350"/>
                <a:gd name="connsiteX4758" fmla="*/ 3689509 w 6400800"/>
                <a:gd name="connsiteY4758" fmla="*/ 326231 h 514350"/>
                <a:gd name="connsiteX4759" fmla="*/ 3716179 w 6400800"/>
                <a:gd name="connsiteY4759" fmla="*/ 211931 h 514350"/>
                <a:gd name="connsiteX4760" fmla="*/ 3720941 w 6400800"/>
                <a:gd name="connsiteY4760" fmla="*/ 221456 h 514350"/>
                <a:gd name="connsiteX4761" fmla="*/ 3719036 w 6400800"/>
                <a:gd name="connsiteY4761" fmla="*/ 230029 h 514350"/>
                <a:gd name="connsiteX4762" fmla="*/ 3718084 w 6400800"/>
                <a:gd name="connsiteY4762" fmla="*/ 233839 h 514350"/>
                <a:gd name="connsiteX4763" fmla="*/ 3713321 w 6400800"/>
                <a:gd name="connsiteY4763" fmla="*/ 228124 h 514350"/>
                <a:gd name="connsiteX4764" fmla="*/ 3717131 w 6400800"/>
                <a:gd name="connsiteY4764" fmla="*/ 235744 h 514350"/>
                <a:gd name="connsiteX4765" fmla="*/ 3714274 w 6400800"/>
                <a:gd name="connsiteY4765" fmla="*/ 253841 h 514350"/>
                <a:gd name="connsiteX4766" fmla="*/ 3714274 w 6400800"/>
                <a:gd name="connsiteY4766" fmla="*/ 250984 h 514350"/>
                <a:gd name="connsiteX4767" fmla="*/ 3713321 w 6400800"/>
                <a:gd name="connsiteY4767" fmla="*/ 238601 h 514350"/>
                <a:gd name="connsiteX4768" fmla="*/ 3713321 w 6400800"/>
                <a:gd name="connsiteY4768" fmla="*/ 227171 h 514350"/>
                <a:gd name="connsiteX4769" fmla="*/ 3712369 w 6400800"/>
                <a:gd name="connsiteY4769" fmla="*/ 208121 h 514350"/>
                <a:gd name="connsiteX4770" fmla="*/ 3712369 w 6400800"/>
                <a:gd name="connsiteY4770" fmla="*/ 205264 h 514350"/>
                <a:gd name="connsiteX4771" fmla="*/ 3716179 w 6400800"/>
                <a:gd name="connsiteY4771" fmla="*/ 211931 h 514350"/>
                <a:gd name="connsiteX4772" fmla="*/ 3679984 w 6400800"/>
                <a:gd name="connsiteY4772" fmla="*/ 236696 h 514350"/>
                <a:gd name="connsiteX4773" fmla="*/ 3684746 w 6400800"/>
                <a:gd name="connsiteY4773" fmla="*/ 196691 h 514350"/>
                <a:gd name="connsiteX4774" fmla="*/ 3687604 w 6400800"/>
                <a:gd name="connsiteY4774" fmla="*/ 166211 h 514350"/>
                <a:gd name="connsiteX4775" fmla="*/ 3688556 w 6400800"/>
                <a:gd name="connsiteY4775" fmla="*/ 154781 h 514350"/>
                <a:gd name="connsiteX4776" fmla="*/ 3699034 w 6400800"/>
                <a:gd name="connsiteY4776" fmla="*/ 178594 h 514350"/>
                <a:gd name="connsiteX4777" fmla="*/ 3708559 w 6400800"/>
                <a:gd name="connsiteY4777" fmla="*/ 199549 h 514350"/>
                <a:gd name="connsiteX4778" fmla="*/ 3707606 w 6400800"/>
                <a:gd name="connsiteY4778" fmla="*/ 207169 h 514350"/>
                <a:gd name="connsiteX4779" fmla="*/ 3704749 w 6400800"/>
                <a:gd name="connsiteY4779" fmla="*/ 226219 h 514350"/>
                <a:gd name="connsiteX4780" fmla="*/ 3702844 w 6400800"/>
                <a:gd name="connsiteY4780" fmla="*/ 237649 h 514350"/>
                <a:gd name="connsiteX4781" fmla="*/ 3701891 w 6400800"/>
                <a:gd name="connsiteY4781" fmla="*/ 250984 h 514350"/>
                <a:gd name="connsiteX4782" fmla="*/ 3700939 w 6400800"/>
                <a:gd name="connsiteY4782" fmla="*/ 280511 h 514350"/>
                <a:gd name="connsiteX4783" fmla="*/ 3700939 w 6400800"/>
                <a:gd name="connsiteY4783" fmla="*/ 300514 h 514350"/>
                <a:gd name="connsiteX4784" fmla="*/ 3697129 w 6400800"/>
                <a:gd name="connsiteY4784" fmla="*/ 290036 h 514350"/>
                <a:gd name="connsiteX4785" fmla="*/ 3699034 w 6400800"/>
                <a:gd name="connsiteY4785" fmla="*/ 308134 h 514350"/>
                <a:gd name="connsiteX4786" fmla="*/ 3690461 w 6400800"/>
                <a:gd name="connsiteY4786" fmla="*/ 322421 h 514350"/>
                <a:gd name="connsiteX4787" fmla="*/ 3683794 w 6400800"/>
                <a:gd name="connsiteY4787" fmla="*/ 310991 h 514350"/>
                <a:gd name="connsiteX4788" fmla="*/ 3683794 w 6400800"/>
                <a:gd name="connsiteY4788" fmla="*/ 302419 h 514350"/>
                <a:gd name="connsiteX4789" fmla="*/ 3682841 w 6400800"/>
                <a:gd name="connsiteY4789" fmla="*/ 308134 h 514350"/>
                <a:gd name="connsiteX4790" fmla="*/ 3679031 w 6400800"/>
                <a:gd name="connsiteY4790" fmla="*/ 302419 h 514350"/>
                <a:gd name="connsiteX4791" fmla="*/ 3681889 w 6400800"/>
                <a:gd name="connsiteY4791" fmla="*/ 310991 h 514350"/>
                <a:gd name="connsiteX4792" fmla="*/ 3679984 w 6400800"/>
                <a:gd name="connsiteY4792" fmla="*/ 323374 h 514350"/>
                <a:gd name="connsiteX4793" fmla="*/ 3672364 w 6400800"/>
                <a:gd name="connsiteY4793" fmla="*/ 307181 h 514350"/>
                <a:gd name="connsiteX4794" fmla="*/ 3677126 w 6400800"/>
                <a:gd name="connsiteY4794" fmla="*/ 289084 h 514350"/>
                <a:gd name="connsiteX4795" fmla="*/ 3681889 w 6400800"/>
                <a:gd name="connsiteY4795" fmla="*/ 272891 h 514350"/>
                <a:gd name="connsiteX4796" fmla="*/ 3686651 w 6400800"/>
                <a:gd name="connsiteY4796" fmla="*/ 260509 h 514350"/>
                <a:gd name="connsiteX4797" fmla="*/ 3692366 w 6400800"/>
                <a:gd name="connsiteY4797" fmla="*/ 250031 h 514350"/>
                <a:gd name="connsiteX4798" fmla="*/ 3683794 w 6400800"/>
                <a:gd name="connsiteY4798" fmla="*/ 258604 h 514350"/>
                <a:gd name="connsiteX4799" fmla="*/ 3675221 w 6400800"/>
                <a:gd name="connsiteY4799" fmla="*/ 270034 h 514350"/>
                <a:gd name="connsiteX4800" fmla="*/ 3671411 w 6400800"/>
                <a:gd name="connsiteY4800" fmla="*/ 275749 h 514350"/>
                <a:gd name="connsiteX4801" fmla="*/ 3679984 w 6400800"/>
                <a:gd name="connsiteY4801" fmla="*/ 236696 h 514350"/>
                <a:gd name="connsiteX4802" fmla="*/ 3678079 w 6400800"/>
                <a:gd name="connsiteY4802" fmla="*/ 342424 h 514350"/>
                <a:gd name="connsiteX4803" fmla="*/ 3677126 w 6400800"/>
                <a:gd name="connsiteY4803" fmla="*/ 349091 h 514350"/>
                <a:gd name="connsiteX4804" fmla="*/ 3676174 w 6400800"/>
                <a:gd name="connsiteY4804" fmla="*/ 343376 h 514350"/>
                <a:gd name="connsiteX4805" fmla="*/ 3674269 w 6400800"/>
                <a:gd name="connsiteY4805" fmla="*/ 335756 h 514350"/>
                <a:gd name="connsiteX4806" fmla="*/ 3678079 w 6400800"/>
                <a:gd name="connsiteY4806" fmla="*/ 342424 h 514350"/>
                <a:gd name="connsiteX4807" fmla="*/ 3664744 w 6400800"/>
                <a:gd name="connsiteY4807" fmla="*/ 355759 h 514350"/>
                <a:gd name="connsiteX4808" fmla="*/ 3664744 w 6400800"/>
                <a:gd name="connsiteY4808" fmla="*/ 362426 h 514350"/>
                <a:gd name="connsiteX4809" fmla="*/ 3663791 w 6400800"/>
                <a:gd name="connsiteY4809" fmla="*/ 371951 h 514350"/>
                <a:gd name="connsiteX4810" fmla="*/ 3663791 w 6400800"/>
                <a:gd name="connsiteY4810" fmla="*/ 371951 h 514350"/>
                <a:gd name="connsiteX4811" fmla="*/ 3662839 w 6400800"/>
                <a:gd name="connsiteY4811" fmla="*/ 367189 h 514350"/>
                <a:gd name="connsiteX4812" fmla="*/ 3662839 w 6400800"/>
                <a:gd name="connsiteY4812" fmla="*/ 366236 h 514350"/>
                <a:gd name="connsiteX4813" fmla="*/ 3664744 w 6400800"/>
                <a:gd name="connsiteY4813" fmla="*/ 355759 h 514350"/>
                <a:gd name="connsiteX4814" fmla="*/ 3603784 w 6400800"/>
                <a:gd name="connsiteY4814" fmla="*/ 369094 h 514350"/>
                <a:gd name="connsiteX4815" fmla="*/ 3602831 w 6400800"/>
                <a:gd name="connsiteY4815" fmla="*/ 363379 h 514350"/>
                <a:gd name="connsiteX4816" fmla="*/ 3605689 w 6400800"/>
                <a:gd name="connsiteY4816" fmla="*/ 352901 h 514350"/>
                <a:gd name="connsiteX4817" fmla="*/ 3606641 w 6400800"/>
                <a:gd name="connsiteY4817" fmla="*/ 350044 h 514350"/>
                <a:gd name="connsiteX4818" fmla="*/ 3607594 w 6400800"/>
                <a:gd name="connsiteY4818" fmla="*/ 352901 h 514350"/>
                <a:gd name="connsiteX4819" fmla="*/ 3607594 w 6400800"/>
                <a:gd name="connsiteY4819" fmla="*/ 353854 h 514350"/>
                <a:gd name="connsiteX4820" fmla="*/ 3603784 w 6400800"/>
                <a:gd name="connsiteY4820" fmla="*/ 369094 h 514350"/>
                <a:gd name="connsiteX4821" fmla="*/ 3612356 w 6400800"/>
                <a:gd name="connsiteY4821" fmla="*/ 329089 h 514350"/>
                <a:gd name="connsiteX4822" fmla="*/ 3611404 w 6400800"/>
                <a:gd name="connsiteY4822" fmla="*/ 327184 h 514350"/>
                <a:gd name="connsiteX4823" fmla="*/ 3610451 w 6400800"/>
                <a:gd name="connsiteY4823" fmla="*/ 321469 h 514350"/>
                <a:gd name="connsiteX4824" fmla="*/ 3613309 w 6400800"/>
                <a:gd name="connsiteY4824" fmla="*/ 324326 h 514350"/>
                <a:gd name="connsiteX4825" fmla="*/ 3612356 w 6400800"/>
                <a:gd name="connsiteY4825" fmla="*/ 329089 h 514350"/>
                <a:gd name="connsiteX4826" fmla="*/ 3633311 w 6400800"/>
                <a:gd name="connsiteY4826" fmla="*/ 366236 h 514350"/>
                <a:gd name="connsiteX4827" fmla="*/ 3629501 w 6400800"/>
                <a:gd name="connsiteY4827" fmla="*/ 358616 h 514350"/>
                <a:gd name="connsiteX4828" fmla="*/ 3629501 w 6400800"/>
                <a:gd name="connsiteY4828" fmla="*/ 354806 h 514350"/>
                <a:gd name="connsiteX4829" fmla="*/ 3633311 w 6400800"/>
                <a:gd name="connsiteY4829" fmla="*/ 366236 h 514350"/>
                <a:gd name="connsiteX4830" fmla="*/ 3633311 w 6400800"/>
                <a:gd name="connsiteY4830" fmla="*/ 366236 h 514350"/>
                <a:gd name="connsiteX4831" fmla="*/ 3633311 w 6400800"/>
                <a:gd name="connsiteY4831" fmla="*/ 366236 h 514350"/>
                <a:gd name="connsiteX4832" fmla="*/ 3632359 w 6400800"/>
                <a:gd name="connsiteY4832" fmla="*/ 331946 h 514350"/>
                <a:gd name="connsiteX4833" fmla="*/ 3635216 w 6400800"/>
                <a:gd name="connsiteY4833" fmla="*/ 348139 h 514350"/>
                <a:gd name="connsiteX4834" fmla="*/ 3631406 w 6400800"/>
                <a:gd name="connsiteY4834" fmla="*/ 341471 h 514350"/>
                <a:gd name="connsiteX4835" fmla="*/ 3632359 w 6400800"/>
                <a:gd name="connsiteY4835" fmla="*/ 331946 h 514350"/>
                <a:gd name="connsiteX4836" fmla="*/ 3618071 w 6400800"/>
                <a:gd name="connsiteY4836" fmla="*/ 270034 h 514350"/>
                <a:gd name="connsiteX4837" fmla="*/ 3628549 w 6400800"/>
                <a:gd name="connsiteY4837" fmla="*/ 246221 h 514350"/>
                <a:gd name="connsiteX4838" fmla="*/ 3630454 w 6400800"/>
                <a:gd name="connsiteY4838" fmla="*/ 242411 h 514350"/>
                <a:gd name="connsiteX4839" fmla="*/ 3625691 w 6400800"/>
                <a:gd name="connsiteY4839" fmla="*/ 265271 h 514350"/>
                <a:gd name="connsiteX4840" fmla="*/ 3618071 w 6400800"/>
                <a:gd name="connsiteY4840" fmla="*/ 271939 h 514350"/>
                <a:gd name="connsiteX4841" fmla="*/ 3618071 w 6400800"/>
                <a:gd name="connsiteY4841" fmla="*/ 270034 h 514350"/>
                <a:gd name="connsiteX4842" fmla="*/ 3601879 w 6400800"/>
                <a:gd name="connsiteY4842" fmla="*/ 310039 h 514350"/>
                <a:gd name="connsiteX4843" fmla="*/ 3606641 w 6400800"/>
                <a:gd name="connsiteY4843" fmla="*/ 298609 h 514350"/>
                <a:gd name="connsiteX4844" fmla="*/ 3615214 w 6400800"/>
                <a:gd name="connsiteY4844" fmla="*/ 278606 h 514350"/>
                <a:gd name="connsiteX4845" fmla="*/ 3619976 w 6400800"/>
                <a:gd name="connsiteY4845" fmla="*/ 271939 h 514350"/>
                <a:gd name="connsiteX4846" fmla="*/ 3625691 w 6400800"/>
                <a:gd name="connsiteY4846" fmla="*/ 266224 h 514350"/>
                <a:gd name="connsiteX4847" fmla="*/ 3624739 w 6400800"/>
                <a:gd name="connsiteY4847" fmla="*/ 270986 h 514350"/>
                <a:gd name="connsiteX4848" fmla="*/ 3617119 w 6400800"/>
                <a:gd name="connsiteY4848" fmla="*/ 309086 h 514350"/>
                <a:gd name="connsiteX4849" fmla="*/ 3614261 w 6400800"/>
                <a:gd name="connsiteY4849" fmla="*/ 322421 h 514350"/>
                <a:gd name="connsiteX4850" fmla="*/ 3611404 w 6400800"/>
                <a:gd name="connsiteY4850" fmla="*/ 320516 h 514350"/>
                <a:gd name="connsiteX4851" fmla="*/ 3609499 w 6400800"/>
                <a:gd name="connsiteY4851" fmla="*/ 298609 h 514350"/>
                <a:gd name="connsiteX4852" fmla="*/ 3608546 w 6400800"/>
                <a:gd name="connsiteY4852" fmla="*/ 318611 h 514350"/>
                <a:gd name="connsiteX4853" fmla="*/ 3606641 w 6400800"/>
                <a:gd name="connsiteY4853" fmla="*/ 317659 h 514350"/>
                <a:gd name="connsiteX4854" fmla="*/ 3608546 w 6400800"/>
                <a:gd name="connsiteY4854" fmla="*/ 319564 h 514350"/>
                <a:gd name="connsiteX4855" fmla="*/ 3608546 w 6400800"/>
                <a:gd name="connsiteY4855" fmla="*/ 322421 h 514350"/>
                <a:gd name="connsiteX4856" fmla="*/ 3602831 w 6400800"/>
                <a:gd name="connsiteY4856" fmla="*/ 312896 h 514350"/>
                <a:gd name="connsiteX4857" fmla="*/ 3601879 w 6400800"/>
                <a:gd name="connsiteY4857" fmla="*/ 310039 h 514350"/>
                <a:gd name="connsiteX4858" fmla="*/ 3600926 w 6400800"/>
                <a:gd name="connsiteY4858" fmla="*/ 335756 h 514350"/>
                <a:gd name="connsiteX4859" fmla="*/ 3604736 w 6400800"/>
                <a:gd name="connsiteY4859" fmla="*/ 346234 h 514350"/>
                <a:gd name="connsiteX4860" fmla="*/ 3601879 w 6400800"/>
                <a:gd name="connsiteY4860" fmla="*/ 351949 h 514350"/>
                <a:gd name="connsiteX4861" fmla="*/ 3600926 w 6400800"/>
                <a:gd name="connsiteY4861" fmla="*/ 352901 h 514350"/>
                <a:gd name="connsiteX4862" fmla="*/ 3599974 w 6400800"/>
                <a:gd name="connsiteY4862" fmla="*/ 345281 h 514350"/>
                <a:gd name="connsiteX4863" fmla="*/ 3600926 w 6400800"/>
                <a:gd name="connsiteY4863" fmla="*/ 335756 h 514350"/>
                <a:gd name="connsiteX4864" fmla="*/ 3556159 w 6400800"/>
                <a:gd name="connsiteY4864" fmla="*/ 342424 h 514350"/>
                <a:gd name="connsiteX4865" fmla="*/ 3557111 w 6400800"/>
                <a:gd name="connsiteY4865" fmla="*/ 324326 h 514350"/>
                <a:gd name="connsiteX4866" fmla="*/ 3558064 w 6400800"/>
                <a:gd name="connsiteY4866" fmla="*/ 328136 h 514350"/>
                <a:gd name="connsiteX4867" fmla="*/ 3559016 w 6400800"/>
                <a:gd name="connsiteY4867" fmla="*/ 333851 h 514350"/>
                <a:gd name="connsiteX4868" fmla="*/ 3559016 w 6400800"/>
                <a:gd name="connsiteY4868" fmla="*/ 334804 h 514350"/>
                <a:gd name="connsiteX4869" fmla="*/ 3556159 w 6400800"/>
                <a:gd name="connsiteY4869" fmla="*/ 342424 h 514350"/>
                <a:gd name="connsiteX4870" fmla="*/ 3559969 w 6400800"/>
                <a:gd name="connsiteY4870" fmla="*/ 279559 h 514350"/>
                <a:gd name="connsiteX4871" fmla="*/ 3559016 w 6400800"/>
                <a:gd name="connsiteY4871" fmla="*/ 274796 h 514350"/>
                <a:gd name="connsiteX4872" fmla="*/ 3561874 w 6400800"/>
                <a:gd name="connsiteY4872" fmla="*/ 276701 h 514350"/>
                <a:gd name="connsiteX4873" fmla="*/ 3566636 w 6400800"/>
                <a:gd name="connsiteY4873" fmla="*/ 280511 h 514350"/>
                <a:gd name="connsiteX4874" fmla="*/ 3562826 w 6400800"/>
                <a:gd name="connsiteY4874" fmla="*/ 287179 h 514350"/>
                <a:gd name="connsiteX4875" fmla="*/ 3559969 w 6400800"/>
                <a:gd name="connsiteY4875" fmla="*/ 279559 h 514350"/>
                <a:gd name="connsiteX4876" fmla="*/ 3571399 w 6400800"/>
                <a:gd name="connsiteY4876" fmla="*/ 287179 h 514350"/>
                <a:gd name="connsiteX4877" fmla="*/ 3571399 w 6400800"/>
                <a:gd name="connsiteY4877" fmla="*/ 311944 h 514350"/>
                <a:gd name="connsiteX4878" fmla="*/ 3569494 w 6400800"/>
                <a:gd name="connsiteY4878" fmla="*/ 314801 h 514350"/>
                <a:gd name="connsiteX4879" fmla="*/ 3562826 w 6400800"/>
                <a:gd name="connsiteY4879" fmla="*/ 292894 h 514350"/>
                <a:gd name="connsiteX4880" fmla="*/ 3566636 w 6400800"/>
                <a:gd name="connsiteY4880" fmla="*/ 282416 h 514350"/>
                <a:gd name="connsiteX4881" fmla="*/ 3571399 w 6400800"/>
                <a:gd name="connsiteY4881" fmla="*/ 287179 h 514350"/>
                <a:gd name="connsiteX4882" fmla="*/ 3571399 w 6400800"/>
                <a:gd name="connsiteY4882" fmla="*/ 287179 h 514350"/>
                <a:gd name="connsiteX4883" fmla="*/ 3571399 w 6400800"/>
                <a:gd name="connsiteY4883" fmla="*/ 281464 h 514350"/>
                <a:gd name="connsiteX4884" fmla="*/ 3568541 w 6400800"/>
                <a:gd name="connsiteY4884" fmla="*/ 279559 h 514350"/>
                <a:gd name="connsiteX4885" fmla="*/ 3568541 w 6400800"/>
                <a:gd name="connsiteY4885" fmla="*/ 279559 h 514350"/>
                <a:gd name="connsiteX4886" fmla="*/ 3571399 w 6400800"/>
                <a:gd name="connsiteY4886" fmla="*/ 273844 h 514350"/>
                <a:gd name="connsiteX4887" fmla="*/ 3571399 w 6400800"/>
                <a:gd name="connsiteY4887" fmla="*/ 281464 h 514350"/>
                <a:gd name="connsiteX4888" fmla="*/ 3567589 w 6400800"/>
                <a:gd name="connsiteY4888" fmla="*/ 250031 h 514350"/>
                <a:gd name="connsiteX4889" fmla="*/ 3570446 w 6400800"/>
                <a:gd name="connsiteY4889" fmla="*/ 265271 h 514350"/>
                <a:gd name="connsiteX4890" fmla="*/ 3571399 w 6400800"/>
                <a:gd name="connsiteY4890" fmla="*/ 271939 h 514350"/>
                <a:gd name="connsiteX4891" fmla="*/ 3571399 w 6400800"/>
                <a:gd name="connsiteY4891" fmla="*/ 272891 h 514350"/>
                <a:gd name="connsiteX4892" fmla="*/ 3567589 w 6400800"/>
                <a:gd name="connsiteY4892" fmla="*/ 277654 h 514350"/>
                <a:gd name="connsiteX4893" fmla="*/ 3567589 w 6400800"/>
                <a:gd name="connsiteY4893" fmla="*/ 277654 h 514350"/>
                <a:gd name="connsiteX4894" fmla="*/ 3561874 w 6400800"/>
                <a:gd name="connsiteY4894" fmla="*/ 274796 h 514350"/>
                <a:gd name="connsiteX4895" fmla="*/ 3558064 w 6400800"/>
                <a:gd name="connsiteY4895" fmla="*/ 272891 h 514350"/>
                <a:gd name="connsiteX4896" fmla="*/ 3554254 w 6400800"/>
                <a:gd name="connsiteY4896" fmla="*/ 260509 h 514350"/>
                <a:gd name="connsiteX4897" fmla="*/ 3556159 w 6400800"/>
                <a:gd name="connsiteY4897" fmla="*/ 257651 h 514350"/>
                <a:gd name="connsiteX4898" fmla="*/ 3566636 w 6400800"/>
                <a:gd name="connsiteY4898" fmla="*/ 243364 h 514350"/>
                <a:gd name="connsiteX4899" fmla="*/ 3567589 w 6400800"/>
                <a:gd name="connsiteY4899" fmla="*/ 250031 h 514350"/>
                <a:gd name="connsiteX4900" fmla="*/ 3561874 w 6400800"/>
                <a:gd name="connsiteY4900" fmla="*/ 229076 h 514350"/>
                <a:gd name="connsiteX4901" fmla="*/ 3562826 w 6400800"/>
                <a:gd name="connsiteY4901" fmla="*/ 227171 h 514350"/>
                <a:gd name="connsiteX4902" fmla="*/ 3564731 w 6400800"/>
                <a:gd name="connsiteY4902" fmla="*/ 235744 h 514350"/>
                <a:gd name="connsiteX4903" fmla="*/ 3565684 w 6400800"/>
                <a:gd name="connsiteY4903" fmla="*/ 238601 h 514350"/>
                <a:gd name="connsiteX4904" fmla="*/ 3552349 w 6400800"/>
                <a:gd name="connsiteY4904" fmla="*/ 251936 h 514350"/>
                <a:gd name="connsiteX4905" fmla="*/ 3551396 w 6400800"/>
                <a:gd name="connsiteY4905" fmla="*/ 247174 h 514350"/>
                <a:gd name="connsiteX4906" fmla="*/ 3561874 w 6400800"/>
                <a:gd name="connsiteY4906" fmla="*/ 229076 h 514350"/>
                <a:gd name="connsiteX4907" fmla="*/ 3551396 w 6400800"/>
                <a:gd name="connsiteY4907" fmla="*/ 293846 h 514350"/>
                <a:gd name="connsiteX4908" fmla="*/ 3554254 w 6400800"/>
                <a:gd name="connsiteY4908" fmla="*/ 307181 h 514350"/>
                <a:gd name="connsiteX4909" fmla="*/ 3550444 w 6400800"/>
                <a:gd name="connsiteY4909" fmla="*/ 321469 h 514350"/>
                <a:gd name="connsiteX4910" fmla="*/ 3547586 w 6400800"/>
                <a:gd name="connsiteY4910" fmla="*/ 333851 h 514350"/>
                <a:gd name="connsiteX4911" fmla="*/ 3546634 w 6400800"/>
                <a:gd name="connsiteY4911" fmla="*/ 331946 h 514350"/>
                <a:gd name="connsiteX4912" fmla="*/ 3543776 w 6400800"/>
                <a:gd name="connsiteY4912" fmla="*/ 327184 h 514350"/>
                <a:gd name="connsiteX4913" fmla="*/ 3544729 w 6400800"/>
                <a:gd name="connsiteY4913" fmla="*/ 306229 h 514350"/>
                <a:gd name="connsiteX4914" fmla="*/ 3547586 w 6400800"/>
                <a:gd name="connsiteY4914" fmla="*/ 286226 h 514350"/>
                <a:gd name="connsiteX4915" fmla="*/ 3548539 w 6400800"/>
                <a:gd name="connsiteY4915" fmla="*/ 276701 h 514350"/>
                <a:gd name="connsiteX4916" fmla="*/ 3551396 w 6400800"/>
                <a:gd name="connsiteY4916" fmla="*/ 293846 h 514350"/>
                <a:gd name="connsiteX4917" fmla="*/ 3543776 w 6400800"/>
                <a:gd name="connsiteY4917" fmla="*/ 191929 h 514350"/>
                <a:gd name="connsiteX4918" fmla="*/ 3549491 w 6400800"/>
                <a:gd name="connsiteY4918" fmla="*/ 180499 h 514350"/>
                <a:gd name="connsiteX4919" fmla="*/ 3548539 w 6400800"/>
                <a:gd name="connsiteY4919" fmla="*/ 185261 h 514350"/>
                <a:gd name="connsiteX4920" fmla="*/ 3544729 w 6400800"/>
                <a:gd name="connsiteY4920" fmla="*/ 211931 h 514350"/>
                <a:gd name="connsiteX4921" fmla="*/ 3543776 w 6400800"/>
                <a:gd name="connsiteY4921" fmla="*/ 217646 h 514350"/>
                <a:gd name="connsiteX4922" fmla="*/ 3539014 w 6400800"/>
                <a:gd name="connsiteY4922" fmla="*/ 200501 h 514350"/>
                <a:gd name="connsiteX4923" fmla="*/ 3543776 w 6400800"/>
                <a:gd name="connsiteY4923" fmla="*/ 191929 h 514350"/>
                <a:gd name="connsiteX4924" fmla="*/ 3530441 w 6400800"/>
                <a:gd name="connsiteY4924" fmla="*/ 217646 h 514350"/>
                <a:gd name="connsiteX4925" fmla="*/ 3539014 w 6400800"/>
                <a:gd name="connsiteY4925" fmla="*/ 201454 h 514350"/>
                <a:gd name="connsiteX4926" fmla="*/ 3540919 w 6400800"/>
                <a:gd name="connsiteY4926" fmla="*/ 217646 h 514350"/>
                <a:gd name="connsiteX4927" fmla="*/ 3542824 w 6400800"/>
                <a:gd name="connsiteY4927" fmla="*/ 231934 h 514350"/>
                <a:gd name="connsiteX4928" fmla="*/ 3540919 w 6400800"/>
                <a:gd name="connsiteY4928" fmla="*/ 240506 h 514350"/>
                <a:gd name="connsiteX4929" fmla="*/ 3528536 w 6400800"/>
                <a:gd name="connsiteY4929" fmla="*/ 259556 h 514350"/>
                <a:gd name="connsiteX4930" fmla="*/ 3528536 w 6400800"/>
                <a:gd name="connsiteY4930" fmla="*/ 257651 h 514350"/>
                <a:gd name="connsiteX4931" fmla="*/ 3527584 w 6400800"/>
                <a:gd name="connsiteY4931" fmla="*/ 240506 h 514350"/>
                <a:gd name="connsiteX4932" fmla="*/ 3526631 w 6400800"/>
                <a:gd name="connsiteY4932" fmla="*/ 229076 h 514350"/>
                <a:gd name="connsiteX4933" fmla="*/ 3530441 w 6400800"/>
                <a:gd name="connsiteY4933" fmla="*/ 217646 h 514350"/>
                <a:gd name="connsiteX4934" fmla="*/ 3490436 w 6400800"/>
                <a:gd name="connsiteY4934" fmla="*/ 321469 h 514350"/>
                <a:gd name="connsiteX4935" fmla="*/ 3490436 w 6400800"/>
                <a:gd name="connsiteY4935" fmla="*/ 317659 h 514350"/>
                <a:gd name="connsiteX4936" fmla="*/ 3491389 w 6400800"/>
                <a:gd name="connsiteY4936" fmla="*/ 319564 h 514350"/>
                <a:gd name="connsiteX4937" fmla="*/ 3490436 w 6400800"/>
                <a:gd name="connsiteY4937" fmla="*/ 321469 h 514350"/>
                <a:gd name="connsiteX4938" fmla="*/ 3514249 w 6400800"/>
                <a:gd name="connsiteY4938" fmla="*/ 250984 h 514350"/>
                <a:gd name="connsiteX4939" fmla="*/ 3516154 w 6400800"/>
                <a:gd name="connsiteY4939" fmla="*/ 246221 h 514350"/>
                <a:gd name="connsiteX4940" fmla="*/ 3515201 w 6400800"/>
                <a:gd name="connsiteY4940" fmla="*/ 257651 h 514350"/>
                <a:gd name="connsiteX4941" fmla="*/ 3514249 w 6400800"/>
                <a:gd name="connsiteY4941" fmla="*/ 270986 h 514350"/>
                <a:gd name="connsiteX4942" fmla="*/ 3509486 w 6400800"/>
                <a:gd name="connsiteY4942" fmla="*/ 259556 h 514350"/>
                <a:gd name="connsiteX4943" fmla="*/ 3514249 w 6400800"/>
                <a:gd name="connsiteY4943" fmla="*/ 250984 h 514350"/>
                <a:gd name="connsiteX4944" fmla="*/ 3504724 w 6400800"/>
                <a:gd name="connsiteY4944" fmla="*/ 271939 h 514350"/>
                <a:gd name="connsiteX4945" fmla="*/ 3505676 w 6400800"/>
                <a:gd name="connsiteY4945" fmla="*/ 274796 h 514350"/>
                <a:gd name="connsiteX4946" fmla="*/ 3509486 w 6400800"/>
                <a:gd name="connsiteY4946" fmla="*/ 288131 h 514350"/>
                <a:gd name="connsiteX4947" fmla="*/ 3505676 w 6400800"/>
                <a:gd name="connsiteY4947" fmla="*/ 293846 h 514350"/>
                <a:gd name="connsiteX4948" fmla="*/ 3504724 w 6400800"/>
                <a:gd name="connsiteY4948" fmla="*/ 282416 h 514350"/>
                <a:gd name="connsiteX4949" fmla="*/ 3504724 w 6400800"/>
                <a:gd name="connsiteY4949" fmla="*/ 271939 h 514350"/>
                <a:gd name="connsiteX4950" fmla="*/ 3504724 w 6400800"/>
                <a:gd name="connsiteY4950" fmla="*/ 271939 h 514350"/>
                <a:gd name="connsiteX4951" fmla="*/ 3501866 w 6400800"/>
                <a:gd name="connsiteY4951" fmla="*/ 398621 h 514350"/>
                <a:gd name="connsiteX4952" fmla="*/ 3495199 w 6400800"/>
                <a:gd name="connsiteY4952" fmla="*/ 371951 h 514350"/>
                <a:gd name="connsiteX4953" fmla="*/ 3494246 w 6400800"/>
                <a:gd name="connsiteY4953" fmla="*/ 369094 h 514350"/>
                <a:gd name="connsiteX4954" fmla="*/ 3499961 w 6400800"/>
                <a:gd name="connsiteY4954" fmla="*/ 357664 h 514350"/>
                <a:gd name="connsiteX4955" fmla="*/ 3501866 w 6400800"/>
                <a:gd name="connsiteY4955" fmla="*/ 398621 h 514350"/>
                <a:gd name="connsiteX4956" fmla="*/ 3496151 w 6400800"/>
                <a:gd name="connsiteY4956" fmla="*/ 290036 h 514350"/>
                <a:gd name="connsiteX4957" fmla="*/ 3499009 w 6400800"/>
                <a:gd name="connsiteY4957" fmla="*/ 284321 h 514350"/>
                <a:gd name="connsiteX4958" fmla="*/ 3499009 w 6400800"/>
                <a:gd name="connsiteY4958" fmla="*/ 295751 h 514350"/>
                <a:gd name="connsiteX4959" fmla="*/ 3496151 w 6400800"/>
                <a:gd name="connsiteY4959" fmla="*/ 290036 h 514350"/>
                <a:gd name="connsiteX4960" fmla="*/ 3496151 w 6400800"/>
                <a:gd name="connsiteY4960" fmla="*/ 252889 h 514350"/>
                <a:gd name="connsiteX4961" fmla="*/ 3496151 w 6400800"/>
                <a:gd name="connsiteY4961" fmla="*/ 247174 h 514350"/>
                <a:gd name="connsiteX4962" fmla="*/ 3499009 w 6400800"/>
                <a:gd name="connsiteY4962" fmla="*/ 254794 h 514350"/>
                <a:gd name="connsiteX4963" fmla="*/ 3495199 w 6400800"/>
                <a:gd name="connsiteY4963" fmla="*/ 261461 h 514350"/>
                <a:gd name="connsiteX4964" fmla="*/ 3496151 w 6400800"/>
                <a:gd name="connsiteY4964" fmla="*/ 252889 h 514350"/>
                <a:gd name="connsiteX4965" fmla="*/ 3481864 w 6400800"/>
                <a:gd name="connsiteY4965" fmla="*/ 205264 h 514350"/>
                <a:gd name="connsiteX4966" fmla="*/ 3491389 w 6400800"/>
                <a:gd name="connsiteY4966" fmla="*/ 230029 h 514350"/>
                <a:gd name="connsiteX4967" fmla="*/ 3495199 w 6400800"/>
                <a:gd name="connsiteY4967" fmla="*/ 243364 h 514350"/>
                <a:gd name="connsiteX4968" fmla="*/ 3492341 w 6400800"/>
                <a:gd name="connsiteY4968" fmla="*/ 251936 h 514350"/>
                <a:gd name="connsiteX4969" fmla="*/ 3487579 w 6400800"/>
                <a:gd name="connsiteY4969" fmla="*/ 268129 h 514350"/>
                <a:gd name="connsiteX4970" fmla="*/ 3486626 w 6400800"/>
                <a:gd name="connsiteY4970" fmla="*/ 270034 h 514350"/>
                <a:gd name="connsiteX4971" fmla="*/ 3479959 w 6400800"/>
                <a:gd name="connsiteY4971" fmla="*/ 255746 h 514350"/>
                <a:gd name="connsiteX4972" fmla="*/ 3479959 w 6400800"/>
                <a:gd name="connsiteY4972" fmla="*/ 228124 h 514350"/>
                <a:gd name="connsiteX4973" fmla="*/ 3479959 w 6400800"/>
                <a:gd name="connsiteY4973" fmla="*/ 213836 h 514350"/>
                <a:gd name="connsiteX4974" fmla="*/ 3481864 w 6400800"/>
                <a:gd name="connsiteY4974" fmla="*/ 205264 h 514350"/>
                <a:gd name="connsiteX4975" fmla="*/ 3473291 w 6400800"/>
                <a:gd name="connsiteY4975" fmla="*/ 241459 h 514350"/>
                <a:gd name="connsiteX4976" fmla="*/ 3475196 w 6400800"/>
                <a:gd name="connsiteY4976" fmla="*/ 234791 h 514350"/>
                <a:gd name="connsiteX4977" fmla="*/ 3473291 w 6400800"/>
                <a:gd name="connsiteY4977" fmla="*/ 241459 h 514350"/>
                <a:gd name="connsiteX4978" fmla="*/ 3473291 w 6400800"/>
                <a:gd name="connsiteY4978" fmla="*/ 241459 h 514350"/>
                <a:gd name="connsiteX4979" fmla="*/ 3473291 w 6400800"/>
                <a:gd name="connsiteY4979" fmla="*/ 241459 h 514350"/>
                <a:gd name="connsiteX4980" fmla="*/ 3468529 w 6400800"/>
                <a:gd name="connsiteY4980" fmla="*/ 260509 h 514350"/>
                <a:gd name="connsiteX4981" fmla="*/ 3469481 w 6400800"/>
                <a:gd name="connsiteY4981" fmla="*/ 263366 h 514350"/>
                <a:gd name="connsiteX4982" fmla="*/ 3468529 w 6400800"/>
                <a:gd name="connsiteY4982" fmla="*/ 270986 h 514350"/>
                <a:gd name="connsiteX4983" fmla="*/ 3465671 w 6400800"/>
                <a:gd name="connsiteY4983" fmla="*/ 300514 h 514350"/>
                <a:gd name="connsiteX4984" fmla="*/ 3464719 w 6400800"/>
                <a:gd name="connsiteY4984" fmla="*/ 318611 h 514350"/>
                <a:gd name="connsiteX4985" fmla="*/ 3463766 w 6400800"/>
                <a:gd name="connsiteY4985" fmla="*/ 321469 h 514350"/>
                <a:gd name="connsiteX4986" fmla="*/ 3459956 w 6400800"/>
                <a:gd name="connsiteY4986" fmla="*/ 307181 h 514350"/>
                <a:gd name="connsiteX4987" fmla="*/ 3459956 w 6400800"/>
                <a:gd name="connsiteY4987" fmla="*/ 306229 h 514350"/>
                <a:gd name="connsiteX4988" fmla="*/ 3460909 w 6400800"/>
                <a:gd name="connsiteY4988" fmla="*/ 300514 h 514350"/>
                <a:gd name="connsiteX4989" fmla="*/ 3468529 w 6400800"/>
                <a:gd name="connsiteY4989" fmla="*/ 260509 h 514350"/>
                <a:gd name="connsiteX4990" fmla="*/ 3451384 w 6400800"/>
                <a:gd name="connsiteY4990" fmla="*/ 237649 h 514350"/>
                <a:gd name="connsiteX4991" fmla="*/ 3451384 w 6400800"/>
                <a:gd name="connsiteY4991" fmla="*/ 221456 h 514350"/>
                <a:gd name="connsiteX4992" fmla="*/ 3451384 w 6400800"/>
                <a:gd name="connsiteY4992" fmla="*/ 222409 h 514350"/>
                <a:gd name="connsiteX4993" fmla="*/ 3458051 w 6400800"/>
                <a:gd name="connsiteY4993" fmla="*/ 237649 h 514350"/>
                <a:gd name="connsiteX4994" fmla="*/ 3458051 w 6400800"/>
                <a:gd name="connsiteY4994" fmla="*/ 238601 h 514350"/>
                <a:gd name="connsiteX4995" fmla="*/ 3450431 w 6400800"/>
                <a:gd name="connsiteY4995" fmla="*/ 267176 h 514350"/>
                <a:gd name="connsiteX4996" fmla="*/ 3450431 w 6400800"/>
                <a:gd name="connsiteY4996" fmla="*/ 267176 h 514350"/>
                <a:gd name="connsiteX4997" fmla="*/ 3451384 w 6400800"/>
                <a:gd name="connsiteY4997" fmla="*/ 237649 h 514350"/>
                <a:gd name="connsiteX4998" fmla="*/ 3405664 w 6400800"/>
                <a:gd name="connsiteY4998" fmla="*/ 273844 h 514350"/>
                <a:gd name="connsiteX4999" fmla="*/ 3406616 w 6400800"/>
                <a:gd name="connsiteY4999" fmla="*/ 258604 h 514350"/>
                <a:gd name="connsiteX5000" fmla="*/ 3406616 w 6400800"/>
                <a:gd name="connsiteY5000" fmla="*/ 245269 h 514350"/>
                <a:gd name="connsiteX5001" fmla="*/ 3409474 w 6400800"/>
                <a:gd name="connsiteY5001" fmla="*/ 259556 h 514350"/>
                <a:gd name="connsiteX5002" fmla="*/ 3405664 w 6400800"/>
                <a:gd name="connsiteY5002" fmla="*/ 273844 h 514350"/>
                <a:gd name="connsiteX5003" fmla="*/ 3416141 w 6400800"/>
                <a:gd name="connsiteY5003" fmla="*/ 335756 h 514350"/>
                <a:gd name="connsiteX5004" fmla="*/ 3416141 w 6400800"/>
                <a:gd name="connsiteY5004" fmla="*/ 353854 h 514350"/>
                <a:gd name="connsiteX5005" fmla="*/ 3415189 w 6400800"/>
                <a:gd name="connsiteY5005" fmla="*/ 348139 h 514350"/>
                <a:gd name="connsiteX5006" fmla="*/ 3413284 w 6400800"/>
                <a:gd name="connsiteY5006" fmla="*/ 328136 h 514350"/>
                <a:gd name="connsiteX5007" fmla="*/ 3413284 w 6400800"/>
                <a:gd name="connsiteY5007" fmla="*/ 328136 h 514350"/>
                <a:gd name="connsiteX5008" fmla="*/ 3417094 w 6400800"/>
                <a:gd name="connsiteY5008" fmla="*/ 320516 h 514350"/>
                <a:gd name="connsiteX5009" fmla="*/ 3416141 w 6400800"/>
                <a:gd name="connsiteY5009" fmla="*/ 335756 h 514350"/>
                <a:gd name="connsiteX5010" fmla="*/ 3421856 w 6400800"/>
                <a:gd name="connsiteY5010" fmla="*/ 320516 h 514350"/>
                <a:gd name="connsiteX5011" fmla="*/ 3419951 w 6400800"/>
                <a:gd name="connsiteY5011" fmla="*/ 332899 h 514350"/>
                <a:gd name="connsiteX5012" fmla="*/ 3418046 w 6400800"/>
                <a:gd name="connsiteY5012" fmla="*/ 316706 h 514350"/>
                <a:gd name="connsiteX5013" fmla="*/ 3420904 w 6400800"/>
                <a:gd name="connsiteY5013" fmla="*/ 310991 h 514350"/>
                <a:gd name="connsiteX5014" fmla="*/ 3421856 w 6400800"/>
                <a:gd name="connsiteY5014" fmla="*/ 308134 h 514350"/>
                <a:gd name="connsiteX5015" fmla="*/ 3422809 w 6400800"/>
                <a:gd name="connsiteY5015" fmla="*/ 312896 h 514350"/>
                <a:gd name="connsiteX5016" fmla="*/ 3421856 w 6400800"/>
                <a:gd name="connsiteY5016" fmla="*/ 320516 h 514350"/>
                <a:gd name="connsiteX5017" fmla="*/ 3410426 w 6400800"/>
                <a:gd name="connsiteY5017" fmla="*/ 139541 h 514350"/>
                <a:gd name="connsiteX5018" fmla="*/ 3421856 w 6400800"/>
                <a:gd name="connsiteY5018" fmla="*/ 161449 h 514350"/>
                <a:gd name="connsiteX5019" fmla="*/ 3433286 w 6400800"/>
                <a:gd name="connsiteY5019" fmla="*/ 181451 h 514350"/>
                <a:gd name="connsiteX5020" fmla="*/ 3428524 w 6400800"/>
                <a:gd name="connsiteY5020" fmla="*/ 198596 h 514350"/>
                <a:gd name="connsiteX5021" fmla="*/ 3425666 w 6400800"/>
                <a:gd name="connsiteY5021" fmla="*/ 210026 h 514350"/>
                <a:gd name="connsiteX5022" fmla="*/ 3422809 w 6400800"/>
                <a:gd name="connsiteY5022" fmla="*/ 195739 h 514350"/>
                <a:gd name="connsiteX5023" fmla="*/ 3415189 w 6400800"/>
                <a:gd name="connsiteY5023" fmla="*/ 163354 h 514350"/>
                <a:gd name="connsiteX5024" fmla="*/ 3410426 w 6400800"/>
                <a:gd name="connsiteY5024" fmla="*/ 143351 h 514350"/>
                <a:gd name="connsiteX5025" fmla="*/ 3410426 w 6400800"/>
                <a:gd name="connsiteY5025" fmla="*/ 139541 h 514350"/>
                <a:gd name="connsiteX5026" fmla="*/ 3408521 w 6400800"/>
                <a:gd name="connsiteY5026" fmla="*/ 136684 h 514350"/>
                <a:gd name="connsiteX5027" fmla="*/ 3408521 w 6400800"/>
                <a:gd name="connsiteY5027" fmla="*/ 136684 h 514350"/>
                <a:gd name="connsiteX5028" fmla="*/ 3408521 w 6400800"/>
                <a:gd name="connsiteY5028" fmla="*/ 136684 h 514350"/>
                <a:gd name="connsiteX5029" fmla="*/ 3408521 w 6400800"/>
                <a:gd name="connsiteY5029" fmla="*/ 136684 h 514350"/>
                <a:gd name="connsiteX5030" fmla="*/ 3395186 w 6400800"/>
                <a:gd name="connsiteY5030" fmla="*/ 266224 h 514350"/>
                <a:gd name="connsiteX5031" fmla="*/ 3396139 w 6400800"/>
                <a:gd name="connsiteY5031" fmla="*/ 227171 h 514350"/>
                <a:gd name="connsiteX5032" fmla="*/ 3396139 w 6400800"/>
                <a:gd name="connsiteY5032" fmla="*/ 212884 h 514350"/>
                <a:gd name="connsiteX5033" fmla="*/ 3398996 w 6400800"/>
                <a:gd name="connsiteY5033" fmla="*/ 204311 h 514350"/>
                <a:gd name="connsiteX5034" fmla="*/ 3396139 w 6400800"/>
                <a:gd name="connsiteY5034" fmla="*/ 210026 h 514350"/>
                <a:gd name="connsiteX5035" fmla="*/ 3396139 w 6400800"/>
                <a:gd name="connsiteY5035" fmla="*/ 202406 h 514350"/>
                <a:gd name="connsiteX5036" fmla="*/ 3398044 w 6400800"/>
                <a:gd name="connsiteY5036" fmla="*/ 194786 h 514350"/>
                <a:gd name="connsiteX5037" fmla="*/ 3408521 w 6400800"/>
                <a:gd name="connsiteY5037" fmla="*/ 145256 h 514350"/>
                <a:gd name="connsiteX5038" fmla="*/ 3410426 w 6400800"/>
                <a:gd name="connsiteY5038" fmla="*/ 162401 h 514350"/>
                <a:gd name="connsiteX5039" fmla="*/ 3414236 w 6400800"/>
                <a:gd name="connsiteY5039" fmla="*/ 195739 h 514350"/>
                <a:gd name="connsiteX5040" fmla="*/ 3417094 w 6400800"/>
                <a:gd name="connsiteY5040" fmla="*/ 215741 h 514350"/>
                <a:gd name="connsiteX5041" fmla="*/ 3419951 w 6400800"/>
                <a:gd name="connsiteY5041" fmla="*/ 229076 h 514350"/>
                <a:gd name="connsiteX5042" fmla="*/ 3418046 w 6400800"/>
                <a:gd name="connsiteY5042" fmla="*/ 233839 h 514350"/>
                <a:gd name="connsiteX5043" fmla="*/ 3411379 w 6400800"/>
                <a:gd name="connsiteY5043" fmla="*/ 253841 h 514350"/>
                <a:gd name="connsiteX5044" fmla="*/ 3407569 w 6400800"/>
                <a:gd name="connsiteY5044" fmla="*/ 244316 h 514350"/>
                <a:gd name="connsiteX5045" fmla="*/ 3407569 w 6400800"/>
                <a:gd name="connsiteY5045" fmla="*/ 239554 h 514350"/>
                <a:gd name="connsiteX5046" fmla="*/ 3407569 w 6400800"/>
                <a:gd name="connsiteY5046" fmla="*/ 224314 h 514350"/>
                <a:gd name="connsiteX5047" fmla="*/ 3403759 w 6400800"/>
                <a:gd name="connsiteY5047" fmla="*/ 239554 h 514350"/>
                <a:gd name="connsiteX5048" fmla="*/ 3399949 w 6400800"/>
                <a:gd name="connsiteY5048" fmla="*/ 256699 h 514350"/>
                <a:gd name="connsiteX5049" fmla="*/ 3395186 w 6400800"/>
                <a:gd name="connsiteY5049" fmla="*/ 275749 h 514350"/>
                <a:gd name="connsiteX5050" fmla="*/ 3395186 w 6400800"/>
                <a:gd name="connsiteY5050" fmla="*/ 266224 h 514350"/>
                <a:gd name="connsiteX5051" fmla="*/ 3363754 w 6400800"/>
                <a:gd name="connsiteY5051" fmla="*/ 252889 h 514350"/>
                <a:gd name="connsiteX5052" fmla="*/ 3365659 w 6400800"/>
                <a:gd name="connsiteY5052" fmla="*/ 264319 h 514350"/>
                <a:gd name="connsiteX5053" fmla="*/ 3363754 w 6400800"/>
                <a:gd name="connsiteY5053" fmla="*/ 269081 h 514350"/>
                <a:gd name="connsiteX5054" fmla="*/ 3363754 w 6400800"/>
                <a:gd name="connsiteY5054" fmla="*/ 252889 h 514350"/>
                <a:gd name="connsiteX5055" fmla="*/ 3321844 w 6400800"/>
                <a:gd name="connsiteY5055" fmla="*/ 351949 h 514350"/>
                <a:gd name="connsiteX5056" fmla="*/ 3322796 w 6400800"/>
                <a:gd name="connsiteY5056" fmla="*/ 342424 h 514350"/>
                <a:gd name="connsiteX5057" fmla="*/ 3323749 w 6400800"/>
                <a:gd name="connsiteY5057" fmla="*/ 347186 h 514350"/>
                <a:gd name="connsiteX5058" fmla="*/ 3321844 w 6400800"/>
                <a:gd name="connsiteY5058" fmla="*/ 351949 h 514350"/>
                <a:gd name="connsiteX5059" fmla="*/ 3340894 w 6400800"/>
                <a:gd name="connsiteY5059" fmla="*/ 273844 h 514350"/>
                <a:gd name="connsiteX5060" fmla="*/ 3347561 w 6400800"/>
                <a:gd name="connsiteY5060" fmla="*/ 298609 h 514350"/>
                <a:gd name="connsiteX5061" fmla="*/ 3344704 w 6400800"/>
                <a:gd name="connsiteY5061" fmla="*/ 304324 h 514350"/>
                <a:gd name="connsiteX5062" fmla="*/ 3338989 w 6400800"/>
                <a:gd name="connsiteY5062" fmla="*/ 290989 h 514350"/>
                <a:gd name="connsiteX5063" fmla="*/ 3335179 w 6400800"/>
                <a:gd name="connsiteY5063" fmla="*/ 251936 h 514350"/>
                <a:gd name="connsiteX5064" fmla="*/ 3340894 w 6400800"/>
                <a:gd name="connsiteY5064" fmla="*/ 273844 h 514350"/>
                <a:gd name="connsiteX5065" fmla="*/ 3330416 w 6400800"/>
                <a:gd name="connsiteY5065" fmla="*/ 376714 h 514350"/>
                <a:gd name="connsiteX5066" fmla="*/ 3331369 w 6400800"/>
                <a:gd name="connsiteY5066" fmla="*/ 379571 h 514350"/>
                <a:gd name="connsiteX5067" fmla="*/ 3329464 w 6400800"/>
                <a:gd name="connsiteY5067" fmla="*/ 384334 h 514350"/>
                <a:gd name="connsiteX5068" fmla="*/ 3328511 w 6400800"/>
                <a:gd name="connsiteY5068" fmla="*/ 381476 h 514350"/>
                <a:gd name="connsiteX5069" fmla="*/ 3330416 w 6400800"/>
                <a:gd name="connsiteY5069" fmla="*/ 376714 h 514350"/>
                <a:gd name="connsiteX5070" fmla="*/ 3329464 w 6400800"/>
                <a:gd name="connsiteY5070" fmla="*/ 202406 h 514350"/>
                <a:gd name="connsiteX5071" fmla="*/ 3329464 w 6400800"/>
                <a:gd name="connsiteY5071" fmla="*/ 207169 h 514350"/>
                <a:gd name="connsiteX5072" fmla="*/ 3328511 w 6400800"/>
                <a:gd name="connsiteY5072" fmla="*/ 205264 h 514350"/>
                <a:gd name="connsiteX5073" fmla="*/ 3329464 w 6400800"/>
                <a:gd name="connsiteY5073" fmla="*/ 202406 h 514350"/>
                <a:gd name="connsiteX5074" fmla="*/ 3326606 w 6400800"/>
                <a:gd name="connsiteY5074" fmla="*/ 302419 h 514350"/>
                <a:gd name="connsiteX5075" fmla="*/ 3329464 w 6400800"/>
                <a:gd name="connsiteY5075" fmla="*/ 310039 h 514350"/>
                <a:gd name="connsiteX5076" fmla="*/ 3329464 w 6400800"/>
                <a:gd name="connsiteY5076" fmla="*/ 311944 h 514350"/>
                <a:gd name="connsiteX5077" fmla="*/ 3326606 w 6400800"/>
                <a:gd name="connsiteY5077" fmla="*/ 306229 h 514350"/>
                <a:gd name="connsiteX5078" fmla="*/ 3326606 w 6400800"/>
                <a:gd name="connsiteY5078" fmla="*/ 302419 h 514350"/>
                <a:gd name="connsiteX5079" fmla="*/ 3323749 w 6400800"/>
                <a:gd name="connsiteY5079" fmla="*/ 227171 h 514350"/>
                <a:gd name="connsiteX5080" fmla="*/ 3325654 w 6400800"/>
                <a:gd name="connsiteY5080" fmla="*/ 219551 h 514350"/>
                <a:gd name="connsiteX5081" fmla="*/ 3325654 w 6400800"/>
                <a:gd name="connsiteY5081" fmla="*/ 221456 h 514350"/>
                <a:gd name="connsiteX5082" fmla="*/ 3318034 w 6400800"/>
                <a:gd name="connsiteY5082" fmla="*/ 256699 h 514350"/>
                <a:gd name="connsiteX5083" fmla="*/ 3317081 w 6400800"/>
                <a:gd name="connsiteY5083" fmla="*/ 255746 h 514350"/>
                <a:gd name="connsiteX5084" fmla="*/ 3323749 w 6400800"/>
                <a:gd name="connsiteY5084" fmla="*/ 227171 h 514350"/>
                <a:gd name="connsiteX5085" fmla="*/ 3315176 w 6400800"/>
                <a:gd name="connsiteY5085" fmla="*/ 269081 h 514350"/>
                <a:gd name="connsiteX5086" fmla="*/ 3316129 w 6400800"/>
                <a:gd name="connsiteY5086" fmla="*/ 270986 h 514350"/>
                <a:gd name="connsiteX5087" fmla="*/ 3314224 w 6400800"/>
                <a:gd name="connsiteY5087" fmla="*/ 282416 h 514350"/>
                <a:gd name="connsiteX5088" fmla="*/ 3313271 w 6400800"/>
                <a:gd name="connsiteY5088" fmla="*/ 280511 h 514350"/>
                <a:gd name="connsiteX5089" fmla="*/ 3315176 w 6400800"/>
                <a:gd name="connsiteY5089" fmla="*/ 269081 h 514350"/>
                <a:gd name="connsiteX5090" fmla="*/ 3305651 w 6400800"/>
                <a:gd name="connsiteY5090" fmla="*/ 310991 h 514350"/>
                <a:gd name="connsiteX5091" fmla="*/ 3308509 w 6400800"/>
                <a:gd name="connsiteY5091" fmla="*/ 298609 h 514350"/>
                <a:gd name="connsiteX5092" fmla="*/ 3310414 w 6400800"/>
                <a:gd name="connsiteY5092" fmla="*/ 302419 h 514350"/>
                <a:gd name="connsiteX5093" fmla="*/ 3307556 w 6400800"/>
                <a:gd name="connsiteY5093" fmla="*/ 320516 h 514350"/>
                <a:gd name="connsiteX5094" fmla="*/ 3304699 w 6400800"/>
                <a:gd name="connsiteY5094" fmla="*/ 313849 h 514350"/>
                <a:gd name="connsiteX5095" fmla="*/ 3305651 w 6400800"/>
                <a:gd name="connsiteY5095" fmla="*/ 310991 h 514350"/>
                <a:gd name="connsiteX5096" fmla="*/ 3302794 w 6400800"/>
                <a:gd name="connsiteY5096" fmla="*/ 327184 h 514350"/>
                <a:gd name="connsiteX5097" fmla="*/ 3304699 w 6400800"/>
                <a:gd name="connsiteY5097" fmla="*/ 335756 h 514350"/>
                <a:gd name="connsiteX5098" fmla="*/ 3300889 w 6400800"/>
                <a:gd name="connsiteY5098" fmla="*/ 349091 h 514350"/>
                <a:gd name="connsiteX5099" fmla="*/ 3298984 w 6400800"/>
                <a:gd name="connsiteY5099" fmla="*/ 355759 h 514350"/>
                <a:gd name="connsiteX5100" fmla="*/ 3297079 w 6400800"/>
                <a:gd name="connsiteY5100" fmla="*/ 351949 h 514350"/>
                <a:gd name="connsiteX5101" fmla="*/ 3302794 w 6400800"/>
                <a:gd name="connsiteY5101" fmla="*/ 327184 h 514350"/>
                <a:gd name="connsiteX5102" fmla="*/ 3279934 w 6400800"/>
                <a:gd name="connsiteY5102" fmla="*/ 297656 h 514350"/>
                <a:gd name="connsiteX5103" fmla="*/ 3280886 w 6400800"/>
                <a:gd name="connsiteY5103" fmla="*/ 289084 h 514350"/>
                <a:gd name="connsiteX5104" fmla="*/ 3283744 w 6400800"/>
                <a:gd name="connsiteY5104" fmla="*/ 263366 h 514350"/>
                <a:gd name="connsiteX5105" fmla="*/ 3284696 w 6400800"/>
                <a:gd name="connsiteY5105" fmla="*/ 252889 h 514350"/>
                <a:gd name="connsiteX5106" fmla="*/ 3293269 w 6400800"/>
                <a:gd name="connsiteY5106" fmla="*/ 270034 h 514350"/>
                <a:gd name="connsiteX5107" fmla="*/ 3291364 w 6400800"/>
                <a:gd name="connsiteY5107" fmla="*/ 277654 h 514350"/>
                <a:gd name="connsiteX5108" fmla="*/ 3290411 w 6400800"/>
                <a:gd name="connsiteY5108" fmla="*/ 283369 h 514350"/>
                <a:gd name="connsiteX5109" fmla="*/ 3289459 w 6400800"/>
                <a:gd name="connsiteY5109" fmla="*/ 264319 h 514350"/>
                <a:gd name="connsiteX5110" fmla="*/ 3281839 w 6400800"/>
                <a:gd name="connsiteY5110" fmla="*/ 317659 h 514350"/>
                <a:gd name="connsiteX5111" fmla="*/ 3280886 w 6400800"/>
                <a:gd name="connsiteY5111" fmla="*/ 317659 h 514350"/>
                <a:gd name="connsiteX5112" fmla="*/ 3280886 w 6400800"/>
                <a:gd name="connsiteY5112" fmla="*/ 316706 h 514350"/>
                <a:gd name="connsiteX5113" fmla="*/ 3279934 w 6400800"/>
                <a:gd name="connsiteY5113" fmla="*/ 315754 h 514350"/>
                <a:gd name="connsiteX5114" fmla="*/ 3278981 w 6400800"/>
                <a:gd name="connsiteY5114" fmla="*/ 313849 h 514350"/>
                <a:gd name="connsiteX5115" fmla="*/ 3279934 w 6400800"/>
                <a:gd name="connsiteY5115" fmla="*/ 297656 h 514350"/>
                <a:gd name="connsiteX5116" fmla="*/ 3263741 w 6400800"/>
                <a:gd name="connsiteY5116" fmla="*/ 295751 h 514350"/>
                <a:gd name="connsiteX5117" fmla="*/ 3263741 w 6400800"/>
                <a:gd name="connsiteY5117" fmla="*/ 293846 h 514350"/>
                <a:gd name="connsiteX5118" fmla="*/ 3263741 w 6400800"/>
                <a:gd name="connsiteY5118" fmla="*/ 295751 h 514350"/>
                <a:gd name="connsiteX5119" fmla="*/ 3264694 w 6400800"/>
                <a:gd name="connsiteY5119" fmla="*/ 296704 h 514350"/>
                <a:gd name="connsiteX5120" fmla="*/ 3262789 w 6400800"/>
                <a:gd name="connsiteY5120" fmla="*/ 306229 h 514350"/>
                <a:gd name="connsiteX5121" fmla="*/ 3263741 w 6400800"/>
                <a:gd name="connsiteY5121" fmla="*/ 295751 h 514350"/>
                <a:gd name="connsiteX5122" fmla="*/ 3232309 w 6400800"/>
                <a:gd name="connsiteY5122" fmla="*/ 381476 h 514350"/>
                <a:gd name="connsiteX5123" fmla="*/ 3232309 w 6400800"/>
                <a:gd name="connsiteY5123" fmla="*/ 357664 h 514350"/>
                <a:gd name="connsiteX5124" fmla="*/ 3232309 w 6400800"/>
                <a:gd name="connsiteY5124" fmla="*/ 358616 h 514350"/>
                <a:gd name="connsiteX5125" fmla="*/ 3233261 w 6400800"/>
                <a:gd name="connsiteY5125" fmla="*/ 360521 h 514350"/>
                <a:gd name="connsiteX5126" fmla="*/ 3232309 w 6400800"/>
                <a:gd name="connsiteY5126" fmla="*/ 381476 h 514350"/>
                <a:gd name="connsiteX5127" fmla="*/ 3239929 w 6400800"/>
                <a:gd name="connsiteY5127" fmla="*/ 327184 h 514350"/>
                <a:gd name="connsiteX5128" fmla="*/ 3241834 w 6400800"/>
                <a:gd name="connsiteY5128" fmla="*/ 339566 h 514350"/>
                <a:gd name="connsiteX5129" fmla="*/ 3239929 w 6400800"/>
                <a:gd name="connsiteY5129" fmla="*/ 333851 h 514350"/>
                <a:gd name="connsiteX5130" fmla="*/ 3239929 w 6400800"/>
                <a:gd name="connsiteY5130" fmla="*/ 329089 h 514350"/>
                <a:gd name="connsiteX5131" fmla="*/ 3239929 w 6400800"/>
                <a:gd name="connsiteY5131" fmla="*/ 327184 h 514350"/>
                <a:gd name="connsiteX5132" fmla="*/ 3234214 w 6400800"/>
                <a:gd name="connsiteY5132" fmla="*/ 318611 h 514350"/>
                <a:gd name="connsiteX5133" fmla="*/ 3237071 w 6400800"/>
                <a:gd name="connsiteY5133" fmla="*/ 310039 h 514350"/>
                <a:gd name="connsiteX5134" fmla="*/ 3238024 w 6400800"/>
                <a:gd name="connsiteY5134" fmla="*/ 314801 h 514350"/>
                <a:gd name="connsiteX5135" fmla="*/ 3238024 w 6400800"/>
                <a:gd name="connsiteY5135" fmla="*/ 316706 h 514350"/>
                <a:gd name="connsiteX5136" fmla="*/ 3237071 w 6400800"/>
                <a:gd name="connsiteY5136" fmla="*/ 317659 h 514350"/>
                <a:gd name="connsiteX5137" fmla="*/ 3237071 w 6400800"/>
                <a:gd name="connsiteY5137" fmla="*/ 311944 h 514350"/>
                <a:gd name="connsiteX5138" fmla="*/ 3236119 w 6400800"/>
                <a:gd name="connsiteY5138" fmla="*/ 319564 h 514350"/>
                <a:gd name="connsiteX5139" fmla="*/ 3234214 w 6400800"/>
                <a:gd name="connsiteY5139" fmla="*/ 322421 h 514350"/>
                <a:gd name="connsiteX5140" fmla="*/ 3233261 w 6400800"/>
                <a:gd name="connsiteY5140" fmla="*/ 319564 h 514350"/>
                <a:gd name="connsiteX5141" fmla="*/ 3234214 w 6400800"/>
                <a:gd name="connsiteY5141" fmla="*/ 318611 h 514350"/>
                <a:gd name="connsiteX5142" fmla="*/ 3233261 w 6400800"/>
                <a:gd name="connsiteY5142" fmla="*/ 286226 h 514350"/>
                <a:gd name="connsiteX5143" fmla="*/ 3233261 w 6400800"/>
                <a:gd name="connsiteY5143" fmla="*/ 288131 h 514350"/>
                <a:gd name="connsiteX5144" fmla="*/ 3232309 w 6400800"/>
                <a:gd name="connsiteY5144" fmla="*/ 290036 h 514350"/>
                <a:gd name="connsiteX5145" fmla="*/ 3232309 w 6400800"/>
                <a:gd name="connsiteY5145" fmla="*/ 282416 h 514350"/>
                <a:gd name="connsiteX5146" fmla="*/ 3233261 w 6400800"/>
                <a:gd name="connsiteY5146" fmla="*/ 286226 h 514350"/>
                <a:gd name="connsiteX5147" fmla="*/ 3222784 w 6400800"/>
                <a:gd name="connsiteY5147" fmla="*/ 285274 h 514350"/>
                <a:gd name="connsiteX5148" fmla="*/ 3223736 w 6400800"/>
                <a:gd name="connsiteY5148" fmla="*/ 273844 h 514350"/>
                <a:gd name="connsiteX5149" fmla="*/ 3224689 w 6400800"/>
                <a:gd name="connsiteY5149" fmla="*/ 270034 h 514350"/>
                <a:gd name="connsiteX5150" fmla="*/ 3224689 w 6400800"/>
                <a:gd name="connsiteY5150" fmla="*/ 270986 h 514350"/>
                <a:gd name="connsiteX5151" fmla="*/ 3227546 w 6400800"/>
                <a:gd name="connsiteY5151" fmla="*/ 253841 h 514350"/>
                <a:gd name="connsiteX5152" fmla="*/ 3227546 w 6400800"/>
                <a:gd name="connsiteY5152" fmla="*/ 253841 h 514350"/>
                <a:gd name="connsiteX5153" fmla="*/ 3223736 w 6400800"/>
                <a:gd name="connsiteY5153" fmla="*/ 292894 h 514350"/>
                <a:gd name="connsiteX5154" fmla="*/ 3222784 w 6400800"/>
                <a:gd name="connsiteY5154" fmla="*/ 291941 h 514350"/>
                <a:gd name="connsiteX5155" fmla="*/ 3222784 w 6400800"/>
                <a:gd name="connsiteY5155" fmla="*/ 290989 h 514350"/>
                <a:gd name="connsiteX5156" fmla="*/ 3222784 w 6400800"/>
                <a:gd name="connsiteY5156" fmla="*/ 285274 h 514350"/>
                <a:gd name="connsiteX5157" fmla="*/ 3217069 w 6400800"/>
                <a:gd name="connsiteY5157" fmla="*/ 207169 h 514350"/>
                <a:gd name="connsiteX5158" fmla="*/ 3219926 w 6400800"/>
                <a:gd name="connsiteY5158" fmla="*/ 219551 h 514350"/>
                <a:gd name="connsiteX5159" fmla="*/ 3215164 w 6400800"/>
                <a:gd name="connsiteY5159" fmla="*/ 238601 h 514350"/>
                <a:gd name="connsiteX5160" fmla="*/ 3217069 w 6400800"/>
                <a:gd name="connsiteY5160" fmla="*/ 207169 h 514350"/>
                <a:gd name="connsiteX5161" fmla="*/ 3191351 w 6400800"/>
                <a:gd name="connsiteY5161" fmla="*/ 249079 h 514350"/>
                <a:gd name="connsiteX5162" fmla="*/ 3192304 w 6400800"/>
                <a:gd name="connsiteY5162" fmla="*/ 232886 h 514350"/>
                <a:gd name="connsiteX5163" fmla="*/ 3194209 w 6400800"/>
                <a:gd name="connsiteY5163" fmla="*/ 238601 h 514350"/>
                <a:gd name="connsiteX5164" fmla="*/ 3191351 w 6400800"/>
                <a:gd name="connsiteY5164" fmla="*/ 265271 h 514350"/>
                <a:gd name="connsiteX5165" fmla="*/ 3191351 w 6400800"/>
                <a:gd name="connsiteY5165" fmla="*/ 249079 h 514350"/>
                <a:gd name="connsiteX5166" fmla="*/ 3155156 w 6400800"/>
                <a:gd name="connsiteY5166" fmla="*/ 313849 h 514350"/>
                <a:gd name="connsiteX5167" fmla="*/ 3156109 w 6400800"/>
                <a:gd name="connsiteY5167" fmla="*/ 320516 h 514350"/>
                <a:gd name="connsiteX5168" fmla="*/ 3158014 w 6400800"/>
                <a:gd name="connsiteY5168" fmla="*/ 334804 h 514350"/>
                <a:gd name="connsiteX5169" fmla="*/ 3154204 w 6400800"/>
                <a:gd name="connsiteY5169" fmla="*/ 354806 h 514350"/>
                <a:gd name="connsiteX5170" fmla="*/ 3152299 w 6400800"/>
                <a:gd name="connsiteY5170" fmla="*/ 351949 h 514350"/>
                <a:gd name="connsiteX5171" fmla="*/ 3152299 w 6400800"/>
                <a:gd name="connsiteY5171" fmla="*/ 350044 h 514350"/>
                <a:gd name="connsiteX5172" fmla="*/ 3151346 w 6400800"/>
                <a:gd name="connsiteY5172" fmla="*/ 345281 h 514350"/>
                <a:gd name="connsiteX5173" fmla="*/ 3151346 w 6400800"/>
                <a:gd name="connsiteY5173" fmla="*/ 344329 h 514350"/>
                <a:gd name="connsiteX5174" fmla="*/ 3151346 w 6400800"/>
                <a:gd name="connsiteY5174" fmla="*/ 338614 h 514350"/>
                <a:gd name="connsiteX5175" fmla="*/ 3155156 w 6400800"/>
                <a:gd name="connsiteY5175" fmla="*/ 313849 h 514350"/>
                <a:gd name="connsiteX5176" fmla="*/ 3139916 w 6400800"/>
                <a:gd name="connsiteY5176" fmla="*/ 213836 h 514350"/>
                <a:gd name="connsiteX5177" fmla="*/ 3143726 w 6400800"/>
                <a:gd name="connsiteY5177" fmla="*/ 235744 h 514350"/>
                <a:gd name="connsiteX5178" fmla="*/ 3148489 w 6400800"/>
                <a:gd name="connsiteY5178" fmla="*/ 267176 h 514350"/>
                <a:gd name="connsiteX5179" fmla="*/ 3143726 w 6400800"/>
                <a:gd name="connsiteY5179" fmla="*/ 284321 h 514350"/>
                <a:gd name="connsiteX5180" fmla="*/ 3137059 w 6400800"/>
                <a:gd name="connsiteY5180" fmla="*/ 216694 h 514350"/>
                <a:gd name="connsiteX5181" fmla="*/ 3139916 w 6400800"/>
                <a:gd name="connsiteY5181" fmla="*/ 213836 h 514350"/>
                <a:gd name="connsiteX5182" fmla="*/ 3130391 w 6400800"/>
                <a:gd name="connsiteY5182" fmla="*/ 337661 h 514350"/>
                <a:gd name="connsiteX5183" fmla="*/ 3130391 w 6400800"/>
                <a:gd name="connsiteY5183" fmla="*/ 335756 h 514350"/>
                <a:gd name="connsiteX5184" fmla="*/ 3130391 w 6400800"/>
                <a:gd name="connsiteY5184" fmla="*/ 335756 h 514350"/>
                <a:gd name="connsiteX5185" fmla="*/ 3130391 w 6400800"/>
                <a:gd name="connsiteY5185" fmla="*/ 337661 h 514350"/>
                <a:gd name="connsiteX5186" fmla="*/ 3130391 w 6400800"/>
                <a:gd name="connsiteY5186" fmla="*/ 328136 h 514350"/>
                <a:gd name="connsiteX5187" fmla="*/ 3130391 w 6400800"/>
                <a:gd name="connsiteY5187" fmla="*/ 328136 h 514350"/>
                <a:gd name="connsiteX5188" fmla="*/ 3130391 w 6400800"/>
                <a:gd name="connsiteY5188" fmla="*/ 328136 h 514350"/>
                <a:gd name="connsiteX5189" fmla="*/ 3130391 w 6400800"/>
                <a:gd name="connsiteY5189" fmla="*/ 328136 h 514350"/>
                <a:gd name="connsiteX5190" fmla="*/ 3133249 w 6400800"/>
                <a:gd name="connsiteY5190" fmla="*/ 276701 h 514350"/>
                <a:gd name="connsiteX5191" fmla="*/ 3133249 w 6400800"/>
                <a:gd name="connsiteY5191" fmla="*/ 276701 h 514350"/>
                <a:gd name="connsiteX5192" fmla="*/ 3128486 w 6400800"/>
                <a:gd name="connsiteY5192" fmla="*/ 259556 h 514350"/>
                <a:gd name="connsiteX5193" fmla="*/ 3127534 w 6400800"/>
                <a:gd name="connsiteY5193" fmla="*/ 246221 h 514350"/>
                <a:gd name="connsiteX5194" fmla="*/ 3135154 w 6400800"/>
                <a:gd name="connsiteY5194" fmla="*/ 223361 h 514350"/>
                <a:gd name="connsiteX5195" fmla="*/ 3133249 w 6400800"/>
                <a:gd name="connsiteY5195" fmla="*/ 276701 h 514350"/>
                <a:gd name="connsiteX5196" fmla="*/ 3130391 w 6400800"/>
                <a:gd name="connsiteY5196" fmla="*/ 229076 h 514350"/>
                <a:gd name="connsiteX5197" fmla="*/ 3136106 w 6400800"/>
                <a:gd name="connsiteY5197" fmla="*/ 219551 h 514350"/>
                <a:gd name="connsiteX5198" fmla="*/ 3136106 w 6400800"/>
                <a:gd name="connsiteY5198" fmla="*/ 221456 h 514350"/>
                <a:gd name="connsiteX5199" fmla="*/ 3127534 w 6400800"/>
                <a:gd name="connsiteY5199" fmla="*/ 236696 h 514350"/>
                <a:gd name="connsiteX5200" fmla="*/ 3127534 w 6400800"/>
                <a:gd name="connsiteY5200" fmla="*/ 234791 h 514350"/>
                <a:gd name="connsiteX5201" fmla="*/ 3130391 w 6400800"/>
                <a:gd name="connsiteY5201" fmla="*/ 229076 h 514350"/>
                <a:gd name="connsiteX5202" fmla="*/ 3114199 w 6400800"/>
                <a:gd name="connsiteY5202" fmla="*/ 290036 h 514350"/>
                <a:gd name="connsiteX5203" fmla="*/ 3113246 w 6400800"/>
                <a:gd name="connsiteY5203" fmla="*/ 287179 h 514350"/>
                <a:gd name="connsiteX5204" fmla="*/ 3113246 w 6400800"/>
                <a:gd name="connsiteY5204" fmla="*/ 286226 h 514350"/>
                <a:gd name="connsiteX5205" fmla="*/ 3115151 w 6400800"/>
                <a:gd name="connsiteY5205" fmla="*/ 281464 h 514350"/>
                <a:gd name="connsiteX5206" fmla="*/ 3114199 w 6400800"/>
                <a:gd name="connsiteY5206" fmla="*/ 290036 h 514350"/>
                <a:gd name="connsiteX5207" fmla="*/ 3115151 w 6400800"/>
                <a:gd name="connsiteY5207" fmla="*/ 257651 h 514350"/>
                <a:gd name="connsiteX5208" fmla="*/ 3116104 w 6400800"/>
                <a:gd name="connsiteY5208" fmla="*/ 255746 h 514350"/>
                <a:gd name="connsiteX5209" fmla="*/ 3115151 w 6400800"/>
                <a:gd name="connsiteY5209" fmla="*/ 257651 h 514350"/>
                <a:gd name="connsiteX5210" fmla="*/ 3109436 w 6400800"/>
                <a:gd name="connsiteY5210" fmla="*/ 270034 h 514350"/>
                <a:gd name="connsiteX5211" fmla="*/ 3115151 w 6400800"/>
                <a:gd name="connsiteY5211" fmla="*/ 257651 h 514350"/>
                <a:gd name="connsiteX5212" fmla="*/ 3110389 w 6400800"/>
                <a:gd name="connsiteY5212" fmla="*/ 292894 h 514350"/>
                <a:gd name="connsiteX5213" fmla="*/ 3113246 w 6400800"/>
                <a:gd name="connsiteY5213" fmla="*/ 309086 h 514350"/>
                <a:gd name="connsiteX5214" fmla="*/ 3114199 w 6400800"/>
                <a:gd name="connsiteY5214" fmla="*/ 311944 h 514350"/>
                <a:gd name="connsiteX5215" fmla="*/ 3114199 w 6400800"/>
                <a:gd name="connsiteY5215" fmla="*/ 321469 h 514350"/>
                <a:gd name="connsiteX5216" fmla="*/ 3114199 w 6400800"/>
                <a:gd name="connsiteY5216" fmla="*/ 319564 h 514350"/>
                <a:gd name="connsiteX5217" fmla="*/ 3110389 w 6400800"/>
                <a:gd name="connsiteY5217" fmla="*/ 309086 h 514350"/>
                <a:gd name="connsiteX5218" fmla="*/ 3109436 w 6400800"/>
                <a:gd name="connsiteY5218" fmla="*/ 300514 h 514350"/>
                <a:gd name="connsiteX5219" fmla="*/ 3109436 w 6400800"/>
                <a:gd name="connsiteY5219" fmla="*/ 299561 h 514350"/>
                <a:gd name="connsiteX5220" fmla="*/ 3110389 w 6400800"/>
                <a:gd name="connsiteY5220" fmla="*/ 292894 h 514350"/>
                <a:gd name="connsiteX5221" fmla="*/ 3098006 w 6400800"/>
                <a:gd name="connsiteY5221" fmla="*/ 350996 h 514350"/>
                <a:gd name="connsiteX5222" fmla="*/ 3098006 w 6400800"/>
                <a:gd name="connsiteY5222" fmla="*/ 350996 h 514350"/>
                <a:gd name="connsiteX5223" fmla="*/ 3098006 w 6400800"/>
                <a:gd name="connsiteY5223" fmla="*/ 353854 h 514350"/>
                <a:gd name="connsiteX5224" fmla="*/ 3097054 w 6400800"/>
                <a:gd name="connsiteY5224" fmla="*/ 354806 h 514350"/>
                <a:gd name="connsiteX5225" fmla="*/ 3098006 w 6400800"/>
                <a:gd name="connsiteY5225" fmla="*/ 350996 h 514350"/>
                <a:gd name="connsiteX5226" fmla="*/ 3093244 w 6400800"/>
                <a:gd name="connsiteY5226" fmla="*/ 377666 h 514350"/>
                <a:gd name="connsiteX5227" fmla="*/ 3097054 w 6400800"/>
                <a:gd name="connsiteY5227" fmla="*/ 370046 h 514350"/>
                <a:gd name="connsiteX5228" fmla="*/ 3094196 w 6400800"/>
                <a:gd name="connsiteY5228" fmla="*/ 373856 h 514350"/>
                <a:gd name="connsiteX5229" fmla="*/ 3097054 w 6400800"/>
                <a:gd name="connsiteY5229" fmla="*/ 355759 h 514350"/>
                <a:gd name="connsiteX5230" fmla="*/ 3098006 w 6400800"/>
                <a:gd name="connsiteY5230" fmla="*/ 353854 h 514350"/>
                <a:gd name="connsiteX5231" fmla="*/ 3098006 w 6400800"/>
                <a:gd name="connsiteY5231" fmla="*/ 371951 h 514350"/>
                <a:gd name="connsiteX5232" fmla="*/ 3098006 w 6400800"/>
                <a:gd name="connsiteY5232" fmla="*/ 383381 h 514350"/>
                <a:gd name="connsiteX5233" fmla="*/ 3095149 w 6400800"/>
                <a:gd name="connsiteY5233" fmla="*/ 383381 h 514350"/>
                <a:gd name="connsiteX5234" fmla="*/ 3095149 w 6400800"/>
                <a:gd name="connsiteY5234" fmla="*/ 383381 h 514350"/>
                <a:gd name="connsiteX5235" fmla="*/ 3093244 w 6400800"/>
                <a:gd name="connsiteY5235" fmla="*/ 378619 h 514350"/>
                <a:gd name="connsiteX5236" fmla="*/ 3093244 w 6400800"/>
                <a:gd name="connsiteY5236" fmla="*/ 377666 h 514350"/>
                <a:gd name="connsiteX5237" fmla="*/ 3084671 w 6400800"/>
                <a:gd name="connsiteY5237" fmla="*/ 293846 h 514350"/>
                <a:gd name="connsiteX5238" fmla="*/ 3085624 w 6400800"/>
                <a:gd name="connsiteY5238" fmla="*/ 276701 h 514350"/>
                <a:gd name="connsiteX5239" fmla="*/ 3085624 w 6400800"/>
                <a:gd name="connsiteY5239" fmla="*/ 278606 h 514350"/>
                <a:gd name="connsiteX5240" fmla="*/ 3088481 w 6400800"/>
                <a:gd name="connsiteY5240" fmla="*/ 289084 h 514350"/>
                <a:gd name="connsiteX5241" fmla="*/ 3086576 w 6400800"/>
                <a:gd name="connsiteY5241" fmla="*/ 291941 h 514350"/>
                <a:gd name="connsiteX5242" fmla="*/ 3084671 w 6400800"/>
                <a:gd name="connsiteY5242" fmla="*/ 296704 h 514350"/>
                <a:gd name="connsiteX5243" fmla="*/ 3084671 w 6400800"/>
                <a:gd name="connsiteY5243" fmla="*/ 293846 h 514350"/>
                <a:gd name="connsiteX5244" fmla="*/ 3086576 w 6400800"/>
                <a:gd name="connsiteY5244" fmla="*/ 348139 h 514350"/>
                <a:gd name="connsiteX5245" fmla="*/ 3086576 w 6400800"/>
                <a:gd name="connsiteY5245" fmla="*/ 350044 h 514350"/>
                <a:gd name="connsiteX5246" fmla="*/ 3083719 w 6400800"/>
                <a:gd name="connsiteY5246" fmla="*/ 361474 h 514350"/>
                <a:gd name="connsiteX5247" fmla="*/ 3083719 w 6400800"/>
                <a:gd name="connsiteY5247" fmla="*/ 357664 h 514350"/>
                <a:gd name="connsiteX5248" fmla="*/ 3086576 w 6400800"/>
                <a:gd name="connsiteY5248" fmla="*/ 348139 h 514350"/>
                <a:gd name="connsiteX5249" fmla="*/ 3057049 w 6400800"/>
                <a:gd name="connsiteY5249" fmla="*/ 235744 h 514350"/>
                <a:gd name="connsiteX5250" fmla="*/ 3059906 w 6400800"/>
                <a:gd name="connsiteY5250" fmla="*/ 210979 h 514350"/>
                <a:gd name="connsiteX5251" fmla="*/ 3062764 w 6400800"/>
                <a:gd name="connsiteY5251" fmla="*/ 191929 h 514350"/>
                <a:gd name="connsiteX5252" fmla="*/ 3067526 w 6400800"/>
                <a:gd name="connsiteY5252" fmla="*/ 209074 h 514350"/>
                <a:gd name="connsiteX5253" fmla="*/ 3066574 w 6400800"/>
                <a:gd name="connsiteY5253" fmla="*/ 222409 h 514350"/>
                <a:gd name="connsiteX5254" fmla="*/ 3063716 w 6400800"/>
                <a:gd name="connsiteY5254" fmla="*/ 253841 h 514350"/>
                <a:gd name="connsiteX5255" fmla="*/ 3059906 w 6400800"/>
                <a:gd name="connsiteY5255" fmla="*/ 268129 h 514350"/>
                <a:gd name="connsiteX5256" fmla="*/ 3057049 w 6400800"/>
                <a:gd name="connsiteY5256" fmla="*/ 252889 h 514350"/>
                <a:gd name="connsiteX5257" fmla="*/ 3056096 w 6400800"/>
                <a:gd name="connsiteY5257" fmla="*/ 248126 h 514350"/>
                <a:gd name="connsiteX5258" fmla="*/ 3057049 w 6400800"/>
                <a:gd name="connsiteY5258" fmla="*/ 235744 h 514350"/>
                <a:gd name="connsiteX5259" fmla="*/ 3002756 w 6400800"/>
                <a:gd name="connsiteY5259" fmla="*/ 307181 h 514350"/>
                <a:gd name="connsiteX5260" fmla="*/ 3001804 w 6400800"/>
                <a:gd name="connsiteY5260" fmla="*/ 310039 h 514350"/>
                <a:gd name="connsiteX5261" fmla="*/ 3002756 w 6400800"/>
                <a:gd name="connsiteY5261" fmla="*/ 305276 h 514350"/>
                <a:gd name="connsiteX5262" fmla="*/ 3006566 w 6400800"/>
                <a:gd name="connsiteY5262" fmla="*/ 286226 h 514350"/>
                <a:gd name="connsiteX5263" fmla="*/ 3008471 w 6400800"/>
                <a:gd name="connsiteY5263" fmla="*/ 290036 h 514350"/>
                <a:gd name="connsiteX5264" fmla="*/ 3002756 w 6400800"/>
                <a:gd name="connsiteY5264" fmla="*/ 307181 h 514350"/>
                <a:gd name="connsiteX5265" fmla="*/ 3036094 w 6400800"/>
                <a:gd name="connsiteY5265" fmla="*/ 249079 h 514350"/>
                <a:gd name="connsiteX5266" fmla="*/ 3036094 w 6400800"/>
                <a:gd name="connsiteY5266" fmla="*/ 266224 h 514350"/>
                <a:gd name="connsiteX5267" fmla="*/ 3033236 w 6400800"/>
                <a:gd name="connsiteY5267" fmla="*/ 258604 h 514350"/>
                <a:gd name="connsiteX5268" fmla="*/ 3036094 w 6400800"/>
                <a:gd name="connsiteY5268" fmla="*/ 249079 h 514350"/>
                <a:gd name="connsiteX5269" fmla="*/ 3030379 w 6400800"/>
                <a:gd name="connsiteY5269" fmla="*/ 269081 h 514350"/>
                <a:gd name="connsiteX5270" fmla="*/ 3030379 w 6400800"/>
                <a:gd name="connsiteY5270" fmla="*/ 269081 h 514350"/>
                <a:gd name="connsiteX5271" fmla="*/ 3030379 w 6400800"/>
                <a:gd name="connsiteY5271" fmla="*/ 269081 h 514350"/>
                <a:gd name="connsiteX5272" fmla="*/ 3030379 w 6400800"/>
                <a:gd name="connsiteY5272" fmla="*/ 269081 h 514350"/>
                <a:gd name="connsiteX5273" fmla="*/ 3027521 w 6400800"/>
                <a:gd name="connsiteY5273" fmla="*/ 353854 h 514350"/>
                <a:gd name="connsiteX5274" fmla="*/ 3023711 w 6400800"/>
                <a:gd name="connsiteY5274" fmla="*/ 364331 h 514350"/>
                <a:gd name="connsiteX5275" fmla="*/ 3017996 w 6400800"/>
                <a:gd name="connsiteY5275" fmla="*/ 383381 h 514350"/>
                <a:gd name="connsiteX5276" fmla="*/ 3017044 w 6400800"/>
                <a:gd name="connsiteY5276" fmla="*/ 385286 h 514350"/>
                <a:gd name="connsiteX5277" fmla="*/ 3015139 w 6400800"/>
                <a:gd name="connsiteY5277" fmla="*/ 376714 h 514350"/>
                <a:gd name="connsiteX5278" fmla="*/ 3020854 w 6400800"/>
                <a:gd name="connsiteY5278" fmla="*/ 366236 h 514350"/>
                <a:gd name="connsiteX5279" fmla="*/ 3028474 w 6400800"/>
                <a:gd name="connsiteY5279" fmla="*/ 352901 h 514350"/>
                <a:gd name="connsiteX5280" fmla="*/ 3027521 w 6400800"/>
                <a:gd name="connsiteY5280" fmla="*/ 353854 h 514350"/>
                <a:gd name="connsiteX5281" fmla="*/ 3021806 w 6400800"/>
                <a:gd name="connsiteY5281" fmla="*/ 230029 h 514350"/>
                <a:gd name="connsiteX5282" fmla="*/ 3024664 w 6400800"/>
                <a:gd name="connsiteY5282" fmla="*/ 241459 h 514350"/>
                <a:gd name="connsiteX5283" fmla="*/ 3024664 w 6400800"/>
                <a:gd name="connsiteY5283" fmla="*/ 241459 h 514350"/>
                <a:gd name="connsiteX5284" fmla="*/ 3021806 w 6400800"/>
                <a:gd name="connsiteY5284" fmla="*/ 230029 h 514350"/>
                <a:gd name="connsiteX5285" fmla="*/ 3021806 w 6400800"/>
                <a:gd name="connsiteY5285" fmla="*/ 230029 h 514350"/>
                <a:gd name="connsiteX5286" fmla="*/ 3020854 w 6400800"/>
                <a:gd name="connsiteY5286" fmla="*/ 305276 h 514350"/>
                <a:gd name="connsiteX5287" fmla="*/ 3020854 w 6400800"/>
                <a:gd name="connsiteY5287" fmla="*/ 305276 h 514350"/>
                <a:gd name="connsiteX5288" fmla="*/ 3020854 w 6400800"/>
                <a:gd name="connsiteY5288" fmla="*/ 305276 h 514350"/>
                <a:gd name="connsiteX5289" fmla="*/ 3020854 w 6400800"/>
                <a:gd name="connsiteY5289" fmla="*/ 305276 h 514350"/>
                <a:gd name="connsiteX5290" fmla="*/ 3017996 w 6400800"/>
                <a:gd name="connsiteY5290" fmla="*/ 317659 h 514350"/>
                <a:gd name="connsiteX5291" fmla="*/ 3021806 w 6400800"/>
                <a:gd name="connsiteY5291" fmla="*/ 329089 h 514350"/>
                <a:gd name="connsiteX5292" fmla="*/ 3025616 w 6400800"/>
                <a:gd name="connsiteY5292" fmla="*/ 339566 h 514350"/>
                <a:gd name="connsiteX5293" fmla="*/ 3011329 w 6400800"/>
                <a:gd name="connsiteY5293" fmla="*/ 359569 h 514350"/>
                <a:gd name="connsiteX5294" fmla="*/ 3011329 w 6400800"/>
                <a:gd name="connsiteY5294" fmla="*/ 360521 h 514350"/>
                <a:gd name="connsiteX5295" fmla="*/ 3009424 w 6400800"/>
                <a:gd name="connsiteY5295" fmla="*/ 351949 h 514350"/>
                <a:gd name="connsiteX5296" fmla="*/ 3017996 w 6400800"/>
                <a:gd name="connsiteY5296" fmla="*/ 317659 h 514350"/>
                <a:gd name="connsiteX5297" fmla="*/ 3013234 w 6400800"/>
                <a:gd name="connsiteY5297" fmla="*/ 257651 h 514350"/>
                <a:gd name="connsiteX5298" fmla="*/ 3014186 w 6400800"/>
                <a:gd name="connsiteY5298" fmla="*/ 261461 h 514350"/>
                <a:gd name="connsiteX5299" fmla="*/ 3015139 w 6400800"/>
                <a:gd name="connsiteY5299" fmla="*/ 269081 h 514350"/>
                <a:gd name="connsiteX5300" fmla="*/ 3010376 w 6400800"/>
                <a:gd name="connsiteY5300" fmla="*/ 284321 h 514350"/>
                <a:gd name="connsiteX5301" fmla="*/ 3009424 w 6400800"/>
                <a:gd name="connsiteY5301" fmla="*/ 282416 h 514350"/>
                <a:gd name="connsiteX5302" fmla="*/ 3008471 w 6400800"/>
                <a:gd name="connsiteY5302" fmla="*/ 279559 h 514350"/>
                <a:gd name="connsiteX5303" fmla="*/ 3009424 w 6400800"/>
                <a:gd name="connsiteY5303" fmla="*/ 276701 h 514350"/>
                <a:gd name="connsiteX5304" fmla="*/ 3013234 w 6400800"/>
                <a:gd name="connsiteY5304" fmla="*/ 257651 h 514350"/>
                <a:gd name="connsiteX5305" fmla="*/ 3008471 w 6400800"/>
                <a:gd name="connsiteY5305" fmla="*/ 230029 h 514350"/>
                <a:gd name="connsiteX5306" fmla="*/ 3010376 w 6400800"/>
                <a:gd name="connsiteY5306" fmla="*/ 244316 h 514350"/>
                <a:gd name="connsiteX5307" fmla="*/ 3007519 w 6400800"/>
                <a:gd name="connsiteY5307" fmla="*/ 250984 h 514350"/>
                <a:gd name="connsiteX5308" fmla="*/ 3001804 w 6400800"/>
                <a:gd name="connsiteY5308" fmla="*/ 264319 h 514350"/>
                <a:gd name="connsiteX5309" fmla="*/ 3008471 w 6400800"/>
                <a:gd name="connsiteY5309" fmla="*/ 230029 h 514350"/>
                <a:gd name="connsiteX5310" fmla="*/ 3003709 w 6400800"/>
                <a:gd name="connsiteY5310" fmla="*/ 195739 h 514350"/>
                <a:gd name="connsiteX5311" fmla="*/ 3004661 w 6400800"/>
                <a:gd name="connsiteY5311" fmla="*/ 205264 h 514350"/>
                <a:gd name="connsiteX5312" fmla="*/ 2997994 w 6400800"/>
                <a:gd name="connsiteY5312" fmla="*/ 223361 h 514350"/>
                <a:gd name="connsiteX5313" fmla="*/ 2986564 w 6400800"/>
                <a:gd name="connsiteY5313" fmla="*/ 262414 h 514350"/>
                <a:gd name="connsiteX5314" fmla="*/ 2984659 w 6400800"/>
                <a:gd name="connsiteY5314" fmla="*/ 270986 h 514350"/>
                <a:gd name="connsiteX5315" fmla="*/ 2984659 w 6400800"/>
                <a:gd name="connsiteY5315" fmla="*/ 270986 h 514350"/>
                <a:gd name="connsiteX5316" fmla="*/ 3003709 w 6400800"/>
                <a:gd name="connsiteY5316" fmla="*/ 195739 h 514350"/>
                <a:gd name="connsiteX5317" fmla="*/ 2974181 w 6400800"/>
                <a:gd name="connsiteY5317" fmla="*/ 311944 h 514350"/>
                <a:gd name="connsiteX5318" fmla="*/ 2980849 w 6400800"/>
                <a:gd name="connsiteY5318" fmla="*/ 284321 h 514350"/>
                <a:gd name="connsiteX5319" fmla="*/ 2980849 w 6400800"/>
                <a:gd name="connsiteY5319" fmla="*/ 285274 h 514350"/>
                <a:gd name="connsiteX5320" fmla="*/ 2976086 w 6400800"/>
                <a:gd name="connsiteY5320" fmla="*/ 307181 h 514350"/>
                <a:gd name="connsiteX5321" fmla="*/ 2972276 w 6400800"/>
                <a:gd name="connsiteY5321" fmla="*/ 327184 h 514350"/>
                <a:gd name="connsiteX5322" fmla="*/ 2970371 w 6400800"/>
                <a:gd name="connsiteY5322" fmla="*/ 322421 h 514350"/>
                <a:gd name="connsiteX5323" fmla="*/ 2974181 w 6400800"/>
                <a:gd name="connsiteY5323" fmla="*/ 311944 h 514350"/>
                <a:gd name="connsiteX5324" fmla="*/ 2964656 w 6400800"/>
                <a:gd name="connsiteY5324" fmla="*/ 349091 h 514350"/>
                <a:gd name="connsiteX5325" fmla="*/ 2968466 w 6400800"/>
                <a:gd name="connsiteY5325" fmla="*/ 334804 h 514350"/>
                <a:gd name="connsiteX5326" fmla="*/ 2970371 w 6400800"/>
                <a:gd name="connsiteY5326" fmla="*/ 344329 h 514350"/>
                <a:gd name="connsiteX5327" fmla="*/ 2969419 w 6400800"/>
                <a:gd name="connsiteY5327" fmla="*/ 353854 h 514350"/>
                <a:gd name="connsiteX5328" fmla="*/ 2966561 w 6400800"/>
                <a:gd name="connsiteY5328" fmla="*/ 377666 h 514350"/>
                <a:gd name="connsiteX5329" fmla="*/ 2963704 w 6400800"/>
                <a:gd name="connsiteY5329" fmla="*/ 366236 h 514350"/>
                <a:gd name="connsiteX5330" fmla="*/ 2969419 w 6400800"/>
                <a:gd name="connsiteY5330" fmla="*/ 341471 h 514350"/>
                <a:gd name="connsiteX5331" fmla="*/ 2964656 w 6400800"/>
                <a:gd name="connsiteY5331" fmla="*/ 349091 h 514350"/>
                <a:gd name="connsiteX5332" fmla="*/ 2958941 w 6400800"/>
                <a:gd name="connsiteY5332" fmla="*/ 383381 h 514350"/>
                <a:gd name="connsiteX5333" fmla="*/ 2958941 w 6400800"/>
                <a:gd name="connsiteY5333" fmla="*/ 383381 h 514350"/>
                <a:gd name="connsiteX5334" fmla="*/ 2958941 w 6400800"/>
                <a:gd name="connsiteY5334" fmla="*/ 383381 h 514350"/>
                <a:gd name="connsiteX5335" fmla="*/ 2958941 w 6400800"/>
                <a:gd name="connsiteY5335" fmla="*/ 383381 h 514350"/>
                <a:gd name="connsiteX5336" fmla="*/ 2958941 w 6400800"/>
                <a:gd name="connsiteY5336" fmla="*/ 383381 h 514350"/>
                <a:gd name="connsiteX5337" fmla="*/ 2936081 w 6400800"/>
                <a:gd name="connsiteY5337" fmla="*/ 284321 h 514350"/>
                <a:gd name="connsiteX5338" fmla="*/ 2934176 w 6400800"/>
                <a:gd name="connsiteY5338" fmla="*/ 273844 h 514350"/>
                <a:gd name="connsiteX5339" fmla="*/ 2936081 w 6400800"/>
                <a:gd name="connsiteY5339" fmla="*/ 271939 h 514350"/>
                <a:gd name="connsiteX5340" fmla="*/ 2936081 w 6400800"/>
                <a:gd name="connsiteY5340" fmla="*/ 284321 h 514350"/>
                <a:gd name="connsiteX5341" fmla="*/ 2936081 w 6400800"/>
                <a:gd name="connsiteY5341" fmla="*/ 267176 h 514350"/>
                <a:gd name="connsiteX5342" fmla="*/ 2936081 w 6400800"/>
                <a:gd name="connsiteY5342" fmla="*/ 267176 h 514350"/>
                <a:gd name="connsiteX5343" fmla="*/ 2934176 w 6400800"/>
                <a:gd name="connsiteY5343" fmla="*/ 269081 h 514350"/>
                <a:gd name="connsiteX5344" fmla="*/ 2936081 w 6400800"/>
                <a:gd name="connsiteY5344" fmla="*/ 265271 h 514350"/>
                <a:gd name="connsiteX5345" fmla="*/ 2936081 w 6400800"/>
                <a:gd name="connsiteY5345" fmla="*/ 267176 h 514350"/>
                <a:gd name="connsiteX5346" fmla="*/ 2929414 w 6400800"/>
                <a:gd name="connsiteY5346" fmla="*/ 243364 h 514350"/>
                <a:gd name="connsiteX5347" fmla="*/ 2930366 w 6400800"/>
                <a:gd name="connsiteY5347" fmla="*/ 243364 h 514350"/>
                <a:gd name="connsiteX5348" fmla="*/ 2933224 w 6400800"/>
                <a:gd name="connsiteY5348" fmla="*/ 244316 h 514350"/>
                <a:gd name="connsiteX5349" fmla="*/ 2934176 w 6400800"/>
                <a:gd name="connsiteY5349" fmla="*/ 255746 h 514350"/>
                <a:gd name="connsiteX5350" fmla="*/ 2931319 w 6400800"/>
                <a:gd name="connsiteY5350" fmla="*/ 261461 h 514350"/>
                <a:gd name="connsiteX5351" fmla="*/ 2927509 w 6400800"/>
                <a:gd name="connsiteY5351" fmla="*/ 248126 h 514350"/>
                <a:gd name="connsiteX5352" fmla="*/ 2929414 w 6400800"/>
                <a:gd name="connsiteY5352" fmla="*/ 243364 h 514350"/>
                <a:gd name="connsiteX5353" fmla="*/ 2917984 w 6400800"/>
                <a:gd name="connsiteY5353" fmla="*/ 351949 h 514350"/>
                <a:gd name="connsiteX5354" fmla="*/ 2918936 w 6400800"/>
                <a:gd name="connsiteY5354" fmla="*/ 353854 h 514350"/>
                <a:gd name="connsiteX5355" fmla="*/ 2919889 w 6400800"/>
                <a:gd name="connsiteY5355" fmla="*/ 363379 h 514350"/>
                <a:gd name="connsiteX5356" fmla="*/ 2922746 w 6400800"/>
                <a:gd name="connsiteY5356" fmla="*/ 380524 h 514350"/>
                <a:gd name="connsiteX5357" fmla="*/ 2920841 w 6400800"/>
                <a:gd name="connsiteY5357" fmla="*/ 380524 h 514350"/>
                <a:gd name="connsiteX5358" fmla="*/ 2913221 w 6400800"/>
                <a:gd name="connsiteY5358" fmla="*/ 362426 h 514350"/>
                <a:gd name="connsiteX5359" fmla="*/ 2917984 w 6400800"/>
                <a:gd name="connsiteY5359" fmla="*/ 351949 h 514350"/>
                <a:gd name="connsiteX5360" fmla="*/ 2904649 w 6400800"/>
                <a:gd name="connsiteY5360" fmla="*/ 224314 h 514350"/>
                <a:gd name="connsiteX5361" fmla="*/ 2904649 w 6400800"/>
                <a:gd name="connsiteY5361" fmla="*/ 224314 h 514350"/>
                <a:gd name="connsiteX5362" fmla="*/ 2903696 w 6400800"/>
                <a:gd name="connsiteY5362" fmla="*/ 237649 h 514350"/>
                <a:gd name="connsiteX5363" fmla="*/ 2902744 w 6400800"/>
                <a:gd name="connsiteY5363" fmla="*/ 250031 h 514350"/>
                <a:gd name="connsiteX5364" fmla="*/ 2900839 w 6400800"/>
                <a:gd name="connsiteY5364" fmla="*/ 235744 h 514350"/>
                <a:gd name="connsiteX5365" fmla="*/ 2904649 w 6400800"/>
                <a:gd name="connsiteY5365" fmla="*/ 224314 h 514350"/>
                <a:gd name="connsiteX5366" fmla="*/ 2885599 w 6400800"/>
                <a:gd name="connsiteY5366" fmla="*/ 294799 h 514350"/>
                <a:gd name="connsiteX5367" fmla="*/ 2888456 w 6400800"/>
                <a:gd name="connsiteY5367" fmla="*/ 280511 h 514350"/>
                <a:gd name="connsiteX5368" fmla="*/ 2889409 w 6400800"/>
                <a:gd name="connsiteY5368" fmla="*/ 308134 h 514350"/>
                <a:gd name="connsiteX5369" fmla="*/ 2884646 w 6400800"/>
                <a:gd name="connsiteY5369" fmla="*/ 297656 h 514350"/>
                <a:gd name="connsiteX5370" fmla="*/ 2885599 w 6400800"/>
                <a:gd name="connsiteY5370" fmla="*/ 294799 h 514350"/>
                <a:gd name="connsiteX5371" fmla="*/ 2869406 w 6400800"/>
                <a:gd name="connsiteY5371" fmla="*/ 301466 h 514350"/>
                <a:gd name="connsiteX5372" fmla="*/ 2869406 w 6400800"/>
                <a:gd name="connsiteY5372" fmla="*/ 301466 h 514350"/>
                <a:gd name="connsiteX5373" fmla="*/ 2869406 w 6400800"/>
                <a:gd name="connsiteY5373" fmla="*/ 302419 h 514350"/>
                <a:gd name="connsiteX5374" fmla="*/ 2868454 w 6400800"/>
                <a:gd name="connsiteY5374" fmla="*/ 305276 h 514350"/>
                <a:gd name="connsiteX5375" fmla="*/ 2856071 w 6400800"/>
                <a:gd name="connsiteY5375" fmla="*/ 284321 h 514350"/>
                <a:gd name="connsiteX5376" fmla="*/ 2855119 w 6400800"/>
                <a:gd name="connsiteY5376" fmla="*/ 282416 h 514350"/>
                <a:gd name="connsiteX5377" fmla="*/ 2857976 w 6400800"/>
                <a:gd name="connsiteY5377" fmla="*/ 273844 h 514350"/>
                <a:gd name="connsiteX5378" fmla="*/ 2869406 w 6400800"/>
                <a:gd name="connsiteY5378" fmla="*/ 301466 h 514350"/>
                <a:gd name="connsiteX5379" fmla="*/ 2851309 w 6400800"/>
                <a:gd name="connsiteY5379" fmla="*/ 262414 h 514350"/>
                <a:gd name="connsiteX5380" fmla="*/ 2851309 w 6400800"/>
                <a:gd name="connsiteY5380" fmla="*/ 259556 h 514350"/>
                <a:gd name="connsiteX5381" fmla="*/ 2855119 w 6400800"/>
                <a:gd name="connsiteY5381" fmla="*/ 267176 h 514350"/>
                <a:gd name="connsiteX5382" fmla="*/ 2856071 w 6400800"/>
                <a:gd name="connsiteY5382" fmla="*/ 269081 h 514350"/>
                <a:gd name="connsiteX5383" fmla="*/ 2851309 w 6400800"/>
                <a:gd name="connsiteY5383" fmla="*/ 276701 h 514350"/>
                <a:gd name="connsiteX5384" fmla="*/ 2850356 w 6400800"/>
                <a:gd name="connsiteY5384" fmla="*/ 274796 h 514350"/>
                <a:gd name="connsiteX5385" fmla="*/ 2851309 w 6400800"/>
                <a:gd name="connsiteY5385" fmla="*/ 262414 h 514350"/>
                <a:gd name="connsiteX5386" fmla="*/ 2848451 w 6400800"/>
                <a:gd name="connsiteY5386" fmla="*/ 312896 h 514350"/>
                <a:gd name="connsiteX5387" fmla="*/ 2848451 w 6400800"/>
                <a:gd name="connsiteY5387" fmla="*/ 302419 h 514350"/>
                <a:gd name="connsiteX5388" fmla="*/ 2860834 w 6400800"/>
                <a:gd name="connsiteY5388" fmla="*/ 327184 h 514350"/>
                <a:gd name="connsiteX5389" fmla="*/ 2856071 w 6400800"/>
                <a:gd name="connsiteY5389" fmla="*/ 344329 h 514350"/>
                <a:gd name="connsiteX5390" fmla="*/ 2853214 w 6400800"/>
                <a:gd name="connsiteY5390" fmla="*/ 355759 h 514350"/>
                <a:gd name="connsiteX5391" fmla="*/ 2851309 w 6400800"/>
                <a:gd name="connsiteY5391" fmla="*/ 341471 h 514350"/>
                <a:gd name="connsiteX5392" fmla="*/ 2847499 w 6400800"/>
                <a:gd name="connsiteY5392" fmla="*/ 316706 h 514350"/>
                <a:gd name="connsiteX5393" fmla="*/ 2848451 w 6400800"/>
                <a:gd name="connsiteY5393" fmla="*/ 312896 h 514350"/>
                <a:gd name="connsiteX5394" fmla="*/ 2836069 w 6400800"/>
                <a:gd name="connsiteY5394" fmla="*/ 226219 h 514350"/>
                <a:gd name="connsiteX5395" fmla="*/ 2847499 w 6400800"/>
                <a:gd name="connsiteY5395" fmla="*/ 251936 h 514350"/>
                <a:gd name="connsiteX5396" fmla="*/ 2844641 w 6400800"/>
                <a:gd name="connsiteY5396" fmla="*/ 261461 h 514350"/>
                <a:gd name="connsiteX5397" fmla="*/ 2843689 w 6400800"/>
                <a:gd name="connsiteY5397" fmla="*/ 266224 h 514350"/>
                <a:gd name="connsiteX5398" fmla="*/ 2838926 w 6400800"/>
                <a:gd name="connsiteY5398" fmla="*/ 258604 h 514350"/>
                <a:gd name="connsiteX5399" fmla="*/ 2834164 w 6400800"/>
                <a:gd name="connsiteY5399" fmla="*/ 229076 h 514350"/>
                <a:gd name="connsiteX5400" fmla="*/ 2836069 w 6400800"/>
                <a:gd name="connsiteY5400" fmla="*/ 226219 h 514350"/>
                <a:gd name="connsiteX5401" fmla="*/ 2830354 w 6400800"/>
                <a:gd name="connsiteY5401" fmla="*/ 305276 h 514350"/>
                <a:gd name="connsiteX5402" fmla="*/ 2831306 w 6400800"/>
                <a:gd name="connsiteY5402" fmla="*/ 312896 h 514350"/>
                <a:gd name="connsiteX5403" fmla="*/ 2831306 w 6400800"/>
                <a:gd name="connsiteY5403" fmla="*/ 313849 h 514350"/>
                <a:gd name="connsiteX5404" fmla="*/ 2830354 w 6400800"/>
                <a:gd name="connsiteY5404" fmla="*/ 308134 h 514350"/>
                <a:gd name="connsiteX5405" fmla="*/ 2830354 w 6400800"/>
                <a:gd name="connsiteY5405" fmla="*/ 305276 h 514350"/>
                <a:gd name="connsiteX5406" fmla="*/ 2829401 w 6400800"/>
                <a:gd name="connsiteY5406" fmla="*/ 292894 h 514350"/>
                <a:gd name="connsiteX5407" fmla="*/ 2830354 w 6400800"/>
                <a:gd name="connsiteY5407" fmla="*/ 299561 h 514350"/>
                <a:gd name="connsiteX5408" fmla="*/ 2829401 w 6400800"/>
                <a:gd name="connsiteY5408" fmla="*/ 301466 h 514350"/>
                <a:gd name="connsiteX5409" fmla="*/ 2829401 w 6400800"/>
                <a:gd name="connsiteY5409" fmla="*/ 299561 h 514350"/>
                <a:gd name="connsiteX5410" fmla="*/ 2829401 w 6400800"/>
                <a:gd name="connsiteY5410" fmla="*/ 292894 h 514350"/>
                <a:gd name="connsiteX5411" fmla="*/ 2785586 w 6400800"/>
                <a:gd name="connsiteY5411" fmla="*/ 268129 h 514350"/>
                <a:gd name="connsiteX5412" fmla="*/ 2782729 w 6400800"/>
                <a:gd name="connsiteY5412" fmla="*/ 271939 h 514350"/>
                <a:gd name="connsiteX5413" fmla="*/ 2782729 w 6400800"/>
                <a:gd name="connsiteY5413" fmla="*/ 269081 h 514350"/>
                <a:gd name="connsiteX5414" fmla="*/ 2782729 w 6400800"/>
                <a:gd name="connsiteY5414" fmla="*/ 265271 h 514350"/>
                <a:gd name="connsiteX5415" fmla="*/ 2786539 w 6400800"/>
                <a:gd name="connsiteY5415" fmla="*/ 258604 h 514350"/>
                <a:gd name="connsiteX5416" fmla="*/ 2786539 w 6400800"/>
                <a:gd name="connsiteY5416" fmla="*/ 260509 h 514350"/>
                <a:gd name="connsiteX5417" fmla="*/ 2785586 w 6400800"/>
                <a:gd name="connsiteY5417" fmla="*/ 268129 h 514350"/>
                <a:gd name="connsiteX5418" fmla="*/ 2796064 w 6400800"/>
                <a:gd name="connsiteY5418" fmla="*/ 268129 h 514350"/>
                <a:gd name="connsiteX5419" fmla="*/ 2796064 w 6400800"/>
                <a:gd name="connsiteY5419" fmla="*/ 268129 h 514350"/>
                <a:gd name="connsiteX5420" fmla="*/ 2798921 w 6400800"/>
                <a:gd name="connsiteY5420" fmla="*/ 263366 h 514350"/>
                <a:gd name="connsiteX5421" fmla="*/ 2796064 w 6400800"/>
                <a:gd name="connsiteY5421" fmla="*/ 268129 h 514350"/>
                <a:gd name="connsiteX5422" fmla="*/ 2803684 w 6400800"/>
                <a:gd name="connsiteY5422" fmla="*/ 314801 h 514350"/>
                <a:gd name="connsiteX5423" fmla="*/ 2802731 w 6400800"/>
                <a:gd name="connsiteY5423" fmla="*/ 318611 h 514350"/>
                <a:gd name="connsiteX5424" fmla="*/ 2801779 w 6400800"/>
                <a:gd name="connsiteY5424" fmla="*/ 325279 h 514350"/>
                <a:gd name="connsiteX5425" fmla="*/ 2798921 w 6400800"/>
                <a:gd name="connsiteY5425" fmla="*/ 317659 h 514350"/>
                <a:gd name="connsiteX5426" fmla="*/ 2798921 w 6400800"/>
                <a:gd name="connsiteY5426" fmla="*/ 315754 h 514350"/>
                <a:gd name="connsiteX5427" fmla="*/ 2798921 w 6400800"/>
                <a:gd name="connsiteY5427" fmla="*/ 315754 h 514350"/>
                <a:gd name="connsiteX5428" fmla="*/ 2801779 w 6400800"/>
                <a:gd name="connsiteY5428" fmla="*/ 304324 h 514350"/>
                <a:gd name="connsiteX5429" fmla="*/ 2803684 w 6400800"/>
                <a:gd name="connsiteY5429" fmla="*/ 312896 h 514350"/>
                <a:gd name="connsiteX5430" fmla="*/ 2803684 w 6400800"/>
                <a:gd name="connsiteY5430" fmla="*/ 314801 h 514350"/>
                <a:gd name="connsiteX5431" fmla="*/ 2810351 w 6400800"/>
                <a:gd name="connsiteY5431" fmla="*/ 280511 h 514350"/>
                <a:gd name="connsiteX5432" fmla="*/ 2805589 w 6400800"/>
                <a:gd name="connsiteY5432" fmla="*/ 302419 h 514350"/>
                <a:gd name="connsiteX5433" fmla="*/ 2803684 w 6400800"/>
                <a:gd name="connsiteY5433" fmla="*/ 298609 h 514350"/>
                <a:gd name="connsiteX5434" fmla="*/ 2802731 w 6400800"/>
                <a:gd name="connsiteY5434" fmla="*/ 296704 h 514350"/>
                <a:gd name="connsiteX5435" fmla="*/ 2805589 w 6400800"/>
                <a:gd name="connsiteY5435" fmla="*/ 287179 h 514350"/>
                <a:gd name="connsiteX5436" fmla="*/ 2809399 w 6400800"/>
                <a:gd name="connsiteY5436" fmla="*/ 277654 h 514350"/>
                <a:gd name="connsiteX5437" fmla="*/ 2810351 w 6400800"/>
                <a:gd name="connsiteY5437" fmla="*/ 275749 h 514350"/>
                <a:gd name="connsiteX5438" fmla="*/ 2810351 w 6400800"/>
                <a:gd name="connsiteY5438" fmla="*/ 280511 h 514350"/>
                <a:gd name="connsiteX5439" fmla="*/ 2811304 w 6400800"/>
                <a:gd name="connsiteY5439" fmla="*/ 276701 h 514350"/>
                <a:gd name="connsiteX5440" fmla="*/ 2811304 w 6400800"/>
                <a:gd name="connsiteY5440" fmla="*/ 274796 h 514350"/>
                <a:gd name="connsiteX5441" fmla="*/ 2813209 w 6400800"/>
                <a:gd name="connsiteY5441" fmla="*/ 270986 h 514350"/>
                <a:gd name="connsiteX5442" fmla="*/ 2811304 w 6400800"/>
                <a:gd name="connsiteY5442" fmla="*/ 276701 h 514350"/>
                <a:gd name="connsiteX5443" fmla="*/ 2812256 w 6400800"/>
                <a:gd name="connsiteY5443" fmla="*/ 236696 h 514350"/>
                <a:gd name="connsiteX5444" fmla="*/ 2806541 w 6400800"/>
                <a:gd name="connsiteY5444" fmla="*/ 246221 h 514350"/>
                <a:gd name="connsiteX5445" fmla="*/ 2799874 w 6400800"/>
                <a:gd name="connsiteY5445" fmla="*/ 251936 h 514350"/>
                <a:gd name="connsiteX5446" fmla="*/ 2794159 w 6400800"/>
                <a:gd name="connsiteY5446" fmla="*/ 257651 h 514350"/>
                <a:gd name="connsiteX5447" fmla="*/ 2792254 w 6400800"/>
                <a:gd name="connsiteY5447" fmla="*/ 245269 h 514350"/>
                <a:gd name="connsiteX5448" fmla="*/ 2796064 w 6400800"/>
                <a:gd name="connsiteY5448" fmla="*/ 238601 h 514350"/>
                <a:gd name="connsiteX5449" fmla="*/ 2804636 w 6400800"/>
                <a:gd name="connsiteY5449" fmla="*/ 224314 h 514350"/>
                <a:gd name="connsiteX5450" fmla="*/ 2812256 w 6400800"/>
                <a:gd name="connsiteY5450" fmla="*/ 236696 h 514350"/>
                <a:gd name="connsiteX5451" fmla="*/ 2804636 w 6400800"/>
                <a:gd name="connsiteY5451" fmla="*/ 223361 h 514350"/>
                <a:gd name="connsiteX5452" fmla="*/ 2794159 w 6400800"/>
                <a:gd name="connsiteY5452" fmla="*/ 235744 h 514350"/>
                <a:gd name="connsiteX5453" fmla="*/ 2792254 w 6400800"/>
                <a:gd name="connsiteY5453" fmla="*/ 238601 h 514350"/>
                <a:gd name="connsiteX5454" fmla="*/ 2792254 w 6400800"/>
                <a:gd name="connsiteY5454" fmla="*/ 238601 h 514350"/>
                <a:gd name="connsiteX5455" fmla="*/ 2796064 w 6400800"/>
                <a:gd name="connsiteY5455" fmla="*/ 230981 h 514350"/>
                <a:gd name="connsiteX5456" fmla="*/ 2801779 w 6400800"/>
                <a:gd name="connsiteY5456" fmla="*/ 219551 h 514350"/>
                <a:gd name="connsiteX5457" fmla="*/ 2804636 w 6400800"/>
                <a:gd name="connsiteY5457" fmla="*/ 223361 h 514350"/>
                <a:gd name="connsiteX5458" fmla="*/ 2787491 w 6400800"/>
                <a:gd name="connsiteY5458" fmla="*/ 196691 h 514350"/>
                <a:gd name="connsiteX5459" fmla="*/ 2800826 w 6400800"/>
                <a:gd name="connsiteY5459" fmla="*/ 217646 h 514350"/>
                <a:gd name="connsiteX5460" fmla="*/ 2792254 w 6400800"/>
                <a:gd name="connsiteY5460" fmla="*/ 228124 h 514350"/>
                <a:gd name="connsiteX5461" fmla="*/ 2790349 w 6400800"/>
                <a:gd name="connsiteY5461" fmla="*/ 230981 h 514350"/>
                <a:gd name="connsiteX5462" fmla="*/ 2787491 w 6400800"/>
                <a:gd name="connsiteY5462" fmla="*/ 218599 h 514350"/>
                <a:gd name="connsiteX5463" fmla="*/ 2781776 w 6400800"/>
                <a:gd name="connsiteY5463" fmla="*/ 196691 h 514350"/>
                <a:gd name="connsiteX5464" fmla="*/ 2783681 w 6400800"/>
                <a:gd name="connsiteY5464" fmla="*/ 218599 h 514350"/>
                <a:gd name="connsiteX5465" fmla="*/ 2784634 w 6400800"/>
                <a:gd name="connsiteY5465" fmla="*/ 237649 h 514350"/>
                <a:gd name="connsiteX5466" fmla="*/ 2780824 w 6400800"/>
                <a:gd name="connsiteY5466" fmla="*/ 243364 h 514350"/>
                <a:gd name="connsiteX5467" fmla="*/ 2778919 w 6400800"/>
                <a:gd name="connsiteY5467" fmla="*/ 204311 h 514350"/>
                <a:gd name="connsiteX5468" fmla="*/ 2777966 w 6400800"/>
                <a:gd name="connsiteY5468" fmla="*/ 186214 h 514350"/>
                <a:gd name="connsiteX5469" fmla="*/ 2775109 w 6400800"/>
                <a:gd name="connsiteY5469" fmla="*/ 204311 h 514350"/>
                <a:gd name="connsiteX5470" fmla="*/ 2774156 w 6400800"/>
                <a:gd name="connsiteY5470" fmla="*/ 214789 h 514350"/>
                <a:gd name="connsiteX5471" fmla="*/ 2770346 w 6400800"/>
                <a:gd name="connsiteY5471" fmla="*/ 190976 h 514350"/>
                <a:gd name="connsiteX5472" fmla="*/ 2770346 w 6400800"/>
                <a:gd name="connsiteY5472" fmla="*/ 189071 h 514350"/>
                <a:gd name="connsiteX5473" fmla="*/ 2770346 w 6400800"/>
                <a:gd name="connsiteY5473" fmla="*/ 185261 h 514350"/>
                <a:gd name="connsiteX5474" fmla="*/ 2768441 w 6400800"/>
                <a:gd name="connsiteY5474" fmla="*/ 166211 h 514350"/>
                <a:gd name="connsiteX5475" fmla="*/ 2787491 w 6400800"/>
                <a:gd name="connsiteY5475" fmla="*/ 196691 h 514350"/>
                <a:gd name="connsiteX5476" fmla="*/ 2767489 w 6400800"/>
                <a:gd name="connsiteY5476" fmla="*/ 167164 h 514350"/>
                <a:gd name="connsiteX5477" fmla="*/ 2767489 w 6400800"/>
                <a:gd name="connsiteY5477" fmla="*/ 170974 h 514350"/>
                <a:gd name="connsiteX5478" fmla="*/ 2766536 w 6400800"/>
                <a:gd name="connsiteY5478" fmla="*/ 166211 h 514350"/>
                <a:gd name="connsiteX5479" fmla="*/ 2767489 w 6400800"/>
                <a:gd name="connsiteY5479" fmla="*/ 167164 h 514350"/>
                <a:gd name="connsiteX5480" fmla="*/ 2757964 w 6400800"/>
                <a:gd name="connsiteY5480" fmla="*/ 342424 h 514350"/>
                <a:gd name="connsiteX5481" fmla="*/ 2755106 w 6400800"/>
                <a:gd name="connsiteY5481" fmla="*/ 336709 h 514350"/>
                <a:gd name="connsiteX5482" fmla="*/ 2758916 w 6400800"/>
                <a:gd name="connsiteY5482" fmla="*/ 329089 h 514350"/>
                <a:gd name="connsiteX5483" fmla="*/ 2760821 w 6400800"/>
                <a:gd name="connsiteY5483" fmla="*/ 332899 h 514350"/>
                <a:gd name="connsiteX5484" fmla="*/ 2757964 w 6400800"/>
                <a:gd name="connsiteY5484" fmla="*/ 342424 h 514350"/>
                <a:gd name="connsiteX5485" fmla="*/ 2762726 w 6400800"/>
                <a:gd name="connsiteY5485" fmla="*/ 327184 h 514350"/>
                <a:gd name="connsiteX5486" fmla="*/ 2761774 w 6400800"/>
                <a:gd name="connsiteY5486" fmla="*/ 330994 h 514350"/>
                <a:gd name="connsiteX5487" fmla="*/ 2759869 w 6400800"/>
                <a:gd name="connsiteY5487" fmla="*/ 328136 h 514350"/>
                <a:gd name="connsiteX5488" fmla="*/ 2761774 w 6400800"/>
                <a:gd name="connsiteY5488" fmla="*/ 324326 h 514350"/>
                <a:gd name="connsiteX5489" fmla="*/ 2762726 w 6400800"/>
                <a:gd name="connsiteY5489" fmla="*/ 327184 h 514350"/>
                <a:gd name="connsiteX5490" fmla="*/ 2762726 w 6400800"/>
                <a:gd name="connsiteY5490" fmla="*/ 327184 h 514350"/>
                <a:gd name="connsiteX5491" fmla="*/ 2762726 w 6400800"/>
                <a:gd name="connsiteY5491" fmla="*/ 250031 h 514350"/>
                <a:gd name="connsiteX5492" fmla="*/ 2762726 w 6400800"/>
                <a:gd name="connsiteY5492" fmla="*/ 270034 h 514350"/>
                <a:gd name="connsiteX5493" fmla="*/ 2754154 w 6400800"/>
                <a:gd name="connsiteY5493" fmla="*/ 282416 h 514350"/>
                <a:gd name="connsiteX5494" fmla="*/ 2753201 w 6400800"/>
                <a:gd name="connsiteY5494" fmla="*/ 284321 h 514350"/>
                <a:gd name="connsiteX5495" fmla="*/ 2752249 w 6400800"/>
                <a:gd name="connsiteY5495" fmla="*/ 282416 h 514350"/>
                <a:gd name="connsiteX5496" fmla="*/ 2753201 w 6400800"/>
                <a:gd name="connsiteY5496" fmla="*/ 278606 h 514350"/>
                <a:gd name="connsiteX5497" fmla="*/ 2756059 w 6400800"/>
                <a:gd name="connsiteY5497" fmla="*/ 267176 h 514350"/>
                <a:gd name="connsiteX5498" fmla="*/ 2761774 w 6400800"/>
                <a:gd name="connsiteY5498" fmla="*/ 251936 h 514350"/>
                <a:gd name="connsiteX5499" fmla="*/ 2762726 w 6400800"/>
                <a:gd name="connsiteY5499" fmla="*/ 250031 h 514350"/>
                <a:gd name="connsiteX5500" fmla="*/ 2762726 w 6400800"/>
                <a:gd name="connsiteY5500" fmla="*/ 250031 h 514350"/>
                <a:gd name="connsiteX5501" fmla="*/ 2753201 w 6400800"/>
                <a:gd name="connsiteY5501" fmla="*/ 250031 h 514350"/>
                <a:gd name="connsiteX5502" fmla="*/ 2757011 w 6400800"/>
                <a:gd name="connsiteY5502" fmla="*/ 230981 h 514350"/>
                <a:gd name="connsiteX5503" fmla="*/ 2762726 w 6400800"/>
                <a:gd name="connsiteY5503" fmla="*/ 249079 h 514350"/>
                <a:gd name="connsiteX5504" fmla="*/ 2760821 w 6400800"/>
                <a:gd name="connsiteY5504" fmla="*/ 252889 h 514350"/>
                <a:gd name="connsiteX5505" fmla="*/ 2752249 w 6400800"/>
                <a:gd name="connsiteY5505" fmla="*/ 267176 h 514350"/>
                <a:gd name="connsiteX5506" fmla="*/ 2748439 w 6400800"/>
                <a:gd name="connsiteY5506" fmla="*/ 275749 h 514350"/>
                <a:gd name="connsiteX5507" fmla="*/ 2747486 w 6400800"/>
                <a:gd name="connsiteY5507" fmla="*/ 274796 h 514350"/>
                <a:gd name="connsiteX5508" fmla="*/ 2753201 w 6400800"/>
                <a:gd name="connsiteY5508" fmla="*/ 250031 h 514350"/>
                <a:gd name="connsiteX5509" fmla="*/ 2749391 w 6400800"/>
                <a:gd name="connsiteY5509" fmla="*/ 362426 h 514350"/>
                <a:gd name="connsiteX5510" fmla="*/ 2746534 w 6400800"/>
                <a:gd name="connsiteY5510" fmla="*/ 357664 h 514350"/>
                <a:gd name="connsiteX5511" fmla="*/ 2746534 w 6400800"/>
                <a:gd name="connsiteY5511" fmla="*/ 354806 h 514350"/>
                <a:gd name="connsiteX5512" fmla="*/ 2749391 w 6400800"/>
                <a:gd name="connsiteY5512" fmla="*/ 362426 h 514350"/>
                <a:gd name="connsiteX5513" fmla="*/ 2734151 w 6400800"/>
                <a:gd name="connsiteY5513" fmla="*/ 258604 h 514350"/>
                <a:gd name="connsiteX5514" fmla="*/ 2740819 w 6400800"/>
                <a:gd name="connsiteY5514" fmla="*/ 273844 h 514350"/>
                <a:gd name="connsiteX5515" fmla="*/ 2735104 w 6400800"/>
                <a:gd name="connsiteY5515" fmla="*/ 290036 h 514350"/>
                <a:gd name="connsiteX5516" fmla="*/ 2734151 w 6400800"/>
                <a:gd name="connsiteY5516" fmla="*/ 287179 h 514350"/>
                <a:gd name="connsiteX5517" fmla="*/ 2734151 w 6400800"/>
                <a:gd name="connsiteY5517" fmla="*/ 291941 h 514350"/>
                <a:gd name="connsiteX5518" fmla="*/ 2734151 w 6400800"/>
                <a:gd name="connsiteY5518" fmla="*/ 291941 h 514350"/>
                <a:gd name="connsiteX5519" fmla="*/ 2732246 w 6400800"/>
                <a:gd name="connsiteY5519" fmla="*/ 289084 h 514350"/>
                <a:gd name="connsiteX5520" fmla="*/ 2731294 w 6400800"/>
                <a:gd name="connsiteY5520" fmla="*/ 286226 h 514350"/>
                <a:gd name="connsiteX5521" fmla="*/ 2734151 w 6400800"/>
                <a:gd name="connsiteY5521" fmla="*/ 258604 h 514350"/>
                <a:gd name="connsiteX5522" fmla="*/ 2715101 w 6400800"/>
                <a:gd name="connsiteY5522" fmla="*/ 290989 h 514350"/>
                <a:gd name="connsiteX5523" fmla="*/ 2716054 w 6400800"/>
                <a:gd name="connsiteY5523" fmla="*/ 273844 h 514350"/>
                <a:gd name="connsiteX5524" fmla="*/ 2717959 w 6400800"/>
                <a:gd name="connsiteY5524" fmla="*/ 278606 h 514350"/>
                <a:gd name="connsiteX5525" fmla="*/ 2716054 w 6400800"/>
                <a:gd name="connsiteY5525" fmla="*/ 304324 h 514350"/>
                <a:gd name="connsiteX5526" fmla="*/ 2715101 w 6400800"/>
                <a:gd name="connsiteY5526" fmla="*/ 303371 h 514350"/>
                <a:gd name="connsiteX5527" fmla="*/ 2715101 w 6400800"/>
                <a:gd name="connsiteY5527" fmla="*/ 290989 h 514350"/>
                <a:gd name="connsiteX5528" fmla="*/ 2705576 w 6400800"/>
                <a:gd name="connsiteY5528" fmla="*/ 243364 h 514350"/>
                <a:gd name="connsiteX5529" fmla="*/ 2704624 w 6400800"/>
                <a:gd name="connsiteY5529" fmla="*/ 247174 h 514350"/>
                <a:gd name="connsiteX5530" fmla="*/ 2703671 w 6400800"/>
                <a:gd name="connsiteY5530" fmla="*/ 238601 h 514350"/>
                <a:gd name="connsiteX5531" fmla="*/ 2705576 w 6400800"/>
                <a:gd name="connsiteY5531" fmla="*/ 243364 h 514350"/>
                <a:gd name="connsiteX5532" fmla="*/ 2697956 w 6400800"/>
                <a:gd name="connsiteY5532" fmla="*/ 312896 h 514350"/>
                <a:gd name="connsiteX5533" fmla="*/ 2697956 w 6400800"/>
                <a:gd name="connsiteY5533" fmla="*/ 313849 h 514350"/>
                <a:gd name="connsiteX5534" fmla="*/ 2697956 w 6400800"/>
                <a:gd name="connsiteY5534" fmla="*/ 310991 h 514350"/>
                <a:gd name="connsiteX5535" fmla="*/ 2697956 w 6400800"/>
                <a:gd name="connsiteY5535" fmla="*/ 312896 h 514350"/>
                <a:gd name="connsiteX5536" fmla="*/ 2664619 w 6400800"/>
                <a:gd name="connsiteY5536" fmla="*/ 234791 h 514350"/>
                <a:gd name="connsiteX5537" fmla="*/ 2666524 w 6400800"/>
                <a:gd name="connsiteY5537" fmla="*/ 238601 h 514350"/>
                <a:gd name="connsiteX5538" fmla="*/ 2673191 w 6400800"/>
                <a:gd name="connsiteY5538" fmla="*/ 287179 h 514350"/>
                <a:gd name="connsiteX5539" fmla="*/ 2670334 w 6400800"/>
                <a:gd name="connsiteY5539" fmla="*/ 279559 h 514350"/>
                <a:gd name="connsiteX5540" fmla="*/ 2670334 w 6400800"/>
                <a:gd name="connsiteY5540" fmla="*/ 278606 h 514350"/>
                <a:gd name="connsiteX5541" fmla="*/ 2671286 w 6400800"/>
                <a:gd name="connsiteY5541" fmla="*/ 276701 h 514350"/>
                <a:gd name="connsiteX5542" fmla="*/ 2670334 w 6400800"/>
                <a:gd name="connsiteY5542" fmla="*/ 278606 h 514350"/>
                <a:gd name="connsiteX5543" fmla="*/ 2664619 w 6400800"/>
                <a:gd name="connsiteY5543" fmla="*/ 246221 h 514350"/>
                <a:gd name="connsiteX5544" fmla="*/ 2663666 w 6400800"/>
                <a:gd name="connsiteY5544" fmla="*/ 240506 h 514350"/>
                <a:gd name="connsiteX5545" fmla="*/ 2664619 w 6400800"/>
                <a:gd name="connsiteY5545" fmla="*/ 234791 h 514350"/>
                <a:gd name="connsiteX5546" fmla="*/ 2657951 w 6400800"/>
                <a:gd name="connsiteY5546" fmla="*/ 339566 h 514350"/>
                <a:gd name="connsiteX5547" fmla="*/ 2656046 w 6400800"/>
                <a:gd name="connsiteY5547" fmla="*/ 336709 h 514350"/>
                <a:gd name="connsiteX5548" fmla="*/ 2657951 w 6400800"/>
                <a:gd name="connsiteY5548" fmla="*/ 325279 h 514350"/>
                <a:gd name="connsiteX5549" fmla="*/ 2657951 w 6400800"/>
                <a:gd name="connsiteY5549" fmla="*/ 339566 h 514350"/>
                <a:gd name="connsiteX5550" fmla="*/ 2654141 w 6400800"/>
                <a:gd name="connsiteY5550" fmla="*/ 277654 h 514350"/>
                <a:gd name="connsiteX5551" fmla="*/ 2659856 w 6400800"/>
                <a:gd name="connsiteY5551" fmla="*/ 298609 h 514350"/>
                <a:gd name="connsiteX5552" fmla="*/ 2659856 w 6400800"/>
                <a:gd name="connsiteY5552" fmla="*/ 299561 h 514350"/>
                <a:gd name="connsiteX5553" fmla="*/ 2653189 w 6400800"/>
                <a:gd name="connsiteY5553" fmla="*/ 316706 h 514350"/>
                <a:gd name="connsiteX5554" fmla="*/ 2652236 w 6400800"/>
                <a:gd name="connsiteY5554" fmla="*/ 319564 h 514350"/>
                <a:gd name="connsiteX5555" fmla="*/ 2650331 w 6400800"/>
                <a:gd name="connsiteY5555" fmla="*/ 311944 h 514350"/>
                <a:gd name="connsiteX5556" fmla="*/ 2647474 w 6400800"/>
                <a:gd name="connsiteY5556" fmla="*/ 301466 h 514350"/>
                <a:gd name="connsiteX5557" fmla="*/ 2654141 w 6400800"/>
                <a:gd name="connsiteY5557" fmla="*/ 277654 h 514350"/>
                <a:gd name="connsiteX5558" fmla="*/ 2633186 w 6400800"/>
                <a:gd name="connsiteY5558" fmla="*/ 283369 h 514350"/>
                <a:gd name="connsiteX5559" fmla="*/ 2633186 w 6400800"/>
                <a:gd name="connsiteY5559" fmla="*/ 285274 h 514350"/>
                <a:gd name="connsiteX5560" fmla="*/ 2633186 w 6400800"/>
                <a:gd name="connsiteY5560" fmla="*/ 286226 h 514350"/>
                <a:gd name="connsiteX5561" fmla="*/ 2632234 w 6400800"/>
                <a:gd name="connsiteY5561" fmla="*/ 290036 h 514350"/>
                <a:gd name="connsiteX5562" fmla="*/ 2633186 w 6400800"/>
                <a:gd name="connsiteY5562" fmla="*/ 283369 h 514350"/>
                <a:gd name="connsiteX5563" fmla="*/ 2578894 w 6400800"/>
                <a:gd name="connsiteY5563" fmla="*/ 242411 h 514350"/>
                <a:gd name="connsiteX5564" fmla="*/ 2577941 w 6400800"/>
                <a:gd name="connsiteY5564" fmla="*/ 241459 h 514350"/>
                <a:gd name="connsiteX5565" fmla="*/ 2580799 w 6400800"/>
                <a:gd name="connsiteY5565" fmla="*/ 235744 h 514350"/>
                <a:gd name="connsiteX5566" fmla="*/ 2580799 w 6400800"/>
                <a:gd name="connsiteY5566" fmla="*/ 235744 h 514350"/>
                <a:gd name="connsiteX5567" fmla="*/ 2578894 w 6400800"/>
                <a:gd name="connsiteY5567" fmla="*/ 242411 h 514350"/>
                <a:gd name="connsiteX5568" fmla="*/ 2597944 w 6400800"/>
                <a:gd name="connsiteY5568" fmla="*/ 275749 h 514350"/>
                <a:gd name="connsiteX5569" fmla="*/ 2597944 w 6400800"/>
                <a:gd name="connsiteY5569" fmla="*/ 274796 h 514350"/>
                <a:gd name="connsiteX5570" fmla="*/ 2597944 w 6400800"/>
                <a:gd name="connsiteY5570" fmla="*/ 275749 h 514350"/>
                <a:gd name="connsiteX5571" fmla="*/ 2597944 w 6400800"/>
                <a:gd name="connsiteY5571" fmla="*/ 275749 h 514350"/>
                <a:gd name="connsiteX5572" fmla="*/ 2616041 w 6400800"/>
                <a:gd name="connsiteY5572" fmla="*/ 309086 h 514350"/>
                <a:gd name="connsiteX5573" fmla="*/ 2613184 w 6400800"/>
                <a:gd name="connsiteY5573" fmla="*/ 319564 h 514350"/>
                <a:gd name="connsiteX5574" fmla="*/ 2613184 w 6400800"/>
                <a:gd name="connsiteY5574" fmla="*/ 318611 h 514350"/>
                <a:gd name="connsiteX5575" fmla="*/ 2613184 w 6400800"/>
                <a:gd name="connsiteY5575" fmla="*/ 319564 h 514350"/>
                <a:gd name="connsiteX5576" fmla="*/ 2613184 w 6400800"/>
                <a:gd name="connsiteY5576" fmla="*/ 319564 h 514350"/>
                <a:gd name="connsiteX5577" fmla="*/ 2600801 w 6400800"/>
                <a:gd name="connsiteY5577" fmla="*/ 289084 h 514350"/>
                <a:gd name="connsiteX5578" fmla="*/ 2602706 w 6400800"/>
                <a:gd name="connsiteY5578" fmla="*/ 282416 h 514350"/>
                <a:gd name="connsiteX5579" fmla="*/ 2612231 w 6400800"/>
                <a:gd name="connsiteY5579" fmla="*/ 299561 h 514350"/>
                <a:gd name="connsiteX5580" fmla="*/ 2616041 w 6400800"/>
                <a:gd name="connsiteY5580" fmla="*/ 308134 h 514350"/>
                <a:gd name="connsiteX5581" fmla="*/ 2616041 w 6400800"/>
                <a:gd name="connsiteY5581" fmla="*/ 309086 h 514350"/>
                <a:gd name="connsiteX5582" fmla="*/ 2616041 w 6400800"/>
                <a:gd name="connsiteY5582" fmla="*/ 309086 h 514350"/>
                <a:gd name="connsiteX5583" fmla="*/ 2604611 w 6400800"/>
                <a:gd name="connsiteY5583" fmla="*/ 276701 h 514350"/>
                <a:gd name="connsiteX5584" fmla="*/ 2608421 w 6400800"/>
                <a:gd name="connsiteY5584" fmla="*/ 267176 h 514350"/>
                <a:gd name="connsiteX5585" fmla="*/ 2615089 w 6400800"/>
                <a:gd name="connsiteY5585" fmla="*/ 290036 h 514350"/>
                <a:gd name="connsiteX5586" fmla="*/ 2604611 w 6400800"/>
                <a:gd name="connsiteY5586" fmla="*/ 276701 h 514350"/>
                <a:gd name="connsiteX5587" fmla="*/ 2614136 w 6400800"/>
                <a:gd name="connsiteY5587" fmla="*/ 276701 h 514350"/>
                <a:gd name="connsiteX5588" fmla="*/ 2609374 w 6400800"/>
                <a:gd name="connsiteY5588" fmla="*/ 266224 h 514350"/>
                <a:gd name="connsiteX5589" fmla="*/ 2612231 w 6400800"/>
                <a:gd name="connsiteY5589" fmla="*/ 257651 h 514350"/>
                <a:gd name="connsiteX5590" fmla="*/ 2614136 w 6400800"/>
                <a:gd name="connsiteY5590" fmla="*/ 276701 h 514350"/>
                <a:gd name="connsiteX5591" fmla="*/ 2606516 w 6400800"/>
                <a:gd name="connsiteY5591" fmla="*/ 208121 h 514350"/>
                <a:gd name="connsiteX5592" fmla="*/ 2611279 w 6400800"/>
                <a:gd name="connsiteY5592" fmla="*/ 250984 h 514350"/>
                <a:gd name="connsiteX5593" fmla="*/ 2611279 w 6400800"/>
                <a:gd name="connsiteY5593" fmla="*/ 251936 h 514350"/>
                <a:gd name="connsiteX5594" fmla="*/ 2600801 w 6400800"/>
                <a:gd name="connsiteY5594" fmla="*/ 271939 h 514350"/>
                <a:gd name="connsiteX5595" fmla="*/ 2597944 w 6400800"/>
                <a:gd name="connsiteY5595" fmla="*/ 268129 h 514350"/>
                <a:gd name="connsiteX5596" fmla="*/ 2595086 w 6400800"/>
                <a:gd name="connsiteY5596" fmla="*/ 237649 h 514350"/>
                <a:gd name="connsiteX5597" fmla="*/ 2594134 w 6400800"/>
                <a:gd name="connsiteY5597" fmla="*/ 228124 h 514350"/>
                <a:gd name="connsiteX5598" fmla="*/ 2605564 w 6400800"/>
                <a:gd name="connsiteY5598" fmla="*/ 179546 h 514350"/>
                <a:gd name="connsiteX5599" fmla="*/ 2606516 w 6400800"/>
                <a:gd name="connsiteY5599" fmla="*/ 208121 h 514350"/>
                <a:gd name="connsiteX5600" fmla="*/ 2586514 w 6400800"/>
                <a:gd name="connsiteY5600" fmla="*/ 186214 h 514350"/>
                <a:gd name="connsiteX5601" fmla="*/ 2598896 w 6400800"/>
                <a:gd name="connsiteY5601" fmla="*/ 159544 h 514350"/>
                <a:gd name="connsiteX5602" fmla="*/ 2601754 w 6400800"/>
                <a:gd name="connsiteY5602" fmla="*/ 153829 h 514350"/>
                <a:gd name="connsiteX5603" fmla="*/ 2603659 w 6400800"/>
                <a:gd name="connsiteY5603" fmla="*/ 173831 h 514350"/>
                <a:gd name="connsiteX5604" fmla="*/ 2590324 w 6400800"/>
                <a:gd name="connsiteY5604" fmla="*/ 210979 h 514350"/>
                <a:gd name="connsiteX5605" fmla="*/ 2586514 w 6400800"/>
                <a:gd name="connsiteY5605" fmla="*/ 187166 h 514350"/>
                <a:gd name="connsiteX5606" fmla="*/ 2586514 w 6400800"/>
                <a:gd name="connsiteY5606" fmla="*/ 186214 h 514350"/>
                <a:gd name="connsiteX5607" fmla="*/ 2584609 w 6400800"/>
                <a:gd name="connsiteY5607" fmla="*/ 408146 h 514350"/>
                <a:gd name="connsiteX5608" fmla="*/ 2584609 w 6400800"/>
                <a:gd name="connsiteY5608" fmla="*/ 408146 h 514350"/>
                <a:gd name="connsiteX5609" fmla="*/ 2581751 w 6400800"/>
                <a:gd name="connsiteY5609" fmla="*/ 393859 h 514350"/>
                <a:gd name="connsiteX5610" fmla="*/ 2584609 w 6400800"/>
                <a:gd name="connsiteY5610" fmla="*/ 408146 h 514350"/>
                <a:gd name="connsiteX5611" fmla="*/ 2580799 w 6400800"/>
                <a:gd name="connsiteY5611" fmla="*/ 199549 h 514350"/>
                <a:gd name="connsiteX5612" fmla="*/ 2581751 w 6400800"/>
                <a:gd name="connsiteY5612" fmla="*/ 228124 h 514350"/>
                <a:gd name="connsiteX5613" fmla="*/ 2578894 w 6400800"/>
                <a:gd name="connsiteY5613" fmla="*/ 231934 h 514350"/>
                <a:gd name="connsiteX5614" fmla="*/ 2575084 w 6400800"/>
                <a:gd name="connsiteY5614" fmla="*/ 236696 h 514350"/>
                <a:gd name="connsiteX5615" fmla="*/ 2573179 w 6400800"/>
                <a:gd name="connsiteY5615" fmla="*/ 233839 h 514350"/>
                <a:gd name="connsiteX5616" fmla="*/ 2572226 w 6400800"/>
                <a:gd name="connsiteY5616" fmla="*/ 229076 h 514350"/>
                <a:gd name="connsiteX5617" fmla="*/ 2571274 w 6400800"/>
                <a:gd name="connsiteY5617" fmla="*/ 219551 h 514350"/>
                <a:gd name="connsiteX5618" fmla="*/ 2580799 w 6400800"/>
                <a:gd name="connsiteY5618" fmla="*/ 199549 h 514350"/>
                <a:gd name="connsiteX5619" fmla="*/ 2569369 w 6400800"/>
                <a:gd name="connsiteY5619" fmla="*/ 320516 h 514350"/>
                <a:gd name="connsiteX5620" fmla="*/ 2570321 w 6400800"/>
                <a:gd name="connsiteY5620" fmla="*/ 327184 h 514350"/>
                <a:gd name="connsiteX5621" fmla="*/ 2571274 w 6400800"/>
                <a:gd name="connsiteY5621" fmla="*/ 330041 h 514350"/>
                <a:gd name="connsiteX5622" fmla="*/ 2563654 w 6400800"/>
                <a:gd name="connsiteY5622" fmla="*/ 345281 h 514350"/>
                <a:gd name="connsiteX5623" fmla="*/ 2562701 w 6400800"/>
                <a:gd name="connsiteY5623" fmla="*/ 342424 h 514350"/>
                <a:gd name="connsiteX5624" fmla="*/ 2569369 w 6400800"/>
                <a:gd name="connsiteY5624" fmla="*/ 320516 h 514350"/>
                <a:gd name="connsiteX5625" fmla="*/ 2556034 w 6400800"/>
                <a:gd name="connsiteY5625" fmla="*/ 262414 h 514350"/>
                <a:gd name="connsiteX5626" fmla="*/ 2559844 w 6400800"/>
                <a:gd name="connsiteY5626" fmla="*/ 251936 h 514350"/>
                <a:gd name="connsiteX5627" fmla="*/ 2560796 w 6400800"/>
                <a:gd name="connsiteY5627" fmla="*/ 257651 h 514350"/>
                <a:gd name="connsiteX5628" fmla="*/ 2559844 w 6400800"/>
                <a:gd name="connsiteY5628" fmla="*/ 259556 h 514350"/>
                <a:gd name="connsiteX5629" fmla="*/ 2554129 w 6400800"/>
                <a:gd name="connsiteY5629" fmla="*/ 269081 h 514350"/>
                <a:gd name="connsiteX5630" fmla="*/ 2556034 w 6400800"/>
                <a:gd name="connsiteY5630" fmla="*/ 262414 h 514350"/>
                <a:gd name="connsiteX5631" fmla="*/ 2561749 w 6400800"/>
                <a:gd name="connsiteY5631" fmla="*/ 276701 h 514350"/>
                <a:gd name="connsiteX5632" fmla="*/ 2562701 w 6400800"/>
                <a:gd name="connsiteY5632" fmla="*/ 274796 h 514350"/>
                <a:gd name="connsiteX5633" fmla="*/ 2564606 w 6400800"/>
                <a:gd name="connsiteY5633" fmla="*/ 287179 h 514350"/>
                <a:gd name="connsiteX5634" fmla="*/ 2557939 w 6400800"/>
                <a:gd name="connsiteY5634" fmla="*/ 309086 h 514350"/>
                <a:gd name="connsiteX5635" fmla="*/ 2556034 w 6400800"/>
                <a:gd name="connsiteY5635" fmla="*/ 313849 h 514350"/>
                <a:gd name="connsiteX5636" fmla="*/ 2553176 w 6400800"/>
                <a:gd name="connsiteY5636" fmla="*/ 296704 h 514350"/>
                <a:gd name="connsiteX5637" fmla="*/ 2561749 w 6400800"/>
                <a:gd name="connsiteY5637" fmla="*/ 276701 h 514350"/>
                <a:gd name="connsiteX5638" fmla="*/ 2538889 w 6400800"/>
                <a:gd name="connsiteY5638" fmla="*/ 252889 h 514350"/>
                <a:gd name="connsiteX5639" fmla="*/ 2540794 w 6400800"/>
                <a:gd name="connsiteY5639" fmla="*/ 242411 h 514350"/>
                <a:gd name="connsiteX5640" fmla="*/ 2542699 w 6400800"/>
                <a:gd name="connsiteY5640" fmla="*/ 238601 h 514350"/>
                <a:gd name="connsiteX5641" fmla="*/ 2544604 w 6400800"/>
                <a:gd name="connsiteY5641" fmla="*/ 233839 h 514350"/>
                <a:gd name="connsiteX5642" fmla="*/ 2543651 w 6400800"/>
                <a:gd name="connsiteY5642" fmla="*/ 248126 h 514350"/>
                <a:gd name="connsiteX5643" fmla="*/ 2542699 w 6400800"/>
                <a:gd name="connsiteY5643" fmla="*/ 257651 h 514350"/>
                <a:gd name="connsiteX5644" fmla="*/ 2537936 w 6400800"/>
                <a:gd name="connsiteY5644" fmla="*/ 268129 h 514350"/>
                <a:gd name="connsiteX5645" fmla="*/ 2538889 w 6400800"/>
                <a:gd name="connsiteY5645" fmla="*/ 252889 h 514350"/>
                <a:gd name="connsiteX5646" fmla="*/ 2521744 w 6400800"/>
                <a:gd name="connsiteY5646" fmla="*/ 475774 h 514350"/>
                <a:gd name="connsiteX5647" fmla="*/ 2522696 w 6400800"/>
                <a:gd name="connsiteY5647" fmla="*/ 484346 h 514350"/>
                <a:gd name="connsiteX5648" fmla="*/ 2520791 w 6400800"/>
                <a:gd name="connsiteY5648" fmla="*/ 479584 h 514350"/>
                <a:gd name="connsiteX5649" fmla="*/ 2521744 w 6400800"/>
                <a:gd name="connsiteY5649" fmla="*/ 475774 h 514350"/>
                <a:gd name="connsiteX5650" fmla="*/ 2514124 w 6400800"/>
                <a:gd name="connsiteY5650" fmla="*/ 323374 h 514350"/>
                <a:gd name="connsiteX5651" fmla="*/ 2514124 w 6400800"/>
                <a:gd name="connsiteY5651" fmla="*/ 323374 h 514350"/>
                <a:gd name="connsiteX5652" fmla="*/ 2513171 w 6400800"/>
                <a:gd name="connsiteY5652" fmla="*/ 328136 h 514350"/>
                <a:gd name="connsiteX5653" fmla="*/ 2513171 w 6400800"/>
                <a:gd name="connsiteY5653" fmla="*/ 329089 h 514350"/>
                <a:gd name="connsiteX5654" fmla="*/ 2514124 w 6400800"/>
                <a:gd name="connsiteY5654" fmla="*/ 323374 h 514350"/>
                <a:gd name="connsiteX5655" fmla="*/ 2509361 w 6400800"/>
                <a:gd name="connsiteY5655" fmla="*/ 300514 h 514350"/>
                <a:gd name="connsiteX5656" fmla="*/ 2508409 w 6400800"/>
                <a:gd name="connsiteY5656" fmla="*/ 302419 h 514350"/>
                <a:gd name="connsiteX5657" fmla="*/ 2508409 w 6400800"/>
                <a:gd name="connsiteY5657" fmla="*/ 302419 h 514350"/>
                <a:gd name="connsiteX5658" fmla="*/ 2507456 w 6400800"/>
                <a:gd name="connsiteY5658" fmla="*/ 294799 h 514350"/>
                <a:gd name="connsiteX5659" fmla="*/ 2509361 w 6400800"/>
                <a:gd name="connsiteY5659" fmla="*/ 300514 h 514350"/>
                <a:gd name="connsiteX5660" fmla="*/ 2496979 w 6400800"/>
                <a:gd name="connsiteY5660" fmla="*/ 292894 h 514350"/>
                <a:gd name="connsiteX5661" fmla="*/ 2497931 w 6400800"/>
                <a:gd name="connsiteY5661" fmla="*/ 290036 h 514350"/>
                <a:gd name="connsiteX5662" fmla="*/ 2496979 w 6400800"/>
                <a:gd name="connsiteY5662" fmla="*/ 290989 h 514350"/>
                <a:gd name="connsiteX5663" fmla="*/ 2497931 w 6400800"/>
                <a:gd name="connsiteY5663" fmla="*/ 284321 h 514350"/>
                <a:gd name="connsiteX5664" fmla="*/ 2498884 w 6400800"/>
                <a:gd name="connsiteY5664" fmla="*/ 269081 h 514350"/>
                <a:gd name="connsiteX5665" fmla="*/ 2498884 w 6400800"/>
                <a:gd name="connsiteY5665" fmla="*/ 266224 h 514350"/>
                <a:gd name="connsiteX5666" fmla="*/ 2502694 w 6400800"/>
                <a:gd name="connsiteY5666" fmla="*/ 277654 h 514350"/>
                <a:gd name="connsiteX5667" fmla="*/ 2502694 w 6400800"/>
                <a:gd name="connsiteY5667" fmla="*/ 283369 h 514350"/>
                <a:gd name="connsiteX5668" fmla="*/ 2501741 w 6400800"/>
                <a:gd name="connsiteY5668" fmla="*/ 302419 h 514350"/>
                <a:gd name="connsiteX5669" fmla="*/ 2501741 w 6400800"/>
                <a:gd name="connsiteY5669" fmla="*/ 313849 h 514350"/>
                <a:gd name="connsiteX5670" fmla="*/ 2500789 w 6400800"/>
                <a:gd name="connsiteY5670" fmla="*/ 325279 h 514350"/>
                <a:gd name="connsiteX5671" fmla="*/ 2500789 w 6400800"/>
                <a:gd name="connsiteY5671" fmla="*/ 326231 h 514350"/>
                <a:gd name="connsiteX5672" fmla="*/ 2499836 w 6400800"/>
                <a:gd name="connsiteY5672" fmla="*/ 315754 h 514350"/>
                <a:gd name="connsiteX5673" fmla="*/ 2499836 w 6400800"/>
                <a:gd name="connsiteY5673" fmla="*/ 310039 h 514350"/>
                <a:gd name="connsiteX5674" fmla="*/ 2500789 w 6400800"/>
                <a:gd name="connsiteY5674" fmla="*/ 297656 h 514350"/>
                <a:gd name="connsiteX5675" fmla="*/ 2500789 w 6400800"/>
                <a:gd name="connsiteY5675" fmla="*/ 286226 h 514350"/>
                <a:gd name="connsiteX5676" fmla="*/ 2496979 w 6400800"/>
                <a:gd name="connsiteY5676" fmla="*/ 292894 h 514350"/>
                <a:gd name="connsiteX5677" fmla="*/ 2496979 w 6400800"/>
                <a:gd name="connsiteY5677" fmla="*/ 292894 h 514350"/>
                <a:gd name="connsiteX5678" fmla="*/ 2449354 w 6400800"/>
                <a:gd name="connsiteY5678" fmla="*/ 334804 h 514350"/>
                <a:gd name="connsiteX5679" fmla="*/ 2447449 w 6400800"/>
                <a:gd name="connsiteY5679" fmla="*/ 328136 h 514350"/>
                <a:gd name="connsiteX5680" fmla="*/ 2450306 w 6400800"/>
                <a:gd name="connsiteY5680" fmla="*/ 321469 h 514350"/>
                <a:gd name="connsiteX5681" fmla="*/ 2450306 w 6400800"/>
                <a:gd name="connsiteY5681" fmla="*/ 322421 h 514350"/>
                <a:gd name="connsiteX5682" fmla="*/ 2451259 w 6400800"/>
                <a:gd name="connsiteY5682" fmla="*/ 324326 h 514350"/>
                <a:gd name="connsiteX5683" fmla="*/ 2449354 w 6400800"/>
                <a:gd name="connsiteY5683" fmla="*/ 334804 h 514350"/>
                <a:gd name="connsiteX5684" fmla="*/ 2450306 w 6400800"/>
                <a:gd name="connsiteY5684" fmla="*/ 254794 h 514350"/>
                <a:gd name="connsiteX5685" fmla="*/ 2451259 w 6400800"/>
                <a:gd name="connsiteY5685" fmla="*/ 251936 h 514350"/>
                <a:gd name="connsiteX5686" fmla="*/ 2451259 w 6400800"/>
                <a:gd name="connsiteY5686" fmla="*/ 250984 h 514350"/>
                <a:gd name="connsiteX5687" fmla="*/ 2451259 w 6400800"/>
                <a:gd name="connsiteY5687" fmla="*/ 251936 h 514350"/>
                <a:gd name="connsiteX5688" fmla="*/ 2450306 w 6400800"/>
                <a:gd name="connsiteY5688" fmla="*/ 254794 h 514350"/>
                <a:gd name="connsiteX5689" fmla="*/ 2452211 w 6400800"/>
                <a:gd name="connsiteY5689" fmla="*/ 251936 h 514350"/>
                <a:gd name="connsiteX5690" fmla="*/ 2451259 w 6400800"/>
                <a:gd name="connsiteY5690" fmla="*/ 250984 h 514350"/>
                <a:gd name="connsiteX5691" fmla="*/ 2456021 w 6400800"/>
                <a:gd name="connsiteY5691" fmla="*/ 238601 h 514350"/>
                <a:gd name="connsiteX5692" fmla="*/ 2460784 w 6400800"/>
                <a:gd name="connsiteY5692" fmla="*/ 231934 h 514350"/>
                <a:gd name="connsiteX5693" fmla="*/ 2459831 w 6400800"/>
                <a:gd name="connsiteY5693" fmla="*/ 235744 h 514350"/>
                <a:gd name="connsiteX5694" fmla="*/ 2456021 w 6400800"/>
                <a:gd name="connsiteY5694" fmla="*/ 248126 h 514350"/>
                <a:gd name="connsiteX5695" fmla="*/ 2452211 w 6400800"/>
                <a:gd name="connsiteY5695" fmla="*/ 251936 h 514350"/>
                <a:gd name="connsiteX5696" fmla="*/ 2457926 w 6400800"/>
                <a:gd name="connsiteY5696" fmla="*/ 266224 h 514350"/>
                <a:gd name="connsiteX5697" fmla="*/ 2456974 w 6400800"/>
                <a:gd name="connsiteY5697" fmla="*/ 268129 h 514350"/>
                <a:gd name="connsiteX5698" fmla="*/ 2457926 w 6400800"/>
                <a:gd name="connsiteY5698" fmla="*/ 266224 h 514350"/>
                <a:gd name="connsiteX5699" fmla="*/ 2457926 w 6400800"/>
                <a:gd name="connsiteY5699" fmla="*/ 266224 h 514350"/>
                <a:gd name="connsiteX5700" fmla="*/ 2457926 w 6400800"/>
                <a:gd name="connsiteY5700" fmla="*/ 374809 h 514350"/>
                <a:gd name="connsiteX5701" fmla="*/ 2456021 w 6400800"/>
                <a:gd name="connsiteY5701" fmla="*/ 367189 h 514350"/>
                <a:gd name="connsiteX5702" fmla="*/ 2456021 w 6400800"/>
                <a:gd name="connsiteY5702" fmla="*/ 362426 h 514350"/>
                <a:gd name="connsiteX5703" fmla="*/ 2456021 w 6400800"/>
                <a:gd name="connsiteY5703" fmla="*/ 344329 h 514350"/>
                <a:gd name="connsiteX5704" fmla="*/ 2458879 w 6400800"/>
                <a:gd name="connsiteY5704" fmla="*/ 354806 h 514350"/>
                <a:gd name="connsiteX5705" fmla="*/ 2457926 w 6400800"/>
                <a:gd name="connsiteY5705" fmla="*/ 374809 h 514350"/>
                <a:gd name="connsiteX5706" fmla="*/ 2456974 w 6400800"/>
                <a:gd name="connsiteY5706" fmla="*/ 308134 h 514350"/>
                <a:gd name="connsiteX5707" fmla="*/ 2456974 w 6400800"/>
                <a:gd name="connsiteY5707" fmla="*/ 305276 h 514350"/>
                <a:gd name="connsiteX5708" fmla="*/ 2457926 w 6400800"/>
                <a:gd name="connsiteY5708" fmla="*/ 302419 h 514350"/>
                <a:gd name="connsiteX5709" fmla="*/ 2459831 w 6400800"/>
                <a:gd name="connsiteY5709" fmla="*/ 313849 h 514350"/>
                <a:gd name="connsiteX5710" fmla="*/ 2460784 w 6400800"/>
                <a:gd name="connsiteY5710" fmla="*/ 317659 h 514350"/>
                <a:gd name="connsiteX5711" fmla="*/ 2456974 w 6400800"/>
                <a:gd name="connsiteY5711" fmla="*/ 308134 h 514350"/>
                <a:gd name="connsiteX5712" fmla="*/ 2458879 w 6400800"/>
                <a:gd name="connsiteY5712" fmla="*/ 290036 h 514350"/>
                <a:gd name="connsiteX5713" fmla="*/ 2459831 w 6400800"/>
                <a:gd name="connsiteY5713" fmla="*/ 287179 h 514350"/>
                <a:gd name="connsiteX5714" fmla="*/ 2463641 w 6400800"/>
                <a:gd name="connsiteY5714" fmla="*/ 277654 h 514350"/>
                <a:gd name="connsiteX5715" fmla="*/ 2465546 w 6400800"/>
                <a:gd name="connsiteY5715" fmla="*/ 281464 h 514350"/>
                <a:gd name="connsiteX5716" fmla="*/ 2458879 w 6400800"/>
                <a:gd name="connsiteY5716" fmla="*/ 290036 h 514350"/>
                <a:gd name="connsiteX5717" fmla="*/ 2464594 w 6400800"/>
                <a:gd name="connsiteY5717" fmla="*/ 305276 h 514350"/>
                <a:gd name="connsiteX5718" fmla="*/ 2460784 w 6400800"/>
                <a:gd name="connsiteY5718" fmla="*/ 295751 h 514350"/>
                <a:gd name="connsiteX5719" fmla="*/ 2462689 w 6400800"/>
                <a:gd name="connsiteY5719" fmla="*/ 292894 h 514350"/>
                <a:gd name="connsiteX5720" fmla="*/ 2466499 w 6400800"/>
                <a:gd name="connsiteY5720" fmla="*/ 285274 h 514350"/>
                <a:gd name="connsiteX5721" fmla="*/ 2464594 w 6400800"/>
                <a:gd name="connsiteY5721" fmla="*/ 305276 h 514350"/>
                <a:gd name="connsiteX5722" fmla="*/ 2467451 w 6400800"/>
                <a:gd name="connsiteY5722" fmla="*/ 274796 h 514350"/>
                <a:gd name="connsiteX5723" fmla="*/ 2466499 w 6400800"/>
                <a:gd name="connsiteY5723" fmla="*/ 272891 h 514350"/>
                <a:gd name="connsiteX5724" fmla="*/ 2468404 w 6400800"/>
                <a:gd name="connsiteY5724" fmla="*/ 268129 h 514350"/>
                <a:gd name="connsiteX5725" fmla="*/ 2467451 w 6400800"/>
                <a:gd name="connsiteY5725" fmla="*/ 274796 h 514350"/>
                <a:gd name="connsiteX5726" fmla="*/ 2471261 w 6400800"/>
                <a:gd name="connsiteY5726" fmla="*/ 233839 h 514350"/>
                <a:gd name="connsiteX5727" fmla="*/ 2470309 w 6400800"/>
                <a:gd name="connsiteY5727" fmla="*/ 245269 h 514350"/>
                <a:gd name="connsiteX5728" fmla="*/ 2469356 w 6400800"/>
                <a:gd name="connsiteY5728" fmla="*/ 246221 h 514350"/>
                <a:gd name="connsiteX5729" fmla="*/ 2459831 w 6400800"/>
                <a:gd name="connsiteY5729" fmla="*/ 263366 h 514350"/>
                <a:gd name="connsiteX5730" fmla="*/ 2458879 w 6400800"/>
                <a:gd name="connsiteY5730" fmla="*/ 261461 h 514350"/>
                <a:gd name="connsiteX5731" fmla="*/ 2461736 w 6400800"/>
                <a:gd name="connsiteY5731" fmla="*/ 247174 h 514350"/>
                <a:gd name="connsiteX5732" fmla="*/ 2462689 w 6400800"/>
                <a:gd name="connsiteY5732" fmla="*/ 245269 h 514350"/>
                <a:gd name="connsiteX5733" fmla="*/ 2472214 w 6400800"/>
                <a:gd name="connsiteY5733" fmla="*/ 231934 h 514350"/>
                <a:gd name="connsiteX5734" fmla="*/ 2472214 w 6400800"/>
                <a:gd name="connsiteY5734" fmla="*/ 231934 h 514350"/>
                <a:gd name="connsiteX5735" fmla="*/ 2473166 w 6400800"/>
                <a:gd name="connsiteY5735" fmla="*/ 240506 h 514350"/>
                <a:gd name="connsiteX5736" fmla="*/ 2472214 w 6400800"/>
                <a:gd name="connsiteY5736" fmla="*/ 242411 h 514350"/>
                <a:gd name="connsiteX5737" fmla="*/ 2471261 w 6400800"/>
                <a:gd name="connsiteY5737" fmla="*/ 233839 h 514350"/>
                <a:gd name="connsiteX5738" fmla="*/ 2467451 w 6400800"/>
                <a:gd name="connsiteY5738" fmla="*/ 211931 h 514350"/>
                <a:gd name="connsiteX5739" fmla="*/ 2465546 w 6400800"/>
                <a:gd name="connsiteY5739" fmla="*/ 213836 h 514350"/>
                <a:gd name="connsiteX5740" fmla="*/ 2466499 w 6400800"/>
                <a:gd name="connsiteY5740" fmla="*/ 211931 h 514350"/>
                <a:gd name="connsiteX5741" fmla="*/ 2468404 w 6400800"/>
                <a:gd name="connsiteY5741" fmla="*/ 208121 h 514350"/>
                <a:gd name="connsiteX5742" fmla="*/ 2468404 w 6400800"/>
                <a:gd name="connsiteY5742" fmla="*/ 210979 h 514350"/>
                <a:gd name="connsiteX5743" fmla="*/ 2467451 w 6400800"/>
                <a:gd name="connsiteY5743" fmla="*/ 211931 h 514350"/>
                <a:gd name="connsiteX5744" fmla="*/ 2467451 w 6400800"/>
                <a:gd name="connsiteY5744" fmla="*/ 211931 h 514350"/>
                <a:gd name="connsiteX5745" fmla="*/ 2467451 w 6400800"/>
                <a:gd name="connsiteY5745" fmla="*/ 211931 h 514350"/>
                <a:gd name="connsiteX5746" fmla="*/ 2470309 w 6400800"/>
                <a:gd name="connsiteY5746" fmla="*/ 218599 h 514350"/>
                <a:gd name="connsiteX5747" fmla="*/ 2472214 w 6400800"/>
                <a:gd name="connsiteY5747" fmla="*/ 230029 h 514350"/>
                <a:gd name="connsiteX5748" fmla="*/ 2472214 w 6400800"/>
                <a:gd name="connsiteY5748" fmla="*/ 230029 h 514350"/>
                <a:gd name="connsiteX5749" fmla="*/ 2463641 w 6400800"/>
                <a:gd name="connsiteY5749" fmla="*/ 237649 h 514350"/>
                <a:gd name="connsiteX5750" fmla="*/ 2464594 w 6400800"/>
                <a:gd name="connsiteY5750" fmla="*/ 234791 h 514350"/>
                <a:gd name="connsiteX5751" fmla="*/ 2466499 w 6400800"/>
                <a:gd name="connsiteY5751" fmla="*/ 224314 h 514350"/>
                <a:gd name="connsiteX5752" fmla="*/ 2466499 w 6400800"/>
                <a:gd name="connsiteY5752" fmla="*/ 224314 h 514350"/>
                <a:gd name="connsiteX5753" fmla="*/ 2470309 w 6400800"/>
                <a:gd name="connsiteY5753" fmla="*/ 218599 h 514350"/>
                <a:gd name="connsiteX5754" fmla="*/ 2477929 w 6400800"/>
                <a:gd name="connsiteY5754" fmla="*/ 223361 h 514350"/>
                <a:gd name="connsiteX5755" fmla="*/ 2475071 w 6400800"/>
                <a:gd name="connsiteY5755" fmla="*/ 212884 h 514350"/>
                <a:gd name="connsiteX5756" fmla="*/ 2477929 w 6400800"/>
                <a:gd name="connsiteY5756" fmla="*/ 209074 h 514350"/>
                <a:gd name="connsiteX5757" fmla="*/ 2477929 w 6400800"/>
                <a:gd name="connsiteY5757" fmla="*/ 217646 h 514350"/>
                <a:gd name="connsiteX5758" fmla="*/ 2477929 w 6400800"/>
                <a:gd name="connsiteY5758" fmla="*/ 223361 h 514350"/>
                <a:gd name="connsiteX5759" fmla="*/ 2473166 w 6400800"/>
                <a:gd name="connsiteY5759" fmla="*/ 206216 h 514350"/>
                <a:gd name="connsiteX5760" fmla="*/ 2472214 w 6400800"/>
                <a:gd name="connsiteY5760" fmla="*/ 203359 h 514350"/>
                <a:gd name="connsiteX5761" fmla="*/ 2471261 w 6400800"/>
                <a:gd name="connsiteY5761" fmla="*/ 201454 h 514350"/>
                <a:gd name="connsiteX5762" fmla="*/ 2474119 w 6400800"/>
                <a:gd name="connsiteY5762" fmla="*/ 195739 h 514350"/>
                <a:gd name="connsiteX5763" fmla="*/ 2477929 w 6400800"/>
                <a:gd name="connsiteY5763" fmla="*/ 189071 h 514350"/>
                <a:gd name="connsiteX5764" fmla="*/ 2477929 w 6400800"/>
                <a:gd name="connsiteY5764" fmla="*/ 201454 h 514350"/>
                <a:gd name="connsiteX5765" fmla="*/ 2473166 w 6400800"/>
                <a:gd name="connsiteY5765" fmla="*/ 206216 h 514350"/>
                <a:gd name="connsiteX5766" fmla="*/ 2473166 w 6400800"/>
                <a:gd name="connsiteY5766" fmla="*/ 255746 h 514350"/>
                <a:gd name="connsiteX5767" fmla="*/ 2475071 w 6400800"/>
                <a:gd name="connsiteY5767" fmla="*/ 251936 h 514350"/>
                <a:gd name="connsiteX5768" fmla="*/ 2476976 w 6400800"/>
                <a:gd name="connsiteY5768" fmla="*/ 266224 h 514350"/>
                <a:gd name="connsiteX5769" fmla="*/ 2479834 w 6400800"/>
                <a:gd name="connsiteY5769" fmla="*/ 292894 h 514350"/>
                <a:gd name="connsiteX5770" fmla="*/ 2479834 w 6400800"/>
                <a:gd name="connsiteY5770" fmla="*/ 296704 h 514350"/>
                <a:gd name="connsiteX5771" fmla="*/ 2479834 w 6400800"/>
                <a:gd name="connsiteY5771" fmla="*/ 295751 h 514350"/>
                <a:gd name="connsiteX5772" fmla="*/ 2475071 w 6400800"/>
                <a:gd name="connsiteY5772" fmla="*/ 288131 h 514350"/>
                <a:gd name="connsiteX5773" fmla="*/ 2473166 w 6400800"/>
                <a:gd name="connsiteY5773" fmla="*/ 255746 h 514350"/>
                <a:gd name="connsiteX5774" fmla="*/ 2481739 w 6400800"/>
                <a:gd name="connsiteY5774" fmla="*/ 324326 h 514350"/>
                <a:gd name="connsiteX5775" fmla="*/ 2480786 w 6400800"/>
                <a:gd name="connsiteY5775" fmla="*/ 326231 h 514350"/>
                <a:gd name="connsiteX5776" fmla="*/ 2476024 w 6400800"/>
                <a:gd name="connsiteY5776" fmla="*/ 340519 h 514350"/>
                <a:gd name="connsiteX5777" fmla="*/ 2476024 w 6400800"/>
                <a:gd name="connsiteY5777" fmla="*/ 308134 h 514350"/>
                <a:gd name="connsiteX5778" fmla="*/ 2476024 w 6400800"/>
                <a:gd name="connsiteY5778" fmla="*/ 308134 h 514350"/>
                <a:gd name="connsiteX5779" fmla="*/ 2479834 w 6400800"/>
                <a:gd name="connsiteY5779" fmla="*/ 318611 h 514350"/>
                <a:gd name="connsiteX5780" fmla="*/ 2480786 w 6400800"/>
                <a:gd name="connsiteY5780" fmla="*/ 322421 h 514350"/>
                <a:gd name="connsiteX5781" fmla="*/ 2481739 w 6400800"/>
                <a:gd name="connsiteY5781" fmla="*/ 324326 h 514350"/>
                <a:gd name="connsiteX5782" fmla="*/ 2481739 w 6400800"/>
                <a:gd name="connsiteY5782" fmla="*/ 324326 h 514350"/>
                <a:gd name="connsiteX5783" fmla="*/ 2436971 w 6400800"/>
                <a:gd name="connsiteY5783" fmla="*/ 215741 h 514350"/>
                <a:gd name="connsiteX5784" fmla="*/ 2447449 w 6400800"/>
                <a:gd name="connsiteY5784" fmla="*/ 195739 h 514350"/>
                <a:gd name="connsiteX5785" fmla="*/ 2457926 w 6400800"/>
                <a:gd name="connsiteY5785" fmla="*/ 178594 h 514350"/>
                <a:gd name="connsiteX5786" fmla="*/ 2475071 w 6400800"/>
                <a:gd name="connsiteY5786" fmla="*/ 150971 h 514350"/>
                <a:gd name="connsiteX5787" fmla="*/ 2482691 w 6400800"/>
                <a:gd name="connsiteY5787" fmla="*/ 138589 h 514350"/>
                <a:gd name="connsiteX5788" fmla="*/ 2480786 w 6400800"/>
                <a:gd name="connsiteY5788" fmla="*/ 154781 h 514350"/>
                <a:gd name="connsiteX5789" fmla="*/ 2478881 w 6400800"/>
                <a:gd name="connsiteY5789" fmla="*/ 181451 h 514350"/>
                <a:gd name="connsiteX5790" fmla="*/ 2470309 w 6400800"/>
                <a:gd name="connsiteY5790" fmla="*/ 193834 h 514350"/>
                <a:gd name="connsiteX5791" fmla="*/ 2469356 w 6400800"/>
                <a:gd name="connsiteY5791" fmla="*/ 194786 h 514350"/>
                <a:gd name="connsiteX5792" fmla="*/ 2465546 w 6400800"/>
                <a:gd name="connsiteY5792" fmla="*/ 181451 h 514350"/>
                <a:gd name="connsiteX5793" fmla="*/ 2467451 w 6400800"/>
                <a:gd name="connsiteY5793" fmla="*/ 197644 h 514350"/>
                <a:gd name="connsiteX5794" fmla="*/ 2460784 w 6400800"/>
                <a:gd name="connsiteY5794" fmla="*/ 209074 h 514350"/>
                <a:gd name="connsiteX5795" fmla="*/ 2447449 w 6400800"/>
                <a:gd name="connsiteY5795" fmla="*/ 234791 h 514350"/>
                <a:gd name="connsiteX5796" fmla="*/ 2436971 w 6400800"/>
                <a:gd name="connsiteY5796" fmla="*/ 247174 h 514350"/>
                <a:gd name="connsiteX5797" fmla="*/ 2436019 w 6400800"/>
                <a:gd name="connsiteY5797" fmla="*/ 249079 h 514350"/>
                <a:gd name="connsiteX5798" fmla="*/ 2436019 w 6400800"/>
                <a:gd name="connsiteY5798" fmla="*/ 249079 h 514350"/>
                <a:gd name="connsiteX5799" fmla="*/ 2433161 w 6400800"/>
                <a:gd name="connsiteY5799" fmla="*/ 225266 h 514350"/>
                <a:gd name="connsiteX5800" fmla="*/ 2436971 w 6400800"/>
                <a:gd name="connsiteY5800" fmla="*/ 215741 h 514350"/>
                <a:gd name="connsiteX5801" fmla="*/ 2416016 w 6400800"/>
                <a:gd name="connsiteY5801" fmla="*/ 313849 h 514350"/>
                <a:gd name="connsiteX5802" fmla="*/ 2416016 w 6400800"/>
                <a:gd name="connsiteY5802" fmla="*/ 313849 h 514350"/>
                <a:gd name="connsiteX5803" fmla="*/ 2413159 w 6400800"/>
                <a:gd name="connsiteY5803" fmla="*/ 304324 h 514350"/>
                <a:gd name="connsiteX5804" fmla="*/ 2415064 w 6400800"/>
                <a:gd name="connsiteY5804" fmla="*/ 301466 h 514350"/>
                <a:gd name="connsiteX5805" fmla="*/ 2415064 w 6400800"/>
                <a:gd name="connsiteY5805" fmla="*/ 303371 h 514350"/>
                <a:gd name="connsiteX5806" fmla="*/ 2416016 w 6400800"/>
                <a:gd name="connsiteY5806" fmla="*/ 313849 h 514350"/>
                <a:gd name="connsiteX5807" fmla="*/ 2416016 w 6400800"/>
                <a:gd name="connsiteY5807" fmla="*/ 313849 h 514350"/>
                <a:gd name="connsiteX5808" fmla="*/ 2422684 w 6400800"/>
                <a:gd name="connsiteY5808" fmla="*/ 288131 h 514350"/>
                <a:gd name="connsiteX5809" fmla="*/ 2422684 w 6400800"/>
                <a:gd name="connsiteY5809" fmla="*/ 293846 h 514350"/>
                <a:gd name="connsiteX5810" fmla="*/ 2420779 w 6400800"/>
                <a:gd name="connsiteY5810" fmla="*/ 299561 h 514350"/>
                <a:gd name="connsiteX5811" fmla="*/ 2418874 w 6400800"/>
                <a:gd name="connsiteY5811" fmla="*/ 293846 h 514350"/>
                <a:gd name="connsiteX5812" fmla="*/ 2420779 w 6400800"/>
                <a:gd name="connsiteY5812" fmla="*/ 290989 h 514350"/>
                <a:gd name="connsiteX5813" fmla="*/ 2422684 w 6400800"/>
                <a:gd name="connsiteY5813" fmla="*/ 288131 h 514350"/>
                <a:gd name="connsiteX5814" fmla="*/ 2414111 w 6400800"/>
                <a:gd name="connsiteY5814" fmla="*/ 259556 h 514350"/>
                <a:gd name="connsiteX5815" fmla="*/ 2419826 w 6400800"/>
                <a:gd name="connsiteY5815" fmla="*/ 248126 h 514350"/>
                <a:gd name="connsiteX5816" fmla="*/ 2420779 w 6400800"/>
                <a:gd name="connsiteY5816" fmla="*/ 266224 h 514350"/>
                <a:gd name="connsiteX5817" fmla="*/ 2412206 w 6400800"/>
                <a:gd name="connsiteY5817" fmla="*/ 277654 h 514350"/>
                <a:gd name="connsiteX5818" fmla="*/ 2410301 w 6400800"/>
                <a:gd name="connsiteY5818" fmla="*/ 273844 h 514350"/>
                <a:gd name="connsiteX5819" fmla="*/ 2408396 w 6400800"/>
                <a:gd name="connsiteY5819" fmla="*/ 270986 h 514350"/>
                <a:gd name="connsiteX5820" fmla="*/ 2414111 w 6400800"/>
                <a:gd name="connsiteY5820" fmla="*/ 259556 h 514350"/>
                <a:gd name="connsiteX5821" fmla="*/ 2406491 w 6400800"/>
                <a:gd name="connsiteY5821" fmla="*/ 275749 h 514350"/>
                <a:gd name="connsiteX5822" fmla="*/ 2406491 w 6400800"/>
                <a:gd name="connsiteY5822" fmla="*/ 275749 h 514350"/>
                <a:gd name="connsiteX5823" fmla="*/ 2409349 w 6400800"/>
                <a:gd name="connsiteY5823" fmla="*/ 282416 h 514350"/>
                <a:gd name="connsiteX5824" fmla="*/ 2406491 w 6400800"/>
                <a:gd name="connsiteY5824" fmla="*/ 286226 h 514350"/>
                <a:gd name="connsiteX5825" fmla="*/ 2404586 w 6400800"/>
                <a:gd name="connsiteY5825" fmla="*/ 280511 h 514350"/>
                <a:gd name="connsiteX5826" fmla="*/ 2406491 w 6400800"/>
                <a:gd name="connsiteY5826" fmla="*/ 275749 h 514350"/>
                <a:gd name="connsiteX5827" fmla="*/ 2405539 w 6400800"/>
                <a:gd name="connsiteY5827" fmla="*/ 317659 h 514350"/>
                <a:gd name="connsiteX5828" fmla="*/ 2408396 w 6400800"/>
                <a:gd name="connsiteY5828" fmla="*/ 328136 h 514350"/>
                <a:gd name="connsiteX5829" fmla="*/ 2408396 w 6400800"/>
                <a:gd name="connsiteY5829" fmla="*/ 334804 h 514350"/>
                <a:gd name="connsiteX5830" fmla="*/ 2407444 w 6400800"/>
                <a:gd name="connsiteY5830" fmla="*/ 332899 h 514350"/>
                <a:gd name="connsiteX5831" fmla="*/ 2407444 w 6400800"/>
                <a:gd name="connsiteY5831" fmla="*/ 340519 h 514350"/>
                <a:gd name="connsiteX5832" fmla="*/ 2404586 w 6400800"/>
                <a:gd name="connsiteY5832" fmla="*/ 350996 h 514350"/>
                <a:gd name="connsiteX5833" fmla="*/ 2400776 w 6400800"/>
                <a:gd name="connsiteY5833" fmla="*/ 364331 h 514350"/>
                <a:gd name="connsiteX5834" fmla="*/ 2398871 w 6400800"/>
                <a:gd name="connsiteY5834" fmla="*/ 343376 h 514350"/>
                <a:gd name="connsiteX5835" fmla="*/ 2397919 w 6400800"/>
                <a:gd name="connsiteY5835" fmla="*/ 333851 h 514350"/>
                <a:gd name="connsiteX5836" fmla="*/ 2398871 w 6400800"/>
                <a:gd name="connsiteY5836" fmla="*/ 330994 h 514350"/>
                <a:gd name="connsiteX5837" fmla="*/ 2405539 w 6400800"/>
                <a:gd name="connsiteY5837" fmla="*/ 317659 h 514350"/>
                <a:gd name="connsiteX5838" fmla="*/ 2398871 w 6400800"/>
                <a:gd name="connsiteY5838" fmla="*/ 291941 h 514350"/>
                <a:gd name="connsiteX5839" fmla="*/ 2399824 w 6400800"/>
                <a:gd name="connsiteY5839" fmla="*/ 295751 h 514350"/>
                <a:gd name="connsiteX5840" fmla="*/ 2394109 w 6400800"/>
                <a:gd name="connsiteY5840" fmla="*/ 303371 h 514350"/>
                <a:gd name="connsiteX5841" fmla="*/ 2394109 w 6400800"/>
                <a:gd name="connsiteY5841" fmla="*/ 302419 h 514350"/>
                <a:gd name="connsiteX5842" fmla="*/ 2398871 w 6400800"/>
                <a:gd name="connsiteY5842" fmla="*/ 291941 h 514350"/>
                <a:gd name="connsiteX5843" fmla="*/ 2393156 w 6400800"/>
                <a:gd name="connsiteY5843" fmla="*/ 267176 h 514350"/>
                <a:gd name="connsiteX5844" fmla="*/ 2391251 w 6400800"/>
                <a:gd name="connsiteY5844" fmla="*/ 270034 h 514350"/>
                <a:gd name="connsiteX5845" fmla="*/ 2389346 w 6400800"/>
                <a:gd name="connsiteY5845" fmla="*/ 254794 h 514350"/>
                <a:gd name="connsiteX5846" fmla="*/ 2393156 w 6400800"/>
                <a:gd name="connsiteY5846" fmla="*/ 267176 h 514350"/>
                <a:gd name="connsiteX5847" fmla="*/ 2351246 w 6400800"/>
                <a:gd name="connsiteY5847" fmla="*/ 278606 h 514350"/>
                <a:gd name="connsiteX5848" fmla="*/ 2351246 w 6400800"/>
                <a:gd name="connsiteY5848" fmla="*/ 278606 h 514350"/>
                <a:gd name="connsiteX5849" fmla="*/ 2351246 w 6400800"/>
                <a:gd name="connsiteY5849" fmla="*/ 275749 h 514350"/>
                <a:gd name="connsiteX5850" fmla="*/ 2351246 w 6400800"/>
                <a:gd name="connsiteY5850" fmla="*/ 278606 h 514350"/>
                <a:gd name="connsiteX5851" fmla="*/ 2378869 w 6400800"/>
                <a:gd name="connsiteY5851" fmla="*/ 295751 h 514350"/>
                <a:gd name="connsiteX5852" fmla="*/ 2375059 w 6400800"/>
                <a:gd name="connsiteY5852" fmla="*/ 303371 h 514350"/>
                <a:gd name="connsiteX5853" fmla="*/ 2374106 w 6400800"/>
                <a:gd name="connsiteY5853" fmla="*/ 305276 h 514350"/>
                <a:gd name="connsiteX5854" fmla="*/ 2374106 w 6400800"/>
                <a:gd name="connsiteY5854" fmla="*/ 304324 h 514350"/>
                <a:gd name="connsiteX5855" fmla="*/ 2376011 w 6400800"/>
                <a:gd name="connsiteY5855" fmla="*/ 231934 h 514350"/>
                <a:gd name="connsiteX5856" fmla="*/ 2366486 w 6400800"/>
                <a:gd name="connsiteY5856" fmla="*/ 277654 h 514350"/>
                <a:gd name="connsiteX5857" fmla="*/ 2364581 w 6400800"/>
                <a:gd name="connsiteY5857" fmla="*/ 272891 h 514350"/>
                <a:gd name="connsiteX5858" fmla="*/ 2361724 w 6400800"/>
                <a:gd name="connsiteY5858" fmla="*/ 264319 h 514350"/>
                <a:gd name="connsiteX5859" fmla="*/ 2361724 w 6400800"/>
                <a:gd name="connsiteY5859" fmla="*/ 245269 h 514350"/>
                <a:gd name="connsiteX5860" fmla="*/ 2365534 w 6400800"/>
                <a:gd name="connsiteY5860" fmla="*/ 234791 h 514350"/>
                <a:gd name="connsiteX5861" fmla="*/ 2376011 w 6400800"/>
                <a:gd name="connsiteY5861" fmla="*/ 211931 h 514350"/>
                <a:gd name="connsiteX5862" fmla="*/ 2376011 w 6400800"/>
                <a:gd name="connsiteY5862" fmla="*/ 244316 h 514350"/>
                <a:gd name="connsiteX5863" fmla="*/ 2376964 w 6400800"/>
                <a:gd name="connsiteY5863" fmla="*/ 290989 h 514350"/>
                <a:gd name="connsiteX5864" fmla="*/ 2378869 w 6400800"/>
                <a:gd name="connsiteY5864" fmla="*/ 295751 h 514350"/>
                <a:gd name="connsiteX5865" fmla="*/ 2362676 w 6400800"/>
                <a:gd name="connsiteY5865" fmla="*/ 180499 h 514350"/>
                <a:gd name="connsiteX5866" fmla="*/ 2368391 w 6400800"/>
                <a:gd name="connsiteY5866" fmla="*/ 166211 h 514350"/>
                <a:gd name="connsiteX5867" fmla="*/ 2377916 w 6400800"/>
                <a:gd name="connsiteY5867" fmla="*/ 140494 h 514350"/>
                <a:gd name="connsiteX5868" fmla="*/ 2378869 w 6400800"/>
                <a:gd name="connsiteY5868" fmla="*/ 143351 h 514350"/>
                <a:gd name="connsiteX5869" fmla="*/ 2378869 w 6400800"/>
                <a:gd name="connsiteY5869" fmla="*/ 152876 h 514350"/>
                <a:gd name="connsiteX5870" fmla="*/ 2377916 w 6400800"/>
                <a:gd name="connsiteY5870" fmla="*/ 147161 h 514350"/>
                <a:gd name="connsiteX5871" fmla="*/ 2377916 w 6400800"/>
                <a:gd name="connsiteY5871" fmla="*/ 173831 h 514350"/>
                <a:gd name="connsiteX5872" fmla="*/ 2377916 w 6400800"/>
                <a:gd name="connsiteY5872" fmla="*/ 203359 h 514350"/>
                <a:gd name="connsiteX5873" fmla="*/ 2362676 w 6400800"/>
                <a:gd name="connsiteY5873" fmla="*/ 227171 h 514350"/>
                <a:gd name="connsiteX5874" fmla="*/ 2360771 w 6400800"/>
                <a:gd name="connsiteY5874" fmla="*/ 185261 h 514350"/>
                <a:gd name="connsiteX5875" fmla="*/ 2362676 w 6400800"/>
                <a:gd name="connsiteY5875" fmla="*/ 180499 h 514350"/>
                <a:gd name="connsiteX5876" fmla="*/ 2340769 w 6400800"/>
                <a:gd name="connsiteY5876" fmla="*/ 241459 h 514350"/>
                <a:gd name="connsiteX5877" fmla="*/ 2342674 w 6400800"/>
                <a:gd name="connsiteY5877" fmla="*/ 235744 h 514350"/>
                <a:gd name="connsiteX5878" fmla="*/ 2347436 w 6400800"/>
                <a:gd name="connsiteY5878" fmla="*/ 221456 h 514350"/>
                <a:gd name="connsiteX5879" fmla="*/ 2359819 w 6400800"/>
                <a:gd name="connsiteY5879" fmla="*/ 187166 h 514350"/>
                <a:gd name="connsiteX5880" fmla="*/ 2355056 w 6400800"/>
                <a:gd name="connsiteY5880" fmla="*/ 236696 h 514350"/>
                <a:gd name="connsiteX5881" fmla="*/ 2353151 w 6400800"/>
                <a:gd name="connsiteY5881" fmla="*/ 230029 h 514350"/>
                <a:gd name="connsiteX5882" fmla="*/ 2354104 w 6400800"/>
                <a:gd name="connsiteY5882" fmla="*/ 241459 h 514350"/>
                <a:gd name="connsiteX5883" fmla="*/ 2344579 w 6400800"/>
                <a:gd name="connsiteY5883" fmla="*/ 259556 h 514350"/>
                <a:gd name="connsiteX5884" fmla="*/ 2344579 w 6400800"/>
                <a:gd name="connsiteY5884" fmla="*/ 259556 h 514350"/>
                <a:gd name="connsiteX5885" fmla="*/ 2339816 w 6400800"/>
                <a:gd name="connsiteY5885" fmla="*/ 245269 h 514350"/>
                <a:gd name="connsiteX5886" fmla="*/ 2340769 w 6400800"/>
                <a:gd name="connsiteY5886" fmla="*/ 241459 h 514350"/>
                <a:gd name="connsiteX5887" fmla="*/ 2344579 w 6400800"/>
                <a:gd name="connsiteY5887" fmla="*/ 320516 h 514350"/>
                <a:gd name="connsiteX5888" fmla="*/ 2339816 w 6400800"/>
                <a:gd name="connsiteY5888" fmla="*/ 310991 h 514350"/>
                <a:gd name="connsiteX5889" fmla="*/ 2339816 w 6400800"/>
                <a:gd name="connsiteY5889" fmla="*/ 310039 h 514350"/>
                <a:gd name="connsiteX5890" fmla="*/ 2344579 w 6400800"/>
                <a:gd name="connsiteY5890" fmla="*/ 320516 h 514350"/>
                <a:gd name="connsiteX5891" fmla="*/ 2337911 w 6400800"/>
                <a:gd name="connsiteY5891" fmla="*/ 317659 h 514350"/>
                <a:gd name="connsiteX5892" fmla="*/ 2341721 w 6400800"/>
                <a:gd name="connsiteY5892" fmla="*/ 327184 h 514350"/>
                <a:gd name="connsiteX5893" fmla="*/ 2336959 w 6400800"/>
                <a:gd name="connsiteY5893" fmla="*/ 321469 h 514350"/>
                <a:gd name="connsiteX5894" fmla="*/ 2337911 w 6400800"/>
                <a:gd name="connsiteY5894" fmla="*/ 317659 h 514350"/>
                <a:gd name="connsiteX5895" fmla="*/ 2332196 w 6400800"/>
                <a:gd name="connsiteY5895" fmla="*/ 280511 h 514350"/>
                <a:gd name="connsiteX5896" fmla="*/ 2333149 w 6400800"/>
                <a:gd name="connsiteY5896" fmla="*/ 283369 h 514350"/>
                <a:gd name="connsiteX5897" fmla="*/ 2332196 w 6400800"/>
                <a:gd name="connsiteY5897" fmla="*/ 281464 h 514350"/>
                <a:gd name="connsiteX5898" fmla="*/ 2332196 w 6400800"/>
                <a:gd name="connsiteY5898" fmla="*/ 280511 h 514350"/>
                <a:gd name="connsiteX5899" fmla="*/ 2330291 w 6400800"/>
                <a:gd name="connsiteY5899" fmla="*/ 289084 h 514350"/>
                <a:gd name="connsiteX5900" fmla="*/ 2331244 w 6400800"/>
                <a:gd name="connsiteY5900" fmla="*/ 290989 h 514350"/>
                <a:gd name="connsiteX5901" fmla="*/ 2330291 w 6400800"/>
                <a:gd name="connsiteY5901" fmla="*/ 292894 h 514350"/>
                <a:gd name="connsiteX5902" fmla="*/ 2329339 w 6400800"/>
                <a:gd name="connsiteY5902" fmla="*/ 290989 h 514350"/>
                <a:gd name="connsiteX5903" fmla="*/ 2330291 w 6400800"/>
                <a:gd name="connsiteY5903" fmla="*/ 289084 h 514350"/>
                <a:gd name="connsiteX5904" fmla="*/ 2329339 w 6400800"/>
                <a:gd name="connsiteY5904" fmla="*/ 293846 h 514350"/>
                <a:gd name="connsiteX5905" fmla="*/ 2329339 w 6400800"/>
                <a:gd name="connsiteY5905" fmla="*/ 292894 h 514350"/>
                <a:gd name="connsiteX5906" fmla="*/ 2330291 w 6400800"/>
                <a:gd name="connsiteY5906" fmla="*/ 294799 h 514350"/>
                <a:gd name="connsiteX5907" fmla="*/ 2328386 w 6400800"/>
                <a:gd name="connsiteY5907" fmla="*/ 299561 h 514350"/>
                <a:gd name="connsiteX5908" fmla="*/ 2328386 w 6400800"/>
                <a:gd name="connsiteY5908" fmla="*/ 298609 h 514350"/>
                <a:gd name="connsiteX5909" fmla="*/ 2329339 w 6400800"/>
                <a:gd name="connsiteY5909" fmla="*/ 293846 h 514350"/>
                <a:gd name="connsiteX5910" fmla="*/ 2313146 w 6400800"/>
                <a:gd name="connsiteY5910" fmla="*/ 194786 h 514350"/>
                <a:gd name="connsiteX5911" fmla="*/ 2315051 w 6400800"/>
                <a:gd name="connsiteY5911" fmla="*/ 201454 h 514350"/>
                <a:gd name="connsiteX5912" fmla="*/ 2316004 w 6400800"/>
                <a:gd name="connsiteY5912" fmla="*/ 205264 h 514350"/>
                <a:gd name="connsiteX5913" fmla="*/ 2314099 w 6400800"/>
                <a:gd name="connsiteY5913" fmla="*/ 214789 h 514350"/>
                <a:gd name="connsiteX5914" fmla="*/ 2314099 w 6400800"/>
                <a:gd name="connsiteY5914" fmla="*/ 214789 h 514350"/>
                <a:gd name="connsiteX5915" fmla="*/ 2310289 w 6400800"/>
                <a:gd name="connsiteY5915" fmla="*/ 207169 h 514350"/>
                <a:gd name="connsiteX5916" fmla="*/ 2313146 w 6400800"/>
                <a:gd name="connsiteY5916" fmla="*/ 194786 h 514350"/>
                <a:gd name="connsiteX5917" fmla="*/ 2304574 w 6400800"/>
                <a:gd name="connsiteY5917" fmla="*/ 197644 h 514350"/>
                <a:gd name="connsiteX5918" fmla="*/ 2305526 w 6400800"/>
                <a:gd name="connsiteY5918" fmla="*/ 200501 h 514350"/>
                <a:gd name="connsiteX5919" fmla="*/ 2303621 w 6400800"/>
                <a:gd name="connsiteY5919" fmla="*/ 205264 h 514350"/>
                <a:gd name="connsiteX5920" fmla="*/ 2304574 w 6400800"/>
                <a:gd name="connsiteY5920" fmla="*/ 197644 h 514350"/>
                <a:gd name="connsiteX5921" fmla="*/ 2297906 w 6400800"/>
                <a:gd name="connsiteY5921" fmla="*/ 272891 h 514350"/>
                <a:gd name="connsiteX5922" fmla="*/ 2298859 w 6400800"/>
                <a:gd name="connsiteY5922" fmla="*/ 256699 h 514350"/>
                <a:gd name="connsiteX5923" fmla="*/ 2299811 w 6400800"/>
                <a:gd name="connsiteY5923" fmla="*/ 250984 h 514350"/>
                <a:gd name="connsiteX5924" fmla="*/ 2308384 w 6400800"/>
                <a:gd name="connsiteY5924" fmla="*/ 211931 h 514350"/>
                <a:gd name="connsiteX5925" fmla="*/ 2309336 w 6400800"/>
                <a:gd name="connsiteY5925" fmla="*/ 215741 h 514350"/>
                <a:gd name="connsiteX5926" fmla="*/ 2311241 w 6400800"/>
                <a:gd name="connsiteY5926" fmla="*/ 221456 h 514350"/>
                <a:gd name="connsiteX5927" fmla="*/ 2311241 w 6400800"/>
                <a:gd name="connsiteY5927" fmla="*/ 221456 h 514350"/>
                <a:gd name="connsiteX5928" fmla="*/ 2304574 w 6400800"/>
                <a:gd name="connsiteY5928" fmla="*/ 253841 h 514350"/>
                <a:gd name="connsiteX5929" fmla="*/ 2302669 w 6400800"/>
                <a:gd name="connsiteY5929" fmla="*/ 251936 h 514350"/>
                <a:gd name="connsiteX5930" fmla="*/ 2304574 w 6400800"/>
                <a:gd name="connsiteY5930" fmla="*/ 253841 h 514350"/>
                <a:gd name="connsiteX5931" fmla="*/ 2299811 w 6400800"/>
                <a:gd name="connsiteY5931" fmla="*/ 274796 h 514350"/>
                <a:gd name="connsiteX5932" fmla="*/ 2294096 w 6400800"/>
                <a:gd name="connsiteY5932" fmla="*/ 300514 h 514350"/>
                <a:gd name="connsiteX5933" fmla="*/ 2297906 w 6400800"/>
                <a:gd name="connsiteY5933" fmla="*/ 272891 h 514350"/>
                <a:gd name="connsiteX5934" fmla="*/ 2271236 w 6400800"/>
                <a:gd name="connsiteY5934" fmla="*/ 369094 h 514350"/>
                <a:gd name="connsiteX5935" fmla="*/ 2270284 w 6400800"/>
                <a:gd name="connsiteY5935" fmla="*/ 376714 h 514350"/>
                <a:gd name="connsiteX5936" fmla="*/ 2270284 w 6400800"/>
                <a:gd name="connsiteY5936" fmla="*/ 376714 h 514350"/>
                <a:gd name="connsiteX5937" fmla="*/ 2270284 w 6400800"/>
                <a:gd name="connsiteY5937" fmla="*/ 372904 h 514350"/>
                <a:gd name="connsiteX5938" fmla="*/ 2271236 w 6400800"/>
                <a:gd name="connsiteY5938" fmla="*/ 369094 h 514350"/>
                <a:gd name="connsiteX5939" fmla="*/ 2252186 w 6400800"/>
                <a:gd name="connsiteY5939" fmla="*/ 297656 h 514350"/>
                <a:gd name="connsiteX5940" fmla="*/ 2251234 w 6400800"/>
                <a:gd name="connsiteY5940" fmla="*/ 311944 h 514350"/>
                <a:gd name="connsiteX5941" fmla="*/ 2250281 w 6400800"/>
                <a:gd name="connsiteY5941" fmla="*/ 308134 h 514350"/>
                <a:gd name="connsiteX5942" fmla="*/ 2252186 w 6400800"/>
                <a:gd name="connsiteY5942" fmla="*/ 297656 h 514350"/>
                <a:gd name="connsiteX5943" fmla="*/ 2215991 w 6400800"/>
                <a:gd name="connsiteY5943" fmla="*/ 252889 h 514350"/>
                <a:gd name="connsiteX5944" fmla="*/ 2215991 w 6400800"/>
                <a:gd name="connsiteY5944" fmla="*/ 256699 h 514350"/>
                <a:gd name="connsiteX5945" fmla="*/ 2215991 w 6400800"/>
                <a:gd name="connsiteY5945" fmla="*/ 256699 h 514350"/>
                <a:gd name="connsiteX5946" fmla="*/ 2215991 w 6400800"/>
                <a:gd name="connsiteY5946" fmla="*/ 252889 h 514350"/>
                <a:gd name="connsiteX5947" fmla="*/ 2211229 w 6400800"/>
                <a:gd name="connsiteY5947" fmla="*/ 281464 h 514350"/>
                <a:gd name="connsiteX5948" fmla="*/ 2214086 w 6400800"/>
                <a:gd name="connsiteY5948" fmla="*/ 260509 h 514350"/>
                <a:gd name="connsiteX5949" fmla="*/ 2215039 w 6400800"/>
                <a:gd name="connsiteY5949" fmla="*/ 261461 h 514350"/>
                <a:gd name="connsiteX5950" fmla="*/ 2215039 w 6400800"/>
                <a:gd name="connsiteY5950" fmla="*/ 267176 h 514350"/>
                <a:gd name="connsiteX5951" fmla="*/ 2212181 w 6400800"/>
                <a:gd name="connsiteY5951" fmla="*/ 299561 h 514350"/>
                <a:gd name="connsiteX5952" fmla="*/ 2206466 w 6400800"/>
                <a:gd name="connsiteY5952" fmla="*/ 309086 h 514350"/>
                <a:gd name="connsiteX5953" fmla="*/ 2211229 w 6400800"/>
                <a:gd name="connsiteY5953" fmla="*/ 281464 h 514350"/>
                <a:gd name="connsiteX5954" fmla="*/ 2205514 w 6400800"/>
                <a:gd name="connsiteY5954" fmla="*/ 337661 h 514350"/>
                <a:gd name="connsiteX5955" fmla="*/ 2204561 w 6400800"/>
                <a:gd name="connsiteY5955" fmla="*/ 339566 h 514350"/>
                <a:gd name="connsiteX5956" fmla="*/ 2204561 w 6400800"/>
                <a:gd name="connsiteY5956" fmla="*/ 340519 h 514350"/>
                <a:gd name="connsiteX5957" fmla="*/ 2205514 w 6400800"/>
                <a:gd name="connsiteY5957" fmla="*/ 337661 h 514350"/>
                <a:gd name="connsiteX5958" fmla="*/ 2183606 w 6400800"/>
                <a:gd name="connsiteY5958" fmla="*/ 336709 h 514350"/>
                <a:gd name="connsiteX5959" fmla="*/ 2185511 w 6400800"/>
                <a:gd name="connsiteY5959" fmla="*/ 345281 h 514350"/>
                <a:gd name="connsiteX5960" fmla="*/ 2184559 w 6400800"/>
                <a:gd name="connsiteY5960" fmla="*/ 350044 h 514350"/>
                <a:gd name="connsiteX5961" fmla="*/ 2183606 w 6400800"/>
                <a:gd name="connsiteY5961" fmla="*/ 340519 h 514350"/>
                <a:gd name="connsiteX5962" fmla="*/ 2183606 w 6400800"/>
                <a:gd name="connsiteY5962" fmla="*/ 337661 h 514350"/>
                <a:gd name="connsiteX5963" fmla="*/ 2183606 w 6400800"/>
                <a:gd name="connsiteY5963" fmla="*/ 336709 h 514350"/>
                <a:gd name="connsiteX5964" fmla="*/ 2178844 w 6400800"/>
                <a:gd name="connsiteY5964" fmla="*/ 345281 h 514350"/>
                <a:gd name="connsiteX5965" fmla="*/ 2178844 w 6400800"/>
                <a:gd name="connsiteY5965" fmla="*/ 357664 h 514350"/>
                <a:gd name="connsiteX5966" fmla="*/ 2175986 w 6400800"/>
                <a:gd name="connsiteY5966" fmla="*/ 350996 h 514350"/>
                <a:gd name="connsiteX5967" fmla="*/ 2178844 w 6400800"/>
                <a:gd name="connsiteY5967" fmla="*/ 345281 h 514350"/>
                <a:gd name="connsiteX5968" fmla="*/ 2150269 w 6400800"/>
                <a:gd name="connsiteY5968" fmla="*/ 278606 h 514350"/>
                <a:gd name="connsiteX5969" fmla="*/ 2162651 w 6400800"/>
                <a:gd name="connsiteY5969" fmla="*/ 232886 h 514350"/>
                <a:gd name="connsiteX5970" fmla="*/ 2161699 w 6400800"/>
                <a:gd name="connsiteY5970" fmla="*/ 235744 h 514350"/>
                <a:gd name="connsiteX5971" fmla="*/ 2157889 w 6400800"/>
                <a:gd name="connsiteY5971" fmla="*/ 253841 h 514350"/>
                <a:gd name="connsiteX5972" fmla="*/ 2154079 w 6400800"/>
                <a:gd name="connsiteY5972" fmla="*/ 274796 h 514350"/>
                <a:gd name="connsiteX5973" fmla="*/ 2151221 w 6400800"/>
                <a:gd name="connsiteY5973" fmla="*/ 293846 h 514350"/>
                <a:gd name="connsiteX5974" fmla="*/ 2148364 w 6400800"/>
                <a:gd name="connsiteY5974" fmla="*/ 288131 h 514350"/>
                <a:gd name="connsiteX5975" fmla="*/ 2150269 w 6400800"/>
                <a:gd name="connsiteY5975" fmla="*/ 296704 h 514350"/>
                <a:gd name="connsiteX5976" fmla="*/ 2147411 w 6400800"/>
                <a:gd name="connsiteY5976" fmla="*/ 314801 h 514350"/>
                <a:gd name="connsiteX5977" fmla="*/ 2140744 w 6400800"/>
                <a:gd name="connsiteY5977" fmla="*/ 305276 h 514350"/>
                <a:gd name="connsiteX5978" fmla="*/ 2150269 w 6400800"/>
                <a:gd name="connsiteY5978" fmla="*/ 278606 h 514350"/>
                <a:gd name="connsiteX5979" fmla="*/ 2142649 w 6400800"/>
                <a:gd name="connsiteY5979" fmla="*/ 305276 h 514350"/>
                <a:gd name="connsiteX5980" fmla="*/ 2148364 w 6400800"/>
                <a:gd name="connsiteY5980" fmla="*/ 319564 h 514350"/>
                <a:gd name="connsiteX5981" fmla="*/ 2148364 w 6400800"/>
                <a:gd name="connsiteY5981" fmla="*/ 320516 h 514350"/>
                <a:gd name="connsiteX5982" fmla="*/ 2148364 w 6400800"/>
                <a:gd name="connsiteY5982" fmla="*/ 321469 h 514350"/>
                <a:gd name="connsiteX5983" fmla="*/ 2145506 w 6400800"/>
                <a:gd name="connsiteY5983" fmla="*/ 343376 h 514350"/>
                <a:gd name="connsiteX5984" fmla="*/ 2139791 w 6400800"/>
                <a:gd name="connsiteY5984" fmla="*/ 324326 h 514350"/>
                <a:gd name="connsiteX5985" fmla="*/ 2138839 w 6400800"/>
                <a:gd name="connsiteY5985" fmla="*/ 320516 h 514350"/>
                <a:gd name="connsiteX5986" fmla="*/ 2142649 w 6400800"/>
                <a:gd name="connsiteY5986" fmla="*/ 305276 h 514350"/>
                <a:gd name="connsiteX5987" fmla="*/ 2058829 w 6400800"/>
                <a:gd name="connsiteY5987" fmla="*/ 353854 h 514350"/>
                <a:gd name="connsiteX5988" fmla="*/ 2056924 w 6400800"/>
                <a:gd name="connsiteY5988" fmla="*/ 366236 h 514350"/>
                <a:gd name="connsiteX5989" fmla="*/ 2055971 w 6400800"/>
                <a:gd name="connsiteY5989" fmla="*/ 361474 h 514350"/>
                <a:gd name="connsiteX5990" fmla="*/ 2054066 w 6400800"/>
                <a:gd name="connsiteY5990" fmla="*/ 352901 h 514350"/>
                <a:gd name="connsiteX5991" fmla="*/ 2054066 w 6400800"/>
                <a:gd name="connsiteY5991" fmla="*/ 351949 h 514350"/>
                <a:gd name="connsiteX5992" fmla="*/ 2059781 w 6400800"/>
                <a:gd name="connsiteY5992" fmla="*/ 338614 h 514350"/>
                <a:gd name="connsiteX5993" fmla="*/ 2060734 w 6400800"/>
                <a:gd name="connsiteY5993" fmla="*/ 343376 h 514350"/>
                <a:gd name="connsiteX5994" fmla="*/ 2058829 w 6400800"/>
                <a:gd name="connsiteY5994" fmla="*/ 353854 h 514350"/>
                <a:gd name="connsiteX5995" fmla="*/ 2081689 w 6400800"/>
                <a:gd name="connsiteY5995" fmla="*/ 350044 h 514350"/>
                <a:gd name="connsiteX5996" fmla="*/ 2079784 w 6400800"/>
                <a:gd name="connsiteY5996" fmla="*/ 354806 h 514350"/>
                <a:gd name="connsiteX5997" fmla="*/ 2077879 w 6400800"/>
                <a:gd name="connsiteY5997" fmla="*/ 347186 h 514350"/>
                <a:gd name="connsiteX5998" fmla="*/ 2077879 w 6400800"/>
                <a:gd name="connsiteY5998" fmla="*/ 344329 h 514350"/>
                <a:gd name="connsiteX5999" fmla="*/ 2080736 w 6400800"/>
                <a:gd name="connsiteY5999" fmla="*/ 348139 h 514350"/>
                <a:gd name="connsiteX6000" fmla="*/ 2081689 w 6400800"/>
                <a:gd name="connsiteY6000" fmla="*/ 350044 h 514350"/>
                <a:gd name="connsiteX6001" fmla="*/ 2081689 w 6400800"/>
                <a:gd name="connsiteY6001" fmla="*/ 350044 h 514350"/>
                <a:gd name="connsiteX6002" fmla="*/ 2081689 w 6400800"/>
                <a:gd name="connsiteY6002" fmla="*/ 339566 h 514350"/>
                <a:gd name="connsiteX6003" fmla="*/ 2081689 w 6400800"/>
                <a:gd name="connsiteY6003" fmla="*/ 341471 h 514350"/>
                <a:gd name="connsiteX6004" fmla="*/ 2078831 w 6400800"/>
                <a:gd name="connsiteY6004" fmla="*/ 337661 h 514350"/>
                <a:gd name="connsiteX6005" fmla="*/ 2079784 w 6400800"/>
                <a:gd name="connsiteY6005" fmla="*/ 330041 h 514350"/>
                <a:gd name="connsiteX6006" fmla="*/ 2081689 w 6400800"/>
                <a:gd name="connsiteY6006" fmla="*/ 339566 h 514350"/>
                <a:gd name="connsiteX6007" fmla="*/ 2081689 w 6400800"/>
                <a:gd name="connsiteY6007" fmla="*/ 339566 h 514350"/>
                <a:gd name="connsiteX6008" fmla="*/ 2085499 w 6400800"/>
                <a:gd name="connsiteY6008" fmla="*/ 290036 h 514350"/>
                <a:gd name="connsiteX6009" fmla="*/ 2084546 w 6400800"/>
                <a:gd name="connsiteY6009" fmla="*/ 307181 h 514350"/>
                <a:gd name="connsiteX6010" fmla="*/ 2083594 w 6400800"/>
                <a:gd name="connsiteY6010" fmla="*/ 303371 h 514350"/>
                <a:gd name="connsiteX6011" fmla="*/ 2086451 w 6400800"/>
                <a:gd name="connsiteY6011" fmla="*/ 273844 h 514350"/>
                <a:gd name="connsiteX6012" fmla="*/ 2087404 w 6400800"/>
                <a:gd name="connsiteY6012" fmla="*/ 267176 h 514350"/>
                <a:gd name="connsiteX6013" fmla="*/ 2085499 w 6400800"/>
                <a:gd name="connsiteY6013" fmla="*/ 290036 h 514350"/>
                <a:gd name="connsiteX6014" fmla="*/ 2089309 w 6400800"/>
                <a:gd name="connsiteY6014" fmla="*/ 180499 h 514350"/>
                <a:gd name="connsiteX6015" fmla="*/ 2089309 w 6400800"/>
                <a:gd name="connsiteY6015" fmla="*/ 200501 h 514350"/>
                <a:gd name="connsiteX6016" fmla="*/ 2086451 w 6400800"/>
                <a:gd name="connsiteY6016" fmla="*/ 192881 h 514350"/>
                <a:gd name="connsiteX6017" fmla="*/ 2089309 w 6400800"/>
                <a:gd name="connsiteY6017" fmla="*/ 180499 h 514350"/>
                <a:gd name="connsiteX6018" fmla="*/ 2072164 w 6400800"/>
                <a:gd name="connsiteY6018" fmla="*/ 241459 h 514350"/>
                <a:gd name="connsiteX6019" fmla="*/ 2086451 w 6400800"/>
                <a:gd name="connsiteY6019" fmla="*/ 193834 h 514350"/>
                <a:gd name="connsiteX6020" fmla="*/ 2090261 w 6400800"/>
                <a:gd name="connsiteY6020" fmla="*/ 207169 h 514350"/>
                <a:gd name="connsiteX6021" fmla="*/ 2090261 w 6400800"/>
                <a:gd name="connsiteY6021" fmla="*/ 208121 h 514350"/>
                <a:gd name="connsiteX6022" fmla="*/ 2075974 w 6400800"/>
                <a:gd name="connsiteY6022" fmla="*/ 271939 h 514350"/>
                <a:gd name="connsiteX6023" fmla="*/ 2074069 w 6400800"/>
                <a:gd name="connsiteY6023" fmla="*/ 282416 h 514350"/>
                <a:gd name="connsiteX6024" fmla="*/ 2068354 w 6400800"/>
                <a:gd name="connsiteY6024" fmla="*/ 271939 h 514350"/>
                <a:gd name="connsiteX6025" fmla="*/ 2065496 w 6400800"/>
                <a:gd name="connsiteY6025" fmla="*/ 266224 h 514350"/>
                <a:gd name="connsiteX6026" fmla="*/ 2072164 w 6400800"/>
                <a:gd name="connsiteY6026" fmla="*/ 241459 h 514350"/>
                <a:gd name="connsiteX6027" fmla="*/ 2062639 w 6400800"/>
                <a:gd name="connsiteY6027" fmla="*/ 270034 h 514350"/>
                <a:gd name="connsiteX6028" fmla="*/ 2063591 w 6400800"/>
                <a:gd name="connsiteY6028" fmla="*/ 272891 h 514350"/>
                <a:gd name="connsiteX6029" fmla="*/ 2069306 w 6400800"/>
                <a:gd name="connsiteY6029" fmla="*/ 292894 h 514350"/>
                <a:gd name="connsiteX6030" fmla="*/ 2070259 w 6400800"/>
                <a:gd name="connsiteY6030" fmla="*/ 294799 h 514350"/>
                <a:gd name="connsiteX6031" fmla="*/ 2067401 w 6400800"/>
                <a:gd name="connsiteY6031" fmla="*/ 310039 h 514350"/>
                <a:gd name="connsiteX6032" fmla="*/ 2065496 w 6400800"/>
                <a:gd name="connsiteY6032" fmla="*/ 303371 h 514350"/>
                <a:gd name="connsiteX6033" fmla="*/ 2058829 w 6400800"/>
                <a:gd name="connsiteY6033" fmla="*/ 284321 h 514350"/>
                <a:gd name="connsiteX6034" fmla="*/ 2062639 w 6400800"/>
                <a:gd name="connsiteY6034" fmla="*/ 270034 h 514350"/>
                <a:gd name="connsiteX6035" fmla="*/ 2053114 w 6400800"/>
                <a:gd name="connsiteY6035" fmla="*/ 301466 h 514350"/>
                <a:gd name="connsiteX6036" fmla="*/ 2054066 w 6400800"/>
                <a:gd name="connsiteY6036" fmla="*/ 306229 h 514350"/>
                <a:gd name="connsiteX6037" fmla="*/ 2056924 w 6400800"/>
                <a:gd name="connsiteY6037" fmla="*/ 320516 h 514350"/>
                <a:gd name="connsiteX6038" fmla="*/ 2055971 w 6400800"/>
                <a:gd name="connsiteY6038" fmla="*/ 320516 h 514350"/>
                <a:gd name="connsiteX6039" fmla="*/ 2049304 w 6400800"/>
                <a:gd name="connsiteY6039" fmla="*/ 317659 h 514350"/>
                <a:gd name="connsiteX6040" fmla="*/ 2055971 w 6400800"/>
                <a:gd name="connsiteY6040" fmla="*/ 321469 h 514350"/>
                <a:gd name="connsiteX6041" fmla="*/ 2057876 w 6400800"/>
                <a:gd name="connsiteY6041" fmla="*/ 322421 h 514350"/>
                <a:gd name="connsiteX6042" fmla="*/ 2059781 w 6400800"/>
                <a:gd name="connsiteY6042" fmla="*/ 332899 h 514350"/>
                <a:gd name="connsiteX6043" fmla="*/ 2053114 w 6400800"/>
                <a:gd name="connsiteY6043" fmla="*/ 342424 h 514350"/>
                <a:gd name="connsiteX6044" fmla="*/ 2049304 w 6400800"/>
                <a:gd name="connsiteY6044" fmla="*/ 321469 h 514350"/>
                <a:gd name="connsiteX6045" fmla="*/ 2049304 w 6400800"/>
                <a:gd name="connsiteY6045" fmla="*/ 315754 h 514350"/>
                <a:gd name="connsiteX6046" fmla="*/ 2053114 w 6400800"/>
                <a:gd name="connsiteY6046" fmla="*/ 301466 h 514350"/>
                <a:gd name="connsiteX6047" fmla="*/ 2044541 w 6400800"/>
                <a:gd name="connsiteY6047" fmla="*/ 260509 h 514350"/>
                <a:gd name="connsiteX6048" fmla="*/ 2044541 w 6400800"/>
                <a:gd name="connsiteY6048" fmla="*/ 260509 h 514350"/>
                <a:gd name="connsiteX6049" fmla="*/ 2044541 w 6400800"/>
                <a:gd name="connsiteY6049" fmla="*/ 259556 h 514350"/>
                <a:gd name="connsiteX6050" fmla="*/ 2044541 w 6400800"/>
                <a:gd name="connsiteY6050" fmla="*/ 260509 h 514350"/>
                <a:gd name="connsiteX6051" fmla="*/ 2019776 w 6400800"/>
                <a:gd name="connsiteY6051" fmla="*/ 188119 h 514350"/>
                <a:gd name="connsiteX6052" fmla="*/ 2019776 w 6400800"/>
                <a:gd name="connsiteY6052" fmla="*/ 185261 h 514350"/>
                <a:gd name="connsiteX6053" fmla="*/ 2020729 w 6400800"/>
                <a:gd name="connsiteY6053" fmla="*/ 177641 h 514350"/>
                <a:gd name="connsiteX6054" fmla="*/ 2020729 w 6400800"/>
                <a:gd name="connsiteY6054" fmla="*/ 189071 h 514350"/>
                <a:gd name="connsiteX6055" fmla="*/ 2021681 w 6400800"/>
                <a:gd name="connsiteY6055" fmla="*/ 220504 h 514350"/>
                <a:gd name="connsiteX6056" fmla="*/ 2023586 w 6400800"/>
                <a:gd name="connsiteY6056" fmla="*/ 244316 h 514350"/>
                <a:gd name="connsiteX6057" fmla="*/ 2022634 w 6400800"/>
                <a:gd name="connsiteY6057" fmla="*/ 247174 h 514350"/>
                <a:gd name="connsiteX6058" fmla="*/ 2016919 w 6400800"/>
                <a:gd name="connsiteY6058" fmla="*/ 222409 h 514350"/>
                <a:gd name="connsiteX6059" fmla="*/ 2019776 w 6400800"/>
                <a:gd name="connsiteY6059" fmla="*/ 188119 h 514350"/>
                <a:gd name="connsiteX6060" fmla="*/ 1999774 w 6400800"/>
                <a:gd name="connsiteY6060" fmla="*/ 298609 h 514350"/>
                <a:gd name="connsiteX6061" fmla="*/ 1999774 w 6400800"/>
                <a:gd name="connsiteY6061" fmla="*/ 304324 h 514350"/>
                <a:gd name="connsiteX6062" fmla="*/ 1997869 w 6400800"/>
                <a:gd name="connsiteY6062" fmla="*/ 310039 h 514350"/>
                <a:gd name="connsiteX6063" fmla="*/ 1999774 w 6400800"/>
                <a:gd name="connsiteY6063" fmla="*/ 298609 h 514350"/>
                <a:gd name="connsiteX6064" fmla="*/ 1992154 w 6400800"/>
                <a:gd name="connsiteY6064" fmla="*/ 349091 h 514350"/>
                <a:gd name="connsiteX6065" fmla="*/ 1992154 w 6400800"/>
                <a:gd name="connsiteY6065" fmla="*/ 359569 h 514350"/>
                <a:gd name="connsiteX6066" fmla="*/ 1992154 w 6400800"/>
                <a:gd name="connsiteY6066" fmla="*/ 369094 h 514350"/>
                <a:gd name="connsiteX6067" fmla="*/ 1988344 w 6400800"/>
                <a:gd name="connsiteY6067" fmla="*/ 373856 h 514350"/>
                <a:gd name="connsiteX6068" fmla="*/ 1992154 w 6400800"/>
                <a:gd name="connsiteY6068" fmla="*/ 349091 h 514350"/>
                <a:gd name="connsiteX6069" fmla="*/ 1987391 w 6400800"/>
                <a:gd name="connsiteY6069" fmla="*/ 381476 h 514350"/>
                <a:gd name="connsiteX6070" fmla="*/ 1987391 w 6400800"/>
                <a:gd name="connsiteY6070" fmla="*/ 381476 h 514350"/>
                <a:gd name="connsiteX6071" fmla="*/ 1992154 w 6400800"/>
                <a:gd name="connsiteY6071" fmla="*/ 372904 h 514350"/>
                <a:gd name="connsiteX6072" fmla="*/ 1992154 w 6400800"/>
                <a:gd name="connsiteY6072" fmla="*/ 379571 h 514350"/>
                <a:gd name="connsiteX6073" fmla="*/ 1991201 w 6400800"/>
                <a:gd name="connsiteY6073" fmla="*/ 386239 h 514350"/>
                <a:gd name="connsiteX6074" fmla="*/ 1988344 w 6400800"/>
                <a:gd name="connsiteY6074" fmla="*/ 400526 h 514350"/>
                <a:gd name="connsiteX6075" fmla="*/ 1988344 w 6400800"/>
                <a:gd name="connsiteY6075" fmla="*/ 399574 h 514350"/>
                <a:gd name="connsiteX6076" fmla="*/ 1985486 w 6400800"/>
                <a:gd name="connsiteY6076" fmla="*/ 392906 h 514350"/>
                <a:gd name="connsiteX6077" fmla="*/ 1987391 w 6400800"/>
                <a:gd name="connsiteY6077" fmla="*/ 381476 h 514350"/>
                <a:gd name="connsiteX6078" fmla="*/ 1968341 w 6400800"/>
                <a:gd name="connsiteY6078" fmla="*/ 290989 h 514350"/>
                <a:gd name="connsiteX6079" fmla="*/ 1967389 w 6400800"/>
                <a:gd name="connsiteY6079" fmla="*/ 297656 h 514350"/>
                <a:gd name="connsiteX6080" fmla="*/ 1966436 w 6400800"/>
                <a:gd name="connsiteY6080" fmla="*/ 305276 h 514350"/>
                <a:gd name="connsiteX6081" fmla="*/ 1965484 w 6400800"/>
                <a:gd name="connsiteY6081" fmla="*/ 318611 h 514350"/>
                <a:gd name="connsiteX6082" fmla="*/ 1964531 w 6400800"/>
                <a:gd name="connsiteY6082" fmla="*/ 304324 h 514350"/>
                <a:gd name="connsiteX6083" fmla="*/ 1964531 w 6400800"/>
                <a:gd name="connsiteY6083" fmla="*/ 300514 h 514350"/>
                <a:gd name="connsiteX6084" fmla="*/ 1968341 w 6400800"/>
                <a:gd name="connsiteY6084" fmla="*/ 290989 h 514350"/>
                <a:gd name="connsiteX6085" fmla="*/ 1937861 w 6400800"/>
                <a:gd name="connsiteY6085" fmla="*/ 310039 h 514350"/>
                <a:gd name="connsiteX6086" fmla="*/ 1937861 w 6400800"/>
                <a:gd name="connsiteY6086" fmla="*/ 302419 h 514350"/>
                <a:gd name="connsiteX6087" fmla="*/ 1937861 w 6400800"/>
                <a:gd name="connsiteY6087" fmla="*/ 295751 h 514350"/>
                <a:gd name="connsiteX6088" fmla="*/ 1938814 w 6400800"/>
                <a:gd name="connsiteY6088" fmla="*/ 306229 h 514350"/>
                <a:gd name="connsiteX6089" fmla="*/ 1937861 w 6400800"/>
                <a:gd name="connsiteY6089" fmla="*/ 310039 h 514350"/>
                <a:gd name="connsiteX6090" fmla="*/ 1938814 w 6400800"/>
                <a:gd name="connsiteY6090" fmla="*/ 272891 h 514350"/>
                <a:gd name="connsiteX6091" fmla="*/ 1936909 w 6400800"/>
                <a:gd name="connsiteY6091" fmla="*/ 266224 h 514350"/>
                <a:gd name="connsiteX6092" fmla="*/ 1936909 w 6400800"/>
                <a:gd name="connsiteY6092" fmla="*/ 261461 h 514350"/>
                <a:gd name="connsiteX6093" fmla="*/ 1936909 w 6400800"/>
                <a:gd name="connsiteY6093" fmla="*/ 246221 h 514350"/>
                <a:gd name="connsiteX6094" fmla="*/ 1938814 w 6400800"/>
                <a:gd name="connsiteY6094" fmla="*/ 272891 h 514350"/>
                <a:gd name="connsiteX6095" fmla="*/ 1900714 w 6400800"/>
                <a:gd name="connsiteY6095" fmla="*/ 338614 h 514350"/>
                <a:gd name="connsiteX6096" fmla="*/ 1900714 w 6400800"/>
                <a:gd name="connsiteY6096" fmla="*/ 333851 h 514350"/>
                <a:gd name="connsiteX6097" fmla="*/ 1902619 w 6400800"/>
                <a:gd name="connsiteY6097" fmla="*/ 329089 h 514350"/>
                <a:gd name="connsiteX6098" fmla="*/ 1904524 w 6400800"/>
                <a:gd name="connsiteY6098" fmla="*/ 325279 h 514350"/>
                <a:gd name="connsiteX6099" fmla="*/ 1900714 w 6400800"/>
                <a:gd name="connsiteY6099" fmla="*/ 338614 h 514350"/>
                <a:gd name="connsiteX6100" fmla="*/ 1915954 w 6400800"/>
                <a:gd name="connsiteY6100" fmla="*/ 436721 h 514350"/>
                <a:gd name="connsiteX6101" fmla="*/ 1915954 w 6400800"/>
                <a:gd name="connsiteY6101" fmla="*/ 433864 h 514350"/>
                <a:gd name="connsiteX6102" fmla="*/ 1916906 w 6400800"/>
                <a:gd name="connsiteY6102" fmla="*/ 434816 h 514350"/>
                <a:gd name="connsiteX6103" fmla="*/ 1915954 w 6400800"/>
                <a:gd name="connsiteY6103" fmla="*/ 436721 h 514350"/>
                <a:gd name="connsiteX6104" fmla="*/ 1920716 w 6400800"/>
                <a:gd name="connsiteY6104" fmla="*/ 401479 h 514350"/>
                <a:gd name="connsiteX6105" fmla="*/ 1919764 w 6400800"/>
                <a:gd name="connsiteY6105" fmla="*/ 407194 h 514350"/>
                <a:gd name="connsiteX6106" fmla="*/ 1917859 w 6400800"/>
                <a:gd name="connsiteY6106" fmla="*/ 404336 h 514350"/>
                <a:gd name="connsiteX6107" fmla="*/ 1919764 w 6400800"/>
                <a:gd name="connsiteY6107" fmla="*/ 398621 h 514350"/>
                <a:gd name="connsiteX6108" fmla="*/ 1920716 w 6400800"/>
                <a:gd name="connsiteY6108" fmla="*/ 401479 h 514350"/>
                <a:gd name="connsiteX6109" fmla="*/ 1917859 w 6400800"/>
                <a:gd name="connsiteY6109" fmla="*/ 331946 h 514350"/>
                <a:gd name="connsiteX6110" fmla="*/ 1919764 w 6400800"/>
                <a:gd name="connsiteY6110" fmla="*/ 337661 h 514350"/>
                <a:gd name="connsiteX6111" fmla="*/ 1919764 w 6400800"/>
                <a:gd name="connsiteY6111" fmla="*/ 337661 h 514350"/>
                <a:gd name="connsiteX6112" fmla="*/ 1918811 w 6400800"/>
                <a:gd name="connsiteY6112" fmla="*/ 338614 h 514350"/>
                <a:gd name="connsiteX6113" fmla="*/ 1916906 w 6400800"/>
                <a:gd name="connsiteY6113" fmla="*/ 342424 h 514350"/>
                <a:gd name="connsiteX6114" fmla="*/ 1916906 w 6400800"/>
                <a:gd name="connsiteY6114" fmla="*/ 341471 h 514350"/>
                <a:gd name="connsiteX6115" fmla="*/ 1915954 w 6400800"/>
                <a:gd name="connsiteY6115" fmla="*/ 344329 h 514350"/>
                <a:gd name="connsiteX6116" fmla="*/ 1915001 w 6400800"/>
                <a:gd name="connsiteY6116" fmla="*/ 345281 h 514350"/>
                <a:gd name="connsiteX6117" fmla="*/ 1917859 w 6400800"/>
                <a:gd name="connsiteY6117" fmla="*/ 331946 h 514350"/>
                <a:gd name="connsiteX6118" fmla="*/ 1919764 w 6400800"/>
                <a:gd name="connsiteY6118" fmla="*/ 360521 h 514350"/>
                <a:gd name="connsiteX6119" fmla="*/ 1919764 w 6400800"/>
                <a:gd name="connsiteY6119" fmla="*/ 364331 h 514350"/>
                <a:gd name="connsiteX6120" fmla="*/ 1915001 w 6400800"/>
                <a:gd name="connsiteY6120" fmla="*/ 373856 h 514350"/>
                <a:gd name="connsiteX6121" fmla="*/ 1908334 w 6400800"/>
                <a:gd name="connsiteY6121" fmla="*/ 388144 h 514350"/>
                <a:gd name="connsiteX6122" fmla="*/ 1907381 w 6400800"/>
                <a:gd name="connsiteY6122" fmla="*/ 387191 h 514350"/>
                <a:gd name="connsiteX6123" fmla="*/ 1907381 w 6400800"/>
                <a:gd name="connsiteY6123" fmla="*/ 385286 h 514350"/>
                <a:gd name="connsiteX6124" fmla="*/ 1910239 w 6400800"/>
                <a:gd name="connsiteY6124" fmla="*/ 380524 h 514350"/>
                <a:gd name="connsiteX6125" fmla="*/ 1919764 w 6400800"/>
                <a:gd name="connsiteY6125" fmla="*/ 360521 h 514350"/>
                <a:gd name="connsiteX6126" fmla="*/ 1910239 w 6400800"/>
                <a:gd name="connsiteY6126" fmla="*/ 299561 h 514350"/>
                <a:gd name="connsiteX6127" fmla="*/ 1908334 w 6400800"/>
                <a:gd name="connsiteY6127" fmla="*/ 305276 h 514350"/>
                <a:gd name="connsiteX6128" fmla="*/ 1908334 w 6400800"/>
                <a:gd name="connsiteY6128" fmla="*/ 305276 h 514350"/>
                <a:gd name="connsiteX6129" fmla="*/ 1910239 w 6400800"/>
                <a:gd name="connsiteY6129" fmla="*/ 299561 h 514350"/>
                <a:gd name="connsiteX6130" fmla="*/ 1906429 w 6400800"/>
                <a:gd name="connsiteY6130" fmla="*/ 313849 h 514350"/>
                <a:gd name="connsiteX6131" fmla="*/ 1908334 w 6400800"/>
                <a:gd name="connsiteY6131" fmla="*/ 309086 h 514350"/>
                <a:gd name="connsiteX6132" fmla="*/ 1908334 w 6400800"/>
                <a:gd name="connsiteY6132" fmla="*/ 310039 h 514350"/>
                <a:gd name="connsiteX6133" fmla="*/ 1906429 w 6400800"/>
                <a:gd name="connsiteY6133" fmla="*/ 315754 h 514350"/>
                <a:gd name="connsiteX6134" fmla="*/ 1905476 w 6400800"/>
                <a:gd name="connsiteY6134" fmla="*/ 316706 h 514350"/>
                <a:gd name="connsiteX6135" fmla="*/ 1906429 w 6400800"/>
                <a:gd name="connsiteY6135" fmla="*/ 313849 h 514350"/>
                <a:gd name="connsiteX6136" fmla="*/ 1893094 w 6400800"/>
                <a:gd name="connsiteY6136" fmla="*/ 259556 h 514350"/>
                <a:gd name="connsiteX6137" fmla="*/ 1894046 w 6400800"/>
                <a:gd name="connsiteY6137" fmla="*/ 256699 h 514350"/>
                <a:gd name="connsiteX6138" fmla="*/ 1894999 w 6400800"/>
                <a:gd name="connsiteY6138" fmla="*/ 256699 h 514350"/>
                <a:gd name="connsiteX6139" fmla="*/ 1899761 w 6400800"/>
                <a:gd name="connsiteY6139" fmla="*/ 260509 h 514350"/>
                <a:gd name="connsiteX6140" fmla="*/ 1904524 w 6400800"/>
                <a:gd name="connsiteY6140" fmla="*/ 275749 h 514350"/>
                <a:gd name="connsiteX6141" fmla="*/ 1895951 w 6400800"/>
                <a:gd name="connsiteY6141" fmla="*/ 297656 h 514350"/>
                <a:gd name="connsiteX6142" fmla="*/ 1894046 w 6400800"/>
                <a:gd name="connsiteY6142" fmla="*/ 281464 h 514350"/>
                <a:gd name="connsiteX6143" fmla="*/ 1892141 w 6400800"/>
                <a:gd name="connsiteY6143" fmla="*/ 270034 h 514350"/>
                <a:gd name="connsiteX6144" fmla="*/ 1893094 w 6400800"/>
                <a:gd name="connsiteY6144" fmla="*/ 272891 h 514350"/>
                <a:gd name="connsiteX6145" fmla="*/ 1893094 w 6400800"/>
                <a:gd name="connsiteY6145" fmla="*/ 259556 h 514350"/>
                <a:gd name="connsiteX6146" fmla="*/ 1841659 w 6400800"/>
                <a:gd name="connsiteY6146" fmla="*/ 297656 h 514350"/>
                <a:gd name="connsiteX6147" fmla="*/ 1840706 w 6400800"/>
                <a:gd name="connsiteY6147" fmla="*/ 313849 h 514350"/>
                <a:gd name="connsiteX6148" fmla="*/ 1838801 w 6400800"/>
                <a:gd name="connsiteY6148" fmla="*/ 294799 h 514350"/>
                <a:gd name="connsiteX6149" fmla="*/ 1838801 w 6400800"/>
                <a:gd name="connsiteY6149" fmla="*/ 290989 h 514350"/>
                <a:gd name="connsiteX6150" fmla="*/ 1841659 w 6400800"/>
                <a:gd name="connsiteY6150" fmla="*/ 297656 h 514350"/>
                <a:gd name="connsiteX6151" fmla="*/ 1822609 w 6400800"/>
                <a:gd name="connsiteY6151" fmla="*/ 363379 h 514350"/>
                <a:gd name="connsiteX6152" fmla="*/ 1826419 w 6400800"/>
                <a:gd name="connsiteY6152" fmla="*/ 353854 h 514350"/>
                <a:gd name="connsiteX6153" fmla="*/ 1827371 w 6400800"/>
                <a:gd name="connsiteY6153" fmla="*/ 364331 h 514350"/>
                <a:gd name="connsiteX6154" fmla="*/ 1823561 w 6400800"/>
                <a:gd name="connsiteY6154" fmla="*/ 368141 h 514350"/>
                <a:gd name="connsiteX6155" fmla="*/ 1822609 w 6400800"/>
                <a:gd name="connsiteY6155" fmla="*/ 363379 h 514350"/>
                <a:gd name="connsiteX6156" fmla="*/ 1828324 w 6400800"/>
                <a:gd name="connsiteY6156" fmla="*/ 403384 h 514350"/>
                <a:gd name="connsiteX6157" fmla="*/ 1827371 w 6400800"/>
                <a:gd name="connsiteY6157" fmla="*/ 400526 h 514350"/>
                <a:gd name="connsiteX6158" fmla="*/ 1825466 w 6400800"/>
                <a:gd name="connsiteY6158" fmla="*/ 381476 h 514350"/>
                <a:gd name="connsiteX6159" fmla="*/ 1828324 w 6400800"/>
                <a:gd name="connsiteY6159" fmla="*/ 377666 h 514350"/>
                <a:gd name="connsiteX6160" fmla="*/ 1829276 w 6400800"/>
                <a:gd name="connsiteY6160" fmla="*/ 399574 h 514350"/>
                <a:gd name="connsiteX6161" fmla="*/ 1828324 w 6400800"/>
                <a:gd name="connsiteY6161" fmla="*/ 403384 h 514350"/>
                <a:gd name="connsiteX6162" fmla="*/ 1833086 w 6400800"/>
                <a:gd name="connsiteY6162" fmla="*/ 339566 h 514350"/>
                <a:gd name="connsiteX6163" fmla="*/ 1833086 w 6400800"/>
                <a:gd name="connsiteY6163" fmla="*/ 339566 h 514350"/>
                <a:gd name="connsiteX6164" fmla="*/ 1833086 w 6400800"/>
                <a:gd name="connsiteY6164" fmla="*/ 340519 h 514350"/>
                <a:gd name="connsiteX6165" fmla="*/ 1833086 w 6400800"/>
                <a:gd name="connsiteY6165" fmla="*/ 339566 h 514350"/>
                <a:gd name="connsiteX6166" fmla="*/ 1824514 w 6400800"/>
                <a:gd name="connsiteY6166" fmla="*/ 272891 h 514350"/>
                <a:gd name="connsiteX6167" fmla="*/ 1824514 w 6400800"/>
                <a:gd name="connsiteY6167" fmla="*/ 263366 h 514350"/>
                <a:gd name="connsiteX6168" fmla="*/ 1835944 w 6400800"/>
                <a:gd name="connsiteY6168" fmla="*/ 285274 h 514350"/>
                <a:gd name="connsiteX6169" fmla="*/ 1834991 w 6400800"/>
                <a:gd name="connsiteY6169" fmla="*/ 294799 h 514350"/>
                <a:gd name="connsiteX6170" fmla="*/ 1834039 w 6400800"/>
                <a:gd name="connsiteY6170" fmla="*/ 320516 h 514350"/>
                <a:gd name="connsiteX6171" fmla="*/ 1834039 w 6400800"/>
                <a:gd name="connsiteY6171" fmla="*/ 330994 h 514350"/>
                <a:gd name="connsiteX6172" fmla="*/ 1833086 w 6400800"/>
                <a:gd name="connsiteY6172" fmla="*/ 331946 h 514350"/>
                <a:gd name="connsiteX6173" fmla="*/ 1832134 w 6400800"/>
                <a:gd name="connsiteY6173" fmla="*/ 332899 h 514350"/>
                <a:gd name="connsiteX6174" fmla="*/ 1827371 w 6400800"/>
                <a:gd name="connsiteY6174" fmla="*/ 316706 h 514350"/>
                <a:gd name="connsiteX6175" fmla="*/ 1822609 w 6400800"/>
                <a:gd name="connsiteY6175" fmla="*/ 303371 h 514350"/>
                <a:gd name="connsiteX6176" fmla="*/ 1824514 w 6400800"/>
                <a:gd name="connsiteY6176" fmla="*/ 272891 h 514350"/>
                <a:gd name="connsiteX6177" fmla="*/ 1822609 w 6400800"/>
                <a:gd name="connsiteY6177" fmla="*/ 309086 h 514350"/>
                <a:gd name="connsiteX6178" fmla="*/ 1823561 w 6400800"/>
                <a:gd name="connsiteY6178" fmla="*/ 317659 h 514350"/>
                <a:gd name="connsiteX6179" fmla="*/ 1825466 w 6400800"/>
                <a:gd name="connsiteY6179" fmla="*/ 338614 h 514350"/>
                <a:gd name="connsiteX6180" fmla="*/ 1825466 w 6400800"/>
                <a:gd name="connsiteY6180" fmla="*/ 340519 h 514350"/>
                <a:gd name="connsiteX6181" fmla="*/ 1820704 w 6400800"/>
                <a:gd name="connsiteY6181" fmla="*/ 348139 h 514350"/>
                <a:gd name="connsiteX6182" fmla="*/ 1820704 w 6400800"/>
                <a:gd name="connsiteY6182" fmla="*/ 332899 h 514350"/>
                <a:gd name="connsiteX6183" fmla="*/ 1820704 w 6400800"/>
                <a:gd name="connsiteY6183" fmla="*/ 331946 h 514350"/>
                <a:gd name="connsiteX6184" fmla="*/ 1822609 w 6400800"/>
                <a:gd name="connsiteY6184" fmla="*/ 309086 h 514350"/>
                <a:gd name="connsiteX6185" fmla="*/ 1763554 w 6400800"/>
                <a:gd name="connsiteY6185" fmla="*/ 411956 h 514350"/>
                <a:gd name="connsiteX6186" fmla="*/ 1762601 w 6400800"/>
                <a:gd name="connsiteY6186" fmla="*/ 406241 h 514350"/>
                <a:gd name="connsiteX6187" fmla="*/ 1761649 w 6400800"/>
                <a:gd name="connsiteY6187" fmla="*/ 397669 h 514350"/>
                <a:gd name="connsiteX6188" fmla="*/ 1761649 w 6400800"/>
                <a:gd name="connsiteY6188" fmla="*/ 397669 h 514350"/>
                <a:gd name="connsiteX6189" fmla="*/ 1764506 w 6400800"/>
                <a:gd name="connsiteY6189" fmla="*/ 400526 h 514350"/>
                <a:gd name="connsiteX6190" fmla="*/ 1763554 w 6400800"/>
                <a:gd name="connsiteY6190" fmla="*/ 411956 h 514350"/>
                <a:gd name="connsiteX6191" fmla="*/ 1766411 w 6400800"/>
                <a:gd name="connsiteY6191" fmla="*/ 379571 h 514350"/>
                <a:gd name="connsiteX6192" fmla="*/ 1766411 w 6400800"/>
                <a:gd name="connsiteY6192" fmla="*/ 379571 h 514350"/>
                <a:gd name="connsiteX6193" fmla="*/ 1766411 w 6400800"/>
                <a:gd name="connsiteY6193" fmla="*/ 377666 h 514350"/>
                <a:gd name="connsiteX6194" fmla="*/ 1766411 w 6400800"/>
                <a:gd name="connsiteY6194" fmla="*/ 379571 h 514350"/>
                <a:gd name="connsiteX6195" fmla="*/ 1792129 w 6400800"/>
                <a:gd name="connsiteY6195" fmla="*/ 251936 h 514350"/>
                <a:gd name="connsiteX6196" fmla="*/ 1802606 w 6400800"/>
                <a:gd name="connsiteY6196" fmla="*/ 219551 h 514350"/>
                <a:gd name="connsiteX6197" fmla="*/ 1802606 w 6400800"/>
                <a:gd name="connsiteY6197" fmla="*/ 219551 h 514350"/>
                <a:gd name="connsiteX6198" fmla="*/ 1801654 w 6400800"/>
                <a:gd name="connsiteY6198" fmla="*/ 274796 h 514350"/>
                <a:gd name="connsiteX6199" fmla="*/ 1800701 w 6400800"/>
                <a:gd name="connsiteY6199" fmla="*/ 327184 h 514350"/>
                <a:gd name="connsiteX6200" fmla="*/ 1794034 w 6400800"/>
                <a:gd name="connsiteY6200" fmla="*/ 310991 h 514350"/>
                <a:gd name="connsiteX6201" fmla="*/ 1788319 w 6400800"/>
                <a:gd name="connsiteY6201" fmla="*/ 294799 h 514350"/>
                <a:gd name="connsiteX6202" fmla="*/ 1787366 w 6400800"/>
                <a:gd name="connsiteY6202" fmla="*/ 292894 h 514350"/>
                <a:gd name="connsiteX6203" fmla="*/ 1786414 w 6400800"/>
                <a:gd name="connsiteY6203" fmla="*/ 287179 h 514350"/>
                <a:gd name="connsiteX6204" fmla="*/ 1788319 w 6400800"/>
                <a:gd name="connsiteY6204" fmla="*/ 279559 h 514350"/>
                <a:gd name="connsiteX6205" fmla="*/ 1787366 w 6400800"/>
                <a:gd name="connsiteY6205" fmla="*/ 275749 h 514350"/>
                <a:gd name="connsiteX6206" fmla="*/ 1785461 w 6400800"/>
                <a:gd name="connsiteY6206" fmla="*/ 274796 h 514350"/>
                <a:gd name="connsiteX6207" fmla="*/ 1785461 w 6400800"/>
                <a:gd name="connsiteY6207" fmla="*/ 274796 h 514350"/>
                <a:gd name="connsiteX6208" fmla="*/ 1792129 w 6400800"/>
                <a:gd name="connsiteY6208" fmla="*/ 251936 h 514350"/>
                <a:gd name="connsiteX6209" fmla="*/ 1785461 w 6400800"/>
                <a:gd name="connsiteY6209" fmla="*/ 276701 h 514350"/>
                <a:gd name="connsiteX6210" fmla="*/ 1786414 w 6400800"/>
                <a:gd name="connsiteY6210" fmla="*/ 278606 h 514350"/>
                <a:gd name="connsiteX6211" fmla="*/ 1786414 w 6400800"/>
                <a:gd name="connsiteY6211" fmla="*/ 282416 h 514350"/>
                <a:gd name="connsiteX6212" fmla="*/ 1785461 w 6400800"/>
                <a:gd name="connsiteY6212" fmla="*/ 276701 h 514350"/>
                <a:gd name="connsiteX6213" fmla="*/ 1785461 w 6400800"/>
                <a:gd name="connsiteY6213" fmla="*/ 276701 h 514350"/>
                <a:gd name="connsiteX6214" fmla="*/ 1776889 w 6400800"/>
                <a:gd name="connsiteY6214" fmla="*/ 330994 h 514350"/>
                <a:gd name="connsiteX6215" fmla="*/ 1785461 w 6400800"/>
                <a:gd name="connsiteY6215" fmla="*/ 376714 h 514350"/>
                <a:gd name="connsiteX6216" fmla="*/ 1786414 w 6400800"/>
                <a:gd name="connsiteY6216" fmla="*/ 385286 h 514350"/>
                <a:gd name="connsiteX6217" fmla="*/ 1784509 w 6400800"/>
                <a:gd name="connsiteY6217" fmla="*/ 382429 h 514350"/>
                <a:gd name="connsiteX6218" fmla="*/ 1785461 w 6400800"/>
                <a:gd name="connsiteY6218" fmla="*/ 374809 h 514350"/>
                <a:gd name="connsiteX6219" fmla="*/ 1783556 w 6400800"/>
                <a:gd name="connsiteY6219" fmla="*/ 380524 h 514350"/>
                <a:gd name="connsiteX6220" fmla="*/ 1776889 w 6400800"/>
                <a:gd name="connsiteY6220" fmla="*/ 370999 h 514350"/>
                <a:gd name="connsiteX6221" fmla="*/ 1776889 w 6400800"/>
                <a:gd name="connsiteY6221" fmla="*/ 337661 h 514350"/>
                <a:gd name="connsiteX6222" fmla="*/ 1776889 w 6400800"/>
                <a:gd name="connsiteY6222" fmla="*/ 330994 h 514350"/>
                <a:gd name="connsiteX6223" fmla="*/ 1755934 w 6400800"/>
                <a:gd name="connsiteY6223" fmla="*/ 211931 h 514350"/>
                <a:gd name="connsiteX6224" fmla="*/ 1761649 w 6400800"/>
                <a:gd name="connsiteY6224" fmla="*/ 233839 h 514350"/>
                <a:gd name="connsiteX6225" fmla="*/ 1762601 w 6400800"/>
                <a:gd name="connsiteY6225" fmla="*/ 238601 h 514350"/>
                <a:gd name="connsiteX6226" fmla="*/ 1760696 w 6400800"/>
                <a:gd name="connsiteY6226" fmla="*/ 234791 h 514350"/>
                <a:gd name="connsiteX6227" fmla="*/ 1759744 w 6400800"/>
                <a:gd name="connsiteY6227" fmla="*/ 230981 h 514350"/>
                <a:gd name="connsiteX6228" fmla="*/ 1759744 w 6400800"/>
                <a:gd name="connsiteY6228" fmla="*/ 232886 h 514350"/>
                <a:gd name="connsiteX6229" fmla="*/ 1756886 w 6400800"/>
                <a:gd name="connsiteY6229" fmla="*/ 227171 h 514350"/>
                <a:gd name="connsiteX6230" fmla="*/ 1754981 w 6400800"/>
                <a:gd name="connsiteY6230" fmla="*/ 223361 h 514350"/>
                <a:gd name="connsiteX6231" fmla="*/ 1755934 w 6400800"/>
                <a:gd name="connsiteY6231" fmla="*/ 211931 h 514350"/>
                <a:gd name="connsiteX6232" fmla="*/ 1754981 w 6400800"/>
                <a:gd name="connsiteY6232" fmla="*/ 232886 h 514350"/>
                <a:gd name="connsiteX6233" fmla="*/ 1755934 w 6400800"/>
                <a:gd name="connsiteY6233" fmla="*/ 235744 h 514350"/>
                <a:gd name="connsiteX6234" fmla="*/ 1754981 w 6400800"/>
                <a:gd name="connsiteY6234" fmla="*/ 240506 h 514350"/>
                <a:gd name="connsiteX6235" fmla="*/ 1754981 w 6400800"/>
                <a:gd name="connsiteY6235" fmla="*/ 232886 h 514350"/>
                <a:gd name="connsiteX6236" fmla="*/ 1754029 w 6400800"/>
                <a:gd name="connsiteY6236" fmla="*/ 281464 h 514350"/>
                <a:gd name="connsiteX6237" fmla="*/ 1754981 w 6400800"/>
                <a:gd name="connsiteY6237" fmla="*/ 252889 h 514350"/>
                <a:gd name="connsiteX6238" fmla="*/ 1756886 w 6400800"/>
                <a:gd name="connsiteY6238" fmla="*/ 236696 h 514350"/>
                <a:gd name="connsiteX6239" fmla="*/ 1763554 w 6400800"/>
                <a:gd name="connsiteY6239" fmla="*/ 256699 h 514350"/>
                <a:gd name="connsiteX6240" fmla="*/ 1768316 w 6400800"/>
                <a:gd name="connsiteY6240" fmla="*/ 286226 h 514350"/>
                <a:gd name="connsiteX6241" fmla="*/ 1754981 w 6400800"/>
                <a:gd name="connsiteY6241" fmla="*/ 322421 h 514350"/>
                <a:gd name="connsiteX6242" fmla="*/ 1754029 w 6400800"/>
                <a:gd name="connsiteY6242" fmla="*/ 317659 h 514350"/>
                <a:gd name="connsiteX6243" fmla="*/ 1754029 w 6400800"/>
                <a:gd name="connsiteY6243" fmla="*/ 316706 h 514350"/>
                <a:gd name="connsiteX6244" fmla="*/ 1754029 w 6400800"/>
                <a:gd name="connsiteY6244" fmla="*/ 281464 h 514350"/>
                <a:gd name="connsiteX6245" fmla="*/ 1687354 w 6400800"/>
                <a:gd name="connsiteY6245" fmla="*/ 295751 h 514350"/>
                <a:gd name="connsiteX6246" fmla="*/ 1685449 w 6400800"/>
                <a:gd name="connsiteY6246" fmla="*/ 314801 h 514350"/>
                <a:gd name="connsiteX6247" fmla="*/ 1684496 w 6400800"/>
                <a:gd name="connsiteY6247" fmla="*/ 325279 h 514350"/>
                <a:gd name="connsiteX6248" fmla="*/ 1681639 w 6400800"/>
                <a:gd name="connsiteY6248" fmla="*/ 311944 h 514350"/>
                <a:gd name="connsiteX6249" fmla="*/ 1681639 w 6400800"/>
                <a:gd name="connsiteY6249" fmla="*/ 309086 h 514350"/>
                <a:gd name="connsiteX6250" fmla="*/ 1681639 w 6400800"/>
                <a:gd name="connsiteY6250" fmla="*/ 310039 h 514350"/>
                <a:gd name="connsiteX6251" fmla="*/ 1680686 w 6400800"/>
                <a:gd name="connsiteY6251" fmla="*/ 306229 h 514350"/>
                <a:gd name="connsiteX6252" fmla="*/ 1681639 w 6400800"/>
                <a:gd name="connsiteY6252" fmla="*/ 303371 h 514350"/>
                <a:gd name="connsiteX6253" fmla="*/ 1684496 w 6400800"/>
                <a:gd name="connsiteY6253" fmla="*/ 295751 h 514350"/>
                <a:gd name="connsiteX6254" fmla="*/ 1689259 w 6400800"/>
                <a:gd name="connsiteY6254" fmla="*/ 282416 h 514350"/>
                <a:gd name="connsiteX6255" fmla="*/ 1687354 w 6400800"/>
                <a:gd name="connsiteY6255" fmla="*/ 295751 h 514350"/>
                <a:gd name="connsiteX6256" fmla="*/ 1678781 w 6400800"/>
                <a:gd name="connsiteY6256" fmla="*/ 276701 h 514350"/>
                <a:gd name="connsiteX6257" fmla="*/ 1684496 w 6400800"/>
                <a:gd name="connsiteY6257" fmla="*/ 245269 h 514350"/>
                <a:gd name="connsiteX6258" fmla="*/ 1686401 w 6400800"/>
                <a:gd name="connsiteY6258" fmla="*/ 259556 h 514350"/>
                <a:gd name="connsiteX6259" fmla="*/ 1686401 w 6400800"/>
                <a:gd name="connsiteY6259" fmla="*/ 268129 h 514350"/>
                <a:gd name="connsiteX6260" fmla="*/ 1686401 w 6400800"/>
                <a:gd name="connsiteY6260" fmla="*/ 270986 h 514350"/>
                <a:gd name="connsiteX6261" fmla="*/ 1675924 w 6400800"/>
                <a:gd name="connsiteY6261" fmla="*/ 292894 h 514350"/>
                <a:gd name="connsiteX6262" fmla="*/ 1675924 w 6400800"/>
                <a:gd name="connsiteY6262" fmla="*/ 291941 h 514350"/>
                <a:gd name="connsiteX6263" fmla="*/ 1678781 w 6400800"/>
                <a:gd name="connsiteY6263" fmla="*/ 278606 h 514350"/>
                <a:gd name="connsiteX6264" fmla="*/ 1679734 w 6400800"/>
                <a:gd name="connsiteY6264" fmla="*/ 275749 h 514350"/>
                <a:gd name="connsiteX6265" fmla="*/ 1678781 w 6400800"/>
                <a:gd name="connsiteY6265" fmla="*/ 276701 h 514350"/>
                <a:gd name="connsiteX6266" fmla="*/ 1677829 w 6400800"/>
                <a:gd name="connsiteY6266" fmla="*/ 199549 h 514350"/>
                <a:gd name="connsiteX6267" fmla="*/ 1678781 w 6400800"/>
                <a:gd name="connsiteY6267" fmla="*/ 204311 h 514350"/>
                <a:gd name="connsiteX6268" fmla="*/ 1676876 w 6400800"/>
                <a:gd name="connsiteY6268" fmla="*/ 213836 h 514350"/>
                <a:gd name="connsiteX6269" fmla="*/ 1677829 w 6400800"/>
                <a:gd name="connsiteY6269" fmla="*/ 199549 h 514350"/>
                <a:gd name="connsiteX6270" fmla="*/ 1640681 w 6400800"/>
                <a:gd name="connsiteY6270" fmla="*/ 226219 h 514350"/>
                <a:gd name="connsiteX6271" fmla="*/ 1649254 w 6400800"/>
                <a:gd name="connsiteY6271" fmla="*/ 254794 h 514350"/>
                <a:gd name="connsiteX6272" fmla="*/ 1654016 w 6400800"/>
                <a:gd name="connsiteY6272" fmla="*/ 274796 h 514350"/>
                <a:gd name="connsiteX6273" fmla="*/ 1653064 w 6400800"/>
                <a:gd name="connsiteY6273" fmla="*/ 281464 h 514350"/>
                <a:gd name="connsiteX6274" fmla="*/ 1652111 w 6400800"/>
                <a:gd name="connsiteY6274" fmla="*/ 279559 h 514350"/>
                <a:gd name="connsiteX6275" fmla="*/ 1652111 w 6400800"/>
                <a:gd name="connsiteY6275" fmla="*/ 282416 h 514350"/>
                <a:gd name="connsiteX6276" fmla="*/ 1649254 w 6400800"/>
                <a:gd name="connsiteY6276" fmla="*/ 300514 h 514350"/>
                <a:gd name="connsiteX6277" fmla="*/ 1641634 w 6400800"/>
                <a:gd name="connsiteY6277" fmla="*/ 281464 h 514350"/>
                <a:gd name="connsiteX6278" fmla="*/ 1643539 w 6400800"/>
                <a:gd name="connsiteY6278" fmla="*/ 279559 h 514350"/>
                <a:gd name="connsiteX6279" fmla="*/ 1647349 w 6400800"/>
                <a:gd name="connsiteY6279" fmla="*/ 277654 h 514350"/>
                <a:gd name="connsiteX6280" fmla="*/ 1654016 w 6400800"/>
                <a:gd name="connsiteY6280" fmla="*/ 273844 h 514350"/>
                <a:gd name="connsiteX6281" fmla="*/ 1647349 w 6400800"/>
                <a:gd name="connsiteY6281" fmla="*/ 276701 h 514350"/>
                <a:gd name="connsiteX6282" fmla="*/ 1643539 w 6400800"/>
                <a:gd name="connsiteY6282" fmla="*/ 278606 h 514350"/>
                <a:gd name="connsiteX6283" fmla="*/ 1642586 w 6400800"/>
                <a:gd name="connsiteY6283" fmla="*/ 279559 h 514350"/>
                <a:gd name="connsiteX6284" fmla="*/ 1642586 w 6400800"/>
                <a:gd name="connsiteY6284" fmla="*/ 255746 h 514350"/>
                <a:gd name="connsiteX6285" fmla="*/ 1640681 w 6400800"/>
                <a:gd name="connsiteY6285" fmla="*/ 226219 h 514350"/>
                <a:gd name="connsiteX6286" fmla="*/ 1640681 w 6400800"/>
                <a:gd name="connsiteY6286" fmla="*/ 226219 h 514350"/>
                <a:gd name="connsiteX6287" fmla="*/ 1620679 w 6400800"/>
                <a:gd name="connsiteY6287" fmla="*/ 348139 h 514350"/>
                <a:gd name="connsiteX6288" fmla="*/ 1620679 w 6400800"/>
                <a:gd name="connsiteY6288" fmla="*/ 351949 h 514350"/>
                <a:gd name="connsiteX6289" fmla="*/ 1620679 w 6400800"/>
                <a:gd name="connsiteY6289" fmla="*/ 353854 h 514350"/>
                <a:gd name="connsiteX6290" fmla="*/ 1618774 w 6400800"/>
                <a:gd name="connsiteY6290" fmla="*/ 356711 h 514350"/>
                <a:gd name="connsiteX6291" fmla="*/ 1620679 w 6400800"/>
                <a:gd name="connsiteY6291" fmla="*/ 348139 h 514350"/>
                <a:gd name="connsiteX6292" fmla="*/ 1618774 w 6400800"/>
                <a:gd name="connsiteY6292" fmla="*/ 311944 h 514350"/>
                <a:gd name="connsiteX6293" fmla="*/ 1616869 w 6400800"/>
                <a:gd name="connsiteY6293" fmla="*/ 315754 h 514350"/>
                <a:gd name="connsiteX6294" fmla="*/ 1605439 w 6400800"/>
                <a:gd name="connsiteY6294" fmla="*/ 343376 h 514350"/>
                <a:gd name="connsiteX6295" fmla="*/ 1602581 w 6400800"/>
                <a:gd name="connsiteY6295" fmla="*/ 350996 h 514350"/>
                <a:gd name="connsiteX6296" fmla="*/ 1602581 w 6400800"/>
                <a:gd name="connsiteY6296" fmla="*/ 342424 h 514350"/>
                <a:gd name="connsiteX6297" fmla="*/ 1613059 w 6400800"/>
                <a:gd name="connsiteY6297" fmla="*/ 321469 h 514350"/>
                <a:gd name="connsiteX6298" fmla="*/ 1619726 w 6400800"/>
                <a:gd name="connsiteY6298" fmla="*/ 310039 h 514350"/>
                <a:gd name="connsiteX6299" fmla="*/ 1618774 w 6400800"/>
                <a:gd name="connsiteY6299" fmla="*/ 311944 h 514350"/>
                <a:gd name="connsiteX6300" fmla="*/ 1610201 w 6400800"/>
                <a:gd name="connsiteY6300" fmla="*/ 269081 h 514350"/>
                <a:gd name="connsiteX6301" fmla="*/ 1614011 w 6400800"/>
                <a:gd name="connsiteY6301" fmla="*/ 258604 h 514350"/>
                <a:gd name="connsiteX6302" fmla="*/ 1616869 w 6400800"/>
                <a:gd name="connsiteY6302" fmla="*/ 252889 h 514350"/>
                <a:gd name="connsiteX6303" fmla="*/ 1617821 w 6400800"/>
                <a:gd name="connsiteY6303" fmla="*/ 292894 h 514350"/>
                <a:gd name="connsiteX6304" fmla="*/ 1617821 w 6400800"/>
                <a:gd name="connsiteY6304" fmla="*/ 293846 h 514350"/>
                <a:gd name="connsiteX6305" fmla="*/ 1614011 w 6400800"/>
                <a:gd name="connsiteY6305" fmla="*/ 289084 h 514350"/>
                <a:gd name="connsiteX6306" fmla="*/ 1606391 w 6400800"/>
                <a:gd name="connsiteY6306" fmla="*/ 277654 h 514350"/>
                <a:gd name="connsiteX6307" fmla="*/ 1610201 w 6400800"/>
                <a:gd name="connsiteY6307" fmla="*/ 269081 h 514350"/>
                <a:gd name="connsiteX6308" fmla="*/ 1600676 w 6400800"/>
                <a:gd name="connsiteY6308" fmla="*/ 297656 h 514350"/>
                <a:gd name="connsiteX6309" fmla="*/ 1606391 w 6400800"/>
                <a:gd name="connsiteY6309" fmla="*/ 279559 h 514350"/>
                <a:gd name="connsiteX6310" fmla="*/ 1611154 w 6400800"/>
                <a:gd name="connsiteY6310" fmla="*/ 290989 h 514350"/>
                <a:gd name="connsiteX6311" fmla="*/ 1616869 w 6400800"/>
                <a:gd name="connsiteY6311" fmla="*/ 303371 h 514350"/>
                <a:gd name="connsiteX6312" fmla="*/ 1606391 w 6400800"/>
                <a:gd name="connsiteY6312" fmla="*/ 317659 h 514350"/>
                <a:gd name="connsiteX6313" fmla="*/ 1601629 w 6400800"/>
                <a:gd name="connsiteY6313" fmla="*/ 325279 h 514350"/>
                <a:gd name="connsiteX6314" fmla="*/ 1600676 w 6400800"/>
                <a:gd name="connsiteY6314" fmla="*/ 319564 h 514350"/>
                <a:gd name="connsiteX6315" fmla="*/ 1599724 w 6400800"/>
                <a:gd name="connsiteY6315" fmla="*/ 305276 h 514350"/>
                <a:gd name="connsiteX6316" fmla="*/ 1600676 w 6400800"/>
                <a:gd name="connsiteY6316" fmla="*/ 297656 h 514350"/>
                <a:gd name="connsiteX6317" fmla="*/ 1567339 w 6400800"/>
                <a:gd name="connsiteY6317" fmla="*/ 315754 h 514350"/>
                <a:gd name="connsiteX6318" fmla="*/ 1568291 w 6400800"/>
                <a:gd name="connsiteY6318" fmla="*/ 330041 h 514350"/>
                <a:gd name="connsiteX6319" fmla="*/ 1566386 w 6400800"/>
                <a:gd name="connsiteY6319" fmla="*/ 320516 h 514350"/>
                <a:gd name="connsiteX6320" fmla="*/ 1567339 w 6400800"/>
                <a:gd name="connsiteY6320" fmla="*/ 315754 h 514350"/>
                <a:gd name="connsiteX6321" fmla="*/ 1547336 w 6400800"/>
                <a:gd name="connsiteY6321" fmla="*/ 265271 h 514350"/>
                <a:gd name="connsiteX6322" fmla="*/ 1546384 w 6400800"/>
                <a:gd name="connsiteY6322" fmla="*/ 275749 h 514350"/>
                <a:gd name="connsiteX6323" fmla="*/ 1545431 w 6400800"/>
                <a:gd name="connsiteY6323" fmla="*/ 272891 h 514350"/>
                <a:gd name="connsiteX6324" fmla="*/ 1547336 w 6400800"/>
                <a:gd name="connsiteY6324" fmla="*/ 265271 h 514350"/>
                <a:gd name="connsiteX6325" fmla="*/ 1541621 w 6400800"/>
                <a:gd name="connsiteY6325" fmla="*/ 286226 h 514350"/>
                <a:gd name="connsiteX6326" fmla="*/ 1543526 w 6400800"/>
                <a:gd name="connsiteY6326" fmla="*/ 293846 h 514350"/>
                <a:gd name="connsiteX6327" fmla="*/ 1542574 w 6400800"/>
                <a:gd name="connsiteY6327" fmla="*/ 301466 h 514350"/>
                <a:gd name="connsiteX6328" fmla="*/ 1539716 w 6400800"/>
                <a:gd name="connsiteY6328" fmla="*/ 291941 h 514350"/>
                <a:gd name="connsiteX6329" fmla="*/ 1541621 w 6400800"/>
                <a:gd name="connsiteY6329" fmla="*/ 286226 h 514350"/>
                <a:gd name="connsiteX6330" fmla="*/ 1537811 w 6400800"/>
                <a:gd name="connsiteY6330" fmla="*/ 271939 h 514350"/>
                <a:gd name="connsiteX6331" fmla="*/ 1538764 w 6400800"/>
                <a:gd name="connsiteY6331" fmla="*/ 276701 h 514350"/>
                <a:gd name="connsiteX6332" fmla="*/ 1536859 w 6400800"/>
                <a:gd name="connsiteY6332" fmla="*/ 280511 h 514350"/>
                <a:gd name="connsiteX6333" fmla="*/ 1537811 w 6400800"/>
                <a:gd name="connsiteY6333" fmla="*/ 271939 h 514350"/>
                <a:gd name="connsiteX6334" fmla="*/ 1533049 w 6400800"/>
                <a:gd name="connsiteY6334" fmla="*/ 338614 h 514350"/>
                <a:gd name="connsiteX6335" fmla="*/ 1533049 w 6400800"/>
                <a:gd name="connsiteY6335" fmla="*/ 335756 h 514350"/>
                <a:gd name="connsiteX6336" fmla="*/ 1535906 w 6400800"/>
                <a:gd name="connsiteY6336" fmla="*/ 350044 h 514350"/>
                <a:gd name="connsiteX6337" fmla="*/ 1536859 w 6400800"/>
                <a:gd name="connsiteY6337" fmla="*/ 357664 h 514350"/>
                <a:gd name="connsiteX6338" fmla="*/ 1536859 w 6400800"/>
                <a:gd name="connsiteY6338" fmla="*/ 362426 h 514350"/>
                <a:gd name="connsiteX6339" fmla="*/ 1536859 w 6400800"/>
                <a:gd name="connsiteY6339" fmla="*/ 362426 h 514350"/>
                <a:gd name="connsiteX6340" fmla="*/ 1532096 w 6400800"/>
                <a:gd name="connsiteY6340" fmla="*/ 346234 h 514350"/>
                <a:gd name="connsiteX6341" fmla="*/ 1533049 w 6400800"/>
                <a:gd name="connsiteY6341" fmla="*/ 338614 h 514350"/>
                <a:gd name="connsiteX6342" fmla="*/ 1519714 w 6400800"/>
                <a:gd name="connsiteY6342" fmla="*/ 270986 h 514350"/>
                <a:gd name="connsiteX6343" fmla="*/ 1525429 w 6400800"/>
                <a:gd name="connsiteY6343" fmla="*/ 297656 h 514350"/>
                <a:gd name="connsiteX6344" fmla="*/ 1524476 w 6400800"/>
                <a:gd name="connsiteY6344" fmla="*/ 301466 h 514350"/>
                <a:gd name="connsiteX6345" fmla="*/ 1521619 w 6400800"/>
                <a:gd name="connsiteY6345" fmla="*/ 315754 h 514350"/>
                <a:gd name="connsiteX6346" fmla="*/ 1519714 w 6400800"/>
                <a:gd name="connsiteY6346" fmla="*/ 310991 h 514350"/>
                <a:gd name="connsiteX6347" fmla="*/ 1517809 w 6400800"/>
                <a:gd name="connsiteY6347" fmla="*/ 268129 h 514350"/>
                <a:gd name="connsiteX6348" fmla="*/ 1519714 w 6400800"/>
                <a:gd name="connsiteY6348" fmla="*/ 270986 h 514350"/>
                <a:gd name="connsiteX6349" fmla="*/ 1503521 w 6400800"/>
                <a:gd name="connsiteY6349" fmla="*/ 302419 h 514350"/>
                <a:gd name="connsiteX6350" fmla="*/ 1502569 w 6400800"/>
                <a:gd name="connsiteY6350" fmla="*/ 313849 h 514350"/>
                <a:gd name="connsiteX6351" fmla="*/ 1502569 w 6400800"/>
                <a:gd name="connsiteY6351" fmla="*/ 330041 h 514350"/>
                <a:gd name="connsiteX6352" fmla="*/ 1501616 w 6400800"/>
                <a:gd name="connsiteY6352" fmla="*/ 329089 h 514350"/>
                <a:gd name="connsiteX6353" fmla="*/ 1497806 w 6400800"/>
                <a:gd name="connsiteY6353" fmla="*/ 311944 h 514350"/>
                <a:gd name="connsiteX6354" fmla="*/ 1503521 w 6400800"/>
                <a:gd name="connsiteY6354" fmla="*/ 302419 h 514350"/>
                <a:gd name="connsiteX6355" fmla="*/ 1477804 w 6400800"/>
                <a:gd name="connsiteY6355" fmla="*/ 272891 h 514350"/>
                <a:gd name="connsiteX6356" fmla="*/ 1477804 w 6400800"/>
                <a:gd name="connsiteY6356" fmla="*/ 272891 h 514350"/>
                <a:gd name="connsiteX6357" fmla="*/ 1477804 w 6400800"/>
                <a:gd name="connsiteY6357" fmla="*/ 282416 h 514350"/>
                <a:gd name="connsiteX6358" fmla="*/ 1476851 w 6400800"/>
                <a:gd name="connsiteY6358" fmla="*/ 294799 h 514350"/>
                <a:gd name="connsiteX6359" fmla="*/ 1475899 w 6400800"/>
                <a:gd name="connsiteY6359" fmla="*/ 295751 h 514350"/>
                <a:gd name="connsiteX6360" fmla="*/ 1474946 w 6400800"/>
                <a:gd name="connsiteY6360" fmla="*/ 282416 h 514350"/>
                <a:gd name="connsiteX6361" fmla="*/ 1477804 w 6400800"/>
                <a:gd name="connsiteY6361" fmla="*/ 272891 h 514350"/>
                <a:gd name="connsiteX6362" fmla="*/ 1461611 w 6400800"/>
                <a:gd name="connsiteY6362" fmla="*/ 326231 h 514350"/>
                <a:gd name="connsiteX6363" fmla="*/ 1461611 w 6400800"/>
                <a:gd name="connsiteY6363" fmla="*/ 328136 h 514350"/>
                <a:gd name="connsiteX6364" fmla="*/ 1460659 w 6400800"/>
                <a:gd name="connsiteY6364" fmla="*/ 330041 h 514350"/>
                <a:gd name="connsiteX6365" fmla="*/ 1460659 w 6400800"/>
                <a:gd name="connsiteY6365" fmla="*/ 329089 h 514350"/>
                <a:gd name="connsiteX6366" fmla="*/ 1461611 w 6400800"/>
                <a:gd name="connsiteY6366" fmla="*/ 326231 h 514350"/>
                <a:gd name="connsiteX6367" fmla="*/ 1457801 w 6400800"/>
                <a:gd name="connsiteY6367" fmla="*/ 309086 h 514350"/>
                <a:gd name="connsiteX6368" fmla="*/ 1457801 w 6400800"/>
                <a:gd name="connsiteY6368" fmla="*/ 309086 h 514350"/>
                <a:gd name="connsiteX6369" fmla="*/ 1455896 w 6400800"/>
                <a:gd name="connsiteY6369" fmla="*/ 302419 h 514350"/>
                <a:gd name="connsiteX6370" fmla="*/ 1457801 w 6400800"/>
                <a:gd name="connsiteY6370" fmla="*/ 309086 h 514350"/>
                <a:gd name="connsiteX6371" fmla="*/ 1442561 w 6400800"/>
                <a:gd name="connsiteY6371" fmla="*/ 328136 h 514350"/>
                <a:gd name="connsiteX6372" fmla="*/ 1442561 w 6400800"/>
                <a:gd name="connsiteY6372" fmla="*/ 318611 h 514350"/>
                <a:gd name="connsiteX6373" fmla="*/ 1444466 w 6400800"/>
                <a:gd name="connsiteY6373" fmla="*/ 333851 h 514350"/>
                <a:gd name="connsiteX6374" fmla="*/ 1442561 w 6400800"/>
                <a:gd name="connsiteY6374" fmla="*/ 330041 h 514350"/>
                <a:gd name="connsiteX6375" fmla="*/ 1442561 w 6400800"/>
                <a:gd name="connsiteY6375" fmla="*/ 328136 h 514350"/>
                <a:gd name="connsiteX6376" fmla="*/ 1415891 w 6400800"/>
                <a:gd name="connsiteY6376" fmla="*/ 281464 h 514350"/>
                <a:gd name="connsiteX6377" fmla="*/ 1415891 w 6400800"/>
                <a:gd name="connsiteY6377" fmla="*/ 289084 h 514350"/>
                <a:gd name="connsiteX6378" fmla="*/ 1415891 w 6400800"/>
                <a:gd name="connsiteY6378" fmla="*/ 289084 h 514350"/>
                <a:gd name="connsiteX6379" fmla="*/ 1413034 w 6400800"/>
                <a:gd name="connsiteY6379" fmla="*/ 286226 h 514350"/>
                <a:gd name="connsiteX6380" fmla="*/ 1415891 w 6400800"/>
                <a:gd name="connsiteY6380" fmla="*/ 281464 h 514350"/>
                <a:gd name="connsiteX6381" fmla="*/ 1412081 w 6400800"/>
                <a:gd name="connsiteY6381" fmla="*/ 290036 h 514350"/>
                <a:gd name="connsiteX6382" fmla="*/ 1413986 w 6400800"/>
                <a:gd name="connsiteY6382" fmla="*/ 292894 h 514350"/>
                <a:gd name="connsiteX6383" fmla="*/ 1415891 w 6400800"/>
                <a:gd name="connsiteY6383" fmla="*/ 295751 h 514350"/>
                <a:gd name="connsiteX6384" fmla="*/ 1415891 w 6400800"/>
                <a:gd name="connsiteY6384" fmla="*/ 300514 h 514350"/>
                <a:gd name="connsiteX6385" fmla="*/ 1412081 w 6400800"/>
                <a:gd name="connsiteY6385" fmla="*/ 290036 h 514350"/>
                <a:gd name="connsiteX6386" fmla="*/ 1412081 w 6400800"/>
                <a:gd name="connsiteY6386" fmla="*/ 290036 h 514350"/>
                <a:gd name="connsiteX6387" fmla="*/ 1383506 w 6400800"/>
                <a:gd name="connsiteY6387" fmla="*/ 364331 h 514350"/>
                <a:gd name="connsiteX6388" fmla="*/ 1382554 w 6400800"/>
                <a:gd name="connsiteY6388" fmla="*/ 358616 h 514350"/>
                <a:gd name="connsiteX6389" fmla="*/ 1382554 w 6400800"/>
                <a:gd name="connsiteY6389" fmla="*/ 357664 h 514350"/>
                <a:gd name="connsiteX6390" fmla="*/ 1383506 w 6400800"/>
                <a:gd name="connsiteY6390" fmla="*/ 362426 h 514350"/>
                <a:gd name="connsiteX6391" fmla="*/ 1383506 w 6400800"/>
                <a:gd name="connsiteY6391" fmla="*/ 364331 h 514350"/>
                <a:gd name="connsiteX6392" fmla="*/ 1386364 w 6400800"/>
                <a:gd name="connsiteY6392" fmla="*/ 298609 h 514350"/>
                <a:gd name="connsiteX6393" fmla="*/ 1386364 w 6400800"/>
                <a:gd name="connsiteY6393" fmla="*/ 298609 h 514350"/>
                <a:gd name="connsiteX6394" fmla="*/ 1384459 w 6400800"/>
                <a:gd name="connsiteY6394" fmla="*/ 293846 h 514350"/>
                <a:gd name="connsiteX6395" fmla="*/ 1386364 w 6400800"/>
                <a:gd name="connsiteY6395" fmla="*/ 290989 h 514350"/>
                <a:gd name="connsiteX6396" fmla="*/ 1391126 w 6400800"/>
                <a:gd name="connsiteY6396" fmla="*/ 286226 h 514350"/>
                <a:gd name="connsiteX6397" fmla="*/ 1386364 w 6400800"/>
                <a:gd name="connsiteY6397" fmla="*/ 298609 h 514350"/>
                <a:gd name="connsiteX6398" fmla="*/ 1383506 w 6400800"/>
                <a:gd name="connsiteY6398" fmla="*/ 287179 h 514350"/>
                <a:gd name="connsiteX6399" fmla="*/ 1382554 w 6400800"/>
                <a:gd name="connsiteY6399" fmla="*/ 288131 h 514350"/>
                <a:gd name="connsiteX6400" fmla="*/ 1376839 w 6400800"/>
                <a:gd name="connsiteY6400" fmla="*/ 274796 h 514350"/>
                <a:gd name="connsiteX6401" fmla="*/ 1384459 w 6400800"/>
                <a:gd name="connsiteY6401" fmla="*/ 242411 h 514350"/>
                <a:gd name="connsiteX6402" fmla="*/ 1390174 w 6400800"/>
                <a:gd name="connsiteY6402" fmla="*/ 281464 h 514350"/>
                <a:gd name="connsiteX6403" fmla="*/ 1383506 w 6400800"/>
                <a:gd name="connsiteY6403" fmla="*/ 287179 h 514350"/>
                <a:gd name="connsiteX6404" fmla="*/ 1391126 w 6400800"/>
                <a:gd name="connsiteY6404" fmla="*/ 310991 h 514350"/>
                <a:gd name="connsiteX6405" fmla="*/ 1393031 w 6400800"/>
                <a:gd name="connsiteY6405" fmla="*/ 299561 h 514350"/>
                <a:gd name="connsiteX6406" fmla="*/ 1393031 w 6400800"/>
                <a:gd name="connsiteY6406" fmla="*/ 298609 h 514350"/>
                <a:gd name="connsiteX6407" fmla="*/ 1393984 w 6400800"/>
                <a:gd name="connsiteY6407" fmla="*/ 305276 h 514350"/>
                <a:gd name="connsiteX6408" fmla="*/ 1391126 w 6400800"/>
                <a:gd name="connsiteY6408" fmla="*/ 310991 h 514350"/>
                <a:gd name="connsiteX6409" fmla="*/ 1397794 w 6400800"/>
                <a:gd name="connsiteY6409" fmla="*/ 278606 h 514350"/>
                <a:gd name="connsiteX6410" fmla="*/ 1397794 w 6400800"/>
                <a:gd name="connsiteY6410" fmla="*/ 278606 h 514350"/>
                <a:gd name="connsiteX6411" fmla="*/ 1397794 w 6400800"/>
                <a:gd name="connsiteY6411" fmla="*/ 279559 h 514350"/>
                <a:gd name="connsiteX6412" fmla="*/ 1397794 w 6400800"/>
                <a:gd name="connsiteY6412" fmla="*/ 278606 h 514350"/>
                <a:gd name="connsiteX6413" fmla="*/ 1397794 w 6400800"/>
                <a:gd name="connsiteY6413" fmla="*/ 278606 h 514350"/>
                <a:gd name="connsiteX6414" fmla="*/ 1397794 w 6400800"/>
                <a:gd name="connsiteY6414" fmla="*/ 322421 h 514350"/>
                <a:gd name="connsiteX6415" fmla="*/ 1399699 w 6400800"/>
                <a:gd name="connsiteY6415" fmla="*/ 331946 h 514350"/>
                <a:gd name="connsiteX6416" fmla="*/ 1399699 w 6400800"/>
                <a:gd name="connsiteY6416" fmla="*/ 333851 h 514350"/>
                <a:gd name="connsiteX6417" fmla="*/ 1396841 w 6400800"/>
                <a:gd name="connsiteY6417" fmla="*/ 326231 h 514350"/>
                <a:gd name="connsiteX6418" fmla="*/ 1397794 w 6400800"/>
                <a:gd name="connsiteY6418" fmla="*/ 322421 h 514350"/>
                <a:gd name="connsiteX6419" fmla="*/ 1387316 w 6400800"/>
                <a:gd name="connsiteY6419" fmla="*/ 231934 h 514350"/>
                <a:gd name="connsiteX6420" fmla="*/ 1395889 w 6400800"/>
                <a:gd name="connsiteY6420" fmla="*/ 270986 h 514350"/>
                <a:gd name="connsiteX6421" fmla="*/ 1394936 w 6400800"/>
                <a:gd name="connsiteY6421" fmla="*/ 272891 h 514350"/>
                <a:gd name="connsiteX6422" fmla="*/ 1384459 w 6400800"/>
                <a:gd name="connsiteY6422" fmla="*/ 240506 h 514350"/>
                <a:gd name="connsiteX6423" fmla="*/ 1387316 w 6400800"/>
                <a:gd name="connsiteY6423" fmla="*/ 231934 h 514350"/>
                <a:gd name="connsiteX6424" fmla="*/ 1380649 w 6400800"/>
                <a:gd name="connsiteY6424" fmla="*/ 232886 h 514350"/>
                <a:gd name="connsiteX6425" fmla="*/ 1386364 w 6400800"/>
                <a:gd name="connsiteY6425" fmla="*/ 225266 h 514350"/>
                <a:gd name="connsiteX6426" fmla="*/ 1386364 w 6400800"/>
                <a:gd name="connsiteY6426" fmla="*/ 225266 h 514350"/>
                <a:gd name="connsiteX6427" fmla="*/ 1372076 w 6400800"/>
                <a:gd name="connsiteY6427" fmla="*/ 262414 h 514350"/>
                <a:gd name="connsiteX6428" fmla="*/ 1370171 w 6400800"/>
                <a:gd name="connsiteY6428" fmla="*/ 257651 h 514350"/>
                <a:gd name="connsiteX6429" fmla="*/ 1369219 w 6400800"/>
                <a:gd name="connsiteY6429" fmla="*/ 253841 h 514350"/>
                <a:gd name="connsiteX6430" fmla="*/ 1380649 w 6400800"/>
                <a:gd name="connsiteY6430" fmla="*/ 232886 h 514350"/>
                <a:gd name="connsiteX6431" fmla="*/ 1356836 w 6400800"/>
                <a:gd name="connsiteY6431" fmla="*/ 300514 h 514350"/>
                <a:gd name="connsiteX6432" fmla="*/ 1356836 w 6400800"/>
                <a:gd name="connsiteY6432" fmla="*/ 302419 h 514350"/>
                <a:gd name="connsiteX6433" fmla="*/ 1355884 w 6400800"/>
                <a:gd name="connsiteY6433" fmla="*/ 304324 h 514350"/>
                <a:gd name="connsiteX6434" fmla="*/ 1355884 w 6400800"/>
                <a:gd name="connsiteY6434" fmla="*/ 299561 h 514350"/>
                <a:gd name="connsiteX6435" fmla="*/ 1356836 w 6400800"/>
                <a:gd name="connsiteY6435" fmla="*/ 300514 h 514350"/>
                <a:gd name="connsiteX6436" fmla="*/ 1339691 w 6400800"/>
                <a:gd name="connsiteY6436" fmla="*/ 325279 h 514350"/>
                <a:gd name="connsiteX6437" fmla="*/ 1339691 w 6400800"/>
                <a:gd name="connsiteY6437" fmla="*/ 324326 h 514350"/>
                <a:gd name="connsiteX6438" fmla="*/ 1341596 w 6400800"/>
                <a:gd name="connsiteY6438" fmla="*/ 317659 h 514350"/>
                <a:gd name="connsiteX6439" fmla="*/ 1341596 w 6400800"/>
                <a:gd name="connsiteY6439" fmla="*/ 317659 h 514350"/>
                <a:gd name="connsiteX6440" fmla="*/ 1341596 w 6400800"/>
                <a:gd name="connsiteY6440" fmla="*/ 330994 h 514350"/>
                <a:gd name="connsiteX6441" fmla="*/ 1339691 w 6400800"/>
                <a:gd name="connsiteY6441" fmla="*/ 325279 h 514350"/>
                <a:gd name="connsiteX6442" fmla="*/ 1340644 w 6400800"/>
                <a:gd name="connsiteY6442" fmla="*/ 226219 h 514350"/>
                <a:gd name="connsiteX6443" fmla="*/ 1340644 w 6400800"/>
                <a:gd name="connsiteY6443" fmla="*/ 226219 h 514350"/>
                <a:gd name="connsiteX6444" fmla="*/ 1344454 w 6400800"/>
                <a:gd name="connsiteY6444" fmla="*/ 237649 h 514350"/>
                <a:gd name="connsiteX6445" fmla="*/ 1344454 w 6400800"/>
                <a:gd name="connsiteY6445" fmla="*/ 242411 h 514350"/>
                <a:gd name="connsiteX6446" fmla="*/ 1343501 w 6400800"/>
                <a:gd name="connsiteY6446" fmla="*/ 264319 h 514350"/>
                <a:gd name="connsiteX6447" fmla="*/ 1343501 w 6400800"/>
                <a:gd name="connsiteY6447" fmla="*/ 272891 h 514350"/>
                <a:gd name="connsiteX6448" fmla="*/ 1339691 w 6400800"/>
                <a:gd name="connsiteY6448" fmla="*/ 269081 h 514350"/>
                <a:gd name="connsiteX6449" fmla="*/ 1340644 w 6400800"/>
                <a:gd name="connsiteY6449" fmla="*/ 226219 h 514350"/>
                <a:gd name="connsiteX6450" fmla="*/ 1337786 w 6400800"/>
                <a:gd name="connsiteY6450" fmla="*/ 295751 h 514350"/>
                <a:gd name="connsiteX6451" fmla="*/ 1338739 w 6400800"/>
                <a:gd name="connsiteY6451" fmla="*/ 271939 h 514350"/>
                <a:gd name="connsiteX6452" fmla="*/ 1342549 w 6400800"/>
                <a:gd name="connsiteY6452" fmla="*/ 276701 h 514350"/>
                <a:gd name="connsiteX6453" fmla="*/ 1342549 w 6400800"/>
                <a:gd name="connsiteY6453" fmla="*/ 276701 h 514350"/>
                <a:gd name="connsiteX6454" fmla="*/ 1342549 w 6400800"/>
                <a:gd name="connsiteY6454" fmla="*/ 286226 h 514350"/>
                <a:gd name="connsiteX6455" fmla="*/ 1337786 w 6400800"/>
                <a:gd name="connsiteY6455" fmla="*/ 295751 h 514350"/>
                <a:gd name="connsiteX6456" fmla="*/ 1337786 w 6400800"/>
                <a:gd name="connsiteY6456" fmla="*/ 296704 h 514350"/>
                <a:gd name="connsiteX6457" fmla="*/ 1337786 w 6400800"/>
                <a:gd name="connsiteY6457" fmla="*/ 295751 h 514350"/>
                <a:gd name="connsiteX6458" fmla="*/ 1314926 w 6400800"/>
                <a:gd name="connsiteY6458" fmla="*/ 320516 h 514350"/>
                <a:gd name="connsiteX6459" fmla="*/ 1314926 w 6400800"/>
                <a:gd name="connsiteY6459" fmla="*/ 320516 h 514350"/>
                <a:gd name="connsiteX6460" fmla="*/ 1314926 w 6400800"/>
                <a:gd name="connsiteY6460" fmla="*/ 320516 h 514350"/>
                <a:gd name="connsiteX6461" fmla="*/ 1314926 w 6400800"/>
                <a:gd name="connsiteY6461" fmla="*/ 320516 h 514350"/>
                <a:gd name="connsiteX6462" fmla="*/ 1311116 w 6400800"/>
                <a:gd name="connsiteY6462" fmla="*/ 312896 h 514350"/>
                <a:gd name="connsiteX6463" fmla="*/ 1311116 w 6400800"/>
                <a:gd name="connsiteY6463" fmla="*/ 312896 h 514350"/>
                <a:gd name="connsiteX6464" fmla="*/ 1311116 w 6400800"/>
                <a:gd name="connsiteY6464" fmla="*/ 314801 h 514350"/>
                <a:gd name="connsiteX6465" fmla="*/ 1311116 w 6400800"/>
                <a:gd name="connsiteY6465" fmla="*/ 314801 h 514350"/>
                <a:gd name="connsiteX6466" fmla="*/ 1311116 w 6400800"/>
                <a:gd name="connsiteY6466" fmla="*/ 312896 h 514350"/>
                <a:gd name="connsiteX6467" fmla="*/ 1242536 w 6400800"/>
                <a:gd name="connsiteY6467" fmla="*/ 344329 h 514350"/>
                <a:gd name="connsiteX6468" fmla="*/ 1238726 w 6400800"/>
                <a:gd name="connsiteY6468" fmla="*/ 336709 h 514350"/>
                <a:gd name="connsiteX6469" fmla="*/ 1238726 w 6400800"/>
                <a:gd name="connsiteY6469" fmla="*/ 310991 h 514350"/>
                <a:gd name="connsiteX6470" fmla="*/ 1238726 w 6400800"/>
                <a:gd name="connsiteY6470" fmla="*/ 307181 h 514350"/>
                <a:gd name="connsiteX6471" fmla="*/ 1244441 w 6400800"/>
                <a:gd name="connsiteY6471" fmla="*/ 339566 h 514350"/>
                <a:gd name="connsiteX6472" fmla="*/ 1244441 w 6400800"/>
                <a:gd name="connsiteY6472" fmla="*/ 340519 h 514350"/>
                <a:gd name="connsiteX6473" fmla="*/ 1242536 w 6400800"/>
                <a:gd name="connsiteY6473" fmla="*/ 344329 h 514350"/>
                <a:gd name="connsiteX6474" fmla="*/ 1279684 w 6400800"/>
                <a:gd name="connsiteY6474" fmla="*/ 290989 h 514350"/>
                <a:gd name="connsiteX6475" fmla="*/ 1279684 w 6400800"/>
                <a:gd name="connsiteY6475" fmla="*/ 284321 h 514350"/>
                <a:gd name="connsiteX6476" fmla="*/ 1281589 w 6400800"/>
                <a:gd name="connsiteY6476" fmla="*/ 287179 h 514350"/>
                <a:gd name="connsiteX6477" fmla="*/ 1279684 w 6400800"/>
                <a:gd name="connsiteY6477" fmla="*/ 290989 h 514350"/>
                <a:gd name="connsiteX6478" fmla="*/ 1298734 w 6400800"/>
                <a:gd name="connsiteY6478" fmla="*/ 332899 h 514350"/>
                <a:gd name="connsiteX6479" fmla="*/ 1298734 w 6400800"/>
                <a:gd name="connsiteY6479" fmla="*/ 332899 h 514350"/>
                <a:gd name="connsiteX6480" fmla="*/ 1298734 w 6400800"/>
                <a:gd name="connsiteY6480" fmla="*/ 330994 h 514350"/>
                <a:gd name="connsiteX6481" fmla="*/ 1298734 w 6400800"/>
                <a:gd name="connsiteY6481" fmla="*/ 332899 h 514350"/>
                <a:gd name="connsiteX6482" fmla="*/ 1295876 w 6400800"/>
                <a:gd name="connsiteY6482" fmla="*/ 278606 h 514350"/>
                <a:gd name="connsiteX6483" fmla="*/ 1305401 w 6400800"/>
                <a:gd name="connsiteY6483" fmla="*/ 299561 h 514350"/>
                <a:gd name="connsiteX6484" fmla="*/ 1305401 w 6400800"/>
                <a:gd name="connsiteY6484" fmla="*/ 300514 h 514350"/>
                <a:gd name="connsiteX6485" fmla="*/ 1304449 w 6400800"/>
                <a:gd name="connsiteY6485" fmla="*/ 303371 h 514350"/>
                <a:gd name="connsiteX6486" fmla="*/ 1300639 w 6400800"/>
                <a:gd name="connsiteY6486" fmla="*/ 295751 h 514350"/>
                <a:gd name="connsiteX6487" fmla="*/ 1293971 w 6400800"/>
                <a:gd name="connsiteY6487" fmla="*/ 284321 h 514350"/>
                <a:gd name="connsiteX6488" fmla="*/ 1295876 w 6400800"/>
                <a:gd name="connsiteY6488" fmla="*/ 278606 h 514350"/>
                <a:gd name="connsiteX6489" fmla="*/ 1299686 w 6400800"/>
                <a:gd name="connsiteY6489" fmla="*/ 328136 h 514350"/>
                <a:gd name="connsiteX6490" fmla="*/ 1299686 w 6400800"/>
                <a:gd name="connsiteY6490" fmla="*/ 330041 h 514350"/>
                <a:gd name="connsiteX6491" fmla="*/ 1298734 w 6400800"/>
                <a:gd name="connsiteY6491" fmla="*/ 331946 h 514350"/>
                <a:gd name="connsiteX6492" fmla="*/ 1293019 w 6400800"/>
                <a:gd name="connsiteY6492" fmla="*/ 324326 h 514350"/>
                <a:gd name="connsiteX6493" fmla="*/ 1289209 w 6400800"/>
                <a:gd name="connsiteY6493" fmla="*/ 318611 h 514350"/>
                <a:gd name="connsiteX6494" fmla="*/ 1289209 w 6400800"/>
                <a:gd name="connsiteY6494" fmla="*/ 318611 h 514350"/>
                <a:gd name="connsiteX6495" fmla="*/ 1289209 w 6400800"/>
                <a:gd name="connsiteY6495" fmla="*/ 309086 h 514350"/>
                <a:gd name="connsiteX6496" fmla="*/ 1290161 w 6400800"/>
                <a:gd name="connsiteY6496" fmla="*/ 305276 h 514350"/>
                <a:gd name="connsiteX6497" fmla="*/ 1299686 w 6400800"/>
                <a:gd name="connsiteY6497" fmla="*/ 328136 h 514350"/>
                <a:gd name="connsiteX6498" fmla="*/ 1289209 w 6400800"/>
                <a:gd name="connsiteY6498" fmla="*/ 263366 h 514350"/>
                <a:gd name="connsiteX6499" fmla="*/ 1287304 w 6400800"/>
                <a:gd name="connsiteY6499" fmla="*/ 268129 h 514350"/>
                <a:gd name="connsiteX6500" fmla="*/ 1287304 w 6400800"/>
                <a:gd name="connsiteY6500" fmla="*/ 259556 h 514350"/>
                <a:gd name="connsiteX6501" fmla="*/ 1289209 w 6400800"/>
                <a:gd name="connsiteY6501" fmla="*/ 263366 h 514350"/>
                <a:gd name="connsiteX6502" fmla="*/ 1276826 w 6400800"/>
                <a:gd name="connsiteY6502" fmla="*/ 238601 h 514350"/>
                <a:gd name="connsiteX6503" fmla="*/ 1278731 w 6400800"/>
                <a:gd name="connsiteY6503" fmla="*/ 242411 h 514350"/>
                <a:gd name="connsiteX6504" fmla="*/ 1286351 w 6400800"/>
                <a:gd name="connsiteY6504" fmla="*/ 257651 h 514350"/>
                <a:gd name="connsiteX6505" fmla="*/ 1285399 w 6400800"/>
                <a:gd name="connsiteY6505" fmla="*/ 267176 h 514350"/>
                <a:gd name="connsiteX6506" fmla="*/ 1277779 w 6400800"/>
                <a:gd name="connsiteY6506" fmla="*/ 255746 h 514350"/>
                <a:gd name="connsiteX6507" fmla="*/ 1276826 w 6400800"/>
                <a:gd name="connsiteY6507" fmla="*/ 242411 h 514350"/>
                <a:gd name="connsiteX6508" fmla="*/ 1276826 w 6400800"/>
                <a:gd name="connsiteY6508" fmla="*/ 238601 h 514350"/>
                <a:gd name="connsiteX6509" fmla="*/ 1273016 w 6400800"/>
                <a:gd name="connsiteY6509" fmla="*/ 271939 h 514350"/>
                <a:gd name="connsiteX6510" fmla="*/ 1273969 w 6400800"/>
                <a:gd name="connsiteY6510" fmla="*/ 272891 h 514350"/>
                <a:gd name="connsiteX6511" fmla="*/ 1273016 w 6400800"/>
                <a:gd name="connsiteY6511" fmla="*/ 291941 h 514350"/>
                <a:gd name="connsiteX6512" fmla="*/ 1271111 w 6400800"/>
                <a:gd name="connsiteY6512" fmla="*/ 288131 h 514350"/>
                <a:gd name="connsiteX6513" fmla="*/ 1273016 w 6400800"/>
                <a:gd name="connsiteY6513" fmla="*/ 271939 h 514350"/>
                <a:gd name="connsiteX6514" fmla="*/ 1240631 w 6400800"/>
                <a:gd name="connsiteY6514" fmla="*/ 229076 h 514350"/>
                <a:gd name="connsiteX6515" fmla="*/ 1244441 w 6400800"/>
                <a:gd name="connsiteY6515" fmla="*/ 220504 h 514350"/>
                <a:gd name="connsiteX6516" fmla="*/ 1253966 w 6400800"/>
                <a:gd name="connsiteY6516" fmla="*/ 237649 h 514350"/>
                <a:gd name="connsiteX6517" fmla="*/ 1264444 w 6400800"/>
                <a:gd name="connsiteY6517" fmla="*/ 257651 h 514350"/>
                <a:gd name="connsiteX6518" fmla="*/ 1268254 w 6400800"/>
                <a:gd name="connsiteY6518" fmla="*/ 264319 h 514350"/>
                <a:gd name="connsiteX6519" fmla="*/ 1262539 w 6400800"/>
                <a:gd name="connsiteY6519" fmla="*/ 286226 h 514350"/>
                <a:gd name="connsiteX6520" fmla="*/ 1254919 w 6400800"/>
                <a:gd name="connsiteY6520" fmla="*/ 277654 h 514350"/>
                <a:gd name="connsiteX6521" fmla="*/ 1241584 w 6400800"/>
                <a:gd name="connsiteY6521" fmla="*/ 251936 h 514350"/>
                <a:gd name="connsiteX6522" fmla="*/ 1235869 w 6400800"/>
                <a:gd name="connsiteY6522" fmla="*/ 243364 h 514350"/>
                <a:gd name="connsiteX6523" fmla="*/ 1235869 w 6400800"/>
                <a:gd name="connsiteY6523" fmla="*/ 242411 h 514350"/>
                <a:gd name="connsiteX6524" fmla="*/ 1240631 w 6400800"/>
                <a:gd name="connsiteY6524" fmla="*/ 229076 h 514350"/>
                <a:gd name="connsiteX6525" fmla="*/ 1228249 w 6400800"/>
                <a:gd name="connsiteY6525" fmla="*/ 304324 h 514350"/>
                <a:gd name="connsiteX6526" fmla="*/ 1227296 w 6400800"/>
                <a:gd name="connsiteY6526" fmla="*/ 288131 h 514350"/>
                <a:gd name="connsiteX6527" fmla="*/ 1227296 w 6400800"/>
                <a:gd name="connsiteY6527" fmla="*/ 281464 h 514350"/>
                <a:gd name="connsiteX6528" fmla="*/ 1228249 w 6400800"/>
                <a:gd name="connsiteY6528" fmla="*/ 279559 h 514350"/>
                <a:gd name="connsiteX6529" fmla="*/ 1228249 w 6400800"/>
                <a:gd name="connsiteY6529" fmla="*/ 278606 h 514350"/>
                <a:gd name="connsiteX6530" fmla="*/ 1229201 w 6400800"/>
                <a:gd name="connsiteY6530" fmla="*/ 279559 h 514350"/>
                <a:gd name="connsiteX6531" fmla="*/ 1231106 w 6400800"/>
                <a:gd name="connsiteY6531" fmla="*/ 284321 h 514350"/>
                <a:gd name="connsiteX6532" fmla="*/ 1228249 w 6400800"/>
                <a:gd name="connsiteY6532" fmla="*/ 304324 h 514350"/>
                <a:gd name="connsiteX6533" fmla="*/ 1232059 w 6400800"/>
                <a:gd name="connsiteY6533" fmla="*/ 280511 h 514350"/>
                <a:gd name="connsiteX6534" fmla="*/ 1232059 w 6400800"/>
                <a:gd name="connsiteY6534" fmla="*/ 278606 h 514350"/>
                <a:gd name="connsiteX6535" fmla="*/ 1230154 w 6400800"/>
                <a:gd name="connsiteY6535" fmla="*/ 275749 h 514350"/>
                <a:gd name="connsiteX6536" fmla="*/ 1227296 w 6400800"/>
                <a:gd name="connsiteY6536" fmla="*/ 275749 h 514350"/>
                <a:gd name="connsiteX6537" fmla="*/ 1226344 w 6400800"/>
                <a:gd name="connsiteY6537" fmla="*/ 275749 h 514350"/>
                <a:gd name="connsiteX6538" fmla="*/ 1226344 w 6400800"/>
                <a:gd name="connsiteY6538" fmla="*/ 269081 h 514350"/>
                <a:gd name="connsiteX6539" fmla="*/ 1230154 w 6400800"/>
                <a:gd name="connsiteY6539" fmla="*/ 272891 h 514350"/>
                <a:gd name="connsiteX6540" fmla="*/ 1233011 w 6400800"/>
                <a:gd name="connsiteY6540" fmla="*/ 276701 h 514350"/>
                <a:gd name="connsiteX6541" fmla="*/ 1232059 w 6400800"/>
                <a:gd name="connsiteY6541" fmla="*/ 280511 h 514350"/>
                <a:gd name="connsiteX6542" fmla="*/ 1230154 w 6400800"/>
                <a:gd name="connsiteY6542" fmla="*/ 221456 h 514350"/>
                <a:gd name="connsiteX6543" fmla="*/ 1233964 w 6400800"/>
                <a:gd name="connsiteY6543" fmla="*/ 233839 h 514350"/>
                <a:gd name="connsiteX6544" fmla="*/ 1233964 w 6400800"/>
                <a:gd name="connsiteY6544" fmla="*/ 233839 h 514350"/>
                <a:gd name="connsiteX6545" fmla="*/ 1233011 w 6400800"/>
                <a:gd name="connsiteY6545" fmla="*/ 230029 h 514350"/>
                <a:gd name="connsiteX6546" fmla="*/ 1230154 w 6400800"/>
                <a:gd name="connsiteY6546" fmla="*/ 221456 h 514350"/>
                <a:gd name="connsiteX6547" fmla="*/ 1230154 w 6400800"/>
                <a:gd name="connsiteY6547" fmla="*/ 221456 h 514350"/>
                <a:gd name="connsiteX6548" fmla="*/ 1229201 w 6400800"/>
                <a:gd name="connsiteY6548" fmla="*/ 257651 h 514350"/>
                <a:gd name="connsiteX6549" fmla="*/ 1229201 w 6400800"/>
                <a:gd name="connsiteY6549" fmla="*/ 257651 h 514350"/>
                <a:gd name="connsiteX6550" fmla="*/ 1230154 w 6400800"/>
                <a:gd name="connsiteY6550" fmla="*/ 259556 h 514350"/>
                <a:gd name="connsiteX6551" fmla="*/ 1230154 w 6400800"/>
                <a:gd name="connsiteY6551" fmla="*/ 262414 h 514350"/>
                <a:gd name="connsiteX6552" fmla="*/ 1232059 w 6400800"/>
                <a:gd name="connsiteY6552" fmla="*/ 274796 h 514350"/>
                <a:gd name="connsiteX6553" fmla="*/ 1232059 w 6400800"/>
                <a:gd name="connsiteY6553" fmla="*/ 274796 h 514350"/>
                <a:gd name="connsiteX6554" fmla="*/ 1229201 w 6400800"/>
                <a:gd name="connsiteY6554" fmla="*/ 272891 h 514350"/>
                <a:gd name="connsiteX6555" fmla="*/ 1225391 w 6400800"/>
                <a:gd name="connsiteY6555" fmla="*/ 269081 h 514350"/>
                <a:gd name="connsiteX6556" fmla="*/ 1225391 w 6400800"/>
                <a:gd name="connsiteY6556" fmla="*/ 265271 h 514350"/>
                <a:gd name="connsiteX6557" fmla="*/ 1229201 w 6400800"/>
                <a:gd name="connsiteY6557" fmla="*/ 257651 h 514350"/>
                <a:gd name="connsiteX6558" fmla="*/ 1226344 w 6400800"/>
                <a:gd name="connsiteY6558" fmla="*/ 235744 h 514350"/>
                <a:gd name="connsiteX6559" fmla="*/ 1228249 w 6400800"/>
                <a:gd name="connsiteY6559" fmla="*/ 244316 h 514350"/>
                <a:gd name="connsiteX6560" fmla="*/ 1227296 w 6400800"/>
                <a:gd name="connsiteY6560" fmla="*/ 246221 h 514350"/>
                <a:gd name="connsiteX6561" fmla="*/ 1225391 w 6400800"/>
                <a:gd name="connsiteY6561" fmla="*/ 244316 h 514350"/>
                <a:gd name="connsiteX6562" fmla="*/ 1225391 w 6400800"/>
                <a:gd name="connsiteY6562" fmla="*/ 231934 h 514350"/>
                <a:gd name="connsiteX6563" fmla="*/ 1226344 w 6400800"/>
                <a:gd name="connsiteY6563" fmla="*/ 235744 h 514350"/>
                <a:gd name="connsiteX6564" fmla="*/ 1197769 w 6400800"/>
                <a:gd name="connsiteY6564" fmla="*/ 293846 h 514350"/>
                <a:gd name="connsiteX6565" fmla="*/ 1198721 w 6400800"/>
                <a:gd name="connsiteY6565" fmla="*/ 290036 h 514350"/>
                <a:gd name="connsiteX6566" fmla="*/ 1198721 w 6400800"/>
                <a:gd name="connsiteY6566" fmla="*/ 291941 h 514350"/>
                <a:gd name="connsiteX6567" fmla="*/ 1199674 w 6400800"/>
                <a:gd name="connsiteY6567" fmla="*/ 299561 h 514350"/>
                <a:gd name="connsiteX6568" fmla="*/ 1196816 w 6400800"/>
                <a:gd name="connsiteY6568" fmla="*/ 307181 h 514350"/>
                <a:gd name="connsiteX6569" fmla="*/ 1194911 w 6400800"/>
                <a:gd name="connsiteY6569" fmla="*/ 299561 h 514350"/>
                <a:gd name="connsiteX6570" fmla="*/ 1197769 w 6400800"/>
                <a:gd name="connsiteY6570" fmla="*/ 293846 h 514350"/>
                <a:gd name="connsiteX6571" fmla="*/ 1196816 w 6400800"/>
                <a:gd name="connsiteY6571" fmla="*/ 459581 h 514350"/>
                <a:gd name="connsiteX6572" fmla="*/ 1196816 w 6400800"/>
                <a:gd name="connsiteY6572" fmla="*/ 459581 h 514350"/>
                <a:gd name="connsiteX6573" fmla="*/ 1195864 w 6400800"/>
                <a:gd name="connsiteY6573" fmla="*/ 455771 h 514350"/>
                <a:gd name="connsiteX6574" fmla="*/ 1196816 w 6400800"/>
                <a:gd name="connsiteY6574" fmla="*/ 459581 h 514350"/>
                <a:gd name="connsiteX6575" fmla="*/ 1190149 w 6400800"/>
                <a:gd name="connsiteY6575" fmla="*/ 324326 h 514350"/>
                <a:gd name="connsiteX6576" fmla="*/ 1190149 w 6400800"/>
                <a:gd name="connsiteY6576" fmla="*/ 324326 h 514350"/>
                <a:gd name="connsiteX6577" fmla="*/ 1189196 w 6400800"/>
                <a:gd name="connsiteY6577" fmla="*/ 320516 h 514350"/>
                <a:gd name="connsiteX6578" fmla="*/ 1190149 w 6400800"/>
                <a:gd name="connsiteY6578" fmla="*/ 324326 h 514350"/>
                <a:gd name="connsiteX6579" fmla="*/ 1170146 w 6400800"/>
                <a:gd name="connsiteY6579" fmla="*/ 270986 h 514350"/>
                <a:gd name="connsiteX6580" fmla="*/ 1170146 w 6400800"/>
                <a:gd name="connsiteY6580" fmla="*/ 268129 h 514350"/>
                <a:gd name="connsiteX6581" fmla="*/ 1170146 w 6400800"/>
                <a:gd name="connsiteY6581" fmla="*/ 264319 h 514350"/>
                <a:gd name="connsiteX6582" fmla="*/ 1172051 w 6400800"/>
                <a:gd name="connsiteY6582" fmla="*/ 235744 h 514350"/>
                <a:gd name="connsiteX6583" fmla="*/ 1174909 w 6400800"/>
                <a:gd name="connsiteY6583" fmla="*/ 245269 h 514350"/>
                <a:gd name="connsiteX6584" fmla="*/ 1176814 w 6400800"/>
                <a:gd name="connsiteY6584" fmla="*/ 260509 h 514350"/>
                <a:gd name="connsiteX6585" fmla="*/ 1177766 w 6400800"/>
                <a:gd name="connsiteY6585" fmla="*/ 285274 h 514350"/>
                <a:gd name="connsiteX6586" fmla="*/ 1177766 w 6400800"/>
                <a:gd name="connsiteY6586" fmla="*/ 308134 h 514350"/>
                <a:gd name="connsiteX6587" fmla="*/ 1176814 w 6400800"/>
                <a:gd name="connsiteY6587" fmla="*/ 305276 h 514350"/>
                <a:gd name="connsiteX6588" fmla="*/ 1168241 w 6400800"/>
                <a:gd name="connsiteY6588" fmla="*/ 287179 h 514350"/>
                <a:gd name="connsiteX6589" fmla="*/ 1170146 w 6400800"/>
                <a:gd name="connsiteY6589" fmla="*/ 270986 h 514350"/>
                <a:gd name="connsiteX6590" fmla="*/ 1170146 w 6400800"/>
                <a:gd name="connsiteY6590" fmla="*/ 309086 h 514350"/>
                <a:gd name="connsiteX6591" fmla="*/ 1173956 w 6400800"/>
                <a:gd name="connsiteY6591" fmla="*/ 321469 h 514350"/>
                <a:gd name="connsiteX6592" fmla="*/ 1172051 w 6400800"/>
                <a:gd name="connsiteY6592" fmla="*/ 327184 h 514350"/>
                <a:gd name="connsiteX6593" fmla="*/ 1170146 w 6400800"/>
                <a:gd name="connsiteY6593" fmla="*/ 322421 h 514350"/>
                <a:gd name="connsiteX6594" fmla="*/ 1170146 w 6400800"/>
                <a:gd name="connsiteY6594" fmla="*/ 318611 h 514350"/>
                <a:gd name="connsiteX6595" fmla="*/ 1168241 w 6400800"/>
                <a:gd name="connsiteY6595" fmla="*/ 303371 h 514350"/>
                <a:gd name="connsiteX6596" fmla="*/ 1170146 w 6400800"/>
                <a:gd name="connsiteY6596" fmla="*/ 309086 h 514350"/>
                <a:gd name="connsiteX6597" fmla="*/ 1164431 w 6400800"/>
                <a:gd name="connsiteY6597" fmla="*/ 236696 h 514350"/>
                <a:gd name="connsiteX6598" fmla="*/ 1161574 w 6400800"/>
                <a:gd name="connsiteY6598" fmla="*/ 253841 h 514350"/>
                <a:gd name="connsiteX6599" fmla="*/ 1161574 w 6400800"/>
                <a:gd name="connsiteY6599" fmla="*/ 251936 h 514350"/>
                <a:gd name="connsiteX6600" fmla="*/ 1161574 w 6400800"/>
                <a:gd name="connsiteY6600" fmla="*/ 250984 h 514350"/>
                <a:gd name="connsiteX6601" fmla="*/ 1164431 w 6400800"/>
                <a:gd name="connsiteY6601" fmla="*/ 236696 h 514350"/>
                <a:gd name="connsiteX6602" fmla="*/ 1140619 w 6400800"/>
                <a:gd name="connsiteY6602" fmla="*/ 290036 h 514350"/>
                <a:gd name="connsiteX6603" fmla="*/ 1139666 w 6400800"/>
                <a:gd name="connsiteY6603" fmla="*/ 291941 h 514350"/>
                <a:gd name="connsiteX6604" fmla="*/ 1137761 w 6400800"/>
                <a:gd name="connsiteY6604" fmla="*/ 283369 h 514350"/>
                <a:gd name="connsiteX6605" fmla="*/ 1140619 w 6400800"/>
                <a:gd name="connsiteY6605" fmla="*/ 290036 h 514350"/>
                <a:gd name="connsiteX6606" fmla="*/ 1114901 w 6400800"/>
                <a:gd name="connsiteY6606" fmla="*/ 339566 h 514350"/>
                <a:gd name="connsiteX6607" fmla="*/ 1117759 w 6400800"/>
                <a:gd name="connsiteY6607" fmla="*/ 315754 h 514350"/>
                <a:gd name="connsiteX6608" fmla="*/ 1119664 w 6400800"/>
                <a:gd name="connsiteY6608" fmla="*/ 325279 h 514350"/>
                <a:gd name="connsiteX6609" fmla="*/ 1121569 w 6400800"/>
                <a:gd name="connsiteY6609" fmla="*/ 334804 h 514350"/>
                <a:gd name="connsiteX6610" fmla="*/ 1120616 w 6400800"/>
                <a:gd name="connsiteY6610" fmla="*/ 341471 h 514350"/>
                <a:gd name="connsiteX6611" fmla="*/ 1120616 w 6400800"/>
                <a:gd name="connsiteY6611" fmla="*/ 342424 h 514350"/>
                <a:gd name="connsiteX6612" fmla="*/ 1118711 w 6400800"/>
                <a:gd name="connsiteY6612" fmla="*/ 348139 h 514350"/>
                <a:gd name="connsiteX6613" fmla="*/ 1114901 w 6400800"/>
                <a:gd name="connsiteY6613" fmla="*/ 341471 h 514350"/>
                <a:gd name="connsiteX6614" fmla="*/ 1114901 w 6400800"/>
                <a:gd name="connsiteY6614" fmla="*/ 339566 h 514350"/>
                <a:gd name="connsiteX6615" fmla="*/ 1111091 w 6400800"/>
                <a:gd name="connsiteY6615" fmla="*/ 219551 h 514350"/>
                <a:gd name="connsiteX6616" fmla="*/ 1112044 w 6400800"/>
                <a:gd name="connsiteY6616" fmla="*/ 222409 h 514350"/>
                <a:gd name="connsiteX6617" fmla="*/ 1112996 w 6400800"/>
                <a:gd name="connsiteY6617" fmla="*/ 230029 h 514350"/>
                <a:gd name="connsiteX6618" fmla="*/ 1112996 w 6400800"/>
                <a:gd name="connsiteY6618" fmla="*/ 230029 h 514350"/>
                <a:gd name="connsiteX6619" fmla="*/ 1111091 w 6400800"/>
                <a:gd name="connsiteY6619" fmla="*/ 219551 h 514350"/>
                <a:gd name="connsiteX6620" fmla="*/ 1111091 w 6400800"/>
                <a:gd name="connsiteY6620" fmla="*/ 219551 h 514350"/>
                <a:gd name="connsiteX6621" fmla="*/ 1110139 w 6400800"/>
                <a:gd name="connsiteY6621" fmla="*/ 217646 h 514350"/>
                <a:gd name="connsiteX6622" fmla="*/ 1110139 w 6400800"/>
                <a:gd name="connsiteY6622" fmla="*/ 217646 h 514350"/>
                <a:gd name="connsiteX6623" fmla="*/ 1109186 w 6400800"/>
                <a:gd name="connsiteY6623" fmla="*/ 215741 h 514350"/>
                <a:gd name="connsiteX6624" fmla="*/ 1110139 w 6400800"/>
                <a:gd name="connsiteY6624" fmla="*/ 217646 h 514350"/>
                <a:gd name="connsiteX6625" fmla="*/ 1101566 w 6400800"/>
                <a:gd name="connsiteY6625" fmla="*/ 236696 h 514350"/>
                <a:gd name="connsiteX6626" fmla="*/ 1111091 w 6400800"/>
                <a:gd name="connsiteY6626" fmla="*/ 278606 h 514350"/>
                <a:gd name="connsiteX6627" fmla="*/ 1109186 w 6400800"/>
                <a:gd name="connsiteY6627" fmla="*/ 293846 h 514350"/>
                <a:gd name="connsiteX6628" fmla="*/ 1106329 w 6400800"/>
                <a:gd name="connsiteY6628" fmla="*/ 309086 h 514350"/>
                <a:gd name="connsiteX6629" fmla="*/ 1106329 w 6400800"/>
                <a:gd name="connsiteY6629" fmla="*/ 308134 h 514350"/>
                <a:gd name="connsiteX6630" fmla="*/ 1105376 w 6400800"/>
                <a:gd name="connsiteY6630" fmla="*/ 295751 h 514350"/>
                <a:gd name="connsiteX6631" fmla="*/ 1105376 w 6400800"/>
                <a:gd name="connsiteY6631" fmla="*/ 300514 h 514350"/>
                <a:gd name="connsiteX6632" fmla="*/ 1099661 w 6400800"/>
                <a:gd name="connsiteY6632" fmla="*/ 272891 h 514350"/>
                <a:gd name="connsiteX6633" fmla="*/ 1094899 w 6400800"/>
                <a:gd name="connsiteY6633" fmla="*/ 249079 h 514350"/>
                <a:gd name="connsiteX6634" fmla="*/ 1101566 w 6400800"/>
                <a:gd name="connsiteY6634" fmla="*/ 236696 h 514350"/>
                <a:gd name="connsiteX6635" fmla="*/ 1027271 w 6400800"/>
                <a:gd name="connsiteY6635" fmla="*/ 325279 h 514350"/>
                <a:gd name="connsiteX6636" fmla="*/ 1030129 w 6400800"/>
                <a:gd name="connsiteY6636" fmla="*/ 310991 h 514350"/>
                <a:gd name="connsiteX6637" fmla="*/ 1034891 w 6400800"/>
                <a:gd name="connsiteY6637" fmla="*/ 297656 h 514350"/>
                <a:gd name="connsiteX6638" fmla="*/ 1039654 w 6400800"/>
                <a:gd name="connsiteY6638" fmla="*/ 288131 h 514350"/>
                <a:gd name="connsiteX6639" fmla="*/ 1042511 w 6400800"/>
                <a:gd name="connsiteY6639" fmla="*/ 299561 h 514350"/>
                <a:gd name="connsiteX6640" fmla="*/ 1039654 w 6400800"/>
                <a:gd name="connsiteY6640" fmla="*/ 305276 h 514350"/>
                <a:gd name="connsiteX6641" fmla="*/ 1028224 w 6400800"/>
                <a:gd name="connsiteY6641" fmla="*/ 330994 h 514350"/>
                <a:gd name="connsiteX6642" fmla="*/ 1027271 w 6400800"/>
                <a:gd name="connsiteY6642" fmla="*/ 325279 h 514350"/>
                <a:gd name="connsiteX6643" fmla="*/ 1040606 w 6400800"/>
                <a:gd name="connsiteY6643" fmla="*/ 374809 h 514350"/>
                <a:gd name="connsiteX6644" fmla="*/ 1039654 w 6400800"/>
                <a:gd name="connsiteY6644" fmla="*/ 370999 h 514350"/>
                <a:gd name="connsiteX6645" fmla="*/ 1045369 w 6400800"/>
                <a:gd name="connsiteY6645" fmla="*/ 355759 h 514350"/>
                <a:gd name="connsiteX6646" fmla="*/ 1047274 w 6400800"/>
                <a:gd name="connsiteY6646" fmla="*/ 364331 h 514350"/>
                <a:gd name="connsiteX6647" fmla="*/ 1048226 w 6400800"/>
                <a:gd name="connsiteY6647" fmla="*/ 386239 h 514350"/>
                <a:gd name="connsiteX6648" fmla="*/ 1044416 w 6400800"/>
                <a:gd name="connsiteY6648" fmla="*/ 384334 h 514350"/>
                <a:gd name="connsiteX6649" fmla="*/ 1040606 w 6400800"/>
                <a:gd name="connsiteY6649" fmla="*/ 374809 h 514350"/>
                <a:gd name="connsiteX6650" fmla="*/ 1046321 w 6400800"/>
                <a:gd name="connsiteY6650" fmla="*/ 389096 h 514350"/>
                <a:gd name="connsiteX6651" fmla="*/ 1048226 w 6400800"/>
                <a:gd name="connsiteY6651" fmla="*/ 391001 h 514350"/>
                <a:gd name="connsiteX6652" fmla="*/ 1048226 w 6400800"/>
                <a:gd name="connsiteY6652" fmla="*/ 392906 h 514350"/>
                <a:gd name="connsiteX6653" fmla="*/ 1046321 w 6400800"/>
                <a:gd name="connsiteY6653" fmla="*/ 389096 h 514350"/>
                <a:gd name="connsiteX6654" fmla="*/ 1056799 w 6400800"/>
                <a:gd name="connsiteY6654" fmla="*/ 292894 h 514350"/>
                <a:gd name="connsiteX6655" fmla="*/ 1061561 w 6400800"/>
                <a:gd name="connsiteY6655" fmla="*/ 282416 h 514350"/>
                <a:gd name="connsiteX6656" fmla="*/ 1066324 w 6400800"/>
                <a:gd name="connsiteY6656" fmla="*/ 271939 h 514350"/>
                <a:gd name="connsiteX6657" fmla="*/ 1066324 w 6400800"/>
                <a:gd name="connsiteY6657" fmla="*/ 273844 h 514350"/>
                <a:gd name="connsiteX6658" fmla="*/ 1067276 w 6400800"/>
                <a:gd name="connsiteY6658" fmla="*/ 278606 h 514350"/>
                <a:gd name="connsiteX6659" fmla="*/ 1063466 w 6400800"/>
                <a:gd name="connsiteY6659" fmla="*/ 285274 h 514350"/>
                <a:gd name="connsiteX6660" fmla="*/ 1057751 w 6400800"/>
                <a:gd name="connsiteY6660" fmla="*/ 295751 h 514350"/>
                <a:gd name="connsiteX6661" fmla="*/ 1056799 w 6400800"/>
                <a:gd name="connsiteY6661" fmla="*/ 292894 h 514350"/>
                <a:gd name="connsiteX6662" fmla="*/ 1059656 w 6400800"/>
                <a:gd name="connsiteY6662" fmla="*/ 360521 h 514350"/>
                <a:gd name="connsiteX6663" fmla="*/ 1059656 w 6400800"/>
                <a:gd name="connsiteY6663" fmla="*/ 360521 h 514350"/>
                <a:gd name="connsiteX6664" fmla="*/ 1059656 w 6400800"/>
                <a:gd name="connsiteY6664" fmla="*/ 360521 h 514350"/>
                <a:gd name="connsiteX6665" fmla="*/ 1059656 w 6400800"/>
                <a:gd name="connsiteY6665" fmla="*/ 360521 h 514350"/>
                <a:gd name="connsiteX6666" fmla="*/ 1064419 w 6400800"/>
                <a:gd name="connsiteY6666" fmla="*/ 383381 h 514350"/>
                <a:gd name="connsiteX6667" fmla="*/ 1062514 w 6400800"/>
                <a:gd name="connsiteY6667" fmla="*/ 379571 h 514350"/>
                <a:gd name="connsiteX6668" fmla="*/ 1063466 w 6400800"/>
                <a:gd name="connsiteY6668" fmla="*/ 374809 h 514350"/>
                <a:gd name="connsiteX6669" fmla="*/ 1064419 w 6400800"/>
                <a:gd name="connsiteY6669" fmla="*/ 378619 h 514350"/>
                <a:gd name="connsiteX6670" fmla="*/ 1064419 w 6400800"/>
                <a:gd name="connsiteY6670" fmla="*/ 380524 h 514350"/>
                <a:gd name="connsiteX6671" fmla="*/ 1065371 w 6400800"/>
                <a:gd name="connsiteY6671" fmla="*/ 386239 h 514350"/>
                <a:gd name="connsiteX6672" fmla="*/ 1064419 w 6400800"/>
                <a:gd name="connsiteY6672" fmla="*/ 383381 h 514350"/>
                <a:gd name="connsiteX6673" fmla="*/ 1069181 w 6400800"/>
                <a:gd name="connsiteY6673" fmla="*/ 330994 h 514350"/>
                <a:gd name="connsiteX6674" fmla="*/ 1063466 w 6400800"/>
                <a:gd name="connsiteY6674" fmla="*/ 312896 h 514350"/>
                <a:gd name="connsiteX6675" fmla="*/ 1069181 w 6400800"/>
                <a:gd name="connsiteY6675" fmla="*/ 300514 h 514350"/>
                <a:gd name="connsiteX6676" fmla="*/ 1070134 w 6400800"/>
                <a:gd name="connsiteY6676" fmla="*/ 326231 h 514350"/>
                <a:gd name="connsiteX6677" fmla="*/ 1069181 w 6400800"/>
                <a:gd name="connsiteY6677" fmla="*/ 330994 h 514350"/>
                <a:gd name="connsiteX6678" fmla="*/ 1077754 w 6400800"/>
                <a:gd name="connsiteY6678" fmla="*/ 262414 h 514350"/>
                <a:gd name="connsiteX6679" fmla="*/ 1075849 w 6400800"/>
                <a:gd name="connsiteY6679" fmla="*/ 264319 h 514350"/>
                <a:gd name="connsiteX6680" fmla="*/ 1073944 w 6400800"/>
                <a:gd name="connsiteY6680" fmla="*/ 256699 h 514350"/>
                <a:gd name="connsiteX6681" fmla="*/ 1074896 w 6400800"/>
                <a:gd name="connsiteY6681" fmla="*/ 256699 h 514350"/>
                <a:gd name="connsiteX6682" fmla="*/ 1075849 w 6400800"/>
                <a:gd name="connsiteY6682" fmla="*/ 256699 h 514350"/>
                <a:gd name="connsiteX6683" fmla="*/ 1077754 w 6400800"/>
                <a:gd name="connsiteY6683" fmla="*/ 262414 h 514350"/>
                <a:gd name="connsiteX6684" fmla="*/ 1045369 w 6400800"/>
                <a:gd name="connsiteY6684" fmla="*/ 175736 h 514350"/>
                <a:gd name="connsiteX6685" fmla="*/ 1054894 w 6400800"/>
                <a:gd name="connsiteY6685" fmla="*/ 153829 h 514350"/>
                <a:gd name="connsiteX6686" fmla="*/ 1055846 w 6400800"/>
                <a:gd name="connsiteY6686" fmla="*/ 155734 h 514350"/>
                <a:gd name="connsiteX6687" fmla="*/ 1059656 w 6400800"/>
                <a:gd name="connsiteY6687" fmla="*/ 171926 h 514350"/>
                <a:gd name="connsiteX6688" fmla="*/ 1064419 w 6400800"/>
                <a:gd name="connsiteY6688" fmla="*/ 193834 h 514350"/>
                <a:gd name="connsiteX6689" fmla="*/ 1069181 w 6400800"/>
                <a:gd name="connsiteY6689" fmla="*/ 215741 h 514350"/>
                <a:gd name="connsiteX6690" fmla="*/ 1076801 w 6400800"/>
                <a:gd name="connsiteY6690" fmla="*/ 253841 h 514350"/>
                <a:gd name="connsiteX6691" fmla="*/ 1074896 w 6400800"/>
                <a:gd name="connsiteY6691" fmla="*/ 252889 h 514350"/>
                <a:gd name="connsiteX6692" fmla="*/ 1067276 w 6400800"/>
                <a:gd name="connsiteY6692" fmla="*/ 216694 h 514350"/>
                <a:gd name="connsiteX6693" fmla="*/ 1068229 w 6400800"/>
                <a:gd name="connsiteY6693" fmla="*/ 257651 h 514350"/>
                <a:gd name="connsiteX6694" fmla="*/ 1067276 w 6400800"/>
                <a:gd name="connsiteY6694" fmla="*/ 259556 h 514350"/>
                <a:gd name="connsiteX6695" fmla="*/ 1065371 w 6400800"/>
                <a:gd name="connsiteY6695" fmla="*/ 252889 h 514350"/>
                <a:gd name="connsiteX6696" fmla="*/ 1066324 w 6400800"/>
                <a:gd name="connsiteY6696" fmla="*/ 261461 h 514350"/>
                <a:gd name="connsiteX6697" fmla="*/ 1055846 w 6400800"/>
                <a:gd name="connsiteY6697" fmla="*/ 278606 h 514350"/>
                <a:gd name="connsiteX6698" fmla="*/ 1054894 w 6400800"/>
                <a:gd name="connsiteY6698" fmla="*/ 280511 h 514350"/>
                <a:gd name="connsiteX6699" fmla="*/ 1053941 w 6400800"/>
                <a:gd name="connsiteY6699" fmla="*/ 277654 h 514350"/>
                <a:gd name="connsiteX6700" fmla="*/ 1043464 w 6400800"/>
                <a:gd name="connsiteY6700" fmla="*/ 245269 h 514350"/>
                <a:gd name="connsiteX6701" fmla="*/ 1035844 w 6400800"/>
                <a:gd name="connsiteY6701" fmla="*/ 220504 h 514350"/>
                <a:gd name="connsiteX6702" fmla="*/ 1032034 w 6400800"/>
                <a:gd name="connsiteY6702" fmla="*/ 209074 h 514350"/>
                <a:gd name="connsiteX6703" fmla="*/ 1045369 w 6400800"/>
                <a:gd name="connsiteY6703" fmla="*/ 175736 h 514350"/>
                <a:gd name="connsiteX6704" fmla="*/ 1019651 w 6400800"/>
                <a:gd name="connsiteY6704" fmla="*/ 267176 h 514350"/>
                <a:gd name="connsiteX6705" fmla="*/ 1023461 w 6400800"/>
                <a:gd name="connsiteY6705" fmla="*/ 221456 h 514350"/>
                <a:gd name="connsiteX6706" fmla="*/ 1024414 w 6400800"/>
                <a:gd name="connsiteY6706" fmla="*/ 218599 h 514350"/>
                <a:gd name="connsiteX6707" fmla="*/ 1032034 w 6400800"/>
                <a:gd name="connsiteY6707" fmla="*/ 253841 h 514350"/>
                <a:gd name="connsiteX6708" fmla="*/ 1038701 w 6400800"/>
                <a:gd name="connsiteY6708" fmla="*/ 283369 h 514350"/>
                <a:gd name="connsiteX6709" fmla="*/ 1037749 w 6400800"/>
                <a:gd name="connsiteY6709" fmla="*/ 284321 h 514350"/>
                <a:gd name="connsiteX6710" fmla="*/ 1031081 w 6400800"/>
                <a:gd name="connsiteY6710" fmla="*/ 294799 h 514350"/>
                <a:gd name="connsiteX6711" fmla="*/ 1025366 w 6400800"/>
                <a:gd name="connsiteY6711" fmla="*/ 306229 h 514350"/>
                <a:gd name="connsiteX6712" fmla="*/ 1023461 w 6400800"/>
                <a:gd name="connsiteY6712" fmla="*/ 284321 h 514350"/>
                <a:gd name="connsiteX6713" fmla="*/ 1022509 w 6400800"/>
                <a:gd name="connsiteY6713" fmla="*/ 269081 h 514350"/>
                <a:gd name="connsiteX6714" fmla="*/ 1019651 w 6400800"/>
                <a:gd name="connsiteY6714" fmla="*/ 284321 h 514350"/>
                <a:gd name="connsiteX6715" fmla="*/ 1015841 w 6400800"/>
                <a:gd name="connsiteY6715" fmla="*/ 314801 h 514350"/>
                <a:gd name="connsiteX6716" fmla="*/ 1015841 w 6400800"/>
                <a:gd name="connsiteY6716" fmla="*/ 315754 h 514350"/>
                <a:gd name="connsiteX6717" fmla="*/ 1015841 w 6400800"/>
                <a:gd name="connsiteY6717" fmla="*/ 315754 h 514350"/>
                <a:gd name="connsiteX6718" fmla="*/ 1022509 w 6400800"/>
                <a:gd name="connsiteY6718" fmla="*/ 251936 h 514350"/>
                <a:gd name="connsiteX6719" fmla="*/ 1019651 w 6400800"/>
                <a:gd name="connsiteY6719" fmla="*/ 267176 h 514350"/>
                <a:gd name="connsiteX6720" fmla="*/ 1011079 w 6400800"/>
                <a:gd name="connsiteY6720" fmla="*/ 364331 h 514350"/>
                <a:gd name="connsiteX6721" fmla="*/ 1012031 w 6400800"/>
                <a:gd name="connsiteY6721" fmla="*/ 355759 h 514350"/>
                <a:gd name="connsiteX6722" fmla="*/ 1013936 w 6400800"/>
                <a:gd name="connsiteY6722" fmla="*/ 342424 h 514350"/>
                <a:gd name="connsiteX6723" fmla="*/ 1013936 w 6400800"/>
                <a:gd name="connsiteY6723" fmla="*/ 342424 h 514350"/>
                <a:gd name="connsiteX6724" fmla="*/ 1012031 w 6400800"/>
                <a:gd name="connsiteY6724" fmla="*/ 364331 h 514350"/>
                <a:gd name="connsiteX6725" fmla="*/ 1011079 w 6400800"/>
                <a:gd name="connsiteY6725" fmla="*/ 366236 h 514350"/>
                <a:gd name="connsiteX6726" fmla="*/ 1011079 w 6400800"/>
                <a:gd name="connsiteY6726" fmla="*/ 366236 h 514350"/>
                <a:gd name="connsiteX6727" fmla="*/ 1011079 w 6400800"/>
                <a:gd name="connsiteY6727" fmla="*/ 364331 h 514350"/>
                <a:gd name="connsiteX6728" fmla="*/ 1004411 w 6400800"/>
                <a:gd name="connsiteY6728" fmla="*/ 257651 h 514350"/>
                <a:gd name="connsiteX6729" fmla="*/ 1001554 w 6400800"/>
                <a:gd name="connsiteY6729" fmla="*/ 281464 h 514350"/>
                <a:gd name="connsiteX6730" fmla="*/ 996791 w 6400800"/>
                <a:gd name="connsiteY6730" fmla="*/ 271939 h 514350"/>
                <a:gd name="connsiteX6731" fmla="*/ 1004411 w 6400800"/>
                <a:gd name="connsiteY6731" fmla="*/ 257651 h 514350"/>
                <a:gd name="connsiteX6732" fmla="*/ 991076 w 6400800"/>
                <a:gd name="connsiteY6732" fmla="*/ 283369 h 514350"/>
                <a:gd name="connsiteX6733" fmla="*/ 995839 w 6400800"/>
                <a:gd name="connsiteY6733" fmla="*/ 273844 h 514350"/>
                <a:gd name="connsiteX6734" fmla="*/ 999649 w 6400800"/>
                <a:gd name="connsiteY6734" fmla="*/ 291941 h 514350"/>
                <a:gd name="connsiteX6735" fmla="*/ 995839 w 6400800"/>
                <a:gd name="connsiteY6735" fmla="*/ 326231 h 514350"/>
                <a:gd name="connsiteX6736" fmla="*/ 993934 w 6400800"/>
                <a:gd name="connsiteY6736" fmla="*/ 330994 h 514350"/>
                <a:gd name="connsiteX6737" fmla="*/ 992981 w 6400800"/>
                <a:gd name="connsiteY6737" fmla="*/ 320516 h 514350"/>
                <a:gd name="connsiteX6738" fmla="*/ 991076 w 6400800"/>
                <a:gd name="connsiteY6738" fmla="*/ 338614 h 514350"/>
                <a:gd name="connsiteX6739" fmla="*/ 990124 w 6400800"/>
                <a:gd name="connsiteY6739" fmla="*/ 341471 h 514350"/>
                <a:gd name="connsiteX6740" fmla="*/ 981551 w 6400800"/>
                <a:gd name="connsiteY6740" fmla="*/ 365284 h 514350"/>
                <a:gd name="connsiteX6741" fmla="*/ 980599 w 6400800"/>
                <a:gd name="connsiteY6741" fmla="*/ 363379 h 514350"/>
                <a:gd name="connsiteX6742" fmla="*/ 977741 w 6400800"/>
                <a:gd name="connsiteY6742" fmla="*/ 331946 h 514350"/>
                <a:gd name="connsiteX6743" fmla="*/ 975836 w 6400800"/>
                <a:gd name="connsiteY6743" fmla="*/ 311944 h 514350"/>
                <a:gd name="connsiteX6744" fmla="*/ 991076 w 6400800"/>
                <a:gd name="connsiteY6744" fmla="*/ 283369 h 514350"/>
                <a:gd name="connsiteX6745" fmla="*/ 960596 w 6400800"/>
                <a:gd name="connsiteY6745" fmla="*/ 298609 h 514350"/>
                <a:gd name="connsiteX6746" fmla="*/ 968216 w 6400800"/>
                <a:gd name="connsiteY6746" fmla="*/ 280511 h 514350"/>
                <a:gd name="connsiteX6747" fmla="*/ 967264 w 6400800"/>
                <a:gd name="connsiteY6747" fmla="*/ 294799 h 514350"/>
                <a:gd name="connsiteX6748" fmla="*/ 961549 w 6400800"/>
                <a:gd name="connsiteY6748" fmla="*/ 304324 h 514350"/>
                <a:gd name="connsiteX6749" fmla="*/ 961549 w 6400800"/>
                <a:gd name="connsiteY6749" fmla="*/ 303371 h 514350"/>
                <a:gd name="connsiteX6750" fmla="*/ 960596 w 6400800"/>
                <a:gd name="connsiteY6750" fmla="*/ 301466 h 514350"/>
                <a:gd name="connsiteX6751" fmla="*/ 960596 w 6400800"/>
                <a:gd name="connsiteY6751" fmla="*/ 298609 h 514350"/>
                <a:gd name="connsiteX6752" fmla="*/ 939641 w 6400800"/>
                <a:gd name="connsiteY6752" fmla="*/ 258604 h 514350"/>
                <a:gd name="connsiteX6753" fmla="*/ 939641 w 6400800"/>
                <a:gd name="connsiteY6753" fmla="*/ 258604 h 514350"/>
                <a:gd name="connsiteX6754" fmla="*/ 943451 w 6400800"/>
                <a:gd name="connsiteY6754" fmla="*/ 246221 h 514350"/>
                <a:gd name="connsiteX6755" fmla="*/ 943451 w 6400800"/>
                <a:gd name="connsiteY6755" fmla="*/ 251936 h 514350"/>
                <a:gd name="connsiteX6756" fmla="*/ 939641 w 6400800"/>
                <a:gd name="connsiteY6756" fmla="*/ 258604 h 514350"/>
                <a:gd name="connsiteX6757" fmla="*/ 939641 w 6400800"/>
                <a:gd name="connsiteY6757" fmla="*/ 258604 h 514350"/>
                <a:gd name="connsiteX6758" fmla="*/ 944404 w 6400800"/>
                <a:gd name="connsiteY6758" fmla="*/ 280511 h 514350"/>
                <a:gd name="connsiteX6759" fmla="*/ 943451 w 6400800"/>
                <a:gd name="connsiteY6759" fmla="*/ 273844 h 514350"/>
                <a:gd name="connsiteX6760" fmla="*/ 944404 w 6400800"/>
                <a:gd name="connsiteY6760" fmla="*/ 270986 h 514350"/>
                <a:gd name="connsiteX6761" fmla="*/ 944404 w 6400800"/>
                <a:gd name="connsiteY6761" fmla="*/ 271939 h 514350"/>
                <a:gd name="connsiteX6762" fmla="*/ 944404 w 6400800"/>
                <a:gd name="connsiteY6762" fmla="*/ 275749 h 514350"/>
                <a:gd name="connsiteX6763" fmla="*/ 944404 w 6400800"/>
                <a:gd name="connsiteY6763" fmla="*/ 280511 h 514350"/>
                <a:gd name="connsiteX6764" fmla="*/ 944404 w 6400800"/>
                <a:gd name="connsiteY6764" fmla="*/ 270986 h 514350"/>
                <a:gd name="connsiteX6765" fmla="*/ 944404 w 6400800"/>
                <a:gd name="connsiteY6765" fmla="*/ 270986 h 514350"/>
                <a:gd name="connsiteX6766" fmla="*/ 944404 w 6400800"/>
                <a:gd name="connsiteY6766" fmla="*/ 270986 h 514350"/>
                <a:gd name="connsiteX6767" fmla="*/ 944404 w 6400800"/>
                <a:gd name="connsiteY6767" fmla="*/ 270986 h 514350"/>
                <a:gd name="connsiteX6768" fmla="*/ 933926 w 6400800"/>
                <a:gd name="connsiteY6768" fmla="*/ 227171 h 514350"/>
                <a:gd name="connsiteX6769" fmla="*/ 958691 w 6400800"/>
                <a:gd name="connsiteY6769" fmla="*/ 138589 h 514350"/>
                <a:gd name="connsiteX6770" fmla="*/ 958691 w 6400800"/>
                <a:gd name="connsiteY6770" fmla="*/ 146209 h 514350"/>
                <a:gd name="connsiteX6771" fmla="*/ 953929 w 6400800"/>
                <a:gd name="connsiteY6771" fmla="*/ 203359 h 514350"/>
                <a:gd name="connsiteX6772" fmla="*/ 950119 w 6400800"/>
                <a:gd name="connsiteY6772" fmla="*/ 242411 h 514350"/>
                <a:gd name="connsiteX6773" fmla="*/ 948214 w 6400800"/>
                <a:gd name="connsiteY6773" fmla="*/ 246221 h 514350"/>
                <a:gd name="connsiteX6774" fmla="*/ 947261 w 6400800"/>
                <a:gd name="connsiteY6774" fmla="*/ 240506 h 514350"/>
                <a:gd name="connsiteX6775" fmla="*/ 949166 w 6400800"/>
                <a:gd name="connsiteY6775" fmla="*/ 233839 h 514350"/>
                <a:gd name="connsiteX6776" fmla="*/ 946309 w 6400800"/>
                <a:gd name="connsiteY6776" fmla="*/ 238601 h 514350"/>
                <a:gd name="connsiteX6777" fmla="*/ 944404 w 6400800"/>
                <a:gd name="connsiteY6777" fmla="*/ 230029 h 514350"/>
                <a:gd name="connsiteX6778" fmla="*/ 944404 w 6400800"/>
                <a:gd name="connsiteY6778" fmla="*/ 241459 h 514350"/>
                <a:gd name="connsiteX6779" fmla="*/ 939641 w 6400800"/>
                <a:gd name="connsiteY6779" fmla="*/ 251936 h 514350"/>
                <a:gd name="connsiteX6780" fmla="*/ 938689 w 6400800"/>
                <a:gd name="connsiteY6780" fmla="*/ 248126 h 514350"/>
                <a:gd name="connsiteX6781" fmla="*/ 936784 w 6400800"/>
                <a:gd name="connsiteY6781" fmla="*/ 241459 h 514350"/>
                <a:gd name="connsiteX6782" fmla="*/ 943451 w 6400800"/>
                <a:gd name="connsiteY6782" fmla="*/ 217646 h 514350"/>
                <a:gd name="connsiteX6783" fmla="*/ 934879 w 6400800"/>
                <a:gd name="connsiteY6783" fmla="*/ 235744 h 514350"/>
                <a:gd name="connsiteX6784" fmla="*/ 932974 w 6400800"/>
                <a:gd name="connsiteY6784" fmla="*/ 230029 h 514350"/>
                <a:gd name="connsiteX6785" fmla="*/ 933926 w 6400800"/>
                <a:gd name="connsiteY6785" fmla="*/ 227171 h 514350"/>
                <a:gd name="connsiteX6786" fmla="*/ 921544 w 6400800"/>
                <a:gd name="connsiteY6786" fmla="*/ 452914 h 514350"/>
                <a:gd name="connsiteX6787" fmla="*/ 920591 w 6400800"/>
                <a:gd name="connsiteY6787" fmla="*/ 451961 h 514350"/>
                <a:gd name="connsiteX6788" fmla="*/ 919639 w 6400800"/>
                <a:gd name="connsiteY6788" fmla="*/ 438626 h 514350"/>
                <a:gd name="connsiteX6789" fmla="*/ 921544 w 6400800"/>
                <a:gd name="connsiteY6789" fmla="*/ 452914 h 514350"/>
                <a:gd name="connsiteX6790" fmla="*/ 912019 w 6400800"/>
                <a:gd name="connsiteY6790" fmla="*/ 210979 h 514350"/>
                <a:gd name="connsiteX6791" fmla="*/ 915829 w 6400800"/>
                <a:gd name="connsiteY6791" fmla="*/ 227171 h 514350"/>
                <a:gd name="connsiteX6792" fmla="*/ 914876 w 6400800"/>
                <a:gd name="connsiteY6792" fmla="*/ 230029 h 514350"/>
                <a:gd name="connsiteX6793" fmla="*/ 912971 w 6400800"/>
                <a:gd name="connsiteY6793" fmla="*/ 236696 h 514350"/>
                <a:gd name="connsiteX6794" fmla="*/ 912019 w 6400800"/>
                <a:gd name="connsiteY6794" fmla="*/ 232886 h 514350"/>
                <a:gd name="connsiteX6795" fmla="*/ 912019 w 6400800"/>
                <a:gd name="connsiteY6795" fmla="*/ 228124 h 514350"/>
                <a:gd name="connsiteX6796" fmla="*/ 911066 w 6400800"/>
                <a:gd name="connsiteY6796" fmla="*/ 210979 h 514350"/>
                <a:gd name="connsiteX6797" fmla="*/ 911066 w 6400800"/>
                <a:gd name="connsiteY6797" fmla="*/ 204311 h 514350"/>
                <a:gd name="connsiteX6798" fmla="*/ 912019 w 6400800"/>
                <a:gd name="connsiteY6798" fmla="*/ 210979 h 514350"/>
                <a:gd name="connsiteX6799" fmla="*/ 833914 w 6400800"/>
                <a:gd name="connsiteY6799" fmla="*/ 333851 h 514350"/>
                <a:gd name="connsiteX6800" fmla="*/ 834866 w 6400800"/>
                <a:gd name="connsiteY6800" fmla="*/ 331946 h 514350"/>
                <a:gd name="connsiteX6801" fmla="*/ 834866 w 6400800"/>
                <a:gd name="connsiteY6801" fmla="*/ 337661 h 514350"/>
                <a:gd name="connsiteX6802" fmla="*/ 833914 w 6400800"/>
                <a:gd name="connsiteY6802" fmla="*/ 333851 h 514350"/>
                <a:gd name="connsiteX6803" fmla="*/ 847249 w 6400800"/>
                <a:gd name="connsiteY6803" fmla="*/ 304324 h 514350"/>
                <a:gd name="connsiteX6804" fmla="*/ 846296 w 6400800"/>
                <a:gd name="connsiteY6804" fmla="*/ 301466 h 514350"/>
                <a:gd name="connsiteX6805" fmla="*/ 846296 w 6400800"/>
                <a:gd name="connsiteY6805" fmla="*/ 299561 h 514350"/>
                <a:gd name="connsiteX6806" fmla="*/ 851059 w 6400800"/>
                <a:gd name="connsiteY6806" fmla="*/ 286226 h 514350"/>
                <a:gd name="connsiteX6807" fmla="*/ 847249 w 6400800"/>
                <a:gd name="connsiteY6807" fmla="*/ 304324 h 514350"/>
                <a:gd name="connsiteX6808" fmla="*/ 880586 w 6400800"/>
                <a:gd name="connsiteY6808" fmla="*/ 300514 h 514350"/>
                <a:gd name="connsiteX6809" fmla="*/ 876776 w 6400800"/>
                <a:gd name="connsiteY6809" fmla="*/ 319564 h 514350"/>
                <a:gd name="connsiteX6810" fmla="*/ 872966 w 6400800"/>
                <a:gd name="connsiteY6810" fmla="*/ 343376 h 514350"/>
                <a:gd name="connsiteX6811" fmla="*/ 869156 w 6400800"/>
                <a:gd name="connsiteY6811" fmla="*/ 350996 h 514350"/>
                <a:gd name="connsiteX6812" fmla="*/ 868204 w 6400800"/>
                <a:gd name="connsiteY6812" fmla="*/ 349091 h 514350"/>
                <a:gd name="connsiteX6813" fmla="*/ 867251 w 6400800"/>
                <a:gd name="connsiteY6813" fmla="*/ 348139 h 514350"/>
                <a:gd name="connsiteX6814" fmla="*/ 867251 w 6400800"/>
                <a:gd name="connsiteY6814" fmla="*/ 335756 h 514350"/>
                <a:gd name="connsiteX6815" fmla="*/ 866299 w 6400800"/>
                <a:gd name="connsiteY6815" fmla="*/ 301466 h 514350"/>
                <a:gd name="connsiteX6816" fmla="*/ 863441 w 6400800"/>
                <a:gd name="connsiteY6816" fmla="*/ 272891 h 514350"/>
                <a:gd name="connsiteX6817" fmla="*/ 861536 w 6400800"/>
                <a:gd name="connsiteY6817" fmla="*/ 257651 h 514350"/>
                <a:gd name="connsiteX6818" fmla="*/ 862489 w 6400800"/>
                <a:gd name="connsiteY6818" fmla="*/ 255746 h 514350"/>
                <a:gd name="connsiteX6819" fmla="*/ 862489 w 6400800"/>
                <a:gd name="connsiteY6819" fmla="*/ 255746 h 514350"/>
                <a:gd name="connsiteX6820" fmla="*/ 876776 w 6400800"/>
                <a:gd name="connsiteY6820" fmla="*/ 286226 h 514350"/>
                <a:gd name="connsiteX6821" fmla="*/ 881539 w 6400800"/>
                <a:gd name="connsiteY6821" fmla="*/ 296704 h 514350"/>
                <a:gd name="connsiteX6822" fmla="*/ 880586 w 6400800"/>
                <a:gd name="connsiteY6822" fmla="*/ 300514 h 514350"/>
                <a:gd name="connsiteX6823" fmla="*/ 885349 w 6400800"/>
                <a:gd name="connsiteY6823" fmla="*/ 318611 h 514350"/>
                <a:gd name="connsiteX6824" fmla="*/ 884396 w 6400800"/>
                <a:gd name="connsiteY6824" fmla="*/ 319564 h 514350"/>
                <a:gd name="connsiteX6825" fmla="*/ 883444 w 6400800"/>
                <a:gd name="connsiteY6825" fmla="*/ 320516 h 514350"/>
                <a:gd name="connsiteX6826" fmla="*/ 884396 w 6400800"/>
                <a:gd name="connsiteY6826" fmla="*/ 303371 h 514350"/>
                <a:gd name="connsiteX6827" fmla="*/ 887254 w 6400800"/>
                <a:gd name="connsiteY6827" fmla="*/ 310039 h 514350"/>
                <a:gd name="connsiteX6828" fmla="*/ 885349 w 6400800"/>
                <a:gd name="connsiteY6828" fmla="*/ 318611 h 514350"/>
                <a:gd name="connsiteX6829" fmla="*/ 900589 w 6400800"/>
                <a:gd name="connsiteY6829" fmla="*/ 246221 h 514350"/>
                <a:gd name="connsiteX6830" fmla="*/ 900589 w 6400800"/>
                <a:gd name="connsiteY6830" fmla="*/ 246221 h 514350"/>
                <a:gd name="connsiteX6831" fmla="*/ 898684 w 6400800"/>
                <a:gd name="connsiteY6831" fmla="*/ 234791 h 514350"/>
                <a:gd name="connsiteX6832" fmla="*/ 897731 w 6400800"/>
                <a:gd name="connsiteY6832" fmla="*/ 252889 h 514350"/>
                <a:gd name="connsiteX6833" fmla="*/ 897731 w 6400800"/>
                <a:gd name="connsiteY6833" fmla="*/ 253841 h 514350"/>
                <a:gd name="connsiteX6834" fmla="*/ 894874 w 6400800"/>
                <a:gd name="connsiteY6834" fmla="*/ 250031 h 514350"/>
                <a:gd name="connsiteX6835" fmla="*/ 897731 w 6400800"/>
                <a:gd name="connsiteY6835" fmla="*/ 254794 h 514350"/>
                <a:gd name="connsiteX6836" fmla="*/ 897731 w 6400800"/>
                <a:gd name="connsiteY6836" fmla="*/ 257651 h 514350"/>
                <a:gd name="connsiteX6837" fmla="*/ 896779 w 6400800"/>
                <a:gd name="connsiteY6837" fmla="*/ 264319 h 514350"/>
                <a:gd name="connsiteX6838" fmla="*/ 896779 w 6400800"/>
                <a:gd name="connsiteY6838" fmla="*/ 264319 h 514350"/>
                <a:gd name="connsiteX6839" fmla="*/ 896779 w 6400800"/>
                <a:gd name="connsiteY6839" fmla="*/ 264319 h 514350"/>
                <a:gd name="connsiteX6840" fmla="*/ 896779 w 6400800"/>
                <a:gd name="connsiteY6840" fmla="*/ 265271 h 514350"/>
                <a:gd name="connsiteX6841" fmla="*/ 896779 w 6400800"/>
                <a:gd name="connsiteY6841" fmla="*/ 270986 h 514350"/>
                <a:gd name="connsiteX6842" fmla="*/ 896779 w 6400800"/>
                <a:gd name="connsiteY6842" fmla="*/ 272891 h 514350"/>
                <a:gd name="connsiteX6843" fmla="*/ 895826 w 6400800"/>
                <a:gd name="connsiteY6843" fmla="*/ 285274 h 514350"/>
                <a:gd name="connsiteX6844" fmla="*/ 895826 w 6400800"/>
                <a:gd name="connsiteY6844" fmla="*/ 287179 h 514350"/>
                <a:gd name="connsiteX6845" fmla="*/ 891064 w 6400800"/>
                <a:gd name="connsiteY6845" fmla="*/ 279559 h 514350"/>
                <a:gd name="connsiteX6846" fmla="*/ 873919 w 6400800"/>
                <a:gd name="connsiteY6846" fmla="*/ 250984 h 514350"/>
                <a:gd name="connsiteX6847" fmla="*/ 869156 w 6400800"/>
                <a:gd name="connsiteY6847" fmla="*/ 243364 h 514350"/>
                <a:gd name="connsiteX6848" fmla="*/ 869156 w 6400800"/>
                <a:gd name="connsiteY6848" fmla="*/ 242411 h 514350"/>
                <a:gd name="connsiteX6849" fmla="*/ 878681 w 6400800"/>
                <a:gd name="connsiteY6849" fmla="*/ 215741 h 514350"/>
                <a:gd name="connsiteX6850" fmla="*/ 887254 w 6400800"/>
                <a:gd name="connsiteY6850" fmla="*/ 200501 h 514350"/>
                <a:gd name="connsiteX6851" fmla="*/ 895826 w 6400800"/>
                <a:gd name="connsiteY6851" fmla="*/ 223361 h 514350"/>
                <a:gd name="connsiteX6852" fmla="*/ 901541 w 6400800"/>
                <a:gd name="connsiteY6852" fmla="*/ 240506 h 514350"/>
                <a:gd name="connsiteX6853" fmla="*/ 900589 w 6400800"/>
                <a:gd name="connsiteY6853" fmla="*/ 246221 h 514350"/>
                <a:gd name="connsiteX6854" fmla="*/ 891064 w 6400800"/>
                <a:gd name="connsiteY6854" fmla="*/ 190976 h 514350"/>
                <a:gd name="connsiteX6855" fmla="*/ 892969 w 6400800"/>
                <a:gd name="connsiteY6855" fmla="*/ 187166 h 514350"/>
                <a:gd name="connsiteX6856" fmla="*/ 896779 w 6400800"/>
                <a:gd name="connsiteY6856" fmla="*/ 202406 h 514350"/>
                <a:gd name="connsiteX6857" fmla="*/ 891064 w 6400800"/>
                <a:gd name="connsiteY6857" fmla="*/ 190976 h 514350"/>
                <a:gd name="connsiteX6858" fmla="*/ 904399 w 6400800"/>
                <a:gd name="connsiteY6858" fmla="*/ 181451 h 514350"/>
                <a:gd name="connsiteX6859" fmla="*/ 904399 w 6400800"/>
                <a:gd name="connsiteY6859" fmla="*/ 183356 h 514350"/>
                <a:gd name="connsiteX6860" fmla="*/ 903446 w 6400800"/>
                <a:gd name="connsiteY6860" fmla="*/ 210979 h 514350"/>
                <a:gd name="connsiteX6861" fmla="*/ 903446 w 6400800"/>
                <a:gd name="connsiteY6861" fmla="*/ 210026 h 514350"/>
                <a:gd name="connsiteX6862" fmla="*/ 894874 w 6400800"/>
                <a:gd name="connsiteY6862" fmla="*/ 188119 h 514350"/>
                <a:gd name="connsiteX6863" fmla="*/ 903446 w 6400800"/>
                <a:gd name="connsiteY6863" fmla="*/ 173831 h 514350"/>
                <a:gd name="connsiteX6864" fmla="*/ 904399 w 6400800"/>
                <a:gd name="connsiteY6864" fmla="*/ 181451 h 514350"/>
                <a:gd name="connsiteX6865" fmla="*/ 888206 w 6400800"/>
                <a:gd name="connsiteY6865" fmla="*/ 137636 h 514350"/>
                <a:gd name="connsiteX6866" fmla="*/ 890111 w 6400800"/>
                <a:gd name="connsiteY6866" fmla="*/ 132874 h 514350"/>
                <a:gd name="connsiteX6867" fmla="*/ 898684 w 6400800"/>
                <a:gd name="connsiteY6867" fmla="*/ 161449 h 514350"/>
                <a:gd name="connsiteX6868" fmla="*/ 893921 w 6400800"/>
                <a:gd name="connsiteY6868" fmla="*/ 168116 h 514350"/>
                <a:gd name="connsiteX6869" fmla="*/ 885349 w 6400800"/>
                <a:gd name="connsiteY6869" fmla="*/ 180499 h 514350"/>
                <a:gd name="connsiteX6870" fmla="*/ 874871 w 6400800"/>
                <a:gd name="connsiteY6870" fmla="*/ 163354 h 514350"/>
                <a:gd name="connsiteX6871" fmla="*/ 888206 w 6400800"/>
                <a:gd name="connsiteY6871" fmla="*/ 137636 h 514350"/>
                <a:gd name="connsiteX6872" fmla="*/ 872966 w 6400800"/>
                <a:gd name="connsiteY6872" fmla="*/ 169069 h 514350"/>
                <a:gd name="connsiteX6873" fmla="*/ 881539 w 6400800"/>
                <a:gd name="connsiteY6873" fmla="*/ 188119 h 514350"/>
                <a:gd name="connsiteX6874" fmla="*/ 878681 w 6400800"/>
                <a:gd name="connsiteY6874" fmla="*/ 191929 h 514350"/>
                <a:gd name="connsiteX6875" fmla="*/ 856774 w 6400800"/>
                <a:gd name="connsiteY6875" fmla="*/ 226219 h 514350"/>
                <a:gd name="connsiteX6876" fmla="*/ 851059 w 6400800"/>
                <a:gd name="connsiteY6876" fmla="*/ 217646 h 514350"/>
                <a:gd name="connsiteX6877" fmla="*/ 872966 w 6400800"/>
                <a:gd name="connsiteY6877" fmla="*/ 169069 h 514350"/>
                <a:gd name="connsiteX6878" fmla="*/ 847249 w 6400800"/>
                <a:gd name="connsiteY6878" fmla="*/ 225266 h 514350"/>
                <a:gd name="connsiteX6879" fmla="*/ 848201 w 6400800"/>
                <a:gd name="connsiteY6879" fmla="*/ 223361 h 514350"/>
                <a:gd name="connsiteX6880" fmla="*/ 852011 w 6400800"/>
                <a:gd name="connsiteY6880" fmla="*/ 232886 h 514350"/>
                <a:gd name="connsiteX6881" fmla="*/ 845344 w 6400800"/>
                <a:gd name="connsiteY6881" fmla="*/ 243364 h 514350"/>
                <a:gd name="connsiteX6882" fmla="*/ 837724 w 6400800"/>
                <a:gd name="connsiteY6882" fmla="*/ 256699 h 514350"/>
                <a:gd name="connsiteX6883" fmla="*/ 836771 w 6400800"/>
                <a:gd name="connsiteY6883" fmla="*/ 250984 h 514350"/>
                <a:gd name="connsiteX6884" fmla="*/ 847249 w 6400800"/>
                <a:gd name="connsiteY6884" fmla="*/ 225266 h 514350"/>
                <a:gd name="connsiteX6885" fmla="*/ 835819 w 6400800"/>
                <a:gd name="connsiteY6885" fmla="*/ 195739 h 514350"/>
                <a:gd name="connsiteX6886" fmla="*/ 835819 w 6400800"/>
                <a:gd name="connsiteY6886" fmla="*/ 195739 h 514350"/>
                <a:gd name="connsiteX6887" fmla="*/ 840581 w 6400800"/>
                <a:gd name="connsiteY6887" fmla="*/ 206216 h 514350"/>
                <a:gd name="connsiteX6888" fmla="*/ 833914 w 6400800"/>
                <a:gd name="connsiteY6888" fmla="*/ 219551 h 514350"/>
                <a:gd name="connsiteX6889" fmla="*/ 832961 w 6400800"/>
                <a:gd name="connsiteY6889" fmla="*/ 221456 h 514350"/>
                <a:gd name="connsiteX6890" fmla="*/ 835819 w 6400800"/>
                <a:gd name="connsiteY6890" fmla="*/ 195739 h 514350"/>
                <a:gd name="connsiteX6891" fmla="*/ 826294 w 6400800"/>
                <a:gd name="connsiteY6891" fmla="*/ 274796 h 514350"/>
                <a:gd name="connsiteX6892" fmla="*/ 828199 w 6400800"/>
                <a:gd name="connsiteY6892" fmla="*/ 270986 h 514350"/>
                <a:gd name="connsiteX6893" fmla="*/ 828199 w 6400800"/>
                <a:gd name="connsiteY6893" fmla="*/ 272891 h 514350"/>
                <a:gd name="connsiteX6894" fmla="*/ 826294 w 6400800"/>
                <a:gd name="connsiteY6894" fmla="*/ 276701 h 514350"/>
                <a:gd name="connsiteX6895" fmla="*/ 826294 w 6400800"/>
                <a:gd name="connsiteY6895" fmla="*/ 274796 h 514350"/>
                <a:gd name="connsiteX6896" fmla="*/ 812006 w 6400800"/>
                <a:gd name="connsiteY6896" fmla="*/ 448151 h 514350"/>
                <a:gd name="connsiteX6897" fmla="*/ 812006 w 6400800"/>
                <a:gd name="connsiteY6897" fmla="*/ 448151 h 514350"/>
                <a:gd name="connsiteX6898" fmla="*/ 812006 w 6400800"/>
                <a:gd name="connsiteY6898" fmla="*/ 448151 h 514350"/>
                <a:gd name="connsiteX6899" fmla="*/ 812006 w 6400800"/>
                <a:gd name="connsiteY6899" fmla="*/ 448151 h 514350"/>
                <a:gd name="connsiteX6900" fmla="*/ 785336 w 6400800"/>
                <a:gd name="connsiteY6900" fmla="*/ 330041 h 514350"/>
                <a:gd name="connsiteX6901" fmla="*/ 782479 w 6400800"/>
                <a:gd name="connsiteY6901" fmla="*/ 325279 h 514350"/>
                <a:gd name="connsiteX6902" fmla="*/ 782479 w 6400800"/>
                <a:gd name="connsiteY6902" fmla="*/ 315754 h 514350"/>
                <a:gd name="connsiteX6903" fmla="*/ 786289 w 6400800"/>
                <a:gd name="connsiteY6903" fmla="*/ 326231 h 514350"/>
                <a:gd name="connsiteX6904" fmla="*/ 785336 w 6400800"/>
                <a:gd name="connsiteY6904" fmla="*/ 330041 h 514350"/>
                <a:gd name="connsiteX6905" fmla="*/ 797719 w 6400800"/>
                <a:gd name="connsiteY6905" fmla="*/ 271939 h 514350"/>
                <a:gd name="connsiteX6906" fmla="*/ 803434 w 6400800"/>
                <a:gd name="connsiteY6906" fmla="*/ 286226 h 514350"/>
                <a:gd name="connsiteX6907" fmla="*/ 802481 w 6400800"/>
                <a:gd name="connsiteY6907" fmla="*/ 288131 h 514350"/>
                <a:gd name="connsiteX6908" fmla="*/ 792956 w 6400800"/>
                <a:gd name="connsiteY6908" fmla="*/ 310039 h 514350"/>
                <a:gd name="connsiteX6909" fmla="*/ 792956 w 6400800"/>
                <a:gd name="connsiteY6909" fmla="*/ 309086 h 514350"/>
                <a:gd name="connsiteX6910" fmla="*/ 787241 w 6400800"/>
                <a:gd name="connsiteY6910" fmla="*/ 296704 h 514350"/>
                <a:gd name="connsiteX6911" fmla="*/ 795814 w 6400800"/>
                <a:gd name="connsiteY6911" fmla="*/ 266224 h 514350"/>
                <a:gd name="connsiteX6912" fmla="*/ 797719 w 6400800"/>
                <a:gd name="connsiteY6912" fmla="*/ 271939 h 514350"/>
                <a:gd name="connsiteX6913" fmla="*/ 790099 w 6400800"/>
                <a:gd name="connsiteY6913" fmla="*/ 253841 h 514350"/>
                <a:gd name="connsiteX6914" fmla="*/ 793909 w 6400800"/>
                <a:gd name="connsiteY6914" fmla="*/ 261461 h 514350"/>
                <a:gd name="connsiteX6915" fmla="*/ 793909 w 6400800"/>
                <a:gd name="connsiteY6915" fmla="*/ 262414 h 514350"/>
                <a:gd name="connsiteX6916" fmla="*/ 784384 w 6400800"/>
                <a:gd name="connsiteY6916" fmla="*/ 286226 h 514350"/>
                <a:gd name="connsiteX6917" fmla="*/ 785336 w 6400800"/>
                <a:gd name="connsiteY6917" fmla="*/ 273844 h 514350"/>
                <a:gd name="connsiteX6918" fmla="*/ 790099 w 6400800"/>
                <a:gd name="connsiteY6918" fmla="*/ 253841 h 514350"/>
                <a:gd name="connsiteX6919" fmla="*/ 773906 w 6400800"/>
                <a:gd name="connsiteY6919" fmla="*/ 236696 h 514350"/>
                <a:gd name="connsiteX6920" fmla="*/ 776764 w 6400800"/>
                <a:gd name="connsiteY6920" fmla="*/ 213836 h 514350"/>
                <a:gd name="connsiteX6921" fmla="*/ 783431 w 6400800"/>
                <a:gd name="connsiteY6921" fmla="*/ 229076 h 514350"/>
                <a:gd name="connsiteX6922" fmla="*/ 780574 w 6400800"/>
                <a:gd name="connsiteY6922" fmla="*/ 235744 h 514350"/>
                <a:gd name="connsiteX6923" fmla="*/ 777716 w 6400800"/>
                <a:gd name="connsiteY6923" fmla="*/ 231934 h 514350"/>
                <a:gd name="connsiteX6924" fmla="*/ 780574 w 6400800"/>
                <a:gd name="connsiteY6924" fmla="*/ 236696 h 514350"/>
                <a:gd name="connsiteX6925" fmla="*/ 773906 w 6400800"/>
                <a:gd name="connsiteY6925" fmla="*/ 255746 h 514350"/>
                <a:gd name="connsiteX6926" fmla="*/ 773906 w 6400800"/>
                <a:gd name="connsiteY6926" fmla="*/ 236696 h 514350"/>
                <a:gd name="connsiteX6927" fmla="*/ 724376 w 6400800"/>
                <a:gd name="connsiteY6927" fmla="*/ 219551 h 514350"/>
                <a:gd name="connsiteX6928" fmla="*/ 726281 w 6400800"/>
                <a:gd name="connsiteY6928" fmla="*/ 203359 h 514350"/>
                <a:gd name="connsiteX6929" fmla="*/ 726281 w 6400800"/>
                <a:gd name="connsiteY6929" fmla="*/ 229076 h 514350"/>
                <a:gd name="connsiteX6930" fmla="*/ 723424 w 6400800"/>
                <a:gd name="connsiteY6930" fmla="*/ 223361 h 514350"/>
                <a:gd name="connsiteX6931" fmla="*/ 724376 w 6400800"/>
                <a:gd name="connsiteY6931" fmla="*/ 219551 h 514350"/>
                <a:gd name="connsiteX6932" fmla="*/ 723424 w 6400800"/>
                <a:gd name="connsiteY6932" fmla="*/ 224314 h 514350"/>
                <a:gd name="connsiteX6933" fmla="*/ 724376 w 6400800"/>
                <a:gd name="connsiteY6933" fmla="*/ 235744 h 514350"/>
                <a:gd name="connsiteX6934" fmla="*/ 726281 w 6400800"/>
                <a:gd name="connsiteY6934" fmla="*/ 250984 h 514350"/>
                <a:gd name="connsiteX6935" fmla="*/ 726281 w 6400800"/>
                <a:gd name="connsiteY6935" fmla="*/ 251936 h 514350"/>
                <a:gd name="connsiteX6936" fmla="*/ 727234 w 6400800"/>
                <a:gd name="connsiteY6936" fmla="*/ 276701 h 514350"/>
                <a:gd name="connsiteX6937" fmla="*/ 727234 w 6400800"/>
                <a:gd name="connsiteY6937" fmla="*/ 288131 h 514350"/>
                <a:gd name="connsiteX6938" fmla="*/ 725329 w 6400800"/>
                <a:gd name="connsiteY6938" fmla="*/ 284321 h 514350"/>
                <a:gd name="connsiteX6939" fmla="*/ 717709 w 6400800"/>
                <a:gd name="connsiteY6939" fmla="*/ 260509 h 514350"/>
                <a:gd name="connsiteX6940" fmla="*/ 723424 w 6400800"/>
                <a:gd name="connsiteY6940" fmla="*/ 224314 h 514350"/>
                <a:gd name="connsiteX6941" fmla="*/ 710089 w 6400800"/>
                <a:gd name="connsiteY6941" fmla="*/ 308134 h 514350"/>
                <a:gd name="connsiteX6942" fmla="*/ 711041 w 6400800"/>
                <a:gd name="connsiteY6942" fmla="*/ 320516 h 514350"/>
                <a:gd name="connsiteX6943" fmla="*/ 717709 w 6400800"/>
                <a:gd name="connsiteY6943" fmla="*/ 373856 h 514350"/>
                <a:gd name="connsiteX6944" fmla="*/ 711041 w 6400800"/>
                <a:gd name="connsiteY6944" fmla="*/ 389096 h 514350"/>
                <a:gd name="connsiteX6945" fmla="*/ 709136 w 6400800"/>
                <a:gd name="connsiteY6945" fmla="*/ 383381 h 514350"/>
                <a:gd name="connsiteX6946" fmla="*/ 711041 w 6400800"/>
                <a:gd name="connsiteY6946" fmla="*/ 372904 h 514350"/>
                <a:gd name="connsiteX6947" fmla="*/ 713899 w 6400800"/>
                <a:gd name="connsiteY6947" fmla="*/ 352901 h 514350"/>
                <a:gd name="connsiteX6948" fmla="*/ 707231 w 6400800"/>
                <a:gd name="connsiteY6948" fmla="*/ 372904 h 514350"/>
                <a:gd name="connsiteX6949" fmla="*/ 706279 w 6400800"/>
                <a:gd name="connsiteY6949" fmla="*/ 374809 h 514350"/>
                <a:gd name="connsiteX6950" fmla="*/ 701516 w 6400800"/>
                <a:gd name="connsiteY6950" fmla="*/ 357664 h 514350"/>
                <a:gd name="connsiteX6951" fmla="*/ 701516 w 6400800"/>
                <a:gd name="connsiteY6951" fmla="*/ 357664 h 514350"/>
                <a:gd name="connsiteX6952" fmla="*/ 710089 w 6400800"/>
                <a:gd name="connsiteY6952" fmla="*/ 308134 h 514350"/>
                <a:gd name="connsiteX6953" fmla="*/ 676751 w 6400800"/>
                <a:gd name="connsiteY6953" fmla="*/ 253841 h 514350"/>
                <a:gd name="connsiteX6954" fmla="*/ 676751 w 6400800"/>
                <a:gd name="connsiteY6954" fmla="*/ 246221 h 514350"/>
                <a:gd name="connsiteX6955" fmla="*/ 679609 w 6400800"/>
                <a:gd name="connsiteY6955" fmla="*/ 220504 h 514350"/>
                <a:gd name="connsiteX6956" fmla="*/ 682466 w 6400800"/>
                <a:gd name="connsiteY6956" fmla="*/ 181451 h 514350"/>
                <a:gd name="connsiteX6957" fmla="*/ 682466 w 6400800"/>
                <a:gd name="connsiteY6957" fmla="*/ 178594 h 514350"/>
                <a:gd name="connsiteX6958" fmla="*/ 696754 w 6400800"/>
                <a:gd name="connsiteY6958" fmla="*/ 231934 h 514350"/>
                <a:gd name="connsiteX6959" fmla="*/ 705326 w 6400800"/>
                <a:gd name="connsiteY6959" fmla="*/ 267176 h 514350"/>
                <a:gd name="connsiteX6960" fmla="*/ 703421 w 6400800"/>
                <a:gd name="connsiteY6960" fmla="*/ 273844 h 514350"/>
                <a:gd name="connsiteX6961" fmla="*/ 694849 w 6400800"/>
                <a:gd name="connsiteY6961" fmla="*/ 307181 h 514350"/>
                <a:gd name="connsiteX6962" fmla="*/ 692944 w 6400800"/>
                <a:gd name="connsiteY6962" fmla="*/ 313849 h 514350"/>
                <a:gd name="connsiteX6963" fmla="*/ 690086 w 6400800"/>
                <a:gd name="connsiteY6963" fmla="*/ 322421 h 514350"/>
                <a:gd name="connsiteX6964" fmla="*/ 673894 w 6400800"/>
                <a:gd name="connsiteY6964" fmla="*/ 274796 h 514350"/>
                <a:gd name="connsiteX6965" fmla="*/ 676751 w 6400800"/>
                <a:gd name="connsiteY6965" fmla="*/ 253841 h 514350"/>
                <a:gd name="connsiteX6966" fmla="*/ 668179 w 6400800"/>
                <a:gd name="connsiteY6966" fmla="*/ 331946 h 514350"/>
                <a:gd name="connsiteX6967" fmla="*/ 668179 w 6400800"/>
                <a:gd name="connsiteY6967" fmla="*/ 330041 h 514350"/>
                <a:gd name="connsiteX6968" fmla="*/ 669131 w 6400800"/>
                <a:gd name="connsiteY6968" fmla="*/ 334804 h 514350"/>
                <a:gd name="connsiteX6969" fmla="*/ 671989 w 6400800"/>
                <a:gd name="connsiteY6969" fmla="*/ 346234 h 514350"/>
                <a:gd name="connsiteX6970" fmla="*/ 674846 w 6400800"/>
                <a:gd name="connsiteY6970" fmla="*/ 359569 h 514350"/>
                <a:gd name="connsiteX6971" fmla="*/ 676751 w 6400800"/>
                <a:gd name="connsiteY6971" fmla="*/ 370999 h 514350"/>
                <a:gd name="connsiteX6972" fmla="*/ 675799 w 6400800"/>
                <a:gd name="connsiteY6972" fmla="*/ 373856 h 514350"/>
                <a:gd name="connsiteX6973" fmla="*/ 674846 w 6400800"/>
                <a:gd name="connsiteY6973" fmla="*/ 377666 h 514350"/>
                <a:gd name="connsiteX6974" fmla="*/ 670084 w 6400800"/>
                <a:gd name="connsiteY6974" fmla="*/ 368141 h 514350"/>
                <a:gd name="connsiteX6975" fmla="*/ 664369 w 6400800"/>
                <a:gd name="connsiteY6975" fmla="*/ 358616 h 514350"/>
                <a:gd name="connsiteX6976" fmla="*/ 668179 w 6400800"/>
                <a:gd name="connsiteY6976" fmla="*/ 331946 h 514350"/>
                <a:gd name="connsiteX6977" fmla="*/ 656749 w 6400800"/>
                <a:gd name="connsiteY6977" fmla="*/ 266224 h 514350"/>
                <a:gd name="connsiteX6978" fmla="*/ 656749 w 6400800"/>
                <a:gd name="connsiteY6978" fmla="*/ 267176 h 514350"/>
                <a:gd name="connsiteX6979" fmla="*/ 656749 w 6400800"/>
                <a:gd name="connsiteY6979" fmla="*/ 269081 h 514350"/>
                <a:gd name="connsiteX6980" fmla="*/ 656749 w 6400800"/>
                <a:gd name="connsiteY6980" fmla="*/ 266224 h 514350"/>
                <a:gd name="connsiteX6981" fmla="*/ 608171 w 6400800"/>
                <a:gd name="connsiteY6981" fmla="*/ 318611 h 514350"/>
                <a:gd name="connsiteX6982" fmla="*/ 611981 w 6400800"/>
                <a:gd name="connsiteY6982" fmla="*/ 279559 h 514350"/>
                <a:gd name="connsiteX6983" fmla="*/ 613886 w 6400800"/>
                <a:gd name="connsiteY6983" fmla="*/ 288131 h 514350"/>
                <a:gd name="connsiteX6984" fmla="*/ 615791 w 6400800"/>
                <a:gd name="connsiteY6984" fmla="*/ 327184 h 514350"/>
                <a:gd name="connsiteX6985" fmla="*/ 615791 w 6400800"/>
                <a:gd name="connsiteY6985" fmla="*/ 331946 h 514350"/>
                <a:gd name="connsiteX6986" fmla="*/ 615791 w 6400800"/>
                <a:gd name="connsiteY6986" fmla="*/ 337661 h 514350"/>
                <a:gd name="connsiteX6987" fmla="*/ 613886 w 6400800"/>
                <a:gd name="connsiteY6987" fmla="*/ 333851 h 514350"/>
                <a:gd name="connsiteX6988" fmla="*/ 607219 w 6400800"/>
                <a:gd name="connsiteY6988" fmla="*/ 321469 h 514350"/>
                <a:gd name="connsiteX6989" fmla="*/ 608171 w 6400800"/>
                <a:gd name="connsiteY6989" fmla="*/ 318611 h 514350"/>
                <a:gd name="connsiteX6990" fmla="*/ 606266 w 6400800"/>
                <a:gd name="connsiteY6990" fmla="*/ 341471 h 514350"/>
                <a:gd name="connsiteX6991" fmla="*/ 615791 w 6400800"/>
                <a:gd name="connsiteY6991" fmla="*/ 364331 h 514350"/>
                <a:gd name="connsiteX6992" fmla="*/ 615791 w 6400800"/>
                <a:gd name="connsiteY6992" fmla="*/ 365284 h 514350"/>
                <a:gd name="connsiteX6993" fmla="*/ 611029 w 6400800"/>
                <a:gd name="connsiteY6993" fmla="*/ 375761 h 514350"/>
                <a:gd name="connsiteX6994" fmla="*/ 608171 w 6400800"/>
                <a:gd name="connsiteY6994" fmla="*/ 363379 h 514350"/>
                <a:gd name="connsiteX6995" fmla="*/ 605314 w 6400800"/>
                <a:gd name="connsiteY6995" fmla="*/ 350996 h 514350"/>
                <a:gd name="connsiteX6996" fmla="*/ 606266 w 6400800"/>
                <a:gd name="connsiteY6996" fmla="*/ 341471 h 514350"/>
                <a:gd name="connsiteX6997" fmla="*/ 606266 w 6400800"/>
                <a:gd name="connsiteY6997" fmla="*/ 424339 h 514350"/>
                <a:gd name="connsiteX6998" fmla="*/ 609124 w 6400800"/>
                <a:gd name="connsiteY6998" fmla="*/ 433864 h 514350"/>
                <a:gd name="connsiteX6999" fmla="*/ 607219 w 6400800"/>
                <a:gd name="connsiteY6999" fmla="*/ 436721 h 514350"/>
                <a:gd name="connsiteX7000" fmla="*/ 601504 w 6400800"/>
                <a:gd name="connsiteY7000" fmla="*/ 435769 h 514350"/>
                <a:gd name="connsiteX7001" fmla="*/ 606266 w 6400800"/>
                <a:gd name="connsiteY7001" fmla="*/ 424339 h 514350"/>
                <a:gd name="connsiteX7002" fmla="*/ 599599 w 6400800"/>
                <a:gd name="connsiteY7002" fmla="*/ 401479 h 514350"/>
                <a:gd name="connsiteX7003" fmla="*/ 599599 w 6400800"/>
                <a:gd name="connsiteY7003" fmla="*/ 401479 h 514350"/>
                <a:gd name="connsiteX7004" fmla="*/ 599599 w 6400800"/>
                <a:gd name="connsiteY7004" fmla="*/ 403384 h 514350"/>
                <a:gd name="connsiteX7005" fmla="*/ 599599 w 6400800"/>
                <a:gd name="connsiteY7005" fmla="*/ 401479 h 514350"/>
                <a:gd name="connsiteX7006" fmla="*/ 587216 w 6400800"/>
                <a:gd name="connsiteY7006" fmla="*/ 300514 h 514350"/>
                <a:gd name="connsiteX7007" fmla="*/ 591979 w 6400800"/>
                <a:gd name="connsiteY7007" fmla="*/ 310039 h 514350"/>
                <a:gd name="connsiteX7008" fmla="*/ 591026 w 6400800"/>
                <a:gd name="connsiteY7008" fmla="*/ 316706 h 514350"/>
                <a:gd name="connsiteX7009" fmla="*/ 591026 w 6400800"/>
                <a:gd name="connsiteY7009" fmla="*/ 316706 h 514350"/>
                <a:gd name="connsiteX7010" fmla="*/ 590074 w 6400800"/>
                <a:gd name="connsiteY7010" fmla="*/ 319564 h 514350"/>
                <a:gd name="connsiteX7011" fmla="*/ 587216 w 6400800"/>
                <a:gd name="connsiteY7011" fmla="*/ 311944 h 514350"/>
                <a:gd name="connsiteX7012" fmla="*/ 586264 w 6400800"/>
                <a:gd name="connsiteY7012" fmla="*/ 299561 h 514350"/>
                <a:gd name="connsiteX7013" fmla="*/ 587216 w 6400800"/>
                <a:gd name="connsiteY7013" fmla="*/ 300514 h 514350"/>
                <a:gd name="connsiteX7014" fmla="*/ 553879 w 6400800"/>
                <a:gd name="connsiteY7014" fmla="*/ 257651 h 514350"/>
                <a:gd name="connsiteX7015" fmla="*/ 555784 w 6400800"/>
                <a:gd name="connsiteY7015" fmla="*/ 233839 h 514350"/>
                <a:gd name="connsiteX7016" fmla="*/ 558641 w 6400800"/>
                <a:gd name="connsiteY7016" fmla="*/ 249079 h 514350"/>
                <a:gd name="connsiteX7017" fmla="*/ 556736 w 6400800"/>
                <a:gd name="connsiteY7017" fmla="*/ 247174 h 514350"/>
                <a:gd name="connsiteX7018" fmla="*/ 558641 w 6400800"/>
                <a:gd name="connsiteY7018" fmla="*/ 250984 h 514350"/>
                <a:gd name="connsiteX7019" fmla="*/ 570071 w 6400800"/>
                <a:gd name="connsiteY7019" fmla="*/ 297656 h 514350"/>
                <a:gd name="connsiteX7020" fmla="*/ 571976 w 6400800"/>
                <a:gd name="connsiteY7020" fmla="*/ 303371 h 514350"/>
                <a:gd name="connsiteX7021" fmla="*/ 569119 w 6400800"/>
                <a:gd name="connsiteY7021" fmla="*/ 312896 h 514350"/>
                <a:gd name="connsiteX7022" fmla="*/ 564356 w 6400800"/>
                <a:gd name="connsiteY7022" fmla="*/ 295751 h 514350"/>
                <a:gd name="connsiteX7023" fmla="*/ 553879 w 6400800"/>
                <a:gd name="connsiteY7023" fmla="*/ 266224 h 514350"/>
                <a:gd name="connsiteX7024" fmla="*/ 553879 w 6400800"/>
                <a:gd name="connsiteY7024" fmla="*/ 257651 h 514350"/>
                <a:gd name="connsiteX7025" fmla="*/ 551974 w 6400800"/>
                <a:gd name="connsiteY7025" fmla="*/ 295751 h 514350"/>
                <a:gd name="connsiteX7026" fmla="*/ 551974 w 6400800"/>
                <a:gd name="connsiteY7026" fmla="*/ 295751 h 514350"/>
                <a:gd name="connsiteX7027" fmla="*/ 552926 w 6400800"/>
                <a:gd name="connsiteY7027" fmla="*/ 298609 h 514350"/>
                <a:gd name="connsiteX7028" fmla="*/ 556736 w 6400800"/>
                <a:gd name="connsiteY7028" fmla="*/ 317659 h 514350"/>
                <a:gd name="connsiteX7029" fmla="*/ 557689 w 6400800"/>
                <a:gd name="connsiteY7029" fmla="*/ 321469 h 514350"/>
                <a:gd name="connsiteX7030" fmla="*/ 557689 w 6400800"/>
                <a:gd name="connsiteY7030" fmla="*/ 322421 h 514350"/>
                <a:gd name="connsiteX7031" fmla="*/ 557689 w 6400800"/>
                <a:gd name="connsiteY7031" fmla="*/ 326231 h 514350"/>
                <a:gd name="connsiteX7032" fmla="*/ 552926 w 6400800"/>
                <a:gd name="connsiteY7032" fmla="*/ 306229 h 514350"/>
                <a:gd name="connsiteX7033" fmla="*/ 551974 w 6400800"/>
                <a:gd name="connsiteY7033" fmla="*/ 295751 h 514350"/>
                <a:gd name="connsiteX7034" fmla="*/ 529114 w 6400800"/>
                <a:gd name="connsiteY7034" fmla="*/ 290036 h 514350"/>
                <a:gd name="connsiteX7035" fmla="*/ 529114 w 6400800"/>
                <a:gd name="connsiteY7035" fmla="*/ 290036 h 514350"/>
                <a:gd name="connsiteX7036" fmla="*/ 529114 w 6400800"/>
                <a:gd name="connsiteY7036" fmla="*/ 290036 h 514350"/>
                <a:gd name="connsiteX7037" fmla="*/ 529114 w 6400800"/>
                <a:gd name="connsiteY7037" fmla="*/ 290036 h 514350"/>
                <a:gd name="connsiteX7038" fmla="*/ 522446 w 6400800"/>
                <a:gd name="connsiteY7038" fmla="*/ 336709 h 514350"/>
                <a:gd name="connsiteX7039" fmla="*/ 523399 w 6400800"/>
                <a:gd name="connsiteY7039" fmla="*/ 329089 h 514350"/>
                <a:gd name="connsiteX7040" fmla="*/ 526256 w 6400800"/>
                <a:gd name="connsiteY7040" fmla="*/ 336709 h 514350"/>
                <a:gd name="connsiteX7041" fmla="*/ 531019 w 6400800"/>
                <a:gd name="connsiteY7041" fmla="*/ 350996 h 514350"/>
                <a:gd name="connsiteX7042" fmla="*/ 531971 w 6400800"/>
                <a:gd name="connsiteY7042" fmla="*/ 374809 h 514350"/>
                <a:gd name="connsiteX7043" fmla="*/ 533876 w 6400800"/>
                <a:gd name="connsiteY7043" fmla="*/ 403384 h 514350"/>
                <a:gd name="connsiteX7044" fmla="*/ 528161 w 6400800"/>
                <a:gd name="connsiteY7044" fmla="*/ 394811 h 514350"/>
                <a:gd name="connsiteX7045" fmla="*/ 532924 w 6400800"/>
                <a:gd name="connsiteY7045" fmla="*/ 410051 h 514350"/>
                <a:gd name="connsiteX7046" fmla="*/ 534829 w 6400800"/>
                <a:gd name="connsiteY7046" fmla="*/ 417671 h 514350"/>
                <a:gd name="connsiteX7047" fmla="*/ 535781 w 6400800"/>
                <a:gd name="connsiteY7047" fmla="*/ 430054 h 514350"/>
                <a:gd name="connsiteX7048" fmla="*/ 523399 w 6400800"/>
                <a:gd name="connsiteY7048" fmla="*/ 428149 h 514350"/>
                <a:gd name="connsiteX7049" fmla="*/ 522446 w 6400800"/>
                <a:gd name="connsiteY7049" fmla="*/ 427196 h 514350"/>
                <a:gd name="connsiteX7050" fmla="*/ 522446 w 6400800"/>
                <a:gd name="connsiteY7050" fmla="*/ 423386 h 514350"/>
                <a:gd name="connsiteX7051" fmla="*/ 527209 w 6400800"/>
                <a:gd name="connsiteY7051" fmla="*/ 410051 h 514350"/>
                <a:gd name="connsiteX7052" fmla="*/ 522446 w 6400800"/>
                <a:gd name="connsiteY7052" fmla="*/ 418624 h 514350"/>
                <a:gd name="connsiteX7053" fmla="*/ 521494 w 6400800"/>
                <a:gd name="connsiteY7053" fmla="*/ 405289 h 514350"/>
                <a:gd name="connsiteX7054" fmla="*/ 517684 w 6400800"/>
                <a:gd name="connsiteY7054" fmla="*/ 369094 h 514350"/>
                <a:gd name="connsiteX7055" fmla="*/ 522446 w 6400800"/>
                <a:gd name="connsiteY7055" fmla="*/ 336709 h 514350"/>
                <a:gd name="connsiteX7056" fmla="*/ 512921 w 6400800"/>
                <a:gd name="connsiteY7056" fmla="*/ 271939 h 514350"/>
                <a:gd name="connsiteX7057" fmla="*/ 509111 w 6400800"/>
                <a:gd name="connsiteY7057" fmla="*/ 287179 h 514350"/>
                <a:gd name="connsiteX7058" fmla="*/ 509111 w 6400800"/>
                <a:gd name="connsiteY7058" fmla="*/ 288131 h 514350"/>
                <a:gd name="connsiteX7059" fmla="*/ 507206 w 6400800"/>
                <a:gd name="connsiteY7059" fmla="*/ 275749 h 514350"/>
                <a:gd name="connsiteX7060" fmla="*/ 508159 w 6400800"/>
                <a:gd name="connsiteY7060" fmla="*/ 262414 h 514350"/>
                <a:gd name="connsiteX7061" fmla="*/ 509111 w 6400800"/>
                <a:gd name="connsiteY7061" fmla="*/ 262414 h 514350"/>
                <a:gd name="connsiteX7062" fmla="*/ 512921 w 6400800"/>
                <a:gd name="connsiteY7062" fmla="*/ 271939 h 514350"/>
                <a:gd name="connsiteX7063" fmla="*/ 497681 w 6400800"/>
                <a:gd name="connsiteY7063" fmla="*/ 207169 h 514350"/>
                <a:gd name="connsiteX7064" fmla="*/ 506254 w 6400800"/>
                <a:gd name="connsiteY7064" fmla="*/ 245269 h 514350"/>
                <a:gd name="connsiteX7065" fmla="*/ 509111 w 6400800"/>
                <a:gd name="connsiteY7065" fmla="*/ 256699 h 514350"/>
                <a:gd name="connsiteX7066" fmla="*/ 506254 w 6400800"/>
                <a:gd name="connsiteY7066" fmla="*/ 256699 h 514350"/>
                <a:gd name="connsiteX7067" fmla="*/ 505301 w 6400800"/>
                <a:gd name="connsiteY7067" fmla="*/ 256699 h 514350"/>
                <a:gd name="connsiteX7068" fmla="*/ 505301 w 6400800"/>
                <a:gd name="connsiteY7068" fmla="*/ 256699 h 514350"/>
                <a:gd name="connsiteX7069" fmla="*/ 497681 w 6400800"/>
                <a:gd name="connsiteY7069" fmla="*/ 207169 h 514350"/>
                <a:gd name="connsiteX7070" fmla="*/ 497681 w 6400800"/>
                <a:gd name="connsiteY7070" fmla="*/ 207169 h 514350"/>
                <a:gd name="connsiteX7071" fmla="*/ 487204 w 6400800"/>
                <a:gd name="connsiteY7071" fmla="*/ 419576 h 514350"/>
                <a:gd name="connsiteX7072" fmla="*/ 486251 w 6400800"/>
                <a:gd name="connsiteY7072" fmla="*/ 422434 h 514350"/>
                <a:gd name="connsiteX7073" fmla="*/ 483394 w 6400800"/>
                <a:gd name="connsiteY7073" fmla="*/ 422434 h 514350"/>
                <a:gd name="connsiteX7074" fmla="*/ 483394 w 6400800"/>
                <a:gd name="connsiteY7074" fmla="*/ 418624 h 514350"/>
                <a:gd name="connsiteX7075" fmla="*/ 481489 w 6400800"/>
                <a:gd name="connsiteY7075" fmla="*/ 401479 h 514350"/>
                <a:gd name="connsiteX7076" fmla="*/ 487204 w 6400800"/>
                <a:gd name="connsiteY7076" fmla="*/ 419576 h 514350"/>
                <a:gd name="connsiteX7077" fmla="*/ 437674 w 6400800"/>
                <a:gd name="connsiteY7077" fmla="*/ 390049 h 514350"/>
                <a:gd name="connsiteX7078" fmla="*/ 437674 w 6400800"/>
                <a:gd name="connsiteY7078" fmla="*/ 390049 h 514350"/>
                <a:gd name="connsiteX7079" fmla="*/ 437674 w 6400800"/>
                <a:gd name="connsiteY7079" fmla="*/ 388144 h 514350"/>
                <a:gd name="connsiteX7080" fmla="*/ 437674 w 6400800"/>
                <a:gd name="connsiteY7080" fmla="*/ 388144 h 514350"/>
                <a:gd name="connsiteX7081" fmla="*/ 437674 w 6400800"/>
                <a:gd name="connsiteY7081" fmla="*/ 390049 h 514350"/>
                <a:gd name="connsiteX7082" fmla="*/ 437674 w 6400800"/>
                <a:gd name="connsiteY7082" fmla="*/ 390049 h 514350"/>
                <a:gd name="connsiteX7083" fmla="*/ 448151 w 6400800"/>
                <a:gd name="connsiteY7083" fmla="*/ 362426 h 514350"/>
                <a:gd name="connsiteX7084" fmla="*/ 446246 w 6400800"/>
                <a:gd name="connsiteY7084" fmla="*/ 356711 h 514350"/>
                <a:gd name="connsiteX7085" fmla="*/ 449104 w 6400800"/>
                <a:gd name="connsiteY7085" fmla="*/ 347186 h 514350"/>
                <a:gd name="connsiteX7086" fmla="*/ 448151 w 6400800"/>
                <a:gd name="connsiteY7086" fmla="*/ 362426 h 514350"/>
                <a:gd name="connsiteX7087" fmla="*/ 436721 w 6400800"/>
                <a:gd name="connsiteY7087" fmla="*/ 227171 h 514350"/>
                <a:gd name="connsiteX7088" fmla="*/ 440531 w 6400800"/>
                <a:gd name="connsiteY7088" fmla="*/ 246221 h 514350"/>
                <a:gd name="connsiteX7089" fmla="*/ 434816 w 6400800"/>
                <a:gd name="connsiteY7089" fmla="*/ 234791 h 514350"/>
                <a:gd name="connsiteX7090" fmla="*/ 436721 w 6400800"/>
                <a:gd name="connsiteY7090" fmla="*/ 227171 h 514350"/>
                <a:gd name="connsiteX7091" fmla="*/ 428149 w 6400800"/>
                <a:gd name="connsiteY7091" fmla="*/ 280511 h 514350"/>
                <a:gd name="connsiteX7092" fmla="*/ 431959 w 6400800"/>
                <a:gd name="connsiteY7092" fmla="*/ 253841 h 514350"/>
                <a:gd name="connsiteX7093" fmla="*/ 432911 w 6400800"/>
                <a:gd name="connsiteY7093" fmla="*/ 258604 h 514350"/>
                <a:gd name="connsiteX7094" fmla="*/ 438626 w 6400800"/>
                <a:gd name="connsiteY7094" fmla="*/ 284321 h 514350"/>
                <a:gd name="connsiteX7095" fmla="*/ 439579 w 6400800"/>
                <a:gd name="connsiteY7095" fmla="*/ 290036 h 514350"/>
                <a:gd name="connsiteX7096" fmla="*/ 432911 w 6400800"/>
                <a:gd name="connsiteY7096" fmla="*/ 281464 h 514350"/>
                <a:gd name="connsiteX7097" fmla="*/ 439579 w 6400800"/>
                <a:gd name="connsiteY7097" fmla="*/ 295751 h 514350"/>
                <a:gd name="connsiteX7098" fmla="*/ 441484 w 6400800"/>
                <a:gd name="connsiteY7098" fmla="*/ 299561 h 514350"/>
                <a:gd name="connsiteX7099" fmla="*/ 443389 w 6400800"/>
                <a:gd name="connsiteY7099" fmla="*/ 312896 h 514350"/>
                <a:gd name="connsiteX7100" fmla="*/ 446246 w 6400800"/>
                <a:gd name="connsiteY7100" fmla="*/ 328136 h 514350"/>
                <a:gd name="connsiteX7101" fmla="*/ 447199 w 6400800"/>
                <a:gd name="connsiteY7101" fmla="*/ 335756 h 514350"/>
                <a:gd name="connsiteX7102" fmla="*/ 445294 w 6400800"/>
                <a:gd name="connsiteY7102" fmla="*/ 341471 h 514350"/>
                <a:gd name="connsiteX7103" fmla="*/ 442436 w 6400800"/>
                <a:gd name="connsiteY7103" fmla="*/ 349091 h 514350"/>
                <a:gd name="connsiteX7104" fmla="*/ 434816 w 6400800"/>
                <a:gd name="connsiteY7104" fmla="*/ 331946 h 514350"/>
                <a:gd name="connsiteX7105" fmla="*/ 434816 w 6400800"/>
                <a:gd name="connsiteY7105" fmla="*/ 317659 h 514350"/>
                <a:gd name="connsiteX7106" fmla="*/ 432911 w 6400800"/>
                <a:gd name="connsiteY7106" fmla="*/ 328136 h 514350"/>
                <a:gd name="connsiteX7107" fmla="*/ 423386 w 6400800"/>
                <a:gd name="connsiteY7107" fmla="*/ 303371 h 514350"/>
                <a:gd name="connsiteX7108" fmla="*/ 428149 w 6400800"/>
                <a:gd name="connsiteY7108" fmla="*/ 280511 h 514350"/>
                <a:gd name="connsiteX7109" fmla="*/ 418624 w 6400800"/>
                <a:gd name="connsiteY7109" fmla="*/ 345281 h 514350"/>
                <a:gd name="connsiteX7110" fmla="*/ 422434 w 6400800"/>
                <a:gd name="connsiteY7110" fmla="*/ 322421 h 514350"/>
                <a:gd name="connsiteX7111" fmla="*/ 427196 w 6400800"/>
                <a:gd name="connsiteY7111" fmla="*/ 339566 h 514350"/>
                <a:gd name="connsiteX7112" fmla="*/ 430054 w 6400800"/>
                <a:gd name="connsiteY7112" fmla="*/ 350996 h 514350"/>
                <a:gd name="connsiteX7113" fmla="*/ 428149 w 6400800"/>
                <a:gd name="connsiteY7113" fmla="*/ 362426 h 514350"/>
                <a:gd name="connsiteX7114" fmla="*/ 426244 w 6400800"/>
                <a:gd name="connsiteY7114" fmla="*/ 356711 h 514350"/>
                <a:gd name="connsiteX7115" fmla="*/ 420529 w 6400800"/>
                <a:gd name="connsiteY7115" fmla="*/ 344329 h 514350"/>
                <a:gd name="connsiteX7116" fmla="*/ 422434 w 6400800"/>
                <a:gd name="connsiteY7116" fmla="*/ 357664 h 514350"/>
                <a:gd name="connsiteX7117" fmla="*/ 424339 w 6400800"/>
                <a:gd name="connsiteY7117" fmla="*/ 372904 h 514350"/>
                <a:gd name="connsiteX7118" fmla="*/ 425291 w 6400800"/>
                <a:gd name="connsiteY7118" fmla="*/ 377666 h 514350"/>
                <a:gd name="connsiteX7119" fmla="*/ 424339 w 6400800"/>
                <a:gd name="connsiteY7119" fmla="*/ 375761 h 514350"/>
                <a:gd name="connsiteX7120" fmla="*/ 424339 w 6400800"/>
                <a:gd name="connsiteY7120" fmla="*/ 374809 h 514350"/>
                <a:gd name="connsiteX7121" fmla="*/ 418624 w 6400800"/>
                <a:gd name="connsiteY7121" fmla="*/ 351949 h 514350"/>
                <a:gd name="connsiteX7122" fmla="*/ 418624 w 6400800"/>
                <a:gd name="connsiteY7122" fmla="*/ 345281 h 514350"/>
                <a:gd name="connsiteX7123" fmla="*/ 406241 w 6400800"/>
                <a:gd name="connsiteY7123" fmla="*/ 261461 h 514350"/>
                <a:gd name="connsiteX7124" fmla="*/ 411956 w 6400800"/>
                <a:gd name="connsiteY7124" fmla="*/ 285274 h 514350"/>
                <a:gd name="connsiteX7125" fmla="*/ 407194 w 6400800"/>
                <a:gd name="connsiteY7125" fmla="*/ 310039 h 514350"/>
                <a:gd name="connsiteX7126" fmla="*/ 405289 w 6400800"/>
                <a:gd name="connsiteY7126" fmla="*/ 302419 h 514350"/>
                <a:gd name="connsiteX7127" fmla="*/ 406241 w 6400800"/>
                <a:gd name="connsiteY7127" fmla="*/ 261461 h 514350"/>
                <a:gd name="connsiteX7128" fmla="*/ 382429 w 6400800"/>
                <a:gd name="connsiteY7128" fmla="*/ 290036 h 514350"/>
                <a:gd name="connsiteX7129" fmla="*/ 381476 w 6400800"/>
                <a:gd name="connsiteY7129" fmla="*/ 293846 h 514350"/>
                <a:gd name="connsiteX7130" fmla="*/ 381476 w 6400800"/>
                <a:gd name="connsiteY7130" fmla="*/ 285274 h 514350"/>
                <a:gd name="connsiteX7131" fmla="*/ 382429 w 6400800"/>
                <a:gd name="connsiteY7131" fmla="*/ 290036 h 514350"/>
                <a:gd name="connsiteX7132" fmla="*/ 361474 w 6400800"/>
                <a:gd name="connsiteY7132" fmla="*/ 394811 h 514350"/>
                <a:gd name="connsiteX7133" fmla="*/ 361474 w 6400800"/>
                <a:gd name="connsiteY7133" fmla="*/ 404336 h 514350"/>
                <a:gd name="connsiteX7134" fmla="*/ 361474 w 6400800"/>
                <a:gd name="connsiteY7134" fmla="*/ 407194 h 514350"/>
                <a:gd name="connsiteX7135" fmla="*/ 354806 w 6400800"/>
                <a:gd name="connsiteY7135" fmla="*/ 383381 h 514350"/>
                <a:gd name="connsiteX7136" fmla="*/ 354806 w 6400800"/>
                <a:gd name="connsiteY7136" fmla="*/ 382429 h 514350"/>
                <a:gd name="connsiteX7137" fmla="*/ 352901 w 6400800"/>
                <a:gd name="connsiteY7137" fmla="*/ 373856 h 514350"/>
                <a:gd name="connsiteX7138" fmla="*/ 361474 w 6400800"/>
                <a:gd name="connsiteY7138" fmla="*/ 394811 h 514350"/>
                <a:gd name="connsiteX7139" fmla="*/ 347186 w 6400800"/>
                <a:gd name="connsiteY7139" fmla="*/ 307181 h 514350"/>
                <a:gd name="connsiteX7140" fmla="*/ 349091 w 6400800"/>
                <a:gd name="connsiteY7140" fmla="*/ 311944 h 514350"/>
                <a:gd name="connsiteX7141" fmla="*/ 347186 w 6400800"/>
                <a:gd name="connsiteY7141" fmla="*/ 309086 h 514350"/>
                <a:gd name="connsiteX7142" fmla="*/ 347186 w 6400800"/>
                <a:gd name="connsiteY7142" fmla="*/ 307181 h 514350"/>
                <a:gd name="connsiteX7143" fmla="*/ 347186 w 6400800"/>
                <a:gd name="connsiteY7143" fmla="*/ 429101 h 514350"/>
                <a:gd name="connsiteX7144" fmla="*/ 348139 w 6400800"/>
                <a:gd name="connsiteY7144" fmla="*/ 432911 h 514350"/>
                <a:gd name="connsiteX7145" fmla="*/ 346234 w 6400800"/>
                <a:gd name="connsiteY7145" fmla="*/ 432911 h 514350"/>
                <a:gd name="connsiteX7146" fmla="*/ 347186 w 6400800"/>
                <a:gd name="connsiteY7146" fmla="*/ 429101 h 514350"/>
                <a:gd name="connsiteX7147" fmla="*/ 310991 w 6400800"/>
                <a:gd name="connsiteY7147" fmla="*/ 439579 h 514350"/>
                <a:gd name="connsiteX7148" fmla="*/ 311944 w 6400800"/>
                <a:gd name="connsiteY7148" fmla="*/ 424339 h 514350"/>
                <a:gd name="connsiteX7149" fmla="*/ 317659 w 6400800"/>
                <a:gd name="connsiteY7149" fmla="*/ 438626 h 514350"/>
                <a:gd name="connsiteX7150" fmla="*/ 310991 w 6400800"/>
                <a:gd name="connsiteY7150" fmla="*/ 439579 h 514350"/>
                <a:gd name="connsiteX7151" fmla="*/ 302419 w 6400800"/>
                <a:gd name="connsiteY7151" fmla="*/ 230981 h 514350"/>
                <a:gd name="connsiteX7152" fmla="*/ 304324 w 6400800"/>
                <a:gd name="connsiteY7152" fmla="*/ 237649 h 514350"/>
                <a:gd name="connsiteX7153" fmla="*/ 307181 w 6400800"/>
                <a:gd name="connsiteY7153" fmla="*/ 252889 h 514350"/>
                <a:gd name="connsiteX7154" fmla="*/ 300514 w 6400800"/>
                <a:gd name="connsiteY7154" fmla="*/ 244316 h 514350"/>
                <a:gd name="connsiteX7155" fmla="*/ 302419 w 6400800"/>
                <a:gd name="connsiteY7155" fmla="*/ 230981 h 514350"/>
                <a:gd name="connsiteX7156" fmla="*/ 295751 w 6400800"/>
                <a:gd name="connsiteY7156" fmla="*/ 269081 h 514350"/>
                <a:gd name="connsiteX7157" fmla="*/ 297656 w 6400800"/>
                <a:gd name="connsiteY7157" fmla="*/ 262414 h 514350"/>
                <a:gd name="connsiteX7158" fmla="*/ 295751 w 6400800"/>
                <a:gd name="connsiteY7158" fmla="*/ 265271 h 514350"/>
                <a:gd name="connsiteX7159" fmla="*/ 297656 w 6400800"/>
                <a:gd name="connsiteY7159" fmla="*/ 251936 h 514350"/>
                <a:gd name="connsiteX7160" fmla="*/ 299561 w 6400800"/>
                <a:gd name="connsiteY7160" fmla="*/ 243364 h 514350"/>
                <a:gd name="connsiteX7161" fmla="*/ 301466 w 6400800"/>
                <a:gd name="connsiteY7161" fmla="*/ 247174 h 514350"/>
                <a:gd name="connsiteX7162" fmla="*/ 310039 w 6400800"/>
                <a:gd name="connsiteY7162" fmla="*/ 270986 h 514350"/>
                <a:gd name="connsiteX7163" fmla="*/ 319564 w 6400800"/>
                <a:gd name="connsiteY7163" fmla="*/ 312896 h 514350"/>
                <a:gd name="connsiteX7164" fmla="*/ 330041 w 6400800"/>
                <a:gd name="connsiteY7164" fmla="*/ 358616 h 514350"/>
                <a:gd name="connsiteX7165" fmla="*/ 330041 w 6400800"/>
                <a:gd name="connsiteY7165" fmla="*/ 362426 h 514350"/>
                <a:gd name="connsiteX7166" fmla="*/ 327184 w 6400800"/>
                <a:gd name="connsiteY7166" fmla="*/ 404336 h 514350"/>
                <a:gd name="connsiteX7167" fmla="*/ 327184 w 6400800"/>
                <a:gd name="connsiteY7167" fmla="*/ 404336 h 514350"/>
                <a:gd name="connsiteX7168" fmla="*/ 321469 w 6400800"/>
                <a:gd name="connsiteY7168" fmla="*/ 392906 h 514350"/>
                <a:gd name="connsiteX7169" fmla="*/ 310991 w 6400800"/>
                <a:gd name="connsiteY7169" fmla="*/ 362426 h 514350"/>
                <a:gd name="connsiteX7170" fmla="*/ 296704 w 6400800"/>
                <a:gd name="connsiteY7170" fmla="*/ 318611 h 514350"/>
                <a:gd name="connsiteX7171" fmla="*/ 291941 w 6400800"/>
                <a:gd name="connsiteY7171" fmla="*/ 302419 h 514350"/>
                <a:gd name="connsiteX7172" fmla="*/ 295751 w 6400800"/>
                <a:gd name="connsiteY7172" fmla="*/ 269081 h 514350"/>
                <a:gd name="connsiteX7173" fmla="*/ 283369 w 6400800"/>
                <a:gd name="connsiteY7173" fmla="*/ 378619 h 514350"/>
                <a:gd name="connsiteX7174" fmla="*/ 284321 w 6400800"/>
                <a:gd name="connsiteY7174" fmla="*/ 365284 h 514350"/>
                <a:gd name="connsiteX7175" fmla="*/ 285274 w 6400800"/>
                <a:gd name="connsiteY7175" fmla="*/ 363379 h 514350"/>
                <a:gd name="connsiteX7176" fmla="*/ 295751 w 6400800"/>
                <a:gd name="connsiteY7176" fmla="*/ 387191 h 514350"/>
                <a:gd name="connsiteX7177" fmla="*/ 302419 w 6400800"/>
                <a:gd name="connsiteY7177" fmla="*/ 400526 h 514350"/>
                <a:gd name="connsiteX7178" fmla="*/ 303371 w 6400800"/>
                <a:gd name="connsiteY7178" fmla="*/ 404336 h 514350"/>
                <a:gd name="connsiteX7179" fmla="*/ 301466 w 6400800"/>
                <a:gd name="connsiteY7179" fmla="*/ 412909 h 514350"/>
                <a:gd name="connsiteX7180" fmla="*/ 295751 w 6400800"/>
                <a:gd name="connsiteY7180" fmla="*/ 442436 h 514350"/>
                <a:gd name="connsiteX7181" fmla="*/ 283369 w 6400800"/>
                <a:gd name="connsiteY7181" fmla="*/ 444341 h 514350"/>
                <a:gd name="connsiteX7182" fmla="*/ 281464 w 6400800"/>
                <a:gd name="connsiteY7182" fmla="*/ 435769 h 514350"/>
                <a:gd name="connsiteX7183" fmla="*/ 281464 w 6400800"/>
                <a:gd name="connsiteY7183" fmla="*/ 407194 h 514350"/>
                <a:gd name="connsiteX7184" fmla="*/ 283369 w 6400800"/>
                <a:gd name="connsiteY7184" fmla="*/ 378619 h 514350"/>
                <a:gd name="connsiteX7185" fmla="*/ 237649 w 6400800"/>
                <a:gd name="connsiteY7185" fmla="*/ 415766 h 514350"/>
                <a:gd name="connsiteX7186" fmla="*/ 228124 w 6400800"/>
                <a:gd name="connsiteY7186" fmla="*/ 395764 h 514350"/>
                <a:gd name="connsiteX7187" fmla="*/ 229076 w 6400800"/>
                <a:gd name="connsiteY7187" fmla="*/ 383381 h 514350"/>
                <a:gd name="connsiteX7188" fmla="*/ 239554 w 6400800"/>
                <a:gd name="connsiteY7188" fmla="*/ 406241 h 514350"/>
                <a:gd name="connsiteX7189" fmla="*/ 237649 w 6400800"/>
                <a:gd name="connsiteY7189" fmla="*/ 415766 h 514350"/>
                <a:gd name="connsiteX7190" fmla="*/ 247174 w 6400800"/>
                <a:gd name="connsiteY7190" fmla="*/ 431006 h 514350"/>
                <a:gd name="connsiteX7191" fmla="*/ 248126 w 6400800"/>
                <a:gd name="connsiteY7191" fmla="*/ 425291 h 514350"/>
                <a:gd name="connsiteX7192" fmla="*/ 248126 w 6400800"/>
                <a:gd name="connsiteY7192" fmla="*/ 425291 h 514350"/>
                <a:gd name="connsiteX7193" fmla="*/ 247174 w 6400800"/>
                <a:gd name="connsiteY7193" fmla="*/ 431006 h 514350"/>
                <a:gd name="connsiteX7194" fmla="*/ 264319 w 6400800"/>
                <a:gd name="connsiteY7194" fmla="*/ 204311 h 514350"/>
                <a:gd name="connsiteX7195" fmla="*/ 270986 w 6400800"/>
                <a:gd name="connsiteY7195" fmla="*/ 185261 h 514350"/>
                <a:gd name="connsiteX7196" fmla="*/ 267176 w 6400800"/>
                <a:gd name="connsiteY7196" fmla="*/ 214789 h 514350"/>
                <a:gd name="connsiteX7197" fmla="*/ 266224 w 6400800"/>
                <a:gd name="connsiteY7197" fmla="*/ 210026 h 514350"/>
                <a:gd name="connsiteX7198" fmla="*/ 264319 w 6400800"/>
                <a:gd name="connsiteY7198" fmla="*/ 204311 h 514350"/>
                <a:gd name="connsiteX7199" fmla="*/ 264319 w 6400800"/>
                <a:gd name="connsiteY7199" fmla="*/ 204311 h 514350"/>
                <a:gd name="connsiteX7200" fmla="*/ 254794 w 6400800"/>
                <a:gd name="connsiteY7200" fmla="*/ 235744 h 514350"/>
                <a:gd name="connsiteX7201" fmla="*/ 258604 w 6400800"/>
                <a:gd name="connsiteY7201" fmla="*/ 220504 h 514350"/>
                <a:gd name="connsiteX7202" fmla="*/ 261461 w 6400800"/>
                <a:gd name="connsiteY7202" fmla="*/ 242411 h 514350"/>
                <a:gd name="connsiteX7203" fmla="*/ 262414 w 6400800"/>
                <a:gd name="connsiteY7203" fmla="*/ 245269 h 514350"/>
                <a:gd name="connsiteX7204" fmla="*/ 260509 w 6400800"/>
                <a:gd name="connsiteY7204" fmla="*/ 270034 h 514350"/>
                <a:gd name="connsiteX7205" fmla="*/ 257651 w 6400800"/>
                <a:gd name="connsiteY7205" fmla="*/ 264319 h 514350"/>
                <a:gd name="connsiteX7206" fmla="*/ 250984 w 6400800"/>
                <a:gd name="connsiteY7206" fmla="*/ 249079 h 514350"/>
                <a:gd name="connsiteX7207" fmla="*/ 254794 w 6400800"/>
                <a:gd name="connsiteY7207" fmla="*/ 235744 h 514350"/>
                <a:gd name="connsiteX7208" fmla="*/ 245269 w 6400800"/>
                <a:gd name="connsiteY7208" fmla="*/ 276701 h 514350"/>
                <a:gd name="connsiteX7209" fmla="*/ 249079 w 6400800"/>
                <a:gd name="connsiteY7209" fmla="*/ 260509 h 514350"/>
                <a:gd name="connsiteX7210" fmla="*/ 250984 w 6400800"/>
                <a:gd name="connsiteY7210" fmla="*/ 268129 h 514350"/>
                <a:gd name="connsiteX7211" fmla="*/ 258604 w 6400800"/>
                <a:gd name="connsiteY7211" fmla="*/ 292894 h 514350"/>
                <a:gd name="connsiteX7212" fmla="*/ 259556 w 6400800"/>
                <a:gd name="connsiteY7212" fmla="*/ 294799 h 514350"/>
                <a:gd name="connsiteX7213" fmla="*/ 259556 w 6400800"/>
                <a:gd name="connsiteY7213" fmla="*/ 297656 h 514350"/>
                <a:gd name="connsiteX7214" fmla="*/ 257651 w 6400800"/>
                <a:gd name="connsiteY7214" fmla="*/ 333851 h 514350"/>
                <a:gd name="connsiteX7215" fmla="*/ 250984 w 6400800"/>
                <a:gd name="connsiteY7215" fmla="*/ 309086 h 514350"/>
                <a:gd name="connsiteX7216" fmla="*/ 253841 w 6400800"/>
                <a:gd name="connsiteY7216" fmla="*/ 301466 h 514350"/>
                <a:gd name="connsiteX7217" fmla="*/ 250984 w 6400800"/>
                <a:gd name="connsiteY7217" fmla="*/ 307181 h 514350"/>
                <a:gd name="connsiteX7218" fmla="*/ 244316 w 6400800"/>
                <a:gd name="connsiteY7218" fmla="*/ 284321 h 514350"/>
                <a:gd name="connsiteX7219" fmla="*/ 245269 w 6400800"/>
                <a:gd name="connsiteY7219" fmla="*/ 276701 h 514350"/>
                <a:gd name="connsiteX7220" fmla="*/ 236696 w 6400800"/>
                <a:gd name="connsiteY7220" fmla="*/ 325279 h 514350"/>
                <a:gd name="connsiteX7221" fmla="*/ 237649 w 6400800"/>
                <a:gd name="connsiteY7221" fmla="*/ 322421 h 514350"/>
                <a:gd name="connsiteX7222" fmla="*/ 238601 w 6400800"/>
                <a:gd name="connsiteY7222" fmla="*/ 329089 h 514350"/>
                <a:gd name="connsiteX7223" fmla="*/ 235744 w 6400800"/>
                <a:gd name="connsiteY7223" fmla="*/ 335756 h 514350"/>
                <a:gd name="connsiteX7224" fmla="*/ 236696 w 6400800"/>
                <a:gd name="connsiteY7224" fmla="*/ 325279 h 514350"/>
                <a:gd name="connsiteX7225" fmla="*/ 234791 w 6400800"/>
                <a:gd name="connsiteY7225" fmla="*/ 353854 h 514350"/>
                <a:gd name="connsiteX7226" fmla="*/ 240506 w 6400800"/>
                <a:gd name="connsiteY7226" fmla="*/ 337661 h 514350"/>
                <a:gd name="connsiteX7227" fmla="*/ 241459 w 6400800"/>
                <a:gd name="connsiteY7227" fmla="*/ 342424 h 514350"/>
                <a:gd name="connsiteX7228" fmla="*/ 248126 w 6400800"/>
                <a:gd name="connsiteY7228" fmla="*/ 372904 h 514350"/>
                <a:gd name="connsiteX7229" fmla="*/ 247174 w 6400800"/>
                <a:gd name="connsiteY7229" fmla="*/ 378619 h 514350"/>
                <a:gd name="connsiteX7230" fmla="*/ 242411 w 6400800"/>
                <a:gd name="connsiteY7230" fmla="*/ 369094 h 514350"/>
                <a:gd name="connsiteX7231" fmla="*/ 234791 w 6400800"/>
                <a:gd name="connsiteY7231" fmla="*/ 353854 h 514350"/>
                <a:gd name="connsiteX7232" fmla="*/ 234791 w 6400800"/>
                <a:gd name="connsiteY7232" fmla="*/ 353854 h 514350"/>
                <a:gd name="connsiteX7233" fmla="*/ 222409 w 6400800"/>
                <a:gd name="connsiteY7233" fmla="*/ 297656 h 514350"/>
                <a:gd name="connsiteX7234" fmla="*/ 227171 w 6400800"/>
                <a:gd name="connsiteY7234" fmla="*/ 278606 h 514350"/>
                <a:gd name="connsiteX7235" fmla="*/ 228124 w 6400800"/>
                <a:gd name="connsiteY7235" fmla="*/ 284321 h 514350"/>
                <a:gd name="connsiteX7236" fmla="*/ 230029 w 6400800"/>
                <a:gd name="connsiteY7236" fmla="*/ 290989 h 514350"/>
                <a:gd name="connsiteX7237" fmla="*/ 222409 w 6400800"/>
                <a:gd name="connsiteY7237" fmla="*/ 324326 h 514350"/>
                <a:gd name="connsiteX7238" fmla="*/ 221456 w 6400800"/>
                <a:gd name="connsiteY7238" fmla="*/ 330041 h 514350"/>
                <a:gd name="connsiteX7239" fmla="*/ 220504 w 6400800"/>
                <a:gd name="connsiteY7239" fmla="*/ 329089 h 514350"/>
                <a:gd name="connsiteX7240" fmla="*/ 218599 w 6400800"/>
                <a:gd name="connsiteY7240" fmla="*/ 312896 h 514350"/>
                <a:gd name="connsiteX7241" fmla="*/ 222409 w 6400800"/>
                <a:gd name="connsiteY7241" fmla="*/ 297656 h 514350"/>
                <a:gd name="connsiteX7242" fmla="*/ 169069 w 6400800"/>
                <a:gd name="connsiteY7242" fmla="*/ 411956 h 514350"/>
                <a:gd name="connsiteX7243" fmla="*/ 169069 w 6400800"/>
                <a:gd name="connsiteY7243" fmla="*/ 412909 h 514350"/>
                <a:gd name="connsiteX7244" fmla="*/ 165259 w 6400800"/>
                <a:gd name="connsiteY7244" fmla="*/ 396716 h 514350"/>
                <a:gd name="connsiteX7245" fmla="*/ 164306 w 6400800"/>
                <a:gd name="connsiteY7245" fmla="*/ 375761 h 514350"/>
                <a:gd name="connsiteX7246" fmla="*/ 161449 w 6400800"/>
                <a:gd name="connsiteY7246" fmla="*/ 345281 h 514350"/>
                <a:gd name="connsiteX7247" fmla="*/ 158591 w 6400800"/>
                <a:gd name="connsiteY7247" fmla="*/ 321469 h 514350"/>
                <a:gd name="connsiteX7248" fmla="*/ 159544 w 6400800"/>
                <a:gd name="connsiteY7248" fmla="*/ 323374 h 514350"/>
                <a:gd name="connsiteX7249" fmla="*/ 162401 w 6400800"/>
                <a:gd name="connsiteY7249" fmla="*/ 328136 h 514350"/>
                <a:gd name="connsiteX7250" fmla="*/ 167164 w 6400800"/>
                <a:gd name="connsiteY7250" fmla="*/ 376714 h 514350"/>
                <a:gd name="connsiteX7251" fmla="*/ 170021 w 6400800"/>
                <a:gd name="connsiteY7251" fmla="*/ 402431 h 514350"/>
                <a:gd name="connsiteX7252" fmla="*/ 169069 w 6400800"/>
                <a:gd name="connsiteY7252" fmla="*/ 411956 h 514350"/>
                <a:gd name="connsiteX7253" fmla="*/ 209074 w 6400800"/>
                <a:gd name="connsiteY7253" fmla="*/ 350044 h 514350"/>
                <a:gd name="connsiteX7254" fmla="*/ 209074 w 6400800"/>
                <a:gd name="connsiteY7254" fmla="*/ 359569 h 514350"/>
                <a:gd name="connsiteX7255" fmla="*/ 207169 w 6400800"/>
                <a:gd name="connsiteY7255" fmla="*/ 356711 h 514350"/>
                <a:gd name="connsiteX7256" fmla="*/ 209074 w 6400800"/>
                <a:gd name="connsiteY7256" fmla="*/ 350044 h 514350"/>
                <a:gd name="connsiteX7257" fmla="*/ 170974 w 6400800"/>
                <a:gd name="connsiteY7257" fmla="*/ 259556 h 514350"/>
                <a:gd name="connsiteX7258" fmla="*/ 178594 w 6400800"/>
                <a:gd name="connsiteY7258" fmla="*/ 274796 h 514350"/>
                <a:gd name="connsiteX7259" fmla="*/ 187166 w 6400800"/>
                <a:gd name="connsiteY7259" fmla="*/ 291941 h 514350"/>
                <a:gd name="connsiteX7260" fmla="*/ 205264 w 6400800"/>
                <a:gd name="connsiteY7260" fmla="*/ 330041 h 514350"/>
                <a:gd name="connsiteX7261" fmla="*/ 200501 w 6400800"/>
                <a:gd name="connsiteY7261" fmla="*/ 343376 h 514350"/>
                <a:gd name="connsiteX7262" fmla="*/ 199549 w 6400800"/>
                <a:gd name="connsiteY7262" fmla="*/ 342424 h 514350"/>
                <a:gd name="connsiteX7263" fmla="*/ 180499 w 6400800"/>
                <a:gd name="connsiteY7263" fmla="*/ 310039 h 514350"/>
                <a:gd name="connsiteX7264" fmla="*/ 176689 w 6400800"/>
                <a:gd name="connsiteY7264" fmla="*/ 296704 h 514350"/>
                <a:gd name="connsiteX7265" fmla="*/ 176689 w 6400800"/>
                <a:gd name="connsiteY7265" fmla="*/ 305276 h 514350"/>
                <a:gd name="connsiteX7266" fmla="*/ 172879 w 6400800"/>
                <a:gd name="connsiteY7266" fmla="*/ 299561 h 514350"/>
                <a:gd name="connsiteX7267" fmla="*/ 171926 w 6400800"/>
                <a:gd name="connsiteY7267" fmla="*/ 298609 h 514350"/>
                <a:gd name="connsiteX7268" fmla="*/ 168116 w 6400800"/>
                <a:gd name="connsiteY7268" fmla="*/ 279559 h 514350"/>
                <a:gd name="connsiteX7269" fmla="*/ 158591 w 6400800"/>
                <a:gd name="connsiteY7269" fmla="*/ 235744 h 514350"/>
                <a:gd name="connsiteX7270" fmla="*/ 170974 w 6400800"/>
                <a:gd name="connsiteY7270" fmla="*/ 259556 h 514350"/>
                <a:gd name="connsiteX7271" fmla="*/ 161449 w 6400800"/>
                <a:gd name="connsiteY7271" fmla="*/ 307181 h 514350"/>
                <a:gd name="connsiteX7272" fmla="*/ 156686 w 6400800"/>
                <a:gd name="connsiteY7272" fmla="*/ 301466 h 514350"/>
                <a:gd name="connsiteX7273" fmla="*/ 155734 w 6400800"/>
                <a:gd name="connsiteY7273" fmla="*/ 297656 h 514350"/>
                <a:gd name="connsiteX7274" fmla="*/ 161449 w 6400800"/>
                <a:gd name="connsiteY7274" fmla="*/ 307181 h 514350"/>
                <a:gd name="connsiteX7275" fmla="*/ 130969 w 6400800"/>
                <a:gd name="connsiteY7275" fmla="*/ 280511 h 514350"/>
                <a:gd name="connsiteX7276" fmla="*/ 133826 w 6400800"/>
                <a:gd name="connsiteY7276" fmla="*/ 284321 h 514350"/>
                <a:gd name="connsiteX7277" fmla="*/ 145256 w 6400800"/>
                <a:gd name="connsiteY7277" fmla="*/ 301466 h 514350"/>
                <a:gd name="connsiteX7278" fmla="*/ 150971 w 6400800"/>
                <a:gd name="connsiteY7278" fmla="*/ 310039 h 514350"/>
                <a:gd name="connsiteX7279" fmla="*/ 150019 w 6400800"/>
                <a:gd name="connsiteY7279" fmla="*/ 341471 h 514350"/>
                <a:gd name="connsiteX7280" fmla="*/ 149066 w 6400800"/>
                <a:gd name="connsiteY7280" fmla="*/ 339566 h 514350"/>
                <a:gd name="connsiteX7281" fmla="*/ 145256 w 6400800"/>
                <a:gd name="connsiteY7281" fmla="*/ 328136 h 514350"/>
                <a:gd name="connsiteX7282" fmla="*/ 140494 w 6400800"/>
                <a:gd name="connsiteY7282" fmla="*/ 317659 h 514350"/>
                <a:gd name="connsiteX7283" fmla="*/ 132874 w 6400800"/>
                <a:gd name="connsiteY7283" fmla="*/ 301466 h 514350"/>
                <a:gd name="connsiteX7284" fmla="*/ 127159 w 6400800"/>
                <a:gd name="connsiteY7284" fmla="*/ 290989 h 514350"/>
                <a:gd name="connsiteX7285" fmla="*/ 130969 w 6400800"/>
                <a:gd name="connsiteY7285" fmla="*/ 280511 h 514350"/>
                <a:gd name="connsiteX7286" fmla="*/ 121444 w 6400800"/>
                <a:gd name="connsiteY7286" fmla="*/ 318611 h 514350"/>
                <a:gd name="connsiteX7287" fmla="*/ 127159 w 6400800"/>
                <a:gd name="connsiteY7287" fmla="*/ 294799 h 514350"/>
                <a:gd name="connsiteX7288" fmla="*/ 127159 w 6400800"/>
                <a:gd name="connsiteY7288" fmla="*/ 293846 h 514350"/>
                <a:gd name="connsiteX7289" fmla="*/ 129064 w 6400800"/>
                <a:gd name="connsiteY7289" fmla="*/ 303371 h 514350"/>
                <a:gd name="connsiteX7290" fmla="*/ 133826 w 6400800"/>
                <a:gd name="connsiteY7290" fmla="*/ 320516 h 514350"/>
                <a:gd name="connsiteX7291" fmla="*/ 138589 w 6400800"/>
                <a:gd name="connsiteY7291" fmla="*/ 342424 h 514350"/>
                <a:gd name="connsiteX7292" fmla="*/ 143351 w 6400800"/>
                <a:gd name="connsiteY7292" fmla="*/ 369094 h 514350"/>
                <a:gd name="connsiteX7293" fmla="*/ 148114 w 6400800"/>
                <a:gd name="connsiteY7293" fmla="*/ 398621 h 514350"/>
                <a:gd name="connsiteX7294" fmla="*/ 149066 w 6400800"/>
                <a:gd name="connsiteY7294" fmla="*/ 403384 h 514350"/>
                <a:gd name="connsiteX7295" fmla="*/ 149066 w 6400800"/>
                <a:gd name="connsiteY7295" fmla="*/ 411004 h 514350"/>
                <a:gd name="connsiteX7296" fmla="*/ 149066 w 6400800"/>
                <a:gd name="connsiteY7296" fmla="*/ 416719 h 514350"/>
                <a:gd name="connsiteX7297" fmla="*/ 138589 w 6400800"/>
                <a:gd name="connsiteY7297" fmla="*/ 388144 h 514350"/>
                <a:gd name="connsiteX7298" fmla="*/ 129064 w 6400800"/>
                <a:gd name="connsiteY7298" fmla="*/ 363379 h 514350"/>
                <a:gd name="connsiteX7299" fmla="*/ 131921 w 6400800"/>
                <a:gd name="connsiteY7299" fmla="*/ 358616 h 514350"/>
                <a:gd name="connsiteX7300" fmla="*/ 129064 w 6400800"/>
                <a:gd name="connsiteY7300" fmla="*/ 361474 h 514350"/>
                <a:gd name="connsiteX7301" fmla="*/ 124301 w 6400800"/>
                <a:gd name="connsiteY7301" fmla="*/ 350044 h 514350"/>
                <a:gd name="connsiteX7302" fmla="*/ 125254 w 6400800"/>
                <a:gd name="connsiteY7302" fmla="*/ 344329 h 514350"/>
                <a:gd name="connsiteX7303" fmla="*/ 129064 w 6400800"/>
                <a:gd name="connsiteY7303" fmla="*/ 328136 h 514350"/>
                <a:gd name="connsiteX7304" fmla="*/ 121444 w 6400800"/>
                <a:gd name="connsiteY7304" fmla="*/ 343376 h 514350"/>
                <a:gd name="connsiteX7305" fmla="*/ 121444 w 6400800"/>
                <a:gd name="connsiteY7305" fmla="*/ 343376 h 514350"/>
                <a:gd name="connsiteX7306" fmla="*/ 120491 w 6400800"/>
                <a:gd name="connsiteY7306" fmla="*/ 341471 h 514350"/>
                <a:gd name="connsiteX7307" fmla="*/ 117634 w 6400800"/>
                <a:gd name="connsiteY7307" fmla="*/ 334804 h 514350"/>
                <a:gd name="connsiteX7308" fmla="*/ 121444 w 6400800"/>
                <a:gd name="connsiteY7308" fmla="*/ 318611 h 514350"/>
                <a:gd name="connsiteX7309" fmla="*/ 116681 w 6400800"/>
                <a:gd name="connsiteY7309" fmla="*/ 393859 h 514350"/>
                <a:gd name="connsiteX7310" fmla="*/ 127159 w 6400800"/>
                <a:gd name="connsiteY7310" fmla="*/ 419576 h 514350"/>
                <a:gd name="connsiteX7311" fmla="*/ 113824 w 6400800"/>
                <a:gd name="connsiteY7311" fmla="*/ 414814 h 514350"/>
                <a:gd name="connsiteX7312" fmla="*/ 116681 w 6400800"/>
                <a:gd name="connsiteY7312" fmla="*/ 393859 h 514350"/>
                <a:gd name="connsiteX7313" fmla="*/ 91916 w 6400800"/>
                <a:gd name="connsiteY7313" fmla="*/ 341471 h 514350"/>
                <a:gd name="connsiteX7314" fmla="*/ 92869 w 6400800"/>
                <a:gd name="connsiteY7314" fmla="*/ 335756 h 514350"/>
                <a:gd name="connsiteX7315" fmla="*/ 94774 w 6400800"/>
                <a:gd name="connsiteY7315" fmla="*/ 340519 h 514350"/>
                <a:gd name="connsiteX7316" fmla="*/ 102394 w 6400800"/>
                <a:gd name="connsiteY7316" fmla="*/ 358616 h 514350"/>
                <a:gd name="connsiteX7317" fmla="*/ 96679 w 6400800"/>
                <a:gd name="connsiteY7317" fmla="*/ 384334 h 514350"/>
                <a:gd name="connsiteX7318" fmla="*/ 94774 w 6400800"/>
                <a:gd name="connsiteY7318" fmla="*/ 399574 h 514350"/>
                <a:gd name="connsiteX7319" fmla="*/ 93821 w 6400800"/>
                <a:gd name="connsiteY7319" fmla="*/ 400526 h 514350"/>
                <a:gd name="connsiteX7320" fmla="*/ 90964 w 6400800"/>
                <a:gd name="connsiteY7320" fmla="*/ 404336 h 514350"/>
                <a:gd name="connsiteX7321" fmla="*/ 88106 w 6400800"/>
                <a:gd name="connsiteY7321" fmla="*/ 382429 h 514350"/>
                <a:gd name="connsiteX7322" fmla="*/ 85249 w 6400800"/>
                <a:gd name="connsiteY7322" fmla="*/ 365284 h 514350"/>
                <a:gd name="connsiteX7323" fmla="*/ 91916 w 6400800"/>
                <a:gd name="connsiteY7323" fmla="*/ 341471 h 514350"/>
                <a:gd name="connsiteX7324" fmla="*/ 72866 w 6400800"/>
                <a:gd name="connsiteY7324" fmla="*/ 407194 h 514350"/>
                <a:gd name="connsiteX7325" fmla="*/ 72866 w 6400800"/>
                <a:gd name="connsiteY7325" fmla="*/ 409099 h 514350"/>
                <a:gd name="connsiteX7326" fmla="*/ 71914 w 6400800"/>
                <a:gd name="connsiteY7326" fmla="*/ 409099 h 514350"/>
                <a:gd name="connsiteX7327" fmla="*/ 72866 w 6400800"/>
                <a:gd name="connsiteY7327" fmla="*/ 407194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Lst>
              <a:rect l="l" t="t" r="r" b="b"/>
              <a:pathLst>
                <a:path w="6400800" h="514350">
                  <a:moveTo>
                    <a:pt x="7144" y="511016"/>
                  </a:moveTo>
                  <a:lnTo>
                    <a:pt x="6354604" y="511016"/>
                  </a:lnTo>
                  <a:lnTo>
                    <a:pt x="6354604" y="409099"/>
                  </a:lnTo>
                  <a:cubicBezTo>
                    <a:pt x="6346031" y="411004"/>
                    <a:pt x="6337459" y="413861"/>
                    <a:pt x="6327934" y="415766"/>
                  </a:cubicBezTo>
                  <a:cubicBezTo>
                    <a:pt x="6327934" y="411956"/>
                    <a:pt x="6327934" y="408146"/>
                    <a:pt x="6327934" y="404336"/>
                  </a:cubicBezTo>
                  <a:cubicBezTo>
                    <a:pt x="6328887" y="396716"/>
                    <a:pt x="6327934" y="389096"/>
                    <a:pt x="6328887" y="383381"/>
                  </a:cubicBezTo>
                  <a:cubicBezTo>
                    <a:pt x="6329839" y="371951"/>
                    <a:pt x="6329839" y="365284"/>
                    <a:pt x="6329839" y="365284"/>
                  </a:cubicBezTo>
                  <a:cubicBezTo>
                    <a:pt x="6329839" y="365284"/>
                    <a:pt x="6327934" y="371951"/>
                    <a:pt x="6324124" y="383381"/>
                  </a:cubicBezTo>
                  <a:cubicBezTo>
                    <a:pt x="6322219" y="389096"/>
                    <a:pt x="6321267" y="395764"/>
                    <a:pt x="6319362" y="404336"/>
                  </a:cubicBezTo>
                  <a:cubicBezTo>
                    <a:pt x="6318409" y="409099"/>
                    <a:pt x="6317456" y="413861"/>
                    <a:pt x="6316504" y="419576"/>
                  </a:cubicBezTo>
                  <a:cubicBezTo>
                    <a:pt x="6311742" y="420529"/>
                    <a:pt x="6306979" y="421481"/>
                    <a:pt x="6303169" y="423386"/>
                  </a:cubicBezTo>
                  <a:cubicBezTo>
                    <a:pt x="6303169" y="416719"/>
                    <a:pt x="6303169" y="411004"/>
                    <a:pt x="6304121" y="405289"/>
                  </a:cubicBezTo>
                  <a:cubicBezTo>
                    <a:pt x="6308884" y="390049"/>
                    <a:pt x="6314599" y="373856"/>
                    <a:pt x="6319362" y="358616"/>
                  </a:cubicBezTo>
                  <a:cubicBezTo>
                    <a:pt x="6320314" y="355759"/>
                    <a:pt x="6321267" y="352901"/>
                    <a:pt x="6322219" y="349091"/>
                  </a:cubicBezTo>
                  <a:cubicBezTo>
                    <a:pt x="6326029" y="336709"/>
                    <a:pt x="6330792" y="325279"/>
                    <a:pt x="6334601" y="312896"/>
                  </a:cubicBezTo>
                  <a:cubicBezTo>
                    <a:pt x="6340317" y="297656"/>
                    <a:pt x="6345079" y="283369"/>
                    <a:pt x="6349842" y="269081"/>
                  </a:cubicBezTo>
                  <a:cubicBezTo>
                    <a:pt x="6354604" y="254794"/>
                    <a:pt x="6359367" y="240506"/>
                    <a:pt x="6363176" y="228124"/>
                  </a:cubicBezTo>
                  <a:cubicBezTo>
                    <a:pt x="6367939" y="214789"/>
                    <a:pt x="6371749" y="202406"/>
                    <a:pt x="6375559" y="190976"/>
                  </a:cubicBezTo>
                  <a:cubicBezTo>
                    <a:pt x="6383179" y="168116"/>
                    <a:pt x="6388894" y="149066"/>
                    <a:pt x="6393656" y="134779"/>
                  </a:cubicBezTo>
                  <a:cubicBezTo>
                    <a:pt x="6397467" y="121444"/>
                    <a:pt x="6400324" y="113824"/>
                    <a:pt x="6400324" y="113824"/>
                  </a:cubicBezTo>
                  <a:cubicBezTo>
                    <a:pt x="6400324" y="113824"/>
                    <a:pt x="6396514" y="121444"/>
                    <a:pt x="6389846" y="133826"/>
                  </a:cubicBezTo>
                  <a:cubicBezTo>
                    <a:pt x="6386989" y="139541"/>
                    <a:pt x="6384131" y="146209"/>
                    <a:pt x="6380321" y="153829"/>
                  </a:cubicBezTo>
                  <a:cubicBezTo>
                    <a:pt x="6385084" y="136684"/>
                    <a:pt x="6389846" y="121444"/>
                    <a:pt x="6392704" y="110966"/>
                  </a:cubicBezTo>
                  <a:cubicBezTo>
                    <a:pt x="6396514" y="95726"/>
                    <a:pt x="6399371" y="87154"/>
                    <a:pt x="6399371" y="87154"/>
                  </a:cubicBezTo>
                  <a:cubicBezTo>
                    <a:pt x="6399371" y="87154"/>
                    <a:pt x="6395562" y="95726"/>
                    <a:pt x="6388894" y="109061"/>
                  </a:cubicBezTo>
                  <a:cubicBezTo>
                    <a:pt x="6386037" y="115729"/>
                    <a:pt x="6382226" y="125254"/>
                    <a:pt x="6377464" y="134779"/>
                  </a:cubicBezTo>
                  <a:cubicBezTo>
                    <a:pt x="6372701" y="144304"/>
                    <a:pt x="6367939" y="155734"/>
                    <a:pt x="6364129" y="168116"/>
                  </a:cubicBezTo>
                  <a:cubicBezTo>
                    <a:pt x="6354604" y="192881"/>
                    <a:pt x="6343174" y="222409"/>
                    <a:pt x="6332696" y="253841"/>
                  </a:cubicBezTo>
                  <a:cubicBezTo>
                    <a:pt x="6326981" y="270034"/>
                    <a:pt x="6321267" y="286226"/>
                    <a:pt x="6316504" y="302419"/>
                  </a:cubicBezTo>
                  <a:cubicBezTo>
                    <a:pt x="6315551" y="304324"/>
                    <a:pt x="6315551" y="306229"/>
                    <a:pt x="6314599" y="308134"/>
                  </a:cubicBezTo>
                  <a:cubicBezTo>
                    <a:pt x="6315551" y="300514"/>
                    <a:pt x="6316504" y="293846"/>
                    <a:pt x="6317456" y="287179"/>
                  </a:cubicBezTo>
                  <a:cubicBezTo>
                    <a:pt x="6318409" y="279559"/>
                    <a:pt x="6319362" y="272891"/>
                    <a:pt x="6319362" y="267176"/>
                  </a:cubicBezTo>
                  <a:cubicBezTo>
                    <a:pt x="6320314" y="256699"/>
                    <a:pt x="6320314" y="250031"/>
                    <a:pt x="6320314" y="250031"/>
                  </a:cubicBezTo>
                  <a:cubicBezTo>
                    <a:pt x="6320314" y="250031"/>
                    <a:pt x="6318409" y="255746"/>
                    <a:pt x="6314599" y="266224"/>
                  </a:cubicBezTo>
                  <a:cubicBezTo>
                    <a:pt x="6311742" y="276701"/>
                    <a:pt x="6306979" y="291941"/>
                    <a:pt x="6302217" y="310039"/>
                  </a:cubicBezTo>
                  <a:cubicBezTo>
                    <a:pt x="6299359" y="318611"/>
                    <a:pt x="6296501" y="329089"/>
                    <a:pt x="6293644" y="339566"/>
                  </a:cubicBezTo>
                  <a:cubicBezTo>
                    <a:pt x="6291739" y="347186"/>
                    <a:pt x="6288881" y="354806"/>
                    <a:pt x="6286976" y="362426"/>
                  </a:cubicBezTo>
                  <a:cubicBezTo>
                    <a:pt x="6286024" y="352901"/>
                    <a:pt x="6285071" y="343376"/>
                    <a:pt x="6284119" y="335756"/>
                  </a:cubicBezTo>
                  <a:cubicBezTo>
                    <a:pt x="6286024" y="330041"/>
                    <a:pt x="6286976" y="324326"/>
                    <a:pt x="6288881" y="318611"/>
                  </a:cubicBezTo>
                  <a:cubicBezTo>
                    <a:pt x="6293644" y="303371"/>
                    <a:pt x="6298406" y="289084"/>
                    <a:pt x="6302217" y="274796"/>
                  </a:cubicBezTo>
                  <a:cubicBezTo>
                    <a:pt x="6304121" y="268129"/>
                    <a:pt x="6306026" y="261461"/>
                    <a:pt x="6307931" y="255746"/>
                  </a:cubicBezTo>
                  <a:cubicBezTo>
                    <a:pt x="6309837" y="250031"/>
                    <a:pt x="6311742" y="244316"/>
                    <a:pt x="6313646" y="238601"/>
                  </a:cubicBezTo>
                  <a:cubicBezTo>
                    <a:pt x="6317456" y="228124"/>
                    <a:pt x="6320314" y="218599"/>
                    <a:pt x="6323171" y="210026"/>
                  </a:cubicBezTo>
                  <a:cubicBezTo>
                    <a:pt x="6327934" y="193834"/>
                    <a:pt x="6330792" y="185261"/>
                    <a:pt x="6330792" y="185261"/>
                  </a:cubicBezTo>
                  <a:cubicBezTo>
                    <a:pt x="6330792" y="185261"/>
                    <a:pt x="6326981" y="193834"/>
                    <a:pt x="6319362" y="208121"/>
                  </a:cubicBezTo>
                  <a:cubicBezTo>
                    <a:pt x="6315551" y="215741"/>
                    <a:pt x="6311742" y="224314"/>
                    <a:pt x="6306026" y="234791"/>
                  </a:cubicBezTo>
                  <a:cubicBezTo>
                    <a:pt x="6303169" y="239554"/>
                    <a:pt x="6301264" y="245269"/>
                    <a:pt x="6298406" y="250984"/>
                  </a:cubicBezTo>
                  <a:cubicBezTo>
                    <a:pt x="6295549" y="256699"/>
                    <a:pt x="6293644" y="263366"/>
                    <a:pt x="6290787" y="270034"/>
                  </a:cubicBezTo>
                  <a:cubicBezTo>
                    <a:pt x="6286976" y="279559"/>
                    <a:pt x="6282214" y="290036"/>
                    <a:pt x="6278404" y="301466"/>
                  </a:cubicBezTo>
                  <a:cubicBezTo>
                    <a:pt x="6277451" y="295751"/>
                    <a:pt x="6277451" y="292894"/>
                    <a:pt x="6277451" y="292894"/>
                  </a:cubicBezTo>
                  <a:cubicBezTo>
                    <a:pt x="6277451" y="292894"/>
                    <a:pt x="6277451" y="297656"/>
                    <a:pt x="6276499" y="306229"/>
                  </a:cubicBezTo>
                  <a:cubicBezTo>
                    <a:pt x="6275546" y="308134"/>
                    <a:pt x="6274594" y="310991"/>
                    <a:pt x="6273642" y="312896"/>
                  </a:cubicBezTo>
                  <a:cubicBezTo>
                    <a:pt x="6272689" y="315754"/>
                    <a:pt x="6271737" y="319564"/>
                    <a:pt x="6269831" y="322421"/>
                  </a:cubicBezTo>
                  <a:cubicBezTo>
                    <a:pt x="6270784" y="314801"/>
                    <a:pt x="6272689" y="308134"/>
                    <a:pt x="6273642" y="300514"/>
                  </a:cubicBezTo>
                  <a:cubicBezTo>
                    <a:pt x="6277451" y="283369"/>
                    <a:pt x="6280309" y="267176"/>
                    <a:pt x="6283167" y="252889"/>
                  </a:cubicBezTo>
                  <a:cubicBezTo>
                    <a:pt x="6285071" y="245269"/>
                    <a:pt x="6286024" y="238601"/>
                    <a:pt x="6287929" y="231934"/>
                  </a:cubicBezTo>
                  <a:cubicBezTo>
                    <a:pt x="6289834" y="225266"/>
                    <a:pt x="6290787" y="218599"/>
                    <a:pt x="6292692" y="212884"/>
                  </a:cubicBezTo>
                  <a:cubicBezTo>
                    <a:pt x="6295549" y="200501"/>
                    <a:pt x="6298406" y="190024"/>
                    <a:pt x="6300312" y="181451"/>
                  </a:cubicBezTo>
                  <a:cubicBezTo>
                    <a:pt x="6304121" y="164306"/>
                    <a:pt x="6306026" y="153829"/>
                    <a:pt x="6306026" y="153829"/>
                  </a:cubicBezTo>
                  <a:cubicBezTo>
                    <a:pt x="6306026" y="153829"/>
                    <a:pt x="6302217" y="163354"/>
                    <a:pt x="6296501" y="180499"/>
                  </a:cubicBezTo>
                  <a:cubicBezTo>
                    <a:pt x="6293644" y="189071"/>
                    <a:pt x="6289834" y="199549"/>
                    <a:pt x="6286024" y="210979"/>
                  </a:cubicBezTo>
                  <a:cubicBezTo>
                    <a:pt x="6284119" y="216694"/>
                    <a:pt x="6282214" y="223361"/>
                    <a:pt x="6279356" y="230029"/>
                  </a:cubicBezTo>
                  <a:cubicBezTo>
                    <a:pt x="6277451" y="236696"/>
                    <a:pt x="6275546" y="243364"/>
                    <a:pt x="6273642" y="250984"/>
                  </a:cubicBezTo>
                  <a:cubicBezTo>
                    <a:pt x="6269831" y="265271"/>
                    <a:pt x="6265069" y="281464"/>
                    <a:pt x="6260306" y="298609"/>
                  </a:cubicBezTo>
                  <a:cubicBezTo>
                    <a:pt x="6255544" y="315754"/>
                    <a:pt x="6251734" y="333851"/>
                    <a:pt x="6246971" y="351949"/>
                  </a:cubicBezTo>
                  <a:cubicBezTo>
                    <a:pt x="6244114" y="366236"/>
                    <a:pt x="6240304" y="381476"/>
                    <a:pt x="6236494" y="396716"/>
                  </a:cubicBezTo>
                  <a:cubicBezTo>
                    <a:pt x="6236494" y="395764"/>
                    <a:pt x="6235542" y="395764"/>
                    <a:pt x="6235542" y="394811"/>
                  </a:cubicBezTo>
                  <a:cubicBezTo>
                    <a:pt x="6235542" y="379571"/>
                    <a:pt x="6234589" y="370046"/>
                    <a:pt x="6234589" y="370046"/>
                  </a:cubicBezTo>
                  <a:cubicBezTo>
                    <a:pt x="6234589" y="370046"/>
                    <a:pt x="6233637" y="376714"/>
                    <a:pt x="6230779" y="389096"/>
                  </a:cubicBezTo>
                  <a:cubicBezTo>
                    <a:pt x="6229826" y="387191"/>
                    <a:pt x="6228874" y="386239"/>
                    <a:pt x="6227921" y="384334"/>
                  </a:cubicBezTo>
                  <a:cubicBezTo>
                    <a:pt x="6224112" y="378619"/>
                    <a:pt x="6220301" y="372904"/>
                    <a:pt x="6216492" y="367189"/>
                  </a:cubicBezTo>
                  <a:cubicBezTo>
                    <a:pt x="6218396" y="360521"/>
                    <a:pt x="6220301" y="354806"/>
                    <a:pt x="6223159" y="348139"/>
                  </a:cubicBezTo>
                  <a:cubicBezTo>
                    <a:pt x="6227921" y="334804"/>
                    <a:pt x="6232684" y="322421"/>
                    <a:pt x="6236494" y="310991"/>
                  </a:cubicBezTo>
                  <a:cubicBezTo>
                    <a:pt x="6240304" y="299561"/>
                    <a:pt x="6244114" y="289084"/>
                    <a:pt x="6247924" y="279559"/>
                  </a:cubicBezTo>
                  <a:cubicBezTo>
                    <a:pt x="6251734" y="270034"/>
                    <a:pt x="6254592" y="262414"/>
                    <a:pt x="6256496" y="254794"/>
                  </a:cubicBezTo>
                  <a:cubicBezTo>
                    <a:pt x="6261259" y="241459"/>
                    <a:pt x="6264117" y="233839"/>
                    <a:pt x="6264117" y="233839"/>
                  </a:cubicBezTo>
                  <a:cubicBezTo>
                    <a:pt x="6264117" y="233839"/>
                    <a:pt x="6260306" y="241459"/>
                    <a:pt x="6252687" y="253841"/>
                  </a:cubicBezTo>
                  <a:cubicBezTo>
                    <a:pt x="6248876" y="260509"/>
                    <a:pt x="6245067" y="268129"/>
                    <a:pt x="6240304" y="276701"/>
                  </a:cubicBezTo>
                  <a:cubicBezTo>
                    <a:pt x="6235542" y="285274"/>
                    <a:pt x="6230779" y="295751"/>
                    <a:pt x="6225064" y="307181"/>
                  </a:cubicBezTo>
                  <a:cubicBezTo>
                    <a:pt x="6220301" y="318611"/>
                    <a:pt x="6214587" y="330994"/>
                    <a:pt x="6208871" y="343376"/>
                  </a:cubicBezTo>
                  <a:cubicBezTo>
                    <a:pt x="6207919" y="346234"/>
                    <a:pt x="6206014" y="349091"/>
                    <a:pt x="6205062" y="351949"/>
                  </a:cubicBezTo>
                  <a:cubicBezTo>
                    <a:pt x="6205062" y="351949"/>
                    <a:pt x="6204109" y="350996"/>
                    <a:pt x="6204109" y="350996"/>
                  </a:cubicBezTo>
                  <a:cubicBezTo>
                    <a:pt x="6206967" y="340519"/>
                    <a:pt x="6208871" y="330041"/>
                    <a:pt x="6210776" y="320516"/>
                  </a:cubicBezTo>
                  <a:cubicBezTo>
                    <a:pt x="6214587" y="298609"/>
                    <a:pt x="6219349" y="280511"/>
                    <a:pt x="6222206" y="268129"/>
                  </a:cubicBezTo>
                  <a:cubicBezTo>
                    <a:pt x="6225064" y="255746"/>
                    <a:pt x="6226017" y="248126"/>
                    <a:pt x="6226017" y="248126"/>
                  </a:cubicBezTo>
                  <a:cubicBezTo>
                    <a:pt x="6226017" y="248126"/>
                    <a:pt x="6223159" y="254794"/>
                    <a:pt x="6218396" y="267176"/>
                  </a:cubicBezTo>
                  <a:cubicBezTo>
                    <a:pt x="6216492" y="272891"/>
                    <a:pt x="6213634" y="280511"/>
                    <a:pt x="6209824" y="289084"/>
                  </a:cubicBezTo>
                  <a:cubicBezTo>
                    <a:pt x="6206967" y="297656"/>
                    <a:pt x="6203156" y="307181"/>
                    <a:pt x="6199346" y="317659"/>
                  </a:cubicBezTo>
                  <a:cubicBezTo>
                    <a:pt x="6197442" y="323374"/>
                    <a:pt x="6195537" y="330041"/>
                    <a:pt x="6193631" y="335756"/>
                  </a:cubicBezTo>
                  <a:cubicBezTo>
                    <a:pt x="6190774" y="330994"/>
                    <a:pt x="6186964" y="326231"/>
                    <a:pt x="6184106" y="322421"/>
                  </a:cubicBezTo>
                  <a:cubicBezTo>
                    <a:pt x="6183154" y="321469"/>
                    <a:pt x="6182201" y="320516"/>
                    <a:pt x="6181249" y="318611"/>
                  </a:cubicBezTo>
                  <a:cubicBezTo>
                    <a:pt x="6182201" y="312896"/>
                    <a:pt x="6183154" y="307181"/>
                    <a:pt x="6184106" y="302419"/>
                  </a:cubicBezTo>
                  <a:cubicBezTo>
                    <a:pt x="6186012" y="291941"/>
                    <a:pt x="6186964" y="282416"/>
                    <a:pt x="6189821" y="274796"/>
                  </a:cubicBezTo>
                  <a:cubicBezTo>
                    <a:pt x="6193631" y="259556"/>
                    <a:pt x="6195537" y="250984"/>
                    <a:pt x="6195537" y="250984"/>
                  </a:cubicBezTo>
                  <a:cubicBezTo>
                    <a:pt x="6195537" y="250984"/>
                    <a:pt x="6191726" y="259556"/>
                    <a:pt x="6186012" y="273844"/>
                  </a:cubicBezTo>
                  <a:cubicBezTo>
                    <a:pt x="6183154" y="280511"/>
                    <a:pt x="6180296" y="290036"/>
                    <a:pt x="6176487" y="300514"/>
                  </a:cubicBezTo>
                  <a:cubicBezTo>
                    <a:pt x="6175534" y="303371"/>
                    <a:pt x="6174581" y="306229"/>
                    <a:pt x="6173629" y="309086"/>
                  </a:cubicBezTo>
                  <a:cubicBezTo>
                    <a:pt x="6173629" y="309086"/>
                    <a:pt x="6172676" y="308134"/>
                    <a:pt x="6172676" y="308134"/>
                  </a:cubicBezTo>
                  <a:cubicBezTo>
                    <a:pt x="6173629" y="303371"/>
                    <a:pt x="6174581" y="298609"/>
                    <a:pt x="6174581" y="294799"/>
                  </a:cubicBezTo>
                  <a:cubicBezTo>
                    <a:pt x="6176487" y="283369"/>
                    <a:pt x="6178392" y="272891"/>
                    <a:pt x="6180296" y="263366"/>
                  </a:cubicBezTo>
                  <a:cubicBezTo>
                    <a:pt x="6182201" y="253841"/>
                    <a:pt x="6184106" y="244316"/>
                    <a:pt x="6185059" y="236696"/>
                  </a:cubicBezTo>
                  <a:cubicBezTo>
                    <a:pt x="6186964" y="229076"/>
                    <a:pt x="6187917" y="221456"/>
                    <a:pt x="6188869" y="215741"/>
                  </a:cubicBezTo>
                  <a:cubicBezTo>
                    <a:pt x="6190774" y="204311"/>
                    <a:pt x="6192679" y="197644"/>
                    <a:pt x="6192679" y="197644"/>
                  </a:cubicBezTo>
                  <a:cubicBezTo>
                    <a:pt x="6192679" y="197644"/>
                    <a:pt x="6189821" y="203359"/>
                    <a:pt x="6185059" y="214789"/>
                  </a:cubicBezTo>
                  <a:cubicBezTo>
                    <a:pt x="6180296" y="225266"/>
                    <a:pt x="6174581" y="241459"/>
                    <a:pt x="6168867" y="260509"/>
                  </a:cubicBezTo>
                  <a:cubicBezTo>
                    <a:pt x="6166962" y="267176"/>
                    <a:pt x="6165056" y="273844"/>
                    <a:pt x="6163151" y="280511"/>
                  </a:cubicBezTo>
                  <a:cubicBezTo>
                    <a:pt x="6161246" y="270034"/>
                    <a:pt x="6160294" y="261461"/>
                    <a:pt x="6159342" y="253841"/>
                  </a:cubicBezTo>
                  <a:cubicBezTo>
                    <a:pt x="6156484" y="235744"/>
                    <a:pt x="6154579" y="225266"/>
                    <a:pt x="6154579" y="225266"/>
                  </a:cubicBezTo>
                  <a:cubicBezTo>
                    <a:pt x="6154579" y="225266"/>
                    <a:pt x="6155531" y="248126"/>
                    <a:pt x="6156484" y="285274"/>
                  </a:cubicBezTo>
                  <a:cubicBezTo>
                    <a:pt x="6151721" y="278606"/>
                    <a:pt x="6146959" y="272891"/>
                    <a:pt x="6143149" y="268129"/>
                  </a:cubicBezTo>
                  <a:cubicBezTo>
                    <a:pt x="6143149" y="268129"/>
                    <a:pt x="6143149" y="267176"/>
                    <a:pt x="6143149" y="267176"/>
                  </a:cubicBezTo>
                  <a:cubicBezTo>
                    <a:pt x="6144101" y="263366"/>
                    <a:pt x="6145054" y="259556"/>
                    <a:pt x="6146006" y="256699"/>
                  </a:cubicBezTo>
                  <a:cubicBezTo>
                    <a:pt x="6156484" y="210026"/>
                    <a:pt x="6161246" y="178594"/>
                    <a:pt x="6161246" y="178594"/>
                  </a:cubicBezTo>
                  <a:cubicBezTo>
                    <a:pt x="6161246" y="178594"/>
                    <a:pt x="6158389" y="186214"/>
                    <a:pt x="6152674" y="200501"/>
                  </a:cubicBezTo>
                  <a:cubicBezTo>
                    <a:pt x="6152674" y="199549"/>
                    <a:pt x="6152674" y="198596"/>
                    <a:pt x="6152674" y="197644"/>
                  </a:cubicBezTo>
                  <a:cubicBezTo>
                    <a:pt x="6154579" y="188119"/>
                    <a:pt x="6155531" y="179546"/>
                    <a:pt x="6156484" y="172879"/>
                  </a:cubicBezTo>
                  <a:cubicBezTo>
                    <a:pt x="6158389" y="158591"/>
                    <a:pt x="6160294" y="150971"/>
                    <a:pt x="6160294" y="150971"/>
                  </a:cubicBezTo>
                  <a:cubicBezTo>
                    <a:pt x="6160294" y="150971"/>
                    <a:pt x="6157437" y="158591"/>
                    <a:pt x="6152674" y="171926"/>
                  </a:cubicBezTo>
                  <a:cubicBezTo>
                    <a:pt x="6150769" y="178594"/>
                    <a:pt x="6147912" y="187166"/>
                    <a:pt x="6145054" y="196691"/>
                  </a:cubicBezTo>
                  <a:cubicBezTo>
                    <a:pt x="6143149" y="204311"/>
                    <a:pt x="6140292" y="211931"/>
                    <a:pt x="6138387" y="220504"/>
                  </a:cubicBezTo>
                  <a:cubicBezTo>
                    <a:pt x="6136481" y="209074"/>
                    <a:pt x="6135529" y="202406"/>
                    <a:pt x="6135529" y="202406"/>
                  </a:cubicBezTo>
                  <a:cubicBezTo>
                    <a:pt x="6135529" y="202406"/>
                    <a:pt x="6135529" y="209074"/>
                    <a:pt x="6134576" y="221456"/>
                  </a:cubicBezTo>
                  <a:cubicBezTo>
                    <a:pt x="6134576" y="227171"/>
                    <a:pt x="6132671" y="234791"/>
                    <a:pt x="6132671" y="242411"/>
                  </a:cubicBezTo>
                  <a:cubicBezTo>
                    <a:pt x="6132671" y="244316"/>
                    <a:pt x="6131719" y="246221"/>
                    <a:pt x="6131719" y="249079"/>
                  </a:cubicBezTo>
                  <a:cubicBezTo>
                    <a:pt x="6131719" y="250984"/>
                    <a:pt x="6130767" y="251936"/>
                    <a:pt x="6130767" y="253841"/>
                  </a:cubicBezTo>
                  <a:cubicBezTo>
                    <a:pt x="6129814" y="252889"/>
                    <a:pt x="6129814" y="251936"/>
                    <a:pt x="6129814" y="251936"/>
                  </a:cubicBezTo>
                  <a:cubicBezTo>
                    <a:pt x="6129814" y="251936"/>
                    <a:pt x="6129814" y="252889"/>
                    <a:pt x="6130767" y="254794"/>
                  </a:cubicBezTo>
                  <a:cubicBezTo>
                    <a:pt x="6130767" y="256699"/>
                    <a:pt x="6129814" y="258604"/>
                    <a:pt x="6129814" y="261461"/>
                  </a:cubicBezTo>
                  <a:cubicBezTo>
                    <a:pt x="6129814" y="250031"/>
                    <a:pt x="6129814" y="243364"/>
                    <a:pt x="6129814" y="243364"/>
                  </a:cubicBezTo>
                  <a:cubicBezTo>
                    <a:pt x="6129814" y="243364"/>
                    <a:pt x="6127909" y="254794"/>
                    <a:pt x="6126004" y="274796"/>
                  </a:cubicBezTo>
                  <a:cubicBezTo>
                    <a:pt x="6126004" y="276701"/>
                    <a:pt x="6126004" y="279559"/>
                    <a:pt x="6125051" y="281464"/>
                  </a:cubicBezTo>
                  <a:cubicBezTo>
                    <a:pt x="6124099" y="275749"/>
                    <a:pt x="6123146" y="270986"/>
                    <a:pt x="6122194" y="267176"/>
                  </a:cubicBezTo>
                  <a:cubicBezTo>
                    <a:pt x="6119337" y="251936"/>
                    <a:pt x="6117431" y="243364"/>
                    <a:pt x="6117431" y="243364"/>
                  </a:cubicBezTo>
                  <a:cubicBezTo>
                    <a:pt x="6117431" y="243364"/>
                    <a:pt x="6117431" y="251936"/>
                    <a:pt x="6118384" y="267176"/>
                  </a:cubicBezTo>
                  <a:cubicBezTo>
                    <a:pt x="6118384" y="275749"/>
                    <a:pt x="6119337" y="287179"/>
                    <a:pt x="6119337" y="300514"/>
                  </a:cubicBezTo>
                  <a:cubicBezTo>
                    <a:pt x="6117431" y="306229"/>
                    <a:pt x="6115526" y="311944"/>
                    <a:pt x="6114574" y="317659"/>
                  </a:cubicBezTo>
                  <a:cubicBezTo>
                    <a:pt x="6114574" y="313849"/>
                    <a:pt x="6114574" y="310991"/>
                    <a:pt x="6114574" y="307181"/>
                  </a:cubicBezTo>
                  <a:cubicBezTo>
                    <a:pt x="6113621" y="299561"/>
                    <a:pt x="6113621" y="292894"/>
                    <a:pt x="6112669" y="286226"/>
                  </a:cubicBezTo>
                  <a:cubicBezTo>
                    <a:pt x="6111717" y="279559"/>
                    <a:pt x="6110764" y="274796"/>
                    <a:pt x="6109812" y="270986"/>
                  </a:cubicBezTo>
                  <a:cubicBezTo>
                    <a:pt x="6106954" y="262414"/>
                    <a:pt x="6105049" y="258604"/>
                    <a:pt x="6105049" y="258604"/>
                  </a:cubicBezTo>
                  <a:cubicBezTo>
                    <a:pt x="6105049" y="258604"/>
                    <a:pt x="6105049" y="263366"/>
                    <a:pt x="6106001" y="272891"/>
                  </a:cubicBezTo>
                  <a:cubicBezTo>
                    <a:pt x="6106001" y="275749"/>
                    <a:pt x="6106001" y="278606"/>
                    <a:pt x="6106001" y="282416"/>
                  </a:cubicBezTo>
                  <a:cubicBezTo>
                    <a:pt x="6105049" y="279559"/>
                    <a:pt x="6105049" y="276701"/>
                    <a:pt x="6104096" y="273844"/>
                  </a:cubicBezTo>
                  <a:cubicBezTo>
                    <a:pt x="6103144" y="271939"/>
                    <a:pt x="6103144" y="270034"/>
                    <a:pt x="6102192" y="268129"/>
                  </a:cubicBezTo>
                  <a:cubicBezTo>
                    <a:pt x="6102192" y="263366"/>
                    <a:pt x="6101239" y="258604"/>
                    <a:pt x="6101239" y="253841"/>
                  </a:cubicBezTo>
                  <a:cubicBezTo>
                    <a:pt x="6102192" y="251936"/>
                    <a:pt x="6102192" y="249079"/>
                    <a:pt x="6103144" y="247174"/>
                  </a:cubicBezTo>
                  <a:cubicBezTo>
                    <a:pt x="6105049" y="238601"/>
                    <a:pt x="6106954" y="230981"/>
                    <a:pt x="6107906" y="225266"/>
                  </a:cubicBezTo>
                  <a:cubicBezTo>
                    <a:pt x="6110764" y="212884"/>
                    <a:pt x="6111717" y="205264"/>
                    <a:pt x="6111717" y="205264"/>
                  </a:cubicBezTo>
                  <a:cubicBezTo>
                    <a:pt x="6111717" y="205264"/>
                    <a:pt x="6108859" y="211931"/>
                    <a:pt x="6104096" y="223361"/>
                  </a:cubicBezTo>
                  <a:cubicBezTo>
                    <a:pt x="6103144" y="227171"/>
                    <a:pt x="6101239" y="230981"/>
                    <a:pt x="6099334" y="234791"/>
                  </a:cubicBezTo>
                  <a:cubicBezTo>
                    <a:pt x="6098381" y="220504"/>
                    <a:pt x="6097429" y="210026"/>
                    <a:pt x="6096476" y="206216"/>
                  </a:cubicBezTo>
                  <a:cubicBezTo>
                    <a:pt x="6096476" y="204311"/>
                    <a:pt x="6097429" y="201454"/>
                    <a:pt x="6097429" y="199549"/>
                  </a:cubicBezTo>
                  <a:cubicBezTo>
                    <a:pt x="6099334" y="191929"/>
                    <a:pt x="6100287" y="184309"/>
                    <a:pt x="6101239" y="177641"/>
                  </a:cubicBezTo>
                  <a:cubicBezTo>
                    <a:pt x="6102192" y="170974"/>
                    <a:pt x="6103144" y="163354"/>
                    <a:pt x="6104096" y="157639"/>
                  </a:cubicBezTo>
                  <a:cubicBezTo>
                    <a:pt x="6106001" y="145256"/>
                    <a:pt x="6106954" y="133826"/>
                    <a:pt x="6107906" y="124301"/>
                  </a:cubicBezTo>
                  <a:cubicBezTo>
                    <a:pt x="6109812" y="106204"/>
                    <a:pt x="6110764" y="95726"/>
                    <a:pt x="6110764" y="95726"/>
                  </a:cubicBezTo>
                  <a:cubicBezTo>
                    <a:pt x="6110764" y="95726"/>
                    <a:pt x="6107906" y="106204"/>
                    <a:pt x="6104096" y="124301"/>
                  </a:cubicBezTo>
                  <a:cubicBezTo>
                    <a:pt x="6102192" y="132874"/>
                    <a:pt x="6099334" y="144304"/>
                    <a:pt x="6096476" y="156686"/>
                  </a:cubicBezTo>
                  <a:cubicBezTo>
                    <a:pt x="6095524" y="163354"/>
                    <a:pt x="6093619" y="170021"/>
                    <a:pt x="6091714" y="176689"/>
                  </a:cubicBezTo>
                  <a:cubicBezTo>
                    <a:pt x="6089809" y="183356"/>
                    <a:pt x="6087904" y="190976"/>
                    <a:pt x="6085999" y="198596"/>
                  </a:cubicBezTo>
                  <a:cubicBezTo>
                    <a:pt x="6085046" y="203359"/>
                    <a:pt x="6083142" y="209074"/>
                    <a:pt x="6081237" y="214789"/>
                  </a:cubicBezTo>
                  <a:cubicBezTo>
                    <a:pt x="6077426" y="206216"/>
                    <a:pt x="6074569" y="201454"/>
                    <a:pt x="6074569" y="201454"/>
                  </a:cubicBezTo>
                  <a:cubicBezTo>
                    <a:pt x="6074569" y="201454"/>
                    <a:pt x="6076474" y="208121"/>
                    <a:pt x="6079331" y="219551"/>
                  </a:cubicBezTo>
                  <a:cubicBezTo>
                    <a:pt x="6078379" y="222409"/>
                    <a:pt x="6076474" y="225266"/>
                    <a:pt x="6073617" y="230029"/>
                  </a:cubicBezTo>
                  <a:cubicBezTo>
                    <a:pt x="6072664" y="231934"/>
                    <a:pt x="6071712" y="234791"/>
                    <a:pt x="6069806" y="237649"/>
                  </a:cubicBezTo>
                  <a:cubicBezTo>
                    <a:pt x="6069806" y="233839"/>
                    <a:pt x="6069806" y="230981"/>
                    <a:pt x="6069806" y="228124"/>
                  </a:cubicBezTo>
                  <a:cubicBezTo>
                    <a:pt x="6069806" y="213836"/>
                    <a:pt x="6069806" y="205264"/>
                    <a:pt x="6069806" y="205264"/>
                  </a:cubicBezTo>
                  <a:cubicBezTo>
                    <a:pt x="6069806" y="205264"/>
                    <a:pt x="6067901" y="213836"/>
                    <a:pt x="6065996" y="228124"/>
                  </a:cubicBezTo>
                  <a:cubicBezTo>
                    <a:pt x="6065044" y="235744"/>
                    <a:pt x="6063139" y="243364"/>
                    <a:pt x="6061234" y="253841"/>
                  </a:cubicBezTo>
                  <a:cubicBezTo>
                    <a:pt x="6060281" y="256699"/>
                    <a:pt x="6060281" y="259556"/>
                    <a:pt x="6059329" y="263366"/>
                  </a:cubicBezTo>
                  <a:cubicBezTo>
                    <a:pt x="6058376" y="265271"/>
                    <a:pt x="6058376" y="267176"/>
                    <a:pt x="6057424" y="268129"/>
                  </a:cubicBezTo>
                  <a:cubicBezTo>
                    <a:pt x="6054567" y="275749"/>
                    <a:pt x="6051709" y="285274"/>
                    <a:pt x="6048851" y="294799"/>
                  </a:cubicBezTo>
                  <a:cubicBezTo>
                    <a:pt x="6045994" y="304324"/>
                    <a:pt x="6044089" y="313849"/>
                    <a:pt x="6041231" y="324326"/>
                  </a:cubicBezTo>
                  <a:cubicBezTo>
                    <a:pt x="6041231" y="324326"/>
                    <a:pt x="6041231" y="325279"/>
                    <a:pt x="6041231" y="325279"/>
                  </a:cubicBezTo>
                  <a:cubicBezTo>
                    <a:pt x="6038374" y="318611"/>
                    <a:pt x="6036469" y="311944"/>
                    <a:pt x="6033612" y="306229"/>
                  </a:cubicBezTo>
                  <a:cubicBezTo>
                    <a:pt x="6032659" y="303371"/>
                    <a:pt x="6030754" y="299561"/>
                    <a:pt x="6029801" y="296704"/>
                  </a:cubicBezTo>
                  <a:cubicBezTo>
                    <a:pt x="6029801" y="296704"/>
                    <a:pt x="6029801" y="295751"/>
                    <a:pt x="6029801" y="295751"/>
                  </a:cubicBezTo>
                  <a:cubicBezTo>
                    <a:pt x="6030754" y="290036"/>
                    <a:pt x="6031706" y="285274"/>
                    <a:pt x="6031706" y="281464"/>
                  </a:cubicBezTo>
                  <a:cubicBezTo>
                    <a:pt x="6032659" y="272891"/>
                    <a:pt x="6033612" y="269081"/>
                    <a:pt x="6033612" y="269081"/>
                  </a:cubicBezTo>
                  <a:cubicBezTo>
                    <a:pt x="6033612" y="269081"/>
                    <a:pt x="6031706" y="272891"/>
                    <a:pt x="6027896" y="280511"/>
                  </a:cubicBezTo>
                  <a:cubicBezTo>
                    <a:pt x="6026944" y="282416"/>
                    <a:pt x="6025992" y="284321"/>
                    <a:pt x="6025039" y="286226"/>
                  </a:cubicBezTo>
                  <a:cubicBezTo>
                    <a:pt x="6023134" y="281464"/>
                    <a:pt x="6021229" y="276701"/>
                    <a:pt x="6020276" y="272891"/>
                  </a:cubicBezTo>
                  <a:cubicBezTo>
                    <a:pt x="6013609" y="254794"/>
                    <a:pt x="6008846" y="244316"/>
                    <a:pt x="6008846" y="244316"/>
                  </a:cubicBezTo>
                  <a:cubicBezTo>
                    <a:pt x="6008846" y="244316"/>
                    <a:pt x="6011704" y="254794"/>
                    <a:pt x="6016467" y="273844"/>
                  </a:cubicBezTo>
                  <a:cubicBezTo>
                    <a:pt x="6018371" y="279559"/>
                    <a:pt x="6020276" y="286226"/>
                    <a:pt x="6022181" y="293846"/>
                  </a:cubicBezTo>
                  <a:cubicBezTo>
                    <a:pt x="6021229" y="296704"/>
                    <a:pt x="6020276" y="299561"/>
                    <a:pt x="6019324" y="302419"/>
                  </a:cubicBezTo>
                  <a:cubicBezTo>
                    <a:pt x="6018371" y="305276"/>
                    <a:pt x="6017419" y="309086"/>
                    <a:pt x="6016467" y="311944"/>
                  </a:cubicBezTo>
                  <a:cubicBezTo>
                    <a:pt x="6014562" y="318611"/>
                    <a:pt x="6012656" y="326231"/>
                    <a:pt x="6010751" y="333851"/>
                  </a:cubicBezTo>
                  <a:cubicBezTo>
                    <a:pt x="6010751" y="333851"/>
                    <a:pt x="6010751" y="334804"/>
                    <a:pt x="6010751" y="334804"/>
                  </a:cubicBezTo>
                  <a:cubicBezTo>
                    <a:pt x="6007894" y="330041"/>
                    <a:pt x="6005989" y="325279"/>
                    <a:pt x="6003131" y="320516"/>
                  </a:cubicBezTo>
                  <a:cubicBezTo>
                    <a:pt x="6001226" y="316706"/>
                    <a:pt x="5999321" y="312896"/>
                    <a:pt x="5996464" y="308134"/>
                  </a:cubicBezTo>
                  <a:cubicBezTo>
                    <a:pt x="5997417" y="306229"/>
                    <a:pt x="5998369" y="304324"/>
                    <a:pt x="5999321" y="302419"/>
                  </a:cubicBezTo>
                  <a:cubicBezTo>
                    <a:pt x="6002179" y="294799"/>
                    <a:pt x="6005037" y="289084"/>
                    <a:pt x="6007894" y="283369"/>
                  </a:cubicBezTo>
                  <a:cubicBezTo>
                    <a:pt x="6012656" y="272891"/>
                    <a:pt x="6014562" y="267176"/>
                    <a:pt x="6014562" y="267176"/>
                  </a:cubicBezTo>
                  <a:cubicBezTo>
                    <a:pt x="6014562" y="267176"/>
                    <a:pt x="6010751" y="272891"/>
                    <a:pt x="6004084" y="281464"/>
                  </a:cubicBezTo>
                  <a:cubicBezTo>
                    <a:pt x="6001226" y="286226"/>
                    <a:pt x="5997417" y="291941"/>
                    <a:pt x="5993606" y="297656"/>
                  </a:cubicBezTo>
                  <a:cubicBezTo>
                    <a:pt x="5992654" y="289084"/>
                    <a:pt x="5990749" y="281464"/>
                    <a:pt x="5989796" y="273844"/>
                  </a:cubicBezTo>
                  <a:cubicBezTo>
                    <a:pt x="5990749" y="266224"/>
                    <a:pt x="5990749" y="258604"/>
                    <a:pt x="5991701" y="250984"/>
                  </a:cubicBezTo>
                  <a:cubicBezTo>
                    <a:pt x="5992654" y="235744"/>
                    <a:pt x="5995512" y="223361"/>
                    <a:pt x="5997417" y="212884"/>
                  </a:cubicBezTo>
                  <a:cubicBezTo>
                    <a:pt x="6001226" y="191929"/>
                    <a:pt x="6003131" y="179546"/>
                    <a:pt x="6003131" y="179546"/>
                  </a:cubicBezTo>
                  <a:cubicBezTo>
                    <a:pt x="6003131" y="179546"/>
                    <a:pt x="5999321" y="190976"/>
                    <a:pt x="5993606" y="211931"/>
                  </a:cubicBezTo>
                  <a:cubicBezTo>
                    <a:pt x="5990749" y="222409"/>
                    <a:pt x="5986939" y="233839"/>
                    <a:pt x="5985034" y="248126"/>
                  </a:cubicBezTo>
                  <a:cubicBezTo>
                    <a:pt x="5981224" y="233839"/>
                    <a:pt x="5978367" y="219551"/>
                    <a:pt x="5974556" y="206216"/>
                  </a:cubicBezTo>
                  <a:cubicBezTo>
                    <a:pt x="5974556" y="206216"/>
                    <a:pt x="5974556" y="206216"/>
                    <a:pt x="5974556" y="206216"/>
                  </a:cubicBezTo>
                  <a:cubicBezTo>
                    <a:pt x="5975509" y="195739"/>
                    <a:pt x="5976462" y="186214"/>
                    <a:pt x="5977414" y="178594"/>
                  </a:cubicBezTo>
                  <a:cubicBezTo>
                    <a:pt x="5978367" y="163354"/>
                    <a:pt x="5979319" y="153829"/>
                    <a:pt x="5979319" y="153829"/>
                  </a:cubicBezTo>
                  <a:cubicBezTo>
                    <a:pt x="5979319" y="153829"/>
                    <a:pt x="5977414" y="162401"/>
                    <a:pt x="5973604" y="177641"/>
                  </a:cubicBezTo>
                  <a:cubicBezTo>
                    <a:pt x="5972651" y="181451"/>
                    <a:pt x="5971699" y="186214"/>
                    <a:pt x="5969794" y="191929"/>
                  </a:cubicBezTo>
                  <a:cubicBezTo>
                    <a:pt x="5965984" y="180499"/>
                    <a:pt x="5963126" y="170021"/>
                    <a:pt x="5959317" y="160496"/>
                  </a:cubicBezTo>
                  <a:cubicBezTo>
                    <a:pt x="5954554" y="148114"/>
                    <a:pt x="5950744" y="137636"/>
                    <a:pt x="5946934" y="130016"/>
                  </a:cubicBezTo>
                  <a:cubicBezTo>
                    <a:pt x="5939314" y="112871"/>
                    <a:pt x="5934551" y="104299"/>
                    <a:pt x="5934551" y="104299"/>
                  </a:cubicBezTo>
                  <a:cubicBezTo>
                    <a:pt x="5934551" y="104299"/>
                    <a:pt x="5937409" y="113824"/>
                    <a:pt x="5943124" y="131921"/>
                  </a:cubicBezTo>
                  <a:cubicBezTo>
                    <a:pt x="5945981" y="140494"/>
                    <a:pt x="5948839" y="150971"/>
                    <a:pt x="5951696" y="163354"/>
                  </a:cubicBezTo>
                  <a:cubicBezTo>
                    <a:pt x="5955506" y="175736"/>
                    <a:pt x="5957412" y="189071"/>
                    <a:pt x="5961221" y="204311"/>
                  </a:cubicBezTo>
                  <a:cubicBezTo>
                    <a:pt x="5962174" y="208121"/>
                    <a:pt x="5963126" y="212884"/>
                    <a:pt x="5964079" y="216694"/>
                  </a:cubicBezTo>
                  <a:cubicBezTo>
                    <a:pt x="5964079" y="218599"/>
                    <a:pt x="5963126" y="220504"/>
                    <a:pt x="5962174" y="222409"/>
                  </a:cubicBezTo>
                  <a:cubicBezTo>
                    <a:pt x="5961221" y="226219"/>
                    <a:pt x="5959317" y="230981"/>
                    <a:pt x="5958364" y="235744"/>
                  </a:cubicBezTo>
                  <a:cubicBezTo>
                    <a:pt x="5957412" y="234791"/>
                    <a:pt x="5957412" y="233839"/>
                    <a:pt x="5956459" y="232886"/>
                  </a:cubicBezTo>
                  <a:cubicBezTo>
                    <a:pt x="5956459" y="231934"/>
                    <a:pt x="5956459" y="231934"/>
                    <a:pt x="5956459" y="231934"/>
                  </a:cubicBezTo>
                  <a:cubicBezTo>
                    <a:pt x="5956459" y="231934"/>
                    <a:pt x="5956459" y="231934"/>
                    <a:pt x="5956459" y="232886"/>
                  </a:cubicBezTo>
                  <a:cubicBezTo>
                    <a:pt x="5948839" y="219551"/>
                    <a:pt x="5943124" y="208121"/>
                    <a:pt x="5938362" y="199549"/>
                  </a:cubicBezTo>
                  <a:cubicBezTo>
                    <a:pt x="5931694" y="187166"/>
                    <a:pt x="5927884" y="180499"/>
                    <a:pt x="5927884" y="180499"/>
                  </a:cubicBezTo>
                  <a:cubicBezTo>
                    <a:pt x="5927884" y="180499"/>
                    <a:pt x="5937409" y="209074"/>
                    <a:pt x="5953601" y="250984"/>
                  </a:cubicBezTo>
                  <a:cubicBezTo>
                    <a:pt x="5953601" y="252889"/>
                    <a:pt x="5952649" y="253841"/>
                    <a:pt x="5952649" y="255746"/>
                  </a:cubicBezTo>
                  <a:cubicBezTo>
                    <a:pt x="5949792" y="264319"/>
                    <a:pt x="5947887" y="272891"/>
                    <a:pt x="5945029" y="282416"/>
                  </a:cubicBezTo>
                  <a:cubicBezTo>
                    <a:pt x="5945029" y="283369"/>
                    <a:pt x="5944076" y="284321"/>
                    <a:pt x="5944076" y="285274"/>
                  </a:cubicBezTo>
                  <a:cubicBezTo>
                    <a:pt x="5943124" y="280511"/>
                    <a:pt x="5941219" y="275749"/>
                    <a:pt x="5940267" y="271939"/>
                  </a:cubicBezTo>
                  <a:cubicBezTo>
                    <a:pt x="5936456" y="259556"/>
                    <a:pt x="5932646" y="247174"/>
                    <a:pt x="5928837" y="237649"/>
                  </a:cubicBezTo>
                  <a:cubicBezTo>
                    <a:pt x="5925979" y="230981"/>
                    <a:pt x="5924074" y="225266"/>
                    <a:pt x="5922169" y="220504"/>
                  </a:cubicBezTo>
                  <a:cubicBezTo>
                    <a:pt x="5923121" y="217646"/>
                    <a:pt x="5923121" y="216694"/>
                    <a:pt x="5923121" y="216694"/>
                  </a:cubicBezTo>
                  <a:cubicBezTo>
                    <a:pt x="5923121" y="216694"/>
                    <a:pt x="5922169" y="217646"/>
                    <a:pt x="5921217" y="219551"/>
                  </a:cubicBezTo>
                  <a:cubicBezTo>
                    <a:pt x="5920264" y="216694"/>
                    <a:pt x="5919312" y="213836"/>
                    <a:pt x="5917406" y="211931"/>
                  </a:cubicBezTo>
                  <a:cubicBezTo>
                    <a:pt x="5913596" y="204311"/>
                    <a:pt x="5910739" y="198596"/>
                    <a:pt x="5908834" y="194786"/>
                  </a:cubicBezTo>
                  <a:cubicBezTo>
                    <a:pt x="5908834" y="190976"/>
                    <a:pt x="5907881" y="187166"/>
                    <a:pt x="5907881" y="183356"/>
                  </a:cubicBezTo>
                  <a:cubicBezTo>
                    <a:pt x="5905976" y="168116"/>
                    <a:pt x="5905024" y="159544"/>
                    <a:pt x="5905024" y="159544"/>
                  </a:cubicBezTo>
                  <a:cubicBezTo>
                    <a:pt x="5905024" y="159544"/>
                    <a:pt x="5904071" y="168116"/>
                    <a:pt x="5904071" y="184309"/>
                  </a:cubicBezTo>
                  <a:cubicBezTo>
                    <a:pt x="5904071" y="191929"/>
                    <a:pt x="5903119" y="201454"/>
                    <a:pt x="5903119" y="211931"/>
                  </a:cubicBezTo>
                  <a:cubicBezTo>
                    <a:pt x="5903119" y="217646"/>
                    <a:pt x="5903119" y="223361"/>
                    <a:pt x="5902167" y="229076"/>
                  </a:cubicBezTo>
                  <a:cubicBezTo>
                    <a:pt x="5902167" y="234791"/>
                    <a:pt x="5902167" y="241459"/>
                    <a:pt x="5902167" y="248126"/>
                  </a:cubicBezTo>
                  <a:cubicBezTo>
                    <a:pt x="5902167" y="254794"/>
                    <a:pt x="5902167" y="262414"/>
                    <a:pt x="5903119" y="270034"/>
                  </a:cubicBezTo>
                  <a:cubicBezTo>
                    <a:pt x="5902167" y="274796"/>
                    <a:pt x="5901214" y="279559"/>
                    <a:pt x="5900262" y="285274"/>
                  </a:cubicBezTo>
                  <a:cubicBezTo>
                    <a:pt x="5900262" y="284321"/>
                    <a:pt x="5900262" y="283369"/>
                    <a:pt x="5899309" y="282416"/>
                  </a:cubicBezTo>
                  <a:cubicBezTo>
                    <a:pt x="5897404" y="274796"/>
                    <a:pt x="5896451" y="268129"/>
                    <a:pt x="5895499" y="263366"/>
                  </a:cubicBezTo>
                  <a:cubicBezTo>
                    <a:pt x="5893594" y="255746"/>
                    <a:pt x="5892642" y="250031"/>
                    <a:pt x="5891689" y="248126"/>
                  </a:cubicBezTo>
                  <a:cubicBezTo>
                    <a:pt x="5891689" y="246221"/>
                    <a:pt x="5891689" y="245269"/>
                    <a:pt x="5891689" y="245269"/>
                  </a:cubicBezTo>
                  <a:cubicBezTo>
                    <a:pt x="5891689" y="245269"/>
                    <a:pt x="5891689" y="246221"/>
                    <a:pt x="5890737" y="247174"/>
                  </a:cubicBezTo>
                  <a:cubicBezTo>
                    <a:pt x="5890737" y="247174"/>
                    <a:pt x="5890737" y="247174"/>
                    <a:pt x="5890737" y="247174"/>
                  </a:cubicBezTo>
                  <a:cubicBezTo>
                    <a:pt x="5890737" y="247174"/>
                    <a:pt x="5890737" y="247174"/>
                    <a:pt x="5890737" y="248126"/>
                  </a:cubicBezTo>
                  <a:cubicBezTo>
                    <a:pt x="5889784" y="251936"/>
                    <a:pt x="5885974" y="261461"/>
                    <a:pt x="5881212" y="275749"/>
                  </a:cubicBezTo>
                  <a:cubicBezTo>
                    <a:pt x="5880259" y="270986"/>
                    <a:pt x="5879306" y="266224"/>
                    <a:pt x="5878354" y="262414"/>
                  </a:cubicBezTo>
                  <a:cubicBezTo>
                    <a:pt x="5875496" y="248126"/>
                    <a:pt x="5874544" y="240506"/>
                    <a:pt x="5874544" y="240506"/>
                  </a:cubicBezTo>
                  <a:cubicBezTo>
                    <a:pt x="5874544" y="240506"/>
                    <a:pt x="5874544" y="248126"/>
                    <a:pt x="5874544" y="262414"/>
                  </a:cubicBezTo>
                  <a:cubicBezTo>
                    <a:pt x="5874544" y="270034"/>
                    <a:pt x="5875496" y="279559"/>
                    <a:pt x="5875496" y="290989"/>
                  </a:cubicBezTo>
                  <a:cubicBezTo>
                    <a:pt x="5874544" y="293846"/>
                    <a:pt x="5873592" y="295751"/>
                    <a:pt x="5873592" y="298609"/>
                  </a:cubicBezTo>
                  <a:cubicBezTo>
                    <a:pt x="5872639" y="290036"/>
                    <a:pt x="5872639" y="280511"/>
                    <a:pt x="5870734" y="271939"/>
                  </a:cubicBezTo>
                  <a:cubicBezTo>
                    <a:pt x="5869781" y="278606"/>
                    <a:pt x="5868829" y="286226"/>
                    <a:pt x="5867876" y="292894"/>
                  </a:cubicBezTo>
                  <a:cubicBezTo>
                    <a:pt x="5867876" y="285274"/>
                    <a:pt x="5867876" y="276701"/>
                    <a:pt x="5866924" y="269081"/>
                  </a:cubicBezTo>
                  <a:cubicBezTo>
                    <a:pt x="5866924" y="260509"/>
                    <a:pt x="5865971" y="251936"/>
                    <a:pt x="5865971" y="243364"/>
                  </a:cubicBezTo>
                  <a:cubicBezTo>
                    <a:pt x="5870734" y="231934"/>
                    <a:pt x="5873592" y="225266"/>
                    <a:pt x="5873592" y="225266"/>
                  </a:cubicBezTo>
                  <a:cubicBezTo>
                    <a:pt x="5873592" y="225266"/>
                    <a:pt x="5870734" y="230029"/>
                    <a:pt x="5865971" y="237649"/>
                  </a:cubicBezTo>
                  <a:cubicBezTo>
                    <a:pt x="5865971" y="234791"/>
                    <a:pt x="5865971" y="232886"/>
                    <a:pt x="5865971" y="230029"/>
                  </a:cubicBezTo>
                  <a:cubicBezTo>
                    <a:pt x="5865971" y="217646"/>
                    <a:pt x="5865019" y="205264"/>
                    <a:pt x="5865019" y="194786"/>
                  </a:cubicBezTo>
                  <a:cubicBezTo>
                    <a:pt x="5864067" y="172879"/>
                    <a:pt x="5863114" y="154781"/>
                    <a:pt x="5863114" y="141446"/>
                  </a:cubicBezTo>
                  <a:cubicBezTo>
                    <a:pt x="5862162" y="128111"/>
                    <a:pt x="5862162" y="121444"/>
                    <a:pt x="5862162" y="121444"/>
                  </a:cubicBezTo>
                  <a:cubicBezTo>
                    <a:pt x="5862162" y="121444"/>
                    <a:pt x="5861209" y="129064"/>
                    <a:pt x="5859304" y="141446"/>
                  </a:cubicBezTo>
                  <a:cubicBezTo>
                    <a:pt x="5858351" y="147161"/>
                    <a:pt x="5857399" y="153829"/>
                    <a:pt x="5856446" y="161449"/>
                  </a:cubicBezTo>
                  <a:cubicBezTo>
                    <a:pt x="5855494" y="145256"/>
                    <a:pt x="5854542" y="130969"/>
                    <a:pt x="5853589" y="120491"/>
                  </a:cubicBezTo>
                  <a:cubicBezTo>
                    <a:pt x="5852637" y="106204"/>
                    <a:pt x="5851684" y="98584"/>
                    <a:pt x="5851684" y="98584"/>
                  </a:cubicBezTo>
                  <a:cubicBezTo>
                    <a:pt x="5851684" y="98584"/>
                    <a:pt x="5850731" y="106204"/>
                    <a:pt x="5849779" y="120491"/>
                  </a:cubicBezTo>
                  <a:cubicBezTo>
                    <a:pt x="5848826" y="127159"/>
                    <a:pt x="5848826" y="135731"/>
                    <a:pt x="5847874" y="146209"/>
                  </a:cubicBezTo>
                  <a:cubicBezTo>
                    <a:pt x="5846921" y="155734"/>
                    <a:pt x="5846921" y="167164"/>
                    <a:pt x="5846921" y="179546"/>
                  </a:cubicBezTo>
                  <a:cubicBezTo>
                    <a:pt x="5845969" y="203359"/>
                    <a:pt x="5845969" y="231934"/>
                    <a:pt x="5846921" y="262414"/>
                  </a:cubicBezTo>
                  <a:cubicBezTo>
                    <a:pt x="5846921" y="264319"/>
                    <a:pt x="5846921" y="267176"/>
                    <a:pt x="5846921" y="269081"/>
                  </a:cubicBezTo>
                  <a:cubicBezTo>
                    <a:pt x="5845969" y="270986"/>
                    <a:pt x="5844064" y="272891"/>
                    <a:pt x="5843112" y="274796"/>
                  </a:cubicBezTo>
                  <a:cubicBezTo>
                    <a:pt x="5842159" y="270034"/>
                    <a:pt x="5841206" y="265271"/>
                    <a:pt x="5840254" y="261461"/>
                  </a:cubicBezTo>
                  <a:cubicBezTo>
                    <a:pt x="5840254" y="254794"/>
                    <a:pt x="5840254" y="248126"/>
                    <a:pt x="5841206" y="242411"/>
                  </a:cubicBezTo>
                  <a:cubicBezTo>
                    <a:pt x="5841206" y="230029"/>
                    <a:pt x="5841206" y="223361"/>
                    <a:pt x="5841206" y="223361"/>
                  </a:cubicBezTo>
                  <a:cubicBezTo>
                    <a:pt x="5841206" y="223361"/>
                    <a:pt x="5839301" y="230029"/>
                    <a:pt x="5837396" y="242411"/>
                  </a:cubicBezTo>
                  <a:cubicBezTo>
                    <a:pt x="5837396" y="243364"/>
                    <a:pt x="5837396" y="244316"/>
                    <a:pt x="5836444" y="245269"/>
                  </a:cubicBezTo>
                  <a:cubicBezTo>
                    <a:pt x="5833587" y="233839"/>
                    <a:pt x="5831681" y="224314"/>
                    <a:pt x="5829776" y="215741"/>
                  </a:cubicBezTo>
                  <a:cubicBezTo>
                    <a:pt x="5825967" y="198596"/>
                    <a:pt x="5824062" y="189071"/>
                    <a:pt x="5824062" y="189071"/>
                  </a:cubicBezTo>
                  <a:cubicBezTo>
                    <a:pt x="5824062" y="189071"/>
                    <a:pt x="5825014" y="198596"/>
                    <a:pt x="5825967" y="215741"/>
                  </a:cubicBezTo>
                  <a:cubicBezTo>
                    <a:pt x="5826919" y="224314"/>
                    <a:pt x="5827871" y="234791"/>
                    <a:pt x="5828824" y="246221"/>
                  </a:cubicBezTo>
                  <a:cubicBezTo>
                    <a:pt x="5829776" y="252889"/>
                    <a:pt x="5830729" y="260509"/>
                    <a:pt x="5831681" y="268129"/>
                  </a:cubicBezTo>
                  <a:cubicBezTo>
                    <a:pt x="5830729" y="270034"/>
                    <a:pt x="5828824" y="272891"/>
                    <a:pt x="5826919" y="276701"/>
                  </a:cubicBezTo>
                  <a:cubicBezTo>
                    <a:pt x="5826919" y="274796"/>
                    <a:pt x="5825967" y="272891"/>
                    <a:pt x="5825967" y="270986"/>
                  </a:cubicBezTo>
                  <a:cubicBezTo>
                    <a:pt x="5825014" y="263366"/>
                    <a:pt x="5823109" y="255746"/>
                    <a:pt x="5822156" y="250031"/>
                  </a:cubicBezTo>
                  <a:cubicBezTo>
                    <a:pt x="5820251" y="238601"/>
                    <a:pt x="5818346" y="231934"/>
                    <a:pt x="5818346" y="231934"/>
                  </a:cubicBezTo>
                  <a:cubicBezTo>
                    <a:pt x="5818346" y="231934"/>
                    <a:pt x="5818346" y="238601"/>
                    <a:pt x="5818346" y="250031"/>
                  </a:cubicBezTo>
                  <a:cubicBezTo>
                    <a:pt x="5818346" y="255746"/>
                    <a:pt x="5818346" y="262414"/>
                    <a:pt x="5818346" y="270986"/>
                  </a:cubicBezTo>
                  <a:cubicBezTo>
                    <a:pt x="5816442" y="267176"/>
                    <a:pt x="5814537" y="264319"/>
                    <a:pt x="5812631" y="262414"/>
                  </a:cubicBezTo>
                  <a:lnTo>
                    <a:pt x="5812631" y="246221"/>
                  </a:lnTo>
                  <a:lnTo>
                    <a:pt x="5814537" y="220504"/>
                  </a:lnTo>
                  <a:cubicBezTo>
                    <a:pt x="5815489" y="220504"/>
                    <a:pt x="5815489" y="220504"/>
                    <a:pt x="5816442" y="221456"/>
                  </a:cubicBezTo>
                  <a:cubicBezTo>
                    <a:pt x="5817394" y="222409"/>
                    <a:pt x="5818346" y="222409"/>
                    <a:pt x="5819299" y="224314"/>
                  </a:cubicBezTo>
                  <a:cubicBezTo>
                    <a:pt x="5821204" y="226219"/>
                    <a:pt x="5821204" y="229076"/>
                    <a:pt x="5822156" y="231934"/>
                  </a:cubicBezTo>
                  <a:cubicBezTo>
                    <a:pt x="5822156" y="229076"/>
                    <a:pt x="5822156" y="226219"/>
                    <a:pt x="5821204" y="223361"/>
                  </a:cubicBezTo>
                  <a:cubicBezTo>
                    <a:pt x="5820251" y="222409"/>
                    <a:pt x="5819299" y="220504"/>
                    <a:pt x="5818346" y="219551"/>
                  </a:cubicBezTo>
                  <a:cubicBezTo>
                    <a:pt x="5817394" y="218599"/>
                    <a:pt x="5815489" y="217646"/>
                    <a:pt x="5813584" y="217646"/>
                  </a:cubicBezTo>
                  <a:lnTo>
                    <a:pt x="5811679" y="217646"/>
                  </a:lnTo>
                  <a:lnTo>
                    <a:pt x="5811679" y="219551"/>
                  </a:lnTo>
                  <a:cubicBezTo>
                    <a:pt x="5809774" y="228124"/>
                    <a:pt x="5806917" y="237649"/>
                    <a:pt x="5805012" y="246221"/>
                  </a:cubicBezTo>
                  <a:cubicBezTo>
                    <a:pt x="5804059" y="250031"/>
                    <a:pt x="5804059" y="252889"/>
                    <a:pt x="5803106" y="256699"/>
                  </a:cubicBezTo>
                  <a:cubicBezTo>
                    <a:pt x="5801201" y="258604"/>
                    <a:pt x="5799296" y="261461"/>
                    <a:pt x="5796439" y="264319"/>
                  </a:cubicBezTo>
                  <a:cubicBezTo>
                    <a:pt x="5796439" y="259556"/>
                    <a:pt x="5795487" y="256699"/>
                    <a:pt x="5795487" y="253841"/>
                  </a:cubicBezTo>
                  <a:cubicBezTo>
                    <a:pt x="5794534" y="250031"/>
                    <a:pt x="5794534" y="248126"/>
                    <a:pt x="5794534" y="248126"/>
                  </a:cubicBezTo>
                  <a:cubicBezTo>
                    <a:pt x="5794534" y="248126"/>
                    <a:pt x="5794534" y="250031"/>
                    <a:pt x="5794534" y="253841"/>
                  </a:cubicBezTo>
                  <a:cubicBezTo>
                    <a:pt x="5794534" y="257651"/>
                    <a:pt x="5794534" y="262414"/>
                    <a:pt x="5793581" y="268129"/>
                  </a:cubicBezTo>
                  <a:cubicBezTo>
                    <a:pt x="5792629" y="269081"/>
                    <a:pt x="5792629" y="269081"/>
                    <a:pt x="5791676" y="270034"/>
                  </a:cubicBezTo>
                  <a:cubicBezTo>
                    <a:pt x="5791676" y="270034"/>
                    <a:pt x="5791676" y="270034"/>
                    <a:pt x="5791676" y="270034"/>
                  </a:cubicBezTo>
                  <a:lnTo>
                    <a:pt x="5787867" y="239554"/>
                  </a:lnTo>
                  <a:cubicBezTo>
                    <a:pt x="5791676" y="229076"/>
                    <a:pt x="5793581" y="224314"/>
                    <a:pt x="5793581" y="224314"/>
                  </a:cubicBezTo>
                  <a:cubicBezTo>
                    <a:pt x="5793581" y="224314"/>
                    <a:pt x="5791676" y="228124"/>
                    <a:pt x="5786914" y="234791"/>
                  </a:cubicBezTo>
                  <a:lnTo>
                    <a:pt x="5785009" y="205264"/>
                  </a:lnTo>
                  <a:cubicBezTo>
                    <a:pt x="5788819" y="197644"/>
                    <a:pt x="5791676" y="190024"/>
                    <a:pt x="5795487" y="183356"/>
                  </a:cubicBezTo>
                  <a:cubicBezTo>
                    <a:pt x="5795487" y="183356"/>
                    <a:pt x="5795487" y="184309"/>
                    <a:pt x="5795487" y="184309"/>
                  </a:cubicBezTo>
                  <a:cubicBezTo>
                    <a:pt x="5795487" y="184309"/>
                    <a:pt x="5795487" y="183356"/>
                    <a:pt x="5795487" y="183356"/>
                  </a:cubicBezTo>
                  <a:cubicBezTo>
                    <a:pt x="5796439" y="181451"/>
                    <a:pt x="5797392" y="179546"/>
                    <a:pt x="5797392" y="178594"/>
                  </a:cubicBezTo>
                  <a:cubicBezTo>
                    <a:pt x="5803106" y="165259"/>
                    <a:pt x="5808821" y="153829"/>
                    <a:pt x="5812631" y="145256"/>
                  </a:cubicBezTo>
                  <a:cubicBezTo>
                    <a:pt x="5821204" y="126206"/>
                    <a:pt x="5825967" y="115729"/>
                    <a:pt x="5825967" y="115729"/>
                  </a:cubicBezTo>
                  <a:cubicBezTo>
                    <a:pt x="5825967" y="115729"/>
                    <a:pt x="5820251" y="125254"/>
                    <a:pt x="5809774" y="143351"/>
                  </a:cubicBezTo>
                  <a:cubicBezTo>
                    <a:pt x="5805012" y="151924"/>
                    <a:pt x="5798344" y="162401"/>
                    <a:pt x="5791676" y="173831"/>
                  </a:cubicBezTo>
                  <a:cubicBezTo>
                    <a:pt x="5790724" y="172879"/>
                    <a:pt x="5789771" y="171926"/>
                    <a:pt x="5788819" y="170974"/>
                  </a:cubicBezTo>
                  <a:cubicBezTo>
                    <a:pt x="5786914" y="170021"/>
                    <a:pt x="5785009" y="169069"/>
                    <a:pt x="5783104" y="169069"/>
                  </a:cubicBezTo>
                  <a:lnTo>
                    <a:pt x="5781199" y="169069"/>
                  </a:lnTo>
                  <a:lnTo>
                    <a:pt x="5781199" y="170974"/>
                  </a:lnTo>
                  <a:lnTo>
                    <a:pt x="5777389" y="197644"/>
                  </a:lnTo>
                  <a:cubicBezTo>
                    <a:pt x="5774531" y="204311"/>
                    <a:pt x="5770721" y="210026"/>
                    <a:pt x="5766912" y="217646"/>
                  </a:cubicBezTo>
                  <a:cubicBezTo>
                    <a:pt x="5762149" y="226219"/>
                    <a:pt x="5757387" y="234791"/>
                    <a:pt x="5752624" y="244316"/>
                  </a:cubicBezTo>
                  <a:cubicBezTo>
                    <a:pt x="5752624" y="240506"/>
                    <a:pt x="5751671" y="236696"/>
                    <a:pt x="5751671" y="233839"/>
                  </a:cubicBezTo>
                  <a:cubicBezTo>
                    <a:pt x="5750719" y="228124"/>
                    <a:pt x="5749767" y="222409"/>
                    <a:pt x="5749767" y="216694"/>
                  </a:cubicBezTo>
                  <a:cubicBezTo>
                    <a:pt x="5754529" y="199549"/>
                    <a:pt x="5757387" y="190024"/>
                    <a:pt x="5757387" y="190024"/>
                  </a:cubicBezTo>
                  <a:cubicBezTo>
                    <a:pt x="5757387" y="190024"/>
                    <a:pt x="5754529" y="197644"/>
                    <a:pt x="5749767" y="210979"/>
                  </a:cubicBezTo>
                  <a:cubicBezTo>
                    <a:pt x="5749767" y="209074"/>
                    <a:pt x="5748814" y="206216"/>
                    <a:pt x="5748814" y="204311"/>
                  </a:cubicBezTo>
                  <a:cubicBezTo>
                    <a:pt x="5746909" y="188119"/>
                    <a:pt x="5745004" y="178594"/>
                    <a:pt x="5745004" y="178594"/>
                  </a:cubicBezTo>
                  <a:cubicBezTo>
                    <a:pt x="5745004" y="178594"/>
                    <a:pt x="5745004" y="188119"/>
                    <a:pt x="5745004" y="204311"/>
                  </a:cubicBezTo>
                  <a:cubicBezTo>
                    <a:pt x="5745004" y="210026"/>
                    <a:pt x="5745004" y="215741"/>
                    <a:pt x="5745004" y="222409"/>
                  </a:cubicBezTo>
                  <a:cubicBezTo>
                    <a:pt x="5745004" y="223361"/>
                    <a:pt x="5744051" y="224314"/>
                    <a:pt x="5744051" y="225266"/>
                  </a:cubicBezTo>
                  <a:cubicBezTo>
                    <a:pt x="5740242" y="234791"/>
                    <a:pt x="5736431" y="247174"/>
                    <a:pt x="5731669" y="259556"/>
                  </a:cubicBezTo>
                  <a:cubicBezTo>
                    <a:pt x="5731669" y="259556"/>
                    <a:pt x="5731669" y="258604"/>
                    <a:pt x="5731669" y="258604"/>
                  </a:cubicBezTo>
                  <a:cubicBezTo>
                    <a:pt x="5733574" y="245269"/>
                    <a:pt x="5734526" y="238601"/>
                    <a:pt x="5734526" y="238601"/>
                  </a:cubicBezTo>
                  <a:cubicBezTo>
                    <a:pt x="5734526" y="238601"/>
                    <a:pt x="5732621" y="246221"/>
                    <a:pt x="5727859" y="258604"/>
                  </a:cubicBezTo>
                  <a:cubicBezTo>
                    <a:pt x="5726906" y="260509"/>
                    <a:pt x="5726906" y="262414"/>
                    <a:pt x="5725954" y="264319"/>
                  </a:cubicBezTo>
                  <a:cubicBezTo>
                    <a:pt x="5725954" y="264319"/>
                    <a:pt x="5725954" y="263366"/>
                    <a:pt x="5725954" y="263366"/>
                  </a:cubicBezTo>
                  <a:cubicBezTo>
                    <a:pt x="5725954" y="263366"/>
                    <a:pt x="5725954" y="262414"/>
                    <a:pt x="5725954" y="262414"/>
                  </a:cubicBezTo>
                  <a:cubicBezTo>
                    <a:pt x="5725954" y="260509"/>
                    <a:pt x="5726906" y="258604"/>
                    <a:pt x="5726906" y="256699"/>
                  </a:cubicBezTo>
                  <a:cubicBezTo>
                    <a:pt x="5727859" y="251936"/>
                    <a:pt x="5728812" y="247174"/>
                    <a:pt x="5729764" y="242411"/>
                  </a:cubicBezTo>
                  <a:cubicBezTo>
                    <a:pt x="5730717" y="237649"/>
                    <a:pt x="5731669" y="233839"/>
                    <a:pt x="5732621" y="230029"/>
                  </a:cubicBezTo>
                  <a:cubicBezTo>
                    <a:pt x="5734526" y="222409"/>
                    <a:pt x="5736431" y="215741"/>
                    <a:pt x="5737384" y="210026"/>
                  </a:cubicBezTo>
                  <a:cubicBezTo>
                    <a:pt x="5740242" y="198596"/>
                    <a:pt x="5741194" y="191929"/>
                    <a:pt x="5741194" y="191929"/>
                  </a:cubicBezTo>
                  <a:cubicBezTo>
                    <a:pt x="5741194" y="191929"/>
                    <a:pt x="5740242" y="193834"/>
                    <a:pt x="5739289" y="196691"/>
                  </a:cubicBezTo>
                  <a:cubicBezTo>
                    <a:pt x="5740242" y="192881"/>
                    <a:pt x="5740242" y="190024"/>
                    <a:pt x="5740242" y="190024"/>
                  </a:cubicBezTo>
                  <a:cubicBezTo>
                    <a:pt x="5740242" y="190024"/>
                    <a:pt x="5737384" y="197644"/>
                    <a:pt x="5731669" y="211931"/>
                  </a:cubicBezTo>
                  <a:cubicBezTo>
                    <a:pt x="5730717" y="215741"/>
                    <a:pt x="5728812" y="219551"/>
                    <a:pt x="5726906" y="224314"/>
                  </a:cubicBezTo>
                  <a:cubicBezTo>
                    <a:pt x="5725954" y="225266"/>
                    <a:pt x="5725954" y="227171"/>
                    <a:pt x="5725001" y="228124"/>
                  </a:cubicBezTo>
                  <a:cubicBezTo>
                    <a:pt x="5723096" y="231934"/>
                    <a:pt x="5722144" y="235744"/>
                    <a:pt x="5720239" y="240506"/>
                  </a:cubicBezTo>
                  <a:cubicBezTo>
                    <a:pt x="5719287" y="243364"/>
                    <a:pt x="5718334" y="246221"/>
                    <a:pt x="5717381" y="250031"/>
                  </a:cubicBezTo>
                  <a:cubicBezTo>
                    <a:pt x="5716429" y="251936"/>
                    <a:pt x="5716429" y="252889"/>
                    <a:pt x="5715476" y="254794"/>
                  </a:cubicBezTo>
                  <a:cubicBezTo>
                    <a:pt x="5713571" y="260509"/>
                    <a:pt x="5711667" y="266224"/>
                    <a:pt x="5709762" y="272891"/>
                  </a:cubicBezTo>
                  <a:cubicBezTo>
                    <a:pt x="5707856" y="278606"/>
                    <a:pt x="5705951" y="284321"/>
                    <a:pt x="5704046" y="290989"/>
                  </a:cubicBezTo>
                  <a:cubicBezTo>
                    <a:pt x="5701189" y="285274"/>
                    <a:pt x="5699284" y="280511"/>
                    <a:pt x="5696426" y="275749"/>
                  </a:cubicBezTo>
                  <a:cubicBezTo>
                    <a:pt x="5695474" y="271939"/>
                    <a:pt x="5695474" y="269081"/>
                    <a:pt x="5695474" y="269081"/>
                  </a:cubicBezTo>
                  <a:cubicBezTo>
                    <a:pt x="5695474" y="269081"/>
                    <a:pt x="5695474" y="270034"/>
                    <a:pt x="5695474" y="272891"/>
                  </a:cubicBezTo>
                  <a:cubicBezTo>
                    <a:pt x="5692617" y="268129"/>
                    <a:pt x="5690712" y="263366"/>
                    <a:pt x="5688806" y="259556"/>
                  </a:cubicBezTo>
                  <a:cubicBezTo>
                    <a:pt x="5683092" y="249079"/>
                    <a:pt x="5680234" y="243364"/>
                    <a:pt x="5680234" y="243364"/>
                  </a:cubicBezTo>
                  <a:cubicBezTo>
                    <a:pt x="5680234" y="243364"/>
                    <a:pt x="5682139" y="250031"/>
                    <a:pt x="5684996" y="260509"/>
                  </a:cubicBezTo>
                  <a:cubicBezTo>
                    <a:pt x="5687854" y="269081"/>
                    <a:pt x="5690712" y="279559"/>
                    <a:pt x="5694521" y="292894"/>
                  </a:cubicBezTo>
                  <a:cubicBezTo>
                    <a:pt x="5694521" y="297656"/>
                    <a:pt x="5694521" y="302419"/>
                    <a:pt x="5694521" y="309086"/>
                  </a:cubicBezTo>
                  <a:cubicBezTo>
                    <a:pt x="5694521" y="313849"/>
                    <a:pt x="5694521" y="318611"/>
                    <a:pt x="5694521" y="323374"/>
                  </a:cubicBezTo>
                  <a:cubicBezTo>
                    <a:pt x="5693569" y="326231"/>
                    <a:pt x="5692617" y="329089"/>
                    <a:pt x="5691664" y="331946"/>
                  </a:cubicBezTo>
                  <a:cubicBezTo>
                    <a:pt x="5690712" y="330994"/>
                    <a:pt x="5690712" y="330041"/>
                    <a:pt x="5689759" y="329089"/>
                  </a:cubicBezTo>
                  <a:lnTo>
                    <a:pt x="5689759" y="320516"/>
                  </a:lnTo>
                  <a:cubicBezTo>
                    <a:pt x="5688806" y="309086"/>
                    <a:pt x="5688806" y="297656"/>
                    <a:pt x="5687854" y="286226"/>
                  </a:cubicBezTo>
                  <a:cubicBezTo>
                    <a:pt x="5686901" y="297656"/>
                    <a:pt x="5685949" y="308134"/>
                    <a:pt x="5684996" y="319564"/>
                  </a:cubicBezTo>
                  <a:cubicBezTo>
                    <a:pt x="5684044" y="317659"/>
                    <a:pt x="5683092" y="315754"/>
                    <a:pt x="5681187" y="312896"/>
                  </a:cubicBezTo>
                  <a:cubicBezTo>
                    <a:pt x="5679281" y="299561"/>
                    <a:pt x="5677376" y="286226"/>
                    <a:pt x="5675471" y="273844"/>
                  </a:cubicBezTo>
                  <a:cubicBezTo>
                    <a:pt x="5674519" y="267176"/>
                    <a:pt x="5673567" y="260509"/>
                    <a:pt x="5672614" y="253841"/>
                  </a:cubicBezTo>
                  <a:cubicBezTo>
                    <a:pt x="5671662" y="247174"/>
                    <a:pt x="5671662" y="241459"/>
                    <a:pt x="5670709" y="235744"/>
                  </a:cubicBezTo>
                  <a:cubicBezTo>
                    <a:pt x="5669756" y="224314"/>
                    <a:pt x="5668804" y="214789"/>
                    <a:pt x="5667851" y="207169"/>
                  </a:cubicBezTo>
                  <a:cubicBezTo>
                    <a:pt x="5666899" y="198596"/>
                    <a:pt x="5665946" y="192881"/>
                    <a:pt x="5665946" y="188119"/>
                  </a:cubicBezTo>
                  <a:cubicBezTo>
                    <a:pt x="5666899" y="185261"/>
                    <a:pt x="5666899" y="183356"/>
                    <a:pt x="5666899" y="183356"/>
                  </a:cubicBezTo>
                  <a:cubicBezTo>
                    <a:pt x="5666899" y="183356"/>
                    <a:pt x="5665946" y="184309"/>
                    <a:pt x="5665946" y="186214"/>
                  </a:cubicBezTo>
                  <a:cubicBezTo>
                    <a:pt x="5665946" y="183356"/>
                    <a:pt x="5664994" y="181451"/>
                    <a:pt x="5664994" y="181451"/>
                  </a:cubicBezTo>
                  <a:cubicBezTo>
                    <a:pt x="5664994" y="181451"/>
                    <a:pt x="5664994" y="184309"/>
                    <a:pt x="5664994" y="188119"/>
                  </a:cubicBezTo>
                  <a:cubicBezTo>
                    <a:pt x="5663089" y="192881"/>
                    <a:pt x="5659279" y="201454"/>
                    <a:pt x="5654517" y="211931"/>
                  </a:cubicBezTo>
                  <a:cubicBezTo>
                    <a:pt x="5654517" y="210026"/>
                    <a:pt x="5654517" y="207169"/>
                    <a:pt x="5653564" y="205264"/>
                  </a:cubicBezTo>
                  <a:cubicBezTo>
                    <a:pt x="5652612" y="199549"/>
                    <a:pt x="5652612" y="193834"/>
                    <a:pt x="5652612" y="189071"/>
                  </a:cubicBezTo>
                  <a:cubicBezTo>
                    <a:pt x="5655469" y="183356"/>
                    <a:pt x="5657374" y="179546"/>
                    <a:pt x="5657374" y="179546"/>
                  </a:cubicBezTo>
                  <a:cubicBezTo>
                    <a:pt x="5657374" y="179546"/>
                    <a:pt x="5655469" y="182404"/>
                    <a:pt x="5652612" y="187166"/>
                  </a:cubicBezTo>
                  <a:cubicBezTo>
                    <a:pt x="5652612" y="186214"/>
                    <a:pt x="5652612" y="186214"/>
                    <a:pt x="5652612" y="185261"/>
                  </a:cubicBezTo>
                  <a:cubicBezTo>
                    <a:pt x="5651659" y="173831"/>
                    <a:pt x="5651659" y="167164"/>
                    <a:pt x="5651659" y="167164"/>
                  </a:cubicBezTo>
                  <a:cubicBezTo>
                    <a:pt x="5651659" y="167164"/>
                    <a:pt x="5650706" y="171926"/>
                    <a:pt x="5649754" y="179546"/>
                  </a:cubicBezTo>
                  <a:cubicBezTo>
                    <a:pt x="5649754" y="179546"/>
                    <a:pt x="5649754" y="178594"/>
                    <a:pt x="5649754" y="178594"/>
                  </a:cubicBezTo>
                  <a:cubicBezTo>
                    <a:pt x="5648801" y="171926"/>
                    <a:pt x="5648801" y="166211"/>
                    <a:pt x="5647849" y="159544"/>
                  </a:cubicBezTo>
                  <a:cubicBezTo>
                    <a:pt x="5647849" y="153829"/>
                    <a:pt x="5646896" y="148114"/>
                    <a:pt x="5646896" y="142399"/>
                  </a:cubicBezTo>
                  <a:cubicBezTo>
                    <a:pt x="5645944" y="131921"/>
                    <a:pt x="5644992" y="122396"/>
                    <a:pt x="5645944" y="114776"/>
                  </a:cubicBezTo>
                  <a:cubicBezTo>
                    <a:pt x="5645944" y="99536"/>
                    <a:pt x="5644992" y="90011"/>
                    <a:pt x="5644992" y="90011"/>
                  </a:cubicBezTo>
                  <a:cubicBezTo>
                    <a:pt x="5644992" y="90011"/>
                    <a:pt x="5644039" y="98584"/>
                    <a:pt x="5641181" y="113824"/>
                  </a:cubicBezTo>
                  <a:cubicBezTo>
                    <a:pt x="5640229" y="121444"/>
                    <a:pt x="5639276" y="130969"/>
                    <a:pt x="5639276" y="141446"/>
                  </a:cubicBezTo>
                  <a:cubicBezTo>
                    <a:pt x="5639276" y="147161"/>
                    <a:pt x="5638324" y="152876"/>
                    <a:pt x="5638324" y="158591"/>
                  </a:cubicBezTo>
                  <a:cubicBezTo>
                    <a:pt x="5638324" y="164306"/>
                    <a:pt x="5638324" y="170974"/>
                    <a:pt x="5638324" y="177641"/>
                  </a:cubicBezTo>
                  <a:cubicBezTo>
                    <a:pt x="5638324" y="186214"/>
                    <a:pt x="5638324" y="195739"/>
                    <a:pt x="5639276" y="205264"/>
                  </a:cubicBezTo>
                  <a:cubicBezTo>
                    <a:pt x="5638324" y="206216"/>
                    <a:pt x="5638324" y="207169"/>
                    <a:pt x="5637371" y="208121"/>
                  </a:cubicBezTo>
                  <a:cubicBezTo>
                    <a:pt x="5637371" y="208121"/>
                    <a:pt x="5636419" y="209074"/>
                    <a:pt x="5636419" y="209074"/>
                  </a:cubicBezTo>
                  <a:cubicBezTo>
                    <a:pt x="5636419" y="208121"/>
                    <a:pt x="5636419" y="208121"/>
                    <a:pt x="5636419" y="208121"/>
                  </a:cubicBezTo>
                  <a:cubicBezTo>
                    <a:pt x="5636419" y="208121"/>
                    <a:pt x="5636419" y="208121"/>
                    <a:pt x="5636419" y="209074"/>
                  </a:cubicBezTo>
                  <a:cubicBezTo>
                    <a:pt x="5635467" y="210979"/>
                    <a:pt x="5633562" y="212884"/>
                    <a:pt x="5631656" y="215741"/>
                  </a:cubicBezTo>
                  <a:cubicBezTo>
                    <a:pt x="5628799" y="201454"/>
                    <a:pt x="5626894" y="192881"/>
                    <a:pt x="5626894" y="192881"/>
                  </a:cubicBezTo>
                  <a:cubicBezTo>
                    <a:pt x="5626894" y="192881"/>
                    <a:pt x="5626894" y="204311"/>
                    <a:pt x="5626894" y="222409"/>
                  </a:cubicBezTo>
                  <a:cubicBezTo>
                    <a:pt x="5626894" y="222409"/>
                    <a:pt x="5626894" y="222409"/>
                    <a:pt x="5626894" y="223361"/>
                  </a:cubicBezTo>
                  <a:cubicBezTo>
                    <a:pt x="5624037" y="219551"/>
                    <a:pt x="5621179" y="215741"/>
                    <a:pt x="5618321" y="211931"/>
                  </a:cubicBezTo>
                  <a:cubicBezTo>
                    <a:pt x="5608796" y="199549"/>
                    <a:pt x="5601176" y="189071"/>
                    <a:pt x="5593556" y="181451"/>
                  </a:cubicBezTo>
                  <a:cubicBezTo>
                    <a:pt x="5579269" y="165259"/>
                    <a:pt x="5570696" y="155734"/>
                    <a:pt x="5570696" y="155734"/>
                  </a:cubicBezTo>
                  <a:cubicBezTo>
                    <a:pt x="5570696" y="155734"/>
                    <a:pt x="5577364" y="166211"/>
                    <a:pt x="5590699" y="184309"/>
                  </a:cubicBezTo>
                  <a:cubicBezTo>
                    <a:pt x="5597367" y="192881"/>
                    <a:pt x="5604034" y="204311"/>
                    <a:pt x="5612606" y="217646"/>
                  </a:cubicBezTo>
                  <a:cubicBezTo>
                    <a:pt x="5613559" y="219551"/>
                    <a:pt x="5614512" y="221456"/>
                    <a:pt x="5616417" y="223361"/>
                  </a:cubicBezTo>
                  <a:cubicBezTo>
                    <a:pt x="5617369" y="226219"/>
                    <a:pt x="5618321" y="230029"/>
                    <a:pt x="5620226" y="233839"/>
                  </a:cubicBezTo>
                  <a:cubicBezTo>
                    <a:pt x="5620226" y="233839"/>
                    <a:pt x="5620226" y="233839"/>
                    <a:pt x="5620226" y="234791"/>
                  </a:cubicBezTo>
                  <a:cubicBezTo>
                    <a:pt x="5619274" y="236696"/>
                    <a:pt x="5618321" y="238601"/>
                    <a:pt x="5616417" y="241459"/>
                  </a:cubicBezTo>
                  <a:cubicBezTo>
                    <a:pt x="5616417" y="241459"/>
                    <a:pt x="5616417" y="240506"/>
                    <a:pt x="5616417" y="240506"/>
                  </a:cubicBezTo>
                  <a:cubicBezTo>
                    <a:pt x="5616417" y="240506"/>
                    <a:pt x="5616417" y="240506"/>
                    <a:pt x="5616417" y="241459"/>
                  </a:cubicBezTo>
                  <a:cubicBezTo>
                    <a:pt x="5615464" y="242411"/>
                    <a:pt x="5614512" y="244316"/>
                    <a:pt x="5614512" y="245269"/>
                  </a:cubicBezTo>
                  <a:cubicBezTo>
                    <a:pt x="5608796" y="255746"/>
                    <a:pt x="5602129" y="267176"/>
                    <a:pt x="5594509" y="280511"/>
                  </a:cubicBezTo>
                  <a:cubicBezTo>
                    <a:pt x="5594509" y="278606"/>
                    <a:pt x="5594509" y="277654"/>
                    <a:pt x="5594509" y="275749"/>
                  </a:cubicBezTo>
                  <a:cubicBezTo>
                    <a:pt x="5594509" y="272891"/>
                    <a:pt x="5594509" y="270986"/>
                    <a:pt x="5594509" y="268129"/>
                  </a:cubicBezTo>
                  <a:cubicBezTo>
                    <a:pt x="5595462" y="260509"/>
                    <a:pt x="5596414" y="256699"/>
                    <a:pt x="5596414" y="256699"/>
                  </a:cubicBezTo>
                  <a:cubicBezTo>
                    <a:pt x="5596414" y="256699"/>
                    <a:pt x="5595462" y="258604"/>
                    <a:pt x="5594509" y="263366"/>
                  </a:cubicBezTo>
                  <a:cubicBezTo>
                    <a:pt x="5594509" y="263366"/>
                    <a:pt x="5594509" y="262414"/>
                    <a:pt x="5594509" y="262414"/>
                  </a:cubicBezTo>
                  <a:cubicBezTo>
                    <a:pt x="5593556" y="257651"/>
                    <a:pt x="5593556" y="253841"/>
                    <a:pt x="5592604" y="250031"/>
                  </a:cubicBezTo>
                  <a:cubicBezTo>
                    <a:pt x="5591651" y="243364"/>
                    <a:pt x="5590699" y="238601"/>
                    <a:pt x="5590699" y="232886"/>
                  </a:cubicBezTo>
                  <a:cubicBezTo>
                    <a:pt x="5594509" y="223361"/>
                    <a:pt x="5596414" y="217646"/>
                    <a:pt x="5596414" y="217646"/>
                  </a:cubicBezTo>
                  <a:cubicBezTo>
                    <a:pt x="5596414" y="217646"/>
                    <a:pt x="5593556" y="221456"/>
                    <a:pt x="5589746" y="230029"/>
                  </a:cubicBezTo>
                  <a:cubicBezTo>
                    <a:pt x="5589746" y="230029"/>
                    <a:pt x="5589746" y="230029"/>
                    <a:pt x="5589746" y="230029"/>
                  </a:cubicBezTo>
                  <a:cubicBezTo>
                    <a:pt x="5587842" y="218599"/>
                    <a:pt x="5586889" y="211931"/>
                    <a:pt x="5586889" y="211931"/>
                  </a:cubicBezTo>
                  <a:cubicBezTo>
                    <a:pt x="5586889" y="211931"/>
                    <a:pt x="5585937" y="218599"/>
                    <a:pt x="5585937" y="230029"/>
                  </a:cubicBezTo>
                  <a:cubicBezTo>
                    <a:pt x="5585937" y="230029"/>
                    <a:pt x="5585937" y="230981"/>
                    <a:pt x="5585937" y="230981"/>
                  </a:cubicBezTo>
                  <a:cubicBezTo>
                    <a:pt x="5584984" y="225266"/>
                    <a:pt x="5584031" y="219551"/>
                    <a:pt x="5583079" y="213836"/>
                  </a:cubicBezTo>
                  <a:cubicBezTo>
                    <a:pt x="5583079" y="223361"/>
                    <a:pt x="5583079" y="232886"/>
                    <a:pt x="5583079" y="242411"/>
                  </a:cubicBezTo>
                  <a:cubicBezTo>
                    <a:pt x="5582126" y="243364"/>
                    <a:pt x="5582126" y="245269"/>
                    <a:pt x="5581174" y="246221"/>
                  </a:cubicBezTo>
                  <a:cubicBezTo>
                    <a:pt x="5580221" y="247174"/>
                    <a:pt x="5579269" y="249079"/>
                    <a:pt x="5579269" y="250031"/>
                  </a:cubicBezTo>
                  <a:cubicBezTo>
                    <a:pt x="5576412" y="235744"/>
                    <a:pt x="5574506" y="221456"/>
                    <a:pt x="5571649" y="209074"/>
                  </a:cubicBezTo>
                  <a:cubicBezTo>
                    <a:pt x="5570696" y="202406"/>
                    <a:pt x="5568792" y="194786"/>
                    <a:pt x="5567839" y="189071"/>
                  </a:cubicBezTo>
                  <a:cubicBezTo>
                    <a:pt x="5565934" y="182404"/>
                    <a:pt x="5564981" y="176689"/>
                    <a:pt x="5563076" y="170974"/>
                  </a:cubicBezTo>
                  <a:cubicBezTo>
                    <a:pt x="5560219" y="159544"/>
                    <a:pt x="5557362" y="150019"/>
                    <a:pt x="5555456" y="141446"/>
                  </a:cubicBezTo>
                  <a:cubicBezTo>
                    <a:pt x="5550694" y="125254"/>
                    <a:pt x="5548789" y="115729"/>
                    <a:pt x="5548789" y="115729"/>
                  </a:cubicBezTo>
                  <a:cubicBezTo>
                    <a:pt x="5548789" y="115729"/>
                    <a:pt x="5549742" y="125254"/>
                    <a:pt x="5551646" y="142399"/>
                  </a:cubicBezTo>
                  <a:cubicBezTo>
                    <a:pt x="5552599" y="150971"/>
                    <a:pt x="5554504" y="160496"/>
                    <a:pt x="5555456" y="172879"/>
                  </a:cubicBezTo>
                  <a:cubicBezTo>
                    <a:pt x="5556409" y="178594"/>
                    <a:pt x="5557362" y="185261"/>
                    <a:pt x="5558314" y="190976"/>
                  </a:cubicBezTo>
                  <a:cubicBezTo>
                    <a:pt x="5559267" y="197644"/>
                    <a:pt x="5559267" y="204311"/>
                    <a:pt x="5560219" y="211931"/>
                  </a:cubicBezTo>
                  <a:cubicBezTo>
                    <a:pt x="5561171" y="226219"/>
                    <a:pt x="5563076" y="241459"/>
                    <a:pt x="5564981" y="257651"/>
                  </a:cubicBezTo>
                  <a:cubicBezTo>
                    <a:pt x="5565934" y="263366"/>
                    <a:pt x="5565934" y="269081"/>
                    <a:pt x="5565934" y="274796"/>
                  </a:cubicBezTo>
                  <a:cubicBezTo>
                    <a:pt x="5564981" y="275749"/>
                    <a:pt x="5564981" y="277654"/>
                    <a:pt x="5564029" y="278606"/>
                  </a:cubicBezTo>
                  <a:cubicBezTo>
                    <a:pt x="5563076" y="280511"/>
                    <a:pt x="5562124" y="282416"/>
                    <a:pt x="5561171" y="284321"/>
                  </a:cubicBezTo>
                  <a:cubicBezTo>
                    <a:pt x="5557362" y="277654"/>
                    <a:pt x="5553551" y="270034"/>
                    <a:pt x="5549742" y="264319"/>
                  </a:cubicBezTo>
                  <a:cubicBezTo>
                    <a:pt x="5549742" y="263366"/>
                    <a:pt x="5548789" y="262414"/>
                    <a:pt x="5548789" y="261461"/>
                  </a:cubicBezTo>
                  <a:cubicBezTo>
                    <a:pt x="5546884" y="255746"/>
                    <a:pt x="5545931" y="250984"/>
                    <a:pt x="5544026" y="247174"/>
                  </a:cubicBezTo>
                  <a:cubicBezTo>
                    <a:pt x="5545931" y="234791"/>
                    <a:pt x="5547837" y="228124"/>
                    <a:pt x="5547837" y="228124"/>
                  </a:cubicBezTo>
                  <a:cubicBezTo>
                    <a:pt x="5547837" y="228124"/>
                    <a:pt x="5545931" y="232886"/>
                    <a:pt x="5542121" y="241459"/>
                  </a:cubicBezTo>
                  <a:cubicBezTo>
                    <a:pt x="5542121" y="240506"/>
                    <a:pt x="5541169" y="239554"/>
                    <a:pt x="5541169" y="238601"/>
                  </a:cubicBezTo>
                  <a:cubicBezTo>
                    <a:pt x="5540217" y="235744"/>
                    <a:pt x="5539264" y="232886"/>
                    <a:pt x="5538312" y="230029"/>
                  </a:cubicBezTo>
                  <a:cubicBezTo>
                    <a:pt x="5546884" y="192881"/>
                    <a:pt x="5551646" y="167164"/>
                    <a:pt x="5551646" y="167164"/>
                  </a:cubicBezTo>
                  <a:cubicBezTo>
                    <a:pt x="5551646" y="167164"/>
                    <a:pt x="5542121" y="190024"/>
                    <a:pt x="5528787" y="225266"/>
                  </a:cubicBezTo>
                  <a:cubicBezTo>
                    <a:pt x="5526881" y="221456"/>
                    <a:pt x="5524976" y="219551"/>
                    <a:pt x="5524976" y="217646"/>
                  </a:cubicBezTo>
                  <a:cubicBezTo>
                    <a:pt x="5524024" y="213836"/>
                    <a:pt x="5524024" y="210026"/>
                    <a:pt x="5524024" y="207169"/>
                  </a:cubicBezTo>
                  <a:cubicBezTo>
                    <a:pt x="5522119" y="192881"/>
                    <a:pt x="5521167" y="185261"/>
                    <a:pt x="5521167" y="185261"/>
                  </a:cubicBezTo>
                  <a:cubicBezTo>
                    <a:pt x="5521167" y="185261"/>
                    <a:pt x="5521167" y="192881"/>
                    <a:pt x="5520214" y="207169"/>
                  </a:cubicBezTo>
                  <a:cubicBezTo>
                    <a:pt x="5520214" y="213836"/>
                    <a:pt x="5520214" y="222409"/>
                    <a:pt x="5520214" y="232886"/>
                  </a:cubicBezTo>
                  <a:cubicBezTo>
                    <a:pt x="5520214" y="237649"/>
                    <a:pt x="5520214" y="243364"/>
                    <a:pt x="5520214" y="248126"/>
                  </a:cubicBezTo>
                  <a:cubicBezTo>
                    <a:pt x="5520214" y="249079"/>
                    <a:pt x="5520214" y="250031"/>
                    <a:pt x="5520214" y="250984"/>
                  </a:cubicBezTo>
                  <a:cubicBezTo>
                    <a:pt x="5515451" y="264319"/>
                    <a:pt x="5510689" y="277654"/>
                    <a:pt x="5505926" y="291941"/>
                  </a:cubicBezTo>
                  <a:cubicBezTo>
                    <a:pt x="5504974" y="294799"/>
                    <a:pt x="5504021" y="297656"/>
                    <a:pt x="5503069" y="300514"/>
                  </a:cubicBezTo>
                  <a:cubicBezTo>
                    <a:pt x="5501164" y="297656"/>
                    <a:pt x="5500212" y="293846"/>
                    <a:pt x="5498306" y="290989"/>
                  </a:cubicBezTo>
                  <a:cubicBezTo>
                    <a:pt x="5498306" y="289084"/>
                    <a:pt x="5498306" y="287179"/>
                    <a:pt x="5498306" y="285274"/>
                  </a:cubicBezTo>
                  <a:cubicBezTo>
                    <a:pt x="5499259" y="274796"/>
                    <a:pt x="5499259" y="269081"/>
                    <a:pt x="5499259" y="269081"/>
                  </a:cubicBezTo>
                  <a:cubicBezTo>
                    <a:pt x="5499259" y="269081"/>
                    <a:pt x="5497354" y="274796"/>
                    <a:pt x="5494496" y="284321"/>
                  </a:cubicBezTo>
                  <a:cubicBezTo>
                    <a:pt x="5489734" y="273844"/>
                    <a:pt x="5484971" y="265271"/>
                    <a:pt x="5481162" y="257651"/>
                  </a:cubicBezTo>
                  <a:cubicBezTo>
                    <a:pt x="5482114" y="255746"/>
                    <a:pt x="5482114" y="253841"/>
                    <a:pt x="5483067" y="251936"/>
                  </a:cubicBezTo>
                  <a:cubicBezTo>
                    <a:pt x="5486876" y="241459"/>
                    <a:pt x="5489734" y="231934"/>
                    <a:pt x="5492592" y="224314"/>
                  </a:cubicBezTo>
                  <a:cubicBezTo>
                    <a:pt x="5497354" y="209074"/>
                    <a:pt x="5500212" y="200501"/>
                    <a:pt x="5500212" y="200501"/>
                  </a:cubicBezTo>
                  <a:cubicBezTo>
                    <a:pt x="5500212" y="200501"/>
                    <a:pt x="5498306" y="205264"/>
                    <a:pt x="5493544" y="212884"/>
                  </a:cubicBezTo>
                  <a:cubicBezTo>
                    <a:pt x="5496401" y="203359"/>
                    <a:pt x="5500212" y="194786"/>
                    <a:pt x="5502117" y="188119"/>
                  </a:cubicBezTo>
                  <a:cubicBezTo>
                    <a:pt x="5507831" y="170974"/>
                    <a:pt x="5511642" y="160496"/>
                    <a:pt x="5511642" y="160496"/>
                  </a:cubicBezTo>
                  <a:cubicBezTo>
                    <a:pt x="5511642" y="160496"/>
                    <a:pt x="5506879" y="170021"/>
                    <a:pt x="5498306" y="186214"/>
                  </a:cubicBezTo>
                  <a:cubicBezTo>
                    <a:pt x="5494496" y="194786"/>
                    <a:pt x="5489734" y="204311"/>
                    <a:pt x="5484019" y="215741"/>
                  </a:cubicBezTo>
                  <a:cubicBezTo>
                    <a:pt x="5481162" y="221456"/>
                    <a:pt x="5478304" y="227171"/>
                    <a:pt x="5475446" y="233839"/>
                  </a:cubicBezTo>
                  <a:cubicBezTo>
                    <a:pt x="5474494" y="236696"/>
                    <a:pt x="5473542" y="238601"/>
                    <a:pt x="5472589" y="241459"/>
                  </a:cubicBezTo>
                  <a:cubicBezTo>
                    <a:pt x="5465921" y="228124"/>
                    <a:pt x="5461159" y="221456"/>
                    <a:pt x="5461159" y="221456"/>
                  </a:cubicBezTo>
                  <a:cubicBezTo>
                    <a:pt x="5461159" y="221456"/>
                    <a:pt x="5464017" y="231934"/>
                    <a:pt x="5469731" y="248126"/>
                  </a:cubicBezTo>
                  <a:cubicBezTo>
                    <a:pt x="5468779" y="250031"/>
                    <a:pt x="5467826" y="252889"/>
                    <a:pt x="5466874" y="254794"/>
                  </a:cubicBezTo>
                  <a:cubicBezTo>
                    <a:pt x="5466874" y="255746"/>
                    <a:pt x="5465921" y="256699"/>
                    <a:pt x="5465921" y="257651"/>
                  </a:cubicBezTo>
                  <a:cubicBezTo>
                    <a:pt x="5465921" y="257651"/>
                    <a:pt x="5464969" y="256699"/>
                    <a:pt x="5464969" y="256699"/>
                  </a:cubicBezTo>
                  <a:cubicBezTo>
                    <a:pt x="5461159" y="252889"/>
                    <a:pt x="5458301" y="249079"/>
                    <a:pt x="5455444" y="246221"/>
                  </a:cubicBezTo>
                  <a:cubicBezTo>
                    <a:pt x="5454492" y="240506"/>
                    <a:pt x="5453539" y="234791"/>
                    <a:pt x="5452587" y="230029"/>
                  </a:cubicBezTo>
                  <a:cubicBezTo>
                    <a:pt x="5451634" y="224314"/>
                    <a:pt x="5449729" y="219551"/>
                    <a:pt x="5448776" y="214789"/>
                  </a:cubicBezTo>
                  <a:cubicBezTo>
                    <a:pt x="5445919" y="205264"/>
                    <a:pt x="5444014" y="196691"/>
                    <a:pt x="5442109" y="190024"/>
                  </a:cubicBezTo>
                  <a:cubicBezTo>
                    <a:pt x="5442109" y="190024"/>
                    <a:pt x="5442109" y="190024"/>
                    <a:pt x="5442109" y="190024"/>
                  </a:cubicBezTo>
                  <a:cubicBezTo>
                    <a:pt x="5442109" y="184309"/>
                    <a:pt x="5442109" y="180499"/>
                    <a:pt x="5442109" y="180499"/>
                  </a:cubicBezTo>
                  <a:cubicBezTo>
                    <a:pt x="5442109" y="180499"/>
                    <a:pt x="5442109" y="182404"/>
                    <a:pt x="5441156" y="186214"/>
                  </a:cubicBezTo>
                  <a:cubicBezTo>
                    <a:pt x="5438299" y="174784"/>
                    <a:pt x="5436394" y="169069"/>
                    <a:pt x="5436394" y="169069"/>
                  </a:cubicBezTo>
                  <a:cubicBezTo>
                    <a:pt x="5436394" y="169069"/>
                    <a:pt x="5437346" y="176689"/>
                    <a:pt x="5438299" y="190976"/>
                  </a:cubicBezTo>
                  <a:cubicBezTo>
                    <a:pt x="5438299" y="192881"/>
                    <a:pt x="5438299" y="193834"/>
                    <a:pt x="5439251" y="195739"/>
                  </a:cubicBezTo>
                  <a:cubicBezTo>
                    <a:pt x="5437346" y="203359"/>
                    <a:pt x="5435442" y="212884"/>
                    <a:pt x="5433537" y="225266"/>
                  </a:cubicBezTo>
                  <a:cubicBezTo>
                    <a:pt x="5430679" y="223361"/>
                    <a:pt x="5429726" y="221456"/>
                    <a:pt x="5429726" y="221456"/>
                  </a:cubicBezTo>
                  <a:cubicBezTo>
                    <a:pt x="5429726" y="221456"/>
                    <a:pt x="5430679" y="223361"/>
                    <a:pt x="5433537" y="225266"/>
                  </a:cubicBezTo>
                  <a:cubicBezTo>
                    <a:pt x="5432584" y="230029"/>
                    <a:pt x="5431631" y="235744"/>
                    <a:pt x="5430679" y="240506"/>
                  </a:cubicBezTo>
                  <a:cubicBezTo>
                    <a:pt x="5429726" y="232886"/>
                    <a:pt x="5428774" y="228124"/>
                    <a:pt x="5428774" y="228124"/>
                  </a:cubicBezTo>
                  <a:cubicBezTo>
                    <a:pt x="5428774" y="228124"/>
                    <a:pt x="5428774" y="232886"/>
                    <a:pt x="5428774" y="242411"/>
                  </a:cubicBezTo>
                  <a:cubicBezTo>
                    <a:pt x="5426869" y="234791"/>
                    <a:pt x="5425917" y="228124"/>
                    <a:pt x="5424012" y="222409"/>
                  </a:cubicBezTo>
                  <a:cubicBezTo>
                    <a:pt x="5421154" y="208121"/>
                    <a:pt x="5419249" y="200501"/>
                    <a:pt x="5419249" y="200501"/>
                  </a:cubicBezTo>
                  <a:cubicBezTo>
                    <a:pt x="5419249" y="200501"/>
                    <a:pt x="5419249" y="209074"/>
                    <a:pt x="5420201" y="223361"/>
                  </a:cubicBezTo>
                  <a:cubicBezTo>
                    <a:pt x="5421154" y="235744"/>
                    <a:pt x="5422106" y="253841"/>
                    <a:pt x="5424964" y="274796"/>
                  </a:cubicBezTo>
                  <a:cubicBezTo>
                    <a:pt x="5424012" y="282416"/>
                    <a:pt x="5422106" y="290989"/>
                    <a:pt x="5420201" y="299561"/>
                  </a:cubicBezTo>
                  <a:cubicBezTo>
                    <a:pt x="5419249" y="301466"/>
                    <a:pt x="5419249" y="303371"/>
                    <a:pt x="5418296" y="305276"/>
                  </a:cubicBezTo>
                  <a:cubicBezTo>
                    <a:pt x="5417344" y="302419"/>
                    <a:pt x="5416392" y="300514"/>
                    <a:pt x="5415439" y="298609"/>
                  </a:cubicBezTo>
                  <a:cubicBezTo>
                    <a:pt x="5416392" y="294799"/>
                    <a:pt x="5417344" y="291941"/>
                    <a:pt x="5417344" y="291941"/>
                  </a:cubicBezTo>
                  <a:cubicBezTo>
                    <a:pt x="5417344" y="291941"/>
                    <a:pt x="5416392" y="293846"/>
                    <a:pt x="5414487" y="296704"/>
                  </a:cubicBezTo>
                  <a:cubicBezTo>
                    <a:pt x="5414487" y="296704"/>
                    <a:pt x="5414487" y="295751"/>
                    <a:pt x="5414487" y="295751"/>
                  </a:cubicBezTo>
                  <a:cubicBezTo>
                    <a:pt x="5413534" y="292894"/>
                    <a:pt x="5412581" y="290036"/>
                    <a:pt x="5411629" y="287179"/>
                  </a:cubicBezTo>
                  <a:cubicBezTo>
                    <a:pt x="5413534" y="274796"/>
                    <a:pt x="5414487" y="268129"/>
                    <a:pt x="5414487" y="268129"/>
                  </a:cubicBezTo>
                  <a:cubicBezTo>
                    <a:pt x="5414487" y="268129"/>
                    <a:pt x="5412581" y="272891"/>
                    <a:pt x="5409724" y="282416"/>
                  </a:cubicBezTo>
                  <a:cubicBezTo>
                    <a:pt x="5407819" y="276701"/>
                    <a:pt x="5405914" y="271939"/>
                    <a:pt x="5404009" y="267176"/>
                  </a:cubicBezTo>
                  <a:cubicBezTo>
                    <a:pt x="5402104" y="262414"/>
                    <a:pt x="5401151" y="258604"/>
                    <a:pt x="5399246" y="253841"/>
                  </a:cubicBezTo>
                  <a:cubicBezTo>
                    <a:pt x="5400199" y="240506"/>
                    <a:pt x="5400199" y="232886"/>
                    <a:pt x="5400199" y="232886"/>
                  </a:cubicBezTo>
                  <a:cubicBezTo>
                    <a:pt x="5400199" y="232886"/>
                    <a:pt x="5399246" y="237649"/>
                    <a:pt x="5396389" y="247174"/>
                  </a:cubicBezTo>
                  <a:cubicBezTo>
                    <a:pt x="5396389" y="246221"/>
                    <a:pt x="5395437" y="245269"/>
                    <a:pt x="5395437" y="244316"/>
                  </a:cubicBezTo>
                  <a:cubicBezTo>
                    <a:pt x="5390674" y="231934"/>
                    <a:pt x="5387817" y="224314"/>
                    <a:pt x="5387817" y="224314"/>
                  </a:cubicBezTo>
                  <a:cubicBezTo>
                    <a:pt x="5387817" y="224314"/>
                    <a:pt x="5388769" y="231934"/>
                    <a:pt x="5391626" y="245269"/>
                  </a:cubicBezTo>
                  <a:cubicBezTo>
                    <a:pt x="5392579" y="249079"/>
                    <a:pt x="5393531" y="252889"/>
                    <a:pt x="5394484" y="257651"/>
                  </a:cubicBezTo>
                  <a:cubicBezTo>
                    <a:pt x="5391626" y="269081"/>
                    <a:pt x="5388769" y="283369"/>
                    <a:pt x="5384959" y="300514"/>
                  </a:cubicBezTo>
                  <a:cubicBezTo>
                    <a:pt x="5384959" y="299561"/>
                    <a:pt x="5384959" y="298609"/>
                    <a:pt x="5384006" y="297656"/>
                  </a:cubicBezTo>
                  <a:cubicBezTo>
                    <a:pt x="5383054" y="288131"/>
                    <a:pt x="5382101" y="283369"/>
                    <a:pt x="5382101" y="283369"/>
                  </a:cubicBezTo>
                  <a:cubicBezTo>
                    <a:pt x="5382101" y="283369"/>
                    <a:pt x="5382101" y="284321"/>
                    <a:pt x="5382101" y="287179"/>
                  </a:cubicBezTo>
                  <a:cubicBezTo>
                    <a:pt x="5381149" y="283369"/>
                    <a:pt x="5380196" y="280511"/>
                    <a:pt x="5380196" y="276701"/>
                  </a:cubicBezTo>
                  <a:cubicBezTo>
                    <a:pt x="5380196" y="275749"/>
                    <a:pt x="5379244" y="273844"/>
                    <a:pt x="5379244" y="272891"/>
                  </a:cubicBezTo>
                  <a:cubicBezTo>
                    <a:pt x="5380196" y="270986"/>
                    <a:pt x="5380196" y="269081"/>
                    <a:pt x="5380196" y="269081"/>
                  </a:cubicBezTo>
                  <a:cubicBezTo>
                    <a:pt x="5380196" y="269081"/>
                    <a:pt x="5380196" y="270034"/>
                    <a:pt x="5379244" y="271939"/>
                  </a:cubicBezTo>
                  <a:cubicBezTo>
                    <a:pt x="5376387" y="260509"/>
                    <a:pt x="5374481" y="250984"/>
                    <a:pt x="5372576" y="241459"/>
                  </a:cubicBezTo>
                  <a:cubicBezTo>
                    <a:pt x="5372576" y="238601"/>
                    <a:pt x="5372576" y="235744"/>
                    <a:pt x="5373529" y="232886"/>
                  </a:cubicBezTo>
                  <a:cubicBezTo>
                    <a:pt x="5374481" y="217646"/>
                    <a:pt x="5376387" y="203359"/>
                    <a:pt x="5378292" y="190024"/>
                  </a:cubicBezTo>
                  <a:cubicBezTo>
                    <a:pt x="5379244" y="176689"/>
                    <a:pt x="5382101" y="165259"/>
                    <a:pt x="5384006" y="153829"/>
                  </a:cubicBezTo>
                  <a:cubicBezTo>
                    <a:pt x="5384959" y="148114"/>
                    <a:pt x="5385912" y="143351"/>
                    <a:pt x="5386864" y="138589"/>
                  </a:cubicBezTo>
                  <a:cubicBezTo>
                    <a:pt x="5387817" y="133826"/>
                    <a:pt x="5388769" y="130016"/>
                    <a:pt x="5389721" y="126206"/>
                  </a:cubicBezTo>
                  <a:cubicBezTo>
                    <a:pt x="5392579" y="110966"/>
                    <a:pt x="5394484" y="102394"/>
                    <a:pt x="5394484" y="102394"/>
                  </a:cubicBezTo>
                  <a:cubicBezTo>
                    <a:pt x="5394484" y="102394"/>
                    <a:pt x="5391626" y="110966"/>
                    <a:pt x="5385912" y="125254"/>
                  </a:cubicBezTo>
                  <a:cubicBezTo>
                    <a:pt x="5384959" y="129064"/>
                    <a:pt x="5383054" y="132874"/>
                    <a:pt x="5381149" y="137636"/>
                  </a:cubicBezTo>
                  <a:cubicBezTo>
                    <a:pt x="5379244" y="142399"/>
                    <a:pt x="5378292" y="147161"/>
                    <a:pt x="5376387" y="151924"/>
                  </a:cubicBezTo>
                  <a:cubicBezTo>
                    <a:pt x="5373529" y="162401"/>
                    <a:pt x="5369719" y="174784"/>
                    <a:pt x="5366862" y="188119"/>
                  </a:cubicBezTo>
                  <a:cubicBezTo>
                    <a:pt x="5365909" y="193834"/>
                    <a:pt x="5364004" y="199549"/>
                    <a:pt x="5363051" y="205264"/>
                  </a:cubicBezTo>
                  <a:cubicBezTo>
                    <a:pt x="5361146" y="199549"/>
                    <a:pt x="5360194" y="196691"/>
                    <a:pt x="5360194" y="196691"/>
                  </a:cubicBezTo>
                  <a:cubicBezTo>
                    <a:pt x="5360194" y="196691"/>
                    <a:pt x="5361146" y="201454"/>
                    <a:pt x="5361146" y="210979"/>
                  </a:cubicBezTo>
                  <a:cubicBezTo>
                    <a:pt x="5360194" y="217646"/>
                    <a:pt x="5358289" y="224314"/>
                    <a:pt x="5357337" y="230981"/>
                  </a:cubicBezTo>
                  <a:cubicBezTo>
                    <a:pt x="5356384" y="235744"/>
                    <a:pt x="5355431" y="240506"/>
                    <a:pt x="5355431" y="245269"/>
                  </a:cubicBezTo>
                  <a:cubicBezTo>
                    <a:pt x="5355431" y="241459"/>
                    <a:pt x="5354479" y="238601"/>
                    <a:pt x="5354479" y="235744"/>
                  </a:cubicBezTo>
                  <a:cubicBezTo>
                    <a:pt x="5354479" y="233839"/>
                    <a:pt x="5354479" y="231934"/>
                    <a:pt x="5354479" y="230029"/>
                  </a:cubicBezTo>
                  <a:cubicBezTo>
                    <a:pt x="5355431" y="217646"/>
                    <a:pt x="5355431" y="210979"/>
                    <a:pt x="5355431" y="210979"/>
                  </a:cubicBezTo>
                  <a:cubicBezTo>
                    <a:pt x="5355431" y="210979"/>
                    <a:pt x="5354479" y="214789"/>
                    <a:pt x="5352574" y="222409"/>
                  </a:cubicBezTo>
                  <a:cubicBezTo>
                    <a:pt x="5350669" y="210026"/>
                    <a:pt x="5348764" y="199549"/>
                    <a:pt x="5347812" y="190024"/>
                  </a:cubicBezTo>
                  <a:cubicBezTo>
                    <a:pt x="5347812" y="186214"/>
                    <a:pt x="5347812" y="182404"/>
                    <a:pt x="5347812" y="179546"/>
                  </a:cubicBezTo>
                  <a:cubicBezTo>
                    <a:pt x="5347812" y="167164"/>
                    <a:pt x="5347812" y="160496"/>
                    <a:pt x="5347812" y="160496"/>
                  </a:cubicBezTo>
                  <a:cubicBezTo>
                    <a:pt x="5347812" y="160496"/>
                    <a:pt x="5346859" y="165259"/>
                    <a:pt x="5344954" y="173831"/>
                  </a:cubicBezTo>
                  <a:cubicBezTo>
                    <a:pt x="5342096" y="158591"/>
                    <a:pt x="5341144" y="150019"/>
                    <a:pt x="5341144" y="150019"/>
                  </a:cubicBezTo>
                  <a:cubicBezTo>
                    <a:pt x="5341144" y="150019"/>
                    <a:pt x="5341144" y="160496"/>
                    <a:pt x="5342096" y="177641"/>
                  </a:cubicBezTo>
                  <a:cubicBezTo>
                    <a:pt x="5342096" y="180499"/>
                    <a:pt x="5342096" y="184309"/>
                    <a:pt x="5342096" y="187166"/>
                  </a:cubicBezTo>
                  <a:cubicBezTo>
                    <a:pt x="5341144" y="190976"/>
                    <a:pt x="5341144" y="195739"/>
                    <a:pt x="5340192" y="200501"/>
                  </a:cubicBezTo>
                  <a:cubicBezTo>
                    <a:pt x="5339239" y="209074"/>
                    <a:pt x="5337334" y="218599"/>
                    <a:pt x="5337334" y="229076"/>
                  </a:cubicBezTo>
                  <a:cubicBezTo>
                    <a:pt x="5337334" y="239554"/>
                    <a:pt x="5336381" y="250984"/>
                    <a:pt x="5336381" y="263366"/>
                  </a:cubicBezTo>
                  <a:cubicBezTo>
                    <a:pt x="5336381" y="269081"/>
                    <a:pt x="5336381" y="275749"/>
                    <a:pt x="5336381" y="282416"/>
                  </a:cubicBezTo>
                  <a:cubicBezTo>
                    <a:pt x="5336381" y="282416"/>
                    <a:pt x="5336381" y="282416"/>
                    <a:pt x="5336381" y="282416"/>
                  </a:cubicBezTo>
                  <a:cubicBezTo>
                    <a:pt x="5335429" y="286226"/>
                    <a:pt x="5334476" y="290036"/>
                    <a:pt x="5333524" y="293846"/>
                  </a:cubicBezTo>
                  <a:cubicBezTo>
                    <a:pt x="5333524" y="292894"/>
                    <a:pt x="5332571" y="291941"/>
                    <a:pt x="5332571" y="291941"/>
                  </a:cubicBezTo>
                  <a:cubicBezTo>
                    <a:pt x="5330667" y="287179"/>
                    <a:pt x="5329714" y="282416"/>
                    <a:pt x="5327809" y="278606"/>
                  </a:cubicBezTo>
                  <a:cubicBezTo>
                    <a:pt x="5323999" y="269081"/>
                    <a:pt x="5321142" y="259556"/>
                    <a:pt x="5319237" y="252889"/>
                  </a:cubicBezTo>
                  <a:cubicBezTo>
                    <a:pt x="5313521" y="238601"/>
                    <a:pt x="5310664" y="230029"/>
                    <a:pt x="5310664" y="230029"/>
                  </a:cubicBezTo>
                  <a:cubicBezTo>
                    <a:pt x="5310664" y="230029"/>
                    <a:pt x="5312569" y="238601"/>
                    <a:pt x="5315426" y="253841"/>
                  </a:cubicBezTo>
                  <a:cubicBezTo>
                    <a:pt x="5316379" y="257651"/>
                    <a:pt x="5317331" y="262414"/>
                    <a:pt x="5318284" y="267176"/>
                  </a:cubicBezTo>
                  <a:cubicBezTo>
                    <a:pt x="5316379" y="264319"/>
                    <a:pt x="5315426" y="263366"/>
                    <a:pt x="5315426" y="263366"/>
                  </a:cubicBezTo>
                  <a:cubicBezTo>
                    <a:pt x="5315426" y="263366"/>
                    <a:pt x="5317331" y="268129"/>
                    <a:pt x="5320189" y="276701"/>
                  </a:cubicBezTo>
                  <a:cubicBezTo>
                    <a:pt x="5320189" y="278606"/>
                    <a:pt x="5321142" y="279559"/>
                    <a:pt x="5321142" y="281464"/>
                  </a:cubicBezTo>
                  <a:cubicBezTo>
                    <a:pt x="5322094" y="286226"/>
                    <a:pt x="5323046" y="291941"/>
                    <a:pt x="5324951" y="297656"/>
                  </a:cubicBezTo>
                  <a:cubicBezTo>
                    <a:pt x="5325904" y="300514"/>
                    <a:pt x="5326856" y="303371"/>
                    <a:pt x="5326856" y="306229"/>
                  </a:cubicBezTo>
                  <a:cubicBezTo>
                    <a:pt x="5323999" y="310991"/>
                    <a:pt x="5320189" y="316706"/>
                    <a:pt x="5316379" y="322421"/>
                  </a:cubicBezTo>
                  <a:cubicBezTo>
                    <a:pt x="5313521" y="327184"/>
                    <a:pt x="5309712" y="332899"/>
                    <a:pt x="5306854" y="338614"/>
                  </a:cubicBezTo>
                  <a:cubicBezTo>
                    <a:pt x="5303996" y="343376"/>
                    <a:pt x="5301139" y="349091"/>
                    <a:pt x="5298281" y="354806"/>
                  </a:cubicBezTo>
                  <a:cubicBezTo>
                    <a:pt x="5298281" y="350996"/>
                    <a:pt x="5298281" y="347186"/>
                    <a:pt x="5298281" y="344329"/>
                  </a:cubicBezTo>
                  <a:cubicBezTo>
                    <a:pt x="5299234" y="334804"/>
                    <a:pt x="5300187" y="326231"/>
                    <a:pt x="5301139" y="318611"/>
                  </a:cubicBezTo>
                  <a:cubicBezTo>
                    <a:pt x="5303044" y="308134"/>
                    <a:pt x="5303996" y="299561"/>
                    <a:pt x="5305901" y="291941"/>
                  </a:cubicBezTo>
                  <a:cubicBezTo>
                    <a:pt x="5309712" y="276701"/>
                    <a:pt x="5311617" y="269081"/>
                    <a:pt x="5311617" y="269081"/>
                  </a:cubicBezTo>
                  <a:cubicBezTo>
                    <a:pt x="5311617" y="269081"/>
                    <a:pt x="5307806" y="276701"/>
                    <a:pt x="5302092" y="290989"/>
                  </a:cubicBezTo>
                  <a:cubicBezTo>
                    <a:pt x="5301139" y="293846"/>
                    <a:pt x="5300187" y="295751"/>
                    <a:pt x="5299234" y="298609"/>
                  </a:cubicBezTo>
                  <a:cubicBezTo>
                    <a:pt x="5299234" y="276701"/>
                    <a:pt x="5299234" y="263366"/>
                    <a:pt x="5299234" y="263366"/>
                  </a:cubicBezTo>
                  <a:cubicBezTo>
                    <a:pt x="5299234" y="263366"/>
                    <a:pt x="5295424" y="284321"/>
                    <a:pt x="5290662" y="317659"/>
                  </a:cubicBezTo>
                  <a:cubicBezTo>
                    <a:pt x="5290662" y="315754"/>
                    <a:pt x="5289709" y="314801"/>
                    <a:pt x="5289709" y="312896"/>
                  </a:cubicBezTo>
                  <a:cubicBezTo>
                    <a:pt x="5287804" y="306229"/>
                    <a:pt x="5286851" y="300514"/>
                    <a:pt x="5284946" y="295751"/>
                  </a:cubicBezTo>
                  <a:cubicBezTo>
                    <a:pt x="5284946" y="295751"/>
                    <a:pt x="5284946" y="295751"/>
                    <a:pt x="5284946" y="295751"/>
                  </a:cubicBezTo>
                  <a:cubicBezTo>
                    <a:pt x="5284946" y="295751"/>
                    <a:pt x="5284946" y="295751"/>
                    <a:pt x="5284946" y="295751"/>
                  </a:cubicBezTo>
                  <a:cubicBezTo>
                    <a:pt x="5283994" y="291941"/>
                    <a:pt x="5283042" y="288131"/>
                    <a:pt x="5282089" y="284321"/>
                  </a:cubicBezTo>
                  <a:cubicBezTo>
                    <a:pt x="5282089" y="283369"/>
                    <a:pt x="5282089" y="283369"/>
                    <a:pt x="5281137" y="282416"/>
                  </a:cubicBezTo>
                  <a:cubicBezTo>
                    <a:pt x="5285899" y="264319"/>
                    <a:pt x="5288756" y="252889"/>
                    <a:pt x="5288756" y="252889"/>
                  </a:cubicBezTo>
                  <a:cubicBezTo>
                    <a:pt x="5288756" y="252889"/>
                    <a:pt x="5284946" y="260509"/>
                    <a:pt x="5279231" y="273844"/>
                  </a:cubicBezTo>
                  <a:cubicBezTo>
                    <a:pt x="5278279" y="269081"/>
                    <a:pt x="5276374" y="265271"/>
                    <a:pt x="5275421" y="262414"/>
                  </a:cubicBezTo>
                  <a:cubicBezTo>
                    <a:pt x="5270659" y="250031"/>
                    <a:pt x="5268754" y="243364"/>
                    <a:pt x="5268754" y="243364"/>
                  </a:cubicBezTo>
                  <a:cubicBezTo>
                    <a:pt x="5268754" y="243364"/>
                    <a:pt x="5269706" y="250031"/>
                    <a:pt x="5271612" y="262414"/>
                  </a:cubicBezTo>
                  <a:cubicBezTo>
                    <a:pt x="5272564" y="268129"/>
                    <a:pt x="5273517" y="275749"/>
                    <a:pt x="5274469" y="283369"/>
                  </a:cubicBezTo>
                  <a:cubicBezTo>
                    <a:pt x="5270659" y="290989"/>
                    <a:pt x="5266849" y="300514"/>
                    <a:pt x="5263039" y="310039"/>
                  </a:cubicBezTo>
                  <a:cubicBezTo>
                    <a:pt x="5263039" y="305276"/>
                    <a:pt x="5263039" y="302419"/>
                    <a:pt x="5263039" y="302419"/>
                  </a:cubicBezTo>
                  <a:cubicBezTo>
                    <a:pt x="5263039" y="302419"/>
                    <a:pt x="5262087" y="305276"/>
                    <a:pt x="5260181" y="310039"/>
                  </a:cubicBezTo>
                  <a:cubicBezTo>
                    <a:pt x="5260181" y="310039"/>
                    <a:pt x="5260181" y="309086"/>
                    <a:pt x="5260181" y="309086"/>
                  </a:cubicBezTo>
                  <a:cubicBezTo>
                    <a:pt x="5260181" y="306229"/>
                    <a:pt x="5260181" y="303371"/>
                    <a:pt x="5261134" y="301466"/>
                  </a:cubicBezTo>
                  <a:cubicBezTo>
                    <a:pt x="5261134" y="294799"/>
                    <a:pt x="5262087" y="289084"/>
                    <a:pt x="5262087" y="284321"/>
                  </a:cubicBezTo>
                  <a:cubicBezTo>
                    <a:pt x="5263039" y="274796"/>
                    <a:pt x="5263039" y="269081"/>
                    <a:pt x="5263039" y="269081"/>
                  </a:cubicBezTo>
                  <a:cubicBezTo>
                    <a:pt x="5263039" y="269081"/>
                    <a:pt x="5261134" y="273844"/>
                    <a:pt x="5258276" y="283369"/>
                  </a:cubicBezTo>
                  <a:cubicBezTo>
                    <a:pt x="5258276" y="284321"/>
                    <a:pt x="5257324" y="286226"/>
                    <a:pt x="5257324" y="287179"/>
                  </a:cubicBezTo>
                  <a:cubicBezTo>
                    <a:pt x="5256371" y="282416"/>
                    <a:pt x="5256371" y="277654"/>
                    <a:pt x="5255419" y="273844"/>
                  </a:cubicBezTo>
                  <a:cubicBezTo>
                    <a:pt x="5255419" y="272891"/>
                    <a:pt x="5255419" y="271939"/>
                    <a:pt x="5255419" y="271939"/>
                  </a:cubicBezTo>
                  <a:cubicBezTo>
                    <a:pt x="5255419" y="271939"/>
                    <a:pt x="5255419" y="271939"/>
                    <a:pt x="5255419" y="270986"/>
                  </a:cubicBezTo>
                  <a:cubicBezTo>
                    <a:pt x="5256371" y="268129"/>
                    <a:pt x="5256371" y="266224"/>
                    <a:pt x="5256371" y="266224"/>
                  </a:cubicBezTo>
                  <a:cubicBezTo>
                    <a:pt x="5256371" y="266224"/>
                    <a:pt x="5256371" y="267176"/>
                    <a:pt x="5255419" y="268129"/>
                  </a:cubicBezTo>
                  <a:cubicBezTo>
                    <a:pt x="5256371" y="255746"/>
                    <a:pt x="5257324" y="244316"/>
                    <a:pt x="5258276" y="232886"/>
                  </a:cubicBezTo>
                  <a:cubicBezTo>
                    <a:pt x="5262087" y="188119"/>
                    <a:pt x="5263039" y="158591"/>
                    <a:pt x="5263039" y="158591"/>
                  </a:cubicBezTo>
                  <a:cubicBezTo>
                    <a:pt x="5263039" y="158591"/>
                    <a:pt x="5258276" y="175736"/>
                    <a:pt x="5252562" y="204311"/>
                  </a:cubicBezTo>
                  <a:cubicBezTo>
                    <a:pt x="5253514" y="193834"/>
                    <a:pt x="5254467" y="183356"/>
                    <a:pt x="5255419" y="173831"/>
                  </a:cubicBezTo>
                  <a:cubicBezTo>
                    <a:pt x="5256371" y="160496"/>
                    <a:pt x="5257324" y="150019"/>
                    <a:pt x="5258276" y="140494"/>
                  </a:cubicBezTo>
                  <a:cubicBezTo>
                    <a:pt x="5260181" y="121444"/>
                    <a:pt x="5260181" y="110966"/>
                    <a:pt x="5260181" y="110966"/>
                  </a:cubicBezTo>
                  <a:cubicBezTo>
                    <a:pt x="5260181" y="110966"/>
                    <a:pt x="5257324" y="121444"/>
                    <a:pt x="5254467" y="139541"/>
                  </a:cubicBezTo>
                  <a:cubicBezTo>
                    <a:pt x="5252562" y="149066"/>
                    <a:pt x="5250656" y="159544"/>
                    <a:pt x="5247799" y="172879"/>
                  </a:cubicBezTo>
                  <a:cubicBezTo>
                    <a:pt x="5246846" y="179546"/>
                    <a:pt x="5244942" y="186214"/>
                    <a:pt x="5243989" y="192881"/>
                  </a:cubicBezTo>
                  <a:cubicBezTo>
                    <a:pt x="5243989" y="195739"/>
                    <a:pt x="5243037" y="198596"/>
                    <a:pt x="5243037" y="201454"/>
                  </a:cubicBezTo>
                  <a:cubicBezTo>
                    <a:pt x="5242084" y="197644"/>
                    <a:pt x="5241131" y="194786"/>
                    <a:pt x="5241131" y="194786"/>
                  </a:cubicBezTo>
                  <a:cubicBezTo>
                    <a:pt x="5241131" y="194786"/>
                    <a:pt x="5241131" y="199549"/>
                    <a:pt x="5241131" y="209074"/>
                  </a:cubicBezTo>
                  <a:cubicBezTo>
                    <a:pt x="5241131" y="210979"/>
                    <a:pt x="5240179" y="213836"/>
                    <a:pt x="5240179" y="215741"/>
                  </a:cubicBezTo>
                  <a:cubicBezTo>
                    <a:pt x="5239226" y="225266"/>
                    <a:pt x="5237321" y="235744"/>
                    <a:pt x="5235417" y="246221"/>
                  </a:cubicBezTo>
                  <a:cubicBezTo>
                    <a:pt x="5234464" y="248126"/>
                    <a:pt x="5232559" y="250984"/>
                    <a:pt x="5230654" y="252889"/>
                  </a:cubicBezTo>
                  <a:cubicBezTo>
                    <a:pt x="5227796" y="256699"/>
                    <a:pt x="5225892" y="261461"/>
                    <a:pt x="5222081" y="266224"/>
                  </a:cubicBezTo>
                  <a:cubicBezTo>
                    <a:pt x="5220176" y="270034"/>
                    <a:pt x="5217319" y="274796"/>
                    <a:pt x="5215414" y="279559"/>
                  </a:cubicBezTo>
                  <a:cubicBezTo>
                    <a:pt x="5215414" y="279559"/>
                    <a:pt x="5215414" y="279559"/>
                    <a:pt x="5215414" y="278606"/>
                  </a:cubicBezTo>
                  <a:cubicBezTo>
                    <a:pt x="5216367" y="276701"/>
                    <a:pt x="5216367" y="275749"/>
                    <a:pt x="5216367" y="275749"/>
                  </a:cubicBezTo>
                  <a:cubicBezTo>
                    <a:pt x="5216367" y="275749"/>
                    <a:pt x="5216367" y="276701"/>
                    <a:pt x="5215414" y="277654"/>
                  </a:cubicBezTo>
                  <a:cubicBezTo>
                    <a:pt x="5213509" y="267176"/>
                    <a:pt x="5212556" y="257651"/>
                    <a:pt x="5211604" y="249079"/>
                  </a:cubicBezTo>
                  <a:cubicBezTo>
                    <a:pt x="5210651" y="239554"/>
                    <a:pt x="5209699" y="230981"/>
                    <a:pt x="5208746" y="224314"/>
                  </a:cubicBezTo>
                  <a:cubicBezTo>
                    <a:pt x="5206842" y="210979"/>
                    <a:pt x="5205889" y="202406"/>
                    <a:pt x="5205889" y="202406"/>
                  </a:cubicBezTo>
                  <a:cubicBezTo>
                    <a:pt x="5205889" y="202406"/>
                    <a:pt x="5205889" y="210026"/>
                    <a:pt x="5204937" y="224314"/>
                  </a:cubicBezTo>
                  <a:cubicBezTo>
                    <a:pt x="5204937" y="230981"/>
                    <a:pt x="5204937" y="239554"/>
                    <a:pt x="5204937" y="249079"/>
                  </a:cubicBezTo>
                  <a:cubicBezTo>
                    <a:pt x="5204937" y="253841"/>
                    <a:pt x="5204937" y="258604"/>
                    <a:pt x="5204937" y="264319"/>
                  </a:cubicBezTo>
                  <a:cubicBezTo>
                    <a:pt x="5204937" y="270034"/>
                    <a:pt x="5204937" y="275749"/>
                    <a:pt x="5205889" y="281464"/>
                  </a:cubicBezTo>
                  <a:cubicBezTo>
                    <a:pt x="5205889" y="284321"/>
                    <a:pt x="5205889" y="286226"/>
                    <a:pt x="5205889" y="289084"/>
                  </a:cubicBezTo>
                  <a:cubicBezTo>
                    <a:pt x="5204937" y="287179"/>
                    <a:pt x="5203984" y="286226"/>
                    <a:pt x="5203984" y="286226"/>
                  </a:cubicBezTo>
                  <a:cubicBezTo>
                    <a:pt x="5203984" y="286226"/>
                    <a:pt x="5204937" y="288131"/>
                    <a:pt x="5205889" y="290989"/>
                  </a:cubicBezTo>
                  <a:cubicBezTo>
                    <a:pt x="5205889" y="290989"/>
                    <a:pt x="5205889" y="290989"/>
                    <a:pt x="5205889" y="291941"/>
                  </a:cubicBezTo>
                  <a:cubicBezTo>
                    <a:pt x="5204937" y="290036"/>
                    <a:pt x="5203984" y="289084"/>
                    <a:pt x="5203984" y="287179"/>
                  </a:cubicBezTo>
                  <a:cubicBezTo>
                    <a:pt x="5203984" y="287179"/>
                    <a:pt x="5203984" y="287179"/>
                    <a:pt x="5203984" y="287179"/>
                  </a:cubicBezTo>
                  <a:cubicBezTo>
                    <a:pt x="5203984" y="287179"/>
                    <a:pt x="5203984" y="287179"/>
                    <a:pt x="5203984" y="287179"/>
                  </a:cubicBezTo>
                  <a:cubicBezTo>
                    <a:pt x="5201126" y="281464"/>
                    <a:pt x="5199221" y="278606"/>
                    <a:pt x="5199221" y="278606"/>
                  </a:cubicBezTo>
                  <a:cubicBezTo>
                    <a:pt x="5199221" y="278606"/>
                    <a:pt x="5200174" y="283369"/>
                    <a:pt x="5202079" y="290989"/>
                  </a:cubicBezTo>
                  <a:cubicBezTo>
                    <a:pt x="5201126" y="292894"/>
                    <a:pt x="5200174" y="295751"/>
                    <a:pt x="5198269" y="300514"/>
                  </a:cubicBezTo>
                  <a:cubicBezTo>
                    <a:pt x="5197317" y="298609"/>
                    <a:pt x="5196364" y="297656"/>
                    <a:pt x="5195412" y="295751"/>
                  </a:cubicBezTo>
                  <a:cubicBezTo>
                    <a:pt x="5193506" y="284321"/>
                    <a:pt x="5192554" y="273844"/>
                    <a:pt x="5191601" y="263366"/>
                  </a:cubicBezTo>
                  <a:cubicBezTo>
                    <a:pt x="5187792" y="232886"/>
                    <a:pt x="5185887" y="208121"/>
                    <a:pt x="5184934" y="190024"/>
                  </a:cubicBezTo>
                  <a:cubicBezTo>
                    <a:pt x="5183981" y="181451"/>
                    <a:pt x="5183981" y="173831"/>
                    <a:pt x="5183981" y="169069"/>
                  </a:cubicBezTo>
                  <a:cubicBezTo>
                    <a:pt x="5183981" y="164306"/>
                    <a:pt x="5183981" y="161449"/>
                    <a:pt x="5183981" y="161449"/>
                  </a:cubicBezTo>
                  <a:cubicBezTo>
                    <a:pt x="5183981" y="161449"/>
                    <a:pt x="5183981" y="164306"/>
                    <a:pt x="5183029" y="169069"/>
                  </a:cubicBezTo>
                  <a:cubicBezTo>
                    <a:pt x="5182076" y="173831"/>
                    <a:pt x="5182076" y="180499"/>
                    <a:pt x="5181124" y="190024"/>
                  </a:cubicBezTo>
                  <a:cubicBezTo>
                    <a:pt x="5181124" y="196691"/>
                    <a:pt x="5180171" y="204311"/>
                    <a:pt x="5180171" y="211931"/>
                  </a:cubicBezTo>
                  <a:cubicBezTo>
                    <a:pt x="5179219" y="212884"/>
                    <a:pt x="5178267" y="213836"/>
                    <a:pt x="5177314" y="215741"/>
                  </a:cubicBezTo>
                  <a:cubicBezTo>
                    <a:pt x="5174456" y="219551"/>
                    <a:pt x="5170646" y="224314"/>
                    <a:pt x="5165884" y="231934"/>
                  </a:cubicBezTo>
                  <a:cubicBezTo>
                    <a:pt x="5164931" y="232886"/>
                    <a:pt x="5163979" y="234791"/>
                    <a:pt x="5163979" y="235744"/>
                  </a:cubicBezTo>
                  <a:cubicBezTo>
                    <a:pt x="5163026" y="233839"/>
                    <a:pt x="5162074" y="231934"/>
                    <a:pt x="5161121" y="230029"/>
                  </a:cubicBezTo>
                  <a:cubicBezTo>
                    <a:pt x="5161121" y="230029"/>
                    <a:pt x="5161121" y="229076"/>
                    <a:pt x="5161121" y="229076"/>
                  </a:cubicBezTo>
                  <a:cubicBezTo>
                    <a:pt x="5162074" y="222409"/>
                    <a:pt x="5162074" y="217646"/>
                    <a:pt x="5163026" y="213836"/>
                  </a:cubicBezTo>
                  <a:cubicBezTo>
                    <a:pt x="5163979" y="210026"/>
                    <a:pt x="5163979" y="208121"/>
                    <a:pt x="5163979" y="208121"/>
                  </a:cubicBezTo>
                  <a:cubicBezTo>
                    <a:pt x="5163979" y="208121"/>
                    <a:pt x="5161121" y="213836"/>
                    <a:pt x="5158264" y="224314"/>
                  </a:cubicBezTo>
                  <a:cubicBezTo>
                    <a:pt x="5157312" y="222409"/>
                    <a:pt x="5156359" y="221456"/>
                    <a:pt x="5156359" y="220504"/>
                  </a:cubicBezTo>
                  <a:cubicBezTo>
                    <a:pt x="5152549" y="213836"/>
                    <a:pt x="5149692" y="208121"/>
                    <a:pt x="5147787" y="205264"/>
                  </a:cubicBezTo>
                  <a:cubicBezTo>
                    <a:pt x="5146834" y="195739"/>
                    <a:pt x="5145881" y="186214"/>
                    <a:pt x="5144929" y="178594"/>
                  </a:cubicBezTo>
                  <a:cubicBezTo>
                    <a:pt x="5143024" y="159544"/>
                    <a:pt x="5141119" y="149066"/>
                    <a:pt x="5141119" y="149066"/>
                  </a:cubicBezTo>
                  <a:cubicBezTo>
                    <a:pt x="5141119" y="149066"/>
                    <a:pt x="5141119" y="159544"/>
                    <a:pt x="5141119" y="178594"/>
                  </a:cubicBezTo>
                  <a:cubicBezTo>
                    <a:pt x="5141119" y="197644"/>
                    <a:pt x="5141119" y="224314"/>
                    <a:pt x="5141119" y="255746"/>
                  </a:cubicBezTo>
                  <a:cubicBezTo>
                    <a:pt x="5141119" y="256699"/>
                    <a:pt x="5141119" y="257651"/>
                    <a:pt x="5141119" y="258604"/>
                  </a:cubicBezTo>
                  <a:cubicBezTo>
                    <a:pt x="5140167" y="259556"/>
                    <a:pt x="5140167" y="259556"/>
                    <a:pt x="5139214" y="260509"/>
                  </a:cubicBezTo>
                  <a:cubicBezTo>
                    <a:pt x="5138262" y="261461"/>
                    <a:pt x="5136356" y="263366"/>
                    <a:pt x="5134451" y="265271"/>
                  </a:cubicBezTo>
                  <a:cubicBezTo>
                    <a:pt x="5131594" y="216694"/>
                    <a:pt x="5128737" y="184309"/>
                    <a:pt x="5128737" y="184309"/>
                  </a:cubicBezTo>
                  <a:cubicBezTo>
                    <a:pt x="5128737" y="184309"/>
                    <a:pt x="5126831" y="204311"/>
                    <a:pt x="5124926" y="236696"/>
                  </a:cubicBezTo>
                  <a:cubicBezTo>
                    <a:pt x="5121117" y="225266"/>
                    <a:pt x="5119212" y="219551"/>
                    <a:pt x="5119212" y="219551"/>
                  </a:cubicBezTo>
                  <a:cubicBezTo>
                    <a:pt x="5119212" y="219551"/>
                    <a:pt x="5121117" y="230029"/>
                    <a:pt x="5123974" y="249079"/>
                  </a:cubicBezTo>
                  <a:cubicBezTo>
                    <a:pt x="5123974" y="251936"/>
                    <a:pt x="5123974" y="255746"/>
                    <a:pt x="5123021" y="258604"/>
                  </a:cubicBezTo>
                  <a:cubicBezTo>
                    <a:pt x="5122069" y="263366"/>
                    <a:pt x="5121117" y="270034"/>
                    <a:pt x="5120164" y="279559"/>
                  </a:cubicBezTo>
                  <a:cubicBezTo>
                    <a:pt x="5119212" y="281464"/>
                    <a:pt x="5117306" y="283369"/>
                    <a:pt x="5116354" y="285274"/>
                  </a:cubicBezTo>
                  <a:cubicBezTo>
                    <a:pt x="5113496" y="289084"/>
                    <a:pt x="5109687" y="293846"/>
                    <a:pt x="5106829" y="298609"/>
                  </a:cubicBezTo>
                  <a:cubicBezTo>
                    <a:pt x="5105876" y="299561"/>
                    <a:pt x="5104924" y="301466"/>
                    <a:pt x="5103971" y="303371"/>
                  </a:cubicBezTo>
                  <a:cubicBezTo>
                    <a:pt x="5097304" y="287179"/>
                    <a:pt x="5090637" y="272891"/>
                    <a:pt x="5085874" y="261461"/>
                  </a:cubicBezTo>
                  <a:cubicBezTo>
                    <a:pt x="5085874" y="261461"/>
                    <a:pt x="5085874" y="261461"/>
                    <a:pt x="5086826" y="261461"/>
                  </a:cubicBezTo>
                  <a:cubicBezTo>
                    <a:pt x="5089684" y="260509"/>
                    <a:pt x="5091589" y="260509"/>
                    <a:pt x="5091589" y="260509"/>
                  </a:cubicBezTo>
                  <a:cubicBezTo>
                    <a:pt x="5091589" y="260509"/>
                    <a:pt x="5089684" y="260509"/>
                    <a:pt x="5086826" y="260509"/>
                  </a:cubicBezTo>
                  <a:cubicBezTo>
                    <a:pt x="5086826" y="260509"/>
                    <a:pt x="5085874" y="260509"/>
                    <a:pt x="5085874" y="260509"/>
                  </a:cubicBezTo>
                  <a:cubicBezTo>
                    <a:pt x="5078254" y="243364"/>
                    <a:pt x="5073492" y="232886"/>
                    <a:pt x="5071587" y="230029"/>
                  </a:cubicBezTo>
                  <a:cubicBezTo>
                    <a:pt x="5071587" y="225266"/>
                    <a:pt x="5071587" y="222409"/>
                    <a:pt x="5071587" y="222409"/>
                  </a:cubicBezTo>
                  <a:cubicBezTo>
                    <a:pt x="5071587" y="222409"/>
                    <a:pt x="5070634" y="224314"/>
                    <a:pt x="5069681" y="227171"/>
                  </a:cubicBezTo>
                  <a:cubicBezTo>
                    <a:pt x="5066824" y="214789"/>
                    <a:pt x="5063967" y="203359"/>
                    <a:pt x="5062062" y="192881"/>
                  </a:cubicBezTo>
                  <a:cubicBezTo>
                    <a:pt x="5061109" y="186214"/>
                    <a:pt x="5059204" y="180499"/>
                    <a:pt x="5058251" y="174784"/>
                  </a:cubicBezTo>
                  <a:cubicBezTo>
                    <a:pt x="5057299" y="169069"/>
                    <a:pt x="5056346" y="164306"/>
                    <a:pt x="5055394" y="159544"/>
                  </a:cubicBezTo>
                  <a:cubicBezTo>
                    <a:pt x="5051584" y="140494"/>
                    <a:pt x="5049679" y="130016"/>
                    <a:pt x="5049679" y="130016"/>
                  </a:cubicBezTo>
                  <a:cubicBezTo>
                    <a:pt x="5049679" y="130016"/>
                    <a:pt x="5050631" y="140494"/>
                    <a:pt x="5050631" y="159544"/>
                  </a:cubicBezTo>
                  <a:cubicBezTo>
                    <a:pt x="5050631" y="164306"/>
                    <a:pt x="5051584" y="169069"/>
                    <a:pt x="5051584" y="174784"/>
                  </a:cubicBezTo>
                  <a:cubicBezTo>
                    <a:pt x="5052537" y="180499"/>
                    <a:pt x="5052537" y="186214"/>
                    <a:pt x="5053489" y="192881"/>
                  </a:cubicBezTo>
                  <a:cubicBezTo>
                    <a:pt x="5055394" y="206216"/>
                    <a:pt x="5056346" y="220504"/>
                    <a:pt x="5059204" y="236696"/>
                  </a:cubicBezTo>
                  <a:cubicBezTo>
                    <a:pt x="5060156" y="240506"/>
                    <a:pt x="5061109" y="245269"/>
                    <a:pt x="5061109" y="249079"/>
                  </a:cubicBezTo>
                  <a:cubicBezTo>
                    <a:pt x="5059204" y="254794"/>
                    <a:pt x="5057299" y="262414"/>
                    <a:pt x="5055394" y="270034"/>
                  </a:cubicBezTo>
                  <a:cubicBezTo>
                    <a:pt x="5054442" y="270986"/>
                    <a:pt x="5053489" y="270986"/>
                    <a:pt x="5052537" y="271939"/>
                  </a:cubicBezTo>
                  <a:cubicBezTo>
                    <a:pt x="5052537" y="271939"/>
                    <a:pt x="5052537" y="271939"/>
                    <a:pt x="5052537" y="271939"/>
                  </a:cubicBezTo>
                  <a:cubicBezTo>
                    <a:pt x="5051584" y="269081"/>
                    <a:pt x="5051584" y="267176"/>
                    <a:pt x="5051584" y="267176"/>
                  </a:cubicBezTo>
                  <a:cubicBezTo>
                    <a:pt x="5051584" y="267176"/>
                    <a:pt x="5051584" y="268129"/>
                    <a:pt x="5051584" y="269081"/>
                  </a:cubicBezTo>
                  <a:cubicBezTo>
                    <a:pt x="5050631" y="266224"/>
                    <a:pt x="5049679" y="264319"/>
                    <a:pt x="5048726" y="261461"/>
                  </a:cubicBezTo>
                  <a:cubicBezTo>
                    <a:pt x="5048726" y="261461"/>
                    <a:pt x="5048726" y="261461"/>
                    <a:pt x="5048726" y="261461"/>
                  </a:cubicBezTo>
                  <a:cubicBezTo>
                    <a:pt x="5049679" y="255746"/>
                    <a:pt x="5050631" y="252889"/>
                    <a:pt x="5050631" y="252889"/>
                  </a:cubicBezTo>
                  <a:cubicBezTo>
                    <a:pt x="5050631" y="252889"/>
                    <a:pt x="5049679" y="254794"/>
                    <a:pt x="5047774" y="259556"/>
                  </a:cubicBezTo>
                  <a:cubicBezTo>
                    <a:pt x="5043964" y="250984"/>
                    <a:pt x="5041106" y="243364"/>
                    <a:pt x="5039201" y="236696"/>
                  </a:cubicBezTo>
                  <a:cubicBezTo>
                    <a:pt x="5034439" y="222409"/>
                    <a:pt x="5031581" y="214789"/>
                    <a:pt x="5031581" y="214789"/>
                  </a:cubicBezTo>
                  <a:cubicBezTo>
                    <a:pt x="5031581" y="214789"/>
                    <a:pt x="5033487" y="223361"/>
                    <a:pt x="5035392" y="237649"/>
                  </a:cubicBezTo>
                  <a:cubicBezTo>
                    <a:pt x="5036344" y="243364"/>
                    <a:pt x="5037296" y="249079"/>
                    <a:pt x="5039201" y="256699"/>
                  </a:cubicBezTo>
                  <a:cubicBezTo>
                    <a:pt x="5038249" y="258604"/>
                    <a:pt x="5036344" y="261461"/>
                    <a:pt x="5034439" y="265271"/>
                  </a:cubicBezTo>
                  <a:cubicBezTo>
                    <a:pt x="5034439" y="264319"/>
                    <a:pt x="5034439" y="263366"/>
                    <a:pt x="5034439" y="262414"/>
                  </a:cubicBezTo>
                  <a:cubicBezTo>
                    <a:pt x="5033487" y="253841"/>
                    <a:pt x="5031581" y="247174"/>
                    <a:pt x="5030629" y="241459"/>
                  </a:cubicBezTo>
                  <a:cubicBezTo>
                    <a:pt x="5028724" y="230029"/>
                    <a:pt x="5026819" y="223361"/>
                    <a:pt x="5026819" y="223361"/>
                  </a:cubicBezTo>
                  <a:cubicBezTo>
                    <a:pt x="5026819" y="223361"/>
                    <a:pt x="5026819" y="230029"/>
                    <a:pt x="5025867" y="242411"/>
                  </a:cubicBezTo>
                  <a:cubicBezTo>
                    <a:pt x="5025867" y="248126"/>
                    <a:pt x="5025867" y="255746"/>
                    <a:pt x="5025867" y="263366"/>
                  </a:cubicBezTo>
                  <a:cubicBezTo>
                    <a:pt x="5025867" y="267176"/>
                    <a:pt x="5025867" y="271939"/>
                    <a:pt x="5025867" y="276701"/>
                  </a:cubicBezTo>
                  <a:cubicBezTo>
                    <a:pt x="5025867" y="277654"/>
                    <a:pt x="5025867" y="279559"/>
                    <a:pt x="5025867" y="281464"/>
                  </a:cubicBezTo>
                  <a:cubicBezTo>
                    <a:pt x="5020151" y="274796"/>
                    <a:pt x="5015389" y="268129"/>
                    <a:pt x="5010626" y="263366"/>
                  </a:cubicBezTo>
                  <a:cubicBezTo>
                    <a:pt x="5003006" y="255746"/>
                    <a:pt x="4998244" y="250984"/>
                    <a:pt x="4995387" y="248126"/>
                  </a:cubicBezTo>
                  <a:cubicBezTo>
                    <a:pt x="4996339" y="245269"/>
                    <a:pt x="4997292" y="243364"/>
                    <a:pt x="4997292" y="243364"/>
                  </a:cubicBezTo>
                  <a:cubicBezTo>
                    <a:pt x="4997292" y="243364"/>
                    <a:pt x="4996339" y="245269"/>
                    <a:pt x="4994434" y="248126"/>
                  </a:cubicBezTo>
                  <a:cubicBezTo>
                    <a:pt x="4993481" y="247174"/>
                    <a:pt x="4992529" y="246221"/>
                    <a:pt x="4992529" y="246221"/>
                  </a:cubicBezTo>
                  <a:cubicBezTo>
                    <a:pt x="4994434" y="211931"/>
                    <a:pt x="4994434" y="190024"/>
                    <a:pt x="4994434" y="190024"/>
                  </a:cubicBezTo>
                  <a:cubicBezTo>
                    <a:pt x="4994434" y="190024"/>
                    <a:pt x="4988719" y="210026"/>
                    <a:pt x="4983004" y="240506"/>
                  </a:cubicBezTo>
                  <a:cubicBezTo>
                    <a:pt x="4982051" y="239554"/>
                    <a:pt x="4981099" y="238601"/>
                    <a:pt x="4981099" y="238601"/>
                  </a:cubicBezTo>
                  <a:cubicBezTo>
                    <a:pt x="4967764" y="226219"/>
                    <a:pt x="4959192" y="219551"/>
                    <a:pt x="4959192" y="219551"/>
                  </a:cubicBezTo>
                  <a:cubicBezTo>
                    <a:pt x="4959192" y="219551"/>
                    <a:pt x="4965859" y="227171"/>
                    <a:pt x="4978242" y="241459"/>
                  </a:cubicBezTo>
                  <a:cubicBezTo>
                    <a:pt x="4979194" y="243364"/>
                    <a:pt x="4981099" y="244316"/>
                    <a:pt x="4982051" y="246221"/>
                  </a:cubicBezTo>
                  <a:cubicBezTo>
                    <a:pt x="4982051" y="247174"/>
                    <a:pt x="4982051" y="248126"/>
                    <a:pt x="4982051" y="248126"/>
                  </a:cubicBezTo>
                  <a:cubicBezTo>
                    <a:pt x="4980146" y="257651"/>
                    <a:pt x="4978242" y="268129"/>
                    <a:pt x="4976337" y="279559"/>
                  </a:cubicBezTo>
                  <a:cubicBezTo>
                    <a:pt x="4974431" y="283369"/>
                    <a:pt x="4971574" y="287179"/>
                    <a:pt x="4969669" y="290989"/>
                  </a:cubicBezTo>
                  <a:cubicBezTo>
                    <a:pt x="4965859" y="281464"/>
                    <a:pt x="4963001" y="272891"/>
                    <a:pt x="4960144" y="265271"/>
                  </a:cubicBezTo>
                  <a:cubicBezTo>
                    <a:pt x="4960144" y="265271"/>
                    <a:pt x="4960144" y="264319"/>
                    <a:pt x="4960144" y="264319"/>
                  </a:cubicBezTo>
                  <a:cubicBezTo>
                    <a:pt x="4960144" y="253841"/>
                    <a:pt x="4960144" y="245269"/>
                    <a:pt x="4959192" y="237649"/>
                  </a:cubicBezTo>
                  <a:cubicBezTo>
                    <a:pt x="4958239" y="223361"/>
                    <a:pt x="4958239" y="215741"/>
                    <a:pt x="4958239" y="214789"/>
                  </a:cubicBezTo>
                  <a:cubicBezTo>
                    <a:pt x="4963001" y="194786"/>
                    <a:pt x="4965859" y="177641"/>
                    <a:pt x="4968717" y="164306"/>
                  </a:cubicBezTo>
                  <a:cubicBezTo>
                    <a:pt x="4972526" y="145256"/>
                    <a:pt x="4974431" y="134779"/>
                    <a:pt x="4974431" y="134779"/>
                  </a:cubicBezTo>
                  <a:cubicBezTo>
                    <a:pt x="4974431" y="134779"/>
                    <a:pt x="4970621" y="145256"/>
                    <a:pt x="4964906" y="163354"/>
                  </a:cubicBezTo>
                  <a:cubicBezTo>
                    <a:pt x="4962049" y="171926"/>
                    <a:pt x="4959192" y="181451"/>
                    <a:pt x="4955381" y="191929"/>
                  </a:cubicBezTo>
                  <a:cubicBezTo>
                    <a:pt x="4955381" y="182404"/>
                    <a:pt x="4955381" y="176689"/>
                    <a:pt x="4955381" y="176689"/>
                  </a:cubicBezTo>
                  <a:cubicBezTo>
                    <a:pt x="4955381" y="176689"/>
                    <a:pt x="4954429" y="186214"/>
                    <a:pt x="4952524" y="202406"/>
                  </a:cubicBezTo>
                  <a:cubicBezTo>
                    <a:pt x="4952524" y="202406"/>
                    <a:pt x="4952524" y="203359"/>
                    <a:pt x="4952524" y="203359"/>
                  </a:cubicBezTo>
                  <a:cubicBezTo>
                    <a:pt x="4949667" y="210979"/>
                    <a:pt x="4947762" y="218599"/>
                    <a:pt x="4944904" y="227171"/>
                  </a:cubicBezTo>
                  <a:cubicBezTo>
                    <a:pt x="4944904" y="227171"/>
                    <a:pt x="4944904" y="226219"/>
                    <a:pt x="4944904" y="226219"/>
                  </a:cubicBezTo>
                  <a:cubicBezTo>
                    <a:pt x="4939189" y="209074"/>
                    <a:pt x="4936331" y="199549"/>
                    <a:pt x="4936331" y="199549"/>
                  </a:cubicBezTo>
                  <a:cubicBezTo>
                    <a:pt x="4936331" y="199549"/>
                    <a:pt x="4938237" y="213836"/>
                    <a:pt x="4942046" y="236696"/>
                  </a:cubicBezTo>
                  <a:cubicBezTo>
                    <a:pt x="4942046" y="237649"/>
                    <a:pt x="4941094" y="238601"/>
                    <a:pt x="4941094" y="239554"/>
                  </a:cubicBezTo>
                  <a:cubicBezTo>
                    <a:pt x="4935379" y="255746"/>
                    <a:pt x="4929664" y="273844"/>
                    <a:pt x="4922996" y="292894"/>
                  </a:cubicBezTo>
                  <a:cubicBezTo>
                    <a:pt x="4922996" y="291941"/>
                    <a:pt x="4922996" y="290036"/>
                    <a:pt x="4922996" y="289084"/>
                  </a:cubicBezTo>
                  <a:cubicBezTo>
                    <a:pt x="4921092" y="275749"/>
                    <a:pt x="4920139" y="269081"/>
                    <a:pt x="4920139" y="269081"/>
                  </a:cubicBezTo>
                  <a:cubicBezTo>
                    <a:pt x="4920139" y="269081"/>
                    <a:pt x="4919187" y="276701"/>
                    <a:pt x="4919187" y="290036"/>
                  </a:cubicBezTo>
                  <a:cubicBezTo>
                    <a:pt x="4919187" y="291941"/>
                    <a:pt x="4919187" y="293846"/>
                    <a:pt x="4919187" y="296704"/>
                  </a:cubicBezTo>
                  <a:cubicBezTo>
                    <a:pt x="4918234" y="293846"/>
                    <a:pt x="4918234" y="290989"/>
                    <a:pt x="4917281" y="289084"/>
                  </a:cubicBezTo>
                  <a:cubicBezTo>
                    <a:pt x="4915376" y="279559"/>
                    <a:pt x="4913471" y="271939"/>
                    <a:pt x="4911567" y="266224"/>
                  </a:cubicBezTo>
                  <a:cubicBezTo>
                    <a:pt x="4907756" y="253841"/>
                    <a:pt x="4904899" y="246221"/>
                    <a:pt x="4904899" y="246221"/>
                  </a:cubicBezTo>
                  <a:cubicBezTo>
                    <a:pt x="4904899" y="246221"/>
                    <a:pt x="4905851" y="253841"/>
                    <a:pt x="4907756" y="267176"/>
                  </a:cubicBezTo>
                  <a:cubicBezTo>
                    <a:pt x="4908709" y="273844"/>
                    <a:pt x="4908709" y="281464"/>
                    <a:pt x="4909662" y="290989"/>
                  </a:cubicBezTo>
                  <a:cubicBezTo>
                    <a:pt x="4910614" y="299561"/>
                    <a:pt x="4910614" y="310039"/>
                    <a:pt x="4911567" y="321469"/>
                  </a:cubicBezTo>
                  <a:cubicBezTo>
                    <a:pt x="4910614" y="323374"/>
                    <a:pt x="4909662" y="325279"/>
                    <a:pt x="4908709" y="327184"/>
                  </a:cubicBezTo>
                  <a:cubicBezTo>
                    <a:pt x="4906804" y="322421"/>
                    <a:pt x="4903946" y="317659"/>
                    <a:pt x="4902042" y="313849"/>
                  </a:cubicBezTo>
                  <a:cubicBezTo>
                    <a:pt x="4899184" y="308134"/>
                    <a:pt x="4896326" y="302419"/>
                    <a:pt x="4894421" y="298609"/>
                  </a:cubicBezTo>
                  <a:cubicBezTo>
                    <a:pt x="4893469" y="290036"/>
                    <a:pt x="4892517" y="285274"/>
                    <a:pt x="4892517" y="285274"/>
                  </a:cubicBezTo>
                  <a:cubicBezTo>
                    <a:pt x="4892517" y="285274"/>
                    <a:pt x="4892517" y="288131"/>
                    <a:pt x="4891564" y="293846"/>
                  </a:cubicBezTo>
                  <a:cubicBezTo>
                    <a:pt x="4889659" y="290989"/>
                    <a:pt x="4888706" y="289084"/>
                    <a:pt x="4888706" y="289084"/>
                  </a:cubicBezTo>
                  <a:cubicBezTo>
                    <a:pt x="4888706" y="289084"/>
                    <a:pt x="4889659" y="291941"/>
                    <a:pt x="4891564" y="295751"/>
                  </a:cubicBezTo>
                  <a:cubicBezTo>
                    <a:pt x="4890612" y="306229"/>
                    <a:pt x="4888706" y="324326"/>
                    <a:pt x="4887754" y="348139"/>
                  </a:cubicBezTo>
                  <a:cubicBezTo>
                    <a:pt x="4887754" y="350996"/>
                    <a:pt x="4887754" y="354806"/>
                    <a:pt x="4887754" y="357664"/>
                  </a:cubicBezTo>
                  <a:cubicBezTo>
                    <a:pt x="4885849" y="354806"/>
                    <a:pt x="4883944" y="352901"/>
                    <a:pt x="4882991" y="350996"/>
                  </a:cubicBezTo>
                  <a:cubicBezTo>
                    <a:pt x="4882991" y="347186"/>
                    <a:pt x="4882039" y="343376"/>
                    <a:pt x="4882039" y="338614"/>
                  </a:cubicBezTo>
                  <a:cubicBezTo>
                    <a:pt x="4882039" y="338614"/>
                    <a:pt x="4882039" y="337661"/>
                    <a:pt x="4882039" y="337661"/>
                  </a:cubicBezTo>
                  <a:cubicBezTo>
                    <a:pt x="4882991" y="333851"/>
                    <a:pt x="4882991" y="330041"/>
                    <a:pt x="4883944" y="327184"/>
                  </a:cubicBezTo>
                  <a:cubicBezTo>
                    <a:pt x="4884896" y="324326"/>
                    <a:pt x="4884896" y="321469"/>
                    <a:pt x="4885849" y="319564"/>
                  </a:cubicBezTo>
                  <a:cubicBezTo>
                    <a:pt x="4886801" y="315754"/>
                    <a:pt x="4887754" y="312896"/>
                    <a:pt x="4887754" y="312896"/>
                  </a:cubicBezTo>
                  <a:cubicBezTo>
                    <a:pt x="4887754" y="312896"/>
                    <a:pt x="4886801" y="314801"/>
                    <a:pt x="4884896" y="318611"/>
                  </a:cubicBezTo>
                  <a:cubicBezTo>
                    <a:pt x="4883944" y="320516"/>
                    <a:pt x="4882991" y="323374"/>
                    <a:pt x="4882039" y="326231"/>
                  </a:cubicBezTo>
                  <a:cubicBezTo>
                    <a:pt x="4882039" y="327184"/>
                    <a:pt x="4882039" y="327184"/>
                    <a:pt x="4882039" y="328136"/>
                  </a:cubicBezTo>
                  <a:cubicBezTo>
                    <a:pt x="4882039" y="327184"/>
                    <a:pt x="4882039" y="326231"/>
                    <a:pt x="4882039" y="326231"/>
                  </a:cubicBezTo>
                  <a:cubicBezTo>
                    <a:pt x="4880134" y="312896"/>
                    <a:pt x="4878229" y="300514"/>
                    <a:pt x="4877276" y="288131"/>
                  </a:cubicBezTo>
                  <a:cubicBezTo>
                    <a:pt x="4876324" y="279559"/>
                    <a:pt x="4874419" y="270986"/>
                    <a:pt x="4873466" y="263366"/>
                  </a:cubicBezTo>
                  <a:cubicBezTo>
                    <a:pt x="4875372" y="253841"/>
                    <a:pt x="4876324" y="245269"/>
                    <a:pt x="4878229" y="238601"/>
                  </a:cubicBezTo>
                  <a:cubicBezTo>
                    <a:pt x="4881087" y="221456"/>
                    <a:pt x="4882039" y="211931"/>
                    <a:pt x="4882039" y="211931"/>
                  </a:cubicBezTo>
                  <a:cubicBezTo>
                    <a:pt x="4882039" y="211931"/>
                    <a:pt x="4879181" y="221456"/>
                    <a:pt x="4874419" y="237649"/>
                  </a:cubicBezTo>
                  <a:cubicBezTo>
                    <a:pt x="4873466" y="241459"/>
                    <a:pt x="4872514" y="245269"/>
                    <a:pt x="4870609" y="249079"/>
                  </a:cubicBezTo>
                  <a:cubicBezTo>
                    <a:pt x="4869656" y="242411"/>
                    <a:pt x="4867751" y="236696"/>
                    <a:pt x="4866799" y="231934"/>
                  </a:cubicBezTo>
                  <a:cubicBezTo>
                    <a:pt x="4863941" y="218599"/>
                    <a:pt x="4862037" y="210979"/>
                    <a:pt x="4862037" y="210979"/>
                  </a:cubicBezTo>
                  <a:cubicBezTo>
                    <a:pt x="4862037" y="210979"/>
                    <a:pt x="4862037" y="218599"/>
                    <a:pt x="4862989" y="232886"/>
                  </a:cubicBezTo>
                  <a:cubicBezTo>
                    <a:pt x="4862989" y="237649"/>
                    <a:pt x="4863941" y="242411"/>
                    <a:pt x="4863941" y="248126"/>
                  </a:cubicBezTo>
                  <a:cubicBezTo>
                    <a:pt x="4863941" y="250984"/>
                    <a:pt x="4863941" y="255746"/>
                    <a:pt x="4863941" y="261461"/>
                  </a:cubicBezTo>
                  <a:cubicBezTo>
                    <a:pt x="4862989" y="262414"/>
                    <a:pt x="4862037" y="263366"/>
                    <a:pt x="4860131" y="264319"/>
                  </a:cubicBezTo>
                  <a:cubicBezTo>
                    <a:pt x="4856322" y="268129"/>
                    <a:pt x="4850606" y="272891"/>
                    <a:pt x="4843939" y="281464"/>
                  </a:cubicBezTo>
                  <a:cubicBezTo>
                    <a:pt x="4842987" y="277654"/>
                    <a:pt x="4842034" y="273844"/>
                    <a:pt x="4841081" y="270986"/>
                  </a:cubicBezTo>
                  <a:cubicBezTo>
                    <a:pt x="4842034" y="268129"/>
                    <a:pt x="4842987" y="266224"/>
                    <a:pt x="4842987" y="266224"/>
                  </a:cubicBezTo>
                  <a:cubicBezTo>
                    <a:pt x="4842987" y="266224"/>
                    <a:pt x="4842034" y="267176"/>
                    <a:pt x="4841081" y="269081"/>
                  </a:cubicBezTo>
                  <a:cubicBezTo>
                    <a:pt x="4840129" y="265271"/>
                    <a:pt x="4840129" y="262414"/>
                    <a:pt x="4840129" y="262414"/>
                  </a:cubicBezTo>
                  <a:cubicBezTo>
                    <a:pt x="4840129" y="262414"/>
                    <a:pt x="4840129" y="265271"/>
                    <a:pt x="4840129" y="270034"/>
                  </a:cubicBezTo>
                  <a:cubicBezTo>
                    <a:pt x="4838224" y="271939"/>
                    <a:pt x="4836319" y="274796"/>
                    <a:pt x="4833462" y="278606"/>
                  </a:cubicBezTo>
                  <a:cubicBezTo>
                    <a:pt x="4830604" y="283369"/>
                    <a:pt x="4826794" y="288131"/>
                    <a:pt x="4822984" y="294799"/>
                  </a:cubicBezTo>
                  <a:cubicBezTo>
                    <a:pt x="4821079" y="297656"/>
                    <a:pt x="4819174" y="301466"/>
                    <a:pt x="4816316" y="304324"/>
                  </a:cubicBezTo>
                  <a:cubicBezTo>
                    <a:pt x="4814412" y="308134"/>
                    <a:pt x="4812506" y="311944"/>
                    <a:pt x="4809649" y="315754"/>
                  </a:cubicBezTo>
                  <a:cubicBezTo>
                    <a:pt x="4809649" y="316706"/>
                    <a:pt x="4808697" y="317659"/>
                    <a:pt x="4807744" y="318611"/>
                  </a:cubicBezTo>
                  <a:cubicBezTo>
                    <a:pt x="4807744" y="309086"/>
                    <a:pt x="4807744" y="304324"/>
                    <a:pt x="4807744" y="304324"/>
                  </a:cubicBezTo>
                  <a:cubicBezTo>
                    <a:pt x="4807744" y="304324"/>
                    <a:pt x="4805839" y="312896"/>
                    <a:pt x="4803934" y="327184"/>
                  </a:cubicBezTo>
                  <a:cubicBezTo>
                    <a:pt x="4801076" y="331946"/>
                    <a:pt x="4798219" y="336709"/>
                    <a:pt x="4795362" y="342424"/>
                  </a:cubicBezTo>
                  <a:cubicBezTo>
                    <a:pt x="4795362" y="335756"/>
                    <a:pt x="4795362" y="330041"/>
                    <a:pt x="4795362" y="324326"/>
                  </a:cubicBezTo>
                  <a:cubicBezTo>
                    <a:pt x="4795362" y="319564"/>
                    <a:pt x="4795362" y="315754"/>
                    <a:pt x="4795362" y="311944"/>
                  </a:cubicBezTo>
                  <a:cubicBezTo>
                    <a:pt x="4796314" y="308134"/>
                    <a:pt x="4796314" y="305276"/>
                    <a:pt x="4796314" y="302419"/>
                  </a:cubicBezTo>
                  <a:cubicBezTo>
                    <a:pt x="4796314" y="300514"/>
                    <a:pt x="4796314" y="299561"/>
                    <a:pt x="4797266" y="297656"/>
                  </a:cubicBezTo>
                  <a:cubicBezTo>
                    <a:pt x="4799172" y="286226"/>
                    <a:pt x="4802029" y="274796"/>
                    <a:pt x="4803934" y="264319"/>
                  </a:cubicBezTo>
                  <a:cubicBezTo>
                    <a:pt x="4811554" y="221456"/>
                    <a:pt x="4815364" y="192881"/>
                    <a:pt x="4815364" y="192881"/>
                  </a:cubicBezTo>
                  <a:cubicBezTo>
                    <a:pt x="4815364" y="192881"/>
                    <a:pt x="4804887" y="220504"/>
                    <a:pt x="4792504" y="262414"/>
                  </a:cubicBezTo>
                  <a:cubicBezTo>
                    <a:pt x="4791551" y="264319"/>
                    <a:pt x="4791551" y="266224"/>
                    <a:pt x="4790599" y="268129"/>
                  </a:cubicBezTo>
                  <a:cubicBezTo>
                    <a:pt x="4788694" y="256699"/>
                    <a:pt x="4788694" y="250031"/>
                    <a:pt x="4788694" y="250031"/>
                  </a:cubicBezTo>
                  <a:cubicBezTo>
                    <a:pt x="4788694" y="250031"/>
                    <a:pt x="4788694" y="257651"/>
                    <a:pt x="4787741" y="270986"/>
                  </a:cubicBezTo>
                  <a:cubicBezTo>
                    <a:pt x="4787741" y="273844"/>
                    <a:pt x="4787741" y="277654"/>
                    <a:pt x="4787741" y="281464"/>
                  </a:cubicBezTo>
                  <a:cubicBezTo>
                    <a:pt x="4785837" y="287179"/>
                    <a:pt x="4783931" y="292894"/>
                    <a:pt x="4782979" y="299561"/>
                  </a:cubicBezTo>
                  <a:cubicBezTo>
                    <a:pt x="4782979" y="297656"/>
                    <a:pt x="4782979" y="295751"/>
                    <a:pt x="4782979" y="293846"/>
                  </a:cubicBezTo>
                  <a:cubicBezTo>
                    <a:pt x="4783931" y="282416"/>
                    <a:pt x="4783931" y="271939"/>
                    <a:pt x="4784884" y="263366"/>
                  </a:cubicBezTo>
                  <a:cubicBezTo>
                    <a:pt x="4785837" y="253841"/>
                    <a:pt x="4785837" y="246221"/>
                    <a:pt x="4786789" y="239554"/>
                  </a:cubicBezTo>
                  <a:cubicBezTo>
                    <a:pt x="4788694" y="226219"/>
                    <a:pt x="4789647" y="218599"/>
                    <a:pt x="4789647" y="218599"/>
                  </a:cubicBezTo>
                  <a:cubicBezTo>
                    <a:pt x="4789647" y="218599"/>
                    <a:pt x="4787741" y="226219"/>
                    <a:pt x="4782979" y="238601"/>
                  </a:cubicBezTo>
                  <a:cubicBezTo>
                    <a:pt x="4781074" y="245269"/>
                    <a:pt x="4779169" y="252889"/>
                    <a:pt x="4777264" y="262414"/>
                  </a:cubicBezTo>
                  <a:cubicBezTo>
                    <a:pt x="4776312" y="264319"/>
                    <a:pt x="4776312" y="266224"/>
                    <a:pt x="4776312" y="269081"/>
                  </a:cubicBezTo>
                  <a:cubicBezTo>
                    <a:pt x="4774406" y="257651"/>
                    <a:pt x="4773454" y="251936"/>
                    <a:pt x="4773454" y="251936"/>
                  </a:cubicBezTo>
                  <a:cubicBezTo>
                    <a:pt x="4773454" y="251936"/>
                    <a:pt x="4773454" y="264319"/>
                    <a:pt x="4773454" y="284321"/>
                  </a:cubicBezTo>
                  <a:cubicBezTo>
                    <a:pt x="4772501" y="287179"/>
                    <a:pt x="4772501" y="290989"/>
                    <a:pt x="4771549" y="293846"/>
                  </a:cubicBezTo>
                  <a:cubicBezTo>
                    <a:pt x="4771549" y="294799"/>
                    <a:pt x="4771549" y="294799"/>
                    <a:pt x="4771549" y="295751"/>
                  </a:cubicBezTo>
                  <a:cubicBezTo>
                    <a:pt x="4769644" y="273844"/>
                    <a:pt x="4767739" y="260509"/>
                    <a:pt x="4767739" y="260509"/>
                  </a:cubicBezTo>
                  <a:cubicBezTo>
                    <a:pt x="4767739" y="260509"/>
                    <a:pt x="4765834" y="274796"/>
                    <a:pt x="4764881" y="297656"/>
                  </a:cubicBezTo>
                  <a:cubicBezTo>
                    <a:pt x="4762024" y="290036"/>
                    <a:pt x="4758214" y="283369"/>
                    <a:pt x="4755356" y="276701"/>
                  </a:cubicBezTo>
                  <a:cubicBezTo>
                    <a:pt x="4753451" y="273844"/>
                    <a:pt x="4752499" y="271939"/>
                    <a:pt x="4750594" y="270034"/>
                  </a:cubicBezTo>
                  <a:cubicBezTo>
                    <a:pt x="4753451" y="260509"/>
                    <a:pt x="4755356" y="251936"/>
                    <a:pt x="4758214" y="243364"/>
                  </a:cubicBezTo>
                  <a:cubicBezTo>
                    <a:pt x="4767739" y="209074"/>
                    <a:pt x="4774406" y="180499"/>
                    <a:pt x="4780122" y="161449"/>
                  </a:cubicBezTo>
                  <a:cubicBezTo>
                    <a:pt x="4784884" y="141446"/>
                    <a:pt x="4787741" y="130016"/>
                    <a:pt x="4787741" y="130016"/>
                  </a:cubicBezTo>
                  <a:cubicBezTo>
                    <a:pt x="4787741" y="130016"/>
                    <a:pt x="4782979" y="140494"/>
                    <a:pt x="4776312" y="160496"/>
                  </a:cubicBezTo>
                  <a:cubicBezTo>
                    <a:pt x="4769644" y="179546"/>
                    <a:pt x="4759166" y="207169"/>
                    <a:pt x="4747737" y="240506"/>
                  </a:cubicBezTo>
                  <a:cubicBezTo>
                    <a:pt x="4745831" y="246221"/>
                    <a:pt x="4743926" y="251936"/>
                    <a:pt x="4742022" y="257651"/>
                  </a:cubicBezTo>
                  <a:cubicBezTo>
                    <a:pt x="4742022" y="257651"/>
                    <a:pt x="4742022" y="257651"/>
                    <a:pt x="4742022" y="257651"/>
                  </a:cubicBezTo>
                  <a:cubicBezTo>
                    <a:pt x="4737259" y="251936"/>
                    <a:pt x="4732497" y="248126"/>
                    <a:pt x="4727734" y="244316"/>
                  </a:cubicBezTo>
                  <a:cubicBezTo>
                    <a:pt x="4725829" y="242411"/>
                    <a:pt x="4722972" y="241459"/>
                    <a:pt x="4721066" y="240506"/>
                  </a:cubicBezTo>
                  <a:cubicBezTo>
                    <a:pt x="4719162" y="239554"/>
                    <a:pt x="4717256" y="238601"/>
                    <a:pt x="4716304" y="238601"/>
                  </a:cubicBezTo>
                  <a:cubicBezTo>
                    <a:pt x="4713447" y="237649"/>
                    <a:pt x="4712494" y="237649"/>
                    <a:pt x="4712494" y="237649"/>
                  </a:cubicBezTo>
                  <a:cubicBezTo>
                    <a:pt x="4712494" y="237649"/>
                    <a:pt x="4713447" y="238601"/>
                    <a:pt x="4716304" y="239554"/>
                  </a:cubicBezTo>
                  <a:cubicBezTo>
                    <a:pt x="4719162" y="240506"/>
                    <a:pt x="4722019" y="243364"/>
                    <a:pt x="4725829" y="246221"/>
                  </a:cubicBezTo>
                  <a:cubicBezTo>
                    <a:pt x="4729639" y="250031"/>
                    <a:pt x="4733449" y="254794"/>
                    <a:pt x="4736306" y="260509"/>
                  </a:cubicBezTo>
                  <a:cubicBezTo>
                    <a:pt x="4737259" y="262414"/>
                    <a:pt x="4738212" y="264319"/>
                    <a:pt x="4739164" y="266224"/>
                  </a:cubicBezTo>
                  <a:cubicBezTo>
                    <a:pt x="4736306" y="274796"/>
                    <a:pt x="4732497" y="284321"/>
                    <a:pt x="4729639" y="293846"/>
                  </a:cubicBezTo>
                  <a:cubicBezTo>
                    <a:pt x="4729639" y="294799"/>
                    <a:pt x="4729639" y="294799"/>
                    <a:pt x="4728687" y="295751"/>
                  </a:cubicBezTo>
                  <a:cubicBezTo>
                    <a:pt x="4728687" y="295751"/>
                    <a:pt x="4728687" y="295751"/>
                    <a:pt x="4728687" y="294799"/>
                  </a:cubicBezTo>
                  <a:cubicBezTo>
                    <a:pt x="4728687" y="291941"/>
                    <a:pt x="4728687" y="290989"/>
                    <a:pt x="4728687" y="290989"/>
                  </a:cubicBezTo>
                  <a:cubicBezTo>
                    <a:pt x="4728687" y="290989"/>
                    <a:pt x="4728687" y="291941"/>
                    <a:pt x="4727734" y="293846"/>
                  </a:cubicBezTo>
                  <a:cubicBezTo>
                    <a:pt x="4723924" y="285274"/>
                    <a:pt x="4720114" y="277654"/>
                    <a:pt x="4717256" y="270986"/>
                  </a:cubicBezTo>
                  <a:cubicBezTo>
                    <a:pt x="4716304" y="269081"/>
                    <a:pt x="4715351" y="267176"/>
                    <a:pt x="4714399" y="265271"/>
                  </a:cubicBezTo>
                  <a:cubicBezTo>
                    <a:pt x="4715351" y="257651"/>
                    <a:pt x="4716304" y="252889"/>
                    <a:pt x="4716304" y="252889"/>
                  </a:cubicBezTo>
                  <a:cubicBezTo>
                    <a:pt x="4716304" y="252889"/>
                    <a:pt x="4715351" y="256699"/>
                    <a:pt x="4713447" y="262414"/>
                  </a:cubicBezTo>
                  <a:cubicBezTo>
                    <a:pt x="4708684" y="252889"/>
                    <a:pt x="4706779" y="248126"/>
                    <a:pt x="4706779" y="248126"/>
                  </a:cubicBezTo>
                  <a:cubicBezTo>
                    <a:pt x="4706779" y="248126"/>
                    <a:pt x="4708684" y="254794"/>
                    <a:pt x="4712494" y="267176"/>
                  </a:cubicBezTo>
                  <a:cubicBezTo>
                    <a:pt x="4711541" y="270034"/>
                    <a:pt x="4710589" y="273844"/>
                    <a:pt x="4708684" y="277654"/>
                  </a:cubicBezTo>
                  <a:cubicBezTo>
                    <a:pt x="4700112" y="251936"/>
                    <a:pt x="4694397" y="236696"/>
                    <a:pt x="4694397" y="236696"/>
                  </a:cubicBezTo>
                  <a:cubicBezTo>
                    <a:pt x="4694397" y="236696"/>
                    <a:pt x="4697254" y="258604"/>
                    <a:pt x="4702969" y="293846"/>
                  </a:cubicBezTo>
                  <a:cubicBezTo>
                    <a:pt x="4700112" y="304324"/>
                    <a:pt x="4696301" y="317659"/>
                    <a:pt x="4691539" y="331946"/>
                  </a:cubicBezTo>
                  <a:cubicBezTo>
                    <a:pt x="4691539" y="330994"/>
                    <a:pt x="4690587" y="330041"/>
                    <a:pt x="4690587" y="329089"/>
                  </a:cubicBezTo>
                  <a:cubicBezTo>
                    <a:pt x="4685824" y="319564"/>
                    <a:pt x="4682966" y="313849"/>
                    <a:pt x="4682966" y="313849"/>
                  </a:cubicBezTo>
                  <a:cubicBezTo>
                    <a:pt x="4682966" y="313849"/>
                    <a:pt x="4683919" y="316706"/>
                    <a:pt x="4684872" y="322421"/>
                  </a:cubicBezTo>
                  <a:cubicBezTo>
                    <a:pt x="4684872" y="322421"/>
                    <a:pt x="4684872" y="322421"/>
                    <a:pt x="4684872" y="322421"/>
                  </a:cubicBezTo>
                  <a:cubicBezTo>
                    <a:pt x="4676299" y="310991"/>
                    <a:pt x="4671537" y="304324"/>
                    <a:pt x="4671537" y="304324"/>
                  </a:cubicBezTo>
                  <a:cubicBezTo>
                    <a:pt x="4671537" y="304324"/>
                    <a:pt x="4675347" y="311944"/>
                    <a:pt x="4682014" y="324326"/>
                  </a:cubicBezTo>
                  <a:cubicBezTo>
                    <a:pt x="4683919" y="328136"/>
                    <a:pt x="4686776" y="332899"/>
                    <a:pt x="4688681" y="337661"/>
                  </a:cubicBezTo>
                  <a:cubicBezTo>
                    <a:pt x="4688681" y="338614"/>
                    <a:pt x="4688681" y="339566"/>
                    <a:pt x="4689634" y="340519"/>
                  </a:cubicBezTo>
                  <a:cubicBezTo>
                    <a:pt x="4687729" y="349091"/>
                    <a:pt x="4684872" y="356711"/>
                    <a:pt x="4682966" y="366236"/>
                  </a:cubicBezTo>
                  <a:cubicBezTo>
                    <a:pt x="4681062" y="364331"/>
                    <a:pt x="4680109" y="361474"/>
                    <a:pt x="4678204" y="359569"/>
                  </a:cubicBezTo>
                  <a:cubicBezTo>
                    <a:pt x="4675347" y="355759"/>
                    <a:pt x="4671537" y="351949"/>
                    <a:pt x="4669631" y="349091"/>
                  </a:cubicBezTo>
                  <a:cubicBezTo>
                    <a:pt x="4669631" y="349091"/>
                    <a:pt x="4669631" y="349091"/>
                    <a:pt x="4668679" y="348139"/>
                  </a:cubicBezTo>
                  <a:cubicBezTo>
                    <a:pt x="4669631" y="341471"/>
                    <a:pt x="4669631" y="335756"/>
                    <a:pt x="4669631" y="330994"/>
                  </a:cubicBezTo>
                  <a:cubicBezTo>
                    <a:pt x="4670584" y="318611"/>
                    <a:pt x="4669631" y="310991"/>
                    <a:pt x="4669631" y="310991"/>
                  </a:cubicBezTo>
                  <a:cubicBezTo>
                    <a:pt x="4669631" y="310991"/>
                    <a:pt x="4669631" y="311944"/>
                    <a:pt x="4669631" y="313849"/>
                  </a:cubicBezTo>
                  <a:cubicBezTo>
                    <a:pt x="4669631" y="310039"/>
                    <a:pt x="4670584" y="305276"/>
                    <a:pt x="4670584" y="301466"/>
                  </a:cubicBezTo>
                  <a:cubicBezTo>
                    <a:pt x="4670584" y="296704"/>
                    <a:pt x="4670584" y="291941"/>
                    <a:pt x="4670584" y="287179"/>
                  </a:cubicBezTo>
                  <a:cubicBezTo>
                    <a:pt x="4672489" y="282416"/>
                    <a:pt x="4673441" y="278606"/>
                    <a:pt x="4675347" y="274796"/>
                  </a:cubicBezTo>
                  <a:cubicBezTo>
                    <a:pt x="4683919" y="259556"/>
                    <a:pt x="4689634" y="250984"/>
                    <a:pt x="4689634" y="250984"/>
                  </a:cubicBezTo>
                  <a:cubicBezTo>
                    <a:pt x="4689634" y="250984"/>
                    <a:pt x="4686776" y="254794"/>
                    <a:pt x="4681062" y="262414"/>
                  </a:cubicBezTo>
                  <a:cubicBezTo>
                    <a:pt x="4684872" y="252889"/>
                    <a:pt x="4686776" y="248126"/>
                    <a:pt x="4686776" y="248126"/>
                  </a:cubicBezTo>
                  <a:cubicBezTo>
                    <a:pt x="4686776" y="248126"/>
                    <a:pt x="4682966" y="254794"/>
                    <a:pt x="4675347" y="265271"/>
                  </a:cubicBezTo>
                  <a:cubicBezTo>
                    <a:pt x="4673441" y="267176"/>
                    <a:pt x="4672489" y="270034"/>
                    <a:pt x="4670584" y="272891"/>
                  </a:cubicBezTo>
                  <a:cubicBezTo>
                    <a:pt x="4670584" y="270986"/>
                    <a:pt x="4670584" y="270034"/>
                    <a:pt x="4670584" y="268129"/>
                  </a:cubicBezTo>
                  <a:cubicBezTo>
                    <a:pt x="4669631" y="261461"/>
                    <a:pt x="4669631" y="255746"/>
                    <a:pt x="4668679" y="250984"/>
                  </a:cubicBezTo>
                  <a:cubicBezTo>
                    <a:pt x="4668679" y="250031"/>
                    <a:pt x="4668679" y="248126"/>
                    <a:pt x="4669631" y="247174"/>
                  </a:cubicBezTo>
                  <a:cubicBezTo>
                    <a:pt x="4671537" y="230981"/>
                    <a:pt x="4671537" y="222409"/>
                    <a:pt x="4671537" y="222409"/>
                  </a:cubicBezTo>
                  <a:cubicBezTo>
                    <a:pt x="4671537" y="222409"/>
                    <a:pt x="4671537" y="224314"/>
                    <a:pt x="4670584" y="229076"/>
                  </a:cubicBezTo>
                  <a:cubicBezTo>
                    <a:pt x="4669631" y="231934"/>
                    <a:pt x="4668679" y="236696"/>
                    <a:pt x="4666774" y="242411"/>
                  </a:cubicBezTo>
                  <a:cubicBezTo>
                    <a:pt x="4666774" y="242411"/>
                    <a:pt x="4666774" y="242411"/>
                    <a:pt x="4666774" y="241459"/>
                  </a:cubicBezTo>
                  <a:cubicBezTo>
                    <a:pt x="4666774" y="241459"/>
                    <a:pt x="4666774" y="241459"/>
                    <a:pt x="4666774" y="241459"/>
                  </a:cubicBezTo>
                  <a:cubicBezTo>
                    <a:pt x="4666774" y="241459"/>
                    <a:pt x="4666774" y="241459"/>
                    <a:pt x="4666774" y="241459"/>
                  </a:cubicBezTo>
                  <a:cubicBezTo>
                    <a:pt x="4665822" y="235744"/>
                    <a:pt x="4663916" y="230981"/>
                    <a:pt x="4662012" y="228124"/>
                  </a:cubicBezTo>
                  <a:cubicBezTo>
                    <a:pt x="4661059" y="224314"/>
                    <a:pt x="4660106" y="222409"/>
                    <a:pt x="4660106" y="222409"/>
                  </a:cubicBezTo>
                  <a:cubicBezTo>
                    <a:pt x="4660106" y="222409"/>
                    <a:pt x="4660106" y="224314"/>
                    <a:pt x="4661059" y="228124"/>
                  </a:cubicBezTo>
                  <a:cubicBezTo>
                    <a:pt x="4662012" y="231934"/>
                    <a:pt x="4662964" y="237649"/>
                    <a:pt x="4662964" y="244316"/>
                  </a:cubicBezTo>
                  <a:cubicBezTo>
                    <a:pt x="4662964" y="245269"/>
                    <a:pt x="4662964" y="245269"/>
                    <a:pt x="4662964" y="246221"/>
                  </a:cubicBezTo>
                  <a:cubicBezTo>
                    <a:pt x="4662964" y="246221"/>
                    <a:pt x="4662964" y="246221"/>
                    <a:pt x="4662964" y="246221"/>
                  </a:cubicBezTo>
                  <a:cubicBezTo>
                    <a:pt x="4660106" y="250031"/>
                    <a:pt x="4657249" y="254794"/>
                    <a:pt x="4654391" y="262414"/>
                  </a:cubicBezTo>
                  <a:cubicBezTo>
                    <a:pt x="4653439" y="265271"/>
                    <a:pt x="4652487" y="268129"/>
                    <a:pt x="4650581" y="271939"/>
                  </a:cubicBezTo>
                  <a:cubicBezTo>
                    <a:pt x="4649629" y="267176"/>
                    <a:pt x="4647724" y="264319"/>
                    <a:pt x="4646772" y="261461"/>
                  </a:cubicBezTo>
                  <a:cubicBezTo>
                    <a:pt x="4646772" y="260509"/>
                    <a:pt x="4645819" y="259556"/>
                    <a:pt x="4645819" y="259556"/>
                  </a:cubicBezTo>
                  <a:cubicBezTo>
                    <a:pt x="4645819" y="257651"/>
                    <a:pt x="4646772" y="255746"/>
                    <a:pt x="4646772" y="253841"/>
                  </a:cubicBezTo>
                  <a:cubicBezTo>
                    <a:pt x="4648676" y="243364"/>
                    <a:pt x="4650581" y="234791"/>
                    <a:pt x="4653439" y="227171"/>
                  </a:cubicBezTo>
                  <a:cubicBezTo>
                    <a:pt x="4657249" y="212884"/>
                    <a:pt x="4660106" y="204311"/>
                    <a:pt x="4660106" y="204311"/>
                  </a:cubicBezTo>
                  <a:cubicBezTo>
                    <a:pt x="4660106" y="204311"/>
                    <a:pt x="4656297" y="211931"/>
                    <a:pt x="4650581" y="226219"/>
                  </a:cubicBezTo>
                  <a:cubicBezTo>
                    <a:pt x="4647724" y="232886"/>
                    <a:pt x="4643914" y="241459"/>
                    <a:pt x="4641056" y="251936"/>
                  </a:cubicBezTo>
                  <a:cubicBezTo>
                    <a:pt x="4639151" y="256699"/>
                    <a:pt x="4637247" y="261461"/>
                    <a:pt x="4636294" y="267176"/>
                  </a:cubicBezTo>
                  <a:cubicBezTo>
                    <a:pt x="4636294" y="264319"/>
                    <a:pt x="4636294" y="261461"/>
                    <a:pt x="4636294" y="259556"/>
                  </a:cubicBezTo>
                  <a:cubicBezTo>
                    <a:pt x="4636294" y="251936"/>
                    <a:pt x="4637247" y="246221"/>
                    <a:pt x="4638199" y="242411"/>
                  </a:cubicBezTo>
                  <a:cubicBezTo>
                    <a:pt x="4639151" y="238601"/>
                    <a:pt x="4639151" y="235744"/>
                    <a:pt x="4639151" y="235744"/>
                  </a:cubicBezTo>
                  <a:cubicBezTo>
                    <a:pt x="4639151" y="235744"/>
                    <a:pt x="4638199" y="237649"/>
                    <a:pt x="4637247" y="241459"/>
                  </a:cubicBezTo>
                  <a:cubicBezTo>
                    <a:pt x="4636294" y="245269"/>
                    <a:pt x="4633437" y="250984"/>
                    <a:pt x="4632484" y="258604"/>
                  </a:cubicBezTo>
                  <a:cubicBezTo>
                    <a:pt x="4632484" y="258604"/>
                    <a:pt x="4632484" y="258604"/>
                    <a:pt x="4632484" y="258604"/>
                  </a:cubicBezTo>
                  <a:cubicBezTo>
                    <a:pt x="4631531" y="255746"/>
                    <a:pt x="4631531" y="254794"/>
                    <a:pt x="4631531" y="254794"/>
                  </a:cubicBezTo>
                  <a:cubicBezTo>
                    <a:pt x="4631531" y="254794"/>
                    <a:pt x="4631531" y="256699"/>
                    <a:pt x="4632484" y="259556"/>
                  </a:cubicBezTo>
                  <a:cubicBezTo>
                    <a:pt x="4630579" y="267176"/>
                    <a:pt x="4629626" y="275749"/>
                    <a:pt x="4628674" y="285274"/>
                  </a:cubicBezTo>
                  <a:cubicBezTo>
                    <a:pt x="4628674" y="288131"/>
                    <a:pt x="4628674" y="290989"/>
                    <a:pt x="4628674" y="293846"/>
                  </a:cubicBezTo>
                  <a:cubicBezTo>
                    <a:pt x="4627722" y="296704"/>
                    <a:pt x="4626769" y="300514"/>
                    <a:pt x="4625816" y="303371"/>
                  </a:cubicBezTo>
                  <a:cubicBezTo>
                    <a:pt x="4619149" y="298609"/>
                    <a:pt x="4614387" y="295751"/>
                    <a:pt x="4610576" y="293846"/>
                  </a:cubicBezTo>
                  <a:cubicBezTo>
                    <a:pt x="4606766" y="291941"/>
                    <a:pt x="4604862" y="290989"/>
                    <a:pt x="4604862" y="290989"/>
                  </a:cubicBezTo>
                  <a:cubicBezTo>
                    <a:pt x="4604862" y="290989"/>
                    <a:pt x="4606766" y="291941"/>
                    <a:pt x="4610576" y="294799"/>
                  </a:cubicBezTo>
                  <a:cubicBezTo>
                    <a:pt x="4614387" y="296704"/>
                    <a:pt x="4619149" y="301466"/>
                    <a:pt x="4624864" y="307181"/>
                  </a:cubicBezTo>
                  <a:cubicBezTo>
                    <a:pt x="4624864" y="307181"/>
                    <a:pt x="4624864" y="307181"/>
                    <a:pt x="4625816" y="308134"/>
                  </a:cubicBezTo>
                  <a:cubicBezTo>
                    <a:pt x="4624864" y="313849"/>
                    <a:pt x="4622959" y="319564"/>
                    <a:pt x="4622006" y="325279"/>
                  </a:cubicBezTo>
                  <a:cubicBezTo>
                    <a:pt x="4621054" y="330994"/>
                    <a:pt x="4620101" y="337661"/>
                    <a:pt x="4619149" y="343376"/>
                  </a:cubicBezTo>
                  <a:cubicBezTo>
                    <a:pt x="4615339" y="330041"/>
                    <a:pt x="4611529" y="317659"/>
                    <a:pt x="4607719" y="306229"/>
                  </a:cubicBezTo>
                  <a:cubicBezTo>
                    <a:pt x="4605814" y="300514"/>
                    <a:pt x="4604862" y="295751"/>
                    <a:pt x="4602956" y="290989"/>
                  </a:cubicBezTo>
                  <a:cubicBezTo>
                    <a:pt x="4602004" y="282416"/>
                    <a:pt x="4601051" y="274796"/>
                    <a:pt x="4601051" y="269081"/>
                  </a:cubicBezTo>
                  <a:cubicBezTo>
                    <a:pt x="4599147" y="255746"/>
                    <a:pt x="4599147" y="248126"/>
                    <a:pt x="4599147" y="248126"/>
                  </a:cubicBezTo>
                  <a:cubicBezTo>
                    <a:pt x="4599147" y="248126"/>
                    <a:pt x="4598194" y="255746"/>
                    <a:pt x="4597241" y="269081"/>
                  </a:cubicBezTo>
                  <a:cubicBezTo>
                    <a:pt x="4597241" y="270034"/>
                    <a:pt x="4597241" y="270986"/>
                    <a:pt x="4597241" y="271939"/>
                  </a:cubicBezTo>
                  <a:cubicBezTo>
                    <a:pt x="4594384" y="263366"/>
                    <a:pt x="4591526" y="255746"/>
                    <a:pt x="4589622" y="250031"/>
                  </a:cubicBezTo>
                  <a:cubicBezTo>
                    <a:pt x="4589622" y="247174"/>
                    <a:pt x="4589622" y="244316"/>
                    <a:pt x="4589622" y="240506"/>
                  </a:cubicBezTo>
                  <a:cubicBezTo>
                    <a:pt x="4590574" y="225266"/>
                    <a:pt x="4590574" y="210979"/>
                    <a:pt x="4590574" y="197644"/>
                  </a:cubicBezTo>
                  <a:cubicBezTo>
                    <a:pt x="4591526" y="144304"/>
                    <a:pt x="4590574" y="109061"/>
                    <a:pt x="4590574" y="109061"/>
                  </a:cubicBezTo>
                  <a:cubicBezTo>
                    <a:pt x="4590574" y="109061"/>
                    <a:pt x="4584859" y="144304"/>
                    <a:pt x="4579144" y="197644"/>
                  </a:cubicBezTo>
                  <a:cubicBezTo>
                    <a:pt x="4578191" y="210979"/>
                    <a:pt x="4576287" y="225266"/>
                    <a:pt x="4574381" y="240506"/>
                  </a:cubicBezTo>
                  <a:cubicBezTo>
                    <a:pt x="4573429" y="245269"/>
                    <a:pt x="4573429" y="250984"/>
                    <a:pt x="4573429" y="256699"/>
                  </a:cubicBezTo>
                  <a:cubicBezTo>
                    <a:pt x="4573429" y="256699"/>
                    <a:pt x="4572476" y="257651"/>
                    <a:pt x="4572476" y="257651"/>
                  </a:cubicBezTo>
                  <a:cubicBezTo>
                    <a:pt x="4569619" y="259556"/>
                    <a:pt x="4566762" y="262414"/>
                    <a:pt x="4563904" y="265271"/>
                  </a:cubicBezTo>
                  <a:cubicBezTo>
                    <a:pt x="4563904" y="265271"/>
                    <a:pt x="4563904" y="264319"/>
                    <a:pt x="4563904" y="264319"/>
                  </a:cubicBezTo>
                  <a:cubicBezTo>
                    <a:pt x="4561999" y="261461"/>
                    <a:pt x="4560094" y="258604"/>
                    <a:pt x="4559141" y="255746"/>
                  </a:cubicBezTo>
                  <a:cubicBezTo>
                    <a:pt x="4559141" y="253841"/>
                    <a:pt x="4560094" y="250984"/>
                    <a:pt x="4560094" y="249079"/>
                  </a:cubicBezTo>
                  <a:cubicBezTo>
                    <a:pt x="4570572" y="195739"/>
                    <a:pt x="4576287" y="159544"/>
                    <a:pt x="4576287" y="159544"/>
                  </a:cubicBezTo>
                  <a:cubicBezTo>
                    <a:pt x="4576287" y="159544"/>
                    <a:pt x="4564856" y="192881"/>
                    <a:pt x="4550569" y="243364"/>
                  </a:cubicBezTo>
                  <a:cubicBezTo>
                    <a:pt x="4550569" y="243364"/>
                    <a:pt x="4550569" y="243364"/>
                    <a:pt x="4550569" y="243364"/>
                  </a:cubicBezTo>
                  <a:cubicBezTo>
                    <a:pt x="4550569" y="243364"/>
                    <a:pt x="4550569" y="243364"/>
                    <a:pt x="4550569" y="243364"/>
                  </a:cubicBezTo>
                  <a:cubicBezTo>
                    <a:pt x="4550569" y="244316"/>
                    <a:pt x="4549616" y="245269"/>
                    <a:pt x="4549616" y="246221"/>
                  </a:cubicBezTo>
                  <a:cubicBezTo>
                    <a:pt x="4549616" y="247174"/>
                    <a:pt x="4549616" y="248126"/>
                    <a:pt x="4548664" y="248126"/>
                  </a:cubicBezTo>
                  <a:cubicBezTo>
                    <a:pt x="4548664" y="248126"/>
                    <a:pt x="4548664" y="248126"/>
                    <a:pt x="4548664" y="248126"/>
                  </a:cubicBezTo>
                  <a:cubicBezTo>
                    <a:pt x="4548664" y="248126"/>
                    <a:pt x="4548664" y="248126"/>
                    <a:pt x="4548664" y="248126"/>
                  </a:cubicBezTo>
                  <a:cubicBezTo>
                    <a:pt x="4544854" y="261461"/>
                    <a:pt x="4540091" y="276701"/>
                    <a:pt x="4536281" y="292894"/>
                  </a:cubicBezTo>
                  <a:cubicBezTo>
                    <a:pt x="4534376" y="261461"/>
                    <a:pt x="4531519" y="241459"/>
                    <a:pt x="4531519" y="241459"/>
                  </a:cubicBezTo>
                  <a:cubicBezTo>
                    <a:pt x="4531519" y="241459"/>
                    <a:pt x="4527709" y="266224"/>
                    <a:pt x="4525804" y="303371"/>
                  </a:cubicBezTo>
                  <a:cubicBezTo>
                    <a:pt x="4525804" y="305276"/>
                    <a:pt x="4525804" y="307181"/>
                    <a:pt x="4525804" y="309086"/>
                  </a:cubicBezTo>
                  <a:cubicBezTo>
                    <a:pt x="4524851" y="308134"/>
                    <a:pt x="4524851" y="308134"/>
                    <a:pt x="4524851" y="308134"/>
                  </a:cubicBezTo>
                  <a:cubicBezTo>
                    <a:pt x="4524851" y="308134"/>
                    <a:pt x="4524851" y="309086"/>
                    <a:pt x="4525804" y="310039"/>
                  </a:cubicBezTo>
                  <a:cubicBezTo>
                    <a:pt x="4524851" y="317659"/>
                    <a:pt x="4524851" y="325279"/>
                    <a:pt x="4523899" y="333851"/>
                  </a:cubicBezTo>
                  <a:cubicBezTo>
                    <a:pt x="4523899" y="334804"/>
                    <a:pt x="4523899" y="336709"/>
                    <a:pt x="4523899" y="337661"/>
                  </a:cubicBezTo>
                  <a:cubicBezTo>
                    <a:pt x="4523899" y="338614"/>
                    <a:pt x="4523899" y="338614"/>
                    <a:pt x="4522947" y="339566"/>
                  </a:cubicBezTo>
                  <a:cubicBezTo>
                    <a:pt x="4521041" y="333851"/>
                    <a:pt x="4519137" y="328136"/>
                    <a:pt x="4517231" y="322421"/>
                  </a:cubicBezTo>
                  <a:cubicBezTo>
                    <a:pt x="4516279" y="314801"/>
                    <a:pt x="4515326" y="307181"/>
                    <a:pt x="4514374" y="301466"/>
                  </a:cubicBezTo>
                  <a:cubicBezTo>
                    <a:pt x="4515326" y="299561"/>
                    <a:pt x="4516279" y="298609"/>
                    <a:pt x="4517231" y="297656"/>
                  </a:cubicBezTo>
                  <a:cubicBezTo>
                    <a:pt x="4520089" y="293846"/>
                    <a:pt x="4521041" y="291941"/>
                    <a:pt x="4521041" y="291941"/>
                  </a:cubicBezTo>
                  <a:cubicBezTo>
                    <a:pt x="4521041" y="291941"/>
                    <a:pt x="4519137" y="293846"/>
                    <a:pt x="4516279" y="297656"/>
                  </a:cubicBezTo>
                  <a:cubicBezTo>
                    <a:pt x="4515326" y="298609"/>
                    <a:pt x="4515326" y="299561"/>
                    <a:pt x="4514374" y="300514"/>
                  </a:cubicBezTo>
                  <a:cubicBezTo>
                    <a:pt x="4514374" y="299561"/>
                    <a:pt x="4514374" y="299561"/>
                    <a:pt x="4514374" y="298609"/>
                  </a:cubicBezTo>
                  <a:cubicBezTo>
                    <a:pt x="4515326" y="296704"/>
                    <a:pt x="4516279" y="294799"/>
                    <a:pt x="4517231" y="293846"/>
                  </a:cubicBezTo>
                  <a:cubicBezTo>
                    <a:pt x="4519137" y="290036"/>
                    <a:pt x="4520089" y="288131"/>
                    <a:pt x="4520089" y="288131"/>
                  </a:cubicBezTo>
                  <a:cubicBezTo>
                    <a:pt x="4520089" y="288131"/>
                    <a:pt x="4519137" y="290036"/>
                    <a:pt x="4516279" y="292894"/>
                  </a:cubicBezTo>
                  <a:cubicBezTo>
                    <a:pt x="4515326" y="293846"/>
                    <a:pt x="4515326" y="294799"/>
                    <a:pt x="4514374" y="295751"/>
                  </a:cubicBezTo>
                  <a:cubicBezTo>
                    <a:pt x="4513422" y="290036"/>
                    <a:pt x="4512469" y="285274"/>
                    <a:pt x="4512469" y="281464"/>
                  </a:cubicBezTo>
                  <a:cubicBezTo>
                    <a:pt x="4511516" y="272891"/>
                    <a:pt x="4511516" y="268129"/>
                    <a:pt x="4511516" y="268129"/>
                  </a:cubicBezTo>
                  <a:cubicBezTo>
                    <a:pt x="4511516" y="268129"/>
                    <a:pt x="4511516" y="270034"/>
                    <a:pt x="4510564" y="272891"/>
                  </a:cubicBezTo>
                  <a:cubicBezTo>
                    <a:pt x="4508659" y="259556"/>
                    <a:pt x="4506754" y="250984"/>
                    <a:pt x="4506754" y="250984"/>
                  </a:cubicBezTo>
                  <a:cubicBezTo>
                    <a:pt x="4506754" y="250984"/>
                    <a:pt x="4506754" y="267176"/>
                    <a:pt x="4506754" y="292894"/>
                  </a:cubicBezTo>
                  <a:cubicBezTo>
                    <a:pt x="4504849" y="289084"/>
                    <a:pt x="4502944" y="285274"/>
                    <a:pt x="4501991" y="282416"/>
                  </a:cubicBezTo>
                  <a:cubicBezTo>
                    <a:pt x="4499134" y="276701"/>
                    <a:pt x="4496276" y="271939"/>
                    <a:pt x="4494372" y="267176"/>
                  </a:cubicBezTo>
                  <a:cubicBezTo>
                    <a:pt x="4491514" y="262414"/>
                    <a:pt x="4489609" y="258604"/>
                    <a:pt x="4486751" y="254794"/>
                  </a:cubicBezTo>
                  <a:cubicBezTo>
                    <a:pt x="4483894" y="250984"/>
                    <a:pt x="4481989" y="248126"/>
                    <a:pt x="4480084" y="245269"/>
                  </a:cubicBezTo>
                  <a:cubicBezTo>
                    <a:pt x="4478179" y="242411"/>
                    <a:pt x="4476274" y="240506"/>
                    <a:pt x="4474369" y="238601"/>
                  </a:cubicBezTo>
                  <a:cubicBezTo>
                    <a:pt x="4471512" y="235744"/>
                    <a:pt x="4470559" y="233839"/>
                    <a:pt x="4469606" y="233839"/>
                  </a:cubicBezTo>
                  <a:cubicBezTo>
                    <a:pt x="4470559" y="230981"/>
                    <a:pt x="4471512" y="228124"/>
                    <a:pt x="4471512" y="225266"/>
                  </a:cubicBezTo>
                  <a:cubicBezTo>
                    <a:pt x="4474369" y="214789"/>
                    <a:pt x="4476274" y="206216"/>
                    <a:pt x="4477226" y="198596"/>
                  </a:cubicBezTo>
                  <a:cubicBezTo>
                    <a:pt x="4480084" y="184309"/>
                    <a:pt x="4481037" y="175736"/>
                    <a:pt x="4481037" y="175736"/>
                  </a:cubicBezTo>
                  <a:cubicBezTo>
                    <a:pt x="4481037" y="175736"/>
                    <a:pt x="4478179" y="183356"/>
                    <a:pt x="4473416" y="197644"/>
                  </a:cubicBezTo>
                  <a:cubicBezTo>
                    <a:pt x="4471512" y="204311"/>
                    <a:pt x="4467701" y="212884"/>
                    <a:pt x="4463891" y="222409"/>
                  </a:cubicBezTo>
                  <a:cubicBezTo>
                    <a:pt x="4461034" y="229076"/>
                    <a:pt x="4458176" y="236696"/>
                    <a:pt x="4455319" y="244316"/>
                  </a:cubicBezTo>
                  <a:cubicBezTo>
                    <a:pt x="4454366" y="240506"/>
                    <a:pt x="4453414" y="237649"/>
                    <a:pt x="4453414" y="237649"/>
                  </a:cubicBezTo>
                  <a:cubicBezTo>
                    <a:pt x="4453414" y="237649"/>
                    <a:pt x="4453414" y="240506"/>
                    <a:pt x="4454366" y="247174"/>
                  </a:cubicBezTo>
                  <a:cubicBezTo>
                    <a:pt x="4453414" y="249079"/>
                    <a:pt x="4452462" y="251936"/>
                    <a:pt x="4451509" y="253841"/>
                  </a:cubicBezTo>
                  <a:cubicBezTo>
                    <a:pt x="4446747" y="265271"/>
                    <a:pt x="4441984" y="276701"/>
                    <a:pt x="4436269" y="289084"/>
                  </a:cubicBezTo>
                  <a:cubicBezTo>
                    <a:pt x="4436269" y="288131"/>
                    <a:pt x="4435316" y="288131"/>
                    <a:pt x="4435316" y="287179"/>
                  </a:cubicBezTo>
                  <a:cubicBezTo>
                    <a:pt x="4436269" y="283369"/>
                    <a:pt x="4437222" y="278606"/>
                    <a:pt x="4438174" y="274796"/>
                  </a:cubicBezTo>
                  <a:cubicBezTo>
                    <a:pt x="4440079" y="265271"/>
                    <a:pt x="4441984" y="255746"/>
                    <a:pt x="4444841" y="247174"/>
                  </a:cubicBezTo>
                  <a:cubicBezTo>
                    <a:pt x="4449604" y="229076"/>
                    <a:pt x="4452462" y="211931"/>
                    <a:pt x="4454366" y="195739"/>
                  </a:cubicBezTo>
                  <a:cubicBezTo>
                    <a:pt x="4457224" y="179546"/>
                    <a:pt x="4459129" y="165259"/>
                    <a:pt x="4460081" y="151924"/>
                  </a:cubicBezTo>
                  <a:cubicBezTo>
                    <a:pt x="4461034" y="145256"/>
                    <a:pt x="4461987" y="139541"/>
                    <a:pt x="4461987" y="133826"/>
                  </a:cubicBezTo>
                  <a:cubicBezTo>
                    <a:pt x="4461987" y="128111"/>
                    <a:pt x="4462939" y="123349"/>
                    <a:pt x="4462939" y="118586"/>
                  </a:cubicBezTo>
                  <a:cubicBezTo>
                    <a:pt x="4463891" y="99536"/>
                    <a:pt x="4463891" y="89059"/>
                    <a:pt x="4463891" y="89059"/>
                  </a:cubicBezTo>
                  <a:cubicBezTo>
                    <a:pt x="4463891" y="89059"/>
                    <a:pt x="4461987" y="99536"/>
                    <a:pt x="4458176" y="118586"/>
                  </a:cubicBezTo>
                  <a:cubicBezTo>
                    <a:pt x="4457224" y="123349"/>
                    <a:pt x="4456272" y="128111"/>
                    <a:pt x="4455319" y="133826"/>
                  </a:cubicBezTo>
                  <a:cubicBezTo>
                    <a:pt x="4454366" y="139541"/>
                    <a:pt x="4452462" y="145256"/>
                    <a:pt x="4451509" y="151924"/>
                  </a:cubicBezTo>
                  <a:cubicBezTo>
                    <a:pt x="4448651" y="164306"/>
                    <a:pt x="4445794" y="178594"/>
                    <a:pt x="4441984" y="194786"/>
                  </a:cubicBezTo>
                  <a:cubicBezTo>
                    <a:pt x="4438174" y="210026"/>
                    <a:pt x="4434364" y="227171"/>
                    <a:pt x="4428649" y="245269"/>
                  </a:cubicBezTo>
                  <a:cubicBezTo>
                    <a:pt x="4426744" y="252889"/>
                    <a:pt x="4423887" y="261461"/>
                    <a:pt x="4421981" y="269081"/>
                  </a:cubicBezTo>
                  <a:cubicBezTo>
                    <a:pt x="4419124" y="265271"/>
                    <a:pt x="4417219" y="261461"/>
                    <a:pt x="4414362" y="258604"/>
                  </a:cubicBezTo>
                  <a:cubicBezTo>
                    <a:pt x="4406741" y="247174"/>
                    <a:pt x="4400074" y="237649"/>
                    <a:pt x="4394359" y="230029"/>
                  </a:cubicBezTo>
                  <a:cubicBezTo>
                    <a:pt x="4391501" y="227171"/>
                    <a:pt x="4389597" y="224314"/>
                    <a:pt x="4387691" y="221456"/>
                  </a:cubicBezTo>
                  <a:cubicBezTo>
                    <a:pt x="4392454" y="195739"/>
                    <a:pt x="4395312" y="180499"/>
                    <a:pt x="4395312" y="180499"/>
                  </a:cubicBezTo>
                  <a:cubicBezTo>
                    <a:pt x="4395312" y="180499"/>
                    <a:pt x="4390549" y="193834"/>
                    <a:pt x="4382929" y="215741"/>
                  </a:cubicBezTo>
                  <a:cubicBezTo>
                    <a:pt x="4378166" y="209074"/>
                    <a:pt x="4375309" y="206216"/>
                    <a:pt x="4375309" y="206216"/>
                  </a:cubicBezTo>
                  <a:cubicBezTo>
                    <a:pt x="4375309" y="206216"/>
                    <a:pt x="4378166" y="210979"/>
                    <a:pt x="4381976" y="218599"/>
                  </a:cubicBezTo>
                  <a:cubicBezTo>
                    <a:pt x="4378166" y="230029"/>
                    <a:pt x="4374356" y="244316"/>
                    <a:pt x="4369594" y="259556"/>
                  </a:cubicBezTo>
                  <a:cubicBezTo>
                    <a:pt x="4368641" y="248126"/>
                    <a:pt x="4368641" y="241459"/>
                    <a:pt x="4368641" y="241459"/>
                  </a:cubicBezTo>
                  <a:cubicBezTo>
                    <a:pt x="4368641" y="241459"/>
                    <a:pt x="4367689" y="249079"/>
                    <a:pt x="4366737" y="263366"/>
                  </a:cubicBezTo>
                  <a:cubicBezTo>
                    <a:pt x="4366737" y="267176"/>
                    <a:pt x="4365784" y="270986"/>
                    <a:pt x="4365784" y="274796"/>
                  </a:cubicBezTo>
                  <a:cubicBezTo>
                    <a:pt x="4364831" y="277654"/>
                    <a:pt x="4363879" y="281464"/>
                    <a:pt x="4362926" y="285274"/>
                  </a:cubicBezTo>
                  <a:cubicBezTo>
                    <a:pt x="4362926" y="284321"/>
                    <a:pt x="4362926" y="283369"/>
                    <a:pt x="4362926" y="282416"/>
                  </a:cubicBezTo>
                  <a:cubicBezTo>
                    <a:pt x="4361974" y="269081"/>
                    <a:pt x="4361022" y="261461"/>
                    <a:pt x="4361022" y="261461"/>
                  </a:cubicBezTo>
                  <a:cubicBezTo>
                    <a:pt x="4361022" y="261461"/>
                    <a:pt x="4360069" y="269081"/>
                    <a:pt x="4359116" y="283369"/>
                  </a:cubicBezTo>
                  <a:cubicBezTo>
                    <a:pt x="4359116" y="285274"/>
                    <a:pt x="4359116" y="288131"/>
                    <a:pt x="4359116" y="290989"/>
                  </a:cubicBezTo>
                  <a:cubicBezTo>
                    <a:pt x="4358164" y="291941"/>
                    <a:pt x="4358164" y="293846"/>
                    <a:pt x="4357212" y="295751"/>
                  </a:cubicBezTo>
                  <a:cubicBezTo>
                    <a:pt x="4355306" y="291941"/>
                    <a:pt x="4353401" y="288131"/>
                    <a:pt x="4351497" y="284321"/>
                  </a:cubicBezTo>
                  <a:cubicBezTo>
                    <a:pt x="4351497" y="274796"/>
                    <a:pt x="4351497" y="266224"/>
                    <a:pt x="4351497" y="257651"/>
                  </a:cubicBezTo>
                  <a:cubicBezTo>
                    <a:pt x="4351497" y="250984"/>
                    <a:pt x="4351497" y="245269"/>
                    <a:pt x="4351497" y="238601"/>
                  </a:cubicBezTo>
                  <a:cubicBezTo>
                    <a:pt x="4351497" y="232886"/>
                    <a:pt x="4350544" y="227171"/>
                    <a:pt x="4349591" y="221456"/>
                  </a:cubicBezTo>
                  <a:cubicBezTo>
                    <a:pt x="4348639" y="210979"/>
                    <a:pt x="4346734" y="201454"/>
                    <a:pt x="4345781" y="194786"/>
                  </a:cubicBezTo>
                  <a:cubicBezTo>
                    <a:pt x="4343876" y="179546"/>
                    <a:pt x="4342924" y="170974"/>
                    <a:pt x="4342924" y="170974"/>
                  </a:cubicBezTo>
                  <a:cubicBezTo>
                    <a:pt x="4342924" y="170974"/>
                    <a:pt x="4342924" y="179546"/>
                    <a:pt x="4341972" y="194786"/>
                  </a:cubicBezTo>
                  <a:cubicBezTo>
                    <a:pt x="4341972" y="201454"/>
                    <a:pt x="4341972" y="209074"/>
                    <a:pt x="4341972" y="217646"/>
                  </a:cubicBezTo>
                  <a:cubicBezTo>
                    <a:pt x="4341019" y="210026"/>
                    <a:pt x="4340066" y="205264"/>
                    <a:pt x="4340066" y="205264"/>
                  </a:cubicBezTo>
                  <a:cubicBezTo>
                    <a:pt x="4340066" y="205264"/>
                    <a:pt x="4340066" y="212884"/>
                    <a:pt x="4339114" y="226219"/>
                  </a:cubicBezTo>
                  <a:cubicBezTo>
                    <a:pt x="4339114" y="232886"/>
                    <a:pt x="4339114" y="240506"/>
                    <a:pt x="4338162" y="250031"/>
                  </a:cubicBezTo>
                  <a:cubicBezTo>
                    <a:pt x="4338162" y="250984"/>
                    <a:pt x="4338162" y="251936"/>
                    <a:pt x="4338162" y="252889"/>
                  </a:cubicBezTo>
                  <a:cubicBezTo>
                    <a:pt x="4338162" y="251936"/>
                    <a:pt x="4337209" y="250984"/>
                    <a:pt x="4337209" y="250984"/>
                  </a:cubicBezTo>
                  <a:cubicBezTo>
                    <a:pt x="4330541" y="231934"/>
                    <a:pt x="4324826" y="213836"/>
                    <a:pt x="4318159" y="196691"/>
                  </a:cubicBezTo>
                  <a:cubicBezTo>
                    <a:pt x="4306729" y="163354"/>
                    <a:pt x="4296251" y="135731"/>
                    <a:pt x="4289584" y="116681"/>
                  </a:cubicBezTo>
                  <a:cubicBezTo>
                    <a:pt x="4282916" y="97631"/>
                    <a:pt x="4278154" y="86201"/>
                    <a:pt x="4278154" y="86201"/>
                  </a:cubicBezTo>
                  <a:cubicBezTo>
                    <a:pt x="4278154" y="86201"/>
                    <a:pt x="4281012" y="97631"/>
                    <a:pt x="4285774" y="117634"/>
                  </a:cubicBezTo>
                  <a:cubicBezTo>
                    <a:pt x="4291489" y="137636"/>
                    <a:pt x="4298156" y="166211"/>
                    <a:pt x="4307681" y="199549"/>
                  </a:cubicBezTo>
                  <a:cubicBezTo>
                    <a:pt x="4315301" y="228124"/>
                    <a:pt x="4324826" y="261461"/>
                    <a:pt x="4334351" y="295751"/>
                  </a:cubicBezTo>
                  <a:cubicBezTo>
                    <a:pt x="4334351" y="295751"/>
                    <a:pt x="4334351" y="296704"/>
                    <a:pt x="4334351" y="296704"/>
                  </a:cubicBezTo>
                  <a:cubicBezTo>
                    <a:pt x="4334351" y="295751"/>
                    <a:pt x="4334351" y="294799"/>
                    <a:pt x="4334351" y="294799"/>
                  </a:cubicBezTo>
                  <a:cubicBezTo>
                    <a:pt x="4334351" y="294799"/>
                    <a:pt x="4334351" y="296704"/>
                    <a:pt x="4334351" y="301466"/>
                  </a:cubicBezTo>
                  <a:cubicBezTo>
                    <a:pt x="4334351" y="306229"/>
                    <a:pt x="4333399" y="310991"/>
                    <a:pt x="4333399" y="315754"/>
                  </a:cubicBezTo>
                  <a:cubicBezTo>
                    <a:pt x="4332447" y="325279"/>
                    <a:pt x="4331494" y="334804"/>
                    <a:pt x="4329589" y="344329"/>
                  </a:cubicBezTo>
                  <a:cubicBezTo>
                    <a:pt x="4329589" y="344329"/>
                    <a:pt x="4328637" y="343376"/>
                    <a:pt x="4328637" y="343376"/>
                  </a:cubicBezTo>
                  <a:cubicBezTo>
                    <a:pt x="4327684" y="342424"/>
                    <a:pt x="4327684" y="341471"/>
                    <a:pt x="4326731" y="340519"/>
                  </a:cubicBezTo>
                  <a:cubicBezTo>
                    <a:pt x="4326731" y="338614"/>
                    <a:pt x="4325779" y="335756"/>
                    <a:pt x="4325779" y="333851"/>
                  </a:cubicBezTo>
                  <a:cubicBezTo>
                    <a:pt x="4321969" y="309086"/>
                    <a:pt x="4318159" y="286226"/>
                    <a:pt x="4315301" y="267176"/>
                  </a:cubicBezTo>
                  <a:cubicBezTo>
                    <a:pt x="4308634" y="228124"/>
                    <a:pt x="4301966" y="202406"/>
                    <a:pt x="4301966" y="202406"/>
                  </a:cubicBezTo>
                  <a:cubicBezTo>
                    <a:pt x="4301966" y="202406"/>
                    <a:pt x="4301966" y="229076"/>
                    <a:pt x="4303872" y="268129"/>
                  </a:cubicBezTo>
                  <a:cubicBezTo>
                    <a:pt x="4303872" y="270034"/>
                    <a:pt x="4303872" y="271939"/>
                    <a:pt x="4303872" y="274796"/>
                  </a:cubicBezTo>
                  <a:cubicBezTo>
                    <a:pt x="4302919" y="279559"/>
                    <a:pt x="4302919" y="284321"/>
                    <a:pt x="4301966" y="290036"/>
                  </a:cubicBezTo>
                  <a:cubicBezTo>
                    <a:pt x="4301966" y="292894"/>
                    <a:pt x="4301014" y="296704"/>
                    <a:pt x="4300062" y="300514"/>
                  </a:cubicBezTo>
                  <a:cubicBezTo>
                    <a:pt x="4296251" y="295751"/>
                    <a:pt x="4292441" y="290989"/>
                    <a:pt x="4288631" y="286226"/>
                  </a:cubicBezTo>
                  <a:cubicBezTo>
                    <a:pt x="4292441" y="292894"/>
                    <a:pt x="4295299" y="298609"/>
                    <a:pt x="4299109" y="305276"/>
                  </a:cubicBezTo>
                  <a:cubicBezTo>
                    <a:pt x="4298156" y="310991"/>
                    <a:pt x="4297204" y="316706"/>
                    <a:pt x="4296251" y="323374"/>
                  </a:cubicBezTo>
                  <a:cubicBezTo>
                    <a:pt x="4295299" y="330041"/>
                    <a:pt x="4293394" y="337661"/>
                    <a:pt x="4292441" y="346234"/>
                  </a:cubicBezTo>
                  <a:cubicBezTo>
                    <a:pt x="4291489" y="345281"/>
                    <a:pt x="4291489" y="344329"/>
                    <a:pt x="4290537" y="343376"/>
                  </a:cubicBezTo>
                  <a:cubicBezTo>
                    <a:pt x="4289584" y="330994"/>
                    <a:pt x="4289584" y="319564"/>
                    <a:pt x="4288631" y="308134"/>
                  </a:cubicBezTo>
                  <a:cubicBezTo>
                    <a:pt x="4285774" y="262414"/>
                    <a:pt x="4281964" y="231934"/>
                    <a:pt x="4281964" y="231934"/>
                  </a:cubicBezTo>
                  <a:cubicBezTo>
                    <a:pt x="4281964" y="231934"/>
                    <a:pt x="4279106" y="262414"/>
                    <a:pt x="4277201" y="309086"/>
                  </a:cubicBezTo>
                  <a:cubicBezTo>
                    <a:pt x="4277201" y="311944"/>
                    <a:pt x="4277201" y="315754"/>
                    <a:pt x="4277201" y="318611"/>
                  </a:cubicBezTo>
                  <a:cubicBezTo>
                    <a:pt x="4276249" y="315754"/>
                    <a:pt x="4274344" y="312896"/>
                    <a:pt x="4273391" y="310039"/>
                  </a:cubicBezTo>
                  <a:cubicBezTo>
                    <a:pt x="4273391" y="308134"/>
                    <a:pt x="4272439" y="305276"/>
                    <a:pt x="4272439" y="303371"/>
                  </a:cubicBezTo>
                  <a:cubicBezTo>
                    <a:pt x="4271487" y="292894"/>
                    <a:pt x="4271487" y="283369"/>
                    <a:pt x="4270534" y="273844"/>
                  </a:cubicBezTo>
                  <a:cubicBezTo>
                    <a:pt x="4270534" y="269081"/>
                    <a:pt x="4269581" y="265271"/>
                    <a:pt x="4269581" y="260509"/>
                  </a:cubicBezTo>
                  <a:cubicBezTo>
                    <a:pt x="4269581" y="258604"/>
                    <a:pt x="4269581" y="257651"/>
                    <a:pt x="4269581" y="255746"/>
                  </a:cubicBezTo>
                  <a:cubicBezTo>
                    <a:pt x="4269581" y="248126"/>
                    <a:pt x="4270534" y="241459"/>
                    <a:pt x="4270534" y="234791"/>
                  </a:cubicBezTo>
                  <a:cubicBezTo>
                    <a:pt x="4273391" y="187166"/>
                    <a:pt x="4273391" y="155734"/>
                    <a:pt x="4273391" y="155734"/>
                  </a:cubicBezTo>
                  <a:cubicBezTo>
                    <a:pt x="4273391" y="155734"/>
                    <a:pt x="4265772" y="187166"/>
                    <a:pt x="4259104" y="233839"/>
                  </a:cubicBezTo>
                  <a:cubicBezTo>
                    <a:pt x="4257199" y="245269"/>
                    <a:pt x="4255294" y="258604"/>
                    <a:pt x="4253389" y="271939"/>
                  </a:cubicBezTo>
                  <a:cubicBezTo>
                    <a:pt x="4253389" y="270986"/>
                    <a:pt x="4252437" y="270986"/>
                    <a:pt x="4252437" y="270034"/>
                  </a:cubicBezTo>
                  <a:cubicBezTo>
                    <a:pt x="4252437" y="267176"/>
                    <a:pt x="4253389" y="264319"/>
                    <a:pt x="4253389" y="262414"/>
                  </a:cubicBezTo>
                  <a:cubicBezTo>
                    <a:pt x="4255294" y="248126"/>
                    <a:pt x="4255294" y="240506"/>
                    <a:pt x="4255294" y="240506"/>
                  </a:cubicBezTo>
                  <a:cubicBezTo>
                    <a:pt x="4255294" y="240506"/>
                    <a:pt x="4253389" y="248126"/>
                    <a:pt x="4249579" y="262414"/>
                  </a:cubicBezTo>
                  <a:cubicBezTo>
                    <a:pt x="4249579" y="263366"/>
                    <a:pt x="4249579" y="264319"/>
                    <a:pt x="4248626" y="264319"/>
                  </a:cubicBezTo>
                  <a:cubicBezTo>
                    <a:pt x="4247674" y="263366"/>
                    <a:pt x="4247674" y="262414"/>
                    <a:pt x="4246722" y="261461"/>
                  </a:cubicBezTo>
                  <a:cubicBezTo>
                    <a:pt x="4245769" y="260509"/>
                    <a:pt x="4244816" y="259556"/>
                    <a:pt x="4244816" y="257651"/>
                  </a:cubicBezTo>
                  <a:cubicBezTo>
                    <a:pt x="4244816" y="253841"/>
                    <a:pt x="4244816" y="251936"/>
                    <a:pt x="4244816" y="251936"/>
                  </a:cubicBezTo>
                  <a:cubicBezTo>
                    <a:pt x="4244816" y="251936"/>
                    <a:pt x="4244816" y="253841"/>
                    <a:pt x="4243864" y="256699"/>
                  </a:cubicBezTo>
                  <a:cubicBezTo>
                    <a:pt x="4242912" y="254794"/>
                    <a:pt x="4241959" y="252889"/>
                    <a:pt x="4240054" y="251936"/>
                  </a:cubicBezTo>
                  <a:cubicBezTo>
                    <a:pt x="4236244" y="246221"/>
                    <a:pt x="4232434" y="240506"/>
                    <a:pt x="4229576" y="235744"/>
                  </a:cubicBezTo>
                  <a:cubicBezTo>
                    <a:pt x="4223862" y="227171"/>
                    <a:pt x="4220051" y="222409"/>
                    <a:pt x="4220051" y="222409"/>
                  </a:cubicBezTo>
                  <a:cubicBezTo>
                    <a:pt x="4220051" y="222409"/>
                    <a:pt x="4221956" y="228124"/>
                    <a:pt x="4226719" y="237649"/>
                  </a:cubicBezTo>
                  <a:cubicBezTo>
                    <a:pt x="4228624" y="242411"/>
                    <a:pt x="4231481" y="248126"/>
                    <a:pt x="4234339" y="254794"/>
                  </a:cubicBezTo>
                  <a:cubicBezTo>
                    <a:pt x="4235291" y="255746"/>
                    <a:pt x="4235291" y="257651"/>
                    <a:pt x="4236244" y="258604"/>
                  </a:cubicBezTo>
                  <a:cubicBezTo>
                    <a:pt x="4234339" y="256699"/>
                    <a:pt x="4233387" y="253841"/>
                    <a:pt x="4231481" y="251936"/>
                  </a:cubicBezTo>
                  <a:cubicBezTo>
                    <a:pt x="4227672" y="246221"/>
                    <a:pt x="4223862" y="242411"/>
                    <a:pt x="4220051" y="237649"/>
                  </a:cubicBezTo>
                  <a:cubicBezTo>
                    <a:pt x="4213384" y="229076"/>
                    <a:pt x="4206716" y="223361"/>
                    <a:pt x="4202906" y="219551"/>
                  </a:cubicBezTo>
                  <a:cubicBezTo>
                    <a:pt x="4199097" y="215741"/>
                    <a:pt x="4196239" y="213836"/>
                    <a:pt x="4196239" y="213836"/>
                  </a:cubicBezTo>
                  <a:cubicBezTo>
                    <a:pt x="4196239" y="213836"/>
                    <a:pt x="4198144" y="216694"/>
                    <a:pt x="4201954" y="220504"/>
                  </a:cubicBezTo>
                  <a:cubicBezTo>
                    <a:pt x="4205764" y="225266"/>
                    <a:pt x="4211479" y="230981"/>
                    <a:pt x="4216241" y="240506"/>
                  </a:cubicBezTo>
                  <a:cubicBezTo>
                    <a:pt x="4219099" y="245269"/>
                    <a:pt x="4222909" y="250031"/>
                    <a:pt x="4225766" y="255746"/>
                  </a:cubicBezTo>
                  <a:cubicBezTo>
                    <a:pt x="4228624" y="261461"/>
                    <a:pt x="4232434" y="267176"/>
                    <a:pt x="4235291" y="273844"/>
                  </a:cubicBezTo>
                  <a:cubicBezTo>
                    <a:pt x="4235291" y="273844"/>
                    <a:pt x="4235291" y="273844"/>
                    <a:pt x="4235291" y="274796"/>
                  </a:cubicBezTo>
                  <a:cubicBezTo>
                    <a:pt x="4235291" y="276701"/>
                    <a:pt x="4235291" y="279559"/>
                    <a:pt x="4235291" y="282416"/>
                  </a:cubicBezTo>
                  <a:cubicBezTo>
                    <a:pt x="4235291" y="282416"/>
                    <a:pt x="4234339" y="281464"/>
                    <a:pt x="4234339" y="281464"/>
                  </a:cubicBezTo>
                  <a:cubicBezTo>
                    <a:pt x="4231481" y="277654"/>
                    <a:pt x="4229576" y="276701"/>
                    <a:pt x="4229576" y="276701"/>
                  </a:cubicBezTo>
                  <a:cubicBezTo>
                    <a:pt x="4229576" y="276701"/>
                    <a:pt x="4231481" y="278606"/>
                    <a:pt x="4233387" y="282416"/>
                  </a:cubicBezTo>
                  <a:cubicBezTo>
                    <a:pt x="4233387" y="283369"/>
                    <a:pt x="4234339" y="283369"/>
                    <a:pt x="4235291" y="284321"/>
                  </a:cubicBezTo>
                  <a:cubicBezTo>
                    <a:pt x="4235291" y="284321"/>
                    <a:pt x="4235291" y="284321"/>
                    <a:pt x="4235291" y="285274"/>
                  </a:cubicBezTo>
                  <a:cubicBezTo>
                    <a:pt x="4233387" y="292894"/>
                    <a:pt x="4231481" y="301466"/>
                    <a:pt x="4229576" y="310039"/>
                  </a:cubicBezTo>
                  <a:cubicBezTo>
                    <a:pt x="4225766" y="301466"/>
                    <a:pt x="4222909" y="295751"/>
                    <a:pt x="4222909" y="295751"/>
                  </a:cubicBezTo>
                  <a:cubicBezTo>
                    <a:pt x="4222909" y="295751"/>
                    <a:pt x="4224814" y="303371"/>
                    <a:pt x="4228624" y="316706"/>
                  </a:cubicBezTo>
                  <a:cubicBezTo>
                    <a:pt x="4227672" y="319564"/>
                    <a:pt x="4227672" y="323374"/>
                    <a:pt x="4226719" y="327184"/>
                  </a:cubicBezTo>
                  <a:cubicBezTo>
                    <a:pt x="4225766" y="331946"/>
                    <a:pt x="4224814" y="336709"/>
                    <a:pt x="4223862" y="341471"/>
                  </a:cubicBezTo>
                  <a:cubicBezTo>
                    <a:pt x="4223862" y="338614"/>
                    <a:pt x="4222909" y="336709"/>
                    <a:pt x="4222909" y="334804"/>
                  </a:cubicBezTo>
                  <a:cubicBezTo>
                    <a:pt x="4221004" y="320516"/>
                    <a:pt x="4219099" y="311944"/>
                    <a:pt x="4219099" y="311944"/>
                  </a:cubicBezTo>
                  <a:cubicBezTo>
                    <a:pt x="4219099" y="311944"/>
                    <a:pt x="4219099" y="319564"/>
                    <a:pt x="4219099" y="331946"/>
                  </a:cubicBezTo>
                  <a:cubicBezTo>
                    <a:pt x="4218147" y="329089"/>
                    <a:pt x="4218147" y="326231"/>
                    <a:pt x="4217194" y="322421"/>
                  </a:cubicBezTo>
                  <a:cubicBezTo>
                    <a:pt x="4206716" y="272891"/>
                    <a:pt x="4198144" y="240506"/>
                    <a:pt x="4198144" y="240506"/>
                  </a:cubicBezTo>
                  <a:cubicBezTo>
                    <a:pt x="4198144" y="240506"/>
                    <a:pt x="4200049" y="273844"/>
                    <a:pt x="4205764" y="323374"/>
                  </a:cubicBezTo>
                  <a:cubicBezTo>
                    <a:pt x="4206716" y="335756"/>
                    <a:pt x="4208622" y="350044"/>
                    <a:pt x="4210526" y="364331"/>
                  </a:cubicBezTo>
                  <a:cubicBezTo>
                    <a:pt x="4210526" y="364331"/>
                    <a:pt x="4210526" y="363379"/>
                    <a:pt x="4210526" y="363379"/>
                  </a:cubicBezTo>
                  <a:cubicBezTo>
                    <a:pt x="4209574" y="357664"/>
                    <a:pt x="4207669" y="353854"/>
                    <a:pt x="4206716" y="350044"/>
                  </a:cubicBezTo>
                  <a:cubicBezTo>
                    <a:pt x="4204812" y="342424"/>
                    <a:pt x="4202906" y="338614"/>
                    <a:pt x="4202906" y="338614"/>
                  </a:cubicBezTo>
                  <a:cubicBezTo>
                    <a:pt x="4202906" y="338614"/>
                    <a:pt x="4202906" y="343376"/>
                    <a:pt x="4202906" y="350996"/>
                  </a:cubicBezTo>
                  <a:cubicBezTo>
                    <a:pt x="4202906" y="354806"/>
                    <a:pt x="4202906" y="359569"/>
                    <a:pt x="4202906" y="365284"/>
                  </a:cubicBezTo>
                  <a:cubicBezTo>
                    <a:pt x="4202906" y="368141"/>
                    <a:pt x="4202906" y="370999"/>
                    <a:pt x="4202906" y="373856"/>
                  </a:cubicBezTo>
                  <a:cubicBezTo>
                    <a:pt x="4202906" y="375761"/>
                    <a:pt x="4202906" y="377666"/>
                    <a:pt x="4202906" y="380524"/>
                  </a:cubicBezTo>
                  <a:cubicBezTo>
                    <a:pt x="4202906" y="379571"/>
                    <a:pt x="4202906" y="379571"/>
                    <a:pt x="4201954" y="378619"/>
                  </a:cubicBezTo>
                  <a:cubicBezTo>
                    <a:pt x="4201954" y="372904"/>
                    <a:pt x="4201001" y="367189"/>
                    <a:pt x="4201001" y="361474"/>
                  </a:cubicBezTo>
                  <a:cubicBezTo>
                    <a:pt x="4199097" y="318611"/>
                    <a:pt x="4196239" y="290989"/>
                    <a:pt x="4196239" y="290989"/>
                  </a:cubicBezTo>
                  <a:cubicBezTo>
                    <a:pt x="4196239" y="290989"/>
                    <a:pt x="4193381" y="310991"/>
                    <a:pt x="4191476" y="343376"/>
                  </a:cubicBezTo>
                  <a:cubicBezTo>
                    <a:pt x="4190524" y="340519"/>
                    <a:pt x="4189571" y="338614"/>
                    <a:pt x="4188619" y="335756"/>
                  </a:cubicBezTo>
                  <a:cubicBezTo>
                    <a:pt x="4185761" y="329089"/>
                    <a:pt x="4183856" y="323374"/>
                    <a:pt x="4181951" y="319564"/>
                  </a:cubicBezTo>
                  <a:cubicBezTo>
                    <a:pt x="4181951" y="318611"/>
                    <a:pt x="4180999" y="317659"/>
                    <a:pt x="4180999" y="316706"/>
                  </a:cubicBezTo>
                  <a:cubicBezTo>
                    <a:pt x="4180999" y="291941"/>
                    <a:pt x="4180999" y="271939"/>
                    <a:pt x="4180999" y="256699"/>
                  </a:cubicBezTo>
                  <a:cubicBezTo>
                    <a:pt x="4180999" y="239554"/>
                    <a:pt x="4180999" y="230029"/>
                    <a:pt x="4180999" y="230029"/>
                  </a:cubicBezTo>
                  <a:cubicBezTo>
                    <a:pt x="4180999" y="230029"/>
                    <a:pt x="4180046" y="239554"/>
                    <a:pt x="4177189" y="256699"/>
                  </a:cubicBezTo>
                  <a:cubicBezTo>
                    <a:pt x="4177189" y="260509"/>
                    <a:pt x="4176236" y="265271"/>
                    <a:pt x="4175284" y="270034"/>
                  </a:cubicBezTo>
                  <a:cubicBezTo>
                    <a:pt x="4175284" y="263366"/>
                    <a:pt x="4174331" y="257651"/>
                    <a:pt x="4174331" y="251936"/>
                  </a:cubicBezTo>
                  <a:cubicBezTo>
                    <a:pt x="4172426" y="207169"/>
                    <a:pt x="4168616" y="176689"/>
                    <a:pt x="4168616" y="176689"/>
                  </a:cubicBezTo>
                  <a:cubicBezTo>
                    <a:pt x="4168616" y="176689"/>
                    <a:pt x="4164806" y="207169"/>
                    <a:pt x="4162901" y="251936"/>
                  </a:cubicBezTo>
                  <a:cubicBezTo>
                    <a:pt x="4161949" y="263366"/>
                    <a:pt x="4161949" y="274796"/>
                    <a:pt x="4160996" y="287179"/>
                  </a:cubicBezTo>
                  <a:cubicBezTo>
                    <a:pt x="4158139" y="292894"/>
                    <a:pt x="4156234" y="298609"/>
                    <a:pt x="4154329" y="303371"/>
                  </a:cubicBezTo>
                  <a:cubicBezTo>
                    <a:pt x="4151471" y="295751"/>
                    <a:pt x="4149566" y="288131"/>
                    <a:pt x="4146709" y="280511"/>
                  </a:cubicBezTo>
                  <a:cubicBezTo>
                    <a:pt x="4144804" y="267176"/>
                    <a:pt x="4141946" y="255746"/>
                    <a:pt x="4140041" y="246221"/>
                  </a:cubicBezTo>
                  <a:cubicBezTo>
                    <a:pt x="4137184" y="231934"/>
                    <a:pt x="4133374" y="224314"/>
                    <a:pt x="4133374" y="224314"/>
                  </a:cubicBezTo>
                  <a:cubicBezTo>
                    <a:pt x="4133374" y="224314"/>
                    <a:pt x="4134326" y="226219"/>
                    <a:pt x="4134326" y="230029"/>
                  </a:cubicBezTo>
                  <a:cubicBezTo>
                    <a:pt x="4135279" y="233839"/>
                    <a:pt x="4135279" y="239554"/>
                    <a:pt x="4136231" y="247174"/>
                  </a:cubicBezTo>
                  <a:cubicBezTo>
                    <a:pt x="4136231" y="248126"/>
                    <a:pt x="4136231" y="249079"/>
                    <a:pt x="4136231" y="250031"/>
                  </a:cubicBezTo>
                  <a:cubicBezTo>
                    <a:pt x="4130516" y="230981"/>
                    <a:pt x="4123849" y="213836"/>
                    <a:pt x="4118134" y="197644"/>
                  </a:cubicBezTo>
                  <a:cubicBezTo>
                    <a:pt x="4108609" y="166211"/>
                    <a:pt x="4100036" y="139541"/>
                    <a:pt x="4093369" y="121444"/>
                  </a:cubicBezTo>
                  <a:cubicBezTo>
                    <a:pt x="4087654" y="103346"/>
                    <a:pt x="4083844" y="92869"/>
                    <a:pt x="4083844" y="92869"/>
                  </a:cubicBezTo>
                  <a:cubicBezTo>
                    <a:pt x="4083844" y="92869"/>
                    <a:pt x="4085749" y="103346"/>
                    <a:pt x="4089559" y="122396"/>
                  </a:cubicBezTo>
                  <a:cubicBezTo>
                    <a:pt x="4093369" y="141446"/>
                    <a:pt x="4099084" y="168116"/>
                    <a:pt x="4106704" y="200501"/>
                  </a:cubicBezTo>
                  <a:cubicBezTo>
                    <a:pt x="4110514" y="215741"/>
                    <a:pt x="4115276" y="231934"/>
                    <a:pt x="4119086" y="248126"/>
                  </a:cubicBezTo>
                  <a:cubicBezTo>
                    <a:pt x="4118134" y="251936"/>
                    <a:pt x="4118134" y="256699"/>
                    <a:pt x="4117181" y="262414"/>
                  </a:cubicBezTo>
                  <a:cubicBezTo>
                    <a:pt x="4116229" y="270034"/>
                    <a:pt x="4115276" y="279559"/>
                    <a:pt x="4114324" y="290036"/>
                  </a:cubicBezTo>
                  <a:cubicBezTo>
                    <a:pt x="4113371" y="288131"/>
                    <a:pt x="4111466" y="286226"/>
                    <a:pt x="4110514" y="284321"/>
                  </a:cubicBezTo>
                  <a:cubicBezTo>
                    <a:pt x="4113371" y="274796"/>
                    <a:pt x="4114324" y="269081"/>
                    <a:pt x="4114324" y="269081"/>
                  </a:cubicBezTo>
                  <a:cubicBezTo>
                    <a:pt x="4114324" y="269081"/>
                    <a:pt x="4112419" y="273844"/>
                    <a:pt x="4108609" y="282416"/>
                  </a:cubicBezTo>
                  <a:cubicBezTo>
                    <a:pt x="4106704" y="279559"/>
                    <a:pt x="4104799" y="276701"/>
                    <a:pt x="4102894" y="273844"/>
                  </a:cubicBezTo>
                  <a:cubicBezTo>
                    <a:pt x="4100989" y="270034"/>
                    <a:pt x="4098131" y="266224"/>
                    <a:pt x="4096226" y="263366"/>
                  </a:cubicBezTo>
                  <a:cubicBezTo>
                    <a:pt x="4097179" y="262414"/>
                    <a:pt x="4097179" y="262414"/>
                    <a:pt x="4097179" y="262414"/>
                  </a:cubicBezTo>
                  <a:cubicBezTo>
                    <a:pt x="4097179" y="262414"/>
                    <a:pt x="4097179" y="262414"/>
                    <a:pt x="4096226" y="263366"/>
                  </a:cubicBezTo>
                  <a:cubicBezTo>
                    <a:pt x="4094321" y="259556"/>
                    <a:pt x="4092416" y="256699"/>
                    <a:pt x="4090511" y="253841"/>
                  </a:cubicBezTo>
                  <a:cubicBezTo>
                    <a:pt x="4090511" y="253841"/>
                    <a:pt x="4090511" y="252889"/>
                    <a:pt x="4090511" y="252889"/>
                  </a:cubicBezTo>
                  <a:cubicBezTo>
                    <a:pt x="4090511" y="248126"/>
                    <a:pt x="4090511" y="243364"/>
                    <a:pt x="4090511" y="238601"/>
                  </a:cubicBezTo>
                  <a:cubicBezTo>
                    <a:pt x="4090511" y="230029"/>
                    <a:pt x="4090511" y="222409"/>
                    <a:pt x="4090511" y="215741"/>
                  </a:cubicBezTo>
                  <a:cubicBezTo>
                    <a:pt x="4090511" y="203359"/>
                    <a:pt x="4089559" y="195739"/>
                    <a:pt x="4089559" y="195739"/>
                  </a:cubicBezTo>
                  <a:cubicBezTo>
                    <a:pt x="4089559" y="195739"/>
                    <a:pt x="4088606" y="202406"/>
                    <a:pt x="4086701" y="214789"/>
                  </a:cubicBezTo>
                  <a:cubicBezTo>
                    <a:pt x="4085749" y="221456"/>
                    <a:pt x="4084796" y="228124"/>
                    <a:pt x="4083844" y="236696"/>
                  </a:cubicBezTo>
                  <a:cubicBezTo>
                    <a:pt x="4083844" y="237649"/>
                    <a:pt x="4083844" y="238601"/>
                    <a:pt x="4083844" y="239554"/>
                  </a:cubicBezTo>
                  <a:cubicBezTo>
                    <a:pt x="4082891" y="238601"/>
                    <a:pt x="4082891" y="237649"/>
                    <a:pt x="4081939" y="236696"/>
                  </a:cubicBezTo>
                  <a:cubicBezTo>
                    <a:pt x="4081939" y="235744"/>
                    <a:pt x="4081939" y="235744"/>
                    <a:pt x="4081939" y="234791"/>
                  </a:cubicBezTo>
                  <a:cubicBezTo>
                    <a:pt x="4081939" y="225266"/>
                    <a:pt x="4081939" y="216694"/>
                    <a:pt x="4081939" y="210026"/>
                  </a:cubicBezTo>
                  <a:cubicBezTo>
                    <a:pt x="4081939" y="195739"/>
                    <a:pt x="4081939" y="188119"/>
                    <a:pt x="4081939" y="188119"/>
                  </a:cubicBezTo>
                  <a:cubicBezTo>
                    <a:pt x="4081939" y="188119"/>
                    <a:pt x="4080034" y="195739"/>
                    <a:pt x="4078129" y="210026"/>
                  </a:cubicBezTo>
                  <a:cubicBezTo>
                    <a:pt x="4077176" y="214789"/>
                    <a:pt x="4076224" y="220504"/>
                    <a:pt x="4075271" y="227171"/>
                  </a:cubicBezTo>
                  <a:cubicBezTo>
                    <a:pt x="4065746" y="210979"/>
                    <a:pt x="4059079" y="202406"/>
                    <a:pt x="4059079" y="202406"/>
                  </a:cubicBezTo>
                  <a:cubicBezTo>
                    <a:pt x="4059079" y="202406"/>
                    <a:pt x="4063841" y="214789"/>
                    <a:pt x="4073366" y="236696"/>
                  </a:cubicBezTo>
                  <a:cubicBezTo>
                    <a:pt x="4072414" y="241459"/>
                    <a:pt x="4071461" y="246221"/>
                    <a:pt x="4071461" y="250984"/>
                  </a:cubicBezTo>
                  <a:cubicBezTo>
                    <a:pt x="4070509" y="256699"/>
                    <a:pt x="4069556" y="261461"/>
                    <a:pt x="4067651" y="268129"/>
                  </a:cubicBezTo>
                  <a:cubicBezTo>
                    <a:pt x="4066699" y="271939"/>
                    <a:pt x="4065746" y="275749"/>
                    <a:pt x="4064794" y="279559"/>
                  </a:cubicBezTo>
                  <a:cubicBezTo>
                    <a:pt x="4063841" y="270986"/>
                    <a:pt x="4062889" y="262414"/>
                    <a:pt x="4061936" y="253841"/>
                  </a:cubicBezTo>
                  <a:cubicBezTo>
                    <a:pt x="4059079" y="237649"/>
                    <a:pt x="4057174" y="221456"/>
                    <a:pt x="4054316" y="207169"/>
                  </a:cubicBezTo>
                  <a:cubicBezTo>
                    <a:pt x="4053364" y="199549"/>
                    <a:pt x="4052411" y="192881"/>
                    <a:pt x="4050506" y="186214"/>
                  </a:cubicBezTo>
                  <a:cubicBezTo>
                    <a:pt x="4049554" y="179546"/>
                    <a:pt x="4047649" y="173831"/>
                    <a:pt x="4046696" y="168116"/>
                  </a:cubicBezTo>
                  <a:cubicBezTo>
                    <a:pt x="4043839" y="156686"/>
                    <a:pt x="4041934" y="146209"/>
                    <a:pt x="4040029" y="137636"/>
                  </a:cubicBezTo>
                  <a:cubicBezTo>
                    <a:pt x="4036219" y="121444"/>
                    <a:pt x="4034314" y="111919"/>
                    <a:pt x="4034314" y="111919"/>
                  </a:cubicBezTo>
                  <a:cubicBezTo>
                    <a:pt x="4034314" y="111919"/>
                    <a:pt x="4035266" y="121444"/>
                    <a:pt x="4036219" y="138589"/>
                  </a:cubicBezTo>
                  <a:cubicBezTo>
                    <a:pt x="4037171" y="147161"/>
                    <a:pt x="4038124" y="157639"/>
                    <a:pt x="4039076" y="169069"/>
                  </a:cubicBezTo>
                  <a:cubicBezTo>
                    <a:pt x="4040029" y="180499"/>
                    <a:pt x="4040981" y="193834"/>
                    <a:pt x="4042886" y="208121"/>
                  </a:cubicBezTo>
                  <a:cubicBezTo>
                    <a:pt x="4043839" y="217646"/>
                    <a:pt x="4044791" y="228124"/>
                    <a:pt x="4044791" y="238601"/>
                  </a:cubicBezTo>
                  <a:cubicBezTo>
                    <a:pt x="4037171" y="196691"/>
                    <a:pt x="4031456" y="170021"/>
                    <a:pt x="4031456" y="170021"/>
                  </a:cubicBezTo>
                  <a:cubicBezTo>
                    <a:pt x="4031456" y="170021"/>
                    <a:pt x="4032409" y="203359"/>
                    <a:pt x="4036219" y="252889"/>
                  </a:cubicBezTo>
                  <a:cubicBezTo>
                    <a:pt x="4036219" y="256699"/>
                    <a:pt x="4037171" y="260509"/>
                    <a:pt x="4037171" y="264319"/>
                  </a:cubicBezTo>
                  <a:cubicBezTo>
                    <a:pt x="4036219" y="266224"/>
                    <a:pt x="4036219" y="269081"/>
                    <a:pt x="4035266" y="271939"/>
                  </a:cubicBezTo>
                  <a:cubicBezTo>
                    <a:pt x="4033361" y="270034"/>
                    <a:pt x="4031456" y="268129"/>
                    <a:pt x="4030504" y="266224"/>
                  </a:cubicBezTo>
                  <a:cubicBezTo>
                    <a:pt x="4027646" y="263366"/>
                    <a:pt x="4025741" y="260509"/>
                    <a:pt x="4023836" y="258604"/>
                  </a:cubicBezTo>
                  <a:cubicBezTo>
                    <a:pt x="4018121" y="247174"/>
                    <a:pt x="4013359" y="237649"/>
                    <a:pt x="4009549" y="229076"/>
                  </a:cubicBezTo>
                  <a:cubicBezTo>
                    <a:pt x="4000976" y="212884"/>
                    <a:pt x="3996214" y="203359"/>
                    <a:pt x="3996214" y="203359"/>
                  </a:cubicBezTo>
                  <a:cubicBezTo>
                    <a:pt x="3996214" y="203359"/>
                    <a:pt x="4000024" y="212884"/>
                    <a:pt x="4005739" y="230981"/>
                  </a:cubicBezTo>
                  <a:cubicBezTo>
                    <a:pt x="4008596" y="237649"/>
                    <a:pt x="4011454" y="246221"/>
                    <a:pt x="4014311" y="255746"/>
                  </a:cubicBezTo>
                  <a:cubicBezTo>
                    <a:pt x="4010501" y="248126"/>
                    <a:pt x="4007644" y="243364"/>
                    <a:pt x="4007644" y="243364"/>
                  </a:cubicBezTo>
                  <a:cubicBezTo>
                    <a:pt x="4007644" y="243364"/>
                    <a:pt x="4010501" y="251936"/>
                    <a:pt x="4015264" y="267176"/>
                  </a:cubicBezTo>
                  <a:cubicBezTo>
                    <a:pt x="4018121" y="274796"/>
                    <a:pt x="4020979" y="284321"/>
                    <a:pt x="4024789" y="294799"/>
                  </a:cubicBezTo>
                  <a:cubicBezTo>
                    <a:pt x="4025741" y="296704"/>
                    <a:pt x="4026694" y="299561"/>
                    <a:pt x="4026694" y="301466"/>
                  </a:cubicBezTo>
                  <a:cubicBezTo>
                    <a:pt x="4023836" y="310039"/>
                    <a:pt x="4020026" y="319564"/>
                    <a:pt x="4017169" y="329089"/>
                  </a:cubicBezTo>
                  <a:cubicBezTo>
                    <a:pt x="4017169" y="329089"/>
                    <a:pt x="4016216" y="328136"/>
                    <a:pt x="4016216" y="328136"/>
                  </a:cubicBezTo>
                  <a:cubicBezTo>
                    <a:pt x="4011454" y="325279"/>
                    <a:pt x="4008596" y="322421"/>
                    <a:pt x="4005739" y="320516"/>
                  </a:cubicBezTo>
                  <a:cubicBezTo>
                    <a:pt x="4005739" y="319564"/>
                    <a:pt x="4005739" y="318611"/>
                    <a:pt x="4005739" y="318611"/>
                  </a:cubicBezTo>
                  <a:cubicBezTo>
                    <a:pt x="4005739" y="315754"/>
                    <a:pt x="4004786" y="313849"/>
                    <a:pt x="4004786" y="310991"/>
                  </a:cubicBezTo>
                  <a:cubicBezTo>
                    <a:pt x="4004786" y="285274"/>
                    <a:pt x="4002881" y="269081"/>
                    <a:pt x="4002881" y="269081"/>
                  </a:cubicBezTo>
                  <a:cubicBezTo>
                    <a:pt x="4002881" y="269081"/>
                    <a:pt x="4001929" y="274796"/>
                    <a:pt x="4000024" y="284321"/>
                  </a:cubicBezTo>
                  <a:cubicBezTo>
                    <a:pt x="3996214" y="261461"/>
                    <a:pt x="3993356" y="248126"/>
                    <a:pt x="3993356" y="248126"/>
                  </a:cubicBezTo>
                  <a:cubicBezTo>
                    <a:pt x="3993356" y="248126"/>
                    <a:pt x="3993356" y="262414"/>
                    <a:pt x="3993356" y="286226"/>
                  </a:cubicBezTo>
                  <a:cubicBezTo>
                    <a:pt x="3993356" y="286226"/>
                    <a:pt x="3992404" y="286226"/>
                    <a:pt x="3992404" y="286226"/>
                  </a:cubicBezTo>
                  <a:cubicBezTo>
                    <a:pt x="3991451" y="286226"/>
                    <a:pt x="3990499" y="287179"/>
                    <a:pt x="3990499" y="287179"/>
                  </a:cubicBezTo>
                  <a:cubicBezTo>
                    <a:pt x="3988594" y="289084"/>
                    <a:pt x="3986689" y="290989"/>
                    <a:pt x="3985736" y="292894"/>
                  </a:cubicBezTo>
                  <a:lnTo>
                    <a:pt x="3985736" y="292894"/>
                  </a:lnTo>
                  <a:lnTo>
                    <a:pt x="3985736" y="293846"/>
                  </a:lnTo>
                  <a:cubicBezTo>
                    <a:pt x="3984784" y="300514"/>
                    <a:pt x="3983831" y="307181"/>
                    <a:pt x="3983831" y="313849"/>
                  </a:cubicBezTo>
                  <a:cubicBezTo>
                    <a:pt x="3981926" y="310039"/>
                    <a:pt x="3980021" y="307181"/>
                    <a:pt x="3978116" y="303371"/>
                  </a:cubicBezTo>
                  <a:cubicBezTo>
                    <a:pt x="3983831" y="284321"/>
                    <a:pt x="3987641" y="272891"/>
                    <a:pt x="3987641" y="272891"/>
                  </a:cubicBezTo>
                  <a:cubicBezTo>
                    <a:pt x="3987641" y="272891"/>
                    <a:pt x="3982879" y="282416"/>
                    <a:pt x="3976211" y="298609"/>
                  </a:cubicBezTo>
                  <a:cubicBezTo>
                    <a:pt x="3975259" y="296704"/>
                    <a:pt x="3974306" y="295751"/>
                    <a:pt x="3973354" y="293846"/>
                  </a:cubicBezTo>
                  <a:cubicBezTo>
                    <a:pt x="3973354" y="291941"/>
                    <a:pt x="3973354" y="290036"/>
                    <a:pt x="3973354" y="288131"/>
                  </a:cubicBezTo>
                  <a:cubicBezTo>
                    <a:pt x="3973354" y="288131"/>
                    <a:pt x="3973354" y="288131"/>
                    <a:pt x="3973354" y="287179"/>
                  </a:cubicBezTo>
                  <a:cubicBezTo>
                    <a:pt x="3975259" y="283369"/>
                    <a:pt x="3976211" y="280511"/>
                    <a:pt x="3977164" y="278606"/>
                  </a:cubicBezTo>
                  <a:cubicBezTo>
                    <a:pt x="3979069" y="273844"/>
                    <a:pt x="3980974" y="270986"/>
                    <a:pt x="3980974" y="270986"/>
                  </a:cubicBezTo>
                  <a:cubicBezTo>
                    <a:pt x="3980974" y="270986"/>
                    <a:pt x="3979069" y="272891"/>
                    <a:pt x="3976211" y="277654"/>
                  </a:cubicBezTo>
                  <a:cubicBezTo>
                    <a:pt x="3975259" y="278606"/>
                    <a:pt x="3974306" y="280511"/>
                    <a:pt x="3973354" y="282416"/>
                  </a:cubicBezTo>
                  <a:cubicBezTo>
                    <a:pt x="3973354" y="271939"/>
                    <a:pt x="3974306" y="262414"/>
                    <a:pt x="3974306" y="254794"/>
                  </a:cubicBezTo>
                  <a:cubicBezTo>
                    <a:pt x="3975259" y="238601"/>
                    <a:pt x="3975259" y="230029"/>
                    <a:pt x="3975259" y="230029"/>
                  </a:cubicBezTo>
                  <a:cubicBezTo>
                    <a:pt x="3975259" y="230029"/>
                    <a:pt x="3973354" y="238601"/>
                    <a:pt x="3970496" y="254794"/>
                  </a:cubicBezTo>
                  <a:cubicBezTo>
                    <a:pt x="3969544" y="262414"/>
                    <a:pt x="3967639" y="271939"/>
                    <a:pt x="3965734" y="281464"/>
                  </a:cubicBezTo>
                  <a:cubicBezTo>
                    <a:pt x="3964781" y="278606"/>
                    <a:pt x="3962876" y="276701"/>
                    <a:pt x="3961924" y="274796"/>
                  </a:cubicBezTo>
                  <a:cubicBezTo>
                    <a:pt x="3961924" y="272891"/>
                    <a:pt x="3962876" y="270986"/>
                    <a:pt x="3962876" y="269081"/>
                  </a:cubicBezTo>
                  <a:cubicBezTo>
                    <a:pt x="3965734" y="253841"/>
                    <a:pt x="3966686" y="245269"/>
                    <a:pt x="3966686" y="245269"/>
                  </a:cubicBezTo>
                  <a:cubicBezTo>
                    <a:pt x="3966686" y="245269"/>
                    <a:pt x="3963829" y="253841"/>
                    <a:pt x="3959066" y="268129"/>
                  </a:cubicBezTo>
                  <a:cubicBezTo>
                    <a:pt x="3959066" y="268129"/>
                    <a:pt x="3959066" y="269081"/>
                    <a:pt x="3959066" y="269081"/>
                  </a:cubicBezTo>
                  <a:cubicBezTo>
                    <a:pt x="3959066" y="268129"/>
                    <a:pt x="3958114" y="267176"/>
                    <a:pt x="3958114" y="267176"/>
                  </a:cubicBezTo>
                  <a:cubicBezTo>
                    <a:pt x="3958114" y="267176"/>
                    <a:pt x="3958114" y="268129"/>
                    <a:pt x="3958114" y="269081"/>
                  </a:cubicBezTo>
                  <a:cubicBezTo>
                    <a:pt x="3957161" y="267176"/>
                    <a:pt x="3956209" y="266224"/>
                    <a:pt x="3955256" y="264319"/>
                  </a:cubicBezTo>
                  <a:cubicBezTo>
                    <a:pt x="3955256" y="258604"/>
                    <a:pt x="3955256" y="252889"/>
                    <a:pt x="3954304" y="247174"/>
                  </a:cubicBezTo>
                  <a:cubicBezTo>
                    <a:pt x="3954304" y="235744"/>
                    <a:pt x="3952399" y="224314"/>
                    <a:pt x="3951446" y="214789"/>
                  </a:cubicBezTo>
                  <a:cubicBezTo>
                    <a:pt x="3950494" y="205264"/>
                    <a:pt x="3949541" y="196691"/>
                    <a:pt x="3947636" y="190024"/>
                  </a:cubicBezTo>
                  <a:cubicBezTo>
                    <a:pt x="3944779" y="176689"/>
                    <a:pt x="3943826" y="169069"/>
                    <a:pt x="3943826" y="169069"/>
                  </a:cubicBezTo>
                  <a:cubicBezTo>
                    <a:pt x="3943826" y="169069"/>
                    <a:pt x="3943826" y="176689"/>
                    <a:pt x="3943826" y="190024"/>
                  </a:cubicBezTo>
                  <a:cubicBezTo>
                    <a:pt x="3943826" y="196691"/>
                    <a:pt x="3943826" y="205264"/>
                    <a:pt x="3943826" y="214789"/>
                  </a:cubicBezTo>
                  <a:cubicBezTo>
                    <a:pt x="3943826" y="218599"/>
                    <a:pt x="3943826" y="222409"/>
                    <a:pt x="3943826" y="225266"/>
                  </a:cubicBezTo>
                  <a:cubicBezTo>
                    <a:pt x="3942874" y="221456"/>
                    <a:pt x="3941921" y="218599"/>
                    <a:pt x="3940969" y="215741"/>
                  </a:cubicBezTo>
                  <a:cubicBezTo>
                    <a:pt x="3940016" y="212884"/>
                    <a:pt x="3939064" y="210026"/>
                    <a:pt x="3939064" y="207169"/>
                  </a:cubicBezTo>
                  <a:cubicBezTo>
                    <a:pt x="3940016" y="206216"/>
                    <a:pt x="3940016" y="205264"/>
                    <a:pt x="3940016" y="205264"/>
                  </a:cubicBezTo>
                  <a:cubicBezTo>
                    <a:pt x="3940016" y="205264"/>
                    <a:pt x="3940016" y="206216"/>
                    <a:pt x="3939064" y="206216"/>
                  </a:cubicBezTo>
                  <a:cubicBezTo>
                    <a:pt x="3937159" y="201454"/>
                    <a:pt x="3936206" y="197644"/>
                    <a:pt x="3936206" y="197644"/>
                  </a:cubicBezTo>
                  <a:cubicBezTo>
                    <a:pt x="3936206" y="197644"/>
                    <a:pt x="3936206" y="201454"/>
                    <a:pt x="3937159" y="208121"/>
                  </a:cubicBezTo>
                  <a:cubicBezTo>
                    <a:pt x="3935254" y="210026"/>
                    <a:pt x="3932396" y="212884"/>
                    <a:pt x="3929539" y="216694"/>
                  </a:cubicBezTo>
                  <a:cubicBezTo>
                    <a:pt x="3928586" y="210026"/>
                    <a:pt x="3926681" y="204311"/>
                    <a:pt x="3925729" y="197644"/>
                  </a:cubicBezTo>
                  <a:cubicBezTo>
                    <a:pt x="3922871" y="183356"/>
                    <a:pt x="3919061" y="170021"/>
                    <a:pt x="3916204" y="158591"/>
                  </a:cubicBezTo>
                  <a:cubicBezTo>
                    <a:pt x="3915251" y="153829"/>
                    <a:pt x="3913346" y="148114"/>
                    <a:pt x="3912394" y="144304"/>
                  </a:cubicBezTo>
                  <a:cubicBezTo>
                    <a:pt x="3913346" y="142399"/>
                    <a:pt x="3914299" y="141446"/>
                    <a:pt x="3915251" y="139541"/>
                  </a:cubicBezTo>
                  <a:cubicBezTo>
                    <a:pt x="3927634" y="121444"/>
                    <a:pt x="3935254" y="110966"/>
                    <a:pt x="3935254" y="110966"/>
                  </a:cubicBezTo>
                  <a:cubicBezTo>
                    <a:pt x="3935254" y="110966"/>
                    <a:pt x="3926681" y="120491"/>
                    <a:pt x="3912394" y="136684"/>
                  </a:cubicBezTo>
                  <a:cubicBezTo>
                    <a:pt x="3911441" y="137636"/>
                    <a:pt x="3911441" y="138589"/>
                    <a:pt x="3910489" y="138589"/>
                  </a:cubicBezTo>
                  <a:cubicBezTo>
                    <a:pt x="3909536" y="134779"/>
                    <a:pt x="3908584" y="131921"/>
                    <a:pt x="3906679" y="128111"/>
                  </a:cubicBezTo>
                  <a:cubicBezTo>
                    <a:pt x="3900964" y="111919"/>
                    <a:pt x="3898106" y="102394"/>
                    <a:pt x="3898106" y="102394"/>
                  </a:cubicBezTo>
                  <a:cubicBezTo>
                    <a:pt x="3898106" y="102394"/>
                    <a:pt x="3900011" y="111919"/>
                    <a:pt x="3902869" y="129064"/>
                  </a:cubicBezTo>
                  <a:cubicBezTo>
                    <a:pt x="3903821" y="132874"/>
                    <a:pt x="3904774" y="137636"/>
                    <a:pt x="3905726" y="143351"/>
                  </a:cubicBezTo>
                  <a:cubicBezTo>
                    <a:pt x="3905726" y="143351"/>
                    <a:pt x="3905726" y="143351"/>
                    <a:pt x="3905726" y="143351"/>
                  </a:cubicBezTo>
                  <a:cubicBezTo>
                    <a:pt x="3900011" y="150019"/>
                    <a:pt x="3894296" y="158591"/>
                    <a:pt x="3887629" y="167164"/>
                  </a:cubicBezTo>
                  <a:cubicBezTo>
                    <a:pt x="3880961" y="175736"/>
                    <a:pt x="3874294" y="185261"/>
                    <a:pt x="3866674" y="195739"/>
                  </a:cubicBezTo>
                  <a:cubicBezTo>
                    <a:pt x="3864769" y="190976"/>
                    <a:pt x="3863816" y="186214"/>
                    <a:pt x="3862864" y="182404"/>
                  </a:cubicBezTo>
                  <a:cubicBezTo>
                    <a:pt x="3857149" y="165259"/>
                    <a:pt x="3854291" y="155734"/>
                    <a:pt x="3854291" y="155734"/>
                  </a:cubicBezTo>
                  <a:cubicBezTo>
                    <a:pt x="3854291" y="155734"/>
                    <a:pt x="3856196" y="166211"/>
                    <a:pt x="3859054" y="183356"/>
                  </a:cubicBezTo>
                  <a:cubicBezTo>
                    <a:pt x="3860006" y="189071"/>
                    <a:pt x="3861911" y="195739"/>
                    <a:pt x="3862864" y="202406"/>
                  </a:cubicBezTo>
                  <a:cubicBezTo>
                    <a:pt x="3860959" y="204311"/>
                    <a:pt x="3860006" y="207169"/>
                    <a:pt x="3858101" y="209074"/>
                  </a:cubicBezTo>
                  <a:cubicBezTo>
                    <a:pt x="3856196" y="211931"/>
                    <a:pt x="3855244" y="213836"/>
                    <a:pt x="3853339" y="216694"/>
                  </a:cubicBezTo>
                  <a:cubicBezTo>
                    <a:pt x="3851434" y="208121"/>
                    <a:pt x="3850481" y="200501"/>
                    <a:pt x="3849529" y="195739"/>
                  </a:cubicBezTo>
                  <a:cubicBezTo>
                    <a:pt x="3850481" y="189071"/>
                    <a:pt x="3851434" y="183356"/>
                    <a:pt x="3852386" y="178594"/>
                  </a:cubicBezTo>
                  <a:cubicBezTo>
                    <a:pt x="3854291" y="166211"/>
                    <a:pt x="3855244" y="158591"/>
                    <a:pt x="3855244" y="158591"/>
                  </a:cubicBezTo>
                  <a:cubicBezTo>
                    <a:pt x="3855244" y="158591"/>
                    <a:pt x="3853339" y="165259"/>
                    <a:pt x="3848576" y="177641"/>
                  </a:cubicBezTo>
                  <a:cubicBezTo>
                    <a:pt x="3846671" y="184309"/>
                    <a:pt x="3844766" y="190976"/>
                    <a:pt x="3841909" y="199549"/>
                  </a:cubicBezTo>
                  <a:cubicBezTo>
                    <a:pt x="3840956" y="204311"/>
                    <a:pt x="3839051" y="208121"/>
                    <a:pt x="3838099" y="212884"/>
                  </a:cubicBezTo>
                  <a:cubicBezTo>
                    <a:pt x="3837146" y="216694"/>
                    <a:pt x="3836194" y="221456"/>
                    <a:pt x="3835241" y="225266"/>
                  </a:cubicBezTo>
                  <a:cubicBezTo>
                    <a:pt x="3835241" y="224314"/>
                    <a:pt x="3834289" y="223361"/>
                    <a:pt x="3834289" y="222409"/>
                  </a:cubicBezTo>
                  <a:cubicBezTo>
                    <a:pt x="3831431" y="217646"/>
                    <a:pt x="3828574" y="212884"/>
                    <a:pt x="3825716" y="209074"/>
                  </a:cubicBezTo>
                  <a:cubicBezTo>
                    <a:pt x="3815239" y="193834"/>
                    <a:pt x="3809524" y="184309"/>
                    <a:pt x="3809524" y="184309"/>
                  </a:cubicBezTo>
                  <a:cubicBezTo>
                    <a:pt x="3809524" y="184309"/>
                    <a:pt x="3814286" y="193834"/>
                    <a:pt x="3821906" y="210979"/>
                  </a:cubicBezTo>
                  <a:cubicBezTo>
                    <a:pt x="3823811" y="214789"/>
                    <a:pt x="3825716" y="219551"/>
                    <a:pt x="3828574" y="224314"/>
                  </a:cubicBezTo>
                  <a:cubicBezTo>
                    <a:pt x="3829526" y="227171"/>
                    <a:pt x="3831431" y="230981"/>
                    <a:pt x="3832384" y="234791"/>
                  </a:cubicBezTo>
                  <a:cubicBezTo>
                    <a:pt x="3831431" y="241459"/>
                    <a:pt x="3829526" y="248126"/>
                    <a:pt x="3828574" y="254794"/>
                  </a:cubicBezTo>
                  <a:cubicBezTo>
                    <a:pt x="3827621" y="256699"/>
                    <a:pt x="3826669" y="257651"/>
                    <a:pt x="3825716" y="259556"/>
                  </a:cubicBezTo>
                  <a:cubicBezTo>
                    <a:pt x="3823811" y="262414"/>
                    <a:pt x="3821906" y="266224"/>
                    <a:pt x="3820954" y="269081"/>
                  </a:cubicBezTo>
                  <a:cubicBezTo>
                    <a:pt x="3820954" y="268129"/>
                    <a:pt x="3820001" y="268129"/>
                    <a:pt x="3820001" y="267176"/>
                  </a:cubicBezTo>
                  <a:cubicBezTo>
                    <a:pt x="3810476" y="255746"/>
                    <a:pt x="3804761" y="249079"/>
                    <a:pt x="3804761" y="249079"/>
                  </a:cubicBezTo>
                  <a:cubicBezTo>
                    <a:pt x="3804761" y="249079"/>
                    <a:pt x="3809524" y="256699"/>
                    <a:pt x="3817144" y="270034"/>
                  </a:cubicBezTo>
                  <a:cubicBezTo>
                    <a:pt x="3818096" y="270986"/>
                    <a:pt x="3818096" y="271939"/>
                    <a:pt x="3819049" y="272891"/>
                  </a:cubicBezTo>
                  <a:cubicBezTo>
                    <a:pt x="3815239" y="280511"/>
                    <a:pt x="3811429" y="287179"/>
                    <a:pt x="3806666" y="294799"/>
                  </a:cubicBezTo>
                  <a:cubicBezTo>
                    <a:pt x="3806666" y="294799"/>
                    <a:pt x="3806666" y="294799"/>
                    <a:pt x="3806666" y="294799"/>
                  </a:cubicBezTo>
                  <a:cubicBezTo>
                    <a:pt x="3805714" y="293846"/>
                    <a:pt x="3804761" y="291941"/>
                    <a:pt x="3803809" y="290989"/>
                  </a:cubicBezTo>
                  <a:cubicBezTo>
                    <a:pt x="3803809" y="290036"/>
                    <a:pt x="3803809" y="289084"/>
                    <a:pt x="3802856" y="287179"/>
                  </a:cubicBezTo>
                  <a:cubicBezTo>
                    <a:pt x="3801904" y="283369"/>
                    <a:pt x="3800951" y="280511"/>
                    <a:pt x="3799999" y="276701"/>
                  </a:cubicBezTo>
                  <a:cubicBezTo>
                    <a:pt x="3798094" y="270034"/>
                    <a:pt x="3796189" y="265271"/>
                    <a:pt x="3795236" y="260509"/>
                  </a:cubicBezTo>
                  <a:cubicBezTo>
                    <a:pt x="3792379" y="250984"/>
                    <a:pt x="3790474" y="246221"/>
                    <a:pt x="3790474" y="246221"/>
                  </a:cubicBezTo>
                  <a:cubicBezTo>
                    <a:pt x="3790474" y="246221"/>
                    <a:pt x="3790474" y="251936"/>
                    <a:pt x="3791426" y="260509"/>
                  </a:cubicBezTo>
                  <a:cubicBezTo>
                    <a:pt x="3791426" y="264319"/>
                    <a:pt x="3792379" y="269081"/>
                    <a:pt x="3792379" y="273844"/>
                  </a:cubicBezTo>
                  <a:cubicBezTo>
                    <a:pt x="3790474" y="271939"/>
                    <a:pt x="3789521" y="270034"/>
                    <a:pt x="3787616" y="268129"/>
                  </a:cubicBezTo>
                  <a:cubicBezTo>
                    <a:pt x="3783806" y="263366"/>
                    <a:pt x="3779996" y="259556"/>
                    <a:pt x="3777139" y="255746"/>
                  </a:cubicBezTo>
                  <a:cubicBezTo>
                    <a:pt x="3776186" y="251936"/>
                    <a:pt x="3774281" y="249079"/>
                    <a:pt x="3773329" y="246221"/>
                  </a:cubicBezTo>
                  <a:cubicBezTo>
                    <a:pt x="3767614" y="231934"/>
                    <a:pt x="3764756" y="224314"/>
                    <a:pt x="3764756" y="224314"/>
                  </a:cubicBezTo>
                  <a:cubicBezTo>
                    <a:pt x="3764756" y="224314"/>
                    <a:pt x="3766661" y="232886"/>
                    <a:pt x="3769519" y="247174"/>
                  </a:cubicBezTo>
                  <a:cubicBezTo>
                    <a:pt x="3771424" y="254794"/>
                    <a:pt x="3773329" y="263366"/>
                    <a:pt x="3776186" y="273844"/>
                  </a:cubicBezTo>
                  <a:cubicBezTo>
                    <a:pt x="3778091" y="281464"/>
                    <a:pt x="3779996" y="290989"/>
                    <a:pt x="3781901" y="299561"/>
                  </a:cubicBezTo>
                  <a:cubicBezTo>
                    <a:pt x="3775234" y="275749"/>
                    <a:pt x="3767614" y="253841"/>
                    <a:pt x="3760946" y="234791"/>
                  </a:cubicBezTo>
                  <a:cubicBezTo>
                    <a:pt x="3759041" y="229076"/>
                    <a:pt x="3757136" y="224314"/>
                    <a:pt x="3755231" y="218599"/>
                  </a:cubicBezTo>
                  <a:cubicBezTo>
                    <a:pt x="3758089" y="214789"/>
                    <a:pt x="3759041" y="211931"/>
                    <a:pt x="3759041" y="211931"/>
                  </a:cubicBezTo>
                  <a:cubicBezTo>
                    <a:pt x="3759041" y="211931"/>
                    <a:pt x="3757136" y="213836"/>
                    <a:pt x="3754279" y="217646"/>
                  </a:cubicBezTo>
                  <a:cubicBezTo>
                    <a:pt x="3753326" y="213836"/>
                    <a:pt x="3752374" y="210979"/>
                    <a:pt x="3750469" y="208121"/>
                  </a:cubicBezTo>
                  <a:cubicBezTo>
                    <a:pt x="3752374" y="201454"/>
                    <a:pt x="3752374" y="197644"/>
                    <a:pt x="3752374" y="197644"/>
                  </a:cubicBezTo>
                  <a:cubicBezTo>
                    <a:pt x="3752374" y="197644"/>
                    <a:pt x="3751421" y="200501"/>
                    <a:pt x="3748564" y="205264"/>
                  </a:cubicBezTo>
                  <a:cubicBezTo>
                    <a:pt x="3739991" y="181451"/>
                    <a:pt x="3734276" y="167164"/>
                    <a:pt x="3734276" y="167164"/>
                  </a:cubicBezTo>
                  <a:cubicBezTo>
                    <a:pt x="3734276" y="167164"/>
                    <a:pt x="3737134" y="186214"/>
                    <a:pt x="3742849" y="217646"/>
                  </a:cubicBezTo>
                  <a:cubicBezTo>
                    <a:pt x="3740944" y="222409"/>
                    <a:pt x="3738086" y="229076"/>
                    <a:pt x="3736181" y="236696"/>
                  </a:cubicBezTo>
                  <a:cubicBezTo>
                    <a:pt x="3736181" y="237649"/>
                    <a:pt x="3736181" y="237649"/>
                    <a:pt x="3735229" y="238601"/>
                  </a:cubicBezTo>
                  <a:cubicBezTo>
                    <a:pt x="3733324" y="240506"/>
                    <a:pt x="3731419" y="243364"/>
                    <a:pt x="3730466" y="245269"/>
                  </a:cubicBezTo>
                  <a:cubicBezTo>
                    <a:pt x="3728561" y="242411"/>
                    <a:pt x="3727609" y="239554"/>
                    <a:pt x="3726656" y="236696"/>
                  </a:cubicBezTo>
                  <a:cubicBezTo>
                    <a:pt x="3726656" y="235744"/>
                    <a:pt x="3726656" y="234791"/>
                    <a:pt x="3726656" y="232886"/>
                  </a:cubicBezTo>
                  <a:cubicBezTo>
                    <a:pt x="3726656" y="221456"/>
                    <a:pt x="3725704" y="214789"/>
                    <a:pt x="3725704" y="214789"/>
                  </a:cubicBezTo>
                  <a:cubicBezTo>
                    <a:pt x="3725704" y="214789"/>
                    <a:pt x="3724751" y="220504"/>
                    <a:pt x="3722846" y="230029"/>
                  </a:cubicBezTo>
                  <a:cubicBezTo>
                    <a:pt x="3722846" y="230029"/>
                    <a:pt x="3722846" y="229076"/>
                    <a:pt x="3721894" y="229076"/>
                  </a:cubicBezTo>
                  <a:cubicBezTo>
                    <a:pt x="3721894" y="229076"/>
                    <a:pt x="3721894" y="229076"/>
                    <a:pt x="3721894" y="229076"/>
                  </a:cubicBezTo>
                  <a:cubicBezTo>
                    <a:pt x="3723799" y="215741"/>
                    <a:pt x="3724751" y="203359"/>
                    <a:pt x="3725704" y="190976"/>
                  </a:cubicBezTo>
                  <a:cubicBezTo>
                    <a:pt x="3726656" y="184309"/>
                    <a:pt x="3726656" y="178594"/>
                    <a:pt x="3727609" y="172879"/>
                  </a:cubicBezTo>
                  <a:cubicBezTo>
                    <a:pt x="3728561" y="167164"/>
                    <a:pt x="3729514" y="161449"/>
                    <a:pt x="3730466" y="155734"/>
                  </a:cubicBezTo>
                  <a:cubicBezTo>
                    <a:pt x="3732371" y="145256"/>
                    <a:pt x="3733324" y="135731"/>
                    <a:pt x="3734276" y="128111"/>
                  </a:cubicBezTo>
                  <a:cubicBezTo>
                    <a:pt x="3736181" y="112871"/>
                    <a:pt x="3737134" y="104299"/>
                    <a:pt x="3737134" y="104299"/>
                  </a:cubicBezTo>
                  <a:cubicBezTo>
                    <a:pt x="3737134" y="104299"/>
                    <a:pt x="3734276" y="112871"/>
                    <a:pt x="3730466" y="127159"/>
                  </a:cubicBezTo>
                  <a:cubicBezTo>
                    <a:pt x="3728561" y="134779"/>
                    <a:pt x="3725704" y="143351"/>
                    <a:pt x="3722846" y="153829"/>
                  </a:cubicBezTo>
                  <a:cubicBezTo>
                    <a:pt x="3720941" y="158591"/>
                    <a:pt x="3719989" y="164306"/>
                    <a:pt x="3718084" y="170021"/>
                  </a:cubicBezTo>
                  <a:cubicBezTo>
                    <a:pt x="3717131" y="175736"/>
                    <a:pt x="3715226" y="182404"/>
                    <a:pt x="3714274" y="188119"/>
                  </a:cubicBezTo>
                  <a:cubicBezTo>
                    <a:pt x="3713321" y="194786"/>
                    <a:pt x="3711416" y="201454"/>
                    <a:pt x="3710464" y="208121"/>
                  </a:cubicBezTo>
                  <a:cubicBezTo>
                    <a:pt x="3710464" y="208121"/>
                    <a:pt x="3710464" y="208121"/>
                    <a:pt x="3710464" y="207169"/>
                  </a:cubicBezTo>
                  <a:cubicBezTo>
                    <a:pt x="3702844" y="194786"/>
                    <a:pt x="3697129" y="184309"/>
                    <a:pt x="3691414" y="174784"/>
                  </a:cubicBezTo>
                  <a:cubicBezTo>
                    <a:pt x="3684746" y="164306"/>
                    <a:pt x="3679984" y="155734"/>
                    <a:pt x="3677126" y="150971"/>
                  </a:cubicBezTo>
                  <a:cubicBezTo>
                    <a:pt x="3678079" y="142399"/>
                    <a:pt x="3678079" y="137636"/>
                    <a:pt x="3678079" y="137636"/>
                  </a:cubicBezTo>
                  <a:cubicBezTo>
                    <a:pt x="3678079" y="137636"/>
                    <a:pt x="3677126" y="141446"/>
                    <a:pt x="3675221" y="149066"/>
                  </a:cubicBezTo>
                  <a:cubicBezTo>
                    <a:pt x="3674269" y="148114"/>
                    <a:pt x="3674269" y="147161"/>
                    <a:pt x="3674269" y="147161"/>
                  </a:cubicBezTo>
                  <a:cubicBezTo>
                    <a:pt x="3674269" y="147161"/>
                    <a:pt x="3674269" y="148114"/>
                    <a:pt x="3675221" y="150019"/>
                  </a:cubicBezTo>
                  <a:cubicBezTo>
                    <a:pt x="3674269" y="153829"/>
                    <a:pt x="3673316" y="158591"/>
                    <a:pt x="3672364" y="164306"/>
                  </a:cubicBezTo>
                  <a:cubicBezTo>
                    <a:pt x="3670459" y="172879"/>
                    <a:pt x="3668554" y="182404"/>
                    <a:pt x="3665696" y="194786"/>
                  </a:cubicBezTo>
                  <a:cubicBezTo>
                    <a:pt x="3664744" y="199549"/>
                    <a:pt x="3663791" y="204311"/>
                    <a:pt x="3662839" y="209074"/>
                  </a:cubicBezTo>
                  <a:cubicBezTo>
                    <a:pt x="3662839" y="209074"/>
                    <a:pt x="3662839" y="210026"/>
                    <a:pt x="3661886" y="210026"/>
                  </a:cubicBezTo>
                  <a:cubicBezTo>
                    <a:pt x="3660934" y="211931"/>
                    <a:pt x="3659029" y="214789"/>
                    <a:pt x="3658076" y="216694"/>
                  </a:cubicBezTo>
                  <a:cubicBezTo>
                    <a:pt x="3659029" y="190976"/>
                    <a:pt x="3658076" y="174784"/>
                    <a:pt x="3658076" y="174784"/>
                  </a:cubicBezTo>
                  <a:cubicBezTo>
                    <a:pt x="3658076" y="174784"/>
                    <a:pt x="3652361" y="200501"/>
                    <a:pt x="3645694" y="239554"/>
                  </a:cubicBezTo>
                  <a:cubicBezTo>
                    <a:pt x="3645694" y="241459"/>
                    <a:pt x="3644741" y="244316"/>
                    <a:pt x="3644741" y="246221"/>
                  </a:cubicBezTo>
                  <a:cubicBezTo>
                    <a:pt x="3644741" y="247174"/>
                    <a:pt x="3643789" y="248126"/>
                    <a:pt x="3643789" y="249079"/>
                  </a:cubicBezTo>
                  <a:cubicBezTo>
                    <a:pt x="3642836" y="251936"/>
                    <a:pt x="3641884" y="255746"/>
                    <a:pt x="3640931" y="259556"/>
                  </a:cubicBezTo>
                  <a:cubicBezTo>
                    <a:pt x="3636169" y="249079"/>
                    <a:pt x="3633311" y="243364"/>
                    <a:pt x="3633311" y="243364"/>
                  </a:cubicBezTo>
                  <a:cubicBezTo>
                    <a:pt x="3633311" y="243364"/>
                    <a:pt x="3635216" y="250984"/>
                    <a:pt x="3639979" y="265271"/>
                  </a:cubicBezTo>
                  <a:cubicBezTo>
                    <a:pt x="3639026" y="268129"/>
                    <a:pt x="3638074" y="271939"/>
                    <a:pt x="3637121" y="275749"/>
                  </a:cubicBezTo>
                  <a:cubicBezTo>
                    <a:pt x="3631406" y="266224"/>
                    <a:pt x="3627596" y="261461"/>
                    <a:pt x="3627596" y="261461"/>
                  </a:cubicBezTo>
                  <a:cubicBezTo>
                    <a:pt x="3627596" y="261461"/>
                    <a:pt x="3630454" y="268129"/>
                    <a:pt x="3635216" y="280511"/>
                  </a:cubicBezTo>
                  <a:cubicBezTo>
                    <a:pt x="3635216" y="280511"/>
                    <a:pt x="3635216" y="280511"/>
                    <a:pt x="3635216" y="281464"/>
                  </a:cubicBezTo>
                  <a:cubicBezTo>
                    <a:pt x="3633311" y="290036"/>
                    <a:pt x="3631406" y="299561"/>
                    <a:pt x="3630454" y="309086"/>
                  </a:cubicBezTo>
                  <a:cubicBezTo>
                    <a:pt x="3629501" y="316706"/>
                    <a:pt x="3628549" y="324326"/>
                    <a:pt x="3627596" y="332899"/>
                  </a:cubicBezTo>
                  <a:cubicBezTo>
                    <a:pt x="3624739" y="325279"/>
                    <a:pt x="3622834" y="318611"/>
                    <a:pt x="3620929" y="312896"/>
                  </a:cubicBezTo>
                  <a:cubicBezTo>
                    <a:pt x="3620929" y="310991"/>
                    <a:pt x="3620929" y="309086"/>
                    <a:pt x="3620929" y="309086"/>
                  </a:cubicBezTo>
                  <a:cubicBezTo>
                    <a:pt x="3620929" y="309086"/>
                    <a:pt x="3620929" y="310039"/>
                    <a:pt x="3619976" y="310991"/>
                  </a:cubicBezTo>
                  <a:cubicBezTo>
                    <a:pt x="3619976" y="310039"/>
                    <a:pt x="3619024" y="309086"/>
                    <a:pt x="3619024" y="308134"/>
                  </a:cubicBezTo>
                  <a:cubicBezTo>
                    <a:pt x="3620929" y="295751"/>
                    <a:pt x="3621881" y="284321"/>
                    <a:pt x="3622834" y="272891"/>
                  </a:cubicBezTo>
                  <a:cubicBezTo>
                    <a:pt x="3624739" y="252889"/>
                    <a:pt x="3625691" y="234791"/>
                    <a:pt x="3626644" y="221456"/>
                  </a:cubicBezTo>
                  <a:cubicBezTo>
                    <a:pt x="3629501" y="215741"/>
                    <a:pt x="3630454" y="211931"/>
                    <a:pt x="3630454" y="211931"/>
                  </a:cubicBezTo>
                  <a:cubicBezTo>
                    <a:pt x="3630454" y="211931"/>
                    <a:pt x="3629501" y="213836"/>
                    <a:pt x="3626644" y="216694"/>
                  </a:cubicBezTo>
                  <a:cubicBezTo>
                    <a:pt x="3626644" y="215741"/>
                    <a:pt x="3626644" y="214789"/>
                    <a:pt x="3626644" y="214789"/>
                  </a:cubicBezTo>
                  <a:cubicBezTo>
                    <a:pt x="3626644" y="200501"/>
                    <a:pt x="3626644" y="192881"/>
                    <a:pt x="3626644" y="192881"/>
                  </a:cubicBezTo>
                  <a:cubicBezTo>
                    <a:pt x="3626644" y="192881"/>
                    <a:pt x="3624739" y="200501"/>
                    <a:pt x="3622834" y="214789"/>
                  </a:cubicBezTo>
                  <a:cubicBezTo>
                    <a:pt x="3621881" y="217646"/>
                    <a:pt x="3621881" y="221456"/>
                    <a:pt x="3620929" y="226219"/>
                  </a:cubicBezTo>
                  <a:cubicBezTo>
                    <a:pt x="3620929" y="226219"/>
                    <a:pt x="3620929" y="226219"/>
                    <a:pt x="3620929" y="227171"/>
                  </a:cubicBezTo>
                  <a:cubicBezTo>
                    <a:pt x="3618071" y="231934"/>
                    <a:pt x="3614261" y="237649"/>
                    <a:pt x="3609499" y="243364"/>
                  </a:cubicBezTo>
                  <a:cubicBezTo>
                    <a:pt x="3607594" y="246221"/>
                    <a:pt x="3605689" y="249079"/>
                    <a:pt x="3603784" y="251936"/>
                  </a:cubicBezTo>
                  <a:cubicBezTo>
                    <a:pt x="3607594" y="242411"/>
                    <a:pt x="3610451" y="233839"/>
                    <a:pt x="3613309" y="225266"/>
                  </a:cubicBezTo>
                  <a:cubicBezTo>
                    <a:pt x="3615214" y="219551"/>
                    <a:pt x="3617119" y="213836"/>
                    <a:pt x="3619024" y="208121"/>
                  </a:cubicBezTo>
                  <a:cubicBezTo>
                    <a:pt x="3620929" y="202406"/>
                    <a:pt x="3622834" y="197644"/>
                    <a:pt x="3624739" y="192881"/>
                  </a:cubicBezTo>
                  <a:cubicBezTo>
                    <a:pt x="3628549" y="183356"/>
                    <a:pt x="3631406" y="174784"/>
                    <a:pt x="3634264" y="168116"/>
                  </a:cubicBezTo>
                  <a:cubicBezTo>
                    <a:pt x="3639026" y="153829"/>
                    <a:pt x="3642836" y="146209"/>
                    <a:pt x="3642836" y="146209"/>
                  </a:cubicBezTo>
                  <a:cubicBezTo>
                    <a:pt x="3642836" y="146209"/>
                    <a:pt x="3639026" y="153829"/>
                    <a:pt x="3631406" y="166211"/>
                  </a:cubicBezTo>
                  <a:cubicBezTo>
                    <a:pt x="3627596" y="172879"/>
                    <a:pt x="3623786" y="180499"/>
                    <a:pt x="3618071" y="189071"/>
                  </a:cubicBezTo>
                  <a:cubicBezTo>
                    <a:pt x="3615214" y="193834"/>
                    <a:pt x="3613309" y="198596"/>
                    <a:pt x="3610451" y="203359"/>
                  </a:cubicBezTo>
                  <a:cubicBezTo>
                    <a:pt x="3607594" y="209074"/>
                    <a:pt x="3605689" y="213836"/>
                    <a:pt x="3602831" y="219551"/>
                  </a:cubicBezTo>
                  <a:cubicBezTo>
                    <a:pt x="3598069" y="229076"/>
                    <a:pt x="3593306" y="238601"/>
                    <a:pt x="3588544" y="250031"/>
                  </a:cubicBezTo>
                  <a:cubicBezTo>
                    <a:pt x="3588544" y="245269"/>
                    <a:pt x="3588544" y="242411"/>
                    <a:pt x="3588544" y="242411"/>
                  </a:cubicBezTo>
                  <a:cubicBezTo>
                    <a:pt x="3588544" y="242411"/>
                    <a:pt x="3587591" y="248126"/>
                    <a:pt x="3585686" y="256699"/>
                  </a:cubicBezTo>
                  <a:cubicBezTo>
                    <a:pt x="3585686" y="256699"/>
                    <a:pt x="3585686" y="256699"/>
                    <a:pt x="3585686" y="257651"/>
                  </a:cubicBezTo>
                  <a:cubicBezTo>
                    <a:pt x="3583781" y="261461"/>
                    <a:pt x="3581876" y="266224"/>
                    <a:pt x="3579971" y="270986"/>
                  </a:cubicBezTo>
                  <a:cubicBezTo>
                    <a:pt x="3578066" y="274796"/>
                    <a:pt x="3576161" y="278606"/>
                    <a:pt x="3573304" y="282416"/>
                  </a:cubicBezTo>
                  <a:cubicBezTo>
                    <a:pt x="3571399" y="275749"/>
                    <a:pt x="3569494" y="269081"/>
                    <a:pt x="3568541" y="263366"/>
                  </a:cubicBezTo>
                  <a:cubicBezTo>
                    <a:pt x="3566636" y="257651"/>
                    <a:pt x="3565684" y="252889"/>
                    <a:pt x="3564731" y="248126"/>
                  </a:cubicBezTo>
                  <a:cubicBezTo>
                    <a:pt x="3564731" y="248126"/>
                    <a:pt x="3564731" y="248126"/>
                    <a:pt x="3564731" y="248126"/>
                  </a:cubicBezTo>
                  <a:cubicBezTo>
                    <a:pt x="3563779" y="244316"/>
                    <a:pt x="3563779" y="241459"/>
                    <a:pt x="3562826" y="237649"/>
                  </a:cubicBezTo>
                  <a:cubicBezTo>
                    <a:pt x="3562826" y="236696"/>
                    <a:pt x="3562826" y="235744"/>
                    <a:pt x="3561874" y="233839"/>
                  </a:cubicBezTo>
                  <a:cubicBezTo>
                    <a:pt x="3564731" y="230029"/>
                    <a:pt x="3566636" y="227171"/>
                    <a:pt x="3566636" y="227171"/>
                  </a:cubicBezTo>
                  <a:cubicBezTo>
                    <a:pt x="3566636" y="227171"/>
                    <a:pt x="3564731" y="229076"/>
                    <a:pt x="3561874" y="230981"/>
                  </a:cubicBezTo>
                  <a:cubicBezTo>
                    <a:pt x="3559969" y="222409"/>
                    <a:pt x="3559016" y="218599"/>
                    <a:pt x="3559016" y="218599"/>
                  </a:cubicBezTo>
                  <a:cubicBezTo>
                    <a:pt x="3559016" y="218599"/>
                    <a:pt x="3559016" y="223361"/>
                    <a:pt x="3559016" y="231934"/>
                  </a:cubicBezTo>
                  <a:cubicBezTo>
                    <a:pt x="3557111" y="228124"/>
                    <a:pt x="3556159" y="224314"/>
                    <a:pt x="3554254" y="220504"/>
                  </a:cubicBezTo>
                  <a:cubicBezTo>
                    <a:pt x="3559969" y="211931"/>
                    <a:pt x="3564731" y="204311"/>
                    <a:pt x="3569494" y="197644"/>
                  </a:cubicBezTo>
                  <a:cubicBezTo>
                    <a:pt x="3576161" y="189071"/>
                    <a:pt x="3580924" y="180499"/>
                    <a:pt x="3585686" y="174784"/>
                  </a:cubicBezTo>
                  <a:cubicBezTo>
                    <a:pt x="3595211" y="162401"/>
                    <a:pt x="3600926" y="154781"/>
                    <a:pt x="3600926" y="154781"/>
                  </a:cubicBezTo>
                  <a:cubicBezTo>
                    <a:pt x="3600926" y="154781"/>
                    <a:pt x="3594259" y="160496"/>
                    <a:pt x="3582829" y="171926"/>
                  </a:cubicBezTo>
                  <a:cubicBezTo>
                    <a:pt x="3577114" y="176689"/>
                    <a:pt x="3570446" y="184309"/>
                    <a:pt x="3562826" y="192881"/>
                  </a:cubicBezTo>
                  <a:cubicBezTo>
                    <a:pt x="3558064" y="197644"/>
                    <a:pt x="3553301" y="203359"/>
                    <a:pt x="3549491" y="209074"/>
                  </a:cubicBezTo>
                  <a:cubicBezTo>
                    <a:pt x="3545681" y="199549"/>
                    <a:pt x="3542824" y="193834"/>
                    <a:pt x="3542824" y="193834"/>
                  </a:cubicBezTo>
                  <a:cubicBezTo>
                    <a:pt x="3542824" y="193834"/>
                    <a:pt x="3543776" y="200501"/>
                    <a:pt x="3546634" y="212884"/>
                  </a:cubicBezTo>
                  <a:cubicBezTo>
                    <a:pt x="3544729" y="215741"/>
                    <a:pt x="3541871" y="218599"/>
                    <a:pt x="3539966" y="222409"/>
                  </a:cubicBezTo>
                  <a:cubicBezTo>
                    <a:pt x="3539966" y="222409"/>
                    <a:pt x="3539014" y="223361"/>
                    <a:pt x="3539014" y="223361"/>
                  </a:cubicBezTo>
                  <a:cubicBezTo>
                    <a:pt x="3539014" y="219551"/>
                    <a:pt x="3539014" y="214789"/>
                    <a:pt x="3539014" y="210979"/>
                  </a:cubicBezTo>
                  <a:cubicBezTo>
                    <a:pt x="3539014" y="200501"/>
                    <a:pt x="3539014" y="191929"/>
                    <a:pt x="3539014" y="184309"/>
                  </a:cubicBezTo>
                  <a:cubicBezTo>
                    <a:pt x="3539014" y="180499"/>
                    <a:pt x="3539014" y="176689"/>
                    <a:pt x="3539014" y="173831"/>
                  </a:cubicBezTo>
                  <a:cubicBezTo>
                    <a:pt x="3539966" y="170974"/>
                    <a:pt x="3540919" y="170021"/>
                    <a:pt x="3540919" y="170021"/>
                  </a:cubicBezTo>
                  <a:cubicBezTo>
                    <a:pt x="3540919" y="170021"/>
                    <a:pt x="3539966" y="170974"/>
                    <a:pt x="3539014" y="172879"/>
                  </a:cubicBezTo>
                  <a:cubicBezTo>
                    <a:pt x="3539014" y="166211"/>
                    <a:pt x="3539014" y="162401"/>
                    <a:pt x="3539014" y="162401"/>
                  </a:cubicBezTo>
                  <a:cubicBezTo>
                    <a:pt x="3539014" y="162401"/>
                    <a:pt x="3538061" y="167164"/>
                    <a:pt x="3537109" y="176689"/>
                  </a:cubicBezTo>
                  <a:cubicBezTo>
                    <a:pt x="3535204" y="180499"/>
                    <a:pt x="3531394" y="184309"/>
                    <a:pt x="3527584" y="190976"/>
                  </a:cubicBezTo>
                  <a:cubicBezTo>
                    <a:pt x="3522821" y="197644"/>
                    <a:pt x="3518059" y="205264"/>
                    <a:pt x="3511391" y="214789"/>
                  </a:cubicBezTo>
                  <a:cubicBezTo>
                    <a:pt x="3511391" y="214789"/>
                    <a:pt x="3511391" y="215741"/>
                    <a:pt x="3510439" y="215741"/>
                  </a:cubicBezTo>
                  <a:cubicBezTo>
                    <a:pt x="3509486" y="210026"/>
                    <a:pt x="3509486" y="205264"/>
                    <a:pt x="3508534" y="201454"/>
                  </a:cubicBezTo>
                  <a:cubicBezTo>
                    <a:pt x="3506629" y="188119"/>
                    <a:pt x="3505676" y="180499"/>
                    <a:pt x="3505676" y="180499"/>
                  </a:cubicBezTo>
                  <a:cubicBezTo>
                    <a:pt x="3505676" y="180499"/>
                    <a:pt x="3505676" y="188119"/>
                    <a:pt x="3504724" y="202406"/>
                  </a:cubicBezTo>
                  <a:cubicBezTo>
                    <a:pt x="3504724" y="209074"/>
                    <a:pt x="3504724" y="216694"/>
                    <a:pt x="3503771" y="226219"/>
                  </a:cubicBezTo>
                  <a:cubicBezTo>
                    <a:pt x="3502819" y="228124"/>
                    <a:pt x="3501866" y="229076"/>
                    <a:pt x="3500914" y="230981"/>
                  </a:cubicBezTo>
                  <a:cubicBezTo>
                    <a:pt x="3498056" y="235744"/>
                    <a:pt x="3495199" y="241459"/>
                    <a:pt x="3491389" y="247174"/>
                  </a:cubicBezTo>
                  <a:cubicBezTo>
                    <a:pt x="3488531" y="241459"/>
                    <a:pt x="3486626" y="235744"/>
                    <a:pt x="3483769" y="230029"/>
                  </a:cubicBezTo>
                  <a:cubicBezTo>
                    <a:pt x="3479006" y="218599"/>
                    <a:pt x="3474244" y="209074"/>
                    <a:pt x="3469481" y="200501"/>
                  </a:cubicBezTo>
                  <a:cubicBezTo>
                    <a:pt x="3470434" y="197644"/>
                    <a:pt x="3471386" y="193834"/>
                    <a:pt x="3471386" y="190976"/>
                  </a:cubicBezTo>
                  <a:cubicBezTo>
                    <a:pt x="3473291" y="182404"/>
                    <a:pt x="3475196" y="174784"/>
                    <a:pt x="3477101" y="167164"/>
                  </a:cubicBezTo>
                  <a:cubicBezTo>
                    <a:pt x="3479006" y="159544"/>
                    <a:pt x="3480911" y="152876"/>
                    <a:pt x="3482816" y="146209"/>
                  </a:cubicBezTo>
                  <a:cubicBezTo>
                    <a:pt x="3486626" y="132874"/>
                    <a:pt x="3489484" y="121444"/>
                    <a:pt x="3492341" y="111919"/>
                  </a:cubicBezTo>
                  <a:cubicBezTo>
                    <a:pt x="3497104" y="92869"/>
                    <a:pt x="3499961" y="82391"/>
                    <a:pt x="3499961" y="82391"/>
                  </a:cubicBezTo>
                  <a:cubicBezTo>
                    <a:pt x="3499961" y="82391"/>
                    <a:pt x="3496151" y="92869"/>
                    <a:pt x="3488531" y="110966"/>
                  </a:cubicBezTo>
                  <a:cubicBezTo>
                    <a:pt x="3484721" y="120491"/>
                    <a:pt x="3480911" y="130969"/>
                    <a:pt x="3476149" y="144304"/>
                  </a:cubicBezTo>
                  <a:cubicBezTo>
                    <a:pt x="3473291" y="150971"/>
                    <a:pt x="3471386" y="157639"/>
                    <a:pt x="3468529" y="164306"/>
                  </a:cubicBezTo>
                  <a:cubicBezTo>
                    <a:pt x="3466624" y="170974"/>
                    <a:pt x="3464719" y="177641"/>
                    <a:pt x="3461861" y="185261"/>
                  </a:cubicBezTo>
                  <a:cubicBezTo>
                    <a:pt x="3456146" y="173831"/>
                    <a:pt x="3452336" y="168116"/>
                    <a:pt x="3452336" y="168116"/>
                  </a:cubicBezTo>
                  <a:cubicBezTo>
                    <a:pt x="3452336" y="168116"/>
                    <a:pt x="3455194" y="175736"/>
                    <a:pt x="3460909" y="189071"/>
                  </a:cubicBezTo>
                  <a:cubicBezTo>
                    <a:pt x="3457099" y="200501"/>
                    <a:pt x="3454241" y="211931"/>
                    <a:pt x="3450431" y="225266"/>
                  </a:cubicBezTo>
                  <a:cubicBezTo>
                    <a:pt x="3447574" y="220504"/>
                    <a:pt x="3444716" y="214789"/>
                    <a:pt x="3441859" y="210026"/>
                  </a:cubicBezTo>
                  <a:cubicBezTo>
                    <a:pt x="3441859" y="209074"/>
                    <a:pt x="3441859" y="208121"/>
                    <a:pt x="3442811" y="208121"/>
                  </a:cubicBezTo>
                  <a:cubicBezTo>
                    <a:pt x="3444716" y="197644"/>
                    <a:pt x="3445669" y="190976"/>
                    <a:pt x="3445669" y="190976"/>
                  </a:cubicBezTo>
                  <a:cubicBezTo>
                    <a:pt x="3445669" y="190976"/>
                    <a:pt x="3442811" y="196691"/>
                    <a:pt x="3439001" y="205264"/>
                  </a:cubicBezTo>
                  <a:cubicBezTo>
                    <a:pt x="3439001" y="205264"/>
                    <a:pt x="3439001" y="205264"/>
                    <a:pt x="3439001" y="205264"/>
                  </a:cubicBezTo>
                  <a:cubicBezTo>
                    <a:pt x="3439001" y="190976"/>
                    <a:pt x="3439001" y="177641"/>
                    <a:pt x="3438049" y="165259"/>
                  </a:cubicBezTo>
                  <a:cubicBezTo>
                    <a:pt x="3438049" y="153829"/>
                    <a:pt x="3437096" y="144304"/>
                    <a:pt x="3437096" y="135731"/>
                  </a:cubicBezTo>
                  <a:cubicBezTo>
                    <a:pt x="3436144" y="127159"/>
                    <a:pt x="3436144" y="119539"/>
                    <a:pt x="3435191" y="112871"/>
                  </a:cubicBezTo>
                  <a:cubicBezTo>
                    <a:pt x="3434239" y="100489"/>
                    <a:pt x="3433286" y="92869"/>
                    <a:pt x="3433286" y="92869"/>
                  </a:cubicBezTo>
                  <a:cubicBezTo>
                    <a:pt x="3433286" y="92869"/>
                    <a:pt x="3432334" y="100489"/>
                    <a:pt x="3431381" y="112871"/>
                  </a:cubicBezTo>
                  <a:cubicBezTo>
                    <a:pt x="3430429" y="122396"/>
                    <a:pt x="3429476" y="134779"/>
                    <a:pt x="3428524" y="149066"/>
                  </a:cubicBezTo>
                  <a:cubicBezTo>
                    <a:pt x="3428524" y="149066"/>
                    <a:pt x="3428524" y="150019"/>
                    <a:pt x="3428524" y="150019"/>
                  </a:cubicBezTo>
                  <a:cubicBezTo>
                    <a:pt x="3427571" y="143351"/>
                    <a:pt x="3426619" y="137636"/>
                    <a:pt x="3426619" y="131921"/>
                  </a:cubicBezTo>
                  <a:cubicBezTo>
                    <a:pt x="3424714" y="120491"/>
                    <a:pt x="3423761" y="113824"/>
                    <a:pt x="3423761" y="113824"/>
                  </a:cubicBezTo>
                  <a:cubicBezTo>
                    <a:pt x="3423761" y="113824"/>
                    <a:pt x="3422809" y="120491"/>
                    <a:pt x="3422809" y="131921"/>
                  </a:cubicBezTo>
                  <a:cubicBezTo>
                    <a:pt x="3422809" y="142399"/>
                    <a:pt x="3421856" y="157639"/>
                    <a:pt x="3420904" y="174784"/>
                  </a:cubicBezTo>
                  <a:cubicBezTo>
                    <a:pt x="3418046" y="170021"/>
                    <a:pt x="3415189" y="166211"/>
                    <a:pt x="3412331" y="162401"/>
                  </a:cubicBezTo>
                  <a:cubicBezTo>
                    <a:pt x="3405664" y="152876"/>
                    <a:pt x="3400901" y="146209"/>
                    <a:pt x="3398044" y="141446"/>
                  </a:cubicBezTo>
                  <a:cubicBezTo>
                    <a:pt x="3398996" y="135731"/>
                    <a:pt x="3400901" y="129064"/>
                    <a:pt x="3401854" y="123349"/>
                  </a:cubicBezTo>
                  <a:cubicBezTo>
                    <a:pt x="3399949" y="128111"/>
                    <a:pt x="3398044" y="133826"/>
                    <a:pt x="3396139" y="139541"/>
                  </a:cubicBezTo>
                  <a:cubicBezTo>
                    <a:pt x="3393281" y="135731"/>
                    <a:pt x="3391376" y="132874"/>
                    <a:pt x="3391376" y="132874"/>
                  </a:cubicBezTo>
                  <a:cubicBezTo>
                    <a:pt x="3391376" y="132874"/>
                    <a:pt x="3392329" y="134779"/>
                    <a:pt x="3395186" y="139541"/>
                  </a:cubicBezTo>
                  <a:cubicBezTo>
                    <a:pt x="3395186" y="140494"/>
                    <a:pt x="3395186" y="140494"/>
                    <a:pt x="3395186" y="141446"/>
                  </a:cubicBezTo>
                  <a:cubicBezTo>
                    <a:pt x="3391376" y="153829"/>
                    <a:pt x="3386614" y="166211"/>
                    <a:pt x="3382804" y="177641"/>
                  </a:cubicBezTo>
                  <a:cubicBezTo>
                    <a:pt x="3382804" y="175736"/>
                    <a:pt x="3382804" y="174784"/>
                    <a:pt x="3382804" y="172879"/>
                  </a:cubicBezTo>
                  <a:cubicBezTo>
                    <a:pt x="3381851" y="158591"/>
                    <a:pt x="3381851" y="150971"/>
                    <a:pt x="3381851" y="150971"/>
                  </a:cubicBezTo>
                  <a:cubicBezTo>
                    <a:pt x="3381851" y="150971"/>
                    <a:pt x="3380899" y="158591"/>
                    <a:pt x="3378994" y="172879"/>
                  </a:cubicBezTo>
                  <a:cubicBezTo>
                    <a:pt x="3378041" y="179546"/>
                    <a:pt x="3377089" y="188119"/>
                    <a:pt x="3376136" y="197644"/>
                  </a:cubicBezTo>
                  <a:cubicBezTo>
                    <a:pt x="3372326" y="210026"/>
                    <a:pt x="3368516" y="222409"/>
                    <a:pt x="3365659" y="234791"/>
                  </a:cubicBezTo>
                  <a:cubicBezTo>
                    <a:pt x="3363754" y="240506"/>
                    <a:pt x="3361849" y="247174"/>
                    <a:pt x="3358991" y="253841"/>
                  </a:cubicBezTo>
                  <a:cubicBezTo>
                    <a:pt x="3358991" y="254794"/>
                    <a:pt x="3358039" y="256699"/>
                    <a:pt x="3358039" y="257651"/>
                  </a:cubicBezTo>
                  <a:cubicBezTo>
                    <a:pt x="3355181" y="250984"/>
                    <a:pt x="3353276" y="244316"/>
                    <a:pt x="3351371" y="239554"/>
                  </a:cubicBezTo>
                  <a:cubicBezTo>
                    <a:pt x="3351371" y="238601"/>
                    <a:pt x="3351371" y="237649"/>
                    <a:pt x="3351371" y="237649"/>
                  </a:cubicBezTo>
                  <a:cubicBezTo>
                    <a:pt x="3351371" y="237649"/>
                    <a:pt x="3351371" y="237649"/>
                    <a:pt x="3351371" y="238601"/>
                  </a:cubicBezTo>
                  <a:cubicBezTo>
                    <a:pt x="3347561" y="228124"/>
                    <a:pt x="3344704" y="221456"/>
                    <a:pt x="3344704" y="221456"/>
                  </a:cubicBezTo>
                  <a:cubicBezTo>
                    <a:pt x="3344704" y="221456"/>
                    <a:pt x="3346609" y="230981"/>
                    <a:pt x="3349466" y="248126"/>
                  </a:cubicBezTo>
                  <a:cubicBezTo>
                    <a:pt x="3348514" y="252889"/>
                    <a:pt x="3348514" y="258604"/>
                    <a:pt x="3347561" y="265271"/>
                  </a:cubicBezTo>
                  <a:cubicBezTo>
                    <a:pt x="3346609" y="270986"/>
                    <a:pt x="3346609" y="276701"/>
                    <a:pt x="3345656" y="283369"/>
                  </a:cubicBezTo>
                  <a:cubicBezTo>
                    <a:pt x="3344704" y="284321"/>
                    <a:pt x="3344704" y="285274"/>
                    <a:pt x="3343751" y="287179"/>
                  </a:cubicBezTo>
                  <a:cubicBezTo>
                    <a:pt x="3341846" y="283369"/>
                    <a:pt x="3340894" y="278606"/>
                    <a:pt x="3339941" y="274796"/>
                  </a:cubicBezTo>
                  <a:cubicBezTo>
                    <a:pt x="3335179" y="259556"/>
                    <a:pt x="3329464" y="245269"/>
                    <a:pt x="3325654" y="231934"/>
                  </a:cubicBezTo>
                  <a:cubicBezTo>
                    <a:pt x="3326606" y="227171"/>
                    <a:pt x="3327559" y="221456"/>
                    <a:pt x="3328511" y="216694"/>
                  </a:cubicBezTo>
                  <a:cubicBezTo>
                    <a:pt x="3332321" y="199549"/>
                    <a:pt x="3334226" y="184309"/>
                    <a:pt x="3338036" y="170974"/>
                  </a:cubicBezTo>
                  <a:cubicBezTo>
                    <a:pt x="3340894" y="157639"/>
                    <a:pt x="3343751" y="145256"/>
                    <a:pt x="3346609" y="136684"/>
                  </a:cubicBezTo>
                  <a:cubicBezTo>
                    <a:pt x="3352324" y="117634"/>
                    <a:pt x="3355181" y="106204"/>
                    <a:pt x="3355181" y="106204"/>
                  </a:cubicBezTo>
                  <a:cubicBezTo>
                    <a:pt x="3355181" y="106204"/>
                    <a:pt x="3350419" y="116681"/>
                    <a:pt x="3342799" y="134779"/>
                  </a:cubicBezTo>
                  <a:cubicBezTo>
                    <a:pt x="3338989" y="144304"/>
                    <a:pt x="3335179" y="155734"/>
                    <a:pt x="3330416" y="169069"/>
                  </a:cubicBezTo>
                  <a:cubicBezTo>
                    <a:pt x="3325654" y="180499"/>
                    <a:pt x="3322796" y="193834"/>
                    <a:pt x="3318986" y="208121"/>
                  </a:cubicBezTo>
                  <a:cubicBezTo>
                    <a:pt x="3318986" y="206216"/>
                    <a:pt x="3318986" y="205264"/>
                    <a:pt x="3318986" y="203359"/>
                  </a:cubicBezTo>
                  <a:cubicBezTo>
                    <a:pt x="3319939" y="200501"/>
                    <a:pt x="3319939" y="198596"/>
                    <a:pt x="3320891" y="195739"/>
                  </a:cubicBezTo>
                  <a:cubicBezTo>
                    <a:pt x="3323749" y="185261"/>
                    <a:pt x="3325654" y="176689"/>
                    <a:pt x="3327559" y="170021"/>
                  </a:cubicBezTo>
                  <a:cubicBezTo>
                    <a:pt x="3330416" y="155734"/>
                    <a:pt x="3332321" y="147161"/>
                    <a:pt x="3332321" y="147161"/>
                  </a:cubicBezTo>
                  <a:cubicBezTo>
                    <a:pt x="3332321" y="147161"/>
                    <a:pt x="3329464" y="154781"/>
                    <a:pt x="3323749" y="169069"/>
                  </a:cubicBezTo>
                  <a:cubicBezTo>
                    <a:pt x="3323749" y="170021"/>
                    <a:pt x="3322796" y="170974"/>
                    <a:pt x="3322796" y="171926"/>
                  </a:cubicBezTo>
                  <a:cubicBezTo>
                    <a:pt x="3322796" y="170021"/>
                    <a:pt x="3323749" y="167164"/>
                    <a:pt x="3323749" y="165259"/>
                  </a:cubicBezTo>
                  <a:cubicBezTo>
                    <a:pt x="3325654" y="158591"/>
                    <a:pt x="3326606" y="152876"/>
                    <a:pt x="3328511" y="147161"/>
                  </a:cubicBezTo>
                  <a:cubicBezTo>
                    <a:pt x="3331369" y="135731"/>
                    <a:pt x="3334226" y="125254"/>
                    <a:pt x="3336131" y="116681"/>
                  </a:cubicBezTo>
                  <a:cubicBezTo>
                    <a:pt x="3339941" y="99536"/>
                    <a:pt x="3341846" y="90011"/>
                    <a:pt x="3341846" y="90011"/>
                  </a:cubicBezTo>
                  <a:cubicBezTo>
                    <a:pt x="3341846" y="90011"/>
                    <a:pt x="3338036" y="99536"/>
                    <a:pt x="3332321" y="114776"/>
                  </a:cubicBezTo>
                  <a:cubicBezTo>
                    <a:pt x="3329464" y="122396"/>
                    <a:pt x="3325654" y="132874"/>
                    <a:pt x="3321844" y="143351"/>
                  </a:cubicBezTo>
                  <a:cubicBezTo>
                    <a:pt x="3319939" y="149066"/>
                    <a:pt x="3318034" y="154781"/>
                    <a:pt x="3315176" y="161449"/>
                  </a:cubicBezTo>
                  <a:cubicBezTo>
                    <a:pt x="3313271" y="168116"/>
                    <a:pt x="3311366" y="174784"/>
                    <a:pt x="3308509" y="181451"/>
                  </a:cubicBezTo>
                  <a:cubicBezTo>
                    <a:pt x="3308509" y="181451"/>
                    <a:pt x="3308509" y="181451"/>
                    <a:pt x="3308509" y="181451"/>
                  </a:cubicBezTo>
                  <a:cubicBezTo>
                    <a:pt x="3307556" y="179546"/>
                    <a:pt x="3307556" y="178594"/>
                    <a:pt x="3306604" y="176689"/>
                  </a:cubicBezTo>
                  <a:cubicBezTo>
                    <a:pt x="3298031" y="153829"/>
                    <a:pt x="3292316" y="140494"/>
                    <a:pt x="3292316" y="140494"/>
                  </a:cubicBezTo>
                  <a:cubicBezTo>
                    <a:pt x="3292316" y="140494"/>
                    <a:pt x="3297079" y="158591"/>
                    <a:pt x="3305651" y="189071"/>
                  </a:cubicBezTo>
                  <a:cubicBezTo>
                    <a:pt x="3301841" y="201454"/>
                    <a:pt x="3298031" y="213836"/>
                    <a:pt x="3294221" y="227171"/>
                  </a:cubicBezTo>
                  <a:cubicBezTo>
                    <a:pt x="3294221" y="228124"/>
                    <a:pt x="3293269" y="230029"/>
                    <a:pt x="3293269" y="230981"/>
                  </a:cubicBezTo>
                  <a:cubicBezTo>
                    <a:pt x="3293269" y="230029"/>
                    <a:pt x="3292316" y="230029"/>
                    <a:pt x="3292316" y="229076"/>
                  </a:cubicBezTo>
                  <a:cubicBezTo>
                    <a:pt x="3282791" y="209074"/>
                    <a:pt x="3277076" y="197644"/>
                    <a:pt x="3277076" y="197644"/>
                  </a:cubicBezTo>
                  <a:cubicBezTo>
                    <a:pt x="3277076" y="197644"/>
                    <a:pt x="3282791" y="211931"/>
                    <a:pt x="3291364" y="237649"/>
                  </a:cubicBezTo>
                  <a:cubicBezTo>
                    <a:pt x="3289459" y="244316"/>
                    <a:pt x="3287554" y="250984"/>
                    <a:pt x="3285649" y="257651"/>
                  </a:cubicBezTo>
                  <a:cubicBezTo>
                    <a:pt x="3282791" y="253841"/>
                    <a:pt x="3279934" y="249079"/>
                    <a:pt x="3277076" y="246221"/>
                  </a:cubicBezTo>
                  <a:cubicBezTo>
                    <a:pt x="3276124" y="245269"/>
                    <a:pt x="3275171" y="243364"/>
                    <a:pt x="3274219" y="242411"/>
                  </a:cubicBezTo>
                  <a:cubicBezTo>
                    <a:pt x="3276124" y="215741"/>
                    <a:pt x="3277076" y="199549"/>
                    <a:pt x="3277076" y="199549"/>
                  </a:cubicBezTo>
                  <a:cubicBezTo>
                    <a:pt x="3277076" y="199549"/>
                    <a:pt x="3275171" y="206216"/>
                    <a:pt x="3272314" y="217646"/>
                  </a:cubicBezTo>
                  <a:cubicBezTo>
                    <a:pt x="3271361" y="222409"/>
                    <a:pt x="3269456" y="228124"/>
                    <a:pt x="3268504" y="234791"/>
                  </a:cubicBezTo>
                  <a:cubicBezTo>
                    <a:pt x="3265646" y="230029"/>
                    <a:pt x="3261836" y="226219"/>
                    <a:pt x="3258979" y="223361"/>
                  </a:cubicBezTo>
                  <a:cubicBezTo>
                    <a:pt x="3247549" y="210979"/>
                    <a:pt x="3241834" y="203359"/>
                    <a:pt x="3241834" y="203359"/>
                  </a:cubicBezTo>
                  <a:cubicBezTo>
                    <a:pt x="3241834" y="203359"/>
                    <a:pt x="3247549" y="211931"/>
                    <a:pt x="3256121" y="226219"/>
                  </a:cubicBezTo>
                  <a:cubicBezTo>
                    <a:pt x="3259931" y="230981"/>
                    <a:pt x="3262789" y="236696"/>
                    <a:pt x="3266599" y="243364"/>
                  </a:cubicBezTo>
                  <a:cubicBezTo>
                    <a:pt x="3264694" y="250031"/>
                    <a:pt x="3262789" y="256699"/>
                    <a:pt x="3260884" y="265271"/>
                  </a:cubicBezTo>
                  <a:cubicBezTo>
                    <a:pt x="3258979" y="271939"/>
                    <a:pt x="3257074" y="279559"/>
                    <a:pt x="3256121" y="288131"/>
                  </a:cubicBezTo>
                  <a:cubicBezTo>
                    <a:pt x="3256121" y="287179"/>
                    <a:pt x="3256121" y="287179"/>
                    <a:pt x="3256121" y="287179"/>
                  </a:cubicBezTo>
                  <a:cubicBezTo>
                    <a:pt x="3256121" y="287179"/>
                    <a:pt x="3256121" y="288131"/>
                    <a:pt x="3256121" y="289084"/>
                  </a:cubicBezTo>
                  <a:cubicBezTo>
                    <a:pt x="3256121" y="290989"/>
                    <a:pt x="3255169" y="291941"/>
                    <a:pt x="3255169" y="293846"/>
                  </a:cubicBezTo>
                  <a:cubicBezTo>
                    <a:pt x="3254216" y="292894"/>
                    <a:pt x="3254216" y="291941"/>
                    <a:pt x="3253264" y="290036"/>
                  </a:cubicBezTo>
                  <a:cubicBezTo>
                    <a:pt x="3253264" y="284321"/>
                    <a:pt x="3254216" y="280511"/>
                    <a:pt x="3254216" y="280511"/>
                  </a:cubicBezTo>
                  <a:cubicBezTo>
                    <a:pt x="3254216" y="280511"/>
                    <a:pt x="3253264" y="282416"/>
                    <a:pt x="3252311" y="287179"/>
                  </a:cubicBezTo>
                  <a:cubicBezTo>
                    <a:pt x="3248501" y="280511"/>
                    <a:pt x="3246596" y="276701"/>
                    <a:pt x="3246596" y="276701"/>
                  </a:cubicBezTo>
                  <a:cubicBezTo>
                    <a:pt x="3246596" y="276701"/>
                    <a:pt x="3248501" y="281464"/>
                    <a:pt x="3251359" y="290989"/>
                  </a:cubicBezTo>
                  <a:cubicBezTo>
                    <a:pt x="3250406" y="292894"/>
                    <a:pt x="3250406" y="295751"/>
                    <a:pt x="3249454" y="298609"/>
                  </a:cubicBezTo>
                  <a:cubicBezTo>
                    <a:pt x="3248501" y="300514"/>
                    <a:pt x="3248501" y="302419"/>
                    <a:pt x="3247549" y="304324"/>
                  </a:cubicBezTo>
                  <a:cubicBezTo>
                    <a:pt x="3247549" y="302419"/>
                    <a:pt x="3246596" y="301466"/>
                    <a:pt x="3246596" y="301466"/>
                  </a:cubicBezTo>
                  <a:cubicBezTo>
                    <a:pt x="3246596" y="301466"/>
                    <a:pt x="3246596" y="303371"/>
                    <a:pt x="3246596" y="306229"/>
                  </a:cubicBezTo>
                  <a:cubicBezTo>
                    <a:pt x="3245644" y="310039"/>
                    <a:pt x="3244691" y="313849"/>
                    <a:pt x="3243739" y="317659"/>
                  </a:cubicBezTo>
                  <a:cubicBezTo>
                    <a:pt x="3242786" y="312896"/>
                    <a:pt x="3240881" y="308134"/>
                    <a:pt x="3239929" y="304324"/>
                  </a:cubicBezTo>
                  <a:cubicBezTo>
                    <a:pt x="3241834" y="299561"/>
                    <a:pt x="3242786" y="296704"/>
                    <a:pt x="3242786" y="296704"/>
                  </a:cubicBezTo>
                  <a:cubicBezTo>
                    <a:pt x="3242786" y="296704"/>
                    <a:pt x="3241834" y="298609"/>
                    <a:pt x="3238976" y="302419"/>
                  </a:cubicBezTo>
                  <a:cubicBezTo>
                    <a:pt x="3238024" y="299561"/>
                    <a:pt x="3237071" y="296704"/>
                    <a:pt x="3236119" y="293846"/>
                  </a:cubicBezTo>
                  <a:cubicBezTo>
                    <a:pt x="3236119" y="292894"/>
                    <a:pt x="3235166" y="291941"/>
                    <a:pt x="3235166" y="290036"/>
                  </a:cubicBezTo>
                  <a:cubicBezTo>
                    <a:pt x="3238024" y="284321"/>
                    <a:pt x="3239929" y="278606"/>
                    <a:pt x="3241834" y="273844"/>
                  </a:cubicBezTo>
                  <a:cubicBezTo>
                    <a:pt x="3244691" y="267176"/>
                    <a:pt x="3247549" y="261461"/>
                    <a:pt x="3249454" y="256699"/>
                  </a:cubicBezTo>
                  <a:cubicBezTo>
                    <a:pt x="3254216" y="247174"/>
                    <a:pt x="3256121" y="242411"/>
                    <a:pt x="3256121" y="242411"/>
                  </a:cubicBezTo>
                  <a:cubicBezTo>
                    <a:pt x="3256121" y="242411"/>
                    <a:pt x="3252311" y="247174"/>
                    <a:pt x="3245644" y="254794"/>
                  </a:cubicBezTo>
                  <a:cubicBezTo>
                    <a:pt x="3242786" y="258604"/>
                    <a:pt x="3238976" y="263366"/>
                    <a:pt x="3235166" y="270034"/>
                  </a:cubicBezTo>
                  <a:cubicBezTo>
                    <a:pt x="3233261" y="271939"/>
                    <a:pt x="3232309" y="274796"/>
                    <a:pt x="3230404" y="276701"/>
                  </a:cubicBezTo>
                  <a:cubicBezTo>
                    <a:pt x="3230404" y="275749"/>
                    <a:pt x="3229451" y="273844"/>
                    <a:pt x="3229451" y="272891"/>
                  </a:cubicBezTo>
                  <a:cubicBezTo>
                    <a:pt x="3227546" y="266224"/>
                    <a:pt x="3224689" y="260509"/>
                    <a:pt x="3222784" y="253841"/>
                  </a:cubicBezTo>
                  <a:cubicBezTo>
                    <a:pt x="3220879" y="250031"/>
                    <a:pt x="3219926" y="245269"/>
                    <a:pt x="3218021" y="241459"/>
                  </a:cubicBezTo>
                  <a:cubicBezTo>
                    <a:pt x="3218021" y="239554"/>
                    <a:pt x="3218021" y="238601"/>
                    <a:pt x="3218021" y="236696"/>
                  </a:cubicBezTo>
                  <a:cubicBezTo>
                    <a:pt x="3219926" y="226219"/>
                    <a:pt x="3221831" y="215741"/>
                    <a:pt x="3222784" y="206216"/>
                  </a:cubicBezTo>
                  <a:cubicBezTo>
                    <a:pt x="3225641" y="191929"/>
                    <a:pt x="3227546" y="178594"/>
                    <a:pt x="3229451" y="166211"/>
                  </a:cubicBezTo>
                  <a:cubicBezTo>
                    <a:pt x="3231356" y="154781"/>
                    <a:pt x="3233261" y="144304"/>
                    <a:pt x="3235166" y="135731"/>
                  </a:cubicBezTo>
                  <a:cubicBezTo>
                    <a:pt x="3238024" y="118586"/>
                    <a:pt x="3239929" y="109061"/>
                    <a:pt x="3239929" y="109061"/>
                  </a:cubicBezTo>
                  <a:cubicBezTo>
                    <a:pt x="3239929" y="109061"/>
                    <a:pt x="3237071" y="118586"/>
                    <a:pt x="3231356" y="134779"/>
                  </a:cubicBezTo>
                  <a:cubicBezTo>
                    <a:pt x="3226594" y="150971"/>
                    <a:pt x="3218974" y="175736"/>
                    <a:pt x="3212306" y="204311"/>
                  </a:cubicBezTo>
                  <a:cubicBezTo>
                    <a:pt x="3211354" y="208121"/>
                    <a:pt x="3210401" y="211931"/>
                    <a:pt x="3209449" y="215741"/>
                  </a:cubicBezTo>
                  <a:cubicBezTo>
                    <a:pt x="3207544" y="210979"/>
                    <a:pt x="3206591" y="207169"/>
                    <a:pt x="3204686" y="204311"/>
                  </a:cubicBezTo>
                  <a:cubicBezTo>
                    <a:pt x="3204686" y="186214"/>
                    <a:pt x="3203734" y="175736"/>
                    <a:pt x="3203734" y="175736"/>
                  </a:cubicBezTo>
                  <a:cubicBezTo>
                    <a:pt x="3203734" y="175736"/>
                    <a:pt x="3202781" y="187166"/>
                    <a:pt x="3200876" y="206216"/>
                  </a:cubicBezTo>
                  <a:cubicBezTo>
                    <a:pt x="3199924" y="215741"/>
                    <a:pt x="3198019" y="227171"/>
                    <a:pt x="3196114" y="240506"/>
                  </a:cubicBezTo>
                  <a:cubicBezTo>
                    <a:pt x="3196114" y="241459"/>
                    <a:pt x="3196114" y="242411"/>
                    <a:pt x="3195161" y="243364"/>
                  </a:cubicBezTo>
                  <a:cubicBezTo>
                    <a:pt x="3195161" y="234791"/>
                    <a:pt x="3196114" y="226219"/>
                    <a:pt x="3196114" y="217646"/>
                  </a:cubicBezTo>
                  <a:cubicBezTo>
                    <a:pt x="3197066" y="204311"/>
                    <a:pt x="3197066" y="191929"/>
                    <a:pt x="3198019" y="180499"/>
                  </a:cubicBezTo>
                  <a:cubicBezTo>
                    <a:pt x="3198971" y="169069"/>
                    <a:pt x="3198971" y="159544"/>
                    <a:pt x="3199924" y="151924"/>
                  </a:cubicBezTo>
                  <a:cubicBezTo>
                    <a:pt x="3200876" y="135731"/>
                    <a:pt x="3200876" y="127159"/>
                    <a:pt x="3200876" y="127159"/>
                  </a:cubicBezTo>
                  <a:cubicBezTo>
                    <a:pt x="3200876" y="127159"/>
                    <a:pt x="3198971" y="135731"/>
                    <a:pt x="3195161" y="151924"/>
                  </a:cubicBezTo>
                  <a:cubicBezTo>
                    <a:pt x="3192304" y="168116"/>
                    <a:pt x="3187541" y="190976"/>
                    <a:pt x="3184684" y="217646"/>
                  </a:cubicBezTo>
                  <a:cubicBezTo>
                    <a:pt x="3183731" y="223361"/>
                    <a:pt x="3182779" y="230029"/>
                    <a:pt x="3181826" y="235744"/>
                  </a:cubicBezTo>
                  <a:cubicBezTo>
                    <a:pt x="3180874" y="233839"/>
                    <a:pt x="3179921" y="232886"/>
                    <a:pt x="3179921" y="231934"/>
                  </a:cubicBezTo>
                  <a:cubicBezTo>
                    <a:pt x="3179921" y="227171"/>
                    <a:pt x="3179921" y="224314"/>
                    <a:pt x="3179921" y="224314"/>
                  </a:cubicBezTo>
                  <a:cubicBezTo>
                    <a:pt x="3179921" y="224314"/>
                    <a:pt x="3179921" y="226219"/>
                    <a:pt x="3178969" y="230029"/>
                  </a:cubicBezTo>
                  <a:cubicBezTo>
                    <a:pt x="3178016" y="228124"/>
                    <a:pt x="3177064" y="227171"/>
                    <a:pt x="3177064" y="227171"/>
                  </a:cubicBezTo>
                  <a:cubicBezTo>
                    <a:pt x="3177064" y="227171"/>
                    <a:pt x="3178016" y="229076"/>
                    <a:pt x="3178016" y="231934"/>
                  </a:cubicBezTo>
                  <a:cubicBezTo>
                    <a:pt x="3177064" y="236696"/>
                    <a:pt x="3176111" y="243364"/>
                    <a:pt x="3174206" y="250984"/>
                  </a:cubicBezTo>
                  <a:cubicBezTo>
                    <a:pt x="3173254" y="258604"/>
                    <a:pt x="3171349" y="267176"/>
                    <a:pt x="3170396" y="277654"/>
                  </a:cubicBezTo>
                  <a:cubicBezTo>
                    <a:pt x="3170396" y="276701"/>
                    <a:pt x="3170396" y="276701"/>
                    <a:pt x="3169444" y="275749"/>
                  </a:cubicBezTo>
                  <a:cubicBezTo>
                    <a:pt x="3168491" y="254794"/>
                    <a:pt x="3165634" y="234791"/>
                    <a:pt x="3163729" y="215741"/>
                  </a:cubicBezTo>
                  <a:cubicBezTo>
                    <a:pt x="3163729" y="212884"/>
                    <a:pt x="3162776" y="210026"/>
                    <a:pt x="3162776" y="207169"/>
                  </a:cubicBezTo>
                  <a:cubicBezTo>
                    <a:pt x="3162776" y="206216"/>
                    <a:pt x="3163729" y="204311"/>
                    <a:pt x="3163729" y="203359"/>
                  </a:cubicBezTo>
                  <a:cubicBezTo>
                    <a:pt x="3169444" y="174784"/>
                    <a:pt x="3172301" y="150019"/>
                    <a:pt x="3174206" y="132874"/>
                  </a:cubicBezTo>
                  <a:cubicBezTo>
                    <a:pt x="3176111" y="115729"/>
                    <a:pt x="3178016" y="106204"/>
                    <a:pt x="3178016" y="106204"/>
                  </a:cubicBezTo>
                  <a:cubicBezTo>
                    <a:pt x="3178016" y="106204"/>
                    <a:pt x="3175159" y="115729"/>
                    <a:pt x="3170396" y="131921"/>
                  </a:cubicBezTo>
                  <a:cubicBezTo>
                    <a:pt x="3167539" y="143351"/>
                    <a:pt x="3162776" y="159544"/>
                    <a:pt x="3158014" y="177641"/>
                  </a:cubicBezTo>
                  <a:cubicBezTo>
                    <a:pt x="3157061" y="171926"/>
                    <a:pt x="3156109" y="165259"/>
                    <a:pt x="3154204" y="159544"/>
                  </a:cubicBezTo>
                  <a:cubicBezTo>
                    <a:pt x="3152299" y="150971"/>
                    <a:pt x="3150394" y="142399"/>
                    <a:pt x="3149441" y="134779"/>
                  </a:cubicBezTo>
                  <a:cubicBezTo>
                    <a:pt x="3147536" y="127159"/>
                    <a:pt x="3145631" y="119539"/>
                    <a:pt x="3143726" y="112871"/>
                  </a:cubicBezTo>
                  <a:cubicBezTo>
                    <a:pt x="3139916" y="99536"/>
                    <a:pt x="3137059" y="87154"/>
                    <a:pt x="3133249" y="77629"/>
                  </a:cubicBezTo>
                  <a:cubicBezTo>
                    <a:pt x="3126581" y="58579"/>
                    <a:pt x="3122771" y="47149"/>
                    <a:pt x="3122771" y="47149"/>
                  </a:cubicBezTo>
                  <a:cubicBezTo>
                    <a:pt x="3122771" y="47149"/>
                    <a:pt x="3125629" y="58579"/>
                    <a:pt x="3129439" y="78581"/>
                  </a:cubicBezTo>
                  <a:cubicBezTo>
                    <a:pt x="3132296" y="88106"/>
                    <a:pt x="3134201" y="100489"/>
                    <a:pt x="3136106" y="114776"/>
                  </a:cubicBezTo>
                  <a:cubicBezTo>
                    <a:pt x="3137059" y="121444"/>
                    <a:pt x="3138964" y="129064"/>
                    <a:pt x="3139916" y="136684"/>
                  </a:cubicBezTo>
                  <a:cubicBezTo>
                    <a:pt x="3140869" y="144304"/>
                    <a:pt x="3141821" y="152876"/>
                    <a:pt x="3142774" y="161449"/>
                  </a:cubicBezTo>
                  <a:cubicBezTo>
                    <a:pt x="3145631" y="177641"/>
                    <a:pt x="3146584" y="195739"/>
                    <a:pt x="3147536" y="213836"/>
                  </a:cubicBezTo>
                  <a:cubicBezTo>
                    <a:pt x="3147536" y="214789"/>
                    <a:pt x="3146584" y="215741"/>
                    <a:pt x="3146584" y="217646"/>
                  </a:cubicBezTo>
                  <a:cubicBezTo>
                    <a:pt x="3145631" y="214789"/>
                    <a:pt x="3144679" y="211931"/>
                    <a:pt x="3143726" y="210026"/>
                  </a:cubicBezTo>
                  <a:cubicBezTo>
                    <a:pt x="3141821" y="205264"/>
                    <a:pt x="3139916" y="201454"/>
                    <a:pt x="3138964" y="196691"/>
                  </a:cubicBezTo>
                  <a:cubicBezTo>
                    <a:pt x="3137059" y="190024"/>
                    <a:pt x="3136106" y="184309"/>
                    <a:pt x="3134201" y="179546"/>
                  </a:cubicBezTo>
                  <a:cubicBezTo>
                    <a:pt x="3129439" y="164306"/>
                    <a:pt x="3126581" y="155734"/>
                    <a:pt x="3126581" y="155734"/>
                  </a:cubicBezTo>
                  <a:cubicBezTo>
                    <a:pt x="3126581" y="155734"/>
                    <a:pt x="3127534" y="161449"/>
                    <a:pt x="3129439" y="172879"/>
                  </a:cubicBezTo>
                  <a:cubicBezTo>
                    <a:pt x="3125629" y="164306"/>
                    <a:pt x="3121819" y="155734"/>
                    <a:pt x="3118961" y="150019"/>
                  </a:cubicBezTo>
                  <a:cubicBezTo>
                    <a:pt x="3116104" y="144304"/>
                    <a:pt x="3114199" y="139541"/>
                    <a:pt x="3112294" y="136684"/>
                  </a:cubicBezTo>
                  <a:cubicBezTo>
                    <a:pt x="3108484" y="128111"/>
                    <a:pt x="3105626" y="120491"/>
                    <a:pt x="3102769" y="113824"/>
                  </a:cubicBezTo>
                  <a:cubicBezTo>
                    <a:pt x="3095149" y="96679"/>
                    <a:pt x="3090386" y="87154"/>
                    <a:pt x="3090386" y="87154"/>
                  </a:cubicBezTo>
                  <a:cubicBezTo>
                    <a:pt x="3090386" y="87154"/>
                    <a:pt x="3093244" y="97631"/>
                    <a:pt x="3099911" y="114776"/>
                  </a:cubicBezTo>
                  <a:cubicBezTo>
                    <a:pt x="3102769" y="123349"/>
                    <a:pt x="3105626" y="133826"/>
                    <a:pt x="3109436" y="146209"/>
                  </a:cubicBezTo>
                  <a:cubicBezTo>
                    <a:pt x="3111341" y="152876"/>
                    <a:pt x="3113246" y="159544"/>
                    <a:pt x="3115151" y="167164"/>
                  </a:cubicBezTo>
                  <a:cubicBezTo>
                    <a:pt x="3111341" y="159544"/>
                    <a:pt x="3109436" y="155734"/>
                    <a:pt x="3109436" y="155734"/>
                  </a:cubicBezTo>
                  <a:cubicBezTo>
                    <a:pt x="3109436" y="155734"/>
                    <a:pt x="3111341" y="163354"/>
                    <a:pt x="3116104" y="176689"/>
                  </a:cubicBezTo>
                  <a:cubicBezTo>
                    <a:pt x="3118009" y="181451"/>
                    <a:pt x="3119914" y="188119"/>
                    <a:pt x="3121819" y="194786"/>
                  </a:cubicBezTo>
                  <a:cubicBezTo>
                    <a:pt x="3122771" y="200501"/>
                    <a:pt x="3124676" y="207169"/>
                    <a:pt x="3125629" y="213836"/>
                  </a:cubicBezTo>
                  <a:cubicBezTo>
                    <a:pt x="3124676" y="214789"/>
                    <a:pt x="3124676" y="215741"/>
                    <a:pt x="3123724" y="215741"/>
                  </a:cubicBezTo>
                  <a:cubicBezTo>
                    <a:pt x="3123724" y="212884"/>
                    <a:pt x="3122771" y="210979"/>
                    <a:pt x="3122771" y="210979"/>
                  </a:cubicBezTo>
                  <a:cubicBezTo>
                    <a:pt x="3122771" y="210979"/>
                    <a:pt x="3122771" y="212884"/>
                    <a:pt x="3122771" y="216694"/>
                  </a:cubicBezTo>
                  <a:cubicBezTo>
                    <a:pt x="3119914" y="219551"/>
                    <a:pt x="3117056" y="223361"/>
                    <a:pt x="3113246" y="228124"/>
                  </a:cubicBezTo>
                  <a:cubicBezTo>
                    <a:pt x="3113246" y="228124"/>
                    <a:pt x="3113246" y="228124"/>
                    <a:pt x="3113246" y="228124"/>
                  </a:cubicBezTo>
                  <a:cubicBezTo>
                    <a:pt x="3112294" y="213836"/>
                    <a:pt x="3111341" y="201454"/>
                    <a:pt x="3110389" y="191929"/>
                  </a:cubicBezTo>
                  <a:cubicBezTo>
                    <a:pt x="3109436" y="178594"/>
                    <a:pt x="3108484" y="171926"/>
                    <a:pt x="3108484" y="171926"/>
                  </a:cubicBezTo>
                  <a:cubicBezTo>
                    <a:pt x="3108484" y="171926"/>
                    <a:pt x="3107531" y="179546"/>
                    <a:pt x="3106579" y="192881"/>
                  </a:cubicBezTo>
                  <a:cubicBezTo>
                    <a:pt x="3105626" y="202406"/>
                    <a:pt x="3105626" y="213836"/>
                    <a:pt x="3104674" y="228124"/>
                  </a:cubicBezTo>
                  <a:cubicBezTo>
                    <a:pt x="3104674" y="228124"/>
                    <a:pt x="3104674" y="227171"/>
                    <a:pt x="3104674" y="227171"/>
                  </a:cubicBezTo>
                  <a:cubicBezTo>
                    <a:pt x="3099911" y="214789"/>
                    <a:pt x="3097054" y="208121"/>
                    <a:pt x="3097054" y="208121"/>
                  </a:cubicBezTo>
                  <a:cubicBezTo>
                    <a:pt x="3097054" y="208121"/>
                    <a:pt x="3098006" y="215741"/>
                    <a:pt x="3100864" y="228124"/>
                  </a:cubicBezTo>
                  <a:cubicBezTo>
                    <a:pt x="3101816" y="232886"/>
                    <a:pt x="3102769" y="238601"/>
                    <a:pt x="3103721" y="244316"/>
                  </a:cubicBezTo>
                  <a:cubicBezTo>
                    <a:pt x="3100864" y="248126"/>
                    <a:pt x="3098959" y="251936"/>
                    <a:pt x="3096101" y="255746"/>
                  </a:cubicBezTo>
                  <a:cubicBezTo>
                    <a:pt x="3093244" y="260509"/>
                    <a:pt x="3090386" y="264319"/>
                    <a:pt x="3087529" y="270034"/>
                  </a:cubicBezTo>
                  <a:cubicBezTo>
                    <a:pt x="3085624" y="263366"/>
                    <a:pt x="3083719" y="257651"/>
                    <a:pt x="3082766" y="252889"/>
                  </a:cubicBezTo>
                  <a:cubicBezTo>
                    <a:pt x="3078956" y="241459"/>
                    <a:pt x="3077051" y="233839"/>
                    <a:pt x="3077051" y="233839"/>
                  </a:cubicBezTo>
                  <a:cubicBezTo>
                    <a:pt x="3077051" y="233839"/>
                    <a:pt x="3078004" y="240506"/>
                    <a:pt x="3078956" y="252889"/>
                  </a:cubicBezTo>
                  <a:cubicBezTo>
                    <a:pt x="3078956" y="256699"/>
                    <a:pt x="3079909" y="260509"/>
                    <a:pt x="3079909" y="264319"/>
                  </a:cubicBezTo>
                  <a:cubicBezTo>
                    <a:pt x="3078956" y="261461"/>
                    <a:pt x="3078004" y="258604"/>
                    <a:pt x="3077051" y="255746"/>
                  </a:cubicBezTo>
                  <a:cubicBezTo>
                    <a:pt x="3076099" y="252889"/>
                    <a:pt x="3075146" y="250984"/>
                    <a:pt x="3074194" y="248126"/>
                  </a:cubicBezTo>
                  <a:cubicBezTo>
                    <a:pt x="3074194" y="246221"/>
                    <a:pt x="3074194" y="244316"/>
                    <a:pt x="3074194" y="242411"/>
                  </a:cubicBezTo>
                  <a:cubicBezTo>
                    <a:pt x="3074194" y="237649"/>
                    <a:pt x="3075146" y="232886"/>
                    <a:pt x="3075146" y="229076"/>
                  </a:cubicBezTo>
                  <a:cubicBezTo>
                    <a:pt x="3076099" y="226219"/>
                    <a:pt x="3077051" y="223361"/>
                    <a:pt x="3077051" y="220504"/>
                  </a:cubicBezTo>
                  <a:cubicBezTo>
                    <a:pt x="3080861" y="208121"/>
                    <a:pt x="3082766" y="197644"/>
                    <a:pt x="3086576" y="189071"/>
                  </a:cubicBezTo>
                  <a:cubicBezTo>
                    <a:pt x="3092291" y="171926"/>
                    <a:pt x="3096101" y="161449"/>
                    <a:pt x="3096101" y="161449"/>
                  </a:cubicBezTo>
                  <a:cubicBezTo>
                    <a:pt x="3096101" y="161449"/>
                    <a:pt x="3091339" y="170974"/>
                    <a:pt x="3083719" y="188119"/>
                  </a:cubicBezTo>
                  <a:cubicBezTo>
                    <a:pt x="3079909" y="196691"/>
                    <a:pt x="3076099" y="207169"/>
                    <a:pt x="3071336" y="218599"/>
                  </a:cubicBezTo>
                  <a:cubicBezTo>
                    <a:pt x="3070384" y="220504"/>
                    <a:pt x="3069431" y="222409"/>
                    <a:pt x="3068479" y="224314"/>
                  </a:cubicBezTo>
                  <a:cubicBezTo>
                    <a:pt x="3068479" y="221456"/>
                    <a:pt x="3068479" y="218599"/>
                    <a:pt x="3068479" y="216694"/>
                  </a:cubicBezTo>
                  <a:cubicBezTo>
                    <a:pt x="3068479" y="213836"/>
                    <a:pt x="3069431" y="211931"/>
                    <a:pt x="3069431" y="209074"/>
                  </a:cubicBezTo>
                  <a:cubicBezTo>
                    <a:pt x="3070384" y="198596"/>
                    <a:pt x="3071336" y="189071"/>
                    <a:pt x="3072289" y="181451"/>
                  </a:cubicBezTo>
                  <a:cubicBezTo>
                    <a:pt x="3073241" y="166211"/>
                    <a:pt x="3073241" y="157639"/>
                    <a:pt x="3073241" y="157639"/>
                  </a:cubicBezTo>
                  <a:cubicBezTo>
                    <a:pt x="3073241" y="157639"/>
                    <a:pt x="3071336" y="166211"/>
                    <a:pt x="3067526" y="180499"/>
                  </a:cubicBezTo>
                  <a:cubicBezTo>
                    <a:pt x="3067526" y="181451"/>
                    <a:pt x="3067526" y="182404"/>
                    <a:pt x="3066574" y="183356"/>
                  </a:cubicBezTo>
                  <a:cubicBezTo>
                    <a:pt x="3065621" y="169069"/>
                    <a:pt x="3065621" y="157639"/>
                    <a:pt x="3064669" y="148114"/>
                  </a:cubicBezTo>
                  <a:cubicBezTo>
                    <a:pt x="3064669" y="146209"/>
                    <a:pt x="3064669" y="145256"/>
                    <a:pt x="3064669" y="145256"/>
                  </a:cubicBezTo>
                  <a:cubicBezTo>
                    <a:pt x="3064669" y="145256"/>
                    <a:pt x="3064669" y="145256"/>
                    <a:pt x="3064669" y="146209"/>
                  </a:cubicBezTo>
                  <a:cubicBezTo>
                    <a:pt x="3063716" y="136684"/>
                    <a:pt x="3063716" y="131921"/>
                    <a:pt x="3063716" y="131921"/>
                  </a:cubicBezTo>
                  <a:cubicBezTo>
                    <a:pt x="3063716" y="131921"/>
                    <a:pt x="3061811" y="148114"/>
                    <a:pt x="3058954" y="174784"/>
                  </a:cubicBezTo>
                  <a:cubicBezTo>
                    <a:pt x="3058001" y="179546"/>
                    <a:pt x="3057049" y="185261"/>
                    <a:pt x="3056096" y="190976"/>
                  </a:cubicBezTo>
                  <a:cubicBezTo>
                    <a:pt x="3055144" y="193834"/>
                    <a:pt x="3055144" y="197644"/>
                    <a:pt x="3054191" y="201454"/>
                  </a:cubicBezTo>
                  <a:cubicBezTo>
                    <a:pt x="3052286" y="196691"/>
                    <a:pt x="3050381" y="192881"/>
                    <a:pt x="3049429" y="189071"/>
                  </a:cubicBezTo>
                  <a:cubicBezTo>
                    <a:pt x="3049429" y="189071"/>
                    <a:pt x="3049429" y="189071"/>
                    <a:pt x="3049429" y="188119"/>
                  </a:cubicBezTo>
                  <a:cubicBezTo>
                    <a:pt x="3052286" y="174784"/>
                    <a:pt x="3053239" y="162401"/>
                    <a:pt x="3056096" y="151924"/>
                  </a:cubicBezTo>
                  <a:cubicBezTo>
                    <a:pt x="3060859" y="131921"/>
                    <a:pt x="3062764" y="120491"/>
                    <a:pt x="3062764" y="120491"/>
                  </a:cubicBezTo>
                  <a:cubicBezTo>
                    <a:pt x="3062764" y="120491"/>
                    <a:pt x="3058954" y="130969"/>
                    <a:pt x="3052286" y="150971"/>
                  </a:cubicBezTo>
                  <a:cubicBezTo>
                    <a:pt x="3048476" y="160496"/>
                    <a:pt x="3045619" y="172879"/>
                    <a:pt x="3041809" y="186214"/>
                  </a:cubicBezTo>
                  <a:cubicBezTo>
                    <a:pt x="3039904" y="192881"/>
                    <a:pt x="3037999" y="200501"/>
                    <a:pt x="3036094" y="208121"/>
                  </a:cubicBezTo>
                  <a:cubicBezTo>
                    <a:pt x="3035141" y="210979"/>
                    <a:pt x="3035141" y="213836"/>
                    <a:pt x="3034189" y="215741"/>
                  </a:cubicBezTo>
                  <a:cubicBezTo>
                    <a:pt x="3033236" y="211931"/>
                    <a:pt x="3032284" y="209074"/>
                    <a:pt x="3032284" y="205264"/>
                  </a:cubicBezTo>
                  <a:cubicBezTo>
                    <a:pt x="3038951" y="181451"/>
                    <a:pt x="3044666" y="162401"/>
                    <a:pt x="3048476" y="148114"/>
                  </a:cubicBezTo>
                  <a:cubicBezTo>
                    <a:pt x="3053239" y="131921"/>
                    <a:pt x="3057049" y="123349"/>
                    <a:pt x="3057049" y="123349"/>
                  </a:cubicBezTo>
                  <a:cubicBezTo>
                    <a:pt x="3057049" y="123349"/>
                    <a:pt x="3056096" y="125254"/>
                    <a:pt x="3054191" y="129064"/>
                  </a:cubicBezTo>
                  <a:cubicBezTo>
                    <a:pt x="3052286" y="132874"/>
                    <a:pt x="3049429" y="138589"/>
                    <a:pt x="3045619" y="146209"/>
                  </a:cubicBezTo>
                  <a:cubicBezTo>
                    <a:pt x="3040856" y="155734"/>
                    <a:pt x="3035141" y="169069"/>
                    <a:pt x="3029426" y="184309"/>
                  </a:cubicBezTo>
                  <a:cubicBezTo>
                    <a:pt x="3029426" y="177641"/>
                    <a:pt x="3028474" y="171926"/>
                    <a:pt x="3029426" y="167164"/>
                  </a:cubicBezTo>
                  <a:cubicBezTo>
                    <a:pt x="3030379" y="150019"/>
                    <a:pt x="3030379" y="140494"/>
                    <a:pt x="3030379" y="140494"/>
                  </a:cubicBezTo>
                  <a:cubicBezTo>
                    <a:pt x="3030379" y="140494"/>
                    <a:pt x="3028474" y="150019"/>
                    <a:pt x="3025616" y="166211"/>
                  </a:cubicBezTo>
                  <a:cubicBezTo>
                    <a:pt x="3023711" y="174784"/>
                    <a:pt x="3023711" y="184309"/>
                    <a:pt x="3022759" y="196691"/>
                  </a:cubicBezTo>
                  <a:cubicBezTo>
                    <a:pt x="3022759" y="198596"/>
                    <a:pt x="3022759" y="200501"/>
                    <a:pt x="3022759" y="202406"/>
                  </a:cubicBezTo>
                  <a:cubicBezTo>
                    <a:pt x="3021806" y="205264"/>
                    <a:pt x="3020854" y="208121"/>
                    <a:pt x="3019901" y="210979"/>
                  </a:cubicBezTo>
                  <a:cubicBezTo>
                    <a:pt x="3017044" y="218599"/>
                    <a:pt x="3014186" y="226219"/>
                    <a:pt x="3011329" y="234791"/>
                  </a:cubicBezTo>
                  <a:cubicBezTo>
                    <a:pt x="3009424" y="230981"/>
                    <a:pt x="3008471" y="228124"/>
                    <a:pt x="3007519" y="226219"/>
                  </a:cubicBezTo>
                  <a:cubicBezTo>
                    <a:pt x="3009424" y="219551"/>
                    <a:pt x="3011329" y="215741"/>
                    <a:pt x="3011329" y="215741"/>
                  </a:cubicBezTo>
                  <a:cubicBezTo>
                    <a:pt x="3011329" y="215741"/>
                    <a:pt x="3009424" y="218599"/>
                    <a:pt x="3006566" y="222409"/>
                  </a:cubicBezTo>
                  <a:cubicBezTo>
                    <a:pt x="3004661" y="215741"/>
                    <a:pt x="3003709" y="209074"/>
                    <a:pt x="3001804" y="202406"/>
                  </a:cubicBezTo>
                  <a:cubicBezTo>
                    <a:pt x="3001804" y="200501"/>
                    <a:pt x="3000851" y="199549"/>
                    <a:pt x="3000851" y="197644"/>
                  </a:cubicBezTo>
                  <a:cubicBezTo>
                    <a:pt x="3001804" y="194786"/>
                    <a:pt x="3002756" y="191929"/>
                    <a:pt x="3003709" y="189071"/>
                  </a:cubicBezTo>
                  <a:cubicBezTo>
                    <a:pt x="3006566" y="179546"/>
                    <a:pt x="3008471" y="170974"/>
                    <a:pt x="3011329" y="164306"/>
                  </a:cubicBezTo>
                  <a:cubicBezTo>
                    <a:pt x="3016091" y="150971"/>
                    <a:pt x="3018949" y="142399"/>
                    <a:pt x="3018949" y="142399"/>
                  </a:cubicBezTo>
                  <a:cubicBezTo>
                    <a:pt x="3018949" y="142399"/>
                    <a:pt x="3015139" y="150019"/>
                    <a:pt x="3007519" y="162401"/>
                  </a:cubicBezTo>
                  <a:cubicBezTo>
                    <a:pt x="3004661" y="168116"/>
                    <a:pt x="3001804" y="174784"/>
                    <a:pt x="2997994" y="182404"/>
                  </a:cubicBezTo>
                  <a:cubicBezTo>
                    <a:pt x="2997041" y="177641"/>
                    <a:pt x="2996089" y="172879"/>
                    <a:pt x="2995136" y="169069"/>
                  </a:cubicBezTo>
                  <a:cubicBezTo>
                    <a:pt x="3002756" y="140494"/>
                    <a:pt x="3009424" y="117634"/>
                    <a:pt x="3014186" y="100489"/>
                  </a:cubicBezTo>
                  <a:cubicBezTo>
                    <a:pt x="3017044" y="90011"/>
                    <a:pt x="3019901" y="82391"/>
                    <a:pt x="3021806" y="76676"/>
                  </a:cubicBezTo>
                  <a:cubicBezTo>
                    <a:pt x="3023711" y="70961"/>
                    <a:pt x="3024664" y="68104"/>
                    <a:pt x="3024664" y="68104"/>
                  </a:cubicBezTo>
                  <a:cubicBezTo>
                    <a:pt x="3024664" y="68104"/>
                    <a:pt x="3023711" y="70961"/>
                    <a:pt x="3020854" y="75724"/>
                  </a:cubicBezTo>
                  <a:cubicBezTo>
                    <a:pt x="3017996" y="80486"/>
                    <a:pt x="3015139" y="88106"/>
                    <a:pt x="3010376" y="98584"/>
                  </a:cubicBezTo>
                  <a:cubicBezTo>
                    <a:pt x="3006566" y="108109"/>
                    <a:pt x="3001804" y="120491"/>
                    <a:pt x="2996089" y="134779"/>
                  </a:cubicBezTo>
                  <a:cubicBezTo>
                    <a:pt x="2994184" y="139541"/>
                    <a:pt x="2993231" y="143351"/>
                    <a:pt x="2991326" y="148114"/>
                  </a:cubicBezTo>
                  <a:cubicBezTo>
                    <a:pt x="2989421" y="138589"/>
                    <a:pt x="2988469" y="130016"/>
                    <a:pt x="2987516" y="122396"/>
                  </a:cubicBezTo>
                  <a:cubicBezTo>
                    <a:pt x="2985611" y="103346"/>
                    <a:pt x="2984659" y="91916"/>
                    <a:pt x="2984659" y="91916"/>
                  </a:cubicBezTo>
                  <a:cubicBezTo>
                    <a:pt x="2984659" y="91916"/>
                    <a:pt x="2984659" y="103346"/>
                    <a:pt x="2983706" y="122396"/>
                  </a:cubicBezTo>
                  <a:cubicBezTo>
                    <a:pt x="2983706" y="131921"/>
                    <a:pt x="2984659" y="144304"/>
                    <a:pt x="2985611" y="157639"/>
                  </a:cubicBezTo>
                  <a:cubicBezTo>
                    <a:pt x="2985611" y="159544"/>
                    <a:pt x="2985611" y="161449"/>
                    <a:pt x="2985611" y="163354"/>
                  </a:cubicBezTo>
                  <a:cubicBezTo>
                    <a:pt x="2983706" y="169069"/>
                    <a:pt x="2981801" y="175736"/>
                    <a:pt x="2978944" y="182404"/>
                  </a:cubicBezTo>
                  <a:cubicBezTo>
                    <a:pt x="2973229" y="199549"/>
                    <a:pt x="2967514" y="218599"/>
                    <a:pt x="2960846" y="238601"/>
                  </a:cubicBezTo>
                  <a:cubicBezTo>
                    <a:pt x="2959894" y="236696"/>
                    <a:pt x="2959894" y="234791"/>
                    <a:pt x="2959894" y="234791"/>
                  </a:cubicBezTo>
                  <a:cubicBezTo>
                    <a:pt x="2959894" y="234791"/>
                    <a:pt x="2959894" y="236696"/>
                    <a:pt x="2960846" y="239554"/>
                  </a:cubicBezTo>
                  <a:cubicBezTo>
                    <a:pt x="2957036" y="250984"/>
                    <a:pt x="2954179" y="262414"/>
                    <a:pt x="2950369" y="274796"/>
                  </a:cubicBezTo>
                  <a:cubicBezTo>
                    <a:pt x="2951321" y="268129"/>
                    <a:pt x="2952274" y="264319"/>
                    <a:pt x="2952274" y="264319"/>
                  </a:cubicBezTo>
                  <a:cubicBezTo>
                    <a:pt x="2952274" y="264319"/>
                    <a:pt x="2949416" y="271939"/>
                    <a:pt x="2944654" y="284321"/>
                  </a:cubicBezTo>
                  <a:cubicBezTo>
                    <a:pt x="2944654" y="284321"/>
                    <a:pt x="2944654" y="283369"/>
                    <a:pt x="2944654" y="283369"/>
                  </a:cubicBezTo>
                  <a:cubicBezTo>
                    <a:pt x="2944654" y="281464"/>
                    <a:pt x="2944654" y="279559"/>
                    <a:pt x="2945606" y="277654"/>
                  </a:cubicBezTo>
                  <a:cubicBezTo>
                    <a:pt x="2947511" y="263366"/>
                    <a:pt x="2948464" y="250984"/>
                    <a:pt x="2949416" y="238601"/>
                  </a:cubicBezTo>
                  <a:cubicBezTo>
                    <a:pt x="2950369" y="232886"/>
                    <a:pt x="2950369" y="226219"/>
                    <a:pt x="2951321" y="221456"/>
                  </a:cubicBezTo>
                  <a:cubicBezTo>
                    <a:pt x="2952274" y="215741"/>
                    <a:pt x="2953226" y="210979"/>
                    <a:pt x="2953226" y="205264"/>
                  </a:cubicBezTo>
                  <a:cubicBezTo>
                    <a:pt x="2954179" y="195739"/>
                    <a:pt x="2955131" y="186214"/>
                    <a:pt x="2956084" y="179546"/>
                  </a:cubicBezTo>
                  <a:cubicBezTo>
                    <a:pt x="2957989" y="165259"/>
                    <a:pt x="2958941" y="156686"/>
                    <a:pt x="2958941" y="156686"/>
                  </a:cubicBezTo>
                  <a:cubicBezTo>
                    <a:pt x="2958941" y="156686"/>
                    <a:pt x="2957036" y="164306"/>
                    <a:pt x="2952274" y="178594"/>
                  </a:cubicBezTo>
                  <a:cubicBezTo>
                    <a:pt x="2950369" y="185261"/>
                    <a:pt x="2948464" y="193834"/>
                    <a:pt x="2945606" y="203359"/>
                  </a:cubicBezTo>
                  <a:cubicBezTo>
                    <a:pt x="2944654" y="208121"/>
                    <a:pt x="2942749" y="212884"/>
                    <a:pt x="2941796" y="218599"/>
                  </a:cubicBezTo>
                  <a:cubicBezTo>
                    <a:pt x="2940844" y="224314"/>
                    <a:pt x="2939891" y="230029"/>
                    <a:pt x="2937986" y="235744"/>
                  </a:cubicBezTo>
                  <a:cubicBezTo>
                    <a:pt x="2936081" y="246221"/>
                    <a:pt x="2933224" y="257651"/>
                    <a:pt x="2931319" y="270034"/>
                  </a:cubicBezTo>
                  <a:cubicBezTo>
                    <a:pt x="2930366" y="266224"/>
                    <a:pt x="2930366" y="263366"/>
                    <a:pt x="2929414" y="260509"/>
                  </a:cubicBezTo>
                  <a:cubicBezTo>
                    <a:pt x="2929414" y="258604"/>
                    <a:pt x="2928461" y="257651"/>
                    <a:pt x="2928461" y="256699"/>
                  </a:cubicBezTo>
                  <a:cubicBezTo>
                    <a:pt x="2930366" y="253841"/>
                    <a:pt x="2931319" y="251936"/>
                    <a:pt x="2931319" y="251936"/>
                  </a:cubicBezTo>
                  <a:cubicBezTo>
                    <a:pt x="2931319" y="251936"/>
                    <a:pt x="2930366" y="252889"/>
                    <a:pt x="2927509" y="254794"/>
                  </a:cubicBezTo>
                  <a:cubicBezTo>
                    <a:pt x="2926556" y="251936"/>
                    <a:pt x="2925604" y="249079"/>
                    <a:pt x="2925604" y="247174"/>
                  </a:cubicBezTo>
                  <a:cubicBezTo>
                    <a:pt x="2929414" y="237649"/>
                    <a:pt x="2931319" y="231934"/>
                    <a:pt x="2931319" y="231934"/>
                  </a:cubicBezTo>
                  <a:cubicBezTo>
                    <a:pt x="2931319" y="231934"/>
                    <a:pt x="2928461" y="235744"/>
                    <a:pt x="2924651" y="243364"/>
                  </a:cubicBezTo>
                  <a:cubicBezTo>
                    <a:pt x="2923699" y="241459"/>
                    <a:pt x="2923699" y="239554"/>
                    <a:pt x="2922746" y="237649"/>
                  </a:cubicBezTo>
                  <a:lnTo>
                    <a:pt x="2922746" y="236696"/>
                  </a:lnTo>
                  <a:lnTo>
                    <a:pt x="2921794" y="236696"/>
                  </a:lnTo>
                  <a:cubicBezTo>
                    <a:pt x="2919889" y="236696"/>
                    <a:pt x="2917984" y="236696"/>
                    <a:pt x="2916079" y="236696"/>
                  </a:cubicBezTo>
                  <a:lnTo>
                    <a:pt x="2916079" y="236696"/>
                  </a:lnTo>
                  <a:cubicBezTo>
                    <a:pt x="2928461" y="200501"/>
                    <a:pt x="2935129" y="176689"/>
                    <a:pt x="2935129" y="176689"/>
                  </a:cubicBezTo>
                  <a:cubicBezTo>
                    <a:pt x="2935129" y="176689"/>
                    <a:pt x="2924651" y="196691"/>
                    <a:pt x="2909411" y="230029"/>
                  </a:cubicBezTo>
                  <a:cubicBezTo>
                    <a:pt x="2907506" y="222409"/>
                    <a:pt x="2904649" y="216694"/>
                    <a:pt x="2902744" y="211931"/>
                  </a:cubicBezTo>
                  <a:cubicBezTo>
                    <a:pt x="2901791" y="206216"/>
                    <a:pt x="2900839" y="201454"/>
                    <a:pt x="2900839" y="195739"/>
                  </a:cubicBezTo>
                  <a:cubicBezTo>
                    <a:pt x="2899886" y="188119"/>
                    <a:pt x="2898934" y="180499"/>
                    <a:pt x="2897981" y="173831"/>
                  </a:cubicBezTo>
                  <a:cubicBezTo>
                    <a:pt x="2897029" y="167164"/>
                    <a:pt x="2897029" y="160496"/>
                    <a:pt x="2896076" y="153829"/>
                  </a:cubicBezTo>
                  <a:cubicBezTo>
                    <a:pt x="2895124" y="141446"/>
                    <a:pt x="2894171" y="130969"/>
                    <a:pt x="2893219" y="121444"/>
                  </a:cubicBezTo>
                  <a:cubicBezTo>
                    <a:pt x="2891314" y="103346"/>
                    <a:pt x="2890361" y="93821"/>
                    <a:pt x="2890361" y="93821"/>
                  </a:cubicBezTo>
                  <a:cubicBezTo>
                    <a:pt x="2890361" y="93821"/>
                    <a:pt x="2890361" y="104299"/>
                    <a:pt x="2889409" y="121444"/>
                  </a:cubicBezTo>
                  <a:cubicBezTo>
                    <a:pt x="2889409" y="130016"/>
                    <a:pt x="2889409" y="141446"/>
                    <a:pt x="2889409" y="153829"/>
                  </a:cubicBezTo>
                  <a:cubicBezTo>
                    <a:pt x="2889409" y="160496"/>
                    <a:pt x="2889409" y="166211"/>
                    <a:pt x="2889409" y="173831"/>
                  </a:cubicBezTo>
                  <a:cubicBezTo>
                    <a:pt x="2889409" y="180499"/>
                    <a:pt x="2890361" y="188119"/>
                    <a:pt x="2890361" y="195739"/>
                  </a:cubicBezTo>
                  <a:cubicBezTo>
                    <a:pt x="2890361" y="200501"/>
                    <a:pt x="2891314" y="206216"/>
                    <a:pt x="2891314" y="211931"/>
                  </a:cubicBezTo>
                  <a:cubicBezTo>
                    <a:pt x="2890361" y="213836"/>
                    <a:pt x="2889409" y="215741"/>
                    <a:pt x="2887504" y="217646"/>
                  </a:cubicBezTo>
                  <a:cubicBezTo>
                    <a:pt x="2886551" y="218599"/>
                    <a:pt x="2885599" y="220504"/>
                    <a:pt x="2885599" y="221456"/>
                  </a:cubicBezTo>
                  <a:cubicBezTo>
                    <a:pt x="2883694" y="212884"/>
                    <a:pt x="2882741" y="204311"/>
                    <a:pt x="2880836" y="195739"/>
                  </a:cubicBezTo>
                  <a:cubicBezTo>
                    <a:pt x="2878931" y="185261"/>
                    <a:pt x="2877026" y="174784"/>
                    <a:pt x="2874169" y="166211"/>
                  </a:cubicBezTo>
                  <a:cubicBezTo>
                    <a:pt x="2872264" y="157639"/>
                    <a:pt x="2870359" y="150019"/>
                    <a:pt x="2867501" y="144304"/>
                  </a:cubicBezTo>
                  <a:cubicBezTo>
                    <a:pt x="2863691" y="131921"/>
                    <a:pt x="2860834" y="125254"/>
                    <a:pt x="2860834" y="125254"/>
                  </a:cubicBezTo>
                  <a:cubicBezTo>
                    <a:pt x="2860834" y="125254"/>
                    <a:pt x="2861786" y="132874"/>
                    <a:pt x="2863691" y="145256"/>
                  </a:cubicBezTo>
                  <a:cubicBezTo>
                    <a:pt x="2864644" y="151924"/>
                    <a:pt x="2865596" y="159544"/>
                    <a:pt x="2866549" y="168116"/>
                  </a:cubicBezTo>
                  <a:cubicBezTo>
                    <a:pt x="2867501" y="176689"/>
                    <a:pt x="2868454" y="187166"/>
                    <a:pt x="2869406" y="197644"/>
                  </a:cubicBezTo>
                  <a:cubicBezTo>
                    <a:pt x="2870359" y="208121"/>
                    <a:pt x="2871311" y="220504"/>
                    <a:pt x="2872264" y="232886"/>
                  </a:cubicBezTo>
                  <a:cubicBezTo>
                    <a:pt x="2872264" y="237649"/>
                    <a:pt x="2873216" y="242411"/>
                    <a:pt x="2873216" y="247174"/>
                  </a:cubicBezTo>
                  <a:cubicBezTo>
                    <a:pt x="2870359" y="253841"/>
                    <a:pt x="2867501" y="262414"/>
                    <a:pt x="2864644" y="270034"/>
                  </a:cubicBezTo>
                  <a:cubicBezTo>
                    <a:pt x="2863691" y="270986"/>
                    <a:pt x="2863691" y="272891"/>
                    <a:pt x="2863691" y="274796"/>
                  </a:cubicBezTo>
                  <a:cubicBezTo>
                    <a:pt x="2860834" y="269081"/>
                    <a:pt x="2857976" y="263366"/>
                    <a:pt x="2855119" y="257651"/>
                  </a:cubicBezTo>
                  <a:cubicBezTo>
                    <a:pt x="2850356" y="248126"/>
                    <a:pt x="2845594" y="239554"/>
                    <a:pt x="2841784" y="230029"/>
                  </a:cubicBezTo>
                  <a:cubicBezTo>
                    <a:pt x="2855119" y="229076"/>
                    <a:pt x="2855119" y="226219"/>
                    <a:pt x="2855119" y="226219"/>
                  </a:cubicBezTo>
                  <a:cubicBezTo>
                    <a:pt x="2855119" y="226219"/>
                    <a:pt x="2854166" y="228124"/>
                    <a:pt x="2853214" y="231934"/>
                  </a:cubicBezTo>
                  <a:cubicBezTo>
                    <a:pt x="2849404" y="224314"/>
                    <a:pt x="2844641" y="215741"/>
                    <a:pt x="2840831" y="209074"/>
                  </a:cubicBezTo>
                  <a:cubicBezTo>
                    <a:pt x="2857024" y="174784"/>
                    <a:pt x="2866549" y="150971"/>
                    <a:pt x="2866549" y="150971"/>
                  </a:cubicBezTo>
                  <a:cubicBezTo>
                    <a:pt x="2866549" y="150971"/>
                    <a:pt x="2853214" y="169069"/>
                    <a:pt x="2835116" y="198596"/>
                  </a:cubicBezTo>
                  <a:cubicBezTo>
                    <a:pt x="2833211" y="194786"/>
                    <a:pt x="2831306" y="191929"/>
                    <a:pt x="2829401" y="188119"/>
                  </a:cubicBezTo>
                  <a:cubicBezTo>
                    <a:pt x="2826544" y="170021"/>
                    <a:pt x="2823686" y="151924"/>
                    <a:pt x="2820829" y="132874"/>
                  </a:cubicBezTo>
                  <a:cubicBezTo>
                    <a:pt x="2820829" y="146209"/>
                    <a:pt x="2820829" y="160496"/>
                    <a:pt x="2821781" y="173831"/>
                  </a:cubicBezTo>
                  <a:cubicBezTo>
                    <a:pt x="2817019" y="166211"/>
                    <a:pt x="2812256" y="158591"/>
                    <a:pt x="2807494" y="151924"/>
                  </a:cubicBezTo>
                  <a:cubicBezTo>
                    <a:pt x="2797969" y="137636"/>
                    <a:pt x="2790349" y="125254"/>
                    <a:pt x="2782729" y="115729"/>
                  </a:cubicBezTo>
                  <a:cubicBezTo>
                    <a:pt x="2768441" y="95726"/>
                    <a:pt x="2759869" y="85249"/>
                    <a:pt x="2759869" y="85249"/>
                  </a:cubicBezTo>
                  <a:cubicBezTo>
                    <a:pt x="2759869" y="85249"/>
                    <a:pt x="2766536" y="97631"/>
                    <a:pt x="2778919" y="118586"/>
                  </a:cubicBezTo>
                  <a:cubicBezTo>
                    <a:pt x="2785586" y="129064"/>
                    <a:pt x="2792254" y="142399"/>
                    <a:pt x="2799874" y="156686"/>
                  </a:cubicBezTo>
                  <a:cubicBezTo>
                    <a:pt x="2803684" y="164306"/>
                    <a:pt x="2808446" y="171926"/>
                    <a:pt x="2812256" y="180499"/>
                  </a:cubicBezTo>
                  <a:cubicBezTo>
                    <a:pt x="2815114" y="186214"/>
                    <a:pt x="2817971" y="191929"/>
                    <a:pt x="2820829" y="197644"/>
                  </a:cubicBezTo>
                  <a:cubicBezTo>
                    <a:pt x="2820829" y="199549"/>
                    <a:pt x="2820829" y="202406"/>
                    <a:pt x="2820829" y="204311"/>
                  </a:cubicBezTo>
                  <a:cubicBezTo>
                    <a:pt x="2820829" y="209074"/>
                    <a:pt x="2821781" y="213836"/>
                    <a:pt x="2821781" y="218599"/>
                  </a:cubicBezTo>
                  <a:cubicBezTo>
                    <a:pt x="2819876" y="221456"/>
                    <a:pt x="2818924" y="224314"/>
                    <a:pt x="2817019" y="227171"/>
                  </a:cubicBezTo>
                  <a:cubicBezTo>
                    <a:pt x="2813209" y="222409"/>
                    <a:pt x="2810351" y="216694"/>
                    <a:pt x="2806541" y="211931"/>
                  </a:cubicBezTo>
                  <a:cubicBezTo>
                    <a:pt x="2806541" y="210979"/>
                    <a:pt x="2805589" y="210979"/>
                    <a:pt x="2805589" y="210026"/>
                  </a:cubicBezTo>
                  <a:cubicBezTo>
                    <a:pt x="2806541" y="209074"/>
                    <a:pt x="2806541" y="208121"/>
                    <a:pt x="2806541" y="208121"/>
                  </a:cubicBezTo>
                  <a:cubicBezTo>
                    <a:pt x="2806541" y="208121"/>
                    <a:pt x="2806541" y="208121"/>
                    <a:pt x="2805589" y="209074"/>
                  </a:cubicBezTo>
                  <a:cubicBezTo>
                    <a:pt x="2800826" y="202406"/>
                    <a:pt x="2796064" y="196691"/>
                    <a:pt x="2792254" y="191929"/>
                  </a:cubicBezTo>
                  <a:cubicBezTo>
                    <a:pt x="2782729" y="179546"/>
                    <a:pt x="2775109" y="169069"/>
                    <a:pt x="2767489" y="161449"/>
                  </a:cubicBezTo>
                  <a:cubicBezTo>
                    <a:pt x="2766536" y="160496"/>
                    <a:pt x="2766536" y="159544"/>
                    <a:pt x="2765584" y="158591"/>
                  </a:cubicBezTo>
                  <a:cubicBezTo>
                    <a:pt x="2765584" y="157639"/>
                    <a:pt x="2765584" y="156686"/>
                    <a:pt x="2765584" y="155734"/>
                  </a:cubicBezTo>
                  <a:cubicBezTo>
                    <a:pt x="2764631" y="145256"/>
                    <a:pt x="2762726" y="135731"/>
                    <a:pt x="2762726" y="128111"/>
                  </a:cubicBezTo>
                  <a:cubicBezTo>
                    <a:pt x="2760821" y="112871"/>
                    <a:pt x="2759869" y="103346"/>
                    <a:pt x="2759869" y="103346"/>
                  </a:cubicBezTo>
                  <a:cubicBezTo>
                    <a:pt x="2759869" y="103346"/>
                    <a:pt x="2759869" y="111919"/>
                    <a:pt x="2758916" y="128111"/>
                  </a:cubicBezTo>
                  <a:cubicBezTo>
                    <a:pt x="2758916" y="134779"/>
                    <a:pt x="2758916" y="141446"/>
                    <a:pt x="2758916" y="150019"/>
                  </a:cubicBezTo>
                  <a:cubicBezTo>
                    <a:pt x="2750344" y="140494"/>
                    <a:pt x="2745581" y="135731"/>
                    <a:pt x="2745581" y="135731"/>
                  </a:cubicBezTo>
                  <a:cubicBezTo>
                    <a:pt x="2745581" y="135731"/>
                    <a:pt x="2750344" y="142399"/>
                    <a:pt x="2758916" y="153829"/>
                  </a:cubicBezTo>
                  <a:cubicBezTo>
                    <a:pt x="2758916" y="154781"/>
                    <a:pt x="2758916" y="155734"/>
                    <a:pt x="2758916" y="155734"/>
                  </a:cubicBezTo>
                  <a:cubicBezTo>
                    <a:pt x="2758916" y="161449"/>
                    <a:pt x="2758916" y="167164"/>
                    <a:pt x="2758916" y="172879"/>
                  </a:cubicBezTo>
                  <a:cubicBezTo>
                    <a:pt x="2758916" y="178594"/>
                    <a:pt x="2759869" y="185261"/>
                    <a:pt x="2759869" y="191929"/>
                  </a:cubicBezTo>
                  <a:cubicBezTo>
                    <a:pt x="2759869" y="200501"/>
                    <a:pt x="2760821" y="210026"/>
                    <a:pt x="2761774" y="219551"/>
                  </a:cubicBezTo>
                  <a:cubicBezTo>
                    <a:pt x="2761774" y="218599"/>
                    <a:pt x="2760821" y="217646"/>
                    <a:pt x="2760821" y="217646"/>
                  </a:cubicBezTo>
                  <a:cubicBezTo>
                    <a:pt x="2760821" y="216694"/>
                    <a:pt x="2760821" y="216694"/>
                    <a:pt x="2760821" y="216694"/>
                  </a:cubicBezTo>
                  <a:cubicBezTo>
                    <a:pt x="2760821" y="216694"/>
                    <a:pt x="2760821" y="216694"/>
                    <a:pt x="2760821" y="217646"/>
                  </a:cubicBezTo>
                  <a:cubicBezTo>
                    <a:pt x="2749391" y="189071"/>
                    <a:pt x="2741771" y="172879"/>
                    <a:pt x="2741771" y="172879"/>
                  </a:cubicBezTo>
                  <a:cubicBezTo>
                    <a:pt x="2741771" y="172879"/>
                    <a:pt x="2747486" y="193834"/>
                    <a:pt x="2757011" y="228124"/>
                  </a:cubicBezTo>
                  <a:cubicBezTo>
                    <a:pt x="2754154" y="236696"/>
                    <a:pt x="2749391" y="250984"/>
                    <a:pt x="2743676" y="268129"/>
                  </a:cubicBezTo>
                  <a:cubicBezTo>
                    <a:pt x="2740819" y="262414"/>
                    <a:pt x="2737961" y="258604"/>
                    <a:pt x="2736056" y="254794"/>
                  </a:cubicBezTo>
                  <a:cubicBezTo>
                    <a:pt x="2737009" y="241459"/>
                    <a:pt x="2737009" y="232886"/>
                    <a:pt x="2737009" y="232886"/>
                  </a:cubicBezTo>
                  <a:cubicBezTo>
                    <a:pt x="2737009" y="232886"/>
                    <a:pt x="2735104" y="238601"/>
                    <a:pt x="2732246" y="249079"/>
                  </a:cubicBezTo>
                  <a:cubicBezTo>
                    <a:pt x="2731294" y="247174"/>
                    <a:pt x="2730341" y="246221"/>
                    <a:pt x="2730341" y="246221"/>
                  </a:cubicBezTo>
                  <a:cubicBezTo>
                    <a:pt x="2730341" y="246221"/>
                    <a:pt x="2730341" y="247174"/>
                    <a:pt x="2731294" y="250031"/>
                  </a:cubicBezTo>
                  <a:cubicBezTo>
                    <a:pt x="2730341" y="252889"/>
                    <a:pt x="2730341" y="254794"/>
                    <a:pt x="2729389" y="258604"/>
                  </a:cubicBezTo>
                  <a:lnTo>
                    <a:pt x="2729389" y="247174"/>
                  </a:lnTo>
                  <a:lnTo>
                    <a:pt x="2731294" y="218599"/>
                  </a:lnTo>
                  <a:cubicBezTo>
                    <a:pt x="2732246" y="218599"/>
                    <a:pt x="2732246" y="218599"/>
                    <a:pt x="2733199" y="219551"/>
                  </a:cubicBezTo>
                  <a:cubicBezTo>
                    <a:pt x="2734151" y="220504"/>
                    <a:pt x="2735104" y="221456"/>
                    <a:pt x="2736056" y="222409"/>
                  </a:cubicBezTo>
                  <a:cubicBezTo>
                    <a:pt x="2737961" y="224314"/>
                    <a:pt x="2737961" y="228124"/>
                    <a:pt x="2738914" y="230981"/>
                  </a:cubicBezTo>
                  <a:cubicBezTo>
                    <a:pt x="2738914" y="228124"/>
                    <a:pt x="2738914" y="225266"/>
                    <a:pt x="2737961" y="222409"/>
                  </a:cubicBezTo>
                  <a:cubicBezTo>
                    <a:pt x="2737009" y="220504"/>
                    <a:pt x="2736056" y="219551"/>
                    <a:pt x="2735104" y="218599"/>
                  </a:cubicBezTo>
                  <a:cubicBezTo>
                    <a:pt x="2734151" y="217646"/>
                    <a:pt x="2732246" y="216694"/>
                    <a:pt x="2730341" y="216694"/>
                  </a:cubicBezTo>
                  <a:lnTo>
                    <a:pt x="2728436" y="216694"/>
                  </a:lnTo>
                  <a:lnTo>
                    <a:pt x="2728436" y="218599"/>
                  </a:lnTo>
                  <a:cubicBezTo>
                    <a:pt x="2726531" y="228124"/>
                    <a:pt x="2723674" y="238601"/>
                    <a:pt x="2721769" y="248126"/>
                  </a:cubicBezTo>
                  <a:cubicBezTo>
                    <a:pt x="2720816" y="251936"/>
                    <a:pt x="2720816" y="256699"/>
                    <a:pt x="2719864" y="260509"/>
                  </a:cubicBezTo>
                  <a:cubicBezTo>
                    <a:pt x="2718911" y="258604"/>
                    <a:pt x="2717959" y="256699"/>
                    <a:pt x="2717006" y="254794"/>
                  </a:cubicBezTo>
                  <a:cubicBezTo>
                    <a:pt x="2717006" y="254794"/>
                    <a:pt x="2717006" y="253841"/>
                    <a:pt x="2717006" y="253841"/>
                  </a:cubicBezTo>
                  <a:cubicBezTo>
                    <a:pt x="2717959" y="244316"/>
                    <a:pt x="2718911" y="238601"/>
                    <a:pt x="2718911" y="238601"/>
                  </a:cubicBezTo>
                  <a:cubicBezTo>
                    <a:pt x="2718911" y="238601"/>
                    <a:pt x="2717959" y="241459"/>
                    <a:pt x="2716054" y="247174"/>
                  </a:cubicBezTo>
                  <a:cubicBezTo>
                    <a:pt x="2717006" y="204311"/>
                    <a:pt x="2716054" y="176689"/>
                    <a:pt x="2716054" y="176689"/>
                  </a:cubicBezTo>
                  <a:cubicBezTo>
                    <a:pt x="2716054" y="176689"/>
                    <a:pt x="2715101" y="185261"/>
                    <a:pt x="2713196" y="198596"/>
                  </a:cubicBezTo>
                  <a:cubicBezTo>
                    <a:pt x="2712244" y="207169"/>
                    <a:pt x="2710339" y="217646"/>
                    <a:pt x="2709386" y="230029"/>
                  </a:cubicBezTo>
                  <a:cubicBezTo>
                    <a:pt x="2707481" y="226219"/>
                    <a:pt x="2706529" y="221456"/>
                    <a:pt x="2704624" y="218599"/>
                  </a:cubicBezTo>
                  <a:lnTo>
                    <a:pt x="2703671" y="199549"/>
                  </a:lnTo>
                  <a:lnTo>
                    <a:pt x="2703671" y="163354"/>
                  </a:lnTo>
                  <a:cubicBezTo>
                    <a:pt x="2704624" y="163354"/>
                    <a:pt x="2705576" y="163354"/>
                    <a:pt x="2706529" y="164306"/>
                  </a:cubicBezTo>
                  <a:cubicBezTo>
                    <a:pt x="2708434" y="165259"/>
                    <a:pt x="2709386" y="166211"/>
                    <a:pt x="2710339" y="167164"/>
                  </a:cubicBezTo>
                  <a:cubicBezTo>
                    <a:pt x="2712244" y="170021"/>
                    <a:pt x="2713196" y="173831"/>
                    <a:pt x="2714149" y="176689"/>
                  </a:cubicBezTo>
                  <a:cubicBezTo>
                    <a:pt x="2714149" y="172879"/>
                    <a:pt x="2713196" y="169069"/>
                    <a:pt x="2712244" y="166211"/>
                  </a:cubicBezTo>
                  <a:cubicBezTo>
                    <a:pt x="2711291" y="164306"/>
                    <a:pt x="2710339" y="163354"/>
                    <a:pt x="2708434" y="161449"/>
                  </a:cubicBezTo>
                  <a:cubicBezTo>
                    <a:pt x="2706529" y="160496"/>
                    <a:pt x="2704624" y="159544"/>
                    <a:pt x="2702719" y="159544"/>
                  </a:cubicBezTo>
                  <a:lnTo>
                    <a:pt x="2700814" y="159544"/>
                  </a:lnTo>
                  <a:lnTo>
                    <a:pt x="2700814" y="161449"/>
                  </a:lnTo>
                  <a:lnTo>
                    <a:pt x="2697004" y="193834"/>
                  </a:lnTo>
                  <a:cubicBezTo>
                    <a:pt x="2694146" y="186214"/>
                    <a:pt x="2693194" y="181451"/>
                    <a:pt x="2693194" y="181451"/>
                  </a:cubicBezTo>
                  <a:cubicBezTo>
                    <a:pt x="2693194" y="181451"/>
                    <a:pt x="2694146" y="187166"/>
                    <a:pt x="2697004" y="198596"/>
                  </a:cubicBezTo>
                  <a:lnTo>
                    <a:pt x="2697004" y="198596"/>
                  </a:lnTo>
                  <a:cubicBezTo>
                    <a:pt x="2696051" y="210979"/>
                    <a:pt x="2696051" y="224314"/>
                    <a:pt x="2696051" y="236696"/>
                  </a:cubicBezTo>
                  <a:cubicBezTo>
                    <a:pt x="2696051" y="245269"/>
                    <a:pt x="2696051" y="253841"/>
                    <a:pt x="2697004" y="262414"/>
                  </a:cubicBezTo>
                  <a:cubicBezTo>
                    <a:pt x="2697004" y="262414"/>
                    <a:pt x="2697004" y="263366"/>
                    <a:pt x="2697004" y="263366"/>
                  </a:cubicBezTo>
                  <a:cubicBezTo>
                    <a:pt x="2697004" y="264319"/>
                    <a:pt x="2696051" y="265271"/>
                    <a:pt x="2696051" y="265271"/>
                  </a:cubicBezTo>
                  <a:cubicBezTo>
                    <a:pt x="2695099" y="264319"/>
                    <a:pt x="2694146" y="262414"/>
                    <a:pt x="2694146" y="261461"/>
                  </a:cubicBezTo>
                  <a:cubicBezTo>
                    <a:pt x="2691289" y="255746"/>
                    <a:pt x="2688431" y="250984"/>
                    <a:pt x="2685574" y="246221"/>
                  </a:cubicBezTo>
                  <a:cubicBezTo>
                    <a:pt x="2682716" y="233839"/>
                    <a:pt x="2680811" y="221456"/>
                    <a:pt x="2677954" y="210979"/>
                  </a:cubicBezTo>
                  <a:cubicBezTo>
                    <a:pt x="2677001" y="207169"/>
                    <a:pt x="2677001" y="204311"/>
                    <a:pt x="2676049" y="200501"/>
                  </a:cubicBezTo>
                  <a:cubicBezTo>
                    <a:pt x="2677954" y="190976"/>
                    <a:pt x="2679859" y="182404"/>
                    <a:pt x="2681764" y="173831"/>
                  </a:cubicBezTo>
                  <a:cubicBezTo>
                    <a:pt x="2683669" y="162401"/>
                    <a:pt x="2685574" y="152876"/>
                    <a:pt x="2687479" y="144304"/>
                  </a:cubicBezTo>
                  <a:cubicBezTo>
                    <a:pt x="2690336" y="128111"/>
                    <a:pt x="2691289" y="118586"/>
                    <a:pt x="2691289" y="118586"/>
                  </a:cubicBezTo>
                  <a:cubicBezTo>
                    <a:pt x="2691289" y="118586"/>
                    <a:pt x="2688431" y="128111"/>
                    <a:pt x="2683669" y="143351"/>
                  </a:cubicBezTo>
                  <a:cubicBezTo>
                    <a:pt x="2681764" y="149066"/>
                    <a:pt x="2679859" y="155734"/>
                    <a:pt x="2677954" y="162401"/>
                  </a:cubicBezTo>
                  <a:cubicBezTo>
                    <a:pt x="2677001" y="166211"/>
                    <a:pt x="2675096" y="170974"/>
                    <a:pt x="2673191" y="176689"/>
                  </a:cubicBezTo>
                  <a:cubicBezTo>
                    <a:pt x="2673191" y="176689"/>
                    <a:pt x="2673191" y="177641"/>
                    <a:pt x="2673191" y="177641"/>
                  </a:cubicBezTo>
                  <a:cubicBezTo>
                    <a:pt x="2673191" y="176689"/>
                    <a:pt x="2672239" y="174784"/>
                    <a:pt x="2672239" y="173831"/>
                  </a:cubicBezTo>
                  <a:cubicBezTo>
                    <a:pt x="2670334" y="163354"/>
                    <a:pt x="2668429" y="153829"/>
                    <a:pt x="2666524" y="146209"/>
                  </a:cubicBezTo>
                  <a:cubicBezTo>
                    <a:pt x="2663666" y="130969"/>
                    <a:pt x="2661761" y="121444"/>
                    <a:pt x="2661761" y="121444"/>
                  </a:cubicBezTo>
                  <a:cubicBezTo>
                    <a:pt x="2661761" y="121444"/>
                    <a:pt x="2661761" y="130016"/>
                    <a:pt x="2662714" y="146209"/>
                  </a:cubicBezTo>
                  <a:cubicBezTo>
                    <a:pt x="2663666" y="158591"/>
                    <a:pt x="2664619" y="176689"/>
                    <a:pt x="2666524" y="196691"/>
                  </a:cubicBezTo>
                  <a:cubicBezTo>
                    <a:pt x="2666524" y="197644"/>
                    <a:pt x="2665571" y="199549"/>
                    <a:pt x="2665571" y="200501"/>
                  </a:cubicBezTo>
                  <a:cubicBezTo>
                    <a:pt x="2665571" y="201454"/>
                    <a:pt x="2664619" y="203359"/>
                    <a:pt x="2664619" y="204311"/>
                  </a:cubicBezTo>
                  <a:cubicBezTo>
                    <a:pt x="2658904" y="192881"/>
                    <a:pt x="2653189" y="183356"/>
                    <a:pt x="2649379" y="174784"/>
                  </a:cubicBezTo>
                  <a:cubicBezTo>
                    <a:pt x="2639854" y="152876"/>
                    <a:pt x="2634139" y="141446"/>
                    <a:pt x="2634139" y="141446"/>
                  </a:cubicBezTo>
                  <a:cubicBezTo>
                    <a:pt x="2634139" y="141446"/>
                    <a:pt x="2637949" y="153829"/>
                    <a:pt x="2646521" y="176689"/>
                  </a:cubicBezTo>
                  <a:cubicBezTo>
                    <a:pt x="2650331" y="187166"/>
                    <a:pt x="2656046" y="199549"/>
                    <a:pt x="2661761" y="214789"/>
                  </a:cubicBezTo>
                  <a:cubicBezTo>
                    <a:pt x="2661761" y="215741"/>
                    <a:pt x="2661761" y="215741"/>
                    <a:pt x="2660809" y="216694"/>
                  </a:cubicBezTo>
                  <a:cubicBezTo>
                    <a:pt x="2656999" y="210026"/>
                    <a:pt x="2655094" y="204311"/>
                    <a:pt x="2652236" y="201454"/>
                  </a:cubicBezTo>
                  <a:cubicBezTo>
                    <a:pt x="2649379" y="197644"/>
                    <a:pt x="2648426" y="196691"/>
                    <a:pt x="2648426" y="196691"/>
                  </a:cubicBezTo>
                  <a:cubicBezTo>
                    <a:pt x="2648426" y="196691"/>
                    <a:pt x="2649379" y="198596"/>
                    <a:pt x="2651284" y="202406"/>
                  </a:cubicBezTo>
                  <a:cubicBezTo>
                    <a:pt x="2654141" y="206216"/>
                    <a:pt x="2655094" y="211931"/>
                    <a:pt x="2657951" y="218599"/>
                  </a:cubicBezTo>
                  <a:cubicBezTo>
                    <a:pt x="2657951" y="220504"/>
                    <a:pt x="2658904" y="222409"/>
                    <a:pt x="2658904" y="223361"/>
                  </a:cubicBezTo>
                  <a:cubicBezTo>
                    <a:pt x="2658904" y="224314"/>
                    <a:pt x="2657951" y="225266"/>
                    <a:pt x="2657951" y="226219"/>
                  </a:cubicBezTo>
                  <a:cubicBezTo>
                    <a:pt x="2654141" y="214789"/>
                    <a:pt x="2650331" y="203359"/>
                    <a:pt x="2647474" y="193834"/>
                  </a:cubicBezTo>
                  <a:cubicBezTo>
                    <a:pt x="2644616" y="184309"/>
                    <a:pt x="2640806" y="175736"/>
                    <a:pt x="2638901" y="169069"/>
                  </a:cubicBezTo>
                  <a:cubicBezTo>
                    <a:pt x="2634139" y="154781"/>
                    <a:pt x="2631281" y="147161"/>
                    <a:pt x="2631281" y="147161"/>
                  </a:cubicBezTo>
                  <a:cubicBezTo>
                    <a:pt x="2631281" y="147161"/>
                    <a:pt x="2632234" y="155734"/>
                    <a:pt x="2635091" y="170021"/>
                  </a:cubicBezTo>
                  <a:cubicBezTo>
                    <a:pt x="2637949" y="184309"/>
                    <a:pt x="2641759" y="205264"/>
                    <a:pt x="2647474" y="230029"/>
                  </a:cubicBezTo>
                  <a:cubicBezTo>
                    <a:pt x="2648426" y="235744"/>
                    <a:pt x="2650331" y="241459"/>
                    <a:pt x="2651284" y="247174"/>
                  </a:cubicBezTo>
                  <a:cubicBezTo>
                    <a:pt x="2648426" y="255746"/>
                    <a:pt x="2645569" y="264319"/>
                    <a:pt x="2642711" y="273844"/>
                  </a:cubicBezTo>
                  <a:cubicBezTo>
                    <a:pt x="2641759" y="272891"/>
                    <a:pt x="2641759" y="271939"/>
                    <a:pt x="2640806" y="270034"/>
                  </a:cubicBezTo>
                  <a:cubicBezTo>
                    <a:pt x="2640806" y="269081"/>
                    <a:pt x="2639854" y="269081"/>
                    <a:pt x="2639854" y="268129"/>
                  </a:cubicBezTo>
                  <a:cubicBezTo>
                    <a:pt x="2642711" y="238601"/>
                    <a:pt x="2643664" y="220504"/>
                    <a:pt x="2643664" y="220504"/>
                  </a:cubicBezTo>
                  <a:cubicBezTo>
                    <a:pt x="2643664" y="220504"/>
                    <a:pt x="2640806" y="230029"/>
                    <a:pt x="2636996" y="247174"/>
                  </a:cubicBezTo>
                  <a:cubicBezTo>
                    <a:pt x="2636996" y="220504"/>
                    <a:pt x="2636044" y="204311"/>
                    <a:pt x="2636044" y="204311"/>
                  </a:cubicBezTo>
                  <a:cubicBezTo>
                    <a:pt x="2636044" y="204311"/>
                    <a:pt x="2633186" y="217646"/>
                    <a:pt x="2630329" y="240506"/>
                  </a:cubicBezTo>
                  <a:cubicBezTo>
                    <a:pt x="2628424" y="228124"/>
                    <a:pt x="2625566" y="216694"/>
                    <a:pt x="2623661" y="206216"/>
                  </a:cubicBezTo>
                  <a:cubicBezTo>
                    <a:pt x="2618899" y="182404"/>
                    <a:pt x="2614136" y="162401"/>
                    <a:pt x="2610326" y="147161"/>
                  </a:cubicBezTo>
                  <a:cubicBezTo>
                    <a:pt x="2613184" y="141446"/>
                    <a:pt x="2615089" y="137636"/>
                    <a:pt x="2615089" y="137636"/>
                  </a:cubicBezTo>
                  <a:cubicBezTo>
                    <a:pt x="2615089" y="137636"/>
                    <a:pt x="2613184" y="140494"/>
                    <a:pt x="2610326" y="145256"/>
                  </a:cubicBezTo>
                  <a:cubicBezTo>
                    <a:pt x="2610326" y="144304"/>
                    <a:pt x="2610326" y="144304"/>
                    <a:pt x="2609374" y="143351"/>
                  </a:cubicBezTo>
                  <a:cubicBezTo>
                    <a:pt x="2605564" y="128111"/>
                    <a:pt x="2603659" y="119539"/>
                    <a:pt x="2603659" y="119539"/>
                  </a:cubicBezTo>
                  <a:cubicBezTo>
                    <a:pt x="2603659" y="119539"/>
                    <a:pt x="2604611" y="128111"/>
                    <a:pt x="2605564" y="144304"/>
                  </a:cubicBezTo>
                  <a:cubicBezTo>
                    <a:pt x="2605564" y="146209"/>
                    <a:pt x="2605564" y="149066"/>
                    <a:pt x="2606516" y="150971"/>
                  </a:cubicBezTo>
                  <a:cubicBezTo>
                    <a:pt x="2604611" y="153829"/>
                    <a:pt x="2602706" y="155734"/>
                    <a:pt x="2600801" y="158591"/>
                  </a:cubicBezTo>
                  <a:cubicBezTo>
                    <a:pt x="2596991" y="163354"/>
                    <a:pt x="2594134" y="169069"/>
                    <a:pt x="2589371" y="175736"/>
                  </a:cubicBezTo>
                  <a:cubicBezTo>
                    <a:pt x="2589371" y="174784"/>
                    <a:pt x="2589371" y="172879"/>
                    <a:pt x="2588419" y="171926"/>
                  </a:cubicBezTo>
                  <a:cubicBezTo>
                    <a:pt x="2585561" y="155734"/>
                    <a:pt x="2583656" y="147161"/>
                    <a:pt x="2583656" y="147161"/>
                  </a:cubicBezTo>
                  <a:cubicBezTo>
                    <a:pt x="2583656" y="147161"/>
                    <a:pt x="2583656" y="156686"/>
                    <a:pt x="2584609" y="171926"/>
                  </a:cubicBezTo>
                  <a:cubicBezTo>
                    <a:pt x="2584609" y="174784"/>
                    <a:pt x="2584609" y="178594"/>
                    <a:pt x="2585561" y="182404"/>
                  </a:cubicBezTo>
                  <a:cubicBezTo>
                    <a:pt x="2585561" y="182404"/>
                    <a:pt x="2585561" y="182404"/>
                    <a:pt x="2585561" y="182404"/>
                  </a:cubicBezTo>
                  <a:cubicBezTo>
                    <a:pt x="2582704" y="187166"/>
                    <a:pt x="2579846" y="192881"/>
                    <a:pt x="2576036" y="198596"/>
                  </a:cubicBezTo>
                  <a:cubicBezTo>
                    <a:pt x="2575084" y="190976"/>
                    <a:pt x="2575084" y="183356"/>
                    <a:pt x="2574131" y="177641"/>
                  </a:cubicBezTo>
                  <a:cubicBezTo>
                    <a:pt x="2573179" y="165259"/>
                    <a:pt x="2573179" y="157639"/>
                    <a:pt x="2573179" y="157639"/>
                  </a:cubicBezTo>
                  <a:cubicBezTo>
                    <a:pt x="2573179" y="157639"/>
                    <a:pt x="2572226" y="162401"/>
                    <a:pt x="2571274" y="170974"/>
                  </a:cubicBezTo>
                  <a:cubicBezTo>
                    <a:pt x="2571274" y="170974"/>
                    <a:pt x="2571274" y="170021"/>
                    <a:pt x="2571274" y="170021"/>
                  </a:cubicBezTo>
                  <a:cubicBezTo>
                    <a:pt x="2570321" y="162401"/>
                    <a:pt x="2570321" y="155734"/>
                    <a:pt x="2569369" y="149066"/>
                  </a:cubicBezTo>
                  <a:cubicBezTo>
                    <a:pt x="2569369" y="142399"/>
                    <a:pt x="2568416" y="135731"/>
                    <a:pt x="2568416" y="130016"/>
                  </a:cubicBezTo>
                  <a:cubicBezTo>
                    <a:pt x="2567464" y="118586"/>
                    <a:pt x="2566511" y="108109"/>
                    <a:pt x="2567464" y="99536"/>
                  </a:cubicBezTo>
                  <a:cubicBezTo>
                    <a:pt x="2567464" y="82391"/>
                    <a:pt x="2566511" y="72866"/>
                    <a:pt x="2566511" y="72866"/>
                  </a:cubicBezTo>
                  <a:cubicBezTo>
                    <a:pt x="2566511" y="72866"/>
                    <a:pt x="2565559" y="82391"/>
                    <a:pt x="2562701" y="99536"/>
                  </a:cubicBezTo>
                  <a:cubicBezTo>
                    <a:pt x="2561749" y="108109"/>
                    <a:pt x="2560796" y="118586"/>
                    <a:pt x="2560796" y="130016"/>
                  </a:cubicBezTo>
                  <a:cubicBezTo>
                    <a:pt x="2560796" y="135731"/>
                    <a:pt x="2559844" y="142399"/>
                    <a:pt x="2559844" y="149066"/>
                  </a:cubicBezTo>
                  <a:cubicBezTo>
                    <a:pt x="2559844" y="155734"/>
                    <a:pt x="2559844" y="162401"/>
                    <a:pt x="2559844" y="170021"/>
                  </a:cubicBezTo>
                  <a:cubicBezTo>
                    <a:pt x="2559844" y="178594"/>
                    <a:pt x="2559844" y="187166"/>
                    <a:pt x="2560796" y="195739"/>
                  </a:cubicBezTo>
                  <a:cubicBezTo>
                    <a:pt x="2559844" y="192881"/>
                    <a:pt x="2558891" y="191929"/>
                    <a:pt x="2558891" y="191929"/>
                  </a:cubicBezTo>
                  <a:cubicBezTo>
                    <a:pt x="2558891" y="191929"/>
                    <a:pt x="2559844" y="194786"/>
                    <a:pt x="2561749" y="200501"/>
                  </a:cubicBezTo>
                  <a:cubicBezTo>
                    <a:pt x="2561749" y="206216"/>
                    <a:pt x="2562701" y="211931"/>
                    <a:pt x="2562701" y="217646"/>
                  </a:cubicBezTo>
                  <a:cubicBezTo>
                    <a:pt x="2562701" y="219551"/>
                    <a:pt x="2562701" y="221456"/>
                    <a:pt x="2562701" y="223361"/>
                  </a:cubicBezTo>
                  <a:cubicBezTo>
                    <a:pt x="2558891" y="230981"/>
                    <a:pt x="2555081" y="238601"/>
                    <a:pt x="2551271" y="247174"/>
                  </a:cubicBezTo>
                  <a:cubicBezTo>
                    <a:pt x="2550319" y="239554"/>
                    <a:pt x="2550319" y="233839"/>
                    <a:pt x="2549366" y="230029"/>
                  </a:cubicBezTo>
                  <a:cubicBezTo>
                    <a:pt x="2553176" y="219551"/>
                    <a:pt x="2555081" y="212884"/>
                    <a:pt x="2555081" y="212884"/>
                  </a:cubicBezTo>
                  <a:cubicBezTo>
                    <a:pt x="2555081" y="212884"/>
                    <a:pt x="2552224" y="218599"/>
                    <a:pt x="2546509" y="228124"/>
                  </a:cubicBezTo>
                  <a:cubicBezTo>
                    <a:pt x="2546509" y="226219"/>
                    <a:pt x="2547461" y="224314"/>
                    <a:pt x="2547461" y="222409"/>
                  </a:cubicBezTo>
                  <a:cubicBezTo>
                    <a:pt x="2551271" y="206216"/>
                    <a:pt x="2553176" y="196691"/>
                    <a:pt x="2553176" y="196691"/>
                  </a:cubicBezTo>
                  <a:cubicBezTo>
                    <a:pt x="2553176" y="196691"/>
                    <a:pt x="2549366" y="205264"/>
                    <a:pt x="2543651" y="221456"/>
                  </a:cubicBezTo>
                  <a:cubicBezTo>
                    <a:pt x="2541746" y="228124"/>
                    <a:pt x="2538889" y="236696"/>
                    <a:pt x="2536984" y="246221"/>
                  </a:cubicBezTo>
                  <a:cubicBezTo>
                    <a:pt x="2536984" y="245269"/>
                    <a:pt x="2536984" y="245269"/>
                    <a:pt x="2536984" y="244316"/>
                  </a:cubicBezTo>
                  <a:cubicBezTo>
                    <a:pt x="2535079" y="230029"/>
                    <a:pt x="2534126" y="221456"/>
                    <a:pt x="2534126" y="221456"/>
                  </a:cubicBezTo>
                  <a:cubicBezTo>
                    <a:pt x="2534126" y="221456"/>
                    <a:pt x="2534126" y="230029"/>
                    <a:pt x="2533174" y="244316"/>
                  </a:cubicBezTo>
                  <a:cubicBezTo>
                    <a:pt x="2533174" y="246221"/>
                    <a:pt x="2533174" y="249079"/>
                    <a:pt x="2533174" y="250984"/>
                  </a:cubicBezTo>
                  <a:cubicBezTo>
                    <a:pt x="2533174" y="249079"/>
                    <a:pt x="2532221" y="247174"/>
                    <a:pt x="2532221" y="245269"/>
                  </a:cubicBezTo>
                  <a:cubicBezTo>
                    <a:pt x="2529364" y="233839"/>
                    <a:pt x="2527459" y="223361"/>
                    <a:pt x="2524601" y="213836"/>
                  </a:cubicBezTo>
                  <a:cubicBezTo>
                    <a:pt x="2521744" y="204311"/>
                    <a:pt x="2519839" y="196691"/>
                    <a:pt x="2517934" y="190024"/>
                  </a:cubicBezTo>
                  <a:cubicBezTo>
                    <a:pt x="2513171" y="176689"/>
                    <a:pt x="2511266" y="169069"/>
                    <a:pt x="2511266" y="169069"/>
                  </a:cubicBezTo>
                  <a:cubicBezTo>
                    <a:pt x="2511266" y="169069"/>
                    <a:pt x="2512219" y="176689"/>
                    <a:pt x="2514124" y="190976"/>
                  </a:cubicBezTo>
                  <a:cubicBezTo>
                    <a:pt x="2515076" y="197644"/>
                    <a:pt x="2516029" y="206216"/>
                    <a:pt x="2516981" y="215741"/>
                  </a:cubicBezTo>
                  <a:cubicBezTo>
                    <a:pt x="2517934" y="225266"/>
                    <a:pt x="2518886" y="235744"/>
                    <a:pt x="2520791" y="248126"/>
                  </a:cubicBezTo>
                  <a:cubicBezTo>
                    <a:pt x="2521744" y="257651"/>
                    <a:pt x="2522696" y="267176"/>
                    <a:pt x="2523649" y="277654"/>
                  </a:cubicBezTo>
                  <a:cubicBezTo>
                    <a:pt x="2522696" y="279559"/>
                    <a:pt x="2521744" y="281464"/>
                    <a:pt x="2521744" y="282416"/>
                  </a:cubicBezTo>
                  <a:cubicBezTo>
                    <a:pt x="2519839" y="274796"/>
                    <a:pt x="2517934" y="269081"/>
                    <a:pt x="2516981" y="263366"/>
                  </a:cubicBezTo>
                  <a:cubicBezTo>
                    <a:pt x="2513171" y="250031"/>
                    <a:pt x="2511266" y="243364"/>
                    <a:pt x="2511266" y="243364"/>
                  </a:cubicBezTo>
                  <a:cubicBezTo>
                    <a:pt x="2511266" y="243364"/>
                    <a:pt x="2512219" y="250984"/>
                    <a:pt x="2513171" y="264319"/>
                  </a:cubicBezTo>
                  <a:cubicBezTo>
                    <a:pt x="2513171" y="268129"/>
                    <a:pt x="2514124" y="272891"/>
                    <a:pt x="2514124" y="277654"/>
                  </a:cubicBezTo>
                  <a:cubicBezTo>
                    <a:pt x="2510314" y="269081"/>
                    <a:pt x="2507456" y="262414"/>
                    <a:pt x="2504599" y="256699"/>
                  </a:cubicBezTo>
                  <a:cubicBezTo>
                    <a:pt x="2504599" y="254794"/>
                    <a:pt x="2504599" y="253841"/>
                    <a:pt x="2504599" y="253841"/>
                  </a:cubicBezTo>
                  <a:cubicBezTo>
                    <a:pt x="2504599" y="253841"/>
                    <a:pt x="2504599" y="254794"/>
                    <a:pt x="2503646" y="255746"/>
                  </a:cubicBezTo>
                  <a:cubicBezTo>
                    <a:pt x="2499836" y="248126"/>
                    <a:pt x="2497931" y="243364"/>
                    <a:pt x="2497931" y="243364"/>
                  </a:cubicBezTo>
                  <a:cubicBezTo>
                    <a:pt x="2497931" y="243364"/>
                    <a:pt x="2499836" y="249079"/>
                    <a:pt x="2502694" y="259556"/>
                  </a:cubicBezTo>
                  <a:cubicBezTo>
                    <a:pt x="2501741" y="261461"/>
                    <a:pt x="2500789" y="264319"/>
                    <a:pt x="2499836" y="267176"/>
                  </a:cubicBezTo>
                  <a:cubicBezTo>
                    <a:pt x="2499836" y="268129"/>
                    <a:pt x="2498884" y="269081"/>
                    <a:pt x="2498884" y="270034"/>
                  </a:cubicBezTo>
                  <a:cubicBezTo>
                    <a:pt x="2496979" y="253841"/>
                    <a:pt x="2496026" y="237649"/>
                    <a:pt x="2494121" y="223361"/>
                  </a:cubicBezTo>
                  <a:cubicBezTo>
                    <a:pt x="2495074" y="222409"/>
                    <a:pt x="2495074" y="221456"/>
                    <a:pt x="2496026" y="220504"/>
                  </a:cubicBezTo>
                  <a:cubicBezTo>
                    <a:pt x="2500789" y="212884"/>
                    <a:pt x="2504599" y="207169"/>
                    <a:pt x="2506504" y="203359"/>
                  </a:cubicBezTo>
                  <a:cubicBezTo>
                    <a:pt x="2509361" y="199549"/>
                    <a:pt x="2510314" y="197644"/>
                    <a:pt x="2510314" y="197644"/>
                  </a:cubicBezTo>
                  <a:cubicBezTo>
                    <a:pt x="2510314" y="197644"/>
                    <a:pt x="2508409" y="199549"/>
                    <a:pt x="2505551" y="203359"/>
                  </a:cubicBezTo>
                  <a:cubicBezTo>
                    <a:pt x="2502694" y="206216"/>
                    <a:pt x="2497931" y="210979"/>
                    <a:pt x="2493169" y="217646"/>
                  </a:cubicBezTo>
                  <a:cubicBezTo>
                    <a:pt x="2493169" y="217646"/>
                    <a:pt x="2493169" y="216694"/>
                    <a:pt x="2493169" y="216694"/>
                  </a:cubicBezTo>
                  <a:cubicBezTo>
                    <a:pt x="2492216" y="210026"/>
                    <a:pt x="2492216" y="203359"/>
                    <a:pt x="2491264" y="196691"/>
                  </a:cubicBezTo>
                  <a:cubicBezTo>
                    <a:pt x="2497931" y="188119"/>
                    <a:pt x="2501741" y="183356"/>
                    <a:pt x="2501741" y="183356"/>
                  </a:cubicBezTo>
                  <a:cubicBezTo>
                    <a:pt x="2501741" y="183356"/>
                    <a:pt x="2497931" y="187166"/>
                    <a:pt x="2490311" y="192881"/>
                  </a:cubicBezTo>
                  <a:cubicBezTo>
                    <a:pt x="2489359" y="187166"/>
                    <a:pt x="2489359" y="181451"/>
                    <a:pt x="2489359" y="176689"/>
                  </a:cubicBezTo>
                  <a:cubicBezTo>
                    <a:pt x="2492216" y="171926"/>
                    <a:pt x="2495074" y="168116"/>
                    <a:pt x="2497931" y="165259"/>
                  </a:cubicBezTo>
                  <a:cubicBezTo>
                    <a:pt x="2500789" y="161449"/>
                    <a:pt x="2502694" y="159544"/>
                    <a:pt x="2502694" y="159544"/>
                  </a:cubicBezTo>
                  <a:cubicBezTo>
                    <a:pt x="2502694" y="159544"/>
                    <a:pt x="2500789" y="161449"/>
                    <a:pt x="2496979" y="164306"/>
                  </a:cubicBezTo>
                  <a:cubicBezTo>
                    <a:pt x="2495074" y="166211"/>
                    <a:pt x="2492216" y="169069"/>
                    <a:pt x="2489359" y="171926"/>
                  </a:cubicBezTo>
                  <a:cubicBezTo>
                    <a:pt x="2489359" y="165259"/>
                    <a:pt x="2488406" y="158591"/>
                    <a:pt x="2488406" y="153829"/>
                  </a:cubicBezTo>
                  <a:cubicBezTo>
                    <a:pt x="2488406" y="146209"/>
                    <a:pt x="2487454" y="139541"/>
                    <a:pt x="2487454" y="135731"/>
                  </a:cubicBezTo>
                  <a:cubicBezTo>
                    <a:pt x="2491264" y="129064"/>
                    <a:pt x="2494121" y="125254"/>
                    <a:pt x="2494121" y="125254"/>
                  </a:cubicBezTo>
                  <a:cubicBezTo>
                    <a:pt x="2494121" y="125254"/>
                    <a:pt x="2492216" y="128111"/>
                    <a:pt x="2487454" y="132874"/>
                  </a:cubicBezTo>
                  <a:cubicBezTo>
                    <a:pt x="2487454" y="130969"/>
                    <a:pt x="2487454" y="129064"/>
                    <a:pt x="2487454" y="129064"/>
                  </a:cubicBezTo>
                  <a:cubicBezTo>
                    <a:pt x="2487454" y="129064"/>
                    <a:pt x="2487454" y="130969"/>
                    <a:pt x="2486501" y="132874"/>
                  </a:cubicBezTo>
                  <a:cubicBezTo>
                    <a:pt x="2483644" y="136684"/>
                    <a:pt x="2479834" y="140494"/>
                    <a:pt x="2475071" y="146209"/>
                  </a:cubicBezTo>
                  <a:cubicBezTo>
                    <a:pt x="2469356" y="152876"/>
                    <a:pt x="2462689" y="161449"/>
                    <a:pt x="2455069" y="171926"/>
                  </a:cubicBezTo>
                  <a:cubicBezTo>
                    <a:pt x="2451259" y="176689"/>
                    <a:pt x="2447449" y="182404"/>
                    <a:pt x="2442686" y="188119"/>
                  </a:cubicBezTo>
                  <a:cubicBezTo>
                    <a:pt x="2439829" y="192881"/>
                    <a:pt x="2436019" y="197644"/>
                    <a:pt x="2433161" y="203359"/>
                  </a:cubicBezTo>
                  <a:cubicBezTo>
                    <a:pt x="2433161" y="199549"/>
                    <a:pt x="2432209" y="195739"/>
                    <a:pt x="2432209" y="191929"/>
                  </a:cubicBezTo>
                  <a:cubicBezTo>
                    <a:pt x="2428399" y="158591"/>
                    <a:pt x="2426494" y="130969"/>
                    <a:pt x="2425541" y="110966"/>
                  </a:cubicBezTo>
                  <a:cubicBezTo>
                    <a:pt x="2425541" y="101441"/>
                    <a:pt x="2424589" y="93821"/>
                    <a:pt x="2424589" y="88106"/>
                  </a:cubicBezTo>
                  <a:cubicBezTo>
                    <a:pt x="2424589" y="82391"/>
                    <a:pt x="2424589" y="80486"/>
                    <a:pt x="2424589" y="80486"/>
                  </a:cubicBezTo>
                  <a:cubicBezTo>
                    <a:pt x="2424589" y="80486"/>
                    <a:pt x="2424589" y="83344"/>
                    <a:pt x="2423636" y="88106"/>
                  </a:cubicBezTo>
                  <a:cubicBezTo>
                    <a:pt x="2422684" y="92869"/>
                    <a:pt x="2422684" y="101441"/>
                    <a:pt x="2421731" y="110966"/>
                  </a:cubicBezTo>
                  <a:cubicBezTo>
                    <a:pt x="2420779" y="120491"/>
                    <a:pt x="2420779" y="132874"/>
                    <a:pt x="2420779" y="146209"/>
                  </a:cubicBezTo>
                  <a:cubicBezTo>
                    <a:pt x="2420779" y="159544"/>
                    <a:pt x="2420779" y="175736"/>
                    <a:pt x="2421731" y="191929"/>
                  </a:cubicBezTo>
                  <a:cubicBezTo>
                    <a:pt x="2421731" y="200501"/>
                    <a:pt x="2422684" y="210026"/>
                    <a:pt x="2422684" y="220504"/>
                  </a:cubicBezTo>
                  <a:cubicBezTo>
                    <a:pt x="2416969" y="230029"/>
                    <a:pt x="2411254" y="239554"/>
                    <a:pt x="2405539" y="250031"/>
                  </a:cubicBezTo>
                  <a:cubicBezTo>
                    <a:pt x="2404586" y="251936"/>
                    <a:pt x="2403634" y="254794"/>
                    <a:pt x="2401729" y="256699"/>
                  </a:cubicBezTo>
                  <a:cubicBezTo>
                    <a:pt x="2401729" y="256699"/>
                    <a:pt x="2400776" y="255746"/>
                    <a:pt x="2400776" y="255746"/>
                  </a:cubicBezTo>
                  <a:cubicBezTo>
                    <a:pt x="2397919" y="247174"/>
                    <a:pt x="2395061" y="239554"/>
                    <a:pt x="2392204" y="233839"/>
                  </a:cubicBezTo>
                  <a:cubicBezTo>
                    <a:pt x="2389346" y="208121"/>
                    <a:pt x="2386489" y="186214"/>
                    <a:pt x="2385536" y="170974"/>
                  </a:cubicBezTo>
                  <a:cubicBezTo>
                    <a:pt x="2384584" y="162401"/>
                    <a:pt x="2383631" y="155734"/>
                    <a:pt x="2382679" y="150971"/>
                  </a:cubicBezTo>
                  <a:cubicBezTo>
                    <a:pt x="2383631" y="147161"/>
                    <a:pt x="2384584" y="144304"/>
                    <a:pt x="2384584" y="140494"/>
                  </a:cubicBezTo>
                  <a:cubicBezTo>
                    <a:pt x="2384584" y="138589"/>
                    <a:pt x="2383631" y="137636"/>
                    <a:pt x="2382679" y="135731"/>
                  </a:cubicBezTo>
                  <a:cubicBezTo>
                    <a:pt x="2385536" y="129064"/>
                    <a:pt x="2388394" y="121444"/>
                    <a:pt x="2390299" y="114776"/>
                  </a:cubicBezTo>
                  <a:cubicBezTo>
                    <a:pt x="2413159" y="53816"/>
                    <a:pt x="2427446" y="12859"/>
                    <a:pt x="2427446" y="12859"/>
                  </a:cubicBezTo>
                  <a:cubicBezTo>
                    <a:pt x="2427446" y="12859"/>
                    <a:pt x="2407444" y="50959"/>
                    <a:pt x="2380774" y="110014"/>
                  </a:cubicBezTo>
                  <a:cubicBezTo>
                    <a:pt x="2374106" y="124301"/>
                    <a:pt x="2366486" y="140494"/>
                    <a:pt x="2358866" y="157639"/>
                  </a:cubicBezTo>
                  <a:cubicBezTo>
                    <a:pt x="2357914" y="160496"/>
                    <a:pt x="2356009" y="163354"/>
                    <a:pt x="2355056" y="166211"/>
                  </a:cubicBezTo>
                  <a:cubicBezTo>
                    <a:pt x="2356009" y="162401"/>
                    <a:pt x="2356961" y="158591"/>
                    <a:pt x="2357914" y="155734"/>
                  </a:cubicBezTo>
                  <a:cubicBezTo>
                    <a:pt x="2360771" y="141446"/>
                    <a:pt x="2362676" y="132874"/>
                    <a:pt x="2362676" y="132874"/>
                  </a:cubicBezTo>
                  <a:cubicBezTo>
                    <a:pt x="2362676" y="132874"/>
                    <a:pt x="2359819" y="140494"/>
                    <a:pt x="2354104" y="154781"/>
                  </a:cubicBezTo>
                  <a:cubicBezTo>
                    <a:pt x="2351246" y="161449"/>
                    <a:pt x="2348389" y="170021"/>
                    <a:pt x="2344579" y="179546"/>
                  </a:cubicBezTo>
                  <a:cubicBezTo>
                    <a:pt x="2340769" y="189071"/>
                    <a:pt x="2336959" y="200501"/>
                    <a:pt x="2334101" y="211931"/>
                  </a:cubicBezTo>
                  <a:cubicBezTo>
                    <a:pt x="2334101" y="211931"/>
                    <a:pt x="2334101" y="211931"/>
                    <a:pt x="2334101" y="211931"/>
                  </a:cubicBezTo>
                  <a:cubicBezTo>
                    <a:pt x="2336006" y="197644"/>
                    <a:pt x="2338864" y="184309"/>
                    <a:pt x="2340769" y="171926"/>
                  </a:cubicBezTo>
                  <a:cubicBezTo>
                    <a:pt x="2343626" y="156686"/>
                    <a:pt x="2344579" y="143351"/>
                    <a:pt x="2347436" y="130969"/>
                  </a:cubicBezTo>
                  <a:cubicBezTo>
                    <a:pt x="2350294" y="118586"/>
                    <a:pt x="2352199" y="108109"/>
                    <a:pt x="2354104" y="99536"/>
                  </a:cubicBezTo>
                  <a:cubicBezTo>
                    <a:pt x="2357914" y="82391"/>
                    <a:pt x="2358866" y="71914"/>
                    <a:pt x="2358866" y="71914"/>
                  </a:cubicBezTo>
                  <a:cubicBezTo>
                    <a:pt x="2358866" y="71914"/>
                    <a:pt x="2355056" y="81439"/>
                    <a:pt x="2350294" y="98584"/>
                  </a:cubicBezTo>
                  <a:cubicBezTo>
                    <a:pt x="2347436" y="107156"/>
                    <a:pt x="2344579" y="117634"/>
                    <a:pt x="2340769" y="129064"/>
                  </a:cubicBezTo>
                  <a:cubicBezTo>
                    <a:pt x="2336959" y="140494"/>
                    <a:pt x="2333149" y="154781"/>
                    <a:pt x="2330291" y="170021"/>
                  </a:cubicBezTo>
                  <a:cubicBezTo>
                    <a:pt x="2328386" y="177641"/>
                    <a:pt x="2326481" y="185261"/>
                    <a:pt x="2324576" y="193834"/>
                  </a:cubicBezTo>
                  <a:cubicBezTo>
                    <a:pt x="2323624" y="190976"/>
                    <a:pt x="2321719" y="188119"/>
                    <a:pt x="2320766" y="185261"/>
                  </a:cubicBezTo>
                  <a:cubicBezTo>
                    <a:pt x="2324576" y="168116"/>
                    <a:pt x="2326481" y="157639"/>
                    <a:pt x="2326481" y="157639"/>
                  </a:cubicBezTo>
                  <a:cubicBezTo>
                    <a:pt x="2326481" y="157639"/>
                    <a:pt x="2323624" y="165259"/>
                    <a:pt x="2318861" y="179546"/>
                  </a:cubicBezTo>
                  <a:cubicBezTo>
                    <a:pt x="2316004" y="173831"/>
                    <a:pt x="2315051" y="170974"/>
                    <a:pt x="2315051" y="170974"/>
                  </a:cubicBezTo>
                  <a:cubicBezTo>
                    <a:pt x="2315051" y="170974"/>
                    <a:pt x="2316004" y="174784"/>
                    <a:pt x="2317909" y="181451"/>
                  </a:cubicBezTo>
                  <a:cubicBezTo>
                    <a:pt x="2316956" y="185261"/>
                    <a:pt x="2315051" y="189071"/>
                    <a:pt x="2313146" y="193834"/>
                  </a:cubicBezTo>
                  <a:cubicBezTo>
                    <a:pt x="2312194" y="192881"/>
                    <a:pt x="2312194" y="191929"/>
                    <a:pt x="2311241" y="190976"/>
                  </a:cubicBezTo>
                  <a:cubicBezTo>
                    <a:pt x="2314099" y="161449"/>
                    <a:pt x="2314099" y="141446"/>
                    <a:pt x="2314099" y="141446"/>
                  </a:cubicBezTo>
                  <a:cubicBezTo>
                    <a:pt x="2314099" y="141446"/>
                    <a:pt x="2306479" y="165259"/>
                    <a:pt x="2298859" y="202406"/>
                  </a:cubicBezTo>
                  <a:cubicBezTo>
                    <a:pt x="2296954" y="211931"/>
                    <a:pt x="2294096" y="221456"/>
                    <a:pt x="2292191" y="231934"/>
                  </a:cubicBezTo>
                  <a:cubicBezTo>
                    <a:pt x="2291239" y="237649"/>
                    <a:pt x="2290286" y="244316"/>
                    <a:pt x="2289334" y="250031"/>
                  </a:cubicBezTo>
                  <a:cubicBezTo>
                    <a:pt x="2288381" y="252889"/>
                    <a:pt x="2287429" y="255746"/>
                    <a:pt x="2285524" y="259556"/>
                  </a:cubicBezTo>
                  <a:cubicBezTo>
                    <a:pt x="2282666" y="267176"/>
                    <a:pt x="2279809" y="276701"/>
                    <a:pt x="2275999" y="287179"/>
                  </a:cubicBezTo>
                  <a:cubicBezTo>
                    <a:pt x="2275999" y="287179"/>
                    <a:pt x="2275999" y="288131"/>
                    <a:pt x="2275999" y="288131"/>
                  </a:cubicBezTo>
                  <a:cubicBezTo>
                    <a:pt x="2275999" y="286226"/>
                    <a:pt x="2275999" y="284321"/>
                    <a:pt x="2275999" y="282416"/>
                  </a:cubicBezTo>
                  <a:cubicBezTo>
                    <a:pt x="2276951" y="271939"/>
                    <a:pt x="2276951" y="265271"/>
                    <a:pt x="2276951" y="265271"/>
                  </a:cubicBezTo>
                  <a:cubicBezTo>
                    <a:pt x="2276951" y="265271"/>
                    <a:pt x="2275046" y="270986"/>
                    <a:pt x="2272189" y="281464"/>
                  </a:cubicBezTo>
                  <a:cubicBezTo>
                    <a:pt x="2271236" y="284321"/>
                    <a:pt x="2270284" y="287179"/>
                    <a:pt x="2269331" y="290989"/>
                  </a:cubicBezTo>
                  <a:cubicBezTo>
                    <a:pt x="2269331" y="290989"/>
                    <a:pt x="2269331" y="290989"/>
                    <a:pt x="2269331" y="290989"/>
                  </a:cubicBezTo>
                  <a:cubicBezTo>
                    <a:pt x="2269331" y="280511"/>
                    <a:pt x="2268379" y="270034"/>
                    <a:pt x="2269331" y="261461"/>
                  </a:cubicBezTo>
                  <a:cubicBezTo>
                    <a:pt x="2270284" y="252889"/>
                    <a:pt x="2269331" y="245269"/>
                    <a:pt x="2270284" y="238601"/>
                  </a:cubicBezTo>
                  <a:cubicBezTo>
                    <a:pt x="2271236" y="232886"/>
                    <a:pt x="2271236" y="228124"/>
                    <a:pt x="2272189" y="225266"/>
                  </a:cubicBezTo>
                  <a:cubicBezTo>
                    <a:pt x="2275046" y="215741"/>
                    <a:pt x="2275999" y="210979"/>
                    <a:pt x="2275999" y="210979"/>
                  </a:cubicBezTo>
                  <a:cubicBezTo>
                    <a:pt x="2275999" y="210979"/>
                    <a:pt x="2272189" y="218599"/>
                    <a:pt x="2266474" y="232886"/>
                  </a:cubicBezTo>
                  <a:cubicBezTo>
                    <a:pt x="2267426" y="230029"/>
                    <a:pt x="2267426" y="228124"/>
                    <a:pt x="2267426" y="228124"/>
                  </a:cubicBezTo>
                  <a:cubicBezTo>
                    <a:pt x="2267426" y="228124"/>
                    <a:pt x="2265521" y="230981"/>
                    <a:pt x="2263616" y="235744"/>
                  </a:cubicBezTo>
                  <a:cubicBezTo>
                    <a:pt x="2264569" y="226219"/>
                    <a:pt x="2265521" y="220504"/>
                    <a:pt x="2265521" y="220504"/>
                  </a:cubicBezTo>
                  <a:cubicBezTo>
                    <a:pt x="2265521" y="220504"/>
                    <a:pt x="2262664" y="230029"/>
                    <a:pt x="2256949" y="247174"/>
                  </a:cubicBezTo>
                  <a:cubicBezTo>
                    <a:pt x="2255044" y="250984"/>
                    <a:pt x="2253139" y="253841"/>
                    <a:pt x="2252186" y="258604"/>
                  </a:cubicBezTo>
                  <a:cubicBezTo>
                    <a:pt x="2251234" y="259556"/>
                    <a:pt x="2251234" y="260509"/>
                    <a:pt x="2250281" y="262414"/>
                  </a:cubicBezTo>
                  <a:cubicBezTo>
                    <a:pt x="2252186" y="255746"/>
                    <a:pt x="2253139" y="249079"/>
                    <a:pt x="2255044" y="243364"/>
                  </a:cubicBezTo>
                  <a:cubicBezTo>
                    <a:pt x="2260759" y="216694"/>
                    <a:pt x="2264569" y="194786"/>
                    <a:pt x="2267426" y="178594"/>
                  </a:cubicBezTo>
                  <a:cubicBezTo>
                    <a:pt x="2269331" y="163354"/>
                    <a:pt x="2270284" y="153829"/>
                    <a:pt x="2270284" y="153829"/>
                  </a:cubicBezTo>
                  <a:cubicBezTo>
                    <a:pt x="2270284" y="153829"/>
                    <a:pt x="2267426" y="162401"/>
                    <a:pt x="2262664" y="177641"/>
                  </a:cubicBezTo>
                  <a:cubicBezTo>
                    <a:pt x="2260759" y="185261"/>
                    <a:pt x="2257901" y="194786"/>
                    <a:pt x="2254091" y="205264"/>
                  </a:cubicBezTo>
                  <a:cubicBezTo>
                    <a:pt x="2251234" y="212884"/>
                    <a:pt x="2249329" y="221456"/>
                    <a:pt x="2246471" y="230981"/>
                  </a:cubicBezTo>
                  <a:cubicBezTo>
                    <a:pt x="2244566" y="234791"/>
                    <a:pt x="2243614" y="239554"/>
                    <a:pt x="2241709" y="244316"/>
                  </a:cubicBezTo>
                  <a:cubicBezTo>
                    <a:pt x="2240756" y="240506"/>
                    <a:pt x="2239804" y="236696"/>
                    <a:pt x="2239804" y="233839"/>
                  </a:cubicBezTo>
                  <a:cubicBezTo>
                    <a:pt x="2235994" y="215741"/>
                    <a:pt x="2233136" y="205264"/>
                    <a:pt x="2233136" y="205264"/>
                  </a:cubicBezTo>
                  <a:cubicBezTo>
                    <a:pt x="2233136" y="205264"/>
                    <a:pt x="2235041" y="224314"/>
                    <a:pt x="2237899" y="255746"/>
                  </a:cubicBezTo>
                  <a:cubicBezTo>
                    <a:pt x="2236946" y="259556"/>
                    <a:pt x="2235041" y="264319"/>
                    <a:pt x="2234089" y="269081"/>
                  </a:cubicBezTo>
                  <a:cubicBezTo>
                    <a:pt x="2234089" y="269081"/>
                    <a:pt x="2233136" y="270034"/>
                    <a:pt x="2233136" y="270034"/>
                  </a:cubicBezTo>
                  <a:cubicBezTo>
                    <a:pt x="2233136" y="268129"/>
                    <a:pt x="2233136" y="265271"/>
                    <a:pt x="2233136" y="263366"/>
                  </a:cubicBezTo>
                  <a:cubicBezTo>
                    <a:pt x="2233136" y="253841"/>
                    <a:pt x="2232184" y="244316"/>
                    <a:pt x="2231231" y="234791"/>
                  </a:cubicBezTo>
                  <a:cubicBezTo>
                    <a:pt x="2230279" y="225266"/>
                    <a:pt x="2229326" y="216694"/>
                    <a:pt x="2228374" y="207169"/>
                  </a:cubicBezTo>
                  <a:cubicBezTo>
                    <a:pt x="2229326" y="198596"/>
                    <a:pt x="2230279" y="193834"/>
                    <a:pt x="2230279" y="193834"/>
                  </a:cubicBezTo>
                  <a:cubicBezTo>
                    <a:pt x="2230279" y="193834"/>
                    <a:pt x="2229326" y="197644"/>
                    <a:pt x="2226469" y="204311"/>
                  </a:cubicBezTo>
                  <a:cubicBezTo>
                    <a:pt x="2225516" y="202406"/>
                    <a:pt x="2224564" y="201454"/>
                    <a:pt x="2222659" y="200501"/>
                  </a:cubicBezTo>
                  <a:cubicBezTo>
                    <a:pt x="2221706" y="200501"/>
                    <a:pt x="2221706" y="199549"/>
                    <a:pt x="2220754" y="199549"/>
                  </a:cubicBezTo>
                  <a:cubicBezTo>
                    <a:pt x="2219801" y="199549"/>
                    <a:pt x="2218849" y="199549"/>
                    <a:pt x="2217896" y="199549"/>
                  </a:cubicBezTo>
                  <a:cubicBezTo>
                    <a:pt x="2215991" y="200501"/>
                    <a:pt x="2215991" y="201454"/>
                    <a:pt x="2215039" y="202406"/>
                  </a:cubicBezTo>
                  <a:cubicBezTo>
                    <a:pt x="2213134" y="206216"/>
                    <a:pt x="2213134" y="210979"/>
                    <a:pt x="2213134" y="214789"/>
                  </a:cubicBezTo>
                  <a:cubicBezTo>
                    <a:pt x="2214086" y="210979"/>
                    <a:pt x="2215039" y="206216"/>
                    <a:pt x="2217896" y="203359"/>
                  </a:cubicBezTo>
                  <a:cubicBezTo>
                    <a:pt x="2218849" y="202406"/>
                    <a:pt x="2218849" y="201454"/>
                    <a:pt x="2219801" y="201454"/>
                  </a:cubicBezTo>
                  <a:cubicBezTo>
                    <a:pt x="2219801" y="201454"/>
                    <a:pt x="2220754" y="201454"/>
                    <a:pt x="2220754" y="202406"/>
                  </a:cubicBezTo>
                  <a:cubicBezTo>
                    <a:pt x="2221706" y="203359"/>
                    <a:pt x="2222659" y="205264"/>
                    <a:pt x="2223611" y="207169"/>
                  </a:cubicBezTo>
                  <a:lnTo>
                    <a:pt x="2223611" y="215741"/>
                  </a:lnTo>
                  <a:cubicBezTo>
                    <a:pt x="2223611" y="215741"/>
                    <a:pt x="2223611" y="215741"/>
                    <a:pt x="2223611" y="215741"/>
                  </a:cubicBezTo>
                  <a:cubicBezTo>
                    <a:pt x="2221706" y="222409"/>
                    <a:pt x="2218849" y="230981"/>
                    <a:pt x="2215991" y="241459"/>
                  </a:cubicBezTo>
                  <a:cubicBezTo>
                    <a:pt x="2213134" y="250984"/>
                    <a:pt x="2209324" y="262414"/>
                    <a:pt x="2206466" y="274796"/>
                  </a:cubicBezTo>
                  <a:cubicBezTo>
                    <a:pt x="2203609" y="287179"/>
                    <a:pt x="2199799" y="299561"/>
                    <a:pt x="2196941" y="313849"/>
                  </a:cubicBezTo>
                  <a:cubicBezTo>
                    <a:pt x="2195989" y="308134"/>
                    <a:pt x="2195989" y="305276"/>
                    <a:pt x="2195989" y="305276"/>
                  </a:cubicBezTo>
                  <a:cubicBezTo>
                    <a:pt x="2195989" y="305276"/>
                    <a:pt x="2195989" y="310039"/>
                    <a:pt x="2195036" y="317659"/>
                  </a:cubicBezTo>
                  <a:cubicBezTo>
                    <a:pt x="2194084" y="315754"/>
                    <a:pt x="2193131" y="314801"/>
                    <a:pt x="2193131" y="314801"/>
                  </a:cubicBezTo>
                  <a:cubicBezTo>
                    <a:pt x="2193131" y="314801"/>
                    <a:pt x="2194084" y="315754"/>
                    <a:pt x="2195036" y="318611"/>
                  </a:cubicBezTo>
                  <a:cubicBezTo>
                    <a:pt x="2195036" y="320516"/>
                    <a:pt x="2195036" y="321469"/>
                    <a:pt x="2195036" y="323374"/>
                  </a:cubicBezTo>
                  <a:cubicBezTo>
                    <a:pt x="2194084" y="327184"/>
                    <a:pt x="2193131" y="330994"/>
                    <a:pt x="2192179" y="334804"/>
                  </a:cubicBezTo>
                  <a:cubicBezTo>
                    <a:pt x="2191226" y="332899"/>
                    <a:pt x="2191226" y="331946"/>
                    <a:pt x="2190274" y="330994"/>
                  </a:cubicBezTo>
                  <a:cubicBezTo>
                    <a:pt x="2190274" y="330041"/>
                    <a:pt x="2191226" y="330041"/>
                    <a:pt x="2191226" y="330041"/>
                  </a:cubicBezTo>
                  <a:cubicBezTo>
                    <a:pt x="2191226" y="330041"/>
                    <a:pt x="2191226" y="330041"/>
                    <a:pt x="2190274" y="330994"/>
                  </a:cubicBezTo>
                  <a:cubicBezTo>
                    <a:pt x="2189321" y="328136"/>
                    <a:pt x="2188369" y="326231"/>
                    <a:pt x="2188369" y="326231"/>
                  </a:cubicBezTo>
                  <a:cubicBezTo>
                    <a:pt x="2188369" y="326231"/>
                    <a:pt x="2188369" y="328136"/>
                    <a:pt x="2189321" y="331946"/>
                  </a:cubicBezTo>
                  <a:cubicBezTo>
                    <a:pt x="2189321" y="331946"/>
                    <a:pt x="2188369" y="332899"/>
                    <a:pt x="2188369" y="332899"/>
                  </a:cubicBezTo>
                  <a:cubicBezTo>
                    <a:pt x="2186464" y="321469"/>
                    <a:pt x="2185511" y="315754"/>
                    <a:pt x="2185511" y="315754"/>
                  </a:cubicBezTo>
                  <a:cubicBezTo>
                    <a:pt x="2185511" y="315754"/>
                    <a:pt x="2185511" y="323374"/>
                    <a:pt x="2184559" y="336709"/>
                  </a:cubicBezTo>
                  <a:cubicBezTo>
                    <a:pt x="2184559" y="336709"/>
                    <a:pt x="2184559" y="336709"/>
                    <a:pt x="2184559" y="337661"/>
                  </a:cubicBezTo>
                  <a:cubicBezTo>
                    <a:pt x="2183606" y="339566"/>
                    <a:pt x="2181701" y="341471"/>
                    <a:pt x="2179796" y="343376"/>
                  </a:cubicBezTo>
                  <a:cubicBezTo>
                    <a:pt x="2179796" y="342424"/>
                    <a:pt x="2178844" y="341471"/>
                    <a:pt x="2178844" y="340519"/>
                  </a:cubicBezTo>
                  <a:cubicBezTo>
                    <a:pt x="2183606" y="320516"/>
                    <a:pt x="2188369" y="301466"/>
                    <a:pt x="2192179" y="283369"/>
                  </a:cubicBezTo>
                  <a:cubicBezTo>
                    <a:pt x="2205514" y="228124"/>
                    <a:pt x="2212181" y="190024"/>
                    <a:pt x="2212181" y="190024"/>
                  </a:cubicBezTo>
                  <a:cubicBezTo>
                    <a:pt x="2212181" y="190024"/>
                    <a:pt x="2199799" y="222409"/>
                    <a:pt x="2183606" y="272891"/>
                  </a:cubicBezTo>
                  <a:cubicBezTo>
                    <a:pt x="2184559" y="266224"/>
                    <a:pt x="2186464" y="259556"/>
                    <a:pt x="2187416" y="253841"/>
                  </a:cubicBezTo>
                  <a:cubicBezTo>
                    <a:pt x="2189321" y="246221"/>
                    <a:pt x="2190274" y="239554"/>
                    <a:pt x="2192179" y="231934"/>
                  </a:cubicBezTo>
                  <a:cubicBezTo>
                    <a:pt x="2194084" y="224314"/>
                    <a:pt x="2195989" y="216694"/>
                    <a:pt x="2196941" y="210026"/>
                  </a:cubicBezTo>
                  <a:cubicBezTo>
                    <a:pt x="2197894" y="204311"/>
                    <a:pt x="2199799" y="198596"/>
                    <a:pt x="2200751" y="193834"/>
                  </a:cubicBezTo>
                  <a:cubicBezTo>
                    <a:pt x="2201704" y="189071"/>
                    <a:pt x="2203609" y="184309"/>
                    <a:pt x="2204561" y="179546"/>
                  </a:cubicBezTo>
                  <a:cubicBezTo>
                    <a:pt x="2207419" y="170021"/>
                    <a:pt x="2209324" y="162401"/>
                    <a:pt x="2211229" y="155734"/>
                  </a:cubicBezTo>
                  <a:cubicBezTo>
                    <a:pt x="2215039" y="142399"/>
                    <a:pt x="2217896" y="134779"/>
                    <a:pt x="2217896" y="134779"/>
                  </a:cubicBezTo>
                  <a:cubicBezTo>
                    <a:pt x="2217896" y="134779"/>
                    <a:pt x="2215039" y="139541"/>
                    <a:pt x="2211229" y="148114"/>
                  </a:cubicBezTo>
                  <a:cubicBezTo>
                    <a:pt x="2211229" y="148114"/>
                    <a:pt x="2211229" y="147161"/>
                    <a:pt x="2211229" y="147161"/>
                  </a:cubicBezTo>
                  <a:cubicBezTo>
                    <a:pt x="2213134" y="139541"/>
                    <a:pt x="2215039" y="131921"/>
                    <a:pt x="2216944" y="125254"/>
                  </a:cubicBezTo>
                  <a:cubicBezTo>
                    <a:pt x="2218849" y="118586"/>
                    <a:pt x="2220754" y="111919"/>
                    <a:pt x="2222659" y="105251"/>
                  </a:cubicBezTo>
                  <a:cubicBezTo>
                    <a:pt x="2226469" y="92869"/>
                    <a:pt x="2229326" y="81439"/>
                    <a:pt x="2233136" y="72866"/>
                  </a:cubicBezTo>
                  <a:cubicBezTo>
                    <a:pt x="2238851" y="54769"/>
                    <a:pt x="2242661" y="45244"/>
                    <a:pt x="2242661" y="45244"/>
                  </a:cubicBezTo>
                  <a:cubicBezTo>
                    <a:pt x="2242661" y="45244"/>
                    <a:pt x="2237899" y="54769"/>
                    <a:pt x="2229326" y="71914"/>
                  </a:cubicBezTo>
                  <a:cubicBezTo>
                    <a:pt x="2224564" y="80486"/>
                    <a:pt x="2220754" y="90964"/>
                    <a:pt x="2215991" y="103346"/>
                  </a:cubicBezTo>
                  <a:cubicBezTo>
                    <a:pt x="2213134" y="109061"/>
                    <a:pt x="2211229" y="115729"/>
                    <a:pt x="2208371" y="122396"/>
                  </a:cubicBezTo>
                  <a:cubicBezTo>
                    <a:pt x="2205514" y="129064"/>
                    <a:pt x="2203609" y="136684"/>
                    <a:pt x="2200751" y="144304"/>
                  </a:cubicBezTo>
                  <a:cubicBezTo>
                    <a:pt x="2195036" y="159544"/>
                    <a:pt x="2190274" y="176689"/>
                    <a:pt x="2184559" y="193834"/>
                  </a:cubicBezTo>
                  <a:cubicBezTo>
                    <a:pt x="2181701" y="204311"/>
                    <a:pt x="2177891" y="215741"/>
                    <a:pt x="2175034" y="228124"/>
                  </a:cubicBezTo>
                  <a:cubicBezTo>
                    <a:pt x="2175986" y="218599"/>
                    <a:pt x="2176939" y="210026"/>
                    <a:pt x="2177891" y="203359"/>
                  </a:cubicBezTo>
                  <a:cubicBezTo>
                    <a:pt x="2178844" y="198596"/>
                    <a:pt x="2178844" y="193834"/>
                    <a:pt x="2178844" y="190024"/>
                  </a:cubicBezTo>
                  <a:cubicBezTo>
                    <a:pt x="2179796" y="186214"/>
                    <a:pt x="2180749" y="184309"/>
                    <a:pt x="2180749" y="184309"/>
                  </a:cubicBezTo>
                  <a:cubicBezTo>
                    <a:pt x="2180749" y="184309"/>
                    <a:pt x="2179796" y="185261"/>
                    <a:pt x="2179796" y="187166"/>
                  </a:cubicBezTo>
                  <a:cubicBezTo>
                    <a:pt x="2180749" y="180499"/>
                    <a:pt x="2180749" y="176689"/>
                    <a:pt x="2180749" y="176689"/>
                  </a:cubicBezTo>
                  <a:cubicBezTo>
                    <a:pt x="2180749" y="176689"/>
                    <a:pt x="2178844" y="183356"/>
                    <a:pt x="2175986" y="194786"/>
                  </a:cubicBezTo>
                  <a:cubicBezTo>
                    <a:pt x="2174081" y="198596"/>
                    <a:pt x="2172176" y="202406"/>
                    <a:pt x="2170271" y="208121"/>
                  </a:cubicBezTo>
                  <a:cubicBezTo>
                    <a:pt x="2163604" y="223361"/>
                    <a:pt x="2155031" y="245269"/>
                    <a:pt x="2144554" y="271939"/>
                  </a:cubicBezTo>
                  <a:cubicBezTo>
                    <a:pt x="2141696" y="279559"/>
                    <a:pt x="2137886" y="288131"/>
                    <a:pt x="2135029" y="296704"/>
                  </a:cubicBezTo>
                  <a:cubicBezTo>
                    <a:pt x="2135029" y="296704"/>
                    <a:pt x="2135029" y="296704"/>
                    <a:pt x="2135029" y="295751"/>
                  </a:cubicBezTo>
                  <a:cubicBezTo>
                    <a:pt x="2133124" y="290989"/>
                    <a:pt x="2131219" y="286226"/>
                    <a:pt x="2129314" y="282416"/>
                  </a:cubicBezTo>
                  <a:cubicBezTo>
                    <a:pt x="2133124" y="261461"/>
                    <a:pt x="2135981" y="244316"/>
                    <a:pt x="2137886" y="231934"/>
                  </a:cubicBezTo>
                  <a:cubicBezTo>
                    <a:pt x="2139791" y="217646"/>
                    <a:pt x="2141696" y="210026"/>
                    <a:pt x="2141696" y="210026"/>
                  </a:cubicBezTo>
                  <a:cubicBezTo>
                    <a:pt x="2141696" y="210026"/>
                    <a:pt x="2138839" y="217646"/>
                    <a:pt x="2134076" y="230981"/>
                  </a:cubicBezTo>
                  <a:cubicBezTo>
                    <a:pt x="2131219" y="239554"/>
                    <a:pt x="2127409" y="250984"/>
                    <a:pt x="2123599" y="263366"/>
                  </a:cubicBezTo>
                  <a:cubicBezTo>
                    <a:pt x="2123599" y="260509"/>
                    <a:pt x="2122646" y="257651"/>
                    <a:pt x="2122646" y="253841"/>
                  </a:cubicBezTo>
                  <a:cubicBezTo>
                    <a:pt x="2120741" y="238601"/>
                    <a:pt x="2118836" y="225266"/>
                    <a:pt x="2117884" y="211931"/>
                  </a:cubicBezTo>
                  <a:cubicBezTo>
                    <a:pt x="2115979" y="198596"/>
                    <a:pt x="2114074" y="187166"/>
                    <a:pt x="2112169" y="176689"/>
                  </a:cubicBezTo>
                  <a:cubicBezTo>
                    <a:pt x="2110264" y="166211"/>
                    <a:pt x="2108359" y="157639"/>
                    <a:pt x="2107406" y="150019"/>
                  </a:cubicBezTo>
                  <a:cubicBezTo>
                    <a:pt x="2104549" y="134779"/>
                    <a:pt x="2102644" y="127159"/>
                    <a:pt x="2102644" y="127159"/>
                  </a:cubicBezTo>
                  <a:cubicBezTo>
                    <a:pt x="2102644" y="127159"/>
                    <a:pt x="2102644" y="135731"/>
                    <a:pt x="2103596" y="150971"/>
                  </a:cubicBezTo>
                  <a:cubicBezTo>
                    <a:pt x="2103596" y="155734"/>
                    <a:pt x="2104549" y="161449"/>
                    <a:pt x="2104549" y="168116"/>
                  </a:cubicBezTo>
                  <a:cubicBezTo>
                    <a:pt x="2104549" y="171926"/>
                    <a:pt x="2104549" y="176689"/>
                    <a:pt x="2104549" y="183356"/>
                  </a:cubicBezTo>
                  <a:cubicBezTo>
                    <a:pt x="2104549" y="190024"/>
                    <a:pt x="2105501" y="197644"/>
                    <a:pt x="2105501" y="207169"/>
                  </a:cubicBezTo>
                  <a:cubicBezTo>
                    <a:pt x="2105501" y="212884"/>
                    <a:pt x="2106454" y="218599"/>
                    <a:pt x="2106454" y="225266"/>
                  </a:cubicBezTo>
                  <a:cubicBezTo>
                    <a:pt x="2105501" y="224314"/>
                    <a:pt x="2105501" y="222409"/>
                    <a:pt x="2104549" y="221456"/>
                  </a:cubicBezTo>
                  <a:cubicBezTo>
                    <a:pt x="2104549" y="221456"/>
                    <a:pt x="2104549" y="221456"/>
                    <a:pt x="2104549" y="221456"/>
                  </a:cubicBezTo>
                  <a:lnTo>
                    <a:pt x="2104549" y="221456"/>
                  </a:lnTo>
                  <a:cubicBezTo>
                    <a:pt x="2103596" y="219551"/>
                    <a:pt x="2102644" y="217646"/>
                    <a:pt x="2102644" y="215741"/>
                  </a:cubicBezTo>
                  <a:cubicBezTo>
                    <a:pt x="2102644" y="211931"/>
                    <a:pt x="2101691" y="208121"/>
                    <a:pt x="2101691" y="205264"/>
                  </a:cubicBezTo>
                  <a:cubicBezTo>
                    <a:pt x="2100739" y="193834"/>
                    <a:pt x="2099786" y="184309"/>
                    <a:pt x="2098834" y="176689"/>
                  </a:cubicBezTo>
                  <a:cubicBezTo>
                    <a:pt x="2098834" y="173831"/>
                    <a:pt x="2097881" y="170974"/>
                    <a:pt x="2097881" y="168116"/>
                  </a:cubicBezTo>
                  <a:cubicBezTo>
                    <a:pt x="2100739" y="155734"/>
                    <a:pt x="2102644" y="149066"/>
                    <a:pt x="2102644" y="149066"/>
                  </a:cubicBezTo>
                  <a:cubicBezTo>
                    <a:pt x="2102644" y="149066"/>
                    <a:pt x="2100739" y="153829"/>
                    <a:pt x="2096929" y="162401"/>
                  </a:cubicBezTo>
                  <a:cubicBezTo>
                    <a:pt x="2095976" y="155734"/>
                    <a:pt x="2095024" y="151924"/>
                    <a:pt x="2095024" y="151924"/>
                  </a:cubicBezTo>
                  <a:cubicBezTo>
                    <a:pt x="2095024" y="151924"/>
                    <a:pt x="2095024" y="157639"/>
                    <a:pt x="2095024" y="167164"/>
                  </a:cubicBezTo>
                  <a:cubicBezTo>
                    <a:pt x="2088356" y="182404"/>
                    <a:pt x="2078831" y="206216"/>
                    <a:pt x="2066449" y="235744"/>
                  </a:cubicBezTo>
                  <a:cubicBezTo>
                    <a:pt x="2063591" y="243364"/>
                    <a:pt x="2060734" y="250984"/>
                    <a:pt x="2056924" y="259556"/>
                  </a:cubicBezTo>
                  <a:cubicBezTo>
                    <a:pt x="2061686" y="234791"/>
                    <a:pt x="2063591" y="219551"/>
                    <a:pt x="2063591" y="219551"/>
                  </a:cubicBezTo>
                  <a:cubicBezTo>
                    <a:pt x="2063591" y="219551"/>
                    <a:pt x="2058829" y="231934"/>
                    <a:pt x="2052161" y="252889"/>
                  </a:cubicBezTo>
                  <a:cubicBezTo>
                    <a:pt x="2051209" y="250984"/>
                    <a:pt x="2050256" y="249079"/>
                    <a:pt x="2050256" y="248126"/>
                  </a:cubicBezTo>
                  <a:cubicBezTo>
                    <a:pt x="2050256" y="238601"/>
                    <a:pt x="2050256" y="233839"/>
                    <a:pt x="2050256" y="233839"/>
                  </a:cubicBezTo>
                  <a:cubicBezTo>
                    <a:pt x="2050256" y="233839"/>
                    <a:pt x="2049304" y="237649"/>
                    <a:pt x="2048351" y="244316"/>
                  </a:cubicBezTo>
                  <a:cubicBezTo>
                    <a:pt x="2047399" y="241459"/>
                    <a:pt x="2046446" y="240506"/>
                    <a:pt x="2046446" y="240506"/>
                  </a:cubicBezTo>
                  <a:cubicBezTo>
                    <a:pt x="2046446" y="240506"/>
                    <a:pt x="2047399" y="242411"/>
                    <a:pt x="2047399" y="247174"/>
                  </a:cubicBezTo>
                  <a:cubicBezTo>
                    <a:pt x="2046446" y="251936"/>
                    <a:pt x="2045494" y="258604"/>
                    <a:pt x="2044541" y="266224"/>
                  </a:cubicBezTo>
                  <a:cubicBezTo>
                    <a:pt x="2044541" y="264319"/>
                    <a:pt x="2043589" y="261461"/>
                    <a:pt x="2043589" y="259556"/>
                  </a:cubicBezTo>
                  <a:cubicBezTo>
                    <a:pt x="2042636" y="255746"/>
                    <a:pt x="2042636" y="252889"/>
                    <a:pt x="2041684" y="249079"/>
                  </a:cubicBezTo>
                  <a:cubicBezTo>
                    <a:pt x="2046446" y="210026"/>
                    <a:pt x="2048351" y="184309"/>
                    <a:pt x="2048351" y="184309"/>
                  </a:cubicBezTo>
                  <a:cubicBezTo>
                    <a:pt x="2048351" y="184309"/>
                    <a:pt x="2044541" y="196691"/>
                    <a:pt x="2039779" y="216694"/>
                  </a:cubicBezTo>
                  <a:cubicBezTo>
                    <a:pt x="2038826" y="218599"/>
                    <a:pt x="2037874" y="220504"/>
                    <a:pt x="2036921" y="223361"/>
                  </a:cubicBezTo>
                  <a:cubicBezTo>
                    <a:pt x="2036921" y="221456"/>
                    <a:pt x="2035969" y="220504"/>
                    <a:pt x="2035969" y="218599"/>
                  </a:cubicBezTo>
                  <a:cubicBezTo>
                    <a:pt x="2034064" y="206216"/>
                    <a:pt x="2032159" y="195739"/>
                    <a:pt x="2031206" y="187166"/>
                  </a:cubicBezTo>
                  <a:cubicBezTo>
                    <a:pt x="2030254" y="179546"/>
                    <a:pt x="2029301" y="173831"/>
                    <a:pt x="2028349" y="169069"/>
                  </a:cubicBezTo>
                  <a:cubicBezTo>
                    <a:pt x="2030254" y="154781"/>
                    <a:pt x="2031206" y="147161"/>
                    <a:pt x="2031206" y="147161"/>
                  </a:cubicBezTo>
                  <a:cubicBezTo>
                    <a:pt x="2031206" y="147161"/>
                    <a:pt x="2030254" y="150971"/>
                    <a:pt x="2028349" y="157639"/>
                  </a:cubicBezTo>
                  <a:cubicBezTo>
                    <a:pt x="2029301" y="145256"/>
                    <a:pt x="2030254" y="138589"/>
                    <a:pt x="2030254" y="138589"/>
                  </a:cubicBezTo>
                  <a:cubicBezTo>
                    <a:pt x="2030254" y="138589"/>
                    <a:pt x="2028349" y="146209"/>
                    <a:pt x="2023586" y="160496"/>
                  </a:cubicBezTo>
                  <a:cubicBezTo>
                    <a:pt x="2021681" y="167164"/>
                    <a:pt x="2019776" y="176689"/>
                    <a:pt x="2017871" y="186214"/>
                  </a:cubicBezTo>
                  <a:cubicBezTo>
                    <a:pt x="2017871" y="188119"/>
                    <a:pt x="2016919" y="190024"/>
                    <a:pt x="2016919" y="191929"/>
                  </a:cubicBezTo>
                  <a:cubicBezTo>
                    <a:pt x="2016919" y="191929"/>
                    <a:pt x="2016919" y="190976"/>
                    <a:pt x="2016919" y="190976"/>
                  </a:cubicBezTo>
                  <a:cubicBezTo>
                    <a:pt x="2018824" y="170021"/>
                    <a:pt x="2019776" y="158591"/>
                    <a:pt x="2019776" y="158591"/>
                  </a:cubicBezTo>
                  <a:cubicBezTo>
                    <a:pt x="2019776" y="158591"/>
                    <a:pt x="2017871" y="166211"/>
                    <a:pt x="2015014" y="178594"/>
                  </a:cubicBezTo>
                  <a:cubicBezTo>
                    <a:pt x="2015014" y="176689"/>
                    <a:pt x="2014061" y="174784"/>
                    <a:pt x="2014061" y="174784"/>
                  </a:cubicBezTo>
                  <a:cubicBezTo>
                    <a:pt x="2014061" y="174784"/>
                    <a:pt x="2014061" y="175736"/>
                    <a:pt x="2014061" y="177641"/>
                  </a:cubicBezTo>
                  <a:cubicBezTo>
                    <a:pt x="2013109" y="172879"/>
                    <a:pt x="2012156" y="168116"/>
                    <a:pt x="2011204" y="163354"/>
                  </a:cubicBezTo>
                  <a:cubicBezTo>
                    <a:pt x="2008346" y="148114"/>
                    <a:pt x="2006441" y="135731"/>
                    <a:pt x="2003584" y="125254"/>
                  </a:cubicBezTo>
                  <a:cubicBezTo>
                    <a:pt x="1999774" y="104299"/>
                    <a:pt x="1996916" y="91916"/>
                    <a:pt x="1996916" y="91916"/>
                  </a:cubicBezTo>
                  <a:cubicBezTo>
                    <a:pt x="1996916" y="91916"/>
                    <a:pt x="1997869" y="104299"/>
                    <a:pt x="1999774" y="125254"/>
                  </a:cubicBezTo>
                  <a:cubicBezTo>
                    <a:pt x="2000726" y="135731"/>
                    <a:pt x="2001679" y="149066"/>
                    <a:pt x="2003584" y="164306"/>
                  </a:cubicBezTo>
                  <a:cubicBezTo>
                    <a:pt x="2004536" y="175736"/>
                    <a:pt x="2006441" y="189071"/>
                    <a:pt x="2008346" y="203359"/>
                  </a:cubicBezTo>
                  <a:cubicBezTo>
                    <a:pt x="2005489" y="213836"/>
                    <a:pt x="2002631" y="227171"/>
                    <a:pt x="1999774" y="240506"/>
                  </a:cubicBezTo>
                  <a:cubicBezTo>
                    <a:pt x="1995011" y="262414"/>
                    <a:pt x="1990249" y="288131"/>
                    <a:pt x="1984534" y="314801"/>
                  </a:cubicBezTo>
                  <a:cubicBezTo>
                    <a:pt x="1984534" y="303371"/>
                    <a:pt x="1984534" y="292894"/>
                    <a:pt x="1984534" y="283369"/>
                  </a:cubicBezTo>
                  <a:cubicBezTo>
                    <a:pt x="1984534" y="277654"/>
                    <a:pt x="1984534" y="271939"/>
                    <a:pt x="1984534" y="267176"/>
                  </a:cubicBezTo>
                  <a:cubicBezTo>
                    <a:pt x="1985486" y="265271"/>
                    <a:pt x="1986439" y="263366"/>
                    <a:pt x="1986439" y="263366"/>
                  </a:cubicBezTo>
                  <a:cubicBezTo>
                    <a:pt x="1986439" y="263366"/>
                    <a:pt x="1985486" y="264319"/>
                    <a:pt x="1984534" y="265271"/>
                  </a:cubicBezTo>
                  <a:cubicBezTo>
                    <a:pt x="1984534" y="257651"/>
                    <a:pt x="1984534" y="250031"/>
                    <a:pt x="1985486" y="243364"/>
                  </a:cubicBezTo>
                  <a:cubicBezTo>
                    <a:pt x="1986439" y="231934"/>
                    <a:pt x="1986439" y="221456"/>
                    <a:pt x="1987391" y="212884"/>
                  </a:cubicBezTo>
                  <a:cubicBezTo>
                    <a:pt x="1988344" y="195739"/>
                    <a:pt x="1989296" y="186214"/>
                    <a:pt x="1989296" y="186214"/>
                  </a:cubicBezTo>
                  <a:cubicBezTo>
                    <a:pt x="1989296" y="186214"/>
                    <a:pt x="1987391" y="195739"/>
                    <a:pt x="1983581" y="211931"/>
                  </a:cubicBezTo>
                  <a:cubicBezTo>
                    <a:pt x="1981676" y="220504"/>
                    <a:pt x="1979771" y="230029"/>
                    <a:pt x="1978819" y="242411"/>
                  </a:cubicBezTo>
                  <a:cubicBezTo>
                    <a:pt x="1976914" y="253841"/>
                    <a:pt x="1975961" y="267176"/>
                    <a:pt x="1974056" y="281464"/>
                  </a:cubicBezTo>
                  <a:cubicBezTo>
                    <a:pt x="1974056" y="281464"/>
                    <a:pt x="1973104" y="282416"/>
                    <a:pt x="1973104" y="282416"/>
                  </a:cubicBezTo>
                  <a:cubicBezTo>
                    <a:pt x="1971199" y="284321"/>
                    <a:pt x="1970246" y="286226"/>
                    <a:pt x="1968341" y="289084"/>
                  </a:cubicBezTo>
                  <a:cubicBezTo>
                    <a:pt x="1968341" y="287179"/>
                    <a:pt x="1968341" y="285274"/>
                    <a:pt x="1968341" y="283369"/>
                  </a:cubicBezTo>
                  <a:cubicBezTo>
                    <a:pt x="1971199" y="277654"/>
                    <a:pt x="1973104" y="274796"/>
                    <a:pt x="1973104" y="274796"/>
                  </a:cubicBezTo>
                  <a:cubicBezTo>
                    <a:pt x="1973104" y="274796"/>
                    <a:pt x="1971199" y="276701"/>
                    <a:pt x="1968341" y="280511"/>
                  </a:cubicBezTo>
                  <a:cubicBezTo>
                    <a:pt x="1970246" y="255746"/>
                    <a:pt x="1972151" y="235744"/>
                    <a:pt x="1973104" y="224314"/>
                  </a:cubicBezTo>
                  <a:cubicBezTo>
                    <a:pt x="1975961" y="201454"/>
                    <a:pt x="1976914" y="187166"/>
                    <a:pt x="1976914" y="187166"/>
                  </a:cubicBezTo>
                  <a:cubicBezTo>
                    <a:pt x="1976914" y="187166"/>
                    <a:pt x="1973104" y="198596"/>
                    <a:pt x="1967389" y="218599"/>
                  </a:cubicBezTo>
                  <a:cubicBezTo>
                    <a:pt x="1967389" y="217646"/>
                    <a:pt x="1967389" y="216694"/>
                    <a:pt x="1967389" y="216694"/>
                  </a:cubicBezTo>
                  <a:cubicBezTo>
                    <a:pt x="1967389" y="216694"/>
                    <a:pt x="1967389" y="217646"/>
                    <a:pt x="1966436" y="220504"/>
                  </a:cubicBezTo>
                  <a:cubicBezTo>
                    <a:pt x="1963579" y="229076"/>
                    <a:pt x="1960721" y="238601"/>
                    <a:pt x="1957864" y="250031"/>
                  </a:cubicBezTo>
                  <a:cubicBezTo>
                    <a:pt x="1955959" y="256699"/>
                    <a:pt x="1954054" y="264319"/>
                    <a:pt x="1952149" y="271939"/>
                  </a:cubicBezTo>
                  <a:cubicBezTo>
                    <a:pt x="1947386" y="250031"/>
                    <a:pt x="1944529" y="232886"/>
                    <a:pt x="1941671" y="221456"/>
                  </a:cubicBezTo>
                  <a:cubicBezTo>
                    <a:pt x="1941671" y="218599"/>
                    <a:pt x="1942624" y="215741"/>
                    <a:pt x="1942624" y="213836"/>
                  </a:cubicBezTo>
                  <a:cubicBezTo>
                    <a:pt x="1946434" y="203359"/>
                    <a:pt x="1949291" y="193834"/>
                    <a:pt x="1952149" y="186214"/>
                  </a:cubicBezTo>
                  <a:cubicBezTo>
                    <a:pt x="1958816" y="168116"/>
                    <a:pt x="1962626" y="157639"/>
                    <a:pt x="1962626" y="157639"/>
                  </a:cubicBezTo>
                  <a:cubicBezTo>
                    <a:pt x="1962626" y="157639"/>
                    <a:pt x="1957864" y="167164"/>
                    <a:pt x="1948339" y="185261"/>
                  </a:cubicBezTo>
                  <a:cubicBezTo>
                    <a:pt x="1947386" y="187166"/>
                    <a:pt x="1946434" y="189071"/>
                    <a:pt x="1945481" y="190976"/>
                  </a:cubicBezTo>
                  <a:cubicBezTo>
                    <a:pt x="1945481" y="190024"/>
                    <a:pt x="1945481" y="189071"/>
                    <a:pt x="1945481" y="189071"/>
                  </a:cubicBezTo>
                  <a:cubicBezTo>
                    <a:pt x="1945481" y="189071"/>
                    <a:pt x="1945481" y="190024"/>
                    <a:pt x="1944529" y="192881"/>
                  </a:cubicBezTo>
                  <a:cubicBezTo>
                    <a:pt x="1942624" y="196691"/>
                    <a:pt x="1940719" y="201454"/>
                    <a:pt x="1938814" y="205264"/>
                  </a:cubicBezTo>
                  <a:cubicBezTo>
                    <a:pt x="1936909" y="170021"/>
                    <a:pt x="1935004" y="148114"/>
                    <a:pt x="1935004" y="148114"/>
                  </a:cubicBezTo>
                  <a:cubicBezTo>
                    <a:pt x="1935004" y="148114"/>
                    <a:pt x="1931194" y="178594"/>
                    <a:pt x="1928336" y="224314"/>
                  </a:cubicBezTo>
                  <a:cubicBezTo>
                    <a:pt x="1928336" y="225266"/>
                    <a:pt x="1928336" y="227171"/>
                    <a:pt x="1928336" y="229076"/>
                  </a:cubicBezTo>
                  <a:cubicBezTo>
                    <a:pt x="1927384" y="231934"/>
                    <a:pt x="1925479" y="234791"/>
                    <a:pt x="1924526" y="236696"/>
                  </a:cubicBezTo>
                  <a:cubicBezTo>
                    <a:pt x="1921669" y="243364"/>
                    <a:pt x="1918811" y="250984"/>
                    <a:pt x="1915001" y="258604"/>
                  </a:cubicBezTo>
                  <a:cubicBezTo>
                    <a:pt x="1914049" y="261461"/>
                    <a:pt x="1912144" y="265271"/>
                    <a:pt x="1911191" y="268129"/>
                  </a:cubicBezTo>
                  <a:cubicBezTo>
                    <a:pt x="1910239" y="265271"/>
                    <a:pt x="1908334" y="262414"/>
                    <a:pt x="1907381" y="259556"/>
                  </a:cubicBezTo>
                  <a:lnTo>
                    <a:pt x="1907381" y="258604"/>
                  </a:lnTo>
                  <a:lnTo>
                    <a:pt x="1907381" y="258604"/>
                  </a:lnTo>
                  <a:cubicBezTo>
                    <a:pt x="1905476" y="256699"/>
                    <a:pt x="1903571" y="254794"/>
                    <a:pt x="1900714" y="253841"/>
                  </a:cubicBezTo>
                  <a:cubicBezTo>
                    <a:pt x="1899761" y="253841"/>
                    <a:pt x="1898809" y="252889"/>
                    <a:pt x="1897856" y="252889"/>
                  </a:cubicBezTo>
                  <a:cubicBezTo>
                    <a:pt x="1897856" y="252889"/>
                    <a:pt x="1896904" y="252889"/>
                    <a:pt x="1896904" y="252889"/>
                  </a:cubicBezTo>
                  <a:cubicBezTo>
                    <a:pt x="1896904" y="251936"/>
                    <a:pt x="1896904" y="251936"/>
                    <a:pt x="1896904" y="250984"/>
                  </a:cubicBezTo>
                  <a:cubicBezTo>
                    <a:pt x="1896904" y="249079"/>
                    <a:pt x="1897856" y="247174"/>
                    <a:pt x="1897856" y="246221"/>
                  </a:cubicBezTo>
                  <a:cubicBezTo>
                    <a:pt x="1899761" y="240506"/>
                    <a:pt x="1900714" y="234791"/>
                    <a:pt x="1902619" y="230029"/>
                  </a:cubicBezTo>
                  <a:cubicBezTo>
                    <a:pt x="1903571" y="228124"/>
                    <a:pt x="1903571" y="226219"/>
                    <a:pt x="1903571" y="226219"/>
                  </a:cubicBezTo>
                  <a:cubicBezTo>
                    <a:pt x="1903571" y="226219"/>
                    <a:pt x="1903571" y="226219"/>
                    <a:pt x="1902619" y="227171"/>
                  </a:cubicBezTo>
                  <a:cubicBezTo>
                    <a:pt x="1903571" y="222409"/>
                    <a:pt x="1905476" y="218599"/>
                    <a:pt x="1906429" y="214789"/>
                  </a:cubicBezTo>
                  <a:cubicBezTo>
                    <a:pt x="1909286" y="205264"/>
                    <a:pt x="1912144" y="196691"/>
                    <a:pt x="1915001" y="190976"/>
                  </a:cubicBezTo>
                  <a:cubicBezTo>
                    <a:pt x="1919764" y="177641"/>
                    <a:pt x="1922621" y="170021"/>
                    <a:pt x="1922621" y="170021"/>
                  </a:cubicBezTo>
                  <a:cubicBezTo>
                    <a:pt x="1922621" y="170021"/>
                    <a:pt x="1918811" y="176689"/>
                    <a:pt x="1911191" y="189071"/>
                  </a:cubicBezTo>
                  <a:cubicBezTo>
                    <a:pt x="1907381" y="194786"/>
                    <a:pt x="1903571" y="203359"/>
                    <a:pt x="1899761" y="211931"/>
                  </a:cubicBezTo>
                  <a:cubicBezTo>
                    <a:pt x="1897856" y="216694"/>
                    <a:pt x="1894999" y="221456"/>
                    <a:pt x="1893094" y="226219"/>
                  </a:cubicBezTo>
                  <a:cubicBezTo>
                    <a:pt x="1892141" y="229076"/>
                    <a:pt x="1890236" y="231934"/>
                    <a:pt x="1889284" y="235744"/>
                  </a:cubicBezTo>
                  <a:cubicBezTo>
                    <a:pt x="1889284" y="234791"/>
                    <a:pt x="1889284" y="233839"/>
                    <a:pt x="1888331" y="232886"/>
                  </a:cubicBezTo>
                  <a:cubicBezTo>
                    <a:pt x="1888331" y="227171"/>
                    <a:pt x="1888331" y="221456"/>
                    <a:pt x="1889284" y="216694"/>
                  </a:cubicBezTo>
                  <a:cubicBezTo>
                    <a:pt x="1889284" y="210979"/>
                    <a:pt x="1890236" y="205264"/>
                    <a:pt x="1891189" y="200501"/>
                  </a:cubicBezTo>
                  <a:cubicBezTo>
                    <a:pt x="1892141" y="195739"/>
                    <a:pt x="1893094" y="190976"/>
                    <a:pt x="1894046" y="187166"/>
                  </a:cubicBezTo>
                  <a:cubicBezTo>
                    <a:pt x="1895951" y="179546"/>
                    <a:pt x="1897856" y="172879"/>
                    <a:pt x="1899761" y="169069"/>
                  </a:cubicBezTo>
                  <a:cubicBezTo>
                    <a:pt x="1901666" y="165259"/>
                    <a:pt x="1902619" y="162401"/>
                    <a:pt x="1902619" y="162401"/>
                  </a:cubicBezTo>
                  <a:cubicBezTo>
                    <a:pt x="1902619" y="162401"/>
                    <a:pt x="1901666" y="164306"/>
                    <a:pt x="1898809" y="168116"/>
                  </a:cubicBezTo>
                  <a:cubicBezTo>
                    <a:pt x="1895951" y="171926"/>
                    <a:pt x="1893094" y="177641"/>
                    <a:pt x="1890236" y="186214"/>
                  </a:cubicBezTo>
                  <a:cubicBezTo>
                    <a:pt x="1889284" y="190024"/>
                    <a:pt x="1887379" y="194786"/>
                    <a:pt x="1885474" y="199549"/>
                  </a:cubicBezTo>
                  <a:cubicBezTo>
                    <a:pt x="1884521" y="204311"/>
                    <a:pt x="1883569" y="209074"/>
                    <a:pt x="1882616" y="213836"/>
                  </a:cubicBezTo>
                  <a:cubicBezTo>
                    <a:pt x="1882616" y="211931"/>
                    <a:pt x="1882616" y="210026"/>
                    <a:pt x="1882616" y="210026"/>
                  </a:cubicBezTo>
                  <a:cubicBezTo>
                    <a:pt x="1882616" y="210026"/>
                    <a:pt x="1880711" y="216694"/>
                    <a:pt x="1878806" y="228124"/>
                  </a:cubicBezTo>
                  <a:cubicBezTo>
                    <a:pt x="1877854" y="232886"/>
                    <a:pt x="1876901" y="237649"/>
                    <a:pt x="1874996" y="243364"/>
                  </a:cubicBezTo>
                  <a:cubicBezTo>
                    <a:pt x="1874996" y="239554"/>
                    <a:pt x="1874996" y="237649"/>
                    <a:pt x="1874996" y="237649"/>
                  </a:cubicBezTo>
                  <a:cubicBezTo>
                    <a:pt x="1874996" y="237649"/>
                    <a:pt x="1874044" y="244316"/>
                    <a:pt x="1872139" y="255746"/>
                  </a:cubicBezTo>
                  <a:cubicBezTo>
                    <a:pt x="1871186" y="260509"/>
                    <a:pt x="1870234" y="266224"/>
                    <a:pt x="1868329" y="270986"/>
                  </a:cubicBezTo>
                  <a:cubicBezTo>
                    <a:pt x="1868329" y="267176"/>
                    <a:pt x="1869281" y="263366"/>
                    <a:pt x="1869281" y="259556"/>
                  </a:cubicBezTo>
                  <a:cubicBezTo>
                    <a:pt x="1871186" y="243364"/>
                    <a:pt x="1873091" y="228124"/>
                    <a:pt x="1874996" y="213836"/>
                  </a:cubicBezTo>
                  <a:cubicBezTo>
                    <a:pt x="1875949" y="207169"/>
                    <a:pt x="1876901" y="200501"/>
                    <a:pt x="1877854" y="193834"/>
                  </a:cubicBezTo>
                  <a:cubicBezTo>
                    <a:pt x="1878806" y="187166"/>
                    <a:pt x="1880711" y="181451"/>
                    <a:pt x="1881664" y="175736"/>
                  </a:cubicBezTo>
                  <a:cubicBezTo>
                    <a:pt x="1883569" y="164306"/>
                    <a:pt x="1885474" y="154781"/>
                    <a:pt x="1888331" y="146209"/>
                  </a:cubicBezTo>
                  <a:cubicBezTo>
                    <a:pt x="1892141" y="130016"/>
                    <a:pt x="1894999" y="120491"/>
                    <a:pt x="1894999" y="120491"/>
                  </a:cubicBezTo>
                  <a:cubicBezTo>
                    <a:pt x="1894999" y="120491"/>
                    <a:pt x="1891189" y="129064"/>
                    <a:pt x="1885474" y="144304"/>
                  </a:cubicBezTo>
                  <a:cubicBezTo>
                    <a:pt x="1882616" y="151924"/>
                    <a:pt x="1878806" y="161449"/>
                    <a:pt x="1875949" y="172879"/>
                  </a:cubicBezTo>
                  <a:cubicBezTo>
                    <a:pt x="1874044" y="178594"/>
                    <a:pt x="1872139" y="184309"/>
                    <a:pt x="1870234" y="190976"/>
                  </a:cubicBezTo>
                  <a:cubicBezTo>
                    <a:pt x="1868329" y="197644"/>
                    <a:pt x="1867376" y="204311"/>
                    <a:pt x="1865471" y="210979"/>
                  </a:cubicBezTo>
                  <a:cubicBezTo>
                    <a:pt x="1863566" y="219551"/>
                    <a:pt x="1860709" y="229076"/>
                    <a:pt x="1858804" y="238601"/>
                  </a:cubicBezTo>
                  <a:cubicBezTo>
                    <a:pt x="1858804" y="221456"/>
                    <a:pt x="1857851" y="206216"/>
                    <a:pt x="1856899" y="194786"/>
                  </a:cubicBezTo>
                  <a:cubicBezTo>
                    <a:pt x="1855946" y="181451"/>
                    <a:pt x="1854994" y="172879"/>
                    <a:pt x="1854994" y="172879"/>
                  </a:cubicBezTo>
                  <a:cubicBezTo>
                    <a:pt x="1854994" y="172879"/>
                    <a:pt x="1854041" y="180499"/>
                    <a:pt x="1853089" y="194786"/>
                  </a:cubicBezTo>
                  <a:cubicBezTo>
                    <a:pt x="1852136" y="208121"/>
                    <a:pt x="1850231" y="228124"/>
                    <a:pt x="1848326" y="250984"/>
                  </a:cubicBezTo>
                  <a:cubicBezTo>
                    <a:pt x="1847374" y="260509"/>
                    <a:pt x="1846421" y="271939"/>
                    <a:pt x="1845469" y="282416"/>
                  </a:cubicBezTo>
                  <a:cubicBezTo>
                    <a:pt x="1843564" y="279559"/>
                    <a:pt x="1841659" y="276701"/>
                    <a:pt x="1839754" y="273844"/>
                  </a:cubicBezTo>
                  <a:cubicBezTo>
                    <a:pt x="1839754" y="270986"/>
                    <a:pt x="1838801" y="269081"/>
                    <a:pt x="1838801" y="269081"/>
                  </a:cubicBezTo>
                  <a:cubicBezTo>
                    <a:pt x="1838801" y="269081"/>
                    <a:pt x="1838801" y="270034"/>
                    <a:pt x="1838801" y="272891"/>
                  </a:cubicBezTo>
                  <a:cubicBezTo>
                    <a:pt x="1834039" y="266224"/>
                    <a:pt x="1830229" y="260509"/>
                    <a:pt x="1827371" y="256699"/>
                  </a:cubicBezTo>
                  <a:cubicBezTo>
                    <a:pt x="1829276" y="216694"/>
                    <a:pt x="1828324" y="190976"/>
                    <a:pt x="1828324" y="190976"/>
                  </a:cubicBezTo>
                  <a:cubicBezTo>
                    <a:pt x="1828324" y="190976"/>
                    <a:pt x="1826419" y="202406"/>
                    <a:pt x="1822609" y="222409"/>
                  </a:cubicBezTo>
                  <a:cubicBezTo>
                    <a:pt x="1822609" y="219551"/>
                    <a:pt x="1822609" y="217646"/>
                    <a:pt x="1822609" y="214789"/>
                  </a:cubicBezTo>
                  <a:cubicBezTo>
                    <a:pt x="1822609" y="196691"/>
                    <a:pt x="1821656" y="178594"/>
                    <a:pt x="1822609" y="161449"/>
                  </a:cubicBezTo>
                  <a:cubicBezTo>
                    <a:pt x="1823561" y="144304"/>
                    <a:pt x="1823561" y="129064"/>
                    <a:pt x="1823561" y="113824"/>
                  </a:cubicBezTo>
                  <a:cubicBezTo>
                    <a:pt x="1824514" y="54769"/>
                    <a:pt x="1823561" y="15716"/>
                    <a:pt x="1823561" y="15716"/>
                  </a:cubicBezTo>
                  <a:cubicBezTo>
                    <a:pt x="1823561" y="15716"/>
                    <a:pt x="1817846" y="54769"/>
                    <a:pt x="1812131" y="112871"/>
                  </a:cubicBezTo>
                  <a:cubicBezTo>
                    <a:pt x="1811179" y="127159"/>
                    <a:pt x="1809274" y="143351"/>
                    <a:pt x="1807369" y="160496"/>
                  </a:cubicBezTo>
                  <a:cubicBezTo>
                    <a:pt x="1805464" y="175736"/>
                    <a:pt x="1805464" y="191929"/>
                    <a:pt x="1805464" y="209074"/>
                  </a:cubicBezTo>
                  <a:cubicBezTo>
                    <a:pt x="1803559" y="210026"/>
                    <a:pt x="1802606" y="210979"/>
                    <a:pt x="1801654" y="211931"/>
                  </a:cubicBezTo>
                  <a:lnTo>
                    <a:pt x="1801654" y="211931"/>
                  </a:lnTo>
                  <a:lnTo>
                    <a:pt x="1801654" y="212884"/>
                  </a:lnTo>
                  <a:cubicBezTo>
                    <a:pt x="1797844" y="221456"/>
                    <a:pt x="1794034" y="229076"/>
                    <a:pt x="1790224" y="237649"/>
                  </a:cubicBezTo>
                  <a:cubicBezTo>
                    <a:pt x="1790224" y="217646"/>
                    <a:pt x="1790224" y="207169"/>
                    <a:pt x="1790224" y="207169"/>
                  </a:cubicBezTo>
                  <a:cubicBezTo>
                    <a:pt x="1790224" y="207169"/>
                    <a:pt x="1788319" y="218599"/>
                    <a:pt x="1786414" y="239554"/>
                  </a:cubicBezTo>
                  <a:cubicBezTo>
                    <a:pt x="1786414" y="243364"/>
                    <a:pt x="1785461" y="246221"/>
                    <a:pt x="1784509" y="250984"/>
                  </a:cubicBezTo>
                  <a:cubicBezTo>
                    <a:pt x="1784509" y="251936"/>
                    <a:pt x="1784509" y="251936"/>
                    <a:pt x="1783556" y="252889"/>
                  </a:cubicBezTo>
                  <a:cubicBezTo>
                    <a:pt x="1779746" y="236696"/>
                    <a:pt x="1776889" y="226219"/>
                    <a:pt x="1776889" y="226219"/>
                  </a:cubicBezTo>
                  <a:cubicBezTo>
                    <a:pt x="1776889" y="226219"/>
                    <a:pt x="1776889" y="236696"/>
                    <a:pt x="1777841" y="253841"/>
                  </a:cubicBezTo>
                  <a:cubicBezTo>
                    <a:pt x="1774031" y="244316"/>
                    <a:pt x="1771174" y="236696"/>
                    <a:pt x="1768316" y="230029"/>
                  </a:cubicBezTo>
                  <a:cubicBezTo>
                    <a:pt x="1763554" y="219551"/>
                    <a:pt x="1760696" y="211931"/>
                    <a:pt x="1759744" y="209074"/>
                  </a:cubicBezTo>
                  <a:cubicBezTo>
                    <a:pt x="1759744" y="209074"/>
                    <a:pt x="1759744" y="208121"/>
                    <a:pt x="1759744" y="208121"/>
                  </a:cubicBezTo>
                  <a:cubicBezTo>
                    <a:pt x="1761649" y="202406"/>
                    <a:pt x="1761649" y="198596"/>
                    <a:pt x="1761649" y="198596"/>
                  </a:cubicBezTo>
                  <a:cubicBezTo>
                    <a:pt x="1761649" y="198596"/>
                    <a:pt x="1760696" y="200501"/>
                    <a:pt x="1759744" y="203359"/>
                  </a:cubicBezTo>
                  <a:cubicBezTo>
                    <a:pt x="1759744" y="200501"/>
                    <a:pt x="1759744" y="197644"/>
                    <a:pt x="1759744" y="195739"/>
                  </a:cubicBezTo>
                  <a:cubicBezTo>
                    <a:pt x="1760696" y="187166"/>
                    <a:pt x="1760696" y="178594"/>
                    <a:pt x="1761649" y="171926"/>
                  </a:cubicBezTo>
                  <a:cubicBezTo>
                    <a:pt x="1762601" y="158591"/>
                    <a:pt x="1762601" y="151924"/>
                    <a:pt x="1762601" y="151924"/>
                  </a:cubicBezTo>
                  <a:cubicBezTo>
                    <a:pt x="1762601" y="151924"/>
                    <a:pt x="1760696" y="159544"/>
                    <a:pt x="1756886" y="171926"/>
                  </a:cubicBezTo>
                  <a:cubicBezTo>
                    <a:pt x="1754981" y="180499"/>
                    <a:pt x="1752124" y="191929"/>
                    <a:pt x="1749266" y="205264"/>
                  </a:cubicBezTo>
                  <a:cubicBezTo>
                    <a:pt x="1746409" y="200501"/>
                    <a:pt x="1745456" y="197644"/>
                    <a:pt x="1745456" y="197644"/>
                  </a:cubicBezTo>
                  <a:cubicBezTo>
                    <a:pt x="1745456" y="197644"/>
                    <a:pt x="1746409" y="201454"/>
                    <a:pt x="1749266" y="208121"/>
                  </a:cubicBezTo>
                  <a:cubicBezTo>
                    <a:pt x="1748314" y="213836"/>
                    <a:pt x="1747361" y="219551"/>
                    <a:pt x="1746409" y="225266"/>
                  </a:cubicBezTo>
                  <a:cubicBezTo>
                    <a:pt x="1746409" y="226219"/>
                    <a:pt x="1746409" y="227171"/>
                    <a:pt x="1746409" y="228124"/>
                  </a:cubicBezTo>
                  <a:cubicBezTo>
                    <a:pt x="1741646" y="193834"/>
                    <a:pt x="1737836" y="171926"/>
                    <a:pt x="1737836" y="171926"/>
                  </a:cubicBezTo>
                  <a:cubicBezTo>
                    <a:pt x="1737836" y="171926"/>
                    <a:pt x="1736884" y="204311"/>
                    <a:pt x="1738789" y="252889"/>
                  </a:cubicBezTo>
                  <a:cubicBezTo>
                    <a:pt x="1737836" y="253841"/>
                    <a:pt x="1737836" y="255746"/>
                    <a:pt x="1736884" y="256699"/>
                  </a:cubicBezTo>
                  <a:cubicBezTo>
                    <a:pt x="1735931" y="253841"/>
                    <a:pt x="1735931" y="252889"/>
                    <a:pt x="1735931" y="252889"/>
                  </a:cubicBezTo>
                  <a:cubicBezTo>
                    <a:pt x="1735931" y="252889"/>
                    <a:pt x="1735931" y="254794"/>
                    <a:pt x="1735931" y="257651"/>
                  </a:cubicBezTo>
                  <a:cubicBezTo>
                    <a:pt x="1734979" y="259556"/>
                    <a:pt x="1734026" y="261461"/>
                    <a:pt x="1733074" y="264319"/>
                  </a:cubicBezTo>
                  <a:cubicBezTo>
                    <a:pt x="1731169" y="270034"/>
                    <a:pt x="1729264" y="276701"/>
                    <a:pt x="1727359" y="283369"/>
                  </a:cubicBezTo>
                  <a:cubicBezTo>
                    <a:pt x="1725454" y="288131"/>
                    <a:pt x="1723549" y="293846"/>
                    <a:pt x="1722596" y="299561"/>
                  </a:cubicBezTo>
                  <a:cubicBezTo>
                    <a:pt x="1720691" y="278606"/>
                    <a:pt x="1718786" y="267176"/>
                    <a:pt x="1718786" y="267176"/>
                  </a:cubicBezTo>
                  <a:cubicBezTo>
                    <a:pt x="1718786" y="267176"/>
                    <a:pt x="1717834" y="286226"/>
                    <a:pt x="1716881" y="317659"/>
                  </a:cubicBezTo>
                  <a:cubicBezTo>
                    <a:pt x="1716881" y="317659"/>
                    <a:pt x="1716881" y="318611"/>
                    <a:pt x="1716881" y="318611"/>
                  </a:cubicBezTo>
                  <a:cubicBezTo>
                    <a:pt x="1715929" y="317659"/>
                    <a:pt x="1715929" y="316706"/>
                    <a:pt x="1714976" y="316706"/>
                  </a:cubicBezTo>
                  <a:cubicBezTo>
                    <a:pt x="1712119" y="307181"/>
                    <a:pt x="1710214" y="297656"/>
                    <a:pt x="1707356" y="288131"/>
                  </a:cubicBezTo>
                  <a:cubicBezTo>
                    <a:pt x="1708309" y="270034"/>
                    <a:pt x="1709261" y="252889"/>
                    <a:pt x="1709261" y="237649"/>
                  </a:cubicBezTo>
                  <a:cubicBezTo>
                    <a:pt x="1711166" y="192881"/>
                    <a:pt x="1710214" y="163354"/>
                    <a:pt x="1710214" y="163354"/>
                  </a:cubicBezTo>
                  <a:cubicBezTo>
                    <a:pt x="1710214" y="163354"/>
                    <a:pt x="1705451" y="189071"/>
                    <a:pt x="1698784" y="229076"/>
                  </a:cubicBezTo>
                  <a:cubicBezTo>
                    <a:pt x="1696879" y="219551"/>
                    <a:pt x="1695926" y="210979"/>
                    <a:pt x="1694021" y="203359"/>
                  </a:cubicBezTo>
                  <a:cubicBezTo>
                    <a:pt x="1695926" y="191929"/>
                    <a:pt x="1697831" y="180499"/>
                    <a:pt x="1699736" y="170021"/>
                  </a:cubicBezTo>
                  <a:cubicBezTo>
                    <a:pt x="1702594" y="151924"/>
                    <a:pt x="1705451" y="134779"/>
                    <a:pt x="1706404" y="119539"/>
                  </a:cubicBezTo>
                  <a:cubicBezTo>
                    <a:pt x="1708309" y="104299"/>
                    <a:pt x="1709261" y="91916"/>
                    <a:pt x="1710214" y="80486"/>
                  </a:cubicBezTo>
                  <a:cubicBezTo>
                    <a:pt x="1712119" y="59531"/>
                    <a:pt x="1713071" y="47149"/>
                    <a:pt x="1713071" y="47149"/>
                  </a:cubicBezTo>
                  <a:cubicBezTo>
                    <a:pt x="1713071" y="47149"/>
                    <a:pt x="1710214" y="59531"/>
                    <a:pt x="1706404" y="80486"/>
                  </a:cubicBezTo>
                  <a:cubicBezTo>
                    <a:pt x="1704499" y="90964"/>
                    <a:pt x="1701641" y="104299"/>
                    <a:pt x="1698784" y="118586"/>
                  </a:cubicBezTo>
                  <a:cubicBezTo>
                    <a:pt x="1695926" y="133826"/>
                    <a:pt x="1692116" y="150019"/>
                    <a:pt x="1688306" y="168116"/>
                  </a:cubicBezTo>
                  <a:cubicBezTo>
                    <a:pt x="1688306" y="169069"/>
                    <a:pt x="1687354" y="170974"/>
                    <a:pt x="1687354" y="171926"/>
                  </a:cubicBezTo>
                  <a:cubicBezTo>
                    <a:pt x="1685449" y="164306"/>
                    <a:pt x="1684496" y="160496"/>
                    <a:pt x="1684496" y="160496"/>
                  </a:cubicBezTo>
                  <a:cubicBezTo>
                    <a:pt x="1684496" y="160496"/>
                    <a:pt x="1684496" y="167164"/>
                    <a:pt x="1685449" y="179546"/>
                  </a:cubicBezTo>
                  <a:cubicBezTo>
                    <a:pt x="1684496" y="185261"/>
                    <a:pt x="1682591" y="191929"/>
                    <a:pt x="1681639" y="197644"/>
                  </a:cubicBezTo>
                  <a:cubicBezTo>
                    <a:pt x="1680686" y="195739"/>
                    <a:pt x="1680686" y="194786"/>
                    <a:pt x="1680686" y="192881"/>
                  </a:cubicBezTo>
                  <a:cubicBezTo>
                    <a:pt x="1681639" y="186214"/>
                    <a:pt x="1681639" y="180499"/>
                    <a:pt x="1681639" y="174784"/>
                  </a:cubicBezTo>
                  <a:cubicBezTo>
                    <a:pt x="1681639" y="162401"/>
                    <a:pt x="1682591" y="151924"/>
                    <a:pt x="1682591" y="143351"/>
                  </a:cubicBezTo>
                  <a:cubicBezTo>
                    <a:pt x="1682591" y="126206"/>
                    <a:pt x="1683544" y="115729"/>
                    <a:pt x="1683544" y="115729"/>
                  </a:cubicBezTo>
                  <a:cubicBezTo>
                    <a:pt x="1683544" y="115729"/>
                    <a:pt x="1681639" y="125254"/>
                    <a:pt x="1678781" y="143351"/>
                  </a:cubicBezTo>
                  <a:cubicBezTo>
                    <a:pt x="1677829" y="151924"/>
                    <a:pt x="1675924" y="162401"/>
                    <a:pt x="1674019" y="174784"/>
                  </a:cubicBezTo>
                  <a:cubicBezTo>
                    <a:pt x="1672114" y="187166"/>
                    <a:pt x="1669256" y="200501"/>
                    <a:pt x="1666399" y="215741"/>
                  </a:cubicBezTo>
                  <a:cubicBezTo>
                    <a:pt x="1665446" y="220504"/>
                    <a:pt x="1664494" y="226219"/>
                    <a:pt x="1663541" y="231934"/>
                  </a:cubicBezTo>
                  <a:cubicBezTo>
                    <a:pt x="1662589" y="228124"/>
                    <a:pt x="1661636" y="225266"/>
                    <a:pt x="1661636" y="225266"/>
                  </a:cubicBezTo>
                  <a:cubicBezTo>
                    <a:pt x="1661636" y="225266"/>
                    <a:pt x="1661636" y="229076"/>
                    <a:pt x="1662589" y="236696"/>
                  </a:cubicBezTo>
                  <a:cubicBezTo>
                    <a:pt x="1661636" y="242411"/>
                    <a:pt x="1660684" y="248126"/>
                    <a:pt x="1659731" y="253841"/>
                  </a:cubicBezTo>
                  <a:cubicBezTo>
                    <a:pt x="1659731" y="252889"/>
                    <a:pt x="1658779" y="251936"/>
                    <a:pt x="1658779" y="251936"/>
                  </a:cubicBezTo>
                  <a:cubicBezTo>
                    <a:pt x="1654969" y="240506"/>
                    <a:pt x="1650206" y="230981"/>
                    <a:pt x="1646396" y="223361"/>
                  </a:cubicBezTo>
                  <a:cubicBezTo>
                    <a:pt x="1645444" y="220504"/>
                    <a:pt x="1643539" y="218599"/>
                    <a:pt x="1642586" y="215741"/>
                  </a:cubicBezTo>
                  <a:cubicBezTo>
                    <a:pt x="1642586" y="210979"/>
                    <a:pt x="1642586" y="207169"/>
                    <a:pt x="1642586" y="202406"/>
                  </a:cubicBezTo>
                  <a:cubicBezTo>
                    <a:pt x="1641634" y="186214"/>
                    <a:pt x="1641634" y="170021"/>
                    <a:pt x="1640681" y="154781"/>
                  </a:cubicBezTo>
                  <a:cubicBezTo>
                    <a:pt x="1639729" y="139541"/>
                    <a:pt x="1637824" y="125254"/>
                    <a:pt x="1635919" y="111919"/>
                  </a:cubicBezTo>
                  <a:cubicBezTo>
                    <a:pt x="1630204" y="58579"/>
                    <a:pt x="1624489" y="23336"/>
                    <a:pt x="1624489" y="23336"/>
                  </a:cubicBezTo>
                  <a:cubicBezTo>
                    <a:pt x="1624489" y="23336"/>
                    <a:pt x="1623536" y="58579"/>
                    <a:pt x="1624489" y="111919"/>
                  </a:cubicBezTo>
                  <a:cubicBezTo>
                    <a:pt x="1624489" y="125254"/>
                    <a:pt x="1624489" y="139541"/>
                    <a:pt x="1625441" y="154781"/>
                  </a:cubicBezTo>
                  <a:cubicBezTo>
                    <a:pt x="1626394" y="170021"/>
                    <a:pt x="1624489" y="186214"/>
                    <a:pt x="1625441" y="202406"/>
                  </a:cubicBezTo>
                  <a:cubicBezTo>
                    <a:pt x="1625441" y="210026"/>
                    <a:pt x="1625441" y="217646"/>
                    <a:pt x="1625441" y="225266"/>
                  </a:cubicBezTo>
                  <a:cubicBezTo>
                    <a:pt x="1625441" y="227171"/>
                    <a:pt x="1625441" y="229076"/>
                    <a:pt x="1625441" y="230981"/>
                  </a:cubicBezTo>
                  <a:cubicBezTo>
                    <a:pt x="1624489" y="230029"/>
                    <a:pt x="1624489" y="228124"/>
                    <a:pt x="1623536" y="227171"/>
                  </a:cubicBezTo>
                  <a:cubicBezTo>
                    <a:pt x="1620679" y="211931"/>
                    <a:pt x="1619726" y="203359"/>
                    <a:pt x="1619726" y="203359"/>
                  </a:cubicBezTo>
                  <a:cubicBezTo>
                    <a:pt x="1619726" y="203359"/>
                    <a:pt x="1619726" y="208121"/>
                    <a:pt x="1619726" y="217646"/>
                  </a:cubicBezTo>
                  <a:cubicBezTo>
                    <a:pt x="1613059" y="201454"/>
                    <a:pt x="1608296" y="190976"/>
                    <a:pt x="1608296" y="190976"/>
                  </a:cubicBezTo>
                  <a:cubicBezTo>
                    <a:pt x="1608296" y="190976"/>
                    <a:pt x="1612106" y="207169"/>
                    <a:pt x="1619726" y="233839"/>
                  </a:cubicBezTo>
                  <a:cubicBezTo>
                    <a:pt x="1619726" y="236696"/>
                    <a:pt x="1619726" y="239554"/>
                    <a:pt x="1619726" y="242411"/>
                  </a:cubicBezTo>
                  <a:cubicBezTo>
                    <a:pt x="1615916" y="236696"/>
                    <a:pt x="1613059" y="233839"/>
                    <a:pt x="1613059" y="233839"/>
                  </a:cubicBezTo>
                  <a:cubicBezTo>
                    <a:pt x="1613059" y="233839"/>
                    <a:pt x="1614964" y="238601"/>
                    <a:pt x="1619726" y="247174"/>
                  </a:cubicBezTo>
                  <a:cubicBezTo>
                    <a:pt x="1616869" y="250984"/>
                    <a:pt x="1614011" y="256699"/>
                    <a:pt x="1610201" y="264319"/>
                  </a:cubicBezTo>
                  <a:cubicBezTo>
                    <a:pt x="1609249" y="266224"/>
                    <a:pt x="1608296" y="268129"/>
                    <a:pt x="1607344" y="270034"/>
                  </a:cubicBezTo>
                  <a:cubicBezTo>
                    <a:pt x="1607344" y="269081"/>
                    <a:pt x="1606391" y="269081"/>
                    <a:pt x="1606391" y="269081"/>
                  </a:cubicBezTo>
                  <a:cubicBezTo>
                    <a:pt x="1606391" y="269081"/>
                    <a:pt x="1606391" y="269081"/>
                    <a:pt x="1607344" y="270034"/>
                  </a:cubicBezTo>
                  <a:cubicBezTo>
                    <a:pt x="1605439" y="273844"/>
                    <a:pt x="1603534" y="277654"/>
                    <a:pt x="1601629" y="282416"/>
                  </a:cubicBezTo>
                  <a:cubicBezTo>
                    <a:pt x="1601629" y="277654"/>
                    <a:pt x="1600676" y="273844"/>
                    <a:pt x="1600676" y="269081"/>
                  </a:cubicBezTo>
                  <a:cubicBezTo>
                    <a:pt x="1598771" y="243364"/>
                    <a:pt x="1596866" y="221456"/>
                    <a:pt x="1595914" y="207169"/>
                  </a:cubicBezTo>
                  <a:cubicBezTo>
                    <a:pt x="1594961" y="191929"/>
                    <a:pt x="1594009" y="183356"/>
                    <a:pt x="1594009" y="183356"/>
                  </a:cubicBezTo>
                  <a:cubicBezTo>
                    <a:pt x="1594009" y="183356"/>
                    <a:pt x="1593056" y="191929"/>
                    <a:pt x="1592104" y="207169"/>
                  </a:cubicBezTo>
                  <a:cubicBezTo>
                    <a:pt x="1592104" y="212884"/>
                    <a:pt x="1591151" y="219551"/>
                    <a:pt x="1591151" y="227171"/>
                  </a:cubicBezTo>
                  <a:cubicBezTo>
                    <a:pt x="1589246" y="216694"/>
                    <a:pt x="1586389" y="207169"/>
                    <a:pt x="1583531" y="197644"/>
                  </a:cubicBezTo>
                  <a:cubicBezTo>
                    <a:pt x="1581626" y="190976"/>
                    <a:pt x="1579721" y="185261"/>
                    <a:pt x="1578769" y="179546"/>
                  </a:cubicBezTo>
                  <a:cubicBezTo>
                    <a:pt x="1576864" y="173831"/>
                    <a:pt x="1574959" y="168116"/>
                    <a:pt x="1573054" y="163354"/>
                  </a:cubicBezTo>
                  <a:cubicBezTo>
                    <a:pt x="1569244" y="152876"/>
                    <a:pt x="1566386" y="144304"/>
                    <a:pt x="1563529" y="137636"/>
                  </a:cubicBezTo>
                  <a:cubicBezTo>
                    <a:pt x="1556861" y="123349"/>
                    <a:pt x="1554004" y="115729"/>
                    <a:pt x="1554004" y="115729"/>
                  </a:cubicBezTo>
                  <a:cubicBezTo>
                    <a:pt x="1554004" y="115729"/>
                    <a:pt x="1555909" y="124301"/>
                    <a:pt x="1560671" y="138589"/>
                  </a:cubicBezTo>
                  <a:cubicBezTo>
                    <a:pt x="1562576" y="146209"/>
                    <a:pt x="1564481" y="154781"/>
                    <a:pt x="1567339" y="165259"/>
                  </a:cubicBezTo>
                  <a:cubicBezTo>
                    <a:pt x="1568291" y="170021"/>
                    <a:pt x="1569244" y="175736"/>
                    <a:pt x="1571149" y="181451"/>
                  </a:cubicBezTo>
                  <a:cubicBezTo>
                    <a:pt x="1572101" y="187166"/>
                    <a:pt x="1573054" y="192881"/>
                    <a:pt x="1574006" y="199549"/>
                  </a:cubicBezTo>
                  <a:cubicBezTo>
                    <a:pt x="1576864" y="211931"/>
                    <a:pt x="1577816" y="226219"/>
                    <a:pt x="1579721" y="240506"/>
                  </a:cubicBezTo>
                  <a:cubicBezTo>
                    <a:pt x="1581626" y="253841"/>
                    <a:pt x="1582579" y="269081"/>
                    <a:pt x="1584484" y="283369"/>
                  </a:cubicBezTo>
                  <a:cubicBezTo>
                    <a:pt x="1581626" y="274796"/>
                    <a:pt x="1579721" y="266224"/>
                    <a:pt x="1576864" y="258604"/>
                  </a:cubicBezTo>
                  <a:cubicBezTo>
                    <a:pt x="1575911" y="255746"/>
                    <a:pt x="1574959" y="252889"/>
                    <a:pt x="1573054" y="249079"/>
                  </a:cubicBezTo>
                  <a:cubicBezTo>
                    <a:pt x="1573054" y="249079"/>
                    <a:pt x="1573054" y="248126"/>
                    <a:pt x="1573054" y="247174"/>
                  </a:cubicBezTo>
                  <a:cubicBezTo>
                    <a:pt x="1573054" y="243364"/>
                    <a:pt x="1573054" y="238601"/>
                    <a:pt x="1572101" y="234791"/>
                  </a:cubicBezTo>
                  <a:cubicBezTo>
                    <a:pt x="1571149" y="221456"/>
                    <a:pt x="1569244" y="209074"/>
                    <a:pt x="1567339" y="198596"/>
                  </a:cubicBezTo>
                  <a:cubicBezTo>
                    <a:pt x="1566386" y="192881"/>
                    <a:pt x="1564481" y="188119"/>
                    <a:pt x="1563529" y="184309"/>
                  </a:cubicBezTo>
                  <a:cubicBezTo>
                    <a:pt x="1561624" y="179546"/>
                    <a:pt x="1560671" y="175736"/>
                    <a:pt x="1558766" y="171926"/>
                  </a:cubicBezTo>
                  <a:cubicBezTo>
                    <a:pt x="1555909" y="164306"/>
                    <a:pt x="1553051" y="159544"/>
                    <a:pt x="1550194" y="155734"/>
                  </a:cubicBezTo>
                  <a:cubicBezTo>
                    <a:pt x="1548289" y="151924"/>
                    <a:pt x="1546384" y="150019"/>
                    <a:pt x="1546384" y="150019"/>
                  </a:cubicBezTo>
                  <a:cubicBezTo>
                    <a:pt x="1546384" y="150019"/>
                    <a:pt x="1547336" y="151924"/>
                    <a:pt x="1549241" y="155734"/>
                  </a:cubicBezTo>
                  <a:cubicBezTo>
                    <a:pt x="1551146" y="159544"/>
                    <a:pt x="1553051" y="165259"/>
                    <a:pt x="1554956" y="171926"/>
                  </a:cubicBezTo>
                  <a:cubicBezTo>
                    <a:pt x="1555909" y="175736"/>
                    <a:pt x="1556861" y="179546"/>
                    <a:pt x="1557814" y="184309"/>
                  </a:cubicBezTo>
                  <a:cubicBezTo>
                    <a:pt x="1557814" y="189071"/>
                    <a:pt x="1558766" y="193834"/>
                    <a:pt x="1559719" y="198596"/>
                  </a:cubicBezTo>
                  <a:cubicBezTo>
                    <a:pt x="1559719" y="203359"/>
                    <a:pt x="1560671" y="208121"/>
                    <a:pt x="1560671" y="213836"/>
                  </a:cubicBezTo>
                  <a:cubicBezTo>
                    <a:pt x="1560671" y="214789"/>
                    <a:pt x="1560671" y="215741"/>
                    <a:pt x="1559719" y="216694"/>
                  </a:cubicBezTo>
                  <a:cubicBezTo>
                    <a:pt x="1558766" y="213836"/>
                    <a:pt x="1556861" y="210979"/>
                    <a:pt x="1555909" y="208121"/>
                  </a:cubicBezTo>
                  <a:cubicBezTo>
                    <a:pt x="1554004" y="203359"/>
                    <a:pt x="1551146" y="199549"/>
                    <a:pt x="1549241" y="194786"/>
                  </a:cubicBezTo>
                  <a:cubicBezTo>
                    <a:pt x="1545431" y="186214"/>
                    <a:pt x="1541621" y="179546"/>
                    <a:pt x="1537811" y="173831"/>
                  </a:cubicBezTo>
                  <a:cubicBezTo>
                    <a:pt x="1530191" y="162401"/>
                    <a:pt x="1526381" y="156686"/>
                    <a:pt x="1526381" y="156686"/>
                  </a:cubicBezTo>
                  <a:cubicBezTo>
                    <a:pt x="1526381" y="156686"/>
                    <a:pt x="1529239" y="163354"/>
                    <a:pt x="1534001" y="175736"/>
                  </a:cubicBezTo>
                  <a:cubicBezTo>
                    <a:pt x="1536859" y="181451"/>
                    <a:pt x="1539716" y="189071"/>
                    <a:pt x="1542574" y="197644"/>
                  </a:cubicBezTo>
                  <a:cubicBezTo>
                    <a:pt x="1543526" y="201454"/>
                    <a:pt x="1545431" y="205264"/>
                    <a:pt x="1546384" y="209074"/>
                  </a:cubicBezTo>
                  <a:cubicBezTo>
                    <a:pt x="1546384" y="208121"/>
                    <a:pt x="1545431" y="208121"/>
                    <a:pt x="1545431" y="208121"/>
                  </a:cubicBezTo>
                  <a:cubicBezTo>
                    <a:pt x="1545431" y="208121"/>
                    <a:pt x="1546384" y="209074"/>
                    <a:pt x="1546384" y="210979"/>
                  </a:cubicBezTo>
                  <a:cubicBezTo>
                    <a:pt x="1548289" y="215741"/>
                    <a:pt x="1549241" y="220504"/>
                    <a:pt x="1551146" y="226219"/>
                  </a:cubicBezTo>
                  <a:cubicBezTo>
                    <a:pt x="1552099" y="228124"/>
                    <a:pt x="1552099" y="229076"/>
                    <a:pt x="1552099" y="230981"/>
                  </a:cubicBezTo>
                  <a:cubicBezTo>
                    <a:pt x="1552099" y="232886"/>
                    <a:pt x="1553051" y="233839"/>
                    <a:pt x="1553051" y="235744"/>
                  </a:cubicBezTo>
                  <a:cubicBezTo>
                    <a:pt x="1553051" y="237649"/>
                    <a:pt x="1553051" y="239554"/>
                    <a:pt x="1554004" y="241459"/>
                  </a:cubicBezTo>
                  <a:cubicBezTo>
                    <a:pt x="1554004" y="242411"/>
                    <a:pt x="1554004" y="243364"/>
                    <a:pt x="1554004" y="244316"/>
                  </a:cubicBezTo>
                  <a:cubicBezTo>
                    <a:pt x="1554004" y="246221"/>
                    <a:pt x="1553051" y="248126"/>
                    <a:pt x="1553051" y="250031"/>
                  </a:cubicBezTo>
                  <a:cubicBezTo>
                    <a:pt x="1551146" y="253841"/>
                    <a:pt x="1549241" y="257651"/>
                    <a:pt x="1547336" y="263366"/>
                  </a:cubicBezTo>
                  <a:cubicBezTo>
                    <a:pt x="1545431" y="258604"/>
                    <a:pt x="1543526" y="254794"/>
                    <a:pt x="1542574" y="251936"/>
                  </a:cubicBezTo>
                  <a:cubicBezTo>
                    <a:pt x="1542574" y="249079"/>
                    <a:pt x="1542574" y="245269"/>
                    <a:pt x="1542574" y="243364"/>
                  </a:cubicBezTo>
                  <a:cubicBezTo>
                    <a:pt x="1542574" y="230029"/>
                    <a:pt x="1542574" y="222409"/>
                    <a:pt x="1542574" y="222409"/>
                  </a:cubicBezTo>
                  <a:cubicBezTo>
                    <a:pt x="1542574" y="222409"/>
                    <a:pt x="1541621" y="230029"/>
                    <a:pt x="1538764" y="243364"/>
                  </a:cubicBezTo>
                  <a:cubicBezTo>
                    <a:pt x="1538764" y="243364"/>
                    <a:pt x="1538764" y="243364"/>
                    <a:pt x="1538764" y="243364"/>
                  </a:cubicBezTo>
                  <a:cubicBezTo>
                    <a:pt x="1534001" y="232886"/>
                    <a:pt x="1531144" y="226219"/>
                    <a:pt x="1531144" y="226219"/>
                  </a:cubicBezTo>
                  <a:cubicBezTo>
                    <a:pt x="1531144" y="226219"/>
                    <a:pt x="1533049" y="234791"/>
                    <a:pt x="1537811" y="250031"/>
                  </a:cubicBezTo>
                  <a:cubicBezTo>
                    <a:pt x="1537811" y="252889"/>
                    <a:pt x="1536859" y="255746"/>
                    <a:pt x="1536859" y="258604"/>
                  </a:cubicBezTo>
                  <a:cubicBezTo>
                    <a:pt x="1534954" y="251936"/>
                    <a:pt x="1533049" y="245269"/>
                    <a:pt x="1531144" y="239554"/>
                  </a:cubicBezTo>
                  <a:cubicBezTo>
                    <a:pt x="1529239" y="232886"/>
                    <a:pt x="1527334" y="227171"/>
                    <a:pt x="1525429" y="220504"/>
                  </a:cubicBezTo>
                  <a:cubicBezTo>
                    <a:pt x="1524476" y="217646"/>
                    <a:pt x="1523524" y="214789"/>
                    <a:pt x="1521619" y="211931"/>
                  </a:cubicBezTo>
                  <a:cubicBezTo>
                    <a:pt x="1518761" y="173831"/>
                    <a:pt x="1515904" y="150019"/>
                    <a:pt x="1515904" y="150019"/>
                  </a:cubicBezTo>
                  <a:cubicBezTo>
                    <a:pt x="1515904" y="150019"/>
                    <a:pt x="1514951" y="166211"/>
                    <a:pt x="1513046" y="192881"/>
                  </a:cubicBezTo>
                  <a:cubicBezTo>
                    <a:pt x="1510189" y="187166"/>
                    <a:pt x="1508284" y="182404"/>
                    <a:pt x="1506379" y="177641"/>
                  </a:cubicBezTo>
                  <a:cubicBezTo>
                    <a:pt x="1499711" y="163354"/>
                    <a:pt x="1495901" y="154781"/>
                    <a:pt x="1495901" y="154781"/>
                  </a:cubicBezTo>
                  <a:cubicBezTo>
                    <a:pt x="1495901" y="154781"/>
                    <a:pt x="1497806" y="163354"/>
                    <a:pt x="1502569" y="178594"/>
                  </a:cubicBezTo>
                  <a:cubicBezTo>
                    <a:pt x="1503521" y="182404"/>
                    <a:pt x="1504474" y="186214"/>
                    <a:pt x="1505426" y="190024"/>
                  </a:cubicBezTo>
                  <a:cubicBezTo>
                    <a:pt x="1505426" y="189071"/>
                    <a:pt x="1504474" y="189071"/>
                    <a:pt x="1504474" y="189071"/>
                  </a:cubicBezTo>
                  <a:cubicBezTo>
                    <a:pt x="1504474" y="189071"/>
                    <a:pt x="1506379" y="196691"/>
                    <a:pt x="1510189" y="210026"/>
                  </a:cubicBezTo>
                  <a:cubicBezTo>
                    <a:pt x="1510189" y="210979"/>
                    <a:pt x="1511141" y="212884"/>
                    <a:pt x="1511141" y="213836"/>
                  </a:cubicBezTo>
                  <a:cubicBezTo>
                    <a:pt x="1511141" y="220504"/>
                    <a:pt x="1510189" y="227171"/>
                    <a:pt x="1510189" y="233839"/>
                  </a:cubicBezTo>
                  <a:cubicBezTo>
                    <a:pt x="1510189" y="241459"/>
                    <a:pt x="1509236" y="250031"/>
                    <a:pt x="1509236" y="258604"/>
                  </a:cubicBezTo>
                  <a:cubicBezTo>
                    <a:pt x="1503521" y="241459"/>
                    <a:pt x="1498759" y="230981"/>
                    <a:pt x="1498759" y="230981"/>
                  </a:cubicBezTo>
                  <a:cubicBezTo>
                    <a:pt x="1498759" y="230981"/>
                    <a:pt x="1501616" y="248126"/>
                    <a:pt x="1508284" y="275749"/>
                  </a:cubicBezTo>
                  <a:cubicBezTo>
                    <a:pt x="1508284" y="279559"/>
                    <a:pt x="1508284" y="283369"/>
                    <a:pt x="1507331" y="288131"/>
                  </a:cubicBezTo>
                  <a:cubicBezTo>
                    <a:pt x="1506379" y="290036"/>
                    <a:pt x="1505426" y="290989"/>
                    <a:pt x="1504474" y="292894"/>
                  </a:cubicBezTo>
                  <a:cubicBezTo>
                    <a:pt x="1503521" y="294799"/>
                    <a:pt x="1501616" y="296704"/>
                    <a:pt x="1500664" y="298609"/>
                  </a:cubicBezTo>
                  <a:cubicBezTo>
                    <a:pt x="1497806" y="287179"/>
                    <a:pt x="1495901" y="275749"/>
                    <a:pt x="1493044" y="266224"/>
                  </a:cubicBezTo>
                  <a:cubicBezTo>
                    <a:pt x="1495901" y="253841"/>
                    <a:pt x="1497806" y="246221"/>
                    <a:pt x="1497806" y="246221"/>
                  </a:cubicBezTo>
                  <a:cubicBezTo>
                    <a:pt x="1497806" y="246221"/>
                    <a:pt x="1495901" y="251936"/>
                    <a:pt x="1491139" y="260509"/>
                  </a:cubicBezTo>
                  <a:cubicBezTo>
                    <a:pt x="1491139" y="260509"/>
                    <a:pt x="1491139" y="259556"/>
                    <a:pt x="1491139" y="259556"/>
                  </a:cubicBezTo>
                  <a:cubicBezTo>
                    <a:pt x="1491139" y="253841"/>
                    <a:pt x="1490186" y="249079"/>
                    <a:pt x="1490186" y="244316"/>
                  </a:cubicBezTo>
                  <a:cubicBezTo>
                    <a:pt x="1490186" y="242411"/>
                    <a:pt x="1490186" y="240506"/>
                    <a:pt x="1489234" y="238601"/>
                  </a:cubicBezTo>
                  <a:cubicBezTo>
                    <a:pt x="1489234" y="237649"/>
                    <a:pt x="1489234" y="237649"/>
                    <a:pt x="1489234" y="237649"/>
                  </a:cubicBezTo>
                  <a:cubicBezTo>
                    <a:pt x="1489234" y="237649"/>
                    <a:pt x="1489234" y="237649"/>
                    <a:pt x="1489234" y="238601"/>
                  </a:cubicBezTo>
                  <a:cubicBezTo>
                    <a:pt x="1488281" y="230981"/>
                    <a:pt x="1488281" y="225266"/>
                    <a:pt x="1486376" y="219551"/>
                  </a:cubicBezTo>
                  <a:cubicBezTo>
                    <a:pt x="1483519" y="206216"/>
                    <a:pt x="1482566" y="198596"/>
                    <a:pt x="1482566" y="198596"/>
                  </a:cubicBezTo>
                  <a:cubicBezTo>
                    <a:pt x="1482566" y="198596"/>
                    <a:pt x="1482566" y="206216"/>
                    <a:pt x="1482566" y="220504"/>
                  </a:cubicBezTo>
                  <a:cubicBezTo>
                    <a:pt x="1482566" y="222409"/>
                    <a:pt x="1482566" y="225266"/>
                    <a:pt x="1482566" y="228124"/>
                  </a:cubicBezTo>
                  <a:cubicBezTo>
                    <a:pt x="1476851" y="206216"/>
                    <a:pt x="1473041" y="193834"/>
                    <a:pt x="1473041" y="193834"/>
                  </a:cubicBezTo>
                  <a:cubicBezTo>
                    <a:pt x="1473041" y="193834"/>
                    <a:pt x="1474946" y="220504"/>
                    <a:pt x="1479709" y="259556"/>
                  </a:cubicBezTo>
                  <a:cubicBezTo>
                    <a:pt x="1479709" y="260509"/>
                    <a:pt x="1478756" y="261461"/>
                    <a:pt x="1478756" y="262414"/>
                  </a:cubicBezTo>
                  <a:cubicBezTo>
                    <a:pt x="1477804" y="263366"/>
                    <a:pt x="1477804" y="265271"/>
                    <a:pt x="1476851" y="266224"/>
                  </a:cubicBezTo>
                  <a:cubicBezTo>
                    <a:pt x="1476851" y="263366"/>
                    <a:pt x="1475899" y="260509"/>
                    <a:pt x="1475899" y="257651"/>
                  </a:cubicBezTo>
                  <a:cubicBezTo>
                    <a:pt x="1473994" y="244316"/>
                    <a:pt x="1473041" y="232886"/>
                    <a:pt x="1471136" y="221456"/>
                  </a:cubicBezTo>
                  <a:cubicBezTo>
                    <a:pt x="1469231" y="210979"/>
                    <a:pt x="1468279" y="201454"/>
                    <a:pt x="1466374" y="193834"/>
                  </a:cubicBezTo>
                  <a:cubicBezTo>
                    <a:pt x="1462564" y="178594"/>
                    <a:pt x="1460659" y="170021"/>
                    <a:pt x="1460659" y="170021"/>
                  </a:cubicBezTo>
                  <a:cubicBezTo>
                    <a:pt x="1460659" y="170021"/>
                    <a:pt x="1461611" y="178594"/>
                    <a:pt x="1462564" y="193834"/>
                  </a:cubicBezTo>
                  <a:cubicBezTo>
                    <a:pt x="1463516" y="201454"/>
                    <a:pt x="1463516" y="210979"/>
                    <a:pt x="1464469" y="221456"/>
                  </a:cubicBezTo>
                  <a:cubicBezTo>
                    <a:pt x="1465421" y="231934"/>
                    <a:pt x="1465421" y="244316"/>
                    <a:pt x="1465421" y="257651"/>
                  </a:cubicBezTo>
                  <a:cubicBezTo>
                    <a:pt x="1465421" y="263366"/>
                    <a:pt x="1465421" y="269081"/>
                    <a:pt x="1465421" y="275749"/>
                  </a:cubicBezTo>
                  <a:cubicBezTo>
                    <a:pt x="1462564" y="265271"/>
                    <a:pt x="1458754" y="254794"/>
                    <a:pt x="1455896" y="246221"/>
                  </a:cubicBezTo>
                  <a:cubicBezTo>
                    <a:pt x="1453039" y="235744"/>
                    <a:pt x="1450181" y="226219"/>
                    <a:pt x="1447324" y="218599"/>
                  </a:cubicBezTo>
                  <a:cubicBezTo>
                    <a:pt x="1442561" y="203359"/>
                    <a:pt x="1439704" y="194786"/>
                    <a:pt x="1439704" y="194786"/>
                  </a:cubicBezTo>
                  <a:cubicBezTo>
                    <a:pt x="1439704" y="194786"/>
                    <a:pt x="1440656" y="202406"/>
                    <a:pt x="1442561" y="215741"/>
                  </a:cubicBezTo>
                  <a:cubicBezTo>
                    <a:pt x="1439704" y="203359"/>
                    <a:pt x="1437799" y="193834"/>
                    <a:pt x="1435894" y="185261"/>
                  </a:cubicBezTo>
                  <a:cubicBezTo>
                    <a:pt x="1435894" y="169069"/>
                    <a:pt x="1435894" y="159544"/>
                    <a:pt x="1435894" y="159544"/>
                  </a:cubicBezTo>
                  <a:cubicBezTo>
                    <a:pt x="1435894" y="159544"/>
                    <a:pt x="1434941" y="164306"/>
                    <a:pt x="1433036" y="173831"/>
                  </a:cubicBezTo>
                  <a:cubicBezTo>
                    <a:pt x="1431131" y="165259"/>
                    <a:pt x="1430179" y="160496"/>
                    <a:pt x="1430179" y="160496"/>
                  </a:cubicBezTo>
                  <a:cubicBezTo>
                    <a:pt x="1430179" y="160496"/>
                    <a:pt x="1430179" y="162401"/>
                    <a:pt x="1430179" y="166211"/>
                  </a:cubicBezTo>
                  <a:cubicBezTo>
                    <a:pt x="1428274" y="158591"/>
                    <a:pt x="1427321" y="151924"/>
                    <a:pt x="1425416" y="147161"/>
                  </a:cubicBezTo>
                  <a:cubicBezTo>
                    <a:pt x="1421606" y="134779"/>
                    <a:pt x="1418749" y="127159"/>
                    <a:pt x="1418749" y="127159"/>
                  </a:cubicBezTo>
                  <a:cubicBezTo>
                    <a:pt x="1418749" y="127159"/>
                    <a:pt x="1419701" y="134779"/>
                    <a:pt x="1421606" y="148114"/>
                  </a:cubicBezTo>
                  <a:cubicBezTo>
                    <a:pt x="1422559" y="154781"/>
                    <a:pt x="1423511" y="162401"/>
                    <a:pt x="1423511" y="171926"/>
                  </a:cubicBezTo>
                  <a:cubicBezTo>
                    <a:pt x="1424464" y="181451"/>
                    <a:pt x="1424464" y="190976"/>
                    <a:pt x="1425416" y="202406"/>
                  </a:cubicBezTo>
                  <a:cubicBezTo>
                    <a:pt x="1425416" y="208121"/>
                    <a:pt x="1426369" y="212884"/>
                    <a:pt x="1426369" y="218599"/>
                  </a:cubicBezTo>
                  <a:cubicBezTo>
                    <a:pt x="1425416" y="224314"/>
                    <a:pt x="1424464" y="230029"/>
                    <a:pt x="1424464" y="235744"/>
                  </a:cubicBezTo>
                  <a:cubicBezTo>
                    <a:pt x="1423511" y="231934"/>
                    <a:pt x="1422559" y="229076"/>
                    <a:pt x="1421606" y="226219"/>
                  </a:cubicBezTo>
                  <a:cubicBezTo>
                    <a:pt x="1419701" y="219551"/>
                    <a:pt x="1416844" y="214789"/>
                    <a:pt x="1415891" y="210026"/>
                  </a:cubicBezTo>
                  <a:cubicBezTo>
                    <a:pt x="1412081" y="201454"/>
                    <a:pt x="1410176" y="195739"/>
                    <a:pt x="1410176" y="195739"/>
                  </a:cubicBezTo>
                  <a:cubicBezTo>
                    <a:pt x="1410176" y="195739"/>
                    <a:pt x="1411129" y="201454"/>
                    <a:pt x="1412081" y="210979"/>
                  </a:cubicBezTo>
                  <a:cubicBezTo>
                    <a:pt x="1413034" y="215741"/>
                    <a:pt x="1413986" y="221456"/>
                    <a:pt x="1414939" y="228124"/>
                  </a:cubicBezTo>
                  <a:cubicBezTo>
                    <a:pt x="1415891" y="234791"/>
                    <a:pt x="1416844" y="241459"/>
                    <a:pt x="1416844" y="250031"/>
                  </a:cubicBezTo>
                  <a:cubicBezTo>
                    <a:pt x="1416844" y="255746"/>
                    <a:pt x="1417796" y="261461"/>
                    <a:pt x="1418749" y="268129"/>
                  </a:cubicBezTo>
                  <a:cubicBezTo>
                    <a:pt x="1416844" y="270986"/>
                    <a:pt x="1414939" y="273844"/>
                    <a:pt x="1413034" y="277654"/>
                  </a:cubicBezTo>
                  <a:cubicBezTo>
                    <a:pt x="1412081" y="275749"/>
                    <a:pt x="1412081" y="273844"/>
                    <a:pt x="1411129" y="271939"/>
                  </a:cubicBezTo>
                  <a:cubicBezTo>
                    <a:pt x="1406366" y="237649"/>
                    <a:pt x="1401604" y="215741"/>
                    <a:pt x="1401604" y="215741"/>
                  </a:cubicBezTo>
                  <a:cubicBezTo>
                    <a:pt x="1401604" y="215741"/>
                    <a:pt x="1401604" y="226219"/>
                    <a:pt x="1400651" y="243364"/>
                  </a:cubicBezTo>
                  <a:cubicBezTo>
                    <a:pt x="1397794" y="233839"/>
                    <a:pt x="1394936" y="226219"/>
                    <a:pt x="1392079" y="219551"/>
                  </a:cubicBezTo>
                  <a:cubicBezTo>
                    <a:pt x="1392079" y="217646"/>
                    <a:pt x="1393031" y="215741"/>
                    <a:pt x="1393031" y="213836"/>
                  </a:cubicBezTo>
                  <a:cubicBezTo>
                    <a:pt x="1393984" y="212884"/>
                    <a:pt x="1394936" y="211931"/>
                    <a:pt x="1395889" y="210979"/>
                  </a:cubicBezTo>
                  <a:cubicBezTo>
                    <a:pt x="1399699" y="207169"/>
                    <a:pt x="1400651" y="205264"/>
                    <a:pt x="1400651" y="205264"/>
                  </a:cubicBezTo>
                  <a:cubicBezTo>
                    <a:pt x="1400651" y="205264"/>
                    <a:pt x="1398746" y="207169"/>
                    <a:pt x="1394936" y="210026"/>
                  </a:cubicBezTo>
                  <a:cubicBezTo>
                    <a:pt x="1394936" y="210026"/>
                    <a:pt x="1393984" y="210979"/>
                    <a:pt x="1393031" y="210979"/>
                  </a:cubicBezTo>
                  <a:cubicBezTo>
                    <a:pt x="1393984" y="205264"/>
                    <a:pt x="1394936" y="202406"/>
                    <a:pt x="1394936" y="202406"/>
                  </a:cubicBezTo>
                  <a:cubicBezTo>
                    <a:pt x="1394936" y="202406"/>
                    <a:pt x="1393031" y="206216"/>
                    <a:pt x="1391126" y="212884"/>
                  </a:cubicBezTo>
                  <a:cubicBezTo>
                    <a:pt x="1391126" y="212884"/>
                    <a:pt x="1390174" y="213836"/>
                    <a:pt x="1390174" y="213836"/>
                  </a:cubicBezTo>
                  <a:cubicBezTo>
                    <a:pt x="1386364" y="204311"/>
                    <a:pt x="1384459" y="199549"/>
                    <a:pt x="1384459" y="199549"/>
                  </a:cubicBezTo>
                  <a:cubicBezTo>
                    <a:pt x="1384459" y="199549"/>
                    <a:pt x="1385411" y="205264"/>
                    <a:pt x="1387316" y="215741"/>
                  </a:cubicBezTo>
                  <a:cubicBezTo>
                    <a:pt x="1384459" y="218599"/>
                    <a:pt x="1382554" y="220504"/>
                    <a:pt x="1378744" y="224314"/>
                  </a:cubicBezTo>
                  <a:cubicBezTo>
                    <a:pt x="1374934" y="229076"/>
                    <a:pt x="1371124" y="233839"/>
                    <a:pt x="1367314" y="240506"/>
                  </a:cubicBezTo>
                  <a:cubicBezTo>
                    <a:pt x="1363504" y="230029"/>
                    <a:pt x="1358741" y="219551"/>
                    <a:pt x="1354931" y="209074"/>
                  </a:cubicBezTo>
                  <a:cubicBezTo>
                    <a:pt x="1354931" y="199549"/>
                    <a:pt x="1354931" y="191929"/>
                    <a:pt x="1354931" y="185261"/>
                  </a:cubicBezTo>
                  <a:cubicBezTo>
                    <a:pt x="1354931" y="167164"/>
                    <a:pt x="1354931" y="157639"/>
                    <a:pt x="1354931" y="157639"/>
                  </a:cubicBezTo>
                  <a:cubicBezTo>
                    <a:pt x="1354931" y="157639"/>
                    <a:pt x="1353026" y="168116"/>
                    <a:pt x="1351121" y="185261"/>
                  </a:cubicBezTo>
                  <a:cubicBezTo>
                    <a:pt x="1350169" y="189071"/>
                    <a:pt x="1350169" y="192881"/>
                    <a:pt x="1349216" y="197644"/>
                  </a:cubicBezTo>
                  <a:cubicBezTo>
                    <a:pt x="1347311" y="193834"/>
                    <a:pt x="1345406" y="190024"/>
                    <a:pt x="1343501" y="186214"/>
                  </a:cubicBezTo>
                  <a:cubicBezTo>
                    <a:pt x="1343501" y="181451"/>
                    <a:pt x="1344454" y="175736"/>
                    <a:pt x="1344454" y="171926"/>
                  </a:cubicBezTo>
                  <a:cubicBezTo>
                    <a:pt x="1344454" y="166211"/>
                    <a:pt x="1344454" y="161449"/>
                    <a:pt x="1344454" y="157639"/>
                  </a:cubicBezTo>
                  <a:cubicBezTo>
                    <a:pt x="1344454" y="151924"/>
                    <a:pt x="1345406" y="147161"/>
                    <a:pt x="1345406" y="142399"/>
                  </a:cubicBezTo>
                  <a:cubicBezTo>
                    <a:pt x="1346359" y="129064"/>
                    <a:pt x="1346359" y="120491"/>
                    <a:pt x="1346359" y="120491"/>
                  </a:cubicBezTo>
                  <a:cubicBezTo>
                    <a:pt x="1346359" y="120491"/>
                    <a:pt x="1344454" y="128111"/>
                    <a:pt x="1341596" y="141446"/>
                  </a:cubicBezTo>
                  <a:cubicBezTo>
                    <a:pt x="1340644" y="148114"/>
                    <a:pt x="1338739" y="156686"/>
                    <a:pt x="1336834" y="166211"/>
                  </a:cubicBezTo>
                  <a:cubicBezTo>
                    <a:pt x="1336834" y="167164"/>
                    <a:pt x="1336834" y="168116"/>
                    <a:pt x="1335881" y="169069"/>
                  </a:cubicBezTo>
                  <a:cubicBezTo>
                    <a:pt x="1333024" y="162401"/>
                    <a:pt x="1330166" y="156686"/>
                    <a:pt x="1327309" y="150971"/>
                  </a:cubicBezTo>
                  <a:cubicBezTo>
                    <a:pt x="1299686" y="91916"/>
                    <a:pt x="1280636" y="53816"/>
                    <a:pt x="1280636" y="53816"/>
                  </a:cubicBezTo>
                  <a:cubicBezTo>
                    <a:pt x="1280636" y="53816"/>
                    <a:pt x="1293971" y="94774"/>
                    <a:pt x="1317784" y="155734"/>
                  </a:cubicBezTo>
                  <a:cubicBezTo>
                    <a:pt x="1322546" y="168116"/>
                    <a:pt x="1327309" y="180499"/>
                    <a:pt x="1332071" y="193834"/>
                  </a:cubicBezTo>
                  <a:cubicBezTo>
                    <a:pt x="1332071" y="195739"/>
                    <a:pt x="1332071" y="196691"/>
                    <a:pt x="1331119" y="197644"/>
                  </a:cubicBezTo>
                  <a:cubicBezTo>
                    <a:pt x="1329214" y="209074"/>
                    <a:pt x="1327309" y="222409"/>
                    <a:pt x="1326356" y="235744"/>
                  </a:cubicBezTo>
                  <a:cubicBezTo>
                    <a:pt x="1324451" y="249079"/>
                    <a:pt x="1323499" y="263366"/>
                    <a:pt x="1321594" y="277654"/>
                  </a:cubicBezTo>
                  <a:cubicBezTo>
                    <a:pt x="1321594" y="283369"/>
                    <a:pt x="1320641" y="288131"/>
                    <a:pt x="1319689" y="293846"/>
                  </a:cubicBezTo>
                  <a:cubicBezTo>
                    <a:pt x="1318736" y="292894"/>
                    <a:pt x="1318736" y="291941"/>
                    <a:pt x="1317784" y="290989"/>
                  </a:cubicBezTo>
                  <a:cubicBezTo>
                    <a:pt x="1317784" y="289084"/>
                    <a:pt x="1317784" y="289084"/>
                    <a:pt x="1317784" y="289084"/>
                  </a:cubicBezTo>
                  <a:cubicBezTo>
                    <a:pt x="1317784" y="289084"/>
                    <a:pt x="1317784" y="290036"/>
                    <a:pt x="1316831" y="290989"/>
                  </a:cubicBezTo>
                  <a:cubicBezTo>
                    <a:pt x="1316831" y="290036"/>
                    <a:pt x="1315879" y="289084"/>
                    <a:pt x="1315879" y="288131"/>
                  </a:cubicBezTo>
                  <a:cubicBezTo>
                    <a:pt x="1314926" y="287179"/>
                    <a:pt x="1314926" y="286226"/>
                    <a:pt x="1313974" y="285274"/>
                  </a:cubicBezTo>
                  <a:cubicBezTo>
                    <a:pt x="1315879" y="259556"/>
                    <a:pt x="1316831" y="244316"/>
                    <a:pt x="1316831" y="244316"/>
                  </a:cubicBezTo>
                  <a:cubicBezTo>
                    <a:pt x="1316831" y="244316"/>
                    <a:pt x="1313974" y="256699"/>
                    <a:pt x="1309211" y="277654"/>
                  </a:cubicBezTo>
                  <a:cubicBezTo>
                    <a:pt x="1305401" y="271939"/>
                    <a:pt x="1302544" y="266224"/>
                    <a:pt x="1298734" y="260509"/>
                  </a:cubicBezTo>
                  <a:cubicBezTo>
                    <a:pt x="1304449" y="235744"/>
                    <a:pt x="1310164" y="213836"/>
                    <a:pt x="1313974" y="199549"/>
                  </a:cubicBezTo>
                  <a:cubicBezTo>
                    <a:pt x="1317784" y="182404"/>
                    <a:pt x="1319689" y="172879"/>
                    <a:pt x="1319689" y="172879"/>
                  </a:cubicBezTo>
                  <a:cubicBezTo>
                    <a:pt x="1319689" y="172879"/>
                    <a:pt x="1307306" y="202406"/>
                    <a:pt x="1291114" y="249079"/>
                  </a:cubicBezTo>
                  <a:cubicBezTo>
                    <a:pt x="1287304" y="243364"/>
                    <a:pt x="1284446" y="238601"/>
                    <a:pt x="1281589" y="234791"/>
                  </a:cubicBezTo>
                  <a:cubicBezTo>
                    <a:pt x="1273016" y="222409"/>
                    <a:pt x="1267301" y="215741"/>
                    <a:pt x="1267301" y="215741"/>
                  </a:cubicBezTo>
                  <a:cubicBezTo>
                    <a:pt x="1267301" y="215741"/>
                    <a:pt x="1270159" y="222409"/>
                    <a:pt x="1275874" y="232886"/>
                  </a:cubicBezTo>
                  <a:cubicBezTo>
                    <a:pt x="1274921" y="234791"/>
                    <a:pt x="1273969" y="238601"/>
                    <a:pt x="1272064" y="243364"/>
                  </a:cubicBezTo>
                  <a:cubicBezTo>
                    <a:pt x="1268254" y="237649"/>
                    <a:pt x="1264444" y="231934"/>
                    <a:pt x="1261586" y="227171"/>
                  </a:cubicBezTo>
                  <a:cubicBezTo>
                    <a:pt x="1257776" y="221456"/>
                    <a:pt x="1253014" y="215741"/>
                    <a:pt x="1249204" y="210979"/>
                  </a:cubicBezTo>
                  <a:cubicBezTo>
                    <a:pt x="1248251" y="210026"/>
                    <a:pt x="1248251" y="209074"/>
                    <a:pt x="1247299" y="208121"/>
                  </a:cubicBezTo>
                  <a:cubicBezTo>
                    <a:pt x="1250156" y="203359"/>
                    <a:pt x="1251109" y="199549"/>
                    <a:pt x="1251109" y="199549"/>
                  </a:cubicBezTo>
                  <a:cubicBezTo>
                    <a:pt x="1251109" y="199549"/>
                    <a:pt x="1249204" y="202406"/>
                    <a:pt x="1246346" y="206216"/>
                  </a:cubicBezTo>
                  <a:cubicBezTo>
                    <a:pt x="1239679" y="197644"/>
                    <a:pt x="1233964" y="190024"/>
                    <a:pt x="1229201" y="184309"/>
                  </a:cubicBezTo>
                  <a:cubicBezTo>
                    <a:pt x="1217771" y="170974"/>
                    <a:pt x="1211104" y="162401"/>
                    <a:pt x="1211104" y="162401"/>
                  </a:cubicBezTo>
                  <a:cubicBezTo>
                    <a:pt x="1211104" y="162401"/>
                    <a:pt x="1216819" y="170974"/>
                    <a:pt x="1226344" y="186214"/>
                  </a:cubicBezTo>
                  <a:cubicBezTo>
                    <a:pt x="1231106" y="192881"/>
                    <a:pt x="1235869" y="202406"/>
                    <a:pt x="1242536" y="211931"/>
                  </a:cubicBezTo>
                  <a:cubicBezTo>
                    <a:pt x="1240631" y="214789"/>
                    <a:pt x="1238726" y="217646"/>
                    <a:pt x="1236821" y="220504"/>
                  </a:cubicBezTo>
                  <a:cubicBezTo>
                    <a:pt x="1235869" y="222409"/>
                    <a:pt x="1234916" y="224314"/>
                    <a:pt x="1233011" y="226219"/>
                  </a:cubicBezTo>
                  <a:cubicBezTo>
                    <a:pt x="1233011" y="221456"/>
                    <a:pt x="1232059" y="217646"/>
                    <a:pt x="1231106" y="212884"/>
                  </a:cubicBezTo>
                  <a:cubicBezTo>
                    <a:pt x="1231106" y="211931"/>
                    <a:pt x="1230154" y="210026"/>
                    <a:pt x="1228249" y="209074"/>
                  </a:cubicBezTo>
                  <a:cubicBezTo>
                    <a:pt x="1228249" y="209074"/>
                    <a:pt x="1227296" y="209074"/>
                    <a:pt x="1226344" y="209074"/>
                  </a:cubicBezTo>
                  <a:cubicBezTo>
                    <a:pt x="1225391" y="206216"/>
                    <a:pt x="1224439" y="202406"/>
                    <a:pt x="1223486" y="199549"/>
                  </a:cubicBezTo>
                  <a:cubicBezTo>
                    <a:pt x="1218724" y="187166"/>
                    <a:pt x="1215866" y="179546"/>
                    <a:pt x="1215866" y="179546"/>
                  </a:cubicBezTo>
                  <a:cubicBezTo>
                    <a:pt x="1215866" y="179546"/>
                    <a:pt x="1216819" y="187166"/>
                    <a:pt x="1219676" y="200501"/>
                  </a:cubicBezTo>
                  <a:cubicBezTo>
                    <a:pt x="1220629" y="204311"/>
                    <a:pt x="1220629" y="208121"/>
                    <a:pt x="1221581" y="211931"/>
                  </a:cubicBezTo>
                  <a:cubicBezTo>
                    <a:pt x="1221581" y="212884"/>
                    <a:pt x="1220629" y="212884"/>
                    <a:pt x="1220629" y="213836"/>
                  </a:cubicBezTo>
                  <a:cubicBezTo>
                    <a:pt x="1214914" y="208121"/>
                    <a:pt x="1211104" y="203359"/>
                    <a:pt x="1207294" y="200501"/>
                  </a:cubicBezTo>
                  <a:cubicBezTo>
                    <a:pt x="1203484" y="197644"/>
                    <a:pt x="1201579" y="195739"/>
                    <a:pt x="1201579" y="195739"/>
                  </a:cubicBezTo>
                  <a:cubicBezTo>
                    <a:pt x="1201579" y="195739"/>
                    <a:pt x="1203484" y="197644"/>
                    <a:pt x="1206341" y="201454"/>
                  </a:cubicBezTo>
                  <a:cubicBezTo>
                    <a:pt x="1209199" y="205264"/>
                    <a:pt x="1213009" y="210979"/>
                    <a:pt x="1217771" y="217646"/>
                  </a:cubicBezTo>
                  <a:lnTo>
                    <a:pt x="1217771" y="217646"/>
                  </a:lnTo>
                  <a:cubicBezTo>
                    <a:pt x="1216819" y="222409"/>
                    <a:pt x="1216819" y="227171"/>
                    <a:pt x="1216819" y="231934"/>
                  </a:cubicBezTo>
                  <a:cubicBezTo>
                    <a:pt x="1207294" y="223361"/>
                    <a:pt x="1202531" y="219551"/>
                    <a:pt x="1202531" y="219551"/>
                  </a:cubicBezTo>
                  <a:cubicBezTo>
                    <a:pt x="1202531" y="219551"/>
                    <a:pt x="1207294" y="226219"/>
                    <a:pt x="1215866" y="236696"/>
                  </a:cubicBezTo>
                  <a:cubicBezTo>
                    <a:pt x="1215866" y="240506"/>
                    <a:pt x="1214914" y="245269"/>
                    <a:pt x="1214914" y="249079"/>
                  </a:cubicBezTo>
                  <a:cubicBezTo>
                    <a:pt x="1214914" y="250984"/>
                    <a:pt x="1214914" y="252889"/>
                    <a:pt x="1214914" y="255746"/>
                  </a:cubicBezTo>
                  <a:cubicBezTo>
                    <a:pt x="1214914" y="253841"/>
                    <a:pt x="1213961" y="252889"/>
                    <a:pt x="1213961" y="250984"/>
                  </a:cubicBezTo>
                  <a:cubicBezTo>
                    <a:pt x="1213961" y="250984"/>
                    <a:pt x="1213961" y="250031"/>
                    <a:pt x="1213961" y="250031"/>
                  </a:cubicBezTo>
                  <a:cubicBezTo>
                    <a:pt x="1213961" y="249079"/>
                    <a:pt x="1214914" y="249079"/>
                    <a:pt x="1214914" y="249079"/>
                  </a:cubicBezTo>
                  <a:cubicBezTo>
                    <a:pt x="1214914" y="249079"/>
                    <a:pt x="1214914" y="249079"/>
                    <a:pt x="1213961" y="250031"/>
                  </a:cubicBezTo>
                  <a:cubicBezTo>
                    <a:pt x="1212056" y="242411"/>
                    <a:pt x="1209199" y="235744"/>
                    <a:pt x="1207294" y="229076"/>
                  </a:cubicBezTo>
                  <a:cubicBezTo>
                    <a:pt x="1204436" y="222409"/>
                    <a:pt x="1202531" y="216694"/>
                    <a:pt x="1200626" y="212884"/>
                  </a:cubicBezTo>
                  <a:cubicBezTo>
                    <a:pt x="1195864" y="204311"/>
                    <a:pt x="1193959" y="198596"/>
                    <a:pt x="1193959" y="198596"/>
                  </a:cubicBezTo>
                  <a:cubicBezTo>
                    <a:pt x="1193959" y="198596"/>
                    <a:pt x="1194911" y="204311"/>
                    <a:pt x="1196816" y="213836"/>
                  </a:cubicBezTo>
                  <a:cubicBezTo>
                    <a:pt x="1197769" y="218599"/>
                    <a:pt x="1198721" y="224314"/>
                    <a:pt x="1200626" y="230981"/>
                  </a:cubicBezTo>
                  <a:cubicBezTo>
                    <a:pt x="1201579" y="237649"/>
                    <a:pt x="1202531" y="245269"/>
                    <a:pt x="1204436" y="252889"/>
                  </a:cubicBezTo>
                  <a:cubicBezTo>
                    <a:pt x="1204436" y="254794"/>
                    <a:pt x="1205389" y="256699"/>
                    <a:pt x="1205389" y="258604"/>
                  </a:cubicBezTo>
                  <a:cubicBezTo>
                    <a:pt x="1202531" y="251936"/>
                    <a:pt x="1199674" y="245269"/>
                    <a:pt x="1196816" y="239554"/>
                  </a:cubicBezTo>
                  <a:cubicBezTo>
                    <a:pt x="1193959" y="233839"/>
                    <a:pt x="1191101" y="229076"/>
                    <a:pt x="1189196" y="224314"/>
                  </a:cubicBezTo>
                  <a:cubicBezTo>
                    <a:pt x="1184434" y="216694"/>
                    <a:pt x="1181576" y="211931"/>
                    <a:pt x="1181576" y="211931"/>
                  </a:cubicBezTo>
                  <a:cubicBezTo>
                    <a:pt x="1181576" y="211931"/>
                    <a:pt x="1183481" y="216694"/>
                    <a:pt x="1185386" y="225266"/>
                  </a:cubicBezTo>
                  <a:cubicBezTo>
                    <a:pt x="1187291" y="230029"/>
                    <a:pt x="1188244" y="234791"/>
                    <a:pt x="1190149" y="241459"/>
                  </a:cubicBezTo>
                  <a:cubicBezTo>
                    <a:pt x="1192054" y="247174"/>
                    <a:pt x="1193006" y="254794"/>
                    <a:pt x="1194911" y="262414"/>
                  </a:cubicBezTo>
                  <a:cubicBezTo>
                    <a:pt x="1195864" y="267176"/>
                    <a:pt x="1196816" y="271939"/>
                    <a:pt x="1197769" y="276701"/>
                  </a:cubicBezTo>
                  <a:cubicBezTo>
                    <a:pt x="1196816" y="279559"/>
                    <a:pt x="1194911" y="281464"/>
                    <a:pt x="1193959" y="284321"/>
                  </a:cubicBezTo>
                  <a:cubicBezTo>
                    <a:pt x="1193959" y="284321"/>
                    <a:pt x="1193959" y="283369"/>
                    <a:pt x="1193959" y="283369"/>
                  </a:cubicBezTo>
                  <a:cubicBezTo>
                    <a:pt x="1193959" y="282416"/>
                    <a:pt x="1193006" y="280511"/>
                    <a:pt x="1193006" y="279559"/>
                  </a:cubicBezTo>
                  <a:cubicBezTo>
                    <a:pt x="1193959" y="277654"/>
                    <a:pt x="1193959" y="276701"/>
                    <a:pt x="1193959" y="276701"/>
                  </a:cubicBezTo>
                  <a:cubicBezTo>
                    <a:pt x="1193959" y="276701"/>
                    <a:pt x="1193959" y="277654"/>
                    <a:pt x="1193006" y="278606"/>
                  </a:cubicBezTo>
                  <a:cubicBezTo>
                    <a:pt x="1190149" y="268129"/>
                    <a:pt x="1187291" y="258604"/>
                    <a:pt x="1184434" y="250984"/>
                  </a:cubicBezTo>
                  <a:cubicBezTo>
                    <a:pt x="1179671" y="239554"/>
                    <a:pt x="1176814" y="231934"/>
                    <a:pt x="1174909" y="227171"/>
                  </a:cubicBezTo>
                  <a:cubicBezTo>
                    <a:pt x="1174909" y="226219"/>
                    <a:pt x="1174909" y="224314"/>
                    <a:pt x="1174909" y="223361"/>
                  </a:cubicBezTo>
                  <a:cubicBezTo>
                    <a:pt x="1174909" y="212884"/>
                    <a:pt x="1175861" y="204311"/>
                    <a:pt x="1175861" y="196691"/>
                  </a:cubicBezTo>
                  <a:cubicBezTo>
                    <a:pt x="1175861" y="182404"/>
                    <a:pt x="1174909" y="173831"/>
                    <a:pt x="1174909" y="173831"/>
                  </a:cubicBezTo>
                  <a:cubicBezTo>
                    <a:pt x="1174909" y="173831"/>
                    <a:pt x="1173956" y="182404"/>
                    <a:pt x="1172051" y="196691"/>
                  </a:cubicBezTo>
                  <a:cubicBezTo>
                    <a:pt x="1171099" y="204311"/>
                    <a:pt x="1169194" y="212884"/>
                    <a:pt x="1168241" y="223361"/>
                  </a:cubicBezTo>
                  <a:cubicBezTo>
                    <a:pt x="1168241" y="224314"/>
                    <a:pt x="1168241" y="225266"/>
                    <a:pt x="1168241" y="226219"/>
                  </a:cubicBezTo>
                  <a:cubicBezTo>
                    <a:pt x="1167289" y="229076"/>
                    <a:pt x="1165384" y="232886"/>
                    <a:pt x="1162526" y="238601"/>
                  </a:cubicBezTo>
                  <a:cubicBezTo>
                    <a:pt x="1161574" y="230981"/>
                    <a:pt x="1160621" y="223361"/>
                    <a:pt x="1158716" y="215741"/>
                  </a:cubicBezTo>
                  <a:cubicBezTo>
                    <a:pt x="1156811" y="206216"/>
                    <a:pt x="1153954" y="197644"/>
                    <a:pt x="1152049" y="189071"/>
                  </a:cubicBezTo>
                  <a:cubicBezTo>
                    <a:pt x="1143476" y="155734"/>
                    <a:pt x="1136809" y="133826"/>
                    <a:pt x="1136809" y="133826"/>
                  </a:cubicBezTo>
                  <a:cubicBezTo>
                    <a:pt x="1136809" y="133826"/>
                    <a:pt x="1137761" y="156686"/>
                    <a:pt x="1140619" y="190024"/>
                  </a:cubicBezTo>
                  <a:cubicBezTo>
                    <a:pt x="1141571" y="198596"/>
                    <a:pt x="1142524" y="208121"/>
                    <a:pt x="1143476" y="217646"/>
                  </a:cubicBezTo>
                  <a:cubicBezTo>
                    <a:pt x="1144429" y="227171"/>
                    <a:pt x="1144429" y="237649"/>
                    <a:pt x="1146334" y="248126"/>
                  </a:cubicBezTo>
                  <a:cubicBezTo>
                    <a:pt x="1146334" y="252889"/>
                    <a:pt x="1147286" y="256699"/>
                    <a:pt x="1147286" y="261461"/>
                  </a:cubicBezTo>
                  <a:cubicBezTo>
                    <a:pt x="1147286" y="261461"/>
                    <a:pt x="1147286" y="261461"/>
                    <a:pt x="1147286" y="261461"/>
                  </a:cubicBezTo>
                  <a:cubicBezTo>
                    <a:pt x="1147286" y="259556"/>
                    <a:pt x="1147286" y="258604"/>
                    <a:pt x="1147286" y="258604"/>
                  </a:cubicBezTo>
                  <a:cubicBezTo>
                    <a:pt x="1147286" y="258604"/>
                    <a:pt x="1147286" y="259556"/>
                    <a:pt x="1147286" y="260509"/>
                  </a:cubicBezTo>
                  <a:cubicBezTo>
                    <a:pt x="1146334" y="257651"/>
                    <a:pt x="1144429" y="254794"/>
                    <a:pt x="1143476" y="251936"/>
                  </a:cubicBezTo>
                  <a:cubicBezTo>
                    <a:pt x="1142524" y="250984"/>
                    <a:pt x="1142524" y="250031"/>
                    <a:pt x="1141571" y="249079"/>
                  </a:cubicBezTo>
                  <a:cubicBezTo>
                    <a:pt x="1141571" y="242411"/>
                    <a:pt x="1141571" y="237649"/>
                    <a:pt x="1141571" y="237649"/>
                  </a:cubicBezTo>
                  <a:cubicBezTo>
                    <a:pt x="1141571" y="237649"/>
                    <a:pt x="1140619" y="240506"/>
                    <a:pt x="1139666" y="246221"/>
                  </a:cubicBezTo>
                  <a:cubicBezTo>
                    <a:pt x="1136809" y="241459"/>
                    <a:pt x="1134904" y="236696"/>
                    <a:pt x="1132046" y="231934"/>
                  </a:cubicBezTo>
                  <a:cubicBezTo>
                    <a:pt x="1132046" y="231934"/>
                    <a:pt x="1132046" y="230981"/>
                    <a:pt x="1132046" y="230981"/>
                  </a:cubicBezTo>
                  <a:cubicBezTo>
                    <a:pt x="1128236" y="211931"/>
                    <a:pt x="1124426" y="193834"/>
                    <a:pt x="1120616" y="177641"/>
                  </a:cubicBezTo>
                  <a:cubicBezTo>
                    <a:pt x="1116806" y="161449"/>
                    <a:pt x="1113949" y="146209"/>
                    <a:pt x="1110139" y="132874"/>
                  </a:cubicBezTo>
                  <a:cubicBezTo>
                    <a:pt x="1106329" y="119539"/>
                    <a:pt x="1103471" y="108109"/>
                    <a:pt x="1100614" y="98584"/>
                  </a:cubicBezTo>
                  <a:cubicBezTo>
                    <a:pt x="1094899" y="79534"/>
                    <a:pt x="1092041" y="69056"/>
                    <a:pt x="1092041" y="69056"/>
                  </a:cubicBezTo>
                  <a:cubicBezTo>
                    <a:pt x="1092041" y="69056"/>
                    <a:pt x="1093946" y="80486"/>
                    <a:pt x="1096804" y="99536"/>
                  </a:cubicBezTo>
                  <a:cubicBezTo>
                    <a:pt x="1098709" y="109061"/>
                    <a:pt x="1100614" y="121444"/>
                    <a:pt x="1103471" y="134779"/>
                  </a:cubicBezTo>
                  <a:cubicBezTo>
                    <a:pt x="1106329" y="148114"/>
                    <a:pt x="1108234" y="163354"/>
                    <a:pt x="1110139" y="180499"/>
                  </a:cubicBezTo>
                  <a:cubicBezTo>
                    <a:pt x="1111091" y="186214"/>
                    <a:pt x="1112044" y="192881"/>
                    <a:pt x="1112996" y="199549"/>
                  </a:cubicBezTo>
                  <a:cubicBezTo>
                    <a:pt x="1112044" y="197644"/>
                    <a:pt x="1111091" y="196691"/>
                    <a:pt x="1110139" y="194786"/>
                  </a:cubicBezTo>
                  <a:cubicBezTo>
                    <a:pt x="1109186" y="192881"/>
                    <a:pt x="1107281" y="190976"/>
                    <a:pt x="1106329" y="190024"/>
                  </a:cubicBezTo>
                  <a:cubicBezTo>
                    <a:pt x="1106329" y="189071"/>
                    <a:pt x="1106329" y="189071"/>
                    <a:pt x="1105376" y="188119"/>
                  </a:cubicBezTo>
                  <a:cubicBezTo>
                    <a:pt x="1101566" y="177641"/>
                    <a:pt x="1098709" y="168116"/>
                    <a:pt x="1095851" y="160496"/>
                  </a:cubicBezTo>
                  <a:cubicBezTo>
                    <a:pt x="1090136" y="145256"/>
                    <a:pt x="1087279" y="136684"/>
                    <a:pt x="1087279" y="136684"/>
                  </a:cubicBezTo>
                  <a:cubicBezTo>
                    <a:pt x="1087279" y="136684"/>
                    <a:pt x="1089184" y="145256"/>
                    <a:pt x="1092041" y="161449"/>
                  </a:cubicBezTo>
                  <a:cubicBezTo>
                    <a:pt x="1093946" y="169069"/>
                    <a:pt x="1095851" y="178594"/>
                    <a:pt x="1098709" y="190024"/>
                  </a:cubicBezTo>
                  <a:cubicBezTo>
                    <a:pt x="1100614" y="197644"/>
                    <a:pt x="1102519" y="207169"/>
                    <a:pt x="1103471" y="215741"/>
                  </a:cubicBezTo>
                  <a:cubicBezTo>
                    <a:pt x="1099661" y="206216"/>
                    <a:pt x="1097756" y="200501"/>
                    <a:pt x="1097756" y="200501"/>
                  </a:cubicBezTo>
                  <a:cubicBezTo>
                    <a:pt x="1097756" y="200501"/>
                    <a:pt x="1099661" y="209074"/>
                    <a:pt x="1102519" y="224314"/>
                  </a:cubicBezTo>
                  <a:cubicBezTo>
                    <a:pt x="1100614" y="227171"/>
                    <a:pt x="1097756" y="230981"/>
                    <a:pt x="1094899" y="233839"/>
                  </a:cubicBezTo>
                  <a:cubicBezTo>
                    <a:pt x="1092994" y="225266"/>
                    <a:pt x="1091089" y="216694"/>
                    <a:pt x="1089184" y="209074"/>
                  </a:cubicBezTo>
                  <a:cubicBezTo>
                    <a:pt x="1086326" y="182404"/>
                    <a:pt x="1084421" y="166211"/>
                    <a:pt x="1084421" y="166211"/>
                  </a:cubicBezTo>
                  <a:cubicBezTo>
                    <a:pt x="1084421" y="166211"/>
                    <a:pt x="1084421" y="172879"/>
                    <a:pt x="1083469" y="184309"/>
                  </a:cubicBezTo>
                  <a:cubicBezTo>
                    <a:pt x="1080611" y="171926"/>
                    <a:pt x="1077754" y="160496"/>
                    <a:pt x="1073944" y="149066"/>
                  </a:cubicBezTo>
                  <a:cubicBezTo>
                    <a:pt x="1071086" y="140494"/>
                    <a:pt x="1069181" y="131921"/>
                    <a:pt x="1066324" y="123349"/>
                  </a:cubicBezTo>
                  <a:cubicBezTo>
                    <a:pt x="1072991" y="105251"/>
                    <a:pt x="1075849" y="94774"/>
                    <a:pt x="1075849" y="94774"/>
                  </a:cubicBezTo>
                  <a:cubicBezTo>
                    <a:pt x="1075849" y="94774"/>
                    <a:pt x="1072039" y="103346"/>
                    <a:pt x="1064419" y="119539"/>
                  </a:cubicBezTo>
                  <a:cubicBezTo>
                    <a:pt x="1062514" y="112871"/>
                    <a:pt x="1059656" y="106204"/>
                    <a:pt x="1057751" y="100489"/>
                  </a:cubicBezTo>
                  <a:cubicBezTo>
                    <a:pt x="1054894" y="92869"/>
                    <a:pt x="1052036" y="85249"/>
                    <a:pt x="1050131" y="78581"/>
                  </a:cubicBezTo>
                  <a:cubicBezTo>
                    <a:pt x="1047274" y="71914"/>
                    <a:pt x="1044416" y="65246"/>
                    <a:pt x="1042511" y="59531"/>
                  </a:cubicBezTo>
                  <a:cubicBezTo>
                    <a:pt x="1037749" y="47149"/>
                    <a:pt x="1032986" y="36671"/>
                    <a:pt x="1029176" y="28099"/>
                  </a:cubicBezTo>
                  <a:cubicBezTo>
                    <a:pt x="1017746" y="16669"/>
                    <a:pt x="1012984" y="7144"/>
                    <a:pt x="1012984" y="7144"/>
                  </a:cubicBezTo>
                  <a:cubicBezTo>
                    <a:pt x="1012984" y="7144"/>
                    <a:pt x="1016794" y="17621"/>
                    <a:pt x="1022509" y="34766"/>
                  </a:cubicBezTo>
                  <a:cubicBezTo>
                    <a:pt x="1025366" y="43339"/>
                    <a:pt x="1029176" y="54769"/>
                    <a:pt x="1032986" y="67151"/>
                  </a:cubicBezTo>
                  <a:cubicBezTo>
                    <a:pt x="1034891" y="73819"/>
                    <a:pt x="1036796" y="79534"/>
                    <a:pt x="1038701" y="87154"/>
                  </a:cubicBezTo>
                  <a:cubicBezTo>
                    <a:pt x="1040606" y="93821"/>
                    <a:pt x="1042511" y="101441"/>
                    <a:pt x="1044416" y="109061"/>
                  </a:cubicBezTo>
                  <a:cubicBezTo>
                    <a:pt x="1044416" y="109061"/>
                    <a:pt x="1044416" y="110014"/>
                    <a:pt x="1044416" y="110014"/>
                  </a:cubicBezTo>
                  <a:cubicBezTo>
                    <a:pt x="1039654" y="101441"/>
                    <a:pt x="1037749" y="96679"/>
                    <a:pt x="1037749" y="96679"/>
                  </a:cubicBezTo>
                  <a:cubicBezTo>
                    <a:pt x="1037749" y="96679"/>
                    <a:pt x="1039654" y="104299"/>
                    <a:pt x="1044416" y="117634"/>
                  </a:cubicBezTo>
                  <a:cubicBezTo>
                    <a:pt x="1046321" y="124301"/>
                    <a:pt x="1049179" y="131921"/>
                    <a:pt x="1051084" y="141446"/>
                  </a:cubicBezTo>
                  <a:cubicBezTo>
                    <a:pt x="1051084" y="143351"/>
                    <a:pt x="1052036" y="144304"/>
                    <a:pt x="1052036" y="146209"/>
                  </a:cubicBezTo>
                  <a:cubicBezTo>
                    <a:pt x="1048226" y="153829"/>
                    <a:pt x="1043464" y="163354"/>
                    <a:pt x="1037749" y="172879"/>
                  </a:cubicBezTo>
                  <a:cubicBezTo>
                    <a:pt x="1033939" y="180499"/>
                    <a:pt x="1029176" y="188119"/>
                    <a:pt x="1024414" y="195739"/>
                  </a:cubicBezTo>
                  <a:cubicBezTo>
                    <a:pt x="1024414" y="194786"/>
                    <a:pt x="1023461" y="193834"/>
                    <a:pt x="1023461" y="192881"/>
                  </a:cubicBezTo>
                  <a:cubicBezTo>
                    <a:pt x="1023461" y="190024"/>
                    <a:pt x="1023461" y="187166"/>
                    <a:pt x="1023461" y="184309"/>
                  </a:cubicBezTo>
                  <a:cubicBezTo>
                    <a:pt x="1024414" y="169069"/>
                    <a:pt x="1024414" y="154781"/>
                    <a:pt x="1024414" y="142399"/>
                  </a:cubicBezTo>
                  <a:cubicBezTo>
                    <a:pt x="1024414" y="130016"/>
                    <a:pt x="1024414" y="119539"/>
                    <a:pt x="1023461" y="110014"/>
                  </a:cubicBezTo>
                  <a:cubicBezTo>
                    <a:pt x="1023461" y="101441"/>
                    <a:pt x="1022509" y="93821"/>
                    <a:pt x="1021556" y="89059"/>
                  </a:cubicBezTo>
                  <a:cubicBezTo>
                    <a:pt x="1020604" y="84296"/>
                    <a:pt x="1020604" y="81439"/>
                    <a:pt x="1020604" y="81439"/>
                  </a:cubicBezTo>
                  <a:cubicBezTo>
                    <a:pt x="1020604" y="81439"/>
                    <a:pt x="1020604" y="84296"/>
                    <a:pt x="1020604" y="89059"/>
                  </a:cubicBezTo>
                  <a:cubicBezTo>
                    <a:pt x="1020604" y="93821"/>
                    <a:pt x="1019651" y="100489"/>
                    <a:pt x="1019651" y="110014"/>
                  </a:cubicBezTo>
                  <a:cubicBezTo>
                    <a:pt x="1018699" y="124301"/>
                    <a:pt x="1016794" y="142399"/>
                    <a:pt x="1014889" y="165259"/>
                  </a:cubicBezTo>
                  <a:cubicBezTo>
                    <a:pt x="1013936" y="162401"/>
                    <a:pt x="1013936" y="161449"/>
                    <a:pt x="1013936" y="161449"/>
                  </a:cubicBezTo>
                  <a:cubicBezTo>
                    <a:pt x="1013936" y="161449"/>
                    <a:pt x="1013936" y="163354"/>
                    <a:pt x="1014889" y="168116"/>
                  </a:cubicBezTo>
                  <a:cubicBezTo>
                    <a:pt x="1013936" y="172879"/>
                    <a:pt x="1013936" y="178594"/>
                    <a:pt x="1012984" y="183356"/>
                  </a:cubicBezTo>
                  <a:cubicBezTo>
                    <a:pt x="1011079" y="196691"/>
                    <a:pt x="1009174" y="210026"/>
                    <a:pt x="1007269" y="224314"/>
                  </a:cubicBezTo>
                  <a:cubicBezTo>
                    <a:pt x="996791" y="242411"/>
                    <a:pt x="984409" y="262414"/>
                    <a:pt x="972026" y="283369"/>
                  </a:cubicBezTo>
                  <a:cubicBezTo>
                    <a:pt x="972026" y="277654"/>
                    <a:pt x="971074" y="273844"/>
                    <a:pt x="971074" y="269081"/>
                  </a:cubicBezTo>
                  <a:cubicBezTo>
                    <a:pt x="972979" y="263366"/>
                    <a:pt x="975836" y="256699"/>
                    <a:pt x="977741" y="251936"/>
                  </a:cubicBezTo>
                  <a:cubicBezTo>
                    <a:pt x="983456" y="235744"/>
                    <a:pt x="989171" y="220504"/>
                    <a:pt x="992981" y="206216"/>
                  </a:cubicBezTo>
                  <a:cubicBezTo>
                    <a:pt x="996791" y="192881"/>
                    <a:pt x="1000601" y="180499"/>
                    <a:pt x="1002506" y="170974"/>
                  </a:cubicBezTo>
                  <a:cubicBezTo>
                    <a:pt x="1007269" y="150971"/>
                    <a:pt x="1009174" y="139541"/>
                    <a:pt x="1009174" y="139541"/>
                  </a:cubicBezTo>
                  <a:cubicBezTo>
                    <a:pt x="1009174" y="139541"/>
                    <a:pt x="1005364" y="150971"/>
                    <a:pt x="998696" y="170021"/>
                  </a:cubicBezTo>
                  <a:cubicBezTo>
                    <a:pt x="995839" y="179546"/>
                    <a:pt x="990124" y="190976"/>
                    <a:pt x="985361" y="204311"/>
                  </a:cubicBezTo>
                  <a:cubicBezTo>
                    <a:pt x="980599" y="217646"/>
                    <a:pt x="972979" y="231934"/>
                    <a:pt x="966311" y="248126"/>
                  </a:cubicBezTo>
                  <a:cubicBezTo>
                    <a:pt x="964406" y="251936"/>
                    <a:pt x="962501" y="255746"/>
                    <a:pt x="960596" y="260509"/>
                  </a:cubicBezTo>
                  <a:cubicBezTo>
                    <a:pt x="961549" y="248126"/>
                    <a:pt x="961549" y="236696"/>
                    <a:pt x="961549" y="225266"/>
                  </a:cubicBezTo>
                  <a:cubicBezTo>
                    <a:pt x="966311" y="212884"/>
                    <a:pt x="969169" y="206216"/>
                    <a:pt x="969169" y="206216"/>
                  </a:cubicBezTo>
                  <a:cubicBezTo>
                    <a:pt x="969169" y="206216"/>
                    <a:pt x="966311" y="210979"/>
                    <a:pt x="961549" y="218599"/>
                  </a:cubicBezTo>
                  <a:cubicBezTo>
                    <a:pt x="961549" y="213836"/>
                    <a:pt x="961549" y="210026"/>
                    <a:pt x="961549" y="206216"/>
                  </a:cubicBezTo>
                  <a:cubicBezTo>
                    <a:pt x="961549" y="182404"/>
                    <a:pt x="960596" y="162401"/>
                    <a:pt x="958691" y="149066"/>
                  </a:cubicBezTo>
                  <a:cubicBezTo>
                    <a:pt x="957739" y="143351"/>
                    <a:pt x="957739" y="138589"/>
                    <a:pt x="956786" y="134779"/>
                  </a:cubicBezTo>
                  <a:cubicBezTo>
                    <a:pt x="956786" y="132874"/>
                    <a:pt x="957739" y="131921"/>
                    <a:pt x="957739" y="131921"/>
                  </a:cubicBezTo>
                  <a:cubicBezTo>
                    <a:pt x="957739" y="131921"/>
                    <a:pt x="957739" y="132874"/>
                    <a:pt x="956786" y="133826"/>
                  </a:cubicBezTo>
                  <a:cubicBezTo>
                    <a:pt x="956786" y="133826"/>
                    <a:pt x="956786" y="132874"/>
                    <a:pt x="956786" y="132874"/>
                  </a:cubicBezTo>
                  <a:cubicBezTo>
                    <a:pt x="955834" y="129064"/>
                    <a:pt x="955834" y="127159"/>
                    <a:pt x="955834" y="127159"/>
                  </a:cubicBezTo>
                  <a:cubicBezTo>
                    <a:pt x="955834" y="127159"/>
                    <a:pt x="955834" y="130969"/>
                    <a:pt x="955834" y="136684"/>
                  </a:cubicBezTo>
                  <a:cubicBezTo>
                    <a:pt x="951071" y="147161"/>
                    <a:pt x="940594" y="171926"/>
                    <a:pt x="927259" y="206216"/>
                  </a:cubicBezTo>
                  <a:cubicBezTo>
                    <a:pt x="927259" y="206216"/>
                    <a:pt x="927259" y="205264"/>
                    <a:pt x="927259" y="205264"/>
                  </a:cubicBezTo>
                  <a:cubicBezTo>
                    <a:pt x="928211" y="196691"/>
                    <a:pt x="929164" y="189071"/>
                    <a:pt x="930116" y="183356"/>
                  </a:cubicBezTo>
                  <a:cubicBezTo>
                    <a:pt x="932021" y="170974"/>
                    <a:pt x="932974" y="164306"/>
                    <a:pt x="932974" y="164306"/>
                  </a:cubicBezTo>
                  <a:cubicBezTo>
                    <a:pt x="932974" y="164306"/>
                    <a:pt x="930116" y="170974"/>
                    <a:pt x="926306" y="183356"/>
                  </a:cubicBezTo>
                  <a:cubicBezTo>
                    <a:pt x="924401" y="189071"/>
                    <a:pt x="922496" y="195739"/>
                    <a:pt x="920591" y="203359"/>
                  </a:cubicBezTo>
                  <a:cubicBezTo>
                    <a:pt x="916781" y="192881"/>
                    <a:pt x="913924" y="182404"/>
                    <a:pt x="910114" y="171926"/>
                  </a:cubicBezTo>
                  <a:cubicBezTo>
                    <a:pt x="909161" y="169069"/>
                    <a:pt x="908209" y="167164"/>
                    <a:pt x="907256" y="164306"/>
                  </a:cubicBezTo>
                  <a:cubicBezTo>
                    <a:pt x="909161" y="161449"/>
                    <a:pt x="910114" y="159544"/>
                    <a:pt x="912019" y="157639"/>
                  </a:cubicBezTo>
                  <a:cubicBezTo>
                    <a:pt x="920591" y="145256"/>
                    <a:pt x="927259" y="133826"/>
                    <a:pt x="933926" y="124301"/>
                  </a:cubicBezTo>
                  <a:cubicBezTo>
                    <a:pt x="946309" y="106204"/>
                    <a:pt x="953929" y="95726"/>
                    <a:pt x="953929" y="95726"/>
                  </a:cubicBezTo>
                  <a:cubicBezTo>
                    <a:pt x="953929" y="95726"/>
                    <a:pt x="945356" y="105251"/>
                    <a:pt x="931069" y="121444"/>
                  </a:cubicBezTo>
                  <a:cubicBezTo>
                    <a:pt x="923449" y="129064"/>
                    <a:pt x="915829" y="140494"/>
                    <a:pt x="906304" y="151924"/>
                  </a:cubicBezTo>
                  <a:cubicBezTo>
                    <a:pt x="905351" y="152876"/>
                    <a:pt x="904399" y="153829"/>
                    <a:pt x="904399" y="154781"/>
                  </a:cubicBezTo>
                  <a:cubicBezTo>
                    <a:pt x="901541" y="147161"/>
                    <a:pt x="898684" y="139541"/>
                    <a:pt x="894874" y="131921"/>
                  </a:cubicBezTo>
                  <a:lnTo>
                    <a:pt x="892016" y="126206"/>
                  </a:lnTo>
                  <a:cubicBezTo>
                    <a:pt x="893921" y="122396"/>
                    <a:pt x="895826" y="118586"/>
                    <a:pt x="897731" y="115729"/>
                  </a:cubicBezTo>
                  <a:cubicBezTo>
                    <a:pt x="905351" y="100489"/>
                    <a:pt x="912019" y="87154"/>
                    <a:pt x="918686" y="77629"/>
                  </a:cubicBezTo>
                  <a:cubicBezTo>
                    <a:pt x="931069" y="56674"/>
                    <a:pt x="937736" y="44291"/>
                    <a:pt x="937736" y="44291"/>
                  </a:cubicBezTo>
                  <a:cubicBezTo>
                    <a:pt x="937736" y="44291"/>
                    <a:pt x="929164" y="55721"/>
                    <a:pt x="914876" y="74771"/>
                  </a:cubicBezTo>
                  <a:cubicBezTo>
                    <a:pt x="907256" y="84296"/>
                    <a:pt x="899636" y="96679"/>
                    <a:pt x="890111" y="110966"/>
                  </a:cubicBezTo>
                  <a:cubicBezTo>
                    <a:pt x="889159" y="112871"/>
                    <a:pt x="887254" y="114776"/>
                    <a:pt x="886301" y="116681"/>
                  </a:cubicBezTo>
                  <a:lnTo>
                    <a:pt x="874871" y="92869"/>
                  </a:lnTo>
                  <a:lnTo>
                    <a:pt x="873919" y="90964"/>
                  </a:lnTo>
                  <a:lnTo>
                    <a:pt x="872966" y="91916"/>
                  </a:lnTo>
                  <a:cubicBezTo>
                    <a:pt x="871061" y="92869"/>
                    <a:pt x="869156" y="93821"/>
                    <a:pt x="868204" y="95726"/>
                  </a:cubicBezTo>
                  <a:cubicBezTo>
                    <a:pt x="867251" y="97631"/>
                    <a:pt x="866299" y="99536"/>
                    <a:pt x="866299" y="101441"/>
                  </a:cubicBezTo>
                  <a:cubicBezTo>
                    <a:pt x="866299" y="105251"/>
                    <a:pt x="867251" y="110014"/>
                    <a:pt x="868204" y="113824"/>
                  </a:cubicBezTo>
                  <a:cubicBezTo>
                    <a:pt x="867251" y="110014"/>
                    <a:pt x="867251" y="106204"/>
                    <a:pt x="868204" y="102394"/>
                  </a:cubicBezTo>
                  <a:cubicBezTo>
                    <a:pt x="868204" y="100489"/>
                    <a:pt x="869156" y="99536"/>
                    <a:pt x="870109" y="97631"/>
                  </a:cubicBezTo>
                  <a:cubicBezTo>
                    <a:pt x="871061" y="96679"/>
                    <a:pt x="872014" y="96679"/>
                    <a:pt x="872966" y="95726"/>
                  </a:cubicBezTo>
                  <a:lnTo>
                    <a:pt x="882491" y="122396"/>
                  </a:lnTo>
                  <a:cubicBezTo>
                    <a:pt x="880586" y="126206"/>
                    <a:pt x="877729" y="129064"/>
                    <a:pt x="875824" y="132874"/>
                  </a:cubicBezTo>
                  <a:cubicBezTo>
                    <a:pt x="871061" y="141446"/>
                    <a:pt x="866299" y="150019"/>
                    <a:pt x="860584" y="159544"/>
                  </a:cubicBezTo>
                  <a:cubicBezTo>
                    <a:pt x="852964" y="172879"/>
                    <a:pt x="845344" y="188119"/>
                    <a:pt x="837724" y="203359"/>
                  </a:cubicBezTo>
                  <a:cubicBezTo>
                    <a:pt x="834866" y="198596"/>
                    <a:pt x="832961" y="195739"/>
                    <a:pt x="832009" y="194786"/>
                  </a:cubicBezTo>
                  <a:cubicBezTo>
                    <a:pt x="834866" y="170974"/>
                    <a:pt x="836771" y="151924"/>
                    <a:pt x="838676" y="137636"/>
                  </a:cubicBezTo>
                  <a:cubicBezTo>
                    <a:pt x="839629" y="123349"/>
                    <a:pt x="840581" y="115729"/>
                    <a:pt x="840581" y="115729"/>
                  </a:cubicBezTo>
                  <a:cubicBezTo>
                    <a:pt x="840581" y="115729"/>
                    <a:pt x="838676" y="123349"/>
                    <a:pt x="834866" y="137636"/>
                  </a:cubicBezTo>
                  <a:cubicBezTo>
                    <a:pt x="831056" y="151924"/>
                    <a:pt x="826294" y="170974"/>
                    <a:pt x="820579" y="194786"/>
                  </a:cubicBezTo>
                  <a:cubicBezTo>
                    <a:pt x="819626" y="197644"/>
                    <a:pt x="819626" y="200501"/>
                    <a:pt x="818674" y="204311"/>
                  </a:cubicBezTo>
                  <a:cubicBezTo>
                    <a:pt x="817721" y="202406"/>
                    <a:pt x="816769" y="199549"/>
                    <a:pt x="815816" y="197644"/>
                  </a:cubicBezTo>
                  <a:cubicBezTo>
                    <a:pt x="810101" y="183356"/>
                    <a:pt x="807244" y="174784"/>
                    <a:pt x="807244" y="174784"/>
                  </a:cubicBezTo>
                  <a:cubicBezTo>
                    <a:pt x="807244" y="174784"/>
                    <a:pt x="809149" y="183356"/>
                    <a:pt x="812006" y="198596"/>
                  </a:cubicBezTo>
                  <a:cubicBezTo>
                    <a:pt x="812959" y="202406"/>
                    <a:pt x="813911" y="206216"/>
                    <a:pt x="814864" y="210979"/>
                  </a:cubicBezTo>
                  <a:cubicBezTo>
                    <a:pt x="814864" y="212884"/>
                    <a:pt x="815816" y="214789"/>
                    <a:pt x="815816" y="216694"/>
                  </a:cubicBezTo>
                  <a:cubicBezTo>
                    <a:pt x="813911" y="224314"/>
                    <a:pt x="812959" y="231934"/>
                    <a:pt x="811054" y="239554"/>
                  </a:cubicBezTo>
                  <a:cubicBezTo>
                    <a:pt x="809149" y="226219"/>
                    <a:pt x="808196" y="219551"/>
                    <a:pt x="808196" y="219551"/>
                  </a:cubicBezTo>
                  <a:cubicBezTo>
                    <a:pt x="808196" y="219551"/>
                    <a:pt x="807244" y="236696"/>
                    <a:pt x="807244" y="264319"/>
                  </a:cubicBezTo>
                  <a:cubicBezTo>
                    <a:pt x="807244" y="265271"/>
                    <a:pt x="807244" y="265271"/>
                    <a:pt x="807244" y="266224"/>
                  </a:cubicBezTo>
                  <a:cubicBezTo>
                    <a:pt x="804386" y="259556"/>
                    <a:pt x="801529" y="252889"/>
                    <a:pt x="798671" y="246221"/>
                  </a:cubicBezTo>
                  <a:cubicBezTo>
                    <a:pt x="799624" y="241459"/>
                    <a:pt x="800576" y="239554"/>
                    <a:pt x="800576" y="239554"/>
                  </a:cubicBezTo>
                  <a:cubicBezTo>
                    <a:pt x="800576" y="239554"/>
                    <a:pt x="799624" y="241459"/>
                    <a:pt x="797719" y="245269"/>
                  </a:cubicBezTo>
                  <a:cubicBezTo>
                    <a:pt x="797719" y="244316"/>
                    <a:pt x="796766" y="243364"/>
                    <a:pt x="796766" y="242411"/>
                  </a:cubicBezTo>
                  <a:cubicBezTo>
                    <a:pt x="795814" y="239554"/>
                    <a:pt x="793909" y="236696"/>
                    <a:pt x="792956" y="233839"/>
                  </a:cubicBezTo>
                  <a:cubicBezTo>
                    <a:pt x="794861" y="229076"/>
                    <a:pt x="795814" y="223361"/>
                    <a:pt x="796766" y="218599"/>
                  </a:cubicBezTo>
                  <a:cubicBezTo>
                    <a:pt x="802481" y="196691"/>
                    <a:pt x="806291" y="177641"/>
                    <a:pt x="809149" y="164306"/>
                  </a:cubicBezTo>
                  <a:cubicBezTo>
                    <a:pt x="811054" y="150971"/>
                    <a:pt x="812959" y="143351"/>
                    <a:pt x="812959" y="143351"/>
                  </a:cubicBezTo>
                  <a:cubicBezTo>
                    <a:pt x="812959" y="143351"/>
                    <a:pt x="810101" y="150971"/>
                    <a:pt x="805339" y="163354"/>
                  </a:cubicBezTo>
                  <a:cubicBezTo>
                    <a:pt x="803434" y="170021"/>
                    <a:pt x="800576" y="177641"/>
                    <a:pt x="796766" y="186214"/>
                  </a:cubicBezTo>
                  <a:cubicBezTo>
                    <a:pt x="793909" y="194786"/>
                    <a:pt x="790099" y="205264"/>
                    <a:pt x="785336" y="215741"/>
                  </a:cubicBezTo>
                  <a:cubicBezTo>
                    <a:pt x="785336" y="216694"/>
                    <a:pt x="784384" y="217646"/>
                    <a:pt x="784384" y="218599"/>
                  </a:cubicBezTo>
                  <a:cubicBezTo>
                    <a:pt x="781526" y="213836"/>
                    <a:pt x="779621" y="209074"/>
                    <a:pt x="776764" y="205264"/>
                  </a:cubicBezTo>
                  <a:cubicBezTo>
                    <a:pt x="775811" y="204311"/>
                    <a:pt x="775811" y="203359"/>
                    <a:pt x="774859" y="202406"/>
                  </a:cubicBezTo>
                  <a:cubicBezTo>
                    <a:pt x="774859" y="202406"/>
                    <a:pt x="774859" y="202406"/>
                    <a:pt x="774859" y="201454"/>
                  </a:cubicBezTo>
                  <a:cubicBezTo>
                    <a:pt x="777716" y="176689"/>
                    <a:pt x="779621" y="156686"/>
                    <a:pt x="780574" y="142399"/>
                  </a:cubicBezTo>
                  <a:cubicBezTo>
                    <a:pt x="781526" y="128111"/>
                    <a:pt x="781526" y="119539"/>
                    <a:pt x="781526" y="119539"/>
                  </a:cubicBezTo>
                  <a:cubicBezTo>
                    <a:pt x="781526" y="119539"/>
                    <a:pt x="779621" y="127159"/>
                    <a:pt x="776764" y="141446"/>
                  </a:cubicBezTo>
                  <a:cubicBezTo>
                    <a:pt x="775811" y="148114"/>
                    <a:pt x="772954" y="156686"/>
                    <a:pt x="771049" y="167164"/>
                  </a:cubicBezTo>
                  <a:cubicBezTo>
                    <a:pt x="769144" y="173831"/>
                    <a:pt x="768191" y="181451"/>
                    <a:pt x="766286" y="189071"/>
                  </a:cubicBezTo>
                  <a:cubicBezTo>
                    <a:pt x="763429" y="185261"/>
                    <a:pt x="760571" y="181451"/>
                    <a:pt x="758666" y="178594"/>
                  </a:cubicBezTo>
                  <a:cubicBezTo>
                    <a:pt x="753904" y="171926"/>
                    <a:pt x="748189" y="166211"/>
                    <a:pt x="745331" y="163354"/>
                  </a:cubicBezTo>
                  <a:cubicBezTo>
                    <a:pt x="742474" y="159544"/>
                    <a:pt x="740569" y="157639"/>
                    <a:pt x="740569" y="157639"/>
                  </a:cubicBezTo>
                  <a:cubicBezTo>
                    <a:pt x="740569" y="157639"/>
                    <a:pt x="741521" y="159544"/>
                    <a:pt x="744379" y="163354"/>
                  </a:cubicBezTo>
                  <a:cubicBezTo>
                    <a:pt x="747236" y="167164"/>
                    <a:pt x="751046" y="172879"/>
                    <a:pt x="754856" y="180499"/>
                  </a:cubicBezTo>
                  <a:cubicBezTo>
                    <a:pt x="757714" y="185261"/>
                    <a:pt x="760571" y="190976"/>
                    <a:pt x="763429" y="196691"/>
                  </a:cubicBezTo>
                  <a:cubicBezTo>
                    <a:pt x="763429" y="197644"/>
                    <a:pt x="763429" y="198596"/>
                    <a:pt x="762476" y="199549"/>
                  </a:cubicBezTo>
                  <a:cubicBezTo>
                    <a:pt x="759619" y="211931"/>
                    <a:pt x="756761" y="224314"/>
                    <a:pt x="753904" y="238601"/>
                  </a:cubicBezTo>
                  <a:cubicBezTo>
                    <a:pt x="749141" y="230029"/>
                    <a:pt x="747236" y="224314"/>
                    <a:pt x="747236" y="224314"/>
                  </a:cubicBezTo>
                  <a:cubicBezTo>
                    <a:pt x="747236" y="224314"/>
                    <a:pt x="749141" y="230981"/>
                    <a:pt x="752951" y="241459"/>
                  </a:cubicBezTo>
                  <a:cubicBezTo>
                    <a:pt x="751999" y="242411"/>
                    <a:pt x="751999" y="242411"/>
                    <a:pt x="751046" y="243364"/>
                  </a:cubicBezTo>
                  <a:cubicBezTo>
                    <a:pt x="749141" y="246221"/>
                    <a:pt x="749141" y="250031"/>
                    <a:pt x="749141" y="252889"/>
                  </a:cubicBezTo>
                  <a:cubicBezTo>
                    <a:pt x="750094" y="250031"/>
                    <a:pt x="751046" y="246221"/>
                    <a:pt x="752951" y="244316"/>
                  </a:cubicBezTo>
                  <a:cubicBezTo>
                    <a:pt x="752951" y="244316"/>
                    <a:pt x="752951" y="244316"/>
                    <a:pt x="752951" y="244316"/>
                  </a:cubicBezTo>
                  <a:cubicBezTo>
                    <a:pt x="750094" y="256699"/>
                    <a:pt x="747236" y="269081"/>
                    <a:pt x="744379" y="282416"/>
                  </a:cubicBezTo>
                  <a:cubicBezTo>
                    <a:pt x="743426" y="287179"/>
                    <a:pt x="742474" y="291941"/>
                    <a:pt x="741521" y="296704"/>
                  </a:cubicBezTo>
                  <a:cubicBezTo>
                    <a:pt x="740569" y="299561"/>
                    <a:pt x="739616" y="302419"/>
                    <a:pt x="738664" y="306229"/>
                  </a:cubicBezTo>
                  <a:cubicBezTo>
                    <a:pt x="738664" y="306229"/>
                    <a:pt x="738664" y="306229"/>
                    <a:pt x="738664" y="306229"/>
                  </a:cubicBezTo>
                  <a:cubicBezTo>
                    <a:pt x="738664" y="302419"/>
                    <a:pt x="737711" y="297656"/>
                    <a:pt x="737711" y="293846"/>
                  </a:cubicBezTo>
                  <a:cubicBezTo>
                    <a:pt x="736759" y="285274"/>
                    <a:pt x="735806" y="277654"/>
                    <a:pt x="733901" y="270034"/>
                  </a:cubicBezTo>
                  <a:cubicBezTo>
                    <a:pt x="732949" y="266224"/>
                    <a:pt x="731996" y="263366"/>
                    <a:pt x="731996" y="259556"/>
                  </a:cubicBezTo>
                  <a:cubicBezTo>
                    <a:pt x="731996" y="258604"/>
                    <a:pt x="731996" y="258604"/>
                    <a:pt x="731044" y="257651"/>
                  </a:cubicBezTo>
                  <a:cubicBezTo>
                    <a:pt x="729139" y="238601"/>
                    <a:pt x="727234" y="223361"/>
                    <a:pt x="725329" y="210979"/>
                  </a:cubicBezTo>
                  <a:cubicBezTo>
                    <a:pt x="723424" y="195739"/>
                    <a:pt x="722471" y="186214"/>
                    <a:pt x="722471" y="186214"/>
                  </a:cubicBezTo>
                  <a:cubicBezTo>
                    <a:pt x="722471" y="186214"/>
                    <a:pt x="722471" y="190976"/>
                    <a:pt x="722471" y="199549"/>
                  </a:cubicBezTo>
                  <a:cubicBezTo>
                    <a:pt x="720566" y="204311"/>
                    <a:pt x="715804" y="220504"/>
                    <a:pt x="709136" y="243364"/>
                  </a:cubicBezTo>
                  <a:cubicBezTo>
                    <a:pt x="707231" y="238601"/>
                    <a:pt x="706279" y="233839"/>
                    <a:pt x="704374" y="229076"/>
                  </a:cubicBezTo>
                  <a:cubicBezTo>
                    <a:pt x="698659" y="211931"/>
                    <a:pt x="692944" y="195739"/>
                    <a:pt x="687229" y="181451"/>
                  </a:cubicBezTo>
                  <a:cubicBezTo>
                    <a:pt x="684371" y="174784"/>
                    <a:pt x="682466" y="168116"/>
                    <a:pt x="679609" y="161449"/>
                  </a:cubicBezTo>
                  <a:cubicBezTo>
                    <a:pt x="679609" y="156686"/>
                    <a:pt x="679609" y="151924"/>
                    <a:pt x="679609" y="148114"/>
                  </a:cubicBezTo>
                  <a:cubicBezTo>
                    <a:pt x="679609" y="138589"/>
                    <a:pt x="679609" y="130016"/>
                    <a:pt x="679609" y="122396"/>
                  </a:cubicBezTo>
                  <a:cubicBezTo>
                    <a:pt x="679609" y="108109"/>
                    <a:pt x="678656" y="100489"/>
                    <a:pt x="678656" y="100489"/>
                  </a:cubicBezTo>
                  <a:cubicBezTo>
                    <a:pt x="678656" y="100489"/>
                    <a:pt x="677704" y="108109"/>
                    <a:pt x="675799" y="122396"/>
                  </a:cubicBezTo>
                  <a:cubicBezTo>
                    <a:pt x="674846" y="128111"/>
                    <a:pt x="673894" y="135731"/>
                    <a:pt x="672941" y="144304"/>
                  </a:cubicBezTo>
                  <a:cubicBezTo>
                    <a:pt x="669131" y="134779"/>
                    <a:pt x="665321" y="127159"/>
                    <a:pt x="663416" y="122396"/>
                  </a:cubicBezTo>
                  <a:cubicBezTo>
                    <a:pt x="660559" y="117634"/>
                    <a:pt x="659606" y="114776"/>
                    <a:pt x="659606" y="114776"/>
                  </a:cubicBezTo>
                  <a:cubicBezTo>
                    <a:pt x="659606" y="114776"/>
                    <a:pt x="660559" y="117634"/>
                    <a:pt x="662464" y="123349"/>
                  </a:cubicBezTo>
                  <a:cubicBezTo>
                    <a:pt x="664369" y="129064"/>
                    <a:pt x="667226" y="136684"/>
                    <a:pt x="670084" y="147161"/>
                  </a:cubicBezTo>
                  <a:cubicBezTo>
                    <a:pt x="671036" y="149066"/>
                    <a:pt x="671036" y="151924"/>
                    <a:pt x="671989" y="153829"/>
                  </a:cubicBezTo>
                  <a:cubicBezTo>
                    <a:pt x="671989" y="157639"/>
                    <a:pt x="671036" y="160496"/>
                    <a:pt x="671036" y="164306"/>
                  </a:cubicBezTo>
                  <a:cubicBezTo>
                    <a:pt x="670084" y="170021"/>
                    <a:pt x="669131" y="175736"/>
                    <a:pt x="668179" y="181451"/>
                  </a:cubicBezTo>
                  <a:cubicBezTo>
                    <a:pt x="666274" y="193834"/>
                    <a:pt x="664369" y="206216"/>
                    <a:pt x="662464" y="219551"/>
                  </a:cubicBezTo>
                  <a:cubicBezTo>
                    <a:pt x="661511" y="226219"/>
                    <a:pt x="660559" y="232886"/>
                    <a:pt x="658654" y="239554"/>
                  </a:cubicBezTo>
                  <a:cubicBezTo>
                    <a:pt x="657701" y="236696"/>
                    <a:pt x="656749" y="233839"/>
                    <a:pt x="655796" y="231934"/>
                  </a:cubicBezTo>
                  <a:cubicBezTo>
                    <a:pt x="656749" y="218599"/>
                    <a:pt x="657701" y="210026"/>
                    <a:pt x="657701" y="210026"/>
                  </a:cubicBezTo>
                  <a:cubicBezTo>
                    <a:pt x="657701" y="210026"/>
                    <a:pt x="655796" y="215741"/>
                    <a:pt x="653891" y="226219"/>
                  </a:cubicBezTo>
                  <a:cubicBezTo>
                    <a:pt x="648176" y="212884"/>
                    <a:pt x="643414" y="201454"/>
                    <a:pt x="638651" y="191929"/>
                  </a:cubicBezTo>
                  <a:cubicBezTo>
                    <a:pt x="634841" y="184309"/>
                    <a:pt x="631984" y="178594"/>
                    <a:pt x="630079" y="174784"/>
                  </a:cubicBezTo>
                  <a:cubicBezTo>
                    <a:pt x="628174" y="170974"/>
                    <a:pt x="627221" y="169069"/>
                    <a:pt x="627221" y="169069"/>
                  </a:cubicBezTo>
                  <a:cubicBezTo>
                    <a:pt x="627221" y="169069"/>
                    <a:pt x="630079" y="178594"/>
                    <a:pt x="635794" y="193834"/>
                  </a:cubicBezTo>
                  <a:cubicBezTo>
                    <a:pt x="639604" y="205264"/>
                    <a:pt x="644366" y="221456"/>
                    <a:pt x="649129" y="240506"/>
                  </a:cubicBezTo>
                  <a:cubicBezTo>
                    <a:pt x="649129" y="241459"/>
                    <a:pt x="649129" y="242411"/>
                    <a:pt x="650081" y="244316"/>
                  </a:cubicBezTo>
                  <a:cubicBezTo>
                    <a:pt x="649129" y="250031"/>
                    <a:pt x="648176" y="255746"/>
                    <a:pt x="647224" y="262414"/>
                  </a:cubicBezTo>
                  <a:cubicBezTo>
                    <a:pt x="646271" y="268129"/>
                    <a:pt x="645319" y="273844"/>
                    <a:pt x="644366" y="279559"/>
                  </a:cubicBezTo>
                  <a:cubicBezTo>
                    <a:pt x="643414" y="285274"/>
                    <a:pt x="643414" y="291941"/>
                    <a:pt x="642461" y="298609"/>
                  </a:cubicBezTo>
                  <a:cubicBezTo>
                    <a:pt x="642461" y="298609"/>
                    <a:pt x="642461" y="298609"/>
                    <a:pt x="642461" y="298609"/>
                  </a:cubicBezTo>
                  <a:cubicBezTo>
                    <a:pt x="642461" y="296704"/>
                    <a:pt x="642461" y="294799"/>
                    <a:pt x="642461" y="294799"/>
                  </a:cubicBezTo>
                  <a:cubicBezTo>
                    <a:pt x="642461" y="294799"/>
                    <a:pt x="642461" y="302419"/>
                    <a:pt x="641509" y="315754"/>
                  </a:cubicBezTo>
                  <a:cubicBezTo>
                    <a:pt x="641509" y="316706"/>
                    <a:pt x="641509" y="316706"/>
                    <a:pt x="641509" y="317659"/>
                  </a:cubicBezTo>
                  <a:cubicBezTo>
                    <a:pt x="640556" y="314801"/>
                    <a:pt x="639604" y="311944"/>
                    <a:pt x="639604" y="309086"/>
                  </a:cubicBezTo>
                  <a:cubicBezTo>
                    <a:pt x="640556" y="306229"/>
                    <a:pt x="640556" y="304324"/>
                    <a:pt x="640556" y="304324"/>
                  </a:cubicBezTo>
                  <a:cubicBezTo>
                    <a:pt x="640556" y="304324"/>
                    <a:pt x="639604" y="305276"/>
                    <a:pt x="638651" y="307181"/>
                  </a:cubicBezTo>
                  <a:cubicBezTo>
                    <a:pt x="636746" y="299561"/>
                    <a:pt x="634841" y="291941"/>
                    <a:pt x="632936" y="284321"/>
                  </a:cubicBezTo>
                  <a:cubicBezTo>
                    <a:pt x="630079" y="271939"/>
                    <a:pt x="626269" y="260509"/>
                    <a:pt x="624364" y="250031"/>
                  </a:cubicBezTo>
                  <a:cubicBezTo>
                    <a:pt x="622459" y="239554"/>
                    <a:pt x="619601" y="230981"/>
                    <a:pt x="617696" y="223361"/>
                  </a:cubicBezTo>
                  <a:cubicBezTo>
                    <a:pt x="616744" y="218599"/>
                    <a:pt x="615791" y="214789"/>
                    <a:pt x="614839" y="210979"/>
                  </a:cubicBezTo>
                  <a:cubicBezTo>
                    <a:pt x="615791" y="204311"/>
                    <a:pt x="615791" y="197644"/>
                    <a:pt x="615791" y="190024"/>
                  </a:cubicBezTo>
                  <a:cubicBezTo>
                    <a:pt x="616744" y="169069"/>
                    <a:pt x="617696" y="148114"/>
                    <a:pt x="617696" y="126206"/>
                  </a:cubicBezTo>
                  <a:cubicBezTo>
                    <a:pt x="613886" y="146209"/>
                    <a:pt x="610076" y="166211"/>
                    <a:pt x="607219" y="187166"/>
                  </a:cubicBezTo>
                  <a:cubicBezTo>
                    <a:pt x="607219" y="186214"/>
                    <a:pt x="607219" y="185261"/>
                    <a:pt x="606266" y="184309"/>
                  </a:cubicBezTo>
                  <a:cubicBezTo>
                    <a:pt x="606266" y="186214"/>
                    <a:pt x="606266" y="188119"/>
                    <a:pt x="606266" y="189071"/>
                  </a:cubicBezTo>
                  <a:cubicBezTo>
                    <a:pt x="604361" y="197644"/>
                    <a:pt x="603409" y="207169"/>
                    <a:pt x="601504" y="215741"/>
                  </a:cubicBezTo>
                  <a:cubicBezTo>
                    <a:pt x="600551" y="213836"/>
                    <a:pt x="600551" y="211931"/>
                    <a:pt x="599599" y="210979"/>
                  </a:cubicBezTo>
                  <a:cubicBezTo>
                    <a:pt x="593884" y="198596"/>
                    <a:pt x="591026" y="191929"/>
                    <a:pt x="591026" y="191929"/>
                  </a:cubicBezTo>
                  <a:cubicBezTo>
                    <a:pt x="591026" y="191929"/>
                    <a:pt x="592931" y="199549"/>
                    <a:pt x="595789" y="212884"/>
                  </a:cubicBezTo>
                  <a:cubicBezTo>
                    <a:pt x="596741" y="217646"/>
                    <a:pt x="597694" y="223361"/>
                    <a:pt x="599599" y="230029"/>
                  </a:cubicBezTo>
                  <a:cubicBezTo>
                    <a:pt x="598646" y="237649"/>
                    <a:pt x="596741" y="244316"/>
                    <a:pt x="595789" y="251936"/>
                  </a:cubicBezTo>
                  <a:cubicBezTo>
                    <a:pt x="592931" y="266224"/>
                    <a:pt x="591026" y="280511"/>
                    <a:pt x="589121" y="294799"/>
                  </a:cubicBezTo>
                  <a:cubicBezTo>
                    <a:pt x="586264" y="290989"/>
                    <a:pt x="584359" y="288131"/>
                    <a:pt x="582454" y="284321"/>
                  </a:cubicBezTo>
                  <a:cubicBezTo>
                    <a:pt x="583406" y="277654"/>
                    <a:pt x="584359" y="270986"/>
                    <a:pt x="585311" y="265271"/>
                  </a:cubicBezTo>
                  <a:cubicBezTo>
                    <a:pt x="586264" y="256699"/>
                    <a:pt x="587216" y="250031"/>
                    <a:pt x="588169" y="244316"/>
                  </a:cubicBezTo>
                  <a:cubicBezTo>
                    <a:pt x="590074" y="232886"/>
                    <a:pt x="591026" y="225266"/>
                    <a:pt x="591026" y="225266"/>
                  </a:cubicBezTo>
                  <a:cubicBezTo>
                    <a:pt x="591026" y="225266"/>
                    <a:pt x="588169" y="231934"/>
                    <a:pt x="584359" y="243364"/>
                  </a:cubicBezTo>
                  <a:cubicBezTo>
                    <a:pt x="583406" y="247174"/>
                    <a:pt x="581501" y="252889"/>
                    <a:pt x="579596" y="258604"/>
                  </a:cubicBezTo>
                  <a:cubicBezTo>
                    <a:pt x="578644" y="248126"/>
                    <a:pt x="578644" y="239554"/>
                    <a:pt x="577691" y="231934"/>
                  </a:cubicBezTo>
                  <a:cubicBezTo>
                    <a:pt x="576739" y="218599"/>
                    <a:pt x="575786" y="210979"/>
                    <a:pt x="575786" y="210979"/>
                  </a:cubicBezTo>
                  <a:cubicBezTo>
                    <a:pt x="575786" y="210979"/>
                    <a:pt x="574834" y="218599"/>
                    <a:pt x="573881" y="230981"/>
                  </a:cubicBezTo>
                  <a:cubicBezTo>
                    <a:pt x="572929" y="240506"/>
                    <a:pt x="571976" y="252889"/>
                    <a:pt x="571024" y="267176"/>
                  </a:cubicBezTo>
                  <a:cubicBezTo>
                    <a:pt x="571024" y="267176"/>
                    <a:pt x="571024" y="267176"/>
                    <a:pt x="571024" y="267176"/>
                  </a:cubicBezTo>
                  <a:cubicBezTo>
                    <a:pt x="570071" y="265271"/>
                    <a:pt x="568166" y="264319"/>
                    <a:pt x="567214" y="262414"/>
                  </a:cubicBezTo>
                  <a:cubicBezTo>
                    <a:pt x="561499" y="245269"/>
                    <a:pt x="556736" y="230981"/>
                    <a:pt x="552926" y="219551"/>
                  </a:cubicBezTo>
                  <a:cubicBezTo>
                    <a:pt x="552926" y="219551"/>
                    <a:pt x="552926" y="218599"/>
                    <a:pt x="552926" y="218599"/>
                  </a:cubicBezTo>
                  <a:cubicBezTo>
                    <a:pt x="553879" y="208121"/>
                    <a:pt x="554831" y="198596"/>
                    <a:pt x="555784" y="189071"/>
                  </a:cubicBezTo>
                  <a:cubicBezTo>
                    <a:pt x="556736" y="179546"/>
                    <a:pt x="557689" y="170021"/>
                    <a:pt x="558641" y="162401"/>
                  </a:cubicBezTo>
                  <a:cubicBezTo>
                    <a:pt x="559594" y="154781"/>
                    <a:pt x="560546" y="147161"/>
                    <a:pt x="561499" y="141446"/>
                  </a:cubicBezTo>
                  <a:cubicBezTo>
                    <a:pt x="563404" y="130016"/>
                    <a:pt x="564356" y="123349"/>
                    <a:pt x="564356" y="123349"/>
                  </a:cubicBezTo>
                  <a:cubicBezTo>
                    <a:pt x="564356" y="123349"/>
                    <a:pt x="561499" y="130016"/>
                    <a:pt x="557689" y="140494"/>
                  </a:cubicBezTo>
                  <a:cubicBezTo>
                    <a:pt x="555784" y="146209"/>
                    <a:pt x="553879" y="152876"/>
                    <a:pt x="551021" y="160496"/>
                  </a:cubicBezTo>
                  <a:cubicBezTo>
                    <a:pt x="548164" y="168116"/>
                    <a:pt x="546259" y="177641"/>
                    <a:pt x="544354" y="187166"/>
                  </a:cubicBezTo>
                  <a:cubicBezTo>
                    <a:pt x="542449" y="196691"/>
                    <a:pt x="540544" y="207169"/>
                    <a:pt x="537686" y="218599"/>
                  </a:cubicBezTo>
                  <a:cubicBezTo>
                    <a:pt x="536734" y="222409"/>
                    <a:pt x="536734" y="227171"/>
                    <a:pt x="535781" y="231934"/>
                  </a:cubicBezTo>
                  <a:cubicBezTo>
                    <a:pt x="535781" y="228124"/>
                    <a:pt x="534829" y="224314"/>
                    <a:pt x="534829" y="220504"/>
                  </a:cubicBezTo>
                  <a:cubicBezTo>
                    <a:pt x="534829" y="214789"/>
                    <a:pt x="533876" y="210026"/>
                    <a:pt x="532924" y="205264"/>
                  </a:cubicBezTo>
                  <a:cubicBezTo>
                    <a:pt x="532924" y="198596"/>
                    <a:pt x="533876" y="192881"/>
                    <a:pt x="533876" y="186214"/>
                  </a:cubicBezTo>
                  <a:cubicBezTo>
                    <a:pt x="533876" y="179546"/>
                    <a:pt x="534829" y="172879"/>
                    <a:pt x="534829" y="166211"/>
                  </a:cubicBezTo>
                  <a:cubicBezTo>
                    <a:pt x="534829" y="159544"/>
                    <a:pt x="534829" y="153829"/>
                    <a:pt x="534829" y="148114"/>
                  </a:cubicBezTo>
                  <a:cubicBezTo>
                    <a:pt x="534829" y="136684"/>
                    <a:pt x="534829" y="127159"/>
                    <a:pt x="534829" y="118586"/>
                  </a:cubicBezTo>
                  <a:cubicBezTo>
                    <a:pt x="534829" y="102394"/>
                    <a:pt x="533876" y="92869"/>
                    <a:pt x="533876" y="92869"/>
                  </a:cubicBezTo>
                  <a:cubicBezTo>
                    <a:pt x="533876" y="92869"/>
                    <a:pt x="532924" y="102394"/>
                    <a:pt x="531019" y="118586"/>
                  </a:cubicBezTo>
                  <a:cubicBezTo>
                    <a:pt x="530066" y="126206"/>
                    <a:pt x="529114" y="136684"/>
                    <a:pt x="528161" y="147161"/>
                  </a:cubicBezTo>
                  <a:cubicBezTo>
                    <a:pt x="527209" y="152876"/>
                    <a:pt x="527209" y="158591"/>
                    <a:pt x="526256" y="165259"/>
                  </a:cubicBezTo>
                  <a:cubicBezTo>
                    <a:pt x="525304" y="171926"/>
                    <a:pt x="524351" y="177641"/>
                    <a:pt x="523399" y="185261"/>
                  </a:cubicBezTo>
                  <a:cubicBezTo>
                    <a:pt x="522446" y="189071"/>
                    <a:pt x="522446" y="192881"/>
                    <a:pt x="521494" y="197644"/>
                  </a:cubicBezTo>
                  <a:cubicBezTo>
                    <a:pt x="518636" y="187166"/>
                    <a:pt x="516731" y="177641"/>
                    <a:pt x="513874" y="170021"/>
                  </a:cubicBezTo>
                  <a:cubicBezTo>
                    <a:pt x="509111" y="153829"/>
                    <a:pt x="506254" y="144304"/>
                    <a:pt x="506254" y="144304"/>
                  </a:cubicBezTo>
                  <a:cubicBezTo>
                    <a:pt x="506254" y="144304"/>
                    <a:pt x="507206" y="153829"/>
                    <a:pt x="510064" y="170974"/>
                  </a:cubicBezTo>
                  <a:cubicBezTo>
                    <a:pt x="511969" y="184309"/>
                    <a:pt x="513874" y="201454"/>
                    <a:pt x="517684" y="222409"/>
                  </a:cubicBezTo>
                  <a:cubicBezTo>
                    <a:pt x="517684" y="225266"/>
                    <a:pt x="516731" y="227171"/>
                    <a:pt x="516731" y="230029"/>
                  </a:cubicBezTo>
                  <a:cubicBezTo>
                    <a:pt x="515779" y="237649"/>
                    <a:pt x="514826" y="244316"/>
                    <a:pt x="512921" y="251936"/>
                  </a:cubicBezTo>
                  <a:cubicBezTo>
                    <a:pt x="499586" y="210026"/>
                    <a:pt x="490061" y="181451"/>
                    <a:pt x="487204" y="172879"/>
                  </a:cubicBezTo>
                  <a:cubicBezTo>
                    <a:pt x="486251" y="167164"/>
                    <a:pt x="485299" y="164306"/>
                    <a:pt x="485299" y="164306"/>
                  </a:cubicBezTo>
                  <a:cubicBezTo>
                    <a:pt x="485299" y="164306"/>
                    <a:pt x="486251" y="173831"/>
                    <a:pt x="486251" y="189071"/>
                  </a:cubicBezTo>
                  <a:cubicBezTo>
                    <a:pt x="487204" y="196691"/>
                    <a:pt x="487204" y="207169"/>
                    <a:pt x="488156" y="217646"/>
                  </a:cubicBezTo>
                  <a:cubicBezTo>
                    <a:pt x="488156" y="224314"/>
                    <a:pt x="489109" y="230981"/>
                    <a:pt x="489109" y="238601"/>
                  </a:cubicBezTo>
                  <a:cubicBezTo>
                    <a:pt x="488156" y="232886"/>
                    <a:pt x="487204" y="228124"/>
                    <a:pt x="486251" y="223361"/>
                  </a:cubicBezTo>
                  <a:cubicBezTo>
                    <a:pt x="485299" y="217646"/>
                    <a:pt x="484346" y="212884"/>
                    <a:pt x="482441" y="207169"/>
                  </a:cubicBezTo>
                  <a:cubicBezTo>
                    <a:pt x="480536" y="202406"/>
                    <a:pt x="479584" y="197644"/>
                    <a:pt x="478631" y="192881"/>
                  </a:cubicBezTo>
                  <a:cubicBezTo>
                    <a:pt x="475774" y="184309"/>
                    <a:pt x="473869" y="176689"/>
                    <a:pt x="471964" y="170021"/>
                  </a:cubicBezTo>
                  <a:cubicBezTo>
                    <a:pt x="468154" y="157639"/>
                    <a:pt x="465296" y="150019"/>
                    <a:pt x="465296" y="150019"/>
                  </a:cubicBezTo>
                  <a:cubicBezTo>
                    <a:pt x="465296" y="150019"/>
                    <a:pt x="466249" y="157639"/>
                    <a:pt x="468154" y="170021"/>
                  </a:cubicBezTo>
                  <a:cubicBezTo>
                    <a:pt x="469106" y="176689"/>
                    <a:pt x="470059" y="184309"/>
                    <a:pt x="471011" y="193834"/>
                  </a:cubicBezTo>
                  <a:cubicBezTo>
                    <a:pt x="471964" y="198596"/>
                    <a:pt x="471964" y="203359"/>
                    <a:pt x="472916" y="208121"/>
                  </a:cubicBezTo>
                  <a:cubicBezTo>
                    <a:pt x="473869" y="212884"/>
                    <a:pt x="473869" y="218599"/>
                    <a:pt x="474821" y="224314"/>
                  </a:cubicBezTo>
                  <a:cubicBezTo>
                    <a:pt x="475774" y="233839"/>
                    <a:pt x="476726" y="244316"/>
                    <a:pt x="478631" y="255746"/>
                  </a:cubicBezTo>
                  <a:cubicBezTo>
                    <a:pt x="477679" y="250031"/>
                    <a:pt x="475774" y="245269"/>
                    <a:pt x="474821" y="240506"/>
                  </a:cubicBezTo>
                  <a:cubicBezTo>
                    <a:pt x="467201" y="211931"/>
                    <a:pt x="460534" y="188119"/>
                    <a:pt x="455771" y="170974"/>
                  </a:cubicBezTo>
                  <a:cubicBezTo>
                    <a:pt x="450056" y="154781"/>
                    <a:pt x="447199" y="145256"/>
                    <a:pt x="447199" y="145256"/>
                  </a:cubicBezTo>
                  <a:cubicBezTo>
                    <a:pt x="447199" y="145256"/>
                    <a:pt x="449104" y="154781"/>
                    <a:pt x="451961" y="171926"/>
                  </a:cubicBezTo>
                  <a:cubicBezTo>
                    <a:pt x="453866" y="180499"/>
                    <a:pt x="454819" y="190976"/>
                    <a:pt x="457676" y="202406"/>
                  </a:cubicBezTo>
                  <a:cubicBezTo>
                    <a:pt x="459581" y="213836"/>
                    <a:pt x="462439" y="227171"/>
                    <a:pt x="464344" y="242411"/>
                  </a:cubicBezTo>
                  <a:cubicBezTo>
                    <a:pt x="466249" y="254794"/>
                    <a:pt x="469106" y="268129"/>
                    <a:pt x="471011" y="282416"/>
                  </a:cubicBezTo>
                  <a:cubicBezTo>
                    <a:pt x="469106" y="278606"/>
                    <a:pt x="468154" y="275749"/>
                    <a:pt x="467201" y="272891"/>
                  </a:cubicBezTo>
                  <a:cubicBezTo>
                    <a:pt x="462439" y="262414"/>
                    <a:pt x="459581" y="255746"/>
                    <a:pt x="459581" y="255746"/>
                  </a:cubicBezTo>
                  <a:cubicBezTo>
                    <a:pt x="459581" y="255746"/>
                    <a:pt x="460534" y="262414"/>
                    <a:pt x="463391" y="273844"/>
                  </a:cubicBezTo>
                  <a:cubicBezTo>
                    <a:pt x="464344" y="279559"/>
                    <a:pt x="466249" y="286226"/>
                    <a:pt x="468154" y="293846"/>
                  </a:cubicBezTo>
                  <a:cubicBezTo>
                    <a:pt x="469106" y="297656"/>
                    <a:pt x="470059" y="302419"/>
                    <a:pt x="471011" y="306229"/>
                  </a:cubicBezTo>
                  <a:cubicBezTo>
                    <a:pt x="471964" y="310991"/>
                    <a:pt x="472916" y="315754"/>
                    <a:pt x="473869" y="320516"/>
                  </a:cubicBezTo>
                  <a:cubicBezTo>
                    <a:pt x="475774" y="330041"/>
                    <a:pt x="477679" y="340519"/>
                    <a:pt x="479584" y="351949"/>
                  </a:cubicBezTo>
                  <a:cubicBezTo>
                    <a:pt x="479584" y="352901"/>
                    <a:pt x="479584" y="352901"/>
                    <a:pt x="479584" y="353854"/>
                  </a:cubicBezTo>
                  <a:cubicBezTo>
                    <a:pt x="479584" y="353854"/>
                    <a:pt x="479584" y="352901"/>
                    <a:pt x="478631" y="351949"/>
                  </a:cubicBezTo>
                  <a:cubicBezTo>
                    <a:pt x="476726" y="347186"/>
                    <a:pt x="473869" y="343376"/>
                    <a:pt x="471964" y="338614"/>
                  </a:cubicBezTo>
                  <a:cubicBezTo>
                    <a:pt x="471011" y="333851"/>
                    <a:pt x="471011" y="329089"/>
                    <a:pt x="470059" y="324326"/>
                  </a:cubicBezTo>
                  <a:cubicBezTo>
                    <a:pt x="468154" y="309086"/>
                    <a:pt x="465296" y="294799"/>
                    <a:pt x="462439" y="280511"/>
                  </a:cubicBezTo>
                  <a:cubicBezTo>
                    <a:pt x="459581" y="266224"/>
                    <a:pt x="455771" y="252889"/>
                    <a:pt x="452914" y="240506"/>
                  </a:cubicBezTo>
                  <a:cubicBezTo>
                    <a:pt x="449104" y="228124"/>
                    <a:pt x="445294" y="215741"/>
                    <a:pt x="441484" y="205264"/>
                  </a:cubicBezTo>
                  <a:cubicBezTo>
                    <a:pt x="440531" y="201454"/>
                    <a:pt x="438626" y="198596"/>
                    <a:pt x="437674" y="194786"/>
                  </a:cubicBezTo>
                  <a:cubicBezTo>
                    <a:pt x="438626" y="185261"/>
                    <a:pt x="439579" y="175736"/>
                    <a:pt x="440531" y="167164"/>
                  </a:cubicBezTo>
                  <a:cubicBezTo>
                    <a:pt x="441484" y="151924"/>
                    <a:pt x="442436" y="139541"/>
                    <a:pt x="442436" y="128111"/>
                  </a:cubicBezTo>
                  <a:cubicBezTo>
                    <a:pt x="442436" y="106204"/>
                    <a:pt x="441484" y="94774"/>
                    <a:pt x="441484" y="94774"/>
                  </a:cubicBezTo>
                  <a:cubicBezTo>
                    <a:pt x="441484" y="94774"/>
                    <a:pt x="440531" y="107156"/>
                    <a:pt x="438626" y="128111"/>
                  </a:cubicBezTo>
                  <a:cubicBezTo>
                    <a:pt x="437674" y="138589"/>
                    <a:pt x="435769" y="151924"/>
                    <a:pt x="433864" y="166211"/>
                  </a:cubicBezTo>
                  <a:cubicBezTo>
                    <a:pt x="432911" y="170021"/>
                    <a:pt x="432911" y="173831"/>
                    <a:pt x="431959" y="178594"/>
                  </a:cubicBezTo>
                  <a:cubicBezTo>
                    <a:pt x="431959" y="177641"/>
                    <a:pt x="431006" y="176689"/>
                    <a:pt x="431006" y="175736"/>
                  </a:cubicBezTo>
                  <a:cubicBezTo>
                    <a:pt x="427196" y="167164"/>
                    <a:pt x="423386" y="159544"/>
                    <a:pt x="419576" y="153829"/>
                  </a:cubicBezTo>
                  <a:cubicBezTo>
                    <a:pt x="412909" y="142399"/>
                    <a:pt x="408146" y="135731"/>
                    <a:pt x="408146" y="135731"/>
                  </a:cubicBezTo>
                  <a:cubicBezTo>
                    <a:pt x="408146" y="135731"/>
                    <a:pt x="411004" y="143351"/>
                    <a:pt x="415766" y="155734"/>
                  </a:cubicBezTo>
                  <a:cubicBezTo>
                    <a:pt x="418624" y="161449"/>
                    <a:pt x="420529" y="170021"/>
                    <a:pt x="423386" y="178594"/>
                  </a:cubicBezTo>
                  <a:cubicBezTo>
                    <a:pt x="425291" y="184309"/>
                    <a:pt x="427196" y="190024"/>
                    <a:pt x="428149" y="195739"/>
                  </a:cubicBezTo>
                  <a:cubicBezTo>
                    <a:pt x="427196" y="201454"/>
                    <a:pt x="425291" y="208121"/>
                    <a:pt x="424339" y="214789"/>
                  </a:cubicBezTo>
                  <a:cubicBezTo>
                    <a:pt x="424339" y="214789"/>
                    <a:pt x="424339" y="214789"/>
                    <a:pt x="424339" y="214789"/>
                  </a:cubicBezTo>
                  <a:cubicBezTo>
                    <a:pt x="418624" y="206216"/>
                    <a:pt x="415766" y="202406"/>
                    <a:pt x="415766" y="202406"/>
                  </a:cubicBezTo>
                  <a:cubicBezTo>
                    <a:pt x="415766" y="202406"/>
                    <a:pt x="417671" y="208121"/>
                    <a:pt x="421481" y="216694"/>
                  </a:cubicBezTo>
                  <a:cubicBezTo>
                    <a:pt x="422434" y="218599"/>
                    <a:pt x="423386" y="220504"/>
                    <a:pt x="423386" y="223361"/>
                  </a:cubicBezTo>
                  <a:cubicBezTo>
                    <a:pt x="420529" y="238601"/>
                    <a:pt x="416719" y="255746"/>
                    <a:pt x="412909" y="272891"/>
                  </a:cubicBezTo>
                  <a:cubicBezTo>
                    <a:pt x="410051" y="264319"/>
                    <a:pt x="407194" y="257651"/>
                    <a:pt x="405289" y="253841"/>
                  </a:cubicBezTo>
                  <a:cubicBezTo>
                    <a:pt x="405289" y="253841"/>
                    <a:pt x="405289" y="253841"/>
                    <a:pt x="405289" y="253841"/>
                  </a:cubicBezTo>
                  <a:cubicBezTo>
                    <a:pt x="405289" y="237649"/>
                    <a:pt x="405289" y="223361"/>
                    <a:pt x="404336" y="210026"/>
                  </a:cubicBezTo>
                  <a:cubicBezTo>
                    <a:pt x="403384" y="196691"/>
                    <a:pt x="403384" y="185261"/>
                    <a:pt x="401479" y="176689"/>
                  </a:cubicBezTo>
                  <a:cubicBezTo>
                    <a:pt x="398621" y="158591"/>
                    <a:pt x="396716" y="148114"/>
                    <a:pt x="396716" y="148114"/>
                  </a:cubicBezTo>
                  <a:cubicBezTo>
                    <a:pt x="396716" y="148114"/>
                    <a:pt x="396716" y="158591"/>
                    <a:pt x="397669" y="177641"/>
                  </a:cubicBezTo>
                  <a:cubicBezTo>
                    <a:pt x="397669" y="186214"/>
                    <a:pt x="397669" y="195739"/>
                    <a:pt x="396716" y="206216"/>
                  </a:cubicBezTo>
                  <a:cubicBezTo>
                    <a:pt x="394811" y="214789"/>
                    <a:pt x="391954" y="228124"/>
                    <a:pt x="389096" y="244316"/>
                  </a:cubicBezTo>
                  <a:cubicBezTo>
                    <a:pt x="386239" y="235744"/>
                    <a:pt x="384334" y="227171"/>
                    <a:pt x="381476" y="219551"/>
                  </a:cubicBezTo>
                  <a:cubicBezTo>
                    <a:pt x="379571" y="212884"/>
                    <a:pt x="377666" y="205264"/>
                    <a:pt x="374809" y="199549"/>
                  </a:cubicBezTo>
                  <a:cubicBezTo>
                    <a:pt x="373856" y="197644"/>
                    <a:pt x="373856" y="196691"/>
                    <a:pt x="372904" y="194786"/>
                  </a:cubicBezTo>
                  <a:cubicBezTo>
                    <a:pt x="372904" y="193834"/>
                    <a:pt x="372904" y="192881"/>
                    <a:pt x="372904" y="190976"/>
                  </a:cubicBezTo>
                  <a:cubicBezTo>
                    <a:pt x="371951" y="186214"/>
                    <a:pt x="370999" y="181451"/>
                    <a:pt x="370046" y="177641"/>
                  </a:cubicBezTo>
                  <a:cubicBezTo>
                    <a:pt x="368141" y="169069"/>
                    <a:pt x="367189" y="162401"/>
                    <a:pt x="366236" y="155734"/>
                  </a:cubicBezTo>
                  <a:cubicBezTo>
                    <a:pt x="365284" y="152876"/>
                    <a:pt x="365284" y="150019"/>
                    <a:pt x="364331" y="148114"/>
                  </a:cubicBezTo>
                  <a:cubicBezTo>
                    <a:pt x="363379" y="140494"/>
                    <a:pt x="363379" y="135731"/>
                    <a:pt x="363379" y="135731"/>
                  </a:cubicBezTo>
                  <a:cubicBezTo>
                    <a:pt x="363379" y="135731"/>
                    <a:pt x="363379" y="137636"/>
                    <a:pt x="363379" y="140494"/>
                  </a:cubicBezTo>
                  <a:cubicBezTo>
                    <a:pt x="362426" y="138589"/>
                    <a:pt x="362426" y="136684"/>
                    <a:pt x="362426" y="136684"/>
                  </a:cubicBezTo>
                  <a:cubicBezTo>
                    <a:pt x="362426" y="136684"/>
                    <a:pt x="362426" y="142399"/>
                    <a:pt x="362426" y="151924"/>
                  </a:cubicBezTo>
                  <a:cubicBezTo>
                    <a:pt x="362426" y="154781"/>
                    <a:pt x="362426" y="158591"/>
                    <a:pt x="361474" y="163354"/>
                  </a:cubicBezTo>
                  <a:cubicBezTo>
                    <a:pt x="359569" y="159544"/>
                    <a:pt x="358616" y="155734"/>
                    <a:pt x="357664" y="151924"/>
                  </a:cubicBezTo>
                  <a:cubicBezTo>
                    <a:pt x="350996" y="135731"/>
                    <a:pt x="348139" y="127159"/>
                    <a:pt x="348139" y="127159"/>
                  </a:cubicBezTo>
                  <a:cubicBezTo>
                    <a:pt x="348139" y="127159"/>
                    <a:pt x="350044" y="136684"/>
                    <a:pt x="353854" y="153829"/>
                  </a:cubicBezTo>
                  <a:cubicBezTo>
                    <a:pt x="355759" y="162401"/>
                    <a:pt x="358616" y="171926"/>
                    <a:pt x="361474" y="183356"/>
                  </a:cubicBezTo>
                  <a:cubicBezTo>
                    <a:pt x="361474" y="186214"/>
                    <a:pt x="361474" y="189071"/>
                    <a:pt x="361474" y="192881"/>
                  </a:cubicBezTo>
                  <a:cubicBezTo>
                    <a:pt x="359569" y="187166"/>
                    <a:pt x="357664" y="184309"/>
                    <a:pt x="357664" y="184309"/>
                  </a:cubicBezTo>
                  <a:cubicBezTo>
                    <a:pt x="357664" y="184309"/>
                    <a:pt x="358616" y="189071"/>
                    <a:pt x="360521" y="198596"/>
                  </a:cubicBezTo>
                  <a:cubicBezTo>
                    <a:pt x="360521" y="205264"/>
                    <a:pt x="360521" y="212884"/>
                    <a:pt x="359569" y="221456"/>
                  </a:cubicBezTo>
                  <a:cubicBezTo>
                    <a:pt x="357664" y="216694"/>
                    <a:pt x="356711" y="211931"/>
                    <a:pt x="355759" y="208121"/>
                  </a:cubicBezTo>
                  <a:cubicBezTo>
                    <a:pt x="352901" y="199549"/>
                    <a:pt x="350996" y="193834"/>
                    <a:pt x="350996" y="193834"/>
                  </a:cubicBezTo>
                  <a:cubicBezTo>
                    <a:pt x="350996" y="193834"/>
                    <a:pt x="350996" y="199549"/>
                    <a:pt x="351949" y="208121"/>
                  </a:cubicBezTo>
                  <a:cubicBezTo>
                    <a:pt x="351949" y="212884"/>
                    <a:pt x="352901" y="218599"/>
                    <a:pt x="352901" y="224314"/>
                  </a:cubicBezTo>
                  <a:cubicBezTo>
                    <a:pt x="353854" y="230981"/>
                    <a:pt x="353854" y="237649"/>
                    <a:pt x="353854" y="246221"/>
                  </a:cubicBezTo>
                  <a:cubicBezTo>
                    <a:pt x="353854" y="253841"/>
                    <a:pt x="354806" y="262414"/>
                    <a:pt x="354806" y="270986"/>
                  </a:cubicBezTo>
                  <a:cubicBezTo>
                    <a:pt x="355759" y="279559"/>
                    <a:pt x="355759" y="289084"/>
                    <a:pt x="355759" y="299561"/>
                  </a:cubicBezTo>
                  <a:cubicBezTo>
                    <a:pt x="355759" y="305276"/>
                    <a:pt x="356711" y="310991"/>
                    <a:pt x="356711" y="316706"/>
                  </a:cubicBezTo>
                  <a:cubicBezTo>
                    <a:pt x="352901" y="310039"/>
                    <a:pt x="349091" y="303371"/>
                    <a:pt x="346234" y="298609"/>
                  </a:cubicBezTo>
                  <a:cubicBezTo>
                    <a:pt x="346234" y="297656"/>
                    <a:pt x="345281" y="297656"/>
                    <a:pt x="345281" y="296704"/>
                  </a:cubicBezTo>
                  <a:cubicBezTo>
                    <a:pt x="345281" y="294799"/>
                    <a:pt x="345281" y="293846"/>
                    <a:pt x="345281" y="291941"/>
                  </a:cubicBezTo>
                  <a:cubicBezTo>
                    <a:pt x="346234" y="282416"/>
                    <a:pt x="347186" y="274796"/>
                    <a:pt x="348139" y="267176"/>
                  </a:cubicBezTo>
                  <a:cubicBezTo>
                    <a:pt x="349091" y="253841"/>
                    <a:pt x="350044" y="246221"/>
                    <a:pt x="350044" y="246221"/>
                  </a:cubicBezTo>
                  <a:cubicBezTo>
                    <a:pt x="350044" y="246221"/>
                    <a:pt x="348139" y="253841"/>
                    <a:pt x="344329" y="267176"/>
                  </a:cubicBezTo>
                  <a:cubicBezTo>
                    <a:pt x="342424" y="272891"/>
                    <a:pt x="341471" y="279559"/>
                    <a:pt x="339566" y="287179"/>
                  </a:cubicBezTo>
                  <a:cubicBezTo>
                    <a:pt x="339566" y="287179"/>
                    <a:pt x="339566" y="287179"/>
                    <a:pt x="339566" y="287179"/>
                  </a:cubicBezTo>
                  <a:cubicBezTo>
                    <a:pt x="339566" y="287179"/>
                    <a:pt x="339566" y="287179"/>
                    <a:pt x="339566" y="288131"/>
                  </a:cubicBezTo>
                  <a:cubicBezTo>
                    <a:pt x="339566" y="289084"/>
                    <a:pt x="338614" y="290036"/>
                    <a:pt x="338614" y="291941"/>
                  </a:cubicBezTo>
                  <a:cubicBezTo>
                    <a:pt x="338614" y="293846"/>
                    <a:pt x="337661" y="295751"/>
                    <a:pt x="337661" y="297656"/>
                  </a:cubicBezTo>
                  <a:cubicBezTo>
                    <a:pt x="332899" y="290036"/>
                    <a:pt x="328136" y="283369"/>
                    <a:pt x="324326" y="277654"/>
                  </a:cubicBezTo>
                  <a:cubicBezTo>
                    <a:pt x="320516" y="263366"/>
                    <a:pt x="315754" y="249079"/>
                    <a:pt x="310991" y="233839"/>
                  </a:cubicBezTo>
                  <a:cubicBezTo>
                    <a:pt x="308134" y="226219"/>
                    <a:pt x="306229" y="219551"/>
                    <a:pt x="303371" y="211931"/>
                  </a:cubicBezTo>
                  <a:cubicBezTo>
                    <a:pt x="304324" y="206216"/>
                    <a:pt x="305276" y="201454"/>
                    <a:pt x="306229" y="196691"/>
                  </a:cubicBezTo>
                  <a:cubicBezTo>
                    <a:pt x="310039" y="179546"/>
                    <a:pt x="312896" y="164306"/>
                    <a:pt x="316706" y="150971"/>
                  </a:cubicBezTo>
                  <a:cubicBezTo>
                    <a:pt x="320516" y="137636"/>
                    <a:pt x="322421" y="125254"/>
                    <a:pt x="326231" y="115729"/>
                  </a:cubicBezTo>
                  <a:cubicBezTo>
                    <a:pt x="331946" y="96679"/>
                    <a:pt x="335756" y="85249"/>
                    <a:pt x="335756" y="85249"/>
                  </a:cubicBezTo>
                  <a:cubicBezTo>
                    <a:pt x="335756" y="85249"/>
                    <a:pt x="330994" y="95726"/>
                    <a:pt x="323374" y="113824"/>
                  </a:cubicBezTo>
                  <a:cubicBezTo>
                    <a:pt x="319564" y="123349"/>
                    <a:pt x="315754" y="134779"/>
                    <a:pt x="310991" y="148114"/>
                  </a:cubicBezTo>
                  <a:cubicBezTo>
                    <a:pt x="309086" y="154781"/>
                    <a:pt x="306229" y="161449"/>
                    <a:pt x="303371" y="169069"/>
                  </a:cubicBezTo>
                  <a:cubicBezTo>
                    <a:pt x="301466" y="175736"/>
                    <a:pt x="299561" y="183356"/>
                    <a:pt x="297656" y="190024"/>
                  </a:cubicBezTo>
                  <a:cubicBezTo>
                    <a:pt x="293846" y="179546"/>
                    <a:pt x="290989" y="170021"/>
                    <a:pt x="287179" y="159544"/>
                  </a:cubicBezTo>
                  <a:cubicBezTo>
                    <a:pt x="290036" y="172879"/>
                    <a:pt x="291941" y="185261"/>
                    <a:pt x="294799" y="198596"/>
                  </a:cubicBezTo>
                  <a:cubicBezTo>
                    <a:pt x="290989" y="213836"/>
                    <a:pt x="287179" y="230029"/>
                    <a:pt x="283369" y="247174"/>
                  </a:cubicBezTo>
                  <a:cubicBezTo>
                    <a:pt x="282416" y="252889"/>
                    <a:pt x="281464" y="258604"/>
                    <a:pt x="279559" y="264319"/>
                  </a:cubicBezTo>
                  <a:cubicBezTo>
                    <a:pt x="278606" y="260509"/>
                    <a:pt x="277654" y="257651"/>
                    <a:pt x="276701" y="253841"/>
                  </a:cubicBezTo>
                  <a:cubicBezTo>
                    <a:pt x="276701" y="245269"/>
                    <a:pt x="277654" y="235744"/>
                    <a:pt x="278606" y="227171"/>
                  </a:cubicBezTo>
                  <a:cubicBezTo>
                    <a:pt x="280511" y="205264"/>
                    <a:pt x="281464" y="185261"/>
                    <a:pt x="284321" y="166211"/>
                  </a:cubicBezTo>
                  <a:cubicBezTo>
                    <a:pt x="285274" y="156686"/>
                    <a:pt x="286226" y="148114"/>
                    <a:pt x="287179" y="139541"/>
                  </a:cubicBezTo>
                  <a:cubicBezTo>
                    <a:pt x="288131" y="130969"/>
                    <a:pt x="290036" y="123349"/>
                    <a:pt x="290989" y="115729"/>
                  </a:cubicBezTo>
                  <a:cubicBezTo>
                    <a:pt x="293846" y="100489"/>
                    <a:pt x="294799" y="87154"/>
                    <a:pt x="297656" y="76676"/>
                  </a:cubicBezTo>
                  <a:cubicBezTo>
                    <a:pt x="302419" y="54769"/>
                    <a:pt x="304324" y="42386"/>
                    <a:pt x="304324" y="42386"/>
                  </a:cubicBezTo>
                  <a:cubicBezTo>
                    <a:pt x="304324" y="42386"/>
                    <a:pt x="300514" y="54769"/>
                    <a:pt x="293846" y="75724"/>
                  </a:cubicBezTo>
                  <a:cubicBezTo>
                    <a:pt x="290036" y="86201"/>
                    <a:pt x="287179" y="99536"/>
                    <a:pt x="283369" y="114776"/>
                  </a:cubicBezTo>
                  <a:cubicBezTo>
                    <a:pt x="281464" y="122396"/>
                    <a:pt x="279559" y="130016"/>
                    <a:pt x="277654" y="138589"/>
                  </a:cubicBezTo>
                  <a:cubicBezTo>
                    <a:pt x="275749" y="147161"/>
                    <a:pt x="274796" y="156686"/>
                    <a:pt x="272891" y="165259"/>
                  </a:cubicBezTo>
                  <a:cubicBezTo>
                    <a:pt x="271939" y="170021"/>
                    <a:pt x="270986" y="173831"/>
                    <a:pt x="270034" y="178594"/>
                  </a:cubicBezTo>
                  <a:cubicBezTo>
                    <a:pt x="268129" y="182404"/>
                    <a:pt x="265271" y="188119"/>
                    <a:pt x="261461" y="196691"/>
                  </a:cubicBezTo>
                  <a:cubicBezTo>
                    <a:pt x="260509" y="191929"/>
                    <a:pt x="258604" y="187166"/>
                    <a:pt x="258604" y="183356"/>
                  </a:cubicBezTo>
                  <a:cubicBezTo>
                    <a:pt x="255746" y="170021"/>
                    <a:pt x="253841" y="161449"/>
                    <a:pt x="253841" y="161449"/>
                  </a:cubicBezTo>
                  <a:cubicBezTo>
                    <a:pt x="253841" y="161449"/>
                    <a:pt x="253841" y="169069"/>
                    <a:pt x="254794" y="183356"/>
                  </a:cubicBezTo>
                  <a:cubicBezTo>
                    <a:pt x="254794" y="190024"/>
                    <a:pt x="255746" y="197644"/>
                    <a:pt x="256699" y="207169"/>
                  </a:cubicBezTo>
                  <a:cubicBezTo>
                    <a:pt x="253841" y="213836"/>
                    <a:pt x="250984" y="222409"/>
                    <a:pt x="247174" y="231934"/>
                  </a:cubicBezTo>
                  <a:cubicBezTo>
                    <a:pt x="246221" y="232886"/>
                    <a:pt x="246221" y="234791"/>
                    <a:pt x="245269" y="236696"/>
                  </a:cubicBezTo>
                  <a:cubicBezTo>
                    <a:pt x="243364" y="231934"/>
                    <a:pt x="242411" y="230029"/>
                    <a:pt x="242411" y="230029"/>
                  </a:cubicBezTo>
                  <a:cubicBezTo>
                    <a:pt x="242411" y="230029"/>
                    <a:pt x="243364" y="233839"/>
                    <a:pt x="244316" y="240506"/>
                  </a:cubicBezTo>
                  <a:cubicBezTo>
                    <a:pt x="241459" y="247174"/>
                    <a:pt x="239554" y="254794"/>
                    <a:pt x="236696" y="262414"/>
                  </a:cubicBezTo>
                  <a:cubicBezTo>
                    <a:pt x="232886" y="250031"/>
                    <a:pt x="229076" y="238601"/>
                    <a:pt x="226219" y="227171"/>
                  </a:cubicBezTo>
                  <a:cubicBezTo>
                    <a:pt x="223361" y="219551"/>
                    <a:pt x="221456" y="210979"/>
                    <a:pt x="218599" y="204311"/>
                  </a:cubicBezTo>
                  <a:cubicBezTo>
                    <a:pt x="215741" y="196691"/>
                    <a:pt x="213836" y="190024"/>
                    <a:pt x="210979" y="184309"/>
                  </a:cubicBezTo>
                  <a:cubicBezTo>
                    <a:pt x="206216" y="171926"/>
                    <a:pt x="202406" y="160496"/>
                    <a:pt x="198596" y="150971"/>
                  </a:cubicBezTo>
                  <a:cubicBezTo>
                    <a:pt x="191929" y="132874"/>
                    <a:pt x="187166" y="122396"/>
                    <a:pt x="187166" y="122396"/>
                  </a:cubicBezTo>
                  <a:cubicBezTo>
                    <a:pt x="187166" y="122396"/>
                    <a:pt x="190024" y="132874"/>
                    <a:pt x="194786" y="151924"/>
                  </a:cubicBezTo>
                  <a:cubicBezTo>
                    <a:pt x="197644" y="161449"/>
                    <a:pt x="200501" y="172879"/>
                    <a:pt x="204311" y="186214"/>
                  </a:cubicBezTo>
                  <a:cubicBezTo>
                    <a:pt x="206216" y="192881"/>
                    <a:pt x="208121" y="199549"/>
                    <a:pt x="210026" y="207169"/>
                  </a:cubicBezTo>
                  <a:cubicBezTo>
                    <a:pt x="211931" y="214789"/>
                    <a:pt x="213836" y="222409"/>
                    <a:pt x="215741" y="230981"/>
                  </a:cubicBezTo>
                  <a:cubicBezTo>
                    <a:pt x="218599" y="245269"/>
                    <a:pt x="222409" y="260509"/>
                    <a:pt x="226219" y="275749"/>
                  </a:cubicBezTo>
                  <a:cubicBezTo>
                    <a:pt x="224314" y="280511"/>
                    <a:pt x="221456" y="287179"/>
                    <a:pt x="218599" y="295751"/>
                  </a:cubicBezTo>
                  <a:cubicBezTo>
                    <a:pt x="218599" y="296704"/>
                    <a:pt x="217646" y="297656"/>
                    <a:pt x="217646" y="298609"/>
                  </a:cubicBezTo>
                  <a:cubicBezTo>
                    <a:pt x="216694" y="286226"/>
                    <a:pt x="215741" y="274796"/>
                    <a:pt x="214789" y="266224"/>
                  </a:cubicBezTo>
                  <a:cubicBezTo>
                    <a:pt x="213836" y="250984"/>
                    <a:pt x="212884" y="241459"/>
                    <a:pt x="212884" y="241459"/>
                  </a:cubicBezTo>
                  <a:cubicBezTo>
                    <a:pt x="212884" y="241459"/>
                    <a:pt x="211931" y="250031"/>
                    <a:pt x="210979" y="266224"/>
                  </a:cubicBezTo>
                  <a:cubicBezTo>
                    <a:pt x="210026" y="277654"/>
                    <a:pt x="210026" y="291941"/>
                    <a:pt x="209074" y="309086"/>
                  </a:cubicBezTo>
                  <a:cubicBezTo>
                    <a:pt x="204311" y="301466"/>
                    <a:pt x="200501" y="293846"/>
                    <a:pt x="196691" y="287179"/>
                  </a:cubicBezTo>
                  <a:cubicBezTo>
                    <a:pt x="192881" y="281464"/>
                    <a:pt x="190024" y="275749"/>
                    <a:pt x="187166" y="270034"/>
                  </a:cubicBezTo>
                  <a:cubicBezTo>
                    <a:pt x="183356" y="265271"/>
                    <a:pt x="180499" y="260509"/>
                    <a:pt x="177641" y="255746"/>
                  </a:cubicBezTo>
                  <a:cubicBezTo>
                    <a:pt x="171926" y="246221"/>
                    <a:pt x="166211" y="238601"/>
                    <a:pt x="161449" y="231934"/>
                  </a:cubicBezTo>
                  <a:cubicBezTo>
                    <a:pt x="159544" y="230029"/>
                    <a:pt x="158591" y="227171"/>
                    <a:pt x="156686" y="225266"/>
                  </a:cubicBezTo>
                  <a:cubicBezTo>
                    <a:pt x="154781" y="214789"/>
                    <a:pt x="152876" y="209074"/>
                    <a:pt x="152876" y="209074"/>
                  </a:cubicBezTo>
                  <a:cubicBezTo>
                    <a:pt x="152876" y="209074"/>
                    <a:pt x="152876" y="212884"/>
                    <a:pt x="152876" y="219551"/>
                  </a:cubicBezTo>
                  <a:cubicBezTo>
                    <a:pt x="149066" y="213836"/>
                    <a:pt x="146209" y="210979"/>
                    <a:pt x="146209" y="210979"/>
                  </a:cubicBezTo>
                  <a:cubicBezTo>
                    <a:pt x="146209" y="210979"/>
                    <a:pt x="148114" y="215741"/>
                    <a:pt x="152876" y="224314"/>
                  </a:cubicBezTo>
                  <a:cubicBezTo>
                    <a:pt x="153829" y="235744"/>
                    <a:pt x="154781" y="253841"/>
                    <a:pt x="156686" y="275749"/>
                  </a:cubicBezTo>
                  <a:cubicBezTo>
                    <a:pt x="153829" y="271939"/>
                    <a:pt x="150971" y="267176"/>
                    <a:pt x="148114" y="263366"/>
                  </a:cubicBezTo>
                  <a:cubicBezTo>
                    <a:pt x="139541" y="252889"/>
                    <a:pt x="131921" y="242411"/>
                    <a:pt x="124301" y="233839"/>
                  </a:cubicBezTo>
                  <a:cubicBezTo>
                    <a:pt x="116681" y="225266"/>
                    <a:pt x="110966" y="217646"/>
                    <a:pt x="104299" y="212884"/>
                  </a:cubicBezTo>
                  <a:cubicBezTo>
                    <a:pt x="94774" y="203359"/>
                    <a:pt x="88106" y="197644"/>
                    <a:pt x="88106" y="197644"/>
                  </a:cubicBezTo>
                  <a:cubicBezTo>
                    <a:pt x="88106" y="197644"/>
                    <a:pt x="93821" y="205264"/>
                    <a:pt x="103346" y="217646"/>
                  </a:cubicBezTo>
                  <a:cubicBezTo>
                    <a:pt x="108109" y="223361"/>
                    <a:pt x="113824" y="231934"/>
                    <a:pt x="119539" y="240506"/>
                  </a:cubicBezTo>
                  <a:cubicBezTo>
                    <a:pt x="126206" y="249079"/>
                    <a:pt x="131921" y="260509"/>
                    <a:pt x="139541" y="271939"/>
                  </a:cubicBezTo>
                  <a:cubicBezTo>
                    <a:pt x="143351" y="278606"/>
                    <a:pt x="148114" y="285274"/>
                    <a:pt x="151924" y="292894"/>
                  </a:cubicBezTo>
                  <a:cubicBezTo>
                    <a:pt x="151924" y="294799"/>
                    <a:pt x="151924" y="295751"/>
                    <a:pt x="151924" y="297656"/>
                  </a:cubicBezTo>
                  <a:cubicBezTo>
                    <a:pt x="151924" y="297656"/>
                    <a:pt x="150971" y="296704"/>
                    <a:pt x="150971" y="296704"/>
                  </a:cubicBezTo>
                  <a:cubicBezTo>
                    <a:pt x="145256" y="290989"/>
                    <a:pt x="140494" y="285274"/>
                    <a:pt x="136684" y="282416"/>
                  </a:cubicBezTo>
                  <a:cubicBezTo>
                    <a:pt x="134779" y="280511"/>
                    <a:pt x="133826" y="279559"/>
                    <a:pt x="131921" y="278606"/>
                  </a:cubicBezTo>
                  <a:cubicBezTo>
                    <a:pt x="132874" y="275749"/>
                    <a:pt x="132874" y="274796"/>
                    <a:pt x="132874" y="274796"/>
                  </a:cubicBezTo>
                  <a:cubicBezTo>
                    <a:pt x="132874" y="274796"/>
                    <a:pt x="131921" y="275749"/>
                    <a:pt x="130969" y="278606"/>
                  </a:cubicBezTo>
                  <a:cubicBezTo>
                    <a:pt x="125254" y="273844"/>
                    <a:pt x="122396" y="270986"/>
                    <a:pt x="122396" y="270986"/>
                  </a:cubicBezTo>
                  <a:cubicBezTo>
                    <a:pt x="122396" y="270986"/>
                    <a:pt x="125254" y="274796"/>
                    <a:pt x="130016" y="280511"/>
                  </a:cubicBezTo>
                  <a:cubicBezTo>
                    <a:pt x="128111" y="283369"/>
                    <a:pt x="126206" y="288131"/>
                    <a:pt x="123349" y="293846"/>
                  </a:cubicBezTo>
                  <a:cubicBezTo>
                    <a:pt x="120491" y="299561"/>
                    <a:pt x="117634" y="308134"/>
                    <a:pt x="114776" y="316706"/>
                  </a:cubicBezTo>
                  <a:cubicBezTo>
                    <a:pt x="113824" y="318611"/>
                    <a:pt x="113824" y="319564"/>
                    <a:pt x="112871" y="321469"/>
                  </a:cubicBezTo>
                  <a:cubicBezTo>
                    <a:pt x="110014" y="313849"/>
                    <a:pt x="107156" y="306229"/>
                    <a:pt x="103346" y="299561"/>
                  </a:cubicBezTo>
                  <a:cubicBezTo>
                    <a:pt x="97631" y="286226"/>
                    <a:pt x="91916" y="273844"/>
                    <a:pt x="86201" y="262414"/>
                  </a:cubicBezTo>
                  <a:cubicBezTo>
                    <a:pt x="83344" y="255746"/>
                    <a:pt x="80486" y="250984"/>
                    <a:pt x="78581" y="245269"/>
                  </a:cubicBezTo>
                  <a:cubicBezTo>
                    <a:pt x="75724" y="240506"/>
                    <a:pt x="72866" y="235744"/>
                    <a:pt x="70961" y="230981"/>
                  </a:cubicBezTo>
                  <a:cubicBezTo>
                    <a:pt x="66199" y="222409"/>
                    <a:pt x="61436" y="213836"/>
                    <a:pt x="57626" y="208121"/>
                  </a:cubicBezTo>
                  <a:cubicBezTo>
                    <a:pt x="50006" y="195739"/>
                    <a:pt x="46196" y="188119"/>
                    <a:pt x="46196" y="188119"/>
                  </a:cubicBezTo>
                  <a:cubicBezTo>
                    <a:pt x="46196" y="188119"/>
                    <a:pt x="49054" y="195739"/>
                    <a:pt x="54769" y="210026"/>
                  </a:cubicBezTo>
                  <a:cubicBezTo>
                    <a:pt x="57626" y="216694"/>
                    <a:pt x="60484" y="225266"/>
                    <a:pt x="64294" y="234791"/>
                  </a:cubicBezTo>
                  <a:cubicBezTo>
                    <a:pt x="66199" y="239554"/>
                    <a:pt x="68104" y="244316"/>
                    <a:pt x="70009" y="250031"/>
                  </a:cubicBezTo>
                  <a:cubicBezTo>
                    <a:pt x="71914" y="254794"/>
                    <a:pt x="73819" y="260509"/>
                    <a:pt x="75724" y="266224"/>
                  </a:cubicBezTo>
                  <a:cubicBezTo>
                    <a:pt x="78581" y="274796"/>
                    <a:pt x="82391" y="283369"/>
                    <a:pt x="85249" y="292894"/>
                  </a:cubicBezTo>
                  <a:cubicBezTo>
                    <a:pt x="83344" y="290036"/>
                    <a:pt x="81439" y="286226"/>
                    <a:pt x="79534" y="284321"/>
                  </a:cubicBezTo>
                  <a:cubicBezTo>
                    <a:pt x="74771" y="277654"/>
                    <a:pt x="71914" y="271939"/>
                    <a:pt x="68104" y="268129"/>
                  </a:cubicBezTo>
                  <a:cubicBezTo>
                    <a:pt x="61436" y="258604"/>
                    <a:pt x="57626" y="253841"/>
                    <a:pt x="57626" y="253841"/>
                  </a:cubicBezTo>
                  <a:cubicBezTo>
                    <a:pt x="57626" y="253841"/>
                    <a:pt x="59531" y="259556"/>
                    <a:pt x="64294" y="270034"/>
                  </a:cubicBezTo>
                  <a:cubicBezTo>
                    <a:pt x="66199" y="274796"/>
                    <a:pt x="69056" y="281464"/>
                    <a:pt x="71914" y="288131"/>
                  </a:cubicBezTo>
                  <a:cubicBezTo>
                    <a:pt x="76676" y="295751"/>
                    <a:pt x="79534" y="303371"/>
                    <a:pt x="83344" y="311944"/>
                  </a:cubicBezTo>
                  <a:cubicBezTo>
                    <a:pt x="86201" y="317659"/>
                    <a:pt x="88106" y="324326"/>
                    <a:pt x="90964" y="330994"/>
                  </a:cubicBezTo>
                  <a:cubicBezTo>
                    <a:pt x="90011" y="333851"/>
                    <a:pt x="89059" y="336709"/>
                    <a:pt x="87154" y="339566"/>
                  </a:cubicBezTo>
                  <a:cubicBezTo>
                    <a:pt x="85249" y="343376"/>
                    <a:pt x="83344" y="348139"/>
                    <a:pt x="81439" y="352901"/>
                  </a:cubicBezTo>
                  <a:cubicBezTo>
                    <a:pt x="80486" y="348139"/>
                    <a:pt x="79534" y="343376"/>
                    <a:pt x="78581" y="339566"/>
                  </a:cubicBezTo>
                  <a:cubicBezTo>
                    <a:pt x="75724" y="326231"/>
                    <a:pt x="72866" y="312896"/>
                    <a:pt x="70009" y="301466"/>
                  </a:cubicBezTo>
                  <a:cubicBezTo>
                    <a:pt x="67151" y="290036"/>
                    <a:pt x="64294" y="278606"/>
                    <a:pt x="61436" y="269081"/>
                  </a:cubicBezTo>
                  <a:cubicBezTo>
                    <a:pt x="58579" y="259556"/>
                    <a:pt x="56674" y="250984"/>
                    <a:pt x="53816" y="244316"/>
                  </a:cubicBezTo>
                  <a:cubicBezTo>
                    <a:pt x="49054" y="230981"/>
                    <a:pt x="46196" y="223361"/>
                    <a:pt x="46196" y="223361"/>
                  </a:cubicBezTo>
                  <a:cubicBezTo>
                    <a:pt x="46196" y="223361"/>
                    <a:pt x="47149" y="230981"/>
                    <a:pt x="50006" y="245269"/>
                  </a:cubicBezTo>
                  <a:cubicBezTo>
                    <a:pt x="50959" y="251936"/>
                    <a:pt x="51911" y="260509"/>
                    <a:pt x="53816" y="270034"/>
                  </a:cubicBezTo>
                  <a:cubicBezTo>
                    <a:pt x="55721" y="279559"/>
                    <a:pt x="56674" y="290989"/>
                    <a:pt x="58579" y="302419"/>
                  </a:cubicBezTo>
                  <a:cubicBezTo>
                    <a:pt x="60484" y="314801"/>
                    <a:pt x="61436" y="327184"/>
                    <a:pt x="64294" y="340519"/>
                  </a:cubicBezTo>
                  <a:cubicBezTo>
                    <a:pt x="66199" y="353854"/>
                    <a:pt x="67151" y="367189"/>
                    <a:pt x="69056" y="381476"/>
                  </a:cubicBezTo>
                  <a:cubicBezTo>
                    <a:pt x="68104" y="382429"/>
                    <a:pt x="68104" y="383381"/>
                    <a:pt x="67151" y="385286"/>
                  </a:cubicBezTo>
                  <a:cubicBezTo>
                    <a:pt x="64294" y="391954"/>
                    <a:pt x="62389" y="398621"/>
                    <a:pt x="60484" y="405289"/>
                  </a:cubicBezTo>
                  <a:cubicBezTo>
                    <a:pt x="60484" y="406241"/>
                    <a:pt x="60484" y="406241"/>
                    <a:pt x="59531" y="407194"/>
                  </a:cubicBezTo>
                  <a:cubicBezTo>
                    <a:pt x="58579" y="407194"/>
                    <a:pt x="57626" y="407194"/>
                    <a:pt x="56674" y="407194"/>
                  </a:cubicBezTo>
                  <a:cubicBezTo>
                    <a:pt x="55721" y="404336"/>
                    <a:pt x="55721" y="402431"/>
                    <a:pt x="54769" y="399574"/>
                  </a:cubicBezTo>
                  <a:cubicBezTo>
                    <a:pt x="51911" y="387191"/>
                    <a:pt x="49054" y="375761"/>
                    <a:pt x="46196" y="364331"/>
                  </a:cubicBezTo>
                  <a:cubicBezTo>
                    <a:pt x="43339" y="352901"/>
                    <a:pt x="40481" y="342424"/>
                    <a:pt x="37624" y="332899"/>
                  </a:cubicBezTo>
                  <a:cubicBezTo>
                    <a:pt x="31909" y="313849"/>
                    <a:pt x="26194" y="297656"/>
                    <a:pt x="21431" y="287179"/>
                  </a:cubicBezTo>
                  <a:cubicBezTo>
                    <a:pt x="16669" y="276701"/>
                    <a:pt x="13811" y="270034"/>
                    <a:pt x="13811" y="270034"/>
                  </a:cubicBezTo>
                  <a:cubicBezTo>
                    <a:pt x="13811" y="270034"/>
                    <a:pt x="14764" y="276701"/>
                    <a:pt x="17621" y="288131"/>
                  </a:cubicBezTo>
                  <a:cubicBezTo>
                    <a:pt x="18574" y="293846"/>
                    <a:pt x="20479" y="300514"/>
                    <a:pt x="21431" y="309086"/>
                  </a:cubicBezTo>
                  <a:cubicBezTo>
                    <a:pt x="23336" y="316706"/>
                    <a:pt x="24289" y="326231"/>
                    <a:pt x="26194" y="335756"/>
                  </a:cubicBezTo>
                  <a:cubicBezTo>
                    <a:pt x="28099" y="345281"/>
                    <a:pt x="30004" y="355759"/>
                    <a:pt x="31909" y="367189"/>
                  </a:cubicBezTo>
                  <a:cubicBezTo>
                    <a:pt x="35719" y="378619"/>
                    <a:pt x="37624" y="390049"/>
                    <a:pt x="39529" y="402431"/>
                  </a:cubicBezTo>
                  <a:cubicBezTo>
                    <a:pt x="39529" y="403384"/>
                    <a:pt x="39529" y="403384"/>
                    <a:pt x="39529" y="404336"/>
                  </a:cubicBezTo>
                  <a:cubicBezTo>
                    <a:pt x="29051" y="402431"/>
                    <a:pt x="18574" y="401479"/>
                    <a:pt x="7144" y="399574"/>
                  </a:cubicBezTo>
                  <a:lnTo>
                    <a:pt x="7144" y="511016"/>
                  </a:lnTo>
                  <a:close/>
                  <a:moveTo>
                    <a:pt x="6277451" y="364331"/>
                  </a:moveTo>
                  <a:cubicBezTo>
                    <a:pt x="6278404" y="362426"/>
                    <a:pt x="6278404" y="359569"/>
                    <a:pt x="6279356" y="357664"/>
                  </a:cubicBezTo>
                  <a:cubicBezTo>
                    <a:pt x="6279356" y="358616"/>
                    <a:pt x="6279356" y="360521"/>
                    <a:pt x="6279356" y="361474"/>
                  </a:cubicBezTo>
                  <a:cubicBezTo>
                    <a:pt x="6278404" y="370999"/>
                    <a:pt x="6278404" y="384334"/>
                    <a:pt x="6277451" y="399574"/>
                  </a:cubicBezTo>
                  <a:cubicBezTo>
                    <a:pt x="6274594" y="409099"/>
                    <a:pt x="6270784" y="419576"/>
                    <a:pt x="6267926" y="430054"/>
                  </a:cubicBezTo>
                  <a:cubicBezTo>
                    <a:pt x="6266974" y="430054"/>
                    <a:pt x="6266974" y="430054"/>
                    <a:pt x="6266021" y="430054"/>
                  </a:cubicBezTo>
                  <a:cubicBezTo>
                    <a:pt x="6264117" y="427196"/>
                    <a:pt x="6262212" y="424339"/>
                    <a:pt x="6260306" y="421481"/>
                  </a:cubicBezTo>
                  <a:cubicBezTo>
                    <a:pt x="6266021" y="402431"/>
                    <a:pt x="6271737" y="383381"/>
                    <a:pt x="6277451" y="364331"/>
                  </a:cubicBezTo>
                  <a:close/>
                  <a:moveTo>
                    <a:pt x="6211729" y="425291"/>
                  </a:moveTo>
                  <a:cubicBezTo>
                    <a:pt x="6211729" y="415766"/>
                    <a:pt x="6212681" y="406241"/>
                    <a:pt x="6212681" y="398621"/>
                  </a:cubicBezTo>
                  <a:cubicBezTo>
                    <a:pt x="6212681" y="395764"/>
                    <a:pt x="6212681" y="392906"/>
                    <a:pt x="6213634" y="390049"/>
                  </a:cubicBezTo>
                  <a:cubicBezTo>
                    <a:pt x="6214587" y="391001"/>
                    <a:pt x="6215539" y="392906"/>
                    <a:pt x="6216492" y="393859"/>
                  </a:cubicBezTo>
                  <a:cubicBezTo>
                    <a:pt x="6220301" y="398621"/>
                    <a:pt x="6224112" y="403384"/>
                    <a:pt x="6227921" y="408146"/>
                  </a:cubicBezTo>
                  <a:cubicBezTo>
                    <a:pt x="6226969" y="410051"/>
                    <a:pt x="6226017" y="411956"/>
                    <a:pt x="6225064" y="412909"/>
                  </a:cubicBezTo>
                  <a:cubicBezTo>
                    <a:pt x="6224112" y="414814"/>
                    <a:pt x="6222206" y="417671"/>
                    <a:pt x="6221254" y="420529"/>
                  </a:cubicBezTo>
                  <a:cubicBezTo>
                    <a:pt x="6220301" y="423386"/>
                    <a:pt x="6219349" y="426244"/>
                    <a:pt x="6218396" y="429101"/>
                  </a:cubicBezTo>
                  <a:cubicBezTo>
                    <a:pt x="6218396" y="430054"/>
                    <a:pt x="6218396" y="430054"/>
                    <a:pt x="6217444" y="431006"/>
                  </a:cubicBezTo>
                  <a:cubicBezTo>
                    <a:pt x="6217444" y="430054"/>
                    <a:pt x="6217444" y="429101"/>
                    <a:pt x="6217444" y="429101"/>
                  </a:cubicBezTo>
                  <a:cubicBezTo>
                    <a:pt x="6216492" y="419576"/>
                    <a:pt x="6215539" y="413861"/>
                    <a:pt x="6215539" y="413861"/>
                  </a:cubicBezTo>
                  <a:cubicBezTo>
                    <a:pt x="6215539" y="413861"/>
                    <a:pt x="6214587" y="419576"/>
                    <a:pt x="6213634" y="429101"/>
                  </a:cubicBezTo>
                  <a:cubicBezTo>
                    <a:pt x="6213634" y="432911"/>
                    <a:pt x="6212681" y="436721"/>
                    <a:pt x="6211729" y="441484"/>
                  </a:cubicBezTo>
                  <a:cubicBezTo>
                    <a:pt x="6211729" y="435769"/>
                    <a:pt x="6211729" y="430054"/>
                    <a:pt x="6211729" y="425291"/>
                  </a:cubicBezTo>
                  <a:close/>
                  <a:moveTo>
                    <a:pt x="6183154" y="343376"/>
                  </a:moveTo>
                  <a:cubicBezTo>
                    <a:pt x="6185059" y="346234"/>
                    <a:pt x="6186012" y="348139"/>
                    <a:pt x="6187917" y="350996"/>
                  </a:cubicBezTo>
                  <a:cubicBezTo>
                    <a:pt x="6188869" y="352901"/>
                    <a:pt x="6190774" y="354806"/>
                    <a:pt x="6191726" y="356711"/>
                  </a:cubicBezTo>
                  <a:cubicBezTo>
                    <a:pt x="6188869" y="366236"/>
                    <a:pt x="6186012" y="376714"/>
                    <a:pt x="6183154" y="388144"/>
                  </a:cubicBezTo>
                  <a:cubicBezTo>
                    <a:pt x="6183154" y="389096"/>
                    <a:pt x="6182201" y="391001"/>
                    <a:pt x="6182201" y="391954"/>
                  </a:cubicBezTo>
                  <a:cubicBezTo>
                    <a:pt x="6182201" y="386239"/>
                    <a:pt x="6181249" y="381476"/>
                    <a:pt x="6181249" y="375761"/>
                  </a:cubicBezTo>
                  <a:cubicBezTo>
                    <a:pt x="6181249" y="374809"/>
                    <a:pt x="6181249" y="373856"/>
                    <a:pt x="6181249" y="372904"/>
                  </a:cubicBezTo>
                  <a:cubicBezTo>
                    <a:pt x="6181249" y="362426"/>
                    <a:pt x="6182201" y="352901"/>
                    <a:pt x="6183154" y="343376"/>
                  </a:cubicBezTo>
                  <a:close/>
                  <a:moveTo>
                    <a:pt x="6144101" y="308134"/>
                  </a:moveTo>
                  <a:cubicBezTo>
                    <a:pt x="6145054" y="297656"/>
                    <a:pt x="6146959" y="287179"/>
                    <a:pt x="6147912" y="276701"/>
                  </a:cubicBezTo>
                  <a:cubicBezTo>
                    <a:pt x="6149817" y="280511"/>
                    <a:pt x="6151721" y="284321"/>
                    <a:pt x="6153626" y="289084"/>
                  </a:cubicBezTo>
                  <a:cubicBezTo>
                    <a:pt x="6156484" y="293846"/>
                    <a:pt x="6158389" y="299561"/>
                    <a:pt x="6161246" y="305276"/>
                  </a:cubicBezTo>
                  <a:cubicBezTo>
                    <a:pt x="6160294" y="308134"/>
                    <a:pt x="6159342" y="313849"/>
                    <a:pt x="6157437" y="319564"/>
                  </a:cubicBezTo>
                  <a:cubicBezTo>
                    <a:pt x="6155531" y="325279"/>
                    <a:pt x="6154579" y="332899"/>
                    <a:pt x="6152674" y="342424"/>
                  </a:cubicBezTo>
                  <a:cubicBezTo>
                    <a:pt x="6151721" y="347186"/>
                    <a:pt x="6150769" y="351949"/>
                    <a:pt x="6150769" y="356711"/>
                  </a:cubicBezTo>
                  <a:cubicBezTo>
                    <a:pt x="6150769" y="358616"/>
                    <a:pt x="6149817" y="359569"/>
                    <a:pt x="6149817" y="360521"/>
                  </a:cubicBezTo>
                  <a:cubicBezTo>
                    <a:pt x="6149817" y="362426"/>
                    <a:pt x="6148864" y="363379"/>
                    <a:pt x="6148864" y="365284"/>
                  </a:cubicBezTo>
                  <a:cubicBezTo>
                    <a:pt x="6146959" y="362426"/>
                    <a:pt x="6146006" y="360521"/>
                    <a:pt x="6146006" y="360521"/>
                  </a:cubicBezTo>
                  <a:cubicBezTo>
                    <a:pt x="6146006" y="360521"/>
                    <a:pt x="6146959" y="363379"/>
                    <a:pt x="6147912" y="368141"/>
                  </a:cubicBezTo>
                  <a:cubicBezTo>
                    <a:pt x="6146959" y="374809"/>
                    <a:pt x="6146006" y="382429"/>
                    <a:pt x="6145054" y="389096"/>
                  </a:cubicBezTo>
                  <a:cubicBezTo>
                    <a:pt x="6145054" y="388144"/>
                    <a:pt x="6144101" y="387191"/>
                    <a:pt x="6144101" y="386239"/>
                  </a:cubicBezTo>
                  <a:cubicBezTo>
                    <a:pt x="6144101" y="385286"/>
                    <a:pt x="6143149" y="385286"/>
                    <a:pt x="6143149" y="384334"/>
                  </a:cubicBezTo>
                  <a:cubicBezTo>
                    <a:pt x="6143149" y="379571"/>
                    <a:pt x="6142196" y="373856"/>
                    <a:pt x="6142196" y="369094"/>
                  </a:cubicBezTo>
                  <a:cubicBezTo>
                    <a:pt x="6141244" y="360521"/>
                    <a:pt x="6140292" y="351949"/>
                    <a:pt x="6139339" y="343376"/>
                  </a:cubicBezTo>
                  <a:cubicBezTo>
                    <a:pt x="6142196" y="331946"/>
                    <a:pt x="6143149" y="319564"/>
                    <a:pt x="6144101" y="308134"/>
                  </a:cubicBezTo>
                  <a:close/>
                  <a:moveTo>
                    <a:pt x="6095524" y="384334"/>
                  </a:moveTo>
                  <a:cubicBezTo>
                    <a:pt x="6093619" y="393859"/>
                    <a:pt x="6090762" y="403384"/>
                    <a:pt x="6088856" y="412909"/>
                  </a:cubicBezTo>
                  <a:cubicBezTo>
                    <a:pt x="6086951" y="420529"/>
                    <a:pt x="6085046" y="428149"/>
                    <a:pt x="6083142" y="435769"/>
                  </a:cubicBezTo>
                  <a:cubicBezTo>
                    <a:pt x="6081237" y="428149"/>
                    <a:pt x="6079331" y="419576"/>
                    <a:pt x="6076474" y="411956"/>
                  </a:cubicBezTo>
                  <a:cubicBezTo>
                    <a:pt x="6077426" y="405289"/>
                    <a:pt x="6078379" y="397669"/>
                    <a:pt x="6079331" y="391001"/>
                  </a:cubicBezTo>
                  <a:cubicBezTo>
                    <a:pt x="6080284" y="383381"/>
                    <a:pt x="6082189" y="375761"/>
                    <a:pt x="6084094" y="368141"/>
                  </a:cubicBezTo>
                  <a:lnTo>
                    <a:pt x="6088856" y="347186"/>
                  </a:lnTo>
                  <a:cubicBezTo>
                    <a:pt x="6089809" y="347186"/>
                    <a:pt x="6090762" y="347186"/>
                    <a:pt x="6091714" y="348139"/>
                  </a:cubicBezTo>
                  <a:cubicBezTo>
                    <a:pt x="6093619" y="349091"/>
                    <a:pt x="6094571" y="350044"/>
                    <a:pt x="6095524" y="350996"/>
                  </a:cubicBezTo>
                  <a:cubicBezTo>
                    <a:pt x="6098381" y="352901"/>
                    <a:pt x="6099334" y="356711"/>
                    <a:pt x="6100287" y="359569"/>
                  </a:cubicBezTo>
                  <a:cubicBezTo>
                    <a:pt x="6099334" y="367189"/>
                    <a:pt x="6097429" y="375761"/>
                    <a:pt x="6095524" y="384334"/>
                  </a:cubicBezTo>
                  <a:close/>
                  <a:moveTo>
                    <a:pt x="6102192" y="206216"/>
                  </a:moveTo>
                  <a:cubicBezTo>
                    <a:pt x="6102192" y="211931"/>
                    <a:pt x="6102192" y="222409"/>
                    <a:pt x="6101239" y="235744"/>
                  </a:cubicBezTo>
                  <a:cubicBezTo>
                    <a:pt x="6101239" y="237649"/>
                    <a:pt x="6101239" y="239554"/>
                    <a:pt x="6101239" y="241459"/>
                  </a:cubicBezTo>
                  <a:cubicBezTo>
                    <a:pt x="6101239" y="241459"/>
                    <a:pt x="6101239" y="242411"/>
                    <a:pt x="6101239" y="242411"/>
                  </a:cubicBezTo>
                  <a:cubicBezTo>
                    <a:pt x="6101239" y="242411"/>
                    <a:pt x="6101239" y="242411"/>
                    <a:pt x="6101239" y="242411"/>
                  </a:cubicBezTo>
                  <a:cubicBezTo>
                    <a:pt x="6101239" y="241459"/>
                    <a:pt x="6100287" y="240506"/>
                    <a:pt x="6100287" y="239554"/>
                  </a:cubicBezTo>
                  <a:cubicBezTo>
                    <a:pt x="6099334" y="236696"/>
                    <a:pt x="6098381" y="233839"/>
                    <a:pt x="6097429" y="230981"/>
                  </a:cubicBezTo>
                  <a:cubicBezTo>
                    <a:pt x="6099334" y="222409"/>
                    <a:pt x="6100287" y="213836"/>
                    <a:pt x="6102192" y="206216"/>
                  </a:cubicBezTo>
                  <a:close/>
                  <a:moveTo>
                    <a:pt x="6100287" y="284321"/>
                  </a:moveTo>
                  <a:cubicBezTo>
                    <a:pt x="6099334" y="282416"/>
                    <a:pt x="6099334" y="281464"/>
                    <a:pt x="6098381" y="279559"/>
                  </a:cubicBezTo>
                  <a:cubicBezTo>
                    <a:pt x="6098381" y="278606"/>
                    <a:pt x="6099334" y="277654"/>
                    <a:pt x="6099334" y="277654"/>
                  </a:cubicBezTo>
                  <a:cubicBezTo>
                    <a:pt x="6099334" y="279559"/>
                    <a:pt x="6099334" y="281464"/>
                    <a:pt x="6100287" y="284321"/>
                  </a:cubicBezTo>
                  <a:close/>
                  <a:moveTo>
                    <a:pt x="6093619" y="247174"/>
                  </a:moveTo>
                  <a:cubicBezTo>
                    <a:pt x="6094571" y="250031"/>
                    <a:pt x="6094571" y="252889"/>
                    <a:pt x="6095524" y="255746"/>
                  </a:cubicBezTo>
                  <a:cubicBezTo>
                    <a:pt x="6094571" y="258604"/>
                    <a:pt x="6092667" y="261461"/>
                    <a:pt x="6091714" y="264319"/>
                  </a:cubicBezTo>
                  <a:cubicBezTo>
                    <a:pt x="6091714" y="263366"/>
                    <a:pt x="6090762" y="262414"/>
                    <a:pt x="6090762" y="262414"/>
                  </a:cubicBezTo>
                  <a:cubicBezTo>
                    <a:pt x="6091714" y="257651"/>
                    <a:pt x="6092667" y="251936"/>
                    <a:pt x="6093619" y="247174"/>
                  </a:cubicBezTo>
                  <a:close/>
                  <a:moveTo>
                    <a:pt x="6088856" y="269081"/>
                  </a:moveTo>
                  <a:cubicBezTo>
                    <a:pt x="6088856" y="269081"/>
                    <a:pt x="6088856" y="270034"/>
                    <a:pt x="6088856" y="270034"/>
                  </a:cubicBezTo>
                  <a:cubicBezTo>
                    <a:pt x="6088856" y="270034"/>
                    <a:pt x="6088856" y="270034"/>
                    <a:pt x="6088856" y="270034"/>
                  </a:cubicBezTo>
                  <a:cubicBezTo>
                    <a:pt x="6088856" y="270986"/>
                    <a:pt x="6087904" y="271939"/>
                    <a:pt x="6087904" y="272891"/>
                  </a:cubicBezTo>
                  <a:cubicBezTo>
                    <a:pt x="6088856" y="270986"/>
                    <a:pt x="6088856" y="270034"/>
                    <a:pt x="6088856" y="269081"/>
                  </a:cubicBezTo>
                  <a:close/>
                  <a:moveTo>
                    <a:pt x="6067901" y="369094"/>
                  </a:moveTo>
                  <a:cubicBezTo>
                    <a:pt x="6072664" y="358616"/>
                    <a:pt x="6076474" y="349091"/>
                    <a:pt x="6080284" y="339566"/>
                  </a:cubicBezTo>
                  <a:cubicBezTo>
                    <a:pt x="6082189" y="334804"/>
                    <a:pt x="6084094" y="330041"/>
                    <a:pt x="6085046" y="326231"/>
                  </a:cubicBezTo>
                  <a:cubicBezTo>
                    <a:pt x="6085999" y="321469"/>
                    <a:pt x="6087904" y="317659"/>
                    <a:pt x="6088856" y="313849"/>
                  </a:cubicBezTo>
                  <a:cubicBezTo>
                    <a:pt x="6090762" y="306229"/>
                    <a:pt x="6092667" y="299561"/>
                    <a:pt x="6093619" y="293846"/>
                  </a:cubicBezTo>
                  <a:cubicBezTo>
                    <a:pt x="6093619" y="293846"/>
                    <a:pt x="6093619" y="293846"/>
                    <a:pt x="6093619" y="293846"/>
                  </a:cubicBezTo>
                  <a:cubicBezTo>
                    <a:pt x="6094571" y="299561"/>
                    <a:pt x="6095524" y="305276"/>
                    <a:pt x="6096476" y="310991"/>
                  </a:cubicBezTo>
                  <a:cubicBezTo>
                    <a:pt x="6098381" y="319564"/>
                    <a:pt x="6098381" y="329089"/>
                    <a:pt x="6100287" y="339566"/>
                  </a:cubicBezTo>
                  <a:cubicBezTo>
                    <a:pt x="6100287" y="345281"/>
                    <a:pt x="6101239" y="350044"/>
                    <a:pt x="6101239" y="355759"/>
                  </a:cubicBezTo>
                  <a:cubicBezTo>
                    <a:pt x="6101239" y="355759"/>
                    <a:pt x="6101239" y="355759"/>
                    <a:pt x="6101239" y="355759"/>
                  </a:cubicBezTo>
                  <a:cubicBezTo>
                    <a:pt x="6101239" y="356711"/>
                    <a:pt x="6100287" y="358616"/>
                    <a:pt x="6100287" y="359569"/>
                  </a:cubicBezTo>
                  <a:cubicBezTo>
                    <a:pt x="6100287" y="355759"/>
                    <a:pt x="6099334" y="352901"/>
                    <a:pt x="6097429" y="350044"/>
                  </a:cubicBezTo>
                  <a:cubicBezTo>
                    <a:pt x="6096476" y="348139"/>
                    <a:pt x="6094571" y="347186"/>
                    <a:pt x="6093619" y="345281"/>
                  </a:cubicBezTo>
                  <a:cubicBezTo>
                    <a:pt x="6091714" y="344329"/>
                    <a:pt x="6089809" y="343376"/>
                    <a:pt x="6087904" y="342424"/>
                  </a:cubicBezTo>
                  <a:lnTo>
                    <a:pt x="6085999" y="341471"/>
                  </a:lnTo>
                  <a:lnTo>
                    <a:pt x="6085046" y="343376"/>
                  </a:lnTo>
                  <a:cubicBezTo>
                    <a:pt x="6082189" y="350996"/>
                    <a:pt x="6079331" y="357664"/>
                    <a:pt x="6076474" y="365284"/>
                  </a:cubicBezTo>
                  <a:cubicBezTo>
                    <a:pt x="6074569" y="371951"/>
                    <a:pt x="6071712" y="377666"/>
                    <a:pt x="6069806" y="384334"/>
                  </a:cubicBezTo>
                  <a:cubicBezTo>
                    <a:pt x="6068854" y="380524"/>
                    <a:pt x="6067901" y="376714"/>
                    <a:pt x="6065996" y="372904"/>
                  </a:cubicBezTo>
                  <a:cubicBezTo>
                    <a:pt x="6066949" y="371951"/>
                    <a:pt x="6067901" y="370999"/>
                    <a:pt x="6067901" y="369094"/>
                  </a:cubicBezTo>
                  <a:close/>
                  <a:moveTo>
                    <a:pt x="6035517" y="310039"/>
                  </a:moveTo>
                  <a:cubicBezTo>
                    <a:pt x="6035517" y="309086"/>
                    <a:pt x="6035517" y="309086"/>
                    <a:pt x="6035517" y="308134"/>
                  </a:cubicBezTo>
                  <a:cubicBezTo>
                    <a:pt x="6036469" y="312896"/>
                    <a:pt x="6038374" y="318611"/>
                    <a:pt x="6040279" y="324326"/>
                  </a:cubicBezTo>
                  <a:cubicBezTo>
                    <a:pt x="6041231" y="329089"/>
                    <a:pt x="6042184" y="333851"/>
                    <a:pt x="6044089" y="338614"/>
                  </a:cubicBezTo>
                  <a:cubicBezTo>
                    <a:pt x="6042184" y="344329"/>
                    <a:pt x="6040279" y="350044"/>
                    <a:pt x="6038374" y="355759"/>
                  </a:cubicBezTo>
                  <a:cubicBezTo>
                    <a:pt x="6036469" y="345281"/>
                    <a:pt x="6035517" y="336709"/>
                    <a:pt x="6033612" y="330041"/>
                  </a:cubicBezTo>
                  <a:cubicBezTo>
                    <a:pt x="6034564" y="323374"/>
                    <a:pt x="6034564" y="315754"/>
                    <a:pt x="6035517" y="310039"/>
                  </a:cubicBezTo>
                  <a:close/>
                  <a:moveTo>
                    <a:pt x="6012656" y="361474"/>
                  </a:moveTo>
                  <a:cubicBezTo>
                    <a:pt x="6012656" y="362426"/>
                    <a:pt x="6012656" y="363379"/>
                    <a:pt x="6012656" y="363379"/>
                  </a:cubicBezTo>
                  <a:cubicBezTo>
                    <a:pt x="6012656" y="362426"/>
                    <a:pt x="6012656" y="361474"/>
                    <a:pt x="6012656" y="359569"/>
                  </a:cubicBezTo>
                  <a:cubicBezTo>
                    <a:pt x="6012656" y="360521"/>
                    <a:pt x="6012656" y="360521"/>
                    <a:pt x="6012656" y="361474"/>
                  </a:cubicBezTo>
                  <a:close/>
                  <a:moveTo>
                    <a:pt x="6007894" y="351949"/>
                  </a:moveTo>
                  <a:cubicBezTo>
                    <a:pt x="6007894" y="351949"/>
                    <a:pt x="6007894" y="352901"/>
                    <a:pt x="6007894" y="352901"/>
                  </a:cubicBezTo>
                  <a:cubicBezTo>
                    <a:pt x="6007894" y="351949"/>
                    <a:pt x="6007894" y="351949"/>
                    <a:pt x="6007894" y="351949"/>
                  </a:cubicBezTo>
                  <a:cubicBezTo>
                    <a:pt x="6007894" y="350996"/>
                    <a:pt x="6007894" y="351949"/>
                    <a:pt x="6007894" y="351949"/>
                  </a:cubicBezTo>
                  <a:close/>
                  <a:moveTo>
                    <a:pt x="5976462" y="410051"/>
                  </a:moveTo>
                  <a:cubicBezTo>
                    <a:pt x="5975509" y="407194"/>
                    <a:pt x="5974556" y="404336"/>
                    <a:pt x="5973604" y="402431"/>
                  </a:cubicBezTo>
                  <a:cubicBezTo>
                    <a:pt x="5973604" y="401479"/>
                    <a:pt x="5972651" y="399574"/>
                    <a:pt x="5972651" y="398621"/>
                  </a:cubicBezTo>
                  <a:cubicBezTo>
                    <a:pt x="5972651" y="395764"/>
                    <a:pt x="5971699" y="392906"/>
                    <a:pt x="5971699" y="391001"/>
                  </a:cubicBezTo>
                  <a:cubicBezTo>
                    <a:pt x="5972651" y="389096"/>
                    <a:pt x="5972651" y="387191"/>
                    <a:pt x="5973604" y="386239"/>
                  </a:cubicBezTo>
                  <a:cubicBezTo>
                    <a:pt x="5975509" y="382429"/>
                    <a:pt x="5976462" y="378619"/>
                    <a:pt x="5977414" y="374809"/>
                  </a:cubicBezTo>
                  <a:cubicBezTo>
                    <a:pt x="5977414" y="385286"/>
                    <a:pt x="5976462" y="397669"/>
                    <a:pt x="5976462" y="410051"/>
                  </a:cubicBezTo>
                  <a:close/>
                  <a:moveTo>
                    <a:pt x="5976462" y="239554"/>
                  </a:moveTo>
                  <a:cubicBezTo>
                    <a:pt x="5977414" y="243364"/>
                    <a:pt x="5977414" y="246221"/>
                    <a:pt x="5978367" y="250031"/>
                  </a:cubicBezTo>
                  <a:cubicBezTo>
                    <a:pt x="5978367" y="251936"/>
                    <a:pt x="5979319" y="254794"/>
                    <a:pt x="5979319" y="256699"/>
                  </a:cubicBezTo>
                  <a:cubicBezTo>
                    <a:pt x="5977414" y="253841"/>
                    <a:pt x="5976462" y="250984"/>
                    <a:pt x="5974556" y="248126"/>
                  </a:cubicBezTo>
                  <a:cubicBezTo>
                    <a:pt x="5975509" y="245269"/>
                    <a:pt x="5975509" y="242411"/>
                    <a:pt x="5976462" y="239554"/>
                  </a:cubicBezTo>
                  <a:close/>
                  <a:moveTo>
                    <a:pt x="5965984" y="291941"/>
                  </a:moveTo>
                  <a:cubicBezTo>
                    <a:pt x="5965984" y="290036"/>
                    <a:pt x="5966937" y="288131"/>
                    <a:pt x="5966937" y="286226"/>
                  </a:cubicBezTo>
                  <a:cubicBezTo>
                    <a:pt x="5966937" y="285274"/>
                    <a:pt x="5967889" y="283369"/>
                    <a:pt x="5967889" y="282416"/>
                  </a:cubicBezTo>
                  <a:cubicBezTo>
                    <a:pt x="5968842" y="277654"/>
                    <a:pt x="5969794" y="273844"/>
                    <a:pt x="5970746" y="269081"/>
                  </a:cubicBezTo>
                  <a:cubicBezTo>
                    <a:pt x="5974556" y="278606"/>
                    <a:pt x="5979319" y="289084"/>
                    <a:pt x="5983129" y="298609"/>
                  </a:cubicBezTo>
                  <a:cubicBezTo>
                    <a:pt x="5982176" y="309086"/>
                    <a:pt x="5981224" y="319564"/>
                    <a:pt x="5980271" y="330994"/>
                  </a:cubicBezTo>
                  <a:cubicBezTo>
                    <a:pt x="5980271" y="330994"/>
                    <a:pt x="5980271" y="331946"/>
                    <a:pt x="5979319" y="331946"/>
                  </a:cubicBezTo>
                  <a:cubicBezTo>
                    <a:pt x="5977414" y="329089"/>
                    <a:pt x="5976462" y="328136"/>
                    <a:pt x="5976462" y="328136"/>
                  </a:cubicBezTo>
                  <a:cubicBezTo>
                    <a:pt x="5976462" y="328136"/>
                    <a:pt x="5977414" y="330041"/>
                    <a:pt x="5979319" y="332899"/>
                  </a:cubicBezTo>
                  <a:cubicBezTo>
                    <a:pt x="5977414" y="336709"/>
                    <a:pt x="5974556" y="341471"/>
                    <a:pt x="5972651" y="346234"/>
                  </a:cubicBezTo>
                  <a:cubicBezTo>
                    <a:pt x="5970746" y="349091"/>
                    <a:pt x="5969794" y="352901"/>
                    <a:pt x="5967889" y="355759"/>
                  </a:cubicBezTo>
                  <a:cubicBezTo>
                    <a:pt x="5967889" y="355759"/>
                    <a:pt x="5967889" y="355759"/>
                    <a:pt x="5967889" y="355759"/>
                  </a:cubicBezTo>
                  <a:cubicBezTo>
                    <a:pt x="5967889" y="353854"/>
                    <a:pt x="5967889" y="352901"/>
                    <a:pt x="5966937" y="351949"/>
                  </a:cubicBezTo>
                  <a:cubicBezTo>
                    <a:pt x="5965984" y="346234"/>
                    <a:pt x="5965984" y="339566"/>
                    <a:pt x="5965031" y="333851"/>
                  </a:cubicBezTo>
                  <a:cubicBezTo>
                    <a:pt x="5964079" y="321469"/>
                    <a:pt x="5964079" y="310039"/>
                    <a:pt x="5963126" y="299561"/>
                  </a:cubicBezTo>
                  <a:cubicBezTo>
                    <a:pt x="5964079" y="296704"/>
                    <a:pt x="5965031" y="294799"/>
                    <a:pt x="5965984" y="291941"/>
                  </a:cubicBezTo>
                  <a:close/>
                  <a:moveTo>
                    <a:pt x="5952649" y="385286"/>
                  </a:moveTo>
                  <a:cubicBezTo>
                    <a:pt x="5952649" y="385286"/>
                    <a:pt x="5952649" y="385286"/>
                    <a:pt x="5952649" y="385286"/>
                  </a:cubicBezTo>
                  <a:cubicBezTo>
                    <a:pt x="5952649" y="385286"/>
                    <a:pt x="5952649" y="385286"/>
                    <a:pt x="5952649" y="385286"/>
                  </a:cubicBezTo>
                  <a:cubicBezTo>
                    <a:pt x="5952649" y="385286"/>
                    <a:pt x="5952649" y="385286"/>
                    <a:pt x="5952649" y="385286"/>
                  </a:cubicBezTo>
                  <a:close/>
                  <a:moveTo>
                    <a:pt x="5934551" y="339566"/>
                  </a:moveTo>
                  <a:cubicBezTo>
                    <a:pt x="5934551" y="337661"/>
                    <a:pt x="5933599" y="334804"/>
                    <a:pt x="5933599" y="332899"/>
                  </a:cubicBezTo>
                  <a:cubicBezTo>
                    <a:pt x="5933599" y="331946"/>
                    <a:pt x="5933599" y="331946"/>
                    <a:pt x="5933599" y="330994"/>
                  </a:cubicBezTo>
                  <a:cubicBezTo>
                    <a:pt x="5934551" y="332899"/>
                    <a:pt x="5934551" y="334804"/>
                    <a:pt x="5935504" y="336709"/>
                  </a:cubicBezTo>
                  <a:cubicBezTo>
                    <a:pt x="5935504" y="337661"/>
                    <a:pt x="5934551" y="338614"/>
                    <a:pt x="5934551" y="339566"/>
                  </a:cubicBezTo>
                  <a:close/>
                  <a:moveTo>
                    <a:pt x="5948839" y="371951"/>
                  </a:moveTo>
                  <a:cubicBezTo>
                    <a:pt x="5947887" y="374809"/>
                    <a:pt x="5946934" y="378619"/>
                    <a:pt x="5945981" y="382429"/>
                  </a:cubicBezTo>
                  <a:cubicBezTo>
                    <a:pt x="5945029" y="386239"/>
                    <a:pt x="5944076" y="389096"/>
                    <a:pt x="5943124" y="392906"/>
                  </a:cubicBezTo>
                  <a:cubicBezTo>
                    <a:pt x="5943124" y="387191"/>
                    <a:pt x="5943124" y="382429"/>
                    <a:pt x="5943124" y="378619"/>
                  </a:cubicBezTo>
                  <a:cubicBezTo>
                    <a:pt x="5943124" y="378619"/>
                    <a:pt x="5943124" y="378619"/>
                    <a:pt x="5943124" y="378619"/>
                  </a:cubicBezTo>
                  <a:cubicBezTo>
                    <a:pt x="5945029" y="373856"/>
                    <a:pt x="5945981" y="370046"/>
                    <a:pt x="5946934" y="365284"/>
                  </a:cubicBezTo>
                  <a:cubicBezTo>
                    <a:pt x="5946934" y="367189"/>
                    <a:pt x="5947887" y="370046"/>
                    <a:pt x="5948839" y="371951"/>
                  </a:cubicBezTo>
                  <a:close/>
                  <a:moveTo>
                    <a:pt x="5930742" y="234791"/>
                  </a:moveTo>
                  <a:cubicBezTo>
                    <a:pt x="5933599" y="245269"/>
                    <a:pt x="5935504" y="256699"/>
                    <a:pt x="5938362" y="269081"/>
                  </a:cubicBezTo>
                  <a:cubicBezTo>
                    <a:pt x="5941219" y="280511"/>
                    <a:pt x="5942171" y="293846"/>
                    <a:pt x="5945029" y="307181"/>
                  </a:cubicBezTo>
                  <a:cubicBezTo>
                    <a:pt x="5943124" y="312896"/>
                    <a:pt x="5941219" y="317659"/>
                    <a:pt x="5940267" y="323374"/>
                  </a:cubicBezTo>
                  <a:cubicBezTo>
                    <a:pt x="5940267" y="323374"/>
                    <a:pt x="5940267" y="324326"/>
                    <a:pt x="5940267" y="324326"/>
                  </a:cubicBezTo>
                  <a:cubicBezTo>
                    <a:pt x="5937409" y="318611"/>
                    <a:pt x="5934551" y="312896"/>
                    <a:pt x="5931694" y="307181"/>
                  </a:cubicBezTo>
                  <a:cubicBezTo>
                    <a:pt x="5930742" y="299561"/>
                    <a:pt x="5929789" y="291941"/>
                    <a:pt x="5928837" y="284321"/>
                  </a:cubicBezTo>
                  <a:cubicBezTo>
                    <a:pt x="5927884" y="277654"/>
                    <a:pt x="5927884" y="271939"/>
                    <a:pt x="5926931" y="266224"/>
                  </a:cubicBezTo>
                  <a:cubicBezTo>
                    <a:pt x="5928837" y="261461"/>
                    <a:pt x="5929789" y="259556"/>
                    <a:pt x="5929789" y="259556"/>
                  </a:cubicBezTo>
                  <a:cubicBezTo>
                    <a:pt x="5929789" y="259556"/>
                    <a:pt x="5928837" y="261461"/>
                    <a:pt x="5926931" y="264319"/>
                  </a:cubicBezTo>
                  <a:cubicBezTo>
                    <a:pt x="5925979" y="257651"/>
                    <a:pt x="5925026" y="251936"/>
                    <a:pt x="5925026" y="245269"/>
                  </a:cubicBezTo>
                  <a:cubicBezTo>
                    <a:pt x="5925979" y="241459"/>
                    <a:pt x="5926931" y="237649"/>
                    <a:pt x="5926931" y="233839"/>
                  </a:cubicBezTo>
                  <a:cubicBezTo>
                    <a:pt x="5927884" y="230981"/>
                    <a:pt x="5927884" y="228124"/>
                    <a:pt x="5928837" y="226219"/>
                  </a:cubicBezTo>
                  <a:cubicBezTo>
                    <a:pt x="5928837" y="229076"/>
                    <a:pt x="5929789" y="231934"/>
                    <a:pt x="5930742" y="234791"/>
                  </a:cubicBezTo>
                  <a:close/>
                  <a:moveTo>
                    <a:pt x="5923121" y="209074"/>
                  </a:moveTo>
                  <a:cubicBezTo>
                    <a:pt x="5924074" y="212884"/>
                    <a:pt x="5925979" y="217646"/>
                    <a:pt x="5926931" y="222409"/>
                  </a:cubicBezTo>
                  <a:cubicBezTo>
                    <a:pt x="5925026" y="225266"/>
                    <a:pt x="5924074" y="229076"/>
                    <a:pt x="5922169" y="232886"/>
                  </a:cubicBezTo>
                  <a:cubicBezTo>
                    <a:pt x="5921217" y="223361"/>
                    <a:pt x="5920264" y="214789"/>
                    <a:pt x="5919312" y="206216"/>
                  </a:cubicBezTo>
                  <a:cubicBezTo>
                    <a:pt x="5919312" y="201454"/>
                    <a:pt x="5918359" y="197644"/>
                    <a:pt x="5918359" y="193834"/>
                  </a:cubicBezTo>
                  <a:cubicBezTo>
                    <a:pt x="5920264" y="197644"/>
                    <a:pt x="5921217" y="202406"/>
                    <a:pt x="5923121" y="209074"/>
                  </a:cubicBezTo>
                  <a:close/>
                  <a:moveTo>
                    <a:pt x="5901214" y="244316"/>
                  </a:moveTo>
                  <a:cubicBezTo>
                    <a:pt x="5901214" y="247174"/>
                    <a:pt x="5901214" y="251936"/>
                    <a:pt x="5901214" y="258604"/>
                  </a:cubicBezTo>
                  <a:cubicBezTo>
                    <a:pt x="5901214" y="264319"/>
                    <a:pt x="5901214" y="270986"/>
                    <a:pt x="5902167" y="278606"/>
                  </a:cubicBezTo>
                  <a:cubicBezTo>
                    <a:pt x="5902167" y="286226"/>
                    <a:pt x="5903119" y="293846"/>
                    <a:pt x="5904071" y="302419"/>
                  </a:cubicBezTo>
                  <a:cubicBezTo>
                    <a:pt x="5903119" y="304324"/>
                    <a:pt x="5901214" y="307181"/>
                    <a:pt x="5900262" y="310039"/>
                  </a:cubicBezTo>
                  <a:cubicBezTo>
                    <a:pt x="5898356" y="300514"/>
                    <a:pt x="5896451" y="291941"/>
                    <a:pt x="5895499" y="284321"/>
                  </a:cubicBezTo>
                  <a:cubicBezTo>
                    <a:pt x="5897404" y="264319"/>
                    <a:pt x="5900262" y="250984"/>
                    <a:pt x="5901214" y="244316"/>
                  </a:cubicBezTo>
                  <a:close/>
                  <a:moveTo>
                    <a:pt x="5903119" y="324326"/>
                  </a:moveTo>
                  <a:cubicBezTo>
                    <a:pt x="5903119" y="325279"/>
                    <a:pt x="5903119" y="327184"/>
                    <a:pt x="5903119" y="328136"/>
                  </a:cubicBezTo>
                  <a:cubicBezTo>
                    <a:pt x="5903119" y="327184"/>
                    <a:pt x="5903119" y="326231"/>
                    <a:pt x="5902167" y="325279"/>
                  </a:cubicBezTo>
                  <a:cubicBezTo>
                    <a:pt x="5903119" y="325279"/>
                    <a:pt x="5903119" y="324326"/>
                    <a:pt x="5903119" y="324326"/>
                  </a:cubicBezTo>
                  <a:close/>
                  <a:moveTo>
                    <a:pt x="5892642" y="348139"/>
                  </a:moveTo>
                  <a:cubicBezTo>
                    <a:pt x="5892642" y="350044"/>
                    <a:pt x="5892642" y="350996"/>
                    <a:pt x="5893594" y="352901"/>
                  </a:cubicBezTo>
                  <a:cubicBezTo>
                    <a:pt x="5893594" y="353854"/>
                    <a:pt x="5893594" y="354806"/>
                    <a:pt x="5893594" y="355759"/>
                  </a:cubicBezTo>
                  <a:cubicBezTo>
                    <a:pt x="5892642" y="353854"/>
                    <a:pt x="5892642" y="351949"/>
                    <a:pt x="5891689" y="350996"/>
                  </a:cubicBezTo>
                  <a:cubicBezTo>
                    <a:pt x="5892642" y="350044"/>
                    <a:pt x="5892642" y="349091"/>
                    <a:pt x="5892642" y="348139"/>
                  </a:cubicBezTo>
                  <a:close/>
                  <a:moveTo>
                    <a:pt x="5893594" y="373856"/>
                  </a:moveTo>
                  <a:cubicBezTo>
                    <a:pt x="5895499" y="379571"/>
                    <a:pt x="5897404" y="385286"/>
                    <a:pt x="5898356" y="391954"/>
                  </a:cubicBezTo>
                  <a:cubicBezTo>
                    <a:pt x="5899309" y="396716"/>
                    <a:pt x="5901214" y="402431"/>
                    <a:pt x="5902167" y="408146"/>
                  </a:cubicBezTo>
                  <a:cubicBezTo>
                    <a:pt x="5903119" y="411004"/>
                    <a:pt x="5903119" y="414814"/>
                    <a:pt x="5904071" y="417671"/>
                  </a:cubicBezTo>
                  <a:cubicBezTo>
                    <a:pt x="5904071" y="417671"/>
                    <a:pt x="5904071" y="417671"/>
                    <a:pt x="5904071" y="417671"/>
                  </a:cubicBezTo>
                  <a:cubicBezTo>
                    <a:pt x="5899309" y="407194"/>
                    <a:pt x="5895499" y="397669"/>
                    <a:pt x="5890737" y="387191"/>
                  </a:cubicBezTo>
                  <a:cubicBezTo>
                    <a:pt x="5889784" y="386239"/>
                    <a:pt x="5889784" y="385286"/>
                    <a:pt x="5888831" y="383381"/>
                  </a:cubicBezTo>
                  <a:lnTo>
                    <a:pt x="5887879" y="357664"/>
                  </a:lnTo>
                  <a:cubicBezTo>
                    <a:pt x="5887879" y="357664"/>
                    <a:pt x="5887879" y="356711"/>
                    <a:pt x="5888831" y="356711"/>
                  </a:cubicBezTo>
                  <a:cubicBezTo>
                    <a:pt x="5889784" y="363379"/>
                    <a:pt x="5891689" y="368141"/>
                    <a:pt x="5893594" y="373856"/>
                  </a:cubicBezTo>
                  <a:close/>
                  <a:moveTo>
                    <a:pt x="5886926" y="321469"/>
                  </a:moveTo>
                  <a:cubicBezTo>
                    <a:pt x="5887879" y="317659"/>
                    <a:pt x="5887879" y="314801"/>
                    <a:pt x="5888831" y="311944"/>
                  </a:cubicBezTo>
                  <a:cubicBezTo>
                    <a:pt x="5888831" y="312896"/>
                    <a:pt x="5888831" y="313849"/>
                    <a:pt x="5888831" y="314801"/>
                  </a:cubicBezTo>
                  <a:cubicBezTo>
                    <a:pt x="5888831" y="318611"/>
                    <a:pt x="5889784" y="322421"/>
                    <a:pt x="5889784" y="326231"/>
                  </a:cubicBezTo>
                  <a:cubicBezTo>
                    <a:pt x="5888831" y="328136"/>
                    <a:pt x="5887879" y="330041"/>
                    <a:pt x="5885974" y="332899"/>
                  </a:cubicBezTo>
                  <a:cubicBezTo>
                    <a:pt x="5885974" y="330041"/>
                    <a:pt x="5885974" y="327184"/>
                    <a:pt x="5885974" y="325279"/>
                  </a:cubicBezTo>
                  <a:cubicBezTo>
                    <a:pt x="5885974" y="323374"/>
                    <a:pt x="5886926" y="322421"/>
                    <a:pt x="5886926" y="321469"/>
                  </a:cubicBezTo>
                  <a:close/>
                  <a:moveTo>
                    <a:pt x="5858351" y="279559"/>
                  </a:moveTo>
                  <a:cubicBezTo>
                    <a:pt x="5858351" y="281464"/>
                    <a:pt x="5858351" y="282416"/>
                    <a:pt x="5858351" y="284321"/>
                  </a:cubicBezTo>
                  <a:cubicBezTo>
                    <a:pt x="5858351" y="284321"/>
                    <a:pt x="5858351" y="285274"/>
                    <a:pt x="5858351" y="285274"/>
                  </a:cubicBezTo>
                  <a:cubicBezTo>
                    <a:pt x="5858351" y="284321"/>
                    <a:pt x="5857399" y="283369"/>
                    <a:pt x="5857399" y="281464"/>
                  </a:cubicBezTo>
                  <a:cubicBezTo>
                    <a:pt x="5857399" y="281464"/>
                    <a:pt x="5857399" y="280511"/>
                    <a:pt x="5858351" y="279559"/>
                  </a:cubicBezTo>
                  <a:close/>
                  <a:moveTo>
                    <a:pt x="5841206" y="264319"/>
                  </a:moveTo>
                  <a:cubicBezTo>
                    <a:pt x="5841206" y="266224"/>
                    <a:pt x="5840254" y="268129"/>
                    <a:pt x="5840254" y="270034"/>
                  </a:cubicBezTo>
                  <a:cubicBezTo>
                    <a:pt x="5840254" y="272891"/>
                    <a:pt x="5839301" y="274796"/>
                    <a:pt x="5839301" y="277654"/>
                  </a:cubicBezTo>
                  <a:cubicBezTo>
                    <a:pt x="5839301" y="275749"/>
                    <a:pt x="5838349" y="273844"/>
                    <a:pt x="5838349" y="271939"/>
                  </a:cubicBezTo>
                  <a:cubicBezTo>
                    <a:pt x="5840254" y="269081"/>
                    <a:pt x="5840254" y="267176"/>
                    <a:pt x="5841206" y="264319"/>
                  </a:cubicBezTo>
                  <a:close/>
                  <a:moveTo>
                    <a:pt x="5828824" y="305276"/>
                  </a:moveTo>
                  <a:cubicBezTo>
                    <a:pt x="5827871" y="306229"/>
                    <a:pt x="5827871" y="307181"/>
                    <a:pt x="5826919" y="308134"/>
                  </a:cubicBezTo>
                  <a:cubicBezTo>
                    <a:pt x="5826919" y="307181"/>
                    <a:pt x="5826919" y="307181"/>
                    <a:pt x="5826919" y="306229"/>
                  </a:cubicBezTo>
                  <a:cubicBezTo>
                    <a:pt x="5827871" y="304324"/>
                    <a:pt x="5828824" y="301466"/>
                    <a:pt x="5829776" y="299561"/>
                  </a:cubicBezTo>
                  <a:cubicBezTo>
                    <a:pt x="5828824" y="302419"/>
                    <a:pt x="5828824" y="303371"/>
                    <a:pt x="5828824" y="305276"/>
                  </a:cubicBezTo>
                  <a:close/>
                  <a:moveTo>
                    <a:pt x="5823109" y="259556"/>
                  </a:moveTo>
                  <a:cubicBezTo>
                    <a:pt x="5824062" y="262414"/>
                    <a:pt x="5825967" y="266224"/>
                    <a:pt x="5827871" y="270986"/>
                  </a:cubicBezTo>
                  <a:cubicBezTo>
                    <a:pt x="5827871" y="271939"/>
                    <a:pt x="5828824" y="272891"/>
                    <a:pt x="5828824" y="273844"/>
                  </a:cubicBezTo>
                  <a:cubicBezTo>
                    <a:pt x="5828824" y="277654"/>
                    <a:pt x="5828824" y="281464"/>
                    <a:pt x="5828824" y="286226"/>
                  </a:cubicBezTo>
                  <a:cubicBezTo>
                    <a:pt x="5826919" y="289084"/>
                    <a:pt x="5825967" y="291941"/>
                    <a:pt x="5824062" y="295751"/>
                  </a:cubicBezTo>
                  <a:lnTo>
                    <a:pt x="5824062" y="294799"/>
                  </a:lnTo>
                  <a:lnTo>
                    <a:pt x="5823109" y="267176"/>
                  </a:lnTo>
                  <a:lnTo>
                    <a:pt x="5823109" y="259556"/>
                  </a:lnTo>
                  <a:close/>
                  <a:moveTo>
                    <a:pt x="5813584" y="252889"/>
                  </a:moveTo>
                  <a:cubicBezTo>
                    <a:pt x="5813584" y="254794"/>
                    <a:pt x="5812631" y="256699"/>
                    <a:pt x="5812631" y="258604"/>
                  </a:cubicBezTo>
                  <a:cubicBezTo>
                    <a:pt x="5811679" y="256699"/>
                    <a:pt x="5811679" y="255746"/>
                    <a:pt x="5811679" y="255746"/>
                  </a:cubicBezTo>
                  <a:cubicBezTo>
                    <a:pt x="5811679" y="255746"/>
                    <a:pt x="5811679" y="258604"/>
                    <a:pt x="5811679" y="262414"/>
                  </a:cubicBezTo>
                  <a:cubicBezTo>
                    <a:pt x="5811679" y="264319"/>
                    <a:pt x="5810726" y="265271"/>
                    <a:pt x="5810726" y="267176"/>
                  </a:cubicBezTo>
                  <a:cubicBezTo>
                    <a:pt x="5809774" y="276701"/>
                    <a:pt x="5808821" y="285274"/>
                    <a:pt x="5808821" y="294799"/>
                  </a:cubicBezTo>
                  <a:lnTo>
                    <a:pt x="5808821" y="304324"/>
                  </a:lnTo>
                  <a:lnTo>
                    <a:pt x="5807869" y="300514"/>
                  </a:lnTo>
                  <a:cubicBezTo>
                    <a:pt x="5808821" y="286226"/>
                    <a:pt x="5807869" y="273844"/>
                    <a:pt x="5806917" y="264319"/>
                  </a:cubicBezTo>
                  <a:cubicBezTo>
                    <a:pt x="5806917" y="263366"/>
                    <a:pt x="5806917" y="263366"/>
                    <a:pt x="5806917" y="262414"/>
                  </a:cubicBezTo>
                  <a:cubicBezTo>
                    <a:pt x="5809774" y="258604"/>
                    <a:pt x="5812631" y="254794"/>
                    <a:pt x="5813584" y="252889"/>
                  </a:cubicBezTo>
                  <a:close/>
                  <a:moveTo>
                    <a:pt x="5804059" y="268129"/>
                  </a:moveTo>
                  <a:cubicBezTo>
                    <a:pt x="5804059" y="268129"/>
                    <a:pt x="5804059" y="269081"/>
                    <a:pt x="5804059" y="269081"/>
                  </a:cubicBezTo>
                  <a:lnTo>
                    <a:pt x="5804059" y="268129"/>
                  </a:lnTo>
                  <a:cubicBezTo>
                    <a:pt x="5804059" y="268129"/>
                    <a:pt x="5804059" y="268129"/>
                    <a:pt x="5804059" y="268129"/>
                  </a:cubicBezTo>
                  <a:close/>
                  <a:moveTo>
                    <a:pt x="5799296" y="164306"/>
                  </a:moveTo>
                  <a:cubicBezTo>
                    <a:pt x="5800249" y="165259"/>
                    <a:pt x="5801201" y="165259"/>
                    <a:pt x="5802154" y="166211"/>
                  </a:cubicBezTo>
                  <a:cubicBezTo>
                    <a:pt x="5800249" y="170021"/>
                    <a:pt x="5798344" y="172879"/>
                    <a:pt x="5796439" y="176689"/>
                  </a:cubicBezTo>
                  <a:lnTo>
                    <a:pt x="5796439" y="163354"/>
                  </a:lnTo>
                  <a:cubicBezTo>
                    <a:pt x="5797392" y="163354"/>
                    <a:pt x="5798344" y="163354"/>
                    <a:pt x="5799296" y="164306"/>
                  </a:cubicBezTo>
                  <a:close/>
                  <a:moveTo>
                    <a:pt x="5770721" y="386239"/>
                  </a:moveTo>
                  <a:cubicBezTo>
                    <a:pt x="5770721" y="385286"/>
                    <a:pt x="5770721" y="384334"/>
                    <a:pt x="5770721" y="383381"/>
                  </a:cubicBezTo>
                  <a:cubicBezTo>
                    <a:pt x="5770721" y="383381"/>
                    <a:pt x="5770721" y="382429"/>
                    <a:pt x="5770721" y="382429"/>
                  </a:cubicBezTo>
                  <a:cubicBezTo>
                    <a:pt x="5770721" y="384334"/>
                    <a:pt x="5770721" y="385286"/>
                    <a:pt x="5771674" y="387191"/>
                  </a:cubicBezTo>
                  <a:cubicBezTo>
                    <a:pt x="5771674" y="386239"/>
                    <a:pt x="5771674" y="386239"/>
                    <a:pt x="5770721" y="386239"/>
                  </a:cubicBezTo>
                  <a:close/>
                  <a:moveTo>
                    <a:pt x="5782151" y="253841"/>
                  </a:moveTo>
                  <a:cubicBezTo>
                    <a:pt x="5781199" y="254794"/>
                    <a:pt x="5781199" y="256699"/>
                    <a:pt x="5780246" y="258604"/>
                  </a:cubicBezTo>
                  <a:cubicBezTo>
                    <a:pt x="5779294" y="261461"/>
                    <a:pt x="5778342" y="264319"/>
                    <a:pt x="5777389" y="267176"/>
                  </a:cubicBezTo>
                  <a:cubicBezTo>
                    <a:pt x="5776437" y="270034"/>
                    <a:pt x="5775484" y="272891"/>
                    <a:pt x="5773579" y="275749"/>
                  </a:cubicBezTo>
                  <a:cubicBezTo>
                    <a:pt x="5773579" y="274796"/>
                    <a:pt x="5772626" y="274796"/>
                    <a:pt x="5772626" y="273844"/>
                  </a:cubicBezTo>
                  <a:cubicBezTo>
                    <a:pt x="5772626" y="273844"/>
                    <a:pt x="5772626" y="272891"/>
                    <a:pt x="5771674" y="272891"/>
                  </a:cubicBezTo>
                  <a:cubicBezTo>
                    <a:pt x="5777389" y="256699"/>
                    <a:pt x="5781199" y="246221"/>
                    <a:pt x="5783104" y="241459"/>
                  </a:cubicBezTo>
                  <a:cubicBezTo>
                    <a:pt x="5783104" y="245269"/>
                    <a:pt x="5783104" y="250031"/>
                    <a:pt x="5782151" y="253841"/>
                  </a:cubicBezTo>
                  <a:close/>
                  <a:moveTo>
                    <a:pt x="5785962" y="221456"/>
                  </a:moveTo>
                  <a:cubicBezTo>
                    <a:pt x="5785009" y="227171"/>
                    <a:pt x="5785009" y="232886"/>
                    <a:pt x="5784056" y="239554"/>
                  </a:cubicBezTo>
                  <a:cubicBezTo>
                    <a:pt x="5784056" y="239554"/>
                    <a:pt x="5784056" y="240506"/>
                    <a:pt x="5784056" y="240506"/>
                  </a:cubicBezTo>
                  <a:cubicBezTo>
                    <a:pt x="5782151" y="244316"/>
                    <a:pt x="5777389" y="253841"/>
                    <a:pt x="5770721" y="267176"/>
                  </a:cubicBezTo>
                  <a:cubicBezTo>
                    <a:pt x="5770721" y="265271"/>
                    <a:pt x="5769769" y="263366"/>
                    <a:pt x="5769769" y="261461"/>
                  </a:cubicBezTo>
                  <a:cubicBezTo>
                    <a:pt x="5769769" y="260509"/>
                    <a:pt x="5769769" y="259556"/>
                    <a:pt x="5769769" y="258604"/>
                  </a:cubicBezTo>
                  <a:cubicBezTo>
                    <a:pt x="5775484" y="246221"/>
                    <a:pt x="5781199" y="233839"/>
                    <a:pt x="5785962" y="221456"/>
                  </a:cubicBezTo>
                  <a:close/>
                  <a:moveTo>
                    <a:pt x="5754529" y="333851"/>
                  </a:moveTo>
                  <a:cubicBezTo>
                    <a:pt x="5751671" y="338614"/>
                    <a:pt x="5749767" y="343376"/>
                    <a:pt x="5746909" y="348139"/>
                  </a:cubicBezTo>
                  <a:cubicBezTo>
                    <a:pt x="5746909" y="347186"/>
                    <a:pt x="5745956" y="347186"/>
                    <a:pt x="5745956" y="346234"/>
                  </a:cubicBezTo>
                  <a:cubicBezTo>
                    <a:pt x="5748814" y="337661"/>
                    <a:pt x="5751671" y="330041"/>
                    <a:pt x="5754529" y="322421"/>
                  </a:cubicBezTo>
                  <a:cubicBezTo>
                    <a:pt x="5754529" y="325279"/>
                    <a:pt x="5754529" y="329089"/>
                    <a:pt x="5754529" y="333851"/>
                  </a:cubicBezTo>
                  <a:cubicBezTo>
                    <a:pt x="5754529" y="333851"/>
                    <a:pt x="5754529" y="333851"/>
                    <a:pt x="5754529" y="333851"/>
                  </a:cubicBezTo>
                  <a:close/>
                  <a:moveTo>
                    <a:pt x="5762149" y="302419"/>
                  </a:moveTo>
                  <a:cubicBezTo>
                    <a:pt x="5762149" y="303371"/>
                    <a:pt x="5762149" y="303371"/>
                    <a:pt x="5762149" y="302419"/>
                  </a:cubicBezTo>
                  <a:cubicBezTo>
                    <a:pt x="5762149" y="303371"/>
                    <a:pt x="5761196" y="303371"/>
                    <a:pt x="5762149" y="302419"/>
                  </a:cubicBezTo>
                  <a:cubicBezTo>
                    <a:pt x="5761196" y="303371"/>
                    <a:pt x="5761196" y="303371"/>
                    <a:pt x="5762149" y="302419"/>
                  </a:cubicBezTo>
                  <a:close/>
                  <a:moveTo>
                    <a:pt x="5761196" y="304324"/>
                  </a:moveTo>
                  <a:cubicBezTo>
                    <a:pt x="5761196" y="304324"/>
                    <a:pt x="5761196" y="305276"/>
                    <a:pt x="5762149" y="305276"/>
                  </a:cubicBezTo>
                  <a:cubicBezTo>
                    <a:pt x="5762149" y="306229"/>
                    <a:pt x="5762149" y="307181"/>
                    <a:pt x="5762149" y="308134"/>
                  </a:cubicBezTo>
                  <a:cubicBezTo>
                    <a:pt x="5762149" y="309086"/>
                    <a:pt x="5762149" y="309086"/>
                    <a:pt x="5762149" y="310039"/>
                  </a:cubicBezTo>
                  <a:cubicBezTo>
                    <a:pt x="5761196" y="313849"/>
                    <a:pt x="5760244" y="316706"/>
                    <a:pt x="5759292" y="320516"/>
                  </a:cubicBezTo>
                  <a:cubicBezTo>
                    <a:pt x="5758339" y="323374"/>
                    <a:pt x="5758339" y="325279"/>
                    <a:pt x="5757387" y="328136"/>
                  </a:cubicBezTo>
                  <a:cubicBezTo>
                    <a:pt x="5756434" y="324326"/>
                    <a:pt x="5755481" y="321469"/>
                    <a:pt x="5755481" y="320516"/>
                  </a:cubicBezTo>
                  <a:cubicBezTo>
                    <a:pt x="5757387" y="314801"/>
                    <a:pt x="5759292" y="309086"/>
                    <a:pt x="5761196" y="304324"/>
                  </a:cubicBezTo>
                  <a:close/>
                  <a:moveTo>
                    <a:pt x="5760244" y="289084"/>
                  </a:moveTo>
                  <a:cubicBezTo>
                    <a:pt x="5760244" y="290036"/>
                    <a:pt x="5759292" y="290036"/>
                    <a:pt x="5759292" y="290989"/>
                  </a:cubicBezTo>
                  <a:cubicBezTo>
                    <a:pt x="5757387" y="293846"/>
                    <a:pt x="5754529" y="297656"/>
                    <a:pt x="5751671" y="301466"/>
                  </a:cubicBezTo>
                  <a:cubicBezTo>
                    <a:pt x="5750719" y="302419"/>
                    <a:pt x="5749767" y="304324"/>
                    <a:pt x="5748814" y="305276"/>
                  </a:cubicBezTo>
                  <a:cubicBezTo>
                    <a:pt x="5752624" y="296704"/>
                    <a:pt x="5755481" y="288131"/>
                    <a:pt x="5759292" y="280511"/>
                  </a:cubicBezTo>
                  <a:cubicBezTo>
                    <a:pt x="5760244" y="284321"/>
                    <a:pt x="5760244" y="286226"/>
                    <a:pt x="5760244" y="289084"/>
                  </a:cubicBezTo>
                  <a:close/>
                  <a:moveTo>
                    <a:pt x="5756434" y="227171"/>
                  </a:moveTo>
                  <a:cubicBezTo>
                    <a:pt x="5756434" y="231934"/>
                    <a:pt x="5756434" y="237649"/>
                    <a:pt x="5756434" y="243364"/>
                  </a:cubicBezTo>
                  <a:cubicBezTo>
                    <a:pt x="5756434" y="246221"/>
                    <a:pt x="5756434" y="248126"/>
                    <a:pt x="5757387" y="250984"/>
                  </a:cubicBezTo>
                  <a:cubicBezTo>
                    <a:pt x="5756434" y="253841"/>
                    <a:pt x="5754529" y="256699"/>
                    <a:pt x="5753576" y="259556"/>
                  </a:cubicBezTo>
                  <a:cubicBezTo>
                    <a:pt x="5749767" y="268129"/>
                    <a:pt x="5745004" y="276701"/>
                    <a:pt x="5741194" y="285274"/>
                  </a:cubicBezTo>
                  <a:cubicBezTo>
                    <a:pt x="5746909" y="262414"/>
                    <a:pt x="5752624" y="243364"/>
                    <a:pt x="5756434" y="227171"/>
                  </a:cubicBezTo>
                  <a:close/>
                  <a:moveTo>
                    <a:pt x="5676424" y="184309"/>
                  </a:moveTo>
                  <a:cubicBezTo>
                    <a:pt x="5676424" y="188119"/>
                    <a:pt x="5676424" y="192881"/>
                    <a:pt x="5676424" y="198596"/>
                  </a:cubicBezTo>
                  <a:cubicBezTo>
                    <a:pt x="5676424" y="206216"/>
                    <a:pt x="5676424" y="216694"/>
                    <a:pt x="5676424" y="228124"/>
                  </a:cubicBezTo>
                  <a:cubicBezTo>
                    <a:pt x="5676424" y="233839"/>
                    <a:pt x="5676424" y="239554"/>
                    <a:pt x="5676424" y="246221"/>
                  </a:cubicBezTo>
                  <a:cubicBezTo>
                    <a:pt x="5676424" y="252889"/>
                    <a:pt x="5677376" y="259556"/>
                    <a:pt x="5677376" y="266224"/>
                  </a:cubicBezTo>
                  <a:cubicBezTo>
                    <a:pt x="5677376" y="270034"/>
                    <a:pt x="5677376" y="273844"/>
                    <a:pt x="5678329" y="276701"/>
                  </a:cubicBezTo>
                  <a:cubicBezTo>
                    <a:pt x="5678329" y="276701"/>
                    <a:pt x="5678329" y="276701"/>
                    <a:pt x="5678329" y="276701"/>
                  </a:cubicBezTo>
                  <a:cubicBezTo>
                    <a:pt x="5677376" y="270986"/>
                    <a:pt x="5676424" y="265271"/>
                    <a:pt x="5675471" y="259556"/>
                  </a:cubicBezTo>
                  <a:cubicBezTo>
                    <a:pt x="5674519" y="253841"/>
                    <a:pt x="5673567" y="248126"/>
                    <a:pt x="5672614" y="242411"/>
                  </a:cubicBezTo>
                  <a:cubicBezTo>
                    <a:pt x="5671662" y="235744"/>
                    <a:pt x="5670709" y="229076"/>
                    <a:pt x="5669756" y="223361"/>
                  </a:cubicBezTo>
                  <a:cubicBezTo>
                    <a:pt x="5669756" y="221456"/>
                    <a:pt x="5668804" y="218599"/>
                    <a:pt x="5668804" y="216694"/>
                  </a:cubicBezTo>
                  <a:cubicBezTo>
                    <a:pt x="5671662" y="202406"/>
                    <a:pt x="5674519" y="190976"/>
                    <a:pt x="5676424" y="184309"/>
                  </a:cubicBezTo>
                  <a:close/>
                  <a:moveTo>
                    <a:pt x="5652612" y="263366"/>
                  </a:moveTo>
                  <a:cubicBezTo>
                    <a:pt x="5652612" y="262414"/>
                    <a:pt x="5652612" y="262414"/>
                    <a:pt x="5653564" y="261461"/>
                  </a:cubicBezTo>
                  <a:cubicBezTo>
                    <a:pt x="5654517" y="262414"/>
                    <a:pt x="5654517" y="263366"/>
                    <a:pt x="5655469" y="264319"/>
                  </a:cubicBezTo>
                  <a:cubicBezTo>
                    <a:pt x="5655469" y="265271"/>
                    <a:pt x="5655469" y="266224"/>
                    <a:pt x="5655469" y="268129"/>
                  </a:cubicBezTo>
                  <a:cubicBezTo>
                    <a:pt x="5656421" y="273844"/>
                    <a:pt x="5656421" y="279559"/>
                    <a:pt x="5657374" y="286226"/>
                  </a:cubicBezTo>
                  <a:cubicBezTo>
                    <a:pt x="5655469" y="280511"/>
                    <a:pt x="5654517" y="274796"/>
                    <a:pt x="5652612" y="269081"/>
                  </a:cubicBezTo>
                  <a:cubicBezTo>
                    <a:pt x="5652612" y="268129"/>
                    <a:pt x="5652612" y="268129"/>
                    <a:pt x="5651659" y="267176"/>
                  </a:cubicBezTo>
                  <a:cubicBezTo>
                    <a:pt x="5652612" y="265271"/>
                    <a:pt x="5652612" y="264319"/>
                    <a:pt x="5652612" y="263366"/>
                  </a:cubicBezTo>
                  <a:close/>
                  <a:moveTo>
                    <a:pt x="5650706" y="205264"/>
                  </a:moveTo>
                  <a:cubicBezTo>
                    <a:pt x="5650706" y="208121"/>
                    <a:pt x="5650706" y="210979"/>
                    <a:pt x="5651659" y="212884"/>
                  </a:cubicBezTo>
                  <a:cubicBezTo>
                    <a:pt x="5650706" y="210979"/>
                    <a:pt x="5649754" y="209074"/>
                    <a:pt x="5649754" y="207169"/>
                  </a:cubicBezTo>
                  <a:cubicBezTo>
                    <a:pt x="5649754" y="206216"/>
                    <a:pt x="5649754" y="205264"/>
                    <a:pt x="5650706" y="205264"/>
                  </a:cubicBezTo>
                  <a:close/>
                  <a:moveTo>
                    <a:pt x="5647849" y="209074"/>
                  </a:moveTo>
                  <a:cubicBezTo>
                    <a:pt x="5647849" y="211931"/>
                    <a:pt x="5648801" y="215741"/>
                    <a:pt x="5649754" y="219551"/>
                  </a:cubicBezTo>
                  <a:cubicBezTo>
                    <a:pt x="5650706" y="224314"/>
                    <a:pt x="5650706" y="230029"/>
                    <a:pt x="5651659" y="235744"/>
                  </a:cubicBezTo>
                  <a:cubicBezTo>
                    <a:pt x="5651659" y="235744"/>
                    <a:pt x="5651659" y="235744"/>
                    <a:pt x="5651659" y="236696"/>
                  </a:cubicBezTo>
                  <a:cubicBezTo>
                    <a:pt x="5649754" y="233839"/>
                    <a:pt x="5647849" y="230981"/>
                    <a:pt x="5645944" y="228124"/>
                  </a:cubicBezTo>
                  <a:cubicBezTo>
                    <a:pt x="5644992" y="224314"/>
                    <a:pt x="5644992" y="220504"/>
                    <a:pt x="5644039" y="216694"/>
                  </a:cubicBezTo>
                  <a:cubicBezTo>
                    <a:pt x="5644992" y="213836"/>
                    <a:pt x="5646896" y="211931"/>
                    <a:pt x="5647849" y="209074"/>
                  </a:cubicBezTo>
                  <a:close/>
                  <a:moveTo>
                    <a:pt x="5642134" y="370046"/>
                  </a:moveTo>
                  <a:cubicBezTo>
                    <a:pt x="5642134" y="372904"/>
                    <a:pt x="5643087" y="374809"/>
                    <a:pt x="5643087" y="377666"/>
                  </a:cubicBezTo>
                  <a:cubicBezTo>
                    <a:pt x="5642134" y="379571"/>
                    <a:pt x="5642134" y="382429"/>
                    <a:pt x="5641181" y="385286"/>
                  </a:cubicBezTo>
                  <a:cubicBezTo>
                    <a:pt x="5641181" y="379571"/>
                    <a:pt x="5641181" y="374809"/>
                    <a:pt x="5642134" y="370046"/>
                  </a:cubicBezTo>
                  <a:close/>
                  <a:moveTo>
                    <a:pt x="5624037" y="272891"/>
                  </a:moveTo>
                  <a:cubicBezTo>
                    <a:pt x="5624989" y="268129"/>
                    <a:pt x="5624989" y="263366"/>
                    <a:pt x="5625942" y="258604"/>
                  </a:cubicBezTo>
                  <a:cubicBezTo>
                    <a:pt x="5625942" y="256699"/>
                    <a:pt x="5625942" y="255746"/>
                    <a:pt x="5625942" y="254794"/>
                  </a:cubicBezTo>
                  <a:cubicBezTo>
                    <a:pt x="5627846" y="250031"/>
                    <a:pt x="5629751" y="245269"/>
                    <a:pt x="5632609" y="241459"/>
                  </a:cubicBezTo>
                  <a:cubicBezTo>
                    <a:pt x="5633562" y="239554"/>
                    <a:pt x="5634514" y="238601"/>
                    <a:pt x="5634514" y="236696"/>
                  </a:cubicBezTo>
                  <a:cubicBezTo>
                    <a:pt x="5635467" y="239554"/>
                    <a:pt x="5636419" y="242411"/>
                    <a:pt x="5637371" y="245269"/>
                  </a:cubicBezTo>
                  <a:cubicBezTo>
                    <a:pt x="5638324" y="249079"/>
                    <a:pt x="5639276" y="253841"/>
                    <a:pt x="5640229" y="259556"/>
                  </a:cubicBezTo>
                  <a:cubicBezTo>
                    <a:pt x="5640229" y="261461"/>
                    <a:pt x="5640229" y="264319"/>
                    <a:pt x="5640229" y="266224"/>
                  </a:cubicBezTo>
                  <a:cubicBezTo>
                    <a:pt x="5637371" y="272891"/>
                    <a:pt x="5634514" y="280511"/>
                    <a:pt x="5631656" y="288131"/>
                  </a:cubicBezTo>
                  <a:cubicBezTo>
                    <a:pt x="5628799" y="284321"/>
                    <a:pt x="5626894" y="280511"/>
                    <a:pt x="5624037" y="277654"/>
                  </a:cubicBezTo>
                  <a:cubicBezTo>
                    <a:pt x="5623084" y="275749"/>
                    <a:pt x="5624037" y="273844"/>
                    <a:pt x="5624037" y="272891"/>
                  </a:cubicBezTo>
                  <a:close/>
                  <a:moveTo>
                    <a:pt x="5623084" y="289084"/>
                  </a:moveTo>
                  <a:cubicBezTo>
                    <a:pt x="5623084" y="288131"/>
                    <a:pt x="5623084" y="288131"/>
                    <a:pt x="5623084" y="287179"/>
                  </a:cubicBezTo>
                  <a:cubicBezTo>
                    <a:pt x="5624037" y="288131"/>
                    <a:pt x="5624037" y="290036"/>
                    <a:pt x="5624989" y="290989"/>
                  </a:cubicBezTo>
                  <a:cubicBezTo>
                    <a:pt x="5625942" y="292894"/>
                    <a:pt x="5626894" y="295751"/>
                    <a:pt x="5626894" y="298609"/>
                  </a:cubicBezTo>
                  <a:cubicBezTo>
                    <a:pt x="5626894" y="299561"/>
                    <a:pt x="5626894" y="299561"/>
                    <a:pt x="5625942" y="300514"/>
                  </a:cubicBezTo>
                  <a:cubicBezTo>
                    <a:pt x="5625942" y="300514"/>
                    <a:pt x="5625942" y="300514"/>
                    <a:pt x="5625942" y="300514"/>
                  </a:cubicBezTo>
                  <a:cubicBezTo>
                    <a:pt x="5624989" y="298609"/>
                    <a:pt x="5624037" y="297656"/>
                    <a:pt x="5622131" y="295751"/>
                  </a:cubicBezTo>
                  <a:cubicBezTo>
                    <a:pt x="5622131" y="293846"/>
                    <a:pt x="5622131" y="290989"/>
                    <a:pt x="5623084" y="289084"/>
                  </a:cubicBezTo>
                  <a:close/>
                  <a:moveTo>
                    <a:pt x="5621179" y="310991"/>
                  </a:moveTo>
                  <a:cubicBezTo>
                    <a:pt x="5621179" y="310991"/>
                    <a:pt x="5621179" y="310991"/>
                    <a:pt x="5621179" y="310991"/>
                  </a:cubicBezTo>
                  <a:cubicBezTo>
                    <a:pt x="5621179" y="310991"/>
                    <a:pt x="5621179" y="310991"/>
                    <a:pt x="5621179" y="310991"/>
                  </a:cubicBezTo>
                  <a:cubicBezTo>
                    <a:pt x="5621179" y="310991"/>
                    <a:pt x="5621179" y="310991"/>
                    <a:pt x="5621179" y="310991"/>
                  </a:cubicBezTo>
                  <a:close/>
                  <a:moveTo>
                    <a:pt x="5618321" y="270034"/>
                  </a:moveTo>
                  <a:cubicBezTo>
                    <a:pt x="5618321" y="270034"/>
                    <a:pt x="5618321" y="270986"/>
                    <a:pt x="5618321" y="270034"/>
                  </a:cubicBezTo>
                  <a:cubicBezTo>
                    <a:pt x="5618321" y="270986"/>
                    <a:pt x="5618321" y="270986"/>
                    <a:pt x="5618321" y="270034"/>
                  </a:cubicBezTo>
                  <a:cubicBezTo>
                    <a:pt x="5618321" y="270986"/>
                    <a:pt x="5618321" y="270034"/>
                    <a:pt x="5618321" y="270034"/>
                  </a:cubicBezTo>
                  <a:close/>
                  <a:moveTo>
                    <a:pt x="5617369" y="272891"/>
                  </a:moveTo>
                  <a:cubicBezTo>
                    <a:pt x="5617369" y="272891"/>
                    <a:pt x="5617369" y="273844"/>
                    <a:pt x="5618321" y="273844"/>
                  </a:cubicBezTo>
                  <a:cubicBezTo>
                    <a:pt x="5617369" y="277654"/>
                    <a:pt x="5617369" y="282416"/>
                    <a:pt x="5616417" y="286226"/>
                  </a:cubicBezTo>
                  <a:cubicBezTo>
                    <a:pt x="5615464" y="285274"/>
                    <a:pt x="5614512" y="283369"/>
                    <a:pt x="5613559" y="282416"/>
                  </a:cubicBezTo>
                  <a:cubicBezTo>
                    <a:pt x="5614512" y="279559"/>
                    <a:pt x="5615464" y="276701"/>
                    <a:pt x="5617369" y="272891"/>
                  </a:cubicBezTo>
                  <a:close/>
                  <a:moveTo>
                    <a:pt x="5608796" y="290989"/>
                  </a:moveTo>
                  <a:cubicBezTo>
                    <a:pt x="5608796" y="290989"/>
                    <a:pt x="5609749" y="290989"/>
                    <a:pt x="5608796" y="290989"/>
                  </a:cubicBezTo>
                  <a:cubicBezTo>
                    <a:pt x="5609749" y="291941"/>
                    <a:pt x="5610701" y="293846"/>
                    <a:pt x="5611654" y="294799"/>
                  </a:cubicBezTo>
                  <a:cubicBezTo>
                    <a:pt x="5612606" y="295751"/>
                    <a:pt x="5612606" y="296704"/>
                    <a:pt x="5613559" y="297656"/>
                  </a:cubicBezTo>
                  <a:cubicBezTo>
                    <a:pt x="5612606" y="302419"/>
                    <a:pt x="5612606" y="306229"/>
                    <a:pt x="5611654" y="310991"/>
                  </a:cubicBezTo>
                  <a:cubicBezTo>
                    <a:pt x="5610701" y="305276"/>
                    <a:pt x="5609749" y="298609"/>
                    <a:pt x="5608796" y="292894"/>
                  </a:cubicBezTo>
                  <a:cubicBezTo>
                    <a:pt x="5608796" y="291941"/>
                    <a:pt x="5608796" y="291941"/>
                    <a:pt x="5608796" y="290989"/>
                  </a:cubicBezTo>
                  <a:close/>
                  <a:moveTo>
                    <a:pt x="5594509" y="241459"/>
                  </a:moveTo>
                  <a:cubicBezTo>
                    <a:pt x="5594509" y="247174"/>
                    <a:pt x="5594509" y="252889"/>
                    <a:pt x="5595462" y="258604"/>
                  </a:cubicBezTo>
                  <a:cubicBezTo>
                    <a:pt x="5595462" y="258604"/>
                    <a:pt x="5595462" y="259556"/>
                    <a:pt x="5595462" y="259556"/>
                  </a:cubicBezTo>
                  <a:cubicBezTo>
                    <a:pt x="5595462" y="260509"/>
                    <a:pt x="5595462" y="260509"/>
                    <a:pt x="5595462" y="261461"/>
                  </a:cubicBezTo>
                  <a:cubicBezTo>
                    <a:pt x="5594509" y="260509"/>
                    <a:pt x="5594509" y="260509"/>
                    <a:pt x="5593556" y="259556"/>
                  </a:cubicBezTo>
                  <a:cubicBezTo>
                    <a:pt x="5593556" y="256699"/>
                    <a:pt x="5592604" y="252889"/>
                    <a:pt x="5592604" y="250031"/>
                  </a:cubicBezTo>
                  <a:cubicBezTo>
                    <a:pt x="5591651" y="246221"/>
                    <a:pt x="5593556" y="244316"/>
                    <a:pt x="5594509" y="241459"/>
                  </a:cubicBezTo>
                  <a:close/>
                  <a:moveTo>
                    <a:pt x="5578317" y="284321"/>
                  </a:moveTo>
                  <a:cubicBezTo>
                    <a:pt x="5578317" y="285274"/>
                    <a:pt x="5578317" y="285274"/>
                    <a:pt x="5578317" y="286226"/>
                  </a:cubicBezTo>
                  <a:cubicBezTo>
                    <a:pt x="5578317" y="286226"/>
                    <a:pt x="5578317" y="285274"/>
                    <a:pt x="5577364" y="285274"/>
                  </a:cubicBezTo>
                  <a:cubicBezTo>
                    <a:pt x="5578317" y="284321"/>
                    <a:pt x="5578317" y="284321"/>
                    <a:pt x="5578317" y="284321"/>
                  </a:cubicBezTo>
                  <a:close/>
                  <a:moveTo>
                    <a:pt x="5573554" y="299561"/>
                  </a:moveTo>
                  <a:cubicBezTo>
                    <a:pt x="5574506" y="301466"/>
                    <a:pt x="5575459" y="303371"/>
                    <a:pt x="5576412" y="305276"/>
                  </a:cubicBezTo>
                  <a:cubicBezTo>
                    <a:pt x="5576412" y="306229"/>
                    <a:pt x="5577364" y="306229"/>
                    <a:pt x="5577364" y="307181"/>
                  </a:cubicBezTo>
                  <a:cubicBezTo>
                    <a:pt x="5577364" y="311944"/>
                    <a:pt x="5576412" y="317659"/>
                    <a:pt x="5576412" y="325279"/>
                  </a:cubicBezTo>
                  <a:cubicBezTo>
                    <a:pt x="5576412" y="326231"/>
                    <a:pt x="5576412" y="327184"/>
                    <a:pt x="5576412" y="328136"/>
                  </a:cubicBezTo>
                  <a:cubicBezTo>
                    <a:pt x="5576412" y="325279"/>
                    <a:pt x="5575459" y="322421"/>
                    <a:pt x="5575459" y="319564"/>
                  </a:cubicBezTo>
                  <a:cubicBezTo>
                    <a:pt x="5574506" y="313849"/>
                    <a:pt x="5573554" y="309086"/>
                    <a:pt x="5573554" y="303371"/>
                  </a:cubicBezTo>
                  <a:cubicBezTo>
                    <a:pt x="5572601" y="301466"/>
                    <a:pt x="5573554" y="300514"/>
                    <a:pt x="5573554" y="299561"/>
                  </a:cubicBezTo>
                  <a:close/>
                  <a:moveTo>
                    <a:pt x="5550694" y="308134"/>
                  </a:moveTo>
                  <a:cubicBezTo>
                    <a:pt x="5550694" y="305276"/>
                    <a:pt x="5549742" y="303371"/>
                    <a:pt x="5549742" y="301466"/>
                  </a:cubicBezTo>
                  <a:cubicBezTo>
                    <a:pt x="5550694" y="299561"/>
                    <a:pt x="5550694" y="296704"/>
                    <a:pt x="5551646" y="294799"/>
                  </a:cubicBezTo>
                  <a:cubicBezTo>
                    <a:pt x="5551646" y="293846"/>
                    <a:pt x="5552599" y="292894"/>
                    <a:pt x="5552599" y="291941"/>
                  </a:cubicBezTo>
                  <a:cubicBezTo>
                    <a:pt x="5553551" y="294799"/>
                    <a:pt x="5553551" y="298609"/>
                    <a:pt x="5554504" y="302419"/>
                  </a:cubicBezTo>
                  <a:cubicBezTo>
                    <a:pt x="5553551" y="303371"/>
                    <a:pt x="5553551" y="304324"/>
                    <a:pt x="5552599" y="306229"/>
                  </a:cubicBezTo>
                  <a:cubicBezTo>
                    <a:pt x="5551646" y="306229"/>
                    <a:pt x="5551646" y="307181"/>
                    <a:pt x="5550694" y="308134"/>
                  </a:cubicBezTo>
                  <a:close/>
                  <a:moveTo>
                    <a:pt x="5557362" y="313849"/>
                  </a:moveTo>
                  <a:cubicBezTo>
                    <a:pt x="5557362" y="313849"/>
                    <a:pt x="5557362" y="314801"/>
                    <a:pt x="5557362" y="313849"/>
                  </a:cubicBezTo>
                  <a:cubicBezTo>
                    <a:pt x="5556409" y="315754"/>
                    <a:pt x="5554504" y="317659"/>
                    <a:pt x="5553551" y="318611"/>
                  </a:cubicBezTo>
                  <a:cubicBezTo>
                    <a:pt x="5554504" y="315754"/>
                    <a:pt x="5555456" y="312896"/>
                    <a:pt x="5556409" y="310039"/>
                  </a:cubicBezTo>
                  <a:cubicBezTo>
                    <a:pt x="5556409" y="311944"/>
                    <a:pt x="5557362" y="312896"/>
                    <a:pt x="5557362" y="313849"/>
                  </a:cubicBezTo>
                  <a:cubicBezTo>
                    <a:pt x="5557362" y="313849"/>
                    <a:pt x="5557362" y="313849"/>
                    <a:pt x="5557362" y="313849"/>
                  </a:cubicBezTo>
                  <a:close/>
                  <a:moveTo>
                    <a:pt x="5561171" y="359569"/>
                  </a:moveTo>
                  <a:cubicBezTo>
                    <a:pt x="5561171" y="360521"/>
                    <a:pt x="5561171" y="360521"/>
                    <a:pt x="5561171" y="361474"/>
                  </a:cubicBezTo>
                  <a:cubicBezTo>
                    <a:pt x="5561171" y="361474"/>
                    <a:pt x="5560219" y="360521"/>
                    <a:pt x="5560219" y="360521"/>
                  </a:cubicBezTo>
                  <a:cubicBezTo>
                    <a:pt x="5559267" y="357664"/>
                    <a:pt x="5559267" y="353854"/>
                    <a:pt x="5558314" y="350996"/>
                  </a:cubicBezTo>
                  <a:cubicBezTo>
                    <a:pt x="5559267" y="348139"/>
                    <a:pt x="5560219" y="345281"/>
                    <a:pt x="5560219" y="342424"/>
                  </a:cubicBezTo>
                  <a:cubicBezTo>
                    <a:pt x="5561171" y="348139"/>
                    <a:pt x="5561171" y="353854"/>
                    <a:pt x="5561171" y="359569"/>
                  </a:cubicBezTo>
                  <a:close/>
                  <a:moveTo>
                    <a:pt x="5559267" y="303371"/>
                  </a:moveTo>
                  <a:cubicBezTo>
                    <a:pt x="5559267" y="303371"/>
                    <a:pt x="5559267" y="304324"/>
                    <a:pt x="5559267" y="303371"/>
                  </a:cubicBezTo>
                  <a:cubicBezTo>
                    <a:pt x="5559267" y="304324"/>
                    <a:pt x="5559267" y="304324"/>
                    <a:pt x="5559267" y="303371"/>
                  </a:cubicBezTo>
                  <a:cubicBezTo>
                    <a:pt x="5559267" y="303371"/>
                    <a:pt x="5559267" y="303371"/>
                    <a:pt x="5559267" y="303371"/>
                  </a:cubicBezTo>
                  <a:close/>
                  <a:moveTo>
                    <a:pt x="5557362" y="277654"/>
                  </a:moveTo>
                  <a:cubicBezTo>
                    <a:pt x="5557362" y="279559"/>
                    <a:pt x="5557362" y="281464"/>
                    <a:pt x="5558314" y="283369"/>
                  </a:cubicBezTo>
                  <a:cubicBezTo>
                    <a:pt x="5558314" y="287179"/>
                    <a:pt x="5559267" y="290989"/>
                    <a:pt x="5559267" y="293846"/>
                  </a:cubicBezTo>
                  <a:cubicBezTo>
                    <a:pt x="5558314" y="294799"/>
                    <a:pt x="5558314" y="295751"/>
                    <a:pt x="5557362" y="296704"/>
                  </a:cubicBezTo>
                  <a:cubicBezTo>
                    <a:pt x="5556409" y="292894"/>
                    <a:pt x="5555456" y="290036"/>
                    <a:pt x="5554504" y="287179"/>
                  </a:cubicBezTo>
                  <a:cubicBezTo>
                    <a:pt x="5554504" y="284321"/>
                    <a:pt x="5556409" y="281464"/>
                    <a:pt x="5557362" y="277654"/>
                  </a:cubicBezTo>
                  <a:close/>
                  <a:moveTo>
                    <a:pt x="5553551" y="252889"/>
                  </a:moveTo>
                  <a:cubicBezTo>
                    <a:pt x="5553551" y="252889"/>
                    <a:pt x="5553551" y="252889"/>
                    <a:pt x="5553551" y="252889"/>
                  </a:cubicBezTo>
                  <a:cubicBezTo>
                    <a:pt x="5553551" y="253841"/>
                    <a:pt x="5553551" y="253841"/>
                    <a:pt x="5553551" y="253841"/>
                  </a:cubicBezTo>
                  <a:cubicBezTo>
                    <a:pt x="5554504" y="258604"/>
                    <a:pt x="5554504" y="263366"/>
                    <a:pt x="5555456" y="268129"/>
                  </a:cubicBezTo>
                  <a:cubicBezTo>
                    <a:pt x="5555456" y="269081"/>
                    <a:pt x="5555456" y="270034"/>
                    <a:pt x="5555456" y="270986"/>
                  </a:cubicBezTo>
                  <a:cubicBezTo>
                    <a:pt x="5554504" y="272891"/>
                    <a:pt x="5553551" y="273844"/>
                    <a:pt x="5552599" y="275749"/>
                  </a:cubicBezTo>
                  <a:cubicBezTo>
                    <a:pt x="5551646" y="276701"/>
                    <a:pt x="5550694" y="278606"/>
                    <a:pt x="5549742" y="280511"/>
                  </a:cubicBezTo>
                  <a:cubicBezTo>
                    <a:pt x="5549742" y="280511"/>
                    <a:pt x="5549742" y="280511"/>
                    <a:pt x="5549742" y="280511"/>
                  </a:cubicBezTo>
                  <a:cubicBezTo>
                    <a:pt x="5549742" y="280511"/>
                    <a:pt x="5549742" y="280511"/>
                    <a:pt x="5549742" y="280511"/>
                  </a:cubicBezTo>
                  <a:cubicBezTo>
                    <a:pt x="5548789" y="282416"/>
                    <a:pt x="5547837" y="284321"/>
                    <a:pt x="5545931" y="286226"/>
                  </a:cubicBezTo>
                  <a:cubicBezTo>
                    <a:pt x="5545931" y="284321"/>
                    <a:pt x="5544979" y="282416"/>
                    <a:pt x="5544979" y="281464"/>
                  </a:cubicBezTo>
                  <a:cubicBezTo>
                    <a:pt x="5545931" y="279559"/>
                    <a:pt x="5545931" y="277654"/>
                    <a:pt x="5546884" y="275749"/>
                  </a:cubicBezTo>
                  <a:cubicBezTo>
                    <a:pt x="5547837" y="270986"/>
                    <a:pt x="5548789" y="266224"/>
                    <a:pt x="5549742" y="261461"/>
                  </a:cubicBezTo>
                  <a:cubicBezTo>
                    <a:pt x="5552599" y="258604"/>
                    <a:pt x="5553551" y="255746"/>
                    <a:pt x="5553551" y="252889"/>
                  </a:cubicBezTo>
                  <a:close/>
                  <a:moveTo>
                    <a:pt x="5548789" y="226219"/>
                  </a:moveTo>
                  <a:cubicBezTo>
                    <a:pt x="5548789" y="227171"/>
                    <a:pt x="5549742" y="229076"/>
                    <a:pt x="5549742" y="230029"/>
                  </a:cubicBezTo>
                  <a:cubicBezTo>
                    <a:pt x="5549742" y="231934"/>
                    <a:pt x="5550694" y="232886"/>
                    <a:pt x="5550694" y="234791"/>
                  </a:cubicBezTo>
                  <a:cubicBezTo>
                    <a:pt x="5549742" y="232886"/>
                    <a:pt x="5548789" y="230981"/>
                    <a:pt x="5547837" y="230029"/>
                  </a:cubicBezTo>
                  <a:cubicBezTo>
                    <a:pt x="5548789" y="229076"/>
                    <a:pt x="5548789" y="227171"/>
                    <a:pt x="5548789" y="226219"/>
                  </a:cubicBezTo>
                  <a:close/>
                  <a:moveTo>
                    <a:pt x="5546884" y="235744"/>
                  </a:moveTo>
                  <a:cubicBezTo>
                    <a:pt x="5547837" y="238601"/>
                    <a:pt x="5548789" y="241459"/>
                    <a:pt x="5550694" y="244316"/>
                  </a:cubicBezTo>
                  <a:cubicBezTo>
                    <a:pt x="5548789" y="249079"/>
                    <a:pt x="5546884" y="253841"/>
                    <a:pt x="5544979" y="259556"/>
                  </a:cubicBezTo>
                  <a:cubicBezTo>
                    <a:pt x="5544979" y="260509"/>
                    <a:pt x="5544026" y="261461"/>
                    <a:pt x="5544026" y="262414"/>
                  </a:cubicBezTo>
                  <a:cubicBezTo>
                    <a:pt x="5544026" y="260509"/>
                    <a:pt x="5543074" y="258604"/>
                    <a:pt x="5543074" y="257651"/>
                  </a:cubicBezTo>
                  <a:cubicBezTo>
                    <a:pt x="5543074" y="256699"/>
                    <a:pt x="5543074" y="255746"/>
                    <a:pt x="5542121" y="254794"/>
                  </a:cubicBezTo>
                  <a:cubicBezTo>
                    <a:pt x="5544026" y="248126"/>
                    <a:pt x="5545931" y="241459"/>
                    <a:pt x="5546884" y="235744"/>
                  </a:cubicBezTo>
                  <a:close/>
                  <a:moveTo>
                    <a:pt x="5540217" y="218599"/>
                  </a:moveTo>
                  <a:cubicBezTo>
                    <a:pt x="5540217" y="219551"/>
                    <a:pt x="5540217" y="219551"/>
                    <a:pt x="5539264" y="220504"/>
                  </a:cubicBezTo>
                  <a:cubicBezTo>
                    <a:pt x="5539264" y="221456"/>
                    <a:pt x="5538312" y="222409"/>
                    <a:pt x="5538312" y="223361"/>
                  </a:cubicBezTo>
                  <a:cubicBezTo>
                    <a:pt x="5537359" y="218599"/>
                    <a:pt x="5537359" y="214789"/>
                    <a:pt x="5536406" y="210026"/>
                  </a:cubicBezTo>
                  <a:cubicBezTo>
                    <a:pt x="5537359" y="211931"/>
                    <a:pt x="5538312" y="214789"/>
                    <a:pt x="5540217" y="218599"/>
                  </a:cubicBezTo>
                  <a:close/>
                  <a:moveTo>
                    <a:pt x="5507831" y="312896"/>
                  </a:moveTo>
                  <a:cubicBezTo>
                    <a:pt x="5507831" y="313849"/>
                    <a:pt x="5507831" y="313849"/>
                    <a:pt x="5507831" y="312896"/>
                  </a:cubicBezTo>
                  <a:cubicBezTo>
                    <a:pt x="5507831" y="313849"/>
                    <a:pt x="5507831" y="313849"/>
                    <a:pt x="5507831" y="313849"/>
                  </a:cubicBezTo>
                  <a:cubicBezTo>
                    <a:pt x="5507831" y="313849"/>
                    <a:pt x="5507831" y="313849"/>
                    <a:pt x="5507831" y="312896"/>
                  </a:cubicBezTo>
                  <a:close/>
                  <a:moveTo>
                    <a:pt x="5481162" y="326231"/>
                  </a:moveTo>
                  <a:cubicBezTo>
                    <a:pt x="5481162" y="327184"/>
                    <a:pt x="5480209" y="329089"/>
                    <a:pt x="5480209" y="330994"/>
                  </a:cubicBezTo>
                  <a:cubicBezTo>
                    <a:pt x="5480209" y="329089"/>
                    <a:pt x="5480209" y="326231"/>
                    <a:pt x="5479256" y="324326"/>
                  </a:cubicBezTo>
                  <a:cubicBezTo>
                    <a:pt x="5479256" y="323374"/>
                    <a:pt x="5479256" y="323374"/>
                    <a:pt x="5479256" y="322421"/>
                  </a:cubicBezTo>
                  <a:cubicBezTo>
                    <a:pt x="5479256" y="318611"/>
                    <a:pt x="5478304" y="315754"/>
                    <a:pt x="5478304" y="311944"/>
                  </a:cubicBezTo>
                  <a:cubicBezTo>
                    <a:pt x="5479256" y="315754"/>
                    <a:pt x="5480209" y="320516"/>
                    <a:pt x="5482114" y="325279"/>
                  </a:cubicBezTo>
                  <a:cubicBezTo>
                    <a:pt x="5481162" y="325279"/>
                    <a:pt x="5481162" y="325279"/>
                    <a:pt x="5481162" y="326231"/>
                  </a:cubicBezTo>
                  <a:close/>
                  <a:moveTo>
                    <a:pt x="5493544" y="339566"/>
                  </a:moveTo>
                  <a:cubicBezTo>
                    <a:pt x="5493544" y="339566"/>
                    <a:pt x="5493544" y="339566"/>
                    <a:pt x="5493544" y="339566"/>
                  </a:cubicBezTo>
                  <a:cubicBezTo>
                    <a:pt x="5493544" y="339566"/>
                    <a:pt x="5493544" y="339566"/>
                    <a:pt x="5493544" y="339566"/>
                  </a:cubicBezTo>
                  <a:cubicBezTo>
                    <a:pt x="5493544" y="339566"/>
                    <a:pt x="5493544" y="339566"/>
                    <a:pt x="5493544" y="339566"/>
                  </a:cubicBezTo>
                  <a:close/>
                  <a:moveTo>
                    <a:pt x="5488781" y="261461"/>
                  </a:moveTo>
                  <a:cubicBezTo>
                    <a:pt x="5488781" y="261461"/>
                    <a:pt x="5488781" y="261461"/>
                    <a:pt x="5488781" y="261461"/>
                  </a:cubicBezTo>
                  <a:cubicBezTo>
                    <a:pt x="5489734" y="263366"/>
                    <a:pt x="5489734" y="265271"/>
                    <a:pt x="5490687" y="267176"/>
                  </a:cubicBezTo>
                  <a:cubicBezTo>
                    <a:pt x="5489734" y="266224"/>
                    <a:pt x="5488781" y="265271"/>
                    <a:pt x="5487829" y="264319"/>
                  </a:cubicBezTo>
                  <a:cubicBezTo>
                    <a:pt x="5487829" y="263366"/>
                    <a:pt x="5487829" y="262414"/>
                    <a:pt x="5488781" y="261461"/>
                  </a:cubicBezTo>
                  <a:close/>
                  <a:moveTo>
                    <a:pt x="5483067" y="280511"/>
                  </a:moveTo>
                  <a:cubicBezTo>
                    <a:pt x="5484019" y="277654"/>
                    <a:pt x="5484971" y="275749"/>
                    <a:pt x="5484971" y="272891"/>
                  </a:cubicBezTo>
                  <a:cubicBezTo>
                    <a:pt x="5488781" y="278606"/>
                    <a:pt x="5492592" y="285274"/>
                    <a:pt x="5496401" y="291941"/>
                  </a:cubicBezTo>
                  <a:cubicBezTo>
                    <a:pt x="5497354" y="293846"/>
                    <a:pt x="5498306" y="295751"/>
                    <a:pt x="5500212" y="297656"/>
                  </a:cubicBezTo>
                  <a:cubicBezTo>
                    <a:pt x="5499259" y="300514"/>
                    <a:pt x="5498306" y="303371"/>
                    <a:pt x="5497354" y="307181"/>
                  </a:cubicBezTo>
                  <a:cubicBezTo>
                    <a:pt x="5497354" y="308134"/>
                    <a:pt x="5497354" y="310039"/>
                    <a:pt x="5496401" y="310991"/>
                  </a:cubicBezTo>
                  <a:cubicBezTo>
                    <a:pt x="5494496" y="309086"/>
                    <a:pt x="5493544" y="307181"/>
                    <a:pt x="5493544" y="307181"/>
                  </a:cubicBezTo>
                  <a:cubicBezTo>
                    <a:pt x="5493544" y="307181"/>
                    <a:pt x="5494496" y="309086"/>
                    <a:pt x="5495449" y="311944"/>
                  </a:cubicBezTo>
                  <a:cubicBezTo>
                    <a:pt x="5495449" y="314801"/>
                    <a:pt x="5494496" y="316706"/>
                    <a:pt x="5494496" y="319564"/>
                  </a:cubicBezTo>
                  <a:cubicBezTo>
                    <a:pt x="5493544" y="323374"/>
                    <a:pt x="5493544" y="326231"/>
                    <a:pt x="5492592" y="330041"/>
                  </a:cubicBezTo>
                  <a:cubicBezTo>
                    <a:pt x="5491639" y="330994"/>
                    <a:pt x="5490687" y="331946"/>
                    <a:pt x="5488781" y="333851"/>
                  </a:cubicBezTo>
                  <a:cubicBezTo>
                    <a:pt x="5487829" y="330994"/>
                    <a:pt x="5486876" y="329089"/>
                    <a:pt x="5485924" y="327184"/>
                  </a:cubicBezTo>
                  <a:cubicBezTo>
                    <a:pt x="5485924" y="321469"/>
                    <a:pt x="5486876" y="316706"/>
                    <a:pt x="5487829" y="312896"/>
                  </a:cubicBezTo>
                  <a:cubicBezTo>
                    <a:pt x="5488781" y="304324"/>
                    <a:pt x="5489734" y="299561"/>
                    <a:pt x="5489734" y="299561"/>
                  </a:cubicBezTo>
                  <a:cubicBezTo>
                    <a:pt x="5489734" y="299561"/>
                    <a:pt x="5487829" y="304324"/>
                    <a:pt x="5484019" y="311944"/>
                  </a:cubicBezTo>
                  <a:cubicBezTo>
                    <a:pt x="5484019" y="312896"/>
                    <a:pt x="5484019" y="312896"/>
                    <a:pt x="5483067" y="313849"/>
                  </a:cubicBezTo>
                  <a:cubicBezTo>
                    <a:pt x="5483067" y="313849"/>
                    <a:pt x="5483067" y="312896"/>
                    <a:pt x="5483067" y="312896"/>
                  </a:cubicBezTo>
                  <a:cubicBezTo>
                    <a:pt x="5480209" y="300514"/>
                    <a:pt x="5478304" y="292894"/>
                    <a:pt x="5478304" y="292894"/>
                  </a:cubicBezTo>
                  <a:cubicBezTo>
                    <a:pt x="5478304" y="292894"/>
                    <a:pt x="5478304" y="298609"/>
                    <a:pt x="5479256" y="309086"/>
                  </a:cubicBezTo>
                  <a:cubicBezTo>
                    <a:pt x="5479256" y="309086"/>
                    <a:pt x="5479256" y="308134"/>
                    <a:pt x="5479256" y="308134"/>
                  </a:cubicBezTo>
                  <a:cubicBezTo>
                    <a:pt x="5478304" y="305276"/>
                    <a:pt x="5477351" y="303371"/>
                    <a:pt x="5476399" y="300514"/>
                  </a:cubicBezTo>
                  <a:cubicBezTo>
                    <a:pt x="5479256" y="293846"/>
                    <a:pt x="5481162" y="287179"/>
                    <a:pt x="5483067" y="280511"/>
                  </a:cubicBezTo>
                  <a:close/>
                  <a:moveTo>
                    <a:pt x="5472589" y="254794"/>
                  </a:moveTo>
                  <a:cubicBezTo>
                    <a:pt x="5473542" y="255746"/>
                    <a:pt x="5474494" y="256699"/>
                    <a:pt x="5475446" y="258604"/>
                  </a:cubicBezTo>
                  <a:cubicBezTo>
                    <a:pt x="5474494" y="261461"/>
                    <a:pt x="5472589" y="265271"/>
                    <a:pt x="5471637" y="268129"/>
                  </a:cubicBezTo>
                  <a:cubicBezTo>
                    <a:pt x="5470684" y="261461"/>
                    <a:pt x="5469731" y="255746"/>
                    <a:pt x="5468779" y="249079"/>
                  </a:cubicBezTo>
                  <a:cubicBezTo>
                    <a:pt x="5469731" y="250984"/>
                    <a:pt x="5471637" y="252889"/>
                    <a:pt x="5472589" y="254794"/>
                  </a:cubicBezTo>
                  <a:close/>
                  <a:moveTo>
                    <a:pt x="5452587" y="208121"/>
                  </a:moveTo>
                  <a:cubicBezTo>
                    <a:pt x="5452587" y="209074"/>
                    <a:pt x="5452587" y="210026"/>
                    <a:pt x="5452587" y="210026"/>
                  </a:cubicBezTo>
                  <a:cubicBezTo>
                    <a:pt x="5453539" y="214789"/>
                    <a:pt x="5454492" y="220504"/>
                    <a:pt x="5454492" y="225266"/>
                  </a:cubicBezTo>
                  <a:cubicBezTo>
                    <a:pt x="5454492" y="226219"/>
                    <a:pt x="5454492" y="227171"/>
                    <a:pt x="5454492" y="228124"/>
                  </a:cubicBezTo>
                  <a:cubicBezTo>
                    <a:pt x="5453539" y="227171"/>
                    <a:pt x="5451634" y="226219"/>
                    <a:pt x="5450681" y="225266"/>
                  </a:cubicBezTo>
                  <a:cubicBezTo>
                    <a:pt x="5451634" y="219551"/>
                    <a:pt x="5452587" y="212884"/>
                    <a:pt x="5452587" y="208121"/>
                  </a:cubicBezTo>
                  <a:close/>
                  <a:moveTo>
                    <a:pt x="5449729" y="250031"/>
                  </a:moveTo>
                  <a:cubicBezTo>
                    <a:pt x="5450681" y="242411"/>
                    <a:pt x="5450681" y="234791"/>
                    <a:pt x="5451634" y="228124"/>
                  </a:cubicBezTo>
                  <a:cubicBezTo>
                    <a:pt x="5452587" y="229076"/>
                    <a:pt x="5452587" y="229076"/>
                    <a:pt x="5453539" y="230029"/>
                  </a:cubicBezTo>
                  <a:cubicBezTo>
                    <a:pt x="5454492" y="230981"/>
                    <a:pt x="5455444" y="231934"/>
                    <a:pt x="5455444" y="232886"/>
                  </a:cubicBezTo>
                  <a:cubicBezTo>
                    <a:pt x="5455444" y="236696"/>
                    <a:pt x="5456396" y="239554"/>
                    <a:pt x="5456396" y="243364"/>
                  </a:cubicBezTo>
                  <a:cubicBezTo>
                    <a:pt x="5457349" y="255746"/>
                    <a:pt x="5458301" y="268129"/>
                    <a:pt x="5459254" y="282416"/>
                  </a:cubicBezTo>
                  <a:cubicBezTo>
                    <a:pt x="5460206" y="288131"/>
                    <a:pt x="5460206" y="293846"/>
                    <a:pt x="5460206" y="299561"/>
                  </a:cubicBezTo>
                  <a:cubicBezTo>
                    <a:pt x="5458301" y="304324"/>
                    <a:pt x="5457349" y="309086"/>
                    <a:pt x="5455444" y="313849"/>
                  </a:cubicBezTo>
                  <a:cubicBezTo>
                    <a:pt x="5452587" y="302419"/>
                    <a:pt x="5450681" y="290989"/>
                    <a:pt x="5447824" y="280511"/>
                  </a:cubicBezTo>
                  <a:cubicBezTo>
                    <a:pt x="5447824" y="279559"/>
                    <a:pt x="5447824" y="277654"/>
                    <a:pt x="5446871" y="276701"/>
                  </a:cubicBezTo>
                  <a:cubicBezTo>
                    <a:pt x="5448776" y="267176"/>
                    <a:pt x="5448776" y="257651"/>
                    <a:pt x="5449729" y="250031"/>
                  </a:cubicBezTo>
                  <a:close/>
                  <a:moveTo>
                    <a:pt x="5443062" y="327184"/>
                  </a:moveTo>
                  <a:cubicBezTo>
                    <a:pt x="5444014" y="332899"/>
                    <a:pt x="5444967" y="338614"/>
                    <a:pt x="5445919" y="343376"/>
                  </a:cubicBezTo>
                  <a:cubicBezTo>
                    <a:pt x="5444967" y="340519"/>
                    <a:pt x="5444014" y="337661"/>
                    <a:pt x="5443062" y="334804"/>
                  </a:cubicBezTo>
                  <a:cubicBezTo>
                    <a:pt x="5442109" y="332899"/>
                    <a:pt x="5443062" y="330041"/>
                    <a:pt x="5443062" y="327184"/>
                  </a:cubicBezTo>
                  <a:close/>
                  <a:moveTo>
                    <a:pt x="5417344" y="318611"/>
                  </a:moveTo>
                  <a:cubicBezTo>
                    <a:pt x="5418296" y="316706"/>
                    <a:pt x="5418296" y="314801"/>
                    <a:pt x="5419249" y="312896"/>
                  </a:cubicBezTo>
                  <a:cubicBezTo>
                    <a:pt x="5420201" y="315754"/>
                    <a:pt x="5421154" y="318611"/>
                    <a:pt x="5421154" y="320516"/>
                  </a:cubicBezTo>
                  <a:cubicBezTo>
                    <a:pt x="5421154" y="320516"/>
                    <a:pt x="5421154" y="321469"/>
                    <a:pt x="5421154" y="321469"/>
                  </a:cubicBezTo>
                  <a:cubicBezTo>
                    <a:pt x="5421154" y="320516"/>
                    <a:pt x="5421154" y="320516"/>
                    <a:pt x="5421154" y="320516"/>
                  </a:cubicBezTo>
                  <a:cubicBezTo>
                    <a:pt x="5421154" y="320516"/>
                    <a:pt x="5421154" y="321469"/>
                    <a:pt x="5421154" y="322421"/>
                  </a:cubicBezTo>
                  <a:cubicBezTo>
                    <a:pt x="5420201" y="325279"/>
                    <a:pt x="5419249" y="329089"/>
                    <a:pt x="5418296" y="331946"/>
                  </a:cubicBezTo>
                  <a:cubicBezTo>
                    <a:pt x="5417344" y="330994"/>
                    <a:pt x="5417344" y="330041"/>
                    <a:pt x="5417344" y="329089"/>
                  </a:cubicBezTo>
                  <a:cubicBezTo>
                    <a:pt x="5417344" y="326231"/>
                    <a:pt x="5417344" y="322421"/>
                    <a:pt x="5417344" y="318611"/>
                  </a:cubicBezTo>
                  <a:close/>
                  <a:moveTo>
                    <a:pt x="5416392" y="334804"/>
                  </a:moveTo>
                  <a:cubicBezTo>
                    <a:pt x="5416392" y="335756"/>
                    <a:pt x="5416392" y="335756"/>
                    <a:pt x="5417344" y="335756"/>
                  </a:cubicBezTo>
                  <a:cubicBezTo>
                    <a:pt x="5417344" y="336709"/>
                    <a:pt x="5416392" y="337661"/>
                    <a:pt x="5416392" y="337661"/>
                  </a:cubicBezTo>
                  <a:cubicBezTo>
                    <a:pt x="5416392" y="336709"/>
                    <a:pt x="5416392" y="335756"/>
                    <a:pt x="5416392" y="334804"/>
                  </a:cubicBezTo>
                  <a:close/>
                  <a:moveTo>
                    <a:pt x="5405914" y="325279"/>
                  </a:moveTo>
                  <a:cubicBezTo>
                    <a:pt x="5406867" y="302419"/>
                    <a:pt x="5407819" y="284321"/>
                    <a:pt x="5407819" y="271939"/>
                  </a:cubicBezTo>
                  <a:cubicBezTo>
                    <a:pt x="5407819" y="270034"/>
                    <a:pt x="5407819" y="269081"/>
                    <a:pt x="5407819" y="267176"/>
                  </a:cubicBezTo>
                  <a:cubicBezTo>
                    <a:pt x="5409724" y="274796"/>
                    <a:pt x="5411629" y="283369"/>
                    <a:pt x="5414487" y="292894"/>
                  </a:cubicBezTo>
                  <a:cubicBezTo>
                    <a:pt x="5414487" y="292894"/>
                    <a:pt x="5414487" y="292894"/>
                    <a:pt x="5414487" y="293846"/>
                  </a:cubicBezTo>
                  <a:cubicBezTo>
                    <a:pt x="5413534" y="296704"/>
                    <a:pt x="5412581" y="299561"/>
                    <a:pt x="5411629" y="303371"/>
                  </a:cubicBezTo>
                  <a:cubicBezTo>
                    <a:pt x="5408771" y="311944"/>
                    <a:pt x="5406867" y="321469"/>
                    <a:pt x="5404962" y="331946"/>
                  </a:cubicBezTo>
                  <a:cubicBezTo>
                    <a:pt x="5404962" y="331946"/>
                    <a:pt x="5404962" y="332899"/>
                    <a:pt x="5404962" y="332899"/>
                  </a:cubicBezTo>
                  <a:cubicBezTo>
                    <a:pt x="5404962" y="330994"/>
                    <a:pt x="5404962" y="328136"/>
                    <a:pt x="5405914" y="325279"/>
                  </a:cubicBezTo>
                  <a:close/>
                  <a:moveTo>
                    <a:pt x="5384006" y="310991"/>
                  </a:moveTo>
                  <a:cubicBezTo>
                    <a:pt x="5384959" y="318611"/>
                    <a:pt x="5385912" y="326231"/>
                    <a:pt x="5386864" y="334804"/>
                  </a:cubicBezTo>
                  <a:cubicBezTo>
                    <a:pt x="5385912" y="336709"/>
                    <a:pt x="5385912" y="339566"/>
                    <a:pt x="5384959" y="341471"/>
                  </a:cubicBezTo>
                  <a:cubicBezTo>
                    <a:pt x="5384006" y="335756"/>
                    <a:pt x="5383054" y="330041"/>
                    <a:pt x="5382101" y="325279"/>
                  </a:cubicBezTo>
                  <a:cubicBezTo>
                    <a:pt x="5381149" y="317659"/>
                    <a:pt x="5380196" y="310991"/>
                    <a:pt x="5378292" y="305276"/>
                  </a:cubicBezTo>
                  <a:cubicBezTo>
                    <a:pt x="5379244" y="301466"/>
                    <a:pt x="5380196" y="298609"/>
                    <a:pt x="5381149" y="294799"/>
                  </a:cubicBezTo>
                  <a:cubicBezTo>
                    <a:pt x="5382101" y="299561"/>
                    <a:pt x="5383054" y="305276"/>
                    <a:pt x="5384006" y="310991"/>
                  </a:cubicBezTo>
                  <a:close/>
                  <a:moveTo>
                    <a:pt x="5379244" y="274796"/>
                  </a:moveTo>
                  <a:cubicBezTo>
                    <a:pt x="5379244" y="273844"/>
                    <a:pt x="5379244" y="272891"/>
                    <a:pt x="5379244" y="271939"/>
                  </a:cubicBezTo>
                  <a:cubicBezTo>
                    <a:pt x="5379244" y="275749"/>
                    <a:pt x="5380196" y="280511"/>
                    <a:pt x="5381149" y="284321"/>
                  </a:cubicBezTo>
                  <a:cubicBezTo>
                    <a:pt x="5381149" y="284321"/>
                    <a:pt x="5381149" y="285274"/>
                    <a:pt x="5380196" y="285274"/>
                  </a:cubicBezTo>
                  <a:cubicBezTo>
                    <a:pt x="5379244" y="287179"/>
                    <a:pt x="5379244" y="288131"/>
                    <a:pt x="5378292" y="290036"/>
                  </a:cubicBezTo>
                  <a:cubicBezTo>
                    <a:pt x="5378292" y="285274"/>
                    <a:pt x="5378292" y="280511"/>
                    <a:pt x="5379244" y="274796"/>
                  </a:cubicBezTo>
                  <a:close/>
                  <a:moveTo>
                    <a:pt x="5332571" y="321469"/>
                  </a:moveTo>
                  <a:cubicBezTo>
                    <a:pt x="5334476" y="316706"/>
                    <a:pt x="5336381" y="312896"/>
                    <a:pt x="5338287" y="309086"/>
                  </a:cubicBezTo>
                  <a:cubicBezTo>
                    <a:pt x="5338287" y="309086"/>
                    <a:pt x="5338287" y="310039"/>
                    <a:pt x="5338287" y="310039"/>
                  </a:cubicBezTo>
                  <a:cubicBezTo>
                    <a:pt x="5334476" y="323374"/>
                    <a:pt x="5330667" y="337661"/>
                    <a:pt x="5326856" y="351949"/>
                  </a:cubicBezTo>
                  <a:cubicBezTo>
                    <a:pt x="5325904" y="345281"/>
                    <a:pt x="5324951" y="340519"/>
                    <a:pt x="5323999" y="336709"/>
                  </a:cubicBezTo>
                  <a:cubicBezTo>
                    <a:pt x="5327809" y="330994"/>
                    <a:pt x="5330667" y="326231"/>
                    <a:pt x="5332571" y="321469"/>
                  </a:cubicBezTo>
                  <a:close/>
                  <a:moveTo>
                    <a:pt x="5319237" y="350996"/>
                  </a:moveTo>
                  <a:cubicBezTo>
                    <a:pt x="5320189" y="348139"/>
                    <a:pt x="5322094" y="345281"/>
                    <a:pt x="5323046" y="342424"/>
                  </a:cubicBezTo>
                  <a:cubicBezTo>
                    <a:pt x="5323046" y="350044"/>
                    <a:pt x="5322094" y="359569"/>
                    <a:pt x="5322094" y="371951"/>
                  </a:cubicBezTo>
                  <a:cubicBezTo>
                    <a:pt x="5321142" y="368141"/>
                    <a:pt x="5320189" y="365284"/>
                    <a:pt x="5319237" y="362426"/>
                  </a:cubicBezTo>
                  <a:cubicBezTo>
                    <a:pt x="5319237" y="357664"/>
                    <a:pt x="5319237" y="353854"/>
                    <a:pt x="5319237" y="350996"/>
                  </a:cubicBezTo>
                  <a:close/>
                  <a:moveTo>
                    <a:pt x="5316379" y="392906"/>
                  </a:moveTo>
                  <a:cubicBezTo>
                    <a:pt x="5316379" y="389096"/>
                    <a:pt x="5317331" y="386239"/>
                    <a:pt x="5317331" y="382429"/>
                  </a:cubicBezTo>
                  <a:cubicBezTo>
                    <a:pt x="5317331" y="384334"/>
                    <a:pt x="5318284" y="387191"/>
                    <a:pt x="5318284" y="390049"/>
                  </a:cubicBezTo>
                  <a:cubicBezTo>
                    <a:pt x="5317331" y="392906"/>
                    <a:pt x="5316379" y="395764"/>
                    <a:pt x="5315426" y="399574"/>
                  </a:cubicBezTo>
                  <a:cubicBezTo>
                    <a:pt x="5316379" y="396716"/>
                    <a:pt x="5316379" y="394811"/>
                    <a:pt x="5316379" y="392906"/>
                  </a:cubicBezTo>
                  <a:close/>
                  <a:moveTo>
                    <a:pt x="5285899" y="293846"/>
                  </a:moveTo>
                  <a:cubicBezTo>
                    <a:pt x="5285899" y="295751"/>
                    <a:pt x="5285899" y="296704"/>
                    <a:pt x="5286851" y="298609"/>
                  </a:cubicBezTo>
                  <a:cubicBezTo>
                    <a:pt x="5285899" y="299561"/>
                    <a:pt x="5284946" y="300514"/>
                    <a:pt x="5283994" y="302419"/>
                  </a:cubicBezTo>
                  <a:cubicBezTo>
                    <a:pt x="5284946" y="299561"/>
                    <a:pt x="5285899" y="296704"/>
                    <a:pt x="5285899" y="293846"/>
                  </a:cubicBezTo>
                  <a:close/>
                  <a:moveTo>
                    <a:pt x="5279231" y="319564"/>
                  </a:moveTo>
                  <a:cubicBezTo>
                    <a:pt x="5280184" y="316706"/>
                    <a:pt x="5281137" y="313849"/>
                    <a:pt x="5282089" y="311944"/>
                  </a:cubicBezTo>
                  <a:cubicBezTo>
                    <a:pt x="5283994" y="308134"/>
                    <a:pt x="5285899" y="305276"/>
                    <a:pt x="5287804" y="302419"/>
                  </a:cubicBezTo>
                  <a:cubicBezTo>
                    <a:pt x="5287804" y="304324"/>
                    <a:pt x="5288756" y="307181"/>
                    <a:pt x="5288756" y="309086"/>
                  </a:cubicBezTo>
                  <a:cubicBezTo>
                    <a:pt x="5289709" y="318611"/>
                    <a:pt x="5290662" y="329089"/>
                    <a:pt x="5292567" y="340519"/>
                  </a:cubicBezTo>
                  <a:cubicBezTo>
                    <a:pt x="5290662" y="347186"/>
                    <a:pt x="5288756" y="354806"/>
                    <a:pt x="5287804" y="363379"/>
                  </a:cubicBezTo>
                  <a:cubicBezTo>
                    <a:pt x="5287804" y="359569"/>
                    <a:pt x="5287804" y="354806"/>
                    <a:pt x="5287804" y="351949"/>
                  </a:cubicBezTo>
                  <a:cubicBezTo>
                    <a:pt x="5287804" y="341471"/>
                    <a:pt x="5287804" y="335756"/>
                    <a:pt x="5287804" y="335756"/>
                  </a:cubicBezTo>
                  <a:cubicBezTo>
                    <a:pt x="5287804" y="335756"/>
                    <a:pt x="5286851" y="341471"/>
                    <a:pt x="5283994" y="350996"/>
                  </a:cubicBezTo>
                  <a:cubicBezTo>
                    <a:pt x="5283042" y="355759"/>
                    <a:pt x="5282089" y="362426"/>
                    <a:pt x="5280184" y="369094"/>
                  </a:cubicBezTo>
                  <a:cubicBezTo>
                    <a:pt x="5280184" y="369094"/>
                    <a:pt x="5280184" y="369094"/>
                    <a:pt x="5280184" y="370046"/>
                  </a:cubicBezTo>
                  <a:cubicBezTo>
                    <a:pt x="5279231" y="363379"/>
                    <a:pt x="5278279" y="356711"/>
                    <a:pt x="5277326" y="350044"/>
                  </a:cubicBezTo>
                  <a:cubicBezTo>
                    <a:pt x="5276374" y="345281"/>
                    <a:pt x="5276374" y="340519"/>
                    <a:pt x="5275421" y="335756"/>
                  </a:cubicBezTo>
                  <a:cubicBezTo>
                    <a:pt x="5275421" y="330041"/>
                    <a:pt x="5277326" y="324326"/>
                    <a:pt x="5279231" y="319564"/>
                  </a:cubicBezTo>
                  <a:close/>
                  <a:moveTo>
                    <a:pt x="5236369" y="318611"/>
                  </a:moveTo>
                  <a:cubicBezTo>
                    <a:pt x="5236369" y="319564"/>
                    <a:pt x="5235417" y="319564"/>
                    <a:pt x="5235417" y="320516"/>
                  </a:cubicBezTo>
                  <a:cubicBezTo>
                    <a:pt x="5233512" y="317659"/>
                    <a:pt x="5232559" y="314801"/>
                    <a:pt x="5230654" y="311944"/>
                  </a:cubicBezTo>
                  <a:cubicBezTo>
                    <a:pt x="5230654" y="311944"/>
                    <a:pt x="5230654" y="310991"/>
                    <a:pt x="5230654" y="310991"/>
                  </a:cubicBezTo>
                  <a:cubicBezTo>
                    <a:pt x="5233512" y="305276"/>
                    <a:pt x="5236369" y="300514"/>
                    <a:pt x="5239226" y="295751"/>
                  </a:cubicBezTo>
                  <a:cubicBezTo>
                    <a:pt x="5238274" y="303371"/>
                    <a:pt x="5237321" y="310991"/>
                    <a:pt x="5236369" y="318611"/>
                  </a:cubicBezTo>
                  <a:close/>
                  <a:moveTo>
                    <a:pt x="5230654" y="281464"/>
                  </a:moveTo>
                  <a:cubicBezTo>
                    <a:pt x="5233512" y="275749"/>
                    <a:pt x="5235417" y="270034"/>
                    <a:pt x="5237321" y="265271"/>
                  </a:cubicBezTo>
                  <a:cubicBezTo>
                    <a:pt x="5239226" y="260509"/>
                    <a:pt x="5242084" y="255746"/>
                    <a:pt x="5243989" y="251936"/>
                  </a:cubicBezTo>
                  <a:cubicBezTo>
                    <a:pt x="5243037" y="255746"/>
                    <a:pt x="5243037" y="259556"/>
                    <a:pt x="5242084" y="264319"/>
                  </a:cubicBezTo>
                  <a:cubicBezTo>
                    <a:pt x="5241131" y="270034"/>
                    <a:pt x="5240179" y="276701"/>
                    <a:pt x="5240179" y="283369"/>
                  </a:cubicBezTo>
                  <a:cubicBezTo>
                    <a:pt x="5236369" y="288131"/>
                    <a:pt x="5232559" y="293846"/>
                    <a:pt x="5228749" y="299561"/>
                  </a:cubicBezTo>
                  <a:cubicBezTo>
                    <a:pt x="5228749" y="296704"/>
                    <a:pt x="5227796" y="292894"/>
                    <a:pt x="5227796" y="290036"/>
                  </a:cubicBezTo>
                  <a:cubicBezTo>
                    <a:pt x="5227796" y="286226"/>
                    <a:pt x="5228749" y="284321"/>
                    <a:pt x="5230654" y="281464"/>
                  </a:cubicBezTo>
                  <a:close/>
                  <a:moveTo>
                    <a:pt x="5211604" y="344329"/>
                  </a:moveTo>
                  <a:cubicBezTo>
                    <a:pt x="5212556" y="343376"/>
                    <a:pt x="5212556" y="342424"/>
                    <a:pt x="5213509" y="341471"/>
                  </a:cubicBezTo>
                  <a:cubicBezTo>
                    <a:pt x="5213509" y="341471"/>
                    <a:pt x="5213509" y="341471"/>
                    <a:pt x="5213509" y="341471"/>
                  </a:cubicBezTo>
                  <a:cubicBezTo>
                    <a:pt x="5213509" y="341471"/>
                    <a:pt x="5213509" y="342424"/>
                    <a:pt x="5213509" y="342424"/>
                  </a:cubicBezTo>
                  <a:cubicBezTo>
                    <a:pt x="5212556" y="343376"/>
                    <a:pt x="5212556" y="344329"/>
                    <a:pt x="5211604" y="344329"/>
                  </a:cubicBezTo>
                  <a:cubicBezTo>
                    <a:pt x="5211604" y="345281"/>
                    <a:pt x="5211604" y="345281"/>
                    <a:pt x="5211604" y="344329"/>
                  </a:cubicBezTo>
                  <a:close/>
                  <a:moveTo>
                    <a:pt x="5214462" y="343376"/>
                  </a:moveTo>
                  <a:cubicBezTo>
                    <a:pt x="5215414" y="345281"/>
                    <a:pt x="5216367" y="346234"/>
                    <a:pt x="5216367" y="348139"/>
                  </a:cubicBezTo>
                  <a:cubicBezTo>
                    <a:pt x="5215414" y="350044"/>
                    <a:pt x="5214462" y="350996"/>
                    <a:pt x="5213509" y="352901"/>
                  </a:cubicBezTo>
                  <a:cubicBezTo>
                    <a:pt x="5213509" y="351949"/>
                    <a:pt x="5212556" y="351949"/>
                    <a:pt x="5212556" y="350996"/>
                  </a:cubicBezTo>
                  <a:cubicBezTo>
                    <a:pt x="5212556" y="350044"/>
                    <a:pt x="5212556" y="350044"/>
                    <a:pt x="5212556" y="349091"/>
                  </a:cubicBezTo>
                  <a:cubicBezTo>
                    <a:pt x="5212556" y="347186"/>
                    <a:pt x="5213509" y="345281"/>
                    <a:pt x="5214462" y="343376"/>
                  </a:cubicBezTo>
                  <a:cubicBezTo>
                    <a:pt x="5213509" y="343376"/>
                    <a:pt x="5213509" y="343376"/>
                    <a:pt x="5214462" y="343376"/>
                  </a:cubicBezTo>
                  <a:close/>
                  <a:moveTo>
                    <a:pt x="5211604" y="290989"/>
                  </a:moveTo>
                  <a:cubicBezTo>
                    <a:pt x="5211604" y="290989"/>
                    <a:pt x="5211604" y="291941"/>
                    <a:pt x="5211604" y="290989"/>
                  </a:cubicBezTo>
                  <a:cubicBezTo>
                    <a:pt x="5212556" y="292894"/>
                    <a:pt x="5212556" y="294799"/>
                    <a:pt x="5213509" y="296704"/>
                  </a:cubicBezTo>
                  <a:cubicBezTo>
                    <a:pt x="5212556" y="298609"/>
                    <a:pt x="5211604" y="300514"/>
                    <a:pt x="5210651" y="302419"/>
                  </a:cubicBezTo>
                  <a:cubicBezTo>
                    <a:pt x="5211604" y="297656"/>
                    <a:pt x="5211604" y="293846"/>
                    <a:pt x="5211604" y="290989"/>
                  </a:cubicBezTo>
                  <a:close/>
                  <a:moveTo>
                    <a:pt x="5189696" y="260509"/>
                  </a:moveTo>
                  <a:cubicBezTo>
                    <a:pt x="5189696" y="261461"/>
                    <a:pt x="5189696" y="263366"/>
                    <a:pt x="5189696" y="264319"/>
                  </a:cubicBezTo>
                  <a:cubicBezTo>
                    <a:pt x="5188744" y="262414"/>
                    <a:pt x="5187792" y="260509"/>
                    <a:pt x="5186839" y="258604"/>
                  </a:cubicBezTo>
                  <a:cubicBezTo>
                    <a:pt x="5186839" y="258604"/>
                    <a:pt x="5186839" y="257651"/>
                    <a:pt x="5187792" y="257651"/>
                  </a:cubicBezTo>
                  <a:cubicBezTo>
                    <a:pt x="5188744" y="255746"/>
                    <a:pt x="5189696" y="254794"/>
                    <a:pt x="5189696" y="253841"/>
                  </a:cubicBezTo>
                  <a:cubicBezTo>
                    <a:pt x="5189696" y="255746"/>
                    <a:pt x="5189696" y="258604"/>
                    <a:pt x="5189696" y="260509"/>
                  </a:cubicBezTo>
                  <a:close/>
                  <a:moveTo>
                    <a:pt x="5178267" y="230981"/>
                  </a:moveTo>
                  <a:cubicBezTo>
                    <a:pt x="5181124" y="223361"/>
                    <a:pt x="5184934" y="217646"/>
                    <a:pt x="5186839" y="213836"/>
                  </a:cubicBezTo>
                  <a:cubicBezTo>
                    <a:pt x="5187792" y="212884"/>
                    <a:pt x="5187792" y="210979"/>
                    <a:pt x="5188744" y="210026"/>
                  </a:cubicBezTo>
                  <a:cubicBezTo>
                    <a:pt x="5188744" y="212884"/>
                    <a:pt x="5188744" y="215741"/>
                    <a:pt x="5188744" y="219551"/>
                  </a:cubicBezTo>
                  <a:cubicBezTo>
                    <a:pt x="5188744" y="230029"/>
                    <a:pt x="5188744" y="241459"/>
                    <a:pt x="5188744" y="254794"/>
                  </a:cubicBezTo>
                  <a:cubicBezTo>
                    <a:pt x="5187792" y="255746"/>
                    <a:pt x="5186839" y="256699"/>
                    <a:pt x="5185887" y="258604"/>
                  </a:cubicBezTo>
                  <a:cubicBezTo>
                    <a:pt x="5185887" y="258604"/>
                    <a:pt x="5185887" y="258604"/>
                    <a:pt x="5185887" y="258604"/>
                  </a:cubicBezTo>
                  <a:cubicBezTo>
                    <a:pt x="5183029" y="252889"/>
                    <a:pt x="5180171" y="248126"/>
                    <a:pt x="5178267" y="243364"/>
                  </a:cubicBezTo>
                  <a:cubicBezTo>
                    <a:pt x="5177314" y="241459"/>
                    <a:pt x="5176362" y="240506"/>
                    <a:pt x="5175409" y="238601"/>
                  </a:cubicBezTo>
                  <a:cubicBezTo>
                    <a:pt x="5176362" y="234791"/>
                    <a:pt x="5177314" y="232886"/>
                    <a:pt x="5178267" y="230981"/>
                  </a:cubicBezTo>
                  <a:close/>
                  <a:moveTo>
                    <a:pt x="5168742" y="238601"/>
                  </a:moveTo>
                  <a:cubicBezTo>
                    <a:pt x="5168742" y="239554"/>
                    <a:pt x="5168742" y="239554"/>
                    <a:pt x="5168742" y="238601"/>
                  </a:cubicBezTo>
                  <a:cubicBezTo>
                    <a:pt x="5168742" y="239554"/>
                    <a:pt x="5168742" y="239554"/>
                    <a:pt x="5168742" y="238601"/>
                  </a:cubicBezTo>
                  <a:cubicBezTo>
                    <a:pt x="5168742" y="239554"/>
                    <a:pt x="5168742" y="239554"/>
                    <a:pt x="5168742" y="238601"/>
                  </a:cubicBezTo>
                  <a:close/>
                  <a:moveTo>
                    <a:pt x="5166837" y="280511"/>
                  </a:moveTo>
                  <a:cubicBezTo>
                    <a:pt x="5166837" y="272891"/>
                    <a:pt x="5167789" y="266224"/>
                    <a:pt x="5167789" y="259556"/>
                  </a:cubicBezTo>
                  <a:cubicBezTo>
                    <a:pt x="5167789" y="259556"/>
                    <a:pt x="5167789" y="259556"/>
                    <a:pt x="5167789" y="259556"/>
                  </a:cubicBezTo>
                  <a:cubicBezTo>
                    <a:pt x="5168742" y="255746"/>
                    <a:pt x="5170646" y="251936"/>
                    <a:pt x="5171599" y="248126"/>
                  </a:cubicBezTo>
                  <a:cubicBezTo>
                    <a:pt x="5173504" y="252889"/>
                    <a:pt x="5175409" y="257651"/>
                    <a:pt x="5177314" y="263366"/>
                  </a:cubicBezTo>
                  <a:cubicBezTo>
                    <a:pt x="5178267" y="264319"/>
                    <a:pt x="5178267" y="266224"/>
                    <a:pt x="5179219" y="267176"/>
                  </a:cubicBezTo>
                  <a:cubicBezTo>
                    <a:pt x="5178267" y="268129"/>
                    <a:pt x="5177314" y="270034"/>
                    <a:pt x="5176362" y="271939"/>
                  </a:cubicBezTo>
                  <a:cubicBezTo>
                    <a:pt x="5173504" y="275749"/>
                    <a:pt x="5170646" y="281464"/>
                    <a:pt x="5166837" y="287179"/>
                  </a:cubicBezTo>
                  <a:cubicBezTo>
                    <a:pt x="5166837" y="283369"/>
                    <a:pt x="5166837" y="281464"/>
                    <a:pt x="5166837" y="280511"/>
                  </a:cubicBezTo>
                  <a:close/>
                  <a:moveTo>
                    <a:pt x="5166837" y="307181"/>
                  </a:moveTo>
                  <a:cubicBezTo>
                    <a:pt x="5167789" y="303371"/>
                    <a:pt x="5168742" y="299561"/>
                    <a:pt x="5170646" y="296704"/>
                  </a:cubicBezTo>
                  <a:cubicBezTo>
                    <a:pt x="5170646" y="295751"/>
                    <a:pt x="5171599" y="294799"/>
                    <a:pt x="5171599" y="293846"/>
                  </a:cubicBezTo>
                  <a:cubicBezTo>
                    <a:pt x="5173504" y="291941"/>
                    <a:pt x="5175409" y="290036"/>
                    <a:pt x="5176362" y="289084"/>
                  </a:cubicBezTo>
                  <a:cubicBezTo>
                    <a:pt x="5179219" y="286226"/>
                    <a:pt x="5181124" y="284321"/>
                    <a:pt x="5181124" y="284321"/>
                  </a:cubicBezTo>
                  <a:cubicBezTo>
                    <a:pt x="5181124" y="284321"/>
                    <a:pt x="5179219" y="285274"/>
                    <a:pt x="5175409" y="288131"/>
                  </a:cubicBezTo>
                  <a:cubicBezTo>
                    <a:pt x="5174456" y="289084"/>
                    <a:pt x="5173504" y="289084"/>
                    <a:pt x="5172551" y="290036"/>
                  </a:cubicBezTo>
                  <a:cubicBezTo>
                    <a:pt x="5175409" y="283369"/>
                    <a:pt x="5177314" y="277654"/>
                    <a:pt x="5179219" y="272891"/>
                  </a:cubicBezTo>
                  <a:cubicBezTo>
                    <a:pt x="5179219" y="271939"/>
                    <a:pt x="5180171" y="270986"/>
                    <a:pt x="5180171" y="270034"/>
                  </a:cubicBezTo>
                  <a:cubicBezTo>
                    <a:pt x="5182076" y="273844"/>
                    <a:pt x="5183029" y="276701"/>
                    <a:pt x="5184934" y="280511"/>
                  </a:cubicBezTo>
                  <a:cubicBezTo>
                    <a:pt x="5186839" y="284321"/>
                    <a:pt x="5188744" y="289084"/>
                    <a:pt x="5190649" y="292894"/>
                  </a:cubicBezTo>
                  <a:cubicBezTo>
                    <a:pt x="5190649" y="294799"/>
                    <a:pt x="5190649" y="296704"/>
                    <a:pt x="5190649" y="298609"/>
                  </a:cubicBezTo>
                  <a:cubicBezTo>
                    <a:pt x="5191601" y="308134"/>
                    <a:pt x="5191601" y="318611"/>
                    <a:pt x="5192554" y="330041"/>
                  </a:cubicBezTo>
                  <a:cubicBezTo>
                    <a:pt x="5192554" y="331946"/>
                    <a:pt x="5192554" y="333851"/>
                    <a:pt x="5192554" y="335756"/>
                  </a:cubicBezTo>
                  <a:cubicBezTo>
                    <a:pt x="5192554" y="335756"/>
                    <a:pt x="5192554" y="336709"/>
                    <a:pt x="5192554" y="336709"/>
                  </a:cubicBezTo>
                  <a:cubicBezTo>
                    <a:pt x="5192554" y="337661"/>
                    <a:pt x="5191601" y="337661"/>
                    <a:pt x="5191601" y="338614"/>
                  </a:cubicBezTo>
                  <a:cubicBezTo>
                    <a:pt x="5190649" y="341471"/>
                    <a:pt x="5188744" y="345281"/>
                    <a:pt x="5187792" y="348139"/>
                  </a:cubicBezTo>
                  <a:cubicBezTo>
                    <a:pt x="5185887" y="324326"/>
                    <a:pt x="5183981" y="309086"/>
                    <a:pt x="5183981" y="309086"/>
                  </a:cubicBezTo>
                  <a:cubicBezTo>
                    <a:pt x="5183981" y="309086"/>
                    <a:pt x="5180171" y="324326"/>
                    <a:pt x="5177314" y="348139"/>
                  </a:cubicBezTo>
                  <a:cubicBezTo>
                    <a:pt x="5177314" y="350044"/>
                    <a:pt x="5176362" y="352901"/>
                    <a:pt x="5176362" y="354806"/>
                  </a:cubicBezTo>
                  <a:cubicBezTo>
                    <a:pt x="5175409" y="352901"/>
                    <a:pt x="5174456" y="350996"/>
                    <a:pt x="5174456" y="349091"/>
                  </a:cubicBezTo>
                  <a:cubicBezTo>
                    <a:pt x="5173504" y="346234"/>
                    <a:pt x="5172551" y="344329"/>
                    <a:pt x="5171599" y="341471"/>
                  </a:cubicBezTo>
                  <a:cubicBezTo>
                    <a:pt x="5172551" y="336709"/>
                    <a:pt x="5173504" y="332899"/>
                    <a:pt x="5173504" y="328136"/>
                  </a:cubicBezTo>
                  <a:cubicBezTo>
                    <a:pt x="5172551" y="331946"/>
                    <a:pt x="5171599" y="334804"/>
                    <a:pt x="5169694" y="338614"/>
                  </a:cubicBezTo>
                  <a:cubicBezTo>
                    <a:pt x="5168742" y="337661"/>
                    <a:pt x="5168742" y="335756"/>
                    <a:pt x="5167789" y="334804"/>
                  </a:cubicBezTo>
                  <a:cubicBezTo>
                    <a:pt x="5166837" y="327184"/>
                    <a:pt x="5166837" y="320516"/>
                    <a:pt x="5165884" y="312896"/>
                  </a:cubicBezTo>
                  <a:cubicBezTo>
                    <a:pt x="5166837" y="310991"/>
                    <a:pt x="5166837" y="309086"/>
                    <a:pt x="5166837" y="307181"/>
                  </a:cubicBezTo>
                  <a:close/>
                  <a:moveTo>
                    <a:pt x="5161121" y="218599"/>
                  </a:moveTo>
                  <a:cubicBezTo>
                    <a:pt x="5162074" y="221456"/>
                    <a:pt x="5163979" y="225266"/>
                    <a:pt x="5164931" y="229076"/>
                  </a:cubicBezTo>
                  <a:cubicBezTo>
                    <a:pt x="5163979" y="234791"/>
                    <a:pt x="5162074" y="240506"/>
                    <a:pt x="5161121" y="248126"/>
                  </a:cubicBezTo>
                  <a:cubicBezTo>
                    <a:pt x="5160169" y="232886"/>
                    <a:pt x="5158264" y="218599"/>
                    <a:pt x="5157312" y="206216"/>
                  </a:cubicBezTo>
                  <a:cubicBezTo>
                    <a:pt x="5158264" y="209074"/>
                    <a:pt x="5159217" y="213836"/>
                    <a:pt x="5161121" y="218599"/>
                  </a:cubicBezTo>
                  <a:close/>
                  <a:moveTo>
                    <a:pt x="5148739" y="256699"/>
                  </a:moveTo>
                  <a:cubicBezTo>
                    <a:pt x="5148739" y="255746"/>
                    <a:pt x="5149692" y="255746"/>
                    <a:pt x="5149692" y="255746"/>
                  </a:cubicBezTo>
                  <a:cubicBezTo>
                    <a:pt x="5149692" y="264319"/>
                    <a:pt x="5149692" y="273844"/>
                    <a:pt x="5149692" y="283369"/>
                  </a:cubicBezTo>
                  <a:cubicBezTo>
                    <a:pt x="5149692" y="283369"/>
                    <a:pt x="5149692" y="284321"/>
                    <a:pt x="5149692" y="284321"/>
                  </a:cubicBezTo>
                  <a:cubicBezTo>
                    <a:pt x="5147787" y="276701"/>
                    <a:pt x="5144929" y="270034"/>
                    <a:pt x="5143024" y="263366"/>
                  </a:cubicBezTo>
                  <a:cubicBezTo>
                    <a:pt x="5145881" y="261461"/>
                    <a:pt x="5147787" y="258604"/>
                    <a:pt x="5148739" y="256699"/>
                  </a:cubicBezTo>
                  <a:close/>
                  <a:moveTo>
                    <a:pt x="5087779" y="317659"/>
                  </a:moveTo>
                  <a:cubicBezTo>
                    <a:pt x="5087779" y="316706"/>
                    <a:pt x="5087779" y="316706"/>
                    <a:pt x="5087779" y="315754"/>
                  </a:cubicBezTo>
                  <a:cubicBezTo>
                    <a:pt x="5087779" y="316706"/>
                    <a:pt x="5087779" y="316706"/>
                    <a:pt x="5087779" y="317659"/>
                  </a:cubicBezTo>
                  <a:cubicBezTo>
                    <a:pt x="5087779" y="317659"/>
                    <a:pt x="5087779" y="317659"/>
                    <a:pt x="5087779" y="317659"/>
                  </a:cubicBezTo>
                  <a:close/>
                  <a:moveTo>
                    <a:pt x="5122069" y="298609"/>
                  </a:moveTo>
                  <a:cubicBezTo>
                    <a:pt x="5123974" y="294799"/>
                    <a:pt x="5126831" y="290989"/>
                    <a:pt x="5128737" y="287179"/>
                  </a:cubicBezTo>
                  <a:cubicBezTo>
                    <a:pt x="5127784" y="298609"/>
                    <a:pt x="5125879" y="311944"/>
                    <a:pt x="5124926" y="327184"/>
                  </a:cubicBezTo>
                  <a:cubicBezTo>
                    <a:pt x="5123974" y="324326"/>
                    <a:pt x="5122069" y="321469"/>
                    <a:pt x="5121117" y="318611"/>
                  </a:cubicBezTo>
                  <a:cubicBezTo>
                    <a:pt x="5119212" y="314801"/>
                    <a:pt x="5118259" y="311944"/>
                    <a:pt x="5117306" y="308134"/>
                  </a:cubicBezTo>
                  <a:cubicBezTo>
                    <a:pt x="5118259" y="304324"/>
                    <a:pt x="5120164" y="301466"/>
                    <a:pt x="5122069" y="298609"/>
                  </a:cubicBezTo>
                  <a:close/>
                  <a:moveTo>
                    <a:pt x="5110639" y="321469"/>
                  </a:moveTo>
                  <a:cubicBezTo>
                    <a:pt x="5110639" y="321469"/>
                    <a:pt x="5110639" y="321469"/>
                    <a:pt x="5110639" y="321469"/>
                  </a:cubicBezTo>
                  <a:cubicBezTo>
                    <a:pt x="5113496" y="329089"/>
                    <a:pt x="5115401" y="336709"/>
                    <a:pt x="5118259" y="344329"/>
                  </a:cubicBezTo>
                  <a:cubicBezTo>
                    <a:pt x="5117306" y="345281"/>
                    <a:pt x="5117306" y="346234"/>
                    <a:pt x="5116354" y="347186"/>
                  </a:cubicBezTo>
                  <a:cubicBezTo>
                    <a:pt x="5115401" y="348139"/>
                    <a:pt x="5115401" y="349091"/>
                    <a:pt x="5114449" y="349091"/>
                  </a:cubicBezTo>
                  <a:cubicBezTo>
                    <a:pt x="5113496" y="344329"/>
                    <a:pt x="5111592" y="339566"/>
                    <a:pt x="5110639" y="335756"/>
                  </a:cubicBezTo>
                  <a:cubicBezTo>
                    <a:pt x="5109687" y="332899"/>
                    <a:pt x="5108734" y="330041"/>
                    <a:pt x="5107781" y="327184"/>
                  </a:cubicBezTo>
                  <a:cubicBezTo>
                    <a:pt x="5108734" y="325279"/>
                    <a:pt x="5109687" y="323374"/>
                    <a:pt x="5110639" y="321469"/>
                  </a:cubicBezTo>
                  <a:close/>
                  <a:moveTo>
                    <a:pt x="5105876" y="308134"/>
                  </a:moveTo>
                  <a:cubicBezTo>
                    <a:pt x="5104924" y="309086"/>
                    <a:pt x="5103971" y="310991"/>
                    <a:pt x="5103019" y="311944"/>
                  </a:cubicBezTo>
                  <a:cubicBezTo>
                    <a:pt x="5102067" y="310039"/>
                    <a:pt x="5102067" y="308134"/>
                    <a:pt x="5101114" y="306229"/>
                  </a:cubicBezTo>
                  <a:cubicBezTo>
                    <a:pt x="5101114" y="305276"/>
                    <a:pt x="5101114" y="304324"/>
                    <a:pt x="5101114" y="304324"/>
                  </a:cubicBezTo>
                  <a:cubicBezTo>
                    <a:pt x="5101114" y="304324"/>
                    <a:pt x="5101114" y="304324"/>
                    <a:pt x="5101114" y="305276"/>
                  </a:cubicBezTo>
                  <a:cubicBezTo>
                    <a:pt x="5099209" y="299561"/>
                    <a:pt x="5098256" y="293846"/>
                    <a:pt x="5096351" y="288131"/>
                  </a:cubicBezTo>
                  <a:cubicBezTo>
                    <a:pt x="5096351" y="285274"/>
                    <a:pt x="5097304" y="282416"/>
                    <a:pt x="5097304" y="281464"/>
                  </a:cubicBezTo>
                  <a:cubicBezTo>
                    <a:pt x="5100162" y="290989"/>
                    <a:pt x="5103019" y="299561"/>
                    <a:pt x="5105876" y="308134"/>
                  </a:cubicBezTo>
                  <a:close/>
                  <a:moveTo>
                    <a:pt x="5097304" y="282416"/>
                  </a:moveTo>
                  <a:cubicBezTo>
                    <a:pt x="5097304" y="283369"/>
                    <a:pt x="5096351" y="284321"/>
                    <a:pt x="5095399" y="286226"/>
                  </a:cubicBezTo>
                  <a:cubicBezTo>
                    <a:pt x="5094446" y="284321"/>
                    <a:pt x="5094446" y="281464"/>
                    <a:pt x="5093494" y="279559"/>
                  </a:cubicBezTo>
                  <a:cubicBezTo>
                    <a:pt x="5091589" y="271939"/>
                    <a:pt x="5089684" y="265271"/>
                    <a:pt x="5087779" y="258604"/>
                  </a:cubicBezTo>
                  <a:cubicBezTo>
                    <a:pt x="5087779" y="258604"/>
                    <a:pt x="5088731" y="257651"/>
                    <a:pt x="5089684" y="257651"/>
                  </a:cubicBezTo>
                  <a:cubicBezTo>
                    <a:pt x="5092542" y="265271"/>
                    <a:pt x="5094446" y="273844"/>
                    <a:pt x="5097304" y="282416"/>
                  </a:cubicBezTo>
                  <a:close/>
                  <a:moveTo>
                    <a:pt x="5080159" y="224314"/>
                  </a:moveTo>
                  <a:cubicBezTo>
                    <a:pt x="5081112" y="228124"/>
                    <a:pt x="5083969" y="238601"/>
                    <a:pt x="5089684" y="254794"/>
                  </a:cubicBezTo>
                  <a:cubicBezTo>
                    <a:pt x="5089684" y="254794"/>
                    <a:pt x="5088731" y="254794"/>
                    <a:pt x="5087779" y="254794"/>
                  </a:cubicBezTo>
                  <a:cubicBezTo>
                    <a:pt x="5085874" y="245269"/>
                    <a:pt x="5083017" y="236696"/>
                    <a:pt x="5081112" y="228124"/>
                  </a:cubicBezTo>
                  <a:cubicBezTo>
                    <a:pt x="5081112" y="228124"/>
                    <a:pt x="5080159" y="227171"/>
                    <a:pt x="5080159" y="224314"/>
                  </a:cubicBezTo>
                  <a:cubicBezTo>
                    <a:pt x="5080159" y="225266"/>
                    <a:pt x="5080159" y="225266"/>
                    <a:pt x="5080159" y="224314"/>
                  </a:cubicBezTo>
                  <a:close/>
                  <a:moveTo>
                    <a:pt x="5076349" y="272891"/>
                  </a:moveTo>
                  <a:cubicBezTo>
                    <a:pt x="5076349" y="270986"/>
                    <a:pt x="5076349" y="270034"/>
                    <a:pt x="5076349" y="268129"/>
                  </a:cubicBezTo>
                  <a:cubicBezTo>
                    <a:pt x="5077301" y="272891"/>
                    <a:pt x="5078254" y="277654"/>
                    <a:pt x="5079206" y="283369"/>
                  </a:cubicBezTo>
                  <a:cubicBezTo>
                    <a:pt x="5080159" y="289084"/>
                    <a:pt x="5082064" y="295751"/>
                    <a:pt x="5083017" y="301466"/>
                  </a:cubicBezTo>
                  <a:cubicBezTo>
                    <a:pt x="5083017" y="302419"/>
                    <a:pt x="5083017" y="303371"/>
                    <a:pt x="5083017" y="304324"/>
                  </a:cubicBezTo>
                  <a:cubicBezTo>
                    <a:pt x="5083017" y="306229"/>
                    <a:pt x="5082064" y="309086"/>
                    <a:pt x="5082064" y="311944"/>
                  </a:cubicBezTo>
                  <a:cubicBezTo>
                    <a:pt x="5079206" y="305276"/>
                    <a:pt x="5076349" y="298609"/>
                    <a:pt x="5073492" y="292894"/>
                  </a:cubicBezTo>
                  <a:cubicBezTo>
                    <a:pt x="5074444" y="285274"/>
                    <a:pt x="5075396" y="278606"/>
                    <a:pt x="5076349" y="272891"/>
                  </a:cubicBezTo>
                  <a:close/>
                  <a:moveTo>
                    <a:pt x="5066824" y="377666"/>
                  </a:moveTo>
                  <a:cubicBezTo>
                    <a:pt x="5066824" y="378619"/>
                    <a:pt x="5066824" y="379571"/>
                    <a:pt x="5066824" y="380524"/>
                  </a:cubicBezTo>
                  <a:cubicBezTo>
                    <a:pt x="5066824" y="381476"/>
                    <a:pt x="5066824" y="382429"/>
                    <a:pt x="5066824" y="383381"/>
                  </a:cubicBezTo>
                  <a:cubicBezTo>
                    <a:pt x="5066824" y="383381"/>
                    <a:pt x="5066824" y="384334"/>
                    <a:pt x="5065871" y="384334"/>
                  </a:cubicBezTo>
                  <a:cubicBezTo>
                    <a:pt x="5065871" y="383381"/>
                    <a:pt x="5064919" y="382429"/>
                    <a:pt x="5064919" y="381476"/>
                  </a:cubicBezTo>
                  <a:cubicBezTo>
                    <a:pt x="5065871" y="380524"/>
                    <a:pt x="5065871" y="379571"/>
                    <a:pt x="5066824" y="377666"/>
                  </a:cubicBezTo>
                  <a:close/>
                  <a:moveTo>
                    <a:pt x="5057299" y="303371"/>
                  </a:moveTo>
                  <a:cubicBezTo>
                    <a:pt x="5055394" y="300514"/>
                    <a:pt x="5053489" y="297656"/>
                    <a:pt x="5051584" y="294799"/>
                  </a:cubicBezTo>
                  <a:cubicBezTo>
                    <a:pt x="5051584" y="293846"/>
                    <a:pt x="5051584" y="291941"/>
                    <a:pt x="5052537" y="290989"/>
                  </a:cubicBezTo>
                  <a:cubicBezTo>
                    <a:pt x="5053489" y="290036"/>
                    <a:pt x="5054442" y="288131"/>
                    <a:pt x="5055394" y="287179"/>
                  </a:cubicBezTo>
                  <a:cubicBezTo>
                    <a:pt x="5056346" y="291941"/>
                    <a:pt x="5056346" y="297656"/>
                    <a:pt x="5057299" y="303371"/>
                  </a:cubicBezTo>
                  <a:close/>
                  <a:moveTo>
                    <a:pt x="5050631" y="252889"/>
                  </a:moveTo>
                  <a:cubicBezTo>
                    <a:pt x="5051584" y="254794"/>
                    <a:pt x="5051584" y="256699"/>
                    <a:pt x="5052537" y="258604"/>
                  </a:cubicBezTo>
                  <a:cubicBezTo>
                    <a:pt x="5052537" y="259556"/>
                    <a:pt x="5052537" y="260509"/>
                    <a:pt x="5053489" y="260509"/>
                  </a:cubicBezTo>
                  <a:cubicBezTo>
                    <a:pt x="5053489" y="262414"/>
                    <a:pt x="5053489" y="265271"/>
                    <a:pt x="5054442" y="268129"/>
                  </a:cubicBezTo>
                  <a:cubicBezTo>
                    <a:pt x="5053489" y="270034"/>
                    <a:pt x="5053489" y="271939"/>
                    <a:pt x="5052537" y="273844"/>
                  </a:cubicBezTo>
                  <a:cubicBezTo>
                    <a:pt x="5052537" y="274796"/>
                    <a:pt x="5051584" y="275749"/>
                    <a:pt x="5051584" y="276701"/>
                  </a:cubicBezTo>
                  <a:cubicBezTo>
                    <a:pt x="5050631" y="277654"/>
                    <a:pt x="5049679" y="278606"/>
                    <a:pt x="5048726" y="279559"/>
                  </a:cubicBezTo>
                  <a:cubicBezTo>
                    <a:pt x="5048726" y="279559"/>
                    <a:pt x="5048726" y="278606"/>
                    <a:pt x="5048726" y="278606"/>
                  </a:cubicBezTo>
                  <a:cubicBezTo>
                    <a:pt x="5048726" y="277654"/>
                    <a:pt x="5048726" y="275749"/>
                    <a:pt x="5048726" y="274796"/>
                  </a:cubicBezTo>
                  <a:cubicBezTo>
                    <a:pt x="5048726" y="271939"/>
                    <a:pt x="5048726" y="270034"/>
                    <a:pt x="5049679" y="268129"/>
                  </a:cubicBezTo>
                  <a:cubicBezTo>
                    <a:pt x="5049679" y="264319"/>
                    <a:pt x="5050631" y="262414"/>
                    <a:pt x="5050631" y="262414"/>
                  </a:cubicBezTo>
                  <a:cubicBezTo>
                    <a:pt x="5050631" y="262414"/>
                    <a:pt x="5049679" y="264319"/>
                    <a:pt x="5048726" y="268129"/>
                  </a:cubicBezTo>
                  <a:cubicBezTo>
                    <a:pt x="5048726" y="268129"/>
                    <a:pt x="5048726" y="269081"/>
                    <a:pt x="5048726" y="269081"/>
                  </a:cubicBezTo>
                  <a:cubicBezTo>
                    <a:pt x="5048726" y="268129"/>
                    <a:pt x="5048726" y="267176"/>
                    <a:pt x="5048726" y="266224"/>
                  </a:cubicBezTo>
                  <a:cubicBezTo>
                    <a:pt x="5048726" y="260509"/>
                    <a:pt x="5049679" y="256699"/>
                    <a:pt x="5050631" y="252889"/>
                  </a:cubicBezTo>
                  <a:close/>
                  <a:moveTo>
                    <a:pt x="5020151" y="390049"/>
                  </a:moveTo>
                  <a:cubicBezTo>
                    <a:pt x="5018246" y="385286"/>
                    <a:pt x="5016342" y="380524"/>
                    <a:pt x="5014437" y="376714"/>
                  </a:cubicBezTo>
                  <a:cubicBezTo>
                    <a:pt x="5014437" y="376714"/>
                    <a:pt x="5014437" y="375761"/>
                    <a:pt x="5014437" y="375761"/>
                  </a:cubicBezTo>
                  <a:cubicBezTo>
                    <a:pt x="5017294" y="365284"/>
                    <a:pt x="5020151" y="355759"/>
                    <a:pt x="5022056" y="347186"/>
                  </a:cubicBezTo>
                  <a:cubicBezTo>
                    <a:pt x="5022056" y="347186"/>
                    <a:pt x="5022056" y="348139"/>
                    <a:pt x="5022056" y="348139"/>
                  </a:cubicBezTo>
                  <a:cubicBezTo>
                    <a:pt x="5022056" y="352901"/>
                    <a:pt x="5022056" y="357664"/>
                    <a:pt x="5022056" y="363379"/>
                  </a:cubicBezTo>
                  <a:cubicBezTo>
                    <a:pt x="5022056" y="368141"/>
                    <a:pt x="5023009" y="373856"/>
                    <a:pt x="5023009" y="379571"/>
                  </a:cubicBezTo>
                  <a:cubicBezTo>
                    <a:pt x="5023009" y="381476"/>
                    <a:pt x="5023009" y="384334"/>
                    <a:pt x="5023962" y="386239"/>
                  </a:cubicBezTo>
                  <a:cubicBezTo>
                    <a:pt x="5023009" y="386239"/>
                    <a:pt x="5022056" y="388144"/>
                    <a:pt x="5020151" y="390049"/>
                  </a:cubicBezTo>
                  <a:close/>
                  <a:moveTo>
                    <a:pt x="5024914" y="400526"/>
                  </a:moveTo>
                  <a:cubicBezTo>
                    <a:pt x="5024914" y="400526"/>
                    <a:pt x="5024914" y="400526"/>
                    <a:pt x="5024914" y="400526"/>
                  </a:cubicBezTo>
                  <a:cubicBezTo>
                    <a:pt x="5024914" y="400526"/>
                    <a:pt x="5024914" y="400526"/>
                    <a:pt x="5024914" y="400526"/>
                  </a:cubicBezTo>
                  <a:cubicBezTo>
                    <a:pt x="5024914" y="400526"/>
                    <a:pt x="5024914" y="400526"/>
                    <a:pt x="5024914" y="400526"/>
                  </a:cubicBezTo>
                  <a:close/>
                  <a:moveTo>
                    <a:pt x="5035392" y="314801"/>
                  </a:moveTo>
                  <a:cubicBezTo>
                    <a:pt x="5035392" y="315754"/>
                    <a:pt x="5035392" y="316706"/>
                    <a:pt x="5035392" y="317659"/>
                  </a:cubicBezTo>
                  <a:cubicBezTo>
                    <a:pt x="5034439" y="329089"/>
                    <a:pt x="5032534" y="341471"/>
                    <a:pt x="5031581" y="353854"/>
                  </a:cubicBezTo>
                  <a:cubicBezTo>
                    <a:pt x="5031581" y="353854"/>
                    <a:pt x="5031581" y="353854"/>
                    <a:pt x="5031581" y="353854"/>
                  </a:cubicBezTo>
                  <a:cubicBezTo>
                    <a:pt x="5031581" y="353854"/>
                    <a:pt x="5031581" y="354806"/>
                    <a:pt x="5031581" y="354806"/>
                  </a:cubicBezTo>
                  <a:cubicBezTo>
                    <a:pt x="5031581" y="351949"/>
                    <a:pt x="5030629" y="349091"/>
                    <a:pt x="5030629" y="347186"/>
                  </a:cubicBezTo>
                  <a:cubicBezTo>
                    <a:pt x="5029676" y="340519"/>
                    <a:pt x="5028724" y="334804"/>
                    <a:pt x="5027771" y="329089"/>
                  </a:cubicBezTo>
                  <a:cubicBezTo>
                    <a:pt x="5027771" y="328136"/>
                    <a:pt x="5028724" y="326231"/>
                    <a:pt x="5028724" y="325279"/>
                  </a:cubicBezTo>
                  <a:cubicBezTo>
                    <a:pt x="5029676" y="323374"/>
                    <a:pt x="5030629" y="321469"/>
                    <a:pt x="5032534" y="319564"/>
                  </a:cubicBezTo>
                  <a:cubicBezTo>
                    <a:pt x="5033487" y="317659"/>
                    <a:pt x="5034439" y="315754"/>
                    <a:pt x="5035392" y="314801"/>
                  </a:cubicBezTo>
                  <a:close/>
                  <a:moveTo>
                    <a:pt x="5006817" y="242411"/>
                  </a:moveTo>
                  <a:cubicBezTo>
                    <a:pt x="5009674" y="246221"/>
                    <a:pt x="5013484" y="251936"/>
                    <a:pt x="5019199" y="259556"/>
                  </a:cubicBezTo>
                  <a:cubicBezTo>
                    <a:pt x="5022056" y="262414"/>
                    <a:pt x="5023962" y="266224"/>
                    <a:pt x="5025867" y="270034"/>
                  </a:cubicBezTo>
                  <a:cubicBezTo>
                    <a:pt x="5023962" y="268129"/>
                    <a:pt x="5022056" y="265271"/>
                    <a:pt x="5021104" y="263366"/>
                  </a:cubicBezTo>
                  <a:cubicBezTo>
                    <a:pt x="5019199" y="260509"/>
                    <a:pt x="5016342" y="258604"/>
                    <a:pt x="5014437" y="255746"/>
                  </a:cubicBezTo>
                  <a:cubicBezTo>
                    <a:pt x="5011579" y="251936"/>
                    <a:pt x="5007769" y="249079"/>
                    <a:pt x="5004912" y="245269"/>
                  </a:cubicBezTo>
                  <a:cubicBezTo>
                    <a:pt x="5006817" y="244316"/>
                    <a:pt x="5006817" y="243364"/>
                    <a:pt x="5006817" y="242411"/>
                  </a:cubicBezTo>
                  <a:close/>
                  <a:moveTo>
                    <a:pt x="5004912" y="242411"/>
                  </a:moveTo>
                  <a:cubicBezTo>
                    <a:pt x="5004912" y="241459"/>
                    <a:pt x="5004912" y="240506"/>
                    <a:pt x="5004912" y="238601"/>
                  </a:cubicBezTo>
                  <a:cubicBezTo>
                    <a:pt x="5004912" y="238601"/>
                    <a:pt x="5005864" y="239554"/>
                    <a:pt x="5006817" y="241459"/>
                  </a:cubicBezTo>
                  <a:cubicBezTo>
                    <a:pt x="5005864" y="242411"/>
                    <a:pt x="5005864" y="243364"/>
                    <a:pt x="5004912" y="244316"/>
                  </a:cubicBezTo>
                  <a:cubicBezTo>
                    <a:pt x="5004912" y="244316"/>
                    <a:pt x="5004912" y="244316"/>
                    <a:pt x="5004912" y="243364"/>
                  </a:cubicBezTo>
                  <a:cubicBezTo>
                    <a:pt x="5003959" y="243364"/>
                    <a:pt x="5003959" y="242411"/>
                    <a:pt x="5004912" y="242411"/>
                  </a:cubicBezTo>
                  <a:close/>
                  <a:moveTo>
                    <a:pt x="4999196" y="303371"/>
                  </a:moveTo>
                  <a:cubicBezTo>
                    <a:pt x="5001101" y="285274"/>
                    <a:pt x="5002054" y="268129"/>
                    <a:pt x="5003006" y="252889"/>
                  </a:cubicBezTo>
                  <a:cubicBezTo>
                    <a:pt x="5004912" y="255746"/>
                    <a:pt x="5006817" y="257651"/>
                    <a:pt x="5008721" y="260509"/>
                  </a:cubicBezTo>
                  <a:cubicBezTo>
                    <a:pt x="5010626" y="263366"/>
                    <a:pt x="5012531" y="266224"/>
                    <a:pt x="5014437" y="268129"/>
                  </a:cubicBezTo>
                  <a:cubicBezTo>
                    <a:pt x="5016342" y="270986"/>
                    <a:pt x="5018246" y="273844"/>
                    <a:pt x="5020151" y="276701"/>
                  </a:cubicBezTo>
                  <a:cubicBezTo>
                    <a:pt x="5023009" y="281464"/>
                    <a:pt x="5026819" y="287179"/>
                    <a:pt x="5029676" y="292894"/>
                  </a:cubicBezTo>
                  <a:cubicBezTo>
                    <a:pt x="5029676" y="292894"/>
                    <a:pt x="5029676" y="293846"/>
                    <a:pt x="5029676" y="293846"/>
                  </a:cubicBezTo>
                  <a:cubicBezTo>
                    <a:pt x="5028724" y="296704"/>
                    <a:pt x="5026819" y="299561"/>
                    <a:pt x="5025867" y="302419"/>
                  </a:cubicBezTo>
                  <a:cubicBezTo>
                    <a:pt x="5024914" y="303371"/>
                    <a:pt x="5023962" y="304324"/>
                    <a:pt x="5023009" y="305276"/>
                  </a:cubicBezTo>
                  <a:cubicBezTo>
                    <a:pt x="5023009" y="302419"/>
                    <a:pt x="5022056" y="301466"/>
                    <a:pt x="5022056" y="301466"/>
                  </a:cubicBezTo>
                  <a:cubicBezTo>
                    <a:pt x="5022056" y="301466"/>
                    <a:pt x="5022056" y="303371"/>
                    <a:pt x="5022056" y="306229"/>
                  </a:cubicBezTo>
                  <a:cubicBezTo>
                    <a:pt x="5021104" y="307181"/>
                    <a:pt x="5020151" y="308134"/>
                    <a:pt x="5019199" y="309086"/>
                  </a:cubicBezTo>
                  <a:cubicBezTo>
                    <a:pt x="5017294" y="311944"/>
                    <a:pt x="5014437" y="314801"/>
                    <a:pt x="5012531" y="318611"/>
                  </a:cubicBezTo>
                  <a:cubicBezTo>
                    <a:pt x="5012531" y="316706"/>
                    <a:pt x="5013484" y="313849"/>
                    <a:pt x="5013484" y="311944"/>
                  </a:cubicBezTo>
                  <a:cubicBezTo>
                    <a:pt x="5014437" y="305276"/>
                    <a:pt x="5015389" y="299561"/>
                    <a:pt x="5017294" y="294799"/>
                  </a:cubicBezTo>
                  <a:cubicBezTo>
                    <a:pt x="5019199" y="285274"/>
                    <a:pt x="5020151" y="279559"/>
                    <a:pt x="5020151" y="279559"/>
                  </a:cubicBezTo>
                  <a:cubicBezTo>
                    <a:pt x="5020151" y="279559"/>
                    <a:pt x="5017294" y="284321"/>
                    <a:pt x="5013484" y="293846"/>
                  </a:cubicBezTo>
                  <a:cubicBezTo>
                    <a:pt x="5011579" y="298609"/>
                    <a:pt x="5008721" y="304324"/>
                    <a:pt x="5006817" y="310039"/>
                  </a:cubicBezTo>
                  <a:cubicBezTo>
                    <a:pt x="5003959" y="316706"/>
                    <a:pt x="5002054" y="324326"/>
                    <a:pt x="4999196" y="331946"/>
                  </a:cubicBezTo>
                  <a:cubicBezTo>
                    <a:pt x="4999196" y="331946"/>
                    <a:pt x="4999196" y="332899"/>
                    <a:pt x="4999196" y="332899"/>
                  </a:cubicBezTo>
                  <a:cubicBezTo>
                    <a:pt x="4998244" y="330994"/>
                    <a:pt x="4997292" y="329089"/>
                    <a:pt x="4997292" y="327184"/>
                  </a:cubicBezTo>
                  <a:cubicBezTo>
                    <a:pt x="4998244" y="320516"/>
                    <a:pt x="4998244" y="311944"/>
                    <a:pt x="4999196" y="303371"/>
                  </a:cubicBezTo>
                  <a:close/>
                  <a:moveTo>
                    <a:pt x="4968717" y="208121"/>
                  </a:moveTo>
                  <a:cubicBezTo>
                    <a:pt x="4968717" y="209074"/>
                    <a:pt x="4968717" y="210026"/>
                    <a:pt x="4967764" y="212884"/>
                  </a:cubicBezTo>
                  <a:cubicBezTo>
                    <a:pt x="4967764" y="213836"/>
                    <a:pt x="4966812" y="215741"/>
                    <a:pt x="4966812" y="217646"/>
                  </a:cubicBezTo>
                  <a:cubicBezTo>
                    <a:pt x="4966812" y="216694"/>
                    <a:pt x="4966812" y="216694"/>
                    <a:pt x="4966812" y="215741"/>
                  </a:cubicBezTo>
                  <a:cubicBezTo>
                    <a:pt x="4967764" y="213836"/>
                    <a:pt x="4968717" y="210979"/>
                    <a:pt x="4968717" y="208121"/>
                  </a:cubicBezTo>
                  <a:close/>
                  <a:moveTo>
                    <a:pt x="4960144" y="364331"/>
                  </a:moveTo>
                  <a:cubicBezTo>
                    <a:pt x="4960144" y="370046"/>
                    <a:pt x="4961096" y="375761"/>
                    <a:pt x="4961096" y="381476"/>
                  </a:cubicBezTo>
                  <a:cubicBezTo>
                    <a:pt x="4960144" y="384334"/>
                    <a:pt x="4959192" y="388144"/>
                    <a:pt x="4958239" y="391001"/>
                  </a:cubicBezTo>
                  <a:cubicBezTo>
                    <a:pt x="4958239" y="389096"/>
                    <a:pt x="4957287" y="387191"/>
                    <a:pt x="4957287" y="386239"/>
                  </a:cubicBezTo>
                  <a:cubicBezTo>
                    <a:pt x="4957287" y="384334"/>
                    <a:pt x="4957287" y="382429"/>
                    <a:pt x="4957287" y="380524"/>
                  </a:cubicBezTo>
                  <a:cubicBezTo>
                    <a:pt x="4957287" y="371951"/>
                    <a:pt x="4957287" y="363379"/>
                    <a:pt x="4956334" y="356711"/>
                  </a:cubicBezTo>
                  <a:cubicBezTo>
                    <a:pt x="4956334" y="354806"/>
                    <a:pt x="4956334" y="353854"/>
                    <a:pt x="4956334" y="351949"/>
                  </a:cubicBezTo>
                  <a:cubicBezTo>
                    <a:pt x="4957287" y="350996"/>
                    <a:pt x="4958239" y="349091"/>
                    <a:pt x="4958239" y="348139"/>
                  </a:cubicBezTo>
                  <a:cubicBezTo>
                    <a:pt x="4959192" y="352901"/>
                    <a:pt x="4959192" y="358616"/>
                    <a:pt x="4960144" y="364331"/>
                  </a:cubicBezTo>
                  <a:close/>
                  <a:moveTo>
                    <a:pt x="4957287" y="256699"/>
                  </a:moveTo>
                  <a:cubicBezTo>
                    <a:pt x="4957287" y="257651"/>
                    <a:pt x="4957287" y="258604"/>
                    <a:pt x="4957287" y="258604"/>
                  </a:cubicBezTo>
                  <a:cubicBezTo>
                    <a:pt x="4957287" y="258604"/>
                    <a:pt x="4957287" y="259556"/>
                    <a:pt x="4957287" y="259556"/>
                  </a:cubicBezTo>
                  <a:cubicBezTo>
                    <a:pt x="4956334" y="262414"/>
                    <a:pt x="4956334" y="264319"/>
                    <a:pt x="4955381" y="267176"/>
                  </a:cubicBezTo>
                  <a:cubicBezTo>
                    <a:pt x="4955381" y="266224"/>
                    <a:pt x="4954429" y="266224"/>
                    <a:pt x="4954429" y="265271"/>
                  </a:cubicBezTo>
                  <a:cubicBezTo>
                    <a:pt x="4955381" y="263366"/>
                    <a:pt x="4956334" y="259556"/>
                    <a:pt x="4957287" y="256699"/>
                  </a:cubicBezTo>
                  <a:close/>
                  <a:moveTo>
                    <a:pt x="4954429" y="268129"/>
                  </a:moveTo>
                  <a:cubicBezTo>
                    <a:pt x="4954429" y="269081"/>
                    <a:pt x="4955381" y="270034"/>
                    <a:pt x="4955381" y="270986"/>
                  </a:cubicBezTo>
                  <a:cubicBezTo>
                    <a:pt x="4954429" y="276701"/>
                    <a:pt x="4952524" y="283369"/>
                    <a:pt x="4951571" y="290036"/>
                  </a:cubicBezTo>
                  <a:cubicBezTo>
                    <a:pt x="4949667" y="298609"/>
                    <a:pt x="4947762" y="307181"/>
                    <a:pt x="4944904" y="316706"/>
                  </a:cubicBezTo>
                  <a:cubicBezTo>
                    <a:pt x="4943951" y="312896"/>
                    <a:pt x="4943951" y="310991"/>
                    <a:pt x="4943951" y="310991"/>
                  </a:cubicBezTo>
                  <a:cubicBezTo>
                    <a:pt x="4943951" y="310991"/>
                    <a:pt x="4943951" y="314801"/>
                    <a:pt x="4943951" y="320516"/>
                  </a:cubicBezTo>
                  <a:cubicBezTo>
                    <a:pt x="4942999" y="326231"/>
                    <a:pt x="4941094" y="330994"/>
                    <a:pt x="4940142" y="336709"/>
                  </a:cubicBezTo>
                  <a:cubicBezTo>
                    <a:pt x="4940142" y="336709"/>
                    <a:pt x="4940142" y="335756"/>
                    <a:pt x="4940142" y="335756"/>
                  </a:cubicBezTo>
                  <a:cubicBezTo>
                    <a:pt x="4939189" y="331946"/>
                    <a:pt x="4939189" y="329089"/>
                    <a:pt x="4938237" y="325279"/>
                  </a:cubicBezTo>
                  <a:cubicBezTo>
                    <a:pt x="4943951" y="306229"/>
                    <a:pt x="4949667" y="286226"/>
                    <a:pt x="4954429" y="268129"/>
                  </a:cubicBezTo>
                  <a:close/>
                  <a:moveTo>
                    <a:pt x="4922044" y="378619"/>
                  </a:moveTo>
                  <a:cubicBezTo>
                    <a:pt x="4922044" y="378619"/>
                    <a:pt x="4922044" y="378619"/>
                    <a:pt x="4922044" y="378619"/>
                  </a:cubicBezTo>
                  <a:cubicBezTo>
                    <a:pt x="4922044" y="379571"/>
                    <a:pt x="4922044" y="379571"/>
                    <a:pt x="4922044" y="378619"/>
                  </a:cubicBezTo>
                  <a:cubicBezTo>
                    <a:pt x="4922044" y="379571"/>
                    <a:pt x="4922044" y="378619"/>
                    <a:pt x="4922044" y="378619"/>
                  </a:cubicBezTo>
                  <a:close/>
                  <a:moveTo>
                    <a:pt x="4908709" y="307181"/>
                  </a:moveTo>
                  <a:cubicBezTo>
                    <a:pt x="4910614" y="312896"/>
                    <a:pt x="4912519" y="318611"/>
                    <a:pt x="4915376" y="326231"/>
                  </a:cubicBezTo>
                  <a:cubicBezTo>
                    <a:pt x="4913471" y="330041"/>
                    <a:pt x="4911567" y="334804"/>
                    <a:pt x="4909662" y="338614"/>
                  </a:cubicBezTo>
                  <a:cubicBezTo>
                    <a:pt x="4908709" y="327184"/>
                    <a:pt x="4907756" y="316706"/>
                    <a:pt x="4906804" y="308134"/>
                  </a:cubicBezTo>
                  <a:cubicBezTo>
                    <a:pt x="4906804" y="306229"/>
                    <a:pt x="4906804" y="305276"/>
                    <a:pt x="4906804" y="305276"/>
                  </a:cubicBezTo>
                  <a:cubicBezTo>
                    <a:pt x="4906804" y="305276"/>
                    <a:pt x="4906804" y="306229"/>
                    <a:pt x="4905851" y="307181"/>
                  </a:cubicBezTo>
                  <a:cubicBezTo>
                    <a:pt x="4905851" y="303371"/>
                    <a:pt x="4904899" y="300514"/>
                    <a:pt x="4904899" y="297656"/>
                  </a:cubicBezTo>
                  <a:cubicBezTo>
                    <a:pt x="4906804" y="300514"/>
                    <a:pt x="4907756" y="303371"/>
                    <a:pt x="4908709" y="307181"/>
                  </a:cubicBezTo>
                  <a:close/>
                  <a:moveTo>
                    <a:pt x="4897279" y="351949"/>
                  </a:moveTo>
                  <a:cubicBezTo>
                    <a:pt x="4897279" y="356711"/>
                    <a:pt x="4897279" y="360521"/>
                    <a:pt x="4896326" y="365284"/>
                  </a:cubicBezTo>
                  <a:cubicBezTo>
                    <a:pt x="4896326" y="366236"/>
                    <a:pt x="4895374" y="367189"/>
                    <a:pt x="4895374" y="368141"/>
                  </a:cubicBezTo>
                  <a:cubicBezTo>
                    <a:pt x="4895374" y="365284"/>
                    <a:pt x="4894421" y="361474"/>
                    <a:pt x="4894421" y="357664"/>
                  </a:cubicBezTo>
                  <a:cubicBezTo>
                    <a:pt x="4893469" y="351949"/>
                    <a:pt x="4893469" y="347186"/>
                    <a:pt x="4892517" y="341471"/>
                  </a:cubicBezTo>
                  <a:cubicBezTo>
                    <a:pt x="4894421" y="345281"/>
                    <a:pt x="4895374" y="348139"/>
                    <a:pt x="4897279" y="351949"/>
                  </a:cubicBezTo>
                  <a:close/>
                  <a:moveTo>
                    <a:pt x="4822984" y="387191"/>
                  </a:moveTo>
                  <a:cubicBezTo>
                    <a:pt x="4822984" y="386239"/>
                    <a:pt x="4822984" y="386239"/>
                    <a:pt x="4822984" y="385286"/>
                  </a:cubicBezTo>
                  <a:cubicBezTo>
                    <a:pt x="4822984" y="386239"/>
                    <a:pt x="4822984" y="387191"/>
                    <a:pt x="4822984" y="387191"/>
                  </a:cubicBezTo>
                  <a:cubicBezTo>
                    <a:pt x="4822984" y="387191"/>
                    <a:pt x="4822984" y="387191"/>
                    <a:pt x="4822984" y="387191"/>
                  </a:cubicBezTo>
                  <a:close/>
                  <a:moveTo>
                    <a:pt x="4842987" y="338614"/>
                  </a:moveTo>
                  <a:cubicBezTo>
                    <a:pt x="4842987" y="344329"/>
                    <a:pt x="4842987" y="350044"/>
                    <a:pt x="4842987" y="356711"/>
                  </a:cubicBezTo>
                  <a:cubicBezTo>
                    <a:pt x="4842987" y="357664"/>
                    <a:pt x="4842987" y="359569"/>
                    <a:pt x="4842987" y="360521"/>
                  </a:cubicBezTo>
                  <a:cubicBezTo>
                    <a:pt x="4842034" y="366236"/>
                    <a:pt x="4841081" y="373856"/>
                    <a:pt x="4840129" y="382429"/>
                  </a:cubicBezTo>
                  <a:cubicBezTo>
                    <a:pt x="4839176" y="385286"/>
                    <a:pt x="4839176" y="387191"/>
                    <a:pt x="4838224" y="390049"/>
                  </a:cubicBezTo>
                  <a:cubicBezTo>
                    <a:pt x="4834414" y="389096"/>
                    <a:pt x="4830604" y="388144"/>
                    <a:pt x="4826794" y="387191"/>
                  </a:cubicBezTo>
                  <a:cubicBezTo>
                    <a:pt x="4825841" y="384334"/>
                    <a:pt x="4824889" y="381476"/>
                    <a:pt x="4824889" y="379571"/>
                  </a:cubicBezTo>
                  <a:cubicBezTo>
                    <a:pt x="4825841" y="376714"/>
                    <a:pt x="4826794" y="373856"/>
                    <a:pt x="4827747" y="370999"/>
                  </a:cubicBezTo>
                  <a:cubicBezTo>
                    <a:pt x="4830604" y="361474"/>
                    <a:pt x="4834414" y="352901"/>
                    <a:pt x="4838224" y="346234"/>
                  </a:cubicBezTo>
                  <a:cubicBezTo>
                    <a:pt x="4840129" y="342424"/>
                    <a:pt x="4842034" y="339566"/>
                    <a:pt x="4843939" y="336709"/>
                  </a:cubicBezTo>
                  <a:cubicBezTo>
                    <a:pt x="4842987" y="337661"/>
                    <a:pt x="4842987" y="338614"/>
                    <a:pt x="4842987" y="338614"/>
                  </a:cubicBezTo>
                  <a:cubicBezTo>
                    <a:pt x="4842987" y="338614"/>
                    <a:pt x="4842987" y="338614"/>
                    <a:pt x="4842987" y="338614"/>
                  </a:cubicBezTo>
                  <a:close/>
                  <a:moveTo>
                    <a:pt x="4843939" y="329089"/>
                  </a:moveTo>
                  <a:cubicBezTo>
                    <a:pt x="4843939" y="329089"/>
                    <a:pt x="4843939" y="329089"/>
                    <a:pt x="4843939" y="329089"/>
                  </a:cubicBezTo>
                  <a:cubicBezTo>
                    <a:pt x="4841081" y="324326"/>
                    <a:pt x="4838224" y="320516"/>
                    <a:pt x="4836319" y="318611"/>
                  </a:cubicBezTo>
                  <a:cubicBezTo>
                    <a:pt x="4836319" y="318611"/>
                    <a:pt x="4836319" y="318611"/>
                    <a:pt x="4836319" y="318611"/>
                  </a:cubicBezTo>
                  <a:cubicBezTo>
                    <a:pt x="4837272" y="316706"/>
                    <a:pt x="4838224" y="315754"/>
                    <a:pt x="4839176" y="314801"/>
                  </a:cubicBezTo>
                  <a:cubicBezTo>
                    <a:pt x="4840129" y="316706"/>
                    <a:pt x="4841081" y="319564"/>
                    <a:pt x="4842987" y="321469"/>
                  </a:cubicBezTo>
                  <a:cubicBezTo>
                    <a:pt x="4842987" y="322421"/>
                    <a:pt x="4843939" y="323374"/>
                    <a:pt x="4843939" y="323374"/>
                  </a:cubicBezTo>
                  <a:cubicBezTo>
                    <a:pt x="4843939" y="325279"/>
                    <a:pt x="4843939" y="327184"/>
                    <a:pt x="4843939" y="329089"/>
                  </a:cubicBezTo>
                  <a:close/>
                  <a:moveTo>
                    <a:pt x="4845844" y="296704"/>
                  </a:moveTo>
                  <a:cubicBezTo>
                    <a:pt x="4845844" y="302419"/>
                    <a:pt x="4844891" y="309086"/>
                    <a:pt x="4844891" y="316706"/>
                  </a:cubicBezTo>
                  <a:cubicBezTo>
                    <a:pt x="4842987" y="314801"/>
                    <a:pt x="4842034" y="311944"/>
                    <a:pt x="4840129" y="310039"/>
                  </a:cubicBezTo>
                  <a:cubicBezTo>
                    <a:pt x="4839176" y="309086"/>
                    <a:pt x="4838224" y="307181"/>
                    <a:pt x="4837272" y="306229"/>
                  </a:cubicBezTo>
                  <a:cubicBezTo>
                    <a:pt x="4840129" y="300514"/>
                    <a:pt x="4842987" y="295751"/>
                    <a:pt x="4845844" y="290989"/>
                  </a:cubicBezTo>
                  <a:cubicBezTo>
                    <a:pt x="4846797" y="290036"/>
                    <a:pt x="4846797" y="289084"/>
                    <a:pt x="4847749" y="288131"/>
                  </a:cubicBezTo>
                  <a:cubicBezTo>
                    <a:pt x="4846797" y="290989"/>
                    <a:pt x="4845844" y="293846"/>
                    <a:pt x="4845844" y="296704"/>
                  </a:cubicBezTo>
                  <a:close/>
                  <a:moveTo>
                    <a:pt x="4869656" y="325279"/>
                  </a:moveTo>
                  <a:cubicBezTo>
                    <a:pt x="4869656" y="326231"/>
                    <a:pt x="4869656" y="326231"/>
                    <a:pt x="4869656" y="327184"/>
                  </a:cubicBezTo>
                  <a:cubicBezTo>
                    <a:pt x="4869656" y="327184"/>
                    <a:pt x="4869656" y="326231"/>
                    <a:pt x="4869656" y="325279"/>
                  </a:cubicBezTo>
                  <a:cubicBezTo>
                    <a:pt x="4869656" y="323374"/>
                    <a:pt x="4869656" y="320516"/>
                    <a:pt x="4869656" y="318611"/>
                  </a:cubicBezTo>
                  <a:cubicBezTo>
                    <a:pt x="4869656" y="320516"/>
                    <a:pt x="4869656" y="323374"/>
                    <a:pt x="4869656" y="325279"/>
                  </a:cubicBezTo>
                  <a:close/>
                  <a:moveTo>
                    <a:pt x="4854416" y="276701"/>
                  </a:moveTo>
                  <a:cubicBezTo>
                    <a:pt x="4860131" y="267176"/>
                    <a:pt x="4865847" y="261461"/>
                    <a:pt x="4868704" y="256699"/>
                  </a:cubicBezTo>
                  <a:cubicBezTo>
                    <a:pt x="4869656" y="255746"/>
                    <a:pt x="4870609" y="253841"/>
                    <a:pt x="4871562" y="252889"/>
                  </a:cubicBezTo>
                  <a:cubicBezTo>
                    <a:pt x="4871562" y="254794"/>
                    <a:pt x="4871562" y="257651"/>
                    <a:pt x="4871562" y="259556"/>
                  </a:cubicBezTo>
                  <a:cubicBezTo>
                    <a:pt x="4868704" y="270986"/>
                    <a:pt x="4864894" y="283369"/>
                    <a:pt x="4861084" y="296704"/>
                  </a:cubicBezTo>
                  <a:cubicBezTo>
                    <a:pt x="4861084" y="297656"/>
                    <a:pt x="4860131" y="299561"/>
                    <a:pt x="4860131" y="300514"/>
                  </a:cubicBezTo>
                  <a:cubicBezTo>
                    <a:pt x="4857274" y="291941"/>
                    <a:pt x="4855369" y="284321"/>
                    <a:pt x="4853464" y="278606"/>
                  </a:cubicBezTo>
                  <a:cubicBezTo>
                    <a:pt x="4854416" y="277654"/>
                    <a:pt x="4854416" y="277654"/>
                    <a:pt x="4854416" y="276701"/>
                  </a:cubicBezTo>
                  <a:cubicBezTo>
                    <a:pt x="4854416" y="276701"/>
                    <a:pt x="4854416" y="276701"/>
                    <a:pt x="4854416" y="276701"/>
                  </a:cubicBezTo>
                  <a:close/>
                  <a:moveTo>
                    <a:pt x="4850606" y="281464"/>
                  </a:moveTo>
                  <a:cubicBezTo>
                    <a:pt x="4852512" y="290989"/>
                    <a:pt x="4854416" y="303371"/>
                    <a:pt x="4857274" y="316706"/>
                  </a:cubicBezTo>
                  <a:cubicBezTo>
                    <a:pt x="4856322" y="321469"/>
                    <a:pt x="4855369" y="325279"/>
                    <a:pt x="4854416" y="330041"/>
                  </a:cubicBezTo>
                  <a:cubicBezTo>
                    <a:pt x="4853464" y="329089"/>
                    <a:pt x="4852512" y="327184"/>
                    <a:pt x="4852512" y="326231"/>
                  </a:cubicBezTo>
                  <a:cubicBezTo>
                    <a:pt x="4852512" y="325279"/>
                    <a:pt x="4852512" y="323374"/>
                    <a:pt x="4852512" y="322421"/>
                  </a:cubicBezTo>
                  <a:cubicBezTo>
                    <a:pt x="4851559" y="311944"/>
                    <a:pt x="4851559" y="303371"/>
                    <a:pt x="4850606" y="295751"/>
                  </a:cubicBezTo>
                  <a:cubicBezTo>
                    <a:pt x="4850606" y="290989"/>
                    <a:pt x="4849654" y="287179"/>
                    <a:pt x="4849654" y="284321"/>
                  </a:cubicBezTo>
                  <a:cubicBezTo>
                    <a:pt x="4849654" y="283369"/>
                    <a:pt x="4849654" y="282416"/>
                    <a:pt x="4850606" y="281464"/>
                  </a:cubicBezTo>
                  <a:close/>
                  <a:moveTo>
                    <a:pt x="4838224" y="290036"/>
                  </a:moveTo>
                  <a:cubicBezTo>
                    <a:pt x="4841081" y="283369"/>
                    <a:pt x="4843939" y="277654"/>
                    <a:pt x="4845844" y="272891"/>
                  </a:cubicBezTo>
                  <a:cubicBezTo>
                    <a:pt x="4846797" y="270034"/>
                    <a:pt x="4847749" y="267176"/>
                    <a:pt x="4848701" y="265271"/>
                  </a:cubicBezTo>
                  <a:cubicBezTo>
                    <a:pt x="4848701" y="268129"/>
                    <a:pt x="4849654" y="271939"/>
                    <a:pt x="4849654" y="275749"/>
                  </a:cubicBezTo>
                  <a:cubicBezTo>
                    <a:pt x="4848701" y="276701"/>
                    <a:pt x="4848701" y="277654"/>
                    <a:pt x="4847749" y="277654"/>
                  </a:cubicBezTo>
                  <a:cubicBezTo>
                    <a:pt x="4847749" y="274796"/>
                    <a:pt x="4847749" y="273844"/>
                    <a:pt x="4847749" y="273844"/>
                  </a:cubicBezTo>
                  <a:cubicBezTo>
                    <a:pt x="4847749" y="273844"/>
                    <a:pt x="4847749" y="275749"/>
                    <a:pt x="4847749" y="278606"/>
                  </a:cubicBezTo>
                  <a:cubicBezTo>
                    <a:pt x="4845844" y="281464"/>
                    <a:pt x="4842987" y="284321"/>
                    <a:pt x="4841081" y="288131"/>
                  </a:cubicBezTo>
                  <a:cubicBezTo>
                    <a:pt x="4840129" y="290036"/>
                    <a:pt x="4838224" y="291941"/>
                    <a:pt x="4836319" y="294799"/>
                  </a:cubicBezTo>
                  <a:cubicBezTo>
                    <a:pt x="4836319" y="292894"/>
                    <a:pt x="4837272" y="291941"/>
                    <a:pt x="4838224" y="290036"/>
                  </a:cubicBezTo>
                  <a:close/>
                  <a:moveTo>
                    <a:pt x="4835366" y="309086"/>
                  </a:moveTo>
                  <a:cubicBezTo>
                    <a:pt x="4835366" y="309086"/>
                    <a:pt x="4835366" y="308134"/>
                    <a:pt x="4836319" y="308134"/>
                  </a:cubicBezTo>
                  <a:cubicBezTo>
                    <a:pt x="4837272" y="309086"/>
                    <a:pt x="4837272" y="310039"/>
                    <a:pt x="4838224" y="311944"/>
                  </a:cubicBezTo>
                  <a:cubicBezTo>
                    <a:pt x="4838224" y="312896"/>
                    <a:pt x="4839176" y="312896"/>
                    <a:pt x="4839176" y="313849"/>
                  </a:cubicBezTo>
                  <a:cubicBezTo>
                    <a:pt x="4838224" y="314801"/>
                    <a:pt x="4837272" y="315754"/>
                    <a:pt x="4835366" y="317659"/>
                  </a:cubicBezTo>
                  <a:cubicBezTo>
                    <a:pt x="4835366" y="317659"/>
                    <a:pt x="4835366" y="317659"/>
                    <a:pt x="4835366" y="317659"/>
                  </a:cubicBezTo>
                  <a:cubicBezTo>
                    <a:pt x="4835366" y="317659"/>
                    <a:pt x="4834414" y="316706"/>
                    <a:pt x="4834414" y="316706"/>
                  </a:cubicBezTo>
                  <a:cubicBezTo>
                    <a:pt x="4833462" y="315754"/>
                    <a:pt x="4833462" y="315754"/>
                    <a:pt x="4832509" y="314801"/>
                  </a:cubicBezTo>
                  <a:cubicBezTo>
                    <a:pt x="4833462" y="312896"/>
                    <a:pt x="4834414" y="310991"/>
                    <a:pt x="4835366" y="309086"/>
                  </a:cubicBezTo>
                  <a:close/>
                  <a:moveTo>
                    <a:pt x="4830604" y="319564"/>
                  </a:moveTo>
                  <a:cubicBezTo>
                    <a:pt x="4831556" y="317659"/>
                    <a:pt x="4831556" y="316706"/>
                    <a:pt x="4832509" y="314801"/>
                  </a:cubicBezTo>
                  <a:cubicBezTo>
                    <a:pt x="4832509" y="315754"/>
                    <a:pt x="4833462" y="315754"/>
                    <a:pt x="4833462" y="316706"/>
                  </a:cubicBezTo>
                  <a:cubicBezTo>
                    <a:pt x="4833462" y="317659"/>
                    <a:pt x="4834414" y="317659"/>
                    <a:pt x="4834414" y="318611"/>
                  </a:cubicBezTo>
                  <a:cubicBezTo>
                    <a:pt x="4832509" y="320516"/>
                    <a:pt x="4830604" y="322421"/>
                    <a:pt x="4828699" y="324326"/>
                  </a:cubicBezTo>
                  <a:cubicBezTo>
                    <a:pt x="4829651" y="322421"/>
                    <a:pt x="4829651" y="320516"/>
                    <a:pt x="4830604" y="319564"/>
                  </a:cubicBezTo>
                  <a:close/>
                  <a:moveTo>
                    <a:pt x="4817269" y="364331"/>
                  </a:moveTo>
                  <a:cubicBezTo>
                    <a:pt x="4817269" y="361474"/>
                    <a:pt x="4817269" y="359569"/>
                    <a:pt x="4817269" y="356711"/>
                  </a:cubicBezTo>
                  <a:cubicBezTo>
                    <a:pt x="4820126" y="349091"/>
                    <a:pt x="4822984" y="342424"/>
                    <a:pt x="4824889" y="335756"/>
                  </a:cubicBezTo>
                  <a:cubicBezTo>
                    <a:pt x="4824889" y="335756"/>
                    <a:pt x="4825841" y="334804"/>
                    <a:pt x="4825841" y="334804"/>
                  </a:cubicBezTo>
                  <a:cubicBezTo>
                    <a:pt x="4829651" y="328136"/>
                    <a:pt x="4833462" y="323374"/>
                    <a:pt x="4835366" y="319564"/>
                  </a:cubicBezTo>
                  <a:cubicBezTo>
                    <a:pt x="4835366" y="320516"/>
                    <a:pt x="4836319" y="321469"/>
                    <a:pt x="4837272" y="322421"/>
                  </a:cubicBezTo>
                  <a:cubicBezTo>
                    <a:pt x="4838224" y="324326"/>
                    <a:pt x="4839176" y="327184"/>
                    <a:pt x="4841081" y="330994"/>
                  </a:cubicBezTo>
                  <a:cubicBezTo>
                    <a:pt x="4842034" y="332899"/>
                    <a:pt x="4842034" y="333851"/>
                    <a:pt x="4842987" y="335756"/>
                  </a:cubicBezTo>
                  <a:cubicBezTo>
                    <a:pt x="4840129" y="338614"/>
                    <a:pt x="4838224" y="341471"/>
                    <a:pt x="4835366" y="345281"/>
                  </a:cubicBezTo>
                  <a:cubicBezTo>
                    <a:pt x="4831556" y="350996"/>
                    <a:pt x="4826794" y="357664"/>
                    <a:pt x="4822984" y="366236"/>
                  </a:cubicBezTo>
                  <a:cubicBezTo>
                    <a:pt x="4822031" y="367189"/>
                    <a:pt x="4821079" y="368141"/>
                    <a:pt x="4820126" y="369094"/>
                  </a:cubicBezTo>
                  <a:cubicBezTo>
                    <a:pt x="4819174" y="370046"/>
                    <a:pt x="4818222" y="370999"/>
                    <a:pt x="4817269" y="371951"/>
                  </a:cubicBezTo>
                  <a:cubicBezTo>
                    <a:pt x="4816316" y="369094"/>
                    <a:pt x="4817269" y="366236"/>
                    <a:pt x="4817269" y="364331"/>
                  </a:cubicBezTo>
                  <a:close/>
                  <a:moveTo>
                    <a:pt x="4816316" y="376714"/>
                  </a:moveTo>
                  <a:cubicBezTo>
                    <a:pt x="4817269" y="373856"/>
                    <a:pt x="4819174" y="370999"/>
                    <a:pt x="4820126" y="370046"/>
                  </a:cubicBezTo>
                  <a:cubicBezTo>
                    <a:pt x="4820126" y="370046"/>
                    <a:pt x="4820126" y="370046"/>
                    <a:pt x="4820126" y="370046"/>
                  </a:cubicBezTo>
                  <a:cubicBezTo>
                    <a:pt x="4820126" y="370046"/>
                    <a:pt x="4820126" y="370046"/>
                    <a:pt x="4820126" y="370046"/>
                  </a:cubicBezTo>
                  <a:cubicBezTo>
                    <a:pt x="4819174" y="372904"/>
                    <a:pt x="4817269" y="375761"/>
                    <a:pt x="4816316" y="378619"/>
                  </a:cubicBezTo>
                  <a:cubicBezTo>
                    <a:pt x="4816316" y="376714"/>
                    <a:pt x="4816316" y="376714"/>
                    <a:pt x="4816316" y="376714"/>
                  </a:cubicBezTo>
                  <a:close/>
                  <a:moveTo>
                    <a:pt x="4762024" y="305276"/>
                  </a:moveTo>
                  <a:cubicBezTo>
                    <a:pt x="4762024" y="306229"/>
                    <a:pt x="4762976" y="312896"/>
                    <a:pt x="4763929" y="322421"/>
                  </a:cubicBezTo>
                  <a:cubicBezTo>
                    <a:pt x="4762024" y="317659"/>
                    <a:pt x="4761072" y="313849"/>
                    <a:pt x="4760119" y="309086"/>
                  </a:cubicBezTo>
                  <a:cubicBezTo>
                    <a:pt x="4761072" y="306229"/>
                    <a:pt x="4761072" y="303371"/>
                    <a:pt x="4762024" y="300514"/>
                  </a:cubicBezTo>
                  <a:cubicBezTo>
                    <a:pt x="4762024" y="302419"/>
                    <a:pt x="4762024" y="303371"/>
                    <a:pt x="4762024" y="305276"/>
                  </a:cubicBezTo>
                  <a:close/>
                  <a:moveTo>
                    <a:pt x="4755356" y="279559"/>
                  </a:moveTo>
                  <a:cubicBezTo>
                    <a:pt x="4757262" y="284321"/>
                    <a:pt x="4758214" y="289084"/>
                    <a:pt x="4760119" y="294799"/>
                  </a:cubicBezTo>
                  <a:cubicBezTo>
                    <a:pt x="4760119" y="295751"/>
                    <a:pt x="4760119" y="296704"/>
                    <a:pt x="4761072" y="297656"/>
                  </a:cubicBezTo>
                  <a:cubicBezTo>
                    <a:pt x="4760119" y="299561"/>
                    <a:pt x="4759166" y="301466"/>
                    <a:pt x="4758214" y="304324"/>
                  </a:cubicBezTo>
                  <a:cubicBezTo>
                    <a:pt x="4757262" y="300514"/>
                    <a:pt x="4755356" y="296704"/>
                    <a:pt x="4754404" y="292894"/>
                  </a:cubicBezTo>
                  <a:cubicBezTo>
                    <a:pt x="4754404" y="288131"/>
                    <a:pt x="4754404" y="284321"/>
                    <a:pt x="4755356" y="279559"/>
                  </a:cubicBezTo>
                  <a:close/>
                  <a:moveTo>
                    <a:pt x="4759166" y="342424"/>
                  </a:moveTo>
                  <a:cubicBezTo>
                    <a:pt x="4757262" y="338614"/>
                    <a:pt x="4756309" y="335756"/>
                    <a:pt x="4755356" y="331946"/>
                  </a:cubicBezTo>
                  <a:cubicBezTo>
                    <a:pt x="4755356" y="330041"/>
                    <a:pt x="4756309" y="328136"/>
                    <a:pt x="4756309" y="326231"/>
                  </a:cubicBezTo>
                  <a:cubicBezTo>
                    <a:pt x="4757262" y="330994"/>
                    <a:pt x="4758214" y="336709"/>
                    <a:pt x="4759166" y="342424"/>
                  </a:cubicBezTo>
                  <a:close/>
                  <a:moveTo>
                    <a:pt x="4753451" y="312896"/>
                  </a:moveTo>
                  <a:cubicBezTo>
                    <a:pt x="4753451" y="313849"/>
                    <a:pt x="4753451" y="314801"/>
                    <a:pt x="4754404" y="315754"/>
                  </a:cubicBezTo>
                  <a:cubicBezTo>
                    <a:pt x="4754404" y="316706"/>
                    <a:pt x="4754404" y="316706"/>
                    <a:pt x="4753451" y="317659"/>
                  </a:cubicBezTo>
                  <a:cubicBezTo>
                    <a:pt x="4753451" y="315754"/>
                    <a:pt x="4753451" y="313849"/>
                    <a:pt x="4753451" y="312896"/>
                  </a:cubicBezTo>
                  <a:close/>
                  <a:moveTo>
                    <a:pt x="4755356" y="373856"/>
                  </a:moveTo>
                  <a:cubicBezTo>
                    <a:pt x="4755356" y="374809"/>
                    <a:pt x="4755356" y="374809"/>
                    <a:pt x="4756309" y="375761"/>
                  </a:cubicBezTo>
                  <a:cubicBezTo>
                    <a:pt x="4755356" y="376714"/>
                    <a:pt x="4755356" y="378619"/>
                    <a:pt x="4754404" y="379571"/>
                  </a:cubicBezTo>
                  <a:cubicBezTo>
                    <a:pt x="4753451" y="379571"/>
                    <a:pt x="4753451" y="379571"/>
                    <a:pt x="4752499" y="379571"/>
                  </a:cubicBezTo>
                  <a:cubicBezTo>
                    <a:pt x="4753451" y="377666"/>
                    <a:pt x="4754404" y="375761"/>
                    <a:pt x="4755356" y="373856"/>
                  </a:cubicBezTo>
                  <a:close/>
                  <a:moveTo>
                    <a:pt x="4748689" y="291941"/>
                  </a:moveTo>
                  <a:cubicBezTo>
                    <a:pt x="4747737" y="295751"/>
                    <a:pt x="4747737" y="299561"/>
                    <a:pt x="4746784" y="303371"/>
                  </a:cubicBezTo>
                  <a:cubicBezTo>
                    <a:pt x="4746784" y="303371"/>
                    <a:pt x="4746784" y="303371"/>
                    <a:pt x="4746784" y="303371"/>
                  </a:cubicBezTo>
                  <a:cubicBezTo>
                    <a:pt x="4746784" y="302419"/>
                    <a:pt x="4746784" y="300514"/>
                    <a:pt x="4746784" y="299561"/>
                  </a:cubicBezTo>
                  <a:cubicBezTo>
                    <a:pt x="4746784" y="296704"/>
                    <a:pt x="4747737" y="293846"/>
                    <a:pt x="4748689" y="291941"/>
                  </a:cubicBezTo>
                  <a:close/>
                  <a:moveTo>
                    <a:pt x="4738212" y="327184"/>
                  </a:moveTo>
                  <a:cubicBezTo>
                    <a:pt x="4738212" y="331946"/>
                    <a:pt x="4737259" y="335756"/>
                    <a:pt x="4737259" y="341471"/>
                  </a:cubicBezTo>
                  <a:cubicBezTo>
                    <a:pt x="4737259" y="339566"/>
                    <a:pt x="4736306" y="338614"/>
                    <a:pt x="4736306" y="336709"/>
                  </a:cubicBezTo>
                  <a:cubicBezTo>
                    <a:pt x="4737259" y="332899"/>
                    <a:pt x="4737259" y="330041"/>
                    <a:pt x="4738212" y="327184"/>
                  </a:cubicBezTo>
                  <a:close/>
                  <a:moveTo>
                    <a:pt x="4720114" y="261461"/>
                  </a:moveTo>
                  <a:cubicBezTo>
                    <a:pt x="4720114" y="261461"/>
                    <a:pt x="4720114" y="261461"/>
                    <a:pt x="4720114" y="261461"/>
                  </a:cubicBezTo>
                  <a:cubicBezTo>
                    <a:pt x="4722972" y="270034"/>
                    <a:pt x="4725829" y="279559"/>
                    <a:pt x="4729639" y="290989"/>
                  </a:cubicBezTo>
                  <a:cubicBezTo>
                    <a:pt x="4730591" y="292894"/>
                    <a:pt x="4730591" y="294799"/>
                    <a:pt x="4731544" y="296704"/>
                  </a:cubicBezTo>
                  <a:cubicBezTo>
                    <a:pt x="4730591" y="300514"/>
                    <a:pt x="4728687" y="304324"/>
                    <a:pt x="4727734" y="308134"/>
                  </a:cubicBezTo>
                  <a:cubicBezTo>
                    <a:pt x="4726781" y="304324"/>
                    <a:pt x="4724876" y="299561"/>
                    <a:pt x="4723924" y="295751"/>
                  </a:cubicBezTo>
                  <a:cubicBezTo>
                    <a:pt x="4722019" y="289084"/>
                    <a:pt x="4720114" y="282416"/>
                    <a:pt x="4718209" y="276701"/>
                  </a:cubicBezTo>
                  <a:cubicBezTo>
                    <a:pt x="4718209" y="270034"/>
                    <a:pt x="4719162" y="265271"/>
                    <a:pt x="4720114" y="261461"/>
                  </a:cubicBezTo>
                  <a:close/>
                  <a:moveTo>
                    <a:pt x="4709637" y="324326"/>
                  </a:moveTo>
                  <a:cubicBezTo>
                    <a:pt x="4711541" y="315754"/>
                    <a:pt x="4712494" y="308134"/>
                    <a:pt x="4713447" y="301466"/>
                  </a:cubicBezTo>
                  <a:cubicBezTo>
                    <a:pt x="4715351" y="310991"/>
                    <a:pt x="4717256" y="321469"/>
                    <a:pt x="4719162" y="331946"/>
                  </a:cubicBezTo>
                  <a:cubicBezTo>
                    <a:pt x="4718209" y="335756"/>
                    <a:pt x="4716304" y="339566"/>
                    <a:pt x="4715351" y="343376"/>
                  </a:cubicBezTo>
                  <a:cubicBezTo>
                    <a:pt x="4715351" y="343376"/>
                    <a:pt x="4715351" y="343376"/>
                    <a:pt x="4715351" y="343376"/>
                  </a:cubicBezTo>
                  <a:cubicBezTo>
                    <a:pt x="4712494" y="339566"/>
                    <a:pt x="4709637" y="335756"/>
                    <a:pt x="4707731" y="332899"/>
                  </a:cubicBezTo>
                  <a:cubicBezTo>
                    <a:pt x="4708684" y="330041"/>
                    <a:pt x="4708684" y="327184"/>
                    <a:pt x="4709637" y="324326"/>
                  </a:cubicBezTo>
                  <a:close/>
                  <a:moveTo>
                    <a:pt x="4703922" y="355759"/>
                  </a:moveTo>
                  <a:cubicBezTo>
                    <a:pt x="4704874" y="357664"/>
                    <a:pt x="4704874" y="358616"/>
                    <a:pt x="4705826" y="360521"/>
                  </a:cubicBezTo>
                  <a:cubicBezTo>
                    <a:pt x="4706779" y="363379"/>
                    <a:pt x="4707731" y="366236"/>
                    <a:pt x="4708684" y="369094"/>
                  </a:cubicBezTo>
                  <a:cubicBezTo>
                    <a:pt x="4707731" y="371951"/>
                    <a:pt x="4705826" y="374809"/>
                    <a:pt x="4704874" y="377666"/>
                  </a:cubicBezTo>
                  <a:cubicBezTo>
                    <a:pt x="4704874" y="377666"/>
                    <a:pt x="4704874" y="376714"/>
                    <a:pt x="4704874" y="376714"/>
                  </a:cubicBezTo>
                  <a:cubicBezTo>
                    <a:pt x="4703922" y="374809"/>
                    <a:pt x="4702969" y="373856"/>
                    <a:pt x="4702016" y="371951"/>
                  </a:cubicBezTo>
                  <a:cubicBezTo>
                    <a:pt x="4702016" y="366236"/>
                    <a:pt x="4702969" y="361474"/>
                    <a:pt x="4703922" y="355759"/>
                  </a:cubicBezTo>
                  <a:close/>
                  <a:moveTo>
                    <a:pt x="4682966" y="380524"/>
                  </a:moveTo>
                  <a:cubicBezTo>
                    <a:pt x="4682014" y="384334"/>
                    <a:pt x="4681062" y="388144"/>
                    <a:pt x="4680109" y="392906"/>
                  </a:cubicBezTo>
                  <a:cubicBezTo>
                    <a:pt x="4679156" y="392906"/>
                    <a:pt x="4677251" y="393859"/>
                    <a:pt x="4676299" y="393859"/>
                  </a:cubicBezTo>
                  <a:cubicBezTo>
                    <a:pt x="4676299" y="391954"/>
                    <a:pt x="4675347" y="390049"/>
                    <a:pt x="4675347" y="388144"/>
                  </a:cubicBezTo>
                  <a:cubicBezTo>
                    <a:pt x="4678204" y="384334"/>
                    <a:pt x="4681062" y="381476"/>
                    <a:pt x="4682966" y="378619"/>
                  </a:cubicBezTo>
                  <a:cubicBezTo>
                    <a:pt x="4682014" y="379571"/>
                    <a:pt x="4682966" y="380524"/>
                    <a:pt x="4682966" y="380524"/>
                  </a:cubicBezTo>
                  <a:close/>
                  <a:moveTo>
                    <a:pt x="4672489" y="361474"/>
                  </a:moveTo>
                  <a:cubicBezTo>
                    <a:pt x="4674394" y="365284"/>
                    <a:pt x="4677251" y="370046"/>
                    <a:pt x="4679156" y="373856"/>
                  </a:cubicBezTo>
                  <a:cubicBezTo>
                    <a:pt x="4677251" y="375761"/>
                    <a:pt x="4674394" y="377666"/>
                    <a:pt x="4672489" y="379571"/>
                  </a:cubicBezTo>
                  <a:cubicBezTo>
                    <a:pt x="4672489" y="378619"/>
                    <a:pt x="4672489" y="377666"/>
                    <a:pt x="4671537" y="376714"/>
                  </a:cubicBezTo>
                  <a:cubicBezTo>
                    <a:pt x="4671537" y="374809"/>
                    <a:pt x="4670584" y="372904"/>
                    <a:pt x="4670584" y="370999"/>
                  </a:cubicBezTo>
                  <a:cubicBezTo>
                    <a:pt x="4671537" y="368141"/>
                    <a:pt x="4671537" y="364331"/>
                    <a:pt x="4672489" y="361474"/>
                  </a:cubicBezTo>
                  <a:close/>
                  <a:moveTo>
                    <a:pt x="4661059" y="265271"/>
                  </a:moveTo>
                  <a:cubicBezTo>
                    <a:pt x="4662012" y="260509"/>
                    <a:pt x="4662964" y="256699"/>
                    <a:pt x="4663916" y="252889"/>
                  </a:cubicBezTo>
                  <a:cubicBezTo>
                    <a:pt x="4665822" y="246221"/>
                    <a:pt x="4667726" y="241459"/>
                    <a:pt x="4669631" y="237649"/>
                  </a:cubicBezTo>
                  <a:cubicBezTo>
                    <a:pt x="4669631" y="239554"/>
                    <a:pt x="4669631" y="240506"/>
                    <a:pt x="4669631" y="242411"/>
                  </a:cubicBezTo>
                  <a:cubicBezTo>
                    <a:pt x="4667726" y="250031"/>
                    <a:pt x="4664869" y="259556"/>
                    <a:pt x="4661059" y="269081"/>
                  </a:cubicBezTo>
                  <a:cubicBezTo>
                    <a:pt x="4661059" y="268129"/>
                    <a:pt x="4661059" y="266224"/>
                    <a:pt x="4661059" y="265271"/>
                  </a:cubicBezTo>
                  <a:close/>
                  <a:moveTo>
                    <a:pt x="4645819" y="278606"/>
                  </a:moveTo>
                  <a:cubicBezTo>
                    <a:pt x="4646772" y="271939"/>
                    <a:pt x="4647724" y="266224"/>
                    <a:pt x="4648676" y="260509"/>
                  </a:cubicBezTo>
                  <a:cubicBezTo>
                    <a:pt x="4649629" y="257651"/>
                    <a:pt x="4649629" y="253841"/>
                    <a:pt x="4650581" y="250984"/>
                  </a:cubicBezTo>
                  <a:cubicBezTo>
                    <a:pt x="4650581" y="250984"/>
                    <a:pt x="4650581" y="251936"/>
                    <a:pt x="4650581" y="251936"/>
                  </a:cubicBezTo>
                  <a:cubicBezTo>
                    <a:pt x="4651534" y="254794"/>
                    <a:pt x="4652487" y="259556"/>
                    <a:pt x="4652487" y="265271"/>
                  </a:cubicBezTo>
                  <a:cubicBezTo>
                    <a:pt x="4652487" y="267176"/>
                    <a:pt x="4652487" y="269081"/>
                    <a:pt x="4652487" y="270034"/>
                  </a:cubicBezTo>
                  <a:cubicBezTo>
                    <a:pt x="4651534" y="272891"/>
                    <a:pt x="4651534" y="275749"/>
                    <a:pt x="4650581" y="278606"/>
                  </a:cubicBezTo>
                  <a:cubicBezTo>
                    <a:pt x="4649629" y="282416"/>
                    <a:pt x="4648676" y="287179"/>
                    <a:pt x="4648676" y="290989"/>
                  </a:cubicBezTo>
                  <a:cubicBezTo>
                    <a:pt x="4648676" y="287179"/>
                    <a:pt x="4646772" y="283369"/>
                    <a:pt x="4645819" y="278606"/>
                  </a:cubicBezTo>
                  <a:cubicBezTo>
                    <a:pt x="4645819" y="278606"/>
                    <a:pt x="4645819" y="278606"/>
                    <a:pt x="4645819" y="278606"/>
                  </a:cubicBezTo>
                  <a:close/>
                  <a:moveTo>
                    <a:pt x="4642962" y="293846"/>
                  </a:moveTo>
                  <a:cubicBezTo>
                    <a:pt x="4643914" y="296704"/>
                    <a:pt x="4643914" y="299561"/>
                    <a:pt x="4644866" y="302419"/>
                  </a:cubicBezTo>
                  <a:cubicBezTo>
                    <a:pt x="4644866" y="304324"/>
                    <a:pt x="4645819" y="307181"/>
                    <a:pt x="4645819" y="309086"/>
                  </a:cubicBezTo>
                  <a:cubicBezTo>
                    <a:pt x="4645819" y="309086"/>
                    <a:pt x="4645819" y="309086"/>
                    <a:pt x="4645819" y="309086"/>
                  </a:cubicBezTo>
                  <a:cubicBezTo>
                    <a:pt x="4644866" y="308134"/>
                    <a:pt x="4643914" y="307181"/>
                    <a:pt x="4642962" y="306229"/>
                  </a:cubicBezTo>
                  <a:cubicBezTo>
                    <a:pt x="4642962" y="304324"/>
                    <a:pt x="4642009" y="302419"/>
                    <a:pt x="4642009" y="299561"/>
                  </a:cubicBezTo>
                  <a:cubicBezTo>
                    <a:pt x="4642962" y="297656"/>
                    <a:pt x="4642962" y="295751"/>
                    <a:pt x="4642962" y="293846"/>
                  </a:cubicBezTo>
                  <a:close/>
                  <a:moveTo>
                    <a:pt x="4595337" y="280511"/>
                  </a:moveTo>
                  <a:cubicBezTo>
                    <a:pt x="4596289" y="284321"/>
                    <a:pt x="4597241" y="289084"/>
                    <a:pt x="4598194" y="293846"/>
                  </a:cubicBezTo>
                  <a:cubicBezTo>
                    <a:pt x="4598194" y="295751"/>
                    <a:pt x="4598194" y="298609"/>
                    <a:pt x="4598194" y="300514"/>
                  </a:cubicBezTo>
                  <a:cubicBezTo>
                    <a:pt x="4598194" y="304324"/>
                    <a:pt x="4598194" y="308134"/>
                    <a:pt x="4598194" y="311944"/>
                  </a:cubicBezTo>
                  <a:cubicBezTo>
                    <a:pt x="4597241" y="313849"/>
                    <a:pt x="4597241" y="316706"/>
                    <a:pt x="4596289" y="319564"/>
                  </a:cubicBezTo>
                  <a:cubicBezTo>
                    <a:pt x="4595337" y="316706"/>
                    <a:pt x="4594384" y="314801"/>
                    <a:pt x="4593431" y="311944"/>
                  </a:cubicBezTo>
                  <a:cubicBezTo>
                    <a:pt x="4593431" y="310039"/>
                    <a:pt x="4593431" y="307181"/>
                    <a:pt x="4593431" y="305276"/>
                  </a:cubicBezTo>
                  <a:cubicBezTo>
                    <a:pt x="4593431" y="298609"/>
                    <a:pt x="4593431" y="292894"/>
                    <a:pt x="4593431" y="286226"/>
                  </a:cubicBezTo>
                  <a:cubicBezTo>
                    <a:pt x="4593431" y="284321"/>
                    <a:pt x="4594384" y="282416"/>
                    <a:pt x="4595337" y="280511"/>
                  </a:cubicBezTo>
                  <a:cubicBezTo>
                    <a:pt x="4595337" y="280511"/>
                    <a:pt x="4595337" y="280511"/>
                    <a:pt x="4595337" y="280511"/>
                  </a:cubicBezTo>
                  <a:close/>
                  <a:moveTo>
                    <a:pt x="4595337" y="277654"/>
                  </a:moveTo>
                  <a:cubicBezTo>
                    <a:pt x="4594384" y="278606"/>
                    <a:pt x="4594384" y="278606"/>
                    <a:pt x="4593431" y="279559"/>
                  </a:cubicBezTo>
                  <a:cubicBezTo>
                    <a:pt x="4593431" y="279559"/>
                    <a:pt x="4593431" y="280511"/>
                    <a:pt x="4592479" y="280511"/>
                  </a:cubicBezTo>
                  <a:cubicBezTo>
                    <a:pt x="4592479" y="274796"/>
                    <a:pt x="4592479" y="269081"/>
                    <a:pt x="4592479" y="263366"/>
                  </a:cubicBezTo>
                  <a:cubicBezTo>
                    <a:pt x="4593431" y="267176"/>
                    <a:pt x="4594384" y="271939"/>
                    <a:pt x="4595337" y="277654"/>
                  </a:cubicBezTo>
                  <a:close/>
                  <a:moveTo>
                    <a:pt x="4576287" y="253841"/>
                  </a:moveTo>
                  <a:cubicBezTo>
                    <a:pt x="4576287" y="260509"/>
                    <a:pt x="4576287" y="267176"/>
                    <a:pt x="4575334" y="273844"/>
                  </a:cubicBezTo>
                  <a:cubicBezTo>
                    <a:pt x="4573429" y="270034"/>
                    <a:pt x="4571524" y="266224"/>
                    <a:pt x="4569619" y="262414"/>
                  </a:cubicBezTo>
                  <a:cubicBezTo>
                    <a:pt x="4572476" y="259556"/>
                    <a:pt x="4574381" y="256699"/>
                    <a:pt x="4576287" y="253841"/>
                  </a:cubicBezTo>
                  <a:close/>
                  <a:moveTo>
                    <a:pt x="4566762" y="268129"/>
                  </a:moveTo>
                  <a:cubicBezTo>
                    <a:pt x="4566762" y="268129"/>
                    <a:pt x="4566762" y="269081"/>
                    <a:pt x="4566762" y="268129"/>
                  </a:cubicBezTo>
                  <a:cubicBezTo>
                    <a:pt x="4568666" y="273844"/>
                    <a:pt x="4570572" y="278606"/>
                    <a:pt x="4571524" y="284321"/>
                  </a:cubicBezTo>
                  <a:cubicBezTo>
                    <a:pt x="4572476" y="288131"/>
                    <a:pt x="4573429" y="292894"/>
                    <a:pt x="4574381" y="296704"/>
                  </a:cubicBezTo>
                  <a:cubicBezTo>
                    <a:pt x="4574381" y="298609"/>
                    <a:pt x="4574381" y="299561"/>
                    <a:pt x="4574381" y="301466"/>
                  </a:cubicBezTo>
                  <a:cubicBezTo>
                    <a:pt x="4570572" y="293846"/>
                    <a:pt x="4568666" y="289084"/>
                    <a:pt x="4568666" y="289084"/>
                  </a:cubicBezTo>
                  <a:cubicBezTo>
                    <a:pt x="4568666" y="289084"/>
                    <a:pt x="4570572" y="296704"/>
                    <a:pt x="4574381" y="309086"/>
                  </a:cubicBezTo>
                  <a:cubicBezTo>
                    <a:pt x="4573429" y="310991"/>
                    <a:pt x="4572476" y="312896"/>
                    <a:pt x="4571524" y="314801"/>
                  </a:cubicBezTo>
                  <a:cubicBezTo>
                    <a:pt x="4571524" y="314801"/>
                    <a:pt x="4571524" y="314801"/>
                    <a:pt x="4571524" y="315754"/>
                  </a:cubicBezTo>
                  <a:cubicBezTo>
                    <a:pt x="4568666" y="293846"/>
                    <a:pt x="4566762" y="278606"/>
                    <a:pt x="4564856" y="271939"/>
                  </a:cubicBezTo>
                  <a:cubicBezTo>
                    <a:pt x="4564856" y="270986"/>
                    <a:pt x="4565809" y="270034"/>
                    <a:pt x="4566762" y="268129"/>
                  </a:cubicBezTo>
                  <a:close/>
                  <a:moveTo>
                    <a:pt x="4560094" y="254794"/>
                  </a:moveTo>
                  <a:cubicBezTo>
                    <a:pt x="4561047" y="256699"/>
                    <a:pt x="4561999" y="258604"/>
                    <a:pt x="4562951" y="260509"/>
                  </a:cubicBezTo>
                  <a:cubicBezTo>
                    <a:pt x="4561999" y="261461"/>
                    <a:pt x="4561047" y="262414"/>
                    <a:pt x="4561047" y="263366"/>
                  </a:cubicBezTo>
                  <a:cubicBezTo>
                    <a:pt x="4560094" y="265271"/>
                    <a:pt x="4558189" y="266224"/>
                    <a:pt x="4557237" y="268129"/>
                  </a:cubicBezTo>
                  <a:cubicBezTo>
                    <a:pt x="4558189" y="263366"/>
                    <a:pt x="4559141" y="258604"/>
                    <a:pt x="4560094" y="254794"/>
                  </a:cubicBezTo>
                  <a:close/>
                  <a:moveTo>
                    <a:pt x="4548664" y="317659"/>
                  </a:moveTo>
                  <a:cubicBezTo>
                    <a:pt x="4551522" y="307181"/>
                    <a:pt x="4554379" y="298609"/>
                    <a:pt x="4557237" y="290036"/>
                  </a:cubicBezTo>
                  <a:cubicBezTo>
                    <a:pt x="4559141" y="284321"/>
                    <a:pt x="4561047" y="279559"/>
                    <a:pt x="4562951" y="275749"/>
                  </a:cubicBezTo>
                  <a:cubicBezTo>
                    <a:pt x="4561999" y="283369"/>
                    <a:pt x="4561047" y="298609"/>
                    <a:pt x="4560094" y="318611"/>
                  </a:cubicBezTo>
                  <a:cubicBezTo>
                    <a:pt x="4557237" y="313849"/>
                    <a:pt x="4555331" y="310991"/>
                    <a:pt x="4555331" y="310991"/>
                  </a:cubicBezTo>
                  <a:cubicBezTo>
                    <a:pt x="4555331" y="310991"/>
                    <a:pt x="4557237" y="314801"/>
                    <a:pt x="4560094" y="321469"/>
                  </a:cubicBezTo>
                  <a:cubicBezTo>
                    <a:pt x="4560094" y="321469"/>
                    <a:pt x="4560094" y="321469"/>
                    <a:pt x="4560094" y="321469"/>
                  </a:cubicBezTo>
                  <a:cubicBezTo>
                    <a:pt x="4560094" y="328136"/>
                    <a:pt x="4559141" y="334804"/>
                    <a:pt x="4559141" y="342424"/>
                  </a:cubicBezTo>
                  <a:cubicBezTo>
                    <a:pt x="4558189" y="346234"/>
                    <a:pt x="4556284" y="349091"/>
                    <a:pt x="4555331" y="352901"/>
                  </a:cubicBezTo>
                  <a:cubicBezTo>
                    <a:pt x="4554379" y="355759"/>
                    <a:pt x="4553426" y="358616"/>
                    <a:pt x="4552474" y="361474"/>
                  </a:cubicBezTo>
                  <a:cubicBezTo>
                    <a:pt x="4550569" y="354806"/>
                    <a:pt x="4549616" y="349091"/>
                    <a:pt x="4547712" y="343376"/>
                  </a:cubicBezTo>
                  <a:cubicBezTo>
                    <a:pt x="4547712" y="333851"/>
                    <a:pt x="4547712" y="328136"/>
                    <a:pt x="4547712" y="328136"/>
                  </a:cubicBezTo>
                  <a:cubicBezTo>
                    <a:pt x="4547712" y="328136"/>
                    <a:pt x="4546759" y="331946"/>
                    <a:pt x="4545806" y="338614"/>
                  </a:cubicBezTo>
                  <a:cubicBezTo>
                    <a:pt x="4545806" y="338614"/>
                    <a:pt x="4545806" y="337661"/>
                    <a:pt x="4545806" y="337661"/>
                  </a:cubicBezTo>
                  <a:cubicBezTo>
                    <a:pt x="4545806" y="336709"/>
                    <a:pt x="4545806" y="336709"/>
                    <a:pt x="4544854" y="335756"/>
                  </a:cubicBezTo>
                  <a:cubicBezTo>
                    <a:pt x="4546759" y="329089"/>
                    <a:pt x="4547712" y="323374"/>
                    <a:pt x="4548664" y="317659"/>
                  </a:cubicBezTo>
                  <a:close/>
                  <a:moveTo>
                    <a:pt x="4457224" y="306229"/>
                  </a:moveTo>
                  <a:cubicBezTo>
                    <a:pt x="4457224" y="306229"/>
                    <a:pt x="4456272" y="306229"/>
                    <a:pt x="4457224" y="306229"/>
                  </a:cubicBezTo>
                  <a:cubicBezTo>
                    <a:pt x="4457224" y="305276"/>
                    <a:pt x="4457224" y="305276"/>
                    <a:pt x="4457224" y="304324"/>
                  </a:cubicBezTo>
                  <a:cubicBezTo>
                    <a:pt x="4457224" y="305276"/>
                    <a:pt x="4457224" y="306229"/>
                    <a:pt x="4457224" y="306229"/>
                  </a:cubicBezTo>
                  <a:close/>
                  <a:moveTo>
                    <a:pt x="4478179" y="359569"/>
                  </a:moveTo>
                  <a:cubicBezTo>
                    <a:pt x="4477226" y="352901"/>
                    <a:pt x="4476274" y="346234"/>
                    <a:pt x="4476274" y="339566"/>
                  </a:cubicBezTo>
                  <a:cubicBezTo>
                    <a:pt x="4476274" y="338614"/>
                    <a:pt x="4476274" y="337661"/>
                    <a:pt x="4476274" y="336709"/>
                  </a:cubicBezTo>
                  <a:cubicBezTo>
                    <a:pt x="4479131" y="340519"/>
                    <a:pt x="4481037" y="343376"/>
                    <a:pt x="4483894" y="347186"/>
                  </a:cubicBezTo>
                  <a:cubicBezTo>
                    <a:pt x="4481037" y="350996"/>
                    <a:pt x="4480084" y="355759"/>
                    <a:pt x="4478179" y="359569"/>
                  </a:cubicBezTo>
                  <a:close/>
                  <a:moveTo>
                    <a:pt x="4497229" y="371951"/>
                  </a:moveTo>
                  <a:cubicBezTo>
                    <a:pt x="4497229" y="370046"/>
                    <a:pt x="4497229" y="369094"/>
                    <a:pt x="4497229" y="367189"/>
                  </a:cubicBezTo>
                  <a:cubicBezTo>
                    <a:pt x="4497229" y="368141"/>
                    <a:pt x="4497229" y="369094"/>
                    <a:pt x="4498181" y="370046"/>
                  </a:cubicBezTo>
                  <a:cubicBezTo>
                    <a:pt x="4497229" y="370999"/>
                    <a:pt x="4497229" y="370999"/>
                    <a:pt x="4497229" y="371951"/>
                  </a:cubicBezTo>
                  <a:close/>
                  <a:moveTo>
                    <a:pt x="4504849" y="322421"/>
                  </a:moveTo>
                  <a:cubicBezTo>
                    <a:pt x="4504849" y="325279"/>
                    <a:pt x="4504849" y="328136"/>
                    <a:pt x="4504849" y="330994"/>
                  </a:cubicBezTo>
                  <a:cubicBezTo>
                    <a:pt x="4503897" y="333851"/>
                    <a:pt x="4502944" y="337661"/>
                    <a:pt x="4501991" y="341471"/>
                  </a:cubicBezTo>
                  <a:cubicBezTo>
                    <a:pt x="4501991" y="343376"/>
                    <a:pt x="4501039" y="346234"/>
                    <a:pt x="4501039" y="348139"/>
                  </a:cubicBezTo>
                  <a:cubicBezTo>
                    <a:pt x="4500087" y="347186"/>
                    <a:pt x="4499134" y="346234"/>
                    <a:pt x="4499134" y="345281"/>
                  </a:cubicBezTo>
                  <a:cubicBezTo>
                    <a:pt x="4499134" y="344329"/>
                    <a:pt x="4498181" y="343376"/>
                    <a:pt x="4498181" y="342424"/>
                  </a:cubicBezTo>
                  <a:cubicBezTo>
                    <a:pt x="4499134" y="336709"/>
                    <a:pt x="4501039" y="330994"/>
                    <a:pt x="4501991" y="326231"/>
                  </a:cubicBezTo>
                  <a:cubicBezTo>
                    <a:pt x="4502944" y="320516"/>
                    <a:pt x="4504849" y="315754"/>
                    <a:pt x="4506754" y="310991"/>
                  </a:cubicBezTo>
                  <a:cubicBezTo>
                    <a:pt x="4505801" y="314801"/>
                    <a:pt x="4505801" y="318611"/>
                    <a:pt x="4504849" y="322421"/>
                  </a:cubicBezTo>
                  <a:close/>
                  <a:moveTo>
                    <a:pt x="4462939" y="250984"/>
                  </a:moveTo>
                  <a:cubicBezTo>
                    <a:pt x="4465797" y="242411"/>
                    <a:pt x="4468654" y="233839"/>
                    <a:pt x="4470559" y="226219"/>
                  </a:cubicBezTo>
                  <a:cubicBezTo>
                    <a:pt x="4470559" y="227171"/>
                    <a:pt x="4472464" y="229076"/>
                    <a:pt x="4474369" y="231934"/>
                  </a:cubicBezTo>
                  <a:cubicBezTo>
                    <a:pt x="4475322" y="233839"/>
                    <a:pt x="4477226" y="235744"/>
                    <a:pt x="4479131" y="238601"/>
                  </a:cubicBezTo>
                  <a:cubicBezTo>
                    <a:pt x="4481037" y="241459"/>
                    <a:pt x="4481989" y="245269"/>
                    <a:pt x="4483894" y="248126"/>
                  </a:cubicBezTo>
                  <a:cubicBezTo>
                    <a:pt x="4485799" y="251936"/>
                    <a:pt x="4487704" y="255746"/>
                    <a:pt x="4489609" y="260509"/>
                  </a:cubicBezTo>
                  <a:cubicBezTo>
                    <a:pt x="4491514" y="265271"/>
                    <a:pt x="4493419" y="270034"/>
                    <a:pt x="4495324" y="275749"/>
                  </a:cubicBezTo>
                  <a:cubicBezTo>
                    <a:pt x="4497229" y="281464"/>
                    <a:pt x="4499134" y="287179"/>
                    <a:pt x="4501039" y="293846"/>
                  </a:cubicBezTo>
                  <a:cubicBezTo>
                    <a:pt x="4501991" y="296704"/>
                    <a:pt x="4502944" y="299561"/>
                    <a:pt x="4503897" y="303371"/>
                  </a:cubicBezTo>
                  <a:cubicBezTo>
                    <a:pt x="4501991" y="308134"/>
                    <a:pt x="4499134" y="312896"/>
                    <a:pt x="4497229" y="317659"/>
                  </a:cubicBezTo>
                  <a:cubicBezTo>
                    <a:pt x="4496276" y="320516"/>
                    <a:pt x="4494372" y="323374"/>
                    <a:pt x="4493419" y="326231"/>
                  </a:cubicBezTo>
                  <a:cubicBezTo>
                    <a:pt x="4490562" y="297656"/>
                    <a:pt x="4488656" y="280511"/>
                    <a:pt x="4488656" y="280511"/>
                  </a:cubicBezTo>
                  <a:cubicBezTo>
                    <a:pt x="4488656" y="280511"/>
                    <a:pt x="4487704" y="294799"/>
                    <a:pt x="4487704" y="319564"/>
                  </a:cubicBezTo>
                  <a:cubicBezTo>
                    <a:pt x="4486751" y="316706"/>
                    <a:pt x="4484847" y="313849"/>
                    <a:pt x="4483894" y="311944"/>
                  </a:cubicBezTo>
                  <a:cubicBezTo>
                    <a:pt x="4477226" y="297656"/>
                    <a:pt x="4473416" y="289084"/>
                    <a:pt x="4473416" y="289084"/>
                  </a:cubicBezTo>
                  <a:cubicBezTo>
                    <a:pt x="4473416" y="289084"/>
                    <a:pt x="4476274" y="297656"/>
                    <a:pt x="4481037" y="312896"/>
                  </a:cubicBezTo>
                  <a:cubicBezTo>
                    <a:pt x="4482941" y="317659"/>
                    <a:pt x="4484847" y="323374"/>
                    <a:pt x="4486751" y="330041"/>
                  </a:cubicBezTo>
                  <a:cubicBezTo>
                    <a:pt x="4485799" y="329089"/>
                    <a:pt x="4485799" y="328136"/>
                    <a:pt x="4484847" y="328136"/>
                  </a:cubicBezTo>
                  <a:cubicBezTo>
                    <a:pt x="4481037" y="324326"/>
                    <a:pt x="4478179" y="321469"/>
                    <a:pt x="4475322" y="318611"/>
                  </a:cubicBezTo>
                  <a:cubicBezTo>
                    <a:pt x="4474369" y="313849"/>
                    <a:pt x="4473416" y="309086"/>
                    <a:pt x="4473416" y="304324"/>
                  </a:cubicBezTo>
                  <a:cubicBezTo>
                    <a:pt x="4471512" y="294799"/>
                    <a:pt x="4470559" y="286226"/>
                    <a:pt x="4468654" y="278606"/>
                  </a:cubicBezTo>
                  <a:cubicBezTo>
                    <a:pt x="4474369" y="264319"/>
                    <a:pt x="4477226" y="256699"/>
                    <a:pt x="4477226" y="256699"/>
                  </a:cubicBezTo>
                  <a:cubicBezTo>
                    <a:pt x="4477226" y="256699"/>
                    <a:pt x="4473416" y="262414"/>
                    <a:pt x="4466749" y="273844"/>
                  </a:cubicBezTo>
                  <a:cubicBezTo>
                    <a:pt x="4465797" y="268129"/>
                    <a:pt x="4464844" y="263366"/>
                    <a:pt x="4462939" y="258604"/>
                  </a:cubicBezTo>
                  <a:cubicBezTo>
                    <a:pt x="4462939" y="257651"/>
                    <a:pt x="4462939" y="256699"/>
                    <a:pt x="4462939" y="256699"/>
                  </a:cubicBezTo>
                  <a:cubicBezTo>
                    <a:pt x="4461987" y="253841"/>
                    <a:pt x="4461987" y="252889"/>
                    <a:pt x="4462939" y="250984"/>
                  </a:cubicBezTo>
                  <a:close/>
                  <a:moveTo>
                    <a:pt x="4461034" y="255746"/>
                  </a:moveTo>
                  <a:cubicBezTo>
                    <a:pt x="4461034" y="255746"/>
                    <a:pt x="4461034" y="256699"/>
                    <a:pt x="4461034" y="255746"/>
                  </a:cubicBezTo>
                  <a:cubicBezTo>
                    <a:pt x="4461034" y="256699"/>
                    <a:pt x="4461034" y="256699"/>
                    <a:pt x="4461034" y="255746"/>
                  </a:cubicBezTo>
                  <a:cubicBezTo>
                    <a:pt x="4461034" y="255746"/>
                    <a:pt x="4461034" y="255746"/>
                    <a:pt x="4461034" y="255746"/>
                  </a:cubicBezTo>
                  <a:close/>
                  <a:moveTo>
                    <a:pt x="4455319" y="274796"/>
                  </a:moveTo>
                  <a:cubicBezTo>
                    <a:pt x="4456272" y="272891"/>
                    <a:pt x="4457224" y="270034"/>
                    <a:pt x="4457224" y="268129"/>
                  </a:cubicBezTo>
                  <a:cubicBezTo>
                    <a:pt x="4457224" y="270034"/>
                    <a:pt x="4457224" y="271939"/>
                    <a:pt x="4457224" y="273844"/>
                  </a:cubicBezTo>
                  <a:cubicBezTo>
                    <a:pt x="4457224" y="277654"/>
                    <a:pt x="4457224" y="280511"/>
                    <a:pt x="4458176" y="284321"/>
                  </a:cubicBezTo>
                  <a:cubicBezTo>
                    <a:pt x="4457224" y="287179"/>
                    <a:pt x="4455319" y="290036"/>
                    <a:pt x="4454366" y="292894"/>
                  </a:cubicBezTo>
                  <a:cubicBezTo>
                    <a:pt x="4454366" y="287179"/>
                    <a:pt x="4454366" y="280511"/>
                    <a:pt x="4455319" y="274796"/>
                  </a:cubicBezTo>
                  <a:close/>
                  <a:moveTo>
                    <a:pt x="4449604" y="361474"/>
                  </a:moveTo>
                  <a:cubicBezTo>
                    <a:pt x="4450556" y="353854"/>
                    <a:pt x="4450556" y="346234"/>
                    <a:pt x="4451509" y="339566"/>
                  </a:cubicBezTo>
                  <a:cubicBezTo>
                    <a:pt x="4452462" y="340519"/>
                    <a:pt x="4452462" y="342424"/>
                    <a:pt x="4453414" y="343376"/>
                  </a:cubicBezTo>
                  <a:cubicBezTo>
                    <a:pt x="4453414" y="343376"/>
                    <a:pt x="4453414" y="343376"/>
                    <a:pt x="4453414" y="344329"/>
                  </a:cubicBezTo>
                  <a:cubicBezTo>
                    <a:pt x="4453414" y="344329"/>
                    <a:pt x="4453414" y="344329"/>
                    <a:pt x="4453414" y="344329"/>
                  </a:cubicBezTo>
                  <a:cubicBezTo>
                    <a:pt x="4452462" y="350996"/>
                    <a:pt x="4451509" y="358616"/>
                    <a:pt x="4451509" y="366236"/>
                  </a:cubicBezTo>
                  <a:cubicBezTo>
                    <a:pt x="4450556" y="372904"/>
                    <a:pt x="4449604" y="380524"/>
                    <a:pt x="4448651" y="388144"/>
                  </a:cubicBezTo>
                  <a:cubicBezTo>
                    <a:pt x="4447699" y="387191"/>
                    <a:pt x="4447699" y="387191"/>
                    <a:pt x="4446747" y="386239"/>
                  </a:cubicBezTo>
                  <a:cubicBezTo>
                    <a:pt x="4447699" y="377666"/>
                    <a:pt x="4448651" y="370046"/>
                    <a:pt x="4449604" y="361474"/>
                  </a:cubicBezTo>
                  <a:close/>
                  <a:moveTo>
                    <a:pt x="4386739" y="331946"/>
                  </a:moveTo>
                  <a:cubicBezTo>
                    <a:pt x="4387691" y="332899"/>
                    <a:pt x="4388644" y="334804"/>
                    <a:pt x="4390549" y="335756"/>
                  </a:cubicBezTo>
                  <a:cubicBezTo>
                    <a:pt x="4390549" y="337661"/>
                    <a:pt x="4390549" y="339566"/>
                    <a:pt x="4390549" y="342424"/>
                  </a:cubicBezTo>
                  <a:cubicBezTo>
                    <a:pt x="4389597" y="343376"/>
                    <a:pt x="4388644" y="345281"/>
                    <a:pt x="4386739" y="347186"/>
                  </a:cubicBezTo>
                  <a:cubicBezTo>
                    <a:pt x="4386739" y="341471"/>
                    <a:pt x="4386739" y="336709"/>
                    <a:pt x="4386739" y="331946"/>
                  </a:cubicBezTo>
                  <a:close/>
                  <a:moveTo>
                    <a:pt x="4389597" y="376714"/>
                  </a:moveTo>
                  <a:cubicBezTo>
                    <a:pt x="4389597" y="376714"/>
                    <a:pt x="4389597" y="375761"/>
                    <a:pt x="4388644" y="375761"/>
                  </a:cubicBezTo>
                  <a:cubicBezTo>
                    <a:pt x="4388644" y="373856"/>
                    <a:pt x="4387691" y="371951"/>
                    <a:pt x="4387691" y="370046"/>
                  </a:cubicBezTo>
                  <a:cubicBezTo>
                    <a:pt x="4387691" y="367189"/>
                    <a:pt x="4387691" y="363379"/>
                    <a:pt x="4387691" y="360521"/>
                  </a:cubicBezTo>
                  <a:cubicBezTo>
                    <a:pt x="4387691" y="357664"/>
                    <a:pt x="4387691" y="354806"/>
                    <a:pt x="4387691" y="351949"/>
                  </a:cubicBezTo>
                  <a:cubicBezTo>
                    <a:pt x="4388644" y="349091"/>
                    <a:pt x="4390549" y="347186"/>
                    <a:pt x="4391501" y="345281"/>
                  </a:cubicBezTo>
                  <a:cubicBezTo>
                    <a:pt x="4391501" y="346234"/>
                    <a:pt x="4391501" y="348139"/>
                    <a:pt x="4391501" y="349091"/>
                  </a:cubicBezTo>
                  <a:cubicBezTo>
                    <a:pt x="4391501" y="355759"/>
                    <a:pt x="4392454" y="362426"/>
                    <a:pt x="4392454" y="370046"/>
                  </a:cubicBezTo>
                  <a:cubicBezTo>
                    <a:pt x="4390549" y="371951"/>
                    <a:pt x="4389597" y="374809"/>
                    <a:pt x="4389597" y="376714"/>
                  </a:cubicBezTo>
                  <a:close/>
                  <a:moveTo>
                    <a:pt x="4424839" y="351949"/>
                  </a:moveTo>
                  <a:cubicBezTo>
                    <a:pt x="4424839" y="352901"/>
                    <a:pt x="4424839" y="353854"/>
                    <a:pt x="4424839" y="354806"/>
                  </a:cubicBezTo>
                  <a:cubicBezTo>
                    <a:pt x="4423887" y="355759"/>
                    <a:pt x="4423887" y="356711"/>
                    <a:pt x="4422934" y="356711"/>
                  </a:cubicBezTo>
                  <a:cubicBezTo>
                    <a:pt x="4422934" y="354806"/>
                    <a:pt x="4423887" y="353854"/>
                    <a:pt x="4424839" y="351949"/>
                  </a:cubicBezTo>
                  <a:close/>
                  <a:moveTo>
                    <a:pt x="4415314" y="411004"/>
                  </a:moveTo>
                  <a:cubicBezTo>
                    <a:pt x="4415314" y="411004"/>
                    <a:pt x="4415314" y="411956"/>
                    <a:pt x="4415314" y="411956"/>
                  </a:cubicBezTo>
                  <a:cubicBezTo>
                    <a:pt x="4414362" y="411004"/>
                    <a:pt x="4413409" y="410051"/>
                    <a:pt x="4412456" y="409099"/>
                  </a:cubicBezTo>
                  <a:cubicBezTo>
                    <a:pt x="4412456" y="401479"/>
                    <a:pt x="4412456" y="392906"/>
                    <a:pt x="4411504" y="385286"/>
                  </a:cubicBezTo>
                  <a:cubicBezTo>
                    <a:pt x="4414362" y="380524"/>
                    <a:pt x="4417219" y="376714"/>
                    <a:pt x="4420076" y="372904"/>
                  </a:cubicBezTo>
                  <a:cubicBezTo>
                    <a:pt x="4420076" y="373856"/>
                    <a:pt x="4421029" y="373856"/>
                    <a:pt x="4421029" y="374809"/>
                  </a:cubicBezTo>
                  <a:cubicBezTo>
                    <a:pt x="4419124" y="386239"/>
                    <a:pt x="4417219" y="397669"/>
                    <a:pt x="4415314" y="411004"/>
                  </a:cubicBezTo>
                  <a:close/>
                  <a:moveTo>
                    <a:pt x="4410551" y="254794"/>
                  </a:moveTo>
                  <a:cubicBezTo>
                    <a:pt x="4413409" y="260509"/>
                    <a:pt x="4417219" y="267176"/>
                    <a:pt x="4421029" y="273844"/>
                  </a:cubicBezTo>
                  <a:cubicBezTo>
                    <a:pt x="4419124" y="280511"/>
                    <a:pt x="4417219" y="287179"/>
                    <a:pt x="4415314" y="293846"/>
                  </a:cubicBezTo>
                  <a:cubicBezTo>
                    <a:pt x="4413409" y="301466"/>
                    <a:pt x="4410551" y="309086"/>
                    <a:pt x="4408647" y="316706"/>
                  </a:cubicBezTo>
                  <a:cubicBezTo>
                    <a:pt x="4407694" y="305276"/>
                    <a:pt x="4406741" y="297656"/>
                    <a:pt x="4406741" y="297656"/>
                  </a:cubicBezTo>
                  <a:cubicBezTo>
                    <a:pt x="4406741" y="297656"/>
                    <a:pt x="4404837" y="310991"/>
                    <a:pt x="4402931" y="331946"/>
                  </a:cubicBezTo>
                  <a:cubicBezTo>
                    <a:pt x="4402931" y="333851"/>
                    <a:pt x="4401979" y="335756"/>
                    <a:pt x="4401026" y="337661"/>
                  </a:cubicBezTo>
                  <a:cubicBezTo>
                    <a:pt x="4401026" y="337661"/>
                    <a:pt x="4400074" y="336709"/>
                    <a:pt x="4400074" y="336709"/>
                  </a:cubicBezTo>
                  <a:cubicBezTo>
                    <a:pt x="4393406" y="295751"/>
                    <a:pt x="4388644" y="270034"/>
                    <a:pt x="4388644" y="270034"/>
                  </a:cubicBezTo>
                  <a:cubicBezTo>
                    <a:pt x="4388644" y="270034"/>
                    <a:pt x="4388644" y="292894"/>
                    <a:pt x="4389597" y="328136"/>
                  </a:cubicBezTo>
                  <a:cubicBezTo>
                    <a:pt x="4388644" y="327184"/>
                    <a:pt x="4387691" y="326231"/>
                    <a:pt x="4386739" y="325279"/>
                  </a:cubicBezTo>
                  <a:cubicBezTo>
                    <a:pt x="4386739" y="324326"/>
                    <a:pt x="4386739" y="324326"/>
                    <a:pt x="4386739" y="323374"/>
                  </a:cubicBezTo>
                  <a:cubicBezTo>
                    <a:pt x="4387691" y="311944"/>
                    <a:pt x="4386739" y="300514"/>
                    <a:pt x="4387691" y="290989"/>
                  </a:cubicBezTo>
                  <a:cubicBezTo>
                    <a:pt x="4388644" y="280511"/>
                    <a:pt x="4388644" y="271939"/>
                    <a:pt x="4389597" y="263366"/>
                  </a:cubicBezTo>
                  <a:cubicBezTo>
                    <a:pt x="4390549" y="254794"/>
                    <a:pt x="4390549" y="248126"/>
                    <a:pt x="4391501" y="242411"/>
                  </a:cubicBezTo>
                  <a:cubicBezTo>
                    <a:pt x="4392454" y="233839"/>
                    <a:pt x="4393406" y="228124"/>
                    <a:pt x="4393406" y="225266"/>
                  </a:cubicBezTo>
                  <a:cubicBezTo>
                    <a:pt x="4399122" y="232886"/>
                    <a:pt x="4403884" y="243364"/>
                    <a:pt x="4410551" y="254794"/>
                  </a:cubicBezTo>
                  <a:close/>
                  <a:moveTo>
                    <a:pt x="4389597" y="217646"/>
                  </a:moveTo>
                  <a:cubicBezTo>
                    <a:pt x="4390549" y="219551"/>
                    <a:pt x="4392454" y="221456"/>
                    <a:pt x="4393406" y="224314"/>
                  </a:cubicBezTo>
                  <a:cubicBezTo>
                    <a:pt x="4392454" y="227171"/>
                    <a:pt x="4390549" y="232886"/>
                    <a:pt x="4387691" y="240506"/>
                  </a:cubicBezTo>
                  <a:cubicBezTo>
                    <a:pt x="4385787" y="246221"/>
                    <a:pt x="4383881" y="252889"/>
                    <a:pt x="4381976" y="260509"/>
                  </a:cubicBezTo>
                  <a:cubicBezTo>
                    <a:pt x="4381976" y="259556"/>
                    <a:pt x="4381976" y="257651"/>
                    <a:pt x="4381976" y="256699"/>
                  </a:cubicBezTo>
                  <a:cubicBezTo>
                    <a:pt x="4384834" y="242411"/>
                    <a:pt x="4386739" y="229076"/>
                    <a:pt x="4389597" y="217646"/>
                  </a:cubicBezTo>
                  <a:close/>
                  <a:moveTo>
                    <a:pt x="4374356" y="291941"/>
                  </a:moveTo>
                  <a:cubicBezTo>
                    <a:pt x="4374356" y="291941"/>
                    <a:pt x="4374356" y="292894"/>
                    <a:pt x="4374356" y="292894"/>
                  </a:cubicBezTo>
                  <a:cubicBezTo>
                    <a:pt x="4374356" y="292894"/>
                    <a:pt x="4374356" y="292894"/>
                    <a:pt x="4374356" y="291941"/>
                  </a:cubicBezTo>
                  <a:cubicBezTo>
                    <a:pt x="4374356" y="291941"/>
                    <a:pt x="4374356" y="291941"/>
                    <a:pt x="4374356" y="291941"/>
                  </a:cubicBezTo>
                  <a:close/>
                  <a:moveTo>
                    <a:pt x="4360069" y="282416"/>
                  </a:moveTo>
                  <a:cubicBezTo>
                    <a:pt x="4360069" y="284321"/>
                    <a:pt x="4360069" y="287179"/>
                    <a:pt x="4360069" y="290036"/>
                  </a:cubicBezTo>
                  <a:cubicBezTo>
                    <a:pt x="4360069" y="289084"/>
                    <a:pt x="4359116" y="288131"/>
                    <a:pt x="4359116" y="288131"/>
                  </a:cubicBezTo>
                  <a:cubicBezTo>
                    <a:pt x="4359116" y="285274"/>
                    <a:pt x="4359116" y="283369"/>
                    <a:pt x="4360069" y="282416"/>
                  </a:cubicBezTo>
                  <a:close/>
                  <a:moveTo>
                    <a:pt x="4313397" y="387191"/>
                  </a:moveTo>
                  <a:cubicBezTo>
                    <a:pt x="4312444" y="388144"/>
                    <a:pt x="4312444" y="390049"/>
                    <a:pt x="4311491" y="391001"/>
                  </a:cubicBezTo>
                  <a:cubicBezTo>
                    <a:pt x="4312444" y="389096"/>
                    <a:pt x="4312444" y="388144"/>
                    <a:pt x="4313397" y="387191"/>
                  </a:cubicBezTo>
                  <a:cubicBezTo>
                    <a:pt x="4313397" y="386239"/>
                    <a:pt x="4313397" y="387191"/>
                    <a:pt x="4313397" y="387191"/>
                  </a:cubicBezTo>
                  <a:close/>
                  <a:moveTo>
                    <a:pt x="4311491" y="351949"/>
                  </a:moveTo>
                  <a:cubicBezTo>
                    <a:pt x="4311491" y="356711"/>
                    <a:pt x="4312444" y="360521"/>
                    <a:pt x="4312444" y="365284"/>
                  </a:cubicBezTo>
                  <a:cubicBezTo>
                    <a:pt x="4311491" y="364331"/>
                    <a:pt x="4311491" y="364331"/>
                    <a:pt x="4311491" y="363379"/>
                  </a:cubicBezTo>
                  <a:cubicBezTo>
                    <a:pt x="4311491" y="358616"/>
                    <a:pt x="4311491" y="355759"/>
                    <a:pt x="4311491" y="351949"/>
                  </a:cubicBezTo>
                  <a:close/>
                  <a:moveTo>
                    <a:pt x="4247674" y="313849"/>
                  </a:moveTo>
                  <a:cubicBezTo>
                    <a:pt x="4247674" y="312896"/>
                    <a:pt x="4247674" y="312896"/>
                    <a:pt x="4247674" y="311944"/>
                  </a:cubicBezTo>
                  <a:cubicBezTo>
                    <a:pt x="4247674" y="312896"/>
                    <a:pt x="4247674" y="312896"/>
                    <a:pt x="4247674" y="313849"/>
                  </a:cubicBezTo>
                  <a:cubicBezTo>
                    <a:pt x="4247674" y="317659"/>
                    <a:pt x="4247674" y="320516"/>
                    <a:pt x="4246722" y="324326"/>
                  </a:cubicBezTo>
                  <a:cubicBezTo>
                    <a:pt x="4246722" y="323374"/>
                    <a:pt x="4246722" y="322421"/>
                    <a:pt x="4246722" y="322421"/>
                  </a:cubicBezTo>
                  <a:cubicBezTo>
                    <a:pt x="4246722" y="318611"/>
                    <a:pt x="4247674" y="315754"/>
                    <a:pt x="4247674" y="313849"/>
                  </a:cubicBezTo>
                  <a:close/>
                  <a:moveTo>
                    <a:pt x="4181951" y="367189"/>
                  </a:moveTo>
                  <a:cubicBezTo>
                    <a:pt x="4181951" y="351949"/>
                    <a:pt x="4182904" y="337661"/>
                    <a:pt x="4182904" y="324326"/>
                  </a:cubicBezTo>
                  <a:cubicBezTo>
                    <a:pt x="4182904" y="326231"/>
                    <a:pt x="4183856" y="328136"/>
                    <a:pt x="4183856" y="330041"/>
                  </a:cubicBezTo>
                  <a:cubicBezTo>
                    <a:pt x="4184809" y="333851"/>
                    <a:pt x="4185761" y="336709"/>
                    <a:pt x="4185761" y="340519"/>
                  </a:cubicBezTo>
                  <a:cubicBezTo>
                    <a:pt x="4185761" y="341471"/>
                    <a:pt x="4185761" y="342424"/>
                    <a:pt x="4185761" y="342424"/>
                  </a:cubicBezTo>
                  <a:cubicBezTo>
                    <a:pt x="4184809" y="339566"/>
                    <a:pt x="4183856" y="338614"/>
                    <a:pt x="4183856" y="338614"/>
                  </a:cubicBezTo>
                  <a:cubicBezTo>
                    <a:pt x="4183856" y="338614"/>
                    <a:pt x="4184809" y="345281"/>
                    <a:pt x="4187666" y="357664"/>
                  </a:cubicBezTo>
                  <a:cubicBezTo>
                    <a:pt x="4187666" y="360521"/>
                    <a:pt x="4188619" y="362426"/>
                    <a:pt x="4189571" y="365284"/>
                  </a:cubicBezTo>
                  <a:cubicBezTo>
                    <a:pt x="4189571" y="368141"/>
                    <a:pt x="4190524" y="370999"/>
                    <a:pt x="4191476" y="373856"/>
                  </a:cubicBezTo>
                  <a:cubicBezTo>
                    <a:pt x="4191476" y="377666"/>
                    <a:pt x="4190524" y="382429"/>
                    <a:pt x="4190524" y="386239"/>
                  </a:cubicBezTo>
                  <a:cubicBezTo>
                    <a:pt x="4190524" y="388144"/>
                    <a:pt x="4190524" y="390049"/>
                    <a:pt x="4190524" y="391954"/>
                  </a:cubicBezTo>
                  <a:cubicBezTo>
                    <a:pt x="4187666" y="383381"/>
                    <a:pt x="4184809" y="374809"/>
                    <a:pt x="4181951" y="367189"/>
                  </a:cubicBezTo>
                  <a:cubicBezTo>
                    <a:pt x="4181951" y="369094"/>
                    <a:pt x="4181951" y="368141"/>
                    <a:pt x="4181951" y="367189"/>
                  </a:cubicBezTo>
                  <a:close/>
                  <a:moveTo>
                    <a:pt x="4161949" y="401479"/>
                  </a:moveTo>
                  <a:cubicBezTo>
                    <a:pt x="4161949" y="400526"/>
                    <a:pt x="4161949" y="400526"/>
                    <a:pt x="4161949" y="399574"/>
                  </a:cubicBezTo>
                  <a:cubicBezTo>
                    <a:pt x="4161949" y="399574"/>
                    <a:pt x="4161949" y="399574"/>
                    <a:pt x="4161949" y="399574"/>
                  </a:cubicBezTo>
                  <a:cubicBezTo>
                    <a:pt x="4161949" y="400526"/>
                    <a:pt x="4161949" y="401479"/>
                    <a:pt x="4161949" y="401479"/>
                  </a:cubicBezTo>
                  <a:close/>
                  <a:moveTo>
                    <a:pt x="4160044" y="306229"/>
                  </a:moveTo>
                  <a:cubicBezTo>
                    <a:pt x="4160044" y="299561"/>
                    <a:pt x="4160996" y="295751"/>
                    <a:pt x="4160996" y="292894"/>
                  </a:cubicBezTo>
                  <a:cubicBezTo>
                    <a:pt x="4161949" y="289084"/>
                    <a:pt x="4162901" y="286226"/>
                    <a:pt x="4163854" y="282416"/>
                  </a:cubicBezTo>
                  <a:cubicBezTo>
                    <a:pt x="4163854" y="292894"/>
                    <a:pt x="4162901" y="303371"/>
                    <a:pt x="4162901" y="313849"/>
                  </a:cubicBezTo>
                  <a:cubicBezTo>
                    <a:pt x="4161949" y="310991"/>
                    <a:pt x="4160996" y="309086"/>
                    <a:pt x="4160044" y="306229"/>
                  </a:cubicBezTo>
                  <a:cubicBezTo>
                    <a:pt x="4160044" y="306229"/>
                    <a:pt x="4160044" y="306229"/>
                    <a:pt x="4160044" y="306229"/>
                  </a:cubicBezTo>
                  <a:close/>
                  <a:moveTo>
                    <a:pt x="4128611" y="354806"/>
                  </a:moveTo>
                  <a:cubicBezTo>
                    <a:pt x="4128611" y="350996"/>
                    <a:pt x="4128611" y="347186"/>
                    <a:pt x="4127659" y="343376"/>
                  </a:cubicBezTo>
                  <a:cubicBezTo>
                    <a:pt x="4127659" y="345281"/>
                    <a:pt x="4127659" y="347186"/>
                    <a:pt x="4128611" y="350044"/>
                  </a:cubicBezTo>
                  <a:cubicBezTo>
                    <a:pt x="4129564" y="354806"/>
                    <a:pt x="4129564" y="360521"/>
                    <a:pt x="4130516" y="365284"/>
                  </a:cubicBezTo>
                  <a:cubicBezTo>
                    <a:pt x="4129564" y="361474"/>
                    <a:pt x="4129564" y="358616"/>
                    <a:pt x="4128611" y="354806"/>
                  </a:cubicBezTo>
                  <a:close/>
                  <a:moveTo>
                    <a:pt x="4124801" y="255746"/>
                  </a:moveTo>
                  <a:cubicBezTo>
                    <a:pt x="4124801" y="252889"/>
                    <a:pt x="4124801" y="250031"/>
                    <a:pt x="4124801" y="248126"/>
                  </a:cubicBezTo>
                  <a:cubicBezTo>
                    <a:pt x="4129564" y="265271"/>
                    <a:pt x="4134326" y="284321"/>
                    <a:pt x="4140041" y="303371"/>
                  </a:cubicBezTo>
                  <a:cubicBezTo>
                    <a:pt x="4140041" y="304324"/>
                    <a:pt x="4140994" y="306229"/>
                    <a:pt x="4140994" y="307181"/>
                  </a:cubicBezTo>
                  <a:cubicBezTo>
                    <a:pt x="4140994" y="311944"/>
                    <a:pt x="4140994" y="316706"/>
                    <a:pt x="4140994" y="321469"/>
                  </a:cubicBezTo>
                  <a:cubicBezTo>
                    <a:pt x="4136231" y="310991"/>
                    <a:pt x="4133374" y="305276"/>
                    <a:pt x="4133374" y="305276"/>
                  </a:cubicBezTo>
                  <a:cubicBezTo>
                    <a:pt x="4133374" y="305276"/>
                    <a:pt x="4134326" y="308134"/>
                    <a:pt x="4135279" y="312896"/>
                  </a:cubicBezTo>
                  <a:cubicBezTo>
                    <a:pt x="4132421" y="309086"/>
                    <a:pt x="4130516" y="304324"/>
                    <a:pt x="4127659" y="300514"/>
                  </a:cubicBezTo>
                  <a:cubicBezTo>
                    <a:pt x="4125754" y="293846"/>
                    <a:pt x="4124801" y="288131"/>
                    <a:pt x="4123849" y="284321"/>
                  </a:cubicBezTo>
                  <a:cubicBezTo>
                    <a:pt x="4124801" y="273844"/>
                    <a:pt x="4124801" y="264319"/>
                    <a:pt x="4124801" y="255746"/>
                  </a:cubicBezTo>
                  <a:close/>
                  <a:moveTo>
                    <a:pt x="4095274" y="395764"/>
                  </a:moveTo>
                  <a:cubicBezTo>
                    <a:pt x="4094321" y="395764"/>
                    <a:pt x="4094321" y="395764"/>
                    <a:pt x="4095274" y="395764"/>
                  </a:cubicBezTo>
                  <a:cubicBezTo>
                    <a:pt x="4095274" y="394811"/>
                    <a:pt x="4095274" y="394811"/>
                    <a:pt x="4095274" y="394811"/>
                  </a:cubicBezTo>
                  <a:cubicBezTo>
                    <a:pt x="4095274" y="394811"/>
                    <a:pt x="4095274" y="395764"/>
                    <a:pt x="4095274" y="395764"/>
                  </a:cubicBezTo>
                  <a:close/>
                  <a:moveTo>
                    <a:pt x="4093369" y="386239"/>
                  </a:moveTo>
                  <a:cubicBezTo>
                    <a:pt x="4093369" y="383381"/>
                    <a:pt x="4093369" y="379571"/>
                    <a:pt x="4093369" y="376714"/>
                  </a:cubicBezTo>
                  <a:cubicBezTo>
                    <a:pt x="4094321" y="378619"/>
                    <a:pt x="4095274" y="380524"/>
                    <a:pt x="4096226" y="382429"/>
                  </a:cubicBezTo>
                  <a:cubicBezTo>
                    <a:pt x="4094321" y="384334"/>
                    <a:pt x="4094321" y="385286"/>
                    <a:pt x="4093369" y="386239"/>
                  </a:cubicBezTo>
                  <a:close/>
                  <a:moveTo>
                    <a:pt x="4097179" y="342424"/>
                  </a:moveTo>
                  <a:cubicBezTo>
                    <a:pt x="4098131" y="339566"/>
                    <a:pt x="4098131" y="337661"/>
                    <a:pt x="4099084" y="334804"/>
                  </a:cubicBezTo>
                  <a:cubicBezTo>
                    <a:pt x="4099084" y="335756"/>
                    <a:pt x="4099084" y="336709"/>
                    <a:pt x="4099084" y="337661"/>
                  </a:cubicBezTo>
                  <a:cubicBezTo>
                    <a:pt x="4099084" y="339566"/>
                    <a:pt x="4098131" y="340519"/>
                    <a:pt x="4097179" y="342424"/>
                  </a:cubicBezTo>
                  <a:close/>
                  <a:moveTo>
                    <a:pt x="4100989" y="353854"/>
                  </a:moveTo>
                  <a:cubicBezTo>
                    <a:pt x="4100989" y="352901"/>
                    <a:pt x="4100989" y="351949"/>
                    <a:pt x="4100989" y="351949"/>
                  </a:cubicBezTo>
                  <a:cubicBezTo>
                    <a:pt x="4100989" y="351949"/>
                    <a:pt x="4100989" y="351949"/>
                    <a:pt x="4100989" y="351949"/>
                  </a:cubicBezTo>
                  <a:cubicBezTo>
                    <a:pt x="4100989" y="352901"/>
                    <a:pt x="4100989" y="353854"/>
                    <a:pt x="4100989" y="353854"/>
                  </a:cubicBezTo>
                  <a:cubicBezTo>
                    <a:pt x="4100989" y="354806"/>
                    <a:pt x="4100989" y="353854"/>
                    <a:pt x="4100989" y="353854"/>
                  </a:cubicBezTo>
                  <a:close/>
                  <a:moveTo>
                    <a:pt x="4115276" y="322421"/>
                  </a:moveTo>
                  <a:cubicBezTo>
                    <a:pt x="4115276" y="330994"/>
                    <a:pt x="4114324" y="341471"/>
                    <a:pt x="4114324" y="350996"/>
                  </a:cubicBezTo>
                  <a:cubicBezTo>
                    <a:pt x="4113371" y="336709"/>
                    <a:pt x="4111466" y="327184"/>
                    <a:pt x="4111466" y="327184"/>
                  </a:cubicBezTo>
                  <a:cubicBezTo>
                    <a:pt x="4111466" y="327184"/>
                    <a:pt x="4110514" y="332899"/>
                    <a:pt x="4108609" y="342424"/>
                  </a:cubicBezTo>
                  <a:cubicBezTo>
                    <a:pt x="4108609" y="342424"/>
                    <a:pt x="4107656" y="341471"/>
                    <a:pt x="4107656" y="341471"/>
                  </a:cubicBezTo>
                  <a:cubicBezTo>
                    <a:pt x="4107656" y="339566"/>
                    <a:pt x="4106704" y="338614"/>
                    <a:pt x="4106704" y="336709"/>
                  </a:cubicBezTo>
                  <a:cubicBezTo>
                    <a:pt x="4108609" y="330994"/>
                    <a:pt x="4111466" y="326231"/>
                    <a:pt x="4113371" y="322421"/>
                  </a:cubicBezTo>
                  <a:cubicBezTo>
                    <a:pt x="4114324" y="321469"/>
                    <a:pt x="4114324" y="319564"/>
                    <a:pt x="4115276" y="318611"/>
                  </a:cubicBezTo>
                  <a:cubicBezTo>
                    <a:pt x="4115276" y="319564"/>
                    <a:pt x="4115276" y="320516"/>
                    <a:pt x="4115276" y="322421"/>
                  </a:cubicBezTo>
                  <a:close/>
                  <a:moveTo>
                    <a:pt x="4109561" y="295751"/>
                  </a:moveTo>
                  <a:cubicBezTo>
                    <a:pt x="4111466" y="299561"/>
                    <a:pt x="4113371" y="303371"/>
                    <a:pt x="4116229" y="308134"/>
                  </a:cubicBezTo>
                  <a:cubicBezTo>
                    <a:pt x="4116229" y="309086"/>
                    <a:pt x="4116229" y="310991"/>
                    <a:pt x="4116229" y="311944"/>
                  </a:cubicBezTo>
                  <a:cubicBezTo>
                    <a:pt x="4114324" y="314801"/>
                    <a:pt x="4112419" y="316706"/>
                    <a:pt x="4110514" y="320516"/>
                  </a:cubicBezTo>
                  <a:cubicBezTo>
                    <a:pt x="4108609" y="323374"/>
                    <a:pt x="4106704" y="326231"/>
                    <a:pt x="4104799" y="329089"/>
                  </a:cubicBezTo>
                  <a:cubicBezTo>
                    <a:pt x="4103846" y="326231"/>
                    <a:pt x="4102894" y="324326"/>
                    <a:pt x="4102894" y="322421"/>
                  </a:cubicBezTo>
                  <a:cubicBezTo>
                    <a:pt x="4105751" y="311944"/>
                    <a:pt x="4107656" y="303371"/>
                    <a:pt x="4109561" y="295751"/>
                  </a:cubicBezTo>
                  <a:close/>
                  <a:moveTo>
                    <a:pt x="4092416" y="294799"/>
                  </a:moveTo>
                  <a:cubicBezTo>
                    <a:pt x="4093369" y="284321"/>
                    <a:pt x="4093369" y="274796"/>
                    <a:pt x="4094321" y="265271"/>
                  </a:cubicBezTo>
                  <a:cubicBezTo>
                    <a:pt x="4095274" y="268129"/>
                    <a:pt x="4096226" y="270034"/>
                    <a:pt x="4098131" y="272891"/>
                  </a:cubicBezTo>
                  <a:cubicBezTo>
                    <a:pt x="4100989" y="278606"/>
                    <a:pt x="4103846" y="284321"/>
                    <a:pt x="4106704" y="290989"/>
                  </a:cubicBezTo>
                  <a:cubicBezTo>
                    <a:pt x="4103846" y="296704"/>
                    <a:pt x="4101941" y="304324"/>
                    <a:pt x="4098131" y="311944"/>
                  </a:cubicBezTo>
                  <a:cubicBezTo>
                    <a:pt x="4097179" y="308134"/>
                    <a:pt x="4096226" y="306229"/>
                    <a:pt x="4096226" y="306229"/>
                  </a:cubicBezTo>
                  <a:cubicBezTo>
                    <a:pt x="4096226" y="306229"/>
                    <a:pt x="4096226" y="310039"/>
                    <a:pt x="4097179" y="315754"/>
                  </a:cubicBezTo>
                  <a:cubicBezTo>
                    <a:pt x="4095274" y="320516"/>
                    <a:pt x="4093369" y="324326"/>
                    <a:pt x="4092416" y="329089"/>
                  </a:cubicBezTo>
                  <a:cubicBezTo>
                    <a:pt x="4092416" y="328136"/>
                    <a:pt x="4091464" y="326231"/>
                    <a:pt x="4091464" y="325279"/>
                  </a:cubicBezTo>
                  <a:cubicBezTo>
                    <a:pt x="4091464" y="324326"/>
                    <a:pt x="4090511" y="323374"/>
                    <a:pt x="4090511" y="321469"/>
                  </a:cubicBezTo>
                  <a:cubicBezTo>
                    <a:pt x="4091464" y="311944"/>
                    <a:pt x="4092416" y="303371"/>
                    <a:pt x="4092416" y="294799"/>
                  </a:cubicBezTo>
                  <a:close/>
                  <a:moveTo>
                    <a:pt x="4085749" y="244316"/>
                  </a:moveTo>
                  <a:cubicBezTo>
                    <a:pt x="4085749" y="245269"/>
                    <a:pt x="4085749" y="245269"/>
                    <a:pt x="4085749" y="244316"/>
                  </a:cubicBezTo>
                  <a:cubicBezTo>
                    <a:pt x="4085749" y="247174"/>
                    <a:pt x="4085749" y="248126"/>
                    <a:pt x="4084796" y="250031"/>
                  </a:cubicBezTo>
                  <a:cubicBezTo>
                    <a:pt x="4084796" y="249079"/>
                    <a:pt x="4084796" y="246221"/>
                    <a:pt x="4085749" y="244316"/>
                  </a:cubicBezTo>
                  <a:close/>
                  <a:moveTo>
                    <a:pt x="4043839" y="279559"/>
                  </a:moveTo>
                  <a:cubicBezTo>
                    <a:pt x="4044791" y="280511"/>
                    <a:pt x="4044791" y="280511"/>
                    <a:pt x="4043839" y="279559"/>
                  </a:cubicBezTo>
                  <a:cubicBezTo>
                    <a:pt x="4044791" y="281464"/>
                    <a:pt x="4044791" y="282416"/>
                    <a:pt x="4044791" y="283369"/>
                  </a:cubicBezTo>
                  <a:cubicBezTo>
                    <a:pt x="4043839" y="282416"/>
                    <a:pt x="4043839" y="281464"/>
                    <a:pt x="4043839" y="281464"/>
                  </a:cubicBezTo>
                  <a:cubicBezTo>
                    <a:pt x="4043839" y="281464"/>
                    <a:pt x="4043839" y="283369"/>
                    <a:pt x="4044791" y="286226"/>
                  </a:cubicBezTo>
                  <a:cubicBezTo>
                    <a:pt x="4044791" y="287179"/>
                    <a:pt x="4044791" y="288131"/>
                    <a:pt x="4044791" y="290036"/>
                  </a:cubicBezTo>
                  <a:cubicBezTo>
                    <a:pt x="4043839" y="288131"/>
                    <a:pt x="4042886" y="286226"/>
                    <a:pt x="4042886" y="284321"/>
                  </a:cubicBezTo>
                  <a:cubicBezTo>
                    <a:pt x="4043839" y="282416"/>
                    <a:pt x="4043839" y="281464"/>
                    <a:pt x="4043839" y="279559"/>
                  </a:cubicBezTo>
                  <a:close/>
                  <a:moveTo>
                    <a:pt x="4044791" y="333851"/>
                  </a:moveTo>
                  <a:cubicBezTo>
                    <a:pt x="4044791" y="333851"/>
                    <a:pt x="4044791" y="333851"/>
                    <a:pt x="4044791" y="333851"/>
                  </a:cubicBezTo>
                  <a:cubicBezTo>
                    <a:pt x="4044791" y="335756"/>
                    <a:pt x="4044791" y="337661"/>
                    <a:pt x="4044791" y="339566"/>
                  </a:cubicBezTo>
                  <a:cubicBezTo>
                    <a:pt x="4043839" y="338614"/>
                    <a:pt x="4043839" y="338614"/>
                    <a:pt x="4042886" y="337661"/>
                  </a:cubicBezTo>
                  <a:cubicBezTo>
                    <a:pt x="4042886" y="335756"/>
                    <a:pt x="4043839" y="334804"/>
                    <a:pt x="4044791" y="333851"/>
                  </a:cubicBezTo>
                  <a:close/>
                  <a:moveTo>
                    <a:pt x="4039076" y="271939"/>
                  </a:moveTo>
                  <a:cubicBezTo>
                    <a:pt x="4039076" y="272891"/>
                    <a:pt x="4039076" y="272891"/>
                    <a:pt x="4039076" y="273844"/>
                  </a:cubicBezTo>
                  <a:cubicBezTo>
                    <a:pt x="4039076" y="272891"/>
                    <a:pt x="4038124" y="271939"/>
                    <a:pt x="4038124" y="270034"/>
                  </a:cubicBezTo>
                  <a:cubicBezTo>
                    <a:pt x="4037171" y="268129"/>
                    <a:pt x="4037171" y="267176"/>
                    <a:pt x="4036219" y="265271"/>
                  </a:cubicBezTo>
                  <a:cubicBezTo>
                    <a:pt x="4037171" y="267176"/>
                    <a:pt x="4038124" y="269081"/>
                    <a:pt x="4039076" y="271939"/>
                  </a:cubicBezTo>
                  <a:close/>
                  <a:moveTo>
                    <a:pt x="4033361" y="358616"/>
                  </a:moveTo>
                  <a:cubicBezTo>
                    <a:pt x="4033361" y="355759"/>
                    <a:pt x="4034314" y="353854"/>
                    <a:pt x="4034314" y="351949"/>
                  </a:cubicBezTo>
                  <a:cubicBezTo>
                    <a:pt x="4035266" y="350044"/>
                    <a:pt x="4037171" y="347186"/>
                    <a:pt x="4038124" y="345281"/>
                  </a:cubicBezTo>
                  <a:cubicBezTo>
                    <a:pt x="4040029" y="347186"/>
                    <a:pt x="4041934" y="350044"/>
                    <a:pt x="4043839" y="351949"/>
                  </a:cubicBezTo>
                  <a:cubicBezTo>
                    <a:pt x="4042886" y="363379"/>
                    <a:pt x="4041934" y="376714"/>
                    <a:pt x="4040981" y="391954"/>
                  </a:cubicBezTo>
                  <a:cubicBezTo>
                    <a:pt x="4039076" y="398621"/>
                    <a:pt x="4037171" y="406241"/>
                    <a:pt x="4035266" y="413861"/>
                  </a:cubicBezTo>
                  <a:cubicBezTo>
                    <a:pt x="4033361" y="407194"/>
                    <a:pt x="4030504" y="401479"/>
                    <a:pt x="4029551" y="395764"/>
                  </a:cubicBezTo>
                  <a:cubicBezTo>
                    <a:pt x="4028599" y="392906"/>
                    <a:pt x="4027646" y="391001"/>
                    <a:pt x="4027646" y="388144"/>
                  </a:cubicBezTo>
                  <a:cubicBezTo>
                    <a:pt x="4029551" y="377666"/>
                    <a:pt x="4031456" y="368141"/>
                    <a:pt x="4033361" y="358616"/>
                  </a:cubicBezTo>
                  <a:close/>
                  <a:moveTo>
                    <a:pt x="4020026" y="324326"/>
                  </a:moveTo>
                  <a:cubicBezTo>
                    <a:pt x="4020979" y="325279"/>
                    <a:pt x="4020979" y="325279"/>
                    <a:pt x="4021931" y="326231"/>
                  </a:cubicBezTo>
                  <a:cubicBezTo>
                    <a:pt x="4020979" y="329089"/>
                    <a:pt x="4020026" y="331946"/>
                    <a:pt x="4019074" y="334804"/>
                  </a:cubicBezTo>
                  <a:cubicBezTo>
                    <a:pt x="4018121" y="336709"/>
                    <a:pt x="4018121" y="339566"/>
                    <a:pt x="4017169" y="341471"/>
                  </a:cubicBezTo>
                  <a:cubicBezTo>
                    <a:pt x="4017169" y="341471"/>
                    <a:pt x="4017169" y="342424"/>
                    <a:pt x="4016216" y="342424"/>
                  </a:cubicBezTo>
                  <a:cubicBezTo>
                    <a:pt x="4016216" y="343376"/>
                    <a:pt x="4015264" y="343376"/>
                    <a:pt x="4015264" y="344329"/>
                  </a:cubicBezTo>
                  <a:cubicBezTo>
                    <a:pt x="4014311" y="333851"/>
                    <a:pt x="4012406" y="324326"/>
                    <a:pt x="4011454" y="315754"/>
                  </a:cubicBezTo>
                  <a:cubicBezTo>
                    <a:pt x="4014311" y="317659"/>
                    <a:pt x="4017169" y="320516"/>
                    <a:pt x="4020026" y="324326"/>
                  </a:cubicBezTo>
                  <a:close/>
                  <a:moveTo>
                    <a:pt x="3999071" y="282416"/>
                  </a:moveTo>
                  <a:cubicBezTo>
                    <a:pt x="4000024" y="282416"/>
                    <a:pt x="4000024" y="282416"/>
                    <a:pt x="3999071" y="282416"/>
                  </a:cubicBezTo>
                  <a:cubicBezTo>
                    <a:pt x="4000024" y="290989"/>
                    <a:pt x="4000024" y="300514"/>
                    <a:pt x="4000024" y="310991"/>
                  </a:cubicBezTo>
                  <a:cubicBezTo>
                    <a:pt x="4000024" y="312896"/>
                    <a:pt x="4000024" y="314801"/>
                    <a:pt x="4000024" y="316706"/>
                  </a:cubicBezTo>
                  <a:cubicBezTo>
                    <a:pt x="4000024" y="319564"/>
                    <a:pt x="3999071" y="322421"/>
                    <a:pt x="3999071" y="325279"/>
                  </a:cubicBezTo>
                  <a:cubicBezTo>
                    <a:pt x="3999071" y="325279"/>
                    <a:pt x="3999071" y="326231"/>
                    <a:pt x="3999071" y="327184"/>
                  </a:cubicBezTo>
                  <a:cubicBezTo>
                    <a:pt x="3999071" y="326231"/>
                    <a:pt x="3998119" y="325279"/>
                    <a:pt x="3998119" y="324326"/>
                  </a:cubicBezTo>
                  <a:lnTo>
                    <a:pt x="3997166" y="314801"/>
                  </a:lnTo>
                  <a:lnTo>
                    <a:pt x="3996214" y="286226"/>
                  </a:lnTo>
                  <a:cubicBezTo>
                    <a:pt x="3997166" y="285274"/>
                    <a:pt x="3998119" y="284321"/>
                    <a:pt x="3999071" y="282416"/>
                  </a:cubicBezTo>
                  <a:close/>
                  <a:moveTo>
                    <a:pt x="3983831" y="405289"/>
                  </a:moveTo>
                  <a:cubicBezTo>
                    <a:pt x="3982879" y="408146"/>
                    <a:pt x="3981926" y="410051"/>
                    <a:pt x="3980021" y="412909"/>
                  </a:cubicBezTo>
                  <a:cubicBezTo>
                    <a:pt x="3980021" y="412909"/>
                    <a:pt x="3980021" y="412909"/>
                    <a:pt x="3980021" y="412909"/>
                  </a:cubicBezTo>
                  <a:cubicBezTo>
                    <a:pt x="3981926" y="407194"/>
                    <a:pt x="3981926" y="404336"/>
                    <a:pt x="3982879" y="402431"/>
                  </a:cubicBezTo>
                  <a:cubicBezTo>
                    <a:pt x="3982879" y="403384"/>
                    <a:pt x="3982879" y="404336"/>
                    <a:pt x="3983831" y="405289"/>
                  </a:cubicBezTo>
                  <a:close/>
                  <a:moveTo>
                    <a:pt x="3980974" y="395764"/>
                  </a:moveTo>
                  <a:cubicBezTo>
                    <a:pt x="3981926" y="397669"/>
                    <a:pt x="3981926" y="399574"/>
                    <a:pt x="3982879" y="401479"/>
                  </a:cubicBezTo>
                  <a:cubicBezTo>
                    <a:pt x="3982879" y="402431"/>
                    <a:pt x="3980974" y="404336"/>
                    <a:pt x="3979069" y="407194"/>
                  </a:cubicBezTo>
                  <a:cubicBezTo>
                    <a:pt x="3979069" y="407194"/>
                    <a:pt x="3979069" y="406241"/>
                    <a:pt x="3979069" y="406241"/>
                  </a:cubicBezTo>
                  <a:cubicBezTo>
                    <a:pt x="3980021" y="403384"/>
                    <a:pt x="3980021" y="399574"/>
                    <a:pt x="3980974" y="395764"/>
                  </a:cubicBezTo>
                  <a:close/>
                  <a:moveTo>
                    <a:pt x="3976211" y="378619"/>
                  </a:moveTo>
                  <a:cubicBezTo>
                    <a:pt x="3976211" y="378619"/>
                    <a:pt x="3976211" y="378619"/>
                    <a:pt x="3976211" y="378619"/>
                  </a:cubicBezTo>
                  <a:cubicBezTo>
                    <a:pt x="3976211" y="379571"/>
                    <a:pt x="3976211" y="379571"/>
                    <a:pt x="3976211" y="380524"/>
                  </a:cubicBezTo>
                  <a:cubicBezTo>
                    <a:pt x="3976211" y="379571"/>
                    <a:pt x="3976211" y="378619"/>
                    <a:pt x="3976211" y="378619"/>
                  </a:cubicBezTo>
                  <a:close/>
                  <a:moveTo>
                    <a:pt x="3948589" y="255746"/>
                  </a:moveTo>
                  <a:cubicBezTo>
                    <a:pt x="3948589" y="262414"/>
                    <a:pt x="3947636" y="270034"/>
                    <a:pt x="3946684" y="277654"/>
                  </a:cubicBezTo>
                  <a:cubicBezTo>
                    <a:pt x="3946684" y="279559"/>
                    <a:pt x="3946684" y="282416"/>
                    <a:pt x="3945731" y="285274"/>
                  </a:cubicBezTo>
                  <a:cubicBezTo>
                    <a:pt x="3944779" y="278606"/>
                    <a:pt x="3944779" y="272891"/>
                    <a:pt x="3943826" y="266224"/>
                  </a:cubicBezTo>
                  <a:cubicBezTo>
                    <a:pt x="3942874" y="257651"/>
                    <a:pt x="3940969" y="249079"/>
                    <a:pt x="3940016" y="240506"/>
                  </a:cubicBezTo>
                  <a:cubicBezTo>
                    <a:pt x="3940016" y="240506"/>
                    <a:pt x="3940016" y="240506"/>
                    <a:pt x="3940016" y="239554"/>
                  </a:cubicBezTo>
                  <a:cubicBezTo>
                    <a:pt x="3940016" y="238601"/>
                    <a:pt x="3940016" y="237649"/>
                    <a:pt x="3940016" y="236696"/>
                  </a:cubicBezTo>
                  <a:cubicBezTo>
                    <a:pt x="3940969" y="237649"/>
                    <a:pt x="3941921" y="239554"/>
                    <a:pt x="3942874" y="240506"/>
                  </a:cubicBezTo>
                  <a:cubicBezTo>
                    <a:pt x="3944779" y="243364"/>
                    <a:pt x="3945731" y="245269"/>
                    <a:pt x="3947636" y="248126"/>
                  </a:cubicBezTo>
                  <a:cubicBezTo>
                    <a:pt x="3948589" y="251936"/>
                    <a:pt x="3948589" y="253841"/>
                    <a:pt x="3948589" y="255746"/>
                  </a:cubicBezTo>
                  <a:close/>
                  <a:moveTo>
                    <a:pt x="3943826" y="205264"/>
                  </a:moveTo>
                  <a:cubicBezTo>
                    <a:pt x="3943826" y="207169"/>
                    <a:pt x="3943826" y="209074"/>
                    <a:pt x="3943826" y="210979"/>
                  </a:cubicBezTo>
                  <a:cubicBezTo>
                    <a:pt x="3943826" y="216694"/>
                    <a:pt x="3944779" y="223361"/>
                    <a:pt x="3945731" y="230981"/>
                  </a:cubicBezTo>
                  <a:cubicBezTo>
                    <a:pt x="3945731" y="232886"/>
                    <a:pt x="3945731" y="234791"/>
                    <a:pt x="3946684" y="236696"/>
                  </a:cubicBezTo>
                  <a:cubicBezTo>
                    <a:pt x="3943826" y="233839"/>
                    <a:pt x="3941921" y="230029"/>
                    <a:pt x="3939064" y="228124"/>
                  </a:cubicBezTo>
                  <a:cubicBezTo>
                    <a:pt x="3938111" y="224314"/>
                    <a:pt x="3938111" y="219551"/>
                    <a:pt x="3937159" y="215741"/>
                  </a:cubicBezTo>
                  <a:cubicBezTo>
                    <a:pt x="3940016" y="210979"/>
                    <a:pt x="3941921" y="208121"/>
                    <a:pt x="3943826" y="205264"/>
                  </a:cubicBezTo>
                  <a:close/>
                  <a:moveTo>
                    <a:pt x="3866674" y="369094"/>
                  </a:moveTo>
                  <a:cubicBezTo>
                    <a:pt x="3866674" y="369094"/>
                    <a:pt x="3866674" y="368141"/>
                    <a:pt x="3867626" y="368141"/>
                  </a:cubicBezTo>
                  <a:cubicBezTo>
                    <a:pt x="3867626" y="369094"/>
                    <a:pt x="3867626" y="370046"/>
                    <a:pt x="3867626" y="370999"/>
                  </a:cubicBezTo>
                  <a:cubicBezTo>
                    <a:pt x="3867626" y="370046"/>
                    <a:pt x="3866674" y="370046"/>
                    <a:pt x="3866674" y="369094"/>
                  </a:cubicBezTo>
                  <a:close/>
                  <a:moveTo>
                    <a:pt x="3886676" y="354806"/>
                  </a:moveTo>
                  <a:cubicBezTo>
                    <a:pt x="3885724" y="351949"/>
                    <a:pt x="3883819" y="350044"/>
                    <a:pt x="3882866" y="348139"/>
                  </a:cubicBezTo>
                  <a:cubicBezTo>
                    <a:pt x="3882866" y="345281"/>
                    <a:pt x="3881914" y="341471"/>
                    <a:pt x="3881914" y="338614"/>
                  </a:cubicBezTo>
                  <a:cubicBezTo>
                    <a:pt x="3883819" y="343376"/>
                    <a:pt x="3885724" y="349091"/>
                    <a:pt x="3886676" y="354806"/>
                  </a:cubicBezTo>
                  <a:cubicBezTo>
                    <a:pt x="3887629" y="354806"/>
                    <a:pt x="3887629" y="355759"/>
                    <a:pt x="3887629" y="356711"/>
                  </a:cubicBezTo>
                  <a:cubicBezTo>
                    <a:pt x="3887629" y="355759"/>
                    <a:pt x="3887629" y="354806"/>
                    <a:pt x="3886676" y="354806"/>
                  </a:cubicBezTo>
                  <a:close/>
                  <a:moveTo>
                    <a:pt x="3897154" y="278606"/>
                  </a:moveTo>
                  <a:cubicBezTo>
                    <a:pt x="3899059" y="275749"/>
                    <a:pt x="3900011" y="272891"/>
                    <a:pt x="3901916" y="270986"/>
                  </a:cubicBezTo>
                  <a:cubicBezTo>
                    <a:pt x="3901916" y="270986"/>
                    <a:pt x="3901916" y="270986"/>
                    <a:pt x="3901916" y="270986"/>
                  </a:cubicBezTo>
                  <a:cubicBezTo>
                    <a:pt x="3900964" y="273844"/>
                    <a:pt x="3899059" y="276701"/>
                    <a:pt x="3897154" y="278606"/>
                  </a:cubicBezTo>
                  <a:cubicBezTo>
                    <a:pt x="3898106" y="279559"/>
                    <a:pt x="3897154" y="279559"/>
                    <a:pt x="3897154" y="278606"/>
                  </a:cubicBezTo>
                  <a:close/>
                  <a:moveTo>
                    <a:pt x="3900011" y="291941"/>
                  </a:moveTo>
                  <a:cubicBezTo>
                    <a:pt x="3900011" y="290989"/>
                    <a:pt x="3900964" y="289084"/>
                    <a:pt x="3901916" y="288131"/>
                  </a:cubicBezTo>
                  <a:cubicBezTo>
                    <a:pt x="3901916" y="287179"/>
                    <a:pt x="3902869" y="287179"/>
                    <a:pt x="3902869" y="286226"/>
                  </a:cubicBezTo>
                  <a:cubicBezTo>
                    <a:pt x="3902869" y="290036"/>
                    <a:pt x="3902869" y="293846"/>
                    <a:pt x="3903821" y="297656"/>
                  </a:cubicBezTo>
                  <a:cubicBezTo>
                    <a:pt x="3903821" y="298609"/>
                    <a:pt x="3903821" y="300514"/>
                    <a:pt x="3902869" y="301466"/>
                  </a:cubicBezTo>
                  <a:cubicBezTo>
                    <a:pt x="3902869" y="300514"/>
                    <a:pt x="3902869" y="299561"/>
                    <a:pt x="3901916" y="298609"/>
                  </a:cubicBezTo>
                  <a:cubicBezTo>
                    <a:pt x="3901916" y="295751"/>
                    <a:pt x="3900964" y="293846"/>
                    <a:pt x="3900011" y="291941"/>
                  </a:cubicBezTo>
                  <a:close/>
                  <a:moveTo>
                    <a:pt x="3903821" y="431006"/>
                  </a:moveTo>
                  <a:cubicBezTo>
                    <a:pt x="3903821" y="431006"/>
                    <a:pt x="3903821" y="431959"/>
                    <a:pt x="3902869" y="431959"/>
                  </a:cubicBezTo>
                  <a:lnTo>
                    <a:pt x="3901916" y="431959"/>
                  </a:lnTo>
                  <a:cubicBezTo>
                    <a:pt x="3902869" y="430054"/>
                    <a:pt x="3902869" y="428149"/>
                    <a:pt x="3903821" y="426244"/>
                  </a:cubicBezTo>
                  <a:cubicBezTo>
                    <a:pt x="3903821" y="427196"/>
                    <a:pt x="3903821" y="427196"/>
                    <a:pt x="3904774" y="428149"/>
                  </a:cubicBezTo>
                  <a:cubicBezTo>
                    <a:pt x="3903821" y="429101"/>
                    <a:pt x="3903821" y="430054"/>
                    <a:pt x="3903821" y="431006"/>
                  </a:cubicBezTo>
                  <a:close/>
                  <a:moveTo>
                    <a:pt x="3925729" y="309086"/>
                  </a:moveTo>
                  <a:cubicBezTo>
                    <a:pt x="3923824" y="301466"/>
                    <a:pt x="3922871" y="297656"/>
                    <a:pt x="3922871" y="297656"/>
                  </a:cubicBezTo>
                  <a:cubicBezTo>
                    <a:pt x="3922871" y="297656"/>
                    <a:pt x="3922871" y="301466"/>
                    <a:pt x="3923824" y="308134"/>
                  </a:cubicBezTo>
                  <a:cubicBezTo>
                    <a:pt x="3920966" y="297656"/>
                    <a:pt x="3919061" y="291941"/>
                    <a:pt x="3919061" y="291941"/>
                  </a:cubicBezTo>
                  <a:cubicBezTo>
                    <a:pt x="3919061" y="291941"/>
                    <a:pt x="3920014" y="301466"/>
                    <a:pt x="3922871" y="317659"/>
                  </a:cubicBezTo>
                  <a:cubicBezTo>
                    <a:pt x="3922871" y="320516"/>
                    <a:pt x="3923824" y="322421"/>
                    <a:pt x="3923824" y="325279"/>
                  </a:cubicBezTo>
                  <a:cubicBezTo>
                    <a:pt x="3922871" y="328136"/>
                    <a:pt x="3922871" y="331946"/>
                    <a:pt x="3921919" y="334804"/>
                  </a:cubicBezTo>
                  <a:cubicBezTo>
                    <a:pt x="3921919" y="334804"/>
                    <a:pt x="3921919" y="335756"/>
                    <a:pt x="3921919" y="335756"/>
                  </a:cubicBezTo>
                  <a:cubicBezTo>
                    <a:pt x="3921919" y="333851"/>
                    <a:pt x="3920966" y="331946"/>
                    <a:pt x="3920966" y="330041"/>
                  </a:cubicBezTo>
                  <a:cubicBezTo>
                    <a:pt x="3919061" y="319564"/>
                    <a:pt x="3917156" y="310039"/>
                    <a:pt x="3915251" y="301466"/>
                  </a:cubicBezTo>
                  <a:cubicBezTo>
                    <a:pt x="3913346" y="293846"/>
                    <a:pt x="3912394" y="287179"/>
                    <a:pt x="3911441" y="281464"/>
                  </a:cubicBezTo>
                  <a:cubicBezTo>
                    <a:pt x="3911441" y="273844"/>
                    <a:pt x="3912394" y="268129"/>
                    <a:pt x="3912394" y="264319"/>
                  </a:cubicBezTo>
                  <a:cubicBezTo>
                    <a:pt x="3912394" y="264319"/>
                    <a:pt x="3912394" y="263366"/>
                    <a:pt x="3912394" y="263366"/>
                  </a:cubicBezTo>
                  <a:cubicBezTo>
                    <a:pt x="3914299" y="265271"/>
                    <a:pt x="3917156" y="268129"/>
                    <a:pt x="3919061" y="270986"/>
                  </a:cubicBezTo>
                  <a:cubicBezTo>
                    <a:pt x="3920966" y="272891"/>
                    <a:pt x="3922871" y="274796"/>
                    <a:pt x="3923824" y="277654"/>
                  </a:cubicBezTo>
                  <a:cubicBezTo>
                    <a:pt x="3923824" y="277654"/>
                    <a:pt x="3923824" y="280511"/>
                    <a:pt x="3924776" y="284321"/>
                  </a:cubicBezTo>
                  <a:cubicBezTo>
                    <a:pt x="3922871" y="279559"/>
                    <a:pt x="3921919" y="277654"/>
                    <a:pt x="3921919" y="277654"/>
                  </a:cubicBezTo>
                  <a:cubicBezTo>
                    <a:pt x="3921919" y="277654"/>
                    <a:pt x="3923824" y="284321"/>
                    <a:pt x="3926681" y="296704"/>
                  </a:cubicBezTo>
                  <a:cubicBezTo>
                    <a:pt x="3926681" y="298609"/>
                    <a:pt x="3927634" y="301466"/>
                    <a:pt x="3927634" y="304324"/>
                  </a:cubicBezTo>
                  <a:cubicBezTo>
                    <a:pt x="3927634" y="304324"/>
                    <a:pt x="3927634" y="304324"/>
                    <a:pt x="3927634" y="305276"/>
                  </a:cubicBezTo>
                  <a:cubicBezTo>
                    <a:pt x="3926681" y="304324"/>
                    <a:pt x="3925729" y="306229"/>
                    <a:pt x="3925729" y="309086"/>
                  </a:cubicBezTo>
                  <a:close/>
                  <a:moveTo>
                    <a:pt x="3929539" y="287179"/>
                  </a:moveTo>
                  <a:cubicBezTo>
                    <a:pt x="3929539" y="289084"/>
                    <a:pt x="3928586" y="290989"/>
                    <a:pt x="3928586" y="292894"/>
                  </a:cubicBezTo>
                  <a:cubicBezTo>
                    <a:pt x="3928586" y="291941"/>
                    <a:pt x="3927634" y="290989"/>
                    <a:pt x="3927634" y="290036"/>
                  </a:cubicBezTo>
                  <a:cubicBezTo>
                    <a:pt x="3924776" y="281464"/>
                    <a:pt x="3923824" y="275749"/>
                    <a:pt x="3923824" y="275749"/>
                  </a:cubicBezTo>
                  <a:cubicBezTo>
                    <a:pt x="3924776" y="277654"/>
                    <a:pt x="3926681" y="279559"/>
                    <a:pt x="3927634" y="281464"/>
                  </a:cubicBezTo>
                  <a:cubicBezTo>
                    <a:pt x="3928586" y="282416"/>
                    <a:pt x="3928586" y="283369"/>
                    <a:pt x="3929539" y="284321"/>
                  </a:cubicBezTo>
                  <a:cubicBezTo>
                    <a:pt x="3929539" y="284321"/>
                    <a:pt x="3929539" y="285274"/>
                    <a:pt x="3929539" y="287179"/>
                  </a:cubicBezTo>
                  <a:close/>
                  <a:moveTo>
                    <a:pt x="3926681" y="242411"/>
                  </a:moveTo>
                  <a:cubicBezTo>
                    <a:pt x="3927634" y="251936"/>
                    <a:pt x="3928586" y="261461"/>
                    <a:pt x="3928586" y="270986"/>
                  </a:cubicBezTo>
                  <a:cubicBezTo>
                    <a:pt x="3926681" y="269081"/>
                    <a:pt x="3924776" y="266224"/>
                    <a:pt x="3921919" y="265271"/>
                  </a:cubicBezTo>
                  <a:cubicBezTo>
                    <a:pt x="3919061" y="262414"/>
                    <a:pt x="3916204" y="259556"/>
                    <a:pt x="3913346" y="257651"/>
                  </a:cubicBezTo>
                  <a:cubicBezTo>
                    <a:pt x="3915251" y="253841"/>
                    <a:pt x="3916204" y="250031"/>
                    <a:pt x="3917156" y="246221"/>
                  </a:cubicBezTo>
                  <a:cubicBezTo>
                    <a:pt x="3920014" y="241459"/>
                    <a:pt x="3922871" y="236696"/>
                    <a:pt x="3925729" y="232886"/>
                  </a:cubicBezTo>
                  <a:cubicBezTo>
                    <a:pt x="3925729" y="235744"/>
                    <a:pt x="3925729" y="239554"/>
                    <a:pt x="3926681" y="242411"/>
                  </a:cubicBezTo>
                  <a:close/>
                  <a:moveTo>
                    <a:pt x="3900964" y="168116"/>
                  </a:moveTo>
                  <a:cubicBezTo>
                    <a:pt x="3905726" y="160496"/>
                    <a:pt x="3910489" y="153829"/>
                    <a:pt x="3914299" y="147161"/>
                  </a:cubicBezTo>
                  <a:cubicBezTo>
                    <a:pt x="3914299" y="150019"/>
                    <a:pt x="3915251" y="152876"/>
                    <a:pt x="3915251" y="156686"/>
                  </a:cubicBezTo>
                  <a:cubicBezTo>
                    <a:pt x="3917156" y="168116"/>
                    <a:pt x="3919061" y="181451"/>
                    <a:pt x="3920966" y="196691"/>
                  </a:cubicBezTo>
                  <a:cubicBezTo>
                    <a:pt x="3921919" y="202406"/>
                    <a:pt x="3921919" y="208121"/>
                    <a:pt x="3922871" y="213836"/>
                  </a:cubicBezTo>
                  <a:cubicBezTo>
                    <a:pt x="3920966" y="211931"/>
                    <a:pt x="3920014" y="210979"/>
                    <a:pt x="3920014" y="210979"/>
                  </a:cubicBezTo>
                  <a:cubicBezTo>
                    <a:pt x="3920014" y="210979"/>
                    <a:pt x="3920966" y="212884"/>
                    <a:pt x="3923824" y="214789"/>
                  </a:cubicBezTo>
                  <a:cubicBezTo>
                    <a:pt x="3923824" y="218599"/>
                    <a:pt x="3924776" y="222409"/>
                    <a:pt x="3924776" y="226219"/>
                  </a:cubicBezTo>
                  <a:cubicBezTo>
                    <a:pt x="3919061" y="232886"/>
                    <a:pt x="3913346" y="240506"/>
                    <a:pt x="3906679" y="249079"/>
                  </a:cubicBezTo>
                  <a:cubicBezTo>
                    <a:pt x="3905726" y="250031"/>
                    <a:pt x="3905726" y="250984"/>
                    <a:pt x="3904774" y="251936"/>
                  </a:cubicBezTo>
                  <a:cubicBezTo>
                    <a:pt x="3903821" y="251936"/>
                    <a:pt x="3903821" y="250984"/>
                    <a:pt x="3902869" y="250984"/>
                  </a:cubicBezTo>
                  <a:cubicBezTo>
                    <a:pt x="3901916" y="245269"/>
                    <a:pt x="3900964" y="242411"/>
                    <a:pt x="3900964" y="242411"/>
                  </a:cubicBezTo>
                  <a:cubicBezTo>
                    <a:pt x="3900964" y="242411"/>
                    <a:pt x="3900964" y="245269"/>
                    <a:pt x="3900964" y="249079"/>
                  </a:cubicBezTo>
                  <a:cubicBezTo>
                    <a:pt x="3900011" y="248126"/>
                    <a:pt x="3898106" y="247174"/>
                    <a:pt x="3897154" y="247174"/>
                  </a:cubicBezTo>
                  <a:cubicBezTo>
                    <a:pt x="3893344" y="245269"/>
                    <a:pt x="3891439" y="243364"/>
                    <a:pt x="3891439" y="243364"/>
                  </a:cubicBezTo>
                  <a:cubicBezTo>
                    <a:pt x="3891439" y="243364"/>
                    <a:pt x="3893344" y="245269"/>
                    <a:pt x="3896201" y="248126"/>
                  </a:cubicBezTo>
                  <a:cubicBezTo>
                    <a:pt x="3897154" y="249079"/>
                    <a:pt x="3899059" y="250984"/>
                    <a:pt x="3900964" y="251936"/>
                  </a:cubicBezTo>
                  <a:cubicBezTo>
                    <a:pt x="3900964" y="253841"/>
                    <a:pt x="3900964" y="254794"/>
                    <a:pt x="3900964" y="256699"/>
                  </a:cubicBezTo>
                  <a:cubicBezTo>
                    <a:pt x="3899059" y="259556"/>
                    <a:pt x="3896201" y="263366"/>
                    <a:pt x="3894296" y="266224"/>
                  </a:cubicBezTo>
                  <a:cubicBezTo>
                    <a:pt x="3893344" y="261461"/>
                    <a:pt x="3891439" y="255746"/>
                    <a:pt x="3890486" y="250984"/>
                  </a:cubicBezTo>
                  <a:cubicBezTo>
                    <a:pt x="3886676" y="235744"/>
                    <a:pt x="3883819" y="222409"/>
                    <a:pt x="3880009" y="210026"/>
                  </a:cubicBezTo>
                  <a:cubicBezTo>
                    <a:pt x="3880009" y="209074"/>
                    <a:pt x="3879056" y="207169"/>
                    <a:pt x="3879056" y="206216"/>
                  </a:cubicBezTo>
                  <a:cubicBezTo>
                    <a:pt x="3886676" y="191929"/>
                    <a:pt x="3894296" y="178594"/>
                    <a:pt x="3900964" y="168116"/>
                  </a:cubicBezTo>
                  <a:close/>
                  <a:moveTo>
                    <a:pt x="3873341" y="214789"/>
                  </a:moveTo>
                  <a:cubicBezTo>
                    <a:pt x="3875246" y="226219"/>
                    <a:pt x="3877151" y="238601"/>
                    <a:pt x="3879056" y="251936"/>
                  </a:cubicBezTo>
                  <a:cubicBezTo>
                    <a:pt x="3880009" y="260509"/>
                    <a:pt x="3881914" y="270034"/>
                    <a:pt x="3883819" y="280511"/>
                  </a:cubicBezTo>
                  <a:cubicBezTo>
                    <a:pt x="3883819" y="281464"/>
                    <a:pt x="3882866" y="281464"/>
                    <a:pt x="3882866" y="282416"/>
                  </a:cubicBezTo>
                  <a:cubicBezTo>
                    <a:pt x="3880009" y="273844"/>
                    <a:pt x="3878104" y="266224"/>
                    <a:pt x="3875246" y="259556"/>
                  </a:cubicBezTo>
                  <a:cubicBezTo>
                    <a:pt x="3871436" y="250031"/>
                    <a:pt x="3868579" y="241459"/>
                    <a:pt x="3865721" y="234791"/>
                  </a:cubicBezTo>
                  <a:cubicBezTo>
                    <a:pt x="3865721" y="233839"/>
                    <a:pt x="3864769" y="232886"/>
                    <a:pt x="3864769" y="231934"/>
                  </a:cubicBezTo>
                  <a:cubicBezTo>
                    <a:pt x="3867626" y="225266"/>
                    <a:pt x="3870484" y="219551"/>
                    <a:pt x="3873341" y="214789"/>
                  </a:cubicBezTo>
                  <a:close/>
                  <a:moveTo>
                    <a:pt x="3864769" y="341471"/>
                  </a:moveTo>
                  <a:cubicBezTo>
                    <a:pt x="3863816" y="342424"/>
                    <a:pt x="3863816" y="344329"/>
                    <a:pt x="3862864" y="345281"/>
                  </a:cubicBezTo>
                  <a:cubicBezTo>
                    <a:pt x="3862864" y="344329"/>
                    <a:pt x="3863816" y="343376"/>
                    <a:pt x="3864769" y="341471"/>
                  </a:cubicBezTo>
                  <a:cubicBezTo>
                    <a:pt x="3864769" y="341471"/>
                    <a:pt x="3864769" y="341471"/>
                    <a:pt x="3864769" y="341471"/>
                  </a:cubicBezTo>
                  <a:close/>
                  <a:moveTo>
                    <a:pt x="3854291" y="211931"/>
                  </a:moveTo>
                  <a:cubicBezTo>
                    <a:pt x="3854291" y="208121"/>
                    <a:pt x="3855244" y="204311"/>
                    <a:pt x="3856196" y="201454"/>
                  </a:cubicBezTo>
                  <a:cubicBezTo>
                    <a:pt x="3856196" y="206216"/>
                    <a:pt x="3856196" y="212884"/>
                    <a:pt x="3857149" y="220504"/>
                  </a:cubicBezTo>
                  <a:cubicBezTo>
                    <a:pt x="3856196" y="222409"/>
                    <a:pt x="3855244" y="224314"/>
                    <a:pt x="3854291" y="226219"/>
                  </a:cubicBezTo>
                  <a:cubicBezTo>
                    <a:pt x="3853339" y="220504"/>
                    <a:pt x="3854291" y="215741"/>
                    <a:pt x="3854291" y="211931"/>
                  </a:cubicBezTo>
                  <a:close/>
                  <a:moveTo>
                    <a:pt x="3849529" y="262414"/>
                  </a:moveTo>
                  <a:cubicBezTo>
                    <a:pt x="3849529" y="260509"/>
                    <a:pt x="3849529" y="259556"/>
                    <a:pt x="3849529" y="257651"/>
                  </a:cubicBezTo>
                  <a:cubicBezTo>
                    <a:pt x="3849529" y="257651"/>
                    <a:pt x="3849529" y="256699"/>
                    <a:pt x="3850481" y="256699"/>
                  </a:cubicBezTo>
                  <a:cubicBezTo>
                    <a:pt x="3853339" y="263366"/>
                    <a:pt x="3856196" y="270986"/>
                    <a:pt x="3859054" y="278606"/>
                  </a:cubicBezTo>
                  <a:cubicBezTo>
                    <a:pt x="3859054" y="279559"/>
                    <a:pt x="3859054" y="279559"/>
                    <a:pt x="3860006" y="280511"/>
                  </a:cubicBezTo>
                  <a:cubicBezTo>
                    <a:pt x="3860959" y="290989"/>
                    <a:pt x="3861911" y="302419"/>
                    <a:pt x="3862864" y="313849"/>
                  </a:cubicBezTo>
                  <a:cubicBezTo>
                    <a:pt x="3862864" y="313849"/>
                    <a:pt x="3862864" y="313849"/>
                    <a:pt x="3862864" y="313849"/>
                  </a:cubicBezTo>
                  <a:cubicBezTo>
                    <a:pt x="3858101" y="305276"/>
                    <a:pt x="3852386" y="298609"/>
                    <a:pt x="3847624" y="291941"/>
                  </a:cubicBezTo>
                  <a:cubicBezTo>
                    <a:pt x="3848576" y="281464"/>
                    <a:pt x="3848576" y="271939"/>
                    <a:pt x="3849529" y="262414"/>
                  </a:cubicBezTo>
                  <a:close/>
                  <a:moveTo>
                    <a:pt x="3846671" y="308134"/>
                  </a:moveTo>
                  <a:cubicBezTo>
                    <a:pt x="3849529" y="312896"/>
                    <a:pt x="3852386" y="318611"/>
                    <a:pt x="3855244" y="323374"/>
                  </a:cubicBezTo>
                  <a:cubicBezTo>
                    <a:pt x="3855244" y="324326"/>
                    <a:pt x="3856196" y="324326"/>
                    <a:pt x="3856196" y="325279"/>
                  </a:cubicBezTo>
                  <a:cubicBezTo>
                    <a:pt x="3856196" y="326231"/>
                    <a:pt x="3855244" y="326231"/>
                    <a:pt x="3855244" y="327184"/>
                  </a:cubicBezTo>
                  <a:cubicBezTo>
                    <a:pt x="3853339" y="330041"/>
                    <a:pt x="3851434" y="333851"/>
                    <a:pt x="3849529" y="336709"/>
                  </a:cubicBezTo>
                  <a:cubicBezTo>
                    <a:pt x="3848576" y="334804"/>
                    <a:pt x="3846671" y="331946"/>
                    <a:pt x="3845719" y="330041"/>
                  </a:cubicBezTo>
                  <a:cubicBezTo>
                    <a:pt x="3845719" y="323374"/>
                    <a:pt x="3846671" y="315754"/>
                    <a:pt x="3846671" y="308134"/>
                  </a:cubicBezTo>
                  <a:close/>
                  <a:moveTo>
                    <a:pt x="3843814" y="415766"/>
                  </a:moveTo>
                  <a:cubicBezTo>
                    <a:pt x="3844766" y="413861"/>
                    <a:pt x="3845719" y="411956"/>
                    <a:pt x="3846671" y="410051"/>
                  </a:cubicBezTo>
                  <a:cubicBezTo>
                    <a:pt x="3846671" y="411956"/>
                    <a:pt x="3847624" y="414814"/>
                    <a:pt x="3847624" y="416719"/>
                  </a:cubicBezTo>
                  <a:cubicBezTo>
                    <a:pt x="3847624" y="417671"/>
                    <a:pt x="3847624" y="418624"/>
                    <a:pt x="3847624" y="419576"/>
                  </a:cubicBezTo>
                  <a:cubicBezTo>
                    <a:pt x="3847624" y="420529"/>
                    <a:pt x="3846671" y="421481"/>
                    <a:pt x="3846671" y="422434"/>
                  </a:cubicBezTo>
                  <a:cubicBezTo>
                    <a:pt x="3845719" y="423386"/>
                    <a:pt x="3845719" y="425291"/>
                    <a:pt x="3844766" y="426244"/>
                  </a:cubicBezTo>
                  <a:lnTo>
                    <a:pt x="3842861" y="426244"/>
                  </a:lnTo>
                  <a:cubicBezTo>
                    <a:pt x="3843814" y="422434"/>
                    <a:pt x="3843814" y="418624"/>
                    <a:pt x="3843814" y="415766"/>
                  </a:cubicBezTo>
                  <a:close/>
                  <a:moveTo>
                    <a:pt x="3830479" y="297656"/>
                  </a:moveTo>
                  <a:cubicBezTo>
                    <a:pt x="3830479" y="298609"/>
                    <a:pt x="3830479" y="298609"/>
                    <a:pt x="3830479" y="299561"/>
                  </a:cubicBezTo>
                  <a:cubicBezTo>
                    <a:pt x="3830479" y="300514"/>
                    <a:pt x="3830479" y="300514"/>
                    <a:pt x="3830479" y="301466"/>
                  </a:cubicBezTo>
                  <a:cubicBezTo>
                    <a:pt x="3830479" y="303371"/>
                    <a:pt x="3830479" y="305276"/>
                    <a:pt x="3829526" y="307181"/>
                  </a:cubicBezTo>
                  <a:cubicBezTo>
                    <a:pt x="3828574" y="306229"/>
                    <a:pt x="3827621" y="305276"/>
                    <a:pt x="3827621" y="304324"/>
                  </a:cubicBezTo>
                  <a:cubicBezTo>
                    <a:pt x="3828574" y="301466"/>
                    <a:pt x="3829526" y="299561"/>
                    <a:pt x="3830479" y="297656"/>
                  </a:cubicBezTo>
                  <a:close/>
                  <a:moveTo>
                    <a:pt x="3826669" y="305276"/>
                  </a:moveTo>
                  <a:cubicBezTo>
                    <a:pt x="3827621" y="306229"/>
                    <a:pt x="3827621" y="308134"/>
                    <a:pt x="3828574" y="310039"/>
                  </a:cubicBezTo>
                  <a:cubicBezTo>
                    <a:pt x="3828574" y="311944"/>
                    <a:pt x="3828574" y="312896"/>
                    <a:pt x="3827621" y="314801"/>
                  </a:cubicBezTo>
                  <a:cubicBezTo>
                    <a:pt x="3826669" y="312896"/>
                    <a:pt x="3824764" y="310991"/>
                    <a:pt x="3823811" y="309086"/>
                  </a:cubicBezTo>
                  <a:cubicBezTo>
                    <a:pt x="3825716" y="307181"/>
                    <a:pt x="3825716" y="306229"/>
                    <a:pt x="3826669" y="305276"/>
                  </a:cubicBezTo>
                  <a:close/>
                  <a:moveTo>
                    <a:pt x="3820001" y="319564"/>
                  </a:moveTo>
                  <a:cubicBezTo>
                    <a:pt x="3821906" y="323374"/>
                    <a:pt x="3823811" y="328136"/>
                    <a:pt x="3826669" y="332899"/>
                  </a:cubicBezTo>
                  <a:cubicBezTo>
                    <a:pt x="3826669" y="332899"/>
                    <a:pt x="3826669" y="333851"/>
                    <a:pt x="3827621" y="333851"/>
                  </a:cubicBezTo>
                  <a:cubicBezTo>
                    <a:pt x="3827621" y="336709"/>
                    <a:pt x="3826669" y="339566"/>
                    <a:pt x="3826669" y="343376"/>
                  </a:cubicBezTo>
                  <a:cubicBezTo>
                    <a:pt x="3825716" y="354806"/>
                    <a:pt x="3825716" y="366236"/>
                    <a:pt x="3824764" y="377666"/>
                  </a:cubicBezTo>
                  <a:cubicBezTo>
                    <a:pt x="3823811" y="372904"/>
                    <a:pt x="3821906" y="368141"/>
                    <a:pt x="3820954" y="364331"/>
                  </a:cubicBezTo>
                  <a:cubicBezTo>
                    <a:pt x="3820954" y="360521"/>
                    <a:pt x="3820001" y="356711"/>
                    <a:pt x="3820001" y="352901"/>
                  </a:cubicBezTo>
                  <a:cubicBezTo>
                    <a:pt x="3820001" y="347186"/>
                    <a:pt x="3819049" y="341471"/>
                    <a:pt x="3818096" y="336709"/>
                  </a:cubicBezTo>
                  <a:cubicBezTo>
                    <a:pt x="3820001" y="333851"/>
                    <a:pt x="3821906" y="332899"/>
                    <a:pt x="3821906" y="332899"/>
                  </a:cubicBezTo>
                  <a:cubicBezTo>
                    <a:pt x="3821906" y="332899"/>
                    <a:pt x="3820954" y="333851"/>
                    <a:pt x="3818096" y="335756"/>
                  </a:cubicBezTo>
                  <a:cubicBezTo>
                    <a:pt x="3818096" y="332899"/>
                    <a:pt x="3817144" y="329089"/>
                    <a:pt x="3817144" y="326231"/>
                  </a:cubicBezTo>
                  <a:cubicBezTo>
                    <a:pt x="3818096" y="323374"/>
                    <a:pt x="3819049" y="321469"/>
                    <a:pt x="3820001" y="319564"/>
                  </a:cubicBezTo>
                  <a:close/>
                  <a:moveTo>
                    <a:pt x="3788569" y="264319"/>
                  </a:moveTo>
                  <a:cubicBezTo>
                    <a:pt x="3789521" y="266224"/>
                    <a:pt x="3791426" y="268129"/>
                    <a:pt x="3792379" y="270986"/>
                  </a:cubicBezTo>
                  <a:cubicBezTo>
                    <a:pt x="3795236" y="274796"/>
                    <a:pt x="3798094" y="280511"/>
                    <a:pt x="3800951" y="285274"/>
                  </a:cubicBezTo>
                  <a:cubicBezTo>
                    <a:pt x="3800951" y="286226"/>
                    <a:pt x="3800951" y="286226"/>
                    <a:pt x="3800951" y="287179"/>
                  </a:cubicBezTo>
                  <a:cubicBezTo>
                    <a:pt x="3800951" y="290989"/>
                    <a:pt x="3800951" y="294799"/>
                    <a:pt x="3800951" y="298609"/>
                  </a:cubicBezTo>
                  <a:cubicBezTo>
                    <a:pt x="3800951" y="299561"/>
                    <a:pt x="3800951" y="300514"/>
                    <a:pt x="3800951" y="300514"/>
                  </a:cubicBezTo>
                  <a:cubicBezTo>
                    <a:pt x="3799999" y="295751"/>
                    <a:pt x="3798094" y="291941"/>
                    <a:pt x="3797141" y="287179"/>
                  </a:cubicBezTo>
                  <a:cubicBezTo>
                    <a:pt x="3797141" y="286226"/>
                    <a:pt x="3796189" y="285274"/>
                    <a:pt x="3796189" y="285274"/>
                  </a:cubicBezTo>
                  <a:cubicBezTo>
                    <a:pt x="3796189" y="282416"/>
                    <a:pt x="3796189" y="280511"/>
                    <a:pt x="3796189" y="280511"/>
                  </a:cubicBezTo>
                  <a:cubicBezTo>
                    <a:pt x="3796189" y="280511"/>
                    <a:pt x="3796189" y="281464"/>
                    <a:pt x="3795236" y="283369"/>
                  </a:cubicBezTo>
                  <a:cubicBezTo>
                    <a:pt x="3794284" y="279559"/>
                    <a:pt x="3792379" y="275749"/>
                    <a:pt x="3791426" y="271939"/>
                  </a:cubicBezTo>
                  <a:cubicBezTo>
                    <a:pt x="3790474" y="269081"/>
                    <a:pt x="3789521" y="266224"/>
                    <a:pt x="3788569" y="264319"/>
                  </a:cubicBezTo>
                  <a:close/>
                  <a:moveTo>
                    <a:pt x="3748564" y="364331"/>
                  </a:moveTo>
                  <a:cubicBezTo>
                    <a:pt x="3748564" y="359569"/>
                    <a:pt x="3748564" y="355759"/>
                    <a:pt x="3748564" y="351949"/>
                  </a:cubicBezTo>
                  <a:cubicBezTo>
                    <a:pt x="3749516" y="353854"/>
                    <a:pt x="3749516" y="355759"/>
                    <a:pt x="3750469" y="358616"/>
                  </a:cubicBezTo>
                  <a:cubicBezTo>
                    <a:pt x="3749516" y="359569"/>
                    <a:pt x="3749516" y="361474"/>
                    <a:pt x="3748564" y="364331"/>
                  </a:cubicBezTo>
                  <a:close/>
                  <a:moveTo>
                    <a:pt x="3762851" y="399574"/>
                  </a:moveTo>
                  <a:cubicBezTo>
                    <a:pt x="3761899" y="401479"/>
                    <a:pt x="3760946" y="403384"/>
                    <a:pt x="3759994" y="405289"/>
                  </a:cubicBezTo>
                  <a:cubicBezTo>
                    <a:pt x="3759994" y="400526"/>
                    <a:pt x="3760946" y="395764"/>
                    <a:pt x="3760946" y="391954"/>
                  </a:cubicBezTo>
                  <a:cubicBezTo>
                    <a:pt x="3760946" y="391954"/>
                    <a:pt x="3760946" y="391001"/>
                    <a:pt x="3760946" y="391001"/>
                  </a:cubicBezTo>
                  <a:cubicBezTo>
                    <a:pt x="3761899" y="392906"/>
                    <a:pt x="3761899" y="394811"/>
                    <a:pt x="3762851" y="396716"/>
                  </a:cubicBezTo>
                  <a:cubicBezTo>
                    <a:pt x="3763804" y="397669"/>
                    <a:pt x="3762851" y="398621"/>
                    <a:pt x="3762851" y="399574"/>
                  </a:cubicBezTo>
                  <a:close/>
                  <a:moveTo>
                    <a:pt x="3770471" y="290036"/>
                  </a:moveTo>
                  <a:cubicBezTo>
                    <a:pt x="3772376" y="296704"/>
                    <a:pt x="3773329" y="302419"/>
                    <a:pt x="3775234" y="309086"/>
                  </a:cubicBezTo>
                  <a:cubicBezTo>
                    <a:pt x="3774281" y="306229"/>
                    <a:pt x="3773329" y="304324"/>
                    <a:pt x="3771424" y="301466"/>
                  </a:cubicBezTo>
                  <a:cubicBezTo>
                    <a:pt x="3771424" y="300514"/>
                    <a:pt x="3770471" y="300514"/>
                    <a:pt x="3770471" y="299561"/>
                  </a:cubicBezTo>
                  <a:cubicBezTo>
                    <a:pt x="3770471" y="296704"/>
                    <a:pt x="3770471" y="293846"/>
                    <a:pt x="3770471" y="290989"/>
                  </a:cubicBezTo>
                  <a:cubicBezTo>
                    <a:pt x="3770471" y="290989"/>
                    <a:pt x="3770471" y="290036"/>
                    <a:pt x="3770471" y="290036"/>
                  </a:cubicBezTo>
                  <a:close/>
                  <a:moveTo>
                    <a:pt x="3769519" y="370046"/>
                  </a:moveTo>
                  <a:cubicBezTo>
                    <a:pt x="3769519" y="370999"/>
                    <a:pt x="3769519" y="371951"/>
                    <a:pt x="3770471" y="372904"/>
                  </a:cubicBezTo>
                  <a:cubicBezTo>
                    <a:pt x="3769519" y="370999"/>
                    <a:pt x="3768566" y="369094"/>
                    <a:pt x="3767614" y="366236"/>
                  </a:cubicBezTo>
                  <a:cubicBezTo>
                    <a:pt x="3767614" y="362426"/>
                    <a:pt x="3767614" y="359569"/>
                    <a:pt x="3767614" y="359569"/>
                  </a:cubicBezTo>
                  <a:cubicBezTo>
                    <a:pt x="3767614" y="359569"/>
                    <a:pt x="3767614" y="361474"/>
                    <a:pt x="3766661" y="364331"/>
                  </a:cubicBezTo>
                  <a:cubicBezTo>
                    <a:pt x="3765709" y="363379"/>
                    <a:pt x="3765709" y="361474"/>
                    <a:pt x="3764756" y="360521"/>
                  </a:cubicBezTo>
                  <a:cubicBezTo>
                    <a:pt x="3764756" y="359569"/>
                    <a:pt x="3764756" y="358616"/>
                    <a:pt x="3764756" y="357664"/>
                  </a:cubicBezTo>
                  <a:cubicBezTo>
                    <a:pt x="3764756" y="355759"/>
                    <a:pt x="3765709" y="353854"/>
                    <a:pt x="3765709" y="351949"/>
                  </a:cubicBezTo>
                  <a:cubicBezTo>
                    <a:pt x="3767614" y="358616"/>
                    <a:pt x="3768566" y="364331"/>
                    <a:pt x="3769519" y="370046"/>
                  </a:cubicBezTo>
                  <a:close/>
                  <a:moveTo>
                    <a:pt x="3753326" y="250031"/>
                  </a:moveTo>
                  <a:cubicBezTo>
                    <a:pt x="3754279" y="245269"/>
                    <a:pt x="3754279" y="241459"/>
                    <a:pt x="3755231" y="236696"/>
                  </a:cubicBezTo>
                  <a:cubicBezTo>
                    <a:pt x="3755231" y="235744"/>
                    <a:pt x="3755231" y="233839"/>
                    <a:pt x="3756184" y="232886"/>
                  </a:cubicBezTo>
                  <a:cubicBezTo>
                    <a:pt x="3757136" y="231934"/>
                    <a:pt x="3757136" y="230981"/>
                    <a:pt x="3758089" y="230029"/>
                  </a:cubicBezTo>
                  <a:cubicBezTo>
                    <a:pt x="3759041" y="232886"/>
                    <a:pt x="3759041" y="234791"/>
                    <a:pt x="3759994" y="237649"/>
                  </a:cubicBezTo>
                  <a:cubicBezTo>
                    <a:pt x="3762851" y="250984"/>
                    <a:pt x="3766661" y="266224"/>
                    <a:pt x="3769519" y="281464"/>
                  </a:cubicBezTo>
                  <a:cubicBezTo>
                    <a:pt x="3768566" y="284321"/>
                    <a:pt x="3768566" y="287179"/>
                    <a:pt x="3767614" y="290036"/>
                  </a:cubicBezTo>
                  <a:cubicBezTo>
                    <a:pt x="3767614" y="290036"/>
                    <a:pt x="3767614" y="290036"/>
                    <a:pt x="3767614" y="290989"/>
                  </a:cubicBezTo>
                  <a:cubicBezTo>
                    <a:pt x="3762851" y="280511"/>
                    <a:pt x="3757136" y="270986"/>
                    <a:pt x="3752374" y="261461"/>
                  </a:cubicBezTo>
                  <a:cubicBezTo>
                    <a:pt x="3752374" y="258604"/>
                    <a:pt x="3752374" y="253841"/>
                    <a:pt x="3753326" y="250031"/>
                  </a:cubicBezTo>
                  <a:close/>
                  <a:moveTo>
                    <a:pt x="3748564" y="296704"/>
                  </a:moveTo>
                  <a:cubicBezTo>
                    <a:pt x="3748564" y="296704"/>
                    <a:pt x="3748564" y="296704"/>
                    <a:pt x="3748564" y="296704"/>
                  </a:cubicBezTo>
                  <a:cubicBezTo>
                    <a:pt x="3751421" y="301466"/>
                    <a:pt x="3753326" y="307181"/>
                    <a:pt x="3756184" y="313849"/>
                  </a:cubicBezTo>
                  <a:cubicBezTo>
                    <a:pt x="3756184" y="314801"/>
                    <a:pt x="3757136" y="315754"/>
                    <a:pt x="3757136" y="316706"/>
                  </a:cubicBezTo>
                  <a:cubicBezTo>
                    <a:pt x="3758089" y="318611"/>
                    <a:pt x="3758089" y="321469"/>
                    <a:pt x="3759041" y="323374"/>
                  </a:cubicBezTo>
                  <a:cubicBezTo>
                    <a:pt x="3758089" y="325279"/>
                    <a:pt x="3758089" y="328136"/>
                    <a:pt x="3757136" y="330041"/>
                  </a:cubicBezTo>
                  <a:cubicBezTo>
                    <a:pt x="3756184" y="333851"/>
                    <a:pt x="3755231" y="337661"/>
                    <a:pt x="3754279" y="341471"/>
                  </a:cubicBezTo>
                  <a:cubicBezTo>
                    <a:pt x="3753326" y="339566"/>
                    <a:pt x="3751421" y="337661"/>
                    <a:pt x="3750469" y="335756"/>
                  </a:cubicBezTo>
                  <a:cubicBezTo>
                    <a:pt x="3749516" y="333851"/>
                    <a:pt x="3748564" y="332899"/>
                    <a:pt x="3747611" y="331946"/>
                  </a:cubicBezTo>
                  <a:cubicBezTo>
                    <a:pt x="3748564" y="320516"/>
                    <a:pt x="3748564" y="308134"/>
                    <a:pt x="3748564" y="296704"/>
                  </a:cubicBezTo>
                  <a:close/>
                  <a:moveTo>
                    <a:pt x="3738086" y="273844"/>
                  </a:moveTo>
                  <a:cubicBezTo>
                    <a:pt x="3738086" y="273844"/>
                    <a:pt x="3738086" y="273844"/>
                    <a:pt x="3738086" y="273844"/>
                  </a:cubicBezTo>
                  <a:cubicBezTo>
                    <a:pt x="3738086" y="274796"/>
                    <a:pt x="3738086" y="274796"/>
                    <a:pt x="3738086" y="274796"/>
                  </a:cubicBezTo>
                  <a:cubicBezTo>
                    <a:pt x="3738086" y="273844"/>
                    <a:pt x="3738086" y="273844"/>
                    <a:pt x="3738086" y="273844"/>
                  </a:cubicBezTo>
                  <a:close/>
                  <a:moveTo>
                    <a:pt x="3689509" y="326231"/>
                  </a:moveTo>
                  <a:cubicBezTo>
                    <a:pt x="3688556" y="328136"/>
                    <a:pt x="3687604" y="330041"/>
                    <a:pt x="3686651" y="331946"/>
                  </a:cubicBezTo>
                  <a:cubicBezTo>
                    <a:pt x="3686651" y="331946"/>
                    <a:pt x="3686651" y="330994"/>
                    <a:pt x="3685699" y="330994"/>
                  </a:cubicBezTo>
                  <a:cubicBezTo>
                    <a:pt x="3685699" y="328136"/>
                    <a:pt x="3685699" y="325279"/>
                    <a:pt x="3685699" y="322421"/>
                  </a:cubicBezTo>
                  <a:cubicBezTo>
                    <a:pt x="3685699" y="319564"/>
                    <a:pt x="3685699" y="316706"/>
                    <a:pt x="3685699" y="313849"/>
                  </a:cubicBezTo>
                  <a:cubicBezTo>
                    <a:pt x="3686651" y="316706"/>
                    <a:pt x="3688556" y="320516"/>
                    <a:pt x="3689509" y="325279"/>
                  </a:cubicBezTo>
                  <a:cubicBezTo>
                    <a:pt x="3689509" y="326231"/>
                    <a:pt x="3689509" y="326231"/>
                    <a:pt x="3689509" y="326231"/>
                  </a:cubicBezTo>
                  <a:close/>
                  <a:moveTo>
                    <a:pt x="3716179" y="211931"/>
                  </a:moveTo>
                  <a:cubicBezTo>
                    <a:pt x="3718084" y="214789"/>
                    <a:pt x="3719036" y="218599"/>
                    <a:pt x="3720941" y="221456"/>
                  </a:cubicBezTo>
                  <a:cubicBezTo>
                    <a:pt x="3719989" y="224314"/>
                    <a:pt x="3719989" y="227171"/>
                    <a:pt x="3719036" y="230029"/>
                  </a:cubicBezTo>
                  <a:cubicBezTo>
                    <a:pt x="3719036" y="230981"/>
                    <a:pt x="3719036" y="232886"/>
                    <a:pt x="3718084" y="233839"/>
                  </a:cubicBezTo>
                  <a:cubicBezTo>
                    <a:pt x="3715226" y="230029"/>
                    <a:pt x="3713321" y="228124"/>
                    <a:pt x="3713321" y="228124"/>
                  </a:cubicBezTo>
                  <a:cubicBezTo>
                    <a:pt x="3713321" y="228124"/>
                    <a:pt x="3715226" y="230981"/>
                    <a:pt x="3717131" y="235744"/>
                  </a:cubicBezTo>
                  <a:cubicBezTo>
                    <a:pt x="3716179" y="241459"/>
                    <a:pt x="3715226" y="247174"/>
                    <a:pt x="3714274" y="253841"/>
                  </a:cubicBezTo>
                  <a:cubicBezTo>
                    <a:pt x="3714274" y="252889"/>
                    <a:pt x="3714274" y="251936"/>
                    <a:pt x="3714274" y="250984"/>
                  </a:cubicBezTo>
                  <a:cubicBezTo>
                    <a:pt x="3714274" y="246221"/>
                    <a:pt x="3713321" y="242411"/>
                    <a:pt x="3713321" y="238601"/>
                  </a:cubicBezTo>
                  <a:cubicBezTo>
                    <a:pt x="3713321" y="234791"/>
                    <a:pt x="3713321" y="230981"/>
                    <a:pt x="3713321" y="227171"/>
                  </a:cubicBezTo>
                  <a:cubicBezTo>
                    <a:pt x="3713321" y="219551"/>
                    <a:pt x="3712369" y="213836"/>
                    <a:pt x="3712369" y="208121"/>
                  </a:cubicBezTo>
                  <a:cubicBezTo>
                    <a:pt x="3712369" y="207169"/>
                    <a:pt x="3712369" y="206216"/>
                    <a:pt x="3712369" y="205264"/>
                  </a:cubicBezTo>
                  <a:cubicBezTo>
                    <a:pt x="3713321" y="207169"/>
                    <a:pt x="3714274" y="209074"/>
                    <a:pt x="3716179" y="211931"/>
                  </a:cubicBezTo>
                  <a:close/>
                  <a:moveTo>
                    <a:pt x="3679984" y="236696"/>
                  </a:moveTo>
                  <a:cubicBezTo>
                    <a:pt x="3681889" y="222409"/>
                    <a:pt x="3683794" y="209074"/>
                    <a:pt x="3684746" y="196691"/>
                  </a:cubicBezTo>
                  <a:cubicBezTo>
                    <a:pt x="3685699" y="185261"/>
                    <a:pt x="3687604" y="174784"/>
                    <a:pt x="3687604" y="166211"/>
                  </a:cubicBezTo>
                  <a:cubicBezTo>
                    <a:pt x="3687604" y="161449"/>
                    <a:pt x="3688556" y="157639"/>
                    <a:pt x="3688556" y="154781"/>
                  </a:cubicBezTo>
                  <a:cubicBezTo>
                    <a:pt x="3690461" y="159544"/>
                    <a:pt x="3694271" y="168116"/>
                    <a:pt x="3699034" y="178594"/>
                  </a:cubicBezTo>
                  <a:cubicBezTo>
                    <a:pt x="3701891" y="184309"/>
                    <a:pt x="3704749" y="191929"/>
                    <a:pt x="3708559" y="199549"/>
                  </a:cubicBezTo>
                  <a:cubicBezTo>
                    <a:pt x="3708559" y="201454"/>
                    <a:pt x="3707606" y="204311"/>
                    <a:pt x="3707606" y="207169"/>
                  </a:cubicBezTo>
                  <a:cubicBezTo>
                    <a:pt x="3706654" y="211931"/>
                    <a:pt x="3705701" y="218599"/>
                    <a:pt x="3704749" y="226219"/>
                  </a:cubicBezTo>
                  <a:cubicBezTo>
                    <a:pt x="3703796" y="230029"/>
                    <a:pt x="3703796" y="233839"/>
                    <a:pt x="3702844" y="237649"/>
                  </a:cubicBezTo>
                  <a:cubicBezTo>
                    <a:pt x="3702844" y="241459"/>
                    <a:pt x="3701891" y="246221"/>
                    <a:pt x="3701891" y="250984"/>
                  </a:cubicBezTo>
                  <a:cubicBezTo>
                    <a:pt x="3700939" y="259556"/>
                    <a:pt x="3700939" y="270034"/>
                    <a:pt x="3700939" y="280511"/>
                  </a:cubicBezTo>
                  <a:cubicBezTo>
                    <a:pt x="3700939" y="287179"/>
                    <a:pt x="3700939" y="293846"/>
                    <a:pt x="3700939" y="300514"/>
                  </a:cubicBezTo>
                  <a:cubicBezTo>
                    <a:pt x="3699034" y="293846"/>
                    <a:pt x="3697129" y="290036"/>
                    <a:pt x="3697129" y="290036"/>
                  </a:cubicBezTo>
                  <a:cubicBezTo>
                    <a:pt x="3697129" y="290036"/>
                    <a:pt x="3698081" y="296704"/>
                    <a:pt x="3699034" y="308134"/>
                  </a:cubicBezTo>
                  <a:cubicBezTo>
                    <a:pt x="3696176" y="312896"/>
                    <a:pt x="3693319" y="317659"/>
                    <a:pt x="3690461" y="322421"/>
                  </a:cubicBezTo>
                  <a:cubicBezTo>
                    <a:pt x="3687604" y="317659"/>
                    <a:pt x="3685699" y="313849"/>
                    <a:pt x="3683794" y="310991"/>
                  </a:cubicBezTo>
                  <a:cubicBezTo>
                    <a:pt x="3683794" y="305276"/>
                    <a:pt x="3683794" y="302419"/>
                    <a:pt x="3683794" y="302419"/>
                  </a:cubicBezTo>
                  <a:cubicBezTo>
                    <a:pt x="3683794" y="302419"/>
                    <a:pt x="3683794" y="304324"/>
                    <a:pt x="3682841" y="308134"/>
                  </a:cubicBezTo>
                  <a:cubicBezTo>
                    <a:pt x="3680936" y="304324"/>
                    <a:pt x="3679031" y="302419"/>
                    <a:pt x="3679031" y="302419"/>
                  </a:cubicBezTo>
                  <a:cubicBezTo>
                    <a:pt x="3679031" y="302419"/>
                    <a:pt x="3679984" y="305276"/>
                    <a:pt x="3681889" y="310991"/>
                  </a:cubicBezTo>
                  <a:cubicBezTo>
                    <a:pt x="3680936" y="313849"/>
                    <a:pt x="3680936" y="318611"/>
                    <a:pt x="3679984" y="323374"/>
                  </a:cubicBezTo>
                  <a:cubicBezTo>
                    <a:pt x="3677126" y="317659"/>
                    <a:pt x="3675221" y="311944"/>
                    <a:pt x="3672364" y="307181"/>
                  </a:cubicBezTo>
                  <a:cubicBezTo>
                    <a:pt x="3674269" y="300514"/>
                    <a:pt x="3676174" y="294799"/>
                    <a:pt x="3677126" y="289084"/>
                  </a:cubicBezTo>
                  <a:cubicBezTo>
                    <a:pt x="3679031" y="283369"/>
                    <a:pt x="3680936" y="277654"/>
                    <a:pt x="3681889" y="272891"/>
                  </a:cubicBezTo>
                  <a:cubicBezTo>
                    <a:pt x="3683794" y="268129"/>
                    <a:pt x="3685699" y="264319"/>
                    <a:pt x="3686651" y="260509"/>
                  </a:cubicBezTo>
                  <a:cubicBezTo>
                    <a:pt x="3690461" y="253841"/>
                    <a:pt x="3692366" y="250031"/>
                    <a:pt x="3692366" y="250031"/>
                  </a:cubicBezTo>
                  <a:cubicBezTo>
                    <a:pt x="3692366" y="250031"/>
                    <a:pt x="3689509" y="252889"/>
                    <a:pt x="3683794" y="258604"/>
                  </a:cubicBezTo>
                  <a:cubicBezTo>
                    <a:pt x="3680936" y="261461"/>
                    <a:pt x="3678079" y="265271"/>
                    <a:pt x="3675221" y="270034"/>
                  </a:cubicBezTo>
                  <a:cubicBezTo>
                    <a:pt x="3674269" y="271939"/>
                    <a:pt x="3673316" y="273844"/>
                    <a:pt x="3671411" y="275749"/>
                  </a:cubicBezTo>
                  <a:cubicBezTo>
                    <a:pt x="3677126" y="261461"/>
                    <a:pt x="3679031" y="248126"/>
                    <a:pt x="3679984" y="236696"/>
                  </a:cubicBezTo>
                  <a:close/>
                  <a:moveTo>
                    <a:pt x="3678079" y="342424"/>
                  </a:moveTo>
                  <a:cubicBezTo>
                    <a:pt x="3678079" y="344329"/>
                    <a:pt x="3677126" y="346234"/>
                    <a:pt x="3677126" y="349091"/>
                  </a:cubicBezTo>
                  <a:cubicBezTo>
                    <a:pt x="3677126" y="347186"/>
                    <a:pt x="3676174" y="345281"/>
                    <a:pt x="3676174" y="343376"/>
                  </a:cubicBezTo>
                  <a:cubicBezTo>
                    <a:pt x="3675221" y="340519"/>
                    <a:pt x="3675221" y="337661"/>
                    <a:pt x="3674269" y="335756"/>
                  </a:cubicBezTo>
                  <a:cubicBezTo>
                    <a:pt x="3675221" y="337661"/>
                    <a:pt x="3676174" y="340519"/>
                    <a:pt x="3678079" y="342424"/>
                  </a:cubicBezTo>
                  <a:close/>
                  <a:moveTo>
                    <a:pt x="3664744" y="355759"/>
                  </a:moveTo>
                  <a:cubicBezTo>
                    <a:pt x="3664744" y="357664"/>
                    <a:pt x="3664744" y="360521"/>
                    <a:pt x="3664744" y="362426"/>
                  </a:cubicBezTo>
                  <a:cubicBezTo>
                    <a:pt x="3664744" y="365284"/>
                    <a:pt x="3663791" y="368141"/>
                    <a:pt x="3663791" y="371951"/>
                  </a:cubicBezTo>
                  <a:cubicBezTo>
                    <a:pt x="3663791" y="371951"/>
                    <a:pt x="3663791" y="371951"/>
                    <a:pt x="3663791" y="371951"/>
                  </a:cubicBezTo>
                  <a:cubicBezTo>
                    <a:pt x="3663791" y="370046"/>
                    <a:pt x="3662839" y="368141"/>
                    <a:pt x="3662839" y="367189"/>
                  </a:cubicBezTo>
                  <a:cubicBezTo>
                    <a:pt x="3662839" y="367189"/>
                    <a:pt x="3662839" y="367189"/>
                    <a:pt x="3662839" y="366236"/>
                  </a:cubicBezTo>
                  <a:cubicBezTo>
                    <a:pt x="3663791" y="363379"/>
                    <a:pt x="3664744" y="359569"/>
                    <a:pt x="3664744" y="355759"/>
                  </a:cubicBezTo>
                  <a:close/>
                  <a:moveTo>
                    <a:pt x="3603784" y="369094"/>
                  </a:moveTo>
                  <a:cubicBezTo>
                    <a:pt x="3603784" y="367189"/>
                    <a:pt x="3602831" y="365284"/>
                    <a:pt x="3602831" y="363379"/>
                  </a:cubicBezTo>
                  <a:cubicBezTo>
                    <a:pt x="3603784" y="359569"/>
                    <a:pt x="3604736" y="355759"/>
                    <a:pt x="3605689" y="352901"/>
                  </a:cubicBezTo>
                  <a:cubicBezTo>
                    <a:pt x="3605689" y="351949"/>
                    <a:pt x="3606641" y="350996"/>
                    <a:pt x="3606641" y="350044"/>
                  </a:cubicBezTo>
                  <a:cubicBezTo>
                    <a:pt x="3606641" y="350996"/>
                    <a:pt x="3607594" y="351949"/>
                    <a:pt x="3607594" y="352901"/>
                  </a:cubicBezTo>
                  <a:lnTo>
                    <a:pt x="3607594" y="353854"/>
                  </a:lnTo>
                  <a:cubicBezTo>
                    <a:pt x="3605689" y="358616"/>
                    <a:pt x="3604736" y="364331"/>
                    <a:pt x="3603784" y="369094"/>
                  </a:cubicBezTo>
                  <a:close/>
                  <a:moveTo>
                    <a:pt x="3612356" y="329089"/>
                  </a:moveTo>
                  <a:cubicBezTo>
                    <a:pt x="3612356" y="329089"/>
                    <a:pt x="3611404" y="328136"/>
                    <a:pt x="3611404" y="327184"/>
                  </a:cubicBezTo>
                  <a:cubicBezTo>
                    <a:pt x="3611404" y="325279"/>
                    <a:pt x="3611404" y="323374"/>
                    <a:pt x="3610451" y="321469"/>
                  </a:cubicBezTo>
                  <a:cubicBezTo>
                    <a:pt x="3611404" y="322421"/>
                    <a:pt x="3612356" y="323374"/>
                    <a:pt x="3613309" y="324326"/>
                  </a:cubicBezTo>
                  <a:cubicBezTo>
                    <a:pt x="3613309" y="326231"/>
                    <a:pt x="3612356" y="327184"/>
                    <a:pt x="3612356" y="329089"/>
                  </a:cubicBezTo>
                  <a:close/>
                  <a:moveTo>
                    <a:pt x="3633311" y="366236"/>
                  </a:moveTo>
                  <a:cubicBezTo>
                    <a:pt x="3632359" y="363379"/>
                    <a:pt x="3630454" y="361474"/>
                    <a:pt x="3629501" y="358616"/>
                  </a:cubicBezTo>
                  <a:cubicBezTo>
                    <a:pt x="3629501" y="357664"/>
                    <a:pt x="3629501" y="355759"/>
                    <a:pt x="3629501" y="354806"/>
                  </a:cubicBezTo>
                  <a:cubicBezTo>
                    <a:pt x="3631406" y="357664"/>
                    <a:pt x="3632359" y="361474"/>
                    <a:pt x="3633311" y="366236"/>
                  </a:cubicBezTo>
                  <a:cubicBezTo>
                    <a:pt x="3633311" y="366236"/>
                    <a:pt x="3634264" y="366236"/>
                    <a:pt x="3633311" y="366236"/>
                  </a:cubicBezTo>
                  <a:cubicBezTo>
                    <a:pt x="3634264" y="366236"/>
                    <a:pt x="3633311" y="366236"/>
                    <a:pt x="3633311" y="366236"/>
                  </a:cubicBezTo>
                  <a:close/>
                  <a:moveTo>
                    <a:pt x="3632359" y="331946"/>
                  </a:moveTo>
                  <a:cubicBezTo>
                    <a:pt x="3633311" y="336709"/>
                    <a:pt x="3634264" y="342424"/>
                    <a:pt x="3635216" y="348139"/>
                  </a:cubicBezTo>
                  <a:cubicBezTo>
                    <a:pt x="3634264" y="346234"/>
                    <a:pt x="3632359" y="343376"/>
                    <a:pt x="3631406" y="341471"/>
                  </a:cubicBezTo>
                  <a:cubicBezTo>
                    <a:pt x="3631406" y="337661"/>
                    <a:pt x="3631406" y="334804"/>
                    <a:pt x="3632359" y="331946"/>
                  </a:cubicBezTo>
                  <a:close/>
                  <a:moveTo>
                    <a:pt x="3618071" y="270034"/>
                  </a:moveTo>
                  <a:cubicBezTo>
                    <a:pt x="3621881" y="261461"/>
                    <a:pt x="3624739" y="252889"/>
                    <a:pt x="3628549" y="246221"/>
                  </a:cubicBezTo>
                  <a:cubicBezTo>
                    <a:pt x="3629501" y="244316"/>
                    <a:pt x="3629501" y="243364"/>
                    <a:pt x="3630454" y="242411"/>
                  </a:cubicBezTo>
                  <a:cubicBezTo>
                    <a:pt x="3629501" y="249079"/>
                    <a:pt x="3627596" y="256699"/>
                    <a:pt x="3625691" y="265271"/>
                  </a:cubicBezTo>
                  <a:cubicBezTo>
                    <a:pt x="3623786" y="267176"/>
                    <a:pt x="3620929" y="269081"/>
                    <a:pt x="3618071" y="271939"/>
                  </a:cubicBezTo>
                  <a:cubicBezTo>
                    <a:pt x="3618071" y="270986"/>
                    <a:pt x="3618071" y="270034"/>
                    <a:pt x="3618071" y="270034"/>
                  </a:cubicBezTo>
                  <a:close/>
                  <a:moveTo>
                    <a:pt x="3601879" y="310039"/>
                  </a:moveTo>
                  <a:cubicBezTo>
                    <a:pt x="3603784" y="306229"/>
                    <a:pt x="3604736" y="302419"/>
                    <a:pt x="3606641" y="298609"/>
                  </a:cubicBezTo>
                  <a:cubicBezTo>
                    <a:pt x="3609499" y="291941"/>
                    <a:pt x="3612356" y="285274"/>
                    <a:pt x="3615214" y="278606"/>
                  </a:cubicBezTo>
                  <a:cubicBezTo>
                    <a:pt x="3617119" y="276701"/>
                    <a:pt x="3619024" y="273844"/>
                    <a:pt x="3619976" y="271939"/>
                  </a:cubicBezTo>
                  <a:cubicBezTo>
                    <a:pt x="3621881" y="270034"/>
                    <a:pt x="3623786" y="268129"/>
                    <a:pt x="3625691" y="266224"/>
                  </a:cubicBezTo>
                  <a:cubicBezTo>
                    <a:pt x="3625691" y="268129"/>
                    <a:pt x="3624739" y="269081"/>
                    <a:pt x="3624739" y="270986"/>
                  </a:cubicBezTo>
                  <a:cubicBezTo>
                    <a:pt x="3621881" y="282416"/>
                    <a:pt x="3619976" y="295751"/>
                    <a:pt x="3617119" y="309086"/>
                  </a:cubicBezTo>
                  <a:cubicBezTo>
                    <a:pt x="3616166" y="312896"/>
                    <a:pt x="3615214" y="317659"/>
                    <a:pt x="3614261" y="322421"/>
                  </a:cubicBezTo>
                  <a:cubicBezTo>
                    <a:pt x="3613309" y="321469"/>
                    <a:pt x="3612356" y="320516"/>
                    <a:pt x="3611404" y="320516"/>
                  </a:cubicBezTo>
                  <a:cubicBezTo>
                    <a:pt x="3610451" y="312896"/>
                    <a:pt x="3610451" y="306229"/>
                    <a:pt x="3609499" y="298609"/>
                  </a:cubicBezTo>
                  <a:cubicBezTo>
                    <a:pt x="3609499" y="305276"/>
                    <a:pt x="3608546" y="311944"/>
                    <a:pt x="3608546" y="318611"/>
                  </a:cubicBezTo>
                  <a:cubicBezTo>
                    <a:pt x="3607594" y="318611"/>
                    <a:pt x="3606641" y="317659"/>
                    <a:pt x="3606641" y="317659"/>
                  </a:cubicBezTo>
                  <a:cubicBezTo>
                    <a:pt x="3607594" y="318611"/>
                    <a:pt x="3608546" y="318611"/>
                    <a:pt x="3608546" y="319564"/>
                  </a:cubicBezTo>
                  <a:cubicBezTo>
                    <a:pt x="3608546" y="320516"/>
                    <a:pt x="3608546" y="321469"/>
                    <a:pt x="3608546" y="322421"/>
                  </a:cubicBezTo>
                  <a:cubicBezTo>
                    <a:pt x="3606641" y="318611"/>
                    <a:pt x="3604736" y="315754"/>
                    <a:pt x="3602831" y="312896"/>
                  </a:cubicBezTo>
                  <a:cubicBezTo>
                    <a:pt x="3601879" y="310991"/>
                    <a:pt x="3601879" y="310039"/>
                    <a:pt x="3601879" y="310039"/>
                  </a:cubicBezTo>
                  <a:close/>
                  <a:moveTo>
                    <a:pt x="3600926" y="335756"/>
                  </a:moveTo>
                  <a:cubicBezTo>
                    <a:pt x="3601879" y="339566"/>
                    <a:pt x="3603784" y="342424"/>
                    <a:pt x="3604736" y="346234"/>
                  </a:cubicBezTo>
                  <a:cubicBezTo>
                    <a:pt x="3603784" y="348139"/>
                    <a:pt x="3602831" y="350044"/>
                    <a:pt x="3601879" y="351949"/>
                  </a:cubicBezTo>
                  <a:cubicBezTo>
                    <a:pt x="3601879" y="351949"/>
                    <a:pt x="3601879" y="352901"/>
                    <a:pt x="3600926" y="352901"/>
                  </a:cubicBezTo>
                  <a:cubicBezTo>
                    <a:pt x="3600926" y="350044"/>
                    <a:pt x="3599974" y="348139"/>
                    <a:pt x="3599974" y="345281"/>
                  </a:cubicBezTo>
                  <a:cubicBezTo>
                    <a:pt x="3599974" y="342424"/>
                    <a:pt x="3600926" y="338614"/>
                    <a:pt x="3600926" y="335756"/>
                  </a:cubicBezTo>
                  <a:close/>
                  <a:moveTo>
                    <a:pt x="3556159" y="342424"/>
                  </a:moveTo>
                  <a:cubicBezTo>
                    <a:pt x="3556159" y="335756"/>
                    <a:pt x="3557111" y="330041"/>
                    <a:pt x="3557111" y="324326"/>
                  </a:cubicBezTo>
                  <a:cubicBezTo>
                    <a:pt x="3557111" y="325279"/>
                    <a:pt x="3558064" y="327184"/>
                    <a:pt x="3558064" y="328136"/>
                  </a:cubicBezTo>
                  <a:cubicBezTo>
                    <a:pt x="3558064" y="330041"/>
                    <a:pt x="3559016" y="331946"/>
                    <a:pt x="3559016" y="333851"/>
                  </a:cubicBezTo>
                  <a:cubicBezTo>
                    <a:pt x="3559016" y="333851"/>
                    <a:pt x="3559016" y="334804"/>
                    <a:pt x="3559016" y="334804"/>
                  </a:cubicBezTo>
                  <a:cubicBezTo>
                    <a:pt x="3558064" y="337661"/>
                    <a:pt x="3557111" y="339566"/>
                    <a:pt x="3556159" y="342424"/>
                  </a:cubicBezTo>
                  <a:close/>
                  <a:moveTo>
                    <a:pt x="3559969" y="279559"/>
                  </a:moveTo>
                  <a:cubicBezTo>
                    <a:pt x="3559016" y="277654"/>
                    <a:pt x="3559016" y="276701"/>
                    <a:pt x="3559016" y="274796"/>
                  </a:cubicBezTo>
                  <a:cubicBezTo>
                    <a:pt x="3559969" y="275749"/>
                    <a:pt x="3560921" y="275749"/>
                    <a:pt x="3561874" y="276701"/>
                  </a:cubicBezTo>
                  <a:cubicBezTo>
                    <a:pt x="3563779" y="277654"/>
                    <a:pt x="3564731" y="278606"/>
                    <a:pt x="3566636" y="280511"/>
                  </a:cubicBezTo>
                  <a:cubicBezTo>
                    <a:pt x="3565684" y="282416"/>
                    <a:pt x="3563779" y="284321"/>
                    <a:pt x="3562826" y="287179"/>
                  </a:cubicBezTo>
                  <a:cubicBezTo>
                    <a:pt x="3561874" y="285274"/>
                    <a:pt x="3560921" y="282416"/>
                    <a:pt x="3559969" y="279559"/>
                  </a:cubicBezTo>
                  <a:close/>
                  <a:moveTo>
                    <a:pt x="3571399" y="287179"/>
                  </a:moveTo>
                  <a:cubicBezTo>
                    <a:pt x="3571399" y="294799"/>
                    <a:pt x="3571399" y="303371"/>
                    <a:pt x="3571399" y="311944"/>
                  </a:cubicBezTo>
                  <a:cubicBezTo>
                    <a:pt x="3570446" y="312896"/>
                    <a:pt x="3570446" y="313849"/>
                    <a:pt x="3569494" y="314801"/>
                  </a:cubicBezTo>
                  <a:cubicBezTo>
                    <a:pt x="3567589" y="307181"/>
                    <a:pt x="3565684" y="299561"/>
                    <a:pt x="3562826" y="292894"/>
                  </a:cubicBezTo>
                  <a:cubicBezTo>
                    <a:pt x="3563779" y="289084"/>
                    <a:pt x="3565684" y="285274"/>
                    <a:pt x="3566636" y="282416"/>
                  </a:cubicBezTo>
                  <a:cubicBezTo>
                    <a:pt x="3568541" y="283369"/>
                    <a:pt x="3570446" y="284321"/>
                    <a:pt x="3571399" y="287179"/>
                  </a:cubicBezTo>
                  <a:cubicBezTo>
                    <a:pt x="3571399" y="286226"/>
                    <a:pt x="3571399" y="286226"/>
                    <a:pt x="3571399" y="287179"/>
                  </a:cubicBezTo>
                  <a:close/>
                  <a:moveTo>
                    <a:pt x="3571399" y="281464"/>
                  </a:moveTo>
                  <a:cubicBezTo>
                    <a:pt x="3570446" y="280511"/>
                    <a:pt x="3569494" y="280511"/>
                    <a:pt x="3568541" y="279559"/>
                  </a:cubicBezTo>
                  <a:cubicBezTo>
                    <a:pt x="3568541" y="279559"/>
                    <a:pt x="3568541" y="279559"/>
                    <a:pt x="3568541" y="279559"/>
                  </a:cubicBezTo>
                  <a:cubicBezTo>
                    <a:pt x="3570446" y="276701"/>
                    <a:pt x="3571399" y="274796"/>
                    <a:pt x="3571399" y="273844"/>
                  </a:cubicBezTo>
                  <a:cubicBezTo>
                    <a:pt x="3571399" y="276701"/>
                    <a:pt x="3571399" y="279559"/>
                    <a:pt x="3571399" y="281464"/>
                  </a:cubicBezTo>
                  <a:close/>
                  <a:moveTo>
                    <a:pt x="3567589" y="250031"/>
                  </a:moveTo>
                  <a:cubicBezTo>
                    <a:pt x="3568541" y="254794"/>
                    <a:pt x="3569494" y="260509"/>
                    <a:pt x="3570446" y="265271"/>
                  </a:cubicBezTo>
                  <a:cubicBezTo>
                    <a:pt x="3570446" y="267176"/>
                    <a:pt x="3571399" y="270034"/>
                    <a:pt x="3571399" y="271939"/>
                  </a:cubicBezTo>
                  <a:cubicBezTo>
                    <a:pt x="3571399" y="271939"/>
                    <a:pt x="3571399" y="272891"/>
                    <a:pt x="3571399" y="272891"/>
                  </a:cubicBezTo>
                  <a:cubicBezTo>
                    <a:pt x="3571399" y="272891"/>
                    <a:pt x="3569494" y="274796"/>
                    <a:pt x="3567589" y="277654"/>
                  </a:cubicBezTo>
                  <a:cubicBezTo>
                    <a:pt x="3567589" y="277654"/>
                    <a:pt x="3567589" y="277654"/>
                    <a:pt x="3567589" y="277654"/>
                  </a:cubicBezTo>
                  <a:cubicBezTo>
                    <a:pt x="3565684" y="276701"/>
                    <a:pt x="3563779" y="274796"/>
                    <a:pt x="3561874" y="274796"/>
                  </a:cubicBezTo>
                  <a:cubicBezTo>
                    <a:pt x="3559969" y="273844"/>
                    <a:pt x="3559016" y="273844"/>
                    <a:pt x="3558064" y="272891"/>
                  </a:cubicBezTo>
                  <a:cubicBezTo>
                    <a:pt x="3557111" y="269081"/>
                    <a:pt x="3555206" y="264319"/>
                    <a:pt x="3554254" y="260509"/>
                  </a:cubicBezTo>
                  <a:cubicBezTo>
                    <a:pt x="3555206" y="259556"/>
                    <a:pt x="3555206" y="258604"/>
                    <a:pt x="3556159" y="257651"/>
                  </a:cubicBezTo>
                  <a:cubicBezTo>
                    <a:pt x="3559969" y="251936"/>
                    <a:pt x="3562826" y="247174"/>
                    <a:pt x="3566636" y="243364"/>
                  </a:cubicBezTo>
                  <a:cubicBezTo>
                    <a:pt x="3567589" y="246221"/>
                    <a:pt x="3567589" y="248126"/>
                    <a:pt x="3567589" y="250031"/>
                  </a:cubicBezTo>
                  <a:close/>
                  <a:moveTo>
                    <a:pt x="3561874" y="229076"/>
                  </a:moveTo>
                  <a:cubicBezTo>
                    <a:pt x="3561874" y="228124"/>
                    <a:pt x="3562826" y="228124"/>
                    <a:pt x="3562826" y="227171"/>
                  </a:cubicBezTo>
                  <a:cubicBezTo>
                    <a:pt x="3563779" y="230029"/>
                    <a:pt x="3563779" y="232886"/>
                    <a:pt x="3564731" y="235744"/>
                  </a:cubicBezTo>
                  <a:cubicBezTo>
                    <a:pt x="3564731" y="236696"/>
                    <a:pt x="3564731" y="237649"/>
                    <a:pt x="3565684" y="238601"/>
                  </a:cubicBezTo>
                  <a:cubicBezTo>
                    <a:pt x="3561874" y="241459"/>
                    <a:pt x="3557111" y="246221"/>
                    <a:pt x="3552349" y="251936"/>
                  </a:cubicBezTo>
                  <a:cubicBezTo>
                    <a:pt x="3552349" y="250031"/>
                    <a:pt x="3551396" y="248126"/>
                    <a:pt x="3551396" y="247174"/>
                  </a:cubicBezTo>
                  <a:cubicBezTo>
                    <a:pt x="3555206" y="241459"/>
                    <a:pt x="3558064" y="234791"/>
                    <a:pt x="3561874" y="229076"/>
                  </a:cubicBezTo>
                  <a:close/>
                  <a:moveTo>
                    <a:pt x="3551396" y="293846"/>
                  </a:moveTo>
                  <a:cubicBezTo>
                    <a:pt x="3552349" y="298609"/>
                    <a:pt x="3553301" y="303371"/>
                    <a:pt x="3554254" y="307181"/>
                  </a:cubicBezTo>
                  <a:cubicBezTo>
                    <a:pt x="3553301" y="311944"/>
                    <a:pt x="3551396" y="315754"/>
                    <a:pt x="3550444" y="321469"/>
                  </a:cubicBezTo>
                  <a:cubicBezTo>
                    <a:pt x="3549491" y="325279"/>
                    <a:pt x="3548539" y="329089"/>
                    <a:pt x="3547586" y="333851"/>
                  </a:cubicBezTo>
                  <a:cubicBezTo>
                    <a:pt x="3547586" y="332899"/>
                    <a:pt x="3546634" y="332899"/>
                    <a:pt x="3546634" y="331946"/>
                  </a:cubicBezTo>
                  <a:cubicBezTo>
                    <a:pt x="3545681" y="330041"/>
                    <a:pt x="3544729" y="329089"/>
                    <a:pt x="3543776" y="327184"/>
                  </a:cubicBezTo>
                  <a:cubicBezTo>
                    <a:pt x="3544729" y="319564"/>
                    <a:pt x="3544729" y="312896"/>
                    <a:pt x="3544729" y="306229"/>
                  </a:cubicBezTo>
                  <a:cubicBezTo>
                    <a:pt x="3545681" y="299561"/>
                    <a:pt x="3546634" y="292894"/>
                    <a:pt x="3547586" y="286226"/>
                  </a:cubicBezTo>
                  <a:cubicBezTo>
                    <a:pt x="3547586" y="283369"/>
                    <a:pt x="3548539" y="279559"/>
                    <a:pt x="3548539" y="276701"/>
                  </a:cubicBezTo>
                  <a:cubicBezTo>
                    <a:pt x="3548539" y="282416"/>
                    <a:pt x="3550444" y="288131"/>
                    <a:pt x="3551396" y="293846"/>
                  </a:cubicBezTo>
                  <a:close/>
                  <a:moveTo>
                    <a:pt x="3543776" y="191929"/>
                  </a:moveTo>
                  <a:cubicBezTo>
                    <a:pt x="3545681" y="187166"/>
                    <a:pt x="3547586" y="183356"/>
                    <a:pt x="3549491" y="180499"/>
                  </a:cubicBezTo>
                  <a:cubicBezTo>
                    <a:pt x="3549491" y="181451"/>
                    <a:pt x="3549491" y="183356"/>
                    <a:pt x="3548539" y="185261"/>
                  </a:cubicBezTo>
                  <a:cubicBezTo>
                    <a:pt x="3547586" y="192881"/>
                    <a:pt x="3546634" y="201454"/>
                    <a:pt x="3544729" y="211931"/>
                  </a:cubicBezTo>
                  <a:cubicBezTo>
                    <a:pt x="3544729" y="213836"/>
                    <a:pt x="3543776" y="215741"/>
                    <a:pt x="3543776" y="217646"/>
                  </a:cubicBezTo>
                  <a:cubicBezTo>
                    <a:pt x="3541871" y="210026"/>
                    <a:pt x="3539966" y="204311"/>
                    <a:pt x="3539014" y="200501"/>
                  </a:cubicBezTo>
                  <a:cubicBezTo>
                    <a:pt x="3540919" y="196691"/>
                    <a:pt x="3541871" y="194786"/>
                    <a:pt x="3543776" y="191929"/>
                  </a:cubicBezTo>
                  <a:close/>
                  <a:moveTo>
                    <a:pt x="3530441" y="217646"/>
                  </a:moveTo>
                  <a:cubicBezTo>
                    <a:pt x="3533299" y="211931"/>
                    <a:pt x="3536156" y="206216"/>
                    <a:pt x="3539014" y="201454"/>
                  </a:cubicBezTo>
                  <a:cubicBezTo>
                    <a:pt x="3539014" y="205264"/>
                    <a:pt x="3539966" y="210979"/>
                    <a:pt x="3540919" y="217646"/>
                  </a:cubicBezTo>
                  <a:cubicBezTo>
                    <a:pt x="3540919" y="221456"/>
                    <a:pt x="3541871" y="226219"/>
                    <a:pt x="3542824" y="231934"/>
                  </a:cubicBezTo>
                  <a:cubicBezTo>
                    <a:pt x="3541871" y="234791"/>
                    <a:pt x="3541871" y="237649"/>
                    <a:pt x="3540919" y="240506"/>
                  </a:cubicBezTo>
                  <a:cubicBezTo>
                    <a:pt x="3537109" y="246221"/>
                    <a:pt x="3532346" y="252889"/>
                    <a:pt x="3528536" y="259556"/>
                  </a:cubicBezTo>
                  <a:cubicBezTo>
                    <a:pt x="3528536" y="258604"/>
                    <a:pt x="3528536" y="257651"/>
                    <a:pt x="3528536" y="257651"/>
                  </a:cubicBezTo>
                  <a:cubicBezTo>
                    <a:pt x="3528536" y="251936"/>
                    <a:pt x="3528536" y="246221"/>
                    <a:pt x="3527584" y="240506"/>
                  </a:cubicBezTo>
                  <a:cubicBezTo>
                    <a:pt x="3527584" y="236696"/>
                    <a:pt x="3526631" y="232886"/>
                    <a:pt x="3526631" y="229076"/>
                  </a:cubicBezTo>
                  <a:cubicBezTo>
                    <a:pt x="3527584" y="224314"/>
                    <a:pt x="3528536" y="220504"/>
                    <a:pt x="3530441" y="217646"/>
                  </a:cubicBezTo>
                  <a:close/>
                  <a:moveTo>
                    <a:pt x="3490436" y="321469"/>
                  </a:moveTo>
                  <a:cubicBezTo>
                    <a:pt x="3490436" y="320516"/>
                    <a:pt x="3490436" y="318611"/>
                    <a:pt x="3490436" y="317659"/>
                  </a:cubicBezTo>
                  <a:cubicBezTo>
                    <a:pt x="3490436" y="318611"/>
                    <a:pt x="3491389" y="319564"/>
                    <a:pt x="3491389" y="319564"/>
                  </a:cubicBezTo>
                  <a:cubicBezTo>
                    <a:pt x="3491389" y="320516"/>
                    <a:pt x="3491389" y="320516"/>
                    <a:pt x="3490436" y="321469"/>
                  </a:cubicBezTo>
                  <a:close/>
                  <a:moveTo>
                    <a:pt x="3514249" y="250984"/>
                  </a:moveTo>
                  <a:cubicBezTo>
                    <a:pt x="3515201" y="249079"/>
                    <a:pt x="3516154" y="247174"/>
                    <a:pt x="3516154" y="246221"/>
                  </a:cubicBezTo>
                  <a:cubicBezTo>
                    <a:pt x="3516154" y="250031"/>
                    <a:pt x="3516154" y="253841"/>
                    <a:pt x="3515201" y="257651"/>
                  </a:cubicBezTo>
                  <a:cubicBezTo>
                    <a:pt x="3515201" y="261461"/>
                    <a:pt x="3514249" y="266224"/>
                    <a:pt x="3514249" y="270986"/>
                  </a:cubicBezTo>
                  <a:cubicBezTo>
                    <a:pt x="3513296" y="267176"/>
                    <a:pt x="3511391" y="263366"/>
                    <a:pt x="3509486" y="259556"/>
                  </a:cubicBezTo>
                  <a:cubicBezTo>
                    <a:pt x="3512344" y="255746"/>
                    <a:pt x="3513296" y="252889"/>
                    <a:pt x="3514249" y="250984"/>
                  </a:cubicBezTo>
                  <a:close/>
                  <a:moveTo>
                    <a:pt x="3504724" y="271939"/>
                  </a:moveTo>
                  <a:cubicBezTo>
                    <a:pt x="3504724" y="272891"/>
                    <a:pt x="3505676" y="273844"/>
                    <a:pt x="3505676" y="274796"/>
                  </a:cubicBezTo>
                  <a:cubicBezTo>
                    <a:pt x="3506629" y="279559"/>
                    <a:pt x="3508534" y="283369"/>
                    <a:pt x="3509486" y="288131"/>
                  </a:cubicBezTo>
                  <a:cubicBezTo>
                    <a:pt x="3508534" y="290036"/>
                    <a:pt x="3507581" y="291941"/>
                    <a:pt x="3505676" y="293846"/>
                  </a:cubicBezTo>
                  <a:cubicBezTo>
                    <a:pt x="3505676" y="290036"/>
                    <a:pt x="3504724" y="286226"/>
                    <a:pt x="3504724" y="282416"/>
                  </a:cubicBezTo>
                  <a:cubicBezTo>
                    <a:pt x="3504724" y="279559"/>
                    <a:pt x="3504724" y="275749"/>
                    <a:pt x="3504724" y="271939"/>
                  </a:cubicBezTo>
                  <a:cubicBezTo>
                    <a:pt x="3504724" y="272891"/>
                    <a:pt x="3504724" y="272891"/>
                    <a:pt x="3504724" y="271939"/>
                  </a:cubicBezTo>
                  <a:close/>
                  <a:moveTo>
                    <a:pt x="3501866" y="398621"/>
                  </a:moveTo>
                  <a:cubicBezTo>
                    <a:pt x="3499961" y="389096"/>
                    <a:pt x="3497104" y="380524"/>
                    <a:pt x="3495199" y="371951"/>
                  </a:cubicBezTo>
                  <a:cubicBezTo>
                    <a:pt x="3495199" y="370999"/>
                    <a:pt x="3494246" y="370046"/>
                    <a:pt x="3494246" y="369094"/>
                  </a:cubicBezTo>
                  <a:cubicBezTo>
                    <a:pt x="3496151" y="365284"/>
                    <a:pt x="3498056" y="361474"/>
                    <a:pt x="3499961" y="357664"/>
                  </a:cubicBezTo>
                  <a:cubicBezTo>
                    <a:pt x="3500914" y="370999"/>
                    <a:pt x="3500914" y="384334"/>
                    <a:pt x="3501866" y="398621"/>
                  </a:cubicBezTo>
                  <a:close/>
                  <a:moveTo>
                    <a:pt x="3496151" y="290036"/>
                  </a:moveTo>
                  <a:cubicBezTo>
                    <a:pt x="3497104" y="288131"/>
                    <a:pt x="3498056" y="286226"/>
                    <a:pt x="3499009" y="284321"/>
                  </a:cubicBezTo>
                  <a:cubicBezTo>
                    <a:pt x="3499009" y="288131"/>
                    <a:pt x="3499009" y="291941"/>
                    <a:pt x="3499009" y="295751"/>
                  </a:cubicBezTo>
                  <a:cubicBezTo>
                    <a:pt x="3498056" y="293846"/>
                    <a:pt x="3497104" y="291941"/>
                    <a:pt x="3496151" y="290036"/>
                  </a:cubicBezTo>
                  <a:close/>
                  <a:moveTo>
                    <a:pt x="3496151" y="252889"/>
                  </a:moveTo>
                  <a:cubicBezTo>
                    <a:pt x="3496151" y="250984"/>
                    <a:pt x="3496151" y="249079"/>
                    <a:pt x="3496151" y="247174"/>
                  </a:cubicBezTo>
                  <a:cubicBezTo>
                    <a:pt x="3497104" y="250031"/>
                    <a:pt x="3498056" y="252889"/>
                    <a:pt x="3499009" y="254794"/>
                  </a:cubicBezTo>
                  <a:cubicBezTo>
                    <a:pt x="3498056" y="256699"/>
                    <a:pt x="3496151" y="258604"/>
                    <a:pt x="3495199" y="261461"/>
                  </a:cubicBezTo>
                  <a:cubicBezTo>
                    <a:pt x="3495199" y="258604"/>
                    <a:pt x="3496151" y="255746"/>
                    <a:pt x="3496151" y="252889"/>
                  </a:cubicBezTo>
                  <a:close/>
                  <a:moveTo>
                    <a:pt x="3481864" y="205264"/>
                  </a:moveTo>
                  <a:cubicBezTo>
                    <a:pt x="3484721" y="212884"/>
                    <a:pt x="3488531" y="220504"/>
                    <a:pt x="3491389" y="230029"/>
                  </a:cubicBezTo>
                  <a:cubicBezTo>
                    <a:pt x="3492341" y="233839"/>
                    <a:pt x="3494246" y="238601"/>
                    <a:pt x="3495199" y="243364"/>
                  </a:cubicBezTo>
                  <a:cubicBezTo>
                    <a:pt x="3494246" y="245269"/>
                    <a:pt x="3493294" y="248126"/>
                    <a:pt x="3492341" y="251936"/>
                  </a:cubicBezTo>
                  <a:cubicBezTo>
                    <a:pt x="3491389" y="256699"/>
                    <a:pt x="3489484" y="261461"/>
                    <a:pt x="3487579" y="268129"/>
                  </a:cubicBezTo>
                  <a:cubicBezTo>
                    <a:pt x="3487579" y="269081"/>
                    <a:pt x="3487579" y="269081"/>
                    <a:pt x="3486626" y="270034"/>
                  </a:cubicBezTo>
                  <a:cubicBezTo>
                    <a:pt x="3484721" y="265271"/>
                    <a:pt x="3481864" y="260509"/>
                    <a:pt x="3479959" y="255746"/>
                  </a:cubicBezTo>
                  <a:cubicBezTo>
                    <a:pt x="3479959" y="245269"/>
                    <a:pt x="3479959" y="235744"/>
                    <a:pt x="3479959" y="228124"/>
                  </a:cubicBezTo>
                  <a:cubicBezTo>
                    <a:pt x="3479959" y="221456"/>
                    <a:pt x="3479959" y="216694"/>
                    <a:pt x="3479959" y="213836"/>
                  </a:cubicBezTo>
                  <a:cubicBezTo>
                    <a:pt x="3480911" y="211931"/>
                    <a:pt x="3480911" y="208121"/>
                    <a:pt x="3481864" y="205264"/>
                  </a:cubicBezTo>
                  <a:close/>
                  <a:moveTo>
                    <a:pt x="3473291" y="241459"/>
                  </a:moveTo>
                  <a:cubicBezTo>
                    <a:pt x="3474244" y="239554"/>
                    <a:pt x="3474244" y="236696"/>
                    <a:pt x="3475196" y="234791"/>
                  </a:cubicBezTo>
                  <a:cubicBezTo>
                    <a:pt x="3474244" y="236696"/>
                    <a:pt x="3474244" y="239554"/>
                    <a:pt x="3473291" y="241459"/>
                  </a:cubicBezTo>
                  <a:cubicBezTo>
                    <a:pt x="3473291" y="242411"/>
                    <a:pt x="3473291" y="241459"/>
                    <a:pt x="3473291" y="241459"/>
                  </a:cubicBezTo>
                  <a:cubicBezTo>
                    <a:pt x="3473291" y="241459"/>
                    <a:pt x="3473291" y="241459"/>
                    <a:pt x="3473291" y="241459"/>
                  </a:cubicBezTo>
                  <a:close/>
                  <a:moveTo>
                    <a:pt x="3468529" y="260509"/>
                  </a:moveTo>
                  <a:cubicBezTo>
                    <a:pt x="3468529" y="261461"/>
                    <a:pt x="3469481" y="262414"/>
                    <a:pt x="3469481" y="263366"/>
                  </a:cubicBezTo>
                  <a:cubicBezTo>
                    <a:pt x="3469481" y="266224"/>
                    <a:pt x="3468529" y="268129"/>
                    <a:pt x="3468529" y="270986"/>
                  </a:cubicBezTo>
                  <a:cubicBezTo>
                    <a:pt x="3467576" y="279559"/>
                    <a:pt x="3466624" y="290036"/>
                    <a:pt x="3465671" y="300514"/>
                  </a:cubicBezTo>
                  <a:cubicBezTo>
                    <a:pt x="3464719" y="306229"/>
                    <a:pt x="3464719" y="311944"/>
                    <a:pt x="3464719" y="318611"/>
                  </a:cubicBezTo>
                  <a:cubicBezTo>
                    <a:pt x="3464719" y="319564"/>
                    <a:pt x="3463766" y="320516"/>
                    <a:pt x="3463766" y="321469"/>
                  </a:cubicBezTo>
                  <a:cubicBezTo>
                    <a:pt x="3462814" y="316706"/>
                    <a:pt x="3460909" y="311944"/>
                    <a:pt x="3459956" y="307181"/>
                  </a:cubicBezTo>
                  <a:cubicBezTo>
                    <a:pt x="3459956" y="307181"/>
                    <a:pt x="3459956" y="306229"/>
                    <a:pt x="3459956" y="306229"/>
                  </a:cubicBezTo>
                  <a:cubicBezTo>
                    <a:pt x="3459956" y="304324"/>
                    <a:pt x="3460909" y="302419"/>
                    <a:pt x="3460909" y="300514"/>
                  </a:cubicBezTo>
                  <a:cubicBezTo>
                    <a:pt x="3463766" y="287179"/>
                    <a:pt x="3466624" y="273844"/>
                    <a:pt x="3468529" y="260509"/>
                  </a:cubicBezTo>
                  <a:close/>
                  <a:moveTo>
                    <a:pt x="3451384" y="237649"/>
                  </a:moveTo>
                  <a:cubicBezTo>
                    <a:pt x="3451384" y="231934"/>
                    <a:pt x="3451384" y="227171"/>
                    <a:pt x="3451384" y="221456"/>
                  </a:cubicBezTo>
                  <a:cubicBezTo>
                    <a:pt x="3451384" y="221456"/>
                    <a:pt x="3451384" y="221456"/>
                    <a:pt x="3451384" y="222409"/>
                  </a:cubicBezTo>
                  <a:cubicBezTo>
                    <a:pt x="3453289" y="227171"/>
                    <a:pt x="3456146" y="231934"/>
                    <a:pt x="3458051" y="237649"/>
                  </a:cubicBezTo>
                  <a:cubicBezTo>
                    <a:pt x="3458051" y="237649"/>
                    <a:pt x="3458051" y="238601"/>
                    <a:pt x="3458051" y="238601"/>
                  </a:cubicBezTo>
                  <a:cubicBezTo>
                    <a:pt x="3455194" y="248126"/>
                    <a:pt x="3452336" y="257651"/>
                    <a:pt x="3450431" y="267176"/>
                  </a:cubicBezTo>
                  <a:cubicBezTo>
                    <a:pt x="3450431" y="267176"/>
                    <a:pt x="3450431" y="267176"/>
                    <a:pt x="3450431" y="267176"/>
                  </a:cubicBezTo>
                  <a:cubicBezTo>
                    <a:pt x="3451384" y="256699"/>
                    <a:pt x="3451384" y="247174"/>
                    <a:pt x="3451384" y="237649"/>
                  </a:cubicBezTo>
                  <a:close/>
                  <a:moveTo>
                    <a:pt x="3405664" y="273844"/>
                  </a:moveTo>
                  <a:cubicBezTo>
                    <a:pt x="3406616" y="268129"/>
                    <a:pt x="3406616" y="263366"/>
                    <a:pt x="3406616" y="258604"/>
                  </a:cubicBezTo>
                  <a:cubicBezTo>
                    <a:pt x="3406616" y="253841"/>
                    <a:pt x="3406616" y="249079"/>
                    <a:pt x="3406616" y="245269"/>
                  </a:cubicBezTo>
                  <a:cubicBezTo>
                    <a:pt x="3406616" y="247174"/>
                    <a:pt x="3407569" y="251936"/>
                    <a:pt x="3409474" y="259556"/>
                  </a:cubicBezTo>
                  <a:cubicBezTo>
                    <a:pt x="3409474" y="264319"/>
                    <a:pt x="3407569" y="269081"/>
                    <a:pt x="3405664" y="273844"/>
                  </a:cubicBezTo>
                  <a:close/>
                  <a:moveTo>
                    <a:pt x="3416141" y="335756"/>
                  </a:moveTo>
                  <a:cubicBezTo>
                    <a:pt x="3416141" y="341471"/>
                    <a:pt x="3416141" y="347186"/>
                    <a:pt x="3416141" y="353854"/>
                  </a:cubicBezTo>
                  <a:cubicBezTo>
                    <a:pt x="3416141" y="351949"/>
                    <a:pt x="3415189" y="350044"/>
                    <a:pt x="3415189" y="348139"/>
                  </a:cubicBezTo>
                  <a:cubicBezTo>
                    <a:pt x="3414236" y="340519"/>
                    <a:pt x="3414236" y="333851"/>
                    <a:pt x="3413284" y="328136"/>
                  </a:cubicBezTo>
                  <a:cubicBezTo>
                    <a:pt x="3413284" y="328136"/>
                    <a:pt x="3413284" y="328136"/>
                    <a:pt x="3413284" y="328136"/>
                  </a:cubicBezTo>
                  <a:cubicBezTo>
                    <a:pt x="3414236" y="325279"/>
                    <a:pt x="3415189" y="323374"/>
                    <a:pt x="3417094" y="320516"/>
                  </a:cubicBezTo>
                  <a:cubicBezTo>
                    <a:pt x="3417094" y="324326"/>
                    <a:pt x="3417094" y="329089"/>
                    <a:pt x="3416141" y="335756"/>
                  </a:cubicBezTo>
                  <a:close/>
                  <a:moveTo>
                    <a:pt x="3421856" y="320516"/>
                  </a:moveTo>
                  <a:cubicBezTo>
                    <a:pt x="3420904" y="324326"/>
                    <a:pt x="3420904" y="329089"/>
                    <a:pt x="3419951" y="332899"/>
                  </a:cubicBezTo>
                  <a:cubicBezTo>
                    <a:pt x="3418999" y="326231"/>
                    <a:pt x="3418999" y="320516"/>
                    <a:pt x="3418046" y="316706"/>
                  </a:cubicBezTo>
                  <a:cubicBezTo>
                    <a:pt x="3418999" y="314801"/>
                    <a:pt x="3419951" y="312896"/>
                    <a:pt x="3420904" y="310991"/>
                  </a:cubicBezTo>
                  <a:cubicBezTo>
                    <a:pt x="3420904" y="310039"/>
                    <a:pt x="3421856" y="309086"/>
                    <a:pt x="3421856" y="308134"/>
                  </a:cubicBezTo>
                  <a:cubicBezTo>
                    <a:pt x="3421856" y="310039"/>
                    <a:pt x="3422809" y="310991"/>
                    <a:pt x="3422809" y="312896"/>
                  </a:cubicBezTo>
                  <a:cubicBezTo>
                    <a:pt x="3422809" y="314801"/>
                    <a:pt x="3422809" y="317659"/>
                    <a:pt x="3421856" y="320516"/>
                  </a:cubicBezTo>
                  <a:close/>
                  <a:moveTo>
                    <a:pt x="3410426" y="139541"/>
                  </a:moveTo>
                  <a:cubicBezTo>
                    <a:pt x="3413284" y="145256"/>
                    <a:pt x="3417094" y="151924"/>
                    <a:pt x="3421856" y="161449"/>
                  </a:cubicBezTo>
                  <a:cubicBezTo>
                    <a:pt x="3424714" y="167164"/>
                    <a:pt x="3428524" y="173831"/>
                    <a:pt x="3433286" y="181451"/>
                  </a:cubicBezTo>
                  <a:cubicBezTo>
                    <a:pt x="3431381" y="187166"/>
                    <a:pt x="3430429" y="192881"/>
                    <a:pt x="3428524" y="198596"/>
                  </a:cubicBezTo>
                  <a:cubicBezTo>
                    <a:pt x="3427571" y="202406"/>
                    <a:pt x="3426619" y="206216"/>
                    <a:pt x="3425666" y="210026"/>
                  </a:cubicBezTo>
                  <a:cubicBezTo>
                    <a:pt x="3424714" y="205264"/>
                    <a:pt x="3423761" y="200501"/>
                    <a:pt x="3422809" y="195739"/>
                  </a:cubicBezTo>
                  <a:cubicBezTo>
                    <a:pt x="3419951" y="183356"/>
                    <a:pt x="3417094" y="171926"/>
                    <a:pt x="3415189" y="163354"/>
                  </a:cubicBezTo>
                  <a:cubicBezTo>
                    <a:pt x="3413284" y="154781"/>
                    <a:pt x="3411379" y="148114"/>
                    <a:pt x="3410426" y="143351"/>
                  </a:cubicBezTo>
                  <a:cubicBezTo>
                    <a:pt x="3409474" y="141446"/>
                    <a:pt x="3410426" y="140494"/>
                    <a:pt x="3410426" y="139541"/>
                  </a:cubicBezTo>
                  <a:close/>
                  <a:moveTo>
                    <a:pt x="3408521" y="136684"/>
                  </a:moveTo>
                  <a:cubicBezTo>
                    <a:pt x="3408521" y="136684"/>
                    <a:pt x="3408521" y="136684"/>
                    <a:pt x="3408521" y="136684"/>
                  </a:cubicBezTo>
                  <a:cubicBezTo>
                    <a:pt x="3408521" y="136684"/>
                    <a:pt x="3408521" y="136684"/>
                    <a:pt x="3408521" y="136684"/>
                  </a:cubicBezTo>
                  <a:cubicBezTo>
                    <a:pt x="3408521" y="136684"/>
                    <a:pt x="3408521" y="136684"/>
                    <a:pt x="3408521" y="136684"/>
                  </a:cubicBezTo>
                  <a:close/>
                  <a:moveTo>
                    <a:pt x="3395186" y="266224"/>
                  </a:moveTo>
                  <a:cubicBezTo>
                    <a:pt x="3396139" y="251936"/>
                    <a:pt x="3396139" y="239554"/>
                    <a:pt x="3396139" y="227171"/>
                  </a:cubicBezTo>
                  <a:cubicBezTo>
                    <a:pt x="3396139" y="222409"/>
                    <a:pt x="3396139" y="217646"/>
                    <a:pt x="3396139" y="212884"/>
                  </a:cubicBezTo>
                  <a:cubicBezTo>
                    <a:pt x="3397091" y="210026"/>
                    <a:pt x="3398044" y="207169"/>
                    <a:pt x="3398996" y="204311"/>
                  </a:cubicBezTo>
                  <a:cubicBezTo>
                    <a:pt x="3398044" y="206216"/>
                    <a:pt x="3397091" y="208121"/>
                    <a:pt x="3396139" y="210026"/>
                  </a:cubicBezTo>
                  <a:cubicBezTo>
                    <a:pt x="3396139" y="207169"/>
                    <a:pt x="3396139" y="204311"/>
                    <a:pt x="3396139" y="202406"/>
                  </a:cubicBezTo>
                  <a:cubicBezTo>
                    <a:pt x="3397091" y="199549"/>
                    <a:pt x="3397091" y="197644"/>
                    <a:pt x="3398044" y="194786"/>
                  </a:cubicBezTo>
                  <a:cubicBezTo>
                    <a:pt x="3401854" y="178594"/>
                    <a:pt x="3405664" y="162401"/>
                    <a:pt x="3408521" y="145256"/>
                  </a:cubicBezTo>
                  <a:cubicBezTo>
                    <a:pt x="3408521" y="150019"/>
                    <a:pt x="3409474" y="155734"/>
                    <a:pt x="3410426" y="162401"/>
                  </a:cubicBezTo>
                  <a:cubicBezTo>
                    <a:pt x="3411379" y="171926"/>
                    <a:pt x="3412331" y="182404"/>
                    <a:pt x="3414236" y="195739"/>
                  </a:cubicBezTo>
                  <a:cubicBezTo>
                    <a:pt x="3415189" y="202406"/>
                    <a:pt x="3416141" y="209074"/>
                    <a:pt x="3417094" y="215741"/>
                  </a:cubicBezTo>
                  <a:cubicBezTo>
                    <a:pt x="3418046" y="220504"/>
                    <a:pt x="3418999" y="224314"/>
                    <a:pt x="3419951" y="229076"/>
                  </a:cubicBezTo>
                  <a:cubicBezTo>
                    <a:pt x="3418999" y="230981"/>
                    <a:pt x="3418999" y="232886"/>
                    <a:pt x="3418046" y="233839"/>
                  </a:cubicBezTo>
                  <a:cubicBezTo>
                    <a:pt x="3416141" y="240506"/>
                    <a:pt x="3414236" y="247174"/>
                    <a:pt x="3411379" y="253841"/>
                  </a:cubicBezTo>
                  <a:cubicBezTo>
                    <a:pt x="3408521" y="248126"/>
                    <a:pt x="3407569" y="245269"/>
                    <a:pt x="3407569" y="244316"/>
                  </a:cubicBezTo>
                  <a:cubicBezTo>
                    <a:pt x="3407569" y="242411"/>
                    <a:pt x="3407569" y="241459"/>
                    <a:pt x="3407569" y="239554"/>
                  </a:cubicBezTo>
                  <a:cubicBezTo>
                    <a:pt x="3407569" y="230029"/>
                    <a:pt x="3407569" y="224314"/>
                    <a:pt x="3407569" y="224314"/>
                  </a:cubicBezTo>
                  <a:cubicBezTo>
                    <a:pt x="3407569" y="224314"/>
                    <a:pt x="3405664" y="230029"/>
                    <a:pt x="3403759" y="239554"/>
                  </a:cubicBezTo>
                  <a:cubicBezTo>
                    <a:pt x="3402806" y="244316"/>
                    <a:pt x="3400901" y="250031"/>
                    <a:pt x="3399949" y="256699"/>
                  </a:cubicBezTo>
                  <a:cubicBezTo>
                    <a:pt x="3398996" y="262414"/>
                    <a:pt x="3397091" y="269081"/>
                    <a:pt x="3395186" y="275749"/>
                  </a:cubicBezTo>
                  <a:cubicBezTo>
                    <a:pt x="3395186" y="273844"/>
                    <a:pt x="3395186" y="270034"/>
                    <a:pt x="3395186" y="266224"/>
                  </a:cubicBezTo>
                  <a:close/>
                  <a:moveTo>
                    <a:pt x="3363754" y="252889"/>
                  </a:moveTo>
                  <a:cubicBezTo>
                    <a:pt x="3364706" y="256699"/>
                    <a:pt x="3365659" y="260509"/>
                    <a:pt x="3365659" y="264319"/>
                  </a:cubicBezTo>
                  <a:cubicBezTo>
                    <a:pt x="3364706" y="266224"/>
                    <a:pt x="3363754" y="267176"/>
                    <a:pt x="3363754" y="269081"/>
                  </a:cubicBezTo>
                  <a:cubicBezTo>
                    <a:pt x="3363754" y="262414"/>
                    <a:pt x="3363754" y="257651"/>
                    <a:pt x="3363754" y="252889"/>
                  </a:cubicBezTo>
                  <a:close/>
                  <a:moveTo>
                    <a:pt x="3321844" y="351949"/>
                  </a:moveTo>
                  <a:cubicBezTo>
                    <a:pt x="3321844" y="349091"/>
                    <a:pt x="3322796" y="345281"/>
                    <a:pt x="3322796" y="342424"/>
                  </a:cubicBezTo>
                  <a:cubicBezTo>
                    <a:pt x="3322796" y="344329"/>
                    <a:pt x="3323749" y="346234"/>
                    <a:pt x="3323749" y="347186"/>
                  </a:cubicBezTo>
                  <a:cubicBezTo>
                    <a:pt x="3323749" y="349091"/>
                    <a:pt x="3322796" y="350044"/>
                    <a:pt x="3321844" y="351949"/>
                  </a:cubicBezTo>
                  <a:close/>
                  <a:moveTo>
                    <a:pt x="3340894" y="273844"/>
                  </a:moveTo>
                  <a:cubicBezTo>
                    <a:pt x="3342799" y="282416"/>
                    <a:pt x="3345656" y="290036"/>
                    <a:pt x="3347561" y="298609"/>
                  </a:cubicBezTo>
                  <a:cubicBezTo>
                    <a:pt x="3346609" y="300514"/>
                    <a:pt x="3345656" y="302419"/>
                    <a:pt x="3344704" y="304324"/>
                  </a:cubicBezTo>
                  <a:cubicBezTo>
                    <a:pt x="3342799" y="299561"/>
                    <a:pt x="3340894" y="295751"/>
                    <a:pt x="3338989" y="290989"/>
                  </a:cubicBezTo>
                  <a:cubicBezTo>
                    <a:pt x="3338036" y="276701"/>
                    <a:pt x="3336131" y="263366"/>
                    <a:pt x="3335179" y="251936"/>
                  </a:cubicBezTo>
                  <a:cubicBezTo>
                    <a:pt x="3337084" y="259556"/>
                    <a:pt x="3338989" y="266224"/>
                    <a:pt x="3340894" y="273844"/>
                  </a:cubicBezTo>
                  <a:close/>
                  <a:moveTo>
                    <a:pt x="3330416" y="376714"/>
                  </a:moveTo>
                  <a:cubicBezTo>
                    <a:pt x="3330416" y="377666"/>
                    <a:pt x="3330416" y="378619"/>
                    <a:pt x="3331369" y="379571"/>
                  </a:cubicBezTo>
                  <a:cubicBezTo>
                    <a:pt x="3330416" y="380524"/>
                    <a:pt x="3330416" y="382429"/>
                    <a:pt x="3329464" y="384334"/>
                  </a:cubicBezTo>
                  <a:cubicBezTo>
                    <a:pt x="3329464" y="383381"/>
                    <a:pt x="3328511" y="382429"/>
                    <a:pt x="3328511" y="381476"/>
                  </a:cubicBezTo>
                  <a:cubicBezTo>
                    <a:pt x="3328511" y="379571"/>
                    <a:pt x="3329464" y="378619"/>
                    <a:pt x="3330416" y="376714"/>
                  </a:cubicBezTo>
                  <a:close/>
                  <a:moveTo>
                    <a:pt x="3329464" y="202406"/>
                  </a:moveTo>
                  <a:cubicBezTo>
                    <a:pt x="3329464" y="203359"/>
                    <a:pt x="3329464" y="205264"/>
                    <a:pt x="3329464" y="207169"/>
                  </a:cubicBezTo>
                  <a:cubicBezTo>
                    <a:pt x="3329464" y="206216"/>
                    <a:pt x="3329464" y="206216"/>
                    <a:pt x="3328511" y="205264"/>
                  </a:cubicBezTo>
                  <a:cubicBezTo>
                    <a:pt x="3329464" y="204311"/>
                    <a:pt x="3329464" y="203359"/>
                    <a:pt x="3329464" y="202406"/>
                  </a:cubicBezTo>
                  <a:close/>
                  <a:moveTo>
                    <a:pt x="3326606" y="302419"/>
                  </a:moveTo>
                  <a:cubicBezTo>
                    <a:pt x="3327559" y="305276"/>
                    <a:pt x="3328511" y="307181"/>
                    <a:pt x="3329464" y="310039"/>
                  </a:cubicBezTo>
                  <a:cubicBezTo>
                    <a:pt x="3329464" y="310991"/>
                    <a:pt x="3329464" y="310991"/>
                    <a:pt x="3329464" y="311944"/>
                  </a:cubicBezTo>
                  <a:cubicBezTo>
                    <a:pt x="3328511" y="310039"/>
                    <a:pt x="3327559" y="308134"/>
                    <a:pt x="3326606" y="306229"/>
                  </a:cubicBezTo>
                  <a:cubicBezTo>
                    <a:pt x="3326606" y="304324"/>
                    <a:pt x="3326606" y="303371"/>
                    <a:pt x="3326606" y="302419"/>
                  </a:cubicBezTo>
                  <a:close/>
                  <a:moveTo>
                    <a:pt x="3323749" y="227171"/>
                  </a:moveTo>
                  <a:cubicBezTo>
                    <a:pt x="3324701" y="224314"/>
                    <a:pt x="3324701" y="221456"/>
                    <a:pt x="3325654" y="219551"/>
                  </a:cubicBezTo>
                  <a:cubicBezTo>
                    <a:pt x="3325654" y="220504"/>
                    <a:pt x="3325654" y="220504"/>
                    <a:pt x="3325654" y="221456"/>
                  </a:cubicBezTo>
                  <a:cubicBezTo>
                    <a:pt x="3322796" y="232886"/>
                    <a:pt x="3320891" y="244316"/>
                    <a:pt x="3318034" y="256699"/>
                  </a:cubicBezTo>
                  <a:cubicBezTo>
                    <a:pt x="3318034" y="256699"/>
                    <a:pt x="3318034" y="255746"/>
                    <a:pt x="3317081" y="255746"/>
                  </a:cubicBezTo>
                  <a:cubicBezTo>
                    <a:pt x="3319939" y="245269"/>
                    <a:pt x="3321844" y="235744"/>
                    <a:pt x="3323749" y="227171"/>
                  </a:cubicBezTo>
                  <a:close/>
                  <a:moveTo>
                    <a:pt x="3315176" y="269081"/>
                  </a:moveTo>
                  <a:cubicBezTo>
                    <a:pt x="3315176" y="270034"/>
                    <a:pt x="3316129" y="270986"/>
                    <a:pt x="3316129" y="270986"/>
                  </a:cubicBezTo>
                  <a:cubicBezTo>
                    <a:pt x="3315176" y="274796"/>
                    <a:pt x="3315176" y="278606"/>
                    <a:pt x="3314224" y="282416"/>
                  </a:cubicBezTo>
                  <a:cubicBezTo>
                    <a:pt x="3314224" y="281464"/>
                    <a:pt x="3313271" y="280511"/>
                    <a:pt x="3313271" y="280511"/>
                  </a:cubicBezTo>
                  <a:cubicBezTo>
                    <a:pt x="3313271" y="276701"/>
                    <a:pt x="3314224" y="272891"/>
                    <a:pt x="3315176" y="269081"/>
                  </a:cubicBezTo>
                  <a:close/>
                  <a:moveTo>
                    <a:pt x="3305651" y="310991"/>
                  </a:moveTo>
                  <a:cubicBezTo>
                    <a:pt x="3306604" y="307181"/>
                    <a:pt x="3307556" y="302419"/>
                    <a:pt x="3308509" y="298609"/>
                  </a:cubicBezTo>
                  <a:cubicBezTo>
                    <a:pt x="3309461" y="299561"/>
                    <a:pt x="3309461" y="301466"/>
                    <a:pt x="3310414" y="302419"/>
                  </a:cubicBezTo>
                  <a:cubicBezTo>
                    <a:pt x="3309461" y="308134"/>
                    <a:pt x="3308509" y="314801"/>
                    <a:pt x="3307556" y="320516"/>
                  </a:cubicBezTo>
                  <a:cubicBezTo>
                    <a:pt x="3306604" y="318611"/>
                    <a:pt x="3305651" y="315754"/>
                    <a:pt x="3304699" y="313849"/>
                  </a:cubicBezTo>
                  <a:cubicBezTo>
                    <a:pt x="3305651" y="313849"/>
                    <a:pt x="3305651" y="312896"/>
                    <a:pt x="3305651" y="310991"/>
                  </a:cubicBezTo>
                  <a:close/>
                  <a:moveTo>
                    <a:pt x="3302794" y="327184"/>
                  </a:moveTo>
                  <a:cubicBezTo>
                    <a:pt x="3303746" y="330041"/>
                    <a:pt x="3303746" y="332899"/>
                    <a:pt x="3304699" y="335756"/>
                  </a:cubicBezTo>
                  <a:cubicBezTo>
                    <a:pt x="3303746" y="339566"/>
                    <a:pt x="3302794" y="344329"/>
                    <a:pt x="3300889" y="349091"/>
                  </a:cubicBezTo>
                  <a:cubicBezTo>
                    <a:pt x="3299936" y="350996"/>
                    <a:pt x="3299936" y="353854"/>
                    <a:pt x="3298984" y="355759"/>
                  </a:cubicBezTo>
                  <a:cubicBezTo>
                    <a:pt x="3298031" y="354806"/>
                    <a:pt x="3298031" y="352901"/>
                    <a:pt x="3297079" y="351949"/>
                  </a:cubicBezTo>
                  <a:cubicBezTo>
                    <a:pt x="3298984" y="343376"/>
                    <a:pt x="3300889" y="334804"/>
                    <a:pt x="3302794" y="327184"/>
                  </a:cubicBezTo>
                  <a:close/>
                  <a:moveTo>
                    <a:pt x="3279934" y="297656"/>
                  </a:moveTo>
                  <a:cubicBezTo>
                    <a:pt x="3279934" y="294799"/>
                    <a:pt x="3279934" y="291941"/>
                    <a:pt x="3280886" y="289084"/>
                  </a:cubicBezTo>
                  <a:cubicBezTo>
                    <a:pt x="3281839" y="280511"/>
                    <a:pt x="3282791" y="271939"/>
                    <a:pt x="3283744" y="263366"/>
                  </a:cubicBezTo>
                  <a:cubicBezTo>
                    <a:pt x="3283744" y="259556"/>
                    <a:pt x="3284696" y="255746"/>
                    <a:pt x="3284696" y="252889"/>
                  </a:cubicBezTo>
                  <a:cubicBezTo>
                    <a:pt x="3287554" y="258604"/>
                    <a:pt x="3290411" y="264319"/>
                    <a:pt x="3293269" y="270034"/>
                  </a:cubicBezTo>
                  <a:cubicBezTo>
                    <a:pt x="3292316" y="272891"/>
                    <a:pt x="3292316" y="274796"/>
                    <a:pt x="3291364" y="277654"/>
                  </a:cubicBezTo>
                  <a:cubicBezTo>
                    <a:pt x="3291364" y="279559"/>
                    <a:pt x="3290411" y="281464"/>
                    <a:pt x="3290411" y="283369"/>
                  </a:cubicBezTo>
                  <a:cubicBezTo>
                    <a:pt x="3289459" y="271939"/>
                    <a:pt x="3289459" y="264319"/>
                    <a:pt x="3289459" y="264319"/>
                  </a:cubicBezTo>
                  <a:cubicBezTo>
                    <a:pt x="3289459" y="264319"/>
                    <a:pt x="3285649" y="285274"/>
                    <a:pt x="3281839" y="317659"/>
                  </a:cubicBezTo>
                  <a:cubicBezTo>
                    <a:pt x="3281839" y="317659"/>
                    <a:pt x="3280886" y="317659"/>
                    <a:pt x="3280886" y="317659"/>
                  </a:cubicBezTo>
                  <a:cubicBezTo>
                    <a:pt x="3280886" y="317659"/>
                    <a:pt x="3280886" y="316706"/>
                    <a:pt x="3280886" y="316706"/>
                  </a:cubicBezTo>
                  <a:cubicBezTo>
                    <a:pt x="3280886" y="316706"/>
                    <a:pt x="3280886" y="315754"/>
                    <a:pt x="3279934" y="315754"/>
                  </a:cubicBezTo>
                  <a:cubicBezTo>
                    <a:pt x="3279934" y="314801"/>
                    <a:pt x="3278981" y="314801"/>
                    <a:pt x="3278981" y="313849"/>
                  </a:cubicBezTo>
                  <a:cubicBezTo>
                    <a:pt x="3278981" y="308134"/>
                    <a:pt x="3279934" y="302419"/>
                    <a:pt x="3279934" y="297656"/>
                  </a:cubicBezTo>
                  <a:close/>
                  <a:moveTo>
                    <a:pt x="3263741" y="295751"/>
                  </a:moveTo>
                  <a:cubicBezTo>
                    <a:pt x="3263741" y="294799"/>
                    <a:pt x="3263741" y="293846"/>
                    <a:pt x="3263741" y="293846"/>
                  </a:cubicBezTo>
                  <a:cubicBezTo>
                    <a:pt x="3263741" y="293846"/>
                    <a:pt x="3263741" y="294799"/>
                    <a:pt x="3263741" y="295751"/>
                  </a:cubicBezTo>
                  <a:cubicBezTo>
                    <a:pt x="3264694" y="295751"/>
                    <a:pt x="3264694" y="295751"/>
                    <a:pt x="3264694" y="296704"/>
                  </a:cubicBezTo>
                  <a:cubicBezTo>
                    <a:pt x="3263741" y="299561"/>
                    <a:pt x="3262789" y="303371"/>
                    <a:pt x="3262789" y="306229"/>
                  </a:cubicBezTo>
                  <a:cubicBezTo>
                    <a:pt x="3262789" y="302419"/>
                    <a:pt x="3263741" y="298609"/>
                    <a:pt x="3263741" y="295751"/>
                  </a:cubicBezTo>
                  <a:close/>
                  <a:moveTo>
                    <a:pt x="3232309" y="381476"/>
                  </a:moveTo>
                  <a:cubicBezTo>
                    <a:pt x="3232309" y="372904"/>
                    <a:pt x="3232309" y="365284"/>
                    <a:pt x="3232309" y="357664"/>
                  </a:cubicBezTo>
                  <a:cubicBezTo>
                    <a:pt x="3232309" y="357664"/>
                    <a:pt x="3232309" y="358616"/>
                    <a:pt x="3232309" y="358616"/>
                  </a:cubicBezTo>
                  <a:cubicBezTo>
                    <a:pt x="3232309" y="359569"/>
                    <a:pt x="3232309" y="360521"/>
                    <a:pt x="3233261" y="360521"/>
                  </a:cubicBezTo>
                  <a:cubicBezTo>
                    <a:pt x="3233261" y="367189"/>
                    <a:pt x="3233261" y="373856"/>
                    <a:pt x="3232309" y="381476"/>
                  </a:cubicBezTo>
                  <a:close/>
                  <a:moveTo>
                    <a:pt x="3239929" y="327184"/>
                  </a:moveTo>
                  <a:cubicBezTo>
                    <a:pt x="3240881" y="330994"/>
                    <a:pt x="3240881" y="335756"/>
                    <a:pt x="3241834" y="339566"/>
                  </a:cubicBezTo>
                  <a:cubicBezTo>
                    <a:pt x="3240881" y="337661"/>
                    <a:pt x="3239929" y="335756"/>
                    <a:pt x="3239929" y="333851"/>
                  </a:cubicBezTo>
                  <a:cubicBezTo>
                    <a:pt x="3239929" y="331946"/>
                    <a:pt x="3239929" y="330994"/>
                    <a:pt x="3239929" y="329089"/>
                  </a:cubicBezTo>
                  <a:cubicBezTo>
                    <a:pt x="3238976" y="328136"/>
                    <a:pt x="3239929" y="328136"/>
                    <a:pt x="3239929" y="327184"/>
                  </a:cubicBezTo>
                  <a:close/>
                  <a:moveTo>
                    <a:pt x="3234214" y="318611"/>
                  </a:moveTo>
                  <a:cubicBezTo>
                    <a:pt x="3235166" y="315754"/>
                    <a:pt x="3236119" y="312896"/>
                    <a:pt x="3237071" y="310039"/>
                  </a:cubicBezTo>
                  <a:cubicBezTo>
                    <a:pt x="3237071" y="311944"/>
                    <a:pt x="3238024" y="313849"/>
                    <a:pt x="3238024" y="314801"/>
                  </a:cubicBezTo>
                  <a:cubicBezTo>
                    <a:pt x="3238024" y="315754"/>
                    <a:pt x="3238024" y="315754"/>
                    <a:pt x="3238024" y="316706"/>
                  </a:cubicBezTo>
                  <a:cubicBezTo>
                    <a:pt x="3238024" y="316706"/>
                    <a:pt x="3238024" y="317659"/>
                    <a:pt x="3237071" y="317659"/>
                  </a:cubicBezTo>
                  <a:cubicBezTo>
                    <a:pt x="3237071" y="314801"/>
                    <a:pt x="3236119" y="311944"/>
                    <a:pt x="3237071" y="311944"/>
                  </a:cubicBezTo>
                  <a:cubicBezTo>
                    <a:pt x="3238024" y="311944"/>
                    <a:pt x="3237071" y="314801"/>
                    <a:pt x="3236119" y="319564"/>
                  </a:cubicBezTo>
                  <a:cubicBezTo>
                    <a:pt x="3235166" y="320516"/>
                    <a:pt x="3235166" y="321469"/>
                    <a:pt x="3234214" y="322421"/>
                  </a:cubicBezTo>
                  <a:cubicBezTo>
                    <a:pt x="3234214" y="321469"/>
                    <a:pt x="3233261" y="320516"/>
                    <a:pt x="3233261" y="319564"/>
                  </a:cubicBezTo>
                  <a:cubicBezTo>
                    <a:pt x="3234214" y="319564"/>
                    <a:pt x="3234214" y="319564"/>
                    <a:pt x="3234214" y="318611"/>
                  </a:cubicBezTo>
                  <a:close/>
                  <a:moveTo>
                    <a:pt x="3233261" y="286226"/>
                  </a:moveTo>
                  <a:cubicBezTo>
                    <a:pt x="3233261" y="287179"/>
                    <a:pt x="3233261" y="287179"/>
                    <a:pt x="3233261" y="288131"/>
                  </a:cubicBezTo>
                  <a:cubicBezTo>
                    <a:pt x="3233261" y="289084"/>
                    <a:pt x="3232309" y="289084"/>
                    <a:pt x="3232309" y="290036"/>
                  </a:cubicBezTo>
                  <a:cubicBezTo>
                    <a:pt x="3232309" y="287179"/>
                    <a:pt x="3232309" y="285274"/>
                    <a:pt x="3232309" y="282416"/>
                  </a:cubicBezTo>
                  <a:cubicBezTo>
                    <a:pt x="3232309" y="284321"/>
                    <a:pt x="3233261" y="285274"/>
                    <a:pt x="3233261" y="286226"/>
                  </a:cubicBezTo>
                  <a:close/>
                  <a:moveTo>
                    <a:pt x="3222784" y="285274"/>
                  </a:moveTo>
                  <a:cubicBezTo>
                    <a:pt x="3222784" y="281464"/>
                    <a:pt x="3222784" y="277654"/>
                    <a:pt x="3223736" y="273844"/>
                  </a:cubicBezTo>
                  <a:cubicBezTo>
                    <a:pt x="3224689" y="271939"/>
                    <a:pt x="3224689" y="270034"/>
                    <a:pt x="3224689" y="270034"/>
                  </a:cubicBezTo>
                  <a:cubicBezTo>
                    <a:pt x="3224689" y="270034"/>
                    <a:pt x="3224689" y="270034"/>
                    <a:pt x="3224689" y="270986"/>
                  </a:cubicBezTo>
                  <a:cubicBezTo>
                    <a:pt x="3225641" y="265271"/>
                    <a:pt x="3226594" y="259556"/>
                    <a:pt x="3227546" y="253841"/>
                  </a:cubicBezTo>
                  <a:cubicBezTo>
                    <a:pt x="3227546" y="253841"/>
                    <a:pt x="3227546" y="253841"/>
                    <a:pt x="3227546" y="253841"/>
                  </a:cubicBezTo>
                  <a:cubicBezTo>
                    <a:pt x="3226594" y="264319"/>
                    <a:pt x="3225641" y="277654"/>
                    <a:pt x="3223736" y="292894"/>
                  </a:cubicBezTo>
                  <a:cubicBezTo>
                    <a:pt x="3223736" y="292894"/>
                    <a:pt x="3223736" y="291941"/>
                    <a:pt x="3222784" y="291941"/>
                  </a:cubicBezTo>
                  <a:cubicBezTo>
                    <a:pt x="3222784" y="291941"/>
                    <a:pt x="3222784" y="291941"/>
                    <a:pt x="3222784" y="290989"/>
                  </a:cubicBezTo>
                  <a:cubicBezTo>
                    <a:pt x="3221831" y="289084"/>
                    <a:pt x="3221831" y="287179"/>
                    <a:pt x="3222784" y="285274"/>
                  </a:cubicBezTo>
                  <a:close/>
                  <a:moveTo>
                    <a:pt x="3217069" y="207169"/>
                  </a:moveTo>
                  <a:cubicBezTo>
                    <a:pt x="3218021" y="210979"/>
                    <a:pt x="3218974" y="214789"/>
                    <a:pt x="3219926" y="219551"/>
                  </a:cubicBezTo>
                  <a:cubicBezTo>
                    <a:pt x="3218021" y="225266"/>
                    <a:pt x="3217069" y="231934"/>
                    <a:pt x="3215164" y="238601"/>
                  </a:cubicBezTo>
                  <a:cubicBezTo>
                    <a:pt x="3215164" y="226219"/>
                    <a:pt x="3217069" y="215741"/>
                    <a:pt x="3217069" y="207169"/>
                  </a:cubicBezTo>
                  <a:close/>
                  <a:moveTo>
                    <a:pt x="3191351" y="249079"/>
                  </a:moveTo>
                  <a:cubicBezTo>
                    <a:pt x="3191351" y="242411"/>
                    <a:pt x="3192304" y="236696"/>
                    <a:pt x="3192304" y="232886"/>
                  </a:cubicBezTo>
                  <a:cubicBezTo>
                    <a:pt x="3193256" y="234791"/>
                    <a:pt x="3193256" y="235744"/>
                    <a:pt x="3194209" y="238601"/>
                  </a:cubicBezTo>
                  <a:cubicBezTo>
                    <a:pt x="3193256" y="247174"/>
                    <a:pt x="3192304" y="255746"/>
                    <a:pt x="3191351" y="265271"/>
                  </a:cubicBezTo>
                  <a:cubicBezTo>
                    <a:pt x="3191351" y="258604"/>
                    <a:pt x="3191351" y="253841"/>
                    <a:pt x="3191351" y="249079"/>
                  </a:cubicBezTo>
                  <a:close/>
                  <a:moveTo>
                    <a:pt x="3155156" y="313849"/>
                  </a:moveTo>
                  <a:cubicBezTo>
                    <a:pt x="3155156" y="315754"/>
                    <a:pt x="3156109" y="317659"/>
                    <a:pt x="3156109" y="320516"/>
                  </a:cubicBezTo>
                  <a:cubicBezTo>
                    <a:pt x="3156109" y="325279"/>
                    <a:pt x="3157061" y="330041"/>
                    <a:pt x="3158014" y="334804"/>
                  </a:cubicBezTo>
                  <a:cubicBezTo>
                    <a:pt x="3157061" y="341471"/>
                    <a:pt x="3155156" y="348139"/>
                    <a:pt x="3154204" y="354806"/>
                  </a:cubicBezTo>
                  <a:cubicBezTo>
                    <a:pt x="3153251" y="353854"/>
                    <a:pt x="3153251" y="352901"/>
                    <a:pt x="3152299" y="351949"/>
                  </a:cubicBezTo>
                  <a:cubicBezTo>
                    <a:pt x="3152299" y="350996"/>
                    <a:pt x="3152299" y="350044"/>
                    <a:pt x="3152299" y="350044"/>
                  </a:cubicBezTo>
                  <a:cubicBezTo>
                    <a:pt x="3152299" y="348139"/>
                    <a:pt x="3151346" y="347186"/>
                    <a:pt x="3151346" y="345281"/>
                  </a:cubicBezTo>
                  <a:cubicBezTo>
                    <a:pt x="3151346" y="345281"/>
                    <a:pt x="3151346" y="344329"/>
                    <a:pt x="3151346" y="344329"/>
                  </a:cubicBezTo>
                  <a:lnTo>
                    <a:pt x="3151346" y="338614"/>
                  </a:lnTo>
                  <a:cubicBezTo>
                    <a:pt x="3151346" y="329089"/>
                    <a:pt x="3153251" y="321469"/>
                    <a:pt x="3155156" y="313849"/>
                  </a:cubicBezTo>
                  <a:close/>
                  <a:moveTo>
                    <a:pt x="3139916" y="213836"/>
                  </a:moveTo>
                  <a:cubicBezTo>
                    <a:pt x="3140869" y="220504"/>
                    <a:pt x="3142774" y="228124"/>
                    <a:pt x="3143726" y="235744"/>
                  </a:cubicBezTo>
                  <a:cubicBezTo>
                    <a:pt x="3145631" y="246221"/>
                    <a:pt x="3147536" y="256699"/>
                    <a:pt x="3148489" y="267176"/>
                  </a:cubicBezTo>
                  <a:cubicBezTo>
                    <a:pt x="3146584" y="272891"/>
                    <a:pt x="3145631" y="278606"/>
                    <a:pt x="3143726" y="284321"/>
                  </a:cubicBezTo>
                  <a:cubicBezTo>
                    <a:pt x="3140869" y="251936"/>
                    <a:pt x="3138964" y="228124"/>
                    <a:pt x="3137059" y="216694"/>
                  </a:cubicBezTo>
                  <a:cubicBezTo>
                    <a:pt x="3138011" y="215741"/>
                    <a:pt x="3138964" y="214789"/>
                    <a:pt x="3139916" y="213836"/>
                  </a:cubicBezTo>
                  <a:close/>
                  <a:moveTo>
                    <a:pt x="3130391" y="337661"/>
                  </a:moveTo>
                  <a:cubicBezTo>
                    <a:pt x="3130391" y="336709"/>
                    <a:pt x="3130391" y="336709"/>
                    <a:pt x="3130391" y="335756"/>
                  </a:cubicBezTo>
                  <a:cubicBezTo>
                    <a:pt x="3130391" y="335756"/>
                    <a:pt x="3130391" y="335756"/>
                    <a:pt x="3130391" y="335756"/>
                  </a:cubicBezTo>
                  <a:cubicBezTo>
                    <a:pt x="3130391" y="336709"/>
                    <a:pt x="3130391" y="336709"/>
                    <a:pt x="3130391" y="337661"/>
                  </a:cubicBezTo>
                  <a:close/>
                  <a:moveTo>
                    <a:pt x="3130391" y="328136"/>
                  </a:moveTo>
                  <a:cubicBezTo>
                    <a:pt x="3130391" y="328136"/>
                    <a:pt x="3130391" y="327184"/>
                    <a:pt x="3130391" y="328136"/>
                  </a:cubicBezTo>
                  <a:cubicBezTo>
                    <a:pt x="3130391" y="327184"/>
                    <a:pt x="3130391" y="328136"/>
                    <a:pt x="3130391" y="328136"/>
                  </a:cubicBezTo>
                  <a:cubicBezTo>
                    <a:pt x="3130391" y="328136"/>
                    <a:pt x="3130391" y="328136"/>
                    <a:pt x="3130391" y="328136"/>
                  </a:cubicBezTo>
                  <a:close/>
                  <a:moveTo>
                    <a:pt x="3133249" y="276701"/>
                  </a:moveTo>
                  <a:cubicBezTo>
                    <a:pt x="3133249" y="276701"/>
                    <a:pt x="3133249" y="275749"/>
                    <a:pt x="3133249" y="276701"/>
                  </a:cubicBezTo>
                  <a:cubicBezTo>
                    <a:pt x="3131344" y="270034"/>
                    <a:pt x="3129439" y="264319"/>
                    <a:pt x="3128486" y="259556"/>
                  </a:cubicBezTo>
                  <a:cubicBezTo>
                    <a:pt x="3128486" y="254794"/>
                    <a:pt x="3128486" y="250031"/>
                    <a:pt x="3127534" y="246221"/>
                  </a:cubicBezTo>
                  <a:cubicBezTo>
                    <a:pt x="3131344" y="235744"/>
                    <a:pt x="3134201" y="228124"/>
                    <a:pt x="3135154" y="223361"/>
                  </a:cubicBezTo>
                  <a:cubicBezTo>
                    <a:pt x="3135154" y="235744"/>
                    <a:pt x="3134201" y="253841"/>
                    <a:pt x="3133249" y="276701"/>
                  </a:cubicBezTo>
                  <a:close/>
                  <a:moveTo>
                    <a:pt x="3130391" y="229076"/>
                  </a:moveTo>
                  <a:cubicBezTo>
                    <a:pt x="3132296" y="225266"/>
                    <a:pt x="3134201" y="222409"/>
                    <a:pt x="3136106" y="219551"/>
                  </a:cubicBezTo>
                  <a:cubicBezTo>
                    <a:pt x="3136106" y="220504"/>
                    <a:pt x="3136106" y="220504"/>
                    <a:pt x="3136106" y="221456"/>
                  </a:cubicBezTo>
                  <a:cubicBezTo>
                    <a:pt x="3134201" y="224314"/>
                    <a:pt x="3131344" y="229076"/>
                    <a:pt x="3127534" y="236696"/>
                  </a:cubicBezTo>
                  <a:cubicBezTo>
                    <a:pt x="3127534" y="235744"/>
                    <a:pt x="3127534" y="235744"/>
                    <a:pt x="3127534" y="234791"/>
                  </a:cubicBezTo>
                  <a:cubicBezTo>
                    <a:pt x="3128486" y="232886"/>
                    <a:pt x="3129439" y="230981"/>
                    <a:pt x="3130391" y="229076"/>
                  </a:cubicBezTo>
                  <a:close/>
                  <a:moveTo>
                    <a:pt x="3114199" y="290036"/>
                  </a:moveTo>
                  <a:cubicBezTo>
                    <a:pt x="3114199" y="289084"/>
                    <a:pt x="3113246" y="288131"/>
                    <a:pt x="3113246" y="287179"/>
                  </a:cubicBezTo>
                  <a:cubicBezTo>
                    <a:pt x="3113246" y="287179"/>
                    <a:pt x="3113246" y="287179"/>
                    <a:pt x="3113246" y="286226"/>
                  </a:cubicBezTo>
                  <a:cubicBezTo>
                    <a:pt x="3114199" y="284321"/>
                    <a:pt x="3114199" y="283369"/>
                    <a:pt x="3115151" y="281464"/>
                  </a:cubicBezTo>
                  <a:cubicBezTo>
                    <a:pt x="3114199" y="284321"/>
                    <a:pt x="3114199" y="287179"/>
                    <a:pt x="3114199" y="290036"/>
                  </a:cubicBezTo>
                  <a:close/>
                  <a:moveTo>
                    <a:pt x="3115151" y="257651"/>
                  </a:moveTo>
                  <a:cubicBezTo>
                    <a:pt x="3115151" y="256699"/>
                    <a:pt x="3116104" y="256699"/>
                    <a:pt x="3116104" y="255746"/>
                  </a:cubicBezTo>
                  <a:cubicBezTo>
                    <a:pt x="3116104" y="256699"/>
                    <a:pt x="3116104" y="257651"/>
                    <a:pt x="3115151" y="257651"/>
                  </a:cubicBezTo>
                  <a:cubicBezTo>
                    <a:pt x="3114199" y="261461"/>
                    <a:pt x="3111341" y="265271"/>
                    <a:pt x="3109436" y="270034"/>
                  </a:cubicBezTo>
                  <a:cubicBezTo>
                    <a:pt x="3111341" y="266224"/>
                    <a:pt x="3113246" y="261461"/>
                    <a:pt x="3115151" y="257651"/>
                  </a:cubicBezTo>
                  <a:close/>
                  <a:moveTo>
                    <a:pt x="3110389" y="292894"/>
                  </a:moveTo>
                  <a:cubicBezTo>
                    <a:pt x="3111341" y="297656"/>
                    <a:pt x="3112294" y="302419"/>
                    <a:pt x="3113246" y="309086"/>
                  </a:cubicBezTo>
                  <a:cubicBezTo>
                    <a:pt x="3113246" y="310039"/>
                    <a:pt x="3113246" y="310991"/>
                    <a:pt x="3114199" y="311944"/>
                  </a:cubicBezTo>
                  <a:cubicBezTo>
                    <a:pt x="3114199" y="314801"/>
                    <a:pt x="3114199" y="317659"/>
                    <a:pt x="3114199" y="321469"/>
                  </a:cubicBezTo>
                  <a:cubicBezTo>
                    <a:pt x="3114199" y="321469"/>
                    <a:pt x="3114199" y="320516"/>
                    <a:pt x="3114199" y="319564"/>
                  </a:cubicBezTo>
                  <a:cubicBezTo>
                    <a:pt x="3113246" y="315754"/>
                    <a:pt x="3112294" y="312896"/>
                    <a:pt x="3110389" y="309086"/>
                  </a:cubicBezTo>
                  <a:cubicBezTo>
                    <a:pt x="3110389" y="306229"/>
                    <a:pt x="3109436" y="303371"/>
                    <a:pt x="3109436" y="300514"/>
                  </a:cubicBezTo>
                  <a:cubicBezTo>
                    <a:pt x="3109436" y="300514"/>
                    <a:pt x="3109436" y="299561"/>
                    <a:pt x="3109436" y="299561"/>
                  </a:cubicBezTo>
                  <a:cubicBezTo>
                    <a:pt x="3108484" y="297656"/>
                    <a:pt x="3109436" y="295751"/>
                    <a:pt x="3110389" y="292894"/>
                  </a:cubicBezTo>
                  <a:close/>
                  <a:moveTo>
                    <a:pt x="3098006" y="350996"/>
                  </a:moveTo>
                  <a:cubicBezTo>
                    <a:pt x="3098006" y="350996"/>
                    <a:pt x="3098006" y="350996"/>
                    <a:pt x="3098006" y="350996"/>
                  </a:cubicBezTo>
                  <a:cubicBezTo>
                    <a:pt x="3098006" y="351949"/>
                    <a:pt x="3098006" y="352901"/>
                    <a:pt x="3098006" y="353854"/>
                  </a:cubicBezTo>
                  <a:cubicBezTo>
                    <a:pt x="3098006" y="353854"/>
                    <a:pt x="3098006" y="353854"/>
                    <a:pt x="3097054" y="354806"/>
                  </a:cubicBezTo>
                  <a:cubicBezTo>
                    <a:pt x="3097054" y="353854"/>
                    <a:pt x="3098006" y="351949"/>
                    <a:pt x="3098006" y="350996"/>
                  </a:cubicBezTo>
                  <a:close/>
                  <a:moveTo>
                    <a:pt x="3093244" y="377666"/>
                  </a:moveTo>
                  <a:cubicBezTo>
                    <a:pt x="3095149" y="372904"/>
                    <a:pt x="3097054" y="370046"/>
                    <a:pt x="3097054" y="370046"/>
                  </a:cubicBezTo>
                  <a:cubicBezTo>
                    <a:pt x="3097054" y="370046"/>
                    <a:pt x="3096101" y="371951"/>
                    <a:pt x="3094196" y="373856"/>
                  </a:cubicBezTo>
                  <a:cubicBezTo>
                    <a:pt x="3095149" y="368141"/>
                    <a:pt x="3096101" y="361474"/>
                    <a:pt x="3097054" y="355759"/>
                  </a:cubicBezTo>
                  <a:cubicBezTo>
                    <a:pt x="3097054" y="354806"/>
                    <a:pt x="3098006" y="354806"/>
                    <a:pt x="3098006" y="353854"/>
                  </a:cubicBezTo>
                  <a:cubicBezTo>
                    <a:pt x="3098006" y="359569"/>
                    <a:pt x="3098006" y="366236"/>
                    <a:pt x="3098006" y="371951"/>
                  </a:cubicBezTo>
                  <a:cubicBezTo>
                    <a:pt x="3098006" y="375761"/>
                    <a:pt x="3098006" y="379571"/>
                    <a:pt x="3098006" y="383381"/>
                  </a:cubicBezTo>
                  <a:lnTo>
                    <a:pt x="3095149" y="383381"/>
                  </a:lnTo>
                  <a:cubicBezTo>
                    <a:pt x="3095149" y="383381"/>
                    <a:pt x="3095149" y="383381"/>
                    <a:pt x="3095149" y="383381"/>
                  </a:cubicBezTo>
                  <a:cubicBezTo>
                    <a:pt x="3094196" y="381476"/>
                    <a:pt x="3094196" y="379571"/>
                    <a:pt x="3093244" y="378619"/>
                  </a:cubicBezTo>
                  <a:cubicBezTo>
                    <a:pt x="3093244" y="379571"/>
                    <a:pt x="3093244" y="378619"/>
                    <a:pt x="3093244" y="377666"/>
                  </a:cubicBezTo>
                  <a:close/>
                  <a:moveTo>
                    <a:pt x="3084671" y="293846"/>
                  </a:moveTo>
                  <a:cubicBezTo>
                    <a:pt x="3084671" y="288131"/>
                    <a:pt x="3085624" y="282416"/>
                    <a:pt x="3085624" y="276701"/>
                  </a:cubicBezTo>
                  <a:cubicBezTo>
                    <a:pt x="3085624" y="277654"/>
                    <a:pt x="3085624" y="277654"/>
                    <a:pt x="3085624" y="278606"/>
                  </a:cubicBezTo>
                  <a:cubicBezTo>
                    <a:pt x="3086576" y="281464"/>
                    <a:pt x="3087529" y="285274"/>
                    <a:pt x="3088481" y="289084"/>
                  </a:cubicBezTo>
                  <a:cubicBezTo>
                    <a:pt x="3087529" y="290036"/>
                    <a:pt x="3087529" y="290989"/>
                    <a:pt x="3086576" y="291941"/>
                  </a:cubicBezTo>
                  <a:cubicBezTo>
                    <a:pt x="3085624" y="292894"/>
                    <a:pt x="3084671" y="294799"/>
                    <a:pt x="3084671" y="296704"/>
                  </a:cubicBezTo>
                  <a:cubicBezTo>
                    <a:pt x="3084671" y="294799"/>
                    <a:pt x="3084671" y="294799"/>
                    <a:pt x="3084671" y="293846"/>
                  </a:cubicBezTo>
                  <a:close/>
                  <a:moveTo>
                    <a:pt x="3086576" y="348139"/>
                  </a:moveTo>
                  <a:cubicBezTo>
                    <a:pt x="3086576" y="349091"/>
                    <a:pt x="3086576" y="349091"/>
                    <a:pt x="3086576" y="350044"/>
                  </a:cubicBezTo>
                  <a:cubicBezTo>
                    <a:pt x="3085624" y="353854"/>
                    <a:pt x="3084671" y="357664"/>
                    <a:pt x="3083719" y="361474"/>
                  </a:cubicBezTo>
                  <a:cubicBezTo>
                    <a:pt x="3083719" y="360521"/>
                    <a:pt x="3083719" y="358616"/>
                    <a:pt x="3083719" y="357664"/>
                  </a:cubicBezTo>
                  <a:cubicBezTo>
                    <a:pt x="3084671" y="353854"/>
                    <a:pt x="3085624" y="350996"/>
                    <a:pt x="3086576" y="348139"/>
                  </a:cubicBezTo>
                  <a:close/>
                  <a:moveTo>
                    <a:pt x="3057049" y="235744"/>
                  </a:moveTo>
                  <a:cubicBezTo>
                    <a:pt x="3058001" y="227171"/>
                    <a:pt x="3058954" y="218599"/>
                    <a:pt x="3059906" y="210979"/>
                  </a:cubicBezTo>
                  <a:cubicBezTo>
                    <a:pt x="3060859" y="204311"/>
                    <a:pt x="3061811" y="197644"/>
                    <a:pt x="3062764" y="191929"/>
                  </a:cubicBezTo>
                  <a:cubicBezTo>
                    <a:pt x="3063716" y="195739"/>
                    <a:pt x="3065621" y="201454"/>
                    <a:pt x="3067526" y="209074"/>
                  </a:cubicBezTo>
                  <a:cubicBezTo>
                    <a:pt x="3067526" y="213836"/>
                    <a:pt x="3066574" y="217646"/>
                    <a:pt x="3066574" y="222409"/>
                  </a:cubicBezTo>
                  <a:cubicBezTo>
                    <a:pt x="3065621" y="231934"/>
                    <a:pt x="3064669" y="242411"/>
                    <a:pt x="3063716" y="253841"/>
                  </a:cubicBezTo>
                  <a:cubicBezTo>
                    <a:pt x="3062764" y="258604"/>
                    <a:pt x="3060859" y="263366"/>
                    <a:pt x="3059906" y="268129"/>
                  </a:cubicBezTo>
                  <a:cubicBezTo>
                    <a:pt x="3058954" y="262414"/>
                    <a:pt x="3058001" y="257651"/>
                    <a:pt x="3057049" y="252889"/>
                  </a:cubicBezTo>
                  <a:cubicBezTo>
                    <a:pt x="3057049" y="250984"/>
                    <a:pt x="3056096" y="250031"/>
                    <a:pt x="3056096" y="248126"/>
                  </a:cubicBezTo>
                  <a:cubicBezTo>
                    <a:pt x="3056096" y="244316"/>
                    <a:pt x="3056096" y="239554"/>
                    <a:pt x="3057049" y="235744"/>
                  </a:cubicBezTo>
                  <a:close/>
                  <a:moveTo>
                    <a:pt x="3002756" y="307181"/>
                  </a:moveTo>
                  <a:cubicBezTo>
                    <a:pt x="3002756" y="308134"/>
                    <a:pt x="3001804" y="309086"/>
                    <a:pt x="3001804" y="310039"/>
                  </a:cubicBezTo>
                  <a:cubicBezTo>
                    <a:pt x="3001804" y="308134"/>
                    <a:pt x="3002756" y="307181"/>
                    <a:pt x="3002756" y="305276"/>
                  </a:cubicBezTo>
                  <a:cubicBezTo>
                    <a:pt x="3004661" y="298609"/>
                    <a:pt x="3005614" y="292894"/>
                    <a:pt x="3006566" y="286226"/>
                  </a:cubicBezTo>
                  <a:cubicBezTo>
                    <a:pt x="3007519" y="287179"/>
                    <a:pt x="3007519" y="289084"/>
                    <a:pt x="3008471" y="290036"/>
                  </a:cubicBezTo>
                  <a:cubicBezTo>
                    <a:pt x="3006566" y="295751"/>
                    <a:pt x="3004661" y="301466"/>
                    <a:pt x="3002756" y="307181"/>
                  </a:cubicBezTo>
                  <a:close/>
                  <a:moveTo>
                    <a:pt x="3036094" y="249079"/>
                  </a:moveTo>
                  <a:cubicBezTo>
                    <a:pt x="3036094" y="254794"/>
                    <a:pt x="3036094" y="260509"/>
                    <a:pt x="3036094" y="266224"/>
                  </a:cubicBezTo>
                  <a:cubicBezTo>
                    <a:pt x="3035141" y="263366"/>
                    <a:pt x="3034189" y="260509"/>
                    <a:pt x="3033236" y="258604"/>
                  </a:cubicBezTo>
                  <a:cubicBezTo>
                    <a:pt x="3034189" y="255746"/>
                    <a:pt x="3035141" y="252889"/>
                    <a:pt x="3036094" y="249079"/>
                  </a:cubicBezTo>
                  <a:close/>
                  <a:moveTo>
                    <a:pt x="3030379" y="269081"/>
                  </a:moveTo>
                  <a:cubicBezTo>
                    <a:pt x="3030379" y="269081"/>
                    <a:pt x="3030379" y="270034"/>
                    <a:pt x="3030379" y="269081"/>
                  </a:cubicBezTo>
                  <a:cubicBezTo>
                    <a:pt x="3030379" y="270034"/>
                    <a:pt x="3030379" y="270034"/>
                    <a:pt x="3030379" y="269081"/>
                  </a:cubicBezTo>
                  <a:cubicBezTo>
                    <a:pt x="3030379" y="269081"/>
                    <a:pt x="3030379" y="269081"/>
                    <a:pt x="3030379" y="269081"/>
                  </a:cubicBezTo>
                  <a:close/>
                  <a:moveTo>
                    <a:pt x="3027521" y="353854"/>
                  </a:moveTo>
                  <a:cubicBezTo>
                    <a:pt x="3026569" y="356711"/>
                    <a:pt x="3024664" y="360521"/>
                    <a:pt x="3023711" y="364331"/>
                  </a:cubicBezTo>
                  <a:cubicBezTo>
                    <a:pt x="3021806" y="370046"/>
                    <a:pt x="3019901" y="376714"/>
                    <a:pt x="3017996" y="383381"/>
                  </a:cubicBezTo>
                  <a:cubicBezTo>
                    <a:pt x="3017996" y="384334"/>
                    <a:pt x="3017044" y="384334"/>
                    <a:pt x="3017044" y="385286"/>
                  </a:cubicBezTo>
                  <a:cubicBezTo>
                    <a:pt x="3016091" y="382429"/>
                    <a:pt x="3015139" y="379571"/>
                    <a:pt x="3015139" y="376714"/>
                  </a:cubicBezTo>
                  <a:cubicBezTo>
                    <a:pt x="3017044" y="372904"/>
                    <a:pt x="3018949" y="370046"/>
                    <a:pt x="3020854" y="366236"/>
                  </a:cubicBezTo>
                  <a:cubicBezTo>
                    <a:pt x="3023711" y="361474"/>
                    <a:pt x="3025616" y="357664"/>
                    <a:pt x="3028474" y="352901"/>
                  </a:cubicBezTo>
                  <a:cubicBezTo>
                    <a:pt x="3027521" y="352901"/>
                    <a:pt x="3027521" y="353854"/>
                    <a:pt x="3027521" y="353854"/>
                  </a:cubicBezTo>
                  <a:close/>
                  <a:moveTo>
                    <a:pt x="3021806" y="230029"/>
                  </a:moveTo>
                  <a:cubicBezTo>
                    <a:pt x="3022759" y="231934"/>
                    <a:pt x="3022759" y="235744"/>
                    <a:pt x="3024664" y="241459"/>
                  </a:cubicBezTo>
                  <a:cubicBezTo>
                    <a:pt x="3024664" y="241459"/>
                    <a:pt x="3024664" y="241459"/>
                    <a:pt x="3024664" y="241459"/>
                  </a:cubicBezTo>
                  <a:cubicBezTo>
                    <a:pt x="3022759" y="237649"/>
                    <a:pt x="3022759" y="233839"/>
                    <a:pt x="3021806" y="230029"/>
                  </a:cubicBezTo>
                  <a:cubicBezTo>
                    <a:pt x="3021806" y="230029"/>
                    <a:pt x="3021806" y="230029"/>
                    <a:pt x="3021806" y="230029"/>
                  </a:cubicBezTo>
                  <a:close/>
                  <a:moveTo>
                    <a:pt x="3020854" y="305276"/>
                  </a:moveTo>
                  <a:cubicBezTo>
                    <a:pt x="3020854" y="305276"/>
                    <a:pt x="3020854" y="305276"/>
                    <a:pt x="3020854" y="305276"/>
                  </a:cubicBezTo>
                  <a:cubicBezTo>
                    <a:pt x="3020854" y="306229"/>
                    <a:pt x="3020854" y="305276"/>
                    <a:pt x="3020854" y="305276"/>
                  </a:cubicBezTo>
                  <a:cubicBezTo>
                    <a:pt x="3020854" y="305276"/>
                    <a:pt x="3020854" y="305276"/>
                    <a:pt x="3020854" y="305276"/>
                  </a:cubicBezTo>
                  <a:close/>
                  <a:moveTo>
                    <a:pt x="3017996" y="317659"/>
                  </a:moveTo>
                  <a:cubicBezTo>
                    <a:pt x="3018949" y="321469"/>
                    <a:pt x="3020854" y="325279"/>
                    <a:pt x="3021806" y="329089"/>
                  </a:cubicBezTo>
                  <a:cubicBezTo>
                    <a:pt x="3022759" y="332899"/>
                    <a:pt x="3023711" y="336709"/>
                    <a:pt x="3025616" y="339566"/>
                  </a:cubicBezTo>
                  <a:cubicBezTo>
                    <a:pt x="3020854" y="345281"/>
                    <a:pt x="3016091" y="351949"/>
                    <a:pt x="3011329" y="359569"/>
                  </a:cubicBezTo>
                  <a:cubicBezTo>
                    <a:pt x="3011329" y="359569"/>
                    <a:pt x="3011329" y="359569"/>
                    <a:pt x="3011329" y="360521"/>
                  </a:cubicBezTo>
                  <a:cubicBezTo>
                    <a:pt x="3010376" y="357664"/>
                    <a:pt x="3009424" y="354806"/>
                    <a:pt x="3009424" y="351949"/>
                  </a:cubicBezTo>
                  <a:cubicBezTo>
                    <a:pt x="3011329" y="340519"/>
                    <a:pt x="3015139" y="329089"/>
                    <a:pt x="3017996" y="317659"/>
                  </a:cubicBezTo>
                  <a:close/>
                  <a:moveTo>
                    <a:pt x="3013234" y="257651"/>
                  </a:moveTo>
                  <a:cubicBezTo>
                    <a:pt x="3013234" y="258604"/>
                    <a:pt x="3013234" y="259556"/>
                    <a:pt x="3014186" y="261461"/>
                  </a:cubicBezTo>
                  <a:cubicBezTo>
                    <a:pt x="3014186" y="263366"/>
                    <a:pt x="3015139" y="266224"/>
                    <a:pt x="3015139" y="269081"/>
                  </a:cubicBezTo>
                  <a:cubicBezTo>
                    <a:pt x="3013234" y="273844"/>
                    <a:pt x="3012281" y="279559"/>
                    <a:pt x="3010376" y="284321"/>
                  </a:cubicBezTo>
                  <a:cubicBezTo>
                    <a:pt x="3010376" y="283369"/>
                    <a:pt x="3009424" y="283369"/>
                    <a:pt x="3009424" y="282416"/>
                  </a:cubicBezTo>
                  <a:cubicBezTo>
                    <a:pt x="3009424" y="281464"/>
                    <a:pt x="3008471" y="280511"/>
                    <a:pt x="3008471" y="279559"/>
                  </a:cubicBezTo>
                  <a:cubicBezTo>
                    <a:pt x="3008471" y="278606"/>
                    <a:pt x="3008471" y="277654"/>
                    <a:pt x="3009424" y="276701"/>
                  </a:cubicBezTo>
                  <a:cubicBezTo>
                    <a:pt x="3010376" y="270034"/>
                    <a:pt x="3011329" y="263366"/>
                    <a:pt x="3013234" y="257651"/>
                  </a:cubicBezTo>
                  <a:close/>
                  <a:moveTo>
                    <a:pt x="3008471" y="230029"/>
                  </a:moveTo>
                  <a:cubicBezTo>
                    <a:pt x="3009424" y="234791"/>
                    <a:pt x="3010376" y="239554"/>
                    <a:pt x="3010376" y="244316"/>
                  </a:cubicBezTo>
                  <a:cubicBezTo>
                    <a:pt x="3009424" y="246221"/>
                    <a:pt x="3008471" y="249079"/>
                    <a:pt x="3007519" y="250984"/>
                  </a:cubicBezTo>
                  <a:cubicBezTo>
                    <a:pt x="3005614" y="254794"/>
                    <a:pt x="3003709" y="259556"/>
                    <a:pt x="3001804" y="264319"/>
                  </a:cubicBezTo>
                  <a:cubicBezTo>
                    <a:pt x="3003709" y="251936"/>
                    <a:pt x="3005614" y="240506"/>
                    <a:pt x="3008471" y="230029"/>
                  </a:cubicBezTo>
                  <a:close/>
                  <a:moveTo>
                    <a:pt x="3003709" y="195739"/>
                  </a:moveTo>
                  <a:cubicBezTo>
                    <a:pt x="3003709" y="198596"/>
                    <a:pt x="3004661" y="202406"/>
                    <a:pt x="3004661" y="205264"/>
                  </a:cubicBezTo>
                  <a:cubicBezTo>
                    <a:pt x="3002756" y="210979"/>
                    <a:pt x="3000851" y="216694"/>
                    <a:pt x="2997994" y="223361"/>
                  </a:cubicBezTo>
                  <a:cubicBezTo>
                    <a:pt x="2993231" y="235744"/>
                    <a:pt x="2990374" y="248126"/>
                    <a:pt x="2986564" y="262414"/>
                  </a:cubicBezTo>
                  <a:cubicBezTo>
                    <a:pt x="2985611" y="265271"/>
                    <a:pt x="2985611" y="268129"/>
                    <a:pt x="2984659" y="270986"/>
                  </a:cubicBezTo>
                  <a:cubicBezTo>
                    <a:pt x="2984659" y="270986"/>
                    <a:pt x="2984659" y="270986"/>
                    <a:pt x="2984659" y="270986"/>
                  </a:cubicBezTo>
                  <a:cubicBezTo>
                    <a:pt x="2991326" y="243364"/>
                    <a:pt x="2997994" y="218599"/>
                    <a:pt x="3003709" y="195739"/>
                  </a:cubicBezTo>
                  <a:close/>
                  <a:moveTo>
                    <a:pt x="2974181" y="311944"/>
                  </a:moveTo>
                  <a:cubicBezTo>
                    <a:pt x="2976086" y="302419"/>
                    <a:pt x="2978944" y="292894"/>
                    <a:pt x="2980849" y="284321"/>
                  </a:cubicBezTo>
                  <a:cubicBezTo>
                    <a:pt x="2980849" y="284321"/>
                    <a:pt x="2980849" y="285274"/>
                    <a:pt x="2980849" y="285274"/>
                  </a:cubicBezTo>
                  <a:cubicBezTo>
                    <a:pt x="2978944" y="291941"/>
                    <a:pt x="2977991" y="299561"/>
                    <a:pt x="2976086" y="307181"/>
                  </a:cubicBezTo>
                  <a:cubicBezTo>
                    <a:pt x="2975134" y="313849"/>
                    <a:pt x="2973229" y="320516"/>
                    <a:pt x="2972276" y="327184"/>
                  </a:cubicBezTo>
                  <a:cubicBezTo>
                    <a:pt x="2971324" y="325279"/>
                    <a:pt x="2971324" y="324326"/>
                    <a:pt x="2970371" y="322421"/>
                  </a:cubicBezTo>
                  <a:cubicBezTo>
                    <a:pt x="2972276" y="318611"/>
                    <a:pt x="2973229" y="314801"/>
                    <a:pt x="2974181" y="311944"/>
                  </a:cubicBezTo>
                  <a:close/>
                  <a:moveTo>
                    <a:pt x="2964656" y="349091"/>
                  </a:moveTo>
                  <a:cubicBezTo>
                    <a:pt x="2965609" y="344329"/>
                    <a:pt x="2967514" y="339566"/>
                    <a:pt x="2968466" y="334804"/>
                  </a:cubicBezTo>
                  <a:cubicBezTo>
                    <a:pt x="2969419" y="337661"/>
                    <a:pt x="2970371" y="341471"/>
                    <a:pt x="2970371" y="344329"/>
                  </a:cubicBezTo>
                  <a:cubicBezTo>
                    <a:pt x="2970371" y="347186"/>
                    <a:pt x="2969419" y="350996"/>
                    <a:pt x="2969419" y="353854"/>
                  </a:cubicBezTo>
                  <a:cubicBezTo>
                    <a:pt x="2968466" y="361474"/>
                    <a:pt x="2967514" y="369094"/>
                    <a:pt x="2966561" y="377666"/>
                  </a:cubicBezTo>
                  <a:cubicBezTo>
                    <a:pt x="2965609" y="373856"/>
                    <a:pt x="2964656" y="369094"/>
                    <a:pt x="2963704" y="366236"/>
                  </a:cubicBezTo>
                  <a:cubicBezTo>
                    <a:pt x="2967514" y="350996"/>
                    <a:pt x="2969419" y="341471"/>
                    <a:pt x="2969419" y="341471"/>
                  </a:cubicBezTo>
                  <a:cubicBezTo>
                    <a:pt x="2969419" y="341471"/>
                    <a:pt x="2967514" y="344329"/>
                    <a:pt x="2964656" y="349091"/>
                  </a:cubicBezTo>
                  <a:close/>
                  <a:moveTo>
                    <a:pt x="2958941" y="383381"/>
                  </a:moveTo>
                  <a:cubicBezTo>
                    <a:pt x="2958941" y="383381"/>
                    <a:pt x="2958941" y="384334"/>
                    <a:pt x="2958941" y="383381"/>
                  </a:cubicBezTo>
                  <a:cubicBezTo>
                    <a:pt x="2958941" y="384334"/>
                    <a:pt x="2958941" y="384334"/>
                    <a:pt x="2958941" y="383381"/>
                  </a:cubicBezTo>
                  <a:cubicBezTo>
                    <a:pt x="2958941" y="384334"/>
                    <a:pt x="2958941" y="384334"/>
                    <a:pt x="2958941" y="383381"/>
                  </a:cubicBezTo>
                  <a:cubicBezTo>
                    <a:pt x="2958941" y="384334"/>
                    <a:pt x="2958941" y="383381"/>
                    <a:pt x="2958941" y="383381"/>
                  </a:cubicBezTo>
                  <a:close/>
                  <a:moveTo>
                    <a:pt x="2936081" y="284321"/>
                  </a:moveTo>
                  <a:cubicBezTo>
                    <a:pt x="2935129" y="280511"/>
                    <a:pt x="2935129" y="277654"/>
                    <a:pt x="2934176" y="273844"/>
                  </a:cubicBezTo>
                  <a:cubicBezTo>
                    <a:pt x="2935129" y="272891"/>
                    <a:pt x="2935129" y="271939"/>
                    <a:pt x="2936081" y="271939"/>
                  </a:cubicBezTo>
                  <a:cubicBezTo>
                    <a:pt x="2936081" y="276701"/>
                    <a:pt x="2936081" y="280511"/>
                    <a:pt x="2936081" y="284321"/>
                  </a:cubicBezTo>
                  <a:close/>
                  <a:moveTo>
                    <a:pt x="2936081" y="267176"/>
                  </a:moveTo>
                  <a:cubicBezTo>
                    <a:pt x="2936081" y="267176"/>
                    <a:pt x="2936081" y="267176"/>
                    <a:pt x="2936081" y="267176"/>
                  </a:cubicBezTo>
                  <a:cubicBezTo>
                    <a:pt x="2935129" y="268129"/>
                    <a:pt x="2935129" y="268129"/>
                    <a:pt x="2934176" y="269081"/>
                  </a:cubicBezTo>
                  <a:cubicBezTo>
                    <a:pt x="2935129" y="268129"/>
                    <a:pt x="2935129" y="266224"/>
                    <a:pt x="2936081" y="265271"/>
                  </a:cubicBezTo>
                  <a:cubicBezTo>
                    <a:pt x="2935129" y="265271"/>
                    <a:pt x="2936081" y="266224"/>
                    <a:pt x="2936081" y="267176"/>
                  </a:cubicBezTo>
                  <a:close/>
                  <a:moveTo>
                    <a:pt x="2929414" y="243364"/>
                  </a:moveTo>
                  <a:lnTo>
                    <a:pt x="2930366" y="243364"/>
                  </a:lnTo>
                  <a:lnTo>
                    <a:pt x="2933224" y="244316"/>
                  </a:lnTo>
                  <a:cubicBezTo>
                    <a:pt x="2933224" y="248126"/>
                    <a:pt x="2934176" y="251936"/>
                    <a:pt x="2934176" y="255746"/>
                  </a:cubicBezTo>
                  <a:cubicBezTo>
                    <a:pt x="2933224" y="257651"/>
                    <a:pt x="2932271" y="259556"/>
                    <a:pt x="2931319" y="261461"/>
                  </a:cubicBezTo>
                  <a:cubicBezTo>
                    <a:pt x="2930366" y="256699"/>
                    <a:pt x="2929414" y="251936"/>
                    <a:pt x="2927509" y="248126"/>
                  </a:cubicBezTo>
                  <a:cubicBezTo>
                    <a:pt x="2928461" y="246221"/>
                    <a:pt x="2929414" y="245269"/>
                    <a:pt x="2929414" y="243364"/>
                  </a:cubicBezTo>
                  <a:close/>
                  <a:moveTo>
                    <a:pt x="2917984" y="351949"/>
                  </a:moveTo>
                  <a:cubicBezTo>
                    <a:pt x="2917984" y="352901"/>
                    <a:pt x="2917984" y="352901"/>
                    <a:pt x="2918936" y="353854"/>
                  </a:cubicBezTo>
                  <a:cubicBezTo>
                    <a:pt x="2918936" y="356711"/>
                    <a:pt x="2919889" y="360521"/>
                    <a:pt x="2919889" y="363379"/>
                  </a:cubicBezTo>
                  <a:cubicBezTo>
                    <a:pt x="2920841" y="369094"/>
                    <a:pt x="2921794" y="374809"/>
                    <a:pt x="2922746" y="380524"/>
                  </a:cubicBezTo>
                  <a:cubicBezTo>
                    <a:pt x="2921794" y="380524"/>
                    <a:pt x="2921794" y="380524"/>
                    <a:pt x="2920841" y="380524"/>
                  </a:cubicBezTo>
                  <a:cubicBezTo>
                    <a:pt x="2918936" y="374809"/>
                    <a:pt x="2916079" y="368141"/>
                    <a:pt x="2913221" y="362426"/>
                  </a:cubicBezTo>
                  <a:cubicBezTo>
                    <a:pt x="2914174" y="358616"/>
                    <a:pt x="2916079" y="355759"/>
                    <a:pt x="2917984" y="351949"/>
                  </a:cubicBezTo>
                  <a:close/>
                  <a:moveTo>
                    <a:pt x="2904649" y="224314"/>
                  </a:moveTo>
                  <a:cubicBezTo>
                    <a:pt x="2904649" y="224314"/>
                    <a:pt x="2904649" y="224314"/>
                    <a:pt x="2904649" y="224314"/>
                  </a:cubicBezTo>
                  <a:cubicBezTo>
                    <a:pt x="2904649" y="228124"/>
                    <a:pt x="2903696" y="232886"/>
                    <a:pt x="2903696" y="237649"/>
                  </a:cubicBezTo>
                  <a:cubicBezTo>
                    <a:pt x="2903696" y="241459"/>
                    <a:pt x="2902744" y="245269"/>
                    <a:pt x="2902744" y="250031"/>
                  </a:cubicBezTo>
                  <a:cubicBezTo>
                    <a:pt x="2901791" y="245269"/>
                    <a:pt x="2901791" y="240506"/>
                    <a:pt x="2900839" y="235744"/>
                  </a:cubicBezTo>
                  <a:cubicBezTo>
                    <a:pt x="2901791" y="231934"/>
                    <a:pt x="2902744" y="228124"/>
                    <a:pt x="2904649" y="224314"/>
                  </a:cubicBezTo>
                  <a:close/>
                  <a:moveTo>
                    <a:pt x="2885599" y="294799"/>
                  </a:moveTo>
                  <a:cubicBezTo>
                    <a:pt x="2886551" y="290036"/>
                    <a:pt x="2887504" y="285274"/>
                    <a:pt x="2888456" y="280511"/>
                  </a:cubicBezTo>
                  <a:cubicBezTo>
                    <a:pt x="2888456" y="289084"/>
                    <a:pt x="2889409" y="298609"/>
                    <a:pt x="2889409" y="308134"/>
                  </a:cubicBezTo>
                  <a:cubicBezTo>
                    <a:pt x="2887504" y="304324"/>
                    <a:pt x="2886551" y="301466"/>
                    <a:pt x="2884646" y="297656"/>
                  </a:cubicBezTo>
                  <a:cubicBezTo>
                    <a:pt x="2884646" y="296704"/>
                    <a:pt x="2885599" y="295751"/>
                    <a:pt x="2885599" y="294799"/>
                  </a:cubicBezTo>
                  <a:close/>
                  <a:moveTo>
                    <a:pt x="2869406" y="301466"/>
                  </a:moveTo>
                  <a:cubicBezTo>
                    <a:pt x="2869406" y="302419"/>
                    <a:pt x="2869406" y="302419"/>
                    <a:pt x="2869406" y="301466"/>
                  </a:cubicBezTo>
                  <a:cubicBezTo>
                    <a:pt x="2869406" y="302419"/>
                    <a:pt x="2869406" y="302419"/>
                    <a:pt x="2869406" y="302419"/>
                  </a:cubicBezTo>
                  <a:cubicBezTo>
                    <a:pt x="2869406" y="303371"/>
                    <a:pt x="2868454" y="304324"/>
                    <a:pt x="2868454" y="305276"/>
                  </a:cubicBezTo>
                  <a:cubicBezTo>
                    <a:pt x="2864644" y="298609"/>
                    <a:pt x="2860834" y="290989"/>
                    <a:pt x="2856071" y="284321"/>
                  </a:cubicBezTo>
                  <a:cubicBezTo>
                    <a:pt x="2856071" y="283369"/>
                    <a:pt x="2855119" y="283369"/>
                    <a:pt x="2855119" y="282416"/>
                  </a:cubicBezTo>
                  <a:cubicBezTo>
                    <a:pt x="2856071" y="279559"/>
                    <a:pt x="2857024" y="276701"/>
                    <a:pt x="2857976" y="273844"/>
                  </a:cubicBezTo>
                  <a:cubicBezTo>
                    <a:pt x="2861786" y="283369"/>
                    <a:pt x="2865596" y="292894"/>
                    <a:pt x="2869406" y="301466"/>
                  </a:cubicBezTo>
                  <a:close/>
                  <a:moveTo>
                    <a:pt x="2851309" y="262414"/>
                  </a:moveTo>
                  <a:cubicBezTo>
                    <a:pt x="2851309" y="261461"/>
                    <a:pt x="2851309" y="260509"/>
                    <a:pt x="2851309" y="259556"/>
                  </a:cubicBezTo>
                  <a:cubicBezTo>
                    <a:pt x="2852261" y="262414"/>
                    <a:pt x="2853214" y="264319"/>
                    <a:pt x="2855119" y="267176"/>
                  </a:cubicBezTo>
                  <a:cubicBezTo>
                    <a:pt x="2855119" y="268129"/>
                    <a:pt x="2856071" y="268129"/>
                    <a:pt x="2856071" y="269081"/>
                  </a:cubicBezTo>
                  <a:cubicBezTo>
                    <a:pt x="2855119" y="270986"/>
                    <a:pt x="2853214" y="273844"/>
                    <a:pt x="2851309" y="276701"/>
                  </a:cubicBezTo>
                  <a:cubicBezTo>
                    <a:pt x="2851309" y="275749"/>
                    <a:pt x="2850356" y="275749"/>
                    <a:pt x="2850356" y="274796"/>
                  </a:cubicBezTo>
                  <a:cubicBezTo>
                    <a:pt x="2850356" y="270986"/>
                    <a:pt x="2851309" y="267176"/>
                    <a:pt x="2851309" y="262414"/>
                  </a:cubicBezTo>
                  <a:close/>
                  <a:moveTo>
                    <a:pt x="2848451" y="312896"/>
                  </a:moveTo>
                  <a:cubicBezTo>
                    <a:pt x="2848451" y="309086"/>
                    <a:pt x="2848451" y="306229"/>
                    <a:pt x="2848451" y="302419"/>
                  </a:cubicBezTo>
                  <a:cubicBezTo>
                    <a:pt x="2852261" y="310039"/>
                    <a:pt x="2857024" y="318611"/>
                    <a:pt x="2860834" y="327184"/>
                  </a:cubicBezTo>
                  <a:cubicBezTo>
                    <a:pt x="2858929" y="332899"/>
                    <a:pt x="2857024" y="338614"/>
                    <a:pt x="2856071" y="344329"/>
                  </a:cubicBezTo>
                  <a:cubicBezTo>
                    <a:pt x="2855119" y="348139"/>
                    <a:pt x="2854166" y="351949"/>
                    <a:pt x="2853214" y="355759"/>
                  </a:cubicBezTo>
                  <a:cubicBezTo>
                    <a:pt x="2852261" y="350996"/>
                    <a:pt x="2852261" y="346234"/>
                    <a:pt x="2851309" y="341471"/>
                  </a:cubicBezTo>
                  <a:cubicBezTo>
                    <a:pt x="2850356" y="332899"/>
                    <a:pt x="2849404" y="324326"/>
                    <a:pt x="2847499" y="316706"/>
                  </a:cubicBezTo>
                  <a:cubicBezTo>
                    <a:pt x="2848451" y="315754"/>
                    <a:pt x="2848451" y="313849"/>
                    <a:pt x="2848451" y="312896"/>
                  </a:cubicBezTo>
                  <a:close/>
                  <a:moveTo>
                    <a:pt x="2836069" y="226219"/>
                  </a:moveTo>
                  <a:cubicBezTo>
                    <a:pt x="2839879" y="234791"/>
                    <a:pt x="2843689" y="243364"/>
                    <a:pt x="2847499" y="251936"/>
                  </a:cubicBezTo>
                  <a:cubicBezTo>
                    <a:pt x="2846546" y="254794"/>
                    <a:pt x="2845594" y="257651"/>
                    <a:pt x="2844641" y="261461"/>
                  </a:cubicBezTo>
                  <a:cubicBezTo>
                    <a:pt x="2844641" y="262414"/>
                    <a:pt x="2843689" y="264319"/>
                    <a:pt x="2843689" y="266224"/>
                  </a:cubicBezTo>
                  <a:cubicBezTo>
                    <a:pt x="2841784" y="263366"/>
                    <a:pt x="2840831" y="261461"/>
                    <a:pt x="2838926" y="258604"/>
                  </a:cubicBezTo>
                  <a:cubicBezTo>
                    <a:pt x="2837974" y="249079"/>
                    <a:pt x="2836069" y="238601"/>
                    <a:pt x="2834164" y="229076"/>
                  </a:cubicBezTo>
                  <a:cubicBezTo>
                    <a:pt x="2836069" y="228124"/>
                    <a:pt x="2836069" y="227171"/>
                    <a:pt x="2836069" y="226219"/>
                  </a:cubicBezTo>
                  <a:close/>
                  <a:moveTo>
                    <a:pt x="2830354" y="305276"/>
                  </a:moveTo>
                  <a:cubicBezTo>
                    <a:pt x="2830354" y="308134"/>
                    <a:pt x="2830354" y="310039"/>
                    <a:pt x="2831306" y="312896"/>
                  </a:cubicBezTo>
                  <a:cubicBezTo>
                    <a:pt x="2831306" y="312896"/>
                    <a:pt x="2831306" y="312896"/>
                    <a:pt x="2831306" y="313849"/>
                  </a:cubicBezTo>
                  <a:cubicBezTo>
                    <a:pt x="2831306" y="311944"/>
                    <a:pt x="2831306" y="310039"/>
                    <a:pt x="2830354" y="308134"/>
                  </a:cubicBezTo>
                  <a:cubicBezTo>
                    <a:pt x="2830354" y="307181"/>
                    <a:pt x="2830354" y="306229"/>
                    <a:pt x="2830354" y="305276"/>
                  </a:cubicBezTo>
                  <a:close/>
                  <a:moveTo>
                    <a:pt x="2829401" y="292894"/>
                  </a:moveTo>
                  <a:cubicBezTo>
                    <a:pt x="2829401" y="294799"/>
                    <a:pt x="2829401" y="296704"/>
                    <a:pt x="2830354" y="299561"/>
                  </a:cubicBezTo>
                  <a:cubicBezTo>
                    <a:pt x="2830354" y="300514"/>
                    <a:pt x="2830354" y="300514"/>
                    <a:pt x="2829401" y="301466"/>
                  </a:cubicBezTo>
                  <a:cubicBezTo>
                    <a:pt x="2829401" y="300514"/>
                    <a:pt x="2829401" y="300514"/>
                    <a:pt x="2829401" y="299561"/>
                  </a:cubicBezTo>
                  <a:cubicBezTo>
                    <a:pt x="2828449" y="296704"/>
                    <a:pt x="2828449" y="294799"/>
                    <a:pt x="2829401" y="292894"/>
                  </a:cubicBezTo>
                  <a:close/>
                  <a:moveTo>
                    <a:pt x="2785586" y="268129"/>
                  </a:moveTo>
                  <a:cubicBezTo>
                    <a:pt x="2784634" y="269081"/>
                    <a:pt x="2783681" y="270034"/>
                    <a:pt x="2782729" y="271939"/>
                  </a:cubicBezTo>
                  <a:cubicBezTo>
                    <a:pt x="2782729" y="270986"/>
                    <a:pt x="2782729" y="270034"/>
                    <a:pt x="2782729" y="269081"/>
                  </a:cubicBezTo>
                  <a:cubicBezTo>
                    <a:pt x="2782729" y="268129"/>
                    <a:pt x="2782729" y="266224"/>
                    <a:pt x="2782729" y="265271"/>
                  </a:cubicBezTo>
                  <a:cubicBezTo>
                    <a:pt x="2783681" y="263366"/>
                    <a:pt x="2785586" y="260509"/>
                    <a:pt x="2786539" y="258604"/>
                  </a:cubicBezTo>
                  <a:cubicBezTo>
                    <a:pt x="2786539" y="259556"/>
                    <a:pt x="2786539" y="259556"/>
                    <a:pt x="2786539" y="260509"/>
                  </a:cubicBezTo>
                  <a:cubicBezTo>
                    <a:pt x="2785586" y="262414"/>
                    <a:pt x="2785586" y="265271"/>
                    <a:pt x="2785586" y="268129"/>
                  </a:cubicBezTo>
                  <a:close/>
                  <a:moveTo>
                    <a:pt x="2796064" y="268129"/>
                  </a:moveTo>
                  <a:cubicBezTo>
                    <a:pt x="2796064" y="267176"/>
                    <a:pt x="2796064" y="267176"/>
                    <a:pt x="2796064" y="268129"/>
                  </a:cubicBezTo>
                  <a:cubicBezTo>
                    <a:pt x="2797016" y="266224"/>
                    <a:pt x="2797969" y="264319"/>
                    <a:pt x="2798921" y="263366"/>
                  </a:cubicBezTo>
                  <a:cubicBezTo>
                    <a:pt x="2797969" y="264319"/>
                    <a:pt x="2797016" y="266224"/>
                    <a:pt x="2796064" y="268129"/>
                  </a:cubicBezTo>
                  <a:close/>
                  <a:moveTo>
                    <a:pt x="2803684" y="314801"/>
                  </a:moveTo>
                  <a:cubicBezTo>
                    <a:pt x="2803684" y="315754"/>
                    <a:pt x="2802731" y="317659"/>
                    <a:pt x="2802731" y="318611"/>
                  </a:cubicBezTo>
                  <a:cubicBezTo>
                    <a:pt x="2802731" y="320516"/>
                    <a:pt x="2801779" y="322421"/>
                    <a:pt x="2801779" y="325279"/>
                  </a:cubicBezTo>
                  <a:cubicBezTo>
                    <a:pt x="2800826" y="322421"/>
                    <a:pt x="2799874" y="320516"/>
                    <a:pt x="2798921" y="317659"/>
                  </a:cubicBezTo>
                  <a:cubicBezTo>
                    <a:pt x="2798921" y="316706"/>
                    <a:pt x="2798921" y="316706"/>
                    <a:pt x="2798921" y="315754"/>
                  </a:cubicBezTo>
                  <a:cubicBezTo>
                    <a:pt x="2798921" y="315754"/>
                    <a:pt x="2798921" y="315754"/>
                    <a:pt x="2798921" y="315754"/>
                  </a:cubicBezTo>
                  <a:cubicBezTo>
                    <a:pt x="2799874" y="311944"/>
                    <a:pt x="2800826" y="308134"/>
                    <a:pt x="2801779" y="304324"/>
                  </a:cubicBezTo>
                  <a:cubicBezTo>
                    <a:pt x="2802731" y="307181"/>
                    <a:pt x="2802731" y="310039"/>
                    <a:pt x="2803684" y="312896"/>
                  </a:cubicBezTo>
                  <a:cubicBezTo>
                    <a:pt x="2803684" y="313849"/>
                    <a:pt x="2803684" y="313849"/>
                    <a:pt x="2803684" y="314801"/>
                  </a:cubicBezTo>
                  <a:close/>
                  <a:moveTo>
                    <a:pt x="2810351" y="280511"/>
                  </a:moveTo>
                  <a:cubicBezTo>
                    <a:pt x="2808446" y="287179"/>
                    <a:pt x="2807494" y="294799"/>
                    <a:pt x="2805589" y="302419"/>
                  </a:cubicBezTo>
                  <a:cubicBezTo>
                    <a:pt x="2804636" y="301466"/>
                    <a:pt x="2804636" y="299561"/>
                    <a:pt x="2803684" y="298609"/>
                  </a:cubicBezTo>
                  <a:cubicBezTo>
                    <a:pt x="2803684" y="297656"/>
                    <a:pt x="2803684" y="297656"/>
                    <a:pt x="2802731" y="296704"/>
                  </a:cubicBezTo>
                  <a:cubicBezTo>
                    <a:pt x="2803684" y="292894"/>
                    <a:pt x="2804636" y="290036"/>
                    <a:pt x="2805589" y="287179"/>
                  </a:cubicBezTo>
                  <a:cubicBezTo>
                    <a:pt x="2806541" y="284321"/>
                    <a:pt x="2808446" y="280511"/>
                    <a:pt x="2809399" y="277654"/>
                  </a:cubicBezTo>
                  <a:cubicBezTo>
                    <a:pt x="2809399" y="276701"/>
                    <a:pt x="2810351" y="275749"/>
                    <a:pt x="2810351" y="275749"/>
                  </a:cubicBezTo>
                  <a:cubicBezTo>
                    <a:pt x="2811304" y="276701"/>
                    <a:pt x="2810351" y="278606"/>
                    <a:pt x="2810351" y="280511"/>
                  </a:cubicBezTo>
                  <a:close/>
                  <a:moveTo>
                    <a:pt x="2811304" y="276701"/>
                  </a:moveTo>
                  <a:cubicBezTo>
                    <a:pt x="2811304" y="275749"/>
                    <a:pt x="2811304" y="275749"/>
                    <a:pt x="2811304" y="274796"/>
                  </a:cubicBezTo>
                  <a:cubicBezTo>
                    <a:pt x="2812256" y="273844"/>
                    <a:pt x="2812256" y="271939"/>
                    <a:pt x="2813209" y="270986"/>
                  </a:cubicBezTo>
                  <a:cubicBezTo>
                    <a:pt x="2812256" y="272891"/>
                    <a:pt x="2812256" y="274796"/>
                    <a:pt x="2811304" y="276701"/>
                  </a:cubicBezTo>
                  <a:close/>
                  <a:moveTo>
                    <a:pt x="2812256" y="236696"/>
                  </a:moveTo>
                  <a:cubicBezTo>
                    <a:pt x="2810351" y="239554"/>
                    <a:pt x="2808446" y="243364"/>
                    <a:pt x="2806541" y="246221"/>
                  </a:cubicBezTo>
                  <a:cubicBezTo>
                    <a:pt x="2804636" y="248126"/>
                    <a:pt x="2802731" y="250031"/>
                    <a:pt x="2799874" y="251936"/>
                  </a:cubicBezTo>
                  <a:cubicBezTo>
                    <a:pt x="2797969" y="253841"/>
                    <a:pt x="2796064" y="255746"/>
                    <a:pt x="2794159" y="257651"/>
                  </a:cubicBezTo>
                  <a:cubicBezTo>
                    <a:pt x="2793206" y="252889"/>
                    <a:pt x="2792254" y="249079"/>
                    <a:pt x="2792254" y="245269"/>
                  </a:cubicBezTo>
                  <a:cubicBezTo>
                    <a:pt x="2793206" y="242411"/>
                    <a:pt x="2795111" y="240506"/>
                    <a:pt x="2796064" y="238601"/>
                  </a:cubicBezTo>
                  <a:cubicBezTo>
                    <a:pt x="2799874" y="231934"/>
                    <a:pt x="2802731" y="227171"/>
                    <a:pt x="2804636" y="224314"/>
                  </a:cubicBezTo>
                  <a:cubicBezTo>
                    <a:pt x="2807494" y="228124"/>
                    <a:pt x="2809399" y="232886"/>
                    <a:pt x="2812256" y="236696"/>
                  </a:cubicBezTo>
                  <a:close/>
                  <a:moveTo>
                    <a:pt x="2804636" y="223361"/>
                  </a:moveTo>
                  <a:cubicBezTo>
                    <a:pt x="2802731" y="225266"/>
                    <a:pt x="2798921" y="229076"/>
                    <a:pt x="2794159" y="235744"/>
                  </a:cubicBezTo>
                  <a:cubicBezTo>
                    <a:pt x="2793206" y="236696"/>
                    <a:pt x="2793206" y="237649"/>
                    <a:pt x="2792254" y="238601"/>
                  </a:cubicBezTo>
                  <a:cubicBezTo>
                    <a:pt x="2792254" y="238601"/>
                    <a:pt x="2792254" y="238601"/>
                    <a:pt x="2792254" y="238601"/>
                  </a:cubicBezTo>
                  <a:cubicBezTo>
                    <a:pt x="2794159" y="235744"/>
                    <a:pt x="2795111" y="232886"/>
                    <a:pt x="2796064" y="230981"/>
                  </a:cubicBezTo>
                  <a:cubicBezTo>
                    <a:pt x="2797969" y="226219"/>
                    <a:pt x="2800826" y="222409"/>
                    <a:pt x="2801779" y="219551"/>
                  </a:cubicBezTo>
                  <a:cubicBezTo>
                    <a:pt x="2802731" y="220504"/>
                    <a:pt x="2803684" y="222409"/>
                    <a:pt x="2804636" y="223361"/>
                  </a:cubicBezTo>
                  <a:close/>
                  <a:moveTo>
                    <a:pt x="2787491" y="196691"/>
                  </a:moveTo>
                  <a:cubicBezTo>
                    <a:pt x="2792254" y="203359"/>
                    <a:pt x="2796064" y="210026"/>
                    <a:pt x="2800826" y="217646"/>
                  </a:cubicBezTo>
                  <a:cubicBezTo>
                    <a:pt x="2798921" y="220504"/>
                    <a:pt x="2796064" y="224314"/>
                    <a:pt x="2792254" y="228124"/>
                  </a:cubicBezTo>
                  <a:cubicBezTo>
                    <a:pt x="2791301" y="229076"/>
                    <a:pt x="2790349" y="230029"/>
                    <a:pt x="2790349" y="230981"/>
                  </a:cubicBezTo>
                  <a:cubicBezTo>
                    <a:pt x="2789396" y="226219"/>
                    <a:pt x="2788444" y="222409"/>
                    <a:pt x="2787491" y="218599"/>
                  </a:cubicBezTo>
                  <a:cubicBezTo>
                    <a:pt x="2783681" y="205264"/>
                    <a:pt x="2781776" y="196691"/>
                    <a:pt x="2781776" y="196691"/>
                  </a:cubicBezTo>
                  <a:cubicBezTo>
                    <a:pt x="2781776" y="196691"/>
                    <a:pt x="2782729" y="204311"/>
                    <a:pt x="2783681" y="218599"/>
                  </a:cubicBezTo>
                  <a:cubicBezTo>
                    <a:pt x="2784634" y="224314"/>
                    <a:pt x="2784634" y="230981"/>
                    <a:pt x="2784634" y="237649"/>
                  </a:cubicBezTo>
                  <a:cubicBezTo>
                    <a:pt x="2783681" y="239554"/>
                    <a:pt x="2781776" y="241459"/>
                    <a:pt x="2780824" y="243364"/>
                  </a:cubicBezTo>
                  <a:cubicBezTo>
                    <a:pt x="2779871" y="227171"/>
                    <a:pt x="2779871" y="213836"/>
                    <a:pt x="2778919" y="204311"/>
                  </a:cubicBezTo>
                  <a:cubicBezTo>
                    <a:pt x="2777966" y="192881"/>
                    <a:pt x="2777966" y="186214"/>
                    <a:pt x="2777966" y="186214"/>
                  </a:cubicBezTo>
                  <a:cubicBezTo>
                    <a:pt x="2777966" y="186214"/>
                    <a:pt x="2777014" y="192881"/>
                    <a:pt x="2775109" y="204311"/>
                  </a:cubicBezTo>
                  <a:cubicBezTo>
                    <a:pt x="2775109" y="207169"/>
                    <a:pt x="2774156" y="210979"/>
                    <a:pt x="2774156" y="214789"/>
                  </a:cubicBezTo>
                  <a:cubicBezTo>
                    <a:pt x="2773204" y="206216"/>
                    <a:pt x="2772251" y="198596"/>
                    <a:pt x="2770346" y="190976"/>
                  </a:cubicBezTo>
                  <a:cubicBezTo>
                    <a:pt x="2770346" y="190024"/>
                    <a:pt x="2770346" y="190024"/>
                    <a:pt x="2770346" y="189071"/>
                  </a:cubicBezTo>
                  <a:cubicBezTo>
                    <a:pt x="2770346" y="188119"/>
                    <a:pt x="2770346" y="186214"/>
                    <a:pt x="2770346" y="185261"/>
                  </a:cubicBezTo>
                  <a:cubicBezTo>
                    <a:pt x="2769394" y="174784"/>
                    <a:pt x="2768441" y="168116"/>
                    <a:pt x="2768441" y="166211"/>
                  </a:cubicBezTo>
                  <a:cubicBezTo>
                    <a:pt x="2774156" y="174784"/>
                    <a:pt x="2779871" y="185261"/>
                    <a:pt x="2787491" y="196691"/>
                  </a:cubicBezTo>
                  <a:close/>
                  <a:moveTo>
                    <a:pt x="2767489" y="167164"/>
                  </a:moveTo>
                  <a:cubicBezTo>
                    <a:pt x="2767489" y="168116"/>
                    <a:pt x="2767489" y="169069"/>
                    <a:pt x="2767489" y="170974"/>
                  </a:cubicBezTo>
                  <a:cubicBezTo>
                    <a:pt x="2767489" y="169069"/>
                    <a:pt x="2767489" y="168116"/>
                    <a:pt x="2766536" y="166211"/>
                  </a:cubicBezTo>
                  <a:cubicBezTo>
                    <a:pt x="2767489" y="166211"/>
                    <a:pt x="2767489" y="166211"/>
                    <a:pt x="2767489" y="167164"/>
                  </a:cubicBezTo>
                  <a:close/>
                  <a:moveTo>
                    <a:pt x="2757964" y="342424"/>
                  </a:moveTo>
                  <a:cubicBezTo>
                    <a:pt x="2757011" y="340519"/>
                    <a:pt x="2756059" y="338614"/>
                    <a:pt x="2755106" y="336709"/>
                  </a:cubicBezTo>
                  <a:cubicBezTo>
                    <a:pt x="2756059" y="333851"/>
                    <a:pt x="2757964" y="331946"/>
                    <a:pt x="2758916" y="329089"/>
                  </a:cubicBezTo>
                  <a:cubicBezTo>
                    <a:pt x="2759869" y="330041"/>
                    <a:pt x="2759869" y="331946"/>
                    <a:pt x="2760821" y="332899"/>
                  </a:cubicBezTo>
                  <a:cubicBezTo>
                    <a:pt x="2759869" y="336709"/>
                    <a:pt x="2758916" y="339566"/>
                    <a:pt x="2757964" y="342424"/>
                  </a:cubicBezTo>
                  <a:close/>
                  <a:moveTo>
                    <a:pt x="2762726" y="327184"/>
                  </a:moveTo>
                  <a:cubicBezTo>
                    <a:pt x="2762726" y="328136"/>
                    <a:pt x="2761774" y="329089"/>
                    <a:pt x="2761774" y="330994"/>
                  </a:cubicBezTo>
                  <a:cubicBezTo>
                    <a:pt x="2760821" y="330041"/>
                    <a:pt x="2760821" y="329089"/>
                    <a:pt x="2759869" y="328136"/>
                  </a:cubicBezTo>
                  <a:cubicBezTo>
                    <a:pt x="2760821" y="327184"/>
                    <a:pt x="2760821" y="325279"/>
                    <a:pt x="2761774" y="324326"/>
                  </a:cubicBezTo>
                  <a:cubicBezTo>
                    <a:pt x="2762726" y="325279"/>
                    <a:pt x="2762726" y="326231"/>
                    <a:pt x="2762726" y="327184"/>
                  </a:cubicBezTo>
                  <a:cubicBezTo>
                    <a:pt x="2762726" y="327184"/>
                    <a:pt x="2762726" y="327184"/>
                    <a:pt x="2762726" y="327184"/>
                  </a:cubicBezTo>
                  <a:close/>
                  <a:moveTo>
                    <a:pt x="2762726" y="250031"/>
                  </a:moveTo>
                  <a:cubicBezTo>
                    <a:pt x="2762726" y="256699"/>
                    <a:pt x="2762726" y="263366"/>
                    <a:pt x="2762726" y="270034"/>
                  </a:cubicBezTo>
                  <a:cubicBezTo>
                    <a:pt x="2759869" y="273844"/>
                    <a:pt x="2757011" y="278606"/>
                    <a:pt x="2754154" y="282416"/>
                  </a:cubicBezTo>
                  <a:cubicBezTo>
                    <a:pt x="2754154" y="283369"/>
                    <a:pt x="2753201" y="283369"/>
                    <a:pt x="2753201" y="284321"/>
                  </a:cubicBezTo>
                  <a:cubicBezTo>
                    <a:pt x="2753201" y="283369"/>
                    <a:pt x="2752249" y="283369"/>
                    <a:pt x="2752249" y="282416"/>
                  </a:cubicBezTo>
                  <a:cubicBezTo>
                    <a:pt x="2752249" y="281464"/>
                    <a:pt x="2753201" y="280511"/>
                    <a:pt x="2753201" y="278606"/>
                  </a:cubicBezTo>
                  <a:cubicBezTo>
                    <a:pt x="2754154" y="274796"/>
                    <a:pt x="2755106" y="270986"/>
                    <a:pt x="2756059" y="267176"/>
                  </a:cubicBezTo>
                  <a:cubicBezTo>
                    <a:pt x="2757964" y="260509"/>
                    <a:pt x="2759869" y="255746"/>
                    <a:pt x="2761774" y="251936"/>
                  </a:cubicBezTo>
                  <a:cubicBezTo>
                    <a:pt x="2761774" y="251936"/>
                    <a:pt x="2761774" y="250031"/>
                    <a:pt x="2762726" y="250031"/>
                  </a:cubicBezTo>
                  <a:cubicBezTo>
                    <a:pt x="2762726" y="250031"/>
                    <a:pt x="2762726" y="250031"/>
                    <a:pt x="2762726" y="250031"/>
                  </a:cubicBezTo>
                  <a:close/>
                  <a:moveTo>
                    <a:pt x="2753201" y="250031"/>
                  </a:moveTo>
                  <a:cubicBezTo>
                    <a:pt x="2755106" y="242411"/>
                    <a:pt x="2756059" y="236696"/>
                    <a:pt x="2757011" y="230981"/>
                  </a:cubicBezTo>
                  <a:cubicBezTo>
                    <a:pt x="2758916" y="236696"/>
                    <a:pt x="2760821" y="242411"/>
                    <a:pt x="2762726" y="249079"/>
                  </a:cubicBezTo>
                  <a:cubicBezTo>
                    <a:pt x="2761774" y="250031"/>
                    <a:pt x="2761774" y="250984"/>
                    <a:pt x="2760821" y="252889"/>
                  </a:cubicBezTo>
                  <a:cubicBezTo>
                    <a:pt x="2758916" y="255746"/>
                    <a:pt x="2756059" y="260509"/>
                    <a:pt x="2752249" y="267176"/>
                  </a:cubicBezTo>
                  <a:cubicBezTo>
                    <a:pt x="2750344" y="270034"/>
                    <a:pt x="2749391" y="272891"/>
                    <a:pt x="2748439" y="275749"/>
                  </a:cubicBezTo>
                  <a:cubicBezTo>
                    <a:pt x="2748439" y="275749"/>
                    <a:pt x="2748439" y="274796"/>
                    <a:pt x="2747486" y="274796"/>
                  </a:cubicBezTo>
                  <a:cubicBezTo>
                    <a:pt x="2749391" y="265271"/>
                    <a:pt x="2751296" y="256699"/>
                    <a:pt x="2753201" y="250031"/>
                  </a:cubicBezTo>
                  <a:close/>
                  <a:moveTo>
                    <a:pt x="2749391" y="362426"/>
                  </a:moveTo>
                  <a:cubicBezTo>
                    <a:pt x="2748439" y="360521"/>
                    <a:pt x="2747486" y="359569"/>
                    <a:pt x="2746534" y="357664"/>
                  </a:cubicBezTo>
                  <a:cubicBezTo>
                    <a:pt x="2746534" y="356711"/>
                    <a:pt x="2746534" y="355759"/>
                    <a:pt x="2746534" y="354806"/>
                  </a:cubicBezTo>
                  <a:cubicBezTo>
                    <a:pt x="2747486" y="356711"/>
                    <a:pt x="2748439" y="359569"/>
                    <a:pt x="2749391" y="362426"/>
                  </a:cubicBezTo>
                  <a:close/>
                  <a:moveTo>
                    <a:pt x="2734151" y="258604"/>
                  </a:moveTo>
                  <a:cubicBezTo>
                    <a:pt x="2736056" y="262414"/>
                    <a:pt x="2737961" y="268129"/>
                    <a:pt x="2740819" y="273844"/>
                  </a:cubicBezTo>
                  <a:cubicBezTo>
                    <a:pt x="2738914" y="278606"/>
                    <a:pt x="2737009" y="284321"/>
                    <a:pt x="2735104" y="290036"/>
                  </a:cubicBezTo>
                  <a:cubicBezTo>
                    <a:pt x="2735104" y="288131"/>
                    <a:pt x="2734151" y="287179"/>
                    <a:pt x="2734151" y="287179"/>
                  </a:cubicBezTo>
                  <a:cubicBezTo>
                    <a:pt x="2734151" y="287179"/>
                    <a:pt x="2734151" y="289084"/>
                    <a:pt x="2734151" y="291941"/>
                  </a:cubicBezTo>
                  <a:cubicBezTo>
                    <a:pt x="2734151" y="291941"/>
                    <a:pt x="2734151" y="291941"/>
                    <a:pt x="2734151" y="291941"/>
                  </a:cubicBezTo>
                  <a:cubicBezTo>
                    <a:pt x="2733199" y="290989"/>
                    <a:pt x="2733199" y="290036"/>
                    <a:pt x="2732246" y="289084"/>
                  </a:cubicBezTo>
                  <a:cubicBezTo>
                    <a:pt x="2732246" y="288131"/>
                    <a:pt x="2731294" y="287179"/>
                    <a:pt x="2731294" y="286226"/>
                  </a:cubicBezTo>
                  <a:cubicBezTo>
                    <a:pt x="2733199" y="275749"/>
                    <a:pt x="2734151" y="266224"/>
                    <a:pt x="2734151" y="258604"/>
                  </a:cubicBezTo>
                  <a:close/>
                  <a:moveTo>
                    <a:pt x="2715101" y="290989"/>
                  </a:moveTo>
                  <a:cubicBezTo>
                    <a:pt x="2715101" y="284321"/>
                    <a:pt x="2715101" y="278606"/>
                    <a:pt x="2716054" y="273844"/>
                  </a:cubicBezTo>
                  <a:cubicBezTo>
                    <a:pt x="2717006" y="274796"/>
                    <a:pt x="2717006" y="276701"/>
                    <a:pt x="2717959" y="278606"/>
                  </a:cubicBezTo>
                  <a:cubicBezTo>
                    <a:pt x="2717006" y="287179"/>
                    <a:pt x="2717006" y="295751"/>
                    <a:pt x="2716054" y="304324"/>
                  </a:cubicBezTo>
                  <a:cubicBezTo>
                    <a:pt x="2716054" y="304324"/>
                    <a:pt x="2715101" y="303371"/>
                    <a:pt x="2715101" y="303371"/>
                  </a:cubicBezTo>
                  <a:cubicBezTo>
                    <a:pt x="2714149" y="298609"/>
                    <a:pt x="2715101" y="294799"/>
                    <a:pt x="2715101" y="290989"/>
                  </a:cubicBezTo>
                  <a:close/>
                  <a:moveTo>
                    <a:pt x="2705576" y="243364"/>
                  </a:moveTo>
                  <a:cubicBezTo>
                    <a:pt x="2705576" y="244316"/>
                    <a:pt x="2705576" y="246221"/>
                    <a:pt x="2704624" y="247174"/>
                  </a:cubicBezTo>
                  <a:lnTo>
                    <a:pt x="2703671" y="238601"/>
                  </a:lnTo>
                  <a:cubicBezTo>
                    <a:pt x="2704624" y="239554"/>
                    <a:pt x="2705576" y="241459"/>
                    <a:pt x="2705576" y="243364"/>
                  </a:cubicBezTo>
                  <a:close/>
                  <a:moveTo>
                    <a:pt x="2697956" y="312896"/>
                  </a:moveTo>
                  <a:cubicBezTo>
                    <a:pt x="2697956" y="312896"/>
                    <a:pt x="2697956" y="313849"/>
                    <a:pt x="2697956" y="313849"/>
                  </a:cubicBezTo>
                  <a:cubicBezTo>
                    <a:pt x="2697956" y="312896"/>
                    <a:pt x="2697956" y="311944"/>
                    <a:pt x="2697956" y="310991"/>
                  </a:cubicBezTo>
                  <a:lnTo>
                    <a:pt x="2697956" y="312896"/>
                  </a:lnTo>
                  <a:close/>
                  <a:moveTo>
                    <a:pt x="2664619" y="234791"/>
                  </a:moveTo>
                  <a:cubicBezTo>
                    <a:pt x="2665571" y="235744"/>
                    <a:pt x="2665571" y="237649"/>
                    <a:pt x="2666524" y="238601"/>
                  </a:cubicBezTo>
                  <a:cubicBezTo>
                    <a:pt x="2668429" y="253841"/>
                    <a:pt x="2670334" y="270034"/>
                    <a:pt x="2673191" y="287179"/>
                  </a:cubicBezTo>
                  <a:cubicBezTo>
                    <a:pt x="2672239" y="284321"/>
                    <a:pt x="2671286" y="282416"/>
                    <a:pt x="2670334" y="279559"/>
                  </a:cubicBezTo>
                  <a:cubicBezTo>
                    <a:pt x="2670334" y="279559"/>
                    <a:pt x="2670334" y="278606"/>
                    <a:pt x="2670334" y="278606"/>
                  </a:cubicBezTo>
                  <a:cubicBezTo>
                    <a:pt x="2670334" y="276701"/>
                    <a:pt x="2671286" y="276701"/>
                    <a:pt x="2671286" y="276701"/>
                  </a:cubicBezTo>
                  <a:cubicBezTo>
                    <a:pt x="2671286" y="276701"/>
                    <a:pt x="2671286" y="277654"/>
                    <a:pt x="2670334" y="278606"/>
                  </a:cubicBezTo>
                  <a:cubicBezTo>
                    <a:pt x="2669381" y="266224"/>
                    <a:pt x="2667476" y="255746"/>
                    <a:pt x="2664619" y="246221"/>
                  </a:cubicBezTo>
                  <a:cubicBezTo>
                    <a:pt x="2664619" y="244316"/>
                    <a:pt x="2663666" y="242411"/>
                    <a:pt x="2663666" y="240506"/>
                  </a:cubicBezTo>
                  <a:cubicBezTo>
                    <a:pt x="2663666" y="238601"/>
                    <a:pt x="2663666" y="236696"/>
                    <a:pt x="2664619" y="234791"/>
                  </a:cubicBezTo>
                  <a:close/>
                  <a:moveTo>
                    <a:pt x="2657951" y="339566"/>
                  </a:moveTo>
                  <a:cubicBezTo>
                    <a:pt x="2656999" y="338614"/>
                    <a:pt x="2656999" y="337661"/>
                    <a:pt x="2656046" y="336709"/>
                  </a:cubicBezTo>
                  <a:cubicBezTo>
                    <a:pt x="2656999" y="332899"/>
                    <a:pt x="2656999" y="329089"/>
                    <a:pt x="2657951" y="325279"/>
                  </a:cubicBezTo>
                  <a:cubicBezTo>
                    <a:pt x="2658904" y="330041"/>
                    <a:pt x="2657951" y="334804"/>
                    <a:pt x="2657951" y="339566"/>
                  </a:cubicBezTo>
                  <a:close/>
                  <a:moveTo>
                    <a:pt x="2654141" y="277654"/>
                  </a:moveTo>
                  <a:cubicBezTo>
                    <a:pt x="2656046" y="284321"/>
                    <a:pt x="2657951" y="291941"/>
                    <a:pt x="2659856" y="298609"/>
                  </a:cubicBezTo>
                  <a:cubicBezTo>
                    <a:pt x="2659856" y="298609"/>
                    <a:pt x="2659856" y="299561"/>
                    <a:pt x="2659856" y="299561"/>
                  </a:cubicBezTo>
                  <a:cubicBezTo>
                    <a:pt x="2657951" y="304324"/>
                    <a:pt x="2656046" y="310039"/>
                    <a:pt x="2653189" y="316706"/>
                  </a:cubicBezTo>
                  <a:cubicBezTo>
                    <a:pt x="2653189" y="317659"/>
                    <a:pt x="2652236" y="318611"/>
                    <a:pt x="2652236" y="319564"/>
                  </a:cubicBezTo>
                  <a:cubicBezTo>
                    <a:pt x="2651284" y="316706"/>
                    <a:pt x="2651284" y="313849"/>
                    <a:pt x="2650331" y="311944"/>
                  </a:cubicBezTo>
                  <a:cubicBezTo>
                    <a:pt x="2649379" y="308134"/>
                    <a:pt x="2648426" y="305276"/>
                    <a:pt x="2647474" y="301466"/>
                  </a:cubicBezTo>
                  <a:cubicBezTo>
                    <a:pt x="2649379" y="293846"/>
                    <a:pt x="2651284" y="286226"/>
                    <a:pt x="2654141" y="277654"/>
                  </a:cubicBezTo>
                  <a:close/>
                  <a:moveTo>
                    <a:pt x="2633186" y="283369"/>
                  </a:moveTo>
                  <a:cubicBezTo>
                    <a:pt x="2633186" y="284321"/>
                    <a:pt x="2633186" y="284321"/>
                    <a:pt x="2633186" y="285274"/>
                  </a:cubicBezTo>
                  <a:cubicBezTo>
                    <a:pt x="2633186" y="285274"/>
                    <a:pt x="2633186" y="286226"/>
                    <a:pt x="2633186" y="286226"/>
                  </a:cubicBezTo>
                  <a:cubicBezTo>
                    <a:pt x="2633186" y="287179"/>
                    <a:pt x="2632234" y="288131"/>
                    <a:pt x="2632234" y="290036"/>
                  </a:cubicBezTo>
                  <a:cubicBezTo>
                    <a:pt x="2633186" y="287179"/>
                    <a:pt x="2633186" y="285274"/>
                    <a:pt x="2633186" y="283369"/>
                  </a:cubicBezTo>
                  <a:close/>
                  <a:moveTo>
                    <a:pt x="2578894" y="242411"/>
                  </a:moveTo>
                  <a:cubicBezTo>
                    <a:pt x="2578894" y="242411"/>
                    <a:pt x="2578894" y="241459"/>
                    <a:pt x="2577941" y="241459"/>
                  </a:cubicBezTo>
                  <a:cubicBezTo>
                    <a:pt x="2578894" y="239554"/>
                    <a:pt x="2579846" y="237649"/>
                    <a:pt x="2580799" y="235744"/>
                  </a:cubicBezTo>
                  <a:cubicBezTo>
                    <a:pt x="2580799" y="235744"/>
                    <a:pt x="2580799" y="235744"/>
                    <a:pt x="2580799" y="235744"/>
                  </a:cubicBezTo>
                  <a:cubicBezTo>
                    <a:pt x="2580799" y="238601"/>
                    <a:pt x="2579846" y="240506"/>
                    <a:pt x="2578894" y="242411"/>
                  </a:cubicBezTo>
                  <a:close/>
                  <a:moveTo>
                    <a:pt x="2597944" y="275749"/>
                  </a:moveTo>
                  <a:cubicBezTo>
                    <a:pt x="2597944" y="275749"/>
                    <a:pt x="2597944" y="274796"/>
                    <a:pt x="2597944" y="274796"/>
                  </a:cubicBezTo>
                  <a:cubicBezTo>
                    <a:pt x="2597944" y="274796"/>
                    <a:pt x="2598896" y="275749"/>
                    <a:pt x="2597944" y="275749"/>
                  </a:cubicBezTo>
                  <a:cubicBezTo>
                    <a:pt x="2598896" y="275749"/>
                    <a:pt x="2597944" y="275749"/>
                    <a:pt x="2597944" y="275749"/>
                  </a:cubicBezTo>
                  <a:close/>
                  <a:moveTo>
                    <a:pt x="2616041" y="309086"/>
                  </a:moveTo>
                  <a:cubicBezTo>
                    <a:pt x="2615089" y="312896"/>
                    <a:pt x="2614136" y="315754"/>
                    <a:pt x="2613184" y="319564"/>
                  </a:cubicBezTo>
                  <a:cubicBezTo>
                    <a:pt x="2613184" y="318611"/>
                    <a:pt x="2613184" y="318611"/>
                    <a:pt x="2613184" y="318611"/>
                  </a:cubicBezTo>
                  <a:cubicBezTo>
                    <a:pt x="2613184" y="318611"/>
                    <a:pt x="2613184" y="319564"/>
                    <a:pt x="2613184" y="319564"/>
                  </a:cubicBezTo>
                  <a:cubicBezTo>
                    <a:pt x="2613184" y="319564"/>
                    <a:pt x="2613184" y="319564"/>
                    <a:pt x="2613184" y="319564"/>
                  </a:cubicBezTo>
                  <a:cubicBezTo>
                    <a:pt x="2609374" y="309086"/>
                    <a:pt x="2604611" y="298609"/>
                    <a:pt x="2600801" y="289084"/>
                  </a:cubicBezTo>
                  <a:cubicBezTo>
                    <a:pt x="2601754" y="287179"/>
                    <a:pt x="2602706" y="284321"/>
                    <a:pt x="2602706" y="282416"/>
                  </a:cubicBezTo>
                  <a:cubicBezTo>
                    <a:pt x="2605564" y="287179"/>
                    <a:pt x="2609374" y="292894"/>
                    <a:pt x="2612231" y="299561"/>
                  </a:cubicBezTo>
                  <a:cubicBezTo>
                    <a:pt x="2613184" y="302419"/>
                    <a:pt x="2615089" y="305276"/>
                    <a:pt x="2616041" y="308134"/>
                  </a:cubicBezTo>
                  <a:lnTo>
                    <a:pt x="2616041" y="309086"/>
                  </a:lnTo>
                  <a:lnTo>
                    <a:pt x="2616041" y="309086"/>
                  </a:lnTo>
                  <a:close/>
                  <a:moveTo>
                    <a:pt x="2604611" y="276701"/>
                  </a:moveTo>
                  <a:cubicBezTo>
                    <a:pt x="2605564" y="272891"/>
                    <a:pt x="2607469" y="270034"/>
                    <a:pt x="2608421" y="267176"/>
                  </a:cubicBezTo>
                  <a:cubicBezTo>
                    <a:pt x="2609374" y="271939"/>
                    <a:pt x="2612231" y="279559"/>
                    <a:pt x="2615089" y="290036"/>
                  </a:cubicBezTo>
                  <a:cubicBezTo>
                    <a:pt x="2611279" y="285274"/>
                    <a:pt x="2608421" y="280511"/>
                    <a:pt x="2604611" y="276701"/>
                  </a:cubicBezTo>
                  <a:close/>
                  <a:moveTo>
                    <a:pt x="2614136" y="276701"/>
                  </a:moveTo>
                  <a:cubicBezTo>
                    <a:pt x="2612231" y="271939"/>
                    <a:pt x="2610326" y="268129"/>
                    <a:pt x="2609374" y="266224"/>
                  </a:cubicBezTo>
                  <a:cubicBezTo>
                    <a:pt x="2610326" y="263366"/>
                    <a:pt x="2611279" y="260509"/>
                    <a:pt x="2612231" y="257651"/>
                  </a:cubicBezTo>
                  <a:cubicBezTo>
                    <a:pt x="2612231" y="263366"/>
                    <a:pt x="2613184" y="270034"/>
                    <a:pt x="2614136" y="276701"/>
                  </a:cubicBezTo>
                  <a:close/>
                  <a:moveTo>
                    <a:pt x="2606516" y="208121"/>
                  </a:moveTo>
                  <a:cubicBezTo>
                    <a:pt x="2607469" y="221456"/>
                    <a:pt x="2609374" y="235744"/>
                    <a:pt x="2611279" y="250984"/>
                  </a:cubicBezTo>
                  <a:cubicBezTo>
                    <a:pt x="2611279" y="250984"/>
                    <a:pt x="2611279" y="251936"/>
                    <a:pt x="2611279" y="251936"/>
                  </a:cubicBezTo>
                  <a:cubicBezTo>
                    <a:pt x="2608421" y="256699"/>
                    <a:pt x="2604611" y="263366"/>
                    <a:pt x="2600801" y="271939"/>
                  </a:cubicBezTo>
                  <a:cubicBezTo>
                    <a:pt x="2599849" y="270034"/>
                    <a:pt x="2598896" y="269081"/>
                    <a:pt x="2597944" y="268129"/>
                  </a:cubicBezTo>
                  <a:cubicBezTo>
                    <a:pt x="2596991" y="257651"/>
                    <a:pt x="2596039" y="247174"/>
                    <a:pt x="2595086" y="237649"/>
                  </a:cubicBezTo>
                  <a:cubicBezTo>
                    <a:pt x="2595086" y="234791"/>
                    <a:pt x="2594134" y="230981"/>
                    <a:pt x="2594134" y="228124"/>
                  </a:cubicBezTo>
                  <a:cubicBezTo>
                    <a:pt x="2598896" y="207169"/>
                    <a:pt x="2602706" y="190976"/>
                    <a:pt x="2605564" y="179546"/>
                  </a:cubicBezTo>
                  <a:cubicBezTo>
                    <a:pt x="2604611" y="188119"/>
                    <a:pt x="2605564" y="197644"/>
                    <a:pt x="2606516" y="208121"/>
                  </a:cubicBezTo>
                  <a:close/>
                  <a:moveTo>
                    <a:pt x="2586514" y="186214"/>
                  </a:moveTo>
                  <a:cubicBezTo>
                    <a:pt x="2591276" y="175736"/>
                    <a:pt x="2595086" y="167164"/>
                    <a:pt x="2598896" y="159544"/>
                  </a:cubicBezTo>
                  <a:cubicBezTo>
                    <a:pt x="2599849" y="157639"/>
                    <a:pt x="2600801" y="155734"/>
                    <a:pt x="2601754" y="153829"/>
                  </a:cubicBezTo>
                  <a:cubicBezTo>
                    <a:pt x="2602706" y="159544"/>
                    <a:pt x="2602706" y="166211"/>
                    <a:pt x="2603659" y="173831"/>
                  </a:cubicBezTo>
                  <a:cubicBezTo>
                    <a:pt x="2600801" y="182404"/>
                    <a:pt x="2596039" y="194786"/>
                    <a:pt x="2590324" y="210979"/>
                  </a:cubicBezTo>
                  <a:cubicBezTo>
                    <a:pt x="2589371" y="202406"/>
                    <a:pt x="2587466" y="194786"/>
                    <a:pt x="2586514" y="187166"/>
                  </a:cubicBezTo>
                  <a:cubicBezTo>
                    <a:pt x="2586514" y="187166"/>
                    <a:pt x="2586514" y="187166"/>
                    <a:pt x="2586514" y="186214"/>
                  </a:cubicBezTo>
                  <a:close/>
                  <a:moveTo>
                    <a:pt x="2584609" y="408146"/>
                  </a:moveTo>
                  <a:cubicBezTo>
                    <a:pt x="2584609" y="408146"/>
                    <a:pt x="2584609" y="409099"/>
                    <a:pt x="2584609" y="408146"/>
                  </a:cubicBezTo>
                  <a:cubicBezTo>
                    <a:pt x="2583656" y="403384"/>
                    <a:pt x="2582704" y="398621"/>
                    <a:pt x="2581751" y="393859"/>
                  </a:cubicBezTo>
                  <a:cubicBezTo>
                    <a:pt x="2582704" y="398621"/>
                    <a:pt x="2583656" y="403384"/>
                    <a:pt x="2584609" y="408146"/>
                  </a:cubicBezTo>
                  <a:close/>
                  <a:moveTo>
                    <a:pt x="2580799" y="199549"/>
                  </a:moveTo>
                  <a:cubicBezTo>
                    <a:pt x="2580799" y="208121"/>
                    <a:pt x="2581751" y="217646"/>
                    <a:pt x="2581751" y="228124"/>
                  </a:cubicBezTo>
                  <a:cubicBezTo>
                    <a:pt x="2580799" y="229076"/>
                    <a:pt x="2579846" y="230029"/>
                    <a:pt x="2578894" y="231934"/>
                  </a:cubicBezTo>
                  <a:cubicBezTo>
                    <a:pt x="2577941" y="232886"/>
                    <a:pt x="2576989" y="234791"/>
                    <a:pt x="2575084" y="236696"/>
                  </a:cubicBezTo>
                  <a:cubicBezTo>
                    <a:pt x="2574131" y="235744"/>
                    <a:pt x="2574131" y="234791"/>
                    <a:pt x="2573179" y="233839"/>
                  </a:cubicBezTo>
                  <a:cubicBezTo>
                    <a:pt x="2573179" y="231934"/>
                    <a:pt x="2573179" y="230981"/>
                    <a:pt x="2572226" y="229076"/>
                  </a:cubicBezTo>
                  <a:cubicBezTo>
                    <a:pt x="2572226" y="226219"/>
                    <a:pt x="2571274" y="222409"/>
                    <a:pt x="2571274" y="219551"/>
                  </a:cubicBezTo>
                  <a:cubicBezTo>
                    <a:pt x="2575084" y="211931"/>
                    <a:pt x="2577941" y="206216"/>
                    <a:pt x="2580799" y="199549"/>
                  </a:cubicBezTo>
                  <a:close/>
                  <a:moveTo>
                    <a:pt x="2569369" y="320516"/>
                  </a:moveTo>
                  <a:cubicBezTo>
                    <a:pt x="2569369" y="322421"/>
                    <a:pt x="2570321" y="325279"/>
                    <a:pt x="2570321" y="327184"/>
                  </a:cubicBezTo>
                  <a:cubicBezTo>
                    <a:pt x="2570321" y="328136"/>
                    <a:pt x="2570321" y="329089"/>
                    <a:pt x="2571274" y="330041"/>
                  </a:cubicBezTo>
                  <a:cubicBezTo>
                    <a:pt x="2568416" y="334804"/>
                    <a:pt x="2566511" y="339566"/>
                    <a:pt x="2563654" y="345281"/>
                  </a:cubicBezTo>
                  <a:cubicBezTo>
                    <a:pt x="2563654" y="344329"/>
                    <a:pt x="2562701" y="343376"/>
                    <a:pt x="2562701" y="342424"/>
                  </a:cubicBezTo>
                  <a:cubicBezTo>
                    <a:pt x="2565559" y="334804"/>
                    <a:pt x="2567464" y="328136"/>
                    <a:pt x="2569369" y="320516"/>
                  </a:cubicBezTo>
                  <a:close/>
                  <a:moveTo>
                    <a:pt x="2556034" y="262414"/>
                  </a:moveTo>
                  <a:cubicBezTo>
                    <a:pt x="2556986" y="258604"/>
                    <a:pt x="2558891" y="255746"/>
                    <a:pt x="2559844" y="251936"/>
                  </a:cubicBezTo>
                  <a:cubicBezTo>
                    <a:pt x="2559844" y="253841"/>
                    <a:pt x="2559844" y="255746"/>
                    <a:pt x="2560796" y="257651"/>
                  </a:cubicBezTo>
                  <a:cubicBezTo>
                    <a:pt x="2560796" y="258604"/>
                    <a:pt x="2559844" y="258604"/>
                    <a:pt x="2559844" y="259556"/>
                  </a:cubicBezTo>
                  <a:cubicBezTo>
                    <a:pt x="2557939" y="262414"/>
                    <a:pt x="2556034" y="266224"/>
                    <a:pt x="2554129" y="269081"/>
                  </a:cubicBezTo>
                  <a:cubicBezTo>
                    <a:pt x="2554129" y="266224"/>
                    <a:pt x="2555081" y="264319"/>
                    <a:pt x="2556034" y="262414"/>
                  </a:cubicBezTo>
                  <a:close/>
                  <a:moveTo>
                    <a:pt x="2561749" y="276701"/>
                  </a:moveTo>
                  <a:cubicBezTo>
                    <a:pt x="2561749" y="275749"/>
                    <a:pt x="2561749" y="275749"/>
                    <a:pt x="2562701" y="274796"/>
                  </a:cubicBezTo>
                  <a:cubicBezTo>
                    <a:pt x="2563654" y="278606"/>
                    <a:pt x="2563654" y="283369"/>
                    <a:pt x="2564606" y="287179"/>
                  </a:cubicBezTo>
                  <a:cubicBezTo>
                    <a:pt x="2562701" y="293846"/>
                    <a:pt x="2559844" y="301466"/>
                    <a:pt x="2557939" y="309086"/>
                  </a:cubicBezTo>
                  <a:cubicBezTo>
                    <a:pt x="2556986" y="310991"/>
                    <a:pt x="2556986" y="312896"/>
                    <a:pt x="2556034" y="313849"/>
                  </a:cubicBezTo>
                  <a:cubicBezTo>
                    <a:pt x="2555081" y="308134"/>
                    <a:pt x="2554129" y="302419"/>
                    <a:pt x="2553176" y="296704"/>
                  </a:cubicBezTo>
                  <a:cubicBezTo>
                    <a:pt x="2556034" y="290036"/>
                    <a:pt x="2558891" y="282416"/>
                    <a:pt x="2561749" y="276701"/>
                  </a:cubicBezTo>
                  <a:close/>
                  <a:moveTo>
                    <a:pt x="2538889" y="252889"/>
                  </a:moveTo>
                  <a:cubicBezTo>
                    <a:pt x="2539841" y="249079"/>
                    <a:pt x="2539841" y="245269"/>
                    <a:pt x="2540794" y="242411"/>
                  </a:cubicBezTo>
                  <a:cubicBezTo>
                    <a:pt x="2540794" y="241459"/>
                    <a:pt x="2541746" y="239554"/>
                    <a:pt x="2542699" y="238601"/>
                  </a:cubicBezTo>
                  <a:cubicBezTo>
                    <a:pt x="2543651" y="236696"/>
                    <a:pt x="2543651" y="234791"/>
                    <a:pt x="2544604" y="233839"/>
                  </a:cubicBezTo>
                  <a:cubicBezTo>
                    <a:pt x="2544604" y="237649"/>
                    <a:pt x="2543651" y="242411"/>
                    <a:pt x="2543651" y="248126"/>
                  </a:cubicBezTo>
                  <a:cubicBezTo>
                    <a:pt x="2543651" y="250984"/>
                    <a:pt x="2543651" y="253841"/>
                    <a:pt x="2542699" y="257651"/>
                  </a:cubicBezTo>
                  <a:cubicBezTo>
                    <a:pt x="2540794" y="261461"/>
                    <a:pt x="2539841" y="264319"/>
                    <a:pt x="2537936" y="268129"/>
                  </a:cubicBezTo>
                  <a:cubicBezTo>
                    <a:pt x="2537936" y="263366"/>
                    <a:pt x="2537936" y="257651"/>
                    <a:pt x="2538889" y="252889"/>
                  </a:cubicBezTo>
                  <a:close/>
                  <a:moveTo>
                    <a:pt x="2521744" y="475774"/>
                  </a:moveTo>
                  <a:cubicBezTo>
                    <a:pt x="2521744" y="478631"/>
                    <a:pt x="2522696" y="481489"/>
                    <a:pt x="2522696" y="484346"/>
                  </a:cubicBezTo>
                  <a:cubicBezTo>
                    <a:pt x="2521744" y="482441"/>
                    <a:pt x="2521744" y="481489"/>
                    <a:pt x="2520791" y="479584"/>
                  </a:cubicBezTo>
                  <a:cubicBezTo>
                    <a:pt x="2521744" y="478631"/>
                    <a:pt x="2521744" y="477679"/>
                    <a:pt x="2521744" y="475774"/>
                  </a:cubicBezTo>
                  <a:close/>
                  <a:moveTo>
                    <a:pt x="2514124" y="323374"/>
                  </a:moveTo>
                  <a:cubicBezTo>
                    <a:pt x="2514124" y="323374"/>
                    <a:pt x="2515076" y="323374"/>
                    <a:pt x="2514124" y="323374"/>
                  </a:cubicBezTo>
                  <a:cubicBezTo>
                    <a:pt x="2514124" y="325279"/>
                    <a:pt x="2513171" y="326231"/>
                    <a:pt x="2513171" y="328136"/>
                  </a:cubicBezTo>
                  <a:cubicBezTo>
                    <a:pt x="2513171" y="328136"/>
                    <a:pt x="2513171" y="328136"/>
                    <a:pt x="2513171" y="329089"/>
                  </a:cubicBezTo>
                  <a:cubicBezTo>
                    <a:pt x="2513171" y="326231"/>
                    <a:pt x="2514124" y="324326"/>
                    <a:pt x="2514124" y="323374"/>
                  </a:cubicBezTo>
                  <a:close/>
                  <a:moveTo>
                    <a:pt x="2509361" y="300514"/>
                  </a:moveTo>
                  <a:cubicBezTo>
                    <a:pt x="2509361" y="301466"/>
                    <a:pt x="2509361" y="301466"/>
                    <a:pt x="2508409" y="302419"/>
                  </a:cubicBezTo>
                  <a:cubicBezTo>
                    <a:pt x="2508409" y="302419"/>
                    <a:pt x="2508409" y="302419"/>
                    <a:pt x="2508409" y="302419"/>
                  </a:cubicBezTo>
                  <a:cubicBezTo>
                    <a:pt x="2508409" y="299561"/>
                    <a:pt x="2507456" y="297656"/>
                    <a:pt x="2507456" y="294799"/>
                  </a:cubicBezTo>
                  <a:cubicBezTo>
                    <a:pt x="2508409" y="296704"/>
                    <a:pt x="2509361" y="298609"/>
                    <a:pt x="2509361" y="300514"/>
                  </a:cubicBezTo>
                  <a:close/>
                  <a:moveTo>
                    <a:pt x="2496979" y="292894"/>
                  </a:moveTo>
                  <a:cubicBezTo>
                    <a:pt x="2497931" y="290989"/>
                    <a:pt x="2497931" y="290036"/>
                    <a:pt x="2497931" y="290036"/>
                  </a:cubicBezTo>
                  <a:cubicBezTo>
                    <a:pt x="2497931" y="290036"/>
                    <a:pt x="2497931" y="290989"/>
                    <a:pt x="2496979" y="290989"/>
                  </a:cubicBezTo>
                  <a:cubicBezTo>
                    <a:pt x="2496979" y="289084"/>
                    <a:pt x="2496979" y="286226"/>
                    <a:pt x="2497931" y="284321"/>
                  </a:cubicBezTo>
                  <a:cubicBezTo>
                    <a:pt x="2497931" y="278606"/>
                    <a:pt x="2498884" y="272891"/>
                    <a:pt x="2498884" y="269081"/>
                  </a:cubicBezTo>
                  <a:cubicBezTo>
                    <a:pt x="2498884" y="268129"/>
                    <a:pt x="2498884" y="267176"/>
                    <a:pt x="2498884" y="266224"/>
                  </a:cubicBezTo>
                  <a:cubicBezTo>
                    <a:pt x="2499836" y="270034"/>
                    <a:pt x="2500789" y="273844"/>
                    <a:pt x="2502694" y="277654"/>
                  </a:cubicBezTo>
                  <a:cubicBezTo>
                    <a:pt x="2502694" y="279559"/>
                    <a:pt x="2502694" y="281464"/>
                    <a:pt x="2502694" y="283369"/>
                  </a:cubicBezTo>
                  <a:cubicBezTo>
                    <a:pt x="2502694" y="288131"/>
                    <a:pt x="2501741" y="294799"/>
                    <a:pt x="2501741" y="302419"/>
                  </a:cubicBezTo>
                  <a:cubicBezTo>
                    <a:pt x="2501741" y="306229"/>
                    <a:pt x="2501741" y="310039"/>
                    <a:pt x="2501741" y="313849"/>
                  </a:cubicBezTo>
                  <a:cubicBezTo>
                    <a:pt x="2501741" y="317659"/>
                    <a:pt x="2500789" y="321469"/>
                    <a:pt x="2500789" y="325279"/>
                  </a:cubicBezTo>
                  <a:cubicBezTo>
                    <a:pt x="2500789" y="325279"/>
                    <a:pt x="2500789" y="326231"/>
                    <a:pt x="2500789" y="326231"/>
                  </a:cubicBezTo>
                  <a:cubicBezTo>
                    <a:pt x="2500789" y="322421"/>
                    <a:pt x="2499836" y="319564"/>
                    <a:pt x="2499836" y="315754"/>
                  </a:cubicBezTo>
                  <a:cubicBezTo>
                    <a:pt x="2499836" y="313849"/>
                    <a:pt x="2499836" y="311944"/>
                    <a:pt x="2499836" y="310039"/>
                  </a:cubicBezTo>
                  <a:cubicBezTo>
                    <a:pt x="2499836" y="305276"/>
                    <a:pt x="2500789" y="300514"/>
                    <a:pt x="2500789" y="297656"/>
                  </a:cubicBezTo>
                  <a:cubicBezTo>
                    <a:pt x="2500789" y="290989"/>
                    <a:pt x="2500789" y="286226"/>
                    <a:pt x="2500789" y="286226"/>
                  </a:cubicBezTo>
                  <a:cubicBezTo>
                    <a:pt x="2500789" y="286226"/>
                    <a:pt x="2498884" y="289084"/>
                    <a:pt x="2496979" y="292894"/>
                  </a:cubicBezTo>
                  <a:cubicBezTo>
                    <a:pt x="2496979" y="293846"/>
                    <a:pt x="2496979" y="293846"/>
                    <a:pt x="2496979" y="292894"/>
                  </a:cubicBezTo>
                  <a:close/>
                  <a:moveTo>
                    <a:pt x="2449354" y="334804"/>
                  </a:moveTo>
                  <a:cubicBezTo>
                    <a:pt x="2448401" y="332899"/>
                    <a:pt x="2448401" y="330041"/>
                    <a:pt x="2447449" y="328136"/>
                  </a:cubicBezTo>
                  <a:cubicBezTo>
                    <a:pt x="2448401" y="326231"/>
                    <a:pt x="2449354" y="323374"/>
                    <a:pt x="2450306" y="321469"/>
                  </a:cubicBezTo>
                  <a:cubicBezTo>
                    <a:pt x="2450306" y="321469"/>
                    <a:pt x="2450306" y="322421"/>
                    <a:pt x="2450306" y="322421"/>
                  </a:cubicBezTo>
                  <a:cubicBezTo>
                    <a:pt x="2450306" y="323374"/>
                    <a:pt x="2450306" y="323374"/>
                    <a:pt x="2451259" y="324326"/>
                  </a:cubicBezTo>
                  <a:cubicBezTo>
                    <a:pt x="2450306" y="327184"/>
                    <a:pt x="2449354" y="330994"/>
                    <a:pt x="2449354" y="334804"/>
                  </a:cubicBezTo>
                  <a:close/>
                  <a:moveTo>
                    <a:pt x="2450306" y="254794"/>
                  </a:moveTo>
                  <a:cubicBezTo>
                    <a:pt x="2450306" y="253841"/>
                    <a:pt x="2451259" y="252889"/>
                    <a:pt x="2451259" y="251936"/>
                  </a:cubicBezTo>
                  <a:cubicBezTo>
                    <a:pt x="2451259" y="251936"/>
                    <a:pt x="2451259" y="251936"/>
                    <a:pt x="2451259" y="250984"/>
                  </a:cubicBezTo>
                  <a:cubicBezTo>
                    <a:pt x="2451259" y="250984"/>
                    <a:pt x="2451259" y="251936"/>
                    <a:pt x="2451259" y="251936"/>
                  </a:cubicBezTo>
                  <a:cubicBezTo>
                    <a:pt x="2451259" y="252889"/>
                    <a:pt x="2451259" y="253841"/>
                    <a:pt x="2450306" y="254794"/>
                  </a:cubicBezTo>
                  <a:close/>
                  <a:moveTo>
                    <a:pt x="2452211" y="251936"/>
                  </a:moveTo>
                  <a:cubicBezTo>
                    <a:pt x="2452211" y="251936"/>
                    <a:pt x="2452211" y="250984"/>
                    <a:pt x="2451259" y="250984"/>
                  </a:cubicBezTo>
                  <a:cubicBezTo>
                    <a:pt x="2453164" y="246221"/>
                    <a:pt x="2454116" y="242411"/>
                    <a:pt x="2456021" y="238601"/>
                  </a:cubicBezTo>
                  <a:cubicBezTo>
                    <a:pt x="2457926" y="236696"/>
                    <a:pt x="2458879" y="233839"/>
                    <a:pt x="2460784" y="231934"/>
                  </a:cubicBezTo>
                  <a:cubicBezTo>
                    <a:pt x="2460784" y="232886"/>
                    <a:pt x="2459831" y="234791"/>
                    <a:pt x="2459831" y="235744"/>
                  </a:cubicBezTo>
                  <a:cubicBezTo>
                    <a:pt x="2458879" y="239554"/>
                    <a:pt x="2456974" y="243364"/>
                    <a:pt x="2456021" y="248126"/>
                  </a:cubicBezTo>
                  <a:cubicBezTo>
                    <a:pt x="2455069" y="248126"/>
                    <a:pt x="2454116" y="250031"/>
                    <a:pt x="2452211" y="251936"/>
                  </a:cubicBezTo>
                  <a:close/>
                  <a:moveTo>
                    <a:pt x="2457926" y="266224"/>
                  </a:moveTo>
                  <a:cubicBezTo>
                    <a:pt x="2457926" y="267176"/>
                    <a:pt x="2456974" y="267176"/>
                    <a:pt x="2456974" y="268129"/>
                  </a:cubicBezTo>
                  <a:cubicBezTo>
                    <a:pt x="2457926" y="267176"/>
                    <a:pt x="2457926" y="266224"/>
                    <a:pt x="2457926" y="266224"/>
                  </a:cubicBezTo>
                  <a:cubicBezTo>
                    <a:pt x="2457926" y="265271"/>
                    <a:pt x="2457926" y="266224"/>
                    <a:pt x="2457926" y="266224"/>
                  </a:cubicBezTo>
                  <a:close/>
                  <a:moveTo>
                    <a:pt x="2457926" y="374809"/>
                  </a:moveTo>
                  <a:cubicBezTo>
                    <a:pt x="2456974" y="371951"/>
                    <a:pt x="2456974" y="369094"/>
                    <a:pt x="2456021" y="367189"/>
                  </a:cubicBezTo>
                  <a:cubicBezTo>
                    <a:pt x="2456021" y="365284"/>
                    <a:pt x="2456021" y="364331"/>
                    <a:pt x="2456021" y="362426"/>
                  </a:cubicBezTo>
                  <a:cubicBezTo>
                    <a:pt x="2456021" y="355759"/>
                    <a:pt x="2456021" y="350044"/>
                    <a:pt x="2456021" y="344329"/>
                  </a:cubicBezTo>
                  <a:cubicBezTo>
                    <a:pt x="2456974" y="347186"/>
                    <a:pt x="2457926" y="350996"/>
                    <a:pt x="2458879" y="354806"/>
                  </a:cubicBezTo>
                  <a:cubicBezTo>
                    <a:pt x="2459831" y="361474"/>
                    <a:pt x="2458879" y="368141"/>
                    <a:pt x="2457926" y="374809"/>
                  </a:cubicBezTo>
                  <a:close/>
                  <a:moveTo>
                    <a:pt x="2456974" y="308134"/>
                  </a:moveTo>
                  <a:cubicBezTo>
                    <a:pt x="2456974" y="307181"/>
                    <a:pt x="2456974" y="306229"/>
                    <a:pt x="2456974" y="305276"/>
                  </a:cubicBezTo>
                  <a:cubicBezTo>
                    <a:pt x="2456974" y="304324"/>
                    <a:pt x="2457926" y="303371"/>
                    <a:pt x="2457926" y="302419"/>
                  </a:cubicBezTo>
                  <a:cubicBezTo>
                    <a:pt x="2458879" y="306229"/>
                    <a:pt x="2458879" y="310039"/>
                    <a:pt x="2459831" y="313849"/>
                  </a:cubicBezTo>
                  <a:cubicBezTo>
                    <a:pt x="2459831" y="314801"/>
                    <a:pt x="2459831" y="315754"/>
                    <a:pt x="2460784" y="317659"/>
                  </a:cubicBezTo>
                  <a:cubicBezTo>
                    <a:pt x="2458879" y="313849"/>
                    <a:pt x="2457926" y="310991"/>
                    <a:pt x="2456974" y="308134"/>
                  </a:cubicBezTo>
                  <a:close/>
                  <a:moveTo>
                    <a:pt x="2458879" y="290036"/>
                  </a:moveTo>
                  <a:cubicBezTo>
                    <a:pt x="2458879" y="289084"/>
                    <a:pt x="2459831" y="288131"/>
                    <a:pt x="2459831" y="287179"/>
                  </a:cubicBezTo>
                  <a:cubicBezTo>
                    <a:pt x="2460784" y="284321"/>
                    <a:pt x="2461736" y="280511"/>
                    <a:pt x="2463641" y="277654"/>
                  </a:cubicBezTo>
                  <a:cubicBezTo>
                    <a:pt x="2464594" y="278606"/>
                    <a:pt x="2464594" y="280511"/>
                    <a:pt x="2465546" y="281464"/>
                  </a:cubicBezTo>
                  <a:cubicBezTo>
                    <a:pt x="2463641" y="284321"/>
                    <a:pt x="2461736" y="287179"/>
                    <a:pt x="2458879" y="290036"/>
                  </a:cubicBezTo>
                  <a:close/>
                  <a:moveTo>
                    <a:pt x="2464594" y="305276"/>
                  </a:moveTo>
                  <a:cubicBezTo>
                    <a:pt x="2463641" y="301466"/>
                    <a:pt x="2462689" y="298609"/>
                    <a:pt x="2460784" y="295751"/>
                  </a:cubicBezTo>
                  <a:cubicBezTo>
                    <a:pt x="2460784" y="294799"/>
                    <a:pt x="2461736" y="293846"/>
                    <a:pt x="2462689" y="292894"/>
                  </a:cubicBezTo>
                  <a:cubicBezTo>
                    <a:pt x="2464594" y="290036"/>
                    <a:pt x="2465546" y="287179"/>
                    <a:pt x="2466499" y="285274"/>
                  </a:cubicBezTo>
                  <a:cubicBezTo>
                    <a:pt x="2465546" y="290989"/>
                    <a:pt x="2465546" y="297656"/>
                    <a:pt x="2464594" y="305276"/>
                  </a:cubicBezTo>
                  <a:close/>
                  <a:moveTo>
                    <a:pt x="2467451" y="274796"/>
                  </a:moveTo>
                  <a:cubicBezTo>
                    <a:pt x="2467451" y="273844"/>
                    <a:pt x="2466499" y="272891"/>
                    <a:pt x="2466499" y="272891"/>
                  </a:cubicBezTo>
                  <a:cubicBezTo>
                    <a:pt x="2467451" y="270986"/>
                    <a:pt x="2467451" y="270034"/>
                    <a:pt x="2468404" y="268129"/>
                  </a:cubicBezTo>
                  <a:cubicBezTo>
                    <a:pt x="2468404" y="270034"/>
                    <a:pt x="2467451" y="272891"/>
                    <a:pt x="2467451" y="274796"/>
                  </a:cubicBezTo>
                  <a:close/>
                  <a:moveTo>
                    <a:pt x="2471261" y="233839"/>
                  </a:moveTo>
                  <a:cubicBezTo>
                    <a:pt x="2471261" y="233839"/>
                    <a:pt x="2471261" y="237649"/>
                    <a:pt x="2470309" y="245269"/>
                  </a:cubicBezTo>
                  <a:cubicBezTo>
                    <a:pt x="2470309" y="245269"/>
                    <a:pt x="2470309" y="246221"/>
                    <a:pt x="2469356" y="246221"/>
                  </a:cubicBezTo>
                  <a:cubicBezTo>
                    <a:pt x="2466499" y="251936"/>
                    <a:pt x="2462689" y="256699"/>
                    <a:pt x="2459831" y="263366"/>
                  </a:cubicBezTo>
                  <a:cubicBezTo>
                    <a:pt x="2459831" y="262414"/>
                    <a:pt x="2458879" y="262414"/>
                    <a:pt x="2458879" y="261461"/>
                  </a:cubicBezTo>
                  <a:cubicBezTo>
                    <a:pt x="2459831" y="256699"/>
                    <a:pt x="2460784" y="250984"/>
                    <a:pt x="2461736" y="247174"/>
                  </a:cubicBezTo>
                  <a:cubicBezTo>
                    <a:pt x="2461736" y="246221"/>
                    <a:pt x="2462689" y="246221"/>
                    <a:pt x="2462689" y="245269"/>
                  </a:cubicBezTo>
                  <a:cubicBezTo>
                    <a:pt x="2466499" y="239554"/>
                    <a:pt x="2469356" y="234791"/>
                    <a:pt x="2472214" y="231934"/>
                  </a:cubicBezTo>
                  <a:cubicBezTo>
                    <a:pt x="2472214" y="231934"/>
                    <a:pt x="2472214" y="231934"/>
                    <a:pt x="2472214" y="231934"/>
                  </a:cubicBezTo>
                  <a:cubicBezTo>
                    <a:pt x="2472214" y="234791"/>
                    <a:pt x="2473166" y="237649"/>
                    <a:pt x="2473166" y="240506"/>
                  </a:cubicBezTo>
                  <a:cubicBezTo>
                    <a:pt x="2473166" y="241459"/>
                    <a:pt x="2472214" y="241459"/>
                    <a:pt x="2472214" y="242411"/>
                  </a:cubicBezTo>
                  <a:cubicBezTo>
                    <a:pt x="2472214" y="236696"/>
                    <a:pt x="2471261" y="233839"/>
                    <a:pt x="2471261" y="233839"/>
                  </a:cubicBezTo>
                  <a:close/>
                  <a:moveTo>
                    <a:pt x="2467451" y="211931"/>
                  </a:moveTo>
                  <a:cubicBezTo>
                    <a:pt x="2466499" y="212884"/>
                    <a:pt x="2466499" y="212884"/>
                    <a:pt x="2465546" y="213836"/>
                  </a:cubicBezTo>
                  <a:cubicBezTo>
                    <a:pt x="2465546" y="212884"/>
                    <a:pt x="2465546" y="212884"/>
                    <a:pt x="2466499" y="211931"/>
                  </a:cubicBezTo>
                  <a:cubicBezTo>
                    <a:pt x="2467451" y="210026"/>
                    <a:pt x="2467451" y="209074"/>
                    <a:pt x="2468404" y="208121"/>
                  </a:cubicBezTo>
                  <a:cubicBezTo>
                    <a:pt x="2468404" y="209074"/>
                    <a:pt x="2468404" y="210026"/>
                    <a:pt x="2468404" y="210979"/>
                  </a:cubicBezTo>
                  <a:cubicBezTo>
                    <a:pt x="2468404" y="210979"/>
                    <a:pt x="2468404" y="210979"/>
                    <a:pt x="2467451" y="211931"/>
                  </a:cubicBezTo>
                  <a:cubicBezTo>
                    <a:pt x="2468404" y="210979"/>
                    <a:pt x="2468404" y="210979"/>
                    <a:pt x="2467451" y="211931"/>
                  </a:cubicBezTo>
                  <a:cubicBezTo>
                    <a:pt x="2468404" y="210979"/>
                    <a:pt x="2467451" y="210979"/>
                    <a:pt x="2467451" y="211931"/>
                  </a:cubicBezTo>
                  <a:close/>
                  <a:moveTo>
                    <a:pt x="2470309" y="218599"/>
                  </a:moveTo>
                  <a:cubicBezTo>
                    <a:pt x="2471261" y="222409"/>
                    <a:pt x="2471261" y="226219"/>
                    <a:pt x="2472214" y="230029"/>
                  </a:cubicBezTo>
                  <a:cubicBezTo>
                    <a:pt x="2472214" y="230029"/>
                    <a:pt x="2472214" y="230029"/>
                    <a:pt x="2472214" y="230029"/>
                  </a:cubicBezTo>
                  <a:cubicBezTo>
                    <a:pt x="2470309" y="231934"/>
                    <a:pt x="2467451" y="234791"/>
                    <a:pt x="2463641" y="237649"/>
                  </a:cubicBezTo>
                  <a:cubicBezTo>
                    <a:pt x="2463641" y="236696"/>
                    <a:pt x="2463641" y="235744"/>
                    <a:pt x="2464594" y="234791"/>
                  </a:cubicBezTo>
                  <a:cubicBezTo>
                    <a:pt x="2465546" y="230981"/>
                    <a:pt x="2465546" y="227171"/>
                    <a:pt x="2466499" y="224314"/>
                  </a:cubicBezTo>
                  <a:cubicBezTo>
                    <a:pt x="2466499" y="224314"/>
                    <a:pt x="2466499" y="224314"/>
                    <a:pt x="2466499" y="224314"/>
                  </a:cubicBezTo>
                  <a:cubicBezTo>
                    <a:pt x="2467451" y="223361"/>
                    <a:pt x="2468404" y="220504"/>
                    <a:pt x="2470309" y="218599"/>
                  </a:cubicBezTo>
                  <a:close/>
                  <a:moveTo>
                    <a:pt x="2477929" y="223361"/>
                  </a:moveTo>
                  <a:cubicBezTo>
                    <a:pt x="2476976" y="219551"/>
                    <a:pt x="2476024" y="215741"/>
                    <a:pt x="2475071" y="212884"/>
                  </a:cubicBezTo>
                  <a:cubicBezTo>
                    <a:pt x="2476024" y="211931"/>
                    <a:pt x="2476976" y="210026"/>
                    <a:pt x="2477929" y="209074"/>
                  </a:cubicBezTo>
                  <a:cubicBezTo>
                    <a:pt x="2477929" y="211931"/>
                    <a:pt x="2477929" y="214789"/>
                    <a:pt x="2477929" y="217646"/>
                  </a:cubicBezTo>
                  <a:cubicBezTo>
                    <a:pt x="2477929" y="219551"/>
                    <a:pt x="2477929" y="221456"/>
                    <a:pt x="2477929" y="223361"/>
                  </a:cubicBezTo>
                  <a:close/>
                  <a:moveTo>
                    <a:pt x="2473166" y="206216"/>
                  </a:moveTo>
                  <a:cubicBezTo>
                    <a:pt x="2473166" y="205264"/>
                    <a:pt x="2472214" y="204311"/>
                    <a:pt x="2472214" y="203359"/>
                  </a:cubicBezTo>
                  <a:cubicBezTo>
                    <a:pt x="2472214" y="202406"/>
                    <a:pt x="2472214" y="202406"/>
                    <a:pt x="2471261" y="201454"/>
                  </a:cubicBezTo>
                  <a:cubicBezTo>
                    <a:pt x="2472214" y="199549"/>
                    <a:pt x="2473166" y="197644"/>
                    <a:pt x="2474119" y="195739"/>
                  </a:cubicBezTo>
                  <a:cubicBezTo>
                    <a:pt x="2475071" y="193834"/>
                    <a:pt x="2476976" y="190976"/>
                    <a:pt x="2477929" y="189071"/>
                  </a:cubicBezTo>
                  <a:cubicBezTo>
                    <a:pt x="2477929" y="192881"/>
                    <a:pt x="2477929" y="197644"/>
                    <a:pt x="2477929" y="201454"/>
                  </a:cubicBezTo>
                  <a:cubicBezTo>
                    <a:pt x="2476024" y="203359"/>
                    <a:pt x="2474119" y="205264"/>
                    <a:pt x="2473166" y="206216"/>
                  </a:cubicBezTo>
                  <a:close/>
                  <a:moveTo>
                    <a:pt x="2473166" y="255746"/>
                  </a:moveTo>
                  <a:cubicBezTo>
                    <a:pt x="2474119" y="254794"/>
                    <a:pt x="2474119" y="252889"/>
                    <a:pt x="2475071" y="251936"/>
                  </a:cubicBezTo>
                  <a:cubicBezTo>
                    <a:pt x="2476024" y="256699"/>
                    <a:pt x="2476024" y="261461"/>
                    <a:pt x="2476976" y="266224"/>
                  </a:cubicBezTo>
                  <a:cubicBezTo>
                    <a:pt x="2477929" y="274796"/>
                    <a:pt x="2478881" y="283369"/>
                    <a:pt x="2479834" y="292894"/>
                  </a:cubicBezTo>
                  <a:cubicBezTo>
                    <a:pt x="2479834" y="293846"/>
                    <a:pt x="2479834" y="295751"/>
                    <a:pt x="2479834" y="296704"/>
                  </a:cubicBezTo>
                  <a:cubicBezTo>
                    <a:pt x="2479834" y="296704"/>
                    <a:pt x="2479834" y="295751"/>
                    <a:pt x="2479834" y="295751"/>
                  </a:cubicBezTo>
                  <a:cubicBezTo>
                    <a:pt x="2477929" y="292894"/>
                    <a:pt x="2476976" y="290036"/>
                    <a:pt x="2475071" y="288131"/>
                  </a:cubicBezTo>
                  <a:cubicBezTo>
                    <a:pt x="2475071" y="275749"/>
                    <a:pt x="2474119" y="264319"/>
                    <a:pt x="2473166" y="255746"/>
                  </a:cubicBezTo>
                  <a:close/>
                  <a:moveTo>
                    <a:pt x="2481739" y="324326"/>
                  </a:moveTo>
                  <a:cubicBezTo>
                    <a:pt x="2481739" y="325279"/>
                    <a:pt x="2480786" y="325279"/>
                    <a:pt x="2480786" y="326231"/>
                  </a:cubicBezTo>
                  <a:cubicBezTo>
                    <a:pt x="2479834" y="330041"/>
                    <a:pt x="2477929" y="334804"/>
                    <a:pt x="2476024" y="340519"/>
                  </a:cubicBezTo>
                  <a:cubicBezTo>
                    <a:pt x="2476024" y="329089"/>
                    <a:pt x="2476024" y="317659"/>
                    <a:pt x="2476024" y="308134"/>
                  </a:cubicBezTo>
                  <a:cubicBezTo>
                    <a:pt x="2476024" y="308134"/>
                    <a:pt x="2476024" y="308134"/>
                    <a:pt x="2476024" y="308134"/>
                  </a:cubicBezTo>
                  <a:cubicBezTo>
                    <a:pt x="2476976" y="311944"/>
                    <a:pt x="2478881" y="314801"/>
                    <a:pt x="2479834" y="318611"/>
                  </a:cubicBezTo>
                  <a:cubicBezTo>
                    <a:pt x="2479834" y="319564"/>
                    <a:pt x="2480786" y="321469"/>
                    <a:pt x="2480786" y="322421"/>
                  </a:cubicBezTo>
                  <a:cubicBezTo>
                    <a:pt x="2480786" y="322421"/>
                    <a:pt x="2481739" y="323374"/>
                    <a:pt x="2481739" y="324326"/>
                  </a:cubicBezTo>
                  <a:cubicBezTo>
                    <a:pt x="2481739" y="324326"/>
                    <a:pt x="2481739" y="324326"/>
                    <a:pt x="2481739" y="324326"/>
                  </a:cubicBezTo>
                  <a:close/>
                  <a:moveTo>
                    <a:pt x="2436971" y="215741"/>
                  </a:moveTo>
                  <a:cubicBezTo>
                    <a:pt x="2440781" y="209074"/>
                    <a:pt x="2444591" y="202406"/>
                    <a:pt x="2447449" y="195739"/>
                  </a:cubicBezTo>
                  <a:cubicBezTo>
                    <a:pt x="2451259" y="190024"/>
                    <a:pt x="2454116" y="184309"/>
                    <a:pt x="2457926" y="178594"/>
                  </a:cubicBezTo>
                  <a:cubicBezTo>
                    <a:pt x="2464594" y="168116"/>
                    <a:pt x="2469356" y="157639"/>
                    <a:pt x="2475071" y="150971"/>
                  </a:cubicBezTo>
                  <a:cubicBezTo>
                    <a:pt x="2477929" y="146209"/>
                    <a:pt x="2480786" y="142399"/>
                    <a:pt x="2482691" y="138589"/>
                  </a:cubicBezTo>
                  <a:cubicBezTo>
                    <a:pt x="2481739" y="142399"/>
                    <a:pt x="2481739" y="148114"/>
                    <a:pt x="2480786" y="154781"/>
                  </a:cubicBezTo>
                  <a:cubicBezTo>
                    <a:pt x="2479834" y="162401"/>
                    <a:pt x="2479834" y="170974"/>
                    <a:pt x="2478881" y="181451"/>
                  </a:cubicBezTo>
                  <a:cubicBezTo>
                    <a:pt x="2476024" y="185261"/>
                    <a:pt x="2473166" y="189071"/>
                    <a:pt x="2470309" y="193834"/>
                  </a:cubicBezTo>
                  <a:cubicBezTo>
                    <a:pt x="2470309" y="193834"/>
                    <a:pt x="2470309" y="194786"/>
                    <a:pt x="2469356" y="194786"/>
                  </a:cubicBezTo>
                  <a:cubicBezTo>
                    <a:pt x="2466499" y="186214"/>
                    <a:pt x="2465546" y="181451"/>
                    <a:pt x="2465546" y="181451"/>
                  </a:cubicBezTo>
                  <a:cubicBezTo>
                    <a:pt x="2465546" y="181451"/>
                    <a:pt x="2466499" y="187166"/>
                    <a:pt x="2467451" y="197644"/>
                  </a:cubicBezTo>
                  <a:cubicBezTo>
                    <a:pt x="2465546" y="201454"/>
                    <a:pt x="2462689" y="205264"/>
                    <a:pt x="2460784" y="209074"/>
                  </a:cubicBezTo>
                  <a:cubicBezTo>
                    <a:pt x="2456021" y="216694"/>
                    <a:pt x="2452211" y="225266"/>
                    <a:pt x="2447449" y="234791"/>
                  </a:cubicBezTo>
                  <a:cubicBezTo>
                    <a:pt x="2443639" y="238601"/>
                    <a:pt x="2440781" y="243364"/>
                    <a:pt x="2436971" y="247174"/>
                  </a:cubicBezTo>
                  <a:cubicBezTo>
                    <a:pt x="2436971" y="248126"/>
                    <a:pt x="2436019" y="248126"/>
                    <a:pt x="2436019" y="249079"/>
                  </a:cubicBezTo>
                  <a:cubicBezTo>
                    <a:pt x="2436019" y="249079"/>
                    <a:pt x="2436019" y="249079"/>
                    <a:pt x="2436019" y="249079"/>
                  </a:cubicBezTo>
                  <a:cubicBezTo>
                    <a:pt x="2435066" y="240506"/>
                    <a:pt x="2434114" y="232886"/>
                    <a:pt x="2433161" y="225266"/>
                  </a:cubicBezTo>
                  <a:cubicBezTo>
                    <a:pt x="2433161" y="221456"/>
                    <a:pt x="2435066" y="218599"/>
                    <a:pt x="2436971" y="215741"/>
                  </a:cubicBezTo>
                  <a:close/>
                  <a:moveTo>
                    <a:pt x="2416016" y="313849"/>
                  </a:moveTo>
                  <a:cubicBezTo>
                    <a:pt x="2416016" y="313849"/>
                    <a:pt x="2416016" y="313849"/>
                    <a:pt x="2416016" y="313849"/>
                  </a:cubicBezTo>
                  <a:cubicBezTo>
                    <a:pt x="2415064" y="310039"/>
                    <a:pt x="2414111" y="307181"/>
                    <a:pt x="2413159" y="304324"/>
                  </a:cubicBezTo>
                  <a:cubicBezTo>
                    <a:pt x="2414111" y="303371"/>
                    <a:pt x="2414111" y="302419"/>
                    <a:pt x="2415064" y="301466"/>
                  </a:cubicBezTo>
                  <a:cubicBezTo>
                    <a:pt x="2415064" y="302419"/>
                    <a:pt x="2415064" y="302419"/>
                    <a:pt x="2415064" y="303371"/>
                  </a:cubicBezTo>
                  <a:cubicBezTo>
                    <a:pt x="2415064" y="306229"/>
                    <a:pt x="2416016" y="310039"/>
                    <a:pt x="2416016" y="313849"/>
                  </a:cubicBezTo>
                  <a:cubicBezTo>
                    <a:pt x="2416016" y="313849"/>
                    <a:pt x="2416016" y="313849"/>
                    <a:pt x="2416016" y="313849"/>
                  </a:cubicBezTo>
                  <a:close/>
                  <a:moveTo>
                    <a:pt x="2422684" y="288131"/>
                  </a:moveTo>
                  <a:cubicBezTo>
                    <a:pt x="2422684" y="290036"/>
                    <a:pt x="2422684" y="291941"/>
                    <a:pt x="2422684" y="293846"/>
                  </a:cubicBezTo>
                  <a:cubicBezTo>
                    <a:pt x="2421731" y="295751"/>
                    <a:pt x="2421731" y="297656"/>
                    <a:pt x="2420779" y="299561"/>
                  </a:cubicBezTo>
                  <a:cubicBezTo>
                    <a:pt x="2419826" y="297656"/>
                    <a:pt x="2419826" y="295751"/>
                    <a:pt x="2418874" y="293846"/>
                  </a:cubicBezTo>
                  <a:cubicBezTo>
                    <a:pt x="2419826" y="292894"/>
                    <a:pt x="2419826" y="291941"/>
                    <a:pt x="2420779" y="290989"/>
                  </a:cubicBezTo>
                  <a:cubicBezTo>
                    <a:pt x="2421731" y="290036"/>
                    <a:pt x="2421731" y="289084"/>
                    <a:pt x="2422684" y="288131"/>
                  </a:cubicBezTo>
                  <a:close/>
                  <a:moveTo>
                    <a:pt x="2414111" y="259556"/>
                  </a:moveTo>
                  <a:cubicBezTo>
                    <a:pt x="2416016" y="255746"/>
                    <a:pt x="2417921" y="251936"/>
                    <a:pt x="2419826" y="248126"/>
                  </a:cubicBezTo>
                  <a:cubicBezTo>
                    <a:pt x="2419826" y="253841"/>
                    <a:pt x="2420779" y="259556"/>
                    <a:pt x="2420779" y="266224"/>
                  </a:cubicBezTo>
                  <a:cubicBezTo>
                    <a:pt x="2417921" y="270034"/>
                    <a:pt x="2415064" y="273844"/>
                    <a:pt x="2412206" y="277654"/>
                  </a:cubicBezTo>
                  <a:cubicBezTo>
                    <a:pt x="2411254" y="276701"/>
                    <a:pt x="2411254" y="275749"/>
                    <a:pt x="2410301" y="273844"/>
                  </a:cubicBezTo>
                  <a:cubicBezTo>
                    <a:pt x="2409349" y="272891"/>
                    <a:pt x="2409349" y="271939"/>
                    <a:pt x="2408396" y="270986"/>
                  </a:cubicBezTo>
                  <a:cubicBezTo>
                    <a:pt x="2410301" y="268129"/>
                    <a:pt x="2412206" y="263366"/>
                    <a:pt x="2414111" y="259556"/>
                  </a:cubicBezTo>
                  <a:close/>
                  <a:moveTo>
                    <a:pt x="2406491" y="275749"/>
                  </a:moveTo>
                  <a:cubicBezTo>
                    <a:pt x="2406491" y="275749"/>
                    <a:pt x="2406491" y="275749"/>
                    <a:pt x="2406491" y="275749"/>
                  </a:cubicBezTo>
                  <a:cubicBezTo>
                    <a:pt x="2407444" y="277654"/>
                    <a:pt x="2408396" y="279559"/>
                    <a:pt x="2409349" y="282416"/>
                  </a:cubicBezTo>
                  <a:cubicBezTo>
                    <a:pt x="2408396" y="283369"/>
                    <a:pt x="2407444" y="285274"/>
                    <a:pt x="2406491" y="286226"/>
                  </a:cubicBezTo>
                  <a:cubicBezTo>
                    <a:pt x="2405539" y="284321"/>
                    <a:pt x="2405539" y="282416"/>
                    <a:pt x="2404586" y="280511"/>
                  </a:cubicBezTo>
                  <a:cubicBezTo>
                    <a:pt x="2405539" y="278606"/>
                    <a:pt x="2405539" y="276701"/>
                    <a:pt x="2406491" y="275749"/>
                  </a:cubicBezTo>
                  <a:close/>
                  <a:moveTo>
                    <a:pt x="2405539" y="317659"/>
                  </a:moveTo>
                  <a:cubicBezTo>
                    <a:pt x="2406491" y="321469"/>
                    <a:pt x="2407444" y="324326"/>
                    <a:pt x="2408396" y="328136"/>
                  </a:cubicBezTo>
                  <a:cubicBezTo>
                    <a:pt x="2408396" y="330041"/>
                    <a:pt x="2408396" y="331946"/>
                    <a:pt x="2408396" y="334804"/>
                  </a:cubicBezTo>
                  <a:cubicBezTo>
                    <a:pt x="2408396" y="333851"/>
                    <a:pt x="2407444" y="332899"/>
                    <a:pt x="2407444" y="332899"/>
                  </a:cubicBezTo>
                  <a:cubicBezTo>
                    <a:pt x="2407444" y="332899"/>
                    <a:pt x="2407444" y="335756"/>
                    <a:pt x="2407444" y="340519"/>
                  </a:cubicBezTo>
                  <a:cubicBezTo>
                    <a:pt x="2406491" y="344329"/>
                    <a:pt x="2405539" y="347186"/>
                    <a:pt x="2404586" y="350996"/>
                  </a:cubicBezTo>
                  <a:cubicBezTo>
                    <a:pt x="2403634" y="355759"/>
                    <a:pt x="2401729" y="359569"/>
                    <a:pt x="2400776" y="364331"/>
                  </a:cubicBezTo>
                  <a:cubicBezTo>
                    <a:pt x="2399824" y="357664"/>
                    <a:pt x="2398871" y="350044"/>
                    <a:pt x="2398871" y="343376"/>
                  </a:cubicBezTo>
                  <a:cubicBezTo>
                    <a:pt x="2398871" y="340519"/>
                    <a:pt x="2397919" y="336709"/>
                    <a:pt x="2397919" y="333851"/>
                  </a:cubicBezTo>
                  <a:cubicBezTo>
                    <a:pt x="2397919" y="332899"/>
                    <a:pt x="2397919" y="331946"/>
                    <a:pt x="2398871" y="330994"/>
                  </a:cubicBezTo>
                  <a:cubicBezTo>
                    <a:pt x="2399824" y="325279"/>
                    <a:pt x="2402681" y="321469"/>
                    <a:pt x="2405539" y="317659"/>
                  </a:cubicBezTo>
                  <a:close/>
                  <a:moveTo>
                    <a:pt x="2398871" y="291941"/>
                  </a:moveTo>
                  <a:cubicBezTo>
                    <a:pt x="2398871" y="292894"/>
                    <a:pt x="2399824" y="293846"/>
                    <a:pt x="2399824" y="295751"/>
                  </a:cubicBezTo>
                  <a:cubicBezTo>
                    <a:pt x="2397919" y="298609"/>
                    <a:pt x="2396014" y="300514"/>
                    <a:pt x="2394109" y="303371"/>
                  </a:cubicBezTo>
                  <a:cubicBezTo>
                    <a:pt x="2394109" y="303371"/>
                    <a:pt x="2394109" y="302419"/>
                    <a:pt x="2394109" y="302419"/>
                  </a:cubicBezTo>
                  <a:cubicBezTo>
                    <a:pt x="2396014" y="298609"/>
                    <a:pt x="2397919" y="295751"/>
                    <a:pt x="2398871" y="291941"/>
                  </a:cubicBezTo>
                  <a:close/>
                  <a:moveTo>
                    <a:pt x="2393156" y="267176"/>
                  </a:moveTo>
                  <a:cubicBezTo>
                    <a:pt x="2392204" y="268129"/>
                    <a:pt x="2392204" y="269081"/>
                    <a:pt x="2391251" y="270034"/>
                  </a:cubicBezTo>
                  <a:cubicBezTo>
                    <a:pt x="2390299" y="264319"/>
                    <a:pt x="2390299" y="259556"/>
                    <a:pt x="2389346" y="254794"/>
                  </a:cubicBezTo>
                  <a:cubicBezTo>
                    <a:pt x="2391251" y="258604"/>
                    <a:pt x="2392204" y="263366"/>
                    <a:pt x="2393156" y="267176"/>
                  </a:cubicBezTo>
                  <a:close/>
                  <a:moveTo>
                    <a:pt x="2351246" y="278606"/>
                  </a:moveTo>
                  <a:cubicBezTo>
                    <a:pt x="2351246" y="277654"/>
                    <a:pt x="2351246" y="277654"/>
                    <a:pt x="2351246" y="278606"/>
                  </a:cubicBezTo>
                  <a:lnTo>
                    <a:pt x="2351246" y="275749"/>
                  </a:lnTo>
                  <a:cubicBezTo>
                    <a:pt x="2351246" y="276701"/>
                    <a:pt x="2351246" y="277654"/>
                    <a:pt x="2351246" y="278606"/>
                  </a:cubicBezTo>
                  <a:close/>
                  <a:moveTo>
                    <a:pt x="2378869" y="295751"/>
                  </a:moveTo>
                  <a:cubicBezTo>
                    <a:pt x="2377916" y="298609"/>
                    <a:pt x="2376011" y="300514"/>
                    <a:pt x="2375059" y="303371"/>
                  </a:cubicBezTo>
                  <a:cubicBezTo>
                    <a:pt x="2375059" y="304324"/>
                    <a:pt x="2374106" y="304324"/>
                    <a:pt x="2374106" y="305276"/>
                  </a:cubicBezTo>
                  <a:cubicBezTo>
                    <a:pt x="2374106" y="305276"/>
                    <a:pt x="2374106" y="304324"/>
                    <a:pt x="2374106" y="304324"/>
                  </a:cubicBezTo>
                  <a:cubicBezTo>
                    <a:pt x="2376964" y="261461"/>
                    <a:pt x="2376011" y="231934"/>
                    <a:pt x="2376011" y="231934"/>
                  </a:cubicBezTo>
                  <a:cubicBezTo>
                    <a:pt x="2376011" y="231934"/>
                    <a:pt x="2372201" y="249079"/>
                    <a:pt x="2366486" y="277654"/>
                  </a:cubicBezTo>
                  <a:cubicBezTo>
                    <a:pt x="2365534" y="275749"/>
                    <a:pt x="2365534" y="273844"/>
                    <a:pt x="2364581" y="272891"/>
                  </a:cubicBezTo>
                  <a:cubicBezTo>
                    <a:pt x="2363629" y="270034"/>
                    <a:pt x="2362676" y="267176"/>
                    <a:pt x="2361724" y="264319"/>
                  </a:cubicBezTo>
                  <a:cubicBezTo>
                    <a:pt x="2361724" y="257651"/>
                    <a:pt x="2361724" y="250984"/>
                    <a:pt x="2361724" y="245269"/>
                  </a:cubicBezTo>
                  <a:lnTo>
                    <a:pt x="2365534" y="234791"/>
                  </a:lnTo>
                  <a:lnTo>
                    <a:pt x="2376011" y="211931"/>
                  </a:lnTo>
                  <a:cubicBezTo>
                    <a:pt x="2376011" y="221456"/>
                    <a:pt x="2376011" y="232886"/>
                    <a:pt x="2376011" y="244316"/>
                  </a:cubicBezTo>
                  <a:cubicBezTo>
                    <a:pt x="2376011" y="258604"/>
                    <a:pt x="2376011" y="274796"/>
                    <a:pt x="2376964" y="290989"/>
                  </a:cubicBezTo>
                  <a:cubicBezTo>
                    <a:pt x="2378869" y="292894"/>
                    <a:pt x="2378869" y="293846"/>
                    <a:pt x="2378869" y="295751"/>
                  </a:cubicBezTo>
                  <a:close/>
                  <a:moveTo>
                    <a:pt x="2362676" y="180499"/>
                  </a:moveTo>
                  <a:cubicBezTo>
                    <a:pt x="2364581" y="175736"/>
                    <a:pt x="2366486" y="170974"/>
                    <a:pt x="2368391" y="166211"/>
                  </a:cubicBezTo>
                  <a:cubicBezTo>
                    <a:pt x="2372201" y="157639"/>
                    <a:pt x="2375059" y="149066"/>
                    <a:pt x="2377916" y="140494"/>
                  </a:cubicBezTo>
                  <a:cubicBezTo>
                    <a:pt x="2377916" y="141446"/>
                    <a:pt x="2378869" y="142399"/>
                    <a:pt x="2378869" y="143351"/>
                  </a:cubicBezTo>
                  <a:cubicBezTo>
                    <a:pt x="2379821" y="146209"/>
                    <a:pt x="2379821" y="149066"/>
                    <a:pt x="2378869" y="152876"/>
                  </a:cubicBezTo>
                  <a:cubicBezTo>
                    <a:pt x="2377916" y="149066"/>
                    <a:pt x="2377916" y="147161"/>
                    <a:pt x="2377916" y="147161"/>
                  </a:cubicBezTo>
                  <a:cubicBezTo>
                    <a:pt x="2377916" y="147161"/>
                    <a:pt x="2377916" y="156686"/>
                    <a:pt x="2377916" y="173831"/>
                  </a:cubicBezTo>
                  <a:cubicBezTo>
                    <a:pt x="2377916" y="182404"/>
                    <a:pt x="2377916" y="191929"/>
                    <a:pt x="2377916" y="203359"/>
                  </a:cubicBezTo>
                  <a:cubicBezTo>
                    <a:pt x="2373154" y="210979"/>
                    <a:pt x="2368391" y="219551"/>
                    <a:pt x="2362676" y="227171"/>
                  </a:cubicBezTo>
                  <a:cubicBezTo>
                    <a:pt x="2361724" y="206216"/>
                    <a:pt x="2361724" y="190976"/>
                    <a:pt x="2360771" y="185261"/>
                  </a:cubicBezTo>
                  <a:cubicBezTo>
                    <a:pt x="2361724" y="183356"/>
                    <a:pt x="2361724" y="182404"/>
                    <a:pt x="2362676" y="180499"/>
                  </a:cubicBezTo>
                  <a:close/>
                  <a:moveTo>
                    <a:pt x="2340769" y="241459"/>
                  </a:moveTo>
                  <a:cubicBezTo>
                    <a:pt x="2341721" y="239554"/>
                    <a:pt x="2341721" y="237649"/>
                    <a:pt x="2342674" y="235744"/>
                  </a:cubicBezTo>
                  <a:cubicBezTo>
                    <a:pt x="2344579" y="230981"/>
                    <a:pt x="2345531" y="226219"/>
                    <a:pt x="2347436" y="221456"/>
                  </a:cubicBezTo>
                  <a:cubicBezTo>
                    <a:pt x="2352199" y="210026"/>
                    <a:pt x="2356009" y="198596"/>
                    <a:pt x="2359819" y="187166"/>
                  </a:cubicBezTo>
                  <a:cubicBezTo>
                    <a:pt x="2358866" y="194786"/>
                    <a:pt x="2356961" y="212884"/>
                    <a:pt x="2355056" y="236696"/>
                  </a:cubicBezTo>
                  <a:cubicBezTo>
                    <a:pt x="2354104" y="232886"/>
                    <a:pt x="2353151" y="230029"/>
                    <a:pt x="2353151" y="230029"/>
                  </a:cubicBezTo>
                  <a:cubicBezTo>
                    <a:pt x="2353151" y="230029"/>
                    <a:pt x="2354104" y="233839"/>
                    <a:pt x="2354104" y="241459"/>
                  </a:cubicBezTo>
                  <a:cubicBezTo>
                    <a:pt x="2351246" y="247174"/>
                    <a:pt x="2347436" y="253841"/>
                    <a:pt x="2344579" y="259556"/>
                  </a:cubicBezTo>
                  <a:cubicBezTo>
                    <a:pt x="2344579" y="259556"/>
                    <a:pt x="2344579" y="259556"/>
                    <a:pt x="2344579" y="259556"/>
                  </a:cubicBezTo>
                  <a:cubicBezTo>
                    <a:pt x="2342674" y="254794"/>
                    <a:pt x="2340769" y="250031"/>
                    <a:pt x="2339816" y="245269"/>
                  </a:cubicBezTo>
                  <a:lnTo>
                    <a:pt x="2340769" y="241459"/>
                  </a:lnTo>
                  <a:close/>
                  <a:moveTo>
                    <a:pt x="2344579" y="320516"/>
                  </a:moveTo>
                  <a:cubicBezTo>
                    <a:pt x="2342674" y="316706"/>
                    <a:pt x="2340769" y="313849"/>
                    <a:pt x="2339816" y="310991"/>
                  </a:cubicBezTo>
                  <a:lnTo>
                    <a:pt x="2339816" y="310039"/>
                  </a:lnTo>
                  <a:cubicBezTo>
                    <a:pt x="2341721" y="313849"/>
                    <a:pt x="2343626" y="317659"/>
                    <a:pt x="2344579" y="320516"/>
                  </a:cubicBezTo>
                  <a:close/>
                  <a:moveTo>
                    <a:pt x="2337911" y="317659"/>
                  </a:moveTo>
                  <a:cubicBezTo>
                    <a:pt x="2338864" y="320516"/>
                    <a:pt x="2339816" y="324326"/>
                    <a:pt x="2341721" y="327184"/>
                  </a:cubicBezTo>
                  <a:lnTo>
                    <a:pt x="2336959" y="321469"/>
                  </a:lnTo>
                  <a:lnTo>
                    <a:pt x="2337911" y="317659"/>
                  </a:lnTo>
                  <a:close/>
                  <a:moveTo>
                    <a:pt x="2332196" y="280511"/>
                  </a:moveTo>
                  <a:cubicBezTo>
                    <a:pt x="2332196" y="281464"/>
                    <a:pt x="2333149" y="282416"/>
                    <a:pt x="2333149" y="283369"/>
                  </a:cubicBezTo>
                  <a:cubicBezTo>
                    <a:pt x="2333149" y="282416"/>
                    <a:pt x="2332196" y="282416"/>
                    <a:pt x="2332196" y="281464"/>
                  </a:cubicBezTo>
                  <a:lnTo>
                    <a:pt x="2332196" y="280511"/>
                  </a:lnTo>
                  <a:close/>
                  <a:moveTo>
                    <a:pt x="2330291" y="289084"/>
                  </a:moveTo>
                  <a:cubicBezTo>
                    <a:pt x="2330291" y="290036"/>
                    <a:pt x="2331244" y="290989"/>
                    <a:pt x="2331244" y="290989"/>
                  </a:cubicBezTo>
                  <a:lnTo>
                    <a:pt x="2330291" y="292894"/>
                  </a:lnTo>
                  <a:cubicBezTo>
                    <a:pt x="2330291" y="291941"/>
                    <a:pt x="2329339" y="291941"/>
                    <a:pt x="2329339" y="290989"/>
                  </a:cubicBezTo>
                  <a:lnTo>
                    <a:pt x="2330291" y="289084"/>
                  </a:lnTo>
                  <a:close/>
                  <a:moveTo>
                    <a:pt x="2329339" y="293846"/>
                  </a:moveTo>
                  <a:lnTo>
                    <a:pt x="2329339" y="292894"/>
                  </a:lnTo>
                  <a:cubicBezTo>
                    <a:pt x="2329339" y="293846"/>
                    <a:pt x="2329339" y="293846"/>
                    <a:pt x="2330291" y="294799"/>
                  </a:cubicBezTo>
                  <a:lnTo>
                    <a:pt x="2328386" y="299561"/>
                  </a:lnTo>
                  <a:cubicBezTo>
                    <a:pt x="2328386" y="299561"/>
                    <a:pt x="2328386" y="299561"/>
                    <a:pt x="2328386" y="298609"/>
                  </a:cubicBezTo>
                  <a:lnTo>
                    <a:pt x="2329339" y="293846"/>
                  </a:lnTo>
                  <a:close/>
                  <a:moveTo>
                    <a:pt x="2313146" y="194786"/>
                  </a:moveTo>
                  <a:cubicBezTo>
                    <a:pt x="2314099" y="196691"/>
                    <a:pt x="2314099" y="199549"/>
                    <a:pt x="2315051" y="201454"/>
                  </a:cubicBezTo>
                  <a:cubicBezTo>
                    <a:pt x="2315051" y="202406"/>
                    <a:pt x="2316004" y="203359"/>
                    <a:pt x="2316004" y="205264"/>
                  </a:cubicBezTo>
                  <a:cubicBezTo>
                    <a:pt x="2315051" y="208121"/>
                    <a:pt x="2314099" y="211931"/>
                    <a:pt x="2314099" y="214789"/>
                  </a:cubicBezTo>
                  <a:cubicBezTo>
                    <a:pt x="2314099" y="214789"/>
                    <a:pt x="2314099" y="214789"/>
                    <a:pt x="2314099" y="214789"/>
                  </a:cubicBezTo>
                  <a:cubicBezTo>
                    <a:pt x="2313146" y="211931"/>
                    <a:pt x="2311241" y="210026"/>
                    <a:pt x="2310289" y="207169"/>
                  </a:cubicBezTo>
                  <a:cubicBezTo>
                    <a:pt x="2311241" y="202406"/>
                    <a:pt x="2312194" y="198596"/>
                    <a:pt x="2313146" y="194786"/>
                  </a:cubicBezTo>
                  <a:close/>
                  <a:moveTo>
                    <a:pt x="2304574" y="197644"/>
                  </a:moveTo>
                  <a:cubicBezTo>
                    <a:pt x="2304574" y="198596"/>
                    <a:pt x="2305526" y="199549"/>
                    <a:pt x="2305526" y="200501"/>
                  </a:cubicBezTo>
                  <a:cubicBezTo>
                    <a:pt x="2304574" y="202406"/>
                    <a:pt x="2304574" y="204311"/>
                    <a:pt x="2303621" y="205264"/>
                  </a:cubicBezTo>
                  <a:cubicBezTo>
                    <a:pt x="2304574" y="203359"/>
                    <a:pt x="2304574" y="200501"/>
                    <a:pt x="2304574" y="197644"/>
                  </a:cubicBezTo>
                  <a:close/>
                  <a:moveTo>
                    <a:pt x="2297906" y="272891"/>
                  </a:moveTo>
                  <a:cubicBezTo>
                    <a:pt x="2298859" y="267176"/>
                    <a:pt x="2298859" y="262414"/>
                    <a:pt x="2298859" y="256699"/>
                  </a:cubicBezTo>
                  <a:cubicBezTo>
                    <a:pt x="2298859" y="254794"/>
                    <a:pt x="2299811" y="252889"/>
                    <a:pt x="2299811" y="250984"/>
                  </a:cubicBezTo>
                  <a:cubicBezTo>
                    <a:pt x="2303621" y="236696"/>
                    <a:pt x="2306479" y="223361"/>
                    <a:pt x="2308384" y="211931"/>
                  </a:cubicBezTo>
                  <a:cubicBezTo>
                    <a:pt x="2308384" y="212884"/>
                    <a:pt x="2309336" y="214789"/>
                    <a:pt x="2309336" y="215741"/>
                  </a:cubicBezTo>
                  <a:cubicBezTo>
                    <a:pt x="2310289" y="217646"/>
                    <a:pt x="2310289" y="219551"/>
                    <a:pt x="2311241" y="221456"/>
                  </a:cubicBezTo>
                  <a:cubicBezTo>
                    <a:pt x="2311241" y="221456"/>
                    <a:pt x="2311241" y="221456"/>
                    <a:pt x="2311241" y="221456"/>
                  </a:cubicBezTo>
                  <a:cubicBezTo>
                    <a:pt x="2309336" y="231934"/>
                    <a:pt x="2306479" y="242411"/>
                    <a:pt x="2304574" y="253841"/>
                  </a:cubicBezTo>
                  <a:cubicBezTo>
                    <a:pt x="2302669" y="252889"/>
                    <a:pt x="2302669" y="251936"/>
                    <a:pt x="2302669" y="251936"/>
                  </a:cubicBezTo>
                  <a:cubicBezTo>
                    <a:pt x="2302669" y="251936"/>
                    <a:pt x="2303621" y="252889"/>
                    <a:pt x="2304574" y="253841"/>
                  </a:cubicBezTo>
                  <a:cubicBezTo>
                    <a:pt x="2302669" y="260509"/>
                    <a:pt x="2301716" y="268129"/>
                    <a:pt x="2299811" y="274796"/>
                  </a:cubicBezTo>
                  <a:cubicBezTo>
                    <a:pt x="2297906" y="283369"/>
                    <a:pt x="2296001" y="291941"/>
                    <a:pt x="2294096" y="300514"/>
                  </a:cubicBezTo>
                  <a:cubicBezTo>
                    <a:pt x="2296954" y="291941"/>
                    <a:pt x="2297906" y="282416"/>
                    <a:pt x="2297906" y="272891"/>
                  </a:cubicBezTo>
                  <a:close/>
                  <a:moveTo>
                    <a:pt x="2271236" y="369094"/>
                  </a:moveTo>
                  <a:cubicBezTo>
                    <a:pt x="2271236" y="371951"/>
                    <a:pt x="2271236" y="374809"/>
                    <a:pt x="2270284" y="376714"/>
                  </a:cubicBezTo>
                  <a:lnTo>
                    <a:pt x="2270284" y="376714"/>
                  </a:lnTo>
                  <a:cubicBezTo>
                    <a:pt x="2270284" y="375761"/>
                    <a:pt x="2270284" y="373856"/>
                    <a:pt x="2270284" y="372904"/>
                  </a:cubicBezTo>
                  <a:cubicBezTo>
                    <a:pt x="2270284" y="371951"/>
                    <a:pt x="2270284" y="370046"/>
                    <a:pt x="2271236" y="369094"/>
                  </a:cubicBezTo>
                  <a:close/>
                  <a:moveTo>
                    <a:pt x="2252186" y="297656"/>
                  </a:moveTo>
                  <a:cubicBezTo>
                    <a:pt x="2252186" y="302419"/>
                    <a:pt x="2251234" y="307181"/>
                    <a:pt x="2251234" y="311944"/>
                  </a:cubicBezTo>
                  <a:cubicBezTo>
                    <a:pt x="2251234" y="310991"/>
                    <a:pt x="2250281" y="310039"/>
                    <a:pt x="2250281" y="308134"/>
                  </a:cubicBezTo>
                  <a:cubicBezTo>
                    <a:pt x="2251234" y="305276"/>
                    <a:pt x="2252186" y="301466"/>
                    <a:pt x="2252186" y="297656"/>
                  </a:cubicBezTo>
                  <a:close/>
                  <a:moveTo>
                    <a:pt x="2215991" y="252889"/>
                  </a:moveTo>
                  <a:lnTo>
                    <a:pt x="2215991" y="256699"/>
                  </a:lnTo>
                  <a:cubicBezTo>
                    <a:pt x="2215991" y="256699"/>
                    <a:pt x="2215991" y="256699"/>
                    <a:pt x="2215991" y="256699"/>
                  </a:cubicBezTo>
                  <a:cubicBezTo>
                    <a:pt x="2215039" y="255746"/>
                    <a:pt x="2215991" y="254794"/>
                    <a:pt x="2215991" y="252889"/>
                  </a:cubicBezTo>
                  <a:close/>
                  <a:moveTo>
                    <a:pt x="2211229" y="281464"/>
                  </a:moveTo>
                  <a:cubicBezTo>
                    <a:pt x="2212181" y="273844"/>
                    <a:pt x="2213134" y="267176"/>
                    <a:pt x="2214086" y="260509"/>
                  </a:cubicBezTo>
                  <a:cubicBezTo>
                    <a:pt x="2214086" y="260509"/>
                    <a:pt x="2215039" y="261461"/>
                    <a:pt x="2215039" y="261461"/>
                  </a:cubicBezTo>
                  <a:lnTo>
                    <a:pt x="2215039" y="267176"/>
                  </a:lnTo>
                  <a:cubicBezTo>
                    <a:pt x="2214086" y="277654"/>
                    <a:pt x="2213134" y="289084"/>
                    <a:pt x="2212181" y="299561"/>
                  </a:cubicBezTo>
                  <a:cubicBezTo>
                    <a:pt x="2210276" y="302419"/>
                    <a:pt x="2208371" y="306229"/>
                    <a:pt x="2206466" y="309086"/>
                  </a:cubicBezTo>
                  <a:cubicBezTo>
                    <a:pt x="2208371" y="299561"/>
                    <a:pt x="2210276" y="290036"/>
                    <a:pt x="2211229" y="281464"/>
                  </a:cubicBezTo>
                  <a:close/>
                  <a:moveTo>
                    <a:pt x="2205514" y="337661"/>
                  </a:moveTo>
                  <a:cubicBezTo>
                    <a:pt x="2205514" y="338614"/>
                    <a:pt x="2204561" y="338614"/>
                    <a:pt x="2204561" y="339566"/>
                  </a:cubicBezTo>
                  <a:cubicBezTo>
                    <a:pt x="2204561" y="339566"/>
                    <a:pt x="2204561" y="339566"/>
                    <a:pt x="2204561" y="340519"/>
                  </a:cubicBezTo>
                  <a:cubicBezTo>
                    <a:pt x="2204561" y="339566"/>
                    <a:pt x="2204561" y="338614"/>
                    <a:pt x="2205514" y="337661"/>
                  </a:cubicBezTo>
                  <a:close/>
                  <a:moveTo>
                    <a:pt x="2183606" y="336709"/>
                  </a:moveTo>
                  <a:cubicBezTo>
                    <a:pt x="2183606" y="338614"/>
                    <a:pt x="2184559" y="341471"/>
                    <a:pt x="2185511" y="345281"/>
                  </a:cubicBezTo>
                  <a:cubicBezTo>
                    <a:pt x="2185511" y="347186"/>
                    <a:pt x="2184559" y="349091"/>
                    <a:pt x="2184559" y="350044"/>
                  </a:cubicBezTo>
                  <a:cubicBezTo>
                    <a:pt x="2184559" y="347186"/>
                    <a:pt x="2183606" y="343376"/>
                    <a:pt x="2183606" y="340519"/>
                  </a:cubicBezTo>
                  <a:cubicBezTo>
                    <a:pt x="2183606" y="339566"/>
                    <a:pt x="2183606" y="338614"/>
                    <a:pt x="2183606" y="337661"/>
                  </a:cubicBezTo>
                  <a:cubicBezTo>
                    <a:pt x="2182654" y="337661"/>
                    <a:pt x="2182654" y="337661"/>
                    <a:pt x="2183606" y="336709"/>
                  </a:cubicBezTo>
                  <a:close/>
                  <a:moveTo>
                    <a:pt x="2178844" y="345281"/>
                  </a:moveTo>
                  <a:cubicBezTo>
                    <a:pt x="2178844" y="349091"/>
                    <a:pt x="2178844" y="352901"/>
                    <a:pt x="2178844" y="357664"/>
                  </a:cubicBezTo>
                  <a:cubicBezTo>
                    <a:pt x="2177891" y="355759"/>
                    <a:pt x="2176939" y="352901"/>
                    <a:pt x="2175986" y="350996"/>
                  </a:cubicBezTo>
                  <a:cubicBezTo>
                    <a:pt x="2176939" y="348139"/>
                    <a:pt x="2177891" y="346234"/>
                    <a:pt x="2178844" y="345281"/>
                  </a:cubicBezTo>
                  <a:close/>
                  <a:moveTo>
                    <a:pt x="2150269" y="278606"/>
                  </a:moveTo>
                  <a:cubicBezTo>
                    <a:pt x="2155031" y="261461"/>
                    <a:pt x="2159794" y="246221"/>
                    <a:pt x="2162651" y="232886"/>
                  </a:cubicBezTo>
                  <a:cubicBezTo>
                    <a:pt x="2162651" y="233839"/>
                    <a:pt x="2162651" y="234791"/>
                    <a:pt x="2161699" y="235744"/>
                  </a:cubicBezTo>
                  <a:cubicBezTo>
                    <a:pt x="2160746" y="241459"/>
                    <a:pt x="2158841" y="248126"/>
                    <a:pt x="2157889" y="253841"/>
                  </a:cubicBezTo>
                  <a:cubicBezTo>
                    <a:pt x="2156936" y="260509"/>
                    <a:pt x="2155984" y="267176"/>
                    <a:pt x="2154079" y="274796"/>
                  </a:cubicBezTo>
                  <a:cubicBezTo>
                    <a:pt x="2153126" y="280511"/>
                    <a:pt x="2152174" y="287179"/>
                    <a:pt x="2151221" y="293846"/>
                  </a:cubicBezTo>
                  <a:cubicBezTo>
                    <a:pt x="2149316" y="290036"/>
                    <a:pt x="2148364" y="288131"/>
                    <a:pt x="2148364" y="288131"/>
                  </a:cubicBezTo>
                  <a:cubicBezTo>
                    <a:pt x="2148364" y="288131"/>
                    <a:pt x="2149316" y="290989"/>
                    <a:pt x="2150269" y="296704"/>
                  </a:cubicBezTo>
                  <a:cubicBezTo>
                    <a:pt x="2149316" y="302419"/>
                    <a:pt x="2148364" y="309086"/>
                    <a:pt x="2147411" y="314801"/>
                  </a:cubicBezTo>
                  <a:cubicBezTo>
                    <a:pt x="2143601" y="309086"/>
                    <a:pt x="2140744" y="305276"/>
                    <a:pt x="2140744" y="305276"/>
                  </a:cubicBezTo>
                  <a:cubicBezTo>
                    <a:pt x="2145506" y="296704"/>
                    <a:pt x="2147411" y="287179"/>
                    <a:pt x="2150269" y="278606"/>
                  </a:cubicBezTo>
                  <a:close/>
                  <a:moveTo>
                    <a:pt x="2142649" y="305276"/>
                  </a:moveTo>
                  <a:cubicBezTo>
                    <a:pt x="2142649" y="306229"/>
                    <a:pt x="2144554" y="310991"/>
                    <a:pt x="2148364" y="319564"/>
                  </a:cubicBezTo>
                  <a:cubicBezTo>
                    <a:pt x="2148364" y="319564"/>
                    <a:pt x="2148364" y="320516"/>
                    <a:pt x="2148364" y="320516"/>
                  </a:cubicBezTo>
                  <a:cubicBezTo>
                    <a:pt x="2148364" y="320516"/>
                    <a:pt x="2148364" y="321469"/>
                    <a:pt x="2148364" y="321469"/>
                  </a:cubicBezTo>
                  <a:cubicBezTo>
                    <a:pt x="2147411" y="328136"/>
                    <a:pt x="2146459" y="335756"/>
                    <a:pt x="2145506" y="343376"/>
                  </a:cubicBezTo>
                  <a:cubicBezTo>
                    <a:pt x="2143601" y="336709"/>
                    <a:pt x="2141696" y="330994"/>
                    <a:pt x="2139791" y="324326"/>
                  </a:cubicBezTo>
                  <a:cubicBezTo>
                    <a:pt x="2139791" y="323374"/>
                    <a:pt x="2138839" y="321469"/>
                    <a:pt x="2138839" y="320516"/>
                  </a:cubicBezTo>
                  <a:cubicBezTo>
                    <a:pt x="2138839" y="315754"/>
                    <a:pt x="2140744" y="310991"/>
                    <a:pt x="2142649" y="305276"/>
                  </a:cubicBezTo>
                  <a:close/>
                  <a:moveTo>
                    <a:pt x="2058829" y="353854"/>
                  </a:moveTo>
                  <a:cubicBezTo>
                    <a:pt x="2057876" y="357664"/>
                    <a:pt x="2056924" y="362426"/>
                    <a:pt x="2056924" y="366236"/>
                  </a:cubicBezTo>
                  <a:cubicBezTo>
                    <a:pt x="2056924" y="364331"/>
                    <a:pt x="2055971" y="363379"/>
                    <a:pt x="2055971" y="361474"/>
                  </a:cubicBezTo>
                  <a:cubicBezTo>
                    <a:pt x="2055019" y="358616"/>
                    <a:pt x="2055019" y="355759"/>
                    <a:pt x="2054066" y="352901"/>
                  </a:cubicBezTo>
                  <a:cubicBezTo>
                    <a:pt x="2054066" y="352901"/>
                    <a:pt x="2054066" y="352901"/>
                    <a:pt x="2054066" y="351949"/>
                  </a:cubicBezTo>
                  <a:cubicBezTo>
                    <a:pt x="2055971" y="347186"/>
                    <a:pt x="2057876" y="343376"/>
                    <a:pt x="2059781" y="338614"/>
                  </a:cubicBezTo>
                  <a:cubicBezTo>
                    <a:pt x="2059781" y="340519"/>
                    <a:pt x="2060734" y="341471"/>
                    <a:pt x="2060734" y="343376"/>
                  </a:cubicBezTo>
                  <a:cubicBezTo>
                    <a:pt x="2060734" y="347186"/>
                    <a:pt x="2059781" y="350044"/>
                    <a:pt x="2058829" y="353854"/>
                  </a:cubicBezTo>
                  <a:close/>
                  <a:moveTo>
                    <a:pt x="2081689" y="350044"/>
                  </a:moveTo>
                  <a:cubicBezTo>
                    <a:pt x="2080736" y="351949"/>
                    <a:pt x="2080736" y="352901"/>
                    <a:pt x="2079784" y="354806"/>
                  </a:cubicBezTo>
                  <a:cubicBezTo>
                    <a:pt x="2078831" y="351949"/>
                    <a:pt x="2078831" y="350044"/>
                    <a:pt x="2077879" y="347186"/>
                  </a:cubicBezTo>
                  <a:cubicBezTo>
                    <a:pt x="2077879" y="346234"/>
                    <a:pt x="2077879" y="345281"/>
                    <a:pt x="2077879" y="344329"/>
                  </a:cubicBezTo>
                  <a:cubicBezTo>
                    <a:pt x="2078831" y="345281"/>
                    <a:pt x="2079784" y="346234"/>
                    <a:pt x="2080736" y="348139"/>
                  </a:cubicBezTo>
                  <a:cubicBezTo>
                    <a:pt x="2080736" y="348139"/>
                    <a:pt x="2080736" y="349091"/>
                    <a:pt x="2081689" y="350044"/>
                  </a:cubicBezTo>
                  <a:cubicBezTo>
                    <a:pt x="2081689" y="350044"/>
                    <a:pt x="2081689" y="350044"/>
                    <a:pt x="2081689" y="350044"/>
                  </a:cubicBezTo>
                  <a:close/>
                  <a:moveTo>
                    <a:pt x="2081689" y="339566"/>
                  </a:moveTo>
                  <a:cubicBezTo>
                    <a:pt x="2081689" y="340519"/>
                    <a:pt x="2081689" y="341471"/>
                    <a:pt x="2081689" y="341471"/>
                  </a:cubicBezTo>
                  <a:cubicBezTo>
                    <a:pt x="2080736" y="340519"/>
                    <a:pt x="2079784" y="338614"/>
                    <a:pt x="2078831" y="337661"/>
                  </a:cubicBezTo>
                  <a:cubicBezTo>
                    <a:pt x="2078831" y="334804"/>
                    <a:pt x="2079784" y="331946"/>
                    <a:pt x="2079784" y="330041"/>
                  </a:cubicBezTo>
                  <a:cubicBezTo>
                    <a:pt x="2080736" y="332899"/>
                    <a:pt x="2081689" y="335756"/>
                    <a:pt x="2081689" y="339566"/>
                  </a:cubicBezTo>
                  <a:cubicBezTo>
                    <a:pt x="2081689" y="338614"/>
                    <a:pt x="2081689" y="338614"/>
                    <a:pt x="2081689" y="339566"/>
                  </a:cubicBezTo>
                  <a:close/>
                  <a:moveTo>
                    <a:pt x="2085499" y="290036"/>
                  </a:moveTo>
                  <a:cubicBezTo>
                    <a:pt x="2085499" y="295751"/>
                    <a:pt x="2084546" y="301466"/>
                    <a:pt x="2084546" y="307181"/>
                  </a:cubicBezTo>
                  <a:cubicBezTo>
                    <a:pt x="2084546" y="306229"/>
                    <a:pt x="2083594" y="305276"/>
                    <a:pt x="2083594" y="303371"/>
                  </a:cubicBezTo>
                  <a:cubicBezTo>
                    <a:pt x="2084546" y="292894"/>
                    <a:pt x="2085499" y="282416"/>
                    <a:pt x="2086451" y="273844"/>
                  </a:cubicBezTo>
                  <a:cubicBezTo>
                    <a:pt x="2086451" y="271939"/>
                    <a:pt x="2086451" y="269081"/>
                    <a:pt x="2087404" y="267176"/>
                  </a:cubicBezTo>
                  <a:cubicBezTo>
                    <a:pt x="2086451" y="274796"/>
                    <a:pt x="2085499" y="282416"/>
                    <a:pt x="2085499" y="290036"/>
                  </a:cubicBezTo>
                  <a:close/>
                  <a:moveTo>
                    <a:pt x="2089309" y="180499"/>
                  </a:moveTo>
                  <a:cubicBezTo>
                    <a:pt x="2089309" y="186214"/>
                    <a:pt x="2089309" y="192881"/>
                    <a:pt x="2089309" y="200501"/>
                  </a:cubicBezTo>
                  <a:cubicBezTo>
                    <a:pt x="2088356" y="197644"/>
                    <a:pt x="2086451" y="194786"/>
                    <a:pt x="2086451" y="192881"/>
                  </a:cubicBezTo>
                  <a:cubicBezTo>
                    <a:pt x="2087404" y="188119"/>
                    <a:pt x="2088356" y="184309"/>
                    <a:pt x="2089309" y="180499"/>
                  </a:cubicBezTo>
                  <a:close/>
                  <a:moveTo>
                    <a:pt x="2072164" y="241459"/>
                  </a:moveTo>
                  <a:cubicBezTo>
                    <a:pt x="2077879" y="223361"/>
                    <a:pt x="2082641" y="207169"/>
                    <a:pt x="2086451" y="193834"/>
                  </a:cubicBezTo>
                  <a:cubicBezTo>
                    <a:pt x="2087404" y="197644"/>
                    <a:pt x="2088356" y="201454"/>
                    <a:pt x="2090261" y="207169"/>
                  </a:cubicBezTo>
                  <a:cubicBezTo>
                    <a:pt x="2090261" y="207169"/>
                    <a:pt x="2090261" y="207169"/>
                    <a:pt x="2090261" y="208121"/>
                  </a:cubicBezTo>
                  <a:cubicBezTo>
                    <a:pt x="2087404" y="221456"/>
                    <a:pt x="2081689" y="244316"/>
                    <a:pt x="2075974" y="271939"/>
                  </a:cubicBezTo>
                  <a:cubicBezTo>
                    <a:pt x="2075021" y="274796"/>
                    <a:pt x="2075021" y="278606"/>
                    <a:pt x="2074069" y="282416"/>
                  </a:cubicBezTo>
                  <a:cubicBezTo>
                    <a:pt x="2072164" y="278606"/>
                    <a:pt x="2070259" y="274796"/>
                    <a:pt x="2068354" y="271939"/>
                  </a:cubicBezTo>
                  <a:cubicBezTo>
                    <a:pt x="2067401" y="270034"/>
                    <a:pt x="2066449" y="268129"/>
                    <a:pt x="2065496" y="266224"/>
                  </a:cubicBezTo>
                  <a:cubicBezTo>
                    <a:pt x="2067401" y="257651"/>
                    <a:pt x="2069306" y="249079"/>
                    <a:pt x="2072164" y="241459"/>
                  </a:cubicBezTo>
                  <a:close/>
                  <a:moveTo>
                    <a:pt x="2062639" y="270034"/>
                  </a:moveTo>
                  <a:cubicBezTo>
                    <a:pt x="2062639" y="270986"/>
                    <a:pt x="2063591" y="271939"/>
                    <a:pt x="2063591" y="272891"/>
                  </a:cubicBezTo>
                  <a:cubicBezTo>
                    <a:pt x="2065496" y="278606"/>
                    <a:pt x="2067401" y="285274"/>
                    <a:pt x="2069306" y="292894"/>
                  </a:cubicBezTo>
                  <a:cubicBezTo>
                    <a:pt x="2069306" y="293846"/>
                    <a:pt x="2069306" y="293846"/>
                    <a:pt x="2070259" y="294799"/>
                  </a:cubicBezTo>
                  <a:cubicBezTo>
                    <a:pt x="2069306" y="299561"/>
                    <a:pt x="2068354" y="305276"/>
                    <a:pt x="2067401" y="310039"/>
                  </a:cubicBezTo>
                  <a:cubicBezTo>
                    <a:pt x="2066449" y="308134"/>
                    <a:pt x="2066449" y="305276"/>
                    <a:pt x="2065496" y="303371"/>
                  </a:cubicBezTo>
                  <a:cubicBezTo>
                    <a:pt x="2063591" y="296704"/>
                    <a:pt x="2060734" y="290036"/>
                    <a:pt x="2058829" y="284321"/>
                  </a:cubicBezTo>
                  <a:cubicBezTo>
                    <a:pt x="2059781" y="279559"/>
                    <a:pt x="2061686" y="274796"/>
                    <a:pt x="2062639" y="270034"/>
                  </a:cubicBezTo>
                  <a:close/>
                  <a:moveTo>
                    <a:pt x="2053114" y="301466"/>
                  </a:moveTo>
                  <a:cubicBezTo>
                    <a:pt x="2053114" y="303371"/>
                    <a:pt x="2054066" y="304324"/>
                    <a:pt x="2054066" y="306229"/>
                  </a:cubicBezTo>
                  <a:cubicBezTo>
                    <a:pt x="2055019" y="310991"/>
                    <a:pt x="2055971" y="315754"/>
                    <a:pt x="2056924" y="320516"/>
                  </a:cubicBezTo>
                  <a:cubicBezTo>
                    <a:pt x="2056924" y="320516"/>
                    <a:pt x="2055971" y="320516"/>
                    <a:pt x="2055971" y="320516"/>
                  </a:cubicBezTo>
                  <a:cubicBezTo>
                    <a:pt x="2051209" y="318611"/>
                    <a:pt x="2049304" y="317659"/>
                    <a:pt x="2049304" y="317659"/>
                  </a:cubicBezTo>
                  <a:cubicBezTo>
                    <a:pt x="2049304" y="317659"/>
                    <a:pt x="2051209" y="319564"/>
                    <a:pt x="2055971" y="321469"/>
                  </a:cubicBezTo>
                  <a:cubicBezTo>
                    <a:pt x="2056924" y="321469"/>
                    <a:pt x="2056924" y="322421"/>
                    <a:pt x="2057876" y="322421"/>
                  </a:cubicBezTo>
                  <a:cubicBezTo>
                    <a:pt x="2058829" y="326231"/>
                    <a:pt x="2058829" y="329089"/>
                    <a:pt x="2059781" y="332899"/>
                  </a:cubicBezTo>
                  <a:cubicBezTo>
                    <a:pt x="2057876" y="335756"/>
                    <a:pt x="2055971" y="338614"/>
                    <a:pt x="2053114" y="342424"/>
                  </a:cubicBezTo>
                  <a:cubicBezTo>
                    <a:pt x="2052161" y="335756"/>
                    <a:pt x="2050256" y="328136"/>
                    <a:pt x="2049304" y="321469"/>
                  </a:cubicBezTo>
                  <a:cubicBezTo>
                    <a:pt x="2049304" y="319564"/>
                    <a:pt x="2049304" y="317659"/>
                    <a:pt x="2049304" y="315754"/>
                  </a:cubicBezTo>
                  <a:cubicBezTo>
                    <a:pt x="2050256" y="310991"/>
                    <a:pt x="2052161" y="305276"/>
                    <a:pt x="2053114" y="301466"/>
                  </a:cubicBezTo>
                  <a:close/>
                  <a:moveTo>
                    <a:pt x="2044541" y="260509"/>
                  </a:moveTo>
                  <a:cubicBezTo>
                    <a:pt x="2044541" y="260509"/>
                    <a:pt x="2044541" y="260509"/>
                    <a:pt x="2044541" y="260509"/>
                  </a:cubicBezTo>
                  <a:cubicBezTo>
                    <a:pt x="2044541" y="260509"/>
                    <a:pt x="2044541" y="259556"/>
                    <a:pt x="2044541" y="259556"/>
                  </a:cubicBezTo>
                  <a:cubicBezTo>
                    <a:pt x="2044541" y="259556"/>
                    <a:pt x="2044541" y="259556"/>
                    <a:pt x="2044541" y="260509"/>
                  </a:cubicBezTo>
                  <a:close/>
                  <a:moveTo>
                    <a:pt x="2019776" y="188119"/>
                  </a:moveTo>
                  <a:cubicBezTo>
                    <a:pt x="2019776" y="187166"/>
                    <a:pt x="2019776" y="186214"/>
                    <a:pt x="2019776" y="185261"/>
                  </a:cubicBezTo>
                  <a:cubicBezTo>
                    <a:pt x="2019776" y="182404"/>
                    <a:pt x="2020729" y="179546"/>
                    <a:pt x="2020729" y="177641"/>
                  </a:cubicBezTo>
                  <a:cubicBezTo>
                    <a:pt x="2020729" y="180499"/>
                    <a:pt x="2020729" y="184309"/>
                    <a:pt x="2020729" y="189071"/>
                  </a:cubicBezTo>
                  <a:cubicBezTo>
                    <a:pt x="2020729" y="197644"/>
                    <a:pt x="2021681" y="208121"/>
                    <a:pt x="2021681" y="220504"/>
                  </a:cubicBezTo>
                  <a:cubicBezTo>
                    <a:pt x="2021681" y="228124"/>
                    <a:pt x="2022634" y="235744"/>
                    <a:pt x="2023586" y="244316"/>
                  </a:cubicBezTo>
                  <a:cubicBezTo>
                    <a:pt x="2023586" y="245269"/>
                    <a:pt x="2022634" y="246221"/>
                    <a:pt x="2022634" y="247174"/>
                  </a:cubicBezTo>
                  <a:cubicBezTo>
                    <a:pt x="2020729" y="238601"/>
                    <a:pt x="2018824" y="230029"/>
                    <a:pt x="2016919" y="222409"/>
                  </a:cubicBezTo>
                  <a:cubicBezTo>
                    <a:pt x="2018824" y="209074"/>
                    <a:pt x="2018824" y="197644"/>
                    <a:pt x="2019776" y="188119"/>
                  </a:cubicBezTo>
                  <a:close/>
                  <a:moveTo>
                    <a:pt x="1999774" y="298609"/>
                  </a:moveTo>
                  <a:cubicBezTo>
                    <a:pt x="1999774" y="300514"/>
                    <a:pt x="1999774" y="302419"/>
                    <a:pt x="1999774" y="304324"/>
                  </a:cubicBezTo>
                  <a:cubicBezTo>
                    <a:pt x="1998821" y="306229"/>
                    <a:pt x="1998821" y="308134"/>
                    <a:pt x="1997869" y="310039"/>
                  </a:cubicBezTo>
                  <a:cubicBezTo>
                    <a:pt x="1998821" y="306229"/>
                    <a:pt x="1999774" y="302419"/>
                    <a:pt x="1999774" y="298609"/>
                  </a:cubicBezTo>
                  <a:close/>
                  <a:moveTo>
                    <a:pt x="1992154" y="349091"/>
                  </a:moveTo>
                  <a:cubicBezTo>
                    <a:pt x="1992154" y="351949"/>
                    <a:pt x="1992154" y="355759"/>
                    <a:pt x="1992154" y="359569"/>
                  </a:cubicBezTo>
                  <a:cubicBezTo>
                    <a:pt x="1992154" y="362426"/>
                    <a:pt x="1992154" y="366236"/>
                    <a:pt x="1992154" y="369094"/>
                  </a:cubicBezTo>
                  <a:cubicBezTo>
                    <a:pt x="1991201" y="370046"/>
                    <a:pt x="1990249" y="371951"/>
                    <a:pt x="1988344" y="373856"/>
                  </a:cubicBezTo>
                  <a:cubicBezTo>
                    <a:pt x="1990249" y="365284"/>
                    <a:pt x="1991201" y="356711"/>
                    <a:pt x="1992154" y="349091"/>
                  </a:cubicBezTo>
                  <a:close/>
                  <a:moveTo>
                    <a:pt x="1987391" y="381476"/>
                  </a:moveTo>
                  <a:cubicBezTo>
                    <a:pt x="1987391" y="381476"/>
                    <a:pt x="1987391" y="381476"/>
                    <a:pt x="1987391" y="381476"/>
                  </a:cubicBezTo>
                  <a:cubicBezTo>
                    <a:pt x="1989296" y="377666"/>
                    <a:pt x="1991201" y="374809"/>
                    <a:pt x="1992154" y="372904"/>
                  </a:cubicBezTo>
                  <a:cubicBezTo>
                    <a:pt x="1992154" y="374809"/>
                    <a:pt x="1992154" y="377666"/>
                    <a:pt x="1992154" y="379571"/>
                  </a:cubicBezTo>
                  <a:cubicBezTo>
                    <a:pt x="1992154" y="381476"/>
                    <a:pt x="1991201" y="384334"/>
                    <a:pt x="1991201" y="386239"/>
                  </a:cubicBezTo>
                  <a:cubicBezTo>
                    <a:pt x="1990249" y="391001"/>
                    <a:pt x="1989296" y="395764"/>
                    <a:pt x="1988344" y="400526"/>
                  </a:cubicBezTo>
                  <a:cubicBezTo>
                    <a:pt x="1988344" y="400526"/>
                    <a:pt x="1988344" y="399574"/>
                    <a:pt x="1988344" y="399574"/>
                  </a:cubicBezTo>
                  <a:cubicBezTo>
                    <a:pt x="1987391" y="397669"/>
                    <a:pt x="1986439" y="394811"/>
                    <a:pt x="1985486" y="392906"/>
                  </a:cubicBezTo>
                  <a:cubicBezTo>
                    <a:pt x="1986439" y="389096"/>
                    <a:pt x="1986439" y="385286"/>
                    <a:pt x="1987391" y="381476"/>
                  </a:cubicBezTo>
                  <a:close/>
                  <a:moveTo>
                    <a:pt x="1968341" y="290989"/>
                  </a:moveTo>
                  <a:cubicBezTo>
                    <a:pt x="1968341" y="292894"/>
                    <a:pt x="1968341" y="294799"/>
                    <a:pt x="1967389" y="297656"/>
                  </a:cubicBezTo>
                  <a:cubicBezTo>
                    <a:pt x="1967389" y="299561"/>
                    <a:pt x="1966436" y="302419"/>
                    <a:pt x="1966436" y="305276"/>
                  </a:cubicBezTo>
                  <a:cubicBezTo>
                    <a:pt x="1966436" y="309086"/>
                    <a:pt x="1965484" y="313849"/>
                    <a:pt x="1965484" y="318611"/>
                  </a:cubicBezTo>
                  <a:cubicBezTo>
                    <a:pt x="1965484" y="313849"/>
                    <a:pt x="1964531" y="309086"/>
                    <a:pt x="1964531" y="304324"/>
                  </a:cubicBezTo>
                  <a:cubicBezTo>
                    <a:pt x="1964531" y="303371"/>
                    <a:pt x="1964531" y="301466"/>
                    <a:pt x="1964531" y="300514"/>
                  </a:cubicBezTo>
                  <a:cubicBezTo>
                    <a:pt x="1965484" y="296704"/>
                    <a:pt x="1967389" y="293846"/>
                    <a:pt x="1968341" y="290989"/>
                  </a:cubicBezTo>
                  <a:close/>
                  <a:moveTo>
                    <a:pt x="1937861" y="310039"/>
                  </a:moveTo>
                  <a:cubicBezTo>
                    <a:pt x="1937861" y="307181"/>
                    <a:pt x="1937861" y="304324"/>
                    <a:pt x="1937861" y="302419"/>
                  </a:cubicBezTo>
                  <a:cubicBezTo>
                    <a:pt x="1937861" y="300514"/>
                    <a:pt x="1937861" y="297656"/>
                    <a:pt x="1937861" y="295751"/>
                  </a:cubicBezTo>
                  <a:cubicBezTo>
                    <a:pt x="1937861" y="299561"/>
                    <a:pt x="1938814" y="302419"/>
                    <a:pt x="1938814" y="306229"/>
                  </a:cubicBezTo>
                  <a:cubicBezTo>
                    <a:pt x="1938814" y="308134"/>
                    <a:pt x="1938814" y="309086"/>
                    <a:pt x="1937861" y="310039"/>
                  </a:cubicBezTo>
                  <a:close/>
                  <a:moveTo>
                    <a:pt x="1938814" y="272891"/>
                  </a:moveTo>
                  <a:cubicBezTo>
                    <a:pt x="1937861" y="270034"/>
                    <a:pt x="1937861" y="268129"/>
                    <a:pt x="1936909" y="266224"/>
                  </a:cubicBezTo>
                  <a:cubicBezTo>
                    <a:pt x="1936909" y="264319"/>
                    <a:pt x="1936909" y="262414"/>
                    <a:pt x="1936909" y="261461"/>
                  </a:cubicBezTo>
                  <a:cubicBezTo>
                    <a:pt x="1936909" y="256699"/>
                    <a:pt x="1936909" y="250984"/>
                    <a:pt x="1936909" y="246221"/>
                  </a:cubicBezTo>
                  <a:cubicBezTo>
                    <a:pt x="1936909" y="253841"/>
                    <a:pt x="1937861" y="263366"/>
                    <a:pt x="1938814" y="272891"/>
                  </a:cubicBezTo>
                  <a:close/>
                  <a:moveTo>
                    <a:pt x="1900714" y="338614"/>
                  </a:moveTo>
                  <a:cubicBezTo>
                    <a:pt x="1900714" y="336709"/>
                    <a:pt x="1900714" y="334804"/>
                    <a:pt x="1900714" y="333851"/>
                  </a:cubicBezTo>
                  <a:cubicBezTo>
                    <a:pt x="1901666" y="331946"/>
                    <a:pt x="1901666" y="330041"/>
                    <a:pt x="1902619" y="329089"/>
                  </a:cubicBezTo>
                  <a:cubicBezTo>
                    <a:pt x="1903571" y="328136"/>
                    <a:pt x="1904524" y="326231"/>
                    <a:pt x="1904524" y="325279"/>
                  </a:cubicBezTo>
                  <a:cubicBezTo>
                    <a:pt x="1902619" y="330041"/>
                    <a:pt x="1901666" y="333851"/>
                    <a:pt x="1900714" y="338614"/>
                  </a:cubicBezTo>
                  <a:close/>
                  <a:moveTo>
                    <a:pt x="1915954" y="436721"/>
                  </a:moveTo>
                  <a:cubicBezTo>
                    <a:pt x="1915954" y="435769"/>
                    <a:pt x="1915954" y="434816"/>
                    <a:pt x="1915954" y="433864"/>
                  </a:cubicBezTo>
                  <a:cubicBezTo>
                    <a:pt x="1915954" y="433864"/>
                    <a:pt x="1915954" y="434816"/>
                    <a:pt x="1916906" y="434816"/>
                  </a:cubicBezTo>
                  <a:cubicBezTo>
                    <a:pt x="1915954" y="435769"/>
                    <a:pt x="1915954" y="436721"/>
                    <a:pt x="1915954" y="436721"/>
                  </a:cubicBezTo>
                  <a:close/>
                  <a:moveTo>
                    <a:pt x="1920716" y="401479"/>
                  </a:moveTo>
                  <a:cubicBezTo>
                    <a:pt x="1920716" y="403384"/>
                    <a:pt x="1919764" y="405289"/>
                    <a:pt x="1919764" y="407194"/>
                  </a:cubicBezTo>
                  <a:cubicBezTo>
                    <a:pt x="1918811" y="406241"/>
                    <a:pt x="1918811" y="405289"/>
                    <a:pt x="1917859" y="404336"/>
                  </a:cubicBezTo>
                  <a:cubicBezTo>
                    <a:pt x="1918811" y="402431"/>
                    <a:pt x="1919764" y="400526"/>
                    <a:pt x="1919764" y="398621"/>
                  </a:cubicBezTo>
                  <a:cubicBezTo>
                    <a:pt x="1920716" y="399574"/>
                    <a:pt x="1920716" y="400526"/>
                    <a:pt x="1920716" y="401479"/>
                  </a:cubicBezTo>
                  <a:close/>
                  <a:moveTo>
                    <a:pt x="1917859" y="331946"/>
                  </a:moveTo>
                  <a:cubicBezTo>
                    <a:pt x="1918811" y="333851"/>
                    <a:pt x="1919764" y="335756"/>
                    <a:pt x="1919764" y="337661"/>
                  </a:cubicBezTo>
                  <a:cubicBezTo>
                    <a:pt x="1919764" y="337661"/>
                    <a:pt x="1919764" y="337661"/>
                    <a:pt x="1919764" y="337661"/>
                  </a:cubicBezTo>
                  <a:cubicBezTo>
                    <a:pt x="1919764" y="337661"/>
                    <a:pt x="1918811" y="338614"/>
                    <a:pt x="1918811" y="338614"/>
                  </a:cubicBezTo>
                  <a:cubicBezTo>
                    <a:pt x="1917859" y="339566"/>
                    <a:pt x="1916906" y="340519"/>
                    <a:pt x="1916906" y="342424"/>
                  </a:cubicBezTo>
                  <a:cubicBezTo>
                    <a:pt x="1916906" y="341471"/>
                    <a:pt x="1916906" y="341471"/>
                    <a:pt x="1916906" y="341471"/>
                  </a:cubicBezTo>
                  <a:cubicBezTo>
                    <a:pt x="1916906" y="341471"/>
                    <a:pt x="1916906" y="342424"/>
                    <a:pt x="1915954" y="344329"/>
                  </a:cubicBezTo>
                  <a:cubicBezTo>
                    <a:pt x="1915954" y="344329"/>
                    <a:pt x="1915001" y="345281"/>
                    <a:pt x="1915001" y="345281"/>
                  </a:cubicBezTo>
                  <a:cubicBezTo>
                    <a:pt x="1915954" y="340519"/>
                    <a:pt x="1916906" y="335756"/>
                    <a:pt x="1917859" y="331946"/>
                  </a:cubicBezTo>
                  <a:close/>
                  <a:moveTo>
                    <a:pt x="1919764" y="360521"/>
                  </a:moveTo>
                  <a:cubicBezTo>
                    <a:pt x="1919764" y="361474"/>
                    <a:pt x="1919764" y="362426"/>
                    <a:pt x="1919764" y="364331"/>
                  </a:cubicBezTo>
                  <a:cubicBezTo>
                    <a:pt x="1917859" y="367189"/>
                    <a:pt x="1916906" y="370999"/>
                    <a:pt x="1915001" y="373856"/>
                  </a:cubicBezTo>
                  <a:cubicBezTo>
                    <a:pt x="1913096" y="378619"/>
                    <a:pt x="1910239" y="383381"/>
                    <a:pt x="1908334" y="388144"/>
                  </a:cubicBezTo>
                  <a:cubicBezTo>
                    <a:pt x="1908334" y="388144"/>
                    <a:pt x="1907381" y="387191"/>
                    <a:pt x="1907381" y="387191"/>
                  </a:cubicBezTo>
                  <a:cubicBezTo>
                    <a:pt x="1907381" y="386239"/>
                    <a:pt x="1907381" y="386239"/>
                    <a:pt x="1907381" y="385286"/>
                  </a:cubicBezTo>
                  <a:cubicBezTo>
                    <a:pt x="1908334" y="383381"/>
                    <a:pt x="1909286" y="381476"/>
                    <a:pt x="1910239" y="380524"/>
                  </a:cubicBezTo>
                  <a:cubicBezTo>
                    <a:pt x="1913096" y="372904"/>
                    <a:pt x="1916906" y="366236"/>
                    <a:pt x="1919764" y="360521"/>
                  </a:cubicBezTo>
                  <a:close/>
                  <a:moveTo>
                    <a:pt x="1910239" y="299561"/>
                  </a:moveTo>
                  <a:cubicBezTo>
                    <a:pt x="1909286" y="301466"/>
                    <a:pt x="1909286" y="303371"/>
                    <a:pt x="1908334" y="305276"/>
                  </a:cubicBezTo>
                  <a:cubicBezTo>
                    <a:pt x="1908334" y="305276"/>
                    <a:pt x="1908334" y="305276"/>
                    <a:pt x="1908334" y="305276"/>
                  </a:cubicBezTo>
                  <a:cubicBezTo>
                    <a:pt x="1909286" y="302419"/>
                    <a:pt x="1910239" y="300514"/>
                    <a:pt x="1910239" y="299561"/>
                  </a:cubicBezTo>
                  <a:close/>
                  <a:moveTo>
                    <a:pt x="1906429" y="313849"/>
                  </a:moveTo>
                  <a:cubicBezTo>
                    <a:pt x="1907381" y="311944"/>
                    <a:pt x="1907381" y="310991"/>
                    <a:pt x="1908334" y="309086"/>
                  </a:cubicBezTo>
                  <a:cubicBezTo>
                    <a:pt x="1908334" y="309086"/>
                    <a:pt x="1908334" y="309086"/>
                    <a:pt x="1908334" y="310039"/>
                  </a:cubicBezTo>
                  <a:cubicBezTo>
                    <a:pt x="1907381" y="311944"/>
                    <a:pt x="1907381" y="313849"/>
                    <a:pt x="1906429" y="315754"/>
                  </a:cubicBezTo>
                  <a:cubicBezTo>
                    <a:pt x="1906429" y="315754"/>
                    <a:pt x="1905476" y="316706"/>
                    <a:pt x="1905476" y="316706"/>
                  </a:cubicBezTo>
                  <a:cubicBezTo>
                    <a:pt x="1905476" y="314801"/>
                    <a:pt x="1905476" y="314801"/>
                    <a:pt x="1906429" y="313849"/>
                  </a:cubicBezTo>
                  <a:close/>
                  <a:moveTo>
                    <a:pt x="1893094" y="259556"/>
                  </a:moveTo>
                  <a:cubicBezTo>
                    <a:pt x="1893094" y="258604"/>
                    <a:pt x="1894046" y="257651"/>
                    <a:pt x="1894046" y="256699"/>
                  </a:cubicBezTo>
                  <a:cubicBezTo>
                    <a:pt x="1894046" y="256699"/>
                    <a:pt x="1894999" y="256699"/>
                    <a:pt x="1894999" y="256699"/>
                  </a:cubicBezTo>
                  <a:cubicBezTo>
                    <a:pt x="1896904" y="257651"/>
                    <a:pt x="1897856" y="259556"/>
                    <a:pt x="1899761" y="260509"/>
                  </a:cubicBezTo>
                  <a:lnTo>
                    <a:pt x="1904524" y="275749"/>
                  </a:lnTo>
                  <a:cubicBezTo>
                    <a:pt x="1901666" y="283369"/>
                    <a:pt x="1898809" y="290036"/>
                    <a:pt x="1895951" y="297656"/>
                  </a:cubicBezTo>
                  <a:cubicBezTo>
                    <a:pt x="1894999" y="291941"/>
                    <a:pt x="1894999" y="286226"/>
                    <a:pt x="1894046" y="281464"/>
                  </a:cubicBezTo>
                  <a:cubicBezTo>
                    <a:pt x="1894046" y="277654"/>
                    <a:pt x="1893094" y="273844"/>
                    <a:pt x="1892141" y="270034"/>
                  </a:cubicBezTo>
                  <a:cubicBezTo>
                    <a:pt x="1892141" y="270986"/>
                    <a:pt x="1893094" y="271939"/>
                    <a:pt x="1893094" y="272891"/>
                  </a:cubicBezTo>
                  <a:cubicBezTo>
                    <a:pt x="1893094" y="269081"/>
                    <a:pt x="1892141" y="264319"/>
                    <a:pt x="1893094" y="259556"/>
                  </a:cubicBezTo>
                  <a:close/>
                  <a:moveTo>
                    <a:pt x="1841659" y="297656"/>
                  </a:moveTo>
                  <a:cubicBezTo>
                    <a:pt x="1841659" y="303371"/>
                    <a:pt x="1840706" y="308134"/>
                    <a:pt x="1840706" y="313849"/>
                  </a:cubicBezTo>
                  <a:cubicBezTo>
                    <a:pt x="1839754" y="307181"/>
                    <a:pt x="1839754" y="300514"/>
                    <a:pt x="1838801" y="294799"/>
                  </a:cubicBezTo>
                  <a:cubicBezTo>
                    <a:pt x="1838801" y="292894"/>
                    <a:pt x="1838801" y="291941"/>
                    <a:pt x="1838801" y="290989"/>
                  </a:cubicBezTo>
                  <a:cubicBezTo>
                    <a:pt x="1839754" y="292894"/>
                    <a:pt x="1840706" y="294799"/>
                    <a:pt x="1841659" y="297656"/>
                  </a:cubicBezTo>
                  <a:close/>
                  <a:moveTo>
                    <a:pt x="1822609" y="363379"/>
                  </a:moveTo>
                  <a:cubicBezTo>
                    <a:pt x="1823561" y="359569"/>
                    <a:pt x="1825466" y="356711"/>
                    <a:pt x="1826419" y="353854"/>
                  </a:cubicBezTo>
                  <a:cubicBezTo>
                    <a:pt x="1826419" y="357664"/>
                    <a:pt x="1826419" y="360521"/>
                    <a:pt x="1827371" y="364331"/>
                  </a:cubicBezTo>
                  <a:cubicBezTo>
                    <a:pt x="1826419" y="365284"/>
                    <a:pt x="1824514" y="367189"/>
                    <a:pt x="1823561" y="368141"/>
                  </a:cubicBezTo>
                  <a:cubicBezTo>
                    <a:pt x="1822609" y="366236"/>
                    <a:pt x="1822609" y="365284"/>
                    <a:pt x="1822609" y="363379"/>
                  </a:cubicBezTo>
                  <a:close/>
                  <a:moveTo>
                    <a:pt x="1828324" y="403384"/>
                  </a:moveTo>
                  <a:cubicBezTo>
                    <a:pt x="1828324" y="402431"/>
                    <a:pt x="1827371" y="401479"/>
                    <a:pt x="1827371" y="400526"/>
                  </a:cubicBezTo>
                  <a:cubicBezTo>
                    <a:pt x="1826419" y="393859"/>
                    <a:pt x="1825466" y="387191"/>
                    <a:pt x="1825466" y="381476"/>
                  </a:cubicBezTo>
                  <a:cubicBezTo>
                    <a:pt x="1826419" y="379571"/>
                    <a:pt x="1827371" y="378619"/>
                    <a:pt x="1828324" y="377666"/>
                  </a:cubicBezTo>
                  <a:cubicBezTo>
                    <a:pt x="1828324" y="385286"/>
                    <a:pt x="1828324" y="391954"/>
                    <a:pt x="1829276" y="399574"/>
                  </a:cubicBezTo>
                  <a:cubicBezTo>
                    <a:pt x="1828324" y="400526"/>
                    <a:pt x="1828324" y="402431"/>
                    <a:pt x="1828324" y="403384"/>
                  </a:cubicBezTo>
                  <a:close/>
                  <a:moveTo>
                    <a:pt x="1833086" y="339566"/>
                  </a:moveTo>
                  <a:cubicBezTo>
                    <a:pt x="1833086" y="339566"/>
                    <a:pt x="1833086" y="339566"/>
                    <a:pt x="1833086" y="339566"/>
                  </a:cubicBezTo>
                  <a:cubicBezTo>
                    <a:pt x="1833086" y="339566"/>
                    <a:pt x="1833086" y="340519"/>
                    <a:pt x="1833086" y="340519"/>
                  </a:cubicBezTo>
                  <a:cubicBezTo>
                    <a:pt x="1833086" y="340519"/>
                    <a:pt x="1833086" y="339566"/>
                    <a:pt x="1833086" y="339566"/>
                  </a:cubicBezTo>
                  <a:close/>
                  <a:moveTo>
                    <a:pt x="1824514" y="272891"/>
                  </a:moveTo>
                  <a:cubicBezTo>
                    <a:pt x="1824514" y="269081"/>
                    <a:pt x="1824514" y="266224"/>
                    <a:pt x="1824514" y="263366"/>
                  </a:cubicBezTo>
                  <a:cubicBezTo>
                    <a:pt x="1827371" y="269081"/>
                    <a:pt x="1831181" y="276701"/>
                    <a:pt x="1835944" y="285274"/>
                  </a:cubicBezTo>
                  <a:cubicBezTo>
                    <a:pt x="1835944" y="288131"/>
                    <a:pt x="1835944" y="290989"/>
                    <a:pt x="1834991" y="294799"/>
                  </a:cubicBezTo>
                  <a:cubicBezTo>
                    <a:pt x="1834991" y="302419"/>
                    <a:pt x="1834039" y="310991"/>
                    <a:pt x="1834039" y="320516"/>
                  </a:cubicBezTo>
                  <a:cubicBezTo>
                    <a:pt x="1834039" y="323374"/>
                    <a:pt x="1834039" y="327184"/>
                    <a:pt x="1834039" y="330994"/>
                  </a:cubicBezTo>
                  <a:cubicBezTo>
                    <a:pt x="1834039" y="330994"/>
                    <a:pt x="1833086" y="330994"/>
                    <a:pt x="1833086" y="331946"/>
                  </a:cubicBezTo>
                  <a:cubicBezTo>
                    <a:pt x="1833086" y="331946"/>
                    <a:pt x="1832134" y="332899"/>
                    <a:pt x="1832134" y="332899"/>
                  </a:cubicBezTo>
                  <a:cubicBezTo>
                    <a:pt x="1830229" y="326231"/>
                    <a:pt x="1829276" y="321469"/>
                    <a:pt x="1827371" y="316706"/>
                  </a:cubicBezTo>
                  <a:cubicBezTo>
                    <a:pt x="1825466" y="310991"/>
                    <a:pt x="1823561" y="306229"/>
                    <a:pt x="1822609" y="303371"/>
                  </a:cubicBezTo>
                  <a:cubicBezTo>
                    <a:pt x="1823561" y="292894"/>
                    <a:pt x="1823561" y="282416"/>
                    <a:pt x="1824514" y="272891"/>
                  </a:cubicBezTo>
                  <a:close/>
                  <a:moveTo>
                    <a:pt x="1822609" y="309086"/>
                  </a:moveTo>
                  <a:cubicBezTo>
                    <a:pt x="1822609" y="311944"/>
                    <a:pt x="1823561" y="314801"/>
                    <a:pt x="1823561" y="317659"/>
                  </a:cubicBezTo>
                  <a:cubicBezTo>
                    <a:pt x="1824514" y="323374"/>
                    <a:pt x="1824514" y="330994"/>
                    <a:pt x="1825466" y="338614"/>
                  </a:cubicBezTo>
                  <a:cubicBezTo>
                    <a:pt x="1825466" y="339566"/>
                    <a:pt x="1825466" y="340519"/>
                    <a:pt x="1825466" y="340519"/>
                  </a:cubicBezTo>
                  <a:cubicBezTo>
                    <a:pt x="1823561" y="342424"/>
                    <a:pt x="1822609" y="345281"/>
                    <a:pt x="1820704" y="348139"/>
                  </a:cubicBezTo>
                  <a:cubicBezTo>
                    <a:pt x="1820704" y="343376"/>
                    <a:pt x="1820704" y="337661"/>
                    <a:pt x="1820704" y="332899"/>
                  </a:cubicBezTo>
                  <a:cubicBezTo>
                    <a:pt x="1820704" y="332899"/>
                    <a:pt x="1820704" y="332899"/>
                    <a:pt x="1820704" y="331946"/>
                  </a:cubicBezTo>
                  <a:cubicBezTo>
                    <a:pt x="1821656" y="324326"/>
                    <a:pt x="1821656" y="316706"/>
                    <a:pt x="1822609" y="309086"/>
                  </a:cubicBezTo>
                  <a:close/>
                  <a:moveTo>
                    <a:pt x="1763554" y="411956"/>
                  </a:moveTo>
                  <a:cubicBezTo>
                    <a:pt x="1763554" y="410051"/>
                    <a:pt x="1762601" y="408146"/>
                    <a:pt x="1762601" y="406241"/>
                  </a:cubicBezTo>
                  <a:cubicBezTo>
                    <a:pt x="1762601" y="403384"/>
                    <a:pt x="1761649" y="400526"/>
                    <a:pt x="1761649" y="397669"/>
                  </a:cubicBezTo>
                  <a:cubicBezTo>
                    <a:pt x="1761649" y="397669"/>
                    <a:pt x="1761649" y="397669"/>
                    <a:pt x="1761649" y="397669"/>
                  </a:cubicBezTo>
                  <a:cubicBezTo>
                    <a:pt x="1762601" y="398621"/>
                    <a:pt x="1763554" y="399574"/>
                    <a:pt x="1764506" y="400526"/>
                  </a:cubicBezTo>
                  <a:cubicBezTo>
                    <a:pt x="1764506" y="404336"/>
                    <a:pt x="1764506" y="408146"/>
                    <a:pt x="1763554" y="411956"/>
                  </a:cubicBezTo>
                  <a:close/>
                  <a:moveTo>
                    <a:pt x="1766411" y="379571"/>
                  </a:moveTo>
                  <a:cubicBezTo>
                    <a:pt x="1766411" y="379571"/>
                    <a:pt x="1766411" y="379571"/>
                    <a:pt x="1766411" y="379571"/>
                  </a:cubicBezTo>
                  <a:cubicBezTo>
                    <a:pt x="1766411" y="378619"/>
                    <a:pt x="1766411" y="377666"/>
                    <a:pt x="1766411" y="377666"/>
                  </a:cubicBezTo>
                  <a:cubicBezTo>
                    <a:pt x="1766411" y="378619"/>
                    <a:pt x="1766411" y="379571"/>
                    <a:pt x="1766411" y="379571"/>
                  </a:cubicBezTo>
                  <a:close/>
                  <a:moveTo>
                    <a:pt x="1792129" y="251936"/>
                  </a:moveTo>
                  <a:lnTo>
                    <a:pt x="1802606" y="219551"/>
                  </a:lnTo>
                  <a:cubicBezTo>
                    <a:pt x="1802606" y="219551"/>
                    <a:pt x="1802606" y="219551"/>
                    <a:pt x="1802606" y="219551"/>
                  </a:cubicBezTo>
                  <a:cubicBezTo>
                    <a:pt x="1802606" y="237649"/>
                    <a:pt x="1801654" y="255746"/>
                    <a:pt x="1801654" y="274796"/>
                  </a:cubicBezTo>
                  <a:cubicBezTo>
                    <a:pt x="1801654" y="291941"/>
                    <a:pt x="1800701" y="309086"/>
                    <a:pt x="1800701" y="327184"/>
                  </a:cubicBezTo>
                  <a:cubicBezTo>
                    <a:pt x="1798796" y="321469"/>
                    <a:pt x="1796891" y="315754"/>
                    <a:pt x="1794034" y="310991"/>
                  </a:cubicBezTo>
                  <a:cubicBezTo>
                    <a:pt x="1792129" y="305276"/>
                    <a:pt x="1790224" y="299561"/>
                    <a:pt x="1788319" y="294799"/>
                  </a:cubicBezTo>
                  <a:cubicBezTo>
                    <a:pt x="1788319" y="293846"/>
                    <a:pt x="1787366" y="292894"/>
                    <a:pt x="1787366" y="292894"/>
                  </a:cubicBezTo>
                  <a:cubicBezTo>
                    <a:pt x="1787366" y="290989"/>
                    <a:pt x="1786414" y="289084"/>
                    <a:pt x="1786414" y="287179"/>
                  </a:cubicBezTo>
                  <a:cubicBezTo>
                    <a:pt x="1787366" y="284321"/>
                    <a:pt x="1788319" y="282416"/>
                    <a:pt x="1788319" y="279559"/>
                  </a:cubicBezTo>
                  <a:cubicBezTo>
                    <a:pt x="1788319" y="278606"/>
                    <a:pt x="1788319" y="277654"/>
                    <a:pt x="1787366" y="275749"/>
                  </a:cubicBezTo>
                  <a:cubicBezTo>
                    <a:pt x="1787366" y="274796"/>
                    <a:pt x="1785461" y="274796"/>
                    <a:pt x="1785461" y="274796"/>
                  </a:cubicBezTo>
                  <a:cubicBezTo>
                    <a:pt x="1785461" y="274796"/>
                    <a:pt x="1785461" y="274796"/>
                    <a:pt x="1785461" y="274796"/>
                  </a:cubicBezTo>
                  <a:lnTo>
                    <a:pt x="1792129" y="251936"/>
                  </a:lnTo>
                  <a:close/>
                  <a:moveTo>
                    <a:pt x="1785461" y="276701"/>
                  </a:moveTo>
                  <a:cubicBezTo>
                    <a:pt x="1785461" y="276701"/>
                    <a:pt x="1786414" y="277654"/>
                    <a:pt x="1786414" y="278606"/>
                  </a:cubicBezTo>
                  <a:cubicBezTo>
                    <a:pt x="1786414" y="279559"/>
                    <a:pt x="1786414" y="281464"/>
                    <a:pt x="1786414" y="282416"/>
                  </a:cubicBezTo>
                  <a:cubicBezTo>
                    <a:pt x="1785461" y="280511"/>
                    <a:pt x="1785461" y="278606"/>
                    <a:pt x="1785461" y="276701"/>
                  </a:cubicBezTo>
                  <a:cubicBezTo>
                    <a:pt x="1785461" y="276701"/>
                    <a:pt x="1785461" y="276701"/>
                    <a:pt x="1785461" y="276701"/>
                  </a:cubicBezTo>
                  <a:close/>
                  <a:moveTo>
                    <a:pt x="1776889" y="330994"/>
                  </a:moveTo>
                  <a:cubicBezTo>
                    <a:pt x="1779746" y="345281"/>
                    <a:pt x="1782604" y="360521"/>
                    <a:pt x="1785461" y="376714"/>
                  </a:cubicBezTo>
                  <a:cubicBezTo>
                    <a:pt x="1785461" y="379571"/>
                    <a:pt x="1786414" y="382429"/>
                    <a:pt x="1786414" y="385286"/>
                  </a:cubicBezTo>
                  <a:cubicBezTo>
                    <a:pt x="1785461" y="384334"/>
                    <a:pt x="1785461" y="383381"/>
                    <a:pt x="1784509" y="382429"/>
                  </a:cubicBezTo>
                  <a:cubicBezTo>
                    <a:pt x="1785461" y="377666"/>
                    <a:pt x="1785461" y="374809"/>
                    <a:pt x="1785461" y="374809"/>
                  </a:cubicBezTo>
                  <a:cubicBezTo>
                    <a:pt x="1785461" y="374809"/>
                    <a:pt x="1784509" y="376714"/>
                    <a:pt x="1783556" y="380524"/>
                  </a:cubicBezTo>
                  <a:cubicBezTo>
                    <a:pt x="1781651" y="376714"/>
                    <a:pt x="1778794" y="373856"/>
                    <a:pt x="1776889" y="370999"/>
                  </a:cubicBezTo>
                  <a:cubicBezTo>
                    <a:pt x="1776889" y="357664"/>
                    <a:pt x="1776889" y="346234"/>
                    <a:pt x="1776889" y="337661"/>
                  </a:cubicBezTo>
                  <a:cubicBezTo>
                    <a:pt x="1775936" y="334804"/>
                    <a:pt x="1775936" y="332899"/>
                    <a:pt x="1776889" y="330994"/>
                  </a:cubicBezTo>
                  <a:close/>
                  <a:moveTo>
                    <a:pt x="1755934" y="211931"/>
                  </a:moveTo>
                  <a:cubicBezTo>
                    <a:pt x="1756886" y="215741"/>
                    <a:pt x="1758791" y="223361"/>
                    <a:pt x="1761649" y="233839"/>
                  </a:cubicBezTo>
                  <a:cubicBezTo>
                    <a:pt x="1761649" y="234791"/>
                    <a:pt x="1762601" y="236696"/>
                    <a:pt x="1762601" y="238601"/>
                  </a:cubicBezTo>
                  <a:cubicBezTo>
                    <a:pt x="1761649" y="237649"/>
                    <a:pt x="1761649" y="235744"/>
                    <a:pt x="1760696" y="234791"/>
                  </a:cubicBezTo>
                  <a:cubicBezTo>
                    <a:pt x="1759744" y="232886"/>
                    <a:pt x="1759744" y="230981"/>
                    <a:pt x="1759744" y="230981"/>
                  </a:cubicBezTo>
                  <a:cubicBezTo>
                    <a:pt x="1759744" y="230981"/>
                    <a:pt x="1759744" y="231934"/>
                    <a:pt x="1759744" y="232886"/>
                  </a:cubicBezTo>
                  <a:cubicBezTo>
                    <a:pt x="1758791" y="230981"/>
                    <a:pt x="1757839" y="229076"/>
                    <a:pt x="1756886" y="227171"/>
                  </a:cubicBezTo>
                  <a:cubicBezTo>
                    <a:pt x="1755934" y="226219"/>
                    <a:pt x="1755934" y="225266"/>
                    <a:pt x="1754981" y="223361"/>
                  </a:cubicBezTo>
                  <a:cubicBezTo>
                    <a:pt x="1755934" y="219551"/>
                    <a:pt x="1755934" y="215741"/>
                    <a:pt x="1755934" y="211931"/>
                  </a:cubicBezTo>
                  <a:close/>
                  <a:moveTo>
                    <a:pt x="1754981" y="232886"/>
                  </a:moveTo>
                  <a:cubicBezTo>
                    <a:pt x="1754981" y="233839"/>
                    <a:pt x="1755934" y="234791"/>
                    <a:pt x="1755934" y="235744"/>
                  </a:cubicBezTo>
                  <a:cubicBezTo>
                    <a:pt x="1755934" y="236696"/>
                    <a:pt x="1754981" y="237649"/>
                    <a:pt x="1754981" y="240506"/>
                  </a:cubicBezTo>
                  <a:cubicBezTo>
                    <a:pt x="1754981" y="237649"/>
                    <a:pt x="1754981" y="234791"/>
                    <a:pt x="1754981" y="232886"/>
                  </a:cubicBezTo>
                  <a:close/>
                  <a:moveTo>
                    <a:pt x="1754029" y="281464"/>
                  </a:moveTo>
                  <a:cubicBezTo>
                    <a:pt x="1754029" y="270986"/>
                    <a:pt x="1754029" y="261461"/>
                    <a:pt x="1754981" y="252889"/>
                  </a:cubicBezTo>
                  <a:cubicBezTo>
                    <a:pt x="1755934" y="244316"/>
                    <a:pt x="1756886" y="238601"/>
                    <a:pt x="1756886" y="236696"/>
                  </a:cubicBezTo>
                  <a:cubicBezTo>
                    <a:pt x="1758791" y="242411"/>
                    <a:pt x="1761649" y="250031"/>
                    <a:pt x="1763554" y="256699"/>
                  </a:cubicBezTo>
                  <a:cubicBezTo>
                    <a:pt x="1764506" y="265271"/>
                    <a:pt x="1766411" y="274796"/>
                    <a:pt x="1768316" y="286226"/>
                  </a:cubicBezTo>
                  <a:cubicBezTo>
                    <a:pt x="1763554" y="298609"/>
                    <a:pt x="1758791" y="310991"/>
                    <a:pt x="1754981" y="322421"/>
                  </a:cubicBezTo>
                  <a:cubicBezTo>
                    <a:pt x="1754981" y="320516"/>
                    <a:pt x="1754981" y="318611"/>
                    <a:pt x="1754029" y="317659"/>
                  </a:cubicBezTo>
                  <a:cubicBezTo>
                    <a:pt x="1754029" y="317659"/>
                    <a:pt x="1754029" y="316706"/>
                    <a:pt x="1754029" y="316706"/>
                  </a:cubicBezTo>
                  <a:cubicBezTo>
                    <a:pt x="1754029" y="303371"/>
                    <a:pt x="1754029" y="291941"/>
                    <a:pt x="1754029" y="281464"/>
                  </a:cubicBezTo>
                  <a:close/>
                  <a:moveTo>
                    <a:pt x="1687354" y="295751"/>
                  </a:moveTo>
                  <a:cubicBezTo>
                    <a:pt x="1686401" y="302419"/>
                    <a:pt x="1685449" y="309086"/>
                    <a:pt x="1685449" y="314801"/>
                  </a:cubicBezTo>
                  <a:cubicBezTo>
                    <a:pt x="1685449" y="318611"/>
                    <a:pt x="1684496" y="321469"/>
                    <a:pt x="1684496" y="325279"/>
                  </a:cubicBezTo>
                  <a:cubicBezTo>
                    <a:pt x="1683544" y="320516"/>
                    <a:pt x="1682591" y="316706"/>
                    <a:pt x="1681639" y="311944"/>
                  </a:cubicBezTo>
                  <a:cubicBezTo>
                    <a:pt x="1681639" y="310039"/>
                    <a:pt x="1681639" y="309086"/>
                    <a:pt x="1681639" y="309086"/>
                  </a:cubicBezTo>
                  <a:cubicBezTo>
                    <a:pt x="1681639" y="309086"/>
                    <a:pt x="1681639" y="309086"/>
                    <a:pt x="1681639" y="310039"/>
                  </a:cubicBezTo>
                  <a:cubicBezTo>
                    <a:pt x="1681639" y="309086"/>
                    <a:pt x="1680686" y="307181"/>
                    <a:pt x="1680686" y="306229"/>
                  </a:cubicBezTo>
                  <a:cubicBezTo>
                    <a:pt x="1680686" y="305276"/>
                    <a:pt x="1680686" y="304324"/>
                    <a:pt x="1681639" y="303371"/>
                  </a:cubicBezTo>
                  <a:cubicBezTo>
                    <a:pt x="1682591" y="300514"/>
                    <a:pt x="1683544" y="297656"/>
                    <a:pt x="1684496" y="295751"/>
                  </a:cubicBezTo>
                  <a:cubicBezTo>
                    <a:pt x="1686401" y="290989"/>
                    <a:pt x="1687354" y="287179"/>
                    <a:pt x="1689259" y="282416"/>
                  </a:cubicBezTo>
                  <a:cubicBezTo>
                    <a:pt x="1687354" y="287179"/>
                    <a:pt x="1687354" y="291941"/>
                    <a:pt x="1687354" y="295751"/>
                  </a:cubicBezTo>
                  <a:close/>
                  <a:moveTo>
                    <a:pt x="1678781" y="276701"/>
                  </a:moveTo>
                  <a:cubicBezTo>
                    <a:pt x="1680686" y="266224"/>
                    <a:pt x="1682591" y="255746"/>
                    <a:pt x="1684496" y="245269"/>
                  </a:cubicBezTo>
                  <a:cubicBezTo>
                    <a:pt x="1685449" y="250031"/>
                    <a:pt x="1686401" y="254794"/>
                    <a:pt x="1686401" y="259556"/>
                  </a:cubicBezTo>
                  <a:cubicBezTo>
                    <a:pt x="1686401" y="262414"/>
                    <a:pt x="1686401" y="265271"/>
                    <a:pt x="1686401" y="268129"/>
                  </a:cubicBezTo>
                  <a:cubicBezTo>
                    <a:pt x="1686401" y="269081"/>
                    <a:pt x="1686401" y="270034"/>
                    <a:pt x="1686401" y="270986"/>
                  </a:cubicBezTo>
                  <a:cubicBezTo>
                    <a:pt x="1682591" y="276701"/>
                    <a:pt x="1679734" y="284321"/>
                    <a:pt x="1675924" y="292894"/>
                  </a:cubicBezTo>
                  <a:cubicBezTo>
                    <a:pt x="1675924" y="292894"/>
                    <a:pt x="1675924" y="291941"/>
                    <a:pt x="1675924" y="291941"/>
                  </a:cubicBezTo>
                  <a:cubicBezTo>
                    <a:pt x="1676876" y="287179"/>
                    <a:pt x="1677829" y="283369"/>
                    <a:pt x="1678781" y="278606"/>
                  </a:cubicBezTo>
                  <a:cubicBezTo>
                    <a:pt x="1679734" y="276701"/>
                    <a:pt x="1679734" y="275749"/>
                    <a:pt x="1679734" y="275749"/>
                  </a:cubicBezTo>
                  <a:cubicBezTo>
                    <a:pt x="1679734" y="275749"/>
                    <a:pt x="1679734" y="275749"/>
                    <a:pt x="1678781" y="276701"/>
                  </a:cubicBezTo>
                  <a:close/>
                  <a:moveTo>
                    <a:pt x="1677829" y="199549"/>
                  </a:moveTo>
                  <a:cubicBezTo>
                    <a:pt x="1677829" y="201454"/>
                    <a:pt x="1677829" y="202406"/>
                    <a:pt x="1678781" y="204311"/>
                  </a:cubicBezTo>
                  <a:cubicBezTo>
                    <a:pt x="1677829" y="207169"/>
                    <a:pt x="1676876" y="210979"/>
                    <a:pt x="1676876" y="213836"/>
                  </a:cubicBezTo>
                  <a:cubicBezTo>
                    <a:pt x="1676876" y="209074"/>
                    <a:pt x="1676876" y="204311"/>
                    <a:pt x="1677829" y="199549"/>
                  </a:cubicBezTo>
                  <a:close/>
                  <a:moveTo>
                    <a:pt x="1640681" y="226219"/>
                  </a:moveTo>
                  <a:cubicBezTo>
                    <a:pt x="1643539" y="233839"/>
                    <a:pt x="1646396" y="244316"/>
                    <a:pt x="1649254" y="254794"/>
                  </a:cubicBezTo>
                  <a:cubicBezTo>
                    <a:pt x="1651159" y="260509"/>
                    <a:pt x="1652111" y="267176"/>
                    <a:pt x="1654016" y="274796"/>
                  </a:cubicBezTo>
                  <a:cubicBezTo>
                    <a:pt x="1654016" y="276701"/>
                    <a:pt x="1653064" y="279559"/>
                    <a:pt x="1653064" y="281464"/>
                  </a:cubicBezTo>
                  <a:cubicBezTo>
                    <a:pt x="1653064" y="280511"/>
                    <a:pt x="1652111" y="279559"/>
                    <a:pt x="1652111" y="279559"/>
                  </a:cubicBezTo>
                  <a:cubicBezTo>
                    <a:pt x="1652111" y="279559"/>
                    <a:pt x="1652111" y="280511"/>
                    <a:pt x="1652111" y="282416"/>
                  </a:cubicBezTo>
                  <a:cubicBezTo>
                    <a:pt x="1651159" y="288131"/>
                    <a:pt x="1650206" y="293846"/>
                    <a:pt x="1649254" y="300514"/>
                  </a:cubicBezTo>
                  <a:cubicBezTo>
                    <a:pt x="1646396" y="293846"/>
                    <a:pt x="1644491" y="288131"/>
                    <a:pt x="1641634" y="281464"/>
                  </a:cubicBezTo>
                  <a:cubicBezTo>
                    <a:pt x="1642586" y="280511"/>
                    <a:pt x="1642586" y="280511"/>
                    <a:pt x="1643539" y="279559"/>
                  </a:cubicBezTo>
                  <a:cubicBezTo>
                    <a:pt x="1644491" y="278606"/>
                    <a:pt x="1646396" y="277654"/>
                    <a:pt x="1647349" y="277654"/>
                  </a:cubicBezTo>
                  <a:cubicBezTo>
                    <a:pt x="1651159" y="274796"/>
                    <a:pt x="1654016" y="273844"/>
                    <a:pt x="1654016" y="273844"/>
                  </a:cubicBezTo>
                  <a:cubicBezTo>
                    <a:pt x="1654016" y="273844"/>
                    <a:pt x="1652111" y="274796"/>
                    <a:pt x="1647349" y="276701"/>
                  </a:cubicBezTo>
                  <a:cubicBezTo>
                    <a:pt x="1646396" y="277654"/>
                    <a:pt x="1645444" y="277654"/>
                    <a:pt x="1643539" y="278606"/>
                  </a:cubicBezTo>
                  <a:cubicBezTo>
                    <a:pt x="1643539" y="278606"/>
                    <a:pt x="1642586" y="279559"/>
                    <a:pt x="1642586" y="279559"/>
                  </a:cubicBezTo>
                  <a:cubicBezTo>
                    <a:pt x="1642586" y="271939"/>
                    <a:pt x="1642586" y="263366"/>
                    <a:pt x="1642586" y="255746"/>
                  </a:cubicBezTo>
                  <a:cubicBezTo>
                    <a:pt x="1640681" y="246221"/>
                    <a:pt x="1640681" y="235744"/>
                    <a:pt x="1640681" y="226219"/>
                  </a:cubicBezTo>
                  <a:cubicBezTo>
                    <a:pt x="1639729" y="226219"/>
                    <a:pt x="1639729" y="226219"/>
                    <a:pt x="1640681" y="226219"/>
                  </a:cubicBezTo>
                  <a:close/>
                  <a:moveTo>
                    <a:pt x="1620679" y="348139"/>
                  </a:moveTo>
                  <a:cubicBezTo>
                    <a:pt x="1620679" y="349091"/>
                    <a:pt x="1620679" y="350044"/>
                    <a:pt x="1620679" y="351949"/>
                  </a:cubicBezTo>
                  <a:cubicBezTo>
                    <a:pt x="1620679" y="352901"/>
                    <a:pt x="1620679" y="353854"/>
                    <a:pt x="1620679" y="353854"/>
                  </a:cubicBezTo>
                  <a:cubicBezTo>
                    <a:pt x="1619726" y="354806"/>
                    <a:pt x="1619726" y="355759"/>
                    <a:pt x="1618774" y="356711"/>
                  </a:cubicBezTo>
                  <a:cubicBezTo>
                    <a:pt x="1619726" y="353854"/>
                    <a:pt x="1620679" y="350044"/>
                    <a:pt x="1620679" y="348139"/>
                  </a:cubicBezTo>
                  <a:close/>
                  <a:moveTo>
                    <a:pt x="1618774" y="311944"/>
                  </a:moveTo>
                  <a:cubicBezTo>
                    <a:pt x="1617821" y="312896"/>
                    <a:pt x="1617821" y="313849"/>
                    <a:pt x="1616869" y="315754"/>
                  </a:cubicBezTo>
                  <a:cubicBezTo>
                    <a:pt x="1613059" y="323374"/>
                    <a:pt x="1609249" y="332899"/>
                    <a:pt x="1605439" y="343376"/>
                  </a:cubicBezTo>
                  <a:cubicBezTo>
                    <a:pt x="1604486" y="345281"/>
                    <a:pt x="1603534" y="348139"/>
                    <a:pt x="1602581" y="350996"/>
                  </a:cubicBezTo>
                  <a:cubicBezTo>
                    <a:pt x="1602581" y="348139"/>
                    <a:pt x="1602581" y="345281"/>
                    <a:pt x="1602581" y="342424"/>
                  </a:cubicBezTo>
                  <a:cubicBezTo>
                    <a:pt x="1605439" y="334804"/>
                    <a:pt x="1609249" y="328136"/>
                    <a:pt x="1613059" y="321469"/>
                  </a:cubicBezTo>
                  <a:cubicBezTo>
                    <a:pt x="1614964" y="317659"/>
                    <a:pt x="1617821" y="313849"/>
                    <a:pt x="1619726" y="310039"/>
                  </a:cubicBezTo>
                  <a:cubicBezTo>
                    <a:pt x="1618774" y="310991"/>
                    <a:pt x="1618774" y="310991"/>
                    <a:pt x="1618774" y="311944"/>
                  </a:cubicBezTo>
                  <a:close/>
                  <a:moveTo>
                    <a:pt x="1610201" y="269081"/>
                  </a:moveTo>
                  <a:cubicBezTo>
                    <a:pt x="1612106" y="265271"/>
                    <a:pt x="1613059" y="261461"/>
                    <a:pt x="1614011" y="258604"/>
                  </a:cubicBezTo>
                  <a:cubicBezTo>
                    <a:pt x="1614964" y="256699"/>
                    <a:pt x="1615916" y="254794"/>
                    <a:pt x="1616869" y="252889"/>
                  </a:cubicBezTo>
                  <a:cubicBezTo>
                    <a:pt x="1616869" y="264319"/>
                    <a:pt x="1617821" y="277654"/>
                    <a:pt x="1617821" y="292894"/>
                  </a:cubicBezTo>
                  <a:cubicBezTo>
                    <a:pt x="1617821" y="292894"/>
                    <a:pt x="1617821" y="293846"/>
                    <a:pt x="1617821" y="293846"/>
                  </a:cubicBezTo>
                  <a:cubicBezTo>
                    <a:pt x="1616869" y="291941"/>
                    <a:pt x="1615916" y="290036"/>
                    <a:pt x="1614011" y="289084"/>
                  </a:cubicBezTo>
                  <a:cubicBezTo>
                    <a:pt x="1611154" y="284321"/>
                    <a:pt x="1608296" y="280511"/>
                    <a:pt x="1606391" y="277654"/>
                  </a:cubicBezTo>
                  <a:cubicBezTo>
                    <a:pt x="1608296" y="274796"/>
                    <a:pt x="1609249" y="271939"/>
                    <a:pt x="1610201" y="269081"/>
                  </a:cubicBezTo>
                  <a:close/>
                  <a:moveTo>
                    <a:pt x="1600676" y="297656"/>
                  </a:moveTo>
                  <a:cubicBezTo>
                    <a:pt x="1602581" y="290989"/>
                    <a:pt x="1604486" y="285274"/>
                    <a:pt x="1606391" y="279559"/>
                  </a:cubicBezTo>
                  <a:cubicBezTo>
                    <a:pt x="1607344" y="282416"/>
                    <a:pt x="1609249" y="286226"/>
                    <a:pt x="1611154" y="290989"/>
                  </a:cubicBezTo>
                  <a:cubicBezTo>
                    <a:pt x="1613059" y="294799"/>
                    <a:pt x="1614964" y="298609"/>
                    <a:pt x="1616869" y="303371"/>
                  </a:cubicBezTo>
                  <a:cubicBezTo>
                    <a:pt x="1613059" y="307181"/>
                    <a:pt x="1610201" y="312896"/>
                    <a:pt x="1606391" y="317659"/>
                  </a:cubicBezTo>
                  <a:cubicBezTo>
                    <a:pt x="1604486" y="320516"/>
                    <a:pt x="1602581" y="322421"/>
                    <a:pt x="1601629" y="325279"/>
                  </a:cubicBezTo>
                  <a:cubicBezTo>
                    <a:pt x="1601629" y="323374"/>
                    <a:pt x="1601629" y="321469"/>
                    <a:pt x="1600676" y="319564"/>
                  </a:cubicBezTo>
                  <a:cubicBezTo>
                    <a:pt x="1600676" y="314801"/>
                    <a:pt x="1599724" y="310039"/>
                    <a:pt x="1599724" y="305276"/>
                  </a:cubicBezTo>
                  <a:cubicBezTo>
                    <a:pt x="1599724" y="302419"/>
                    <a:pt x="1600676" y="300514"/>
                    <a:pt x="1600676" y="297656"/>
                  </a:cubicBezTo>
                  <a:close/>
                  <a:moveTo>
                    <a:pt x="1567339" y="315754"/>
                  </a:moveTo>
                  <a:cubicBezTo>
                    <a:pt x="1567339" y="320516"/>
                    <a:pt x="1568291" y="325279"/>
                    <a:pt x="1568291" y="330041"/>
                  </a:cubicBezTo>
                  <a:cubicBezTo>
                    <a:pt x="1567339" y="326231"/>
                    <a:pt x="1567339" y="323374"/>
                    <a:pt x="1566386" y="320516"/>
                  </a:cubicBezTo>
                  <a:cubicBezTo>
                    <a:pt x="1567339" y="319564"/>
                    <a:pt x="1567339" y="317659"/>
                    <a:pt x="1567339" y="315754"/>
                  </a:cubicBezTo>
                  <a:close/>
                  <a:moveTo>
                    <a:pt x="1547336" y="265271"/>
                  </a:moveTo>
                  <a:cubicBezTo>
                    <a:pt x="1547336" y="269081"/>
                    <a:pt x="1546384" y="271939"/>
                    <a:pt x="1546384" y="275749"/>
                  </a:cubicBezTo>
                  <a:cubicBezTo>
                    <a:pt x="1546384" y="274796"/>
                    <a:pt x="1545431" y="273844"/>
                    <a:pt x="1545431" y="272891"/>
                  </a:cubicBezTo>
                  <a:cubicBezTo>
                    <a:pt x="1546384" y="270986"/>
                    <a:pt x="1546384" y="268129"/>
                    <a:pt x="1547336" y="265271"/>
                  </a:cubicBezTo>
                  <a:close/>
                  <a:moveTo>
                    <a:pt x="1541621" y="286226"/>
                  </a:moveTo>
                  <a:cubicBezTo>
                    <a:pt x="1542574" y="289084"/>
                    <a:pt x="1543526" y="290989"/>
                    <a:pt x="1543526" y="293846"/>
                  </a:cubicBezTo>
                  <a:cubicBezTo>
                    <a:pt x="1543526" y="295751"/>
                    <a:pt x="1542574" y="298609"/>
                    <a:pt x="1542574" y="301466"/>
                  </a:cubicBezTo>
                  <a:cubicBezTo>
                    <a:pt x="1541621" y="298609"/>
                    <a:pt x="1540669" y="294799"/>
                    <a:pt x="1539716" y="291941"/>
                  </a:cubicBezTo>
                  <a:cubicBezTo>
                    <a:pt x="1540669" y="289084"/>
                    <a:pt x="1541621" y="288131"/>
                    <a:pt x="1541621" y="286226"/>
                  </a:cubicBezTo>
                  <a:close/>
                  <a:moveTo>
                    <a:pt x="1537811" y="271939"/>
                  </a:moveTo>
                  <a:cubicBezTo>
                    <a:pt x="1537811" y="273844"/>
                    <a:pt x="1538764" y="274796"/>
                    <a:pt x="1538764" y="276701"/>
                  </a:cubicBezTo>
                  <a:cubicBezTo>
                    <a:pt x="1537811" y="277654"/>
                    <a:pt x="1537811" y="278606"/>
                    <a:pt x="1536859" y="280511"/>
                  </a:cubicBezTo>
                  <a:cubicBezTo>
                    <a:pt x="1537811" y="276701"/>
                    <a:pt x="1537811" y="273844"/>
                    <a:pt x="1537811" y="271939"/>
                  </a:cubicBezTo>
                  <a:close/>
                  <a:moveTo>
                    <a:pt x="1533049" y="338614"/>
                  </a:moveTo>
                  <a:cubicBezTo>
                    <a:pt x="1533049" y="337661"/>
                    <a:pt x="1533049" y="336709"/>
                    <a:pt x="1533049" y="335756"/>
                  </a:cubicBezTo>
                  <a:cubicBezTo>
                    <a:pt x="1534001" y="340519"/>
                    <a:pt x="1534954" y="345281"/>
                    <a:pt x="1535906" y="350044"/>
                  </a:cubicBezTo>
                  <a:cubicBezTo>
                    <a:pt x="1536859" y="352901"/>
                    <a:pt x="1536859" y="354806"/>
                    <a:pt x="1536859" y="357664"/>
                  </a:cubicBezTo>
                  <a:cubicBezTo>
                    <a:pt x="1536859" y="359569"/>
                    <a:pt x="1536859" y="360521"/>
                    <a:pt x="1536859" y="362426"/>
                  </a:cubicBezTo>
                  <a:cubicBezTo>
                    <a:pt x="1536859" y="362426"/>
                    <a:pt x="1536859" y="362426"/>
                    <a:pt x="1536859" y="362426"/>
                  </a:cubicBezTo>
                  <a:cubicBezTo>
                    <a:pt x="1534954" y="356711"/>
                    <a:pt x="1533049" y="351949"/>
                    <a:pt x="1532096" y="346234"/>
                  </a:cubicBezTo>
                  <a:cubicBezTo>
                    <a:pt x="1533049" y="343376"/>
                    <a:pt x="1533049" y="341471"/>
                    <a:pt x="1533049" y="338614"/>
                  </a:cubicBezTo>
                  <a:close/>
                  <a:moveTo>
                    <a:pt x="1519714" y="270986"/>
                  </a:moveTo>
                  <a:cubicBezTo>
                    <a:pt x="1521619" y="279559"/>
                    <a:pt x="1523524" y="288131"/>
                    <a:pt x="1525429" y="297656"/>
                  </a:cubicBezTo>
                  <a:cubicBezTo>
                    <a:pt x="1525429" y="298609"/>
                    <a:pt x="1525429" y="299561"/>
                    <a:pt x="1524476" y="301466"/>
                  </a:cubicBezTo>
                  <a:cubicBezTo>
                    <a:pt x="1523524" y="306229"/>
                    <a:pt x="1522571" y="310991"/>
                    <a:pt x="1521619" y="315754"/>
                  </a:cubicBezTo>
                  <a:cubicBezTo>
                    <a:pt x="1520666" y="313849"/>
                    <a:pt x="1520666" y="311944"/>
                    <a:pt x="1519714" y="310991"/>
                  </a:cubicBezTo>
                  <a:cubicBezTo>
                    <a:pt x="1519714" y="295751"/>
                    <a:pt x="1518761" y="281464"/>
                    <a:pt x="1517809" y="268129"/>
                  </a:cubicBezTo>
                  <a:cubicBezTo>
                    <a:pt x="1519714" y="268129"/>
                    <a:pt x="1519714" y="269081"/>
                    <a:pt x="1519714" y="270986"/>
                  </a:cubicBezTo>
                  <a:close/>
                  <a:moveTo>
                    <a:pt x="1503521" y="302419"/>
                  </a:moveTo>
                  <a:cubicBezTo>
                    <a:pt x="1503521" y="306229"/>
                    <a:pt x="1503521" y="310039"/>
                    <a:pt x="1502569" y="313849"/>
                  </a:cubicBezTo>
                  <a:cubicBezTo>
                    <a:pt x="1502569" y="318611"/>
                    <a:pt x="1502569" y="324326"/>
                    <a:pt x="1502569" y="330041"/>
                  </a:cubicBezTo>
                  <a:cubicBezTo>
                    <a:pt x="1502569" y="330041"/>
                    <a:pt x="1502569" y="330041"/>
                    <a:pt x="1501616" y="329089"/>
                  </a:cubicBezTo>
                  <a:cubicBezTo>
                    <a:pt x="1500664" y="323374"/>
                    <a:pt x="1498759" y="317659"/>
                    <a:pt x="1497806" y="311944"/>
                  </a:cubicBezTo>
                  <a:cubicBezTo>
                    <a:pt x="1500664" y="309086"/>
                    <a:pt x="1502569" y="306229"/>
                    <a:pt x="1503521" y="302419"/>
                  </a:cubicBezTo>
                  <a:close/>
                  <a:moveTo>
                    <a:pt x="1477804" y="272891"/>
                  </a:moveTo>
                  <a:cubicBezTo>
                    <a:pt x="1477804" y="273844"/>
                    <a:pt x="1477804" y="273844"/>
                    <a:pt x="1477804" y="272891"/>
                  </a:cubicBezTo>
                  <a:cubicBezTo>
                    <a:pt x="1477804" y="275749"/>
                    <a:pt x="1477804" y="278606"/>
                    <a:pt x="1477804" y="282416"/>
                  </a:cubicBezTo>
                  <a:cubicBezTo>
                    <a:pt x="1477804" y="286226"/>
                    <a:pt x="1476851" y="290989"/>
                    <a:pt x="1476851" y="294799"/>
                  </a:cubicBezTo>
                  <a:cubicBezTo>
                    <a:pt x="1476851" y="294799"/>
                    <a:pt x="1476851" y="295751"/>
                    <a:pt x="1475899" y="295751"/>
                  </a:cubicBezTo>
                  <a:cubicBezTo>
                    <a:pt x="1475899" y="290989"/>
                    <a:pt x="1474946" y="286226"/>
                    <a:pt x="1474946" y="282416"/>
                  </a:cubicBezTo>
                  <a:cubicBezTo>
                    <a:pt x="1475899" y="279559"/>
                    <a:pt x="1476851" y="276701"/>
                    <a:pt x="1477804" y="272891"/>
                  </a:cubicBezTo>
                  <a:close/>
                  <a:moveTo>
                    <a:pt x="1461611" y="326231"/>
                  </a:moveTo>
                  <a:cubicBezTo>
                    <a:pt x="1461611" y="327184"/>
                    <a:pt x="1461611" y="327184"/>
                    <a:pt x="1461611" y="328136"/>
                  </a:cubicBezTo>
                  <a:cubicBezTo>
                    <a:pt x="1461611" y="329089"/>
                    <a:pt x="1460659" y="329089"/>
                    <a:pt x="1460659" y="330041"/>
                  </a:cubicBezTo>
                  <a:cubicBezTo>
                    <a:pt x="1460659" y="330041"/>
                    <a:pt x="1460659" y="330041"/>
                    <a:pt x="1460659" y="329089"/>
                  </a:cubicBezTo>
                  <a:cubicBezTo>
                    <a:pt x="1460659" y="328136"/>
                    <a:pt x="1460659" y="327184"/>
                    <a:pt x="1461611" y="326231"/>
                  </a:cubicBezTo>
                  <a:close/>
                  <a:moveTo>
                    <a:pt x="1457801" y="309086"/>
                  </a:moveTo>
                  <a:cubicBezTo>
                    <a:pt x="1456849" y="310039"/>
                    <a:pt x="1456849" y="310039"/>
                    <a:pt x="1457801" y="309086"/>
                  </a:cubicBezTo>
                  <a:cubicBezTo>
                    <a:pt x="1456849" y="307181"/>
                    <a:pt x="1456849" y="305276"/>
                    <a:pt x="1455896" y="302419"/>
                  </a:cubicBezTo>
                  <a:cubicBezTo>
                    <a:pt x="1455896" y="305276"/>
                    <a:pt x="1456849" y="307181"/>
                    <a:pt x="1457801" y="309086"/>
                  </a:cubicBezTo>
                  <a:close/>
                  <a:moveTo>
                    <a:pt x="1442561" y="328136"/>
                  </a:moveTo>
                  <a:cubicBezTo>
                    <a:pt x="1442561" y="324326"/>
                    <a:pt x="1442561" y="321469"/>
                    <a:pt x="1442561" y="318611"/>
                  </a:cubicBezTo>
                  <a:cubicBezTo>
                    <a:pt x="1443514" y="323374"/>
                    <a:pt x="1443514" y="329089"/>
                    <a:pt x="1444466" y="333851"/>
                  </a:cubicBezTo>
                  <a:cubicBezTo>
                    <a:pt x="1443514" y="332899"/>
                    <a:pt x="1443514" y="330994"/>
                    <a:pt x="1442561" y="330041"/>
                  </a:cubicBezTo>
                  <a:cubicBezTo>
                    <a:pt x="1442561" y="330041"/>
                    <a:pt x="1442561" y="329089"/>
                    <a:pt x="1442561" y="328136"/>
                  </a:cubicBezTo>
                  <a:close/>
                  <a:moveTo>
                    <a:pt x="1415891" y="281464"/>
                  </a:moveTo>
                  <a:cubicBezTo>
                    <a:pt x="1415891" y="284321"/>
                    <a:pt x="1415891" y="286226"/>
                    <a:pt x="1415891" y="289084"/>
                  </a:cubicBezTo>
                  <a:cubicBezTo>
                    <a:pt x="1415891" y="289084"/>
                    <a:pt x="1415891" y="289084"/>
                    <a:pt x="1415891" y="289084"/>
                  </a:cubicBezTo>
                  <a:cubicBezTo>
                    <a:pt x="1414939" y="288131"/>
                    <a:pt x="1413986" y="287179"/>
                    <a:pt x="1413034" y="286226"/>
                  </a:cubicBezTo>
                  <a:cubicBezTo>
                    <a:pt x="1414939" y="284321"/>
                    <a:pt x="1415891" y="282416"/>
                    <a:pt x="1415891" y="281464"/>
                  </a:cubicBezTo>
                  <a:close/>
                  <a:moveTo>
                    <a:pt x="1412081" y="290036"/>
                  </a:moveTo>
                  <a:cubicBezTo>
                    <a:pt x="1413034" y="290989"/>
                    <a:pt x="1413034" y="291941"/>
                    <a:pt x="1413986" y="292894"/>
                  </a:cubicBezTo>
                  <a:cubicBezTo>
                    <a:pt x="1414939" y="293846"/>
                    <a:pt x="1414939" y="294799"/>
                    <a:pt x="1415891" y="295751"/>
                  </a:cubicBezTo>
                  <a:cubicBezTo>
                    <a:pt x="1415891" y="297656"/>
                    <a:pt x="1415891" y="299561"/>
                    <a:pt x="1415891" y="300514"/>
                  </a:cubicBezTo>
                  <a:cubicBezTo>
                    <a:pt x="1413986" y="296704"/>
                    <a:pt x="1413034" y="293846"/>
                    <a:pt x="1412081" y="290036"/>
                  </a:cubicBezTo>
                  <a:cubicBezTo>
                    <a:pt x="1412081" y="290036"/>
                    <a:pt x="1412081" y="290036"/>
                    <a:pt x="1412081" y="290036"/>
                  </a:cubicBezTo>
                  <a:close/>
                  <a:moveTo>
                    <a:pt x="1383506" y="364331"/>
                  </a:moveTo>
                  <a:cubicBezTo>
                    <a:pt x="1383506" y="362426"/>
                    <a:pt x="1383506" y="360521"/>
                    <a:pt x="1382554" y="358616"/>
                  </a:cubicBezTo>
                  <a:cubicBezTo>
                    <a:pt x="1382554" y="358616"/>
                    <a:pt x="1382554" y="357664"/>
                    <a:pt x="1382554" y="357664"/>
                  </a:cubicBezTo>
                  <a:cubicBezTo>
                    <a:pt x="1382554" y="358616"/>
                    <a:pt x="1383506" y="360521"/>
                    <a:pt x="1383506" y="362426"/>
                  </a:cubicBezTo>
                  <a:cubicBezTo>
                    <a:pt x="1384459" y="363379"/>
                    <a:pt x="1384459" y="363379"/>
                    <a:pt x="1383506" y="364331"/>
                  </a:cubicBezTo>
                  <a:close/>
                  <a:moveTo>
                    <a:pt x="1386364" y="298609"/>
                  </a:moveTo>
                  <a:cubicBezTo>
                    <a:pt x="1386364" y="298609"/>
                    <a:pt x="1386364" y="298609"/>
                    <a:pt x="1386364" y="298609"/>
                  </a:cubicBezTo>
                  <a:cubicBezTo>
                    <a:pt x="1385411" y="296704"/>
                    <a:pt x="1385411" y="295751"/>
                    <a:pt x="1384459" y="293846"/>
                  </a:cubicBezTo>
                  <a:cubicBezTo>
                    <a:pt x="1385411" y="292894"/>
                    <a:pt x="1385411" y="291941"/>
                    <a:pt x="1386364" y="290989"/>
                  </a:cubicBezTo>
                  <a:cubicBezTo>
                    <a:pt x="1388269" y="289084"/>
                    <a:pt x="1389221" y="287179"/>
                    <a:pt x="1391126" y="286226"/>
                  </a:cubicBezTo>
                  <a:cubicBezTo>
                    <a:pt x="1389221" y="290036"/>
                    <a:pt x="1387316" y="293846"/>
                    <a:pt x="1386364" y="298609"/>
                  </a:cubicBezTo>
                  <a:close/>
                  <a:moveTo>
                    <a:pt x="1383506" y="287179"/>
                  </a:moveTo>
                  <a:cubicBezTo>
                    <a:pt x="1383506" y="287179"/>
                    <a:pt x="1382554" y="288131"/>
                    <a:pt x="1382554" y="288131"/>
                  </a:cubicBezTo>
                  <a:cubicBezTo>
                    <a:pt x="1380649" y="283369"/>
                    <a:pt x="1378744" y="278606"/>
                    <a:pt x="1376839" y="274796"/>
                  </a:cubicBezTo>
                  <a:cubicBezTo>
                    <a:pt x="1379696" y="262414"/>
                    <a:pt x="1382554" y="251936"/>
                    <a:pt x="1384459" y="242411"/>
                  </a:cubicBezTo>
                  <a:cubicBezTo>
                    <a:pt x="1385411" y="250031"/>
                    <a:pt x="1387316" y="263366"/>
                    <a:pt x="1390174" y="281464"/>
                  </a:cubicBezTo>
                  <a:cubicBezTo>
                    <a:pt x="1388269" y="283369"/>
                    <a:pt x="1386364" y="285274"/>
                    <a:pt x="1383506" y="287179"/>
                  </a:cubicBezTo>
                  <a:close/>
                  <a:moveTo>
                    <a:pt x="1391126" y="310991"/>
                  </a:moveTo>
                  <a:cubicBezTo>
                    <a:pt x="1392079" y="307181"/>
                    <a:pt x="1392079" y="303371"/>
                    <a:pt x="1393031" y="299561"/>
                  </a:cubicBezTo>
                  <a:cubicBezTo>
                    <a:pt x="1393031" y="299561"/>
                    <a:pt x="1393031" y="298609"/>
                    <a:pt x="1393031" y="298609"/>
                  </a:cubicBezTo>
                  <a:cubicBezTo>
                    <a:pt x="1393031" y="300514"/>
                    <a:pt x="1393984" y="303371"/>
                    <a:pt x="1393984" y="305276"/>
                  </a:cubicBezTo>
                  <a:cubicBezTo>
                    <a:pt x="1393984" y="308134"/>
                    <a:pt x="1392079" y="309086"/>
                    <a:pt x="1391126" y="310991"/>
                  </a:cubicBezTo>
                  <a:close/>
                  <a:moveTo>
                    <a:pt x="1397794" y="278606"/>
                  </a:moveTo>
                  <a:cubicBezTo>
                    <a:pt x="1397794" y="278606"/>
                    <a:pt x="1397794" y="278606"/>
                    <a:pt x="1397794" y="278606"/>
                  </a:cubicBezTo>
                  <a:cubicBezTo>
                    <a:pt x="1397794" y="278606"/>
                    <a:pt x="1397794" y="279559"/>
                    <a:pt x="1397794" y="279559"/>
                  </a:cubicBezTo>
                  <a:cubicBezTo>
                    <a:pt x="1397794" y="279559"/>
                    <a:pt x="1397794" y="279559"/>
                    <a:pt x="1397794" y="278606"/>
                  </a:cubicBezTo>
                  <a:cubicBezTo>
                    <a:pt x="1397794" y="278606"/>
                    <a:pt x="1397794" y="278606"/>
                    <a:pt x="1397794" y="278606"/>
                  </a:cubicBezTo>
                  <a:close/>
                  <a:moveTo>
                    <a:pt x="1397794" y="322421"/>
                  </a:moveTo>
                  <a:cubicBezTo>
                    <a:pt x="1398746" y="325279"/>
                    <a:pt x="1398746" y="328136"/>
                    <a:pt x="1399699" y="331946"/>
                  </a:cubicBezTo>
                  <a:cubicBezTo>
                    <a:pt x="1399699" y="332899"/>
                    <a:pt x="1399699" y="332899"/>
                    <a:pt x="1399699" y="333851"/>
                  </a:cubicBezTo>
                  <a:cubicBezTo>
                    <a:pt x="1398746" y="330994"/>
                    <a:pt x="1397794" y="328136"/>
                    <a:pt x="1396841" y="326231"/>
                  </a:cubicBezTo>
                  <a:cubicBezTo>
                    <a:pt x="1396841" y="324326"/>
                    <a:pt x="1396841" y="323374"/>
                    <a:pt x="1397794" y="322421"/>
                  </a:cubicBezTo>
                  <a:close/>
                  <a:moveTo>
                    <a:pt x="1387316" y="231934"/>
                  </a:moveTo>
                  <a:cubicBezTo>
                    <a:pt x="1389221" y="242411"/>
                    <a:pt x="1392079" y="255746"/>
                    <a:pt x="1395889" y="270986"/>
                  </a:cubicBezTo>
                  <a:cubicBezTo>
                    <a:pt x="1395889" y="271939"/>
                    <a:pt x="1395889" y="271939"/>
                    <a:pt x="1394936" y="272891"/>
                  </a:cubicBezTo>
                  <a:cubicBezTo>
                    <a:pt x="1390174" y="257651"/>
                    <a:pt x="1386364" y="246221"/>
                    <a:pt x="1384459" y="240506"/>
                  </a:cubicBezTo>
                  <a:cubicBezTo>
                    <a:pt x="1386364" y="237649"/>
                    <a:pt x="1387316" y="234791"/>
                    <a:pt x="1387316" y="231934"/>
                  </a:cubicBezTo>
                  <a:close/>
                  <a:moveTo>
                    <a:pt x="1380649" y="232886"/>
                  </a:moveTo>
                  <a:cubicBezTo>
                    <a:pt x="1382554" y="230029"/>
                    <a:pt x="1384459" y="227171"/>
                    <a:pt x="1386364" y="225266"/>
                  </a:cubicBezTo>
                  <a:cubicBezTo>
                    <a:pt x="1386364" y="225266"/>
                    <a:pt x="1386364" y="225266"/>
                    <a:pt x="1386364" y="225266"/>
                  </a:cubicBezTo>
                  <a:cubicBezTo>
                    <a:pt x="1382554" y="234791"/>
                    <a:pt x="1377791" y="247174"/>
                    <a:pt x="1372076" y="262414"/>
                  </a:cubicBezTo>
                  <a:cubicBezTo>
                    <a:pt x="1371124" y="260509"/>
                    <a:pt x="1371124" y="259556"/>
                    <a:pt x="1370171" y="257651"/>
                  </a:cubicBezTo>
                  <a:cubicBezTo>
                    <a:pt x="1369219" y="256699"/>
                    <a:pt x="1369219" y="255746"/>
                    <a:pt x="1369219" y="253841"/>
                  </a:cubicBezTo>
                  <a:cubicBezTo>
                    <a:pt x="1373029" y="245269"/>
                    <a:pt x="1376839" y="238601"/>
                    <a:pt x="1380649" y="232886"/>
                  </a:cubicBezTo>
                  <a:close/>
                  <a:moveTo>
                    <a:pt x="1356836" y="300514"/>
                  </a:moveTo>
                  <a:cubicBezTo>
                    <a:pt x="1356836" y="301466"/>
                    <a:pt x="1356836" y="301466"/>
                    <a:pt x="1356836" y="302419"/>
                  </a:cubicBezTo>
                  <a:cubicBezTo>
                    <a:pt x="1356836" y="303371"/>
                    <a:pt x="1356836" y="303371"/>
                    <a:pt x="1355884" y="304324"/>
                  </a:cubicBezTo>
                  <a:cubicBezTo>
                    <a:pt x="1355884" y="302419"/>
                    <a:pt x="1355884" y="301466"/>
                    <a:pt x="1355884" y="299561"/>
                  </a:cubicBezTo>
                  <a:cubicBezTo>
                    <a:pt x="1355884" y="299561"/>
                    <a:pt x="1356836" y="299561"/>
                    <a:pt x="1356836" y="300514"/>
                  </a:cubicBezTo>
                  <a:close/>
                  <a:moveTo>
                    <a:pt x="1339691" y="325279"/>
                  </a:moveTo>
                  <a:cubicBezTo>
                    <a:pt x="1339691" y="325279"/>
                    <a:pt x="1339691" y="324326"/>
                    <a:pt x="1339691" y="324326"/>
                  </a:cubicBezTo>
                  <a:cubicBezTo>
                    <a:pt x="1340644" y="322421"/>
                    <a:pt x="1341596" y="319564"/>
                    <a:pt x="1341596" y="317659"/>
                  </a:cubicBezTo>
                  <a:cubicBezTo>
                    <a:pt x="1341596" y="317659"/>
                    <a:pt x="1341596" y="317659"/>
                    <a:pt x="1341596" y="317659"/>
                  </a:cubicBezTo>
                  <a:cubicBezTo>
                    <a:pt x="1341596" y="322421"/>
                    <a:pt x="1341596" y="326231"/>
                    <a:pt x="1341596" y="330994"/>
                  </a:cubicBezTo>
                  <a:cubicBezTo>
                    <a:pt x="1341596" y="328136"/>
                    <a:pt x="1340644" y="326231"/>
                    <a:pt x="1339691" y="325279"/>
                  </a:cubicBezTo>
                  <a:close/>
                  <a:moveTo>
                    <a:pt x="1340644" y="226219"/>
                  </a:moveTo>
                  <a:cubicBezTo>
                    <a:pt x="1340644" y="225266"/>
                    <a:pt x="1340644" y="225266"/>
                    <a:pt x="1340644" y="226219"/>
                  </a:cubicBezTo>
                  <a:cubicBezTo>
                    <a:pt x="1341596" y="229076"/>
                    <a:pt x="1343501" y="232886"/>
                    <a:pt x="1344454" y="237649"/>
                  </a:cubicBezTo>
                  <a:cubicBezTo>
                    <a:pt x="1344454" y="239554"/>
                    <a:pt x="1344454" y="240506"/>
                    <a:pt x="1344454" y="242411"/>
                  </a:cubicBezTo>
                  <a:cubicBezTo>
                    <a:pt x="1344454" y="249079"/>
                    <a:pt x="1343501" y="256699"/>
                    <a:pt x="1343501" y="264319"/>
                  </a:cubicBezTo>
                  <a:cubicBezTo>
                    <a:pt x="1343501" y="267176"/>
                    <a:pt x="1343501" y="270034"/>
                    <a:pt x="1343501" y="272891"/>
                  </a:cubicBezTo>
                  <a:cubicBezTo>
                    <a:pt x="1341596" y="271939"/>
                    <a:pt x="1340644" y="270034"/>
                    <a:pt x="1339691" y="269081"/>
                  </a:cubicBezTo>
                  <a:cubicBezTo>
                    <a:pt x="1338739" y="252889"/>
                    <a:pt x="1339691" y="238601"/>
                    <a:pt x="1340644" y="226219"/>
                  </a:cubicBezTo>
                  <a:close/>
                  <a:moveTo>
                    <a:pt x="1337786" y="295751"/>
                  </a:moveTo>
                  <a:cubicBezTo>
                    <a:pt x="1337786" y="288131"/>
                    <a:pt x="1338739" y="279559"/>
                    <a:pt x="1338739" y="271939"/>
                  </a:cubicBezTo>
                  <a:cubicBezTo>
                    <a:pt x="1339691" y="272891"/>
                    <a:pt x="1341596" y="274796"/>
                    <a:pt x="1342549" y="276701"/>
                  </a:cubicBezTo>
                  <a:cubicBezTo>
                    <a:pt x="1342549" y="276701"/>
                    <a:pt x="1342549" y="276701"/>
                    <a:pt x="1342549" y="276701"/>
                  </a:cubicBezTo>
                  <a:cubicBezTo>
                    <a:pt x="1342549" y="279559"/>
                    <a:pt x="1342549" y="283369"/>
                    <a:pt x="1342549" y="286226"/>
                  </a:cubicBezTo>
                  <a:cubicBezTo>
                    <a:pt x="1340644" y="290036"/>
                    <a:pt x="1338739" y="292894"/>
                    <a:pt x="1337786" y="295751"/>
                  </a:cubicBezTo>
                  <a:cubicBezTo>
                    <a:pt x="1337786" y="296704"/>
                    <a:pt x="1337786" y="296704"/>
                    <a:pt x="1337786" y="296704"/>
                  </a:cubicBezTo>
                  <a:cubicBezTo>
                    <a:pt x="1337786" y="296704"/>
                    <a:pt x="1337786" y="295751"/>
                    <a:pt x="1337786" y="295751"/>
                  </a:cubicBezTo>
                  <a:close/>
                  <a:moveTo>
                    <a:pt x="1314926" y="320516"/>
                  </a:moveTo>
                  <a:cubicBezTo>
                    <a:pt x="1314926" y="320516"/>
                    <a:pt x="1314926" y="320516"/>
                    <a:pt x="1314926" y="320516"/>
                  </a:cubicBezTo>
                  <a:cubicBezTo>
                    <a:pt x="1314926" y="320516"/>
                    <a:pt x="1314926" y="320516"/>
                    <a:pt x="1314926" y="320516"/>
                  </a:cubicBezTo>
                  <a:cubicBezTo>
                    <a:pt x="1314926" y="320516"/>
                    <a:pt x="1314926" y="320516"/>
                    <a:pt x="1314926" y="320516"/>
                  </a:cubicBezTo>
                  <a:close/>
                  <a:moveTo>
                    <a:pt x="1311116" y="312896"/>
                  </a:moveTo>
                  <a:cubicBezTo>
                    <a:pt x="1311116" y="312896"/>
                    <a:pt x="1312069" y="313849"/>
                    <a:pt x="1311116" y="312896"/>
                  </a:cubicBezTo>
                  <a:cubicBezTo>
                    <a:pt x="1311116" y="313849"/>
                    <a:pt x="1311116" y="313849"/>
                    <a:pt x="1311116" y="314801"/>
                  </a:cubicBezTo>
                  <a:cubicBezTo>
                    <a:pt x="1311116" y="314801"/>
                    <a:pt x="1311116" y="314801"/>
                    <a:pt x="1311116" y="314801"/>
                  </a:cubicBezTo>
                  <a:cubicBezTo>
                    <a:pt x="1311116" y="313849"/>
                    <a:pt x="1311116" y="313849"/>
                    <a:pt x="1311116" y="312896"/>
                  </a:cubicBezTo>
                  <a:close/>
                  <a:moveTo>
                    <a:pt x="1242536" y="344329"/>
                  </a:moveTo>
                  <a:cubicBezTo>
                    <a:pt x="1241584" y="341471"/>
                    <a:pt x="1239679" y="339566"/>
                    <a:pt x="1238726" y="336709"/>
                  </a:cubicBezTo>
                  <a:cubicBezTo>
                    <a:pt x="1238726" y="328136"/>
                    <a:pt x="1238726" y="318611"/>
                    <a:pt x="1238726" y="310991"/>
                  </a:cubicBezTo>
                  <a:cubicBezTo>
                    <a:pt x="1238726" y="309086"/>
                    <a:pt x="1238726" y="308134"/>
                    <a:pt x="1238726" y="307181"/>
                  </a:cubicBezTo>
                  <a:cubicBezTo>
                    <a:pt x="1240631" y="317659"/>
                    <a:pt x="1241584" y="328136"/>
                    <a:pt x="1244441" y="339566"/>
                  </a:cubicBezTo>
                  <a:cubicBezTo>
                    <a:pt x="1244441" y="339566"/>
                    <a:pt x="1244441" y="340519"/>
                    <a:pt x="1244441" y="340519"/>
                  </a:cubicBezTo>
                  <a:cubicBezTo>
                    <a:pt x="1243489" y="341471"/>
                    <a:pt x="1242536" y="343376"/>
                    <a:pt x="1242536" y="344329"/>
                  </a:cubicBezTo>
                  <a:close/>
                  <a:moveTo>
                    <a:pt x="1279684" y="290989"/>
                  </a:moveTo>
                  <a:cubicBezTo>
                    <a:pt x="1279684" y="289084"/>
                    <a:pt x="1279684" y="286226"/>
                    <a:pt x="1279684" y="284321"/>
                  </a:cubicBezTo>
                  <a:cubicBezTo>
                    <a:pt x="1280636" y="285274"/>
                    <a:pt x="1280636" y="286226"/>
                    <a:pt x="1281589" y="287179"/>
                  </a:cubicBezTo>
                  <a:cubicBezTo>
                    <a:pt x="1280636" y="289084"/>
                    <a:pt x="1279684" y="290036"/>
                    <a:pt x="1279684" y="290989"/>
                  </a:cubicBezTo>
                  <a:close/>
                  <a:moveTo>
                    <a:pt x="1298734" y="332899"/>
                  </a:moveTo>
                  <a:cubicBezTo>
                    <a:pt x="1298734" y="332899"/>
                    <a:pt x="1298734" y="332899"/>
                    <a:pt x="1298734" y="332899"/>
                  </a:cubicBezTo>
                  <a:cubicBezTo>
                    <a:pt x="1298734" y="331946"/>
                    <a:pt x="1298734" y="331946"/>
                    <a:pt x="1298734" y="330994"/>
                  </a:cubicBezTo>
                  <a:cubicBezTo>
                    <a:pt x="1298734" y="331946"/>
                    <a:pt x="1298734" y="332899"/>
                    <a:pt x="1298734" y="332899"/>
                  </a:cubicBezTo>
                  <a:close/>
                  <a:moveTo>
                    <a:pt x="1295876" y="278606"/>
                  </a:moveTo>
                  <a:cubicBezTo>
                    <a:pt x="1298734" y="285274"/>
                    <a:pt x="1301591" y="291941"/>
                    <a:pt x="1305401" y="299561"/>
                  </a:cubicBezTo>
                  <a:cubicBezTo>
                    <a:pt x="1305401" y="299561"/>
                    <a:pt x="1305401" y="299561"/>
                    <a:pt x="1305401" y="300514"/>
                  </a:cubicBezTo>
                  <a:cubicBezTo>
                    <a:pt x="1305401" y="301466"/>
                    <a:pt x="1305401" y="302419"/>
                    <a:pt x="1304449" y="303371"/>
                  </a:cubicBezTo>
                  <a:cubicBezTo>
                    <a:pt x="1303496" y="300514"/>
                    <a:pt x="1301591" y="298609"/>
                    <a:pt x="1300639" y="295751"/>
                  </a:cubicBezTo>
                  <a:cubicBezTo>
                    <a:pt x="1298734" y="291941"/>
                    <a:pt x="1296829" y="288131"/>
                    <a:pt x="1293971" y="284321"/>
                  </a:cubicBezTo>
                  <a:cubicBezTo>
                    <a:pt x="1294924" y="282416"/>
                    <a:pt x="1295876" y="280511"/>
                    <a:pt x="1295876" y="278606"/>
                  </a:cubicBezTo>
                  <a:close/>
                  <a:moveTo>
                    <a:pt x="1299686" y="328136"/>
                  </a:moveTo>
                  <a:cubicBezTo>
                    <a:pt x="1299686" y="329089"/>
                    <a:pt x="1299686" y="329089"/>
                    <a:pt x="1299686" y="330041"/>
                  </a:cubicBezTo>
                  <a:cubicBezTo>
                    <a:pt x="1299686" y="330041"/>
                    <a:pt x="1298734" y="330994"/>
                    <a:pt x="1298734" y="331946"/>
                  </a:cubicBezTo>
                  <a:cubicBezTo>
                    <a:pt x="1296829" y="329089"/>
                    <a:pt x="1294924" y="326231"/>
                    <a:pt x="1293019" y="324326"/>
                  </a:cubicBezTo>
                  <a:cubicBezTo>
                    <a:pt x="1292066" y="322421"/>
                    <a:pt x="1290161" y="320516"/>
                    <a:pt x="1289209" y="318611"/>
                  </a:cubicBezTo>
                  <a:cubicBezTo>
                    <a:pt x="1289209" y="318611"/>
                    <a:pt x="1289209" y="318611"/>
                    <a:pt x="1289209" y="318611"/>
                  </a:cubicBezTo>
                  <a:cubicBezTo>
                    <a:pt x="1289209" y="314801"/>
                    <a:pt x="1289209" y="311944"/>
                    <a:pt x="1289209" y="309086"/>
                  </a:cubicBezTo>
                  <a:cubicBezTo>
                    <a:pt x="1289209" y="308134"/>
                    <a:pt x="1290161" y="306229"/>
                    <a:pt x="1290161" y="305276"/>
                  </a:cubicBezTo>
                  <a:cubicBezTo>
                    <a:pt x="1293019" y="311944"/>
                    <a:pt x="1296829" y="319564"/>
                    <a:pt x="1299686" y="328136"/>
                  </a:cubicBezTo>
                  <a:close/>
                  <a:moveTo>
                    <a:pt x="1289209" y="263366"/>
                  </a:moveTo>
                  <a:cubicBezTo>
                    <a:pt x="1288256" y="265271"/>
                    <a:pt x="1288256" y="266224"/>
                    <a:pt x="1287304" y="268129"/>
                  </a:cubicBezTo>
                  <a:cubicBezTo>
                    <a:pt x="1287304" y="265271"/>
                    <a:pt x="1287304" y="262414"/>
                    <a:pt x="1287304" y="259556"/>
                  </a:cubicBezTo>
                  <a:cubicBezTo>
                    <a:pt x="1287304" y="260509"/>
                    <a:pt x="1288256" y="262414"/>
                    <a:pt x="1289209" y="263366"/>
                  </a:cubicBezTo>
                  <a:close/>
                  <a:moveTo>
                    <a:pt x="1276826" y="238601"/>
                  </a:moveTo>
                  <a:cubicBezTo>
                    <a:pt x="1277779" y="239554"/>
                    <a:pt x="1277779" y="240506"/>
                    <a:pt x="1278731" y="242411"/>
                  </a:cubicBezTo>
                  <a:cubicBezTo>
                    <a:pt x="1280636" y="246221"/>
                    <a:pt x="1283494" y="251936"/>
                    <a:pt x="1286351" y="257651"/>
                  </a:cubicBezTo>
                  <a:cubicBezTo>
                    <a:pt x="1286351" y="260509"/>
                    <a:pt x="1285399" y="263366"/>
                    <a:pt x="1285399" y="267176"/>
                  </a:cubicBezTo>
                  <a:cubicBezTo>
                    <a:pt x="1282541" y="263366"/>
                    <a:pt x="1280636" y="259556"/>
                    <a:pt x="1277779" y="255746"/>
                  </a:cubicBezTo>
                  <a:cubicBezTo>
                    <a:pt x="1277779" y="250031"/>
                    <a:pt x="1276826" y="245269"/>
                    <a:pt x="1276826" y="242411"/>
                  </a:cubicBezTo>
                  <a:cubicBezTo>
                    <a:pt x="1276826" y="241459"/>
                    <a:pt x="1276826" y="239554"/>
                    <a:pt x="1276826" y="238601"/>
                  </a:cubicBezTo>
                  <a:close/>
                  <a:moveTo>
                    <a:pt x="1273016" y="271939"/>
                  </a:moveTo>
                  <a:cubicBezTo>
                    <a:pt x="1273016" y="271939"/>
                    <a:pt x="1273969" y="272891"/>
                    <a:pt x="1273969" y="272891"/>
                  </a:cubicBezTo>
                  <a:cubicBezTo>
                    <a:pt x="1273969" y="278606"/>
                    <a:pt x="1273016" y="284321"/>
                    <a:pt x="1273016" y="291941"/>
                  </a:cubicBezTo>
                  <a:cubicBezTo>
                    <a:pt x="1272064" y="290989"/>
                    <a:pt x="1272064" y="289084"/>
                    <a:pt x="1271111" y="288131"/>
                  </a:cubicBezTo>
                  <a:cubicBezTo>
                    <a:pt x="1271111" y="282416"/>
                    <a:pt x="1272064" y="276701"/>
                    <a:pt x="1273016" y="271939"/>
                  </a:cubicBezTo>
                  <a:close/>
                  <a:moveTo>
                    <a:pt x="1240631" y="229076"/>
                  </a:moveTo>
                  <a:cubicBezTo>
                    <a:pt x="1241584" y="226219"/>
                    <a:pt x="1243489" y="223361"/>
                    <a:pt x="1244441" y="220504"/>
                  </a:cubicBezTo>
                  <a:cubicBezTo>
                    <a:pt x="1247299" y="226219"/>
                    <a:pt x="1251109" y="230981"/>
                    <a:pt x="1253966" y="237649"/>
                  </a:cubicBezTo>
                  <a:cubicBezTo>
                    <a:pt x="1257776" y="244316"/>
                    <a:pt x="1260634" y="250031"/>
                    <a:pt x="1264444" y="257651"/>
                  </a:cubicBezTo>
                  <a:cubicBezTo>
                    <a:pt x="1265396" y="259556"/>
                    <a:pt x="1267301" y="262414"/>
                    <a:pt x="1268254" y="264319"/>
                  </a:cubicBezTo>
                  <a:cubicBezTo>
                    <a:pt x="1266349" y="270986"/>
                    <a:pt x="1264444" y="277654"/>
                    <a:pt x="1262539" y="286226"/>
                  </a:cubicBezTo>
                  <a:cubicBezTo>
                    <a:pt x="1259681" y="283369"/>
                    <a:pt x="1257776" y="280511"/>
                    <a:pt x="1254919" y="277654"/>
                  </a:cubicBezTo>
                  <a:cubicBezTo>
                    <a:pt x="1250156" y="268129"/>
                    <a:pt x="1246346" y="259556"/>
                    <a:pt x="1241584" y="251936"/>
                  </a:cubicBezTo>
                  <a:cubicBezTo>
                    <a:pt x="1239679" y="249079"/>
                    <a:pt x="1237774" y="246221"/>
                    <a:pt x="1235869" y="243364"/>
                  </a:cubicBezTo>
                  <a:cubicBezTo>
                    <a:pt x="1235869" y="243364"/>
                    <a:pt x="1235869" y="242411"/>
                    <a:pt x="1235869" y="242411"/>
                  </a:cubicBezTo>
                  <a:cubicBezTo>
                    <a:pt x="1237774" y="236696"/>
                    <a:pt x="1239679" y="232886"/>
                    <a:pt x="1240631" y="229076"/>
                  </a:cubicBezTo>
                  <a:close/>
                  <a:moveTo>
                    <a:pt x="1228249" y="304324"/>
                  </a:moveTo>
                  <a:cubicBezTo>
                    <a:pt x="1228249" y="298609"/>
                    <a:pt x="1227296" y="292894"/>
                    <a:pt x="1227296" y="288131"/>
                  </a:cubicBezTo>
                  <a:lnTo>
                    <a:pt x="1227296" y="281464"/>
                  </a:lnTo>
                  <a:cubicBezTo>
                    <a:pt x="1227296" y="280511"/>
                    <a:pt x="1228249" y="280511"/>
                    <a:pt x="1228249" y="279559"/>
                  </a:cubicBezTo>
                  <a:cubicBezTo>
                    <a:pt x="1228249" y="279559"/>
                    <a:pt x="1228249" y="278606"/>
                    <a:pt x="1228249" y="278606"/>
                  </a:cubicBezTo>
                  <a:cubicBezTo>
                    <a:pt x="1228249" y="278606"/>
                    <a:pt x="1229201" y="279559"/>
                    <a:pt x="1229201" y="279559"/>
                  </a:cubicBezTo>
                  <a:cubicBezTo>
                    <a:pt x="1230154" y="280511"/>
                    <a:pt x="1230154" y="282416"/>
                    <a:pt x="1231106" y="284321"/>
                  </a:cubicBezTo>
                  <a:cubicBezTo>
                    <a:pt x="1230154" y="290036"/>
                    <a:pt x="1229201" y="296704"/>
                    <a:pt x="1228249" y="304324"/>
                  </a:cubicBezTo>
                  <a:close/>
                  <a:moveTo>
                    <a:pt x="1232059" y="280511"/>
                  </a:moveTo>
                  <a:cubicBezTo>
                    <a:pt x="1232059" y="279559"/>
                    <a:pt x="1232059" y="279559"/>
                    <a:pt x="1232059" y="278606"/>
                  </a:cubicBezTo>
                  <a:cubicBezTo>
                    <a:pt x="1232059" y="277654"/>
                    <a:pt x="1231106" y="276701"/>
                    <a:pt x="1230154" y="275749"/>
                  </a:cubicBezTo>
                  <a:cubicBezTo>
                    <a:pt x="1229201" y="275749"/>
                    <a:pt x="1228249" y="274796"/>
                    <a:pt x="1227296" y="275749"/>
                  </a:cubicBezTo>
                  <a:cubicBezTo>
                    <a:pt x="1227296" y="275749"/>
                    <a:pt x="1227296" y="275749"/>
                    <a:pt x="1226344" y="275749"/>
                  </a:cubicBezTo>
                  <a:lnTo>
                    <a:pt x="1226344" y="269081"/>
                  </a:lnTo>
                  <a:cubicBezTo>
                    <a:pt x="1227296" y="270034"/>
                    <a:pt x="1228249" y="270986"/>
                    <a:pt x="1230154" y="272891"/>
                  </a:cubicBezTo>
                  <a:cubicBezTo>
                    <a:pt x="1231106" y="273844"/>
                    <a:pt x="1232059" y="274796"/>
                    <a:pt x="1233011" y="276701"/>
                  </a:cubicBezTo>
                  <a:cubicBezTo>
                    <a:pt x="1232059" y="278606"/>
                    <a:pt x="1232059" y="279559"/>
                    <a:pt x="1232059" y="280511"/>
                  </a:cubicBezTo>
                  <a:close/>
                  <a:moveTo>
                    <a:pt x="1230154" y="221456"/>
                  </a:moveTo>
                  <a:cubicBezTo>
                    <a:pt x="1232059" y="225266"/>
                    <a:pt x="1233011" y="229076"/>
                    <a:pt x="1233964" y="233839"/>
                  </a:cubicBezTo>
                  <a:cubicBezTo>
                    <a:pt x="1233964" y="233839"/>
                    <a:pt x="1233964" y="233839"/>
                    <a:pt x="1233964" y="233839"/>
                  </a:cubicBezTo>
                  <a:cubicBezTo>
                    <a:pt x="1233964" y="232886"/>
                    <a:pt x="1233011" y="230981"/>
                    <a:pt x="1233011" y="230029"/>
                  </a:cubicBezTo>
                  <a:cubicBezTo>
                    <a:pt x="1231106" y="226219"/>
                    <a:pt x="1230154" y="223361"/>
                    <a:pt x="1230154" y="221456"/>
                  </a:cubicBezTo>
                  <a:cubicBezTo>
                    <a:pt x="1229201" y="220504"/>
                    <a:pt x="1229201" y="220504"/>
                    <a:pt x="1230154" y="221456"/>
                  </a:cubicBezTo>
                  <a:close/>
                  <a:moveTo>
                    <a:pt x="1229201" y="257651"/>
                  </a:moveTo>
                  <a:cubicBezTo>
                    <a:pt x="1229201" y="257651"/>
                    <a:pt x="1229201" y="257651"/>
                    <a:pt x="1229201" y="257651"/>
                  </a:cubicBezTo>
                  <a:cubicBezTo>
                    <a:pt x="1229201" y="258604"/>
                    <a:pt x="1230154" y="258604"/>
                    <a:pt x="1230154" y="259556"/>
                  </a:cubicBezTo>
                  <a:cubicBezTo>
                    <a:pt x="1230154" y="260509"/>
                    <a:pt x="1230154" y="261461"/>
                    <a:pt x="1230154" y="262414"/>
                  </a:cubicBezTo>
                  <a:cubicBezTo>
                    <a:pt x="1231106" y="266224"/>
                    <a:pt x="1231106" y="270986"/>
                    <a:pt x="1232059" y="274796"/>
                  </a:cubicBezTo>
                  <a:cubicBezTo>
                    <a:pt x="1232059" y="274796"/>
                    <a:pt x="1232059" y="274796"/>
                    <a:pt x="1232059" y="274796"/>
                  </a:cubicBezTo>
                  <a:cubicBezTo>
                    <a:pt x="1231106" y="273844"/>
                    <a:pt x="1230154" y="272891"/>
                    <a:pt x="1229201" y="272891"/>
                  </a:cubicBezTo>
                  <a:cubicBezTo>
                    <a:pt x="1227296" y="270986"/>
                    <a:pt x="1225391" y="270034"/>
                    <a:pt x="1225391" y="269081"/>
                  </a:cubicBezTo>
                  <a:lnTo>
                    <a:pt x="1225391" y="265271"/>
                  </a:lnTo>
                  <a:cubicBezTo>
                    <a:pt x="1227296" y="263366"/>
                    <a:pt x="1228249" y="260509"/>
                    <a:pt x="1229201" y="257651"/>
                  </a:cubicBezTo>
                  <a:close/>
                  <a:moveTo>
                    <a:pt x="1226344" y="235744"/>
                  </a:moveTo>
                  <a:cubicBezTo>
                    <a:pt x="1227296" y="238601"/>
                    <a:pt x="1227296" y="241459"/>
                    <a:pt x="1228249" y="244316"/>
                  </a:cubicBezTo>
                  <a:cubicBezTo>
                    <a:pt x="1228249" y="245269"/>
                    <a:pt x="1227296" y="246221"/>
                    <a:pt x="1227296" y="246221"/>
                  </a:cubicBezTo>
                  <a:cubicBezTo>
                    <a:pt x="1226344" y="245269"/>
                    <a:pt x="1226344" y="245269"/>
                    <a:pt x="1225391" y="244316"/>
                  </a:cubicBezTo>
                  <a:lnTo>
                    <a:pt x="1225391" y="231934"/>
                  </a:lnTo>
                  <a:cubicBezTo>
                    <a:pt x="1225391" y="233839"/>
                    <a:pt x="1225391" y="234791"/>
                    <a:pt x="1226344" y="235744"/>
                  </a:cubicBezTo>
                  <a:close/>
                  <a:moveTo>
                    <a:pt x="1197769" y="293846"/>
                  </a:moveTo>
                  <a:cubicBezTo>
                    <a:pt x="1197769" y="292894"/>
                    <a:pt x="1198721" y="290989"/>
                    <a:pt x="1198721" y="290036"/>
                  </a:cubicBezTo>
                  <a:cubicBezTo>
                    <a:pt x="1198721" y="290989"/>
                    <a:pt x="1198721" y="290989"/>
                    <a:pt x="1198721" y="291941"/>
                  </a:cubicBezTo>
                  <a:cubicBezTo>
                    <a:pt x="1198721" y="293846"/>
                    <a:pt x="1199674" y="296704"/>
                    <a:pt x="1199674" y="299561"/>
                  </a:cubicBezTo>
                  <a:cubicBezTo>
                    <a:pt x="1198721" y="301466"/>
                    <a:pt x="1197769" y="304324"/>
                    <a:pt x="1196816" y="307181"/>
                  </a:cubicBezTo>
                  <a:cubicBezTo>
                    <a:pt x="1195864" y="304324"/>
                    <a:pt x="1195864" y="301466"/>
                    <a:pt x="1194911" y="299561"/>
                  </a:cubicBezTo>
                  <a:cubicBezTo>
                    <a:pt x="1195864" y="297656"/>
                    <a:pt x="1196816" y="295751"/>
                    <a:pt x="1197769" y="293846"/>
                  </a:cubicBezTo>
                  <a:close/>
                  <a:moveTo>
                    <a:pt x="1196816" y="459581"/>
                  </a:moveTo>
                  <a:lnTo>
                    <a:pt x="1196816" y="459581"/>
                  </a:lnTo>
                  <a:cubicBezTo>
                    <a:pt x="1195864" y="458629"/>
                    <a:pt x="1195864" y="457676"/>
                    <a:pt x="1195864" y="455771"/>
                  </a:cubicBezTo>
                  <a:cubicBezTo>
                    <a:pt x="1195864" y="456724"/>
                    <a:pt x="1195864" y="457676"/>
                    <a:pt x="1196816" y="459581"/>
                  </a:cubicBezTo>
                  <a:close/>
                  <a:moveTo>
                    <a:pt x="1190149" y="324326"/>
                  </a:moveTo>
                  <a:cubicBezTo>
                    <a:pt x="1190149" y="325279"/>
                    <a:pt x="1190149" y="325279"/>
                    <a:pt x="1190149" y="324326"/>
                  </a:cubicBezTo>
                  <a:cubicBezTo>
                    <a:pt x="1190149" y="323374"/>
                    <a:pt x="1190149" y="321469"/>
                    <a:pt x="1189196" y="320516"/>
                  </a:cubicBezTo>
                  <a:cubicBezTo>
                    <a:pt x="1190149" y="322421"/>
                    <a:pt x="1190149" y="323374"/>
                    <a:pt x="1190149" y="324326"/>
                  </a:cubicBezTo>
                  <a:close/>
                  <a:moveTo>
                    <a:pt x="1170146" y="270986"/>
                  </a:moveTo>
                  <a:cubicBezTo>
                    <a:pt x="1170146" y="270034"/>
                    <a:pt x="1170146" y="269081"/>
                    <a:pt x="1170146" y="268129"/>
                  </a:cubicBezTo>
                  <a:cubicBezTo>
                    <a:pt x="1170146" y="267176"/>
                    <a:pt x="1170146" y="265271"/>
                    <a:pt x="1170146" y="264319"/>
                  </a:cubicBezTo>
                  <a:cubicBezTo>
                    <a:pt x="1171099" y="253841"/>
                    <a:pt x="1172051" y="244316"/>
                    <a:pt x="1172051" y="235744"/>
                  </a:cubicBezTo>
                  <a:cubicBezTo>
                    <a:pt x="1173004" y="238601"/>
                    <a:pt x="1173956" y="241459"/>
                    <a:pt x="1174909" y="245269"/>
                  </a:cubicBezTo>
                  <a:cubicBezTo>
                    <a:pt x="1174909" y="249079"/>
                    <a:pt x="1175861" y="253841"/>
                    <a:pt x="1176814" y="260509"/>
                  </a:cubicBezTo>
                  <a:cubicBezTo>
                    <a:pt x="1177766" y="267176"/>
                    <a:pt x="1177766" y="275749"/>
                    <a:pt x="1177766" y="285274"/>
                  </a:cubicBezTo>
                  <a:cubicBezTo>
                    <a:pt x="1178719" y="291941"/>
                    <a:pt x="1177766" y="300514"/>
                    <a:pt x="1177766" y="308134"/>
                  </a:cubicBezTo>
                  <a:cubicBezTo>
                    <a:pt x="1177766" y="307181"/>
                    <a:pt x="1176814" y="306229"/>
                    <a:pt x="1176814" y="305276"/>
                  </a:cubicBezTo>
                  <a:cubicBezTo>
                    <a:pt x="1173956" y="298609"/>
                    <a:pt x="1171099" y="292894"/>
                    <a:pt x="1168241" y="287179"/>
                  </a:cubicBezTo>
                  <a:cubicBezTo>
                    <a:pt x="1169194" y="282416"/>
                    <a:pt x="1170146" y="275749"/>
                    <a:pt x="1170146" y="270986"/>
                  </a:cubicBezTo>
                  <a:close/>
                  <a:moveTo>
                    <a:pt x="1170146" y="309086"/>
                  </a:moveTo>
                  <a:cubicBezTo>
                    <a:pt x="1171099" y="312896"/>
                    <a:pt x="1173004" y="317659"/>
                    <a:pt x="1173956" y="321469"/>
                  </a:cubicBezTo>
                  <a:cubicBezTo>
                    <a:pt x="1173004" y="323374"/>
                    <a:pt x="1173004" y="325279"/>
                    <a:pt x="1172051" y="327184"/>
                  </a:cubicBezTo>
                  <a:cubicBezTo>
                    <a:pt x="1171099" y="325279"/>
                    <a:pt x="1171099" y="324326"/>
                    <a:pt x="1170146" y="322421"/>
                  </a:cubicBezTo>
                  <a:cubicBezTo>
                    <a:pt x="1170146" y="321469"/>
                    <a:pt x="1170146" y="319564"/>
                    <a:pt x="1170146" y="318611"/>
                  </a:cubicBezTo>
                  <a:cubicBezTo>
                    <a:pt x="1169194" y="313849"/>
                    <a:pt x="1169194" y="308134"/>
                    <a:pt x="1168241" y="303371"/>
                  </a:cubicBezTo>
                  <a:cubicBezTo>
                    <a:pt x="1168241" y="305276"/>
                    <a:pt x="1169194" y="307181"/>
                    <a:pt x="1170146" y="309086"/>
                  </a:cubicBezTo>
                  <a:close/>
                  <a:moveTo>
                    <a:pt x="1164431" y="236696"/>
                  </a:moveTo>
                  <a:cubicBezTo>
                    <a:pt x="1163479" y="242411"/>
                    <a:pt x="1162526" y="248126"/>
                    <a:pt x="1161574" y="253841"/>
                  </a:cubicBezTo>
                  <a:cubicBezTo>
                    <a:pt x="1161574" y="252889"/>
                    <a:pt x="1161574" y="252889"/>
                    <a:pt x="1161574" y="251936"/>
                  </a:cubicBezTo>
                  <a:cubicBezTo>
                    <a:pt x="1161574" y="251936"/>
                    <a:pt x="1161574" y="250984"/>
                    <a:pt x="1161574" y="250984"/>
                  </a:cubicBezTo>
                  <a:cubicBezTo>
                    <a:pt x="1162526" y="245269"/>
                    <a:pt x="1163479" y="240506"/>
                    <a:pt x="1164431" y="236696"/>
                  </a:cubicBezTo>
                  <a:close/>
                  <a:moveTo>
                    <a:pt x="1140619" y="290036"/>
                  </a:moveTo>
                  <a:cubicBezTo>
                    <a:pt x="1140619" y="290989"/>
                    <a:pt x="1139666" y="290989"/>
                    <a:pt x="1139666" y="291941"/>
                  </a:cubicBezTo>
                  <a:cubicBezTo>
                    <a:pt x="1138714" y="289084"/>
                    <a:pt x="1138714" y="286226"/>
                    <a:pt x="1137761" y="283369"/>
                  </a:cubicBezTo>
                  <a:cubicBezTo>
                    <a:pt x="1138714" y="286226"/>
                    <a:pt x="1139666" y="288131"/>
                    <a:pt x="1140619" y="290036"/>
                  </a:cubicBezTo>
                  <a:close/>
                  <a:moveTo>
                    <a:pt x="1114901" y="339566"/>
                  </a:moveTo>
                  <a:cubicBezTo>
                    <a:pt x="1115854" y="331946"/>
                    <a:pt x="1116806" y="323374"/>
                    <a:pt x="1117759" y="315754"/>
                  </a:cubicBezTo>
                  <a:cubicBezTo>
                    <a:pt x="1118711" y="318611"/>
                    <a:pt x="1118711" y="321469"/>
                    <a:pt x="1119664" y="325279"/>
                  </a:cubicBezTo>
                  <a:cubicBezTo>
                    <a:pt x="1120616" y="328136"/>
                    <a:pt x="1120616" y="331946"/>
                    <a:pt x="1121569" y="334804"/>
                  </a:cubicBezTo>
                  <a:cubicBezTo>
                    <a:pt x="1121569" y="336709"/>
                    <a:pt x="1120616" y="338614"/>
                    <a:pt x="1120616" y="341471"/>
                  </a:cubicBezTo>
                  <a:cubicBezTo>
                    <a:pt x="1120616" y="341471"/>
                    <a:pt x="1120616" y="341471"/>
                    <a:pt x="1120616" y="342424"/>
                  </a:cubicBezTo>
                  <a:cubicBezTo>
                    <a:pt x="1119664" y="344329"/>
                    <a:pt x="1118711" y="346234"/>
                    <a:pt x="1118711" y="348139"/>
                  </a:cubicBezTo>
                  <a:cubicBezTo>
                    <a:pt x="1117759" y="345281"/>
                    <a:pt x="1115854" y="343376"/>
                    <a:pt x="1114901" y="341471"/>
                  </a:cubicBezTo>
                  <a:cubicBezTo>
                    <a:pt x="1114901" y="340519"/>
                    <a:pt x="1114901" y="339566"/>
                    <a:pt x="1114901" y="339566"/>
                  </a:cubicBezTo>
                  <a:close/>
                  <a:moveTo>
                    <a:pt x="1111091" y="219551"/>
                  </a:moveTo>
                  <a:cubicBezTo>
                    <a:pt x="1111091" y="220504"/>
                    <a:pt x="1112044" y="221456"/>
                    <a:pt x="1112044" y="222409"/>
                  </a:cubicBezTo>
                  <a:cubicBezTo>
                    <a:pt x="1112044" y="225266"/>
                    <a:pt x="1112996" y="228124"/>
                    <a:pt x="1112996" y="230029"/>
                  </a:cubicBezTo>
                  <a:cubicBezTo>
                    <a:pt x="1112996" y="230029"/>
                    <a:pt x="1112996" y="230029"/>
                    <a:pt x="1112996" y="230029"/>
                  </a:cubicBezTo>
                  <a:cubicBezTo>
                    <a:pt x="1112996" y="226219"/>
                    <a:pt x="1112044" y="223361"/>
                    <a:pt x="1111091" y="219551"/>
                  </a:cubicBezTo>
                  <a:cubicBezTo>
                    <a:pt x="1111091" y="220504"/>
                    <a:pt x="1111091" y="219551"/>
                    <a:pt x="1111091" y="219551"/>
                  </a:cubicBezTo>
                  <a:close/>
                  <a:moveTo>
                    <a:pt x="1110139" y="217646"/>
                  </a:moveTo>
                  <a:cubicBezTo>
                    <a:pt x="1110139" y="217646"/>
                    <a:pt x="1110139" y="217646"/>
                    <a:pt x="1110139" y="217646"/>
                  </a:cubicBezTo>
                  <a:cubicBezTo>
                    <a:pt x="1110139" y="217646"/>
                    <a:pt x="1109186" y="216694"/>
                    <a:pt x="1109186" y="215741"/>
                  </a:cubicBezTo>
                  <a:cubicBezTo>
                    <a:pt x="1110139" y="216694"/>
                    <a:pt x="1110139" y="216694"/>
                    <a:pt x="1110139" y="217646"/>
                  </a:cubicBezTo>
                  <a:close/>
                  <a:moveTo>
                    <a:pt x="1101566" y="236696"/>
                  </a:moveTo>
                  <a:cubicBezTo>
                    <a:pt x="1104424" y="248126"/>
                    <a:pt x="1107281" y="262414"/>
                    <a:pt x="1111091" y="278606"/>
                  </a:cubicBezTo>
                  <a:cubicBezTo>
                    <a:pt x="1110139" y="283369"/>
                    <a:pt x="1109186" y="289084"/>
                    <a:pt x="1109186" y="293846"/>
                  </a:cubicBezTo>
                  <a:cubicBezTo>
                    <a:pt x="1108234" y="298609"/>
                    <a:pt x="1107281" y="304324"/>
                    <a:pt x="1106329" y="309086"/>
                  </a:cubicBezTo>
                  <a:cubicBezTo>
                    <a:pt x="1106329" y="309086"/>
                    <a:pt x="1106329" y="309086"/>
                    <a:pt x="1106329" y="308134"/>
                  </a:cubicBezTo>
                  <a:cubicBezTo>
                    <a:pt x="1105376" y="300514"/>
                    <a:pt x="1105376" y="295751"/>
                    <a:pt x="1105376" y="295751"/>
                  </a:cubicBezTo>
                  <a:cubicBezTo>
                    <a:pt x="1105376" y="295751"/>
                    <a:pt x="1105376" y="297656"/>
                    <a:pt x="1105376" y="300514"/>
                  </a:cubicBezTo>
                  <a:cubicBezTo>
                    <a:pt x="1103471" y="290989"/>
                    <a:pt x="1101566" y="282416"/>
                    <a:pt x="1099661" y="272891"/>
                  </a:cubicBezTo>
                  <a:cubicBezTo>
                    <a:pt x="1097756" y="265271"/>
                    <a:pt x="1096804" y="256699"/>
                    <a:pt x="1094899" y="249079"/>
                  </a:cubicBezTo>
                  <a:cubicBezTo>
                    <a:pt x="1096804" y="244316"/>
                    <a:pt x="1098709" y="240506"/>
                    <a:pt x="1101566" y="236696"/>
                  </a:cubicBezTo>
                  <a:close/>
                  <a:moveTo>
                    <a:pt x="1027271" y="325279"/>
                  </a:moveTo>
                  <a:cubicBezTo>
                    <a:pt x="1028224" y="319564"/>
                    <a:pt x="1029176" y="314801"/>
                    <a:pt x="1030129" y="310991"/>
                  </a:cubicBezTo>
                  <a:cubicBezTo>
                    <a:pt x="1031081" y="306229"/>
                    <a:pt x="1032986" y="301466"/>
                    <a:pt x="1034891" y="297656"/>
                  </a:cubicBezTo>
                  <a:cubicBezTo>
                    <a:pt x="1035844" y="293846"/>
                    <a:pt x="1037749" y="290989"/>
                    <a:pt x="1039654" y="288131"/>
                  </a:cubicBezTo>
                  <a:cubicBezTo>
                    <a:pt x="1040606" y="291941"/>
                    <a:pt x="1041559" y="295751"/>
                    <a:pt x="1042511" y="299561"/>
                  </a:cubicBezTo>
                  <a:cubicBezTo>
                    <a:pt x="1041559" y="301466"/>
                    <a:pt x="1040606" y="303371"/>
                    <a:pt x="1039654" y="305276"/>
                  </a:cubicBezTo>
                  <a:cubicBezTo>
                    <a:pt x="1034891" y="313849"/>
                    <a:pt x="1031081" y="322421"/>
                    <a:pt x="1028224" y="330994"/>
                  </a:cubicBezTo>
                  <a:cubicBezTo>
                    <a:pt x="1028224" y="329089"/>
                    <a:pt x="1028224" y="327184"/>
                    <a:pt x="1027271" y="325279"/>
                  </a:cubicBezTo>
                  <a:close/>
                  <a:moveTo>
                    <a:pt x="1040606" y="374809"/>
                  </a:moveTo>
                  <a:cubicBezTo>
                    <a:pt x="1040606" y="373856"/>
                    <a:pt x="1039654" y="371951"/>
                    <a:pt x="1039654" y="370999"/>
                  </a:cubicBezTo>
                  <a:cubicBezTo>
                    <a:pt x="1041559" y="366236"/>
                    <a:pt x="1043464" y="360521"/>
                    <a:pt x="1045369" y="355759"/>
                  </a:cubicBezTo>
                  <a:cubicBezTo>
                    <a:pt x="1046321" y="358616"/>
                    <a:pt x="1047274" y="361474"/>
                    <a:pt x="1047274" y="364331"/>
                  </a:cubicBezTo>
                  <a:cubicBezTo>
                    <a:pt x="1047274" y="371951"/>
                    <a:pt x="1047274" y="378619"/>
                    <a:pt x="1048226" y="386239"/>
                  </a:cubicBezTo>
                  <a:cubicBezTo>
                    <a:pt x="1046321" y="385286"/>
                    <a:pt x="1045369" y="384334"/>
                    <a:pt x="1044416" y="384334"/>
                  </a:cubicBezTo>
                  <a:cubicBezTo>
                    <a:pt x="1042511" y="381476"/>
                    <a:pt x="1041559" y="377666"/>
                    <a:pt x="1040606" y="374809"/>
                  </a:cubicBezTo>
                  <a:close/>
                  <a:moveTo>
                    <a:pt x="1046321" y="389096"/>
                  </a:moveTo>
                  <a:cubicBezTo>
                    <a:pt x="1047274" y="390049"/>
                    <a:pt x="1047274" y="390049"/>
                    <a:pt x="1048226" y="391001"/>
                  </a:cubicBezTo>
                  <a:cubicBezTo>
                    <a:pt x="1048226" y="391954"/>
                    <a:pt x="1048226" y="391954"/>
                    <a:pt x="1048226" y="392906"/>
                  </a:cubicBezTo>
                  <a:cubicBezTo>
                    <a:pt x="1047274" y="391954"/>
                    <a:pt x="1046321" y="390049"/>
                    <a:pt x="1046321" y="389096"/>
                  </a:cubicBezTo>
                  <a:close/>
                  <a:moveTo>
                    <a:pt x="1056799" y="292894"/>
                  </a:moveTo>
                  <a:cubicBezTo>
                    <a:pt x="1057751" y="289084"/>
                    <a:pt x="1059656" y="286226"/>
                    <a:pt x="1061561" y="282416"/>
                  </a:cubicBezTo>
                  <a:cubicBezTo>
                    <a:pt x="1063466" y="278606"/>
                    <a:pt x="1064419" y="274796"/>
                    <a:pt x="1066324" y="271939"/>
                  </a:cubicBezTo>
                  <a:cubicBezTo>
                    <a:pt x="1066324" y="272891"/>
                    <a:pt x="1066324" y="272891"/>
                    <a:pt x="1066324" y="273844"/>
                  </a:cubicBezTo>
                  <a:cubicBezTo>
                    <a:pt x="1066324" y="275749"/>
                    <a:pt x="1067276" y="276701"/>
                    <a:pt x="1067276" y="278606"/>
                  </a:cubicBezTo>
                  <a:cubicBezTo>
                    <a:pt x="1066324" y="280511"/>
                    <a:pt x="1064419" y="282416"/>
                    <a:pt x="1063466" y="285274"/>
                  </a:cubicBezTo>
                  <a:cubicBezTo>
                    <a:pt x="1061561" y="288131"/>
                    <a:pt x="1059656" y="291941"/>
                    <a:pt x="1057751" y="295751"/>
                  </a:cubicBezTo>
                  <a:cubicBezTo>
                    <a:pt x="1057751" y="294799"/>
                    <a:pt x="1056799" y="293846"/>
                    <a:pt x="1056799" y="292894"/>
                  </a:cubicBezTo>
                  <a:close/>
                  <a:moveTo>
                    <a:pt x="1059656" y="360521"/>
                  </a:moveTo>
                  <a:cubicBezTo>
                    <a:pt x="1059656" y="360521"/>
                    <a:pt x="1059656" y="359569"/>
                    <a:pt x="1059656" y="360521"/>
                  </a:cubicBezTo>
                  <a:cubicBezTo>
                    <a:pt x="1059656" y="359569"/>
                    <a:pt x="1059656" y="360521"/>
                    <a:pt x="1059656" y="360521"/>
                  </a:cubicBezTo>
                  <a:cubicBezTo>
                    <a:pt x="1059656" y="360521"/>
                    <a:pt x="1059656" y="360521"/>
                    <a:pt x="1059656" y="360521"/>
                  </a:cubicBezTo>
                  <a:close/>
                  <a:moveTo>
                    <a:pt x="1064419" y="383381"/>
                  </a:moveTo>
                  <a:cubicBezTo>
                    <a:pt x="1063466" y="381476"/>
                    <a:pt x="1063466" y="380524"/>
                    <a:pt x="1062514" y="379571"/>
                  </a:cubicBezTo>
                  <a:cubicBezTo>
                    <a:pt x="1062514" y="377666"/>
                    <a:pt x="1062514" y="376714"/>
                    <a:pt x="1063466" y="374809"/>
                  </a:cubicBezTo>
                  <a:cubicBezTo>
                    <a:pt x="1063466" y="375761"/>
                    <a:pt x="1064419" y="377666"/>
                    <a:pt x="1064419" y="378619"/>
                  </a:cubicBezTo>
                  <a:cubicBezTo>
                    <a:pt x="1064419" y="379571"/>
                    <a:pt x="1064419" y="379571"/>
                    <a:pt x="1064419" y="380524"/>
                  </a:cubicBezTo>
                  <a:cubicBezTo>
                    <a:pt x="1064419" y="382429"/>
                    <a:pt x="1065371" y="384334"/>
                    <a:pt x="1065371" y="386239"/>
                  </a:cubicBezTo>
                  <a:cubicBezTo>
                    <a:pt x="1065371" y="385286"/>
                    <a:pt x="1065371" y="384334"/>
                    <a:pt x="1064419" y="383381"/>
                  </a:cubicBezTo>
                  <a:close/>
                  <a:moveTo>
                    <a:pt x="1069181" y="330994"/>
                  </a:moveTo>
                  <a:cubicBezTo>
                    <a:pt x="1067276" y="325279"/>
                    <a:pt x="1065371" y="318611"/>
                    <a:pt x="1063466" y="312896"/>
                  </a:cubicBezTo>
                  <a:cubicBezTo>
                    <a:pt x="1065371" y="309086"/>
                    <a:pt x="1067276" y="304324"/>
                    <a:pt x="1069181" y="300514"/>
                  </a:cubicBezTo>
                  <a:cubicBezTo>
                    <a:pt x="1070134" y="308134"/>
                    <a:pt x="1069181" y="316706"/>
                    <a:pt x="1070134" y="326231"/>
                  </a:cubicBezTo>
                  <a:cubicBezTo>
                    <a:pt x="1069181" y="328136"/>
                    <a:pt x="1069181" y="329089"/>
                    <a:pt x="1069181" y="330994"/>
                  </a:cubicBezTo>
                  <a:close/>
                  <a:moveTo>
                    <a:pt x="1077754" y="262414"/>
                  </a:moveTo>
                  <a:cubicBezTo>
                    <a:pt x="1076801" y="263366"/>
                    <a:pt x="1076801" y="264319"/>
                    <a:pt x="1075849" y="264319"/>
                  </a:cubicBezTo>
                  <a:cubicBezTo>
                    <a:pt x="1074896" y="261461"/>
                    <a:pt x="1074896" y="259556"/>
                    <a:pt x="1073944" y="256699"/>
                  </a:cubicBezTo>
                  <a:lnTo>
                    <a:pt x="1074896" y="256699"/>
                  </a:lnTo>
                  <a:lnTo>
                    <a:pt x="1075849" y="256699"/>
                  </a:lnTo>
                  <a:cubicBezTo>
                    <a:pt x="1076801" y="259556"/>
                    <a:pt x="1077754" y="260509"/>
                    <a:pt x="1077754" y="262414"/>
                  </a:cubicBezTo>
                  <a:close/>
                  <a:moveTo>
                    <a:pt x="1045369" y="175736"/>
                  </a:moveTo>
                  <a:cubicBezTo>
                    <a:pt x="1048226" y="168116"/>
                    <a:pt x="1052036" y="160496"/>
                    <a:pt x="1054894" y="153829"/>
                  </a:cubicBezTo>
                  <a:cubicBezTo>
                    <a:pt x="1054894" y="154781"/>
                    <a:pt x="1054894" y="154781"/>
                    <a:pt x="1055846" y="155734"/>
                  </a:cubicBezTo>
                  <a:cubicBezTo>
                    <a:pt x="1056799" y="160496"/>
                    <a:pt x="1058704" y="166211"/>
                    <a:pt x="1059656" y="171926"/>
                  </a:cubicBezTo>
                  <a:cubicBezTo>
                    <a:pt x="1061561" y="178594"/>
                    <a:pt x="1063466" y="186214"/>
                    <a:pt x="1064419" y="193834"/>
                  </a:cubicBezTo>
                  <a:cubicBezTo>
                    <a:pt x="1066324" y="201454"/>
                    <a:pt x="1067276" y="208121"/>
                    <a:pt x="1069181" y="215741"/>
                  </a:cubicBezTo>
                  <a:cubicBezTo>
                    <a:pt x="1072039" y="228124"/>
                    <a:pt x="1073944" y="241459"/>
                    <a:pt x="1076801" y="253841"/>
                  </a:cubicBezTo>
                  <a:cubicBezTo>
                    <a:pt x="1075849" y="253841"/>
                    <a:pt x="1074896" y="252889"/>
                    <a:pt x="1074896" y="252889"/>
                  </a:cubicBezTo>
                  <a:cubicBezTo>
                    <a:pt x="1070134" y="230981"/>
                    <a:pt x="1067276" y="216694"/>
                    <a:pt x="1067276" y="216694"/>
                  </a:cubicBezTo>
                  <a:cubicBezTo>
                    <a:pt x="1067276" y="216694"/>
                    <a:pt x="1067276" y="232886"/>
                    <a:pt x="1068229" y="257651"/>
                  </a:cubicBezTo>
                  <a:cubicBezTo>
                    <a:pt x="1068229" y="258604"/>
                    <a:pt x="1067276" y="258604"/>
                    <a:pt x="1067276" y="259556"/>
                  </a:cubicBezTo>
                  <a:cubicBezTo>
                    <a:pt x="1065371" y="255746"/>
                    <a:pt x="1065371" y="252889"/>
                    <a:pt x="1065371" y="252889"/>
                  </a:cubicBezTo>
                  <a:cubicBezTo>
                    <a:pt x="1065371" y="252889"/>
                    <a:pt x="1065371" y="255746"/>
                    <a:pt x="1066324" y="261461"/>
                  </a:cubicBezTo>
                  <a:cubicBezTo>
                    <a:pt x="1062514" y="267176"/>
                    <a:pt x="1058704" y="272891"/>
                    <a:pt x="1055846" y="278606"/>
                  </a:cubicBezTo>
                  <a:cubicBezTo>
                    <a:pt x="1055846" y="279559"/>
                    <a:pt x="1054894" y="279559"/>
                    <a:pt x="1054894" y="280511"/>
                  </a:cubicBezTo>
                  <a:cubicBezTo>
                    <a:pt x="1054894" y="279559"/>
                    <a:pt x="1053941" y="278606"/>
                    <a:pt x="1053941" y="277654"/>
                  </a:cubicBezTo>
                  <a:cubicBezTo>
                    <a:pt x="1050131" y="266224"/>
                    <a:pt x="1046321" y="254794"/>
                    <a:pt x="1043464" y="245269"/>
                  </a:cubicBezTo>
                  <a:cubicBezTo>
                    <a:pt x="1040606" y="235744"/>
                    <a:pt x="1037749" y="227171"/>
                    <a:pt x="1035844" y="220504"/>
                  </a:cubicBezTo>
                  <a:cubicBezTo>
                    <a:pt x="1033939" y="215741"/>
                    <a:pt x="1032986" y="211931"/>
                    <a:pt x="1032034" y="209074"/>
                  </a:cubicBezTo>
                  <a:cubicBezTo>
                    <a:pt x="1034891" y="196691"/>
                    <a:pt x="1040606" y="186214"/>
                    <a:pt x="1045369" y="175736"/>
                  </a:cubicBezTo>
                  <a:close/>
                  <a:moveTo>
                    <a:pt x="1019651" y="267176"/>
                  </a:moveTo>
                  <a:cubicBezTo>
                    <a:pt x="1020604" y="251936"/>
                    <a:pt x="1022509" y="236696"/>
                    <a:pt x="1023461" y="221456"/>
                  </a:cubicBezTo>
                  <a:cubicBezTo>
                    <a:pt x="1023461" y="220504"/>
                    <a:pt x="1024414" y="219551"/>
                    <a:pt x="1024414" y="218599"/>
                  </a:cubicBezTo>
                  <a:cubicBezTo>
                    <a:pt x="1026319" y="229076"/>
                    <a:pt x="1028224" y="241459"/>
                    <a:pt x="1032034" y="253841"/>
                  </a:cubicBezTo>
                  <a:cubicBezTo>
                    <a:pt x="1033939" y="263366"/>
                    <a:pt x="1036796" y="272891"/>
                    <a:pt x="1038701" y="283369"/>
                  </a:cubicBezTo>
                  <a:cubicBezTo>
                    <a:pt x="1038701" y="283369"/>
                    <a:pt x="1038701" y="284321"/>
                    <a:pt x="1037749" y="284321"/>
                  </a:cubicBezTo>
                  <a:cubicBezTo>
                    <a:pt x="1035844" y="287179"/>
                    <a:pt x="1032986" y="290036"/>
                    <a:pt x="1031081" y="294799"/>
                  </a:cubicBezTo>
                  <a:cubicBezTo>
                    <a:pt x="1029176" y="298609"/>
                    <a:pt x="1027271" y="302419"/>
                    <a:pt x="1025366" y="306229"/>
                  </a:cubicBezTo>
                  <a:cubicBezTo>
                    <a:pt x="1024414" y="297656"/>
                    <a:pt x="1024414" y="290036"/>
                    <a:pt x="1023461" y="284321"/>
                  </a:cubicBezTo>
                  <a:cubicBezTo>
                    <a:pt x="1022509" y="274796"/>
                    <a:pt x="1022509" y="269081"/>
                    <a:pt x="1022509" y="269081"/>
                  </a:cubicBezTo>
                  <a:cubicBezTo>
                    <a:pt x="1022509" y="269081"/>
                    <a:pt x="1021556" y="274796"/>
                    <a:pt x="1019651" y="284321"/>
                  </a:cubicBezTo>
                  <a:cubicBezTo>
                    <a:pt x="1018699" y="291941"/>
                    <a:pt x="1016794" y="302419"/>
                    <a:pt x="1015841" y="314801"/>
                  </a:cubicBezTo>
                  <a:cubicBezTo>
                    <a:pt x="1015841" y="314801"/>
                    <a:pt x="1015841" y="315754"/>
                    <a:pt x="1015841" y="315754"/>
                  </a:cubicBezTo>
                  <a:cubicBezTo>
                    <a:pt x="1015841" y="315754"/>
                    <a:pt x="1015841" y="315754"/>
                    <a:pt x="1015841" y="315754"/>
                  </a:cubicBezTo>
                  <a:cubicBezTo>
                    <a:pt x="1020604" y="276701"/>
                    <a:pt x="1022509" y="251936"/>
                    <a:pt x="1022509" y="251936"/>
                  </a:cubicBezTo>
                  <a:cubicBezTo>
                    <a:pt x="1022509" y="251936"/>
                    <a:pt x="1021556" y="257651"/>
                    <a:pt x="1019651" y="267176"/>
                  </a:cubicBezTo>
                  <a:close/>
                  <a:moveTo>
                    <a:pt x="1011079" y="364331"/>
                  </a:moveTo>
                  <a:cubicBezTo>
                    <a:pt x="1011079" y="361474"/>
                    <a:pt x="1012031" y="358616"/>
                    <a:pt x="1012031" y="355759"/>
                  </a:cubicBezTo>
                  <a:cubicBezTo>
                    <a:pt x="1012984" y="350996"/>
                    <a:pt x="1012984" y="347186"/>
                    <a:pt x="1013936" y="342424"/>
                  </a:cubicBezTo>
                  <a:cubicBezTo>
                    <a:pt x="1013936" y="342424"/>
                    <a:pt x="1013936" y="342424"/>
                    <a:pt x="1013936" y="342424"/>
                  </a:cubicBezTo>
                  <a:cubicBezTo>
                    <a:pt x="1012984" y="349091"/>
                    <a:pt x="1012984" y="356711"/>
                    <a:pt x="1012031" y="364331"/>
                  </a:cubicBezTo>
                  <a:cubicBezTo>
                    <a:pt x="1012031" y="365284"/>
                    <a:pt x="1011079" y="365284"/>
                    <a:pt x="1011079" y="366236"/>
                  </a:cubicBezTo>
                  <a:cubicBezTo>
                    <a:pt x="1011079" y="366236"/>
                    <a:pt x="1011079" y="366236"/>
                    <a:pt x="1011079" y="366236"/>
                  </a:cubicBezTo>
                  <a:cubicBezTo>
                    <a:pt x="1011079" y="366236"/>
                    <a:pt x="1011079" y="365284"/>
                    <a:pt x="1011079" y="364331"/>
                  </a:cubicBezTo>
                  <a:close/>
                  <a:moveTo>
                    <a:pt x="1004411" y="257651"/>
                  </a:moveTo>
                  <a:cubicBezTo>
                    <a:pt x="1003459" y="265271"/>
                    <a:pt x="1002506" y="273844"/>
                    <a:pt x="1001554" y="281464"/>
                  </a:cubicBezTo>
                  <a:cubicBezTo>
                    <a:pt x="999649" y="277654"/>
                    <a:pt x="997744" y="273844"/>
                    <a:pt x="996791" y="271939"/>
                  </a:cubicBezTo>
                  <a:cubicBezTo>
                    <a:pt x="999649" y="268129"/>
                    <a:pt x="1001554" y="262414"/>
                    <a:pt x="1004411" y="257651"/>
                  </a:cubicBezTo>
                  <a:close/>
                  <a:moveTo>
                    <a:pt x="991076" y="283369"/>
                  </a:moveTo>
                  <a:cubicBezTo>
                    <a:pt x="992981" y="280511"/>
                    <a:pt x="994886" y="276701"/>
                    <a:pt x="995839" y="273844"/>
                  </a:cubicBezTo>
                  <a:cubicBezTo>
                    <a:pt x="996791" y="277654"/>
                    <a:pt x="997744" y="283369"/>
                    <a:pt x="999649" y="291941"/>
                  </a:cubicBezTo>
                  <a:cubicBezTo>
                    <a:pt x="998696" y="303371"/>
                    <a:pt x="996791" y="314801"/>
                    <a:pt x="995839" y="326231"/>
                  </a:cubicBezTo>
                  <a:cubicBezTo>
                    <a:pt x="994886" y="328136"/>
                    <a:pt x="994886" y="329089"/>
                    <a:pt x="993934" y="330994"/>
                  </a:cubicBezTo>
                  <a:cubicBezTo>
                    <a:pt x="992981" y="324326"/>
                    <a:pt x="992981" y="320516"/>
                    <a:pt x="992981" y="320516"/>
                  </a:cubicBezTo>
                  <a:cubicBezTo>
                    <a:pt x="992981" y="320516"/>
                    <a:pt x="992029" y="327184"/>
                    <a:pt x="991076" y="338614"/>
                  </a:cubicBezTo>
                  <a:cubicBezTo>
                    <a:pt x="991076" y="339566"/>
                    <a:pt x="990124" y="340519"/>
                    <a:pt x="990124" y="341471"/>
                  </a:cubicBezTo>
                  <a:cubicBezTo>
                    <a:pt x="987266" y="349091"/>
                    <a:pt x="984409" y="356711"/>
                    <a:pt x="981551" y="365284"/>
                  </a:cubicBezTo>
                  <a:cubicBezTo>
                    <a:pt x="981551" y="364331"/>
                    <a:pt x="981551" y="363379"/>
                    <a:pt x="980599" y="363379"/>
                  </a:cubicBezTo>
                  <a:cubicBezTo>
                    <a:pt x="979646" y="351949"/>
                    <a:pt x="978694" y="341471"/>
                    <a:pt x="977741" y="331946"/>
                  </a:cubicBezTo>
                  <a:cubicBezTo>
                    <a:pt x="976789" y="325279"/>
                    <a:pt x="976789" y="318611"/>
                    <a:pt x="975836" y="311944"/>
                  </a:cubicBezTo>
                  <a:cubicBezTo>
                    <a:pt x="980599" y="301466"/>
                    <a:pt x="986314" y="291941"/>
                    <a:pt x="991076" y="283369"/>
                  </a:cubicBezTo>
                  <a:close/>
                  <a:moveTo>
                    <a:pt x="960596" y="298609"/>
                  </a:moveTo>
                  <a:cubicBezTo>
                    <a:pt x="963454" y="291941"/>
                    <a:pt x="965359" y="286226"/>
                    <a:pt x="968216" y="280511"/>
                  </a:cubicBezTo>
                  <a:cubicBezTo>
                    <a:pt x="968216" y="284321"/>
                    <a:pt x="967264" y="289084"/>
                    <a:pt x="967264" y="294799"/>
                  </a:cubicBezTo>
                  <a:cubicBezTo>
                    <a:pt x="965359" y="297656"/>
                    <a:pt x="963454" y="301466"/>
                    <a:pt x="961549" y="304324"/>
                  </a:cubicBezTo>
                  <a:cubicBezTo>
                    <a:pt x="961549" y="304324"/>
                    <a:pt x="961549" y="304324"/>
                    <a:pt x="961549" y="303371"/>
                  </a:cubicBezTo>
                  <a:cubicBezTo>
                    <a:pt x="961549" y="302419"/>
                    <a:pt x="960596" y="302419"/>
                    <a:pt x="960596" y="301466"/>
                  </a:cubicBezTo>
                  <a:cubicBezTo>
                    <a:pt x="960596" y="299561"/>
                    <a:pt x="960596" y="299561"/>
                    <a:pt x="960596" y="298609"/>
                  </a:cubicBezTo>
                  <a:close/>
                  <a:moveTo>
                    <a:pt x="939641" y="258604"/>
                  </a:moveTo>
                  <a:cubicBezTo>
                    <a:pt x="939641" y="258604"/>
                    <a:pt x="939641" y="258604"/>
                    <a:pt x="939641" y="258604"/>
                  </a:cubicBezTo>
                  <a:cubicBezTo>
                    <a:pt x="941546" y="253841"/>
                    <a:pt x="942499" y="250031"/>
                    <a:pt x="943451" y="246221"/>
                  </a:cubicBezTo>
                  <a:cubicBezTo>
                    <a:pt x="943451" y="248126"/>
                    <a:pt x="943451" y="250031"/>
                    <a:pt x="943451" y="251936"/>
                  </a:cubicBezTo>
                  <a:cubicBezTo>
                    <a:pt x="942499" y="253841"/>
                    <a:pt x="941546" y="256699"/>
                    <a:pt x="939641" y="258604"/>
                  </a:cubicBezTo>
                  <a:lnTo>
                    <a:pt x="939641" y="258604"/>
                  </a:lnTo>
                  <a:close/>
                  <a:moveTo>
                    <a:pt x="944404" y="280511"/>
                  </a:moveTo>
                  <a:lnTo>
                    <a:pt x="943451" y="273844"/>
                  </a:lnTo>
                  <a:cubicBezTo>
                    <a:pt x="943451" y="272891"/>
                    <a:pt x="944404" y="271939"/>
                    <a:pt x="944404" y="270986"/>
                  </a:cubicBezTo>
                  <a:cubicBezTo>
                    <a:pt x="944404" y="270986"/>
                    <a:pt x="944404" y="271939"/>
                    <a:pt x="944404" y="271939"/>
                  </a:cubicBezTo>
                  <a:cubicBezTo>
                    <a:pt x="944404" y="272891"/>
                    <a:pt x="944404" y="274796"/>
                    <a:pt x="944404" y="275749"/>
                  </a:cubicBezTo>
                  <a:cubicBezTo>
                    <a:pt x="945356" y="277654"/>
                    <a:pt x="945356" y="279559"/>
                    <a:pt x="944404" y="280511"/>
                  </a:cubicBezTo>
                  <a:close/>
                  <a:moveTo>
                    <a:pt x="944404" y="270986"/>
                  </a:moveTo>
                  <a:cubicBezTo>
                    <a:pt x="944404" y="270986"/>
                    <a:pt x="944404" y="270986"/>
                    <a:pt x="944404" y="270986"/>
                  </a:cubicBezTo>
                  <a:cubicBezTo>
                    <a:pt x="945356" y="270986"/>
                    <a:pt x="945356" y="270986"/>
                    <a:pt x="944404" y="270986"/>
                  </a:cubicBezTo>
                  <a:cubicBezTo>
                    <a:pt x="945356" y="270986"/>
                    <a:pt x="944404" y="270986"/>
                    <a:pt x="944404" y="270986"/>
                  </a:cubicBezTo>
                  <a:close/>
                  <a:moveTo>
                    <a:pt x="933926" y="227171"/>
                  </a:moveTo>
                  <a:cubicBezTo>
                    <a:pt x="946309" y="185261"/>
                    <a:pt x="954881" y="153829"/>
                    <a:pt x="958691" y="138589"/>
                  </a:cubicBezTo>
                  <a:cubicBezTo>
                    <a:pt x="958691" y="141446"/>
                    <a:pt x="958691" y="143351"/>
                    <a:pt x="958691" y="146209"/>
                  </a:cubicBezTo>
                  <a:cubicBezTo>
                    <a:pt x="957739" y="159544"/>
                    <a:pt x="956786" y="179546"/>
                    <a:pt x="953929" y="203359"/>
                  </a:cubicBezTo>
                  <a:cubicBezTo>
                    <a:pt x="952976" y="215741"/>
                    <a:pt x="951071" y="228124"/>
                    <a:pt x="950119" y="242411"/>
                  </a:cubicBezTo>
                  <a:cubicBezTo>
                    <a:pt x="949166" y="243364"/>
                    <a:pt x="948214" y="245269"/>
                    <a:pt x="948214" y="246221"/>
                  </a:cubicBezTo>
                  <a:cubicBezTo>
                    <a:pt x="947261" y="244316"/>
                    <a:pt x="947261" y="241459"/>
                    <a:pt x="947261" y="240506"/>
                  </a:cubicBezTo>
                  <a:cubicBezTo>
                    <a:pt x="948214" y="235744"/>
                    <a:pt x="949166" y="233839"/>
                    <a:pt x="949166" y="233839"/>
                  </a:cubicBezTo>
                  <a:cubicBezTo>
                    <a:pt x="949166" y="233839"/>
                    <a:pt x="948214" y="235744"/>
                    <a:pt x="946309" y="238601"/>
                  </a:cubicBezTo>
                  <a:cubicBezTo>
                    <a:pt x="945356" y="232886"/>
                    <a:pt x="944404" y="230029"/>
                    <a:pt x="944404" y="230029"/>
                  </a:cubicBezTo>
                  <a:cubicBezTo>
                    <a:pt x="944404" y="230029"/>
                    <a:pt x="944404" y="233839"/>
                    <a:pt x="944404" y="241459"/>
                  </a:cubicBezTo>
                  <a:cubicBezTo>
                    <a:pt x="943451" y="244316"/>
                    <a:pt x="941546" y="248126"/>
                    <a:pt x="939641" y="251936"/>
                  </a:cubicBezTo>
                  <a:lnTo>
                    <a:pt x="938689" y="248126"/>
                  </a:lnTo>
                  <a:lnTo>
                    <a:pt x="936784" y="241459"/>
                  </a:lnTo>
                  <a:cubicBezTo>
                    <a:pt x="941546" y="226219"/>
                    <a:pt x="943451" y="217646"/>
                    <a:pt x="943451" y="217646"/>
                  </a:cubicBezTo>
                  <a:cubicBezTo>
                    <a:pt x="943451" y="217646"/>
                    <a:pt x="940594" y="224314"/>
                    <a:pt x="934879" y="235744"/>
                  </a:cubicBezTo>
                  <a:lnTo>
                    <a:pt x="932974" y="230029"/>
                  </a:lnTo>
                  <a:cubicBezTo>
                    <a:pt x="932974" y="230029"/>
                    <a:pt x="932974" y="228124"/>
                    <a:pt x="933926" y="227171"/>
                  </a:cubicBezTo>
                  <a:close/>
                  <a:moveTo>
                    <a:pt x="921544" y="452914"/>
                  </a:moveTo>
                  <a:cubicBezTo>
                    <a:pt x="921544" y="452914"/>
                    <a:pt x="920591" y="451961"/>
                    <a:pt x="920591" y="451961"/>
                  </a:cubicBezTo>
                  <a:cubicBezTo>
                    <a:pt x="920591" y="447199"/>
                    <a:pt x="920591" y="443389"/>
                    <a:pt x="919639" y="438626"/>
                  </a:cubicBezTo>
                  <a:cubicBezTo>
                    <a:pt x="920591" y="443389"/>
                    <a:pt x="921544" y="448151"/>
                    <a:pt x="921544" y="452914"/>
                  </a:cubicBezTo>
                  <a:close/>
                  <a:moveTo>
                    <a:pt x="912019" y="210979"/>
                  </a:moveTo>
                  <a:lnTo>
                    <a:pt x="915829" y="227171"/>
                  </a:lnTo>
                  <a:cubicBezTo>
                    <a:pt x="915829" y="228124"/>
                    <a:pt x="915829" y="229076"/>
                    <a:pt x="914876" y="230029"/>
                  </a:cubicBezTo>
                  <a:cubicBezTo>
                    <a:pt x="913924" y="231934"/>
                    <a:pt x="913924" y="234791"/>
                    <a:pt x="912971" y="236696"/>
                  </a:cubicBezTo>
                  <a:cubicBezTo>
                    <a:pt x="912971" y="235744"/>
                    <a:pt x="912019" y="233839"/>
                    <a:pt x="912019" y="232886"/>
                  </a:cubicBezTo>
                  <a:cubicBezTo>
                    <a:pt x="912019" y="231934"/>
                    <a:pt x="912019" y="230029"/>
                    <a:pt x="912019" y="228124"/>
                  </a:cubicBezTo>
                  <a:cubicBezTo>
                    <a:pt x="912019" y="222409"/>
                    <a:pt x="911066" y="216694"/>
                    <a:pt x="911066" y="210979"/>
                  </a:cubicBezTo>
                  <a:cubicBezTo>
                    <a:pt x="911066" y="209074"/>
                    <a:pt x="911066" y="206216"/>
                    <a:pt x="911066" y="204311"/>
                  </a:cubicBezTo>
                  <a:lnTo>
                    <a:pt x="912019" y="210979"/>
                  </a:lnTo>
                  <a:close/>
                  <a:moveTo>
                    <a:pt x="833914" y="333851"/>
                  </a:moveTo>
                  <a:cubicBezTo>
                    <a:pt x="833914" y="332899"/>
                    <a:pt x="833914" y="332899"/>
                    <a:pt x="834866" y="331946"/>
                  </a:cubicBezTo>
                  <a:cubicBezTo>
                    <a:pt x="834866" y="333851"/>
                    <a:pt x="834866" y="335756"/>
                    <a:pt x="834866" y="337661"/>
                  </a:cubicBezTo>
                  <a:cubicBezTo>
                    <a:pt x="834866" y="336709"/>
                    <a:pt x="833914" y="334804"/>
                    <a:pt x="833914" y="333851"/>
                  </a:cubicBezTo>
                  <a:close/>
                  <a:moveTo>
                    <a:pt x="847249" y="304324"/>
                  </a:moveTo>
                  <a:cubicBezTo>
                    <a:pt x="847249" y="303371"/>
                    <a:pt x="847249" y="302419"/>
                    <a:pt x="846296" y="301466"/>
                  </a:cubicBezTo>
                  <a:cubicBezTo>
                    <a:pt x="846296" y="300514"/>
                    <a:pt x="846296" y="300514"/>
                    <a:pt x="846296" y="299561"/>
                  </a:cubicBezTo>
                  <a:cubicBezTo>
                    <a:pt x="848201" y="294799"/>
                    <a:pt x="849154" y="290989"/>
                    <a:pt x="851059" y="286226"/>
                  </a:cubicBezTo>
                  <a:cubicBezTo>
                    <a:pt x="850106" y="292894"/>
                    <a:pt x="848201" y="298609"/>
                    <a:pt x="847249" y="304324"/>
                  </a:cubicBezTo>
                  <a:close/>
                  <a:moveTo>
                    <a:pt x="880586" y="300514"/>
                  </a:moveTo>
                  <a:cubicBezTo>
                    <a:pt x="878681" y="306229"/>
                    <a:pt x="877729" y="312896"/>
                    <a:pt x="876776" y="319564"/>
                  </a:cubicBezTo>
                  <a:cubicBezTo>
                    <a:pt x="874871" y="326231"/>
                    <a:pt x="873919" y="334804"/>
                    <a:pt x="872966" y="343376"/>
                  </a:cubicBezTo>
                  <a:cubicBezTo>
                    <a:pt x="872014" y="346234"/>
                    <a:pt x="870109" y="348139"/>
                    <a:pt x="869156" y="350996"/>
                  </a:cubicBezTo>
                  <a:cubicBezTo>
                    <a:pt x="869156" y="350996"/>
                    <a:pt x="868204" y="350044"/>
                    <a:pt x="868204" y="349091"/>
                  </a:cubicBezTo>
                  <a:cubicBezTo>
                    <a:pt x="868204" y="349091"/>
                    <a:pt x="868204" y="348139"/>
                    <a:pt x="867251" y="348139"/>
                  </a:cubicBezTo>
                  <a:cubicBezTo>
                    <a:pt x="867251" y="344329"/>
                    <a:pt x="867251" y="339566"/>
                    <a:pt x="867251" y="335756"/>
                  </a:cubicBezTo>
                  <a:cubicBezTo>
                    <a:pt x="867251" y="323374"/>
                    <a:pt x="867251" y="311944"/>
                    <a:pt x="866299" y="301466"/>
                  </a:cubicBezTo>
                  <a:cubicBezTo>
                    <a:pt x="866299" y="290989"/>
                    <a:pt x="864394" y="281464"/>
                    <a:pt x="863441" y="272891"/>
                  </a:cubicBezTo>
                  <a:cubicBezTo>
                    <a:pt x="862489" y="267176"/>
                    <a:pt x="862489" y="262414"/>
                    <a:pt x="861536" y="257651"/>
                  </a:cubicBezTo>
                  <a:cubicBezTo>
                    <a:pt x="861536" y="256699"/>
                    <a:pt x="861536" y="256699"/>
                    <a:pt x="862489" y="255746"/>
                  </a:cubicBezTo>
                  <a:cubicBezTo>
                    <a:pt x="862489" y="255746"/>
                    <a:pt x="862489" y="255746"/>
                    <a:pt x="862489" y="255746"/>
                  </a:cubicBezTo>
                  <a:cubicBezTo>
                    <a:pt x="867251" y="265271"/>
                    <a:pt x="871061" y="274796"/>
                    <a:pt x="876776" y="286226"/>
                  </a:cubicBezTo>
                  <a:cubicBezTo>
                    <a:pt x="878681" y="290036"/>
                    <a:pt x="880586" y="293846"/>
                    <a:pt x="881539" y="296704"/>
                  </a:cubicBezTo>
                  <a:cubicBezTo>
                    <a:pt x="881539" y="298609"/>
                    <a:pt x="881539" y="299561"/>
                    <a:pt x="880586" y="300514"/>
                  </a:cubicBezTo>
                  <a:close/>
                  <a:moveTo>
                    <a:pt x="885349" y="318611"/>
                  </a:moveTo>
                  <a:cubicBezTo>
                    <a:pt x="885349" y="318611"/>
                    <a:pt x="885349" y="319564"/>
                    <a:pt x="884396" y="319564"/>
                  </a:cubicBezTo>
                  <a:cubicBezTo>
                    <a:pt x="884396" y="319564"/>
                    <a:pt x="884396" y="320516"/>
                    <a:pt x="883444" y="320516"/>
                  </a:cubicBezTo>
                  <a:cubicBezTo>
                    <a:pt x="883444" y="313849"/>
                    <a:pt x="883444" y="308134"/>
                    <a:pt x="884396" y="303371"/>
                  </a:cubicBezTo>
                  <a:cubicBezTo>
                    <a:pt x="885349" y="305276"/>
                    <a:pt x="886301" y="308134"/>
                    <a:pt x="887254" y="310039"/>
                  </a:cubicBezTo>
                  <a:cubicBezTo>
                    <a:pt x="887254" y="312896"/>
                    <a:pt x="886301" y="315754"/>
                    <a:pt x="885349" y="318611"/>
                  </a:cubicBezTo>
                  <a:close/>
                  <a:moveTo>
                    <a:pt x="900589" y="246221"/>
                  </a:moveTo>
                  <a:cubicBezTo>
                    <a:pt x="900589" y="247174"/>
                    <a:pt x="899636" y="247174"/>
                    <a:pt x="900589" y="246221"/>
                  </a:cubicBezTo>
                  <a:cubicBezTo>
                    <a:pt x="899636" y="239554"/>
                    <a:pt x="898684" y="234791"/>
                    <a:pt x="898684" y="234791"/>
                  </a:cubicBezTo>
                  <a:cubicBezTo>
                    <a:pt x="898684" y="234791"/>
                    <a:pt x="898684" y="241459"/>
                    <a:pt x="897731" y="252889"/>
                  </a:cubicBezTo>
                  <a:cubicBezTo>
                    <a:pt x="897731" y="252889"/>
                    <a:pt x="897731" y="252889"/>
                    <a:pt x="897731" y="253841"/>
                  </a:cubicBezTo>
                  <a:cubicBezTo>
                    <a:pt x="895826" y="251936"/>
                    <a:pt x="894874" y="250031"/>
                    <a:pt x="894874" y="250031"/>
                  </a:cubicBezTo>
                  <a:cubicBezTo>
                    <a:pt x="894874" y="250031"/>
                    <a:pt x="895826" y="251936"/>
                    <a:pt x="897731" y="254794"/>
                  </a:cubicBezTo>
                  <a:cubicBezTo>
                    <a:pt x="897731" y="255746"/>
                    <a:pt x="897731" y="256699"/>
                    <a:pt x="897731" y="257651"/>
                  </a:cubicBezTo>
                  <a:cubicBezTo>
                    <a:pt x="897731" y="259556"/>
                    <a:pt x="897731" y="262414"/>
                    <a:pt x="896779" y="264319"/>
                  </a:cubicBezTo>
                  <a:cubicBezTo>
                    <a:pt x="896779" y="264319"/>
                    <a:pt x="896779" y="264319"/>
                    <a:pt x="896779" y="264319"/>
                  </a:cubicBezTo>
                  <a:cubicBezTo>
                    <a:pt x="896779" y="264319"/>
                    <a:pt x="896779" y="264319"/>
                    <a:pt x="896779" y="264319"/>
                  </a:cubicBezTo>
                  <a:cubicBezTo>
                    <a:pt x="896779" y="264319"/>
                    <a:pt x="896779" y="265271"/>
                    <a:pt x="896779" y="265271"/>
                  </a:cubicBezTo>
                  <a:cubicBezTo>
                    <a:pt x="896779" y="267176"/>
                    <a:pt x="896779" y="269081"/>
                    <a:pt x="896779" y="270986"/>
                  </a:cubicBezTo>
                  <a:cubicBezTo>
                    <a:pt x="896779" y="271939"/>
                    <a:pt x="896779" y="271939"/>
                    <a:pt x="896779" y="272891"/>
                  </a:cubicBezTo>
                  <a:cubicBezTo>
                    <a:pt x="896779" y="276701"/>
                    <a:pt x="895826" y="280511"/>
                    <a:pt x="895826" y="285274"/>
                  </a:cubicBezTo>
                  <a:cubicBezTo>
                    <a:pt x="895826" y="286226"/>
                    <a:pt x="895826" y="286226"/>
                    <a:pt x="895826" y="287179"/>
                  </a:cubicBezTo>
                  <a:cubicBezTo>
                    <a:pt x="893921" y="284321"/>
                    <a:pt x="892969" y="281464"/>
                    <a:pt x="891064" y="279559"/>
                  </a:cubicBezTo>
                  <a:cubicBezTo>
                    <a:pt x="885349" y="269081"/>
                    <a:pt x="879634" y="259556"/>
                    <a:pt x="873919" y="250984"/>
                  </a:cubicBezTo>
                  <a:cubicBezTo>
                    <a:pt x="872014" y="248126"/>
                    <a:pt x="871061" y="245269"/>
                    <a:pt x="869156" y="243364"/>
                  </a:cubicBezTo>
                  <a:cubicBezTo>
                    <a:pt x="869156" y="243364"/>
                    <a:pt x="869156" y="243364"/>
                    <a:pt x="869156" y="242411"/>
                  </a:cubicBezTo>
                  <a:cubicBezTo>
                    <a:pt x="872966" y="232886"/>
                    <a:pt x="875824" y="223361"/>
                    <a:pt x="878681" y="215741"/>
                  </a:cubicBezTo>
                  <a:cubicBezTo>
                    <a:pt x="881539" y="210979"/>
                    <a:pt x="884396" y="205264"/>
                    <a:pt x="887254" y="200501"/>
                  </a:cubicBezTo>
                  <a:lnTo>
                    <a:pt x="895826" y="223361"/>
                  </a:lnTo>
                  <a:lnTo>
                    <a:pt x="901541" y="240506"/>
                  </a:lnTo>
                  <a:cubicBezTo>
                    <a:pt x="900589" y="242411"/>
                    <a:pt x="900589" y="244316"/>
                    <a:pt x="900589" y="246221"/>
                  </a:cubicBezTo>
                  <a:close/>
                  <a:moveTo>
                    <a:pt x="891064" y="190976"/>
                  </a:moveTo>
                  <a:cubicBezTo>
                    <a:pt x="892016" y="190024"/>
                    <a:pt x="892969" y="188119"/>
                    <a:pt x="892969" y="187166"/>
                  </a:cubicBezTo>
                  <a:cubicBezTo>
                    <a:pt x="892969" y="189071"/>
                    <a:pt x="894874" y="194786"/>
                    <a:pt x="896779" y="202406"/>
                  </a:cubicBezTo>
                  <a:cubicBezTo>
                    <a:pt x="895826" y="199549"/>
                    <a:pt x="893921" y="195739"/>
                    <a:pt x="891064" y="190976"/>
                  </a:cubicBezTo>
                  <a:close/>
                  <a:moveTo>
                    <a:pt x="904399" y="181451"/>
                  </a:moveTo>
                  <a:cubicBezTo>
                    <a:pt x="904399" y="182404"/>
                    <a:pt x="904399" y="182404"/>
                    <a:pt x="904399" y="183356"/>
                  </a:cubicBezTo>
                  <a:cubicBezTo>
                    <a:pt x="904399" y="190976"/>
                    <a:pt x="903446" y="200501"/>
                    <a:pt x="903446" y="210979"/>
                  </a:cubicBezTo>
                  <a:cubicBezTo>
                    <a:pt x="903446" y="210979"/>
                    <a:pt x="903446" y="210026"/>
                    <a:pt x="903446" y="210026"/>
                  </a:cubicBezTo>
                  <a:cubicBezTo>
                    <a:pt x="898684" y="197644"/>
                    <a:pt x="894874" y="190024"/>
                    <a:pt x="894874" y="188119"/>
                  </a:cubicBezTo>
                  <a:cubicBezTo>
                    <a:pt x="897731" y="183356"/>
                    <a:pt x="900589" y="178594"/>
                    <a:pt x="903446" y="173831"/>
                  </a:cubicBezTo>
                  <a:lnTo>
                    <a:pt x="904399" y="181451"/>
                  </a:lnTo>
                  <a:close/>
                  <a:moveTo>
                    <a:pt x="888206" y="137636"/>
                  </a:moveTo>
                  <a:cubicBezTo>
                    <a:pt x="889159" y="135731"/>
                    <a:pt x="890111" y="134779"/>
                    <a:pt x="890111" y="132874"/>
                  </a:cubicBezTo>
                  <a:lnTo>
                    <a:pt x="898684" y="161449"/>
                  </a:lnTo>
                  <a:cubicBezTo>
                    <a:pt x="896779" y="163354"/>
                    <a:pt x="894874" y="166211"/>
                    <a:pt x="893921" y="168116"/>
                  </a:cubicBezTo>
                  <a:cubicBezTo>
                    <a:pt x="891064" y="171926"/>
                    <a:pt x="888206" y="175736"/>
                    <a:pt x="885349" y="180499"/>
                  </a:cubicBezTo>
                  <a:cubicBezTo>
                    <a:pt x="881539" y="174784"/>
                    <a:pt x="878681" y="169069"/>
                    <a:pt x="874871" y="163354"/>
                  </a:cubicBezTo>
                  <a:cubicBezTo>
                    <a:pt x="879634" y="154781"/>
                    <a:pt x="883444" y="146209"/>
                    <a:pt x="888206" y="137636"/>
                  </a:cubicBezTo>
                  <a:close/>
                  <a:moveTo>
                    <a:pt x="872966" y="169069"/>
                  </a:moveTo>
                  <a:lnTo>
                    <a:pt x="881539" y="188119"/>
                  </a:lnTo>
                  <a:cubicBezTo>
                    <a:pt x="880586" y="189071"/>
                    <a:pt x="879634" y="190976"/>
                    <a:pt x="878681" y="191929"/>
                  </a:cubicBezTo>
                  <a:cubicBezTo>
                    <a:pt x="871061" y="202406"/>
                    <a:pt x="864394" y="213836"/>
                    <a:pt x="856774" y="226219"/>
                  </a:cubicBezTo>
                  <a:cubicBezTo>
                    <a:pt x="854869" y="223361"/>
                    <a:pt x="852964" y="220504"/>
                    <a:pt x="851059" y="217646"/>
                  </a:cubicBezTo>
                  <a:cubicBezTo>
                    <a:pt x="858679" y="199549"/>
                    <a:pt x="865346" y="183356"/>
                    <a:pt x="872966" y="169069"/>
                  </a:cubicBezTo>
                  <a:close/>
                  <a:moveTo>
                    <a:pt x="847249" y="225266"/>
                  </a:moveTo>
                  <a:cubicBezTo>
                    <a:pt x="847249" y="224314"/>
                    <a:pt x="848201" y="223361"/>
                    <a:pt x="848201" y="223361"/>
                  </a:cubicBezTo>
                  <a:cubicBezTo>
                    <a:pt x="849154" y="226219"/>
                    <a:pt x="851059" y="229076"/>
                    <a:pt x="852011" y="232886"/>
                  </a:cubicBezTo>
                  <a:cubicBezTo>
                    <a:pt x="850106" y="236696"/>
                    <a:pt x="848201" y="239554"/>
                    <a:pt x="845344" y="243364"/>
                  </a:cubicBezTo>
                  <a:cubicBezTo>
                    <a:pt x="842486" y="248126"/>
                    <a:pt x="839629" y="252889"/>
                    <a:pt x="837724" y="256699"/>
                  </a:cubicBezTo>
                  <a:cubicBezTo>
                    <a:pt x="837724" y="254794"/>
                    <a:pt x="836771" y="252889"/>
                    <a:pt x="836771" y="250984"/>
                  </a:cubicBezTo>
                  <a:cubicBezTo>
                    <a:pt x="839629" y="242411"/>
                    <a:pt x="843439" y="233839"/>
                    <a:pt x="847249" y="225266"/>
                  </a:cubicBezTo>
                  <a:close/>
                  <a:moveTo>
                    <a:pt x="835819" y="195739"/>
                  </a:moveTo>
                  <a:cubicBezTo>
                    <a:pt x="835819" y="194786"/>
                    <a:pt x="835819" y="194786"/>
                    <a:pt x="835819" y="195739"/>
                  </a:cubicBezTo>
                  <a:cubicBezTo>
                    <a:pt x="836771" y="196691"/>
                    <a:pt x="838676" y="200501"/>
                    <a:pt x="840581" y="206216"/>
                  </a:cubicBezTo>
                  <a:cubicBezTo>
                    <a:pt x="838676" y="210979"/>
                    <a:pt x="835819" y="214789"/>
                    <a:pt x="833914" y="219551"/>
                  </a:cubicBezTo>
                  <a:cubicBezTo>
                    <a:pt x="833914" y="220504"/>
                    <a:pt x="832961" y="220504"/>
                    <a:pt x="832961" y="221456"/>
                  </a:cubicBezTo>
                  <a:cubicBezTo>
                    <a:pt x="833914" y="211931"/>
                    <a:pt x="834866" y="203359"/>
                    <a:pt x="835819" y="195739"/>
                  </a:cubicBezTo>
                  <a:close/>
                  <a:moveTo>
                    <a:pt x="826294" y="274796"/>
                  </a:moveTo>
                  <a:cubicBezTo>
                    <a:pt x="827246" y="273844"/>
                    <a:pt x="827246" y="271939"/>
                    <a:pt x="828199" y="270986"/>
                  </a:cubicBezTo>
                  <a:cubicBezTo>
                    <a:pt x="828199" y="271939"/>
                    <a:pt x="828199" y="272891"/>
                    <a:pt x="828199" y="272891"/>
                  </a:cubicBezTo>
                  <a:cubicBezTo>
                    <a:pt x="827246" y="273844"/>
                    <a:pt x="826294" y="275749"/>
                    <a:pt x="826294" y="276701"/>
                  </a:cubicBezTo>
                  <a:cubicBezTo>
                    <a:pt x="826294" y="275749"/>
                    <a:pt x="826294" y="274796"/>
                    <a:pt x="826294" y="274796"/>
                  </a:cubicBezTo>
                  <a:close/>
                  <a:moveTo>
                    <a:pt x="812006" y="448151"/>
                  </a:moveTo>
                  <a:cubicBezTo>
                    <a:pt x="812006" y="448151"/>
                    <a:pt x="812006" y="448151"/>
                    <a:pt x="812006" y="448151"/>
                  </a:cubicBezTo>
                  <a:cubicBezTo>
                    <a:pt x="812006" y="448151"/>
                    <a:pt x="812006" y="448151"/>
                    <a:pt x="812006" y="448151"/>
                  </a:cubicBezTo>
                  <a:cubicBezTo>
                    <a:pt x="812006" y="448151"/>
                    <a:pt x="812006" y="448151"/>
                    <a:pt x="812006" y="448151"/>
                  </a:cubicBezTo>
                  <a:close/>
                  <a:moveTo>
                    <a:pt x="785336" y="330041"/>
                  </a:moveTo>
                  <a:cubicBezTo>
                    <a:pt x="784384" y="329089"/>
                    <a:pt x="783431" y="327184"/>
                    <a:pt x="782479" y="325279"/>
                  </a:cubicBezTo>
                  <a:cubicBezTo>
                    <a:pt x="782479" y="321469"/>
                    <a:pt x="782479" y="318611"/>
                    <a:pt x="782479" y="315754"/>
                  </a:cubicBezTo>
                  <a:cubicBezTo>
                    <a:pt x="783431" y="319564"/>
                    <a:pt x="785336" y="322421"/>
                    <a:pt x="786289" y="326231"/>
                  </a:cubicBezTo>
                  <a:cubicBezTo>
                    <a:pt x="786289" y="328136"/>
                    <a:pt x="785336" y="329089"/>
                    <a:pt x="785336" y="330041"/>
                  </a:cubicBezTo>
                  <a:close/>
                  <a:moveTo>
                    <a:pt x="797719" y="271939"/>
                  </a:moveTo>
                  <a:cubicBezTo>
                    <a:pt x="799624" y="276701"/>
                    <a:pt x="801529" y="281464"/>
                    <a:pt x="803434" y="286226"/>
                  </a:cubicBezTo>
                  <a:cubicBezTo>
                    <a:pt x="803434" y="287179"/>
                    <a:pt x="802481" y="288131"/>
                    <a:pt x="802481" y="288131"/>
                  </a:cubicBezTo>
                  <a:cubicBezTo>
                    <a:pt x="799624" y="295751"/>
                    <a:pt x="796766" y="302419"/>
                    <a:pt x="792956" y="310039"/>
                  </a:cubicBezTo>
                  <a:cubicBezTo>
                    <a:pt x="792956" y="310039"/>
                    <a:pt x="792956" y="310039"/>
                    <a:pt x="792956" y="309086"/>
                  </a:cubicBezTo>
                  <a:cubicBezTo>
                    <a:pt x="791051" y="305276"/>
                    <a:pt x="789146" y="300514"/>
                    <a:pt x="787241" y="296704"/>
                  </a:cubicBezTo>
                  <a:cubicBezTo>
                    <a:pt x="790099" y="285274"/>
                    <a:pt x="792956" y="274796"/>
                    <a:pt x="795814" y="266224"/>
                  </a:cubicBezTo>
                  <a:cubicBezTo>
                    <a:pt x="796766" y="269081"/>
                    <a:pt x="796766" y="270034"/>
                    <a:pt x="797719" y="271939"/>
                  </a:cubicBezTo>
                  <a:close/>
                  <a:moveTo>
                    <a:pt x="790099" y="253841"/>
                  </a:moveTo>
                  <a:cubicBezTo>
                    <a:pt x="791051" y="255746"/>
                    <a:pt x="792004" y="258604"/>
                    <a:pt x="793909" y="261461"/>
                  </a:cubicBezTo>
                  <a:cubicBezTo>
                    <a:pt x="793909" y="261461"/>
                    <a:pt x="793909" y="261461"/>
                    <a:pt x="793909" y="262414"/>
                  </a:cubicBezTo>
                  <a:cubicBezTo>
                    <a:pt x="791051" y="269081"/>
                    <a:pt x="788194" y="276701"/>
                    <a:pt x="784384" y="286226"/>
                  </a:cubicBezTo>
                  <a:cubicBezTo>
                    <a:pt x="784384" y="282416"/>
                    <a:pt x="784384" y="277654"/>
                    <a:pt x="785336" y="273844"/>
                  </a:cubicBezTo>
                  <a:cubicBezTo>
                    <a:pt x="786289" y="267176"/>
                    <a:pt x="788194" y="260509"/>
                    <a:pt x="790099" y="253841"/>
                  </a:cubicBezTo>
                  <a:close/>
                  <a:moveTo>
                    <a:pt x="773906" y="236696"/>
                  </a:moveTo>
                  <a:cubicBezTo>
                    <a:pt x="774859" y="229076"/>
                    <a:pt x="775811" y="221456"/>
                    <a:pt x="776764" y="213836"/>
                  </a:cubicBezTo>
                  <a:cubicBezTo>
                    <a:pt x="778669" y="218599"/>
                    <a:pt x="781526" y="223361"/>
                    <a:pt x="783431" y="229076"/>
                  </a:cubicBezTo>
                  <a:cubicBezTo>
                    <a:pt x="782479" y="230981"/>
                    <a:pt x="781526" y="233839"/>
                    <a:pt x="780574" y="235744"/>
                  </a:cubicBezTo>
                  <a:cubicBezTo>
                    <a:pt x="778669" y="233839"/>
                    <a:pt x="777716" y="231934"/>
                    <a:pt x="777716" y="231934"/>
                  </a:cubicBezTo>
                  <a:cubicBezTo>
                    <a:pt x="777716" y="231934"/>
                    <a:pt x="778669" y="233839"/>
                    <a:pt x="780574" y="236696"/>
                  </a:cubicBezTo>
                  <a:cubicBezTo>
                    <a:pt x="778669" y="242411"/>
                    <a:pt x="775811" y="249079"/>
                    <a:pt x="773906" y="255746"/>
                  </a:cubicBezTo>
                  <a:cubicBezTo>
                    <a:pt x="773906" y="249079"/>
                    <a:pt x="773906" y="242411"/>
                    <a:pt x="773906" y="236696"/>
                  </a:cubicBezTo>
                  <a:close/>
                  <a:moveTo>
                    <a:pt x="724376" y="219551"/>
                  </a:moveTo>
                  <a:cubicBezTo>
                    <a:pt x="725329" y="212884"/>
                    <a:pt x="726281" y="207169"/>
                    <a:pt x="726281" y="203359"/>
                  </a:cubicBezTo>
                  <a:cubicBezTo>
                    <a:pt x="726281" y="210026"/>
                    <a:pt x="726281" y="218599"/>
                    <a:pt x="726281" y="229076"/>
                  </a:cubicBezTo>
                  <a:cubicBezTo>
                    <a:pt x="725329" y="226219"/>
                    <a:pt x="724376" y="224314"/>
                    <a:pt x="723424" y="223361"/>
                  </a:cubicBezTo>
                  <a:cubicBezTo>
                    <a:pt x="723424" y="222409"/>
                    <a:pt x="723424" y="220504"/>
                    <a:pt x="724376" y="219551"/>
                  </a:cubicBezTo>
                  <a:close/>
                  <a:moveTo>
                    <a:pt x="723424" y="224314"/>
                  </a:moveTo>
                  <a:cubicBezTo>
                    <a:pt x="723424" y="226219"/>
                    <a:pt x="724376" y="230029"/>
                    <a:pt x="724376" y="235744"/>
                  </a:cubicBezTo>
                  <a:cubicBezTo>
                    <a:pt x="725329" y="239554"/>
                    <a:pt x="725329" y="245269"/>
                    <a:pt x="726281" y="250984"/>
                  </a:cubicBezTo>
                  <a:cubicBezTo>
                    <a:pt x="726281" y="250984"/>
                    <a:pt x="726281" y="250984"/>
                    <a:pt x="726281" y="251936"/>
                  </a:cubicBezTo>
                  <a:cubicBezTo>
                    <a:pt x="726281" y="259556"/>
                    <a:pt x="726281" y="268129"/>
                    <a:pt x="727234" y="276701"/>
                  </a:cubicBezTo>
                  <a:cubicBezTo>
                    <a:pt x="727234" y="280511"/>
                    <a:pt x="727234" y="284321"/>
                    <a:pt x="727234" y="288131"/>
                  </a:cubicBezTo>
                  <a:cubicBezTo>
                    <a:pt x="726281" y="286226"/>
                    <a:pt x="726281" y="285274"/>
                    <a:pt x="725329" y="284321"/>
                  </a:cubicBezTo>
                  <a:cubicBezTo>
                    <a:pt x="722471" y="275749"/>
                    <a:pt x="720566" y="268129"/>
                    <a:pt x="717709" y="260509"/>
                  </a:cubicBezTo>
                  <a:cubicBezTo>
                    <a:pt x="719614" y="246221"/>
                    <a:pt x="721519" y="233839"/>
                    <a:pt x="723424" y="224314"/>
                  </a:cubicBezTo>
                  <a:close/>
                  <a:moveTo>
                    <a:pt x="710089" y="308134"/>
                  </a:moveTo>
                  <a:cubicBezTo>
                    <a:pt x="710089" y="311944"/>
                    <a:pt x="711041" y="315754"/>
                    <a:pt x="711041" y="320516"/>
                  </a:cubicBezTo>
                  <a:cubicBezTo>
                    <a:pt x="712946" y="336709"/>
                    <a:pt x="714851" y="354806"/>
                    <a:pt x="717709" y="373856"/>
                  </a:cubicBezTo>
                  <a:cubicBezTo>
                    <a:pt x="715804" y="378619"/>
                    <a:pt x="712946" y="384334"/>
                    <a:pt x="711041" y="389096"/>
                  </a:cubicBezTo>
                  <a:cubicBezTo>
                    <a:pt x="710089" y="387191"/>
                    <a:pt x="710089" y="385286"/>
                    <a:pt x="709136" y="383381"/>
                  </a:cubicBezTo>
                  <a:cubicBezTo>
                    <a:pt x="710089" y="379571"/>
                    <a:pt x="710089" y="375761"/>
                    <a:pt x="711041" y="372904"/>
                  </a:cubicBezTo>
                  <a:cubicBezTo>
                    <a:pt x="712946" y="359569"/>
                    <a:pt x="713899" y="352901"/>
                    <a:pt x="713899" y="352901"/>
                  </a:cubicBezTo>
                  <a:cubicBezTo>
                    <a:pt x="713899" y="352901"/>
                    <a:pt x="711994" y="360521"/>
                    <a:pt x="707231" y="372904"/>
                  </a:cubicBezTo>
                  <a:cubicBezTo>
                    <a:pt x="707231" y="373856"/>
                    <a:pt x="706279" y="374809"/>
                    <a:pt x="706279" y="374809"/>
                  </a:cubicBezTo>
                  <a:cubicBezTo>
                    <a:pt x="704374" y="369094"/>
                    <a:pt x="702469" y="363379"/>
                    <a:pt x="701516" y="357664"/>
                  </a:cubicBezTo>
                  <a:cubicBezTo>
                    <a:pt x="701516" y="357664"/>
                    <a:pt x="701516" y="357664"/>
                    <a:pt x="701516" y="357664"/>
                  </a:cubicBezTo>
                  <a:cubicBezTo>
                    <a:pt x="704374" y="339566"/>
                    <a:pt x="707231" y="323374"/>
                    <a:pt x="710089" y="308134"/>
                  </a:cubicBezTo>
                  <a:close/>
                  <a:moveTo>
                    <a:pt x="676751" y="253841"/>
                  </a:moveTo>
                  <a:cubicBezTo>
                    <a:pt x="676751" y="250984"/>
                    <a:pt x="676751" y="249079"/>
                    <a:pt x="676751" y="246221"/>
                  </a:cubicBezTo>
                  <a:cubicBezTo>
                    <a:pt x="677704" y="237649"/>
                    <a:pt x="678656" y="229076"/>
                    <a:pt x="679609" y="220504"/>
                  </a:cubicBezTo>
                  <a:cubicBezTo>
                    <a:pt x="680561" y="206216"/>
                    <a:pt x="681514" y="192881"/>
                    <a:pt x="682466" y="181451"/>
                  </a:cubicBezTo>
                  <a:cubicBezTo>
                    <a:pt x="682466" y="180499"/>
                    <a:pt x="682466" y="179546"/>
                    <a:pt x="682466" y="178594"/>
                  </a:cubicBezTo>
                  <a:cubicBezTo>
                    <a:pt x="687229" y="193834"/>
                    <a:pt x="691039" y="211931"/>
                    <a:pt x="696754" y="231934"/>
                  </a:cubicBezTo>
                  <a:cubicBezTo>
                    <a:pt x="699611" y="243364"/>
                    <a:pt x="702469" y="254794"/>
                    <a:pt x="705326" y="267176"/>
                  </a:cubicBezTo>
                  <a:cubicBezTo>
                    <a:pt x="704374" y="269081"/>
                    <a:pt x="704374" y="271939"/>
                    <a:pt x="703421" y="273844"/>
                  </a:cubicBezTo>
                  <a:cubicBezTo>
                    <a:pt x="700564" y="284321"/>
                    <a:pt x="697706" y="295751"/>
                    <a:pt x="694849" y="307181"/>
                  </a:cubicBezTo>
                  <a:cubicBezTo>
                    <a:pt x="693896" y="309086"/>
                    <a:pt x="693896" y="311944"/>
                    <a:pt x="692944" y="313849"/>
                  </a:cubicBezTo>
                  <a:cubicBezTo>
                    <a:pt x="691991" y="316706"/>
                    <a:pt x="691039" y="319564"/>
                    <a:pt x="690086" y="322421"/>
                  </a:cubicBezTo>
                  <a:cubicBezTo>
                    <a:pt x="684371" y="305276"/>
                    <a:pt x="679609" y="290036"/>
                    <a:pt x="673894" y="274796"/>
                  </a:cubicBezTo>
                  <a:cubicBezTo>
                    <a:pt x="675799" y="268129"/>
                    <a:pt x="676751" y="260509"/>
                    <a:pt x="676751" y="253841"/>
                  </a:cubicBezTo>
                  <a:close/>
                  <a:moveTo>
                    <a:pt x="668179" y="331946"/>
                  </a:moveTo>
                  <a:cubicBezTo>
                    <a:pt x="668179" y="330994"/>
                    <a:pt x="668179" y="330994"/>
                    <a:pt x="668179" y="330041"/>
                  </a:cubicBezTo>
                  <a:cubicBezTo>
                    <a:pt x="668179" y="331946"/>
                    <a:pt x="669131" y="332899"/>
                    <a:pt x="669131" y="334804"/>
                  </a:cubicBezTo>
                  <a:cubicBezTo>
                    <a:pt x="670084" y="338614"/>
                    <a:pt x="671036" y="342424"/>
                    <a:pt x="671989" y="346234"/>
                  </a:cubicBezTo>
                  <a:cubicBezTo>
                    <a:pt x="672941" y="350044"/>
                    <a:pt x="673894" y="354806"/>
                    <a:pt x="674846" y="359569"/>
                  </a:cubicBezTo>
                  <a:cubicBezTo>
                    <a:pt x="675799" y="363379"/>
                    <a:pt x="676751" y="367189"/>
                    <a:pt x="676751" y="370999"/>
                  </a:cubicBezTo>
                  <a:cubicBezTo>
                    <a:pt x="676751" y="371951"/>
                    <a:pt x="675799" y="372904"/>
                    <a:pt x="675799" y="373856"/>
                  </a:cubicBezTo>
                  <a:cubicBezTo>
                    <a:pt x="675799" y="374809"/>
                    <a:pt x="674846" y="375761"/>
                    <a:pt x="674846" y="377666"/>
                  </a:cubicBezTo>
                  <a:cubicBezTo>
                    <a:pt x="672941" y="374809"/>
                    <a:pt x="671989" y="370999"/>
                    <a:pt x="670084" y="368141"/>
                  </a:cubicBezTo>
                  <a:cubicBezTo>
                    <a:pt x="668179" y="364331"/>
                    <a:pt x="666274" y="361474"/>
                    <a:pt x="664369" y="358616"/>
                  </a:cubicBezTo>
                  <a:cubicBezTo>
                    <a:pt x="665321" y="349091"/>
                    <a:pt x="667226" y="340519"/>
                    <a:pt x="668179" y="331946"/>
                  </a:cubicBezTo>
                  <a:close/>
                  <a:moveTo>
                    <a:pt x="656749" y="266224"/>
                  </a:moveTo>
                  <a:cubicBezTo>
                    <a:pt x="656749" y="266224"/>
                    <a:pt x="656749" y="267176"/>
                    <a:pt x="656749" y="267176"/>
                  </a:cubicBezTo>
                  <a:cubicBezTo>
                    <a:pt x="656749" y="268129"/>
                    <a:pt x="656749" y="269081"/>
                    <a:pt x="656749" y="269081"/>
                  </a:cubicBezTo>
                  <a:cubicBezTo>
                    <a:pt x="656749" y="268129"/>
                    <a:pt x="656749" y="267176"/>
                    <a:pt x="656749" y="266224"/>
                  </a:cubicBezTo>
                  <a:close/>
                  <a:moveTo>
                    <a:pt x="608171" y="318611"/>
                  </a:moveTo>
                  <a:cubicBezTo>
                    <a:pt x="609124" y="305276"/>
                    <a:pt x="611029" y="291941"/>
                    <a:pt x="611981" y="279559"/>
                  </a:cubicBezTo>
                  <a:cubicBezTo>
                    <a:pt x="612934" y="282416"/>
                    <a:pt x="612934" y="285274"/>
                    <a:pt x="613886" y="288131"/>
                  </a:cubicBezTo>
                  <a:cubicBezTo>
                    <a:pt x="614839" y="301466"/>
                    <a:pt x="615791" y="314801"/>
                    <a:pt x="615791" y="327184"/>
                  </a:cubicBezTo>
                  <a:cubicBezTo>
                    <a:pt x="615791" y="329089"/>
                    <a:pt x="615791" y="330041"/>
                    <a:pt x="615791" y="331946"/>
                  </a:cubicBezTo>
                  <a:cubicBezTo>
                    <a:pt x="615791" y="333851"/>
                    <a:pt x="615791" y="335756"/>
                    <a:pt x="615791" y="337661"/>
                  </a:cubicBezTo>
                  <a:cubicBezTo>
                    <a:pt x="614839" y="336709"/>
                    <a:pt x="613886" y="334804"/>
                    <a:pt x="613886" y="333851"/>
                  </a:cubicBezTo>
                  <a:cubicBezTo>
                    <a:pt x="611981" y="330041"/>
                    <a:pt x="609124" y="325279"/>
                    <a:pt x="607219" y="321469"/>
                  </a:cubicBezTo>
                  <a:cubicBezTo>
                    <a:pt x="608171" y="320516"/>
                    <a:pt x="608171" y="319564"/>
                    <a:pt x="608171" y="318611"/>
                  </a:cubicBezTo>
                  <a:close/>
                  <a:moveTo>
                    <a:pt x="606266" y="341471"/>
                  </a:moveTo>
                  <a:cubicBezTo>
                    <a:pt x="609124" y="349091"/>
                    <a:pt x="612934" y="356711"/>
                    <a:pt x="615791" y="364331"/>
                  </a:cubicBezTo>
                  <a:cubicBezTo>
                    <a:pt x="615791" y="364331"/>
                    <a:pt x="615791" y="365284"/>
                    <a:pt x="615791" y="365284"/>
                  </a:cubicBezTo>
                  <a:cubicBezTo>
                    <a:pt x="614839" y="368141"/>
                    <a:pt x="612934" y="371951"/>
                    <a:pt x="611029" y="375761"/>
                  </a:cubicBezTo>
                  <a:cubicBezTo>
                    <a:pt x="610076" y="371951"/>
                    <a:pt x="609124" y="367189"/>
                    <a:pt x="608171" y="363379"/>
                  </a:cubicBezTo>
                  <a:cubicBezTo>
                    <a:pt x="607219" y="358616"/>
                    <a:pt x="606266" y="354806"/>
                    <a:pt x="605314" y="350996"/>
                  </a:cubicBezTo>
                  <a:cubicBezTo>
                    <a:pt x="605314" y="348139"/>
                    <a:pt x="605314" y="344329"/>
                    <a:pt x="606266" y="341471"/>
                  </a:cubicBezTo>
                  <a:close/>
                  <a:moveTo>
                    <a:pt x="606266" y="424339"/>
                  </a:moveTo>
                  <a:cubicBezTo>
                    <a:pt x="607219" y="427196"/>
                    <a:pt x="608171" y="430054"/>
                    <a:pt x="609124" y="433864"/>
                  </a:cubicBezTo>
                  <a:cubicBezTo>
                    <a:pt x="608171" y="434816"/>
                    <a:pt x="608171" y="435769"/>
                    <a:pt x="607219" y="436721"/>
                  </a:cubicBezTo>
                  <a:lnTo>
                    <a:pt x="601504" y="435769"/>
                  </a:lnTo>
                  <a:cubicBezTo>
                    <a:pt x="604361" y="432911"/>
                    <a:pt x="605314" y="428149"/>
                    <a:pt x="606266" y="424339"/>
                  </a:cubicBezTo>
                  <a:close/>
                  <a:moveTo>
                    <a:pt x="599599" y="401479"/>
                  </a:moveTo>
                  <a:cubicBezTo>
                    <a:pt x="599599" y="402431"/>
                    <a:pt x="599599" y="402431"/>
                    <a:pt x="599599" y="401479"/>
                  </a:cubicBezTo>
                  <a:cubicBezTo>
                    <a:pt x="599599" y="402431"/>
                    <a:pt x="599599" y="403384"/>
                    <a:pt x="599599" y="403384"/>
                  </a:cubicBezTo>
                  <a:cubicBezTo>
                    <a:pt x="599599" y="403384"/>
                    <a:pt x="599599" y="402431"/>
                    <a:pt x="599599" y="401479"/>
                  </a:cubicBezTo>
                  <a:close/>
                  <a:moveTo>
                    <a:pt x="587216" y="300514"/>
                  </a:moveTo>
                  <a:cubicBezTo>
                    <a:pt x="588169" y="303371"/>
                    <a:pt x="590074" y="307181"/>
                    <a:pt x="591979" y="310039"/>
                  </a:cubicBezTo>
                  <a:cubicBezTo>
                    <a:pt x="591979" y="311944"/>
                    <a:pt x="591026" y="314801"/>
                    <a:pt x="591026" y="316706"/>
                  </a:cubicBezTo>
                  <a:cubicBezTo>
                    <a:pt x="591026" y="316706"/>
                    <a:pt x="591026" y="316706"/>
                    <a:pt x="591026" y="316706"/>
                  </a:cubicBezTo>
                  <a:cubicBezTo>
                    <a:pt x="591026" y="317659"/>
                    <a:pt x="590074" y="318611"/>
                    <a:pt x="590074" y="319564"/>
                  </a:cubicBezTo>
                  <a:cubicBezTo>
                    <a:pt x="589121" y="316706"/>
                    <a:pt x="588169" y="313849"/>
                    <a:pt x="587216" y="311944"/>
                  </a:cubicBezTo>
                  <a:cubicBezTo>
                    <a:pt x="587216" y="308134"/>
                    <a:pt x="587216" y="303371"/>
                    <a:pt x="586264" y="299561"/>
                  </a:cubicBezTo>
                  <a:cubicBezTo>
                    <a:pt x="586264" y="299561"/>
                    <a:pt x="586264" y="299561"/>
                    <a:pt x="587216" y="300514"/>
                  </a:cubicBezTo>
                  <a:close/>
                  <a:moveTo>
                    <a:pt x="553879" y="257651"/>
                  </a:moveTo>
                  <a:cubicBezTo>
                    <a:pt x="554831" y="249079"/>
                    <a:pt x="554831" y="241459"/>
                    <a:pt x="555784" y="233839"/>
                  </a:cubicBezTo>
                  <a:cubicBezTo>
                    <a:pt x="556736" y="238601"/>
                    <a:pt x="557689" y="243364"/>
                    <a:pt x="558641" y="249079"/>
                  </a:cubicBezTo>
                  <a:cubicBezTo>
                    <a:pt x="557689" y="247174"/>
                    <a:pt x="556736" y="247174"/>
                    <a:pt x="556736" y="247174"/>
                  </a:cubicBezTo>
                  <a:cubicBezTo>
                    <a:pt x="556736" y="247174"/>
                    <a:pt x="557689" y="248126"/>
                    <a:pt x="558641" y="250984"/>
                  </a:cubicBezTo>
                  <a:cubicBezTo>
                    <a:pt x="561499" y="264319"/>
                    <a:pt x="565309" y="280511"/>
                    <a:pt x="570071" y="297656"/>
                  </a:cubicBezTo>
                  <a:cubicBezTo>
                    <a:pt x="570071" y="299561"/>
                    <a:pt x="571024" y="301466"/>
                    <a:pt x="571976" y="303371"/>
                  </a:cubicBezTo>
                  <a:cubicBezTo>
                    <a:pt x="571024" y="306229"/>
                    <a:pt x="570071" y="310039"/>
                    <a:pt x="569119" y="312896"/>
                  </a:cubicBezTo>
                  <a:cubicBezTo>
                    <a:pt x="567214" y="307181"/>
                    <a:pt x="566261" y="301466"/>
                    <a:pt x="564356" y="295751"/>
                  </a:cubicBezTo>
                  <a:cubicBezTo>
                    <a:pt x="560546" y="285274"/>
                    <a:pt x="557689" y="274796"/>
                    <a:pt x="553879" y="266224"/>
                  </a:cubicBezTo>
                  <a:cubicBezTo>
                    <a:pt x="553879" y="263366"/>
                    <a:pt x="553879" y="260509"/>
                    <a:pt x="553879" y="257651"/>
                  </a:cubicBezTo>
                  <a:close/>
                  <a:moveTo>
                    <a:pt x="551974" y="295751"/>
                  </a:moveTo>
                  <a:cubicBezTo>
                    <a:pt x="551974" y="294799"/>
                    <a:pt x="551974" y="294799"/>
                    <a:pt x="551974" y="295751"/>
                  </a:cubicBezTo>
                  <a:cubicBezTo>
                    <a:pt x="551974" y="295751"/>
                    <a:pt x="552926" y="297656"/>
                    <a:pt x="552926" y="298609"/>
                  </a:cubicBezTo>
                  <a:cubicBezTo>
                    <a:pt x="554831" y="304324"/>
                    <a:pt x="555784" y="310991"/>
                    <a:pt x="556736" y="317659"/>
                  </a:cubicBezTo>
                  <a:cubicBezTo>
                    <a:pt x="556736" y="318611"/>
                    <a:pt x="556736" y="319564"/>
                    <a:pt x="557689" y="321469"/>
                  </a:cubicBezTo>
                  <a:cubicBezTo>
                    <a:pt x="557689" y="321469"/>
                    <a:pt x="557689" y="321469"/>
                    <a:pt x="557689" y="322421"/>
                  </a:cubicBezTo>
                  <a:cubicBezTo>
                    <a:pt x="557689" y="323374"/>
                    <a:pt x="557689" y="324326"/>
                    <a:pt x="557689" y="326231"/>
                  </a:cubicBezTo>
                  <a:cubicBezTo>
                    <a:pt x="555784" y="319564"/>
                    <a:pt x="553879" y="312896"/>
                    <a:pt x="552926" y="306229"/>
                  </a:cubicBezTo>
                  <a:cubicBezTo>
                    <a:pt x="551974" y="301466"/>
                    <a:pt x="551974" y="298609"/>
                    <a:pt x="551974" y="295751"/>
                  </a:cubicBezTo>
                  <a:close/>
                  <a:moveTo>
                    <a:pt x="529114" y="290036"/>
                  </a:moveTo>
                  <a:cubicBezTo>
                    <a:pt x="529114" y="290036"/>
                    <a:pt x="529114" y="290989"/>
                    <a:pt x="529114" y="290036"/>
                  </a:cubicBezTo>
                  <a:cubicBezTo>
                    <a:pt x="529114" y="290989"/>
                    <a:pt x="529114" y="290989"/>
                    <a:pt x="529114" y="290036"/>
                  </a:cubicBezTo>
                  <a:cubicBezTo>
                    <a:pt x="529114" y="290989"/>
                    <a:pt x="529114" y="290036"/>
                    <a:pt x="529114" y="290036"/>
                  </a:cubicBezTo>
                  <a:close/>
                  <a:moveTo>
                    <a:pt x="522446" y="336709"/>
                  </a:moveTo>
                  <a:cubicBezTo>
                    <a:pt x="522446" y="333851"/>
                    <a:pt x="523399" y="331946"/>
                    <a:pt x="523399" y="329089"/>
                  </a:cubicBezTo>
                  <a:cubicBezTo>
                    <a:pt x="524351" y="331946"/>
                    <a:pt x="525304" y="333851"/>
                    <a:pt x="526256" y="336709"/>
                  </a:cubicBezTo>
                  <a:cubicBezTo>
                    <a:pt x="528161" y="341471"/>
                    <a:pt x="530066" y="346234"/>
                    <a:pt x="531019" y="350996"/>
                  </a:cubicBezTo>
                  <a:cubicBezTo>
                    <a:pt x="531019" y="358616"/>
                    <a:pt x="531019" y="366236"/>
                    <a:pt x="531971" y="374809"/>
                  </a:cubicBezTo>
                  <a:cubicBezTo>
                    <a:pt x="531971" y="384334"/>
                    <a:pt x="532924" y="393859"/>
                    <a:pt x="533876" y="403384"/>
                  </a:cubicBezTo>
                  <a:cubicBezTo>
                    <a:pt x="530066" y="397669"/>
                    <a:pt x="528161" y="394811"/>
                    <a:pt x="528161" y="394811"/>
                  </a:cubicBezTo>
                  <a:cubicBezTo>
                    <a:pt x="528161" y="394811"/>
                    <a:pt x="530066" y="400526"/>
                    <a:pt x="532924" y="410051"/>
                  </a:cubicBezTo>
                  <a:cubicBezTo>
                    <a:pt x="533876" y="411956"/>
                    <a:pt x="534829" y="414814"/>
                    <a:pt x="534829" y="417671"/>
                  </a:cubicBezTo>
                  <a:cubicBezTo>
                    <a:pt x="534829" y="421481"/>
                    <a:pt x="535781" y="426244"/>
                    <a:pt x="535781" y="430054"/>
                  </a:cubicBezTo>
                  <a:lnTo>
                    <a:pt x="523399" y="428149"/>
                  </a:lnTo>
                  <a:cubicBezTo>
                    <a:pt x="523399" y="428149"/>
                    <a:pt x="522446" y="427196"/>
                    <a:pt x="522446" y="427196"/>
                  </a:cubicBezTo>
                  <a:cubicBezTo>
                    <a:pt x="522446" y="426244"/>
                    <a:pt x="522446" y="424339"/>
                    <a:pt x="522446" y="423386"/>
                  </a:cubicBezTo>
                  <a:cubicBezTo>
                    <a:pt x="525304" y="414814"/>
                    <a:pt x="527209" y="410051"/>
                    <a:pt x="527209" y="410051"/>
                  </a:cubicBezTo>
                  <a:cubicBezTo>
                    <a:pt x="527209" y="410051"/>
                    <a:pt x="525304" y="412909"/>
                    <a:pt x="522446" y="418624"/>
                  </a:cubicBezTo>
                  <a:cubicBezTo>
                    <a:pt x="522446" y="413861"/>
                    <a:pt x="521494" y="409099"/>
                    <a:pt x="521494" y="405289"/>
                  </a:cubicBezTo>
                  <a:cubicBezTo>
                    <a:pt x="520541" y="392906"/>
                    <a:pt x="518636" y="380524"/>
                    <a:pt x="517684" y="369094"/>
                  </a:cubicBezTo>
                  <a:cubicBezTo>
                    <a:pt x="519589" y="356711"/>
                    <a:pt x="520541" y="347186"/>
                    <a:pt x="522446" y="336709"/>
                  </a:cubicBezTo>
                  <a:close/>
                  <a:moveTo>
                    <a:pt x="512921" y="271939"/>
                  </a:moveTo>
                  <a:cubicBezTo>
                    <a:pt x="511969" y="276701"/>
                    <a:pt x="511016" y="281464"/>
                    <a:pt x="509111" y="287179"/>
                  </a:cubicBezTo>
                  <a:cubicBezTo>
                    <a:pt x="509111" y="287179"/>
                    <a:pt x="509111" y="287179"/>
                    <a:pt x="509111" y="288131"/>
                  </a:cubicBezTo>
                  <a:cubicBezTo>
                    <a:pt x="508159" y="284321"/>
                    <a:pt x="508159" y="279559"/>
                    <a:pt x="507206" y="275749"/>
                  </a:cubicBezTo>
                  <a:cubicBezTo>
                    <a:pt x="507206" y="270986"/>
                    <a:pt x="508159" y="267176"/>
                    <a:pt x="508159" y="262414"/>
                  </a:cubicBezTo>
                  <a:lnTo>
                    <a:pt x="509111" y="262414"/>
                  </a:lnTo>
                  <a:cubicBezTo>
                    <a:pt x="511016" y="265271"/>
                    <a:pt x="511969" y="268129"/>
                    <a:pt x="512921" y="271939"/>
                  </a:cubicBezTo>
                  <a:close/>
                  <a:moveTo>
                    <a:pt x="497681" y="207169"/>
                  </a:moveTo>
                  <a:cubicBezTo>
                    <a:pt x="500539" y="217646"/>
                    <a:pt x="503396" y="230981"/>
                    <a:pt x="506254" y="245269"/>
                  </a:cubicBezTo>
                  <a:cubicBezTo>
                    <a:pt x="507206" y="249079"/>
                    <a:pt x="508159" y="252889"/>
                    <a:pt x="509111" y="256699"/>
                  </a:cubicBezTo>
                  <a:cubicBezTo>
                    <a:pt x="508159" y="256699"/>
                    <a:pt x="507206" y="256699"/>
                    <a:pt x="506254" y="256699"/>
                  </a:cubicBezTo>
                  <a:lnTo>
                    <a:pt x="505301" y="256699"/>
                  </a:lnTo>
                  <a:cubicBezTo>
                    <a:pt x="505301" y="256699"/>
                    <a:pt x="505301" y="256699"/>
                    <a:pt x="505301" y="256699"/>
                  </a:cubicBezTo>
                  <a:cubicBezTo>
                    <a:pt x="502444" y="238601"/>
                    <a:pt x="499586" y="220504"/>
                    <a:pt x="497681" y="207169"/>
                  </a:cubicBezTo>
                  <a:cubicBezTo>
                    <a:pt x="496729" y="207169"/>
                    <a:pt x="496729" y="207169"/>
                    <a:pt x="497681" y="207169"/>
                  </a:cubicBezTo>
                  <a:close/>
                  <a:moveTo>
                    <a:pt x="487204" y="419576"/>
                  </a:moveTo>
                  <a:cubicBezTo>
                    <a:pt x="487204" y="420529"/>
                    <a:pt x="486251" y="421481"/>
                    <a:pt x="486251" y="422434"/>
                  </a:cubicBezTo>
                  <a:lnTo>
                    <a:pt x="483394" y="422434"/>
                  </a:lnTo>
                  <a:cubicBezTo>
                    <a:pt x="483394" y="421481"/>
                    <a:pt x="483394" y="419576"/>
                    <a:pt x="483394" y="418624"/>
                  </a:cubicBezTo>
                  <a:cubicBezTo>
                    <a:pt x="483394" y="412909"/>
                    <a:pt x="482441" y="407194"/>
                    <a:pt x="481489" y="401479"/>
                  </a:cubicBezTo>
                  <a:cubicBezTo>
                    <a:pt x="483394" y="407194"/>
                    <a:pt x="485299" y="413861"/>
                    <a:pt x="487204" y="419576"/>
                  </a:cubicBezTo>
                  <a:close/>
                  <a:moveTo>
                    <a:pt x="437674" y="390049"/>
                  </a:moveTo>
                  <a:cubicBezTo>
                    <a:pt x="437674" y="390049"/>
                    <a:pt x="437674" y="390049"/>
                    <a:pt x="437674" y="390049"/>
                  </a:cubicBezTo>
                  <a:cubicBezTo>
                    <a:pt x="437674" y="389096"/>
                    <a:pt x="437674" y="389096"/>
                    <a:pt x="437674" y="388144"/>
                  </a:cubicBezTo>
                  <a:cubicBezTo>
                    <a:pt x="437674" y="388144"/>
                    <a:pt x="437674" y="388144"/>
                    <a:pt x="437674" y="388144"/>
                  </a:cubicBezTo>
                  <a:cubicBezTo>
                    <a:pt x="437674" y="389096"/>
                    <a:pt x="437674" y="390049"/>
                    <a:pt x="437674" y="390049"/>
                  </a:cubicBezTo>
                  <a:cubicBezTo>
                    <a:pt x="437674" y="391001"/>
                    <a:pt x="437674" y="390049"/>
                    <a:pt x="437674" y="390049"/>
                  </a:cubicBezTo>
                  <a:close/>
                  <a:moveTo>
                    <a:pt x="448151" y="362426"/>
                  </a:moveTo>
                  <a:cubicBezTo>
                    <a:pt x="447199" y="360521"/>
                    <a:pt x="446246" y="358616"/>
                    <a:pt x="446246" y="356711"/>
                  </a:cubicBezTo>
                  <a:cubicBezTo>
                    <a:pt x="447199" y="353854"/>
                    <a:pt x="448151" y="350044"/>
                    <a:pt x="449104" y="347186"/>
                  </a:cubicBezTo>
                  <a:cubicBezTo>
                    <a:pt x="448151" y="351949"/>
                    <a:pt x="448151" y="357664"/>
                    <a:pt x="448151" y="362426"/>
                  </a:cubicBezTo>
                  <a:close/>
                  <a:moveTo>
                    <a:pt x="436721" y="227171"/>
                  </a:moveTo>
                  <a:cubicBezTo>
                    <a:pt x="437674" y="233839"/>
                    <a:pt x="439579" y="239554"/>
                    <a:pt x="440531" y="246221"/>
                  </a:cubicBezTo>
                  <a:cubicBezTo>
                    <a:pt x="438626" y="242411"/>
                    <a:pt x="436721" y="238601"/>
                    <a:pt x="434816" y="234791"/>
                  </a:cubicBezTo>
                  <a:cubicBezTo>
                    <a:pt x="435769" y="231934"/>
                    <a:pt x="435769" y="230029"/>
                    <a:pt x="436721" y="227171"/>
                  </a:cubicBezTo>
                  <a:close/>
                  <a:moveTo>
                    <a:pt x="428149" y="280511"/>
                  </a:moveTo>
                  <a:cubicBezTo>
                    <a:pt x="430054" y="270986"/>
                    <a:pt x="431006" y="262414"/>
                    <a:pt x="431959" y="253841"/>
                  </a:cubicBezTo>
                  <a:cubicBezTo>
                    <a:pt x="431959" y="255746"/>
                    <a:pt x="432911" y="256699"/>
                    <a:pt x="432911" y="258604"/>
                  </a:cubicBezTo>
                  <a:cubicBezTo>
                    <a:pt x="434816" y="266224"/>
                    <a:pt x="436721" y="274796"/>
                    <a:pt x="438626" y="284321"/>
                  </a:cubicBezTo>
                  <a:cubicBezTo>
                    <a:pt x="438626" y="286226"/>
                    <a:pt x="439579" y="288131"/>
                    <a:pt x="439579" y="290036"/>
                  </a:cubicBezTo>
                  <a:cubicBezTo>
                    <a:pt x="434816" y="284321"/>
                    <a:pt x="432911" y="281464"/>
                    <a:pt x="432911" y="281464"/>
                  </a:cubicBezTo>
                  <a:cubicBezTo>
                    <a:pt x="432911" y="281464"/>
                    <a:pt x="435769" y="287179"/>
                    <a:pt x="439579" y="295751"/>
                  </a:cubicBezTo>
                  <a:cubicBezTo>
                    <a:pt x="440531" y="296704"/>
                    <a:pt x="440531" y="298609"/>
                    <a:pt x="441484" y="299561"/>
                  </a:cubicBezTo>
                  <a:cubicBezTo>
                    <a:pt x="442436" y="303371"/>
                    <a:pt x="443389" y="308134"/>
                    <a:pt x="443389" y="312896"/>
                  </a:cubicBezTo>
                  <a:cubicBezTo>
                    <a:pt x="444341" y="317659"/>
                    <a:pt x="445294" y="323374"/>
                    <a:pt x="446246" y="328136"/>
                  </a:cubicBezTo>
                  <a:cubicBezTo>
                    <a:pt x="446246" y="330994"/>
                    <a:pt x="447199" y="332899"/>
                    <a:pt x="447199" y="335756"/>
                  </a:cubicBezTo>
                  <a:cubicBezTo>
                    <a:pt x="446246" y="337661"/>
                    <a:pt x="445294" y="339566"/>
                    <a:pt x="445294" y="341471"/>
                  </a:cubicBezTo>
                  <a:cubicBezTo>
                    <a:pt x="444341" y="344329"/>
                    <a:pt x="443389" y="346234"/>
                    <a:pt x="442436" y="349091"/>
                  </a:cubicBezTo>
                  <a:cubicBezTo>
                    <a:pt x="439579" y="342424"/>
                    <a:pt x="437674" y="336709"/>
                    <a:pt x="434816" y="331946"/>
                  </a:cubicBezTo>
                  <a:cubicBezTo>
                    <a:pt x="434816" y="322421"/>
                    <a:pt x="434816" y="317659"/>
                    <a:pt x="434816" y="317659"/>
                  </a:cubicBezTo>
                  <a:cubicBezTo>
                    <a:pt x="434816" y="317659"/>
                    <a:pt x="433864" y="321469"/>
                    <a:pt x="432911" y="328136"/>
                  </a:cubicBezTo>
                  <a:cubicBezTo>
                    <a:pt x="430054" y="319564"/>
                    <a:pt x="426244" y="310991"/>
                    <a:pt x="423386" y="303371"/>
                  </a:cubicBezTo>
                  <a:cubicBezTo>
                    <a:pt x="426244" y="295751"/>
                    <a:pt x="427196" y="288131"/>
                    <a:pt x="428149" y="280511"/>
                  </a:cubicBezTo>
                  <a:close/>
                  <a:moveTo>
                    <a:pt x="418624" y="345281"/>
                  </a:moveTo>
                  <a:cubicBezTo>
                    <a:pt x="419576" y="337661"/>
                    <a:pt x="420529" y="330041"/>
                    <a:pt x="422434" y="322421"/>
                  </a:cubicBezTo>
                  <a:cubicBezTo>
                    <a:pt x="424339" y="328136"/>
                    <a:pt x="425291" y="333851"/>
                    <a:pt x="427196" y="339566"/>
                  </a:cubicBezTo>
                  <a:cubicBezTo>
                    <a:pt x="428149" y="343376"/>
                    <a:pt x="429101" y="347186"/>
                    <a:pt x="430054" y="350996"/>
                  </a:cubicBezTo>
                  <a:cubicBezTo>
                    <a:pt x="429101" y="354806"/>
                    <a:pt x="429101" y="358616"/>
                    <a:pt x="428149" y="362426"/>
                  </a:cubicBezTo>
                  <a:cubicBezTo>
                    <a:pt x="427196" y="360521"/>
                    <a:pt x="426244" y="358616"/>
                    <a:pt x="426244" y="356711"/>
                  </a:cubicBezTo>
                  <a:cubicBezTo>
                    <a:pt x="423386" y="349091"/>
                    <a:pt x="420529" y="344329"/>
                    <a:pt x="420529" y="344329"/>
                  </a:cubicBezTo>
                  <a:cubicBezTo>
                    <a:pt x="420529" y="344329"/>
                    <a:pt x="420529" y="349091"/>
                    <a:pt x="422434" y="357664"/>
                  </a:cubicBezTo>
                  <a:cubicBezTo>
                    <a:pt x="423386" y="361474"/>
                    <a:pt x="423386" y="367189"/>
                    <a:pt x="424339" y="372904"/>
                  </a:cubicBezTo>
                  <a:cubicBezTo>
                    <a:pt x="424339" y="374809"/>
                    <a:pt x="425291" y="375761"/>
                    <a:pt x="425291" y="377666"/>
                  </a:cubicBezTo>
                  <a:cubicBezTo>
                    <a:pt x="425291" y="376714"/>
                    <a:pt x="424339" y="375761"/>
                    <a:pt x="424339" y="375761"/>
                  </a:cubicBezTo>
                  <a:cubicBezTo>
                    <a:pt x="424339" y="375761"/>
                    <a:pt x="424339" y="374809"/>
                    <a:pt x="424339" y="374809"/>
                  </a:cubicBezTo>
                  <a:cubicBezTo>
                    <a:pt x="422434" y="367189"/>
                    <a:pt x="420529" y="359569"/>
                    <a:pt x="418624" y="351949"/>
                  </a:cubicBezTo>
                  <a:cubicBezTo>
                    <a:pt x="417671" y="349091"/>
                    <a:pt x="418624" y="347186"/>
                    <a:pt x="418624" y="345281"/>
                  </a:cubicBezTo>
                  <a:close/>
                  <a:moveTo>
                    <a:pt x="406241" y="261461"/>
                  </a:moveTo>
                  <a:cubicBezTo>
                    <a:pt x="408146" y="267176"/>
                    <a:pt x="410051" y="275749"/>
                    <a:pt x="411956" y="285274"/>
                  </a:cubicBezTo>
                  <a:cubicBezTo>
                    <a:pt x="410051" y="292894"/>
                    <a:pt x="409099" y="301466"/>
                    <a:pt x="407194" y="310039"/>
                  </a:cubicBezTo>
                  <a:cubicBezTo>
                    <a:pt x="406241" y="307181"/>
                    <a:pt x="406241" y="304324"/>
                    <a:pt x="405289" y="302419"/>
                  </a:cubicBezTo>
                  <a:cubicBezTo>
                    <a:pt x="406241" y="288131"/>
                    <a:pt x="406241" y="273844"/>
                    <a:pt x="406241" y="261461"/>
                  </a:cubicBezTo>
                  <a:close/>
                  <a:moveTo>
                    <a:pt x="382429" y="290036"/>
                  </a:moveTo>
                  <a:cubicBezTo>
                    <a:pt x="382429" y="290989"/>
                    <a:pt x="382429" y="292894"/>
                    <a:pt x="381476" y="293846"/>
                  </a:cubicBezTo>
                  <a:cubicBezTo>
                    <a:pt x="381476" y="290989"/>
                    <a:pt x="381476" y="288131"/>
                    <a:pt x="381476" y="285274"/>
                  </a:cubicBezTo>
                  <a:cubicBezTo>
                    <a:pt x="381476" y="287179"/>
                    <a:pt x="382429" y="288131"/>
                    <a:pt x="382429" y="290036"/>
                  </a:cubicBezTo>
                  <a:close/>
                  <a:moveTo>
                    <a:pt x="361474" y="394811"/>
                  </a:moveTo>
                  <a:cubicBezTo>
                    <a:pt x="361474" y="397669"/>
                    <a:pt x="361474" y="401479"/>
                    <a:pt x="361474" y="404336"/>
                  </a:cubicBezTo>
                  <a:cubicBezTo>
                    <a:pt x="361474" y="405289"/>
                    <a:pt x="361474" y="406241"/>
                    <a:pt x="361474" y="407194"/>
                  </a:cubicBezTo>
                  <a:cubicBezTo>
                    <a:pt x="359569" y="399574"/>
                    <a:pt x="357664" y="391001"/>
                    <a:pt x="354806" y="383381"/>
                  </a:cubicBezTo>
                  <a:cubicBezTo>
                    <a:pt x="354806" y="383381"/>
                    <a:pt x="354806" y="383381"/>
                    <a:pt x="354806" y="382429"/>
                  </a:cubicBezTo>
                  <a:cubicBezTo>
                    <a:pt x="353854" y="379571"/>
                    <a:pt x="353854" y="376714"/>
                    <a:pt x="352901" y="373856"/>
                  </a:cubicBezTo>
                  <a:cubicBezTo>
                    <a:pt x="355759" y="381476"/>
                    <a:pt x="358616" y="388144"/>
                    <a:pt x="361474" y="394811"/>
                  </a:cubicBezTo>
                  <a:close/>
                  <a:moveTo>
                    <a:pt x="347186" y="307181"/>
                  </a:moveTo>
                  <a:cubicBezTo>
                    <a:pt x="348139" y="309086"/>
                    <a:pt x="348139" y="310039"/>
                    <a:pt x="349091" y="311944"/>
                  </a:cubicBezTo>
                  <a:cubicBezTo>
                    <a:pt x="348139" y="310991"/>
                    <a:pt x="348139" y="310039"/>
                    <a:pt x="347186" y="309086"/>
                  </a:cubicBezTo>
                  <a:cubicBezTo>
                    <a:pt x="346234" y="309086"/>
                    <a:pt x="346234" y="308134"/>
                    <a:pt x="347186" y="307181"/>
                  </a:cubicBezTo>
                  <a:close/>
                  <a:moveTo>
                    <a:pt x="347186" y="429101"/>
                  </a:moveTo>
                  <a:cubicBezTo>
                    <a:pt x="347186" y="430054"/>
                    <a:pt x="348139" y="431959"/>
                    <a:pt x="348139" y="432911"/>
                  </a:cubicBezTo>
                  <a:lnTo>
                    <a:pt x="346234" y="432911"/>
                  </a:lnTo>
                  <a:cubicBezTo>
                    <a:pt x="346234" y="431006"/>
                    <a:pt x="346234" y="430054"/>
                    <a:pt x="347186" y="429101"/>
                  </a:cubicBezTo>
                  <a:close/>
                  <a:moveTo>
                    <a:pt x="310991" y="439579"/>
                  </a:moveTo>
                  <a:cubicBezTo>
                    <a:pt x="310991" y="434816"/>
                    <a:pt x="310991" y="429101"/>
                    <a:pt x="311944" y="424339"/>
                  </a:cubicBezTo>
                  <a:cubicBezTo>
                    <a:pt x="313849" y="429101"/>
                    <a:pt x="315754" y="433864"/>
                    <a:pt x="317659" y="438626"/>
                  </a:cubicBezTo>
                  <a:lnTo>
                    <a:pt x="310991" y="439579"/>
                  </a:lnTo>
                  <a:close/>
                  <a:moveTo>
                    <a:pt x="302419" y="230981"/>
                  </a:moveTo>
                  <a:cubicBezTo>
                    <a:pt x="303371" y="232886"/>
                    <a:pt x="303371" y="235744"/>
                    <a:pt x="304324" y="237649"/>
                  </a:cubicBezTo>
                  <a:cubicBezTo>
                    <a:pt x="305276" y="242411"/>
                    <a:pt x="306229" y="247174"/>
                    <a:pt x="307181" y="252889"/>
                  </a:cubicBezTo>
                  <a:cubicBezTo>
                    <a:pt x="303371" y="247174"/>
                    <a:pt x="300514" y="244316"/>
                    <a:pt x="300514" y="244316"/>
                  </a:cubicBezTo>
                  <a:cubicBezTo>
                    <a:pt x="300514" y="238601"/>
                    <a:pt x="301466" y="234791"/>
                    <a:pt x="302419" y="230981"/>
                  </a:cubicBezTo>
                  <a:close/>
                  <a:moveTo>
                    <a:pt x="295751" y="269081"/>
                  </a:moveTo>
                  <a:cubicBezTo>
                    <a:pt x="296704" y="264319"/>
                    <a:pt x="297656" y="262414"/>
                    <a:pt x="297656" y="262414"/>
                  </a:cubicBezTo>
                  <a:cubicBezTo>
                    <a:pt x="297656" y="262414"/>
                    <a:pt x="296704" y="263366"/>
                    <a:pt x="295751" y="265271"/>
                  </a:cubicBezTo>
                  <a:cubicBezTo>
                    <a:pt x="296704" y="260509"/>
                    <a:pt x="296704" y="256699"/>
                    <a:pt x="297656" y="251936"/>
                  </a:cubicBezTo>
                  <a:cubicBezTo>
                    <a:pt x="298609" y="249079"/>
                    <a:pt x="298609" y="246221"/>
                    <a:pt x="299561" y="243364"/>
                  </a:cubicBezTo>
                  <a:cubicBezTo>
                    <a:pt x="299561" y="244316"/>
                    <a:pt x="300514" y="245269"/>
                    <a:pt x="301466" y="247174"/>
                  </a:cubicBezTo>
                  <a:cubicBezTo>
                    <a:pt x="304324" y="254794"/>
                    <a:pt x="307181" y="262414"/>
                    <a:pt x="310039" y="270986"/>
                  </a:cubicBezTo>
                  <a:cubicBezTo>
                    <a:pt x="312896" y="285274"/>
                    <a:pt x="315754" y="298609"/>
                    <a:pt x="319564" y="312896"/>
                  </a:cubicBezTo>
                  <a:cubicBezTo>
                    <a:pt x="322421" y="328136"/>
                    <a:pt x="326231" y="343376"/>
                    <a:pt x="330041" y="358616"/>
                  </a:cubicBezTo>
                  <a:cubicBezTo>
                    <a:pt x="330041" y="359569"/>
                    <a:pt x="330041" y="360521"/>
                    <a:pt x="330041" y="362426"/>
                  </a:cubicBezTo>
                  <a:cubicBezTo>
                    <a:pt x="329089" y="375761"/>
                    <a:pt x="328136" y="390049"/>
                    <a:pt x="327184" y="404336"/>
                  </a:cubicBezTo>
                  <a:cubicBezTo>
                    <a:pt x="327184" y="404336"/>
                    <a:pt x="327184" y="404336"/>
                    <a:pt x="327184" y="404336"/>
                  </a:cubicBezTo>
                  <a:cubicBezTo>
                    <a:pt x="325279" y="400526"/>
                    <a:pt x="323374" y="396716"/>
                    <a:pt x="321469" y="392906"/>
                  </a:cubicBezTo>
                  <a:cubicBezTo>
                    <a:pt x="317659" y="382429"/>
                    <a:pt x="313849" y="371951"/>
                    <a:pt x="310991" y="362426"/>
                  </a:cubicBezTo>
                  <a:cubicBezTo>
                    <a:pt x="306229" y="347186"/>
                    <a:pt x="301466" y="332899"/>
                    <a:pt x="296704" y="318611"/>
                  </a:cubicBezTo>
                  <a:cubicBezTo>
                    <a:pt x="294799" y="312896"/>
                    <a:pt x="293846" y="308134"/>
                    <a:pt x="291941" y="302419"/>
                  </a:cubicBezTo>
                  <a:cubicBezTo>
                    <a:pt x="292894" y="290989"/>
                    <a:pt x="294799" y="279559"/>
                    <a:pt x="295751" y="269081"/>
                  </a:cubicBezTo>
                  <a:close/>
                  <a:moveTo>
                    <a:pt x="283369" y="378619"/>
                  </a:moveTo>
                  <a:cubicBezTo>
                    <a:pt x="283369" y="373856"/>
                    <a:pt x="284321" y="369094"/>
                    <a:pt x="284321" y="365284"/>
                  </a:cubicBezTo>
                  <a:cubicBezTo>
                    <a:pt x="284321" y="364331"/>
                    <a:pt x="284321" y="363379"/>
                    <a:pt x="285274" y="363379"/>
                  </a:cubicBezTo>
                  <a:cubicBezTo>
                    <a:pt x="289084" y="370999"/>
                    <a:pt x="291941" y="378619"/>
                    <a:pt x="295751" y="387191"/>
                  </a:cubicBezTo>
                  <a:cubicBezTo>
                    <a:pt x="297656" y="391954"/>
                    <a:pt x="300514" y="395764"/>
                    <a:pt x="302419" y="400526"/>
                  </a:cubicBezTo>
                  <a:cubicBezTo>
                    <a:pt x="302419" y="401479"/>
                    <a:pt x="303371" y="403384"/>
                    <a:pt x="303371" y="404336"/>
                  </a:cubicBezTo>
                  <a:cubicBezTo>
                    <a:pt x="302419" y="407194"/>
                    <a:pt x="302419" y="410051"/>
                    <a:pt x="301466" y="412909"/>
                  </a:cubicBezTo>
                  <a:cubicBezTo>
                    <a:pt x="299561" y="422434"/>
                    <a:pt x="297656" y="432911"/>
                    <a:pt x="295751" y="442436"/>
                  </a:cubicBezTo>
                  <a:lnTo>
                    <a:pt x="283369" y="444341"/>
                  </a:lnTo>
                  <a:cubicBezTo>
                    <a:pt x="282416" y="441484"/>
                    <a:pt x="282416" y="438626"/>
                    <a:pt x="281464" y="435769"/>
                  </a:cubicBezTo>
                  <a:cubicBezTo>
                    <a:pt x="281464" y="425291"/>
                    <a:pt x="281464" y="415766"/>
                    <a:pt x="281464" y="407194"/>
                  </a:cubicBezTo>
                  <a:cubicBezTo>
                    <a:pt x="281464" y="397669"/>
                    <a:pt x="282416" y="388144"/>
                    <a:pt x="283369" y="378619"/>
                  </a:cubicBezTo>
                  <a:close/>
                  <a:moveTo>
                    <a:pt x="237649" y="415766"/>
                  </a:moveTo>
                  <a:cubicBezTo>
                    <a:pt x="234791" y="409099"/>
                    <a:pt x="230981" y="402431"/>
                    <a:pt x="228124" y="395764"/>
                  </a:cubicBezTo>
                  <a:cubicBezTo>
                    <a:pt x="228124" y="391954"/>
                    <a:pt x="229076" y="387191"/>
                    <a:pt x="229076" y="383381"/>
                  </a:cubicBezTo>
                  <a:cubicBezTo>
                    <a:pt x="232886" y="391001"/>
                    <a:pt x="235744" y="398621"/>
                    <a:pt x="239554" y="406241"/>
                  </a:cubicBezTo>
                  <a:cubicBezTo>
                    <a:pt x="239554" y="410051"/>
                    <a:pt x="238601" y="412909"/>
                    <a:pt x="237649" y="415766"/>
                  </a:cubicBezTo>
                  <a:close/>
                  <a:moveTo>
                    <a:pt x="247174" y="431006"/>
                  </a:moveTo>
                  <a:cubicBezTo>
                    <a:pt x="247174" y="429101"/>
                    <a:pt x="247174" y="427196"/>
                    <a:pt x="248126" y="425291"/>
                  </a:cubicBezTo>
                  <a:cubicBezTo>
                    <a:pt x="248126" y="425291"/>
                    <a:pt x="248126" y="425291"/>
                    <a:pt x="248126" y="425291"/>
                  </a:cubicBezTo>
                  <a:cubicBezTo>
                    <a:pt x="248126" y="427196"/>
                    <a:pt x="247174" y="429101"/>
                    <a:pt x="247174" y="431006"/>
                  </a:cubicBezTo>
                  <a:close/>
                  <a:moveTo>
                    <a:pt x="264319" y="204311"/>
                  </a:moveTo>
                  <a:cubicBezTo>
                    <a:pt x="267176" y="195739"/>
                    <a:pt x="269081" y="189071"/>
                    <a:pt x="270986" y="185261"/>
                  </a:cubicBezTo>
                  <a:cubicBezTo>
                    <a:pt x="269081" y="194786"/>
                    <a:pt x="268129" y="204311"/>
                    <a:pt x="267176" y="214789"/>
                  </a:cubicBezTo>
                  <a:cubicBezTo>
                    <a:pt x="267176" y="212884"/>
                    <a:pt x="266224" y="211931"/>
                    <a:pt x="266224" y="210026"/>
                  </a:cubicBezTo>
                  <a:cubicBezTo>
                    <a:pt x="264319" y="207169"/>
                    <a:pt x="264319" y="206216"/>
                    <a:pt x="264319" y="204311"/>
                  </a:cubicBezTo>
                  <a:cubicBezTo>
                    <a:pt x="264319" y="204311"/>
                    <a:pt x="264319" y="204311"/>
                    <a:pt x="264319" y="204311"/>
                  </a:cubicBezTo>
                  <a:close/>
                  <a:moveTo>
                    <a:pt x="254794" y="235744"/>
                  </a:moveTo>
                  <a:cubicBezTo>
                    <a:pt x="256699" y="230029"/>
                    <a:pt x="257651" y="225266"/>
                    <a:pt x="258604" y="220504"/>
                  </a:cubicBezTo>
                  <a:cubicBezTo>
                    <a:pt x="259556" y="227171"/>
                    <a:pt x="260509" y="234791"/>
                    <a:pt x="261461" y="242411"/>
                  </a:cubicBezTo>
                  <a:cubicBezTo>
                    <a:pt x="261461" y="243364"/>
                    <a:pt x="261461" y="244316"/>
                    <a:pt x="262414" y="245269"/>
                  </a:cubicBezTo>
                  <a:cubicBezTo>
                    <a:pt x="261461" y="253841"/>
                    <a:pt x="260509" y="261461"/>
                    <a:pt x="260509" y="270034"/>
                  </a:cubicBezTo>
                  <a:cubicBezTo>
                    <a:pt x="259556" y="268129"/>
                    <a:pt x="258604" y="266224"/>
                    <a:pt x="257651" y="264319"/>
                  </a:cubicBezTo>
                  <a:cubicBezTo>
                    <a:pt x="254794" y="258604"/>
                    <a:pt x="252889" y="253841"/>
                    <a:pt x="250984" y="249079"/>
                  </a:cubicBezTo>
                  <a:cubicBezTo>
                    <a:pt x="252889" y="245269"/>
                    <a:pt x="253841" y="239554"/>
                    <a:pt x="254794" y="235744"/>
                  </a:cubicBezTo>
                  <a:close/>
                  <a:moveTo>
                    <a:pt x="245269" y="276701"/>
                  </a:moveTo>
                  <a:cubicBezTo>
                    <a:pt x="246221" y="270986"/>
                    <a:pt x="248126" y="265271"/>
                    <a:pt x="249079" y="260509"/>
                  </a:cubicBezTo>
                  <a:cubicBezTo>
                    <a:pt x="250031" y="262414"/>
                    <a:pt x="250031" y="265271"/>
                    <a:pt x="250984" y="268129"/>
                  </a:cubicBezTo>
                  <a:cubicBezTo>
                    <a:pt x="252889" y="275749"/>
                    <a:pt x="255746" y="284321"/>
                    <a:pt x="258604" y="292894"/>
                  </a:cubicBezTo>
                  <a:cubicBezTo>
                    <a:pt x="258604" y="293846"/>
                    <a:pt x="259556" y="294799"/>
                    <a:pt x="259556" y="294799"/>
                  </a:cubicBezTo>
                  <a:cubicBezTo>
                    <a:pt x="259556" y="295751"/>
                    <a:pt x="259556" y="296704"/>
                    <a:pt x="259556" y="297656"/>
                  </a:cubicBezTo>
                  <a:cubicBezTo>
                    <a:pt x="258604" y="310039"/>
                    <a:pt x="258604" y="321469"/>
                    <a:pt x="257651" y="333851"/>
                  </a:cubicBezTo>
                  <a:cubicBezTo>
                    <a:pt x="255746" y="325279"/>
                    <a:pt x="253841" y="317659"/>
                    <a:pt x="250984" y="309086"/>
                  </a:cubicBezTo>
                  <a:cubicBezTo>
                    <a:pt x="252889" y="304324"/>
                    <a:pt x="253841" y="301466"/>
                    <a:pt x="253841" y="301466"/>
                  </a:cubicBezTo>
                  <a:cubicBezTo>
                    <a:pt x="253841" y="301466"/>
                    <a:pt x="252889" y="303371"/>
                    <a:pt x="250984" y="307181"/>
                  </a:cubicBezTo>
                  <a:cubicBezTo>
                    <a:pt x="249079" y="299561"/>
                    <a:pt x="247174" y="291941"/>
                    <a:pt x="244316" y="284321"/>
                  </a:cubicBezTo>
                  <a:cubicBezTo>
                    <a:pt x="244316" y="281464"/>
                    <a:pt x="245269" y="279559"/>
                    <a:pt x="245269" y="276701"/>
                  </a:cubicBezTo>
                  <a:close/>
                  <a:moveTo>
                    <a:pt x="236696" y="325279"/>
                  </a:moveTo>
                  <a:cubicBezTo>
                    <a:pt x="236696" y="324326"/>
                    <a:pt x="236696" y="323374"/>
                    <a:pt x="237649" y="322421"/>
                  </a:cubicBezTo>
                  <a:cubicBezTo>
                    <a:pt x="237649" y="324326"/>
                    <a:pt x="238601" y="327184"/>
                    <a:pt x="238601" y="329089"/>
                  </a:cubicBezTo>
                  <a:cubicBezTo>
                    <a:pt x="237649" y="330994"/>
                    <a:pt x="236696" y="332899"/>
                    <a:pt x="235744" y="335756"/>
                  </a:cubicBezTo>
                  <a:cubicBezTo>
                    <a:pt x="235744" y="332899"/>
                    <a:pt x="235744" y="329089"/>
                    <a:pt x="236696" y="325279"/>
                  </a:cubicBezTo>
                  <a:close/>
                  <a:moveTo>
                    <a:pt x="234791" y="353854"/>
                  </a:moveTo>
                  <a:cubicBezTo>
                    <a:pt x="236696" y="348139"/>
                    <a:pt x="238601" y="342424"/>
                    <a:pt x="240506" y="337661"/>
                  </a:cubicBezTo>
                  <a:cubicBezTo>
                    <a:pt x="240506" y="339566"/>
                    <a:pt x="241459" y="340519"/>
                    <a:pt x="241459" y="342424"/>
                  </a:cubicBezTo>
                  <a:cubicBezTo>
                    <a:pt x="243364" y="352901"/>
                    <a:pt x="246221" y="362426"/>
                    <a:pt x="248126" y="372904"/>
                  </a:cubicBezTo>
                  <a:cubicBezTo>
                    <a:pt x="248126" y="374809"/>
                    <a:pt x="247174" y="376714"/>
                    <a:pt x="247174" y="378619"/>
                  </a:cubicBezTo>
                  <a:cubicBezTo>
                    <a:pt x="245269" y="375761"/>
                    <a:pt x="243364" y="371951"/>
                    <a:pt x="242411" y="369094"/>
                  </a:cubicBezTo>
                  <a:cubicBezTo>
                    <a:pt x="239554" y="364331"/>
                    <a:pt x="236696" y="359569"/>
                    <a:pt x="234791" y="353854"/>
                  </a:cubicBezTo>
                  <a:cubicBezTo>
                    <a:pt x="234791" y="354806"/>
                    <a:pt x="234791" y="353854"/>
                    <a:pt x="234791" y="353854"/>
                  </a:cubicBezTo>
                  <a:close/>
                  <a:moveTo>
                    <a:pt x="222409" y="297656"/>
                  </a:moveTo>
                  <a:cubicBezTo>
                    <a:pt x="224314" y="290036"/>
                    <a:pt x="226219" y="283369"/>
                    <a:pt x="227171" y="278606"/>
                  </a:cubicBezTo>
                  <a:cubicBezTo>
                    <a:pt x="227171" y="280511"/>
                    <a:pt x="228124" y="282416"/>
                    <a:pt x="228124" y="284321"/>
                  </a:cubicBezTo>
                  <a:cubicBezTo>
                    <a:pt x="229076" y="286226"/>
                    <a:pt x="229076" y="288131"/>
                    <a:pt x="230029" y="290989"/>
                  </a:cubicBezTo>
                  <a:cubicBezTo>
                    <a:pt x="227171" y="301466"/>
                    <a:pt x="225266" y="312896"/>
                    <a:pt x="222409" y="324326"/>
                  </a:cubicBezTo>
                  <a:cubicBezTo>
                    <a:pt x="222409" y="326231"/>
                    <a:pt x="221456" y="328136"/>
                    <a:pt x="221456" y="330041"/>
                  </a:cubicBezTo>
                  <a:cubicBezTo>
                    <a:pt x="221456" y="330041"/>
                    <a:pt x="221456" y="329089"/>
                    <a:pt x="220504" y="329089"/>
                  </a:cubicBezTo>
                  <a:cubicBezTo>
                    <a:pt x="219551" y="323374"/>
                    <a:pt x="219551" y="317659"/>
                    <a:pt x="218599" y="312896"/>
                  </a:cubicBezTo>
                  <a:cubicBezTo>
                    <a:pt x="220504" y="306229"/>
                    <a:pt x="221456" y="301466"/>
                    <a:pt x="222409" y="297656"/>
                  </a:cubicBezTo>
                  <a:close/>
                  <a:moveTo>
                    <a:pt x="169069" y="411956"/>
                  </a:moveTo>
                  <a:cubicBezTo>
                    <a:pt x="169069" y="411956"/>
                    <a:pt x="169069" y="412909"/>
                    <a:pt x="169069" y="412909"/>
                  </a:cubicBezTo>
                  <a:cubicBezTo>
                    <a:pt x="168116" y="407194"/>
                    <a:pt x="167164" y="401479"/>
                    <a:pt x="165259" y="396716"/>
                  </a:cubicBezTo>
                  <a:cubicBezTo>
                    <a:pt x="165259" y="389096"/>
                    <a:pt x="164306" y="382429"/>
                    <a:pt x="164306" y="375761"/>
                  </a:cubicBezTo>
                  <a:cubicBezTo>
                    <a:pt x="163354" y="365284"/>
                    <a:pt x="162401" y="354806"/>
                    <a:pt x="161449" y="345281"/>
                  </a:cubicBezTo>
                  <a:cubicBezTo>
                    <a:pt x="160496" y="336709"/>
                    <a:pt x="159544" y="329089"/>
                    <a:pt x="158591" y="321469"/>
                  </a:cubicBezTo>
                  <a:cubicBezTo>
                    <a:pt x="158591" y="322421"/>
                    <a:pt x="159544" y="322421"/>
                    <a:pt x="159544" y="323374"/>
                  </a:cubicBezTo>
                  <a:cubicBezTo>
                    <a:pt x="160496" y="325279"/>
                    <a:pt x="161449" y="326231"/>
                    <a:pt x="162401" y="328136"/>
                  </a:cubicBezTo>
                  <a:cubicBezTo>
                    <a:pt x="163354" y="342424"/>
                    <a:pt x="165259" y="359569"/>
                    <a:pt x="167164" y="376714"/>
                  </a:cubicBezTo>
                  <a:cubicBezTo>
                    <a:pt x="168116" y="385286"/>
                    <a:pt x="169069" y="393859"/>
                    <a:pt x="170021" y="402431"/>
                  </a:cubicBezTo>
                  <a:cubicBezTo>
                    <a:pt x="170021" y="405289"/>
                    <a:pt x="169069" y="408146"/>
                    <a:pt x="169069" y="411956"/>
                  </a:cubicBezTo>
                  <a:close/>
                  <a:moveTo>
                    <a:pt x="209074" y="350044"/>
                  </a:moveTo>
                  <a:cubicBezTo>
                    <a:pt x="209074" y="352901"/>
                    <a:pt x="209074" y="356711"/>
                    <a:pt x="209074" y="359569"/>
                  </a:cubicBezTo>
                  <a:cubicBezTo>
                    <a:pt x="208121" y="358616"/>
                    <a:pt x="208121" y="357664"/>
                    <a:pt x="207169" y="356711"/>
                  </a:cubicBezTo>
                  <a:cubicBezTo>
                    <a:pt x="208121" y="354806"/>
                    <a:pt x="209074" y="351949"/>
                    <a:pt x="209074" y="350044"/>
                  </a:cubicBezTo>
                  <a:close/>
                  <a:moveTo>
                    <a:pt x="170974" y="259556"/>
                  </a:moveTo>
                  <a:cubicBezTo>
                    <a:pt x="173831" y="264319"/>
                    <a:pt x="175736" y="270034"/>
                    <a:pt x="178594" y="274796"/>
                  </a:cubicBezTo>
                  <a:cubicBezTo>
                    <a:pt x="181451" y="280511"/>
                    <a:pt x="184309" y="286226"/>
                    <a:pt x="187166" y="291941"/>
                  </a:cubicBezTo>
                  <a:cubicBezTo>
                    <a:pt x="192881" y="304324"/>
                    <a:pt x="198596" y="316706"/>
                    <a:pt x="205264" y="330041"/>
                  </a:cubicBezTo>
                  <a:cubicBezTo>
                    <a:pt x="203359" y="333851"/>
                    <a:pt x="202406" y="338614"/>
                    <a:pt x="200501" y="343376"/>
                  </a:cubicBezTo>
                  <a:cubicBezTo>
                    <a:pt x="200501" y="343376"/>
                    <a:pt x="200501" y="342424"/>
                    <a:pt x="199549" y="342424"/>
                  </a:cubicBezTo>
                  <a:cubicBezTo>
                    <a:pt x="193834" y="330994"/>
                    <a:pt x="187166" y="320516"/>
                    <a:pt x="180499" y="310039"/>
                  </a:cubicBezTo>
                  <a:cubicBezTo>
                    <a:pt x="178594" y="301466"/>
                    <a:pt x="176689" y="296704"/>
                    <a:pt x="176689" y="296704"/>
                  </a:cubicBezTo>
                  <a:cubicBezTo>
                    <a:pt x="176689" y="296704"/>
                    <a:pt x="176689" y="299561"/>
                    <a:pt x="176689" y="305276"/>
                  </a:cubicBezTo>
                  <a:cubicBezTo>
                    <a:pt x="175736" y="303371"/>
                    <a:pt x="174784" y="301466"/>
                    <a:pt x="172879" y="299561"/>
                  </a:cubicBezTo>
                  <a:cubicBezTo>
                    <a:pt x="172879" y="299561"/>
                    <a:pt x="171926" y="298609"/>
                    <a:pt x="171926" y="298609"/>
                  </a:cubicBezTo>
                  <a:cubicBezTo>
                    <a:pt x="170974" y="291941"/>
                    <a:pt x="169069" y="285274"/>
                    <a:pt x="168116" y="279559"/>
                  </a:cubicBezTo>
                  <a:cubicBezTo>
                    <a:pt x="164306" y="262414"/>
                    <a:pt x="161449" y="247174"/>
                    <a:pt x="158591" y="235744"/>
                  </a:cubicBezTo>
                  <a:cubicBezTo>
                    <a:pt x="163354" y="243364"/>
                    <a:pt x="167164" y="250984"/>
                    <a:pt x="170974" y="259556"/>
                  </a:cubicBezTo>
                  <a:close/>
                  <a:moveTo>
                    <a:pt x="161449" y="307181"/>
                  </a:moveTo>
                  <a:cubicBezTo>
                    <a:pt x="159544" y="305276"/>
                    <a:pt x="157639" y="303371"/>
                    <a:pt x="156686" y="301466"/>
                  </a:cubicBezTo>
                  <a:cubicBezTo>
                    <a:pt x="156686" y="300514"/>
                    <a:pt x="156686" y="298609"/>
                    <a:pt x="155734" y="297656"/>
                  </a:cubicBezTo>
                  <a:cubicBezTo>
                    <a:pt x="156686" y="300514"/>
                    <a:pt x="158591" y="304324"/>
                    <a:pt x="161449" y="307181"/>
                  </a:cubicBezTo>
                  <a:close/>
                  <a:moveTo>
                    <a:pt x="130969" y="280511"/>
                  </a:moveTo>
                  <a:cubicBezTo>
                    <a:pt x="131921" y="281464"/>
                    <a:pt x="132874" y="282416"/>
                    <a:pt x="133826" y="284321"/>
                  </a:cubicBezTo>
                  <a:cubicBezTo>
                    <a:pt x="137636" y="289084"/>
                    <a:pt x="141446" y="294799"/>
                    <a:pt x="145256" y="301466"/>
                  </a:cubicBezTo>
                  <a:cubicBezTo>
                    <a:pt x="147161" y="304324"/>
                    <a:pt x="149066" y="307181"/>
                    <a:pt x="150971" y="310039"/>
                  </a:cubicBezTo>
                  <a:cubicBezTo>
                    <a:pt x="150971" y="318611"/>
                    <a:pt x="150019" y="329089"/>
                    <a:pt x="150019" y="341471"/>
                  </a:cubicBezTo>
                  <a:cubicBezTo>
                    <a:pt x="150019" y="341471"/>
                    <a:pt x="150019" y="340519"/>
                    <a:pt x="149066" y="339566"/>
                  </a:cubicBezTo>
                  <a:cubicBezTo>
                    <a:pt x="148114" y="335756"/>
                    <a:pt x="146209" y="331946"/>
                    <a:pt x="145256" y="328136"/>
                  </a:cubicBezTo>
                  <a:cubicBezTo>
                    <a:pt x="144304" y="324326"/>
                    <a:pt x="142399" y="321469"/>
                    <a:pt x="140494" y="317659"/>
                  </a:cubicBezTo>
                  <a:cubicBezTo>
                    <a:pt x="137636" y="310991"/>
                    <a:pt x="134779" y="306229"/>
                    <a:pt x="132874" y="301466"/>
                  </a:cubicBezTo>
                  <a:cubicBezTo>
                    <a:pt x="130969" y="296704"/>
                    <a:pt x="129064" y="292894"/>
                    <a:pt x="127159" y="290989"/>
                  </a:cubicBezTo>
                  <a:cubicBezTo>
                    <a:pt x="129064" y="287179"/>
                    <a:pt x="130016" y="283369"/>
                    <a:pt x="130969" y="280511"/>
                  </a:cubicBezTo>
                  <a:close/>
                  <a:moveTo>
                    <a:pt x="121444" y="318611"/>
                  </a:moveTo>
                  <a:cubicBezTo>
                    <a:pt x="123349" y="309086"/>
                    <a:pt x="124301" y="301466"/>
                    <a:pt x="127159" y="294799"/>
                  </a:cubicBezTo>
                  <a:cubicBezTo>
                    <a:pt x="127159" y="294799"/>
                    <a:pt x="127159" y="294799"/>
                    <a:pt x="127159" y="293846"/>
                  </a:cubicBezTo>
                  <a:cubicBezTo>
                    <a:pt x="128111" y="296704"/>
                    <a:pt x="128111" y="299561"/>
                    <a:pt x="129064" y="303371"/>
                  </a:cubicBezTo>
                  <a:cubicBezTo>
                    <a:pt x="130016" y="308134"/>
                    <a:pt x="131921" y="313849"/>
                    <a:pt x="133826" y="320516"/>
                  </a:cubicBezTo>
                  <a:cubicBezTo>
                    <a:pt x="135731" y="327184"/>
                    <a:pt x="137636" y="334804"/>
                    <a:pt x="138589" y="342424"/>
                  </a:cubicBezTo>
                  <a:cubicBezTo>
                    <a:pt x="140494" y="350996"/>
                    <a:pt x="141446" y="359569"/>
                    <a:pt x="143351" y="369094"/>
                  </a:cubicBezTo>
                  <a:cubicBezTo>
                    <a:pt x="145256" y="378619"/>
                    <a:pt x="146209" y="388144"/>
                    <a:pt x="148114" y="398621"/>
                  </a:cubicBezTo>
                  <a:cubicBezTo>
                    <a:pt x="148114" y="399574"/>
                    <a:pt x="148114" y="401479"/>
                    <a:pt x="149066" y="403384"/>
                  </a:cubicBezTo>
                  <a:cubicBezTo>
                    <a:pt x="149066" y="406241"/>
                    <a:pt x="149066" y="408146"/>
                    <a:pt x="149066" y="411004"/>
                  </a:cubicBezTo>
                  <a:cubicBezTo>
                    <a:pt x="149066" y="412909"/>
                    <a:pt x="149066" y="414814"/>
                    <a:pt x="149066" y="416719"/>
                  </a:cubicBezTo>
                  <a:cubicBezTo>
                    <a:pt x="145256" y="407194"/>
                    <a:pt x="142399" y="397669"/>
                    <a:pt x="138589" y="388144"/>
                  </a:cubicBezTo>
                  <a:cubicBezTo>
                    <a:pt x="135731" y="379571"/>
                    <a:pt x="132874" y="371951"/>
                    <a:pt x="129064" y="363379"/>
                  </a:cubicBezTo>
                  <a:cubicBezTo>
                    <a:pt x="130969" y="360521"/>
                    <a:pt x="131921" y="358616"/>
                    <a:pt x="131921" y="358616"/>
                  </a:cubicBezTo>
                  <a:cubicBezTo>
                    <a:pt x="131921" y="358616"/>
                    <a:pt x="130969" y="359569"/>
                    <a:pt x="129064" y="361474"/>
                  </a:cubicBezTo>
                  <a:cubicBezTo>
                    <a:pt x="127159" y="357664"/>
                    <a:pt x="126206" y="353854"/>
                    <a:pt x="124301" y="350044"/>
                  </a:cubicBezTo>
                  <a:cubicBezTo>
                    <a:pt x="124301" y="348139"/>
                    <a:pt x="125254" y="346234"/>
                    <a:pt x="125254" y="344329"/>
                  </a:cubicBezTo>
                  <a:cubicBezTo>
                    <a:pt x="128111" y="333851"/>
                    <a:pt x="129064" y="328136"/>
                    <a:pt x="129064" y="328136"/>
                  </a:cubicBezTo>
                  <a:cubicBezTo>
                    <a:pt x="129064" y="328136"/>
                    <a:pt x="126206" y="333851"/>
                    <a:pt x="121444" y="343376"/>
                  </a:cubicBezTo>
                  <a:cubicBezTo>
                    <a:pt x="121444" y="343376"/>
                    <a:pt x="121444" y="343376"/>
                    <a:pt x="121444" y="343376"/>
                  </a:cubicBezTo>
                  <a:cubicBezTo>
                    <a:pt x="121444" y="342424"/>
                    <a:pt x="121444" y="342424"/>
                    <a:pt x="120491" y="341471"/>
                  </a:cubicBezTo>
                  <a:cubicBezTo>
                    <a:pt x="119539" y="339566"/>
                    <a:pt x="118586" y="337661"/>
                    <a:pt x="117634" y="334804"/>
                  </a:cubicBezTo>
                  <a:cubicBezTo>
                    <a:pt x="119539" y="329089"/>
                    <a:pt x="120491" y="323374"/>
                    <a:pt x="121444" y="318611"/>
                  </a:cubicBezTo>
                  <a:close/>
                  <a:moveTo>
                    <a:pt x="116681" y="393859"/>
                  </a:moveTo>
                  <a:cubicBezTo>
                    <a:pt x="120491" y="402431"/>
                    <a:pt x="123349" y="411004"/>
                    <a:pt x="127159" y="419576"/>
                  </a:cubicBezTo>
                  <a:lnTo>
                    <a:pt x="113824" y="414814"/>
                  </a:lnTo>
                  <a:cubicBezTo>
                    <a:pt x="115729" y="408146"/>
                    <a:pt x="115729" y="400526"/>
                    <a:pt x="116681" y="393859"/>
                  </a:cubicBezTo>
                  <a:close/>
                  <a:moveTo>
                    <a:pt x="91916" y="341471"/>
                  </a:moveTo>
                  <a:cubicBezTo>
                    <a:pt x="91916" y="339566"/>
                    <a:pt x="92869" y="337661"/>
                    <a:pt x="92869" y="335756"/>
                  </a:cubicBezTo>
                  <a:cubicBezTo>
                    <a:pt x="93821" y="337661"/>
                    <a:pt x="93821" y="338614"/>
                    <a:pt x="94774" y="340519"/>
                  </a:cubicBezTo>
                  <a:cubicBezTo>
                    <a:pt x="97631" y="346234"/>
                    <a:pt x="99536" y="351949"/>
                    <a:pt x="102394" y="358616"/>
                  </a:cubicBezTo>
                  <a:cubicBezTo>
                    <a:pt x="100489" y="367189"/>
                    <a:pt x="98584" y="374809"/>
                    <a:pt x="96679" y="384334"/>
                  </a:cubicBezTo>
                  <a:cubicBezTo>
                    <a:pt x="95726" y="389096"/>
                    <a:pt x="94774" y="393859"/>
                    <a:pt x="94774" y="399574"/>
                  </a:cubicBezTo>
                  <a:cubicBezTo>
                    <a:pt x="94774" y="399574"/>
                    <a:pt x="93821" y="400526"/>
                    <a:pt x="93821" y="400526"/>
                  </a:cubicBezTo>
                  <a:cubicBezTo>
                    <a:pt x="92869" y="401479"/>
                    <a:pt x="91916" y="403384"/>
                    <a:pt x="90964" y="404336"/>
                  </a:cubicBezTo>
                  <a:cubicBezTo>
                    <a:pt x="90011" y="396716"/>
                    <a:pt x="89059" y="390049"/>
                    <a:pt x="88106" y="382429"/>
                  </a:cubicBezTo>
                  <a:cubicBezTo>
                    <a:pt x="87154" y="376714"/>
                    <a:pt x="86201" y="370999"/>
                    <a:pt x="85249" y="365284"/>
                  </a:cubicBezTo>
                  <a:cubicBezTo>
                    <a:pt x="87154" y="356711"/>
                    <a:pt x="89059" y="348139"/>
                    <a:pt x="91916" y="341471"/>
                  </a:cubicBezTo>
                  <a:close/>
                  <a:moveTo>
                    <a:pt x="72866" y="407194"/>
                  </a:moveTo>
                  <a:cubicBezTo>
                    <a:pt x="72866" y="408146"/>
                    <a:pt x="72866" y="408146"/>
                    <a:pt x="72866" y="409099"/>
                  </a:cubicBezTo>
                  <a:cubicBezTo>
                    <a:pt x="72866" y="409099"/>
                    <a:pt x="72866" y="409099"/>
                    <a:pt x="71914" y="409099"/>
                  </a:cubicBezTo>
                  <a:cubicBezTo>
                    <a:pt x="71914" y="408146"/>
                    <a:pt x="72866" y="408146"/>
                    <a:pt x="72866" y="407194"/>
                  </a:cubicBezTo>
                  <a:close/>
                </a:path>
              </a:pathLst>
            </a:custGeom>
            <a:solidFill>
              <a:schemeClr val="accent1"/>
            </a:solidFill>
            <a:ln w="9525" cap="flat">
              <a:noFill/>
              <a:prstDash val="solid"/>
              <a:miter/>
            </a:ln>
          </p:spPr>
          <p:txBody>
            <a:bodyPr rtlCol="0" anchor="ctr"/>
            <a:lstStyle/>
            <a:p>
              <a:pPr marL="0" marR="0" lvl="0" indent="0" algn="l" defTabSz="91351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Arial"/>
                <a:ea typeface="Arial Unicode MS"/>
                <a:cs typeface="+mn-cs"/>
              </a:endParaRPr>
            </a:p>
          </p:txBody>
        </p:sp>
        <p:sp>
          <p:nvSpPr>
            <p:cNvPr id="8" name="Graphic 41">
              <a:extLst>
                <a:ext uri="{FF2B5EF4-FFF2-40B4-BE49-F238E27FC236}">
                  <a16:creationId xmlns:a16="http://schemas.microsoft.com/office/drawing/2014/main" id="{D99DEF50-1B12-45D7-8822-C1AF050634CB}"/>
                </a:ext>
              </a:extLst>
            </p:cNvPr>
            <p:cNvSpPr/>
            <p:nvPr userDrawn="1"/>
          </p:nvSpPr>
          <p:spPr>
            <a:xfrm>
              <a:off x="5489944" y="6411432"/>
              <a:ext cx="5608465" cy="446567"/>
            </a:xfrm>
            <a:custGeom>
              <a:avLst/>
              <a:gdLst>
                <a:gd name="connsiteX0" fmla="*/ 7144 w 6400800"/>
                <a:gd name="connsiteY0" fmla="*/ 511016 h 514350"/>
                <a:gd name="connsiteX1" fmla="*/ 6354604 w 6400800"/>
                <a:gd name="connsiteY1" fmla="*/ 511016 h 514350"/>
                <a:gd name="connsiteX2" fmla="*/ 6354604 w 6400800"/>
                <a:gd name="connsiteY2" fmla="*/ 409099 h 514350"/>
                <a:gd name="connsiteX3" fmla="*/ 6327934 w 6400800"/>
                <a:gd name="connsiteY3" fmla="*/ 415766 h 514350"/>
                <a:gd name="connsiteX4" fmla="*/ 6327934 w 6400800"/>
                <a:gd name="connsiteY4" fmla="*/ 404336 h 514350"/>
                <a:gd name="connsiteX5" fmla="*/ 6328887 w 6400800"/>
                <a:gd name="connsiteY5" fmla="*/ 383381 h 514350"/>
                <a:gd name="connsiteX6" fmla="*/ 6329839 w 6400800"/>
                <a:gd name="connsiteY6" fmla="*/ 365284 h 514350"/>
                <a:gd name="connsiteX7" fmla="*/ 6324124 w 6400800"/>
                <a:gd name="connsiteY7" fmla="*/ 383381 h 514350"/>
                <a:gd name="connsiteX8" fmla="*/ 6319362 w 6400800"/>
                <a:gd name="connsiteY8" fmla="*/ 404336 h 514350"/>
                <a:gd name="connsiteX9" fmla="*/ 6316504 w 6400800"/>
                <a:gd name="connsiteY9" fmla="*/ 419576 h 514350"/>
                <a:gd name="connsiteX10" fmla="*/ 6303169 w 6400800"/>
                <a:gd name="connsiteY10" fmla="*/ 423386 h 514350"/>
                <a:gd name="connsiteX11" fmla="*/ 6304121 w 6400800"/>
                <a:gd name="connsiteY11" fmla="*/ 405289 h 514350"/>
                <a:gd name="connsiteX12" fmla="*/ 6319362 w 6400800"/>
                <a:gd name="connsiteY12" fmla="*/ 358616 h 514350"/>
                <a:gd name="connsiteX13" fmla="*/ 6322219 w 6400800"/>
                <a:gd name="connsiteY13" fmla="*/ 349091 h 514350"/>
                <a:gd name="connsiteX14" fmla="*/ 6334601 w 6400800"/>
                <a:gd name="connsiteY14" fmla="*/ 312896 h 514350"/>
                <a:gd name="connsiteX15" fmla="*/ 6349842 w 6400800"/>
                <a:gd name="connsiteY15" fmla="*/ 269081 h 514350"/>
                <a:gd name="connsiteX16" fmla="*/ 6363176 w 6400800"/>
                <a:gd name="connsiteY16" fmla="*/ 228124 h 514350"/>
                <a:gd name="connsiteX17" fmla="*/ 6375559 w 6400800"/>
                <a:gd name="connsiteY17" fmla="*/ 190976 h 514350"/>
                <a:gd name="connsiteX18" fmla="*/ 6393656 w 6400800"/>
                <a:gd name="connsiteY18" fmla="*/ 134779 h 514350"/>
                <a:gd name="connsiteX19" fmla="*/ 6400324 w 6400800"/>
                <a:gd name="connsiteY19" fmla="*/ 113824 h 514350"/>
                <a:gd name="connsiteX20" fmla="*/ 6389846 w 6400800"/>
                <a:gd name="connsiteY20" fmla="*/ 133826 h 514350"/>
                <a:gd name="connsiteX21" fmla="*/ 6380321 w 6400800"/>
                <a:gd name="connsiteY21" fmla="*/ 153829 h 514350"/>
                <a:gd name="connsiteX22" fmla="*/ 6392704 w 6400800"/>
                <a:gd name="connsiteY22" fmla="*/ 110966 h 514350"/>
                <a:gd name="connsiteX23" fmla="*/ 6399371 w 6400800"/>
                <a:gd name="connsiteY23" fmla="*/ 87154 h 514350"/>
                <a:gd name="connsiteX24" fmla="*/ 6388894 w 6400800"/>
                <a:gd name="connsiteY24" fmla="*/ 109061 h 514350"/>
                <a:gd name="connsiteX25" fmla="*/ 6377464 w 6400800"/>
                <a:gd name="connsiteY25" fmla="*/ 134779 h 514350"/>
                <a:gd name="connsiteX26" fmla="*/ 6364129 w 6400800"/>
                <a:gd name="connsiteY26" fmla="*/ 168116 h 514350"/>
                <a:gd name="connsiteX27" fmla="*/ 6332696 w 6400800"/>
                <a:gd name="connsiteY27" fmla="*/ 253841 h 514350"/>
                <a:gd name="connsiteX28" fmla="*/ 6316504 w 6400800"/>
                <a:gd name="connsiteY28" fmla="*/ 302419 h 514350"/>
                <a:gd name="connsiteX29" fmla="*/ 6314599 w 6400800"/>
                <a:gd name="connsiteY29" fmla="*/ 308134 h 514350"/>
                <a:gd name="connsiteX30" fmla="*/ 6317456 w 6400800"/>
                <a:gd name="connsiteY30" fmla="*/ 287179 h 514350"/>
                <a:gd name="connsiteX31" fmla="*/ 6319362 w 6400800"/>
                <a:gd name="connsiteY31" fmla="*/ 267176 h 514350"/>
                <a:gd name="connsiteX32" fmla="*/ 6320314 w 6400800"/>
                <a:gd name="connsiteY32" fmla="*/ 250031 h 514350"/>
                <a:gd name="connsiteX33" fmla="*/ 6314599 w 6400800"/>
                <a:gd name="connsiteY33" fmla="*/ 266224 h 514350"/>
                <a:gd name="connsiteX34" fmla="*/ 6302217 w 6400800"/>
                <a:gd name="connsiteY34" fmla="*/ 310039 h 514350"/>
                <a:gd name="connsiteX35" fmla="*/ 6293644 w 6400800"/>
                <a:gd name="connsiteY35" fmla="*/ 339566 h 514350"/>
                <a:gd name="connsiteX36" fmla="*/ 6286976 w 6400800"/>
                <a:gd name="connsiteY36" fmla="*/ 362426 h 514350"/>
                <a:gd name="connsiteX37" fmla="*/ 6284119 w 6400800"/>
                <a:gd name="connsiteY37" fmla="*/ 335756 h 514350"/>
                <a:gd name="connsiteX38" fmla="*/ 6288881 w 6400800"/>
                <a:gd name="connsiteY38" fmla="*/ 318611 h 514350"/>
                <a:gd name="connsiteX39" fmla="*/ 6302217 w 6400800"/>
                <a:gd name="connsiteY39" fmla="*/ 274796 h 514350"/>
                <a:gd name="connsiteX40" fmla="*/ 6307931 w 6400800"/>
                <a:gd name="connsiteY40" fmla="*/ 255746 h 514350"/>
                <a:gd name="connsiteX41" fmla="*/ 6313646 w 6400800"/>
                <a:gd name="connsiteY41" fmla="*/ 238601 h 514350"/>
                <a:gd name="connsiteX42" fmla="*/ 6323171 w 6400800"/>
                <a:gd name="connsiteY42" fmla="*/ 210026 h 514350"/>
                <a:gd name="connsiteX43" fmla="*/ 6330792 w 6400800"/>
                <a:gd name="connsiteY43" fmla="*/ 185261 h 514350"/>
                <a:gd name="connsiteX44" fmla="*/ 6319362 w 6400800"/>
                <a:gd name="connsiteY44" fmla="*/ 208121 h 514350"/>
                <a:gd name="connsiteX45" fmla="*/ 6306026 w 6400800"/>
                <a:gd name="connsiteY45" fmla="*/ 234791 h 514350"/>
                <a:gd name="connsiteX46" fmla="*/ 6298406 w 6400800"/>
                <a:gd name="connsiteY46" fmla="*/ 250984 h 514350"/>
                <a:gd name="connsiteX47" fmla="*/ 6290787 w 6400800"/>
                <a:gd name="connsiteY47" fmla="*/ 270034 h 514350"/>
                <a:gd name="connsiteX48" fmla="*/ 6278404 w 6400800"/>
                <a:gd name="connsiteY48" fmla="*/ 301466 h 514350"/>
                <a:gd name="connsiteX49" fmla="*/ 6277451 w 6400800"/>
                <a:gd name="connsiteY49" fmla="*/ 292894 h 514350"/>
                <a:gd name="connsiteX50" fmla="*/ 6276499 w 6400800"/>
                <a:gd name="connsiteY50" fmla="*/ 306229 h 514350"/>
                <a:gd name="connsiteX51" fmla="*/ 6273642 w 6400800"/>
                <a:gd name="connsiteY51" fmla="*/ 312896 h 514350"/>
                <a:gd name="connsiteX52" fmla="*/ 6269831 w 6400800"/>
                <a:gd name="connsiteY52" fmla="*/ 322421 h 514350"/>
                <a:gd name="connsiteX53" fmla="*/ 6273642 w 6400800"/>
                <a:gd name="connsiteY53" fmla="*/ 300514 h 514350"/>
                <a:gd name="connsiteX54" fmla="*/ 6283167 w 6400800"/>
                <a:gd name="connsiteY54" fmla="*/ 252889 h 514350"/>
                <a:gd name="connsiteX55" fmla="*/ 6287929 w 6400800"/>
                <a:gd name="connsiteY55" fmla="*/ 231934 h 514350"/>
                <a:gd name="connsiteX56" fmla="*/ 6292692 w 6400800"/>
                <a:gd name="connsiteY56" fmla="*/ 212884 h 514350"/>
                <a:gd name="connsiteX57" fmla="*/ 6300312 w 6400800"/>
                <a:gd name="connsiteY57" fmla="*/ 181451 h 514350"/>
                <a:gd name="connsiteX58" fmla="*/ 6306026 w 6400800"/>
                <a:gd name="connsiteY58" fmla="*/ 153829 h 514350"/>
                <a:gd name="connsiteX59" fmla="*/ 6296501 w 6400800"/>
                <a:gd name="connsiteY59" fmla="*/ 180499 h 514350"/>
                <a:gd name="connsiteX60" fmla="*/ 6286024 w 6400800"/>
                <a:gd name="connsiteY60" fmla="*/ 210979 h 514350"/>
                <a:gd name="connsiteX61" fmla="*/ 6279356 w 6400800"/>
                <a:gd name="connsiteY61" fmla="*/ 230029 h 514350"/>
                <a:gd name="connsiteX62" fmla="*/ 6273642 w 6400800"/>
                <a:gd name="connsiteY62" fmla="*/ 250984 h 514350"/>
                <a:gd name="connsiteX63" fmla="*/ 6260306 w 6400800"/>
                <a:gd name="connsiteY63" fmla="*/ 298609 h 514350"/>
                <a:gd name="connsiteX64" fmla="*/ 6246971 w 6400800"/>
                <a:gd name="connsiteY64" fmla="*/ 351949 h 514350"/>
                <a:gd name="connsiteX65" fmla="*/ 6236494 w 6400800"/>
                <a:gd name="connsiteY65" fmla="*/ 396716 h 514350"/>
                <a:gd name="connsiteX66" fmla="*/ 6235542 w 6400800"/>
                <a:gd name="connsiteY66" fmla="*/ 394811 h 514350"/>
                <a:gd name="connsiteX67" fmla="*/ 6234589 w 6400800"/>
                <a:gd name="connsiteY67" fmla="*/ 370046 h 514350"/>
                <a:gd name="connsiteX68" fmla="*/ 6230779 w 6400800"/>
                <a:gd name="connsiteY68" fmla="*/ 389096 h 514350"/>
                <a:gd name="connsiteX69" fmla="*/ 6227921 w 6400800"/>
                <a:gd name="connsiteY69" fmla="*/ 384334 h 514350"/>
                <a:gd name="connsiteX70" fmla="*/ 6216492 w 6400800"/>
                <a:gd name="connsiteY70" fmla="*/ 367189 h 514350"/>
                <a:gd name="connsiteX71" fmla="*/ 6223159 w 6400800"/>
                <a:gd name="connsiteY71" fmla="*/ 348139 h 514350"/>
                <a:gd name="connsiteX72" fmla="*/ 6236494 w 6400800"/>
                <a:gd name="connsiteY72" fmla="*/ 310991 h 514350"/>
                <a:gd name="connsiteX73" fmla="*/ 6247924 w 6400800"/>
                <a:gd name="connsiteY73" fmla="*/ 279559 h 514350"/>
                <a:gd name="connsiteX74" fmla="*/ 6256496 w 6400800"/>
                <a:gd name="connsiteY74" fmla="*/ 254794 h 514350"/>
                <a:gd name="connsiteX75" fmla="*/ 6264117 w 6400800"/>
                <a:gd name="connsiteY75" fmla="*/ 233839 h 514350"/>
                <a:gd name="connsiteX76" fmla="*/ 6252687 w 6400800"/>
                <a:gd name="connsiteY76" fmla="*/ 253841 h 514350"/>
                <a:gd name="connsiteX77" fmla="*/ 6240304 w 6400800"/>
                <a:gd name="connsiteY77" fmla="*/ 276701 h 514350"/>
                <a:gd name="connsiteX78" fmla="*/ 6225064 w 6400800"/>
                <a:gd name="connsiteY78" fmla="*/ 307181 h 514350"/>
                <a:gd name="connsiteX79" fmla="*/ 6208871 w 6400800"/>
                <a:gd name="connsiteY79" fmla="*/ 343376 h 514350"/>
                <a:gd name="connsiteX80" fmla="*/ 6205062 w 6400800"/>
                <a:gd name="connsiteY80" fmla="*/ 351949 h 514350"/>
                <a:gd name="connsiteX81" fmla="*/ 6204109 w 6400800"/>
                <a:gd name="connsiteY81" fmla="*/ 350996 h 514350"/>
                <a:gd name="connsiteX82" fmla="*/ 6210776 w 6400800"/>
                <a:gd name="connsiteY82" fmla="*/ 320516 h 514350"/>
                <a:gd name="connsiteX83" fmla="*/ 6222206 w 6400800"/>
                <a:gd name="connsiteY83" fmla="*/ 268129 h 514350"/>
                <a:gd name="connsiteX84" fmla="*/ 6226017 w 6400800"/>
                <a:gd name="connsiteY84" fmla="*/ 248126 h 514350"/>
                <a:gd name="connsiteX85" fmla="*/ 6218396 w 6400800"/>
                <a:gd name="connsiteY85" fmla="*/ 267176 h 514350"/>
                <a:gd name="connsiteX86" fmla="*/ 6209824 w 6400800"/>
                <a:gd name="connsiteY86" fmla="*/ 289084 h 514350"/>
                <a:gd name="connsiteX87" fmla="*/ 6199346 w 6400800"/>
                <a:gd name="connsiteY87" fmla="*/ 317659 h 514350"/>
                <a:gd name="connsiteX88" fmla="*/ 6193631 w 6400800"/>
                <a:gd name="connsiteY88" fmla="*/ 335756 h 514350"/>
                <a:gd name="connsiteX89" fmla="*/ 6184106 w 6400800"/>
                <a:gd name="connsiteY89" fmla="*/ 322421 h 514350"/>
                <a:gd name="connsiteX90" fmla="*/ 6181249 w 6400800"/>
                <a:gd name="connsiteY90" fmla="*/ 318611 h 514350"/>
                <a:gd name="connsiteX91" fmla="*/ 6184106 w 6400800"/>
                <a:gd name="connsiteY91" fmla="*/ 302419 h 514350"/>
                <a:gd name="connsiteX92" fmla="*/ 6189821 w 6400800"/>
                <a:gd name="connsiteY92" fmla="*/ 274796 h 514350"/>
                <a:gd name="connsiteX93" fmla="*/ 6195537 w 6400800"/>
                <a:gd name="connsiteY93" fmla="*/ 250984 h 514350"/>
                <a:gd name="connsiteX94" fmla="*/ 6186012 w 6400800"/>
                <a:gd name="connsiteY94" fmla="*/ 273844 h 514350"/>
                <a:gd name="connsiteX95" fmla="*/ 6176487 w 6400800"/>
                <a:gd name="connsiteY95" fmla="*/ 300514 h 514350"/>
                <a:gd name="connsiteX96" fmla="*/ 6173629 w 6400800"/>
                <a:gd name="connsiteY96" fmla="*/ 309086 h 514350"/>
                <a:gd name="connsiteX97" fmla="*/ 6172676 w 6400800"/>
                <a:gd name="connsiteY97" fmla="*/ 308134 h 514350"/>
                <a:gd name="connsiteX98" fmla="*/ 6174581 w 6400800"/>
                <a:gd name="connsiteY98" fmla="*/ 294799 h 514350"/>
                <a:gd name="connsiteX99" fmla="*/ 6180296 w 6400800"/>
                <a:gd name="connsiteY99" fmla="*/ 263366 h 514350"/>
                <a:gd name="connsiteX100" fmla="*/ 6185059 w 6400800"/>
                <a:gd name="connsiteY100" fmla="*/ 236696 h 514350"/>
                <a:gd name="connsiteX101" fmla="*/ 6188869 w 6400800"/>
                <a:gd name="connsiteY101" fmla="*/ 215741 h 514350"/>
                <a:gd name="connsiteX102" fmla="*/ 6192679 w 6400800"/>
                <a:gd name="connsiteY102" fmla="*/ 197644 h 514350"/>
                <a:gd name="connsiteX103" fmla="*/ 6185059 w 6400800"/>
                <a:gd name="connsiteY103" fmla="*/ 214789 h 514350"/>
                <a:gd name="connsiteX104" fmla="*/ 6168867 w 6400800"/>
                <a:gd name="connsiteY104" fmla="*/ 260509 h 514350"/>
                <a:gd name="connsiteX105" fmla="*/ 6163151 w 6400800"/>
                <a:gd name="connsiteY105" fmla="*/ 280511 h 514350"/>
                <a:gd name="connsiteX106" fmla="*/ 6159342 w 6400800"/>
                <a:gd name="connsiteY106" fmla="*/ 253841 h 514350"/>
                <a:gd name="connsiteX107" fmla="*/ 6154579 w 6400800"/>
                <a:gd name="connsiteY107" fmla="*/ 225266 h 514350"/>
                <a:gd name="connsiteX108" fmla="*/ 6156484 w 6400800"/>
                <a:gd name="connsiteY108" fmla="*/ 285274 h 514350"/>
                <a:gd name="connsiteX109" fmla="*/ 6143149 w 6400800"/>
                <a:gd name="connsiteY109" fmla="*/ 268129 h 514350"/>
                <a:gd name="connsiteX110" fmla="*/ 6143149 w 6400800"/>
                <a:gd name="connsiteY110" fmla="*/ 267176 h 514350"/>
                <a:gd name="connsiteX111" fmla="*/ 6146006 w 6400800"/>
                <a:gd name="connsiteY111" fmla="*/ 256699 h 514350"/>
                <a:gd name="connsiteX112" fmla="*/ 6161246 w 6400800"/>
                <a:gd name="connsiteY112" fmla="*/ 178594 h 514350"/>
                <a:gd name="connsiteX113" fmla="*/ 6152674 w 6400800"/>
                <a:gd name="connsiteY113" fmla="*/ 200501 h 514350"/>
                <a:gd name="connsiteX114" fmla="*/ 6152674 w 6400800"/>
                <a:gd name="connsiteY114" fmla="*/ 197644 h 514350"/>
                <a:gd name="connsiteX115" fmla="*/ 6156484 w 6400800"/>
                <a:gd name="connsiteY115" fmla="*/ 172879 h 514350"/>
                <a:gd name="connsiteX116" fmla="*/ 6160294 w 6400800"/>
                <a:gd name="connsiteY116" fmla="*/ 150971 h 514350"/>
                <a:gd name="connsiteX117" fmla="*/ 6152674 w 6400800"/>
                <a:gd name="connsiteY117" fmla="*/ 171926 h 514350"/>
                <a:gd name="connsiteX118" fmla="*/ 6145054 w 6400800"/>
                <a:gd name="connsiteY118" fmla="*/ 196691 h 514350"/>
                <a:gd name="connsiteX119" fmla="*/ 6138387 w 6400800"/>
                <a:gd name="connsiteY119" fmla="*/ 220504 h 514350"/>
                <a:gd name="connsiteX120" fmla="*/ 6135529 w 6400800"/>
                <a:gd name="connsiteY120" fmla="*/ 202406 h 514350"/>
                <a:gd name="connsiteX121" fmla="*/ 6134576 w 6400800"/>
                <a:gd name="connsiteY121" fmla="*/ 221456 h 514350"/>
                <a:gd name="connsiteX122" fmla="*/ 6132671 w 6400800"/>
                <a:gd name="connsiteY122" fmla="*/ 242411 h 514350"/>
                <a:gd name="connsiteX123" fmla="*/ 6131719 w 6400800"/>
                <a:gd name="connsiteY123" fmla="*/ 249079 h 514350"/>
                <a:gd name="connsiteX124" fmla="*/ 6130767 w 6400800"/>
                <a:gd name="connsiteY124" fmla="*/ 253841 h 514350"/>
                <a:gd name="connsiteX125" fmla="*/ 6129814 w 6400800"/>
                <a:gd name="connsiteY125" fmla="*/ 251936 h 514350"/>
                <a:gd name="connsiteX126" fmla="*/ 6130767 w 6400800"/>
                <a:gd name="connsiteY126" fmla="*/ 254794 h 514350"/>
                <a:gd name="connsiteX127" fmla="*/ 6129814 w 6400800"/>
                <a:gd name="connsiteY127" fmla="*/ 261461 h 514350"/>
                <a:gd name="connsiteX128" fmla="*/ 6129814 w 6400800"/>
                <a:gd name="connsiteY128" fmla="*/ 243364 h 514350"/>
                <a:gd name="connsiteX129" fmla="*/ 6126004 w 6400800"/>
                <a:gd name="connsiteY129" fmla="*/ 274796 h 514350"/>
                <a:gd name="connsiteX130" fmla="*/ 6125051 w 6400800"/>
                <a:gd name="connsiteY130" fmla="*/ 281464 h 514350"/>
                <a:gd name="connsiteX131" fmla="*/ 6122194 w 6400800"/>
                <a:gd name="connsiteY131" fmla="*/ 267176 h 514350"/>
                <a:gd name="connsiteX132" fmla="*/ 6117431 w 6400800"/>
                <a:gd name="connsiteY132" fmla="*/ 243364 h 514350"/>
                <a:gd name="connsiteX133" fmla="*/ 6118384 w 6400800"/>
                <a:gd name="connsiteY133" fmla="*/ 267176 h 514350"/>
                <a:gd name="connsiteX134" fmla="*/ 6119337 w 6400800"/>
                <a:gd name="connsiteY134" fmla="*/ 300514 h 514350"/>
                <a:gd name="connsiteX135" fmla="*/ 6114574 w 6400800"/>
                <a:gd name="connsiteY135" fmla="*/ 317659 h 514350"/>
                <a:gd name="connsiteX136" fmla="*/ 6114574 w 6400800"/>
                <a:gd name="connsiteY136" fmla="*/ 307181 h 514350"/>
                <a:gd name="connsiteX137" fmla="*/ 6112669 w 6400800"/>
                <a:gd name="connsiteY137" fmla="*/ 286226 h 514350"/>
                <a:gd name="connsiteX138" fmla="*/ 6109812 w 6400800"/>
                <a:gd name="connsiteY138" fmla="*/ 270986 h 514350"/>
                <a:gd name="connsiteX139" fmla="*/ 6105049 w 6400800"/>
                <a:gd name="connsiteY139" fmla="*/ 258604 h 514350"/>
                <a:gd name="connsiteX140" fmla="*/ 6106001 w 6400800"/>
                <a:gd name="connsiteY140" fmla="*/ 272891 h 514350"/>
                <a:gd name="connsiteX141" fmla="*/ 6106001 w 6400800"/>
                <a:gd name="connsiteY141" fmla="*/ 282416 h 514350"/>
                <a:gd name="connsiteX142" fmla="*/ 6104096 w 6400800"/>
                <a:gd name="connsiteY142" fmla="*/ 273844 h 514350"/>
                <a:gd name="connsiteX143" fmla="*/ 6102192 w 6400800"/>
                <a:gd name="connsiteY143" fmla="*/ 268129 h 514350"/>
                <a:gd name="connsiteX144" fmla="*/ 6101239 w 6400800"/>
                <a:gd name="connsiteY144" fmla="*/ 253841 h 514350"/>
                <a:gd name="connsiteX145" fmla="*/ 6103144 w 6400800"/>
                <a:gd name="connsiteY145" fmla="*/ 247174 h 514350"/>
                <a:gd name="connsiteX146" fmla="*/ 6107906 w 6400800"/>
                <a:gd name="connsiteY146" fmla="*/ 225266 h 514350"/>
                <a:gd name="connsiteX147" fmla="*/ 6111717 w 6400800"/>
                <a:gd name="connsiteY147" fmla="*/ 205264 h 514350"/>
                <a:gd name="connsiteX148" fmla="*/ 6104096 w 6400800"/>
                <a:gd name="connsiteY148" fmla="*/ 223361 h 514350"/>
                <a:gd name="connsiteX149" fmla="*/ 6099334 w 6400800"/>
                <a:gd name="connsiteY149" fmla="*/ 234791 h 514350"/>
                <a:gd name="connsiteX150" fmla="*/ 6096476 w 6400800"/>
                <a:gd name="connsiteY150" fmla="*/ 206216 h 514350"/>
                <a:gd name="connsiteX151" fmla="*/ 6097429 w 6400800"/>
                <a:gd name="connsiteY151" fmla="*/ 199549 h 514350"/>
                <a:gd name="connsiteX152" fmla="*/ 6101239 w 6400800"/>
                <a:gd name="connsiteY152" fmla="*/ 177641 h 514350"/>
                <a:gd name="connsiteX153" fmla="*/ 6104096 w 6400800"/>
                <a:gd name="connsiteY153" fmla="*/ 157639 h 514350"/>
                <a:gd name="connsiteX154" fmla="*/ 6107906 w 6400800"/>
                <a:gd name="connsiteY154" fmla="*/ 124301 h 514350"/>
                <a:gd name="connsiteX155" fmla="*/ 6110764 w 6400800"/>
                <a:gd name="connsiteY155" fmla="*/ 95726 h 514350"/>
                <a:gd name="connsiteX156" fmla="*/ 6104096 w 6400800"/>
                <a:gd name="connsiteY156" fmla="*/ 124301 h 514350"/>
                <a:gd name="connsiteX157" fmla="*/ 6096476 w 6400800"/>
                <a:gd name="connsiteY157" fmla="*/ 156686 h 514350"/>
                <a:gd name="connsiteX158" fmla="*/ 6091714 w 6400800"/>
                <a:gd name="connsiteY158" fmla="*/ 176689 h 514350"/>
                <a:gd name="connsiteX159" fmla="*/ 6085999 w 6400800"/>
                <a:gd name="connsiteY159" fmla="*/ 198596 h 514350"/>
                <a:gd name="connsiteX160" fmla="*/ 6081237 w 6400800"/>
                <a:gd name="connsiteY160" fmla="*/ 214789 h 514350"/>
                <a:gd name="connsiteX161" fmla="*/ 6074569 w 6400800"/>
                <a:gd name="connsiteY161" fmla="*/ 201454 h 514350"/>
                <a:gd name="connsiteX162" fmla="*/ 6079331 w 6400800"/>
                <a:gd name="connsiteY162" fmla="*/ 219551 h 514350"/>
                <a:gd name="connsiteX163" fmla="*/ 6073617 w 6400800"/>
                <a:gd name="connsiteY163" fmla="*/ 230029 h 514350"/>
                <a:gd name="connsiteX164" fmla="*/ 6069806 w 6400800"/>
                <a:gd name="connsiteY164" fmla="*/ 237649 h 514350"/>
                <a:gd name="connsiteX165" fmla="*/ 6069806 w 6400800"/>
                <a:gd name="connsiteY165" fmla="*/ 228124 h 514350"/>
                <a:gd name="connsiteX166" fmla="*/ 6069806 w 6400800"/>
                <a:gd name="connsiteY166" fmla="*/ 205264 h 514350"/>
                <a:gd name="connsiteX167" fmla="*/ 6065996 w 6400800"/>
                <a:gd name="connsiteY167" fmla="*/ 228124 h 514350"/>
                <a:gd name="connsiteX168" fmla="*/ 6061234 w 6400800"/>
                <a:gd name="connsiteY168" fmla="*/ 253841 h 514350"/>
                <a:gd name="connsiteX169" fmla="*/ 6059329 w 6400800"/>
                <a:gd name="connsiteY169" fmla="*/ 263366 h 514350"/>
                <a:gd name="connsiteX170" fmla="*/ 6057424 w 6400800"/>
                <a:gd name="connsiteY170" fmla="*/ 268129 h 514350"/>
                <a:gd name="connsiteX171" fmla="*/ 6048851 w 6400800"/>
                <a:gd name="connsiteY171" fmla="*/ 294799 h 514350"/>
                <a:gd name="connsiteX172" fmla="*/ 6041231 w 6400800"/>
                <a:gd name="connsiteY172" fmla="*/ 324326 h 514350"/>
                <a:gd name="connsiteX173" fmla="*/ 6041231 w 6400800"/>
                <a:gd name="connsiteY173" fmla="*/ 325279 h 514350"/>
                <a:gd name="connsiteX174" fmla="*/ 6033612 w 6400800"/>
                <a:gd name="connsiteY174" fmla="*/ 306229 h 514350"/>
                <a:gd name="connsiteX175" fmla="*/ 6029801 w 6400800"/>
                <a:gd name="connsiteY175" fmla="*/ 296704 h 514350"/>
                <a:gd name="connsiteX176" fmla="*/ 6029801 w 6400800"/>
                <a:gd name="connsiteY176" fmla="*/ 295751 h 514350"/>
                <a:gd name="connsiteX177" fmla="*/ 6031706 w 6400800"/>
                <a:gd name="connsiteY177" fmla="*/ 281464 h 514350"/>
                <a:gd name="connsiteX178" fmla="*/ 6033612 w 6400800"/>
                <a:gd name="connsiteY178" fmla="*/ 269081 h 514350"/>
                <a:gd name="connsiteX179" fmla="*/ 6027896 w 6400800"/>
                <a:gd name="connsiteY179" fmla="*/ 280511 h 514350"/>
                <a:gd name="connsiteX180" fmla="*/ 6025039 w 6400800"/>
                <a:gd name="connsiteY180" fmla="*/ 286226 h 514350"/>
                <a:gd name="connsiteX181" fmla="*/ 6020276 w 6400800"/>
                <a:gd name="connsiteY181" fmla="*/ 272891 h 514350"/>
                <a:gd name="connsiteX182" fmla="*/ 6008846 w 6400800"/>
                <a:gd name="connsiteY182" fmla="*/ 244316 h 514350"/>
                <a:gd name="connsiteX183" fmla="*/ 6016467 w 6400800"/>
                <a:gd name="connsiteY183" fmla="*/ 273844 h 514350"/>
                <a:gd name="connsiteX184" fmla="*/ 6022181 w 6400800"/>
                <a:gd name="connsiteY184" fmla="*/ 293846 h 514350"/>
                <a:gd name="connsiteX185" fmla="*/ 6019324 w 6400800"/>
                <a:gd name="connsiteY185" fmla="*/ 302419 h 514350"/>
                <a:gd name="connsiteX186" fmla="*/ 6016467 w 6400800"/>
                <a:gd name="connsiteY186" fmla="*/ 311944 h 514350"/>
                <a:gd name="connsiteX187" fmla="*/ 6010751 w 6400800"/>
                <a:gd name="connsiteY187" fmla="*/ 333851 h 514350"/>
                <a:gd name="connsiteX188" fmla="*/ 6010751 w 6400800"/>
                <a:gd name="connsiteY188" fmla="*/ 334804 h 514350"/>
                <a:gd name="connsiteX189" fmla="*/ 6003131 w 6400800"/>
                <a:gd name="connsiteY189" fmla="*/ 320516 h 514350"/>
                <a:gd name="connsiteX190" fmla="*/ 5996464 w 6400800"/>
                <a:gd name="connsiteY190" fmla="*/ 308134 h 514350"/>
                <a:gd name="connsiteX191" fmla="*/ 5999321 w 6400800"/>
                <a:gd name="connsiteY191" fmla="*/ 302419 h 514350"/>
                <a:gd name="connsiteX192" fmla="*/ 6007894 w 6400800"/>
                <a:gd name="connsiteY192" fmla="*/ 283369 h 514350"/>
                <a:gd name="connsiteX193" fmla="*/ 6014562 w 6400800"/>
                <a:gd name="connsiteY193" fmla="*/ 267176 h 514350"/>
                <a:gd name="connsiteX194" fmla="*/ 6004084 w 6400800"/>
                <a:gd name="connsiteY194" fmla="*/ 281464 h 514350"/>
                <a:gd name="connsiteX195" fmla="*/ 5993606 w 6400800"/>
                <a:gd name="connsiteY195" fmla="*/ 297656 h 514350"/>
                <a:gd name="connsiteX196" fmla="*/ 5989796 w 6400800"/>
                <a:gd name="connsiteY196" fmla="*/ 273844 h 514350"/>
                <a:gd name="connsiteX197" fmla="*/ 5991701 w 6400800"/>
                <a:gd name="connsiteY197" fmla="*/ 250984 h 514350"/>
                <a:gd name="connsiteX198" fmla="*/ 5997417 w 6400800"/>
                <a:gd name="connsiteY198" fmla="*/ 212884 h 514350"/>
                <a:gd name="connsiteX199" fmla="*/ 6003131 w 6400800"/>
                <a:gd name="connsiteY199" fmla="*/ 179546 h 514350"/>
                <a:gd name="connsiteX200" fmla="*/ 5993606 w 6400800"/>
                <a:gd name="connsiteY200" fmla="*/ 211931 h 514350"/>
                <a:gd name="connsiteX201" fmla="*/ 5985034 w 6400800"/>
                <a:gd name="connsiteY201" fmla="*/ 248126 h 514350"/>
                <a:gd name="connsiteX202" fmla="*/ 5974556 w 6400800"/>
                <a:gd name="connsiteY202" fmla="*/ 206216 h 514350"/>
                <a:gd name="connsiteX203" fmla="*/ 5974556 w 6400800"/>
                <a:gd name="connsiteY203" fmla="*/ 206216 h 514350"/>
                <a:gd name="connsiteX204" fmla="*/ 5977414 w 6400800"/>
                <a:gd name="connsiteY204" fmla="*/ 178594 h 514350"/>
                <a:gd name="connsiteX205" fmla="*/ 5979319 w 6400800"/>
                <a:gd name="connsiteY205" fmla="*/ 153829 h 514350"/>
                <a:gd name="connsiteX206" fmla="*/ 5973604 w 6400800"/>
                <a:gd name="connsiteY206" fmla="*/ 177641 h 514350"/>
                <a:gd name="connsiteX207" fmla="*/ 5969794 w 6400800"/>
                <a:gd name="connsiteY207" fmla="*/ 191929 h 514350"/>
                <a:gd name="connsiteX208" fmla="*/ 5959317 w 6400800"/>
                <a:gd name="connsiteY208" fmla="*/ 160496 h 514350"/>
                <a:gd name="connsiteX209" fmla="*/ 5946934 w 6400800"/>
                <a:gd name="connsiteY209" fmla="*/ 130016 h 514350"/>
                <a:gd name="connsiteX210" fmla="*/ 5934551 w 6400800"/>
                <a:gd name="connsiteY210" fmla="*/ 104299 h 514350"/>
                <a:gd name="connsiteX211" fmla="*/ 5943124 w 6400800"/>
                <a:gd name="connsiteY211" fmla="*/ 131921 h 514350"/>
                <a:gd name="connsiteX212" fmla="*/ 5951696 w 6400800"/>
                <a:gd name="connsiteY212" fmla="*/ 163354 h 514350"/>
                <a:gd name="connsiteX213" fmla="*/ 5961221 w 6400800"/>
                <a:gd name="connsiteY213" fmla="*/ 204311 h 514350"/>
                <a:gd name="connsiteX214" fmla="*/ 5964079 w 6400800"/>
                <a:gd name="connsiteY214" fmla="*/ 216694 h 514350"/>
                <a:gd name="connsiteX215" fmla="*/ 5962174 w 6400800"/>
                <a:gd name="connsiteY215" fmla="*/ 222409 h 514350"/>
                <a:gd name="connsiteX216" fmla="*/ 5958364 w 6400800"/>
                <a:gd name="connsiteY216" fmla="*/ 235744 h 514350"/>
                <a:gd name="connsiteX217" fmla="*/ 5956459 w 6400800"/>
                <a:gd name="connsiteY217" fmla="*/ 232886 h 514350"/>
                <a:gd name="connsiteX218" fmla="*/ 5956459 w 6400800"/>
                <a:gd name="connsiteY218" fmla="*/ 231934 h 514350"/>
                <a:gd name="connsiteX219" fmla="*/ 5956459 w 6400800"/>
                <a:gd name="connsiteY219" fmla="*/ 232886 h 514350"/>
                <a:gd name="connsiteX220" fmla="*/ 5938362 w 6400800"/>
                <a:gd name="connsiteY220" fmla="*/ 199549 h 514350"/>
                <a:gd name="connsiteX221" fmla="*/ 5927884 w 6400800"/>
                <a:gd name="connsiteY221" fmla="*/ 180499 h 514350"/>
                <a:gd name="connsiteX222" fmla="*/ 5953601 w 6400800"/>
                <a:gd name="connsiteY222" fmla="*/ 250984 h 514350"/>
                <a:gd name="connsiteX223" fmla="*/ 5952649 w 6400800"/>
                <a:gd name="connsiteY223" fmla="*/ 255746 h 514350"/>
                <a:gd name="connsiteX224" fmla="*/ 5945029 w 6400800"/>
                <a:gd name="connsiteY224" fmla="*/ 282416 h 514350"/>
                <a:gd name="connsiteX225" fmla="*/ 5944076 w 6400800"/>
                <a:gd name="connsiteY225" fmla="*/ 285274 h 514350"/>
                <a:gd name="connsiteX226" fmla="*/ 5940267 w 6400800"/>
                <a:gd name="connsiteY226" fmla="*/ 271939 h 514350"/>
                <a:gd name="connsiteX227" fmla="*/ 5928837 w 6400800"/>
                <a:gd name="connsiteY227" fmla="*/ 237649 h 514350"/>
                <a:gd name="connsiteX228" fmla="*/ 5922169 w 6400800"/>
                <a:gd name="connsiteY228" fmla="*/ 220504 h 514350"/>
                <a:gd name="connsiteX229" fmla="*/ 5923121 w 6400800"/>
                <a:gd name="connsiteY229" fmla="*/ 216694 h 514350"/>
                <a:gd name="connsiteX230" fmla="*/ 5921217 w 6400800"/>
                <a:gd name="connsiteY230" fmla="*/ 219551 h 514350"/>
                <a:gd name="connsiteX231" fmla="*/ 5917406 w 6400800"/>
                <a:gd name="connsiteY231" fmla="*/ 211931 h 514350"/>
                <a:gd name="connsiteX232" fmla="*/ 5908834 w 6400800"/>
                <a:gd name="connsiteY232" fmla="*/ 194786 h 514350"/>
                <a:gd name="connsiteX233" fmla="*/ 5907881 w 6400800"/>
                <a:gd name="connsiteY233" fmla="*/ 183356 h 514350"/>
                <a:gd name="connsiteX234" fmla="*/ 5905024 w 6400800"/>
                <a:gd name="connsiteY234" fmla="*/ 159544 h 514350"/>
                <a:gd name="connsiteX235" fmla="*/ 5904071 w 6400800"/>
                <a:gd name="connsiteY235" fmla="*/ 184309 h 514350"/>
                <a:gd name="connsiteX236" fmla="*/ 5903119 w 6400800"/>
                <a:gd name="connsiteY236" fmla="*/ 211931 h 514350"/>
                <a:gd name="connsiteX237" fmla="*/ 5902167 w 6400800"/>
                <a:gd name="connsiteY237" fmla="*/ 229076 h 514350"/>
                <a:gd name="connsiteX238" fmla="*/ 5902167 w 6400800"/>
                <a:gd name="connsiteY238" fmla="*/ 248126 h 514350"/>
                <a:gd name="connsiteX239" fmla="*/ 5903119 w 6400800"/>
                <a:gd name="connsiteY239" fmla="*/ 270034 h 514350"/>
                <a:gd name="connsiteX240" fmla="*/ 5900262 w 6400800"/>
                <a:gd name="connsiteY240" fmla="*/ 285274 h 514350"/>
                <a:gd name="connsiteX241" fmla="*/ 5899309 w 6400800"/>
                <a:gd name="connsiteY241" fmla="*/ 282416 h 514350"/>
                <a:gd name="connsiteX242" fmla="*/ 5895499 w 6400800"/>
                <a:gd name="connsiteY242" fmla="*/ 263366 h 514350"/>
                <a:gd name="connsiteX243" fmla="*/ 5891689 w 6400800"/>
                <a:gd name="connsiteY243" fmla="*/ 248126 h 514350"/>
                <a:gd name="connsiteX244" fmla="*/ 5891689 w 6400800"/>
                <a:gd name="connsiteY244" fmla="*/ 245269 h 514350"/>
                <a:gd name="connsiteX245" fmla="*/ 5890737 w 6400800"/>
                <a:gd name="connsiteY245" fmla="*/ 247174 h 514350"/>
                <a:gd name="connsiteX246" fmla="*/ 5890737 w 6400800"/>
                <a:gd name="connsiteY246" fmla="*/ 247174 h 514350"/>
                <a:gd name="connsiteX247" fmla="*/ 5890737 w 6400800"/>
                <a:gd name="connsiteY247" fmla="*/ 248126 h 514350"/>
                <a:gd name="connsiteX248" fmla="*/ 5881212 w 6400800"/>
                <a:gd name="connsiteY248" fmla="*/ 275749 h 514350"/>
                <a:gd name="connsiteX249" fmla="*/ 5878354 w 6400800"/>
                <a:gd name="connsiteY249" fmla="*/ 262414 h 514350"/>
                <a:gd name="connsiteX250" fmla="*/ 5874544 w 6400800"/>
                <a:gd name="connsiteY250" fmla="*/ 240506 h 514350"/>
                <a:gd name="connsiteX251" fmla="*/ 5874544 w 6400800"/>
                <a:gd name="connsiteY251" fmla="*/ 262414 h 514350"/>
                <a:gd name="connsiteX252" fmla="*/ 5875496 w 6400800"/>
                <a:gd name="connsiteY252" fmla="*/ 290989 h 514350"/>
                <a:gd name="connsiteX253" fmla="*/ 5873592 w 6400800"/>
                <a:gd name="connsiteY253" fmla="*/ 298609 h 514350"/>
                <a:gd name="connsiteX254" fmla="*/ 5870734 w 6400800"/>
                <a:gd name="connsiteY254" fmla="*/ 271939 h 514350"/>
                <a:gd name="connsiteX255" fmla="*/ 5867876 w 6400800"/>
                <a:gd name="connsiteY255" fmla="*/ 292894 h 514350"/>
                <a:gd name="connsiteX256" fmla="*/ 5866924 w 6400800"/>
                <a:gd name="connsiteY256" fmla="*/ 269081 h 514350"/>
                <a:gd name="connsiteX257" fmla="*/ 5865971 w 6400800"/>
                <a:gd name="connsiteY257" fmla="*/ 243364 h 514350"/>
                <a:gd name="connsiteX258" fmla="*/ 5873592 w 6400800"/>
                <a:gd name="connsiteY258" fmla="*/ 225266 h 514350"/>
                <a:gd name="connsiteX259" fmla="*/ 5865971 w 6400800"/>
                <a:gd name="connsiteY259" fmla="*/ 237649 h 514350"/>
                <a:gd name="connsiteX260" fmla="*/ 5865971 w 6400800"/>
                <a:gd name="connsiteY260" fmla="*/ 230029 h 514350"/>
                <a:gd name="connsiteX261" fmla="*/ 5865019 w 6400800"/>
                <a:gd name="connsiteY261" fmla="*/ 194786 h 514350"/>
                <a:gd name="connsiteX262" fmla="*/ 5863114 w 6400800"/>
                <a:gd name="connsiteY262" fmla="*/ 141446 h 514350"/>
                <a:gd name="connsiteX263" fmla="*/ 5862162 w 6400800"/>
                <a:gd name="connsiteY263" fmla="*/ 121444 h 514350"/>
                <a:gd name="connsiteX264" fmla="*/ 5859304 w 6400800"/>
                <a:gd name="connsiteY264" fmla="*/ 141446 h 514350"/>
                <a:gd name="connsiteX265" fmla="*/ 5856446 w 6400800"/>
                <a:gd name="connsiteY265" fmla="*/ 161449 h 514350"/>
                <a:gd name="connsiteX266" fmla="*/ 5853589 w 6400800"/>
                <a:gd name="connsiteY266" fmla="*/ 120491 h 514350"/>
                <a:gd name="connsiteX267" fmla="*/ 5851684 w 6400800"/>
                <a:gd name="connsiteY267" fmla="*/ 98584 h 514350"/>
                <a:gd name="connsiteX268" fmla="*/ 5849779 w 6400800"/>
                <a:gd name="connsiteY268" fmla="*/ 120491 h 514350"/>
                <a:gd name="connsiteX269" fmla="*/ 5847874 w 6400800"/>
                <a:gd name="connsiteY269" fmla="*/ 146209 h 514350"/>
                <a:gd name="connsiteX270" fmla="*/ 5846921 w 6400800"/>
                <a:gd name="connsiteY270" fmla="*/ 179546 h 514350"/>
                <a:gd name="connsiteX271" fmla="*/ 5846921 w 6400800"/>
                <a:gd name="connsiteY271" fmla="*/ 262414 h 514350"/>
                <a:gd name="connsiteX272" fmla="*/ 5846921 w 6400800"/>
                <a:gd name="connsiteY272" fmla="*/ 269081 h 514350"/>
                <a:gd name="connsiteX273" fmla="*/ 5843112 w 6400800"/>
                <a:gd name="connsiteY273" fmla="*/ 274796 h 514350"/>
                <a:gd name="connsiteX274" fmla="*/ 5840254 w 6400800"/>
                <a:gd name="connsiteY274" fmla="*/ 261461 h 514350"/>
                <a:gd name="connsiteX275" fmla="*/ 5841206 w 6400800"/>
                <a:gd name="connsiteY275" fmla="*/ 242411 h 514350"/>
                <a:gd name="connsiteX276" fmla="*/ 5841206 w 6400800"/>
                <a:gd name="connsiteY276" fmla="*/ 223361 h 514350"/>
                <a:gd name="connsiteX277" fmla="*/ 5837396 w 6400800"/>
                <a:gd name="connsiteY277" fmla="*/ 242411 h 514350"/>
                <a:gd name="connsiteX278" fmla="*/ 5836444 w 6400800"/>
                <a:gd name="connsiteY278" fmla="*/ 245269 h 514350"/>
                <a:gd name="connsiteX279" fmla="*/ 5829776 w 6400800"/>
                <a:gd name="connsiteY279" fmla="*/ 215741 h 514350"/>
                <a:gd name="connsiteX280" fmla="*/ 5824062 w 6400800"/>
                <a:gd name="connsiteY280" fmla="*/ 189071 h 514350"/>
                <a:gd name="connsiteX281" fmla="*/ 5825967 w 6400800"/>
                <a:gd name="connsiteY281" fmla="*/ 215741 h 514350"/>
                <a:gd name="connsiteX282" fmla="*/ 5828824 w 6400800"/>
                <a:gd name="connsiteY282" fmla="*/ 246221 h 514350"/>
                <a:gd name="connsiteX283" fmla="*/ 5831681 w 6400800"/>
                <a:gd name="connsiteY283" fmla="*/ 268129 h 514350"/>
                <a:gd name="connsiteX284" fmla="*/ 5826919 w 6400800"/>
                <a:gd name="connsiteY284" fmla="*/ 276701 h 514350"/>
                <a:gd name="connsiteX285" fmla="*/ 5825967 w 6400800"/>
                <a:gd name="connsiteY285" fmla="*/ 270986 h 514350"/>
                <a:gd name="connsiteX286" fmla="*/ 5822156 w 6400800"/>
                <a:gd name="connsiteY286" fmla="*/ 250031 h 514350"/>
                <a:gd name="connsiteX287" fmla="*/ 5818346 w 6400800"/>
                <a:gd name="connsiteY287" fmla="*/ 231934 h 514350"/>
                <a:gd name="connsiteX288" fmla="*/ 5818346 w 6400800"/>
                <a:gd name="connsiteY288" fmla="*/ 250031 h 514350"/>
                <a:gd name="connsiteX289" fmla="*/ 5818346 w 6400800"/>
                <a:gd name="connsiteY289" fmla="*/ 270986 h 514350"/>
                <a:gd name="connsiteX290" fmla="*/ 5812631 w 6400800"/>
                <a:gd name="connsiteY290" fmla="*/ 262414 h 514350"/>
                <a:gd name="connsiteX291" fmla="*/ 5812631 w 6400800"/>
                <a:gd name="connsiteY291" fmla="*/ 246221 h 514350"/>
                <a:gd name="connsiteX292" fmla="*/ 5814537 w 6400800"/>
                <a:gd name="connsiteY292" fmla="*/ 220504 h 514350"/>
                <a:gd name="connsiteX293" fmla="*/ 5816442 w 6400800"/>
                <a:gd name="connsiteY293" fmla="*/ 221456 h 514350"/>
                <a:gd name="connsiteX294" fmla="*/ 5819299 w 6400800"/>
                <a:gd name="connsiteY294" fmla="*/ 224314 h 514350"/>
                <a:gd name="connsiteX295" fmla="*/ 5822156 w 6400800"/>
                <a:gd name="connsiteY295" fmla="*/ 231934 h 514350"/>
                <a:gd name="connsiteX296" fmla="*/ 5821204 w 6400800"/>
                <a:gd name="connsiteY296" fmla="*/ 223361 h 514350"/>
                <a:gd name="connsiteX297" fmla="*/ 5818346 w 6400800"/>
                <a:gd name="connsiteY297" fmla="*/ 219551 h 514350"/>
                <a:gd name="connsiteX298" fmla="*/ 5813584 w 6400800"/>
                <a:gd name="connsiteY298" fmla="*/ 217646 h 514350"/>
                <a:gd name="connsiteX299" fmla="*/ 5811679 w 6400800"/>
                <a:gd name="connsiteY299" fmla="*/ 217646 h 514350"/>
                <a:gd name="connsiteX300" fmla="*/ 5811679 w 6400800"/>
                <a:gd name="connsiteY300" fmla="*/ 219551 h 514350"/>
                <a:gd name="connsiteX301" fmla="*/ 5805012 w 6400800"/>
                <a:gd name="connsiteY301" fmla="*/ 246221 h 514350"/>
                <a:gd name="connsiteX302" fmla="*/ 5803106 w 6400800"/>
                <a:gd name="connsiteY302" fmla="*/ 256699 h 514350"/>
                <a:gd name="connsiteX303" fmla="*/ 5796439 w 6400800"/>
                <a:gd name="connsiteY303" fmla="*/ 264319 h 514350"/>
                <a:gd name="connsiteX304" fmla="*/ 5795487 w 6400800"/>
                <a:gd name="connsiteY304" fmla="*/ 253841 h 514350"/>
                <a:gd name="connsiteX305" fmla="*/ 5794534 w 6400800"/>
                <a:gd name="connsiteY305" fmla="*/ 248126 h 514350"/>
                <a:gd name="connsiteX306" fmla="*/ 5794534 w 6400800"/>
                <a:gd name="connsiteY306" fmla="*/ 253841 h 514350"/>
                <a:gd name="connsiteX307" fmla="*/ 5793581 w 6400800"/>
                <a:gd name="connsiteY307" fmla="*/ 268129 h 514350"/>
                <a:gd name="connsiteX308" fmla="*/ 5791676 w 6400800"/>
                <a:gd name="connsiteY308" fmla="*/ 270034 h 514350"/>
                <a:gd name="connsiteX309" fmla="*/ 5791676 w 6400800"/>
                <a:gd name="connsiteY309" fmla="*/ 270034 h 514350"/>
                <a:gd name="connsiteX310" fmla="*/ 5787867 w 6400800"/>
                <a:gd name="connsiteY310" fmla="*/ 239554 h 514350"/>
                <a:gd name="connsiteX311" fmla="*/ 5793581 w 6400800"/>
                <a:gd name="connsiteY311" fmla="*/ 224314 h 514350"/>
                <a:gd name="connsiteX312" fmla="*/ 5786914 w 6400800"/>
                <a:gd name="connsiteY312" fmla="*/ 234791 h 514350"/>
                <a:gd name="connsiteX313" fmla="*/ 5785009 w 6400800"/>
                <a:gd name="connsiteY313" fmla="*/ 205264 h 514350"/>
                <a:gd name="connsiteX314" fmla="*/ 5795487 w 6400800"/>
                <a:gd name="connsiteY314" fmla="*/ 183356 h 514350"/>
                <a:gd name="connsiteX315" fmla="*/ 5795487 w 6400800"/>
                <a:gd name="connsiteY315" fmla="*/ 184309 h 514350"/>
                <a:gd name="connsiteX316" fmla="*/ 5795487 w 6400800"/>
                <a:gd name="connsiteY316" fmla="*/ 183356 h 514350"/>
                <a:gd name="connsiteX317" fmla="*/ 5797392 w 6400800"/>
                <a:gd name="connsiteY317" fmla="*/ 178594 h 514350"/>
                <a:gd name="connsiteX318" fmla="*/ 5812631 w 6400800"/>
                <a:gd name="connsiteY318" fmla="*/ 145256 h 514350"/>
                <a:gd name="connsiteX319" fmla="*/ 5825967 w 6400800"/>
                <a:gd name="connsiteY319" fmla="*/ 115729 h 514350"/>
                <a:gd name="connsiteX320" fmla="*/ 5809774 w 6400800"/>
                <a:gd name="connsiteY320" fmla="*/ 143351 h 514350"/>
                <a:gd name="connsiteX321" fmla="*/ 5791676 w 6400800"/>
                <a:gd name="connsiteY321" fmla="*/ 173831 h 514350"/>
                <a:gd name="connsiteX322" fmla="*/ 5788819 w 6400800"/>
                <a:gd name="connsiteY322" fmla="*/ 170974 h 514350"/>
                <a:gd name="connsiteX323" fmla="*/ 5783104 w 6400800"/>
                <a:gd name="connsiteY323" fmla="*/ 169069 h 514350"/>
                <a:gd name="connsiteX324" fmla="*/ 5781199 w 6400800"/>
                <a:gd name="connsiteY324" fmla="*/ 169069 h 514350"/>
                <a:gd name="connsiteX325" fmla="*/ 5781199 w 6400800"/>
                <a:gd name="connsiteY325" fmla="*/ 170974 h 514350"/>
                <a:gd name="connsiteX326" fmla="*/ 5777389 w 6400800"/>
                <a:gd name="connsiteY326" fmla="*/ 197644 h 514350"/>
                <a:gd name="connsiteX327" fmla="*/ 5766912 w 6400800"/>
                <a:gd name="connsiteY327" fmla="*/ 217646 h 514350"/>
                <a:gd name="connsiteX328" fmla="*/ 5752624 w 6400800"/>
                <a:gd name="connsiteY328" fmla="*/ 244316 h 514350"/>
                <a:gd name="connsiteX329" fmla="*/ 5751671 w 6400800"/>
                <a:gd name="connsiteY329" fmla="*/ 233839 h 514350"/>
                <a:gd name="connsiteX330" fmla="*/ 5749767 w 6400800"/>
                <a:gd name="connsiteY330" fmla="*/ 216694 h 514350"/>
                <a:gd name="connsiteX331" fmla="*/ 5757387 w 6400800"/>
                <a:gd name="connsiteY331" fmla="*/ 190024 h 514350"/>
                <a:gd name="connsiteX332" fmla="*/ 5749767 w 6400800"/>
                <a:gd name="connsiteY332" fmla="*/ 210979 h 514350"/>
                <a:gd name="connsiteX333" fmla="*/ 5748814 w 6400800"/>
                <a:gd name="connsiteY333" fmla="*/ 204311 h 514350"/>
                <a:gd name="connsiteX334" fmla="*/ 5745004 w 6400800"/>
                <a:gd name="connsiteY334" fmla="*/ 178594 h 514350"/>
                <a:gd name="connsiteX335" fmla="*/ 5745004 w 6400800"/>
                <a:gd name="connsiteY335" fmla="*/ 204311 h 514350"/>
                <a:gd name="connsiteX336" fmla="*/ 5745004 w 6400800"/>
                <a:gd name="connsiteY336" fmla="*/ 222409 h 514350"/>
                <a:gd name="connsiteX337" fmla="*/ 5744051 w 6400800"/>
                <a:gd name="connsiteY337" fmla="*/ 225266 h 514350"/>
                <a:gd name="connsiteX338" fmla="*/ 5731669 w 6400800"/>
                <a:gd name="connsiteY338" fmla="*/ 259556 h 514350"/>
                <a:gd name="connsiteX339" fmla="*/ 5731669 w 6400800"/>
                <a:gd name="connsiteY339" fmla="*/ 258604 h 514350"/>
                <a:gd name="connsiteX340" fmla="*/ 5734526 w 6400800"/>
                <a:gd name="connsiteY340" fmla="*/ 238601 h 514350"/>
                <a:gd name="connsiteX341" fmla="*/ 5727859 w 6400800"/>
                <a:gd name="connsiteY341" fmla="*/ 258604 h 514350"/>
                <a:gd name="connsiteX342" fmla="*/ 5725954 w 6400800"/>
                <a:gd name="connsiteY342" fmla="*/ 264319 h 514350"/>
                <a:gd name="connsiteX343" fmla="*/ 5725954 w 6400800"/>
                <a:gd name="connsiteY343" fmla="*/ 263366 h 514350"/>
                <a:gd name="connsiteX344" fmla="*/ 5725954 w 6400800"/>
                <a:gd name="connsiteY344" fmla="*/ 262414 h 514350"/>
                <a:gd name="connsiteX345" fmla="*/ 5726906 w 6400800"/>
                <a:gd name="connsiteY345" fmla="*/ 256699 h 514350"/>
                <a:gd name="connsiteX346" fmla="*/ 5729764 w 6400800"/>
                <a:gd name="connsiteY346" fmla="*/ 242411 h 514350"/>
                <a:gd name="connsiteX347" fmla="*/ 5732621 w 6400800"/>
                <a:gd name="connsiteY347" fmla="*/ 230029 h 514350"/>
                <a:gd name="connsiteX348" fmla="*/ 5737384 w 6400800"/>
                <a:gd name="connsiteY348" fmla="*/ 210026 h 514350"/>
                <a:gd name="connsiteX349" fmla="*/ 5741194 w 6400800"/>
                <a:gd name="connsiteY349" fmla="*/ 191929 h 514350"/>
                <a:gd name="connsiteX350" fmla="*/ 5739289 w 6400800"/>
                <a:gd name="connsiteY350" fmla="*/ 196691 h 514350"/>
                <a:gd name="connsiteX351" fmla="*/ 5740242 w 6400800"/>
                <a:gd name="connsiteY351" fmla="*/ 190024 h 514350"/>
                <a:gd name="connsiteX352" fmla="*/ 5731669 w 6400800"/>
                <a:gd name="connsiteY352" fmla="*/ 211931 h 514350"/>
                <a:gd name="connsiteX353" fmla="*/ 5726906 w 6400800"/>
                <a:gd name="connsiteY353" fmla="*/ 224314 h 514350"/>
                <a:gd name="connsiteX354" fmla="*/ 5725001 w 6400800"/>
                <a:gd name="connsiteY354" fmla="*/ 228124 h 514350"/>
                <a:gd name="connsiteX355" fmla="*/ 5720239 w 6400800"/>
                <a:gd name="connsiteY355" fmla="*/ 240506 h 514350"/>
                <a:gd name="connsiteX356" fmla="*/ 5717381 w 6400800"/>
                <a:gd name="connsiteY356" fmla="*/ 250031 h 514350"/>
                <a:gd name="connsiteX357" fmla="*/ 5715476 w 6400800"/>
                <a:gd name="connsiteY357" fmla="*/ 254794 h 514350"/>
                <a:gd name="connsiteX358" fmla="*/ 5709762 w 6400800"/>
                <a:gd name="connsiteY358" fmla="*/ 272891 h 514350"/>
                <a:gd name="connsiteX359" fmla="*/ 5704046 w 6400800"/>
                <a:gd name="connsiteY359" fmla="*/ 290989 h 514350"/>
                <a:gd name="connsiteX360" fmla="*/ 5696426 w 6400800"/>
                <a:gd name="connsiteY360" fmla="*/ 275749 h 514350"/>
                <a:gd name="connsiteX361" fmla="*/ 5695474 w 6400800"/>
                <a:gd name="connsiteY361" fmla="*/ 269081 h 514350"/>
                <a:gd name="connsiteX362" fmla="*/ 5695474 w 6400800"/>
                <a:gd name="connsiteY362" fmla="*/ 272891 h 514350"/>
                <a:gd name="connsiteX363" fmla="*/ 5688806 w 6400800"/>
                <a:gd name="connsiteY363" fmla="*/ 259556 h 514350"/>
                <a:gd name="connsiteX364" fmla="*/ 5680234 w 6400800"/>
                <a:gd name="connsiteY364" fmla="*/ 243364 h 514350"/>
                <a:gd name="connsiteX365" fmla="*/ 5684996 w 6400800"/>
                <a:gd name="connsiteY365" fmla="*/ 260509 h 514350"/>
                <a:gd name="connsiteX366" fmla="*/ 5694521 w 6400800"/>
                <a:gd name="connsiteY366" fmla="*/ 292894 h 514350"/>
                <a:gd name="connsiteX367" fmla="*/ 5694521 w 6400800"/>
                <a:gd name="connsiteY367" fmla="*/ 309086 h 514350"/>
                <a:gd name="connsiteX368" fmla="*/ 5694521 w 6400800"/>
                <a:gd name="connsiteY368" fmla="*/ 323374 h 514350"/>
                <a:gd name="connsiteX369" fmla="*/ 5691664 w 6400800"/>
                <a:gd name="connsiteY369" fmla="*/ 331946 h 514350"/>
                <a:gd name="connsiteX370" fmla="*/ 5689759 w 6400800"/>
                <a:gd name="connsiteY370" fmla="*/ 329089 h 514350"/>
                <a:gd name="connsiteX371" fmla="*/ 5689759 w 6400800"/>
                <a:gd name="connsiteY371" fmla="*/ 320516 h 514350"/>
                <a:gd name="connsiteX372" fmla="*/ 5687854 w 6400800"/>
                <a:gd name="connsiteY372" fmla="*/ 286226 h 514350"/>
                <a:gd name="connsiteX373" fmla="*/ 5684996 w 6400800"/>
                <a:gd name="connsiteY373" fmla="*/ 319564 h 514350"/>
                <a:gd name="connsiteX374" fmla="*/ 5681187 w 6400800"/>
                <a:gd name="connsiteY374" fmla="*/ 312896 h 514350"/>
                <a:gd name="connsiteX375" fmla="*/ 5675471 w 6400800"/>
                <a:gd name="connsiteY375" fmla="*/ 273844 h 514350"/>
                <a:gd name="connsiteX376" fmla="*/ 5672614 w 6400800"/>
                <a:gd name="connsiteY376" fmla="*/ 253841 h 514350"/>
                <a:gd name="connsiteX377" fmla="*/ 5670709 w 6400800"/>
                <a:gd name="connsiteY377" fmla="*/ 235744 h 514350"/>
                <a:gd name="connsiteX378" fmla="*/ 5667851 w 6400800"/>
                <a:gd name="connsiteY378" fmla="*/ 207169 h 514350"/>
                <a:gd name="connsiteX379" fmla="*/ 5665946 w 6400800"/>
                <a:gd name="connsiteY379" fmla="*/ 188119 h 514350"/>
                <a:gd name="connsiteX380" fmla="*/ 5666899 w 6400800"/>
                <a:gd name="connsiteY380" fmla="*/ 183356 h 514350"/>
                <a:gd name="connsiteX381" fmla="*/ 5665946 w 6400800"/>
                <a:gd name="connsiteY381" fmla="*/ 186214 h 514350"/>
                <a:gd name="connsiteX382" fmla="*/ 5664994 w 6400800"/>
                <a:gd name="connsiteY382" fmla="*/ 181451 h 514350"/>
                <a:gd name="connsiteX383" fmla="*/ 5664994 w 6400800"/>
                <a:gd name="connsiteY383" fmla="*/ 188119 h 514350"/>
                <a:gd name="connsiteX384" fmla="*/ 5654517 w 6400800"/>
                <a:gd name="connsiteY384" fmla="*/ 211931 h 514350"/>
                <a:gd name="connsiteX385" fmla="*/ 5653564 w 6400800"/>
                <a:gd name="connsiteY385" fmla="*/ 205264 h 514350"/>
                <a:gd name="connsiteX386" fmla="*/ 5652612 w 6400800"/>
                <a:gd name="connsiteY386" fmla="*/ 189071 h 514350"/>
                <a:gd name="connsiteX387" fmla="*/ 5657374 w 6400800"/>
                <a:gd name="connsiteY387" fmla="*/ 179546 h 514350"/>
                <a:gd name="connsiteX388" fmla="*/ 5652612 w 6400800"/>
                <a:gd name="connsiteY388" fmla="*/ 187166 h 514350"/>
                <a:gd name="connsiteX389" fmla="*/ 5652612 w 6400800"/>
                <a:gd name="connsiteY389" fmla="*/ 185261 h 514350"/>
                <a:gd name="connsiteX390" fmla="*/ 5651659 w 6400800"/>
                <a:gd name="connsiteY390" fmla="*/ 167164 h 514350"/>
                <a:gd name="connsiteX391" fmla="*/ 5649754 w 6400800"/>
                <a:gd name="connsiteY391" fmla="*/ 179546 h 514350"/>
                <a:gd name="connsiteX392" fmla="*/ 5649754 w 6400800"/>
                <a:gd name="connsiteY392" fmla="*/ 178594 h 514350"/>
                <a:gd name="connsiteX393" fmla="*/ 5647849 w 6400800"/>
                <a:gd name="connsiteY393" fmla="*/ 159544 h 514350"/>
                <a:gd name="connsiteX394" fmla="*/ 5646896 w 6400800"/>
                <a:gd name="connsiteY394" fmla="*/ 142399 h 514350"/>
                <a:gd name="connsiteX395" fmla="*/ 5645944 w 6400800"/>
                <a:gd name="connsiteY395" fmla="*/ 114776 h 514350"/>
                <a:gd name="connsiteX396" fmla="*/ 5644992 w 6400800"/>
                <a:gd name="connsiteY396" fmla="*/ 90011 h 514350"/>
                <a:gd name="connsiteX397" fmla="*/ 5641181 w 6400800"/>
                <a:gd name="connsiteY397" fmla="*/ 113824 h 514350"/>
                <a:gd name="connsiteX398" fmla="*/ 5639276 w 6400800"/>
                <a:gd name="connsiteY398" fmla="*/ 141446 h 514350"/>
                <a:gd name="connsiteX399" fmla="*/ 5638324 w 6400800"/>
                <a:gd name="connsiteY399" fmla="*/ 158591 h 514350"/>
                <a:gd name="connsiteX400" fmla="*/ 5638324 w 6400800"/>
                <a:gd name="connsiteY400" fmla="*/ 177641 h 514350"/>
                <a:gd name="connsiteX401" fmla="*/ 5639276 w 6400800"/>
                <a:gd name="connsiteY401" fmla="*/ 205264 h 514350"/>
                <a:gd name="connsiteX402" fmla="*/ 5637371 w 6400800"/>
                <a:gd name="connsiteY402" fmla="*/ 208121 h 514350"/>
                <a:gd name="connsiteX403" fmla="*/ 5636419 w 6400800"/>
                <a:gd name="connsiteY403" fmla="*/ 209074 h 514350"/>
                <a:gd name="connsiteX404" fmla="*/ 5636419 w 6400800"/>
                <a:gd name="connsiteY404" fmla="*/ 208121 h 514350"/>
                <a:gd name="connsiteX405" fmla="*/ 5636419 w 6400800"/>
                <a:gd name="connsiteY405" fmla="*/ 209074 h 514350"/>
                <a:gd name="connsiteX406" fmla="*/ 5631656 w 6400800"/>
                <a:gd name="connsiteY406" fmla="*/ 215741 h 514350"/>
                <a:gd name="connsiteX407" fmla="*/ 5626894 w 6400800"/>
                <a:gd name="connsiteY407" fmla="*/ 192881 h 514350"/>
                <a:gd name="connsiteX408" fmla="*/ 5626894 w 6400800"/>
                <a:gd name="connsiteY408" fmla="*/ 222409 h 514350"/>
                <a:gd name="connsiteX409" fmla="*/ 5626894 w 6400800"/>
                <a:gd name="connsiteY409" fmla="*/ 223361 h 514350"/>
                <a:gd name="connsiteX410" fmla="*/ 5618321 w 6400800"/>
                <a:gd name="connsiteY410" fmla="*/ 211931 h 514350"/>
                <a:gd name="connsiteX411" fmla="*/ 5593556 w 6400800"/>
                <a:gd name="connsiteY411" fmla="*/ 181451 h 514350"/>
                <a:gd name="connsiteX412" fmla="*/ 5570696 w 6400800"/>
                <a:gd name="connsiteY412" fmla="*/ 155734 h 514350"/>
                <a:gd name="connsiteX413" fmla="*/ 5590699 w 6400800"/>
                <a:gd name="connsiteY413" fmla="*/ 184309 h 514350"/>
                <a:gd name="connsiteX414" fmla="*/ 5612606 w 6400800"/>
                <a:gd name="connsiteY414" fmla="*/ 217646 h 514350"/>
                <a:gd name="connsiteX415" fmla="*/ 5616417 w 6400800"/>
                <a:gd name="connsiteY415" fmla="*/ 223361 h 514350"/>
                <a:gd name="connsiteX416" fmla="*/ 5620226 w 6400800"/>
                <a:gd name="connsiteY416" fmla="*/ 233839 h 514350"/>
                <a:gd name="connsiteX417" fmla="*/ 5620226 w 6400800"/>
                <a:gd name="connsiteY417" fmla="*/ 234791 h 514350"/>
                <a:gd name="connsiteX418" fmla="*/ 5616417 w 6400800"/>
                <a:gd name="connsiteY418" fmla="*/ 241459 h 514350"/>
                <a:gd name="connsiteX419" fmla="*/ 5616417 w 6400800"/>
                <a:gd name="connsiteY419" fmla="*/ 240506 h 514350"/>
                <a:gd name="connsiteX420" fmla="*/ 5616417 w 6400800"/>
                <a:gd name="connsiteY420" fmla="*/ 241459 h 514350"/>
                <a:gd name="connsiteX421" fmla="*/ 5614512 w 6400800"/>
                <a:gd name="connsiteY421" fmla="*/ 245269 h 514350"/>
                <a:gd name="connsiteX422" fmla="*/ 5594509 w 6400800"/>
                <a:gd name="connsiteY422" fmla="*/ 280511 h 514350"/>
                <a:gd name="connsiteX423" fmla="*/ 5594509 w 6400800"/>
                <a:gd name="connsiteY423" fmla="*/ 275749 h 514350"/>
                <a:gd name="connsiteX424" fmla="*/ 5594509 w 6400800"/>
                <a:gd name="connsiteY424" fmla="*/ 268129 h 514350"/>
                <a:gd name="connsiteX425" fmla="*/ 5596414 w 6400800"/>
                <a:gd name="connsiteY425" fmla="*/ 256699 h 514350"/>
                <a:gd name="connsiteX426" fmla="*/ 5594509 w 6400800"/>
                <a:gd name="connsiteY426" fmla="*/ 263366 h 514350"/>
                <a:gd name="connsiteX427" fmla="*/ 5594509 w 6400800"/>
                <a:gd name="connsiteY427" fmla="*/ 262414 h 514350"/>
                <a:gd name="connsiteX428" fmla="*/ 5592604 w 6400800"/>
                <a:gd name="connsiteY428" fmla="*/ 250031 h 514350"/>
                <a:gd name="connsiteX429" fmla="*/ 5590699 w 6400800"/>
                <a:gd name="connsiteY429" fmla="*/ 232886 h 514350"/>
                <a:gd name="connsiteX430" fmla="*/ 5596414 w 6400800"/>
                <a:gd name="connsiteY430" fmla="*/ 217646 h 514350"/>
                <a:gd name="connsiteX431" fmla="*/ 5589746 w 6400800"/>
                <a:gd name="connsiteY431" fmla="*/ 230029 h 514350"/>
                <a:gd name="connsiteX432" fmla="*/ 5589746 w 6400800"/>
                <a:gd name="connsiteY432" fmla="*/ 230029 h 514350"/>
                <a:gd name="connsiteX433" fmla="*/ 5586889 w 6400800"/>
                <a:gd name="connsiteY433" fmla="*/ 211931 h 514350"/>
                <a:gd name="connsiteX434" fmla="*/ 5585937 w 6400800"/>
                <a:gd name="connsiteY434" fmla="*/ 230029 h 514350"/>
                <a:gd name="connsiteX435" fmla="*/ 5585937 w 6400800"/>
                <a:gd name="connsiteY435" fmla="*/ 230981 h 514350"/>
                <a:gd name="connsiteX436" fmla="*/ 5583079 w 6400800"/>
                <a:gd name="connsiteY436" fmla="*/ 213836 h 514350"/>
                <a:gd name="connsiteX437" fmla="*/ 5583079 w 6400800"/>
                <a:gd name="connsiteY437" fmla="*/ 242411 h 514350"/>
                <a:gd name="connsiteX438" fmla="*/ 5581174 w 6400800"/>
                <a:gd name="connsiteY438" fmla="*/ 246221 h 514350"/>
                <a:gd name="connsiteX439" fmla="*/ 5579269 w 6400800"/>
                <a:gd name="connsiteY439" fmla="*/ 250031 h 514350"/>
                <a:gd name="connsiteX440" fmla="*/ 5571649 w 6400800"/>
                <a:gd name="connsiteY440" fmla="*/ 209074 h 514350"/>
                <a:gd name="connsiteX441" fmla="*/ 5567839 w 6400800"/>
                <a:gd name="connsiteY441" fmla="*/ 189071 h 514350"/>
                <a:gd name="connsiteX442" fmla="*/ 5563076 w 6400800"/>
                <a:gd name="connsiteY442" fmla="*/ 170974 h 514350"/>
                <a:gd name="connsiteX443" fmla="*/ 5555456 w 6400800"/>
                <a:gd name="connsiteY443" fmla="*/ 141446 h 514350"/>
                <a:gd name="connsiteX444" fmla="*/ 5548789 w 6400800"/>
                <a:gd name="connsiteY444" fmla="*/ 115729 h 514350"/>
                <a:gd name="connsiteX445" fmla="*/ 5551646 w 6400800"/>
                <a:gd name="connsiteY445" fmla="*/ 142399 h 514350"/>
                <a:gd name="connsiteX446" fmla="*/ 5555456 w 6400800"/>
                <a:gd name="connsiteY446" fmla="*/ 172879 h 514350"/>
                <a:gd name="connsiteX447" fmla="*/ 5558314 w 6400800"/>
                <a:gd name="connsiteY447" fmla="*/ 190976 h 514350"/>
                <a:gd name="connsiteX448" fmla="*/ 5560219 w 6400800"/>
                <a:gd name="connsiteY448" fmla="*/ 211931 h 514350"/>
                <a:gd name="connsiteX449" fmla="*/ 5564981 w 6400800"/>
                <a:gd name="connsiteY449" fmla="*/ 257651 h 514350"/>
                <a:gd name="connsiteX450" fmla="*/ 5565934 w 6400800"/>
                <a:gd name="connsiteY450" fmla="*/ 274796 h 514350"/>
                <a:gd name="connsiteX451" fmla="*/ 5564029 w 6400800"/>
                <a:gd name="connsiteY451" fmla="*/ 278606 h 514350"/>
                <a:gd name="connsiteX452" fmla="*/ 5561171 w 6400800"/>
                <a:gd name="connsiteY452" fmla="*/ 284321 h 514350"/>
                <a:gd name="connsiteX453" fmla="*/ 5549742 w 6400800"/>
                <a:gd name="connsiteY453" fmla="*/ 264319 h 514350"/>
                <a:gd name="connsiteX454" fmla="*/ 5548789 w 6400800"/>
                <a:gd name="connsiteY454" fmla="*/ 261461 h 514350"/>
                <a:gd name="connsiteX455" fmla="*/ 5544026 w 6400800"/>
                <a:gd name="connsiteY455" fmla="*/ 247174 h 514350"/>
                <a:gd name="connsiteX456" fmla="*/ 5547837 w 6400800"/>
                <a:gd name="connsiteY456" fmla="*/ 228124 h 514350"/>
                <a:gd name="connsiteX457" fmla="*/ 5542121 w 6400800"/>
                <a:gd name="connsiteY457" fmla="*/ 241459 h 514350"/>
                <a:gd name="connsiteX458" fmla="*/ 5541169 w 6400800"/>
                <a:gd name="connsiteY458" fmla="*/ 238601 h 514350"/>
                <a:gd name="connsiteX459" fmla="*/ 5538312 w 6400800"/>
                <a:gd name="connsiteY459" fmla="*/ 230029 h 514350"/>
                <a:gd name="connsiteX460" fmla="*/ 5551646 w 6400800"/>
                <a:gd name="connsiteY460" fmla="*/ 167164 h 514350"/>
                <a:gd name="connsiteX461" fmla="*/ 5528787 w 6400800"/>
                <a:gd name="connsiteY461" fmla="*/ 225266 h 514350"/>
                <a:gd name="connsiteX462" fmla="*/ 5524976 w 6400800"/>
                <a:gd name="connsiteY462" fmla="*/ 217646 h 514350"/>
                <a:gd name="connsiteX463" fmla="*/ 5524024 w 6400800"/>
                <a:gd name="connsiteY463" fmla="*/ 207169 h 514350"/>
                <a:gd name="connsiteX464" fmla="*/ 5521167 w 6400800"/>
                <a:gd name="connsiteY464" fmla="*/ 185261 h 514350"/>
                <a:gd name="connsiteX465" fmla="*/ 5520214 w 6400800"/>
                <a:gd name="connsiteY465" fmla="*/ 207169 h 514350"/>
                <a:gd name="connsiteX466" fmla="*/ 5520214 w 6400800"/>
                <a:gd name="connsiteY466" fmla="*/ 232886 h 514350"/>
                <a:gd name="connsiteX467" fmla="*/ 5520214 w 6400800"/>
                <a:gd name="connsiteY467" fmla="*/ 248126 h 514350"/>
                <a:gd name="connsiteX468" fmla="*/ 5520214 w 6400800"/>
                <a:gd name="connsiteY468" fmla="*/ 250984 h 514350"/>
                <a:gd name="connsiteX469" fmla="*/ 5505926 w 6400800"/>
                <a:gd name="connsiteY469" fmla="*/ 291941 h 514350"/>
                <a:gd name="connsiteX470" fmla="*/ 5503069 w 6400800"/>
                <a:gd name="connsiteY470" fmla="*/ 300514 h 514350"/>
                <a:gd name="connsiteX471" fmla="*/ 5498306 w 6400800"/>
                <a:gd name="connsiteY471" fmla="*/ 290989 h 514350"/>
                <a:gd name="connsiteX472" fmla="*/ 5498306 w 6400800"/>
                <a:gd name="connsiteY472" fmla="*/ 285274 h 514350"/>
                <a:gd name="connsiteX473" fmla="*/ 5499259 w 6400800"/>
                <a:gd name="connsiteY473" fmla="*/ 269081 h 514350"/>
                <a:gd name="connsiteX474" fmla="*/ 5494496 w 6400800"/>
                <a:gd name="connsiteY474" fmla="*/ 284321 h 514350"/>
                <a:gd name="connsiteX475" fmla="*/ 5481162 w 6400800"/>
                <a:gd name="connsiteY475" fmla="*/ 257651 h 514350"/>
                <a:gd name="connsiteX476" fmla="*/ 5483067 w 6400800"/>
                <a:gd name="connsiteY476" fmla="*/ 251936 h 514350"/>
                <a:gd name="connsiteX477" fmla="*/ 5492592 w 6400800"/>
                <a:gd name="connsiteY477" fmla="*/ 224314 h 514350"/>
                <a:gd name="connsiteX478" fmla="*/ 5500212 w 6400800"/>
                <a:gd name="connsiteY478" fmla="*/ 200501 h 514350"/>
                <a:gd name="connsiteX479" fmla="*/ 5493544 w 6400800"/>
                <a:gd name="connsiteY479" fmla="*/ 212884 h 514350"/>
                <a:gd name="connsiteX480" fmla="*/ 5502117 w 6400800"/>
                <a:gd name="connsiteY480" fmla="*/ 188119 h 514350"/>
                <a:gd name="connsiteX481" fmla="*/ 5511642 w 6400800"/>
                <a:gd name="connsiteY481" fmla="*/ 160496 h 514350"/>
                <a:gd name="connsiteX482" fmla="*/ 5498306 w 6400800"/>
                <a:gd name="connsiteY482" fmla="*/ 186214 h 514350"/>
                <a:gd name="connsiteX483" fmla="*/ 5484019 w 6400800"/>
                <a:gd name="connsiteY483" fmla="*/ 215741 h 514350"/>
                <a:gd name="connsiteX484" fmla="*/ 5475446 w 6400800"/>
                <a:gd name="connsiteY484" fmla="*/ 233839 h 514350"/>
                <a:gd name="connsiteX485" fmla="*/ 5472589 w 6400800"/>
                <a:gd name="connsiteY485" fmla="*/ 241459 h 514350"/>
                <a:gd name="connsiteX486" fmla="*/ 5461159 w 6400800"/>
                <a:gd name="connsiteY486" fmla="*/ 221456 h 514350"/>
                <a:gd name="connsiteX487" fmla="*/ 5469731 w 6400800"/>
                <a:gd name="connsiteY487" fmla="*/ 248126 h 514350"/>
                <a:gd name="connsiteX488" fmla="*/ 5466874 w 6400800"/>
                <a:gd name="connsiteY488" fmla="*/ 254794 h 514350"/>
                <a:gd name="connsiteX489" fmla="*/ 5465921 w 6400800"/>
                <a:gd name="connsiteY489" fmla="*/ 257651 h 514350"/>
                <a:gd name="connsiteX490" fmla="*/ 5464969 w 6400800"/>
                <a:gd name="connsiteY490" fmla="*/ 256699 h 514350"/>
                <a:gd name="connsiteX491" fmla="*/ 5455444 w 6400800"/>
                <a:gd name="connsiteY491" fmla="*/ 246221 h 514350"/>
                <a:gd name="connsiteX492" fmla="*/ 5452587 w 6400800"/>
                <a:gd name="connsiteY492" fmla="*/ 230029 h 514350"/>
                <a:gd name="connsiteX493" fmla="*/ 5448776 w 6400800"/>
                <a:gd name="connsiteY493" fmla="*/ 214789 h 514350"/>
                <a:gd name="connsiteX494" fmla="*/ 5442109 w 6400800"/>
                <a:gd name="connsiteY494" fmla="*/ 190024 h 514350"/>
                <a:gd name="connsiteX495" fmla="*/ 5442109 w 6400800"/>
                <a:gd name="connsiteY495" fmla="*/ 190024 h 514350"/>
                <a:gd name="connsiteX496" fmla="*/ 5442109 w 6400800"/>
                <a:gd name="connsiteY496" fmla="*/ 180499 h 514350"/>
                <a:gd name="connsiteX497" fmla="*/ 5441156 w 6400800"/>
                <a:gd name="connsiteY497" fmla="*/ 186214 h 514350"/>
                <a:gd name="connsiteX498" fmla="*/ 5436394 w 6400800"/>
                <a:gd name="connsiteY498" fmla="*/ 169069 h 514350"/>
                <a:gd name="connsiteX499" fmla="*/ 5438299 w 6400800"/>
                <a:gd name="connsiteY499" fmla="*/ 190976 h 514350"/>
                <a:gd name="connsiteX500" fmla="*/ 5439251 w 6400800"/>
                <a:gd name="connsiteY500" fmla="*/ 195739 h 514350"/>
                <a:gd name="connsiteX501" fmla="*/ 5433537 w 6400800"/>
                <a:gd name="connsiteY501" fmla="*/ 225266 h 514350"/>
                <a:gd name="connsiteX502" fmla="*/ 5429726 w 6400800"/>
                <a:gd name="connsiteY502" fmla="*/ 221456 h 514350"/>
                <a:gd name="connsiteX503" fmla="*/ 5433537 w 6400800"/>
                <a:gd name="connsiteY503" fmla="*/ 225266 h 514350"/>
                <a:gd name="connsiteX504" fmla="*/ 5430679 w 6400800"/>
                <a:gd name="connsiteY504" fmla="*/ 240506 h 514350"/>
                <a:gd name="connsiteX505" fmla="*/ 5428774 w 6400800"/>
                <a:gd name="connsiteY505" fmla="*/ 228124 h 514350"/>
                <a:gd name="connsiteX506" fmla="*/ 5428774 w 6400800"/>
                <a:gd name="connsiteY506" fmla="*/ 242411 h 514350"/>
                <a:gd name="connsiteX507" fmla="*/ 5424012 w 6400800"/>
                <a:gd name="connsiteY507" fmla="*/ 222409 h 514350"/>
                <a:gd name="connsiteX508" fmla="*/ 5419249 w 6400800"/>
                <a:gd name="connsiteY508" fmla="*/ 200501 h 514350"/>
                <a:gd name="connsiteX509" fmla="*/ 5420201 w 6400800"/>
                <a:gd name="connsiteY509" fmla="*/ 223361 h 514350"/>
                <a:gd name="connsiteX510" fmla="*/ 5424964 w 6400800"/>
                <a:gd name="connsiteY510" fmla="*/ 274796 h 514350"/>
                <a:gd name="connsiteX511" fmla="*/ 5420201 w 6400800"/>
                <a:gd name="connsiteY511" fmla="*/ 299561 h 514350"/>
                <a:gd name="connsiteX512" fmla="*/ 5418296 w 6400800"/>
                <a:gd name="connsiteY512" fmla="*/ 305276 h 514350"/>
                <a:gd name="connsiteX513" fmla="*/ 5415439 w 6400800"/>
                <a:gd name="connsiteY513" fmla="*/ 298609 h 514350"/>
                <a:gd name="connsiteX514" fmla="*/ 5417344 w 6400800"/>
                <a:gd name="connsiteY514" fmla="*/ 291941 h 514350"/>
                <a:gd name="connsiteX515" fmla="*/ 5414487 w 6400800"/>
                <a:gd name="connsiteY515" fmla="*/ 296704 h 514350"/>
                <a:gd name="connsiteX516" fmla="*/ 5414487 w 6400800"/>
                <a:gd name="connsiteY516" fmla="*/ 295751 h 514350"/>
                <a:gd name="connsiteX517" fmla="*/ 5411629 w 6400800"/>
                <a:gd name="connsiteY517" fmla="*/ 287179 h 514350"/>
                <a:gd name="connsiteX518" fmla="*/ 5414487 w 6400800"/>
                <a:gd name="connsiteY518" fmla="*/ 268129 h 514350"/>
                <a:gd name="connsiteX519" fmla="*/ 5409724 w 6400800"/>
                <a:gd name="connsiteY519" fmla="*/ 282416 h 514350"/>
                <a:gd name="connsiteX520" fmla="*/ 5404009 w 6400800"/>
                <a:gd name="connsiteY520" fmla="*/ 267176 h 514350"/>
                <a:gd name="connsiteX521" fmla="*/ 5399246 w 6400800"/>
                <a:gd name="connsiteY521" fmla="*/ 253841 h 514350"/>
                <a:gd name="connsiteX522" fmla="*/ 5400199 w 6400800"/>
                <a:gd name="connsiteY522" fmla="*/ 232886 h 514350"/>
                <a:gd name="connsiteX523" fmla="*/ 5396389 w 6400800"/>
                <a:gd name="connsiteY523" fmla="*/ 247174 h 514350"/>
                <a:gd name="connsiteX524" fmla="*/ 5395437 w 6400800"/>
                <a:gd name="connsiteY524" fmla="*/ 244316 h 514350"/>
                <a:gd name="connsiteX525" fmla="*/ 5387817 w 6400800"/>
                <a:gd name="connsiteY525" fmla="*/ 224314 h 514350"/>
                <a:gd name="connsiteX526" fmla="*/ 5391626 w 6400800"/>
                <a:gd name="connsiteY526" fmla="*/ 245269 h 514350"/>
                <a:gd name="connsiteX527" fmla="*/ 5394484 w 6400800"/>
                <a:gd name="connsiteY527" fmla="*/ 257651 h 514350"/>
                <a:gd name="connsiteX528" fmla="*/ 5384959 w 6400800"/>
                <a:gd name="connsiteY528" fmla="*/ 300514 h 514350"/>
                <a:gd name="connsiteX529" fmla="*/ 5384006 w 6400800"/>
                <a:gd name="connsiteY529" fmla="*/ 297656 h 514350"/>
                <a:gd name="connsiteX530" fmla="*/ 5382101 w 6400800"/>
                <a:gd name="connsiteY530" fmla="*/ 283369 h 514350"/>
                <a:gd name="connsiteX531" fmla="*/ 5382101 w 6400800"/>
                <a:gd name="connsiteY531" fmla="*/ 287179 h 514350"/>
                <a:gd name="connsiteX532" fmla="*/ 5380196 w 6400800"/>
                <a:gd name="connsiteY532" fmla="*/ 276701 h 514350"/>
                <a:gd name="connsiteX533" fmla="*/ 5379244 w 6400800"/>
                <a:gd name="connsiteY533" fmla="*/ 272891 h 514350"/>
                <a:gd name="connsiteX534" fmla="*/ 5380196 w 6400800"/>
                <a:gd name="connsiteY534" fmla="*/ 269081 h 514350"/>
                <a:gd name="connsiteX535" fmla="*/ 5379244 w 6400800"/>
                <a:gd name="connsiteY535" fmla="*/ 271939 h 514350"/>
                <a:gd name="connsiteX536" fmla="*/ 5372576 w 6400800"/>
                <a:gd name="connsiteY536" fmla="*/ 241459 h 514350"/>
                <a:gd name="connsiteX537" fmla="*/ 5373529 w 6400800"/>
                <a:gd name="connsiteY537" fmla="*/ 232886 h 514350"/>
                <a:gd name="connsiteX538" fmla="*/ 5378292 w 6400800"/>
                <a:gd name="connsiteY538" fmla="*/ 190024 h 514350"/>
                <a:gd name="connsiteX539" fmla="*/ 5384006 w 6400800"/>
                <a:gd name="connsiteY539" fmla="*/ 153829 h 514350"/>
                <a:gd name="connsiteX540" fmla="*/ 5386864 w 6400800"/>
                <a:gd name="connsiteY540" fmla="*/ 138589 h 514350"/>
                <a:gd name="connsiteX541" fmla="*/ 5389721 w 6400800"/>
                <a:gd name="connsiteY541" fmla="*/ 126206 h 514350"/>
                <a:gd name="connsiteX542" fmla="*/ 5394484 w 6400800"/>
                <a:gd name="connsiteY542" fmla="*/ 102394 h 514350"/>
                <a:gd name="connsiteX543" fmla="*/ 5385912 w 6400800"/>
                <a:gd name="connsiteY543" fmla="*/ 125254 h 514350"/>
                <a:gd name="connsiteX544" fmla="*/ 5381149 w 6400800"/>
                <a:gd name="connsiteY544" fmla="*/ 137636 h 514350"/>
                <a:gd name="connsiteX545" fmla="*/ 5376387 w 6400800"/>
                <a:gd name="connsiteY545" fmla="*/ 151924 h 514350"/>
                <a:gd name="connsiteX546" fmla="*/ 5366862 w 6400800"/>
                <a:gd name="connsiteY546" fmla="*/ 188119 h 514350"/>
                <a:gd name="connsiteX547" fmla="*/ 5363051 w 6400800"/>
                <a:gd name="connsiteY547" fmla="*/ 205264 h 514350"/>
                <a:gd name="connsiteX548" fmla="*/ 5360194 w 6400800"/>
                <a:gd name="connsiteY548" fmla="*/ 196691 h 514350"/>
                <a:gd name="connsiteX549" fmla="*/ 5361146 w 6400800"/>
                <a:gd name="connsiteY549" fmla="*/ 210979 h 514350"/>
                <a:gd name="connsiteX550" fmla="*/ 5357337 w 6400800"/>
                <a:gd name="connsiteY550" fmla="*/ 230981 h 514350"/>
                <a:gd name="connsiteX551" fmla="*/ 5355431 w 6400800"/>
                <a:gd name="connsiteY551" fmla="*/ 245269 h 514350"/>
                <a:gd name="connsiteX552" fmla="*/ 5354479 w 6400800"/>
                <a:gd name="connsiteY552" fmla="*/ 235744 h 514350"/>
                <a:gd name="connsiteX553" fmla="*/ 5354479 w 6400800"/>
                <a:gd name="connsiteY553" fmla="*/ 230029 h 514350"/>
                <a:gd name="connsiteX554" fmla="*/ 5355431 w 6400800"/>
                <a:gd name="connsiteY554" fmla="*/ 210979 h 514350"/>
                <a:gd name="connsiteX555" fmla="*/ 5352574 w 6400800"/>
                <a:gd name="connsiteY555" fmla="*/ 222409 h 514350"/>
                <a:gd name="connsiteX556" fmla="*/ 5347812 w 6400800"/>
                <a:gd name="connsiteY556" fmla="*/ 190024 h 514350"/>
                <a:gd name="connsiteX557" fmla="*/ 5347812 w 6400800"/>
                <a:gd name="connsiteY557" fmla="*/ 179546 h 514350"/>
                <a:gd name="connsiteX558" fmla="*/ 5347812 w 6400800"/>
                <a:gd name="connsiteY558" fmla="*/ 160496 h 514350"/>
                <a:gd name="connsiteX559" fmla="*/ 5344954 w 6400800"/>
                <a:gd name="connsiteY559" fmla="*/ 173831 h 514350"/>
                <a:gd name="connsiteX560" fmla="*/ 5341144 w 6400800"/>
                <a:gd name="connsiteY560" fmla="*/ 150019 h 514350"/>
                <a:gd name="connsiteX561" fmla="*/ 5342096 w 6400800"/>
                <a:gd name="connsiteY561" fmla="*/ 177641 h 514350"/>
                <a:gd name="connsiteX562" fmla="*/ 5342096 w 6400800"/>
                <a:gd name="connsiteY562" fmla="*/ 187166 h 514350"/>
                <a:gd name="connsiteX563" fmla="*/ 5340192 w 6400800"/>
                <a:gd name="connsiteY563" fmla="*/ 200501 h 514350"/>
                <a:gd name="connsiteX564" fmla="*/ 5337334 w 6400800"/>
                <a:gd name="connsiteY564" fmla="*/ 229076 h 514350"/>
                <a:gd name="connsiteX565" fmla="*/ 5336381 w 6400800"/>
                <a:gd name="connsiteY565" fmla="*/ 263366 h 514350"/>
                <a:gd name="connsiteX566" fmla="*/ 5336381 w 6400800"/>
                <a:gd name="connsiteY566" fmla="*/ 282416 h 514350"/>
                <a:gd name="connsiteX567" fmla="*/ 5336381 w 6400800"/>
                <a:gd name="connsiteY567" fmla="*/ 282416 h 514350"/>
                <a:gd name="connsiteX568" fmla="*/ 5333524 w 6400800"/>
                <a:gd name="connsiteY568" fmla="*/ 293846 h 514350"/>
                <a:gd name="connsiteX569" fmla="*/ 5332571 w 6400800"/>
                <a:gd name="connsiteY569" fmla="*/ 291941 h 514350"/>
                <a:gd name="connsiteX570" fmla="*/ 5327809 w 6400800"/>
                <a:gd name="connsiteY570" fmla="*/ 278606 h 514350"/>
                <a:gd name="connsiteX571" fmla="*/ 5319237 w 6400800"/>
                <a:gd name="connsiteY571" fmla="*/ 252889 h 514350"/>
                <a:gd name="connsiteX572" fmla="*/ 5310664 w 6400800"/>
                <a:gd name="connsiteY572" fmla="*/ 230029 h 514350"/>
                <a:gd name="connsiteX573" fmla="*/ 5315426 w 6400800"/>
                <a:gd name="connsiteY573" fmla="*/ 253841 h 514350"/>
                <a:gd name="connsiteX574" fmla="*/ 5318284 w 6400800"/>
                <a:gd name="connsiteY574" fmla="*/ 267176 h 514350"/>
                <a:gd name="connsiteX575" fmla="*/ 5315426 w 6400800"/>
                <a:gd name="connsiteY575" fmla="*/ 263366 h 514350"/>
                <a:gd name="connsiteX576" fmla="*/ 5320189 w 6400800"/>
                <a:gd name="connsiteY576" fmla="*/ 276701 h 514350"/>
                <a:gd name="connsiteX577" fmla="*/ 5321142 w 6400800"/>
                <a:gd name="connsiteY577" fmla="*/ 281464 h 514350"/>
                <a:gd name="connsiteX578" fmla="*/ 5324951 w 6400800"/>
                <a:gd name="connsiteY578" fmla="*/ 297656 h 514350"/>
                <a:gd name="connsiteX579" fmla="*/ 5326856 w 6400800"/>
                <a:gd name="connsiteY579" fmla="*/ 306229 h 514350"/>
                <a:gd name="connsiteX580" fmla="*/ 5316379 w 6400800"/>
                <a:gd name="connsiteY580" fmla="*/ 322421 h 514350"/>
                <a:gd name="connsiteX581" fmla="*/ 5306854 w 6400800"/>
                <a:gd name="connsiteY581" fmla="*/ 338614 h 514350"/>
                <a:gd name="connsiteX582" fmla="*/ 5298281 w 6400800"/>
                <a:gd name="connsiteY582" fmla="*/ 354806 h 514350"/>
                <a:gd name="connsiteX583" fmla="*/ 5298281 w 6400800"/>
                <a:gd name="connsiteY583" fmla="*/ 344329 h 514350"/>
                <a:gd name="connsiteX584" fmla="*/ 5301139 w 6400800"/>
                <a:gd name="connsiteY584" fmla="*/ 318611 h 514350"/>
                <a:gd name="connsiteX585" fmla="*/ 5305901 w 6400800"/>
                <a:gd name="connsiteY585" fmla="*/ 291941 h 514350"/>
                <a:gd name="connsiteX586" fmla="*/ 5311617 w 6400800"/>
                <a:gd name="connsiteY586" fmla="*/ 269081 h 514350"/>
                <a:gd name="connsiteX587" fmla="*/ 5302092 w 6400800"/>
                <a:gd name="connsiteY587" fmla="*/ 290989 h 514350"/>
                <a:gd name="connsiteX588" fmla="*/ 5299234 w 6400800"/>
                <a:gd name="connsiteY588" fmla="*/ 298609 h 514350"/>
                <a:gd name="connsiteX589" fmla="*/ 5299234 w 6400800"/>
                <a:gd name="connsiteY589" fmla="*/ 263366 h 514350"/>
                <a:gd name="connsiteX590" fmla="*/ 5290662 w 6400800"/>
                <a:gd name="connsiteY590" fmla="*/ 317659 h 514350"/>
                <a:gd name="connsiteX591" fmla="*/ 5289709 w 6400800"/>
                <a:gd name="connsiteY591" fmla="*/ 312896 h 514350"/>
                <a:gd name="connsiteX592" fmla="*/ 5284946 w 6400800"/>
                <a:gd name="connsiteY592" fmla="*/ 295751 h 514350"/>
                <a:gd name="connsiteX593" fmla="*/ 5284946 w 6400800"/>
                <a:gd name="connsiteY593" fmla="*/ 295751 h 514350"/>
                <a:gd name="connsiteX594" fmla="*/ 5284946 w 6400800"/>
                <a:gd name="connsiteY594" fmla="*/ 295751 h 514350"/>
                <a:gd name="connsiteX595" fmla="*/ 5282089 w 6400800"/>
                <a:gd name="connsiteY595" fmla="*/ 284321 h 514350"/>
                <a:gd name="connsiteX596" fmla="*/ 5281137 w 6400800"/>
                <a:gd name="connsiteY596" fmla="*/ 282416 h 514350"/>
                <a:gd name="connsiteX597" fmla="*/ 5288756 w 6400800"/>
                <a:gd name="connsiteY597" fmla="*/ 252889 h 514350"/>
                <a:gd name="connsiteX598" fmla="*/ 5279231 w 6400800"/>
                <a:gd name="connsiteY598" fmla="*/ 273844 h 514350"/>
                <a:gd name="connsiteX599" fmla="*/ 5275421 w 6400800"/>
                <a:gd name="connsiteY599" fmla="*/ 262414 h 514350"/>
                <a:gd name="connsiteX600" fmla="*/ 5268754 w 6400800"/>
                <a:gd name="connsiteY600" fmla="*/ 243364 h 514350"/>
                <a:gd name="connsiteX601" fmla="*/ 5271612 w 6400800"/>
                <a:gd name="connsiteY601" fmla="*/ 262414 h 514350"/>
                <a:gd name="connsiteX602" fmla="*/ 5274469 w 6400800"/>
                <a:gd name="connsiteY602" fmla="*/ 283369 h 514350"/>
                <a:gd name="connsiteX603" fmla="*/ 5263039 w 6400800"/>
                <a:gd name="connsiteY603" fmla="*/ 310039 h 514350"/>
                <a:gd name="connsiteX604" fmla="*/ 5263039 w 6400800"/>
                <a:gd name="connsiteY604" fmla="*/ 302419 h 514350"/>
                <a:gd name="connsiteX605" fmla="*/ 5260181 w 6400800"/>
                <a:gd name="connsiteY605" fmla="*/ 310039 h 514350"/>
                <a:gd name="connsiteX606" fmla="*/ 5260181 w 6400800"/>
                <a:gd name="connsiteY606" fmla="*/ 309086 h 514350"/>
                <a:gd name="connsiteX607" fmla="*/ 5261134 w 6400800"/>
                <a:gd name="connsiteY607" fmla="*/ 301466 h 514350"/>
                <a:gd name="connsiteX608" fmla="*/ 5262087 w 6400800"/>
                <a:gd name="connsiteY608" fmla="*/ 284321 h 514350"/>
                <a:gd name="connsiteX609" fmla="*/ 5263039 w 6400800"/>
                <a:gd name="connsiteY609" fmla="*/ 269081 h 514350"/>
                <a:gd name="connsiteX610" fmla="*/ 5258276 w 6400800"/>
                <a:gd name="connsiteY610" fmla="*/ 283369 h 514350"/>
                <a:gd name="connsiteX611" fmla="*/ 5257324 w 6400800"/>
                <a:gd name="connsiteY611" fmla="*/ 287179 h 514350"/>
                <a:gd name="connsiteX612" fmla="*/ 5255419 w 6400800"/>
                <a:gd name="connsiteY612" fmla="*/ 273844 h 514350"/>
                <a:gd name="connsiteX613" fmla="*/ 5255419 w 6400800"/>
                <a:gd name="connsiteY613" fmla="*/ 271939 h 514350"/>
                <a:gd name="connsiteX614" fmla="*/ 5255419 w 6400800"/>
                <a:gd name="connsiteY614" fmla="*/ 270986 h 514350"/>
                <a:gd name="connsiteX615" fmla="*/ 5256371 w 6400800"/>
                <a:gd name="connsiteY615" fmla="*/ 266224 h 514350"/>
                <a:gd name="connsiteX616" fmla="*/ 5255419 w 6400800"/>
                <a:gd name="connsiteY616" fmla="*/ 268129 h 514350"/>
                <a:gd name="connsiteX617" fmla="*/ 5258276 w 6400800"/>
                <a:gd name="connsiteY617" fmla="*/ 232886 h 514350"/>
                <a:gd name="connsiteX618" fmla="*/ 5263039 w 6400800"/>
                <a:gd name="connsiteY618" fmla="*/ 158591 h 514350"/>
                <a:gd name="connsiteX619" fmla="*/ 5252562 w 6400800"/>
                <a:gd name="connsiteY619" fmla="*/ 204311 h 514350"/>
                <a:gd name="connsiteX620" fmla="*/ 5255419 w 6400800"/>
                <a:gd name="connsiteY620" fmla="*/ 173831 h 514350"/>
                <a:gd name="connsiteX621" fmla="*/ 5258276 w 6400800"/>
                <a:gd name="connsiteY621" fmla="*/ 140494 h 514350"/>
                <a:gd name="connsiteX622" fmla="*/ 5260181 w 6400800"/>
                <a:gd name="connsiteY622" fmla="*/ 110966 h 514350"/>
                <a:gd name="connsiteX623" fmla="*/ 5254467 w 6400800"/>
                <a:gd name="connsiteY623" fmla="*/ 139541 h 514350"/>
                <a:gd name="connsiteX624" fmla="*/ 5247799 w 6400800"/>
                <a:gd name="connsiteY624" fmla="*/ 172879 h 514350"/>
                <a:gd name="connsiteX625" fmla="*/ 5243989 w 6400800"/>
                <a:gd name="connsiteY625" fmla="*/ 192881 h 514350"/>
                <a:gd name="connsiteX626" fmla="*/ 5243037 w 6400800"/>
                <a:gd name="connsiteY626" fmla="*/ 201454 h 514350"/>
                <a:gd name="connsiteX627" fmla="*/ 5241131 w 6400800"/>
                <a:gd name="connsiteY627" fmla="*/ 194786 h 514350"/>
                <a:gd name="connsiteX628" fmla="*/ 5241131 w 6400800"/>
                <a:gd name="connsiteY628" fmla="*/ 209074 h 514350"/>
                <a:gd name="connsiteX629" fmla="*/ 5240179 w 6400800"/>
                <a:gd name="connsiteY629" fmla="*/ 215741 h 514350"/>
                <a:gd name="connsiteX630" fmla="*/ 5235417 w 6400800"/>
                <a:gd name="connsiteY630" fmla="*/ 246221 h 514350"/>
                <a:gd name="connsiteX631" fmla="*/ 5230654 w 6400800"/>
                <a:gd name="connsiteY631" fmla="*/ 252889 h 514350"/>
                <a:gd name="connsiteX632" fmla="*/ 5222081 w 6400800"/>
                <a:gd name="connsiteY632" fmla="*/ 266224 h 514350"/>
                <a:gd name="connsiteX633" fmla="*/ 5215414 w 6400800"/>
                <a:gd name="connsiteY633" fmla="*/ 279559 h 514350"/>
                <a:gd name="connsiteX634" fmla="*/ 5215414 w 6400800"/>
                <a:gd name="connsiteY634" fmla="*/ 278606 h 514350"/>
                <a:gd name="connsiteX635" fmla="*/ 5216367 w 6400800"/>
                <a:gd name="connsiteY635" fmla="*/ 275749 h 514350"/>
                <a:gd name="connsiteX636" fmla="*/ 5215414 w 6400800"/>
                <a:gd name="connsiteY636" fmla="*/ 277654 h 514350"/>
                <a:gd name="connsiteX637" fmla="*/ 5211604 w 6400800"/>
                <a:gd name="connsiteY637" fmla="*/ 249079 h 514350"/>
                <a:gd name="connsiteX638" fmla="*/ 5208746 w 6400800"/>
                <a:gd name="connsiteY638" fmla="*/ 224314 h 514350"/>
                <a:gd name="connsiteX639" fmla="*/ 5205889 w 6400800"/>
                <a:gd name="connsiteY639" fmla="*/ 202406 h 514350"/>
                <a:gd name="connsiteX640" fmla="*/ 5204937 w 6400800"/>
                <a:gd name="connsiteY640" fmla="*/ 224314 h 514350"/>
                <a:gd name="connsiteX641" fmla="*/ 5204937 w 6400800"/>
                <a:gd name="connsiteY641" fmla="*/ 249079 h 514350"/>
                <a:gd name="connsiteX642" fmla="*/ 5204937 w 6400800"/>
                <a:gd name="connsiteY642" fmla="*/ 264319 h 514350"/>
                <a:gd name="connsiteX643" fmla="*/ 5205889 w 6400800"/>
                <a:gd name="connsiteY643" fmla="*/ 281464 h 514350"/>
                <a:gd name="connsiteX644" fmla="*/ 5205889 w 6400800"/>
                <a:gd name="connsiteY644" fmla="*/ 289084 h 514350"/>
                <a:gd name="connsiteX645" fmla="*/ 5203984 w 6400800"/>
                <a:gd name="connsiteY645" fmla="*/ 286226 h 514350"/>
                <a:gd name="connsiteX646" fmla="*/ 5205889 w 6400800"/>
                <a:gd name="connsiteY646" fmla="*/ 290989 h 514350"/>
                <a:gd name="connsiteX647" fmla="*/ 5205889 w 6400800"/>
                <a:gd name="connsiteY647" fmla="*/ 291941 h 514350"/>
                <a:gd name="connsiteX648" fmla="*/ 5203984 w 6400800"/>
                <a:gd name="connsiteY648" fmla="*/ 287179 h 514350"/>
                <a:gd name="connsiteX649" fmla="*/ 5203984 w 6400800"/>
                <a:gd name="connsiteY649" fmla="*/ 287179 h 514350"/>
                <a:gd name="connsiteX650" fmla="*/ 5203984 w 6400800"/>
                <a:gd name="connsiteY650" fmla="*/ 287179 h 514350"/>
                <a:gd name="connsiteX651" fmla="*/ 5199221 w 6400800"/>
                <a:gd name="connsiteY651" fmla="*/ 278606 h 514350"/>
                <a:gd name="connsiteX652" fmla="*/ 5202079 w 6400800"/>
                <a:gd name="connsiteY652" fmla="*/ 290989 h 514350"/>
                <a:gd name="connsiteX653" fmla="*/ 5198269 w 6400800"/>
                <a:gd name="connsiteY653" fmla="*/ 300514 h 514350"/>
                <a:gd name="connsiteX654" fmla="*/ 5195412 w 6400800"/>
                <a:gd name="connsiteY654" fmla="*/ 295751 h 514350"/>
                <a:gd name="connsiteX655" fmla="*/ 5191601 w 6400800"/>
                <a:gd name="connsiteY655" fmla="*/ 263366 h 514350"/>
                <a:gd name="connsiteX656" fmla="*/ 5184934 w 6400800"/>
                <a:gd name="connsiteY656" fmla="*/ 190024 h 514350"/>
                <a:gd name="connsiteX657" fmla="*/ 5183981 w 6400800"/>
                <a:gd name="connsiteY657" fmla="*/ 169069 h 514350"/>
                <a:gd name="connsiteX658" fmla="*/ 5183981 w 6400800"/>
                <a:gd name="connsiteY658" fmla="*/ 161449 h 514350"/>
                <a:gd name="connsiteX659" fmla="*/ 5183029 w 6400800"/>
                <a:gd name="connsiteY659" fmla="*/ 169069 h 514350"/>
                <a:gd name="connsiteX660" fmla="*/ 5181124 w 6400800"/>
                <a:gd name="connsiteY660" fmla="*/ 190024 h 514350"/>
                <a:gd name="connsiteX661" fmla="*/ 5180171 w 6400800"/>
                <a:gd name="connsiteY661" fmla="*/ 211931 h 514350"/>
                <a:gd name="connsiteX662" fmla="*/ 5177314 w 6400800"/>
                <a:gd name="connsiteY662" fmla="*/ 215741 h 514350"/>
                <a:gd name="connsiteX663" fmla="*/ 5165884 w 6400800"/>
                <a:gd name="connsiteY663" fmla="*/ 231934 h 514350"/>
                <a:gd name="connsiteX664" fmla="*/ 5163979 w 6400800"/>
                <a:gd name="connsiteY664" fmla="*/ 235744 h 514350"/>
                <a:gd name="connsiteX665" fmla="*/ 5161121 w 6400800"/>
                <a:gd name="connsiteY665" fmla="*/ 230029 h 514350"/>
                <a:gd name="connsiteX666" fmla="*/ 5161121 w 6400800"/>
                <a:gd name="connsiteY666" fmla="*/ 229076 h 514350"/>
                <a:gd name="connsiteX667" fmla="*/ 5163026 w 6400800"/>
                <a:gd name="connsiteY667" fmla="*/ 213836 h 514350"/>
                <a:gd name="connsiteX668" fmla="*/ 5163979 w 6400800"/>
                <a:gd name="connsiteY668" fmla="*/ 208121 h 514350"/>
                <a:gd name="connsiteX669" fmla="*/ 5158264 w 6400800"/>
                <a:gd name="connsiteY669" fmla="*/ 224314 h 514350"/>
                <a:gd name="connsiteX670" fmla="*/ 5156359 w 6400800"/>
                <a:gd name="connsiteY670" fmla="*/ 220504 h 514350"/>
                <a:gd name="connsiteX671" fmla="*/ 5147787 w 6400800"/>
                <a:gd name="connsiteY671" fmla="*/ 205264 h 514350"/>
                <a:gd name="connsiteX672" fmla="*/ 5144929 w 6400800"/>
                <a:gd name="connsiteY672" fmla="*/ 178594 h 514350"/>
                <a:gd name="connsiteX673" fmla="*/ 5141119 w 6400800"/>
                <a:gd name="connsiteY673" fmla="*/ 149066 h 514350"/>
                <a:gd name="connsiteX674" fmla="*/ 5141119 w 6400800"/>
                <a:gd name="connsiteY674" fmla="*/ 178594 h 514350"/>
                <a:gd name="connsiteX675" fmla="*/ 5141119 w 6400800"/>
                <a:gd name="connsiteY675" fmla="*/ 255746 h 514350"/>
                <a:gd name="connsiteX676" fmla="*/ 5141119 w 6400800"/>
                <a:gd name="connsiteY676" fmla="*/ 258604 h 514350"/>
                <a:gd name="connsiteX677" fmla="*/ 5139214 w 6400800"/>
                <a:gd name="connsiteY677" fmla="*/ 260509 h 514350"/>
                <a:gd name="connsiteX678" fmla="*/ 5134451 w 6400800"/>
                <a:gd name="connsiteY678" fmla="*/ 265271 h 514350"/>
                <a:gd name="connsiteX679" fmla="*/ 5128737 w 6400800"/>
                <a:gd name="connsiteY679" fmla="*/ 184309 h 514350"/>
                <a:gd name="connsiteX680" fmla="*/ 5124926 w 6400800"/>
                <a:gd name="connsiteY680" fmla="*/ 236696 h 514350"/>
                <a:gd name="connsiteX681" fmla="*/ 5119212 w 6400800"/>
                <a:gd name="connsiteY681" fmla="*/ 219551 h 514350"/>
                <a:gd name="connsiteX682" fmla="*/ 5123974 w 6400800"/>
                <a:gd name="connsiteY682" fmla="*/ 249079 h 514350"/>
                <a:gd name="connsiteX683" fmla="*/ 5123021 w 6400800"/>
                <a:gd name="connsiteY683" fmla="*/ 258604 h 514350"/>
                <a:gd name="connsiteX684" fmla="*/ 5120164 w 6400800"/>
                <a:gd name="connsiteY684" fmla="*/ 279559 h 514350"/>
                <a:gd name="connsiteX685" fmla="*/ 5116354 w 6400800"/>
                <a:gd name="connsiteY685" fmla="*/ 285274 h 514350"/>
                <a:gd name="connsiteX686" fmla="*/ 5106829 w 6400800"/>
                <a:gd name="connsiteY686" fmla="*/ 298609 h 514350"/>
                <a:gd name="connsiteX687" fmla="*/ 5103971 w 6400800"/>
                <a:gd name="connsiteY687" fmla="*/ 303371 h 514350"/>
                <a:gd name="connsiteX688" fmla="*/ 5085874 w 6400800"/>
                <a:gd name="connsiteY688" fmla="*/ 261461 h 514350"/>
                <a:gd name="connsiteX689" fmla="*/ 5086826 w 6400800"/>
                <a:gd name="connsiteY689" fmla="*/ 261461 h 514350"/>
                <a:gd name="connsiteX690" fmla="*/ 5091589 w 6400800"/>
                <a:gd name="connsiteY690" fmla="*/ 260509 h 514350"/>
                <a:gd name="connsiteX691" fmla="*/ 5086826 w 6400800"/>
                <a:gd name="connsiteY691" fmla="*/ 260509 h 514350"/>
                <a:gd name="connsiteX692" fmla="*/ 5085874 w 6400800"/>
                <a:gd name="connsiteY692" fmla="*/ 260509 h 514350"/>
                <a:gd name="connsiteX693" fmla="*/ 5071587 w 6400800"/>
                <a:gd name="connsiteY693" fmla="*/ 230029 h 514350"/>
                <a:gd name="connsiteX694" fmla="*/ 5071587 w 6400800"/>
                <a:gd name="connsiteY694" fmla="*/ 222409 h 514350"/>
                <a:gd name="connsiteX695" fmla="*/ 5069681 w 6400800"/>
                <a:gd name="connsiteY695" fmla="*/ 227171 h 514350"/>
                <a:gd name="connsiteX696" fmla="*/ 5062062 w 6400800"/>
                <a:gd name="connsiteY696" fmla="*/ 192881 h 514350"/>
                <a:gd name="connsiteX697" fmla="*/ 5058251 w 6400800"/>
                <a:gd name="connsiteY697" fmla="*/ 174784 h 514350"/>
                <a:gd name="connsiteX698" fmla="*/ 5055394 w 6400800"/>
                <a:gd name="connsiteY698" fmla="*/ 159544 h 514350"/>
                <a:gd name="connsiteX699" fmla="*/ 5049679 w 6400800"/>
                <a:gd name="connsiteY699" fmla="*/ 130016 h 514350"/>
                <a:gd name="connsiteX700" fmla="*/ 5050631 w 6400800"/>
                <a:gd name="connsiteY700" fmla="*/ 159544 h 514350"/>
                <a:gd name="connsiteX701" fmla="*/ 5051584 w 6400800"/>
                <a:gd name="connsiteY701" fmla="*/ 174784 h 514350"/>
                <a:gd name="connsiteX702" fmla="*/ 5053489 w 6400800"/>
                <a:gd name="connsiteY702" fmla="*/ 192881 h 514350"/>
                <a:gd name="connsiteX703" fmla="*/ 5059204 w 6400800"/>
                <a:gd name="connsiteY703" fmla="*/ 236696 h 514350"/>
                <a:gd name="connsiteX704" fmla="*/ 5061109 w 6400800"/>
                <a:gd name="connsiteY704" fmla="*/ 249079 h 514350"/>
                <a:gd name="connsiteX705" fmla="*/ 5055394 w 6400800"/>
                <a:gd name="connsiteY705" fmla="*/ 270034 h 514350"/>
                <a:gd name="connsiteX706" fmla="*/ 5052537 w 6400800"/>
                <a:gd name="connsiteY706" fmla="*/ 271939 h 514350"/>
                <a:gd name="connsiteX707" fmla="*/ 5052537 w 6400800"/>
                <a:gd name="connsiteY707" fmla="*/ 271939 h 514350"/>
                <a:gd name="connsiteX708" fmla="*/ 5051584 w 6400800"/>
                <a:gd name="connsiteY708" fmla="*/ 267176 h 514350"/>
                <a:gd name="connsiteX709" fmla="*/ 5051584 w 6400800"/>
                <a:gd name="connsiteY709" fmla="*/ 269081 h 514350"/>
                <a:gd name="connsiteX710" fmla="*/ 5048726 w 6400800"/>
                <a:gd name="connsiteY710" fmla="*/ 261461 h 514350"/>
                <a:gd name="connsiteX711" fmla="*/ 5048726 w 6400800"/>
                <a:gd name="connsiteY711" fmla="*/ 261461 h 514350"/>
                <a:gd name="connsiteX712" fmla="*/ 5050631 w 6400800"/>
                <a:gd name="connsiteY712" fmla="*/ 252889 h 514350"/>
                <a:gd name="connsiteX713" fmla="*/ 5047774 w 6400800"/>
                <a:gd name="connsiteY713" fmla="*/ 259556 h 514350"/>
                <a:gd name="connsiteX714" fmla="*/ 5039201 w 6400800"/>
                <a:gd name="connsiteY714" fmla="*/ 236696 h 514350"/>
                <a:gd name="connsiteX715" fmla="*/ 5031581 w 6400800"/>
                <a:gd name="connsiteY715" fmla="*/ 214789 h 514350"/>
                <a:gd name="connsiteX716" fmla="*/ 5035392 w 6400800"/>
                <a:gd name="connsiteY716" fmla="*/ 237649 h 514350"/>
                <a:gd name="connsiteX717" fmla="*/ 5039201 w 6400800"/>
                <a:gd name="connsiteY717" fmla="*/ 256699 h 514350"/>
                <a:gd name="connsiteX718" fmla="*/ 5034439 w 6400800"/>
                <a:gd name="connsiteY718" fmla="*/ 265271 h 514350"/>
                <a:gd name="connsiteX719" fmla="*/ 5034439 w 6400800"/>
                <a:gd name="connsiteY719" fmla="*/ 262414 h 514350"/>
                <a:gd name="connsiteX720" fmla="*/ 5030629 w 6400800"/>
                <a:gd name="connsiteY720" fmla="*/ 241459 h 514350"/>
                <a:gd name="connsiteX721" fmla="*/ 5026819 w 6400800"/>
                <a:gd name="connsiteY721" fmla="*/ 223361 h 514350"/>
                <a:gd name="connsiteX722" fmla="*/ 5025867 w 6400800"/>
                <a:gd name="connsiteY722" fmla="*/ 242411 h 514350"/>
                <a:gd name="connsiteX723" fmla="*/ 5025867 w 6400800"/>
                <a:gd name="connsiteY723" fmla="*/ 263366 h 514350"/>
                <a:gd name="connsiteX724" fmla="*/ 5025867 w 6400800"/>
                <a:gd name="connsiteY724" fmla="*/ 276701 h 514350"/>
                <a:gd name="connsiteX725" fmla="*/ 5025867 w 6400800"/>
                <a:gd name="connsiteY725" fmla="*/ 281464 h 514350"/>
                <a:gd name="connsiteX726" fmla="*/ 5010626 w 6400800"/>
                <a:gd name="connsiteY726" fmla="*/ 263366 h 514350"/>
                <a:gd name="connsiteX727" fmla="*/ 4995387 w 6400800"/>
                <a:gd name="connsiteY727" fmla="*/ 248126 h 514350"/>
                <a:gd name="connsiteX728" fmla="*/ 4997292 w 6400800"/>
                <a:gd name="connsiteY728" fmla="*/ 243364 h 514350"/>
                <a:gd name="connsiteX729" fmla="*/ 4994434 w 6400800"/>
                <a:gd name="connsiteY729" fmla="*/ 248126 h 514350"/>
                <a:gd name="connsiteX730" fmla="*/ 4992529 w 6400800"/>
                <a:gd name="connsiteY730" fmla="*/ 246221 h 514350"/>
                <a:gd name="connsiteX731" fmla="*/ 4994434 w 6400800"/>
                <a:gd name="connsiteY731" fmla="*/ 190024 h 514350"/>
                <a:gd name="connsiteX732" fmla="*/ 4983004 w 6400800"/>
                <a:gd name="connsiteY732" fmla="*/ 240506 h 514350"/>
                <a:gd name="connsiteX733" fmla="*/ 4981099 w 6400800"/>
                <a:gd name="connsiteY733" fmla="*/ 238601 h 514350"/>
                <a:gd name="connsiteX734" fmla="*/ 4959192 w 6400800"/>
                <a:gd name="connsiteY734" fmla="*/ 219551 h 514350"/>
                <a:gd name="connsiteX735" fmla="*/ 4978242 w 6400800"/>
                <a:gd name="connsiteY735" fmla="*/ 241459 h 514350"/>
                <a:gd name="connsiteX736" fmla="*/ 4982051 w 6400800"/>
                <a:gd name="connsiteY736" fmla="*/ 246221 h 514350"/>
                <a:gd name="connsiteX737" fmla="*/ 4982051 w 6400800"/>
                <a:gd name="connsiteY737" fmla="*/ 248126 h 514350"/>
                <a:gd name="connsiteX738" fmla="*/ 4976337 w 6400800"/>
                <a:gd name="connsiteY738" fmla="*/ 279559 h 514350"/>
                <a:gd name="connsiteX739" fmla="*/ 4969669 w 6400800"/>
                <a:gd name="connsiteY739" fmla="*/ 290989 h 514350"/>
                <a:gd name="connsiteX740" fmla="*/ 4960144 w 6400800"/>
                <a:gd name="connsiteY740" fmla="*/ 265271 h 514350"/>
                <a:gd name="connsiteX741" fmla="*/ 4960144 w 6400800"/>
                <a:gd name="connsiteY741" fmla="*/ 264319 h 514350"/>
                <a:gd name="connsiteX742" fmla="*/ 4959192 w 6400800"/>
                <a:gd name="connsiteY742" fmla="*/ 237649 h 514350"/>
                <a:gd name="connsiteX743" fmla="*/ 4958239 w 6400800"/>
                <a:gd name="connsiteY743" fmla="*/ 214789 h 514350"/>
                <a:gd name="connsiteX744" fmla="*/ 4968717 w 6400800"/>
                <a:gd name="connsiteY744" fmla="*/ 164306 h 514350"/>
                <a:gd name="connsiteX745" fmla="*/ 4974431 w 6400800"/>
                <a:gd name="connsiteY745" fmla="*/ 134779 h 514350"/>
                <a:gd name="connsiteX746" fmla="*/ 4964906 w 6400800"/>
                <a:gd name="connsiteY746" fmla="*/ 163354 h 514350"/>
                <a:gd name="connsiteX747" fmla="*/ 4955381 w 6400800"/>
                <a:gd name="connsiteY747" fmla="*/ 191929 h 514350"/>
                <a:gd name="connsiteX748" fmla="*/ 4955381 w 6400800"/>
                <a:gd name="connsiteY748" fmla="*/ 176689 h 514350"/>
                <a:gd name="connsiteX749" fmla="*/ 4952524 w 6400800"/>
                <a:gd name="connsiteY749" fmla="*/ 202406 h 514350"/>
                <a:gd name="connsiteX750" fmla="*/ 4952524 w 6400800"/>
                <a:gd name="connsiteY750" fmla="*/ 203359 h 514350"/>
                <a:gd name="connsiteX751" fmla="*/ 4944904 w 6400800"/>
                <a:gd name="connsiteY751" fmla="*/ 227171 h 514350"/>
                <a:gd name="connsiteX752" fmla="*/ 4944904 w 6400800"/>
                <a:gd name="connsiteY752" fmla="*/ 226219 h 514350"/>
                <a:gd name="connsiteX753" fmla="*/ 4936331 w 6400800"/>
                <a:gd name="connsiteY753" fmla="*/ 199549 h 514350"/>
                <a:gd name="connsiteX754" fmla="*/ 4942046 w 6400800"/>
                <a:gd name="connsiteY754" fmla="*/ 236696 h 514350"/>
                <a:gd name="connsiteX755" fmla="*/ 4941094 w 6400800"/>
                <a:gd name="connsiteY755" fmla="*/ 239554 h 514350"/>
                <a:gd name="connsiteX756" fmla="*/ 4922996 w 6400800"/>
                <a:gd name="connsiteY756" fmla="*/ 292894 h 514350"/>
                <a:gd name="connsiteX757" fmla="*/ 4922996 w 6400800"/>
                <a:gd name="connsiteY757" fmla="*/ 289084 h 514350"/>
                <a:gd name="connsiteX758" fmla="*/ 4920139 w 6400800"/>
                <a:gd name="connsiteY758" fmla="*/ 269081 h 514350"/>
                <a:gd name="connsiteX759" fmla="*/ 4919187 w 6400800"/>
                <a:gd name="connsiteY759" fmla="*/ 290036 h 514350"/>
                <a:gd name="connsiteX760" fmla="*/ 4919187 w 6400800"/>
                <a:gd name="connsiteY760" fmla="*/ 296704 h 514350"/>
                <a:gd name="connsiteX761" fmla="*/ 4917281 w 6400800"/>
                <a:gd name="connsiteY761" fmla="*/ 289084 h 514350"/>
                <a:gd name="connsiteX762" fmla="*/ 4911567 w 6400800"/>
                <a:gd name="connsiteY762" fmla="*/ 266224 h 514350"/>
                <a:gd name="connsiteX763" fmla="*/ 4904899 w 6400800"/>
                <a:gd name="connsiteY763" fmla="*/ 246221 h 514350"/>
                <a:gd name="connsiteX764" fmla="*/ 4907756 w 6400800"/>
                <a:gd name="connsiteY764" fmla="*/ 267176 h 514350"/>
                <a:gd name="connsiteX765" fmla="*/ 4909662 w 6400800"/>
                <a:gd name="connsiteY765" fmla="*/ 290989 h 514350"/>
                <a:gd name="connsiteX766" fmla="*/ 4911567 w 6400800"/>
                <a:gd name="connsiteY766" fmla="*/ 321469 h 514350"/>
                <a:gd name="connsiteX767" fmla="*/ 4908709 w 6400800"/>
                <a:gd name="connsiteY767" fmla="*/ 327184 h 514350"/>
                <a:gd name="connsiteX768" fmla="*/ 4902042 w 6400800"/>
                <a:gd name="connsiteY768" fmla="*/ 313849 h 514350"/>
                <a:gd name="connsiteX769" fmla="*/ 4894421 w 6400800"/>
                <a:gd name="connsiteY769" fmla="*/ 298609 h 514350"/>
                <a:gd name="connsiteX770" fmla="*/ 4892517 w 6400800"/>
                <a:gd name="connsiteY770" fmla="*/ 285274 h 514350"/>
                <a:gd name="connsiteX771" fmla="*/ 4891564 w 6400800"/>
                <a:gd name="connsiteY771" fmla="*/ 293846 h 514350"/>
                <a:gd name="connsiteX772" fmla="*/ 4888706 w 6400800"/>
                <a:gd name="connsiteY772" fmla="*/ 289084 h 514350"/>
                <a:gd name="connsiteX773" fmla="*/ 4891564 w 6400800"/>
                <a:gd name="connsiteY773" fmla="*/ 295751 h 514350"/>
                <a:gd name="connsiteX774" fmla="*/ 4887754 w 6400800"/>
                <a:gd name="connsiteY774" fmla="*/ 348139 h 514350"/>
                <a:gd name="connsiteX775" fmla="*/ 4887754 w 6400800"/>
                <a:gd name="connsiteY775" fmla="*/ 357664 h 514350"/>
                <a:gd name="connsiteX776" fmla="*/ 4882991 w 6400800"/>
                <a:gd name="connsiteY776" fmla="*/ 350996 h 514350"/>
                <a:gd name="connsiteX777" fmla="*/ 4882039 w 6400800"/>
                <a:gd name="connsiteY777" fmla="*/ 338614 h 514350"/>
                <a:gd name="connsiteX778" fmla="*/ 4882039 w 6400800"/>
                <a:gd name="connsiteY778" fmla="*/ 337661 h 514350"/>
                <a:gd name="connsiteX779" fmla="*/ 4883944 w 6400800"/>
                <a:gd name="connsiteY779" fmla="*/ 327184 h 514350"/>
                <a:gd name="connsiteX780" fmla="*/ 4885849 w 6400800"/>
                <a:gd name="connsiteY780" fmla="*/ 319564 h 514350"/>
                <a:gd name="connsiteX781" fmla="*/ 4887754 w 6400800"/>
                <a:gd name="connsiteY781" fmla="*/ 312896 h 514350"/>
                <a:gd name="connsiteX782" fmla="*/ 4884896 w 6400800"/>
                <a:gd name="connsiteY782" fmla="*/ 318611 h 514350"/>
                <a:gd name="connsiteX783" fmla="*/ 4882039 w 6400800"/>
                <a:gd name="connsiteY783" fmla="*/ 326231 h 514350"/>
                <a:gd name="connsiteX784" fmla="*/ 4882039 w 6400800"/>
                <a:gd name="connsiteY784" fmla="*/ 328136 h 514350"/>
                <a:gd name="connsiteX785" fmla="*/ 4882039 w 6400800"/>
                <a:gd name="connsiteY785" fmla="*/ 326231 h 514350"/>
                <a:gd name="connsiteX786" fmla="*/ 4877276 w 6400800"/>
                <a:gd name="connsiteY786" fmla="*/ 288131 h 514350"/>
                <a:gd name="connsiteX787" fmla="*/ 4873466 w 6400800"/>
                <a:gd name="connsiteY787" fmla="*/ 263366 h 514350"/>
                <a:gd name="connsiteX788" fmla="*/ 4878229 w 6400800"/>
                <a:gd name="connsiteY788" fmla="*/ 238601 h 514350"/>
                <a:gd name="connsiteX789" fmla="*/ 4882039 w 6400800"/>
                <a:gd name="connsiteY789" fmla="*/ 211931 h 514350"/>
                <a:gd name="connsiteX790" fmla="*/ 4874419 w 6400800"/>
                <a:gd name="connsiteY790" fmla="*/ 237649 h 514350"/>
                <a:gd name="connsiteX791" fmla="*/ 4870609 w 6400800"/>
                <a:gd name="connsiteY791" fmla="*/ 249079 h 514350"/>
                <a:gd name="connsiteX792" fmla="*/ 4866799 w 6400800"/>
                <a:gd name="connsiteY792" fmla="*/ 231934 h 514350"/>
                <a:gd name="connsiteX793" fmla="*/ 4862037 w 6400800"/>
                <a:gd name="connsiteY793" fmla="*/ 210979 h 514350"/>
                <a:gd name="connsiteX794" fmla="*/ 4862989 w 6400800"/>
                <a:gd name="connsiteY794" fmla="*/ 232886 h 514350"/>
                <a:gd name="connsiteX795" fmla="*/ 4863941 w 6400800"/>
                <a:gd name="connsiteY795" fmla="*/ 248126 h 514350"/>
                <a:gd name="connsiteX796" fmla="*/ 4863941 w 6400800"/>
                <a:gd name="connsiteY796" fmla="*/ 261461 h 514350"/>
                <a:gd name="connsiteX797" fmla="*/ 4860131 w 6400800"/>
                <a:gd name="connsiteY797" fmla="*/ 264319 h 514350"/>
                <a:gd name="connsiteX798" fmla="*/ 4843939 w 6400800"/>
                <a:gd name="connsiteY798" fmla="*/ 281464 h 514350"/>
                <a:gd name="connsiteX799" fmla="*/ 4841081 w 6400800"/>
                <a:gd name="connsiteY799" fmla="*/ 270986 h 514350"/>
                <a:gd name="connsiteX800" fmla="*/ 4842987 w 6400800"/>
                <a:gd name="connsiteY800" fmla="*/ 266224 h 514350"/>
                <a:gd name="connsiteX801" fmla="*/ 4841081 w 6400800"/>
                <a:gd name="connsiteY801" fmla="*/ 269081 h 514350"/>
                <a:gd name="connsiteX802" fmla="*/ 4840129 w 6400800"/>
                <a:gd name="connsiteY802" fmla="*/ 262414 h 514350"/>
                <a:gd name="connsiteX803" fmla="*/ 4840129 w 6400800"/>
                <a:gd name="connsiteY803" fmla="*/ 270034 h 514350"/>
                <a:gd name="connsiteX804" fmla="*/ 4833462 w 6400800"/>
                <a:gd name="connsiteY804" fmla="*/ 278606 h 514350"/>
                <a:gd name="connsiteX805" fmla="*/ 4822984 w 6400800"/>
                <a:gd name="connsiteY805" fmla="*/ 294799 h 514350"/>
                <a:gd name="connsiteX806" fmla="*/ 4816316 w 6400800"/>
                <a:gd name="connsiteY806" fmla="*/ 304324 h 514350"/>
                <a:gd name="connsiteX807" fmla="*/ 4809649 w 6400800"/>
                <a:gd name="connsiteY807" fmla="*/ 315754 h 514350"/>
                <a:gd name="connsiteX808" fmla="*/ 4807744 w 6400800"/>
                <a:gd name="connsiteY808" fmla="*/ 318611 h 514350"/>
                <a:gd name="connsiteX809" fmla="*/ 4807744 w 6400800"/>
                <a:gd name="connsiteY809" fmla="*/ 304324 h 514350"/>
                <a:gd name="connsiteX810" fmla="*/ 4803934 w 6400800"/>
                <a:gd name="connsiteY810" fmla="*/ 327184 h 514350"/>
                <a:gd name="connsiteX811" fmla="*/ 4795362 w 6400800"/>
                <a:gd name="connsiteY811" fmla="*/ 342424 h 514350"/>
                <a:gd name="connsiteX812" fmla="*/ 4795362 w 6400800"/>
                <a:gd name="connsiteY812" fmla="*/ 324326 h 514350"/>
                <a:gd name="connsiteX813" fmla="*/ 4795362 w 6400800"/>
                <a:gd name="connsiteY813" fmla="*/ 311944 h 514350"/>
                <a:gd name="connsiteX814" fmla="*/ 4796314 w 6400800"/>
                <a:gd name="connsiteY814" fmla="*/ 302419 h 514350"/>
                <a:gd name="connsiteX815" fmla="*/ 4797266 w 6400800"/>
                <a:gd name="connsiteY815" fmla="*/ 297656 h 514350"/>
                <a:gd name="connsiteX816" fmla="*/ 4803934 w 6400800"/>
                <a:gd name="connsiteY816" fmla="*/ 264319 h 514350"/>
                <a:gd name="connsiteX817" fmla="*/ 4815364 w 6400800"/>
                <a:gd name="connsiteY817" fmla="*/ 192881 h 514350"/>
                <a:gd name="connsiteX818" fmla="*/ 4792504 w 6400800"/>
                <a:gd name="connsiteY818" fmla="*/ 262414 h 514350"/>
                <a:gd name="connsiteX819" fmla="*/ 4790599 w 6400800"/>
                <a:gd name="connsiteY819" fmla="*/ 268129 h 514350"/>
                <a:gd name="connsiteX820" fmla="*/ 4788694 w 6400800"/>
                <a:gd name="connsiteY820" fmla="*/ 250031 h 514350"/>
                <a:gd name="connsiteX821" fmla="*/ 4787741 w 6400800"/>
                <a:gd name="connsiteY821" fmla="*/ 270986 h 514350"/>
                <a:gd name="connsiteX822" fmla="*/ 4787741 w 6400800"/>
                <a:gd name="connsiteY822" fmla="*/ 281464 h 514350"/>
                <a:gd name="connsiteX823" fmla="*/ 4782979 w 6400800"/>
                <a:gd name="connsiteY823" fmla="*/ 299561 h 514350"/>
                <a:gd name="connsiteX824" fmla="*/ 4782979 w 6400800"/>
                <a:gd name="connsiteY824" fmla="*/ 293846 h 514350"/>
                <a:gd name="connsiteX825" fmla="*/ 4784884 w 6400800"/>
                <a:gd name="connsiteY825" fmla="*/ 263366 h 514350"/>
                <a:gd name="connsiteX826" fmla="*/ 4786789 w 6400800"/>
                <a:gd name="connsiteY826" fmla="*/ 239554 h 514350"/>
                <a:gd name="connsiteX827" fmla="*/ 4789647 w 6400800"/>
                <a:gd name="connsiteY827" fmla="*/ 218599 h 514350"/>
                <a:gd name="connsiteX828" fmla="*/ 4782979 w 6400800"/>
                <a:gd name="connsiteY828" fmla="*/ 238601 h 514350"/>
                <a:gd name="connsiteX829" fmla="*/ 4777264 w 6400800"/>
                <a:gd name="connsiteY829" fmla="*/ 262414 h 514350"/>
                <a:gd name="connsiteX830" fmla="*/ 4776312 w 6400800"/>
                <a:gd name="connsiteY830" fmla="*/ 269081 h 514350"/>
                <a:gd name="connsiteX831" fmla="*/ 4773454 w 6400800"/>
                <a:gd name="connsiteY831" fmla="*/ 251936 h 514350"/>
                <a:gd name="connsiteX832" fmla="*/ 4773454 w 6400800"/>
                <a:gd name="connsiteY832" fmla="*/ 284321 h 514350"/>
                <a:gd name="connsiteX833" fmla="*/ 4771549 w 6400800"/>
                <a:gd name="connsiteY833" fmla="*/ 293846 h 514350"/>
                <a:gd name="connsiteX834" fmla="*/ 4771549 w 6400800"/>
                <a:gd name="connsiteY834" fmla="*/ 295751 h 514350"/>
                <a:gd name="connsiteX835" fmla="*/ 4767739 w 6400800"/>
                <a:gd name="connsiteY835" fmla="*/ 260509 h 514350"/>
                <a:gd name="connsiteX836" fmla="*/ 4764881 w 6400800"/>
                <a:gd name="connsiteY836" fmla="*/ 297656 h 514350"/>
                <a:gd name="connsiteX837" fmla="*/ 4755356 w 6400800"/>
                <a:gd name="connsiteY837" fmla="*/ 276701 h 514350"/>
                <a:gd name="connsiteX838" fmla="*/ 4750594 w 6400800"/>
                <a:gd name="connsiteY838" fmla="*/ 270034 h 514350"/>
                <a:gd name="connsiteX839" fmla="*/ 4758214 w 6400800"/>
                <a:gd name="connsiteY839" fmla="*/ 243364 h 514350"/>
                <a:gd name="connsiteX840" fmla="*/ 4780122 w 6400800"/>
                <a:gd name="connsiteY840" fmla="*/ 161449 h 514350"/>
                <a:gd name="connsiteX841" fmla="*/ 4787741 w 6400800"/>
                <a:gd name="connsiteY841" fmla="*/ 130016 h 514350"/>
                <a:gd name="connsiteX842" fmla="*/ 4776312 w 6400800"/>
                <a:gd name="connsiteY842" fmla="*/ 160496 h 514350"/>
                <a:gd name="connsiteX843" fmla="*/ 4747737 w 6400800"/>
                <a:gd name="connsiteY843" fmla="*/ 240506 h 514350"/>
                <a:gd name="connsiteX844" fmla="*/ 4742022 w 6400800"/>
                <a:gd name="connsiteY844" fmla="*/ 257651 h 514350"/>
                <a:gd name="connsiteX845" fmla="*/ 4742022 w 6400800"/>
                <a:gd name="connsiteY845" fmla="*/ 257651 h 514350"/>
                <a:gd name="connsiteX846" fmla="*/ 4727734 w 6400800"/>
                <a:gd name="connsiteY846" fmla="*/ 244316 h 514350"/>
                <a:gd name="connsiteX847" fmla="*/ 4721066 w 6400800"/>
                <a:gd name="connsiteY847" fmla="*/ 240506 h 514350"/>
                <a:gd name="connsiteX848" fmla="*/ 4716304 w 6400800"/>
                <a:gd name="connsiteY848" fmla="*/ 238601 h 514350"/>
                <a:gd name="connsiteX849" fmla="*/ 4712494 w 6400800"/>
                <a:gd name="connsiteY849" fmla="*/ 237649 h 514350"/>
                <a:gd name="connsiteX850" fmla="*/ 4716304 w 6400800"/>
                <a:gd name="connsiteY850" fmla="*/ 239554 h 514350"/>
                <a:gd name="connsiteX851" fmla="*/ 4725829 w 6400800"/>
                <a:gd name="connsiteY851" fmla="*/ 246221 h 514350"/>
                <a:gd name="connsiteX852" fmla="*/ 4736306 w 6400800"/>
                <a:gd name="connsiteY852" fmla="*/ 260509 h 514350"/>
                <a:gd name="connsiteX853" fmla="*/ 4739164 w 6400800"/>
                <a:gd name="connsiteY853" fmla="*/ 266224 h 514350"/>
                <a:gd name="connsiteX854" fmla="*/ 4729639 w 6400800"/>
                <a:gd name="connsiteY854" fmla="*/ 293846 h 514350"/>
                <a:gd name="connsiteX855" fmla="*/ 4728687 w 6400800"/>
                <a:gd name="connsiteY855" fmla="*/ 295751 h 514350"/>
                <a:gd name="connsiteX856" fmla="*/ 4728687 w 6400800"/>
                <a:gd name="connsiteY856" fmla="*/ 294799 h 514350"/>
                <a:gd name="connsiteX857" fmla="*/ 4728687 w 6400800"/>
                <a:gd name="connsiteY857" fmla="*/ 290989 h 514350"/>
                <a:gd name="connsiteX858" fmla="*/ 4727734 w 6400800"/>
                <a:gd name="connsiteY858" fmla="*/ 293846 h 514350"/>
                <a:gd name="connsiteX859" fmla="*/ 4717256 w 6400800"/>
                <a:gd name="connsiteY859" fmla="*/ 270986 h 514350"/>
                <a:gd name="connsiteX860" fmla="*/ 4714399 w 6400800"/>
                <a:gd name="connsiteY860" fmla="*/ 265271 h 514350"/>
                <a:gd name="connsiteX861" fmla="*/ 4716304 w 6400800"/>
                <a:gd name="connsiteY861" fmla="*/ 252889 h 514350"/>
                <a:gd name="connsiteX862" fmla="*/ 4713447 w 6400800"/>
                <a:gd name="connsiteY862" fmla="*/ 262414 h 514350"/>
                <a:gd name="connsiteX863" fmla="*/ 4706779 w 6400800"/>
                <a:gd name="connsiteY863" fmla="*/ 248126 h 514350"/>
                <a:gd name="connsiteX864" fmla="*/ 4712494 w 6400800"/>
                <a:gd name="connsiteY864" fmla="*/ 267176 h 514350"/>
                <a:gd name="connsiteX865" fmla="*/ 4708684 w 6400800"/>
                <a:gd name="connsiteY865" fmla="*/ 277654 h 514350"/>
                <a:gd name="connsiteX866" fmla="*/ 4694397 w 6400800"/>
                <a:gd name="connsiteY866" fmla="*/ 236696 h 514350"/>
                <a:gd name="connsiteX867" fmla="*/ 4702969 w 6400800"/>
                <a:gd name="connsiteY867" fmla="*/ 293846 h 514350"/>
                <a:gd name="connsiteX868" fmla="*/ 4691539 w 6400800"/>
                <a:gd name="connsiteY868" fmla="*/ 331946 h 514350"/>
                <a:gd name="connsiteX869" fmla="*/ 4690587 w 6400800"/>
                <a:gd name="connsiteY869" fmla="*/ 329089 h 514350"/>
                <a:gd name="connsiteX870" fmla="*/ 4682966 w 6400800"/>
                <a:gd name="connsiteY870" fmla="*/ 313849 h 514350"/>
                <a:gd name="connsiteX871" fmla="*/ 4684872 w 6400800"/>
                <a:gd name="connsiteY871" fmla="*/ 322421 h 514350"/>
                <a:gd name="connsiteX872" fmla="*/ 4684872 w 6400800"/>
                <a:gd name="connsiteY872" fmla="*/ 322421 h 514350"/>
                <a:gd name="connsiteX873" fmla="*/ 4671537 w 6400800"/>
                <a:gd name="connsiteY873" fmla="*/ 304324 h 514350"/>
                <a:gd name="connsiteX874" fmla="*/ 4682014 w 6400800"/>
                <a:gd name="connsiteY874" fmla="*/ 324326 h 514350"/>
                <a:gd name="connsiteX875" fmla="*/ 4688681 w 6400800"/>
                <a:gd name="connsiteY875" fmla="*/ 337661 h 514350"/>
                <a:gd name="connsiteX876" fmla="*/ 4689634 w 6400800"/>
                <a:gd name="connsiteY876" fmla="*/ 340519 h 514350"/>
                <a:gd name="connsiteX877" fmla="*/ 4682966 w 6400800"/>
                <a:gd name="connsiteY877" fmla="*/ 366236 h 514350"/>
                <a:gd name="connsiteX878" fmla="*/ 4678204 w 6400800"/>
                <a:gd name="connsiteY878" fmla="*/ 359569 h 514350"/>
                <a:gd name="connsiteX879" fmla="*/ 4669631 w 6400800"/>
                <a:gd name="connsiteY879" fmla="*/ 349091 h 514350"/>
                <a:gd name="connsiteX880" fmla="*/ 4668679 w 6400800"/>
                <a:gd name="connsiteY880" fmla="*/ 348139 h 514350"/>
                <a:gd name="connsiteX881" fmla="*/ 4669631 w 6400800"/>
                <a:gd name="connsiteY881" fmla="*/ 330994 h 514350"/>
                <a:gd name="connsiteX882" fmla="*/ 4669631 w 6400800"/>
                <a:gd name="connsiteY882" fmla="*/ 310991 h 514350"/>
                <a:gd name="connsiteX883" fmla="*/ 4669631 w 6400800"/>
                <a:gd name="connsiteY883" fmla="*/ 313849 h 514350"/>
                <a:gd name="connsiteX884" fmla="*/ 4670584 w 6400800"/>
                <a:gd name="connsiteY884" fmla="*/ 301466 h 514350"/>
                <a:gd name="connsiteX885" fmla="*/ 4670584 w 6400800"/>
                <a:gd name="connsiteY885" fmla="*/ 287179 h 514350"/>
                <a:gd name="connsiteX886" fmla="*/ 4675347 w 6400800"/>
                <a:gd name="connsiteY886" fmla="*/ 274796 h 514350"/>
                <a:gd name="connsiteX887" fmla="*/ 4689634 w 6400800"/>
                <a:gd name="connsiteY887" fmla="*/ 250984 h 514350"/>
                <a:gd name="connsiteX888" fmla="*/ 4681062 w 6400800"/>
                <a:gd name="connsiteY888" fmla="*/ 262414 h 514350"/>
                <a:gd name="connsiteX889" fmla="*/ 4686776 w 6400800"/>
                <a:gd name="connsiteY889" fmla="*/ 248126 h 514350"/>
                <a:gd name="connsiteX890" fmla="*/ 4675347 w 6400800"/>
                <a:gd name="connsiteY890" fmla="*/ 265271 h 514350"/>
                <a:gd name="connsiteX891" fmla="*/ 4670584 w 6400800"/>
                <a:gd name="connsiteY891" fmla="*/ 272891 h 514350"/>
                <a:gd name="connsiteX892" fmla="*/ 4670584 w 6400800"/>
                <a:gd name="connsiteY892" fmla="*/ 268129 h 514350"/>
                <a:gd name="connsiteX893" fmla="*/ 4668679 w 6400800"/>
                <a:gd name="connsiteY893" fmla="*/ 250984 h 514350"/>
                <a:gd name="connsiteX894" fmla="*/ 4669631 w 6400800"/>
                <a:gd name="connsiteY894" fmla="*/ 247174 h 514350"/>
                <a:gd name="connsiteX895" fmla="*/ 4671537 w 6400800"/>
                <a:gd name="connsiteY895" fmla="*/ 222409 h 514350"/>
                <a:gd name="connsiteX896" fmla="*/ 4670584 w 6400800"/>
                <a:gd name="connsiteY896" fmla="*/ 229076 h 514350"/>
                <a:gd name="connsiteX897" fmla="*/ 4666774 w 6400800"/>
                <a:gd name="connsiteY897" fmla="*/ 242411 h 514350"/>
                <a:gd name="connsiteX898" fmla="*/ 4666774 w 6400800"/>
                <a:gd name="connsiteY898" fmla="*/ 241459 h 514350"/>
                <a:gd name="connsiteX899" fmla="*/ 4666774 w 6400800"/>
                <a:gd name="connsiteY899" fmla="*/ 241459 h 514350"/>
                <a:gd name="connsiteX900" fmla="*/ 4666774 w 6400800"/>
                <a:gd name="connsiteY900" fmla="*/ 241459 h 514350"/>
                <a:gd name="connsiteX901" fmla="*/ 4662012 w 6400800"/>
                <a:gd name="connsiteY901" fmla="*/ 228124 h 514350"/>
                <a:gd name="connsiteX902" fmla="*/ 4660106 w 6400800"/>
                <a:gd name="connsiteY902" fmla="*/ 222409 h 514350"/>
                <a:gd name="connsiteX903" fmla="*/ 4661059 w 6400800"/>
                <a:gd name="connsiteY903" fmla="*/ 228124 h 514350"/>
                <a:gd name="connsiteX904" fmla="*/ 4662964 w 6400800"/>
                <a:gd name="connsiteY904" fmla="*/ 244316 h 514350"/>
                <a:gd name="connsiteX905" fmla="*/ 4662964 w 6400800"/>
                <a:gd name="connsiteY905" fmla="*/ 246221 h 514350"/>
                <a:gd name="connsiteX906" fmla="*/ 4662964 w 6400800"/>
                <a:gd name="connsiteY906" fmla="*/ 246221 h 514350"/>
                <a:gd name="connsiteX907" fmla="*/ 4654391 w 6400800"/>
                <a:gd name="connsiteY907" fmla="*/ 262414 h 514350"/>
                <a:gd name="connsiteX908" fmla="*/ 4650581 w 6400800"/>
                <a:gd name="connsiteY908" fmla="*/ 271939 h 514350"/>
                <a:gd name="connsiteX909" fmla="*/ 4646772 w 6400800"/>
                <a:gd name="connsiteY909" fmla="*/ 261461 h 514350"/>
                <a:gd name="connsiteX910" fmla="*/ 4645819 w 6400800"/>
                <a:gd name="connsiteY910" fmla="*/ 259556 h 514350"/>
                <a:gd name="connsiteX911" fmla="*/ 4646772 w 6400800"/>
                <a:gd name="connsiteY911" fmla="*/ 253841 h 514350"/>
                <a:gd name="connsiteX912" fmla="*/ 4653439 w 6400800"/>
                <a:gd name="connsiteY912" fmla="*/ 227171 h 514350"/>
                <a:gd name="connsiteX913" fmla="*/ 4660106 w 6400800"/>
                <a:gd name="connsiteY913" fmla="*/ 204311 h 514350"/>
                <a:gd name="connsiteX914" fmla="*/ 4650581 w 6400800"/>
                <a:gd name="connsiteY914" fmla="*/ 226219 h 514350"/>
                <a:gd name="connsiteX915" fmla="*/ 4641056 w 6400800"/>
                <a:gd name="connsiteY915" fmla="*/ 251936 h 514350"/>
                <a:gd name="connsiteX916" fmla="*/ 4636294 w 6400800"/>
                <a:gd name="connsiteY916" fmla="*/ 267176 h 514350"/>
                <a:gd name="connsiteX917" fmla="*/ 4636294 w 6400800"/>
                <a:gd name="connsiteY917" fmla="*/ 259556 h 514350"/>
                <a:gd name="connsiteX918" fmla="*/ 4638199 w 6400800"/>
                <a:gd name="connsiteY918" fmla="*/ 242411 h 514350"/>
                <a:gd name="connsiteX919" fmla="*/ 4639151 w 6400800"/>
                <a:gd name="connsiteY919" fmla="*/ 235744 h 514350"/>
                <a:gd name="connsiteX920" fmla="*/ 4637247 w 6400800"/>
                <a:gd name="connsiteY920" fmla="*/ 241459 h 514350"/>
                <a:gd name="connsiteX921" fmla="*/ 4632484 w 6400800"/>
                <a:gd name="connsiteY921" fmla="*/ 258604 h 514350"/>
                <a:gd name="connsiteX922" fmla="*/ 4632484 w 6400800"/>
                <a:gd name="connsiteY922" fmla="*/ 258604 h 514350"/>
                <a:gd name="connsiteX923" fmla="*/ 4631531 w 6400800"/>
                <a:gd name="connsiteY923" fmla="*/ 254794 h 514350"/>
                <a:gd name="connsiteX924" fmla="*/ 4632484 w 6400800"/>
                <a:gd name="connsiteY924" fmla="*/ 259556 h 514350"/>
                <a:gd name="connsiteX925" fmla="*/ 4628674 w 6400800"/>
                <a:gd name="connsiteY925" fmla="*/ 285274 h 514350"/>
                <a:gd name="connsiteX926" fmla="*/ 4628674 w 6400800"/>
                <a:gd name="connsiteY926" fmla="*/ 293846 h 514350"/>
                <a:gd name="connsiteX927" fmla="*/ 4625816 w 6400800"/>
                <a:gd name="connsiteY927" fmla="*/ 303371 h 514350"/>
                <a:gd name="connsiteX928" fmla="*/ 4610576 w 6400800"/>
                <a:gd name="connsiteY928" fmla="*/ 293846 h 514350"/>
                <a:gd name="connsiteX929" fmla="*/ 4604862 w 6400800"/>
                <a:gd name="connsiteY929" fmla="*/ 290989 h 514350"/>
                <a:gd name="connsiteX930" fmla="*/ 4610576 w 6400800"/>
                <a:gd name="connsiteY930" fmla="*/ 294799 h 514350"/>
                <a:gd name="connsiteX931" fmla="*/ 4624864 w 6400800"/>
                <a:gd name="connsiteY931" fmla="*/ 307181 h 514350"/>
                <a:gd name="connsiteX932" fmla="*/ 4625816 w 6400800"/>
                <a:gd name="connsiteY932" fmla="*/ 308134 h 514350"/>
                <a:gd name="connsiteX933" fmla="*/ 4622006 w 6400800"/>
                <a:gd name="connsiteY933" fmla="*/ 325279 h 514350"/>
                <a:gd name="connsiteX934" fmla="*/ 4619149 w 6400800"/>
                <a:gd name="connsiteY934" fmla="*/ 343376 h 514350"/>
                <a:gd name="connsiteX935" fmla="*/ 4607719 w 6400800"/>
                <a:gd name="connsiteY935" fmla="*/ 306229 h 514350"/>
                <a:gd name="connsiteX936" fmla="*/ 4602956 w 6400800"/>
                <a:gd name="connsiteY936" fmla="*/ 290989 h 514350"/>
                <a:gd name="connsiteX937" fmla="*/ 4601051 w 6400800"/>
                <a:gd name="connsiteY937" fmla="*/ 269081 h 514350"/>
                <a:gd name="connsiteX938" fmla="*/ 4599147 w 6400800"/>
                <a:gd name="connsiteY938" fmla="*/ 248126 h 514350"/>
                <a:gd name="connsiteX939" fmla="*/ 4597241 w 6400800"/>
                <a:gd name="connsiteY939" fmla="*/ 269081 h 514350"/>
                <a:gd name="connsiteX940" fmla="*/ 4597241 w 6400800"/>
                <a:gd name="connsiteY940" fmla="*/ 271939 h 514350"/>
                <a:gd name="connsiteX941" fmla="*/ 4589622 w 6400800"/>
                <a:gd name="connsiteY941" fmla="*/ 250031 h 514350"/>
                <a:gd name="connsiteX942" fmla="*/ 4589622 w 6400800"/>
                <a:gd name="connsiteY942" fmla="*/ 240506 h 514350"/>
                <a:gd name="connsiteX943" fmla="*/ 4590574 w 6400800"/>
                <a:gd name="connsiteY943" fmla="*/ 197644 h 514350"/>
                <a:gd name="connsiteX944" fmla="*/ 4590574 w 6400800"/>
                <a:gd name="connsiteY944" fmla="*/ 109061 h 514350"/>
                <a:gd name="connsiteX945" fmla="*/ 4579144 w 6400800"/>
                <a:gd name="connsiteY945" fmla="*/ 197644 h 514350"/>
                <a:gd name="connsiteX946" fmla="*/ 4574381 w 6400800"/>
                <a:gd name="connsiteY946" fmla="*/ 240506 h 514350"/>
                <a:gd name="connsiteX947" fmla="*/ 4573429 w 6400800"/>
                <a:gd name="connsiteY947" fmla="*/ 256699 h 514350"/>
                <a:gd name="connsiteX948" fmla="*/ 4572476 w 6400800"/>
                <a:gd name="connsiteY948" fmla="*/ 257651 h 514350"/>
                <a:gd name="connsiteX949" fmla="*/ 4563904 w 6400800"/>
                <a:gd name="connsiteY949" fmla="*/ 265271 h 514350"/>
                <a:gd name="connsiteX950" fmla="*/ 4563904 w 6400800"/>
                <a:gd name="connsiteY950" fmla="*/ 264319 h 514350"/>
                <a:gd name="connsiteX951" fmla="*/ 4559141 w 6400800"/>
                <a:gd name="connsiteY951" fmla="*/ 255746 h 514350"/>
                <a:gd name="connsiteX952" fmla="*/ 4560094 w 6400800"/>
                <a:gd name="connsiteY952" fmla="*/ 249079 h 514350"/>
                <a:gd name="connsiteX953" fmla="*/ 4576287 w 6400800"/>
                <a:gd name="connsiteY953" fmla="*/ 159544 h 514350"/>
                <a:gd name="connsiteX954" fmla="*/ 4550569 w 6400800"/>
                <a:gd name="connsiteY954" fmla="*/ 243364 h 514350"/>
                <a:gd name="connsiteX955" fmla="*/ 4550569 w 6400800"/>
                <a:gd name="connsiteY955" fmla="*/ 243364 h 514350"/>
                <a:gd name="connsiteX956" fmla="*/ 4550569 w 6400800"/>
                <a:gd name="connsiteY956" fmla="*/ 243364 h 514350"/>
                <a:gd name="connsiteX957" fmla="*/ 4549616 w 6400800"/>
                <a:gd name="connsiteY957" fmla="*/ 246221 h 514350"/>
                <a:gd name="connsiteX958" fmla="*/ 4548664 w 6400800"/>
                <a:gd name="connsiteY958" fmla="*/ 248126 h 514350"/>
                <a:gd name="connsiteX959" fmla="*/ 4548664 w 6400800"/>
                <a:gd name="connsiteY959" fmla="*/ 248126 h 514350"/>
                <a:gd name="connsiteX960" fmla="*/ 4548664 w 6400800"/>
                <a:gd name="connsiteY960" fmla="*/ 248126 h 514350"/>
                <a:gd name="connsiteX961" fmla="*/ 4536281 w 6400800"/>
                <a:gd name="connsiteY961" fmla="*/ 292894 h 514350"/>
                <a:gd name="connsiteX962" fmla="*/ 4531519 w 6400800"/>
                <a:gd name="connsiteY962" fmla="*/ 241459 h 514350"/>
                <a:gd name="connsiteX963" fmla="*/ 4525804 w 6400800"/>
                <a:gd name="connsiteY963" fmla="*/ 303371 h 514350"/>
                <a:gd name="connsiteX964" fmla="*/ 4525804 w 6400800"/>
                <a:gd name="connsiteY964" fmla="*/ 309086 h 514350"/>
                <a:gd name="connsiteX965" fmla="*/ 4524851 w 6400800"/>
                <a:gd name="connsiteY965" fmla="*/ 308134 h 514350"/>
                <a:gd name="connsiteX966" fmla="*/ 4525804 w 6400800"/>
                <a:gd name="connsiteY966" fmla="*/ 310039 h 514350"/>
                <a:gd name="connsiteX967" fmla="*/ 4523899 w 6400800"/>
                <a:gd name="connsiteY967" fmla="*/ 333851 h 514350"/>
                <a:gd name="connsiteX968" fmla="*/ 4523899 w 6400800"/>
                <a:gd name="connsiteY968" fmla="*/ 337661 h 514350"/>
                <a:gd name="connsiteX969" fmla="*/ 4522947 w 6400800"/>
                <a:gd name="connsiteY969" fmla="*/ 339566 h 514350"/>
                <a:gd name="connsiteX970" fmla="*/ 4517231 w 6400800"/>
                <a:gd name="connsiteY970" fmla="*/ 322421 h 514350"/>
                <a:gd name="connsiteX971" fmla="*/ 4514374 w 6400800"/>
                <a:gd name="connsiteY971" fmla="*/ 301466 h 514350"/>
                <a:gd name="connsiteX972" fmla="*/ 4517231 w 6400800"/>
                <a:gd name="connsiteY972" fmla="*/ 297656 h 514350"/>
                <a:gd name="connsiteX973" fmla="*/ 4521041 w 6400800"/>
                <a:gd name="connsiteY973" fmla="*/ 291941 h 514350"/>
                <a:gd name="connsiteX974" fmla="*/ 4516279 w 6400800"/>
                <a:gd name="connsiteY974" fmla="*/ 297656 h 514350"/>
                <a:gd name="connsiteX975" fmla="*/ 4514374 w 6400800"/>
                <a:gd name="connsiteY975" fmla="*/ 300514 h 514350"/>
                <a:gd name="connsiteX976" fmla="*/ 4514374 w 6400800"/>
                <a:gd name="connsiteY976" fmla="*/ 298609 h 514350"/>
                <a:gd name="connsiteX977" fmla="*/ 4517231 w 6400800"/>
                <a:gd name="connsiteY977" fmla="*/ 293846 h 514350"/>
                <a:gd name="connsiteX978" fmla="*/ 4520089 w 6400800"/>
                <a:gd name="connsiteY978" fmla="*/ 288131 h 514350"/>
                <a:gd name="connsiteX979" fmla="*/ 4516279 w 6400800"/>
                <a:gd name="connsiteY979" fmla="*/ 292894 h 514350"/>
                <a:gd name="connsiteX980" fmla="*/ 4514374 w 6400800"/>
                <a:gd name="connsiteY980" fmla="*/ 295751 h 514350"/>
                <a:gd name="connsiteX981" fmla="*/ 4512469 w 6400800"/>
                <a:gd name="connsiteY981" fmla="*/ 281464 h 514350"/>
                <a:gd name="connsiteX982" fmla="*/ 4511516 w 6400800"/>
                <a:gd name="connsiteY982" fmla="*/ 268129 h 514350"/>
                <a:gd name="connsiteX983" fmla="*/ 4510564 w 6400800"/>
                <a:gd name="connsiteY983" fmla="*/ 272891 h 514350"/>
                <a:gd name="connsiteX984" fmla="*/ 4506754 w 6400800"/>
                <a:gd name="connsiteY984" fmla="*/ 250984 h 514350"/>
                <a:gd name="connsiteX985" fmla="*/ 4506754 w 6400800"/>
                <a:gd name="connsiteY985" fmla="*/ 292894 h 514350"/>
                <a:gd name="connsiteX986" fmla="*/ 4501991 w 6400800"/>
                <a:gd name="connsiteY986" fmla="*/ 282416 h 514350"/>
                <a:gd name="connsiteX987" fmla="*/ 4494372 w 6400800"/>
                <a:gd name="connsiteY987" fmla="*/ 267176 h 514350"/>
                <a:gd name="connsiteX988" fmla="*/ 4486751 w 6400800"/>
                <a:gd name="connsiteY988" fmla="*/ 254794 h 514350"/>
                <a:gd name="connsiteX989" fmla="*/ 4480084 w 6400800"/>
                <a:gd name="connsiteY989" fmla="*/ 245269 h 514350"/>
                <a:gd name="connsiteX990" fmla="*/ 4474369 w 6400800"/>
                <a:gd name="connsiteY990" fmla="*/ 238601 h 514350"/>
                <a:gd name="connsiteX991" fmla="*/ 4469606 w 6400800"/>
                <a:gd name="connsiteY991" fmla="*/ 233839 h 514350"/>
                <a:gd name="connsiteX992" fmla="*/ 4471512 w 6400800"/>
                <a:gd name="connsiteY992" fmla="*/ 225266 h 514350"/>
                <a:gd name="connsiteX993" fmla="*/ 4477226 w 6400800"/>
                <a:gd name="connsiteY993" fmla="*/ 198596 h 514350"/>
                <a:gd name="connsiteX994" fmla="*/ 4481037 w 6400800"/>
                <a:gd name="connsiteY994" fmla="*/ 175736 h 514350"/>
                <a:gd name="connsiteX995" fmla="*/ 4473416 w 6400800"/>
                <a:gd name="connsiteY995" fmla="*/ 197644 h 514350"/>
                <a:gd name="connsiteX996" fmla="*/ 4463891 w 6400800"/>
                <a:gd name="connsiteY996" fmla="*/ 222409 h 514350"/>
                <a:gd name="connsiteX997" fmla="*/ 4455319 w 6400800"/>
                <a:gd name="connsiteY997" fmla="*/ 244316 h 514350"/>
                <a:gd name="connsiteX998" fmla="*/ 4453414 w 6400800"/>
                <a:gd name="connsiteY998" fmla="*/ 237649 h 514350"/>
                <a:gd name="connsiteX999" fmla="*/ 4454366 w 6400800"/>
                <a:gd name="connsiteY999" fmla="*/ 247174 h 514350"/>
                <a:gd name="connsiteX1000" fmla="*/ 4451509 w 6400800"/>
                <a:gd name="connsiteY1000" fmla="*/ 253841 h 514350"/>
                <a:gd name="connsiteX1001" fmla="*/ 4436269 w 6400800"/>
                <a:gd name="connsiteY1001" fmla="*/ 289084 h 514350"/>
                <a:gd name="connsiteX1002" fmla="*/ 4435316 w 6400800"/>
                <a:gd name="connsiteY1002" fmla="*/ 287179 h 514350"/>
                <a:gd name="connsiteX1003" fmla="*/ 4438174 w 6400800"/>
                <a:gd name="connsiteY1003" fmla="*/ 274796 h 514350"/>
                <a:gd name="connsiteX1004" fmla="*/ 4444841 w 6400800"/>
                <a:gd name="connsiteY1004" fmla="*/ 247174 h 514350"/>
                <a:gd name="connsiteX1005" fmla="*/ 4454366 w 6400800"/>
                <a:gd name="connsiteY1005" fmla="*/ 195739 h 514350"/>
                <a:gd name="connsiteX1006" fmla="*/ 4460081 w 6400800"/>
                <a:gd name="connsiteY1006" fmla="*/ 151924 h 514350"/>
                <a:gd name="connsiteX1007" fmla="*/ 4461987 w 6400800"/>
                <a:gd name="connsiteY1007" fmla="*/ 133826 h 514350"/>
                <a:gd name="connsiteX1008" fmla="*/ 4462939 w 6400800"/>
                <a:gd name="connsiteY1008" fmla="*/ 118586 h 514350"/>
                <a:gd name="connsiteX1009" fmla="*/ 4463891 w 6400800"/>
                <a:gd name="connsiteY1009" fmla="*/ 89059 h 514350"/>
                <a:gd name="connsiteX1010" fmla="*/ 4458176 w 6400800"/>
                <a:gd name="connsiteY1010" fmla="*/ 118586 h 514350"/>
                <a:gd name="connsiteX1011" fmla="*/ 4455319 w 6400800"/>
                <a:gd name="connsiteY1011" fmla="*/ 133826 h 514350"/>
                <a:gd name="connsiteX1012" fmla="*/ 4451509 w 6400800"/>
                <a:gd name="connsiteY1012" fmla="*/ 151924 h 514350"/>
                <a:gd name="connsiteX1013" fmla="*/ 4441984 w 6400800"/>
                <a:gd name="connsiteY1013" fmla="*/ 194786 h 514350"/>
                <a:gd name="connsiteX1014" fmla="*/ 4428649 w 6400800"/>
                <a:gd name="connsiteY1014" fmla="*/ 245269 h 514350"/>
                <a:gd name="connsiteX1015" fmla="*/ 4421981 w 6400800"/>
                <a:gd name="connsiteY1015" fmla="*/ 269081 h 514350"/>
                <a:gd name="connsiteX1016" fmla="*/ 4414362 w 6400800"/>
                <a:gd name="connsiteY1016" fmla="*/ 258604 h 514350"/>
                <a:gd name="connsiteX1017" fmla="*/ 4394359 w 6400800"/>
                <a:gd name="connsiteY1017" fmla="*/ 230029 h 514350"/>
                <a:gd name="connsiteX1018" fmla="*/ 4387691 w 6400800"/>
                <a:gd name="connsiteY1018" fmla="*/ 221456 h 514350"/>
                <a:gd name="connsiteX1019" fmla="*/ 4395312 w 6400800"/>
                <a:gd name="connsiteY1019" fmla="*/ 180499 h 514350"/>
                <a:gd name="connsiteX1020" fmla="*/ 4382929 w 6400800"/>
                <a:gd name="connsiteY1020" fmla="*/ 215741 h 514350"/>
                <a:gd name="connsiteX1021" fmla="*/ 4375309 w 6400800"/>
                <a:gd name="connsiteY1021" fmla="*/ 206216 h 514350"/>
                <a:gd name="connsiteX1022" fmla="*/ 4381976 w 6400800"/>
                <a:gd name="connsiteY1022" fmla="*/ 218599 h 514350"/>
                <a:gd name="connsiteX1023" fmla="*/ 4369594 w 6400800"/>
                <a:gd name="connsiteY1023" fmla="*/ 259556 h 514350"/>
                <a:gd name="connsiteX1024" fmla="*/ 4368641 w 6400800"/>
                <a:gd name="connsiteY1024" fmla="*/ 241459 h 514350"/>
                <a:gd name="connsiteX1025" fmla="*/ 4366737 w 6400800"/>
                <a:gd name="connsiteY1025" fmla="*/ 263366 h 514350"/>
                <a:gd name="connsiteX1026" fmla="*/ 4365784 w 6400800"/>
                <a:gd name="connsiteY1026" fmla="*/ 274796 h 514350"/>
                <a:gd name="connsiteX1027" fmla="*/ 4362926 w 6400800"/>
                <a:gd name="connsiteY1027" fmla="*/ 285274 h 514350"/>
                <a:gd name="connsiteX1028" fmla="*/ 4362926 w 6400800"/>
                <a:gd name="connsiteY1028" fmla="*/ 282416 h 514350"/>
                <a:gd name="connsiteX1029" fmla="*/ 4361022 w 6400800"/>
                <a:gd name="connsiteY1029" fmla="*/ 261461 h 514350"/>
                <a:gd name="connsiteX1030" fmla="*/ 4359116 w 6400800"/>
                <a:gd name="connsiteY1030" fmla="*/ 283369 h 514350"/>
                <a:gd name="connsiteX1031" fmla="*/ 4359116 w 6400800"/>
                <a:gd name="connsiteY1031" fmla="*/ 290989 h 514350"/>
                <a:gd name="connsiteX1032" fmla="*/ 4357212 w 6400800"/>
                <a:gd name="connsiteY1032" fmla="*/ 295751 h 514350"/>
                <a:gd name="connsiteX1033" fmla="*/ 4351497 w 6400800"/>
                <a:gd name="connsiteY1033" fmla="*/ 284321 h 514350"/>
                <a:gd name="connsiteX1034" fmla="*/ 4351497 w 6400800"/>
                <a:gd name="connsiteY1034" fmla="*/ 257651 h 514350"/>
                <a:gd name="connsiteX1035" fmla="*/ 4351497 w 6400800"/>
                <a:gd name="connsiteY1035" fmla="*/ 238601 h 514350"/>
                <a:gd name="connsiteX1036" fmla="*/ 4349591 w 6400800"/>
                <a:gd name="connsiteY1036" fmla="*/ 221456 h 514350"/>
                <a:gd name="connsiteX1037" fmla="*/ 4345781 w 6400800"/>
                <a:gd name="connsiteY1037" fmla="*/ 194786 h 514350"/>
                <a:gd name="connsiteX1038" fmla="*/ 4342924 w 6400800"/>
                <a:gd name="connsiteY1038" fmla="*/ 170974 h 514350"/>
                <a:gd name="connsiteX1039" fmla="*/ 4341972 w 6400800"/>
                <a:gd name="connsiteY1039" fmla="*/ 194786 h 514350"/>
                <a:gd name="connsiteX1040" fmla="*/ 4341972 w 6400800"/>
                <a:gd name="connsiteY1040" fmla="*/ 217646 h 514350"/>
                <a:gd name="connsiteX1041" fmla="*/ 4340066 w 6400800"/>
                <a:gd name="connsiteY1041" fmla="*/ 205264 h 514350"/>
                <a:gd name="connsiteX1042" fmla="*/ 4339114 w 6400800"/>
                <a:gd name="connsiteY1042" fmla="*/ 226219 h 514350"/>
                <a:gd name="connsiteX1043" fmla="*/ 4338162 w 6400800"/>
                <a:gd name="connsiteY1043" fmla="*/ 250031 h 514350"/>
                <a:gd name="connsiteX1044" fmla="*/ 4338162 w 6400800"/>
                <a:gd name="connsiteY1044" fmla="*/ 252889 h 514350"/>
                <a:gd name="connsiteX1045" fmla="*/ 4337209 w 6400800"/>
                <a:gd name="connsiteY1045" fmla="*/ 250984 h 514350"/>
                <a:gd name="connsiteX1046" fmla="*/ 4318159 w 6400800"/>
                <a:gd name="connsiteY1046" fmla="*/ 196691 h 514350"/>
                <a:gd name="connsiteX1047" fmla="*/ 4289584 w 6400800"/>
                <a:gd name="connsiteY1047" fmla="*/ 116681 h 514350"/>
                <a:gd name="connsiteX1048" fmla="*/ 4278154 w 6400800"/>
                <a:gd name="connsiteY1048" fmla="*/ 86201 h 514350"/>
                <a:gd name="connsiteX1049" fmla="*/ 4285774 w 6400800"/>
                <a:gd name="connsiteY1049" fmla="*/ 117634 h 514350"/>
                <a:gd name="connsiteX1050" fmla="*/ 4307681 w 6400800"/>
                <a:gd name="connsiteY1050" fmla="*/ 199549 h 514350"/>
                <a:gd name="connsiteX1051" fmla="*/ 4334351 w 6400800"/>
                <a:gd name="connsiteY1051" fmla="*/ 295751 h 514350"/>
                <a:gd name="connsiteX1052" fmla="*/ 4334351 w 6400800"/>
                <a:gd name="connsiteY1052" fmla="*/ 296704 h 514350"/>
                <a:gd name="connsiteX1053" fmla="*/ 4334351 w 6400800"/>
                <a:gd name="connsiteY1053" fmla="*/ 294799 h 514350"/>
                <a:gd name="connsiteX1054" fmla="*/ 4334351 w 6400800"/>
                <a:gd name="connsiteY1054" fmla="*/ 301466 h 514350"/>
                <a:gd name="connsiteX1055" fmla="*/ 4333399 w 6400800"/>
                <a:gd name="connsiteY1055" fmla="*/ 315754 h 514350"/>
                <a:gd name="connsiteX1056" fmla="*/ 4329589 w 6400800"/>
                <a:gd name="connsiteY1056" fmla="*/ 344329 h 514350"/>
                <a:gd name="connsiteX1057" fmla="*/ 4328637 w 6400800"/>
                <a:gd name="connsiteY1057" fmla="*/ 343376 h 514350"/>
                <a:gd name="connsiteX1058" fmla="*/ 4326731 w 6400800"/>
                <a:gd name="connsiteY1058" fmla="*/ 340519 h 514350"/>
                <a:gd name="connsiteX1059" fmla="*/ 4325779 w 6400800"/>
                <a:gd name="connsiteY1059" fmla="*/ 333851 h 514350"/>
                <a:gd name="connsiteX1060" fmla="*/ 4315301 w 6400800"/>
                <a:gd name="connsiteY1060" fmla="*/ 267176 h 514350"/>
                <a:gd name="connsiteX1061" fmla="*/ 4301966 w 6400800"/>
                <a:gd name="connsiteY1061" fmla="*/ 202406 h 514350"/>
                <a:gd name="connsiteX1062" fmla="*/ 4303872 w 6400800"/>
                <a:gd name="connsiteY1062" fmla="*/ 268129 h 514350"/>
                <a:gd name="connsiteX1063" fmla="*/ 4303872 w 6400800"/>
                <a:gd name="connsiteY1063" fmla="*/ 274796 h 514350"/>
                <a:gd name="connsiteX1064" fmla="*/ 4301966 w 6400800"/>
                <a:gd name="connsiteY1064" fmla="*/ 290036 h 514350"/>
                <a:gd name="connsiteX1065" fmla="*/ 4300062 w 6400800"/>
                <a:gd name="connsiteY1065" fmla="*/ 300514 h 514350"/>
                <a:gd name="connsiteX1066" fmla="*/ 4288631 w 6400800"/>
                <a:gd name="connsiteY1066" fmla="*/ 286226 h 514350"/>
                <a:gd name="connsiteX1067" fmla="*/ 4299109 w 6400800"/>
                <a:gd name="connsiteY1067" fmla="*/ 305276 h 514350"/>
                <a:gd name="connsiteX1068" fmla="*/ 4296251 w 6400800"/>
                <a:gd name="connsiteY1068" fmla="*/ 323374 h 514350"/>
                <a:gd name="connsiteX1069" fmla="*/ 4292441 w 6400800"/>
                <a:gd name="connsiteY1069" fmla="*/ 346234 h 514350"/>
                <a:gd name="connsiteX1070" fmla="*/ 4290537 w 6400800"/>
                <a:gd name="connsiteY1070" fmla="*/ 343376 h 514350"/>
                <a:gd name="connsiteX1071" fmla="*/ 4288631 w 6400800"/>
                <a:gd name="connsiteY1071" fmla="*/ 308134 h 514350"/>
                <a:gd name="connsiteX1072" fmla="*/ 4281964 w 6400800"/>
                <a:gd name="connsiteY1072" fmla="*/ 231934 h 514350"/>
                <a:gd name="connsiteX1073" fmla="*/ 4277201 w 6400800"/>
                <a:gd name="connsiteY1073" fmla="*/ 309086 h 514350"/>
                <a:gd name="connsiteX1074" fmla="*/ 4277201 w 6400800"/>
                <a:gd name="connsiteY1074" fmla="*/ 318611 h 514350"/>
                <a:gd name="connsiteX1075" fmla="*/ 4273391 w 6400800"/>
                <a:gd name="connsiteY1075" fmla="*/ 310039 h 514350"/>
                <a:gd name="connsiteX1076" fmla="*/ 4272439 w 6400800"/>
                <a:gd name="connsiteY1076" fmla="*/ 303371 h 514350"/>
                <a:gd name="connsiteX1077" fmla="*/ 4270534 w 6400800"/>
                <a:gd name="connsiteY1077" fmla="*/ 273844 h 514350"/>
                <a:gd name="connsiteX1078" fmla="*/ 4269581 w 6400800"/>
                <a:gd name="connsiteY1078" fmla="*/ 260509 h 514350"/>
                <a:gd name="connsiteX1079" fmla="*/ 4269581 w 6400800"/>
                <a:gd name="connsiteY1079" fmla="*/ 255746 h 514350"/>
                <a:gd name="connsiteX1080" fmla="*/ 4270534 w 6400800"/>
                <a:gd name="connsiteY1080" fmla="*/ 234791 h 514350"/>
                <a:gd name="connsiteX1081" fmla="*/ 4273391 w 6400800"/>
                <a:gd name="connsiteY1081" fmla="*/ 155734 h 514350"/>
                <a:gd name="connsiteX1082" fmla="*/ 4259104 w 6400800"/>
                <a:gd name="connsiteY1082" fmla="*/ 233839 h 514350"/>
                <a:gd name="connsiteX1083" fmla="*/ 4253389 w 6400800"/>
                <a:gd name="connsiteY1083" fmla="*/ 271939 h 514350"/>
                <a:gd name="connsiteX1084" fmla="*/ 4252437 w 6400800"/>
                <a:gd name="connsiteY1084" fmla="*/ 270034 h 514350"/>
                <a:gd name="connsiteX1085" fmla="*/ 4253389 w 6400800"/>
                <a:gd name="connsiteY1085" fmla="*/ 262414 h 514350"/>
                <a:gd name="connsiteX1086" fmla="*/ 4255294 w 6400800"/>
                <a:gd name="connsiteY1086" fmla="*/ 240506 h 514350"/>
                <a:gd name="connsiteX1087" fmla="*/ 4249579 w 6400800"/>
                <a:gd name="connsiteY1087" fmla="*/ 262414 h 514350"/>
                <a:gd name="connsiteX1088" fmla="*/ 4248626 w 6400800"/>
                <a:gd name="connsiteY1088" fmla="*/ 264319 h 514350"/>
                <a:gd name="connsiteX1089" fmla="*/ 4246722 w 6400800"/>
                <a:gd name="connsiteY1089" fmla="*/ 261461 h 514350"/>
                <a:gd name="connsiteX1090" fmla="*/ 4244816 w 6400800"/>
                <a:gd name="connsiteY1090" fmla="*/ 257651 h 514350"/>
                <a:gd name="connsiteX1091" fmla="*/ 4244816 w 6400800"/>
                <a:gd name="connsiteY1091" fmla="*/ 251936 h 514350"/>
                <a:gd name="connsiteX1092" fmla="*/ 4243864 w 6400800"/>
                <a:gd name="connsiteY1092" fmla="*/ 256699 h 514350"/>
                <a:gd name="connsiteX1093" fmla="*/ 4240054 w 6400800"/>
                <a:gd name="connsiteY1093" fmla="*/ 251936 h 514350"/>
                <a:gd name="connsiteX1094" fmla="*/ 4229576 w 6400800"/>
                <a:gd name="connsiteY1094" fmla="*/ 235744 h 514350"/>
                <a:gd name="connsiteX1095" fmla="*/ 4220051 w 6400800"/>
                <a:gd name="connsiteY1095" fmla="*/ 222409 h 514350"/>
                <a:gd name="connsiteX1096" fmla="*/ 4226719 w 6400800"/>
                <a:gd name="connsiteY1096" fmla="*/ 237649 h 514350"/>
                <a:gd name="connsiteX1097" fmla="*/ 4234339 w 6400800"/>
                <a:gd name="connsiteY1097" fmla="*/ 254794 h 514350"/>
                <a:gd name="connsiteX1098" fmla="*/ 4236244 w 6400800"/>
                <a:gd name="connsiteY1098" fmla="*/ 258604 h 514350"/>
                <a:gd name="connsiteX1099" fmla="*/ 4231481 w 6400800"/>
                <a:gd name="connsiteY1099" fmla="*/ 251936 h 514350"/>
                <a:gd name="connsiteX1100" fmla="*/ 4220051 w 6400800"/>
                <a:gd name="connsiteY1100" fmla="*/ 237649 h 514350"/>
                <a:gd name="connsiteX1101" fmla="*/ 4202906 w 6400800"/>
                <a:gd name="connsiteY1101" fmla="*/ 219551 h 514350"/>
                <a:gd name="connsiteX1102" fmla="*/ 4196239 w 6400800"/>
                <a:gd name="connsiteY1102" fmla="*/ 213836 h 514350"/>
                <a:gd name="connsiteX1103" fmla="*/ 4201954 w 6400800"/>
                <a:gd name="connsiteY1103" fmla="*/ 220504 h 514350"/>
                <a:gd name="connsiteX1104" fmla="*/ 4216241 w 6400800"/>
                <a:gd name="connsiteY1104" fmla="*/ 240506 h 514350"/>
                <a:gd name="connsiteX1105" fmla="*/ 4225766 w 6400800"/>
                <a:gd name="connsiteY1105" fmla="*/ 255746 h 514350"/>
                <a:gd name="connsiteX1106" fmla="*/ 4235291 w 6400800"/>
                <a:gd name="connsiteY1106" fmla="*/ 273844 h 514350"/>
                <a:gd name="connsiteX1107" fmla="*/ 4235291 w 6400800"/>
                <a:gd name="connsiteY1107" fmla="*/ 274796 h 514350"/>
                <a:gd name="connsiteX1108" fmla="*/ 4235291 w 6400800"/>
                <a:gd name="connsiteY1108" fmla="*/ 282416 h 514350"/>
                <a:gd name="connsiteX1109" fmla="*/ 4234339 w 6400800"/>
                <a:gd name="connsiteY1109" fmla="*/ 281464 h 514350"/>
                <a:gd name="connsiteX1110" fmla="*/ 4229576 w 6400800"/>
                <a:gd name="connsiteY1110" fmla="*/ 276701 h 514350"/>
                <a:gd name="connsiteX1111" fmla="*/ 4233387 w 6400800"/>
                <a:gd name="connsiteY1111" fmla="*/ 282416 h 514350"/>
                <a:gd name="connsiteX1112" fmla="*/ 4235291 w 6400800"/>
                <a:gd name="connsiteY1112" fmla="*/ 284321 h 514350"/>
                <a:gd name="connsiteX1113" fmla="*/ 4235291 w 6400800"/>
                <a:gd name="connsiteY1113" fmla="*/ 285274 h 514350"/>
                <a:gd name="connsiteX1114" fmla="*/ 4229576 w 6400800"/>
                <a:gd name="connsiteY1114" fmla="*/ 310039 h 514350"/>
                <a:gd name="connsiteX1115" fmla="*/ 4222909 w 6400800"/>
                <a:gd name="connsiteY1115" fmla="*/ 295751 h 514350"/>
                <a:gd name="connsiteX1116" fmla="*/ 4228624 w 6400800"/>
                <a:gd name="connsiteY1116" fmla="*/ 316706 h 514350"/>
                <a:gd name="connsiteX1117" fmla="*/ 4226719 w 6400800"/>
                <a:gd name="connsiteY1117" fmla="*/ 327184 h 514350"/>
                <a:gd name="connsiteX1118" fmla="*/ 4223862 w 6400800"/>
                <a:gd name="connsiteY1118" fmla="*/ 341471 h 514350"/>
                <a:gd name="connsiteX1119" fmla="*/ 4222909 w 6400800"/>
                <a:gd name="connsiteY1119" fmla="*/ 334804 h 514350"/>
                <a:gd name="connsiteX1120" fmla="*/ 4219099 w 6400800"/>
                <a:gd name="connsiteY1120" fmla="*/ 311944 h 514350"/>
                <a:gd name="connsiteX1121" fmla="*/ 4219099 w 6400800"/>
                <a:gd name="connsiteY1121" fmla="*/ 331946 h 514350"/>
                <a:gd name="connsiteX1122" fmla="*/ 4217194 w 6400800"/>
                <a:gd name="connsiteY1122" fmla="*/ 322421 h 514350"/>
                <a:gd name="connsiteX1123" fmla="*/ 4198144 w 6400800"/>
                <a:gd name="connsiteY1123" fmla="*/ 240506 h 514350"/>
                <a:gd name="connsiteX1124" fmla="*/ 4205764 w 6400800"/>
                <a:gd name="connsiteY1124" fmla="*/ 323374 h 514350"/>
                <a:gd name="connsiteX1125" fmla="*/ 4210526 w 6400800"/>
                <a:gd name="connsiteY1125" fmla="*/ 364331 h 514350"/>
                <a:gd name="connsiteX1126" fmla="*/ 4210526 w 6400800"/>
                <a:gd name="connsiteY1126" fmla="*/ 363379 h 514350"/>
                <a:gd name="connsiteX1127" fmla="*/ 4206716 w 6400800"/>
                <a:gd name="connsiteY1127" fmla="*/ 350044 h 514350"/>
                <a:gd name="connsiteX1128" fmla="*/ 4202906 w 6400800"/>
                <a:gd name="connsiteY1128" fmla="*/ 338614 h 514350"/>
                <a:gd name="connsiteX1129" fmla="*/ 4202906 w 6400800"/>
                <a:gd name="connsiteY1129" fmla="*/ 350996 h 514350"/>
                <a:gd name="connsiteX1130" fmla="*/ 4202906 w 6400800"/>
                <a:gd name="connsiteY1130" fmla="*/ 365284 h 514350"/>
                <a:gd name="connsiteX1131" fmla="*/ 4202906 w 6400800"/>
                <a:gd name="connsiteY1131" fmla="*/ 373856 h 514350"/>
                <a:gd name="connsiteX1132" fmla="*/ 4202906 w 6400800"/>
                <a:gd name="connsiteY1132" fmla="*/ 380524 h 514350"/>
                <a:gd name="connsiteX1133" fmla="*/ 4201954 w 6400800"/>
                <a:gd name="connsiteY1133" fmla="*/ 378619 h 514350"/>
                <a:gd name="connsiteX1134" fmla="*/ 4201001 w 6400800"/>
                <a:gd name="connsiteY1134" fmla="*/ 361474 h 514350"/>
                <a:gd name="connsiteX1135" fmla="*/ 4196239 w 6400800"/>
                <a:gd name="connsiteY1135" fmla="*/ 290989 h 514350"/>
                <a:gd name="connsiteX1136" fmla="*/ 4191476 w 6400800"/>
                <a:gd name="connsiteY1136" fmla="*/ 343376 h 514350"/>
                <a:gd name="connsiteX1137" fmla="*/ 4188619 w 6400800"/>
                <a:gd name="connsiteY1137" fmla="*/ 335756 h 514350"/>
                <a:gd name="connsiteX1138" fmla="*/ 4181951 w 6400800"/>
                <a:gd name="connsiteY1138" fmla="*/ 319564 h 514350"/>
                <a:gd name="connsiteX1139" fmla="*/ 4180999 w 6400800"/>
                <a:gd name="connsiteY1139" fmla="*/ 316706 h 514350"/>
                <a:gd name="connsiteX1140" fmla="*/ 4180999 w 6400800"/>
                <a:gd name="connsiteY1140" fmla="*/ 256699 h 514350"/>
                <a:gd name="connsiteX1141" fmla="*/ 4180999 w 6400800"/>
                <a:gd name="connsiteY1141" fmla="*/ 230029 h 514350"/>
                <a:gd name="connsiteX1142" fmla="*/ 4177189 w 6400800"/>
                <a:gd name="connsiteY1142" fmla="*/ 256699 h 514350"/>
                <a:gd name="connsiteX1143" fmla="*/ 4175284 w 6400800"/>
                <a:gd name="connsiteY1143" fmla="*/ 270034 h 514350"/>
                <a:gd name="connsiteX1144" fmla="*/ 4174331 w 6400800"/>
                <a:gd name="connsiteY1144" fmla="*/ 251936 h 514350"/>
                <a:gd name="connsiteX1145" fmla="*/ 4168616 w 6400800"/>
                <a:gd name="connsiteY1145" fmla="*/ 176689 h 514350"/>
                <a:gd name="connsiteX1146" fmla="*/ 4162901 w 6400800"/>
                <a:gd name="connsiteY1146" fmla="*/ 251936 h 514350"/>
                <a:gd name="connsiteX1147" fmla="*/ 4160996 w 6400800"/>
                <a:gd name="connsiteY1147" fmla="*/ 287179 h 514350"/>
                <a:gd name="connsiteX1148" fmla="*/ 4154329 w 6400800"/>
                <a:gd name="connsiteY1148" fmla="*/ 303371 h 514350"/>
                <a:gd name="connsiteX1149" fmla="*/ 4146709 w 6400800"/>
                <a:gd name="connsiteY1149" fmla="*/ 280511 h 514350"/>
                <a:gd name="connsiteX1150" fmla="*/ 4140041 w 6400800"/>
                <a:gd name="connsiteY1150" fmla="*/ 246221 h 514350"/>
                <a:gd name="connsiteX1151" fmla="*/ 4133374 w 6400800"/>
                <a:gd name="connsiteY1151" fmla="*/ 224314 h 514350"/>
                <a:gd name="connsiteX1152" fmla="*/ 4134326 w 6400800"/>
                <a:gd name="connsiteY1152" fmla="*/ 230029 h 514350"/>
                <a:gd name="connsiteX1153" fmla="*/ 4136231 w 6400800"/>
                <a:gd name="connsiteY1153" fmla="*/ 247174 h 514350"/>
                <a:gd name="connsiteX1154" fmla="*/ 4136231 w 6400800"/>
                <a:gd name="connsiteY1154" fmla="*/ 250031 h 514350"/>
                <a:gd name="connsiteX1155" fmla="*/ 4118134 w 6400800"/>
                <a:gd name="connsiteY1155" fmla="*/ 197644 h 514350"/>
                <a:gd name="connsiteX1156" fmla="*/ 4093369 w 6400800"/>
                <a:gd name="connsiteY1156" fmla="*/ 121444 h 514350"/>
                <a:gd name="connsiteX1157" fmla="*/ 4083844 w 6400800"/>
                <a:gd name="connsiteY1157" fmla="*/ 92869 h 514350"/>
                <a:gd name="connsiteX1158" fmla="*/ 4089559 w 6400800"/>
                <a:gd name="connsiteY1158" fmla="*/ 122396 h 514350"/>
                <a:gd name="connsiteX1159" fmla="*/ 4106704 w 6400800"/>
                <a:gd name="connsiteY1159" fmla="*/ 200501 h 514350"/>
                <a:gd name="connsiteX1160" fmla="*/ 4119086 w 6400800"/>
                <a:gd name="connsiteY1160" fmla="*/ 248126 h 514350"/>
                <a:gd name="connsiteX1161" fmla="*/ 4117181 w 6400800"/>
                <a:gd name="connsiteY1161" fmla="*/ 262414 h 514350"/>
                <a:gd name="connsiteX1162" fmla="*/ 4114324 w 6400800"/>
                <a:gd name="connsiteY1162" fmla="*/ 290036 h 514350"/>
                <a:gd name="connsiteX1163" fmla="*/ 4110514 w 6400800"/>
                <a:gd name="connsiteY1163" fmla="*/ 284321 h 514350"/>
                <a:gd name="connsiteX1164" fmla="*/ 4114324 w 6400800"/>
                <a:gd name="connsiteY1164" fmla="*/ 269081 h 514350"/>
                <a:gd name="connsiteX1165" fmla="*/ 4108609 w 6400800"/>
                <a:gd name="connsiteY1165" fmla="*/ 282416 h 514350"/>
                <a:gd name="connsiteX1166" fmla="*/ 4102894 w 6400800"/>
                <a:gd name="connsiteY1166" fmla="*/ 273844 h 514350"/>
                <a:gd name="connsiteX1167" fmla="*/ 4096226 w 6400800"/>
                <a:gd name="connsiteY1167" fmla="*/ 263366 h 514350"/>
                <a:gd name="connsiteX1168" fmla="*/ 4097179 w 6400800"/>
                <a:gd name="connsiteY1168" fmla="*/ 262414 h 514350"/>
                <a:gd name="connsiteX1169" fmla="*/ 4096226 w 6400800"/>
                <a:gd name="connsiteY1169" fmla="*/ 263366 h 514350"/>
                <a:gd name="connsiteX1170" fmla="*/ 4090511 w 6400800"/>
                <a:gd name="connsiteY1170" fmla="*/ 253841 h 514350"/>
                <a:gd name="connsiteX1171" fmla="*/ 4090511 w 6400800"/>
                <a:gd name="connsiteY1171" fmla="*/ 252889 h 514350"/>
                <a:gd name="connsiteX1172" fmla="*/ 4090511 w 6400800"/>
                <a:gd name="connsiteY1172" fmla="*/ 238601 h 514350"/>
                <a:gd name="connsiteX1173" fmla="*/ 4090511 w 6400800"/>
                <a:gd name="connsiteY1173" fmla="*/ 215741 h 514350"/>
                <a:gd name="connsiteX1174" fmla="*/ 4089559 w 6400800"/>
                <a:gd name="connsiteY1174" fmla="*/ 195739 h 514350"/>
                <a:gd name="connsiteX1175" fmla="*/ 4086701 w 6400800"/>
                <a:gd name="connsiteY1175" fmla="*/ 214789 h 514350"/>
                <a:gd name="connsiteX1176" fmla="*/ 4083844 w 6400800"/>
                <a:gd name="connsiteY1176" fmla="*/ 236696 h 514350"/>
                <a:gd name="connsiteX1177" fmla="*/ 4083844 w 6400800"/>
                <a:gd name="connsiteY1177" fmla="*/ 239554 h 514350"/>
                <a:gd name="connsiteX1178" fmla="*/ 4081939 w 6400800"/>
                <a:gd name="connsiteY1178" fmla="*/ 236696 h 514350"/>
                <a:gd name="connsiteX1179" fmla="*/ 4081939 w 6400800"/>
                <a:gd name="connsiteY1179" fmla="*/ 234791 h 514350"/>
                <a:gd name="connsiteX1180" fmla="*/ 4081939 w 6400800"/>
                <a:gd name="connsiteY1180" fmla="*/ 210026 h 514350"/>
                <a:gd name="connsiteX1181" fmla="*/ 4081939 w 6400800"/>
                <a:gd name="connsiteY1181" fmla="*/ 188119 h 514350"/>
                <a:gd name="connsiteX1182" fmla="*/ 4078129 w 6400800"/>
                <a:gd name="connsiteY1182" fmla="*/ 210026 h 514350"/>
                <a:gd name="connsiteX1183" fmla="*/ 4075271 w 6400800"/>
                <a:gd name="connsiteY1183" fmla="*/ 227171 h 514350"/>
                <a:gd name="connsiteX1184" fmla="*/ 4059079 w 6400800"/>
                <a:gd name="connsiteY1184" fmla="*/ 202406 h 514350"/>
                <a:gd name="connsiteX1185" fmla="*/ 4073366 w 6400800"/>
                <a:gd name="connsiteY1185" fmla="*/ 236696 h 514350"/>
                <a:gd name="connsiteX1186" fmla="*/ 4071461 w 6400800"/>
                <a:gd name="connsiteY1186" fmla="*/ 250984 h 514350"/>
                <a:gd name="connsiteX1187" fmla="*/ 4067651 w 6400800"/>
                <a:gd name="connsiteY1187" fmla="*/ 268129 h 514350"/>
                <a:gd name="connsiteX1188" fmla="*/ 4064794 w 6400800"/>
                <a:gd name="connsiteY1188" fmla="*/ 279559 h 514350"/>
                <a:gd name="connsiteX1189" fmla="*/ 4061936 w 6400800"/>
                <a:gd name="connsiteY1189" fmla="*/ 253841 h 514350"/>
                <a:gd name="connsiteX1190" fmla="*/ 4054316 w 6400800"/>
                <a:gd name="connsiteY1190" fmla="*/ 207169 h 514350"/>
                <a:gd name="connsiteX1191" fmla="*/ 4050506 w 6400800"/>
                <a:gd name="connsiteY1191" fmla="*/ 186214 h 514350"/>
                <a:gd name="connsiteX1192" fmla="*/ 4046696 w 6400800"/>
                <a:gd name="connsiteY1192" fmla="*/ 168116 h 514350"/>
                <a:gd name="connsiteX1193" fmla="*/ 4040029 w 6400800"/>
                <a:gd name="connsiteY1193" fmla="*/ 137636 h 514350"/>
                <a:gd name="connsiteX1194" fmla="*/ 4034314 w 6400800"/>
                <a:gd name="connsiteY1194" fmla="*/ 111919 h 514350"/>
                <a:gd name="connsiteX1195" fmla="*/ 4036219 w 6400800"/>
                <a:gd name="connsiteY1195" fmla="*/ 138589 h 514350"/>
                <a:gd name="connsiteX1196" fmla="*/ 4039076 w 6400800"/>
                <a:gd name="connsiteY1196" fmla="*/ 169069 h 514350"/>
                <a:gd name="connsiteX1197" fmla="*/ 4042886 w 6400800"/>
                <a:gd name="connsiteY1197" fmla="*/ 208121 h 514350"/>
                <a:gd name="connsiteX1198" fmla="*/ 4044791 w 6400800"/>
                <a:gd name="connsiteY1198" fmla="*/ 238601 h 514350"/>
                <a:gd name="connsiteX1199" fmla="*/ 4031456 w 6400800"/>
                <a:gd name="connsiteY1199" fmla="*/ 170021 h 514350"/>
                <a:gd name="connsiteX1200" fmla="*/ 4036219 w 6400800"/>
                <a:gd name="connsiteY1200" fmla="*/ 252889 h 514350"/>
                <a:gd name="connsiteX1201" fmla="*/ 4037171 w 6400800"/>
                <a:gd name="connsiteY1201" fmla="*/ 264319 h 514350"/>
                <a:gd name="connsiteX1202" fmla="*/ 4035266 w 6400800"/>
                <a:gd name="connsiteY1202" fmla="*/ 271939 h 514350"/>
                <a:gd name="connsiteX1203" fmla="*/ 4030504 w 6400800"/>
                <a:gd name="connsiteY1203" fmla="*/ 266224 h 514350"/>
                <a:gd name="connsiteX1204" fmla="*/ 4023836 w 6400800"/>
                <a:gd name="connsiteY1204" fmla="*/ 258604 h 514350"/>
                <a:gd name="connsiteX1205" fmla="*/ 4009549 w 6400800"/>
                <a:gd name="connsiteY1205" fmla="*/ 229076 h 514350"/>
                <a:gd name="connsiteX1206" fmla="*/ 3996214 w 6400800"/>
                <a:gd name="connsiteY1206" fmla="*/ 203359 h 514350"/>
                <a:gd name="connsiteX1207" fmla="*/ 4005739 w 6400800"/>
                <a:gd name="connsiteY1207" fmla="*/ 230981 h 514350"/>
                <a:gd name="connsiteX1208" fmla="*/ 4014311 w 6400800"/>
                <a:gd name="connsiteY1208" fmla="*/ 255746 h 514350"/>
                <a:gd name="connsiteX1209" fmla="*/ 4007644 w 6400800"/>
                <a:gd name="connsiteY1209" fmla="*/ 243364 h 514350"/>
                <a:gd name="connsiteX1210" fmla="*/ 4015264 w 6400800"/>
                <a:gd name="connsiteY1210" fmla="*/ 267176 h 514350"/>
                <a:gd name="connsiteX1211" fmla="*/ 4024789 w 6400800"/>
                <a:gd name="connsiteY1211" fmla="*/ 294799 h 514350"/>
                <a:gd name="connsiteX1212" fmla="*/ 4026694 w 6400800"/>
                <a:gd name="connsiteY1212" fmla="*/ 301466 h 514350"/>
                <a:gd name="connsiteX1213" fmla="*/ 4017169 w 6400800"/>
                <a:gd name="connsiteY1213" fmla="*/ 329089 h 514350"/>
                <a:gd name="connsiteX1214" fmla="*/ 4016216 w 6400800"/>
                <a:gd name="connsiteY1214" fmla="*/ 328136 h 514350"/>
                <a:gd name="connsiteX1215" fmla="*/ 4005739 w 6400800"/>
                <a:gd name="connsiteY1215" fmla="*/ 320516 h 514350"/>
                <a:gd name="connsiteX1216" fmla="*/ 4005739 w 6400800"/>
                <a:gd name="connsiteY1216" fmla="*/ 318611 h 514350"/>
                <a:gd name="connsiteX1217" fmla="*/ 4004786 w 6400800"/>
                <a:gd name="connsiteY1217" fmla="*/ 310991 h 514350"/>
                <a:gd name="connsiteX1218" fmla="*/ 4002881 w 6400800"/>
                <a:gd name="connsiteY1218" fmla="*/ 269081 h 514350"/>
                <a:gd name="connsiteX1219" fmla="*/ 4000024 w 6400800"/>
                <a:gd name="connsiteY1219" fmla="*/ 284321 h 514350"/>
                <a:gd name="connsiteX1220" fmla="*/ 3993356 w 6400800"/>
                <a:gd name="connsiteY1220" fmla="*/ 248126 h 514350"/>
                <a:gd name="connsiteX1221" fmla="*/ 3993356 w 6400800"/>
                <a:gd name="connsiteY1221" fmla="*/ 286226 h 514350"/>
                <a:gd name="connsiteX1222" fmla="*/ 3992404 w 6400800"/>
                <a:gd name="connsiteY1222" fmla="*/ 286226 h 514350"/>
                <a:gd name="connsiteX1223" fmla="*/ 3990499 w 6400800"/>
                <a:gd name="connsiteY1223" fmla="*/ 287179 h 514350"/>
                <a:gd name="connsiteX1224" fmla="*/ 3985736 w 6400800"/>
                <a:gd name="connsiteY1224" fmla="*/ 292894 h 514350"/>
                <a:gd name="connsiteX1225" fmla="*/ 3985736 w 6400800"/>
                <a:gd name="connsiteY1225" fmla="*/ 292894 h 514350"/>
                <a:gd name="connsiteX1226" fmla="*/ 3985736 w 6400800"/>
                <a:gd name="connsiteY1226" fmla="*/ 293846 h 514350"/>
                <a:gd name="connsiteX1227" fmla="*/ 3983831 w 6400800"/>
                <a:gd name="connsiteY1227" fmla="*/ 313849 h 514350"/>
                <a:gd name="connsiteX1228" fmla="*/ 3978116 w 6400800"/>
                <a:gd name="connsiteY1228" fmla="*/ 303371 h 514350"/>
                <a:gd name="connsiteX1229" fmla="*/ 3987641 w 6400800"/>
                <a:gd name="connsiteY1229" fmla="*/ 272891 h 514350"/>
                <a:gd name="connsiteX1230" fmla="*/ 3976211 w 6400800"/>
                <a:gd name="connsiteY1230" fmla="*/ 298609 h 514350"/>
                <a:gd name="connsiteX1231" fmla="*/ 3973354 w 6400800"/>
                <a:gd name="connsiteY1231" fmla="*/ 293846 h 514350"/>
                <a:gd name="connsiteX1232" fmla="*/ 3973354 w 6400800"/>
                <a:gd name="connsiteY1232" fmla="*/ 288131 h 514350"/>
                <a:gd name="connsiteX1233" fmla="*/ 3973354 w 6400800"/>
                <a:gd name="connsiteY1233" fmla="*/ 287179 h 514350"/>
                <a:gd name="connsiteX1234" fmla="*/ 3977164 w 6400800"/>
                <a:gd name="connsiteY1234" fmla="*/ 278606 h 514350"/>
                <a:gd name="connsiteX1235" fmla="*/ 3980974 w 6400800"/>
                <a:gd name="connsiteY1235" fmla="*/ 270986 h 514350"/>
                <a:gd name="connsiteX1236" fmla="*/ 3976211 w 6400800"/>
                <a:gd name="connsiteY1236" fmla="*/ 277654 h 514350"/>
                <a:gd name="connsiteX1237" fmla="*/ 3973354 w 6400800"/>
                <a:gd name="connsiteY1237" fmla="*/ 282416 h 514350"/>
                <a:gd name="connsiteX1238" fmla="*/ 3974306 w 6400800"/>
                <a:gd name="connsiteY1238" fmla="*/ 254794 h 514350"/>
                <a:gd name="connsiteX1239" fmla="*/ 3975259 w 6400800"/>
                <a:gd name="connsiteY1239" fmla="*/ 230029 h 514350"/>
                <a:gd name="connsiteX1240" fmla="*/ 3970496 w 6400800"/>
                <a:gd name="connsiteY1240" fmla="*/ 254794 h 514350"/>
                <a:gd name="connsiteX1241" fmla="*/ 3965734 w 6400800"/>
                <a:gd name="connsiteY1241" fmla="*/ 281464 h 514350"/>
                <a:gd name="connsiteX1242" fmla="*/ 3961924 w 6400800"/>
                <a:gd name="connsiteY1242" fmla="*/ 274796 h 514350"/>
                <a:gd name="connsiteX1243" fmla="*/ 3962876 w 6400800"/>
                <a:gd name="connsiteY1243" fmla="*/ 269081 h 514350"/>
                <a:gd name="connsiteX1244" fmla="*/ 3966686 w 6400800"/>
                <a:gd name="connsiteY1244" fmla="*/ 245269 h 514350"/>
                <a:gd name="connsiteX1245" fmla="*/ 3959066 w 6400800"/>
                <a:gd name="connsiteY1245" fmla="*/ 268129 h 514350"/>
                <a:gd name="connsiteX1246" fmla="*/ 3959066 w 6400800"/>
                <a:gd name="connsiteY1246" fmla="*/ 269081 h 514350"/>
                <a:gd name="connsiteX1247" fmla="*/ 3958114 w 6400800"/>
                <a:gd name="connsiteY1247" fmla="*/ 267176 h 514350"/>
                <a:gd name="connsiteX1248" fmla="*/ 3958114 w 6400800"/>
                <a:gd name="connsiteY1248" fmla="*/ 269081 h 514350"/>
                <a:gd name="connsiteX1249" fmla="*/ 3955256 w 6400800"/>
                <a:gd name="connsiteY1249" fmla="*/ 264319 h 514350"/>
                <a:gd name="connsiteX1250" fmla="*/ 3954304 w 6400800"/>
                <a:gd name="connsiteY1250" fmla="*/ 247174 h 514350"/>
                <a:gd name="connsiteX1251" fmla="*/ 3951446 w 6400800"/>
                <a:gd name="connsiteY1251" fmla="*/ 214789 h 514350"/>
                <a:gd name="connsiteX1252" fmla="*/ 3947636 w 6400800"/>
                <a:gd name="connsiteY1252" fmla="*/ 190024 h 514350"/>
                <a:gd name="connsiteX1253" fmla="*/ 3943826 w 6400800"/>
                <a:gd name="connsiteY1253" fmla="*/ 169069 h 514350"/>
                <a:gd name="connsiteX1254" fmla="*/ 3943826 w 6400800"/>
                <a:gd name="connsiteY1254" fmla="*/ 190024 h 514350"/>
                <a:gd name="connsiteX1255" fmla="*/ 3943826 w 6400800"/>
                <a:gd name="connsiteY1255" fmla="*/ 214789 h 514350"/>
                <a:gd name="connsiteX1256" fmla="*/ 3943826 w 6400800"/>
                <a:gd name="connsiteY1256" fmla="*/ 225266 h 514350"/>
                <a:gd name="connsiteX1257" fmla="*/ 3940969 w 6400800"/>
                <a:gd name="connsiteY1257" fmla="*/ 215741 h 514350"/>
                <a:gd name="connsiteX1258" fmla="*/ 3939064 w 6400800"/>
                <a:gd name="connsiteY1258" fmla="*/ 207169 h 514350"/>
                <a:gd name="connsiteX1259" fmla="*/ 3940016 w 6400800"/>
                <a:gd name="connsiteY1259" fmla="*/ 205264 h 514350"/>
                <a:gd name="connsiteX1260" fmla="*/ 3939064 w 6400800"/>
                <a:gd name="connsiteY1260" fmla="*/ 206216 h 514350"/>
                <a:gd name="connsiteX1261" fmla="*/ 3936206 w 6400800"/>
                <a:gd name="connsiteY1261" fmla="*/ 197644 h 514350"/>
                <a:gd name="connsiteX1262" fmla="*/ 3937159 w 6400800"/>
                <a:gd name="connsiteY1262" fmla="*/ 208121 h 514350"/>
                <a:gd name="connsiteX1263" fmla="*/ 3929539 w 6400800"/>
                <a:gd name="connsiteY1263" fmla="*/ 216694 h 514350"/>
                <a:gd name="connsiteX1264" fmla="*/ 3925729 w 6400800"/>
                <a:gd name="connsiteY1264" fmla="*/ 197644 h 514350"/>
                <a:gd name="connsiteX1265" fmla="*/ 3916204 w 6400800"/>
                <a:gd name="connsiteY1265" fmla="*/ 158591 h 514350"/>
                <a:gd name="connsiteX1266" fmla="*/ 3912394 w 6400800"/>
                <a:gd name="connsiteY1266" fmla="*/ 144304 h 514350"/>
                <a:gd name="connsiteX1267" fmla="*/ 3915251 w 6400800"/>
                <a:gd name="connsiteY1267" fmla="*/ 139541 h 514350"/>
                <a:gd name="connsiteX1268" fmla="*/ 3935254 w 6400800"/>
                <a:gd name="connsiteY1268" fmla="*/ 110966 h 514350"/>
                <a:gd name="connsiteX1269" fmla="*/ 3912394 w 6400800"/>
                <a:gd name="connsiteY1269" fmla="*/ 136684 h 514350"/>
                <a:gd name="connsiteX1270" fmla="*/ 3910489 w 6400800"/>
                <a:gd name="connsiteY1270" fmla="*/ 138589 h 514350"/>
                <a:gd name="connsiteX1271" fmla="*/ 3906679 w 6400800"/>
                <a:gd name="connsiteY1271" fmla="*/ 128111 h 514350"/>
                <a:gd name="connsiteX1272" fmla="*/ 3898106 w 6400800"/>
                <a:gd name="connsiteY1272" fmla="*/ 102394 h 514350"/>
                <a:gd name="connsiteX1273" fmla="*/ 3902869 w 6400800"/>
                <a:gd name="connsiteY1273" fmla="*/ 129064 h 514350"/>
                <a:gd name="connsiteX1274" fmla="*/ 3905726 w 6400800"/>
                <a:gd name="connsiteY1274" fmla="*/ 143351 h 514350"/>
                <a:gd name="connsiteX1275" fmla="*/ 3905726 w 6400800"/>
                <a:gd name="connsiteY1275" fmla="*/ 143351 h 514350"/>
                <a:gd name="connsiteX1276" fmla="*/ 3887629 w 6400800"/>
                <a:gd name="connsiteY1276" fmla="*/ 167164 h 514350"/>
                <a:gd name="connsiteX1277" fmla="*/ 3866674 w 6400800"/>
                <a:gd name="connsiteY1277" fmla="*/ 195739 h 514350"/>
                <a:gd name="connsiteX1278" fmla="*/ 3862864 w 6400800"/>
                <a:gd name="connsiteY1278" fmla="*/ 182404 h 514350"/>
                <a:gd name="connsiteX1279" fmla="*/ 3854291 w 6400800"/>
                <a:gd name="connsiteY1279" fmla="*/ 155734 h 514350"/>
                <a:gd name="connsiteX1280" fmla="*/ 3859054 w 6400800"/>
                <a:gd name="connsiteY1280" fmla="*/ 183356 h 514350"/>
                <a:gd name="connsiteX1281" fmla="*/ 3862864 w 6400800"/>
                <a:gd name="connsiteY1281" fmla="*/ 202406 h 514350"/>
                <a:gd name="connsiteX1282" fmla="*/ 3858101 w 6400800"/>
                <a:gd name="connsiteY1282" fmla="*/ 209074 h 514350"/>
                <a:gd name="connsiteX1283" fmla="*/ 3853339 w 6400800"/>
                <a:gd name="connsiteY1283" fmla="*/ 216694 h 514350"/>
                <a:gd name="connsiteX1284" fmla="*/ 3849529 w 6400800"/>
                <a:gd name="connsiteY1284" fmla="*/ 195739 h 514350"/>
                <a:gd name="connsiteX1285" fmla="*/ 3852386 w 6400800"/>
                <a:gd name="connsiteY1285" fmla="*/ 178594 h 514350"/>
                <a:gd name="connsiteX1286" fmla="*/ 3855244 w 6400800"/>
                <a:gd name="connsiteY1286" fmla="*/ 158591 h 514350"/>
                <a:gd name="connsiteX1287" fmla="*/ 3848576 w 6400800"/>
                <a:gd name="connsiteY1287" fmla="*/ 177641 h 514350"/>
                <a:gd name="connsiteX1288" fmla="*/ 3841909 w 6400800"/>
                <a:gd name="connsiteY1288" fmla="*/ 199549 h 514350"/>
                <a:gd name="connsiteX1289" fmla="*/ 3838099 w 6400800"/>
                <a:gd name="connsiteY1289" fmla="*/ 212884 h 514350"/>
                <a:gd name="connsiteX1290" fmla="*/ 3835241 w 6400800"/>
                <a:gd name="connsiteY1290" fmla="*/ 225266 h 514350"/>
                <a:gd name="connsiteX1291" fmla="*/ 3834289 w 6400800"/>
                <a:gd name="connsiteY1291" fmla="*/ 222409 h 514350"/>
                <a:gd name="connsiteX1292" fmla="*/ 3825716 w 6400800"/>
                <a:gd name="connsiteY1292" fmla="*/ 209074 h 514350"/>
                <a:gd name="connsiteX1293" fmla="*/ 3809524 w 6400800"/>
                <a:gd name="connsiteY1293" fmla="*/ 184309 h 514350"/>
                <a:gd name="connsiteX1294" fmla="*/ 3821906 w 6400800"/>
                <a:gd name="connsiteY1294" fmla="*/ 210979 h 514350"/>
                <a:gd name="connsiteX1295" fmla="*/ 3828574 w 6400800"/>
                <a:gd name="connsiteY1295" fmla="*/ 224314 h 514350"/>
                <a:gd name="connsiteX1296" fmla="*/ 3832384 w 6400800"/>
                <a:gd name="connsiteY1296" fmla="*/ 234791 h 514350"/>
                <a:gd name="connsiteX1297" fmla="*/ 3828574 w 6400800"/>
                <a:gd name="connsiteY1297" fmla="*/ 254794 h 514350"/>
                <a:gd name="connsiteX1298" fmla="*/ 3825716 w 6400800"/>
                <a:gd name="connsiteY1298" fmla="*/ 259556 h 514350"/>
                <a:gd name="connsiteX1299" fmla="*/ 3820954 w 6400800"/>
                <a:gd name="connsiteY1299" fmla="*/ 269081 h 514350"/>
                <a:gd name="connsiteX1300" fmla="*/ 3820001 w 6400800"/>
                <a:gd name="connsiteY1300" fmla="*/ 267176 h 514350"/>
                <a:gd name="connsiteX1301" fmla="*/ 3804761 w 6400800"/>
                <a:gd name="connsiteY1301" fmla="*/ 249079 h 514350"/>
                <a:gd name="connsiteX1302" fmla="*/ 3817144 w 6400800"/>
                <a:gd name="connsiteY1302" fmla="*/ 270034 h 514350"/>
                <a:gd name="connsiteX1303" fmla="*/ 3819049 w 6400800"/>
                <a:gd name="connsiteY1303" fmla="*/ 272891 h 514350"/>
                <a:gd name="connsiteX1304" fmla="*/ 3806666 w 6400800"/>
                <a:gd name="connsiteY1304" fmla="*/ 294799 h 514350"/>
                <a:gd name="connsiteX1305" fmla="*/ 3806666 w 6400800"/>
                <a:gd name="connsiteY1305" fmla="*/ 294799 h 514350"/>
                <a:gd name="connsiteX1306" fmla="*/ 3803809 w 6400800"/>
                <a:gd name="connsiteY1306" fmla="*/ 290989 h 514350"/>
                <a:gd name="connsiteX1307" fmla="*/ 3802856 w 6400800"/>
                <a:gd name="connsiteY1307" fmla="*/ 287179 h 514350"/>
                <a:gd name="connsiteX1308" fmla="*/ 3799999 w 6400800"/>
                <a:gd name="connsiteY1308" fmla="*/ 276701 h 514350"/>
                <a:gd name="connsiteX1309" fmla="*/ 3795236 w 6400800"/>
                <a:gd name="connsiteY1309" fmla="*/ 260509 h 514350"/>
                <a:gd name="connsiteX1310" fmla="*/ 3790474 w 6400800"/>
                <a:gd name="connsiteY1310" fmla="*/ 246221 h 514350"/>
                <a:gd name="connsiteX1311" fmla="*/ 3791426 w 6400800"/>
                <a:gd name="connsiteY1311" fmla="*/ 260509 h 514350"/>
                <a:gd name="connsiteX1312" fmla="*/ 3792379 w 6400800"/>
                <a:gd name="connsiteY1312" fmla="*/ 273844 h 514350"/>
                <a:gd name="connsiteX1313" fmla="*/ 3787616 w 6400800"/>
                <a:gd name="connsiteY1313" fmla="*/ 268129 h 514350"/>
                <a:gd name="connsiteX1314" fmla="*/ 3777139 w 6400800"/>
                <a:gd name="connsiteY1314" fmla="*/ 255746 h 514350"/>
                <a:gd name="connsiteX1315" fmla="*/ 3773329 w 6400800"/>
                <a:gd name="connsiteY1315" fmla="*/ 246221 h 514350"/>
                <a:gd name="connsiteX1316" fmla="*/ 3764756 w 6400800"/>
                <a:gd name="connsiteY1316" fmla="*/ 224314 h 514350"/>
                <a:gd name="connsiteX1317" fmla="*/ 3769519 w 6400800"/>
                <a:gd name="connsiteY1317" fmla="*/ 247174 h 514350"/>
                <a:gd name="connsiteX1318" fmla="*/ 3776186 w 6400800"/>
                <a:gd name="connsiteY1318" fmla="*/ 273844 h 514350"/>
                <a:gd name="connsiteX1319" fmla="*/ 3781901 w 6400800"/>
                <a:gd name="connsiteY1319" fmla="*/ 299561 h 514350"/>
                <a:gd name="connsiteX1320" fmla="*/ 3760946 w 6400800"/>
                <a:gd name="connsiteY1320" fmla="*/ 234791 h 514350"/>
                <a:gd name="connsiteX1321" fmla="*/ 3755231 w 6400800"/>
                <a:gd name="connsiteY1321" fmla="*/ 218599 h 514350"/>
                <a:gd name="connsiteX1322" fmla="*/ 3759041 w 6400800"/>
                <a:gd name="connsiteY1322" fmla="*/ 211931 h 514350"/>
                <a:gd name="connsiteX1323" fmla="*/ 3754279 w 6400800"/>
                <a:gd name="connsiteY1323" fmla="*/ 217646 h 514350"/>
                <a:gd name="connsiteX1324" fmla="*/ 3750469 w 6400800"/>
                <a:gd name="connsiteY1324" fmla="*/ 208121 h 514350"/>
                <a:gd name="connsiteX1325" fmla="*/ 3752374 w 6400800"/>
                <a:gd name="connsiteY1325" fmla="*/ 197644 h 514350"/>
                <a:gd name="connsiteX1326" fmla="*/ 3748564 w 6400800"/>
                <a:gd name="connsiteY1326" fmla="*/ 205264 h 514350"/>
                <a:gd name="connsiteX1327" fmla="*/ 3734276 w 6400800"/>
                <a:gd name="connsiteY1327" fmla="*/ 167164 h 514350"/>
                <a:gd name="connsiteX1328" fmla="*/ 3742849 w 6400800"/>
                <a:gd name="connsiteY1328" fmla="*/ 217646 h 514350"/>
                <a:gd name="connsiteX1329" fmla="*/ 3736181 w 6400800"/>
                <a:gd name="connsiteY1329" fmla="*/ 236696 h 514350"/>
                <a:gd name="connsiteX1330" fmla="*/ 3735229 w 6400800"/>
                <a:gd name="connsiteY1330" fmla="*/ 238601 h 514350"/>
                <a:gd name="connsiteX1331" fmla="*/ 3730466 w 6400800"/>
                <a:gd name="connsiteY1331" fmla="*/ 245269 h 514350"/>
                <a:gd name="connsiteX1332" fmla="*/ 3726656 w 6400800"/>
                <a:gd name="connsiteY1332" fmla="*/ 236696 h 514350"/>
                <a:gd name="connsiteX1333" fmla="*/ 3726656 w 6400800"/>
                <a:gd name="connsiteY1333" fmla="*/ 232886 h 514350"/>
                <a:gd name="connsiteX1334" fmla="*/ 3725704 w 6400800"/>
                <a:gd name="connsiteY1334" fmla="*/ 214789 h 514350"/>
                <a:gd name="connsiteX1335" fmla="*/ 3722846 w 6400800"/>
                <a:gd name="connsiteY1335" fmla="*/ 230029 h 514350"/>
                <a:gd name="connsiteX1336" fmla="*/ 3721894 w 6400800"/>
                <a:gd name="connsiteY1336" fmla="*/ 229076 h 514350"/>
                <a:gd name="connsiteX1337" fmla="*/ 3721894 w 6400800"/>
                <a:gd name="connsiteY1337" fmla="*/ 229076 h 514350"/>
                <a:gd name="connsiteX1338" fmla="*/ 3725704 w 6400800"/>
                <a:gd name="connsiteY1338" fmla="*/ 190976 h 514350"/>
                <a:gd name="connsiteX1339" fmla="*/ 3727609 w 6400800"/>
                <a:gd name="connsiteY1339" fmla="*/ 172879 h 514350"/>
                <a:gd name="connsiteX1340" fmla="*/ 3730466 w 6400800"/>
                <a:gd name="connsiteY1340" fmla="*/ 155734 h 514350"/>
                <a:gd name="connsiteX1341" fmla="*/ 3734276 w 6400800"/>
                <a:gd name="connsiteY1341" fmla="*/ 128111 h 514350"/>
                <a:gd name="connsiteX1342" fmla="*/ 3737134 w 6400800"/>
                <a:gd name="connsiteY1342" fmla="*/ 104299 h 514350"/>
                <a:gd name="connsiteX1343" fmla="*/ 3730466 w 6400800"/>
                <a:gd name="connsiteY1343" fmla="*/ 127159 h 514350"/>
                <a:gd name="connsiteX1344" fmla="*/ 3722846 w 6400800"/>
                <a:gd name="connsiteY1344" fmla="*/ 153829 h 514350"/>
                <a:gd name="connsiteX1345" fmla="*/ 3718084 w 6400800"/>
                <a:gd name="connsiteY1345" fmla="*/ 170021 h 514350"/>
                <a:gd name="connsiteX1346" fmla="*/ 3714274 w 6400800"/>
                <a:gd name="connsiteY1346" fmla="*/ 188119 h 514350"/>
                <a:gd name="connsiteX1347" fmla="*/ 3710464 w 6400800"/>
                <a:gd name="connsiteY1347" fmla="*/ 208121 h 514350"/>
                <a:gd name="connsiteX1348" fmla="*/ 3710464 w 6400800"/>
                <a:gd name="connsiteY1348" fmla="*/ 207169 h 514350"/>
                <a:gd name="connsiteX1349" fmla="*/ 3691414 w 6400800"/>
                <a:gd name="connsiteY1349" fmla="*/ 174784 h 514350"/>
                <a:gd name="connsiteX1350" fmla="*/ 3677126 w 6400800"/>
                <a:gd name="connsiteY1350" fmla="*/ 150971 h 514350"/>
                <a:gd name="connsiteX1351" fmla="*/ 3678079 w 6400800"/>
                <a:gd name="connsiteY1351" fmla="*/ 137636 h 514350"/>
                <a:gd name="connsiteX1352" fmla="*/ 3675221 w 6400800"/>
                <a:gd name="connsiteY1352" fmla="*/ 149066 h 514350"/>
                <a:gd name="connsiteX1353" fmla="*/ 3674269 w 6400800"/>
                <a:gd name="connsiteY1353" fmla="*/ 147161 h 514350"/>
                <a:gd name="connsiteX1354" fmla="*/ 3675221 w 6400800"/>
                <a:gd name="connsiteY1354" fmla="*/ 150019 h 514350"/>
                <a:gd name="connsiteX1355" fmla="*/ 3672364 w 6400800"/>
                <a:gd name="connsiteY1355" fmla="*/ 164306 h 514350"/>
                <a:gd name="connsiteX1356" fmla="*/ 3665696 w 6400800"/>
                <a:gd name="connsiteY1356" fmla="*/ 194786 h 514350"/>
                <a:gd name="connsiteX1357" fmla="*/ 3662839 w 6400800"/>
                <a:gd name="connsiteY1357" fmla="*/ 209074 h 514350"/>
                <a:gd name="connsiteX1358" fmla="*/ 3661886 w 6400800"/>
                <a:gd name="connsiteY1358" fmla="*/ 210026 h 514350"/>
                <a:gd name="connsiteX1359" fmla="*/ 3658076 w 6400800"/>
                <a:gd name="connsiteY1359" fmla="*/ 216694 h 514350"/>
                <a:gd name="connsiteX1360" fmla="*/ 3658076 w 6400800"/>
                <a:gd name="connsiteY1360" fmla="*/ 174784 h 514350"/>
                <a:gd name="connsiteX1361" fmla="*/ 3645694 w 6400800"/>
                <a:gd name="connsiteY1361" fmla="*/ 239554 h 514350"/>
                <a:gd name="connsiteX1362" fmla="*/ 3644741 w 6400800"/>
                <a:gd name="connsiteY1362" fmla="*/ 246221 h 514350"/>
                <a:gd name="connsiteX1363" fmla="*/ 3643789 w 6400800"/>
                <a:gd name="connsiteY1363" fmla="*/ 249079 h 514350"/>
                <a:gd name="connsiteX1364" fmla="*/ 3640931 w 6400800"/>
                <a:gd name="connsiteY1364" fmla="*/ 259556 h 514350"/>
                <a:gd name="connsiteX1365" fmla="*/ 3633311 w 6400800"/>
                <a:gd name="connsiteY1365" fmla="*/ 243364 h 514350"/>
                <a:gd name="connsiteX1366" fmla="*/ 3639979 w 6400800"/>
                <a:gd name="connsiteY1366" fmla="*/ 265271 h 514350"/>
                <a:gd name="connsiteX1367" fmla="*/ 3637121 w 6400800"/>
                <a:gd name="connsiteY1367" fmla="*/ 275749 h 514350"/>
                <a:gd name="connsiteX1368" fmla="*/ 3627596 w 6400800"/>
                <a:gd name="connsiteY1368" fmla="*/ 261461 h 514350"/>
                <a:gd name="connsiteX1369" fmla="*/ 3635216 w 6400800"/>
                <a:gd name="connsiteY1369" fmla="*/ 280511 h 514350"/>
                <a:gd name="connsiteX1370" fmla="*/ 3635216 w 6400800"/>
                <a:gd name="connsiteY1370" fmla="*/ 281464 h 514350"/>
                <a:gd name="connsiteX1371" fmla="*/ 3630454 w 6400800"/>
                <a:gd name="connsiteY1371" fmla="*/ 309086 h 514350"/>
                <a:gd name="connsiteX1372" fmla="*/ 3627596 w 6400800"/>
                <a:gd name="connsiteY1372" fmla="*/ 332899 h 514350"/>
                <a:gd name="connsiteX1373" fmla="*/ 3620929 w 6400800"/>
                <a:gd name="connsiteY1373" fmla="*/ 312896 h 514350"/>
                <a:gd name="connsiteX1374" fmla="*/ 3620929 w 6400800"/>
                <a:gd name="connsiteY1374" fmla="*/ 309086 h 514350"/>
                <a:gd name="connsiteX1375" fmla="*/ 3619976 w 6400800"/>
                <a:gd name="connsiteY1375" fmla="*/ 310991 h 514350"/>
                <a:gd name="connsiteX1376" fmla="*/ 3619024 w 6400800"/>
                <a:gd name="connsiteY1376" fmla="*/ 308134 h 514350"/>
                <a:gd name="connsiteX1377" fmla="*/ 3622834 w 6400800"/>
                <a:gd name="connsiteY1377" fmla="*/ 272891 h 514350"/>
                <a:gd name="connsiteX1378" fmla="*/ 3626644 w 6400800"/>
                <a:gd name="connsiteY1378" fmla="*/ 221456 h 514350"/>
                <a:gd name="connsiteX1379" fmla="*/ 3630454 w 6400800"/>
                <a:gd name="connsiteY1379" fmla="*/ 211931 h 514350"/>
                <a:gd name="connsiteX1380" fmla="*/ 3626644 w 6400800"/>
                <a:gd name="connsiteY1380" fmla="*/ 216694 h 514350"/>
                <a:gd name="connsiteX1381" fmla="*/ 3626644 w 6400800"/>
                <a:gd name="connsiteY1381" fmla="*/ 214789 h 514350"/>
                <a:gd name="connsiteX1382" fmla="*/ 3626644 w 6400800"/>
                <a:gd name="connsiteY1382" fmla="*/ 192881 h 514350"/>
                <a:gd name="connsiteX1383" fmla="*/ 3622834 w 6400800"/>
                <a:gd name="connsiteY1383" fmla="*/ 214789 h 514350"/>
                <a:gd name="connsiteX1384" fmla="*/ 3620929 w 6400800"/>
                <a:gd name="connsiteY1384" fmla="*/ 226219 h 514350"/>
                <a:gd name="connsiteX1385" fmla="*/ 3620929 w 6400800"/>
                <a:gd name="connsiteY1385" fmla="*/ 227171 h 514350"/>
                <a:gd name="connsiteX1386" fmla="*/ 3609499 w 6400800"/>
                <a:gd name="connsiteY1386" fmla="*/ 243364 h 514350"/>
                <a:gd name="connsiteX1387" fmla="*/ 3603784 w 6400800"/>
                <a:gd name="connsiteY1387" fmla="*/ 251936 h 514350"/>
                <a:gd name="connsiteX1388" fmla="*/ 3613309 w 6400800"/>
                <a:gd name="connsiteY1388" fmla="*/ 225266 h 514350"/>
                <a:gd name="connsiteX1389" fmla="*/ 3619024 w 6400800"/>
                <a:gd name="connsiteY1389" fmla="*/ 208121 h 514350"/>
                <a:gd name="connsiteX1390" fmla="*/ 3624739 w 6400800"/>
                <a:gd name="connsiteY1390" fmla="*/ 192881 h 514350"/>
                <a:gd name="connsiteX1391" fmla="*/ 3634264 w 6400800"/>
                <a:gd name="connsiteY1391" fmla="*/ 168116 h 514350"/>
                <a:gd name="connsiteX1392" fmla="*/ 3642836 w 6400800"/>
                <a:gd name="connsiteY1392" fmla="*/ 146209 h 514350"/>
                <a:gd name="connsiteX1393" fmla="*/ 3631406 w 6400800"/>
                <a:gd name="connsiteY1393" fmla="*/ 166211 h 514350"/>
                <a:gd name="connsiteX1394" fmla="*/ 3618071 w 6400800"/>
                <a:gd name="connsiteY1394" fmla="*/ 189071 h 514350"/>
                <a:gd name="connsiteX1395" fmla="*/ 3610451 w 6400800"/>
                <a:gd name="connsiteY1395" fmla="*/ 203359 h 514350"/>
                <a:gd name="connsiteX1396" fmla="*/ 3602831 w 6400800"/>
                <a:gd name="connsiteY1396" fmla="*/ 219551 h 514350"/>
                <a:gd name="connsiteX1397" fmla="*/ 3588544 w 6400800"/>
                <a:gd name="connsiteY1397" fmla="*/ 250031 h 514350"/>
                <a:gd name="connsiteX1398" fmla="*/ 3588544 w 6400800"/>
                <a:gd name="connsiteY1398" fmla="*/ 242411 h 514350"/>
                <a:gd name="connsiteX1399" fmla="*/ 3585686 w 6400800"/>
                <a:gd name="connsiteY1399" fmla="*/ 256699 h 514350"/>
                <a:gd name="connsiteX1400" fmla="*/ 3585686 w 6400800"/>
                <a:gd name="connsiteY1400" fmla="*/ 257651 h 514350"/>
                <a:gd name="connsiteX1401" fmla="*/ 3579971 w 6400800"/>
                <a:gd name="connsiteY1401" fmla="*/ 270986 h 514350"/>
                <a:gd name="connsiteX1402" fmla="*/ 3573304 w 6400800"/>
                <a:gd name="connsiteY1402" fmla="*/ 282416 h 514350"/>
                <a:gd name="connsiteX1403" fmla="*/ 3568541 w 6400800"/>
                <a:gd name="connsiteY1403" fmla="*/ 263366 h 514350"/>
                <a:gd name="connsiteX1404" fmla="*/ 3564731 w 6400800"/>
                <a:gd name="connsiteY1404" fmla="*/ 248126 h 514350"/>
                <a:gd name="connsiteX1405" fmla="*/ 3564731 w 6400800"/>
                <a:gd name="connsiteY1405" fmla="*/ 248126 h 514350"/>
                <a:gd name="connsiteX1406" fmla="*/ 3562826 w 6400800"/>
                <a:gd name="connsiteY1406" fmla="*/ 237649 h 514350"/>
                <a:gd name="connsiteX1407" fmla="*/ 3561874 w 6400800"/>
                <a:gd name="connsiteY1407" fmla="*/ 233839 h 514350"/>
                <a:gd name="connsiteX1408" fmla="*/ 3566636 w 6400800"/>
                <a:gd name="connsiteY1408" fmla="*/ 227171 h 514350"/>
                <a:gd name="connsiteX1409" fmla="*/ 3561874 w 6400800"/>
                <a:gd name="connsiteY1409" fmla="*/ 230981 h 514350"/>
                <a:gd name="connsiteX1410" fmla="*/ 3559016 w 6400800"/>
                <a:gd name="connsiteY1410" fmla="*/ 218599 h 514350"/>
                <a:gd name="connsiteX1411" fmla="*/ 3559016 w 6400800"/>
                <a:gd name="connsiteY1411" fmla="*/ 231934 h 514350"/>
                <a:gd name="connsiteX1412" fmla="*/ 3554254 w 6400800"/>
                <a:gd name="connsiteY1412" fmla="*/ 220504 h 514350"/>
                <a:gd name="connsiteX1413" fmla="*/ 3569494 w 6400800"/>
                <a:gd name="connsiteY1413" fmla="*/ 197644 h 514350"/>
                <a:gd name="connsiteX1414" fmla="*/ 3585686 w 6400800"/>
                <a:gd name="connsiteY1414" fmla="*/ 174784 h 514350"/>
                <a:gd name="connsiteX1415" fmla="*/ 3600926 w 6400800"/>
                <a:gd name="connsiteY1415" fmla="*/ 154781 h 514350"/>
                <a:gd name="connsiteX1416" fmla="*/ 3582829 w 6400800"/>
                <a:gd name="connsiteY1416" fmla="*/ 171926 h 514350"/>
                <a:gd name="connsiteX1417" fmla="*/ 3562826 w 6400800"/>
                <a:gd name="connsiteY1417" fmla="*/ 192881 h 514350"/>
                <a:gd name="connsiteX1418" fmla="*/ 3549491 w 6400800"/>
                <a:gd name="connsiteY1418" fmla="*/ 209074 h 514350"/>
                <a:gd name="connsiteX1419" fmla="*/ 3542824 w 6400800"/>
                <a:gd name="connsiteY1419" fmla="*/ 193834 h 514350"/>
                <a:gd name="connsiteX1420" fmla="*/ 3546634 w 6400800"/>
                <a:gd name="connsiteY1420" fmla="*/ 212884 h 514350"/>
                <a:gd name="connsiteX1421" fmla="*/ 3539966 w 6400800"/>
                <a:gd name="connsiteY1421" fmla="*/ 222409 h 514350"/>
                <a:gd name="connsiteX1422" fmla="*/ 3539014 w 6400800"/>
                <a:gd name="connsiteY1422" fmla="*/ 223361 h 514350"/>
                <a:gd name="connsiteX1423" fmla="*/ 3539014 w 6400800"/>
                <a:gd name="connsiteY1423" fmla="*/ 210979 h 514350"/>
                <a:gd name="connsiteX1424" fmla="*/ 3539014 w 6400800"/>
                <a:gd name="connsiteY1424" fmla="*/ 184309 h 514350"/>
                <a:gd name="connsiteX1425" fmla="*/ 3539014 w 6400800"/>
                <a:gd name="connsiteY1425" fmla="*/ 173831 h 514350"/>
                <a:gd name="connsiteX1426" fmla="*/ 3540919 w 6400800"/>
                <a:gd name="connsiteY1426" fmla="*/ 170021 h 514350"/>
                <a:gd name="connsiteX1427" fmla="*/ 3539014 w 6400800"/>
                <a:gd name="connsiteY1427" fmla="*/ 172879 h 514350"/>
                <a:gd name="connsiteX1428" fmla="*/ 3539014 w 6400800"/>
                <a:gd name="connsiteY1428" fmla="*/ 162401 h 514350"/>
                <a:gd name="connsiteX1429" fmla="*/ 3537109 w 6400800"/>
                <a:gd name="connsiteY1429" fmla="*/ 176689 h 514350"/>
                <a:gd name="connsiteX1430" fmla="*/ 3527584 w 6400800"/>
                <a:gd name="connsiteY1430" fmla="*/ 190976 h 514350"/>
                <a:gd name="connsiteX1431" fmla="*/ 3511391 w 6400800"/>
                <a:gd name="connsiteY1431" fmla="*/ 214789 h 514350"/>
                <a:gd name="connsiteX1432" fmla="*/ 3510439 w 6400800"/>
                <a:gd name="connsiteY1432" fmla="*/ 215741 h 514350"/>
                <a:gd name="connsiteX1433" fmla="*/ 3508534 w 6400800"/>
                <a:gd name="connsiteY1433" fmla="*/ 201454 h 514350"/>
                <a:gd name="connsiteX1434" fmla="*/ 3505676 w 6400800"/>
                <a:gd name="connsiteY1434" fmla="*/ 180499 h 514350"/>
                <a:gd name="connsiteX1435" fmla="*/ 3504724 w 6400800"/>
                <a:gd name="connsiteY1435" fmla="*/ 202406 h 514350"/>
                <a:gd name="connsiteX1436" fmla="*/ 3503771 w 6400800"/>
                <a:gd name="connsiteY1436" fmla="*/ 226219 h 514350"/>
                <a:gd name="connsiteX1437" fmla="*/ 3500914 w 6400800"/>
                <a:gd name="connsiteY1437" fmla="*/ 230981 h 514350"/>
                <a:gd name="connsiteX1438" fmla="*/ 3491389 w 6400800"/>
                <a:gd name="connsiteY1438" fmla="*/ 247174 h 514350"/>
                <a:gd name="connsiteX1439" fmla="*/ 3483769 w 6400800"/>
                <a:gd name="connsiteY1439" fmla="*/ 230029 h 514350"/>
                <a:gd name="connsiteX1440" fmla="*/ 3469481 w 6400800"/>
                <a:gd name="connsiteY1440" fmla="*/ 200501 h 514350"/>
                <a:gd name="connsiteX1441" fmla="*/ 3471386 w 6400800"/>
                <a:gd name="connsiteY1441" fmla="*/ 190976 h 514350"/>
                <a:gd name="connsiteX1442" fmla="*/ 3477101 w 6400800"/>
                <a:gd name="connsiteY1442" fmla="*/ 167164 h 514350"/>
                <a:gd name="connsiteX1443" fmla="*/ 3482816 w 6400800"/>
                <a:gd name="connsiteY1443" fmla="*/ 146209 h 514350"/>
                <a:gd name="connsiteX1444" fmla="*/ 3492341 w 6400800"/>
                <a:gd name="connsiteY1444" fmla="*/ 111919 h 514350"/>
                <a:gd name="connsiteX1445" fmla="*/ 3499961 w 6400800"/>
                <a:gd name="connsiteY1445" fmla="*/ 82391 h 514350"/>
                <a:gd name="connsiteX1446" fmla="*/ 3488531 w 6400800"/>
                <a:gd name="connsiteY1446" fmla="*/ 110966 h 514350"/>
                <a:gd name="connsiteX1447" fmla="*/ 3476149 w 6400800"/>
                <a:gd name="connsiteY1447" fmla="*/ 144304 h 514350"/>
                <a:gd name="connsiteX1448" fmla="*/ 3468529 w 6400800"/>
                <a:gd name="connsiteY1448" fmla="*/ 164306 h 514350"/>
                <a:gd name="connsiteX1449" fmla="*/ 3461861 w 6400800"/>
                <a:gd name="connsiteY1449" fmla="*/ 185261 h 514350"/>
                <a:gd name="connsiteX1450" fmla="*/ 3452336 w 6400800"/>
                <a:gd name="connsiteY1450" fmla="*/ 168116 h 514350"/>
                <a:gd name="connsiteX1451" fmla="*/ 3460909 w 6400800"/>
                <a:gd name="connsiteY1451" fmla="*/ 189071 h 514350"/>
                <a:gd name="connsiteX1452" fmla="*/ 3450431 w 6400800"/>
                <a:gd name="connsiteY1452" fmla="*/ 225266 h 514350"/>
                <a:gd name="connsiteX1453" fmla="*/ 3441859 w 6400800"/>
                <a:gd name="connsiteY1453" fmla="*/ 210026 h 514350"/>
                <a:gd name="connsiteX1454" fmla="*/ 3442811 w 6400800"/>
                <a:gd name="connsiteY1454" fmla="*/ 208121 h 514350"/>
                <a:gd name="connsiteX1455" fmla="*/ 3445669 w 6400800"/>
                <a:gd name="connsiteY1455" fmla="*/ 190976 h 514350"/>
                <a:gd name="connsiteX1456" fmla="*/ 3439001 w 6400800"/>
                <a:gd name="connsiteY1456" fmla="*/ 205264 h 514350"/>
                <a:gd name="connsiteX1457" fmla="*/ 3439001 w 6400800"/>
                <a:gd name="connsiteY1457" fmla="*/ 205264 h 514350"/>
                <a:gd name="connsiteX1458" fmla="*/ 3438049 w 6400800"/>
                <a:gd name="connsiteY1458" fmla="*/ 165259 h 514350"/>
                <a:gd name="connsiteX1459" fmla="*/ 3437096 w 6400800"/>
                <a:gd name="connsiteY1459" fmla="*/ 135731 h 514350"/>
                <a:gd name="connsiteX1460" fmla="*/ 3435191 w 6400800"/>
                <a:gd name="connsiteY1460" fmla="*/ 112871 h 514350"/>
                <a:gd name="connsiteX1461" fmla="*/ 3433286 w 6400800"/>
                <a:gd name="connsiteY1461" fmla="*/ 92869 h 514350"/>
                <a:gd name="connsiteX1462" fmla="*/ 3431381 w 6400800"/>
                <a:gd name="connsiteY1462" fmla="*/ 112871 h 514350"/>
                <a:gd name="connsiteX1463" fmla="*/ 3428524 w 6400800"/>
                <a:gd name="connsiteY1463" fmla="*/ 149066 h 514350"/>
                <a:gd name="connsiteX1464" fmla="*/ 3428524 w 6400800"/>
                <a:gd name="connsiteY1464" fmla="*/ 150019 h 514350"/>
                <a:gd name="connsiteX1465" fmla="*/ 3426619 w 6400800"/>
                <a:gd name="connsiteY1465" fmla="*/ 131921 h 514350"/>
                <a:gd name="connsiteX1466" fmla="*/ 3423761 w 6400800"/>
                <a:gd name="connsiteY1466" fmla="*/ 113824 h 514350"/>
                <a:gd name="connsiteX1467" fmla="*/ 3422809 w 6400800"/>
                <a:gd name="connsiteY1467" fmla="*/ 131921 h 514350"/>
                <a:gd name="connsiteX1468" fmla="*/ 3420904 w 6400800"/>
                <a:gd name="connsiteY1468" fmla="*/ 174784 h 514350"/>
                <a:gd name="connsiteX1469" fmla="*/ 3412331 w 6400800"/>
                <a:gd name="connsiteY1469" fmla="*/ 162401 h 514350"/>
                <a:gd name="connsiteX1470" fmla="*/ 3398044 w 6400800"/>
                <a:gd name="connsiteY1470" fmla="*/ 141446 h 514350"/>
                <a:gd name="connsiteX1471" fmla="*/ 3401854 w 6400800"/>
                <a:gd name="connsiteY1471" fmla="*/ 123349 h 514350"/>
                <a:gd name="connsiteX1472" fmla="*/ 3396139 w 6400800"/>
                <a:gd name="connsiteY1472" fmla="*/ 139541 h 514350"/>
                <a:gd name="connsiteX1473" fmla="*/ 3391376 w 6400800"/>
                <a:gd name="connsiteY1473" fmla="*/ 132874 h 514350"/>
                <a:gd name="connsiteX1474" fmla="*/ 3395186 w 6400800"/>
                <a:gd name="connsiteY1474" fmla="*/ 139541 h 514350"/>
                <a:gd name="connsiteX1475" fmla="*/ 3395186 w 6400800"/>
                <a:gd name="connsiteY1475" fmla="*/ 141446 h 514350"/>
                <a:gd name="connsiteX1476" fmla="*/ 3382804 w 6400800"/>
                <a:gd name="connsiteY1476" fmla="*/ 177641 h 514350"/>
                <a:gd name="connsiteX1477" fmla="*/ 3382804 w 6400800"/>
                <a:gd name="connsiteY1477" fmla="*/ 172879 h 514350"/>
                <a:gd name="connsiteX1478" fmla="*/ 3381851 w 6400800"/>
                <a:gd name="connsiteY1478" fmla="*/ 150971 h 514350"/>
                <a:gd name="connsiteX1479" fmla="*/ 3378994 w 6400800"/>
                <a:gd name="connsiteY1479" fmla="*/ 172879 h 514350"/>
                <a:gd name="connsiteX1480" fmla="*/ 3376136 w 6400800"/>
                <a:gd name="connsiteY1480" fmla="*/ 197644 h 514350"/>
                <a:gd name="connsiteX1481" fmla="*/ 3365659 w 6400800"/>
                <a:gd name="connsiteY1481" fmla="*/ 234791 h 514350"/>
                <a:gd name="connsiteX1482" fmla="*/ 3358991 w 6400800"/>
                <a:gd name="connsiteY1482" fmla="*/ 253841 h 514350"/>
                <a:gd name="connsiteX1483" fmla="*/ 3358039 w 6400800"/>
                <a:gd name="connsiteY1483" fmla="*/ 257651 h 514350"/>
                <a:gd name="connsiteX1484" fmla="*/ 3351371 w 6400800"/>
                <a:gd name="connsiteY1484" fmla="*/ 239554 h 514350"/>
                <a:gd name="connsiteX1485" fmla="*/ 3351371 w 6400800"/>
                <a:gd name="connsiteY1485" fmla="*/ 237649 h 514350"/>
                <a:gd name="connsiteX1486" fmla="*/ 3351371 w 6400800"/>
                <a:gd name="connsiteY1486" fmla="*/ 238601 h 514350"/>
                <a:gd name="connsiteX1487" fmla="*/ 3344704 w 6400800"/>
                <a:gd name="connsiteY1487" fmla="*/ 221456 h 514350"/>
                <a:gd name="connsiteX1488" fmla="*/ 3349466 w 6400800"/>
                <a:gd name="connsiteY1488" fmla="*/ 248126 h 514350"/>
                <a:gd name="connsiteX1489" fmla="*/ 3347561 w 6400800"/>
                <a:gd name="connsiteY1489" fmla="*/ 265271 h 514350"/>
                <a:gd name="connsiteX1490" fmla="*/ 3345656 w 6400800"/>
                <a:gd name="connsiteY1490" fmla="*/ 283369 h 514350"/>
                <a:gd name="connsiteX1491" fmla="*/ 3343751 w 6400800"/>
                <a:gd name="connsiteY1491" fmla="*/ 287179 h 514350"/>
                <a:gd name="connsiteX1492" fmla="*/ 3339941 w 6400800"/>
                <a:gd name="connsiteY1492" fmla="*/ 274796 h 514350"/>
                <a:gd name="connsiteX1493" fmla="*/ 3325654 w 6400800"/>
                <a:gd name="connsiteY1493" fmla="*/ 231934 h 514350"/>
                <a:gd name="connsiteX1494" fmla="*/ 3328511 w 6400800"/>
                <a:gd name="connsiteY1494" fmla="*/ 216694 h 514350"/>
                <a:gd name="connsiteX1495" fmla="*/ 3338036 w 6400800"/>
                <a:gd name="connsiteY1495" fmla="*/ 170974 h 514350"/>
                <a:gd name="connsiteX1496" fmla="*/ 3346609 w 6400800"/>
                <a:gd name="connsiteY1496" fmla="*/ 136684 h 514350"/>
                <a:gd name="connsiteX1497" fmla="*/ 3355181 w 6400800"/>
                <a:gd name="connsiteY1497" fmla="*/ 106204 h 514350"/>
                <a:gd name="connsiteX1498" fmla="*/ 3342799 w 6400800"/>
                <a:gd name="connsiteY1498" fmla="*/ 134779 h 514350"/>
                <a:gd name="connsiteX1499" fmla="*/ 3330416 w 6400800"/>
                <a:gd name="connsiteY1499" fmla="*/ 169069 h 514350"/>
                <a:gd name="connsiteX1500" fmla="*/ 3318986 w 6400800"/>
                <a:gd name="connsiteY1500" fmla="*/ 208121 h 514350"/>
                <a:gd name="connsiteX1501" fmla="*/ 3318986 w 6400800"/>
                <a:gd name="connsiteY1501" fmla="*/ 203359 h 514350"/>
                <a:gd name="connsiteX1502" fmla="*/ 3320891 w 6400800"/>
                <a:gd name="connsiteY1502" fmla="*/ 195739 h 514350"/>
                <a:gd name="connsiteX1503" fmla="*/ 3327559 w 6400800"/>
                <a:gd name="connsiteY1503" fmla="*/ 170021 h 514350"/>
                <a:gd name="connsiteX1504" fmla="*/ 3332321 w 6400800"/>
                <a:gd name="connsiteY1504" fmla="*/ 147161 h 514350"/>
                <a:gd name="connsiteX1505" fmla="*/ 3323749 w 6400800"/>
                <a:gd name="connsiteY1505" fmla="*/ 169069 h 514350"/>
                <a:gd name="connsiteX1506" fmla="*/ 3322796 w 6400800"/>
                <a:gd name="connsiteY1506" fmla="*/ 171926 h 514350"/>
                <a:gd name="connsiteX1507" fmla="*/ 3323749 w 6400800"/>
                <a:gd name="connsiteY1507" fmla="*/ 165259 h 514350"/>
                <a:gd name="connsiteX1508" fmla="*/ 3328511 w 6400800"/>
                <a:gd name="connsiteY1508" fmla="*/ 147161 h 514350"/>
                <a:gd name="connsiteX1509" fmla="*/ 3336131 w 6400800"/>
                <a:gd name="connsiteY1509" fmla="*/ 116681 h 514350"/>
                <a:gd name="connsiteX1510" fmla="*/ 3341846 w 6400800"/>
                <a:gd name="connsiteY1510" fmla="*/ 90011 h 514350"/>
                <a:gd name="connsiteX1511" fmla="*/ 3332321 w 6400800"/>
                <a:gd name="connsiteY1511" fmla="*/ 114776 h 514350"/>
                <a:gd name="connsiteX1512" fmla="*/ 3321844 w 6400800"/>
                <a:gd name="connsiteY1512" fmla="*/ 143351 h 514350"/>
                <a:gd name="connsiteX1513" fmla="*/ 3315176 w 6400800"/>
                <a:gd name="connsiteY1513" fmla="*/ 161449 h 514350"/>
                <a:gd name="connsiteX1514" fmla="*/ 3308509 w 6400800"/>
                <a:gd name="connsiteY1514" fmla="*/ 181451 h 514350"/>
                <a:gd name="connsiteX1515" fmla="*/ 3308509 w 6400800"/>
                <a:gd name="connsiteY1515" fmla="*/ 181451 h 514350"/>
                <a:gd name="connsiteX1516" fmla="*/ 3306604 w 6400800"/>
                <a:gd name="connsiteY1516" fmla="*/ 176689 h 514350"/>
                <a:gd name="connsiteX1517" fmla="*/ 3292316 w 6400800"/>
                <a:gd name="connsiteY1517" fmla="*/ 140494 h 514350"/>
                <a:gd name="connsiteX1518" fmla="*/ 3305651 w 6400800"/>
                <a:gd name="connsiteY1518" fmla="*/ 189071 h 514350"/>
                <a:gd name="connsiteX1519" fmla="*/ 3294221 w 6400800"/>
                <a:gd name="connsiteY1519" fmla="*/ 227171 h 514350"/>
                <a:gd name="connsiteX1520" fmla="*/ 3293269 w 6400800"/>
                <a:gd name="connsiteY1520" fmla="*/ 230981 h 514350"/>
                <a:gd name="connsiteX1521" fmla="*/ 3292316 w 6400800"/>
                <a:gd name="connsiteY1521" fmla="*/ 229076 h 514350"/>
                <a:gd name="connsiteX1522" fmla="*/ 3277076 w 6400800"/>
                <a:gd name="connsiteY1522" fmla="*/ 197644 h 514350"/>
                <a:gd name="connsiteX1523" fmla="*/ 3291364 w 6400800"/>
                <a:gd name="connsiteY1523" fmla="*/ 237649 h 514350"/>
                <a:gd name="connsiteX1524" fmla="*/ 3285649 w 6400800"/>
                <a:gd name="connsiteY1524" fmla="*/ 257651 h 514350"/>
                <a:gd name="connsiteX1525" fmla="*/ 3277076 w 6400800"/>
                <a:gd name="connsiteY1525" fmla="*/ 246221 h 514350"/>
                <a:gd name="connsiteX1526" fmla="*/ 3274219 w 6400800"/>
                <a:gd name="connsiteY1526" fmla="*/ 242411 h 514350"/>
                <a:gd name="connsiteX1527" fmla="*/ 3277076 w 6400800"/>
                <a:gd name="connsiteY1527" fmla="*/ 199549 h 514350"/>
                <a:gd name="connsiteX1528" fmla="*/ 3272314 w 6400800"/>
                <a:gd name="connsiteY1528" fmla="*/ 217646 h 514350"/>
                <a:gd name="connsiteX1529" fmla="*/ 3268504 w 6400800"/>
                <a:gd name="connsiteY1529" fmla="*/ 234791 h 514350"/>
                <a:gd name="connsiteX1530" fmla="*/ 3258979 w 6400800"/>
                <a:gd name="connsiteY1530" fmla="*/ 223361 h 514350"/>
                <a:gd name="connsiteX1531" fmla="*/ 3241834 w 6400800"/>
                <a:gd name="connsiteY1531" fmla="*/ 203359 h 514350"/>
                <a:gd name="connsiteX1532" fmla="*/ 3256121 w 6400800"/>
                <a:gd name="connsiteY1532" fmla="*/ 226219 h 514350"/>
                <a:gd name="connsiteX1533" fmla="*/ 3266599 w 6400800"/>
                <a:gd name="connsiteY1533" fmla="*/ 243364 h 514350"/>
                <a:gd name="connsiteX1534" fmla="*/ 3260884 w 6400800"/>
                <a:gd name="connsiteY1534" fmla="*/ 265271 h 514350"/>
                <a:gd name="connsiteX1535" fmla="*/ 3256121 w 6400800"/>
                <a:gd name="connsiteY1535" fmla="*/ 288131 h 514350"/>
                <a:gd name="connsiteX1536" fmla="*/ 3256121 w 6400800"/>
                <a:gd name="connsiteY1536" fmla="*/ 287179 h 514350"/>
                <a:gd name="connsiteX1537" fmla="*/ 3256121 w 6400800"/>
                <a:gd name="connsiteY1537" fmla="*/ 289084 h 514350"/>
                <a:gd name="connsiteX1538" fmla="*/ 3255169 w 6400800"/>
                <a:gd name="connsiteY1538" fmla="*/ 293846 h 514350"/>
                <a:gd name="connsiteX1539" fmla="*/ 3253264 w 6400800"/>
                <a:gd name="connsiteY1539" fmla="*/ 290036 h 514350"/>
                <a:gd name="connsiteX1540" fmla="*/ 3254216 w 6400800"/>
                <a:gd name="connsiteY1540" fmla="*/ 280511 h 514350"/>
                <a:gd name="connsiteX1541" fmla="*/ 3252311 w 6400800"/>
                <a:gd name="connsiteY1541" fmla="*/ 287179 h 514350"/>
                <a:gd name="connsiteX1542" fmla="*/ 3246596 w 6400800"/>
                <a:gd name="connsiteY1542" fmla="*/ 276701 h 514350"/>
                <a:gd name="connsiteX1543" fmla="*/ 3251359 w 6400800"/>
                <a:gd name="connsiteY1543" fmla="*/ 290989 h 514350"/>
                <a:gd name="connsiteX1544" fmla="*/ 3249454 w 6400800"/>
                <a:gd name="connsiteY1544" fmla="*/ 298609 h 514350"/>
                <a:gd name="connsiteX1545" fmla="*/ 3247549 w 6400800"/>
                <a:gd name="connsiteY1545" fmla="*/ 304324 h 514350"/>
                <a:gd name="connsiteX1546" fmla="*/ 3246596 w 6400800"/>
                <a:gd name="connsiteY1546" fmla="*/ 301466 h 514350"/>
                <a:gd name="connsiteX1547" fmla="*/ 3246596 w 6400800"/>
                <a:gd name="connsiteY1547" fmla="*/ 306229 h 514350"/>
                <a:gd name="connsiteX1548" fmla="*/ 3243739 w 6400800"/>
                <a:gd name="connsiteY1548" fmla="*/ 317659 h 514350"/>
                <a:gd name="connsiteX1549" fmla="*/ 3239929 w 6400800"/>
                <a:gd name="connsiteY1549" fmla="*/ 304324 h 514350"/>
                <a:gd name="connsiteX1550" fmla="*/ 3242786 w 6400800"/>
                <a:gd name="connsiteY1550" fmla="*/ 296704 h 514350"/>
                <a:gd name="connsiteX1551" fmla="*/ 3238976 w 6400800"/>
                <a:gd name="connsiteY1551" fmla="*/ 302419 h 514350"/>
                <a:gd name="connsiteX1552" fmla="*/ 3236119 w 6400800"/>
                <a:gd name="connsiteY1552" fmla="*/ 293846 h 514350"/>
                <a:gd name="connsiteX1553" fmla="*/ 3235166 w 6400800"/>
                <a:gd name="connsiteY1553" fmla="*/ 290036 h 514350"/>
                <a:gd name="connsiteX1554" fmla="*/ 3241834 w 6400800"/>
                <a:gd name="connsiteY1554" fmla="*/ 273844 h 514350"/>
                <a:gd name="connsiteX1555" fmla="*/ 3249454 w 6400800"/>
                <a:gd name="connsiteY1555" fmla="*/ 256699 h 514350"/>
                <a:gd name="connsiteX1556" fmla="*/ 3256121 w 6400800"/>
                <a:gd name="connsiteY1556" fmla="*/ 242411 h 514350"/>
                <a:gd name="connsiteX1557" fmla="*/ 3245644 w 6400800"/>
                <a:gd name="connsiteY1557" fmla="*/ 254794 h 514350"/>
                <a:gd name="connsiteX1558" fmla="*/ 3235166 w 6400800"/>
                <a:gd name="connsiteY1558" fmla="*/ 270034 h 514350"/>
                <a:gd name="connsiteX1559" fmla="*/ 3230404 w 6400800"/>
                <a:gd name="connsiteY1559" fmla="*/ 276701 h 514350"/>
                <a:gd name="connsiteX1560" fmla="*/ 3229451 w 6400800"/>
                <a:gd name="connsiteY1560" fmla="*/ 272891 h 514350"/>
                <a:gd name="connsiteX1561" fmla="*/ 3222784 w 6400800"/>
                <a:gd name="connsiteY1561" fmla="*/ 253841 h 514350"/>
                <a:gd name="connsiteX1562" fmla="*/ 3218021 w 6400800"/>
                <a:gd name="connsiteY1562" fmla="*/ 241459 h 514350"/>
                <a:gd name="connsiteX1563" fmla="*/ 3218021 w 6400800"/>
                <a:gd name="connsiteY1563" fmla="*/ 236696 h 514350"/>
                <a:gd name="connsiteX1564" fmla="*/ 3222784 w 6400800"/>
                <a:gd name="connsiteY1564" fmla="*/ 206216 h 514350"/>
                <a:gd name="connsiteX1565" fmla="*/ 3229451 w 6400800"/>
                <a:gd name="connsiteY1565" fmla="*/ 166211 h 514350"/>
                <a:gd name="connsiteX1566" fmla="*/ 3235166 w 6400800"/>
                <a:gd name="connsiteY1566" fmla="*/ 135731 h 514350"/>
                <a:gd name="connsiteX1567" fmla="*/ 3239929 w 6400800"/>
                <a:gd name="connsiteY1567" fmla="*/ 109061 h 514350"/>
                <a:gd name="connsiteX1568" fmla="*/ 3231356 w 6400800"/>
                <a:gd name="connsiteY1568" fmla="*/ 134779 h 514350"/>
                <a:gd name="connsiteX1569" fmla="*/ 3212306 w 6400800"/>
                <a:gd name="connsiteY1569" fmla="*/ 204311 h 514350"/>
                <a:gd name="connsiteX1570" fmla="*/ 3209449 w 6400800"/>
                <a:gd name="connsiteY1570" fmla="*/ 215741 h 514350"/>
                <a:gd name="connsiteX1571" fmla="*/ 3204686 w 6400800"/>
                <a:gd name="connsiteY1571" fmla="*/ 204311 h 514350"/>
                <a:gd name="connsiteX1572" fmla="*/ 3203734 w 6400800"/>
                <a:gd name="connsiteY1572" fmla="*/ 175736 h 514350"/>
                <a:gd name="connsiteX1573" fmla="*/ 3200876 w 6400800"/>
                <a:gd name="connsiteY1573" fmla="*/ 206216 h 514350"/>
                <a:gd name="connsiteX1574" fmla="*/ 3196114 w 6400800"/>
                <a:gd name="connsiteY1574" fmla="*/ 240506 h 514350"/>
                <a:gd name="connsiteX1575" fmla="*/ 3195161 w 6400800"/>
                <a:gd name="connsiteY1575" fmla="*/ 243364 h 514350"/>
                <a:gd name="connsiteX1576" fmla="*/ 3196114 w 6400800"/>
                <a:gd name="connsiteY1576" fmla="*/ 217646 h 514350"/>
                <a:gd name="connsiteX1577" fmla="*/ 3198019 w 6400800"/>
                <a:gd name="connsiteY1577" fmla="*/ 180499 h 514350"/>
                <a:gd name="connsiteX1578" fmla="*/ 3199924 w 6400800"/>
                <a:gd name="connsiteY1578" fmla="*/ 151924 h 514350"/>
                <a:gd name="connsiteX1579" fmla="*/ 3200876 w 6400800"/>
                <a:gd name="connsiteY1579" fmla="*/ 127159 h 514350"/>
                <a:gd name="connsiteX1580" fmla="*/ 3195161 w 6400800"/>
                <a:gd name="connsiteY1580" fmla="*/ 151924 h 514350"/>
                <a:gd name="connsiteX1581" fmla="*/ 3184684 w 6400800"/>
                <a:gd name="connsiteY1581" fmla="*/ 217646 h 514350"/>
                <a:gd name="connsiteX1582" fmla="*/ 3181826 w 6400800"/>
                <a:gd name="connsiteY1582" fmla="*/ 235744 h 514350"/>
                <a:gd name="connsiteX1583" fmla="*/ 3179921 w 6400800"/>
                <a:gd name="connsiteY1583" fmla="*/ 231934 h 514350"/>
                <a:gd name="connsiteX1584" fmla="*/ 3179921 w 6400800"/>
                <a:gd name="connsiteY1584" fmla="*/ 224314 h 514350"/>
                <a:gd name="connsiteX1585" fmla="*/ 3178969 w 6400800"/>
                <a:gd name="connsiteY1585" fmla="*/ 230029 h 514350"/>
                <a:gd name="connsiteX1586" fmla="*/ 3177064 w 6400800"/>
                <a:gd name="connsiteY1586" fmla="*/ 227171 h 514350"/>
                <a:gd name="connsiteX1587" fmla="*/ 3178016 w 6400800"/>
                <a:gd name="connsiteY1587" fmla="*/ 231934 h 514350"/>
                <a:gd name="connsiteX1588" fmla="*/ 3174206 w 6400800"/>
                <a:gd name="connsiteY1588" fmla="*/ 250984 h 514350"/>
                <a:gd name="connsiteX1589" fmla="*/ 3170396 w 6400800"/>
                <a:gd name="connsiteY1589" fmla="*/ 277654 h 514350"/>
                <a:gd name="connsiteX1590" fmla="*/ 3169444 w 6400800"/>
                <a:gd name="connsiteY1590" fmla="*/ 275749 h 514350"/>
                <a:gd name="connsiteX1591" fmla="*/ 3163729 w 6400800"/>
                <a:gd name="connsiteY1591" fmla="*/ 215741 h 514350"/>
                <a:gd name="connsiteX1592" fmla="*/ 3162776 w 6400800"/>
                <a:gd name="connsiteY1592" fmla="*/ 207169 h 514350"/>
                <a:gd name="connsiteX1593" fmla="*/ 3163729 w 6400800"/>
                <a:gd name="connsiteY1593" fmla="*/ 203359 h 514350"/>
                <a:gd name="connsiteX1594" fmla="*/ 3174206 w 6400800"/>
                <a:gd name="connsiteY1594" fmla="*/ 132874 h 514350"/>
                <a:gd name="connsiteX1595" fmla="*/ 3178016 w 6400800"/>
                <a:gd name="connsiteY1595" fmla="*/ 106204 h 514350"/>
                <a:gd name="connsiteX1596" fmla="*/ 3170396 w 6400800"/>
                <a:gd name="connsiteY1596" fmla="*/ 131921 h 514350"/>
                <a:gd name="connsiteX1597" fmla="*/ 3158014 w 6400800"/>
                <a:gd name="connsiteY1597" fmla="*/ 177641 h 514350"/>
                <a:gd name="connsiteX1598" fmla="*/ 3154204 w 6400800"/>
                <a:gd name="connsiteY1598" fmla="*/ 159544 h 514350"/>
                <a:gd name="connsiteX1599" fmla="*/ 3149441 w 6400800"/>
                <a:gd name="connsiteY1599" fmla="*/ 134779 h 514350"/>
                <a:gd name="connsiteX1600" fmla="*/ 3143726 w 6400800"/>
                <a:gd name="connsiteY1600" fmla="*/ 112871 h 514350"/>
                <a:gd name="connsiteX1601" fmla="*/ 3133249 w 6400800"/>
                <a:gd name="connsiteY1601" fmla="*/ 77629 h 514350"/>
                <a:gd name="connsiteX1602" fmla="*/ 3122771 w 6400800"/>
                <a:gd name="connsiteY1602" fmla="*/ 47149 h 514350"/>
                <a:gd name="connsiteX1603" fmla="*/ 3129439 w 6400800"/>
                <a:gd name="connsiteY1603" fmla="*/ 78581 h 514350"/>
                <a:gd name="connsiteX1604" fmla="*/ 3136106 w 6400800"/>
                <a:gd name="connsiteY1604" fmla="*/ 114776 h 514350"/>
                <a:gd name="connsiteX1605" fmla="*/ 3139916 w 6400800"/>
                <a:gd name="connsiteY1605" fmla="*/ 136684 h 514350"/>
                <a:gd name="connsiteX1606" fmla="*/ 3142774 w 6400800"/>
                <a:gd name="connsiteY1606" fmla="*/ 161449 h 514350"/>
                <a:gd name="connsiteX1607" fmla="*/ 3147536 w 6400800"/>
                <a:gd name="connsiteY1607" fmla="*/ 213836 h 514350"/>
                <a:gd name="connsiteX1608" fmla="*/ 3146584 w 6400800"/>
                <a:gd name="connsiteY1608" fmla="*/ 217646 h 514350"/>
                <a:gd name="connsiteX1609" fmla="*/ 3143726 w 6400800"/>
                <a:gd name="connsiteY1609" fmla="*/ 210026 h 514350"/>
                <a:gd name="connsiteX1610" fmla="*/ 3138964 w 6400800"/>
                <a:gd name="connsiteY1610" fmla="*/ 196691 h 514350"/>
                <a:gd name="connsiteX1611" fmla="*/ 3134201 w 6400800"/>
                <a:gd name="connsiteY1611" fmla="*/ 179546 h 514350"/>
                <a:gd name="connsiteX1612" fmla="*/ 3126581 w 6400800"/>
                <a:gd name="connsiteY1612" fmla="*/ 155734 h 514350"/>
                <a:gd name="connsiteX1613" fmla="*/ 3129439 w 6400800"/>
                <a:gd name="connsiteY1613" fmla="*/ 172879 h 514350"/>
                <a:gd name="connsiteX1614" fmla="*/ 3118961 w 6400800"/>
                <a:gd name="connsiteY1614" fmla="*/ 150019 h 514350"/>
                <a:gd name="connsiteX1615" fmla="*/ 3112294 w 6400800"/>
                <a:gd name="connsiteY1615" fmla="*/ 136684 h 514350"/>
                <a:gd name="connsiteX1616" fmla="*/ 3102769 w 6400800"/>
                <a:gd name="connsiteY1616" fmla="*/ 113824 h 514350"/>
                <a:gd name="connsiteX1617" fmla="*/ 3090386 w 6400800"/>
                <a:gd name="connsiteY1617" fmla="*/ 87154 h 514350"/>
                <a:gd name="connsiteX1618" fmla="*/ 3099911 w 6400800"/>
                <a:gd name="connsiteY1618" fmla="*/ 114776 h 514350"/>
                <a:gd name="connsiteX1619" fmla="*/ 3109436 w 6400800"/>
                <a:gd name="connsiteY1619" fmla="*/ 146209 h 514350"/>
                <a:gd name="connsiteX1620" fmla="*/ 3115151 w 6400800"/>
                <a:gd name="connsiteY1620" fmla="*/ 167164 h 514350"/>
                <a:gd name="connsiteX1621" fmla="*/ 3109436 w 6400800"/>
                <a:gd name="connsiteY1621" fmla="*/ 155734 h 514350"/>
                <a:gd name="connsiteX1622" fmla="*/ 3116104 w 6400800"/>
                <a:gd name="connsiteY1622" fmla="*/ 176689 h 514350"/>
                <a:gd name="connsiteX1623" fmla="*/ 3121819 w 6400800"/>
                <a:gd name="connsiteY1623" fmla="*/ 194786 h 514350"/>
                <a:gd name="connsiteX1624" fmla="*/ 3125629 w 6400800"/>
                <a:gd name="connsiteY1624" fmla="*/ 213836 h 514350"/>
                <a:gd name="connsiteX1625" fmla="*/ 3123724 w 6400800"/>
                <a:gd name="connsiteY1625" fmla="*/ 215741 h 514350"/>
                <a:gd name="connsiteX1626" fmla="*/ 3122771 w 6400800"/>
                <a:gd name="connsiteY1626" fmla="*/ 210979 h 514350"/>
                <a:gd name="connsiteX1627" fmla="*/ 3122771 w 6400800"/>
                <a:gd name="connsiteY1627" fmla="*/ 216694 h 514350"/>
                <a:gd name="connsiteX1628" fmla="*/ 3113246 w 6400800"/>
                <a:gd name="connsiteY1628" fmla="*/ 228124 h 514350"/>
                <a:gd name="connsiteX1629" fmla="*/ 3113246 w 6400800"/>
                <a:gd name="connsiteY1629" fmla="*/ 228124 h 514350"/>
                <a:gd name="connsiteX1630" fmla="*/ 3110389 w 6400800"/>
                <a:gd name="connsiteY1630" fmla="*/ 191929 h 514350"/>
                <a:gd name="connsiteX1631" fmla="*/ 3108484 w 6400800"/>
                <a:gd name="connsiteY1631" fmla="*/ 171926 h 514350"/>
                <a:gd name="connsiteX1632" fmla="*/ 3106579 w 6400800"/>
                <a:gd name="connsiteY1632" fmla="*/ 192881 h 514350"/>
                <a:gd name="connsiteX1633" fmla="*/ 3104674 w 6400800"/>
                <a:gd name="connsiteY1633" fmla="*/ 228124 h 514350"/>
                <a:gd name="connsiteX1634" fmla="*/ 3104674 w 6400800"/>
                <a:gd name="connsiteY1634" fmla="*/ 227171 h 514350"/>
                <a:gd name="connsiteX1635" fmla="*/ 3097054 w 6400800"/>
                <a:gd name="connsiteY1635" fmla="*/ 208121 h 514350"/>
                <a:gd name="connsiteX1636" fmla="*/ 3100864 w 6400800"/>
                <a:gd name="connsiteY1636" fmla="*/ 228124 h 514350"/>
                <a:gd name="connsiteX1637" fmla="*/ 3103721 w 6400800"/>
                <a:gd name="connsiteY1637" fmla="*/ 244316 h 514350"/>
                <a:gd name="connsiteX1638" fmla="*/ 3096101 w 6400800"/>
                <a:gd name="connsiteY1638" fmla="*/ 255746 h 514350"/>
                <a:gd name="connsiteX1639" fmla="*/ 3087529 w 6400800"/>
                <a:gd name="connsiteY1639" fmla="*/ 270034 h 514350"/>
                <a:gd name="connsiteX1640" fmla="*/ 3082766 w 6400800"/>
                <a:gd name="connsiteY1640" fmla="*/ 252889 h 514350"/>
                <a:gd name="connsiteX1641" fmla="*/ 3077051 w 6400800"/>
                <a:gd name="connsiteY1641" fmla="*/ 233839 h 514350"/>
                <a:gd name="connsiteX1642" fmla="*/ 3078956 w 6400800"/>
                <a:gd name="connsiteY1642" fmla="*/ 252889 h 514350"/>
                <a:gd name="connsiteX1643" fmla="*/ 3079909 w 6400800"/>
                <a:gd name="connsiteY1643" fmla="*/ 264319 h 514350"/>
                <a:gd name="connsiteX1644" fmla="*/ 3077051 w 6400800"/>
                <a:gd name="connsiteY1644" fmla="*/ 255746 h 514350"/>
                <a:gd name="connsiteX1645" fmla="*/ 3074194 w 6400800"/>
                <a:gd name="connsiteY1645" fmla="*/ 248126 h 514350"/>
                <a:gd name="connsiteX1646" fmla="*/ 3074194 w 6400800"/>
                <a:gd name="connsiteY1646" fmla="*/ 242411 h 514350"/>
                <a:gd name="connsiteX1647" fmla="*/ 3075146 w 6400800"/>
                <a:gd name="connsiteY1647" fmla="*/ 229076 h 514350"/>
                <a:gd name="connsiteX1648" fmla="*/ 3077051 w 6400800"/>
                <a:gd name="connsiteY1648" fmla="*/ 220504 h 514350"/>
                <a:gd name="connsiteX1649" fmla="*/ 3086576 w 6400800"/>
                <a:gd name="connsiteY1649" fmla="*/ 189071 h 514350"/>
                <a:gd name="connsiteX1650" fmla="*/ 3096101 w 6400800"/>
                <a:gd name="connsiteY1650" fmla="*/ 161449 h 514350"/>
                <a:gd name="connsiteX1651" fmla="*/ 3083719 w 6400800"/>
                <a:gd name="connsiteY1651" fmla="*/ 188119 h 514350"/>
                <a:gd name="connsiteX1652" fmla="*/ 3071336 w 6400800"/>
                <a:gd name="connsiteY1652" fmla="*/ 218599 h 514350"/>
                <a:gd name="connsiteX1653" fmla="*/ 3068479 w 6400800"/>
                <a:gd name="connsiteY1653" fmla="*/ 224314 h 514350"/>
                <a:gd name="connsiteX1654" fmla="*/ 3068479 w 6400800"/>
                <a:gd name="connsiteY1654" fmla="*/ 216694 h 514350"/>
                <a:gd name="connsiteX1655" fmla="*/ 3069431 w 6400800"/>
                <a:gd name="connsiteY1655" fmla="*/ 209074 h 514350"/>
                <a:gd name="connsiteX1656" fmla="*/ 3072289 w 6400800"/>
                <a:gd name="connsiteY1656" fmla="*/ 181451 h 514350"/>
                <a:gd name="connsiteX1657" fmla="*/ 3073241 w 6400800"/>
                <a:gd name="connsiteY1657" fmla="*/ 157639 h 514350"/>
                <a:gd name="connsiteX1658" fmla="*/ 3067526 w 6400800"/>
                <a:gd name="connsiteY1658" fmla="*/ 180499 h 514350"/>
                <a:gd name="connsiteX1659" fmla="*/ 3066574 w 6400800"/>
                <a:gd name="connsiteY1659" fmla="*/ 183356 h 514350"/>
                <a:gd name="connsiteX1660" fmla="*/ 3064669 w 6400800"/>
                <a:gd name="connsiteY1660" fmla="*/ 148114 h 514350"/>
                <a:gd name="connsiteX1661" fmla="*/ 3064669 w 6400800"/>
                <a:gd name="connsiteY1661" fmla="*/ 145256 h 514350"/>
                <a:gd name="connsiteX1662" fmla="*/ 3064669 w 6400800"/>
                <a:gd name="connsiteY1662" fmla="*/ 146209 h 514350"/>
                <a:gd name="connsiteX1663" fmla="*/ 3063716 w 6400800"/>
                <a:gd name="connsiteY1663" fmla="*/ 131921 h 514350"/>
                <a:gd name="connsiteX1664" fmla="*/ 3058954 w 6400800"/>
                <a:gd name="connsiteY1664" fmla="*/ 174784 h 514350"/>
                <a:gd name="connsiteX1665" fmla="*/ 3056096 w 6400800"/>
                <a:gd name="connsiteY1665" fmla="*/ 190976 h 514350"/>
                <a:gd name="connsiteX1666" fmla="*/ 3054191 w 6400800"/>
                <a:gd name="connsiteY1666" fmla="*/ 201454 h 514350"/>
                <a:gd name="connsiteX1667" fmla="*/ 3049429 w 6400800"/>
                <a:gd name="connsiteY1667" fmla="*/ 189071 h 514350"/>
                <a:gd name="connsiteX1668" fmla="*/ 3049429 w 6400800"/>
                <a:gd name="connsiteY1668" fmla="*/ 188119 h 514350"/>
                <a:gd name="connsiteX1669" fmla="*/ 3056096 w 6400800"/>
                <a:gd name="connsiteY1669" fmla="*/ 151924 h 514350"/>
                <a:gd name="connsiteX1670" fmla="*/ 3062764 w 6400800"/>
                <a:gd name="connsiteY1670" fmla="*/ 120491 h 514350"/>
                <a:gd name="connsiteX1671" fmla="*/ 3052286 w 6400800"/>
                <a:gd name="connsiteY1671" fmla="*/ 150971 h 514350"/>
                <a:gd name="connsiteX1672" fmla="*/ 3041809 w 6400800"/>
                <a:gd name="connsiteY1672" fmla="*/ 186214 h 514350"/>
                <a:gd name="connsiteX1673" fmla="*/ 3036094 w 6400800"/>
                <a:gd name="connsiteY1673" fmla="*/ 208121 h 514350"/>
                <a:gd name="connsiteX1674" fmla="*/ 3034189 w 6400800"/>
                <a:gd name="connsiteY1674" fmla="*/ 215741 h 514350"/>
                <a:gd name="connsiteX1675" fmla="*/ 3032284 w 6400800"/>
                <a:gd name="connsiteY1675" fmla="*/ 205264 h 514350"/>
                <a:gd name="connsiteX1676" fmla="*/ 3048476 w 6400800"/>
                <a:gd name="connsiteY1676" fmla="*/ 148114 h 514350"/>
                <a:gd name="connsiteX1677" fmla="*/ 3057049 w 6400800"/>
                <a:gd name="connsiteY1677" fmla="*/ 123349 h 514350"/>
                <a:gd name="connsiteX1678" fmla="*/ 3054191 w 6400800"/>
                <a:gd name="connsiteY1678" fmla="*/ 129064 h 514350"/>
                <a:gd name="connsiteX1679" fmla="*/ 3045619 w 6400800"/>
                <a:gd name="connsiteY1679" fmla="*/ 146209 h 514350"/>
                <a:gd name="connsiteX1680" fmla="*/ 3029426 w 6400800"/>
                <a:gd name="connsiteY1680" fmla="*/ 184309 h 514350"/>
                <a:gd name="connsiteX1681" fmla="*/ 3029426 w 6400800"/>
                <a:gd name="connsiteY1681" fmla="*/ 167164 h 514350"/>
                <a:gd name="connsiteX1682" fmla="*/ 3030379 w 6400800"/>
                <a:gd name="connsiteY1682" fmla="*/ 140494 h 514350"/>
                <a:gd name="connsiteX1683" fmla="*/ 3025616 w 6400800"/>
                <a:gd name="connsiteY1683" fmla="*/ 166211 h 514350"/>
                <a:gd name="connsiteX1684" fmla="*/ 3022759 w 6400800"/>
                <a:gd name="connsiteY1684" fmla="*/ 196691 h 514350"/>
                <a:gd name="connsiteX1685" fmla="*/ 3022759 w 6400800"/>
                <a:gd name="connsiteY1685" fmla="*/ 202406 h 514350"/>
                <a:gd name="connsiteX1686" fmla="*/ 3019901 w 6400800"/>
                <a:gd name="connsiteY1686" fmla="*/ 210979 h 514350"/>
                <a:gd name="connsiteX1687" fmla="*/ 3011329 w 6400800"/>
                <a:gd name="connsiteY1687" fmla="*/ 234791 h 514350"/>
                <a:gd name="connsiteX1688" fmla="*/ 3007519 w 6400800"/>
                <a:gd name="connsiteY1688" fmla="*/ 226219 h 514350"/>
                <a:gd name="connsiteX1689" fmla="*/ 3011329 w 6400800"/>
                <a:gd name="connsiteY1689" fmla="*/ 215741 h 514350"/>
                <a:gd name="connsiteX1690" fmla="*/ 3006566 w 6400800"/>
                <a:gd name="connsiteY1690" fmla="*/ 222409 h 514350"/>
                <a:gd name="connsiteX1691" fmla="*/ 3001804 w 6400800"/>
                <a:gd name="connsiteY1691" fmla="*/ 202406 h 514350"/>
                <a:gd name="connsiteX1692" fmla="*/ 3000851 w 6400800"/>
                <a:gd name="connsiteY1692" fmla="*/ 197644 h 514350"/>
                <a:gd name="connsiteX1693" fmla="*/ 3003709 w 6400800"/>
                <a:gd name="connsiteY1693" fmla="*/ 189071 h 514350"/>
                <a:gd name="connsiteX1694" fmla="*/ 3011329 w 6400800"/>
                <a:gd name="connsiteY1694" fmla="*/ 164306 h 514350"/>
                <a:gd name="connsiteX1695" fmla="*/ 3018949 w 6400800"/>
                <a:gd name="connsiteY1695" fmla="*/ 142399 h 514350"/>
                <a:gd name="connsiteX1696" fmla="*/ 3007519 w 6400800"/>
                <a:gd name="connsiteY1696" fmla="*/ 162401 h 514350"/>
                <a:gd name="connsiteX1697" fmla="*/ 2997994 w 6400800"/>
                <a:gd name="connsiteY1697" fmla="*/ 182404 h 514350"/>
                <a:gd name="connsiteX1698" fmla="*/ 2995136 w 6400800"/>
                <a:gd name="connsiteY1698" fmla="*/ 169069 h 514350"/>
                <a:gd name="connsiteX1699" fmla="*/ 3014186 w 6400800"/>
                <a:gd name="connsiteY1699" fmla="*/ 100489 h 514350"/>
                <a:gd name="connsiteX1700" fmla="*/ 3021806 w 6400800"/>
                <a:gd name="connsiteY1700" fmla="*/ 76676 h 514350"/>
                <a:gd name="connsiteX1701" fmla="*/ 3024664 w 6400800"/>
                <a:gd name="connsiteY1701" fmla="*/ 68104 h 514350"/>
                <a:gd name="connsiteX1702" fmla="*/ 3020854 w 6400800"/>
                <a:gd name="connsiteY1702" fmla="*/ 75724 h 514350"/>
                <a:gd name="connsiteX1703" fmla="*/ 3010376 w 6400800"/>
                <a:gd name="connsiteY1703" fmla="*/ 98584 h 514350"/>
                <a:gd name="connsiteX1704" fmla="*/ 2996089 w 6400800"/>
                <a:gd name="connsiteY1704" fmla="*/ 134779 h 514350"/>
                <a:gd name="connsiteX1705" fmla="*/ 2991326 w 6400800"/>
                <a:gd name="connsiteY1705" fmla="*/ 148114 h 514350"/>
                <a:gd name="connsiteX1706" fmla="*/ 2987516 w 6400800"/>
                <a:gd name="connsiteY1706" fmla="*/ 122396 h 514350"/>
                <a:gd name="connsiteX1707" fmla="*/ 2984659 w 6400800"/>
                <a:gd name="connsiteY1707" fmla="*/ 91916 h 514350"/>
                <a:gd name="connsiteX1708" fmla="*/ 2983706 w 6400800"/>
                <a:gd name="connsiteY1708" fmla="*/ 122396 h 514350"/>
                <a:gd name="connsiteX1709" fmla="*/ 2985611 w 6400800"/>
                <a:gd name="connsiteY1709" fmla="*/ 157639 h 514350"/>
                <a:gd name="connsiteX1710" fmla="*/ 2985611 w 6400800"/>
                <a:gd name="connsiteY1710" fmla="*/ 163354 h 514350"/>
                <a:gd name="connsiteX1711" fmla="*/ 2978944 w 6400800"/>
                <a:gd name="connsiteY1711" fmla="*/ 182404 h 514350"/>
                <a:gd name="connsiteX1712" fmla="*/ 2960846 w 6400800"/>
                <a:gd name="connsiteY1712" fmla="*/ 238601 h 514350"/>
                <a:gd name="connsiteX1713" fmla="*/ 2959894 w 6400800"/>
                <a:gd name="connsiteY1713" fmla="*/ 234791 h 514350"/>
                <a:gd name="connsiteX1714" fmla="*/ 2960846 w 6400800"/>
                <a:gd name="connsiteY1714" fmla="*/ 239554 h 514350"/>
                <a:gd name="connsiteX1715" fmla="*/ 2950369 w 6400800"/>
                <a:gd name="connsiteY1715" fmla="*/ 274796 h 514350"/>
                <a:gd name="connsiteX1716" fmla="*/ 2952274 w 6400800"/>
                <a:gd name="connsiteY1716" fmla="*/ 264319 h 514350"/>
                <a:gd name="connsiteX1717" fmla="*/ 2944654 w 6400800"/>
                <a:gd name="connsiteY1717" fmla="*/ 284321 h 514350"/>
                <a:gd name="connsiteX1718" fmla="*/ 2944654 w 6400800"/>
                <a:gd name="connsiteY1718" fmla="*/ 283369 h 514350"/>
                <a:gd name="connsiteX1719" fmla="*/ 2945606 w 6400800"/>
                <a:gd name="connsiteY1719" fmla="*/ 277654 h 514350"/>
                <a:gd name="connsiteX1720" fmla="*/ 2949416 w 6400800"/>
                <a:gd name="connsiteY1720" fmla="*/ 238601 h 514350"/>
                <a:gd name="connsiteX1721" fmla="*/ 2951321 w 6400800"/>
                <a:gd name="connsiteY1721" fmla="*/ 221456 h 514350"/>
                <a:gd name="connsiteX1722" fmla="*/ 2953226 w 6400800"/>
                <a:gd name="connsiteY1722" fmla="*/ 205264 h 514350"/>
                <a:gd name="connsiteX1723" fmla="*/ 2956084 w 6400800"/>
                <a:gd name="connsiteY1723" fmla="*/ 179546 h 514350"/>
                <a:gd name="connsiteX1724" fmla="*/ 2958941 w 6400800"/>
                <a:gd name="connsiteY1724" fmla="*/ 156686 h 514350"/>
                <a:gd name="connsiteX1725" fmla="*/ 2952274 w 6400800"/>
                <a:gd name="connsiteY1725" fmla="*/ 178594 h 514350"/>
                <a:gd name="connsiteX1726" fmla="*/ 2945606 w 6400800"/>
                <a:gd name="connsiteY1726" fmla="*/ 203359 h 514350"/>
                <a:gd name="connsiteX1727" fmla="*/ 2941796 w 6400800"/>
                <a:gd name="connsiteY1727" fmla="*/ 218599 h 514350"/>
                <a:gd name="connsiteX1728" fmla="*/ 2937986 w 6400800"/>
                <a:gd name="connsiteY1728" fmla="*/ 235744 h 514350"/>
                <a:gd name="connsiteX1729" fmla="*/ 2931319 w 6400800"/>
                <a:gd name="connsiteY1729" fmla="*/ 270034 h 514350"/>
                <a:gd name="connsiteX1730" fmla="*/ 2929414 w 6400800"/>
                <a:gd name="connsiteY1730" fmla="*/ 260509 h 514350"/>
                <a:gd name="connsiteX1731" fmla="*/ 2928461 w 6400800"/>
                <a:gd name="connsiteY1731" fmla="*/ 256699 h 514350"/>
                <a:gd name="connsiteX1732" fmla="*/ 2931319 w 6400800"/>
                <a:gd name="connsiteY1732" fmla="*/ 251936 h 514350"/>
                <a:gd name="connsiteX1733" fmla="*/ 2927509 w 6400800"/>
                <a:gd name="connsiteY1733" fmla="*/ 254794 h 514350"/>
                <a:gd name="connsiteX1734" fmla="*/ 2925604 w 6400800"/>
                <a:gd name="connsiteY1734" fmla="*/ 247174 h 514350"/>
                <a:gd name="connsiteX1735" fmla="*/ 2931319 w 6400800"/>
                <a:gd name="connsiteY1735" fmla="*/ 231934 h 514350"/>
                <a:gd name="connsiteX1736" fmla="*/ 2924651 w 6400800"/>
                <a:gd name="connsiteY1736" fmla="*/ 243364 h 514350"/>
                <a:gd name="connsiteX1737" fmla="*/ 2922746 w 6400800"/>
                <a:gd name="connsiteY1737" fmla="*/ 237649 h 514350"/>
                <a:gd name="connsiteX1738" fmla="*/ 2922746 w 6400800"/>
                <a:gd name="connsiteY1738" fmla="*/ 236696 h 514350"/>
                <a:gd name="connsiteX1739" fmla="*/ 2921794 w 6400800"/>
                <a:gd name="connsiteY1739" fmla="*/ 236696 h 514350"/>
                <a:gd name="connsiteX1740" fmla="*/ 2916079 w 6400800"/>
                <a:gd name="connsiteY1740" fmla="*/ 236696 h 514350"/>
                <a:gd name="connsiteX1741" fmla="*/ 2916079 w 6400800"/>
                <a:gd name="connsiteY1741" fmla="*/ 236696 h 514350"/>
                <a:gd name="connsiteX1742" fmla="*/ 2935129 w 6400800"/>
                <a:gd name="connsiteY1742" fmla="*/ 176689 h 514350"/>
                <a:gd name="connsiteX1743" fmla="*/ 2909411 w 6400800"/>
                <a:gd name="connsiteY1743" fmla="*/ 230029 h 514350"/>
                <a:gd name="connsiteX1744" fmla="*/ 2902744 w 6400800"/>
                <a:gd name="connsiteY1744" fmla="*/ 211931 h 514350"/>
                <a:gd name="connsiteX1745" fmla="*/ 2900839 w 6400800"/>
                <a:gd name="connsiteY1745" fmla="*/ 195739 h 514350"/>
                <a:gd name="connsiteX1746" fmla="*/ 2897981 w 6400800"/>
                <a:gd name="connsiteY1746" fmla="*/ 173831 h 514350"/>
                <a:gd name="connsiteX1747" fmla="*/ 2896076 w 6400800"/>
                <a:gd name="connsiteY1747" fmla="*/ 153829 h 514350"/>
                <a:gd name="connsiteX1748" fmla="*/ 2893219 w 6400800"/>
                <a:gd name="connsiteY1748" fmla="*/ 121444 h 514350"/>
                <a:gd name="connsiteX1749" fmla="*/ 2890361 w 6400800"/>
                <a:gd name="connsiteY1749" fmla="*/ 93821 h 514350"/>
                <a:gd name="connsiteX1750" fmla="*/ 2889409 w 6400800"/>
                <a:gd name="connsiteY1750" fmla="*/ 121444 h 514350"/>
                <a:gd name="connsiteX1751" fmla="*/ 2889409 w 6400800"/>
                <a:gd name="connsiteY1751" fmla="*/ 153829 h 514350"/>
                <a:gd name="connsiteX1752" fmla="*/ 2889409 w 6400800"/>
                <a:gd name="connsiteY1752" fmla="*/ 173831 h 514350"/>
                <a:gd name="connsiteX1753" fmla="*/ 2890361 w 6400800"/>
                <a:gd name="connsiteY1753" fmla="*/ 195739 h 514350"/>
                <a:gd name="connsiteX1754" fmla="*/ 2891314 w 6400800"/>
                <a:gd name="connsiteY1754" fmla="*/ 211931 h 514350"/>
                <a:gd name="connsiteX1755" fmla="*/ 2887504 w 6400800"/>
                <a:gd name="connsiteY1755" fmla="*/ 217646 h 514350"/>
                <a:gd name="connsiteX1756" fmla="*/ 2885599 w 6400800"/>
                <a:gd name="connsiteY1756" fmla="*/ 221456 h 514350"/>
                <a:gd name="connsiteX1757" fmla="*/ 2880836 w 6400800"/>
                <a:gd name="connsiteY1757" fmla="*/ 195739 h 514350"/>
                <a:gd name="connsiteX1758" fmla="*/ 2874169 w 6400800"/>
                <a:gd name="connsiteY1758" fmla="*/ 166211 h 514350"/>
                <a:gd name="connsiteX1759" fmla="*/ 2867501 w 6400800"/>
                <a:gd name="connsiteY1759" fmla="*/ 144304 h 514350"/>
                <a:gd name="connsiteX1760" fmla="*/ 2860834 w 6400800"/>
                <a:gd name="connsiteY1760" fmla="*/ 125254 h 514350"/>
                <a:gd name="connsiteX1761" fmla="*/ 2863691 w 6400800"/>
                <a:gd name="connsiteY1761" fmla="*/ 145256 h 514350"/>
                <a:gd name="connsiteX1762" fmla="*/ 2866549 w 6400800"/>
                <a:gd name="connsiteY1762" fmla="*/ 168116 h 514350"/>
                <a:gd name="connsiteX1763" fmla="*/ 2869406 w 6400800"/>
                <a:gd name="connsiteY1763" fmla="*/ 197644 h 514350"/>
                <a:gd name="connsiteX1764" fmla="*/ 2872264 w 6400800"/>
                <a:gd name="connsiteY1764" fmla="*/ 232886 h 514350"/>
                <a:gd name="connsiteX1765" fmla="*/ 2873216 w 6400800"/>
                <a:gd name="connsiteY1765" fmla="*/ 247174 h 514350"/>
                <a:gd name="connsiteX1766" fmla="*/ 2864644 w 6400800"/>
                <a:gd name="connsiteY1766" fmla="*/ 270034 h 514350"/>
                <a:gd name="connsiteX1767" fmla="*/ 2863691 w 6400800"/>
                <a:gd name="connsiteY1767" fmla="*/ 274796 h 514350"/>
                <a:gd name="connsiteX1768" fmla="*/ 2855119 w 6400800"/>
                <a:gd name="connsiteY1768" fmla="*/ 257651 h 514350"/>
                <a:gd name="connsiteX1769" fmla="*/ 2841784 w 6400800"/>
                <a:gd name="connsiteY1769" fmla="*/ 230029 h 514350"/>
                <a:gd name="connsiteX1770" fmla="*/ 2855119 w 6400800"/>
                <a:gd name="connsiteY1770" fmla="*/ 226219 h 514350"/>
                <a:gd name="connsiteX1771" fmla="*/ 2853214 w 6400800"/>
                <a:gd name="connsiteY1771" fmla="*/ 231934 h 514350"/>
                <a:gd name="connsiteX1772" fmla="*/ 2840831 w 6400800"/>
                <a:gd name="connsiteY1772" fmla="*/ 209074 h 514350"/>
                <a:gd name="connsiteX1773" fmla="*/ 2866549 w 6400800"/>
                <a:gd name="connsiteY1773" fmla="*/ 150971 h 514350"/>
                <a:gd name="connsiteX1774" fmla="*/ 2835116 w 6400800"/>
                <a:gd name="connsiteY1774" fmla="*/ 198596 h 514350"/>
                <a:gd name="connsiteX1775" fmla="*/ 2829401 w 6400800"/>
                <a:gd name="connsiteY1775" fmla="*/ 188119 h 514350"/>
                <a:gd name="connsiteX1776" fmla="*/ 2820829 w 6400800"/>
                <a:gd name="connsiteY1776" fmla="*/ 132874 h 514350"/>
                <a:gd name="connsiteX1777" fmla="*/ 2821781 w 6400800"/>
                <a:gd name="connsiteY1777" fmla="*/ 173831 h 514350"/>
                <a:gd name="connsiteX1778" fmla="*/ 2807494 w 6400800"/>
                <a:gd name="connsiteY1778" fmla="*/ 151924 h 514350"/>
                <a:gd name="connsiteX1779" fmla="*/ 2782729 w 6400800"/>
                <a:gd name="connsiteY1779" fmla="*/ 115729 h 514350"/>
                <a:gd name="connsiteX1780" fmla="*/ 2759869 w 6400800"/>
                <a:gd name="connsiteY1780" fmla="*/ 85249 h 514350"/>
                <a:gd name="connsiteX1781" fmla="*/ 2778919 w 6400800"/>
                <a:gd name="connsiteY1781" fmla="*/ 118586 h 514350"/>
                <a:gd name="connsiteX1782" fmla="*/ 2799874 w 6400800"/>
                <a:gd name="connsiteY1782" fmla="*/ 156686 h 514350"/>
                <a:gd name="connsiteX1783" fmla="*/ 2812256 w 6400800"/>
                <a:gd name="connsiteY1783" fmla="*/ 180499 h 514350"/>
                <a:gd name="connsiteX1784" fmla="*/ 2820829 w 6400800"/>
                <a:gd name="connsiteY1784" fmla="*/ 197644 h 514350"/>
                <a:gd name="connsiteX1785" fmla="*/ 2820829 w 6400800"/>
                <a:gd name="connsiteY1785" fmla="*/ 204311 h 514350"/>
                <a:gd name="connsiteX1786" fmla="*/ 2821781 w 6400800"/>
                <a:gd name="connsiteY1786" fmla="*/ 218599 h 514350"/>
                <a:gd name="connsiteX1787" fmla="*/ 2817019 w 6400800"/>
                <a:gd name="connsiteY1787" fmla="*/ 227171 h 514350"/>
                <a:gd name="connsiteX1788" fmla="*/ 2806541 w 6400800"/>
                <a:gd name="connsiteY1788" fmla="*/ 211931 h 514350"/>
                <a:gd name="connsiteX1789" fmla="*/ 2805589 w 6400800"/>
                <a:gd name="connsiteY1789" fmla="*/ 210026 h 514350"/>
                <a:gd name="connsiteX1790" fmla="*/ 2806541 w 6400800"/>
                <a:gd name="connsiteY1790" fmla="*/ 208121 h 514350"/>
                <a:gd name="connsiteX1791" fmla="*/ 2805589 w 6400800"/>
                <a:gd name="connsiteY1791" fmla="*/ 209074 h 514350"/>
                <a:gd name="connsiteX1792" fmla="*/ 2792254 w 6400800"/>
                <a:gd name="connsiteY1792" fmla="*/ 191929 h 514350"/>
                <a:gd name="connsiteX1793" fmla="*/ 2767489 w 6400800"/>
                <a:gd name="connsiteY1793" fmla="*/ 161449 h 514350"/>
                <a:gd name="connsiteX1794" fmla="*/ 2765584 w 6400800"/>
                <a:gd name="connsiteY1794" fmla="*/ 158591 h 514350"/>
                <a:gd name="connsiteX1795" fmla="*/ 2765584 w 6400800"/>
                <a:gd name="connsiteY1795" fmla="*/ 155734 h 514350"/>
                <a:gd name="connsiteX1796" fmla="*/ 2762726 w 6400800"/>
                <a:gd name="connsiteY1796" fmla="*/ 128111 h 514350"/>
                <a:gd name="connsiteX1797" fmla="*/ 2759869 w 6400800"/>
                <a:gd name="connsiteY1797" fmla="*/ 103346 h 514350"/>
                <a:gd name="connsiteX1798" fmla="*/ 2758916 w 6400800"/>
                <a:gd name="connsiteY1798" fmla="*/ 128111 h 514350"/>
                <a:gd name="connsiteX1799" fmla="*/ 2758916 w 6400800"/>
                <a:gd name="connsiteY1799" fmla="*/ 150019 h 514350"/>
                <a:gd name="connsiteX1800" fmla="*/ 2745581 w 6400800"/>
                <a:gd name="connsiteY1800" fmla="*/ 135731 h 514350"/>
                <a:gd name="connsiteX1801" fmla="*/ 2758916 w 6400800"/>
                <a:gd name="connsiteY1801" fmla="*/ 153829 h 514350"/>
                <a:gd name="connsiteX1802" fmla="*/ 2758916 w 6400800"/>
                <a:gd name="connsiteY1802" fmla="*/ 155734 h 514350"/>
                <a:gd name="connsiteX1803" fmla="*/ 2758916 w 6400800"/>
                <a:gd name="connsiteY1803" fmla="*/ 172879 h 514350"/>
                <a:gd name="connsiteX1804" fmla="*/ 2759869 w 6400800"/>
                <a:gd name="connsiteY1804" fmla="*/ 191929 h 514350"/>
                <a:gd name="connsiteX1805" fmla="*/ 2761774 w 6400800"/>
                <a:gd name="connsiteY1805" fmla="*/ 219551 h 514350"/>
                <a:gd name="connsiteX1806" fmla="*/ 2760821 w 6400800"/>
                <a:gd name="connsiteY1806" fmla="*/ 217646 h 514350"/>
                <a:gd name="connsiteX1807" fmla="*/ 2760821 w 6400800"/>
                <a:gd name="connsiteY1807" fmla="*/ 216694 h 514350"/>
                <a:gd name="connsiteX1808" fmla="*/ 2760821 w 6400800"/>
                <a:gd name="connsiteY1808" fmla="*/ 217646 h 514350"/>
                <a:gd name="connsiteX1809" fmla="*/ 2741771 w 6400800"/>
                <a:gd name="connsiteY1809" fmla="*/ 172879 h 514350"/>
                <a:gd name="connsiteX1810" fmla="*/ 2757011 w 6400800"/>
                <a:gd name="connsiteY1810" fmla="*/ 228124 h 514350"/>
                <a:gd name="connsiteX1811" fmla="*/ 2743676 w 6400800"/>
                <a:gd name="connsiteY1811" fmla="*/ 268129 h 514350"/>
                <a:gd name="connsiteX1812" fmla="*/ 2736056 w 6400800"/>
                <a:gd name="connsiteY1812" fmla="*/ 254794 h 514350"/>
                <a:gd name="connsiteX1813" fmla="*/ 2737009 w 6400800"/>
                <a:gd name="connsiteY1813" fmla="*/ 232886 h 514350"/>
                <a:gd name="connsiteX1814" fmla="*/ 2732246 w 6400800"/>
                <a:gd name="connsiteY1814" fmla="*/ 249079 h 514350"/>
                <a:gd name="connsiteX1815" fmla="*/ 2730341 w 6400800"/>
                <a:gd name="connsiteY1815" fmla="*/ 246221 h 514350"/>
                <a:gd name="connsiteX1816" fmla="*/ 2731294 w 6400800"/>
                <a:gd name="connsiteY1816" fmla="*/ 250031 h 514350"/>
                <a:gd name="connsiteX1817" fmla="*/ 2729389 w 6400800"/>
                <a:gd name="connsiteY1817" fmla="*/ 258604 h 514350"/>
                <a:gd name="connsiteX1818" fmla="*/ 2729389 w 6400800"/>
                <a:gd name="connsiteY1818" fmla="*/ 247174 h 514350"/>
                <a:gd name="connsiteX1819" fmla="*/ 2731294 w 6400800"/>
                <a:gd name="connsiteY1819" fmla="*/ 218599 h 514350"/>
                <a:gd name="connsiteX1820" fmla="*/ 2733199 w 6400800"/>
                <a:gd name="connsiteY1820" fmla="*/ 219551 h 514350"/>
                <a:gd name="connsiteX1821" fmla="*/ 2736056 w 6400800"/>
                <a:gd name="connsiteY1821" fmla="*/ 222409 h 514350"/>
                <a:gd name="connsiteX1822" fmla="*/ 2738914 w 6400800"/>
                <a:gd name="connsiteY1822" fmla="*/ 230981 h 514350"/>
                <a:gd name="connsiteX1823" fmla="*/ 2737961 w 6400800"/>
                <a:gd name="connsiteY1823" fmla="*/ 222409 h 514350"/>
                <a:gd name="connsiteX1824" fmla="*/ 2735104 w 6400800"/>
                <a:gd name="connsiteY1824" fmla="*/ 218599 h 514350"/>
                <a:gd name="connsiteX1825" fmla="*/ 2730341 w 6400800"/>
                <a:gd name="connsiteY1825" fmla="*/ 216694 h 514350"/>
                <a:gd name="connsiteX1826" fmla="*/ 2728436 w 6400800"/>
                <a:gd name="connsiteY1826" fmla="*/ 216694 h 514350"/>
                <a:gd name="connsiteX1827" fmla="*/ 2728436 w 6400800"/>
                <a:gd name="connsiteY1827" fmla="*/ 218599 h 514350"/>
                <a:gd name="connsiteX1828" fmla="*/ 2721769 w 6400800"/>
                <a:gd name="connsiteY1828" fmla="*/ 248126 h 514350"/>
                <a:gd name="connsiteX1829" fmla="*/ 2719864 w 6400800"/>
                <a:gd name="connsiteY1829" fmla="*/ 260509 h 514350"/>
                <a:gd name="connsiteX1830" fmla="*/ 2717006 w 6400800"/>
                <a:gd name="connsiteY1830" fmla="*/ 254794 h 514350"/>
                <a:gd name="connsiteX1831" fmla="*/ 2717006 w 6400800"/>
                <a:gd name="connsiteY1831" fmla="*/ 253841 h 514350"/>
                <a:gd name="connsiteX1832" fmla="*/ 2718911 w 6400800"/>
                <a:gd name="connsiteY1832" fmla="*/ 238601 h 514350"/>
                <a:gd name="connsiteX1833" fmla="*/ 2716054 w 6400800"/>
                <a:gd name="connsiteY1833" fmla="*/ 247174 h 514350"/>
                <a:gd name="connsiteX1834" fmla="*/ 2716054 w 6400800"/>
                <a:gd name="connsiteY1834" fmla="*/ 176689 h 514350"/>
                <a:gd name="connsiteX1835" fmla="*/ 2713196 w 6400800"/>
                <a:gd name="connsiteY1835" fmla="*/ 198596 h 514350"/>
                <a:gd name="connsiteX1836" fmla="*/ 2709386 w 6400800"/>
                <a:gd name="connsiteY1836" fmla="*/ 230029 h 514350"/>
                <a:gd name="connsiteX1837" fmla="*/ 2704624 w 6400800"/>
                <a:gd name="connsiteY1837" fmla="*/ 218599 h 514350"/>
                <a:gd name="connsiteX1838" fmla="*/ 2703671 w 6400800"/>
                <a:gd name="connsiteY1838" fmla="*/ 199549 h 514350"/>
                <a:gd name="connsiteX1839" fmla="*/ 2703671 w 6400800"/>
                <a:gd name="connsiteY1839" fmla="*/ 163354 h 514350"/>
                <a:gd name="connsiteX1840" fmla="*/ 2706529 w 6400800"/>
                <a:gd name="connsiteY1840" fmla="*/ 164306 h 514350"/>
                <a:gd name="connsiteX1841" fmla="*/ 2710339 w 6400800"/>
                <a:gd name="connsiteY1841" fmla="*/ 167164 h 514350"/>
                <a:gd name="connsiteX1842" fmla="*/ 2714149 w 6400800"/>
                <a:gd name="connsiteY1842" fmla="*/ 176689 h 514350"/>
                <a:gd name="connsiteX1843" fmla="*/ 2712244 w 6400800"/>
                <a:gd name="connsiteY1843" fmla="*/ 166211 h 514350"/>
                <a:gd name="connsiteX1844" fmla="*/ 2708434 w 6400800"/>
                <a:gd name="connsiteY1844" fmla="*/ 161449 h 514350"/>
                <a:gd name="connsiteX1845" fmla="*/ 2702719 w 6400800"/>
                <a:gd name="connsiteY1845" fmla="*/ 159544 h 514350"/>
                <a:gd name="connsiteX1846" fmla="*/ 2700814 w 6400800"/>
                <a:gd name="connsiteY1846" fmla="*/ 159544 h 514350"/>
                <a:gd name="connsiteX1847" fmla="*/ 2700814 w 6400800"/>
                <a:gd name="connsiteY1847" fmla="*/ 161449 h 514350"/>
                <a:gd name="connsiteX1848" fmla="*/ 2697004 w 6400800"/>
                <a:gd name="connsiteY1848" fmla="*/ 193834 h 514350"/>
                <a:gd name="connsiteX1849" fmla="*/ 2693194 w 6400800"/>
                <a:gd name="connsiteY1849" fmla="*/ 181451 h 514350"/>
                <a:gd name="connsiteX1850" fmla="*/ 2697004 w 6400800"/>
                <a:gd name="connsiteY1850" fmla="*/ 198596 h 514350"/>
                <a:gd name="connsiteX1851" fmla="*/ 2697004 w 6400800"/>
                <a:gd name="connsiteY1851" fmla="*/ 198596 h 514350"/>
                <a:gd name="connsiteX1852" fmla="*/ 2696051 w 6400800"/>
                <a:gd name="connsiteY1852" fmla="*/ 236696 h 514350"/>
                <a:gd name="connsiteX1853" fmla="*/ 2697004 w 6400800"/>
                <a:gd name="connsiteY1853" fmla="*/ 262414 h 514350"/>
                <a:gd name="connsiteX1854" fmla="*/ 2697004 w 6400800"/>
                <a:gd name="connsiteY1854" fmla="*/ 263366 h 514350"/>
                <a:gd name="connsiteX1855" fmla="*/ 2696051 w 6400800"/>
                <a:gd name="connsiteY1855" fmla="*/ 265271 h 514350"/>
                <a:gd name="connsiteX1856" fmla="*/ 2694146 w 6400800"/>
                <a:gd name="connsiteY1856" fmla="*/ 261461 h 514350"/>
                <a:gd name="connsiteX1857" fmla="*/ 2685574 w 6400800"/>
                <a:gd name="connsiteY1857" fmla="*/ 246221 h 514350"/>
                <a:gd name="connsiteX1858" fmla="*/ 2677954 w 6400800"/>
                <a:gd name="connsiteY1858" fmla="*/ 210979 h 514350"/>
                <a:gd name="connsiteX1859" fmla="*/ 2676049 w 6400800"/>
                <a:gd name="connsiteY1859" fmla="*/ 200501 h 514350"/>
                <a:gd name="connsiteX1860" fmla="*/ 2681764 w 6400800"/>
                <a:gd name="connsiteY1860" fmla="*/ 173831 h 514350"/>
                <a:gd name="connsiteX1861" fmla="*/ 2687479 w 6400800"/>
                <a:gd name="connsiteY1861" fmla="*/ 144304 h 514350"/>
                <a:gd name="connsiteX1862" fmla="*/ 2691289 w 6400800"/>
                <a:gd name="connsiteY1862" fmla="*/ 118586 h 514350"/>
                <a:gd name="connsiteX1863" fmla="*/ 2683669 w 6400800"/>
                <a:gd name="connsiteY1863" fmla="*/ 143351 h 514350"/>
                <a:gd name="connsiteX1864" fmla="*/ 2677954 w 6400800"/>
                <a:gd name="connsiteY1864" fmla="*/ 162401 h 514350"/>
                <a:gd name="connsiteX1865" fmla="*/ 2673191 w 6400800"/>
                <a:gd name="connsiteY1865" fmla="*/ 176689 h 514350"/>
                <a:gd name="connsiteX1866" fmla="*/ 2673191 w 6400800"/>
                <a:gd name="connsiteY1866" fmla="*/ 177641 h 514350"/>
                <a:gd name="connsiteX1867" fmla="*/ 2672239 w 6400800"/>
                <a:gd name="connsiteY1867" fmla="*/ 173831 h 514350"/>
                <a:gd name="connsiteX1868" fmla="*/ 2666524 w 6400800"/>
                <a:gd name="connsiteY1868" fmla="*/ 146209 h 514350"/>
                <a:gd name="connsiteX1869" fmla="*/ 2661761 w 6400800"/>
                <a:gd name="connsiteY1869" fmla="*/ 121444 h 514350"/>
                <a:gd name="connsiteX1870" fmla="*/ 2662714 w 6400800"/>
                <a:gd name="connsiteY1870" fmla="*/ 146209 h 514350"/>
                <a:gd name="connsiteX1871" fmla="*/ 2666524 w 6400800"/>
                <a:gd name="connsiteY1871" fmla="*/ 196691 h 514350"/>
                <a:gd name="connsiteX1872" fmla="*/ 2665571 w 6400800"/>
                <a:gd name="connsiteY1872" fmla="*/ 200501 h 514350"/>
                <a:gd name="connsiteX1873" fmla="*/ 2664619 w 6400800"/>
                <a:gd name="connsiteY1873" fmla="*/ 204311 h 514350"/>
                <a:gd name="connsiteX1874" fmla="*/ 2649379 w 6400800"/>
                <a:gd name="connsiteY1874" fmla="*/ 174784 h 514350"/>
                <a:gd name="connsiteX1875" fmla="*/ 2634139 w 6400800"/>
                <a:gd name="connsiteY1875" fmla="*/ 141446 h 514350"/>
                <a:gd name="connsiteX1876" fmla="*/ 2646521 w 6400800"/>
                <a:gd name="connsiteY1876" fmla="*/ 176689 h 514350"/>
                <a:gd name="connsiteX1877" fmla="*/ 2661761 w 6400800"/>
                <a:gd name="connsiteY1877" fmla="*/ 214789 h 514350"/>
                <a:gd name="connsiteX1878" fmla="*/ 2660809 w 6400800"/>
                <a:gd name="connsiteY1878" fmla="*/ 216694 h 514350"/>
                <a:gd name="connsiteX1879" fmla="*/ 2652236 w 6400800"/>
                <a:gd name="connsiteY1879" fmla="*/ 201454 h 514350"/>
                <a:gd name="connsiteX1880" fmla="*/ 2648426 w 6400800"/>
                <a:gd name="connsiteY1880" fmla="*/ 196691 h 514350"/>
                <a:gd name="connsiteX1881" fmla="*/ 2651284 w 6400800"/>
                <a:gd name="connsiteY1881" fmla="*/ 202406 h 514350"/>
                <a:gd name="connsiteX1882" fmla="*/ 2657951 w 6400800"/>
                <a:gd name="connsiteY1882" fmla="*/ 218599 h 514350"/>
                <a:gd name="connsiteX1883" fmla="*/ 2658904 w 6400800"/>
                <a:gd name="connsiteY1883" fmla="*/ 223361 h 514350"/>
                <a:gd name="connsiteX1884" fmla="*/ 2657951 w 6400800"/>
                <a:gd name="connsiteY1884" fmla="*/ 226219 h 514350"/>
                <a:gd name="connsiteX1885" fmla="*/ 2647474 w 6400800"/>
                <a:gd name="connsiteY1885" fmla="*/ 193834 h 514350"/>
                <a:gd name="connsiteX1886" fmla="*/ 2638901 w 6400800"/>
                <a:gd name="connsiteY1886" fmla="*/ 169069 h 514350"/>
                <a:gd name="connsiteX1887" fmla="*/ 2631281 w 6400800"/>
                <a:gd name="connsiteY1887" fmla="*/ 147161 h 514350"/>
                <a:gd name="connsiteX1888" fmla="*/ 2635091 w 6400800"/>
                <a:gd name="connsiteY1888" fmla="*/ 170021 h 514350"/>
                <a:gd name="connsiteX1889" fmla="*/ 2647474 w 6400800"/>
                <a:gd name="connsiteY1889" fmla="*/ 230029 h 514350"/>
                <a:gd name="connsiteX1890" fmla="*/ 2651284 w 6400800"/>
                <a:gd name="connsiteY1890" fmla="*/ 247174 h 514350"/>
                <a:gd name="connsiteX1891" fmla="*/ 2642711 w 6400800"/>
                <a:gd name="connsiteY1891" fmla="*/ 273844 h 514350"/>
                <a:gd name="connsiteX1892" fmla="*/ 2640806 w 6400800"/>
                <a:gd name="connsiteY1892" fmla="*/ 270034 h 514350"/>
                <a:gd name="connsiteX1893" fmla="*/ 2639854 w 6400800"/>
                <a:gd name="connsiteY1893" fmla="*/ 268129 h 514350"/>
                <a:gd name="connsiteX1894" fmla="*/ 2643664 w 6400800"/>
                <a:gd name="connsiteY1894" fmla="*/ 220504 h 514350"/>
                <a:gd name="connsiteX1895" fmla="*/ 2636996 w 6400800"/>
                <a:gd name="connsiteY1895" fmla="*/ 247174 h 514350"/>
                <a:gd name="connsiteX1896" fmla="*/ 2636044 w 6400800"/>
                <a:gd name="connsiteY1896" fmla="*/ 204311 h 514350"/>
                <a:gd name="connsiteX1897" fmla="*/ 2630329 w 6400800"/>
                <a:gd name="connsiteY1897" fmla="*/ 240506 h 514350"/>
                <a:gd name="connsiteX1898" fmla="*/ 2623661 w 6400800"/>
                <a:gd name="connsiteY1898" fmla="*/ 206216 h 514350"/>
                <a:gd name="connsiteX1899" fmla="*/ 2610326 w 6400800"/>
                <a:gd name="connsiteY1899" fmla="*/ 147161 h 514350"/>
                <a:gd name="connsiteX1900" fmla="*/ 2615089 w 6400800"/>
                <a:gd name="connsiteY1900" fmla="*/ 137636 h 514350"/>
                <a:gd name="connsiteX1901" fmla="*/ 2610326 w 6400800"/>
                <a:gd name="connsiteY1901" fmla="*/ 145256 h 514350"/>
                <a:gd name="connsiteX1902" fmla="*/ 2609374 w 6400800"/>
                <a:gd name="connsiteY1902" fmla="*/ 143351 h 514350"/>
                <a:gd name="connsiteX1903" fmla="*/ 2603659 w 6400800"/>
                <a:gd name="connsiteY1903" fmla="*/ 119539 h 514350"/>
                <a:gd name="connsiteX1904" fmla="*/ 2605564 w 6400800"/>
                <a:gd name="connsiteY1904" fmla="*/ 144304 h 514350"/>
                <a:gd name="connsiteX1905" fmla="*/ 2606516 w 6400800"/>
                <a:gd name="connsiteY1905" fmla="*/ 150971 h 514350"/>
                <a:gd name="connsiteX1906" fmla="*/ 2600801 w 6400800"/>
                <a:gd name="connsiteY1906" fmla="*/ 158591 h 514350"/>
                <a:gd name="connsiteX1907" fmla="*/ 2589371 w 6400800"/>
                <a:gd name="connsiteY1907" fmla="*/ 175736 h 514350"/>
                <a:gd name="connsiteX1908" fmla="*/ 2588419 w 6400800"/>
                <a:gd name="connsiteY1908" fmla="*/ 171926 h 514350"/>
                <a:gd name="connsiteX1909" fmla="*/ 2583656 w 6400800"/>
                <a:gd name="connsiteY1909" fmla="*/ 147161 h 514350"/>
                <a:gd name="connsiteX1910" fmla="*/ 2584609 w 6400800"/>
                <a:gd name="connsiteY1910" fmla="*/ 171926 h 514350"/>
                <a:gd name="connsiteX1911" fmla="*/ 2585561 w 6400800"/>
                <a:gd name="connsiteY1911" fmla="*/ 182404 h 514350"/>
                <a:gd name="connsiteX1912" fmla="*/ 2585561 w 6400800"/>
                <a:gd name="connsiteY1912" fmla="*/ 182404 h 514350"/>
                <a:gd name="connsiteX1913" fmla="*/ 2576036 w 6400800"/>
                <a:gd name="connsiteY1913" fmla="*/ 198596 h 514350"/>
                <a:gd name="connsiteX1914" fmla="*/ 2574131 w 6400800"/>
                <a:gd name="connsiteY1914" fmla="*/ 177641 h 514350"/>
                <a:gd name="connsiteX1915" fmla="*/ 2573179 w 6400800"/>
                <a:gd name="connsiteY1915" fmla="*/ 157639 h 514350"/>
                <a:gd name="connsiteX1916" fmla="*/ 2571274 w 6400800"/>
                <a:gd name="connsiteY1916" fmla="*/ 170974 h 514350"/>
                <a:gd name="connsiteX1917" fmla="*/ 2571274 w 6400800"/>
                <a:gd name="connsiteY1917" fmla="*/ 170021 h 514350"/>
                <a:gd name="connsiteX1918" fmla="*/ 2569369 w 6400800"/>
                <a:gd name="connsiteY1918" fmla="*/ 149066 h 514350"/>
                <a:gd name="connsiteX1919" fmla="*/ 2568416 w 6400800"/>
                <a:gd name="connsiteY1919" fmla="*/ 130016 h 514350"/>
                <a:gd name="connsiteX1920" fmla="*/ 2567464 w 6400800"/>
                <a:gd name="connsiteY1920" fmla="*/ 99536 h 514350"/>
                <a:gd name="connsiteX1921" fmla="*/ 2566511 w 6400800"/>
                <a:gd name="connsiteY1921" fmla="*/ 72866 h 514350"/>
                <a:gd name="connsiteX1922" fmla="*/ 2562701 w 6400800"/>
                <a:gd name="connsiteY1922" fmla="*/ 99536 h 514350"/>
                <a:gd name="connsiteX1923" fmla="*/ 2560796 w 6400800"/>
                <a:gd name="connsiteY1923" fmla="*/ 130016 h 514350"/>
                <a:gd name="connsiteX1924" fmla="*/ 2559844 w 6400800"/>
                <a:gd name="connsiteY1924" fmla="*/ 149066 h 514350"/>
                <a:gd name="connsiteX1925" fmla="*/ 2559844 w 6400800"/>
                <a:gd name="connsiteY1925" fmla="*/ 170021 h 514350"/>
                <a:gd name="connsiteX1926" fmla="*/ 2560796 w 6400800"/>
                <a:gd name="connsiteY1926" fmla="*/ 195739 h 514350"/>
                <a:gd name="connsiteX1927" fmla="*/ 2558891 w 6400800"/>
                <a:gd name="connsiteY1927" fmla="*/ 191929 h 514350"/>
                <a:gd name="connsiteX1928" fmla="*/ 2561749 w 6400800"/>
                <a:gd name="connsiteY1928" fmla="*/ 200501 h 514350"/>
                <a:gd name="connsiteX1929" fmla="*/ 2562701 w 6400800"/>
                <a:gd name="connsiteY1929" fmla="*/ 217646 h 514350"/>
                <a:gd name="connsiteX1930" fmla="*/ 2562701 w 6400800"/>
                <a:gd name="connsiteY1930" fmla="*/ 223361 h 514350"/>
                <a:gd name="connsiteX1931" fmla="*/ 2551271 w 6400800"/>
                <a:gd name="connsiteY1931" fmla="*/ 247174 h 514350"/>
                <a:gd name="connsiteX1932" fmla="*/ 2549366 w 6400800"/>
                <a:gd name="connsiteY1932" fmla="*/ 230029 h 514350"/>
                <a:gd name="connsiteX1933" fmla="*/ 2555081 w 6400800"/>
                <a:gd name="connsiteY1933" fmla="*/ 212884 h 514350"/>
                <a:gd name="connsiteX1934" fmla="*/ 2546509 w 6400800"/>
                <a:gd name="connsiteY1934" fmla="*/ 228124 h 514350"/>
                <a:gd name="connsiteX1935" fmla="*/ 2547461 w 6400800"/>
                <a:gd name="connsiteY1935" fmla="*/ 222409 h 514350"/>
                <a:gd name="connsiteX1936" fmla="*/ 2553176 w 6400800"/>
                <a:gd name="connsiteY1936" fmla="*/ 196691 h 514350"/>
                <a:gd name="connsiteX1937" fmla="*/ 2543651 w 6400800"/>
                <a:gd name="connsiteY1937" fmla="*/ 221456 h 514350"/>
                <a:gd name="connsiteX1938" fmla="*/ 2536984 w 6400800"/>
                <a:gd name="connsiteY1938" fmla="*/ 246221 h 514350"/>
                <a:gd name="connsiteX1939" fmla="*/ 2536984 w 6400800"/>
                <a:gd name="connsiteY1939" fmla="*/ 244316 h 514350"/>
                <a:gd name="connsiteX1940" fmla="*/ 2534126 w 6400800"/>
                <a:gd name="connsiteY1940" fmla="*/ 221456 h 514350"/>
                <a:gd name="connsiteX1941" fmla="*/ 2533174 w 6400800"/>
                <a:gd name="connsiteY1941" fmla="*/ 244316 h 514350"/>
                <a:gd name="connsiteX1942" fmla="*/ 2533174 w 6400800"/>
                <a:gd name="connsiteY1942" fmla="*/ 250984 h 514350"/>
                <a:gd name="connsiteX1943" fmla="*/ 2532221 w 6400800"/>
                <a:gd name="connsiteY1943" fmla="*/ 245269 h 514350"/>
                <a:gd name="connsiteX1944" fmla="*/ 2524601 w 6400800"/>
                <a:gd name="connsiteY1944" fmla="*/ 213836 h 514350"/>
                <a:gd name="connsiteX1945" fmla="*/ 2517934 w 6400800"/>
                <a:gd name="connsiteY1945" fmla="*/ 190024 h 514350"/>
                <a:gd name="connsiteX1946" fmla="*/ 2511266 w 6400800"/>
                <a:gd name="connsiteY1946" fmla="*/ 169069 h 514350"/>
                <a:gd name="connsiteX1947" fmla="*/ 2514124 w 6400800"/>
                <a:gd name="connsiteY1947" fmla="*/ 190976 h 514350"/>
                <a:gd name="connsiteX1948" fmla="*/ 2516981 w 6400800"/>
                <a:gd name="connsiteY1948" fmla="*/ 215741 h 514350"/>
                <a:gd name="connsiteX1949" fmla="*/ 2520791 w 6400800"/>
                <a:gd name="connsiteY1949" fmla="*/ 248126 h 514350"/>
                <a:gd name="connsiteX1950" fmla="*/ 2523649 w 6400800"/>
                <a:gd name="connsiteY1950" fmla="*/ 277654 h 514350"/>
                <a:gd name="connsiteX1951" fmla="*/ 2521744 w 6400800"/>
                <a:gd name="connsiteY1951" fmla="*/ 282416 h 514350"/>
                <a:gd name="connsiteX1952" fmla="*/ 2516981 w 6400800"/>
                <a:gd name="connsiteY1952" fmla="*/ 263366 h 514350"/>
                <a:gd name="connsiteX1953" fmla="*/ 2511266 w 6400800"/>
                <a:gd name="connsiteY1953" fmla="*/ 243364 h 514350"/>
                <a:gd name="connsiteX1954" fmla="*/ 2513171 w 6400800"/>
                <a:gd name="connsiteY1954" fmla="*/ 264319 h 514350"/>
                <a:gd name="connsiteX1955" fmla="*/ 2514124 w 6400800"/>
                <a:gd name="connsiteY1955" fmla="*/ 277654 h 514350"/>
                <a:gd name="connsiteX1956" fmla="*/ 2504599 w 6400800"/>
                <a:gd name="connsiteY1956" fmla="*/ 256699 h 514350"/>
                <a:gd name="connsiteX1957" fmla="*/ 2504599 w 6400800"/>
                <a:gd name="connsiteY1957" fmla="*/ 253841 h 514350"/>
                <a:gd name="connsiteX1958" fmla="*/ 2503646 w 6400800"/>
                <a:gd name="connsiteY1958" fmla="*/ 255746 h 514350"/>
                <a:gd name="connsiteX1959" fmla="*/ 2497931 w 6400800"/>
                <a:gd name="connsiteY1959" fmla="*/ 243364 h 514350"/>
                <a:gd name="connsiteX1960" fmla="*/ 2502694 w 6400800"/>
                <a:gd name="connsiteY1960" fmla="*/ 259556 h 514350"/>
                <a:gd name="connsiteX1961" fmla="*/ 2499836 w 6400800"/>
                <a:gd name="connsiteY1961" fmla="*/ 267176 h 514350"/>
                <a:gd name="connsiteX1962" fmla="*/ 2498884 w 6400800"/>
                <a:gd name="connsiteY1962" fmla="*/ 270034 h 514350"/>
                <a:gd name="connsiteX1963" fmla="*/ 2494121 w 6400800"/>
                <a:gd name="connsiteY1963" fmla="*/ 223361 h 514350"/>
                <a:gd name="connsiteX1964" fmla="*/ 2496026 w 6400800"/>
                <a:gd name="connsiteY1964" fmla="*/ 220504 h 514350"/>
                <a:gd name="connsiteX1965" fmla="*/ 2506504 w 6400800"/>
                <a:gd name="connsiteY1965" fmla="*/ 203359 h 514350"/>
                <a:gd name="connsiteX1966" fmla="*/ 2510314 w 6400800"/>
                <a:gd name="connsiteY1966" fmla="*/ 197644 h 514350"/>
                <a:gd name="connsiteX1967" fmla="*/ 2505551 w 6400800"/>
                <a:gd name="connsiteY1967" fmla="*/ 203359 h 514350"/>
                <a:gd name="connsiteX1968" fmla="*/ 2493169 w 6400800"/>
                <a:gd name="connsiteY1968" fmla="*/ 217646 h 514350"/>
                <a:gd name="connsiteX1969" fmla="*/ 2493169 w 6400800"/>
                <a:gd name="connsiteY1969" fmla="*/ 216694 h 514350"/>
                <a:gd name="connsiteX1970" fmla="*/ 2491264 w 6400800"/>
                <a:gd name="connsiteY1970" fmla="*/ 196691 h 514350"/>
                <a:gd name="connsiteX1971" fmla="*/ 2501741 w 6400800"/>
                <a:gd name="connsiteY1971" fmla="*/ 183356 h 514350"/>
                <a:gd name="connsiteX1972" fmla="*/ 2490311 w 6400800"/>
                <a:gd name="connsiteY1972" fmla="*/ 192881 h 514350"/>
                <a:gd name="connsiteX1973" fmla="*/ 2489359 w 6400800"/>
                <a:gd name="connsiteY1973" fmla="*/ 176689 h 514350"/>
                <a:gd name="connsiteX1974" fmla="*/ 2497931 w 6400800"/>
                <a:gd name="connsiteY1974" fmla="*/ 165259 h 514350"/>
                <a:gd name="connsiteX1975" fmla="*/ 2502694 w 6400800"/>
                <a:gd name="connsiteY1975" fmla="*/ 159544 h 514350"/>
                <a:gd name="connsiteX1976" fmla="*/ 2496979 w 6400800"/>
                <a:gd name="connsiteY1976" fmla="*/ 164306 h 514350"/>
                <a:gd name="connsiteX1977" fmla="*/ 2489359 w 6400800"/>
                <a:gd name="connsiteY1977" fmla="*/ 171926 h 514350"/>
                <a:gd name="connsiteX1978" fmla="*/ 2488406 w 6400800"/>
                <a:gd name="connsiteY1978" fmla="*/ 153829 h 514350"/>
                <a:gd name="connsiteX1979" fmla="*/ 2487454 w 6400800"/>
                <a:gd name="connsiteY1979" fmla="*/ 135731 h 514350"/>
                <a:gd name="connsiteX1980" fmla="*/ 2494121 w 6400800"/>
                <a:gd name="connsiteY1980" fmla="*/ 125254 h 514350"/>
                <a:gd name="connsiteX1981" fmla="*/ 2487454 w 6400800"/>
                <a:gd name="connsiteY1981" fmla="*/ 132874 h 514350"/>
                <a:gd name="connsiteX1982" fmla="*/ 2487454 w 6400800"/>
                <a:gd name="connsiteY1982" fmla="*/ 129064 h 514350"/>
                <a:gd name="connsiteX1983" fmla="*/ 2486501 w 6400800"/>
                <a:gd name="connsiteY1983" fmla="*/ 132874 h 514350"/>
                <a:gd name="connsiteX1984" fmla="*/ 2475071 w 6400800"/>
                <a:gd name="connsiteY1984" fmla="*/ 146209 h 514350"/>
                <a:gd name="connsiteX1985" fmla="*/ 2455069 w 6400800"/>
                <a:gd name="connsiteY1985" fmla="*/ 171926 h 514350"/>
                <a:gd name="connsiteX1986" fmla="*/ 2442686 w 6400800"/>
                <a:gd name="connsiteY1986" fmla="*/ 188119 h 514350"/>
                <a:gd name="connsiteX1987" fmla="*/ 2433161 w 6400800"/>
                <a:gd name="connsiteY1987" fmla="*/ 203359 h 514350"/>
                <a:gd name="connsiteX1988" fmla="*/ 2432209 w 6400800"/>
                <a:gd name="connsiteY1988" fmla="*/ 191929 h 514350"/>
                <a:gd name="connsiteX1989" fmla="*/ 2425541 w 6400800"/>
                <a:gd name="connsiteY1989" fmla="*/ 110966 h 514350"/>
                <a:gd name="connsiteX1990" fmla="*/ 2424589 w 6400800"/>
                <a:gd name="connsiteY1990" fmla="*/ 88106 h 514350"/>
                <a:gd name="connsiteX1991" fmla="*/ 2424589 w 6400800"/>
                <a:gd name="connsiteY1991" fmla="*/ 80486 h 514350"/>
                <a:gd name="connsiteX1992" fmla="*/ 2423636 w 6400800"/>
                <a:gd name="connsiteY1992" fmla="*/ 88106 h 514350"/>
                <a:gd name="connsiteX1993" fmla="*/ 2421731 w 6400800"/>
                <a:gd name="connsiteY1993" fmla="*/ 110966 h 514350"/>
                <a:gd name="connsiteX1994" fmla="*/ 2420779 w 6400800"/>
                <a:gd name="connsiteY1994" fmla="*/ 146209 h 514350"/>
                <a:gd name="connsiteX1995" fmla="*/ 2421731 w 6400800"/>
                <a:gd name="connsiteY1995" fmla="*/ 191929 h 514350"/>
                <a:gd name="connsiteX1996" fmla="*/ 2422684 w 6400800"/>
                <a:gd name="connsiteY1996" fmla="*/ 220504 h 514350"/>
                <a:gd name="connsiteX1997" fmla="*/ 2405539 w 6400800"/>
                <a:gd name="connsiteY1997" fmla="*/ 250031 h 514350"/>
                <a:gd name="connsiteX1998" fmla="*/ 2401729 w 6400800"/>
                <a:gd name="connsiteY1998" fmla="*/ 256699 h 514350"/>
                <a:gd name="connsiteX1999" fmla="*/ 2400776 w 6400800"/>
                <a:gd name="connsiteY1999" fmla="*/ 255746 h 514350"/>
                <a:gd name="connsiteX2000" fmla="*/ 2392204 w 6400800"/>
                <a:gd name="connsiteY2000" fmla="*/ 233839 h 514350"/>
                <a:gd name="connsiteX2001" fmla="*/ 2385536 w 6400800"/>
                <a:gd name="connsiteY2001" fmla="*/ 170974 h 514350"/>
                <a:gd name="connsiteX2002" fmla="*/ 2382679 w 6400800"/>
                <a:gd name="connsiteY2002" fmla="*/ 150971 h 514350"/>
                <a:gd name="connsiteX2003" fmla="*/ 2384584 w 6400800"/>
                <a:gd name="connsiteY2003" fmla="*/ 140494 h 514350"/>
                <a:gd name="connsiteX2004" fmla="*/ 2382679 w 6400800"/>
                <a:gd name="connsiteY2004" fmla="*/ 135731 h 514350"/>
                <a:gd name="connsiteX2005" fmla="*/ 2390299 w 6400800"/>
                <a:gd name="connsiteY2005" fmla="*/ 114776 h 514350"/>
                <a:gd name="connsiteX2006" fmla="*/ 2427446 w 6400800"/>
                <a:gd name="connsiteY2006" fmla="*/ 12859 h 514350"/>
                <a:gd name="connsiteX2007" fmla="*/ 2380774 w 6400800"/>
                <a:gd name="connsiteY2007" fmla="*/ 110014 h 514350"/>
                <a:gd name="connsiteX2008" fmla="*/ 2358866 w 6400800"/>
                <a:gd name="connsiteY2008" fmla="*/ 157639 h 514350"/>
                <a:gd name="connsiteX2009" fmla="*/ 2355056 w 6400800"/>
                <a:gd name="connsiteY2009" fmla="*/ 166211 h 514350"/>
                <a:gd name="connsiteX2010" fmla="*/ 2357914 w 6400800"/>
                <a:gd name="connsiteY2010" fmla="*/ 155734 h 514350"/>
                <a:gd name="connsiteX2011" fmla="*/ 2362676 w 6400800"/>
                <a:gd name="connsiteY2011" fmla="*/ 132874 h 514350"/>
                <a:gd name="connsiteX2012" fmla="*/ 2354104 w 6400800"/>
                <a:gd name="connsiteY2012" fmla="*/ 154781 h 514350"/>
                <a:gd name="connsiteX2013" fmla="*/ 2344579 w 6400800"/>
                <a:gd name="connsiteY2013" fmla="*/ 179546 h 514350"/>
                <a:gd name="connsiteX2014" fmla="*/ 2334101 w 6400800"/>
                <a:gd name="connsiteY2014" fmla="*/ 211931 h 514350"/>
                <a:gd name="connsiteX2015" fmla="*/ 2334101 w 6400800"/>
                <a:gd name="connsiteY2015" fmla="*/ 211931 h 514350"/>
                <a:gd name="connsiteX2016" fmla="*/ 2340769 w 6400800"/>
                <a:gd name="connsiteY2016" fmla="*/ 171926 h 514350"/>
                <a:gd name="connsiteX2017" fmla="*/ 2347436 w 6400800"/>
                <a:gd name="connsiteY2017" fmla="*/ 130969 h 514350"/>
                <a:gd name="connsiteX2018" fmla="*/ 2354104 w 6400800"/>
                <a:gd name="connsiteY2018" fmla="*/ 99536 h 514350"/>
                <a:gd name="connsiteX2019" fmla="*/ 2358866 w 6400800"/>
                <a:gd name="connsiteY2019" fmla="*/ 71914 h 514350"/>
                <a:gd name="connsiteX2020" fmla="*/ 2350294 w 6400800"/>
                <a:gd name="connsiteY2020" fmla="*/ 98584 h 514350"/>
                <a:gd name="connsiteX2021" fmla="*/ 2340769 w 6400800"/>
                <a:gd name="connsiteY2021" fmla="*/ 129064 h 514350"/>
                <a:gd name="connsiteX2022" fmla="*/ 2330291 w 6400800"/>
                <a:gd name="connsiteY2022" fmla="*/ 170021 h 514350"/>
                <a:gd name="connsiteX2023" fmla="*/ 2324576 w 6400800"/>
                <a:gd name="connsiteY2023" fmla="*/ 193834 h 514350"/>
                <a:gd name="connsiteX2024" fmla="*/ 2320766 w 6400800"/>
                <a:gd name="connsiteY2024" fmla="*/ 185261 h 514350"/>
                <a:gd name="connsiteX2025" fmla="*/ 2326481 w 6400800"/>
                <a:gd name="connsiteY2025" fmla="*/ 157639 h 514350"/>
                <a:gd name="connsiteX2026" fmla="*/ 2318861 w 6400800"/>
                <a:gd name="connsiteY2026" fmla="*/ 179546 h 514350"/>
                <a:gd name="connsiteX2027" fmla="*/ 2315051 w 6400800"/>
                <a:gd name="connsiteY2027" fmla="*/ 170974 h 514350"/>
                <a:gd name="connsiteX2028" fmla="*/ 2317909 w 6400800"/>
                <a:gd name="connsiteY2028" fmla="*/ 181451 h 514350"/>
                <a:gd name="connsiteX2029" fmla="*/ 2313146 w 6400800"/>
                <a:gd name="connsiteY2029" fmla="*/ 193834 h 514350"/>
                <a:gd name="connsiteX2030" fmla="*/ 2311241 w 6400800"/>
                <a:gd name="connsiteY2030" fmla="*/ 190976 h 514350"/>
                <a:gd name="connsiteX2031" fmla="*/ 2314099 w 6400800"/>
                <a:gd name="connsiteY2031" fmla="*/ 141446 h 514350"/>
                <a:gd name="connsiteX2032" fmla="*/ 2298859 w 6400800"/>
                <a:gd name="connsiteY2032" fmla="*/ 202406 h 514350"/>
                <a:gd name="connsiteX2033" fmla="*/ 2292191 w 6400800"/>
                <a:gd name="connsiteY2033" fmla="*/ 231934 h 514350"/>
                <a:gd name="connsiteX2034" fmla="*/ 2289334 w 6400800"/>
                <a:gd name="connsiteY2034" fmla="*/ 250031 h 514350"/>
                <a:gd name="connsiteX2035" fmla="*/ 2285524 w 6400800"/>
                <a:gd name="connsiteY2035" fmla="*/ 259556 h 514350"/>
                <a:gd name="connsiteX2036" fmla="*/ 2275999 w 6400800"/>
                <a:gd name="connsiteY2036" fmla="*/ 287179 h 514350"/>
                <a:gd name="connsiteX2037" fmla="*/ 2275999 w 6400800"/>
                <a:gd name="connsiteY2037" fmla="*/ 288131 h 514350"/>
                <a:gd name="connsiteX2038" fmla="*/ 2275999 w 6400800"/>
                <a:gd name="connsiteY2038" fmla="*/ 282416 h 514350"/>
                <a:gd name="connsiteX2039" fmla="*/ 2276951 w 6400800"/>
                <a:gd name="connsiteY2039" fmla="*/ 265271 h 514350"/>
                <a:gd name="connsiteX2040" fmla="*/ 2272189 w 6400800"/>
                <a:gd name="connsiteY2040" fmla="*/ 281464 h 514350"/>
                <a:gd name="connsiteX2041" fmla="*/ 2269331 w 6400800"/>
                <a:gd name="connsiteY2041" fmla="*/ 290989 h 514350"/>
                <a:gd name="connsiteX2042" fmla="*/ 2269331 w 6400800"/>
                <a:gd name="connsiteY2042" fmla="*/ 290989 h 514350"/>
                <a:gd name="connsiteX2043" fmla="*/ 2269331 w 6400800"/>
                <a:gd name="connsiteY2043" fmla="*/ 261461 h 514350"/>
                <a:gd name="connsiteX2044" fmla="*/ 2270284 w 6400800"/>
                <a:gd name="connsiteY2044" fmla="*/ 238601 h 514350"/>
                <a:gd name="connsiteX2045" fmla="*/ 2272189 w 6400800"/>
                <a:gd name="connsiteY2045" fmla="*/ 225266 h 514350"/>
                <a:gd name="connsiteX2046" fmla="*/ 2275999 w 6400800"/>
                <a:gd name="connsiteY2046" fmla="*/ 210979 h 514350"/>
                <a:gd name="connsiteX2047" fmla="*/ 2266474 w 6400800"/>
                <a:gd name="connsiteY2047" fmla="*/ 232886 h 514350"/>
                <a:gd name="connsiteX2048" fmla="*/ 2267426 w 6400800"/>
                <a:gd name="connsiteY2048" fmla="*/ 228124 h 514350"/>
                <a:gd name="connsiteX2049" fmla="*/ 2263616 w 6400800"/>
                <a:gd name="connsiteY2049" fmla="*/ 235744 h 514350"/>
                <a:gd name="connsiteX2050" fmla="*/ 2265521 w 6400800"/>
                <a:gd name="connsiteY2050" fmla="*/ 220504 h 514350"/>
                <a:gd name="connsiteX2051" fmla="*/ 2256949 w 6400800"/>
                <a:gd name="connsiteY2051" fmla="*/ 247174 h 514350"/>
                <a:gd name="connsiteX2052" fmla="*/ 2252186 w 6400800"/>
                <a:gd name="connsiteY2052" fmla="*/ 258604 h 514350"/>
                <a:gd name="connsiteX2053" fmla="*/ 2250281 w 6400800"/>
                <a:gd name="connsiteY2053" fmla="*/ 262414 h 514350"/>
                <a:gd name="connsiteX2054" fmla="*/ 2255044 w 6400800"/>
                <a:gd name="connsiteY2054" fmla="*/ 243364 h 514350"/>
                <a:gd name="connsiteX2055" fmla="*/ 2267426 w 6400800"/>
                <a:gd name="connsiteY2055" fmla="*/ 178594 h 514350"/>
                <a:gd name="connsiteX2056" fmla="*/ 2270284 w 6400800"/>
                <a:gd name="connsiteY2056" fmla="*/ 153829 h 514350"/>
                <a:gd name="connsiteX2057" fmla="*/ 2262664 w 6400800"/>
                <a:gd name="connsiteY2057" fmla="*/ 177641 h 514350"/>
                <a:gd name="connsiteX2058" fmla="*/ 2254091 w 6400800"/>
                <a:gd name="connsiteY2058" fmla="*/ 205264 h 514350"/>
                <a:gd name="connsiteX2059" fmla="*/ 2246471 w 6400800"/>
                <a:gd name="connsiteY2059" fmla="*/ 230981 h 514350"/>
                <a:gd name="connsiteX2060" fmla="*/ 2241709 w 6400800"/>
                <a:gd name="connsiteY2060" fmla="*/ 244316 h 514350"/>
                <a:gd name="connsiteX2061" fmla="*/ 2239804 w 6400800"/>
                <a:gd name="connsiteY2061" fmla="*/ 233839 h 514350"/>
                <a:gd name="connsiteX2062" fmla="*/ 2233136 w 6400800"/>
                <a:gd name="connsiteY2062" fmla="*/ 205264 h 514350"/>
                <a:gd name="connsiteX2063" fmla="*/ 2237899 w 6400800"/>
                <a:gd name="connsiteY2063" fmla="*/ 255746 h 514350"/>
                <a:gd name="connsiteX2064" fmla="*/ 2234089 w 6400800"/>
                <a:gd name="connsiteY2064" fmla="*/ 269081 h 514350"/>
                <a:gd name="connsiteX2065" fmla="*/ 2233136 w 6400800"/>
                <a:gd name="connsiteY2065" fmla="*/ 270034 h 514350"/>
                <a:gd name="connsiteX2066" fmla="*/ 2233136 w 6400800"/>
                <a:gd name="connsiteY2066" fmla="*/ 263366 h 514350"/>
                <a:gd name="connsiteX2067" fmla="*/ 2231231 w 6400800"/>
                <a:gd name="connsiteY2067" fmla="*/ 234791 h 514350"/>
                <a:gd name="connsiteX2068" fmla="*/ 2228374 w 6400800"/>
                <a:gd name="connsiteY2068" fmla="*/ 207169 h 514350"/>
                <a:gd name="connsiteX2069" fmla="*/ 2230279 w 6400800"/>
                <a:gd name="connsiteY2069" fmla="*/ 193834 h 514350"/>
                <a:gd name="connsiteX2070" fmla="*/ 2226469 w 6400800"/>
                <a:gd name="connsiteY2070" fmla="*/ 204311 h 514350"/>
                <a:gd name="connsiteX2071" fmla="*/ 2222659 w 6400800"/>
                <a:gd name="connsiteY2071" fmla="*/ 200501 h 514350"/>
                <a:gd name="connsiteX2072" fmla="*/ 2220754 w 6400800"/>
                <a:gd name="connsiteY2072" fmla="*/ 199549 h 514350"/>
                <a:gd name="connsiteX2073" fmla="*/ 2217896 w 6400800"/>
                <a:gd name="connsiteY2073" fmla="*/ 199549 h 514350"/>
                <a:gd name="connsiteX2074" fmla="*/ 2215039 w 6400800"/>
                <a:gd name="connsiteY2074" fmla="*/ 202406 h 514350"/>
                <a:gd name="connsiteX2075" fmla="*/ 2213134 w 6400800"/>
                <a:gd name="connsiteY2075" fmla="*/ 214789 h 514350"/>
                <a:gd name="connsiteX2076" fmla="*/ 2217896 w 6400800"/>
                <a:gd name="connsiteY2076" fmla="*/ 203359 h 514350"/>
                <a:gd name="connsiteX2077" fmla="*/ 2219801 w 6400800"/>
                <a:gd name="connsiteY2077" fmla="*/ 201454 h 514350"/>
                <a:gd name="connsiteX2078" fmla="*/ 2220754 w 6400800"/>
                <a:gd name="connsiteY2078" fmla="*/ 202406 h 514350"/>
                <a:gd name="connsiteX2079" fmla="*/ 2223611 w 6400800"/>
                <a:gd name="connsiteY2079" fmla="*/ 207169 h 514350"/>
                <a:gd name="connsiteX2080" fmla="*/ 2223611 w 6400800"/>
                <a:gd name="connsiteY2080" fmla="*/ 215741 h 514350"/>
                <a:gd name="connsiteX2081" fmla="*/ 2223611 w 6400800"/>
                <a:gd name="connsiteY2081" fmla="*/ 215741 h 514350"/>
                <a:gd name="connsiteX2082" fmla="*/ 2215991 w 6400800"/>
                <a:gd name="connsiteY2082" fmla="*/ 241459 h 514350"/>
                <a:gd name="connsiteX2083" fmla="*/ 2206466 w 6400800"/>
                <a:gd name="connsiteY2083" fmla="*/ 274796 h 514350"/>
                <a:gd name="connsiteX2084" fmla="*/ 2196941 w 6400800"/>
                <a:gd name="connsiteY2084" fmla="*/ 313849 h 514350"/>
                <a:gd name="connsiteX2085" fmla="*/ 2195989 w 6400800"/>
                <a:gd name="connsiteY2085" fmla="*/ 305276 h 514350"/>
                <a:gd name="connsiteX2086" fmla="*/ 2195036 w 6400800"/>
                <a:gd name="connsiteY2086" fmla="*/ 317659 h 514350"/>
                <a:gd name="connsiteX2087" fmla="*/ 2193131 w 6400800"/>
                <a:gd name="connsiteY2087" fmla="*/ 314801 h 514350"/>
                <a:gd name="connsiteX2088" fmla="*/ 2195036 w 6400800"/>
                <a:gd name="connsiteY2088" fmla="*/ 318611 h 514350"/>
                <a:gd name="connsiteX2089" fmla="*/ 2195036 w 6400800"/>
                <a:gd name="connsiteY2089" fmla="*/ 323374 h 514350"/>
                <a:gd name="connsiteX2090" fmla="*/ 2192179 w 6400800"/>
                <a:gd name="connsiteY2090" fmla="*/ 334804 h 514350"/>
                <a:gd name="connsiteX2091" fmla="*/ 2190274 w 6400800"/>
                <a:gd name="connsiteY2091" fmla="*/ 330994 h 514350"/>
                <a:gd name="connsiteX2092" fmla="*/ 2191226 w 6400800"/>
                <a:gd name="connsiteY2092" fmla="*/ 330041 h 514350"/>
                <a:gd name="connsiteX2093" fmla="*/ 2190274 w 6400800"/>
                <a:gd name="connsiteY2093" fmla="*/ 330994 h 514350"/>
                <a:gd name="connsiteX2094" fmla="*/ 2188369 w 6400800"/>
                <a:gd name="connsiteY2094" fmla="*/ 326231 h 514350"/>
                <a:gd name="connsiteX2095" fmla="*/ 2189321 w 6400800"/>
                <a:gd name="connsiteY2095" fmla="*/ 331946 h 514350"/>
                <a:gd name="connsiteX2096" fmla="*/ 2188369 w 6400800"/>
                <a:gd name="connsiteY2096" fmla="*/ 332899 h 514350"/>
                <a:gd name="connsiteX2097" fmla="*/ 2185511 w 6400800"/>
                <a:gd name="connsiteY2097" fmla="*/ 315754 h 514350"/>
                <a:gd name="connsiteX2098" fmla="*/ 2184559 w 6400800"/>
                <a:gd name="connsiteY2098" fmla="*/ 336709 h 514350"/>
                <a:gd name="connsiteX2099" fmla="*/ 2184559 w 6400800"/>
                <a:gd name="connsiteY2099" fmla="*/ 337661 h 514350"/>
                <a:gd name="connsiteX2100" fmla="*/ 2179796 w 6400800"/>
                <a:gd name="connsiteY2100" fmla="*/ 343376 h 514350"/>
                <a:gd name="connsiteX2101" fmla="*/ 2178844 w 6400800"/>
                <a:gd name="connsiteY2101" fmla="*/ 340519 h 514350"/>
                <a:gd name="connsiteX2102" fmla="*/ 2192179 w 6400800"/>
                <a:gd name="connsiteY2102" fmla="*/ 283369 h 514350"/>
                <a:gd name="connsiteX2103" fmla="*/ 2212181 w 6400800"/>
                <a:gd name="connsiteY2103" fmla="*/ 190024 h 514350"/>
                <a:gd name="connsiteX2104" fmla="*/ 2183606 w 6400800"/>
                <a:gd name="connsiteY2104" fmla="*/ 272891 h 514350"/>
                <a:gd name="connsiteX2105" fmla="*/ 2187416 w 6400800"/>
                <a:gd name="connsiteY2105" fmla="*/ 253841 h 514350"/>
                <a:gd name="connsiteX2106" fmla="*/ 2192179 w 6400800"/>
                <a:gd name="connsiteY2106" fmla="*/ 231934 h 514350"/>
                <a:gd name="connsiteX2107" fmla="*/ 2196941 w 6400800"/>
                <a:gd name="connsiteY2107" fmla="*/ 210026 h 514350"/>
                <a:gd name="connsiteX2108" fmla="*/ 2200751 w 6400800"/>
                <a:gd name="connsiteY2108" fmla="*/ 193834 h 514350"/>
                <a:gd name="connsiteX2109" fmla="*/ 2204561 w 6400800"/>
                <a:gd name="connsiteY2109" fmla="*/ 179546 h 514350"/>
                <a:gd name="connsiteX2110" fmla="*/ 2211229 w 6400800"/>
                <a:gd name="connsiteY2110" fmla="*/ 155734 h 514350"/>
                <a:gd name="connsiteX2111" fmla="*/ 2217896 w 6400800"/>
                <a:gd name="connsiteY2111" fmla="*/ 134779 h 514350"/>
                <a:gd name="connsiteX2112" fmla="*/ 2211229 w 6400800"/>
                <a:gd name="connsiteY2112" fmla="*/ 148114 h 514350"/>
                <a:gd name="connsiteX2113" fmla="*/ 2211229 w 6400800"/>
                <a:gd name="connsiteY2113" fmla="*/ 147161 h 514350"/>
                <a:gd name="connsiteX2114" fmla="*/ 2216944 w 6400800"/>
                <a:gd name="connsiteY2114" fmla="*/ 125254 h 514350"/>
                <a:gd name="connsiteX2115" fmla="*/ 2222659 w 6400800"/>
                <a:gd name="connsiteY2115" fmla="*/ 105251 h 514350"/>
                <a:gd name="connsiteX2116" fmla="*/ 2233136 w 6400800"/>
                <a:gd name="connsiteY2116" fmla="*/ 72866 h 514350"/>
                <a:gd name="connsiteX2117" fmla="*/ 2242661 w 6400800"/>
                <a:gd name="connsiteY2117" fmla="*/ 45244 h 514350"/>
                <a:gd name="connsiteX2118" fmla="*/ 2229326 w 6400800"/>
                <a:gd name="connsiteY2118" fmla="*/ 71914 h 514350"/>
                <a:gd name="connsiteX2119" fmla="*/ 2215991 w 6400800"/>
                <a:gd name="connsiteY2119" fmla="*/ 103346 h 514350"/>
                <a:gd name="connsiteX2120" fmla="*/ 2208371 w 6400800"/>
                <a:gd name="connsiteY2120" fmla="*/ 122396 h 514350"/>
                <a:gd name="connsiteX2121" fmla="*/ 2200751 w 6400800"/>
                <a:gd name="connsiteY2121" fmla="*/ 144304 h 514350"/>
                <a:gd name="connsiteX2122" fmla="*/ 2184559 w 6400800"/>
                <a:gd name="connsiteY2122" fmla="*/ 193834 h 514350"/>
                <a:gd name="connsiteX2123" fmla="*/ 2175034 w 6400800"/>
                <a:gd name="connsiteY2123" fmla="*/ 228124 h 514350"/>
                <a:gd name="connsiteX2124" fmla="*/ 2177891 w 6400800"/>
                <a:gd name="connsiteY2124" fmla="*/ 203359 h 514350"/>
                <a:gd name="connsiteX2125" fmla="*/ 2178844 w 6400800"/>
                <a:gd name="connsiteY2125" fmla="*/ 190024 h 514350"/>
                <a:gd name="connsiteX2126" fmla="*/ 2180749 w 6400800"/>
                <a:gd name="connsiteY2126" fmla="*/ 184309 h 514350"/>
                <a:gd name="connsiteX2127" fmla="*/ 2179796 w 6400800"/>
                <a:gd name="connsiteY2127" fmla="*/ 187166 h 514350"/>
                <a:gd name="connsiteX2128" fmla="*/ 2180749 w 6400800"/>
                <a:gd name="connsiteY2128" fmla="*/ 176689 h 514350"/>
                <a:gd name="connsiteX2129" fmla="*/ 2175986 w 6400800"/>
                <a:gd name="connsiteY2129" fmla="*/ 194786 h 514350"/>
                <a:gd name="connsiteX2130" fmla="*/ 2170271 w 6400800"/>
                <a:gd name="connsiteY2130" fmla="*/ 208121 h 514350"/>
                <a:gd name="connsiteX2131" fmla="*/ 2144554 w 6400800"/>
                <a:gd name="connsiteY2131" fmla="*/ 271939 h 514350"/>
                <a:gd name="connsiteX2132" fmla="*/ 2135029 w 6400800"/>
                <a:gd name="connsiteY2132" fmla="*/ 296704 h 514350"/>
                <a:gd name="connsiteX2133" fmla="*/ 2135029 w 6400800"/>
                <a:gd name="connsiteY2133" fmla="*/ 295751 h 514350"/>
                <a:gd name="connsiteX2134" fmla="*/ 2129314 w 6400800"/>
                <a:gd name="connsiteY2134" fmla="*/ 282416 h 514350"/>
                <a:gd name="connsiteX2135" fmla="*/ 2137886 w 6400800"/>
                <a:gd name="connsiteY2135" fmla="*/ 231934 h 514350"/>
                <a:gd name="connsiteX2136" fmla="*/ 2141696 w 6400800"/>
                <a:gd name="connsiteY2136" fmla="*/ 210026 h 514350"/>
                <a:gd name="connsiteX2137" fmla="*/ 2134076 w 6400800"/>
                <a:gd name="connsiteY2137" fmla="*/ 230981 h 514350"/>
                <a:gd name="connsiteX2138" fmla="*/ 2123599 w 6400800"/>
                <a:gd name="connsiteY2138" fmla="*/ 263366 h 514350"/>
                <a:gd name="connsiteX2139" fmla="*/ 2122646 w 6400800"/>
                <a:gd name="connsiteY2139" fmla="*/ 253841 h 514350"/>
                <a:gd name="connsiteX2140" fmla="*/ 2117884 w 6400800"/>
                <a:gd name="connsiteY2140" fmla="*/ 211931 h 514350"/>
                <a:gd name="connsiteX2141" fmla="*/ 2112169 w 6400800"/>
                <a:gd name="connsiteY2141" fmla="*/ 176689 h 514350"/>
                <a:gd name="connsiteX2142" fmla="*/ 2107406 w 6400800"/>
                <a:gd name="connsiteY2142" fmla="*/ 150019 h 514350"/>
                <a:gd name="connsiteX2143" fmla="*/ 2102644 w 6400800"/>
                <a:gd name="connsiteY2143" fmla="*/ 127159 h 514350"/>
                <a:gd name="connsiteX2144" fmla="*/ 2103596 w 6400800"/>
                <a:gd name="connsiteY2144" fmla="*/ 150971 h 514350"/>
                <a:gd name="connsiteX2145" fmla="*/ 2104549 w 6400800"/>
                <a:gd name="connsiteY2145" fmla="*/ 168116 h 514350"/>
                <a:gd name="connsiteX2146" fmla="*/ 2104549 w 6400800"/>
                <a:gd name="connsiteY2146" fmla="*/ 183356 h 514350"/>
                <a:gd name="connsiteX2147" fmla="*/ 2105501 w 6400800"/>
                <a:gd name="connsiteY2147" fmla="*/ 207169 h 514350"/>
                <a:gd name="connsiteX2148" fmla="*/ 2106454 w 6400800"/>
                <a:gd name="connsiteY2148" fmla="*/ 225266 h 514350"/>
                <a:gd name="connsiteX2149" fmla="*/ 2104549 w 6400800"/>
                <a:gd name="connsiteY2149" fmla="*/ 221456 h 514350"/>
                <a:gd name="connsiteX2150" fmla="*/ 2104549 w 6400800"/>
                <a:gd name="connsiteY2150" fmla="*/ 221456 h 514350"/>
                <a:gd name="connsiteX2151" fmla="*/ 2104549 w 6400800"/>
                <a:gd name="connsiteY2151" fmla="*/ 221456 h 514350"/>
                <a:gd name="connsiteX2152" fmla="*/ 2102644 w 6400800"/>
                <a:gd name="connsiteY2152" fmla="*/ 215741 h 514350"/>
                <a:gd name="connsiteX2153" fmla="*/ 2101691 w 6400800"/>
                <a:gd name="connsiteY2153" fmla="*/ 205264 h 514350"/>
                <a:gd name="connsiteX2154" fmla="*/ 2098834 w 6400800"/>
                <a:gd name="connsiteY2154" fmla="*/ 176689 h 514350"/>
                <a:gd name="connsiteX2155" fmla="*/ 2097881 w 6400800"/>
                <a:gd name="connsiteY2155" fmla="*/ 168116 h 514350"/>
                <a:gd name="connsiteX2156" fmla="*/ 2102644 w 6400800"/>
                <a:gd name="connsiteY2156" fmla="*/ 149066 h 514350"/>
                <a:gd name="connsiteX2157" fmla="*/ 2096929 w 6400800"/>
                <a:gd name="connsiteY2157" fmla="*/ 162401 h 514350"/>
                <a:gd name="connsiteX2158" fmla="*/ 2095024 w 6400800"/>
                <a:gd name="connsiteY2158" fmla="*/ 151924 h 514350"/>
                <a:gd name="connsiteX2159" fmla="*/ 2095024 w 6400800"/>
                <a:gd name="connsiteY2159" fmla="*/ 167164 h 514350"/>
                <a:gd name="connsiteX2160" fmla="*/ 2066449 w 6400800"/>
                <a:gd name="connsiteY2160" fmla="*/ 235744 h 514350"/>
                <a:gd name="connsiteX2161" fmla="*/ 2056924 w 6400800"/>
                <a:gd name="connsiteY2161" fmla="*/ 259556 h 514350"/>
                <a:gd name="connsiteX2162" fmla="*/ 2063591 w 6400800"/>
                <a:gd name="connsiteY2162" fmla="*/ 219551 h 514350"/>
                <a:gd name="connsiteX2163" fmla="*/ 2052161 w 6400800"/>
                <a:gd name="connsiteY2163" fmla="*/ 252889 h 514350"/>
                <a:gd name="connsiteX2164" fmla="*/ 2050256 w 6400800"/>
                <a:gd name="connsiteY2164" fmla="*/ 248126 h 514350"/>
                <a:gd name="connsiteX2165" fmla="*/ 2050256 w 6400800"/>
                <a:gd name="connsiteY2165" fmla="*/ 233839 h 514350"/>
                <a:gd name="connsiteX2166" fmla="*/ 2048351 w 6400800"/>
                <a:gd name="connsiteY2166" fmla="*/ 244316 h 514350"/>
                <a:gd name="connsiteX2167" fmla="*/ 2046446 w 6400800"/>
                <a:gd name="connsiteY2167" fmla="*/ 240506 h 514350"/>
                <a:gd name="connsiteX2168" fmla="*/ 2047399 w 6400800"/>
                <a:gd name="connsiteY2168" fmla="*/ 247174 h 514350"/>
                <a:gd name="connsiteX2169" fmla="*/ 2044541 w 6400800"/>
                <a:gd name="connsiteY2169" fmla="*/ 266224 h 514350"/>
                <a:gd name="connsiteX2170" fmla="*/ 2043589 w 6400800"/>
                <a:gd name="connsiteY2170" fmla="*/ 259556 h 514350"/>
                <a:gd name="connsiteX2171" fmla="*/ 2041684 w 6400800"/>
                <a:gd name="connsiteY2171" fmla="*/ 249079 h 514350"/>
                <a:gd name="connsiteX2172" fmla="*/ 2048351 w 6400800"/>
                <a:gd name="connsiteY2172" fmla="*/ 184309 h 514350"/>
                <a:gd name="connsiteX2173" fmla="*/ 2039779 w 6400800"/>
                <a:gd name="connsiteY2173" fmla="*/ 216694 h 514350"/>
                <a:gd name="connsiteX2174" fmla="*/ 2036921 w 6400800"/>
                <a:gd name="connsiteY2174" fmla="*/ 223361 h 514350"/>
                <a:gd name="connsiteX2175" fmla="*/ 2035969 w 6400800"/>
                <a:gd name="connsiteY2175" fmla="*/ 218599 h 514350"/>
                <a:gd name="connsiteX2176" fmla="*/ 2031206 w 6400800"/>
                <a:gd name="connsiteY2176" fmla="*/ 187166 h 514350"/>
                <a:gd name="connsiteX2177" fmla="*/ 2028349 w 6400800"/>
                <a:gd name="connsiteY2177" fmla="*/ 169069 h 514350"/>
                <a:gd name="connsiteX2178" fmla="*/ 2031206 w 6400800"/>
                <a:gd name="connsiteY2178" fmla="*/ 147161 h 514350"/>
                <a:gd name="connsiteX2179" fmla="*/ 2028349 w 6400800"/>
                <a:gd name="connsiteY2179" fmla="*/ 157639 h 514350"/>
                <a:gd name="connsiteX2180" fmla="*/ 2030254 w 6400800"/>
                <a:gd name="connsiteY2180" fmla="*/ 138589 h 514350"/>
                <a:gd name="connsiteX2181" fmla="*/ 2023586 w 6400800"/>
                <a:gd name="connsiteY2181" fmla="*/ 160496 h 514350"/>
                <a:gd name="connsiteX2182" fmla="*/ 2017871 w 6400800"/>
                <a:gd name="connsiteY2182" fmla="*/ 186214 h 514350"/>
                <a:gd name="connsiteX2183" fmla="*/ 2016919 w 6400800"/>
                <a:gd name="connsiteY2183" fmla="*/ 191929 h 514350"/>
                <a:gd name="connsiteX2184" fmla="*/ 2016919 w 6400800"/>
                <a:gd name="connsiteY2184" fmla="*/ 190976 h 514350"/>
                <a:gd name="connsiteX2185" fmla="*/ 2019776 w 6400800"/>
                <a:gd name="connsiteY2185" fmla="*/ 158591 h 514350"/>
                <a:gd name="connsiteX2186" fmla="*/ 2015014 w 6400800"/>
                <a:gd name="connsiteY2186" fmla="*/ 178594 h 514350"/>
                <a:gd name="connsiteX2187" fmla="*/ 2014061 w 6400800"/>
                <a:gd name="connsiteY2187" fmla="*/ 174784 h 514350"/>
                <a:gd name="connsiteX2188" fmla="*/ 2014061 w 6400800"/>
                <a:gd name="connsiteY2188" fmla="*/ 177641 h 514350"/>
                <a:gd name="connsiteX2189" fmla="*/ 2011204 w 6400800"/>
                <a:gd name="connsiteY2189" fmla="*/ 163354 h 514350"/>
                <a:gd name="connsiteX2190" fmla="*/ 2003584 w 6400800"/>
                <a:gd name="connsiteY2190" fmla="*/ 125254 h 514350"/>
                <a:gd name="connsiteX2191" fmla="*/ 1996916 w 6400800"/>
                <a:gd name="connsiteY2191" fmla="*/ 91916 h 514350"/>
                <a:gd name="connsiteX2192" fmla="*/ 1999774 w 6400800"/>
                <a:gd name="connsiteY2192" fmla="*/ 125254 h 514350"/>
                <a:gd name="connsiteX2193" fmla="*/ 2003584 w 6400800"/>
                <a:gd name="connsiteY2193" fmla="*/ 164306 h 514350"/>
                <a:gd name="connsiteX2194" fmla="*/ 2008346 w 6400800"/>
                <a:gd name="connsiteY2194" fmla="*/ 203359 h 514350"/>
                <a:gd name="connsiteX2195" fmla="*/ 1999774 w 6400800"/>
                <a:gd name="connsiteY2195" fmla="*/ 240506 h 514350"/>
                <a:gd name="connsiteX2196" fmla="*/ 1984534 w 6400800"/>
                <a:gd name="connsiteY2196" fmla="*/ 314801 h 514350"/>
                <a:gd name="connsiteX2197" fmla="*/ 1984534 w 6400800"/>
                <a:gd name="connsiteY2197" fmla="*/ 283369 h 514350"/>
                <a:gd name="connsiteX2198" fmla="*/ 1984534 w 6400800"/>
                <a:gd name="connsiteY2198" fmla="*/ 267176 h 514350"/>
                <a:gd name="connsiteX2199" fmla="*/ 1986439 w 6400800"/>
                <a:gd name="connsiteY2199" fmla="*/ 263366 h 514350"/>
                <a:gd name="connsiteX2200" fmla="*/ 1984534 w 6400800"/>
                <a:gd name="connsiteY2200" fmla="*/ 265271 h 514350"/>
                <a:gd name="connsiteX2201" fmla="*/ 1985486 w 6400800"/>
                <a:gd name="connsiteY2201" fmla="*/ 243364 h 514350"/>
                <a:gd name="connsiteX2202" fmla="*/ 1987391 w 6400800"/>
                <a:gd name="connsiteY2202" fmla="*/ 212884 h 514350"/>
                <a:gd name="connsiteX2203" fmla="*/ 1989296 w 6400800"/>
                <a:gd name="connsiteY2203" fmla="*/ 186214 h 514350"/>
                <a:gd name="connsiteX2204" fmla="*/ 1983581 w 6400800"/>
                <a:gd name="connsiteY2204" fmla="*/ 211931 h 514350"/>
                <a:gd name="connsiteX2205" fmla="*/ 1978819 w 6400800"/>
                <a:gd name="connsiteY2205" fmla="*/ 242411 h 514350"/>
                <a:gd name="connsiteX2206" fmla="*/ 1974056 w 6400800"/>
                <a:gd name="connsiteY2206" fmla="*/ 281464 h 514350"/>
                <a:gd name="connsiteX2207" fmla="*/ 1973104 w 6400800"/>
                <a:gd name="connsiteY2207" fmla="*/ 282416 h 514350"/>
                <a:gd name="connsiteX2208" fmla="*/ 1968341 w 6400800"/>
                <a:gd name="connsiteY2208" fmla="*/ 289084 h 514350"/>
                <a:gd name="connsiteX2209" fmla="*/ 1968341 w 6400800"/>
                <a:gd name="connsiteY2209" fmla="*/ 283369 h 514350"/>
                <a:gd name="connsiteX2210" fmla="*/ 1973104 w 6400800"/>
                <a:gd name="connsiteY2210" fmla="*/ 274796 h 514350"/>
                <a:gd name="connsiteX2211" fmla="*/ 1968341 w 6400800"/>
                <a:gd name="connsiteY2211" fmla="*/ 280511 h 514350"/>
                <a:gd name="connsiteX2212" fmla="*/ 1973104 w 6400800"/>
                <a:gd name="connsiteY2212" fmla="*/ 224314 h 514350"/>
                <a:gd name="connsiteX2213" fmla="*/ 1976914 w 6400800"/>
                <a:gd name="connsiteY2213" fmla="*/ 187166 h 514350"/>
                <a:gd name="connsiteX2214" fmla="*/ 1967389 w 6400800"/>
                <a:gd name="connsiteY2214" fmla="*/ 218599 h 514350"/>
                <a:gd name="connsiteX2215" fmla="*/ 1967389 w 6400800"/>
                <a:gd name="connsiteY2215" fmla="*/ 216694 h 514350"/>
                <a:gd name="connsiteX2216" fmla="*/ 1966436 w 6400800"/>
                <a:gd name="connsiteY2216" fmla="*/ 220504 h 514350"/>
                <a:gd name="connsiteX2217" fmla="*/ 1957864 w 6400800"/>
                <a:gd name="connsiteY2217" fmla="*/ 250031 h 514350"/>
                <a:gd name="connsiteX2218" fmla="*/ 1952149 w 6400800"/>
                <a:gd name="connsiteY2218" fmla="*/ 271939 h 514350"/>
                <a:gd name="connsiteX2219" fmla="*/ 1941671 w 6400800"/>
                <a:gd name="connsiteY2219" fmla="*/ 221456 h 514350"/>
                <a:gd name="connsiteX2220" fmla="*/ 1942624 w 6400800"/>
                <a:gd name="connsiteY2220" fmla="*/ 213836 h 514350"/>
                <a:gd name="connsiteX2221" fmla="*/ 1952149 w 6400800"/>
                <a:gd name="connsiteY2221" fmla="*/ 186214 h 514350"/>
                <a:gd name="connsiteX2222" fmla="*/ 1962626 w 6400800"/>
                <a:gd name="connsiteY2222" fmla="*/ 157639 h 514350"/>
                <a:gd name="connsiteX2223" fmla="*/ 1948339 w 6400800"/>
                <a:gd name="connsiteY2223" fmla="*/ 185261 h 514350"/>
                <a:gd name="connsiteX2224" fmla="*/ 1945481 w 6400800"/>
                <a:gd name="connsiteY2224" fmla="*/ 190976 h 514350"/>
                <a:gd name="connsiteX2225" fmla="*/ 1945481 w 6400800"/>
                <a:gd name="connsiteY2225" fmla="*/ 189071 h 514350"/>
                <a:gd name="connsiteX2226" fmla="*/ 1944529 w 6400800"/>
                <a:gd name="connsiteY2226" fmla="*/ 192881 h 514350"/>
                <a:gd name="connsiteX2227" fmla="*/ 1938814 w 6400800"/>
                <a:gd name="connsiteY2227" fmla="*/ 205264 h 514350"/>
                <a:gd name="connsiteX2228" fmla="*/ 1935004 w 6400800"/>
                <a:gd name="connsiteY2228" fmla="*/ 148114 h 514350"/>
                <a:gd name="connsiteX2229" fmla="*/ 1928336 w 6400800"/>
                <a:gd name="connsiteY2229" fmla="*/ 224314 h 514350"/>
                <a:gd name="connsiteX2230" fmla="*/ 1928336 w 6400800"/>
                <a:gd name="connsiteY2230" fmla="*/ 229076 h 514350"/>
                <a:gd name="connsiteX2231" fmla="*/ 1924526 w 6400800"/>
                <a:gd name="connsiteY2231" fmla="*/ 236696 h 514350"/>
                <a:gd name="connsiteX2232" fmla="*/ 1915001 w 6400800"/>
                <a:gd name="connsiteY2232" fmla="*/ 258604 h 514350"/>
                <a:gd name="connsiteX2233" fmla="*/ 1911191 w 6400800"/>
                <a:gd name="connsiteY2233" fmla="*/ 268129 h 514350"/>
                <a:gd name="connsiteX2234" fmla="*/ 1907381 w 6400800"/>
                <a:gd name="connsiteY2234" fmla="*/ 259556 h 514350"/>
                <a:gd name="connsiteX2235" fmla="*/ 1907381 w 6400800"/>
                <a:gd name="connsiteY2235" fmla="*/ 258604 h 514350"/>
                <a:gd name="connsiteX2236" fmla="*/ 1907381 w 6400800"/>
                <a:gd name="connsiteY2236" fmla="*/ 258604 h 514350"/>
                <a:gd name="connsiteX2237" fmla="*/ 1900714 w 6400800"/>
                <a:gd name="connsiteY2237" fmla="*/ 253841 h 514350"/>
                <a:gd name="connsiteX2238" fmla="*/ 1897856 w 6400800"/>
                <a:gd name="connsiteY2238" fmla="*/ 252889 h 514350"/>
                <a:gd name="connsiteX2239" fmla="*/ 1896904 w 6400800"/>
                <a:gd name="connsiteY2239" fmla="*/ 252889 h 514350"/>
                <a:gd name="connsiteX2240" fmla="*/ 1896904 w 6400800"/>
                <a:gd name="connsiteY2240" fmla="*/ 250984 h 514350"/>
                <a:gd name="connsiteX2241" fmla="*/ 1897856 w 6400800"/>
                <a:gd name="connsiteY2241" fmla="*/ 246221 h 514350"/>
                <a:gd name="connsiteX2242" fmla="*/ 1902619 w 6400800"/>
                <a:gd name="connsiteY2242" fmla="*/ 230029 h 514350"/>
                <a:gd name="connsiteX2243" fmla="*/ 1903571 w 6400800"/>
                <a:gd name="connsiteY2243" fmla="*/ 226219 h 514350"/>
                <a:gd name="connsiteX2244" fmla="*/ 1902619 w 6400800"/>
                <a:gd name="connsiteY2244" fmla="*/ 227171 h 514350"/>
                <a:gd name="connsiteX2245" fmla="*/ 1906429 w 6400800"/>
                <a:gd name="connsiteY2245" fmla="*/ 214789 h 514350"/>
                <a:gd name="connsiteX2246" fmla="*/ 1915001 w 6400800"/>
                <a:gd name="connsiteY2246" fmla="*/ 190976 h 514350"/>
                <a:gd name="connsiteX2247" fmla="*/ 1922621 w 6400800"/>
                <a:gd name="connsiteY2247" fmla="*/ 170021 h 514350"/>
                <a:gd name="connsiteX2248" fmla="*/ 1911191 w 6400800"/>
                <a:gd name="connsiteY2248" fmla="*/ 189071 h 514350"/>
                <a:gd name="connsiteX2249" fmla="*/ 1899761 w 6400800"/>
                <a:gd name="connsiteY2249" fmla="*/ 211931 h 514350"/>
                <a:gd name="connsiteX2250" fmla="*/ 1893094 w 6400800"/>
                <a:gd name="connsiteY2250" fmla="*/ 226219 h 514350"/>
                <a:gd name="connsiteX2251" fmla="*/ 1889284 w 6400800"/>
                <a:gd name="connsiteY2251" fmla="*/ 235744 h 514350"/>
                <a:gd name="connsiteX2252" fmla="*/ 1888331 w 6400800"/>
                <a:gd name="connsiteY2252" fmla="*/ 232886 h 514350"/>
                <a:gd name="connsiteX2253" fmla="*/ 1889284 w 6400800"/>
                <a:gd name="connsiteY2253" fmla="*/ 216694 h 514350"/>
                <a:gd name="connsiteX2254" fmla="*/ 1891189 w 6400800"/>
                <a:gd name="connsiteY2254" fmla="*/ 200501 h 514350"/>
                <a:gd name="connsiteX2255" fmla="*/ 1894046 w 6400800"/>
                <a:gd name="connsiteY2255" fmla="*/ 187166 h 514350"/>
                <a:gd name="connsiteX2256" fmla="*/ 1899761 w 6400800"/>
                <a:gd name="connsiteY2256" fmla="*/ 169069 h 514350"/>
                <a:gd name="connsiteX2257" fmla="*/ 1902619 w 6400800"/>
                <a:gd name="connsiteY2257" fmla="*/ 162401 h 514350"/>
                <a:gd name="connsiteX2258" fmla="*/ 1898809 w 6400800"/>
                <a:gd name="connsiteY2258" fmla="*/ 168116 h 514350"/>
                <a:gd name="connsiteX2259" fmla="*/ 1890236 w 6400800"/>
                <a:gd name="connsiteY2259" fmla="*/ 186214 h 514350"/>
                <a:gd name="connsiteX2260" fmla="*/ 1885474 w 6400800"/>
                <a:gd name="connsiteY2260" fmla="*/ 199549 h 514350"/>
                <a:gd name="connsiteX2261" fmla="*/ 1882616 w 6400800"/>
                <a:gd name="connsiteY2261" fmla="*/ 213836 h 514350"/>
                <a:gd name="connsiteX2262" fmla="*/ 1882616 w 6400800"/>
                <a:gd name="connsiteY2262" fmla="*/ 210026 h 514350"/>
                <a:gd name="connsiteX2263" fmla="*/ 1878806 w 6400800"/>
                <a:gd name="connsiteY2263" fmla="*/ 228124 h 514350"/>
                <a:gd name="connsiteX2264" fmla="*/ 1874996 w 6400800"/>
                <a:gd name="connsiteY2264" fmla="*/ 243364 h 514350"/>
                <a:gd name="connsiteX2265" fmla="*/ 1874996 w 6400800"/>
                <a:gd name="connsiteY2265" fmla="*/ 237649 h 514350"/>
                <a:gd name="connsiteX2266" fmla="*/ 1872139 w 6400800"/>
                <a:gd name="connsiteY2266" fmla="*/ 255746 h 514350"/>
                <a:gd name="connsiteX2267" fmla="*/ 1868329 w 6400800"/>
                <a:gd name="connsiteY2267" fmla="*/ 270986 h 514350"/>
                <a:gd name="connsiteX2268" fmla="*/ 1869281 w 6400800"/>
                <a:gd name="connsiteY2268" fmla="*/ 259556 h 514350"/>
                <a:gd name="connsiteX2269" fmla="*/ 1874996 w 6400800"/>
                <a:gd name="connsiteY2269" fmla="*/ 213836 h 514350"/>
                <a:gd name="connsiteX2270" fmla="*/ 1877854 w 6400800"/>
                <a:gd name="connsiteY2270" fmla="*/ 193834 h 514350"/>
                <a:gd name="connsiteX2271" fmla="*/ 1881664 w 6400800"/>
                <a:gd name="connsiteY2271" fmla="*/ 175736 h 514350"/>
                <a:gd name="connsiteX2272" fmla="*/ 1888331 w 6400800"/>
                <a:gd name="connsiteY2272" fmla="*/ 146209 h 514350"/>
                <a:gd name="connsiteX2273" fmla="*/ 1894999 w 6400800"/>
                <a:gd name="connsiteY2273" fmla="*/ 120491 h 514350"/>
                <a:gd name="connsiteX2274" fmla="*/ 1885474 w 6400800"/>
                <a:gd name="connsiteY2274" fmla="*/ 144304 h 514350"/>
                <a:gd name="connsiteX2275" fmla="*/ 1875949 w 6400800"/>
                <a:gd name="connsiteY2275" fmla="*/ 172879 h 514350"/>
                <a:gd name="connsiteX2276" fmla="*/ 1870234 w 6400800"/>
                <a:gd name="connsiteY2276" fmla="*/ 190976 h 514350"/>
                <a:gd name="connsiteX2277" fmla="*/ 1865471 w 6400800"/>
                <a:gd name="connsiteY2277" fmla="*/ 210979 h 514350"/>
                <a:gd name="connsiteX2278" fmla="*/ 1858804 w 6400800"/>
                <a:gd name="connsiteY2278" fmla="*/ 238601 h 514350"/>
                <a:gd name="connsiteX2279" fmla="*/ 1856899 w 6400800"/>
                <a:gd name="connsiteY2279" fmla="*/ 194786 h 514350"/>
                <a:gd name="connsiteX2280" fmla="*/ 1854994 w 6400800"/>
                <a:gd name="connsiteY2280" fmla="*/ 172879 h 514350"/>
                <a:gd name="connsiteX2281" fmla="*/ 1853089 w 6400800"/>
                <a:gd name="connsiteY2281" fmla="*/ 194786 h 514350"/>
                <a:gd name="connsiteX2282" fmla="*/ 1848326 w 6400800"/>
                <a:gd name="connsiteY2282" fmla="*/ 250984 h 514350"/>
                <a:gd name="connsiteX2283" fmla="*/ 1845469 w 6400800"/>
                <a:gd name="connsiteY2283" fmla="*/ 282416 h 514350"/>
                <a:gd name="connsiteX2284" fmla="*/ 1839754 w 6400800"/>
                <a:gd name="connsiteY2284" fmla="*/ 273844 h 514350"/>
                <a:gd name="connsiteX2285" fmla="*/ 1838801 w 6400800"/>
                <a:gd name="connsiteY2285" fmla="*/ 269081 h 514350"/>
                <a:gd name="connsiteX2286" fmla="*/ 1838801 w 6400800"/>
                <a:gd name="connsiteY2286" fmla="*/ 272891 h 514350"/>
                <a:gd name="connsiteX2287" fmla="*/ 1827371 w 6400800"/>
                <a:gd name="connsiteY2287" fmla="*/ 256699 h 514350"/>
                <a:gd name="connsiteX2288" fmla="*/ 1828324 w 6400800"/>
                <a:gd name="connsiteY2288" fmla="*/ 190976 h 514350"/>
                <a:gd name="connsiteX2289" fmla="*/ 1822609 w 6400800"/>
                <a:gd name="connsiteY2289" fmla="*/ 222409 h 514350"/>
                <a:gd name="connsiteX2290" fmla="*/ 1822609 w 6400800"/>
                <a:gd name="connsiteY2290" fmla="*/ 214789 h 514350"/>
                <a:gd name="connsiteX2291" fmla="*/ 1822609 w 6400800"/>
                <a:gd name="connsiteY2291" fmla="*/ 161449 h 514350"/>
                <a:gd name="connsiteX2292" fmla="*/ 1823561 w 6400800"/>
                <a:gd name="connsiteY2292" fmla="*/ 113824 h 514350"/>
                <a:gd name="connsiteX2293" fmla="*/ 1823561 w 6400800"/>
                <a:gd name="connsiteY2293" fmla="*/ 15716 h 514350"/>
                <a:gd name="connsiteX2294" fmla="*/ 1812131 w 6400800"/>
                <a:gd name="connsiteY2294" fmla="*/ 112871 h 514350"/>
                <a:gd name="connsiteX2295" fmla="*/ 1807369 w 6400800"/>
                <a:gd name="connsiteY2295" fmla="*/ 160496 h 514350"/>
                <a:gd name="connsiteX2296" fmla="*/ 1805464 w 6400800"/>
                <a:gd name="connsiteY2296" fmla="*/ 209074 h 514350"/>
                <a:gd name="connsiteX2297" fmla="*/ 1801654 w 6400800"/>
                <a:gd name="connsiteY2297" fmla="*/ 211931 h 514350"/>
                <a:gd name="connsiteX2298" fmla="*/ 1801654 w 6400800"/>
                <a:gd name="connsiteY2298" fmla="*/ 211931 h 514350"/>
                <a:gd name="connsiteX2299" fmla="*/ 1801654 w 6400800"/>
                <a:gd name="connsiteY2299" fmla="*/ 212884 h 514350"/>
                <a:gd name="connsiteX2300" fmla="*/ 1790224 w 6400800"/>
                <a:gd name="connsiteY2300" fmla="*/ 237649 h 514350"/>
                <a:gd name="connsiteX2301" fmla="*/ 1790224 w 6400800"/>
                <a:gd name="connsiteY2301" fmla="*/ 207169 h 514350"/>
                <a:gd name="connsiteX2302" fmla="*/ 1786414 w 6400800"/>
                <a:gd name="connsiteY2302" fmla="*/ 239554 h 514350"/>
                <a:gd name="connsiteX2303" fmla="*/ 1784509 w 6400800"/>
                <a:gd name="connsiteY2303" fmla="*/ 250984 h 514350"/>
                <a:gd name="connsiteX2304" fmla="*/ 1783556 w 6400800"/>
                <a:gd name="connsiteY2304" fmla="*/ 252889 h 514350"/>
                <a:gd name="connsiteX2305" fmla="*/ 1776889 w 6400800"/>
                <a:gd name="connsiteY2305" fmla="*/ 226219 h 514350"/>
                <a:gd name="connsiteX2306" fmla="*/ 1777841 w 6400800"/>
                <a:gd name="connsiteY2306" fmla="*/ 253841 h 514350"/>
                <a:gd name="connsiteX2307" fmla="*/ 1768316 w 6400800"/>
                <a:gd name="connsiteY2307" fmla="*/ 230029 h 514350"/>
                <a:gd name="connsiteX2308" fmla="*/ 1759744 w 6400800"/>
                <a:gd name="connsiteY2308" fmla="*/ 209074 h 514350"/>
                <a:gd name="connsiteX2309" fmla="*/ 1759744 w 6400800"/>
                <a:gd name="connsiteY2309" fmla="*/ 208121 h 514350"/>
                <a:gd name="connsiteX2310" fmla="*/ 1761649 w 6400800"/>
                <a:gd name="connsiteY2310" fmla="*/ 198596 h 514350"/>
                <a:gd name="connsiteX2311" fmla="*/ 1759744 w 6400800"/>
                <a:gd name="connsiteY2311" fmla="*/ 203359 h 514350"/>
                <a:gd name="connsiteX2312" fmla="*/ 1759744 w 6400800"/>
                <a:gd name="connsiteY2312" fmla="*/ 195739 h 514350"/>
                <a:gd name="connsiteX2313" fmla="*/ 1761649 w 6400800"/>
                <a:gd name="connsiteY2313" fmla="*/ 171926 h 514350"/>
                <a:gd name="connsiteX2314" fmla="*/ 1762601 w 6400800"/>
                <a:gd name="connsiteY2314" fmla="*/ 151924 h 514350"/>
                <a:gd name="connsiteX2315" fmla="*/ 1756886 w 6400800"/>
                <a:gd name="connsiteY2315" fmla="*/ 171926 h 514350"/>
                <a:gd name="connsiteX2316" fmla="*/ 1749266 w 6400800"/>
                <a:gd name="connsiteY2316" fmla="*/ 205264 h 514350"/>
                <a:gd name="connsiteX2317" fmla="*/ 1745456 w 6400800"/>
                <a:gd name="connsiteY2317" fmla="*/ 197644 h 514350"/>
                <a:gd name="connsiteX2318" fmla="*/ 1749266 w 6400800"/>
                <a:gd name="connsiteY2318" fmla="*/ 208121 h 514350"/>
                <a:gd name="connsiteX2319" fmla="*/ 1746409 w 6400800"/>
                <a:gd name="connsiteY2319" fmla="*/ 225266 h 514350"/>
                <a:gd name="connsiteX2320" fmla="*/ 1746409 w 6400800"/>
                <a:gd name="connsiteY2320" fmla="*/ 228124 h 514350"/>
                <a:gd name="connsiteX2321" fmla="*/ 1737836 w 6400800"/>
                <a:gd name="connsiteY2321" fmla="*/ 171926 h 514350"/>
                <a:gd name="connsiteX2322" fmla="*/ 1738789 w 6400800"/>
                <a:gd name="connsiteY2322" fmla="*/ 252889 h 514350"/>
                <a:gd name="connsiteX2323" fmla="*/ 1736884 w 6400800"/>
                <a:gd name="connsiteY2323" fmla="*/ 256699 h 514350"/>
                <a:gd name="connsiteX2324" fmla="*/ 1735931 w 6400800"/>
                <a:gd name="connsiteY2324" fmla="*/ 252889 h 514350"/>
                <a:gd name="connsiteX2325" fmla="*/ 1735931 w 6400800"/>
                <a:gd name="connsiteY2325" fmla="*/ 257651 h 514350"/>
                <a:gd name="connsiteX2326" fmla="*/ 1733074 w 6400800"/>
                <a:gd name="connsiteY2326" fmla="*/ 264319 h 514350"/>
                <a:gd name="connsiteX2327" fmla="*/ 1727359 w 6400800"/>
                <a:gd name="connsiteY2327" fmla="*/ 283369 h 514350"/>
                <a:gd name="connsiteX2328" fmla="*/ 1722596 w 6400800"/>
                <a:gd name="connsiteY2328" fmla="*/ 299561 h 514350"/>
                <a:gd name="connsiteX2329" fmla="*/ 1718786 w 6400800"/>
                <a:gd name="connsiteY2329" fmla="*/ 267176 h 514350"/>
                <a:gd name="connsiteX2330" fmla="*/ 1716881 w 6400800"/>
                <a:gd name="connsiteY2330" fmla="*/ 317659 h 514350"/>
                <a:gd name="connsiteX2331" fmla="*/ 1716881 w 6400800"/>
                <a:gd name="connsiteY2331" fmla="*/ 318611 h 514350"/>
                <a:gd name="connsiteX2332" fmla="*/ 1714976 w 6400800"/>
                <a:gd name="connsiteY2332" fmla="*/ 316706 h 514350"/>
                <a:gd name="connsiteX2333" fmla="*/ 1707356 w 6400800"/>
                <a:gd name="connsiteY2333" fmla="*/ 288131 h 514350"/>
                <a:gd name="connsiteX2334" fmla="*/ 1709261 w 6400800"/>
                <a:gd name="connsiteY2334" fmla="*/ 237649 h 514350"/>
                <a:gd name="connsiteX2335" fmla="*/ 1710214 w 6400800"/>
                <a:gd name="connsiteY2335" fmla="*/ 163354 h 514350"/>
                <a:gd name="connsiteX2336" fmla="*/ 1698784 w 6400800"/>
                <a:gd name="connsiteY2336" fmla="*/ 229076 h 514350"/>
                <a:gd name="connsiteX2337" fmla="*/ 1694021 w 6400800"/>
                <a:gd name="connsiteY2337" fmla="*/ 203359 h 514350"/>
                <a:gd name="connsiteX2338" fmla="*/ 1699736 w 6400800"/>
                <a:gd name="connsiteY2338" fmla="*/ 170021 h 514350"/>
                <a:gd name="connsiteX2339" fmla="*/ 1706404 w 6400800"/>
                <a:gd name="connsiteY2339" fmla="*/ 119539 h 514350"/>
                <a:gd name="connsiteX2340" fmla="*/ 1710214 w 6400800"/>
                <a:gd name="connsiteY2340" fmla="*/ 80486 h 514350"/>
                <a:gd name="connsiteX2341" fmla="*/ 1713071 w 6400800"/>
                <a:gd name="connsiteY2341" fmla="*/ 47149 h 514350"/>
                <a:gd name="connsiteX2342" fmla="*/ 1706404 w 6400800"/>
                <a:gd name="connsiteY2342" fmla="*/ 80486 h 514350"/>
                <a:gd name="connsiteX2343" fmla="*/ 1698784 w 6400800"/>
                <a:gd name="connsiteY2343" fmla="*/ 118586 h 514350"/>
                <a:gd name="connsiteX2344" fmla="*/ 1688306 w 6400800"/>
                <a:gd name="connsiteY2344" fmla="*/ 168116 h 514350"/>
                <a:gd name="connsiteX2345" fmla="*/ 1687354 w 6400800"/>
                <a:gd name="connsiteY2345" fmla="*/ 171926 h 514350"/>
                <a:gd name="connsiteX2346" fmla="*/ 1684496 w 6400800"/>
                <a:gd name="connsiteY2346" fmla="*/ 160496 h 514350"/>
                <a:gd name="connsiteX2347" fmla="*/ 1685449 w 6400800"/>
                <a:gd name="connsiteY2347" fmla="*/ 179546 h 514350"/>
                <a:gd name="connsiteX2348" fmla="*/ 1681639 w 6400800"/>
                <a:gd name="connsiteY2348" fmla="*/ 197644 h 514350"/>
                <a:gd name="connsiteX2349" fmla="*/ 1680686 w 6400800"/>
                <a:gd name="connsiteY2349" fmla="*/ 192881 h 514350"/>
                <a:gd name="connsiteX2350" fmla="*/ 1681639 w 6400800"/>
                <a:gd name="connsiteY2350" fmla="*/ 174784 h 514350"/>
                <a:gd name="connsiteX2351" fmla="*/ 1682591 w 6400800"/>
                <a:gd name="connsiteY2351" fmla="*/ 143351 h 514350"/>
                <a:gd name="connsiteX2352" fmla="*/ 1683544 w 6400800"/>
                <a:gd name="connsiteY2352" fmla="*/ 115729 h 514350"/>
                <a:gd name="connsiteX2353" fmla="*/ 1678781 w 6400800"/>
                <a:gd name="connsiteY2353" fmla="*/ 143351 h 514350"/>
                <a:gd name="connsiteX2354" fmla="*/ 1674019 w 6400800"/>
                <a:gd name="connsiteY2354" fmla="*/ 174784 h 514350"/>
                <a:gd name="connsiteX2355" fmla="*/ 1666399 w 6400800"/>
                <a:gd name="connsiteY2355" fmla="*/ 215741 h 514350"/>
                <a:gd name="connsiteX2356" fmla="*/ 1663541 w 6400800"/>
                <a:gd name="connsiteY2356" fmla="*/ 231934 h 514350"/>
                <a:gd name="connsiteX2357" fmla="*/ 1661636 w 6400800"/>
                <a:gd name="connsiteY2357" fmla="*/ 225266 h 514350"/>
                <a:gd name="connsiteX2358" fmla="*/ 1662589 w 6400800"/>
                <a:gd name="connsiteY2358" fmla="*/ 236696 h 514350"/>
                <a:gd name="connsiteX2359" fmla="*/ 1659731 w 6400800"/>
                <a:gd name="connsiteY2359" fmla="*/ 253841 h 514350"/>
                <a:gd name="connsiteX2360" fmla="*/ 1658779 w 6400800"/>
                <a:gd name="connsiteY2360" fmla="*/ 251936 h 514350"/>
                <a:gd name="connsiteX2361" fmla="*/ 1646396 w 6400800"/>
                <a:gd name="connsiteY2361" fmla="*/ 223361 h 514350"/>
                <a:gd name="connsiteX2362" fmla="*/ 1642586 w 6400800"/>
                <a:gd name="connsiteY2362" fmla="*/ 215741 h 514350"/>
                <a:gd name="connsiteX2363" fmla="*/ 1642586 w 6400800"/>
                <a:gd name="connsiteY2363" fmla="*/ 202406 h 514350"/>
                <a:gd name="connsiteX2364" fmla="*/ 1640681 w 6400800"/>
                <a:gd name="connsiteY2364" fmla="*/ 154781 h 514350"/>
                <a:gd name="connsiteX2365" fmla="*/ 1635919 w 6400800"/>
                <a:gd name="connsiteY2365" fmla="*/ 111919 h 514350"/>
                <a:gd name="connsiteX2366" fmla="*/ 1624489 w 6400800"/>
                <a:gd name="connsiteY2366" fmla="*/ 23336 h 514350"/>
                <a:gd name="connsiteX2367" fmla="*/ 1624489 w 6400800"/>
                <a:gd name="connsiteY2367" fmla="*/ 111919 h 514350"/>
                <a:gd name="connsiteX2368" fmla="*/ 1625441 w 6400800"/>
                <a:gd name="connsiteY2368" fmla="*/ 154781 h 514350"/>
                <a:gd name="connsiteX2369" fmla="*/ 1625441 w 6400800"/>
                <a:gd name="connsiteY2369" fmla="*/ 202406 h 514350"/>
                <a:gd name="connsiteX2370" fmla="*/ 1625441 w 6400800"/>
                <a:gd name="connsiteY2370" fmla="*/ 225266 h 514350"/>
                <a:gd name="connsiteX2371" fmla="*/ 1625441 w 6400800"/>
                <a:gd name="connsiteY2371" fmla="*/ 230981 h 514350"/>
                <a:gd name="connsiteX2372" fmla="*/ 1623536 w 6400800"/>
                <a:gd name="connsiteY2372" fmla="*/ 227171 h 514350"/>
                <a:gd name="connsiteX2373" fmla="*/ 1619726 w 6400800"/>
                <a:gd name="connsiteY2373" fmla="*/ 203359 h 514350"/>
                <a:gd name="connsiteX2374" fmla="*/ 1619726 w 6400800"/>
                <a:gd name="connsiteY2374" fmla="*/ 217646 h 514350"/>
                <a:gd name="connsiteX2375" fmla="*/ 1608296 w 6400800"/>
                <a:gd name="connsiteY2375" fmla="*/ 190976 h 514350"/>
                <a:gd name="connsiteX2376" fmla="*/ 1619726 w 6400800"/>
                <a:gd name="connsiteY2376" fmla="*/ 233839 h 514350"/>
                <a:gd name="connsiteX2377" fmla="*/ 1619726 w 6400800"/>
                <a:gd name="connsiteY2377" fmla="*/ 242411 h 514350"/>
                <a:gd name="connsiteX2378" fmla="*/ 1613059 w 6400800"/>
                <a:gd name="connsiteY2378" fmla="*/ 233839 h 514350"/>
                <a:gd name="connsiteX2379" fmla="*/ 1619726 w 6400800"/>
                <a:gd name="connsiteY2379" fmla="*/ 247174 h 514350"/>
                <a:gd name="connsiteX2380" fmla="*/ 1610201 w 6400800"/>
                <a:gd name="connsiteY2380" fmla="*/ 264319 h 514350"/>
                <a:gd name="connsiteX2381" fmla="*/ 1607344 w 6400800"/>
                <a:gd name="connsiteY2381" fmla="*/ 270034 h 514350"/>
                <a:gd name="connsiteX2382" fmla="*/ 1606391 w 6400800"/>
                <a:gd name="connsiteY2382" fmla="*/ 269081 h 514350"/>
                <a:gd name="connsiteX2383" fmla="*/ 1607344 w 6400800"/>
                <a:gd name="connsiteY2383" fmla="*/ 270034 h 514350"/>
                <a:gd name="connsiteX2384" fmla="*/ 1601629 w 6400800"/>
                <a:gd name="connsiteY2384" fmla="*/ 282416 h 514350"/>
                <a:gd name="connsiteX2385" fmla="*/ 1600676 w 6400800"/>
                <a:gd name="connsiteY2385" fmla="*/ 269081 h 514350"/>
                <a:gd name="connsiteX2386" fmla="*/ 1595914 w 6400800"/>
                <a:gd name="connsiteY2386" fmla="*/ 207169 h 514350"/>
                <a:gd name="connsiteX2387" fmla="*/ 1594009 w 6400800"/>
                <a:gd name="connsiteY2387" fmla="*/ 183356 h 514350"/>
                <a:gd name="connsiteX2388" fmla="*/ 1592104 w 6400800"/>
                <a:gd name="connsiteY2388" fmla="*/ 207169 h 514350"/>
                <a:gd name="connsiteX2389" fmla="*/ 1591151 w 6400800"/>
                <a:gd name="connsiteY2389" fmla="*/ 227171 h 514350"/>
                <a:gd name="connsiteX2390" fmla="*/ 1583531 w 6400800"/>
                <a:gd name="connsiteY2390" fmla="*/ 197644 h 514350"/>
                <a:gd name="connsiteX2391" fmla="*/ 1578769 w 6400800"/>
                <a:gd name="connsiteY2391" fmla="*/ 179546 h 514350"/>
                <a:gd name="connsiteX2392" fmla="*/ 1573054 w 6400800"/>
                <a:gd name="connsiteY2392" fmla="*/ 163354 h 514350"/>
                <a:gd name="connsiteX2393" fmla="*/ 1563529 w 6400800"/>
                <a:gd name="connsiteY2393" fmla="*/ 137636 h 514350"/>
                <a:gd name="connsiteX2394" fmla="*/ 1554004 w 6400800"/>
                <a:gd name="connsiteY2394" fmla="*/ 115729 h 514350"/>
                <a:gd name="connsiteX2395" fmla="*/ 1560671 w 6400800"/>
                <a:gd name="connsiteY2395" fmla="*/ 138589 h 514350"/>
                <a:gd name="connsiteX2396" fmla="*/ 1567339 w 6400800"/>
                <a:gd name="connsiteY2396" fmla="*/ 165259 h 514350"/>
                <a:gd name="connsiteX2397" fmla="*/ 1571149 w 6400800"/>
                <a:gd name="connsiteY2397" fmla="*/ 181451 h 514350"/>
                <a:gd name="connsiteX2398" fmla="*/ 1574006 w 6400800"/>
                <a:gd name="connsiteY2398" fmla="*/ 199549 h 514350"/>
                <a:gd name="connsiteX2399" fmla="*/ 1579721 w 6400800"/>
                <a:gd name="connsiteY2399" fmla="*/ 240506 h 514350"/>
                <a:gd name="connsiteX2400" fmla="*/ 1584484 w 6400800"/>
                <a:gd name="connsiteY2400" fmla="*/ 283369 h 514350"/>
                <a:gd name="connsiteX2401" fmla="*/ 1576864 w 6400800"/>
                <a:gd name="connsiteY2401" fmla="*/ 258604 h 514350"/>
                <a:gd name="connsiteX2402" fmla="*/ 1573054 w 6400800"/>
                <a:gd name="connsiteY2402" fmla="*/ 249079 h 514350"/>
                <a:gd name="connsiteX2403" fmla="*/ 1573054 w 6400800"/>
                <a:gd name="connsiteY2403" fmla="*/ 247174 h 514350"/>
                <a:gd name="connsiteX2404" fmla="*/ 1572101 w 6400800"/>
                <a:gd name="connsiteY2404" fmla="*/ 234791 h 514350"/>
                <a:gd name="connsiteX2405" fmla="*/ 1567339 w 6400800"/>
                <a:gd name="connsiteY2405" fmla="*/ 198596 h 514350"/>
                <a:gd name="connsiteX2406" fmla="*/ 1563529 w 6400800"/>
                <a:gd name="connsiteY2406" fmla="*/ 184309 h 514350"/>
                <a:gd name="connsiteX2407" fmla="*/ 1558766 w 6400800"/>
                <a:gd name="connsiteY2407" fmla="*/ 171926 h 514350"/>
                <a:gd name="connsiteX2408" fmla="*/ 1550194 w 6400800"/>
                <a:gd name="connsiteY2408" fmla="*/ 155734 h 514350"/>
                <a:gd name="connsiteX2409" fmla="*/ 1546384 w 6400800"/>
                <a:gd name="connsiteY2409" fmla="*/ 150019 h 514350"/>
                <a:gd name="connsiteX2410" fmla="*/ 1549241 w 6400800"/>
                <a:gd name="connsiteY2410" fmla="*/ 155734 h 514350"/>
                <a:gd name="connsiteX2411" fmla="*/ 1554956 w 6400800"/>
                <a:gd name="connsiteY2411" fmla="*/ 171926 h 514350"/>
                <a:gd name="connsiteX2412" fmla="*/ 1557814 w 6400800"/>
                <a:gd name="connsiteY2412" fmla="*/ 184309 h 514350"/>
                <a:gd name="connsiteX2413" fmla="*/ 1559719 w 6400800"/>
                <a:gd name="connsiteY2413" fmla="*/ 198596 h 514350"/>
                <a:gd name="connsiteX2414" fmla="*/ 1560671 w 6400800"/>
                <a:gd name="connsiteY2414" fmla="*/ 213836 h 514350"/>
                <a:gd name="connsiteX2415" fmla="*/ 1559719 w 6400800"/>
                <a:gd name="connsiteY2415" fmla="*/ 216694 h 514350"/>
                <a:gd name="connsiteX2416" fmla="*/ 1555909 w 6400800"/>
                <a:gd name="connsiteY2416" fmla="*/ 208121 h 514350"/>
                <a:gd name="connsiteX2417" fmla="*/ 1549241 w 6400800"/>
                <a:gd name="connsiteY2417" fmla="*/ 194786 h 514350"/>
                <a:gd name="connsiteX2418" fmla="*/ 1537811 w 6400800"/>
                <a:gd name="connsiteY2418" fmla="*/ 173831 h 514350"/>
                <a:gd name="connsiteX2419" fmla="*/ 1526381 w 6400800"/>
                <a:gd name="connsiteY2419" fmla="*/ 156686 h 514350"/>
                <a:gd name="connsiteX2420" fmla="*/ 1534001 w 6400800"/>
                <a:gd name="connsiteY2420" fmla="*/ 175736 h 514350"/>
                <a:gd name="connsiteX2421" fmla="*/ 1542574 w 6400800"/>
                <a:gd name="connsiteY2421" fmla="*/ 197644 h 514350"/>
                <a:gd name="connsiteX2422" fmla="*/ 1546384 w 6400800"/>
                <a:gd name="connsiteY2422" fmla="*/ 209074 h 514350"/>
                <a:gd name="connsiteX2423" fmla="*/ 1545431 w 6400800"/>
                <a:gd name="connsiteY2423" fmla="*/ 208121 h 514350"/>
                <a:gd name="connsiteX2424" fmla="*/ 1546384 w 6400800"/>
                <a:gd name="connsiteY2424" fmla="*/ 210979 h 514350"/>
                <a:gd name="connsiteX2425" fmla="*/ 1551146 w 6400800"/>
                <a:gd name="connsiteY2425" fmla="*/ 226219 h 514350"/>
                <a:gd name="connsiteX2426" fmla="*/ 1552099 w 6400800"/>
                <a:gd name="connsiteY2426" fmla="*/ 230981 h 514350"/>
                <a:gd name="connsiteX2427" fmla="*/ 1553051 w 6400800"/>
                <a:gd name="connsiteY2427" fmla="*/ 235744 h 514350"/>
                <a:gd name="connsiteX2428" fmla="*/ 1554004 w 6400800"/>
                <a:gd name="connsiteY2428" fmla="*/ 241459 h 514350"/>
                <a:gd name="connsiteX2429" fmla="*/ 1554004 w 6400800"/>
                <a:gd name="connsiteY2429" fmla="*/ 244316 h 514350"/>
                <a:gd name="connsiteX2430" fmla="*/ 1553051 w 6400800"/>
                <a:gd name="connsiteY2430" fmla="*/ 250031 h 514350"/>
                <a:gd name="connsiteX2431" fmla="*/ 1547336 w 6400800"/>
                <a:gd name="connsiteY2431" fmla="*/ 263366 h 514350"/>
                <a:gd name="connsiteX2432" fmla="*/ 1542574 w 6400800"/>
                <a:gd name="connsiteY2432" fmla="*/ 251936 h 514350"/>
                <a:gd name="connsiteX2433" fmla="*/ 1542574 w 6400800"/>
                <a:gd name="connsiteY2433" fmla="*/ 243364 h 514350"/>
                <a:gd name="connsiteX2434" fmla="*/ 1542574 w 6400800"/>
                <a:gd name="connsiteY2434" fmla="*/ 222409 h 514350"/>
                <a:gd name="connsiteX2435" fmla="*/ 1538764 w 6400800"/>
                <a:gd name="connsiteY2435" fmla="*/ 243364 h 514350"/>
                <a:gd name="connsiteX2436" fmla="*/ 1538764 w 6400800"/>
                <a:gd name="connsiteY2436" fmla="*/ 243364 h 514350"/>
                <a:gd name="connsiteX2437" fmla="*/ 1531144 w 6400800"/>
                <a:gd name="connsiteY2437" fmla="*/ 226219 h 514350"/>
                <a:gd name="connsiteX2438" fmla="*/ 1537811 w 6400800"/>
                <a:gd name="connsiteY2438" fmla="*/ 250031 h 514350"/>
                <a:gd name="connsiteX2439" fmla="*/ 1536859 w 6400800"/>
                <a:gd name="connsiteY2439" fmla="*/ 258604 h 514350"/>
                <a:gd name="connsiteX2440" fmla="*/ 1531144 w 6400800"/>
                <a:gd name="connsiteY2440" fmla="*/ 239554 h 514350"/>
                <a:gd name="connsiteX2441" fmla="*/ 1525429 w 6400800"/>
                <a:gd name="connsiteY2441" fmla="*/ 220504 h 514350"/>
                <a:gd name="connsiteX2442" fmla="*/ 1521619 w 6400800"/>
                <a:gd name="connsiteY2442" fmla="*/ 211931 h 514350"/>
                <a:gd name="connsiteX2443" fmla="*/ 1515904 w 6400800"/>
                <a:gd name="connsiteY2443" fmla="*/ 150019 h 514350"/>
                <a:gd name="connsiteX2444" fmla="*/ 1513046 w 6400800"/>
                <a:gd name="connsiteY2444" fmla="*/ 192881 h 514350"/>
                <a:gd name="connsiteX2445" fmla="*/ 1506379 w 6400800"/>
                <a:gd name="connsiteY2445" fmla="*/ 177641 h 514350"/>
                <a:gd name="connsiteX2446" fmla="*/ 1495901 w 6400800"/>
                <a:gd name="connsiteY2446" fmla="*/ 154781 h 514350"/>
                <a:gd name="connsiteX2447" fmla="*/ 1502569 w 6400800"/>
                <a:gd name="connsiteY2447" fmla="*/ 178594 h 514350"/>
                <a:gd name="connsiteX2448" fmla="*/ 1505426 w 6400800"/>
                <a:gd name="connsiteY2448" fmla="*/ 190024 h 514350"/>
                <a:gd name="connsiteX2449" fmla="*/ 1504474 w 6400800"/>
                <a:gd name="connsiteY2449" fmla="*/ 189071 h 514350"/>
                <a:gd name="connsiteX2450" fmla="*/ 1510189 w 6400800"/>
                <a:gd name="connsiteY2450" fmla="*/ 210026 h 514350"/>
                <a:gd name="connsiteX2451" fmla="*/ 1511141 w 6400800"/>
                <a:gd name="connsiteY2451" fmla="*/ 213836 h 514350"/>
                <a:gd name="connsiteX2452" fmla="*/ 1510189 w 6400800"/>
                <a:gd name="connsiteY2452" fmla="*/ 233839 h 514350"/>
                <a:gd name="connsiteX2453" fmla="*/ 1509236 w 6400800"/>
                <a:gd name="connsiteY2453" fmla="*/ 258604 h 514350"/>
                <a:gd name="connsiteX2454" fmla="*/ 1498759 w 6400800"/>
                <a:gd name="connsiteY2454" fmla="*/ 230981 h 514350"/>
                <a:gd name="connsiteX2455" fmla="*/ 1508284 w 6400800"/>
                <a:gd name="connsiteY2455" fmla="*/ 275749 h 514350"/>
                <a:gd name="connsiteX2456" fmla="*/ 1507331 w 6400800"/>
                <a:gd name="connsiteY2456" fmla="*/ 288131 h 514350"/>
                <a:gd name="connsiteX2457" fmla="*/ 1504474 w 6400800"/>
                <a:gd name="connsiteY2457" fmla="*/ 292894 h 514350"/>
                <a:gd name="connsiteX2458" fmla="*/ 1500664 w 6400800"/>
                <a:gd name="connsiteY2458" fmla="*/ 298609 h 514350"/>
                <a:gd name="connsiteX2459" fmla="*/ 1493044 w 6400800"/>
                <a:gd name="connsiteY2459" fmla="*/ 266224 h 514350"/>
                <a:gd name="connsiteX2460" fmla="*/ 1497806 w 6400800"/>
                <a:gd name="connsiteY2460" fmla="*/ 246221 h 514350"/>
                <a:gd name="connsiteX2461" fmla="*/ 1491139 w 6400800"/>
                <a:gd name="connsiteY2461" fmla="*/ 260509 h 514350"/>
                <a:gd name="connsiteX2462" fmla="*/ 1491139 w 6400800"/>
                <a:gd name="connsiteY2462" fmla="*/ 259556 h 514350"/>
                <a:gd name="connsiteX2463" fmla="*/ 1490186 w 6400800"/>
                <a:gd name="connsiteY2463" fmla="*/ 244316 h 514350"/>
                <a:gd name="connsiteX2464" fmla="*/ 1489234 w 6400800"/>
                <a:gd name="connsiteY2464" fmla="*/ 238601 h 514350"/>
                <a:gd name="connsiteX2465" fmla="*/ 1489234 w 6400800"/>
                <a:gd name="connsiteY2465" fmla="*/ 237649 h 514350"/>
                <a:gd name="connsiteX2466" fmla="*/ 1489234 w 6400800"/>
                <a:gd name="connsiteY2466" fmla="*/ 238601 h 514350"/>
                <a:gd name="connsiteX2467" fmla="*/ 1486376 w 6400800"/>
                <a:gd name="connsiteY2467" fmla="*/ 219551 h 514350"/>
                <a:gd name="connsiteX2468" fmla="*/ 1482566 w 6400800"/>
                <a:gd name="connsiteY2468" fmla="*/ 198596 h 514350"/>
                <a:gd name="connsiteX2469" fmla="*/ 1482566 w 6400800"/>
                <a:gd name="connsiteY2469" fmla="*/ 220504 h 514350"/>
                <a:gd name="connsiteX2470" fmla="*/ 1482566 w 6400800"/>
                <a:gd name="connsiteY2470" fmla="*/ 228124 h 514350"/>
                <a:gd name="connsiteX2471" fmla="*/ 1473041 w 6400800"/>
                <a:gd name="connsiteY2471" fmla="*/ 193834 h 514350"/>
                <a:gd name="connsiteX2472" fmla="*/ 1479709 w 6400800"/>
                <a:gd name="connsiteY2472" fmla="*/ 259556 h 514350"/>
                <a:gd name="connsiteX2473" fmla="*/ 1478756 w 6400800"/>
                <a:gd name="connsiteY2473" fmla="*/ 262414 h 514350"/>
                <a:gd name="connsiteX2474" fmla="*/ 1476851 w 6400800"/>
                <a:gd name="connsiteY2474" fmla="*/ 266224 h 514350"/>
                <a:gd name="connsiteX2475" fmla="*/ 1475899 w 6400800"/>
                <a:gd name="connsiteY2475" fmla="*/ 257651 h 514350"/>
                <a:gd name="connsiteX2476" fmla="*/ 1471136 w 6400800"/>
                <a:gd name="connsiteY2476" fmla="*/ 221456 h 514350"/>
                <a:gd name="connsiteX2477" fmla="*/ 1466374 w 6400800"/>
                <a:gd name="connsiteY2477" fmla="*/ 193834 h 514350"/>
                <a:gd name="connsiteX2478" fmla="*/ 1460659 w 6400800"/>
                <a:gd name="connsiteY2478" fmla="*/ 170021 h 514350"/>
                <a:gd name="connsiteX2479" fmla="*/ 1462564 w 6400800"/>
                <a:gd name="connsiteY2479" fmla="*/ 193834 h 514350"/>
                <a:gd name="connsiteX2480" fmla="*/ 1464469 w 6400800"/>
                <a:gd name="connsiteY2480" fmla="*/ 221456 h 514350"/>
                <a:gd name="connsiteX2481" fmla="*/ 1465421 w 6400800"/>
                <a:gd name="connsiteY2481" fmla="*/ 257651 h 514350"/>
                <a:gd name="connsiteX2482" fmla="*/ 1465421 w 6400800"/>
                <a:gd name="connsiteY2482" fmla="*/ 275749 h 514350"/>
                <a:gd name="connsiteX2483" fmla="*/ 1455896 w 6400800"/>
                <a:gd name="connsiteY2483" fmla="*/ 246221 h 514350"/>
                <a:gd name="connsiteX2484" fmla="*/ 1447324 w 6400800"/>
                <a:gd name="connsiteY2484" fmla="*/ 218599 h 514350"/>
                <a:gd name="connsiteX2485" fmla="*/ 1439704 w 6400800"/>
                <a:gd name="connsiteY2485" fmla="*/ 194786 h 514350"/>
                <a:gd name="connsiteX2486" fmla="*/ 1442561 w 6400800"/>
                <a:gd name="connsiteY2486" fmla="*/ 215741 h 514350"/>
                <a:gd name="connsiteX2487" fmla="*/ 1435894 w 6400800"/>
                <a:gd name="connsiteY2487" fmla="*/ 185261 h 514350"/>
                <a:gd name="connsiteX2488" fmla="*/ 1435894 w 6400800"/>
                <a:gd name="connsiteY2488" fmla="*/ 159544 h 514350"/>
                <a:gd name="connsiteX2489" fmla="*/ 1433036 w 6400800"/>
                <a:gd name="connsiteY2489" fmla="*/ 173831 h 514350"/>
                <a:gd name="connsiteX2490" fmla="*/ 1430179 w 6400800"/>
                <a:gd name="connsiteY2490" fmla="*/ 160496 h 514350"/>
                <a:gd name="connsiteX2491" fmla="*/ 1430179 w 6400800"/>
                <a:gd name="connsiteY2491" fmla="*/ 166211 h 514350"/>
                <a:gd name="connsiteX2492" fmla="*/ 1425416 w 6400800"/>
                <a:gd name="connsiteY2492" fmla="*/ 147161 h 514350"/>
                <a:gd name="connsiteX2493" fmla="*/ 1418749 w 6400800"/>
                <a:gd name="connsiteY2493" fmla="*/ 127159 h 514350"/>
                <a:gd name="connsiteX2494" fmla="*/ 1421606 w 6400800"/>
                <a:gd name="connsiteY2494" fmla="*/ 148114 h 514350"/>
                <a:gd name="connsiteX2495" fmla="*/ 1423511 w 6400800"/>
                <a:gd name="connsiteY2495" fmla="*/ 171926 h 514350"/>
                <a:gd name="connsiteX2496" fmla="*/ 1425416 w 6400800"/>
                <a:gd name="connsiteY2496" fmla="*/ 202406 h 514350"/>
                <a:gd name="connsiteX2497" fmla="*/ 1426369 w 6400800"/>
                <a:gd name="connsiteY2497" fmla="*/ 218599 h 514350"/>
                <a:gd name="connsiteX2498" fmla="*/ 1424464 w 6400800"/>
                <a:gd name="connsiteY2498" fmla="*/ 235744 h 514350"/>
                <a:gd name="connsiteX2499" fmla="*/ 1421606 w 6400800"/>
                <a:gd name="connsiteY2499" fmla="*/ 226219 h 514350"/>
                <a:gd name="connsiteX2500" fmla="*/ 1415891 w 6400800"/>
                <a:gd name="connsiteY2500" fmla="*/ 210026 h 514350"/>
                <a:gd name="connsiteX2501" fmla="*/ 1410176 w 6400800"/>
                <a:gd name="connsiteY2501" fmla="*/ 195739 h 514350"/>
                <a:gd name="connsiteX2502" fmla="*/ 1412081 w 6400800"/>
                <a:gd name="connsiteY2502" fmla="*/ 210979 h 514350"/>
                <a:gd name="connsiteX2503" fmla="*/ 1414939 w 6400800"/>
                <a:gd name="connsiteY2503" fmla="*/ 228124 h 514350"/>
                <a:gd name="connsiteX2504" fmla="*/ 1416844 w 6400800"/>
                <a:gd name="connsiteY2504" fmla="*/ 250031 h 514350"/>
                <a:gd name="connsiteX2505" fmla="*/ 1418749 w 6400800"/>
                <a:gd name="connsiteY2505" fmla="*/ 268129 h 514350"/>
                <a:gd name="connsiteX2506" fmla="*/ 1413034 w 6400800"/>
                <a:gd name="connsiteY2506" fmla="*/ 277654 h 514350"/>
                <a:gd name="connsiteX2507" fmla="*/ 1411129 w 6400800"/>
                <a:gd name="connsiteY2507" fmla="*/ 271939 h 514350"/>
                <a:gd name="connsiteX2508" fmla="*/ 1401604 w 6400800"/>
                <a:gd name="connsiteY2508" fmla="*/ 215741 h 514350"/>
                <a:gd name="connsiteX2509" fmla="*/ 1400651 w 6400800"/>
                <a:gd name="connsiteY2509" fmla="*/ 243364 h 514350"/>
                <a:gd name="connsiteX2510" fmla="*/ 1392079 w 6400800"/>
                <a:gd name="connsiteY2510" fmla="*/ 219551 h 514350"/>
                <a:gd name="connsiteX2511" fmla="*/ 1393031 w 6400800"/>
                <a:gd name="connsiteY2511" fmla="*/ 213836 h 514350"/>
                <a:gd name="connsiteX2512" fmla="*/ 1395889 w 6400800"/>
                <a:gd name="connsiteY2512" fmla="*/ 210979 h 514350"/>
                <a:gd name="connsiteX2513" fmla="*/ 1400651 w 6400800"/>
                <a:gd name="connsiteY2513" fmla="*/ 205264 h 514350"/>
                <a:gd name="connsiteX2514" fmla="*/ 1394936 w 6400800"/>
                <a:gd name="connsiteY2514" fmla="*/ 210026 h 514350"/>
                <a:gd name="connsiteX2515" fmla="*/ 1393031 w 6400800"/>
                <a:gd name="connsiteY2515" fmla="*/ 210979 h 514350"/>
                <a:gd name="connsiteX2516" fmla="*/ 1394936 w 6400800"/>
                <a:gd name="connsiteY2516" fmla="*/ 202406 h 514350"/>
                <a:gd name="connsiteX2517" fmla="*/ 1391126 w 6400800"/>
                <a:gd name="connsiteY2517" fmla="*/ 212884 h 514350"/>
                <a:gd name="connsiteX2518" fmla="*/ 1390174 w 6400800"/>
                <a:gd name="connsiteY2518" fmla="*/ 213836 h 514350"/>
                <a:gd name="connsiteX2519" fmla="*/ 1384459 w 6400800"/>
                <a:gd name="connsiteY2519" fmla="*/ 199549 h 514350"/>
                <a:gd name="connsiteX2520" fmla="*/ 1387316 w 6400800"/>
                <a:gd name="connsiteY2520" fmla="*/ 215741 h 514350"/>
                <a:gd name="connsiteX2521" fmla="*/ 1378744 w 6400800"/>
                <a:gd name="connsiteY2521" fmla="*/ 224314 h 514350"/>
                <a:gd name="connsiteX2522" fmla="*/ 1367314 w 6400800"/>
                <a:gd name="connsiteY2522" fmla="*/ 240506 h 514350"/>
                <a:gd name="connsiteX2523" fmla="*/ 1354931 w 6400800"/>
                <a:gd name="connsiteY2523" fmla="*/ 209074 h 514350"/>
                <a:gd name="connsiteX2524" fmla="*/ 1354931 w 6400800"/>
                <a:gd name="connsiteY2524" fmla="*/ 185261 h 514350"/>
                <a:gd name="connsiteX2525" fmla="*/ 1354931 w 6400800"/>
                <a:gd name="connsiteY2525" fmla="*/ 157639 h 514350"/>
                <a:gd name="connsiteX2526" fmla="*/ 1351121 w 6400800"/>
                <a:gd name="connsiteY2526" fmla="*/ 185261 h 514350"/>
                <a:gd name="connsiteX2527" fmla="*/ 1349216 w 6400800"/>
                <a:gd name="connsiteY2527" fmla="*/ 197644 h 514350"/>
                <a:gd name="connsiteX2528" fmla="*/ 1343501 w 6400800"/>
                <a:gd name="connsiteY2528" fmla="*/ 186214 h 514350"/>
                <a:gd name="connsiteX2529" fmla="*/ 1344454 w 6400800"/>
                <a:gd name="connsiteY2529" fmla="*/ 171926 h 514350"/>
                <a:gd name="connsiteX2530" fmla="*/ 1344454 w 6400800"/>
                <a:gd name="connsiteY2530" fmla="*/ 157639 h 514350"/>
                <a:gd name="connsiteX2531" fmla="*/ 1345406 w 6400800"/>
                <a:gd name="connsiteY2531" fmla="*/ 142399 h 514350"/>
                <a:gd name="connsiteX2532" fmla="*/ 1346359 w 6400800"/>
                <a:gd name="connsiteY2532" fmla="*/ 120491 h 514350"/>
                <a:gd name="connsiteX2533" fmla="*/ 1341596 w 6400800"/>
                <a:gd name="connsiteY2533" fmla="*/ 141446 h 514350"/>
                <a:gd name="connsiteX2534" fmla="*/ 1336834 w 6400800"/>
                <a:gd name="connsiteY2534" fmla="*/ 166211 h 514350"/>
                <a:gd name="connsiteX2535" fmla="*/ 1335881 w 6400800"/>
                <a:gd name="connsiteY2535" fmla="*/ 169069 h 514350"/>
                <a:gd name="connsiteX2536" fmla="*/ 1327309 w 6400800"/>
                <a:gd name="connsiteY2536" fmla="*/ 150971 h 514350"/>
                <a:gd name="connsiteX2537" fmla="*/ 1280636 w 6400800"/>
                <a:gd name="connsiteY2537" fmla="*/ 53816 h 514350"/>
                <a:gd name="connsiteX2538" fmla="*/ 1317784 w 6400800"/>
                <a:gd name="connsiteY2538" fmla="*/ 155734 h 514350"/>
                <a:gd name="connsiteX2539" fmla="*/ 1332071 w 6400800"/>
                <a:gd name="connsiteY2539" fmla="*/ 193834 h 514350"/>
                <a:gd name="connsiteX2540" fmla="*/ 1331119 w 6400800"/>
                <a:gd name="connsiteY2540" fmla="*/ 197644 h 514350"/>
                <a:gd name="connsiteX2541" fmla="*/ 1326356 w 6400800"/>
                <a:gd name="connsiteY2541" fmla="*/ 235744 h 514350"/>
                <a:gd name="connsiteX2542" fmla="*/ 1321594 w 6400800"/>
                <a:gd name="connsiteY2542" fmla="*/ 277654 h 514350"/>
                <a:gd name="connsiteX2543" fmla="*/ 1319689 w 6400800"/>
                <a:gd name="connsiteY2543" fmla="*/ 293846 h 514350"/>
                <a:gd name="connsiteX2544" fmla="*/ 1317784 w 6400800"/>
                <a:gd name="connsiteY2544" fmla="*/ 290989 h 514350"/>
                <a:gd name="connsiteX2545" fmla="*/ 1317784 w 6400800"/>
                <a:gd name="connsiteY2545" fmla="*/ 289084 h 514350"/>
                <a:gd name="connsiteX2546" fmla="*/ 1316831 w 6400800"/>
                <a:gd name="connsiteY2546" fmla="*/ 290989 h 514350"/>
                <a:gd name="connsiteX2547" fmla="*/ 1315879 w 6400800"/>
                <a:gd name="connsiteY2547" fmla="*/ 288131 h 514350"/>
                <a:gd name="connsiteX2548" fmla="*/ 1313974 w 6400800"/>
                <a:gd name="connsiteY2548" fmla="*/ 285274 h 514350"/>
                <a:gd name="connsiteX2549" fmla="*/ 1316831 w 6400800"/>
                <a:gd name="connsiteY2549" fmla="*/ 244316 h 514350"/>
                <a:gd name="connsiteX2550" fmla="*/ 1309211 w 6400800"/>
                <a:gd name="connsiteY2550" fmla="*/ 277654 h 514350"/>
                <a:gd name="connsiteX2551" fmla="*/ 1298734 w 6400800"/>
                <a:gd name="connsiteY2551" fmla="*/ 260509 h 514350"/>
                <a:gd name="connsiteX2552" fmla="*/ 1313974 w 6400800"/>
                <a:gd name="connsiteY2552" fmla="*/ 199549 h 514350"/>
                <a:gd name="connsiteX2553" fmla="*/ 1319689 w 6400800"/>
                <a:gd name="connsiteY2553" fmla="*/ 172879 h 514350"/>
                <a:gd name="connsiteX2554" fmla="*/ 1291114 w 6400800"/>
                <a:gd name="connsiteY2554" fmla="*/ 249079 h 514350"/>
                <a:gd name="connsiteX2555" fmla="*/ 1281589 w 6400800"/>
                <a:gd name="connsiteY2555" fmla="*/ 234791 h 514350"/>
                <a:gd name="connsiteX2556" fmla="*/ 1267301 w 6400800"/>
                <a:gd name="connsiteY2556" fmla="*/ 215741 h 514350"/>
                <a:gd name="connsiteX2557" fmla="*/ 1275874 w 6400800"/>
                <a:gd name="connsiteY2557" fmla="*/ 232886 h 514350"/>
                <a:gd name="connsiteX2558" fmla="*/ 1272064 w 6400800"/>
                <a:gd name="connsiteY2558" fmla="*/ 243364 h 514350"/>
                <a:gd name="connsiteX2559" fmla="*/ 1261586 w 6400800"/>
                <a:gd name="connsiteY2559" fmla="*/ 227171 h 514350"/>
                <a:gd name="connsiteX2560" fmla="*/ 1249204 w 6400800"/>
                <a:gd name="connsiteY2560" fmla="*/ 210979 h 514350"/>
                <a:gd name="connsiteX2561" fmla="*/ 1247299 w 6400800"/>
                <a:gd name="connsiteY2561" fmla="*/ 208121 h 514350"/>
                <a:gd name="connsiteX2562" fmla="*/ 1251109 w 6400800"/>
                <a:gd name="connsiteY2562" fmla="*/ 199549 h 514350"/>
                <a:gd name="connsiteX2563" fmla="*/ 1246346 w 6400800"/>
                <a:gd name="connsiteY2563" fmla="*/ 206216 h 514350"/>
                <a:gd name="connsiteX2564" fmla="*/ 1229201 w 6400800"/>
                <a:gd name="connsiteY2564" fmla="*/ 184309 h 514350"/>
                <a:gd name="connsiteX2565" fmla="*/ 1211104 w 6400800"/>
                <a:gd name="connsiteY2565" fmla="*/ 162401 h 514350"/>
                <a:gd name="connsiteX2566" fmla="*/ 1226344 w 6400800"/>
                <a:gd name="connsiteY2566" fmla="*/ 186214 h 514350"/>
                <a:gd name="connsiteX2567" fmla="*/ 1242536 w 6400800"/>
                <a:gd name="connsiteY2567" fmla="*/ 211931 h 514350"/>
                <a:gd name="connsiteX2568" fmla="*/ 1236821 w 6400800"/>
                <a:gd name="connsiteY2568" fmla="*/ 220504 h 514350"/>
                <a:gd name="connsiteX2569" fmla="*/ 1233011 w 6400800"/>
                <a:gd name="connsiteY2569" fmla="*/ 226219 h 514350"/>
                <a:gd name="connsiteX2570" fmla="*/ 1231106 w 6400800"/>
                <a:gd name="connsiteY2570" fmla="*/ 212884 h 514350"/>
                <a:gd name="connsiteX2571" fmla="*/ 1228249 w 6400800"/>
                <a:gd name="connsiteY2571" fmla="*/ 209074 h 514350"/>
                <a:gd name="connsiteX2572" fmla="*/ 1226344 w 6400800"/>
                <a:gd name="connsiteY2572" fmla="*/ 209074 h 514350"/>
                <a:gd name="connsiteX2573" fmla="*/ 1223486 w 6400800"/>
                <a:gd name="connsiteY2573" fmla="*/ 199549 h 514350"/>
                <a:gd name="connsiteX2574" fmla="*/ 1215866 w 6400800"/>
                <a:gd name="connsiteY2574" fmla="*/ 179546 h 514350"/>
                <a:gd name="connsiteX2575" fmla="*/ 1219676 w 6400800"/>
                <a:gd name="connsiteY2575" fmla="*/ 200501 h 514350"/>
                <a:gd name="connsiteX2576" fmla="*/ 1221581 w 6400800"/>
                <a:gd name="connsiteY2576" fmla="*/ 211931 h 514350"/>
                <a:gd name="connsiteX2577" fmla="*/ 1220629 w 6400800"/>
                <a:gd name="connsiteY2577" fmla="*/ 213836 h 514350"/>
                <a:gd name="connsiteX2578" fmla="*/ 1207294 w 6400800"/>
                <a:gd name="connsiteY2578" fmla="*/ 200501 h 514350"/>
                <a:gd name="connsiteX2579" fmla="*/ 1201579 w 6400800"/>
                <a:gd name="connsiteY2579" fmla="*/ 195739 h 514350"/>
                <a:gd name="connsiteX2580" fmla="*/ 1206341 w 6400800"/>
                <a:gd name="connsiteY2580" fmla="*/ 201454 h 514350"/>
                <a:gd name="connsiteX2581" fmla="*/ 1217771 w 6400800"/>
                <a:gd name="connsiteY2581" fmla="*/ 217646 h 514350"/>
                <a:gd name="connsiteX2582" fmla="*/ 1217771 w 6400800"/>
                <a:gd name="connsiteY2582" fmla="*/ 217646 h 514350"/>
                <a:gd name="connsiteX2583" fmla="*/ 1216819 w 6400800"/>
                <a:gd name="connsiteY2583" fmla="*/ 231934 h 514350"/>
                <a:gd name="connsiteX2584" fmla="*/ 1202531 w 6400800"/>
                <a:gd name="connsiteY2584" fmla="*/ 219551 h 514350"/>
                <a:gd name="connsiteX2585" fmla="*/ 1215866 w 6400800"/>
                <a:gd name="connsiteY2585" fmla="*/ 236696 h 514350"/>
                <a:gd name="connsiteX2586" fmla="*/ 1214914 w 6400800"/>
                <a:gd name="connsiteY2586" fmla="*/ 249079 h 514350"/>
                <a:gd name="connsiteX2587" fmla="*/ 1214914 w 6400800"/>
                <a:gd name="connsiteY2587" fmla="*/ 255746 h 514350"/>
                <a:gd name="connsiteX2588" fmla="*/ 1213961 w 6400800"/>
                <a:gd name="connsiteY2588" fmla="*/ 250984 h 514350"/>
                <a:gd name="connsiteX2589" fmla="*/ 1213961 w 6400800"/>
                <a:gd name="connsiteY2589" fmla="*/ 250031 h 514350"/>
                <a:gd name="connsiteX2590" fmla="*/ 1214914 w 6400800"/>
                <a:gd name="connsiteY2590" fmla="*/ 249079 h 514350"/>
                <a:gd name="connsiteX2591" fmla="*/ 1213961 w 6400800"/>
                <a:gd name="connsiteY2591" fmla="*/ 250031 h 514350"/>
                <a:gd name="connsiteX2592" fmla="*/ 1207294 w 6400800"/>
                <a:gd name="connsiteY2592" fmla="*/ 229076 h 514350"/>
                <a:gd name="connsiteX2593" fmla="*/ 1200626 w 6400800"/>
                <a:gd name="connsiteY2593" fmla="*/ 212884 h 514350"/>
                <a:gd name="connsiteX2594" fmla="*/ 1193959 w 6400800"/>
                <a:gd name="connsiteY2594" fmla="*/ 198596 h 514350"/>
                <a:gd name="connsiteX2595" fmla="*/ 1196816 w 6400800"/>
                <a:gd name="connsiteY2595" fmla="*/ 213836 h 514350"/>
                <a:gd name="connsiteX2596" fmla="*/ 1200626 w 6400800"/>
                <a:gd name="connsiteY2596" fmla="*/ 230981 h 514350"/>
                <a:gd name="connsiteX2597" fmla="*/ 1204436 w 6400800"/>
                <a:gd name="connsiteY2597" fmla="*/ 252889 h 514350"/>
                <a:gd name="connsiteX2598" fmla="*/ 1205389 w 6400800"/>
                <a:gd name="connsiteY2598" fmla="*/ 258604 h 514350"/>
                <a:gd name="connsiteX2599" fmla="*/ 1196816 w 6400800"/>
                <a:gd name="connsiteY2599" fmla="*/ 239554 h 514350"/>
                <a:gd name="connsiteX2600" fmla="*/ 1189196 w 6400800"/>
                <a:gd name="connsiteY2600" fmla="*/ 224314 h 514350"/>
                <a:gd name="connsiteX2601" fmla="*/ 1181576 w 6400800"/>
                <a:gd name="connsiteY2601" fmla="*/ 211931 h 514350"/>
                <a:gd name="connsiteX2602" fmla="*/ 1185386 w 6400800"/>
                <a:gd name="connsiteY2602" fmla="*/ 225266 h 514350"/>
                <a:gd name="connsiteX2603" fmla="*/ 1190149 w 6400800"/>
                <a:gd name="connsiteY2603" fmla="*/ 241459 h 514350"/>
                <a:gd name="connsiteX2604" fmla="*/ 1194911 w 6400800"/>
                <a:gd name="connsiteY2604" fmla="*/ 262414 h 514350"/>
                <a:gd name="connsiteX2605" fmla="*/ 1197769 w 6400800"/>
                <a:gd name="connsiteY2605" fmla="*/ 276701 h 514350"/>
                <a:gd name="connsiteX2606" fmla="*/ 1193959 w 6400800"/>
                <a:gd name="connsiteY2606" fmla="*/ 284321 h 514350"/>
                <a:gd name="connsiteX2607" fmla="*/ 1193959 w 6400800"/>
                <a:gd name="connsiteY2607" fmla="*/ 283369 h 514350"/>
                <a:gd name="connsiteX2608" fmla="*/ 1193006 w 6400800"/>
                <a:gd name="connsiteY2608" fmla="*/ 279559 h 514350"/>
                <a:gd name="connsiteX2609" fmla="*/ 1193959 w 6400800"/>
                <a:gd name="connsiteY2609" fmla="*/ 276701 h 514350"/>
                <a:gd name="connsiteX2610" fmla="*/ 1193006 w 6400800"/>
                <a:gd name="connsiteY2610" fmla="*/ 278606 h 514350"/>
                <a:gd name="connsiteX2611" fmla="*/ 1184434 w 6400800"/>
                <a:gd name="connsiteY2611" fmla="*/ 250984 h 514350"/>
                <a:gd name="connsiteX2612" fmla="*/ 1174909 w 6400800"/>
                <a:gd name="connsiteY2612" fmla="*/ 227171 h 514350"/>
                <a:gd name="connsiteX2613" fmla="*/ 1174909 w 6400800"/>
                <a:gd name="connsiteY2613" fmla="*/ 223361 h 514350"/>
                <a:gd name="connsiteX2614" fmla="*/ 1175861 w 6400800"/>
                <a:gd name="connsiteY2614" fmla="*/ 196691 h 514350"/>
                <a:gd name="connsiteX2615" fmla="*/ 1174909 w 6400800"/>
                <a:gd name="connsiteY2615" fmla="*/ 173831 h 514350"/>
                <a:gd name="connsiteX2616" fmla="*/ 1172051 w 6400800"/>
                <a:gd name="connsiteY2616" fmla="*/ 196691 h 514350"/>
                <a:gd name="connsiteX2617" fmla="*/ 1168241 w 6400800"/>
                <a:gd name="connsiteY2617" fmla="*/ 223361 h 514350"/>
                <a:gd name="connsiteX2618" fmla="*/ 1168241 w 6400800"/>
                <a:gd name="connsiteY2618" fmla="*/ 226219 h 514350"/>
                <a:gd name="connsiteX2619" fmla="*/ 1162526 w 6400800"/>
                <a:gd name="connsiteY2619" fmla="*/ 238601 h 514350"/>
                <a:gd name="connsiteX2620" fmla="*/ 1158716 w 6400800"/>
                <a:gd name="connsiteY2620" fmla="*/ 215741 h 514350"/>
                <a:gd name="connsiteX2621" fmla="*/ 1152049 w 6400800"/>
                <a:gd name="connsiteY2621" fmla="*/ 189071 h 514350"/>
                <a:gd name="connsiteX2622" fmla="*/ 1136809 w 6400800"/>
                <a:gd name="connsiteY2622" fmla="*/ 133826 h 514350"/>
                <a:gd name="connsiteX2623" fmla="*/ 1140619 w 6400800"/>
                <a:gd name="connsiteY2623" fmla="*/ 190024 h 514350"/>
                <a:gd name="connsiteX2624" fmla="*/ 1143476 w 6400800"/>
                <a:gd name="connsiteY2624" fmla="*/ 217646 h 514350"/>
                <a:gd name="connsiteX2625" fmla="*/ 1146334 w 6400800"/>
                <a:gd name="connsiteY2625" fmla="*/ 248126 h 514350"/>
                <a:gd name="connsiteX2626" fmla="*/ 1147286 w 6400800"/>
                <a:gd name="connsiteY2626" fmla="*/ 261461 h 514350"/>
                <a:gd name="connsiteX2627" fmla="*/ 1147286 w 6400800"/>
                <a:gd name="connsiteY2627" fmla="*/ 261461 h 514350"/>
                <a:gd name="connsiteX2628" fmla="*/ 1147286 w 6400800"/>
                <a:gd name="connsiteY2628" fmla="*/ 258604 h 514350"/>
                <a:gd name="connsiteX2629" fmla="*/ 1147286 w 6400800"/>
                <a:gd name="connsiteY2629" fmla="*/ 260509 h 514350"/>
                <a:gd name="connsiteX2630" fmla="*/ 1143476 w 6400800"/>
                <a:gd name="connsiteY2630" fmla="*/ 251936 h 514350"/>
                <a:gd name="connsiteX2631" fmla="*/ 1141571 w 6400800"/>
                <a:gd name="connsiteY2631" fmla="*/ 249079 h 514350"/>
                <a:gd name="connsiteX2632" fmla="*/ 1141571 w 6400800"/>
                <a:gd name="connsiteY2632" fmla="*/ 237649 h 514350"/>
                <a:gd name="connsiteX2633" fmla="*/ 1139666 w 6400800"/>
                <a:gd name="connsiteY2633" fmla="*/ 246221 h 514350"/>
                <a:gd name="connsiteX2634" fmla="*/ 1132046 w 6400800"/>
                <a:gd name="connsiteY2634" fmla="*/ 231934 h 514350"/>
                <a:gd name="connsiteX2635" fmla="*/ 1132046 w 6400800"/>
                <a:gd name="connsiteY2635" fmla="*/ 230981 h 514350"/>
                <a:gd name="connsiteX2636" fmla="*/ 1120616 w 6400800"/>
                <a:gd name="connsiteY2636" fmla="*/ 177641 h 514350"/>
                <a:gd name="connsiteX2637" fmla="*/ 1110139 w 6400800"/>
                <a:gd name="connsiteY2637" fmla="*/ 132874 h 514350"/>
                <a:gd name="connsiteX2638" fmla="*/ 1100614 w 6400800"/>
                <a:gd name="connsiteY2638" fmla="*/ 98584 h 514350"/>
                <a:gd name="connsiteX2639" fmla="*/ 1092041 w 6400800"/>
                <a:gd name="connsiteY2639" fmla="*/ 69056 h 514350"/>
                <a:gd name="connsiteX2640" fmla="*/ 1096804 w 6400800"/>
                <a:gd name="connsiteY2640" fmla="*/ 99536 h 514350"/>
                <a:gd name="connsiteX2641" fmla="*/ 1103471 w 6400800"/>
                <a:gd name="connsiteY2641" fmla="*/ 134779 h 514350"/>
                <a:gd name="connsiteX2642" fmla="*/ 1110139 w 6400800"/>
                <a:gd name="connsiteY2642" fmla="*/ 180499 h 514350"/>
                <a:gd name="connsiteX2643" fmla="*/ 1112996 w 6400800"/>
                <a:gd name="connsiteY2643" fmla="*/ 199549 h 514350"/>
                <a:gd name="connsiteX2644" fmla="*/ 1110139 w 6400800"/>
                <a:gd name="connsiteY2644" fmla="*/ 194786 h 514350"/>
                <a:gd name="connsiteX2645" fmla="*/ 1106329 w 6400800"/>
                <a:gd name="connsiteY2645" fmla="*/ 190024 h 514350"/>
                <a:gd name="connsiteX2646" fmla="*/ 1105376 w 6400800"/>
                <a:gd name="connsiteY2646" fmla="*/ 188119 h 514350"/>
                <a:gd name="connsiteX2647" fmla="*/ 1095851 w 6400800"/>
                <a:gd name="connsiteY2647" fmla="*/ 160496 h 514350"/>
                <a:gd name="connsiteX2648" fmla="*/ 1087279 w 6400800"/>
                <a:gd name="connsiteY2648" fmla="*/ 136684 h 514350"/>
                <a:gd name="connsiteX2649" fmla="*/ 1092041 w 6400800"/>
                <a:gd name="connsiteY2649" fmla="*/ 161449 h 514350"/>
                <a:gd name="connsiteX2650" fmla="*/ 1098709 w 6400800"/>
                <a:gd name="connsiteY2650" fmla="*/ 190024 h 514350"/>
                <a:gd name="connsiteX2651" fmla="*/ 1103471 w 6400800"/>
                <a:gd name="connsiteY2651" fmla="*/ 215741 h 514350"/>
                <a:gd name="connsiteX2652" fmla="*/ 1097756 w 6400800"/>
                <a:gd name="connsiteY2652" fmla="*/ 200501 h 514350"/>
                <a:gd name="connsiteX2653" fmla="*/ 1102519 w 6400800"/>
                <a:gd name="connsiteY2653" fmla="*/ 224314 h 514350"/>
                <a:gd name="connsiteX2654" fmla="*/ 1094899 w 6400800"/>
                <a:gd name="connsiteY2654" fmla="*/ 233839 h 514350"/>
                <a:gd name="connsiteX2655" fmla="*/ 1089184 w 6400800"/>
                <a:gd name="connsiteY2655" fmla="*/ 209074 h 514350"/>
                <a:gd name="connsiteX2656" fmla="*/ 1084421 w 6400800"/>
                <a:gd name="connsiteY2656" fmla="*/ 166211 h 514350"/>
                <a:gd name="connsiteX2657" fmla="*/ 1083469 w 6400800"/>
                <a:gd name="connsiteY2657" fmla="*/ 184309 h 514350"/>
                <a:gd name="connsiteX2658" fmla="*/ 1073944 w 6400800"/>
                <a:gd name="connsiteY2658" fmla="*/ 149066 h 514350"/>
                <a:gd name="connsiteX2659" fmla="*/ 1066324 w 6400800"/>
                <a:gd name="connsiteY2659" fmla="*/ 123349 h 514350"/>
                <a:gd name="connsiteX2660" fmla="*/ 1075849 w 6400800"/>
                <a:gd name="connsiteY2660" fmla="*/ 94774 h 514350"/>
                <a:gd name="connsiteX2661" fmla="*/ 1064419 w 6400800"/>
                <a:gd name="connsiteY2661" fmla="*/ 119539 h 514350"/>
                <a:gd name="connsiteX2662" fmla="*/ 1057751 w 6400800"/>
                <a:gd name="connsiteY2662" fmla="*/ 100489 h 514350"/>
                <a:gd name="connsiteX2663" fmla="*/ 1050131 w 6400800"/>
                <a:gd name="connsiteY2663" fmla="*/ 78581 h 514350"/>
                <a:gd name="connsiteX2664" fmla="*/ 1042511 w 6400800"/>
                <a:gd name="connsiteY2664" fmla="*/ 59531 h 514350"/>
                <a:gd name="connsiteX2665" fmla="*/ 1029176 w 6400800"/>
                <a:gd name="connsiteY2665" fmla="*/ 28099 h 514350"/>
                <a:gd name="connsiteX2666" fmla="*/ 1012984 w 6400800"/>
                <a:gd name="connsiteY2666" fmla="*/ 7144 h 514350"/>
                <a:gd name="connsiteX2667" fmla="*/ 1022509 w 6400800"/>
                <a:gd name="connsiteY2667" fmla="*/ 34766 h 514350"/>
                <a:gd name="connsiteX2668" fmla="*/ 1032986 w 6400800"/>
                <a:gd name="connsiteY2668" fmla="*/ 67151 h 514350"/>
                <a:gd name="connsiteX2669" fmla="*/ 1038701 w 6400800"/>
                <a:gd name="connsiteY2669" fmla="*/ 87154 h 514350"/>
                <a:gd name="connsiteX2670" fmla="*/ 1044416 w 6400800"/>
                <a:gd name="connsiteY2670" fmla="*/ 109061 h 514350"/>
                <a:gd name="connsiteX2671" fmla="*/ 1044416 w 6400800"/>
                <a:gd name="connsiteY2671" fmla="*/ 110014 h 514350"/>
                <a:gd name="connsiteX2672" fmla="*/ 1037749 w 6400800"/>
                <a:gd name="connsiteY2672" fmla="*/ 96679 h 514350"/>
                <a:gd name="connsiteX2673" fmla="*/ 1044416 w 6400800"/>
                <a:gd name="connsiteY2673" fmla="*/ 117634 h 514350"/>
                <a:gd name="connsiteX2674" fmla="*/ 1051084 w 6400800"/>
                <a:gd name="connsiteY2674" fmla="*/ 141446 h 514350"/>
                <a:gd name="connsiteX2675" fmla="*/ 1052036 w 6400800"/>
                <a:gd name="connsiteY2675" fmla="*/ 146209 h 514350"/>
                <a:gd name="connsiteX2676" fmla="*/ 1037749 w 6400800"/>
                <a:gd name="connsiteY2676" fmla="*/ 172879 h 514350"/>
                <a:gd name="connsiteX2677" fmla="*/ 1024414 w 6400800"/>
                <a:gd name="connsiteY2677" fmla="*/ 195739 h 514350"/>
                <a:gd name="connsiteX2678" fmla="*/ 1023461 w 6400800"/>
                <a:gd name="connsiteY2678" fmla="*/ 192881 h 514350"/>
                <a:gd name="connsiteX2679" fmla="*/ 1023461 w 6400800"/>
                <a:gd name="connsiteY2679" fmla="*/ 184309 h 514350"/>
                <a:gd name="connsiteX2680" fmla="*/ 1024414 w 6400800"/>
                <a:gd name="connsiteY2680" fmla="*/ 142399 h 514350"/>
                <a:gd name="connsiteX2681" fmla="*/ 1023461 w 6400800"/>
                <a:gd name="connsiteY2681" fmla="*/ 110014 h 514350"/>
                <a:gd name="connsiteX2682" fmla="*/ 1021556 w 6400800"/>
                <a:gd name="connsiteY2682" fmla="*/ 89059 h 514350"/>
                <a:gd name="connsiteX2683" fmla="*/ 1020604 w 6400800"/>
                <a:gd name="connsiteY2683" fmla="*/ 81439 h 514350"/>
                <a:gd name="connsiteX2684" fmla="*/ 1020604 w 6400800"/>
                <a:gd name="connsiteY2684" fmla="*/ 89059 h 514350"/>
                <a:gd name="connsiteX2685" fmla="*/ 1019651 w 6400800"/>
                <a:gd name="connsiteY2685" fmla="*/ 110014 h 514350"/>
                <a:gd name="connsiteX2686" fmla="*/ 1014889 w 6400800"/>
                <a:gd name="connsiteY2686" fmla="*/ 165259 h 514350"/>
                <a:gd name="connsiteX2687" fmla="*/ 1013936 w 6400800"/>
                <a:gd name="connsiteY2687" fmla="*/ 161449 h 514350"/>
                <a:gd name="connsiteX2688" fmla="*/ 1014889 w 6400800"/>
                <a:gd name="connsiteY2688" fmla="*/ 168116 h 514350"/>
                <a:gd name="connsiteX2689" fmla="*/ 1012984 w 6400800"/>
                <a:gd name="connsiteY2689" fmla="*/ 183356 h 514350"/>
                <a:gd name="connsiteX2690" fmla="*/ 1007269 w 6400800"/>
                <a:gd name="connsiteY2690" fmla="*/ 224314 h 514350"/>
                <a:gd name="connsiteX2691" fmla="*/ 972026 w 6400800"/>
                <a:gd name="connsiteY2691" fmla="*/ 283369 h 514350"/>
                <a:gd name="connsiteX2692" fmla="*/ 971074 w 6400800"/>
                <a:gd name="connsiteY2692" fmla="*/ 269081 h 514350"/>
                <a:gd name="connsiteX2693" fmla="*/ 977741 w 6400800"/>
                <a:gd name="connsiteY2693" fmla="*/ 251936 h 514350"/>
                <a:gd name="connsiteX2694" fmla="*/ 992981 w 6400800"/>
                <a:gd name="connsiteY2694" fmla="*/ 206216 h 514350"/>
                <a:gd name="connsiteX2695" fmla="*/ 1002506 w 6400800"/>
                <a:gd name="connsiteY2695" fmla="*/ 170974 h 514350"/>
                <a:gd name="connsiteX2696" fmla="*/ 1009174 w 6400800"/>
                <a:gd name="connsiteY2696" fmla="*/ 139541 h 514350"/>
                <a:gd name="connsiteX2697" fmla="*/ 998696 w 6400800"/>
                <a:gd name="connsiteY2697" fmla="*/ 170021 h 514350"/>
                <a:gd name="connsiteX2698" fmla="*/ 985361 w 6400800"/>
                <a:gd name="connsiteY2698" fmla="*/ 204311 h 514350"/>
                <a:gd name="connsiteX2699" fmla="*/ 966311 w 6400800"/>
                <a:gd name="connsiteY2699" fmla="*/ 248126 h 514350"/>
                <a:gd name="connsiteX2700" fmla="*/ 960596 w 6400800"/>
                <a:gd name="connsiteY2700" fmla="*/ 260509 h 514350"/>
                <a:gd name="connsiteX2701" fmla="*/ 961549 w 6400800"/>
                <a:gd name="connsiteY2701" fmla="*/ 225266 h 514350"/>
                <a:gd name="connsiteX2702" fmla="*/ 969169 w 6400800"/>
                <a:gd name="connsiteY2702" fmla="*/ 206216 h 514350"/>
                <a:gd name="connsiteX2703" fmla="*/ 961549 w 6400800"/>
                <a:gd name="connsiteY2703" fmla="*/ 218599 h 514350"/>
                <a:gd name="connsiteX2704" fmla="*/ 961549 w 6400800"/>
                <a:gd name="connsiteY2704" fmla="*/ 206216 h 514350"/>
                <a:gd name="connsiteX2705" fmla="*/ 958691 w 6400800"/>
                <a:gd name="connsiteY2705" fmla="*/ 149066 h 514350"/>
                <a:gd name="connsiteX2706" fmla="*/ 956786 w 6400800"/>
                <a:gd name="connsiteY2706" fmla="*/ 134779 h 514350"/>
                <a:gd name="connsiteX2707" fmla="*/ 957739 w 6400800"/>
                <a:gd name="connsiteY2707" fmla="*/ 131921 h 514350"/>
                <a:gd name="connsiteX2708" fmla="*/ 956786 w 6400800"/>
                <a:gd name="connsiteY2708" fmla="*/ 133826 h 514350"/>
                <a:gd name="connsiteX2709" fmla="*/ 956786 w 6400800"/>
                <a:gd name="connsiteY2709" fmla="*/ 132874 h 514350"/>
                <a:gd name="connsiteX2710" fmla="*/ 955834 w 6400800"/>
                <a:gd name="connsiteY2710" fmla="*/ 127159 h 514350"/>
                <a:gd name="connsiteX2711" fmla="*/ 955834 w 6400800"/>
                <a:gd name="connsiteY2711" fmla="*/ 136684 h 514350"/>
                <a:gd name="connsiteX2712" fmla="*/ 927259 w 6400800"/>
                <a:gd name="connsiteY2712" fmla="*/ 206216 h 514350"/>
                <a:gd name="connsiteX2713" fmla="*/ 927259 w 6400800"/>
                <a:gd name="connsiteY2713" fmla="*/ 205264 h 514350"/>
                <a:gd name="connsiteX2714" fmla="*/ 930116 w 6400800"/>
                <a:gd name="connsiteY2714" fmla="*/ 183356 h 514350"/>
                <a:gd name="connsiteX2715" fmla="*/ 932974 w 6400800"/>
                <a:gd name="connsiteY2715" fmla="*/ 164306 h 514350"/>
                <a:gd name="connsiteX2716" fmla="*/ 926306 w 6400800"/>
                <a:gd name="connsiteY2716" fmla="*/ 183356 h 514350"/>
                <a:gd name="connsiteX2717" fmla="*/ 920591 w 6400800"/>
                <a:gd name="connsiteY2717" fmla="*/ 203359 h 514350"/>
                <a:gd name="connsiteX2718" fmla="*/ 910114 w 6400800"/>
                <a:gd name="connsiteY2718" fmla="*/ 171926 h 514350"/>
                <a:gd name="connsiteX2719" fmla="*/ 907256 w 6400800"/>
                <a:gd name="connsiteY2719" fmla="*/ 164306 h 514350"/>
                <a:gd name="connsiteX2720" fmla="*/ 912019 w 6400800"/>
                <a:gd name="connsiteY2720" fmla="*/ 157639 h 514350"/>
                <a:gd name="connsiteX2721" fmla="*/ 933926 w 6400800"/>
                <a:gd name="connsiteY2721" fmla="*/ 124301 h 514350"/>
                <a:gd name="connsiteX2722" fmla="*/ 953929 w 6400800"/>
                <a:gd name="connsiteY2722" fmla="*/ 95726 h 514350"/>
                <a:gd name="connsiteX2723" fmla="*/ 931069 w 6400800"/>
                <a:gd name="connsiteY2723" fmla="*/ 121444 h 514350"/>
                <a:gd name="connsiteX2724" fmla="*/ 906304 w 6400800"/>
                <a:gd name="connsiteY2724" fmla="*/ 151924 h 514350"/>
                <a:gd name="connsiteX2725" fmla="*/ 904399 w 6400800"/>
                <a:gd name="connsiteY2725" fmla="*/ 154781 h 514350"/>
                <a:gd name="connsiteX2726" fmla="*/ 894874 w 6400800"/>
                <a:gd name="connsiteY2726" fmla="*/ 131921 h 514350"/>
                <a:gd name="connsiteX2727" fmla="*/ 892016 w 6400800"/>
                <a:gd name="connsiteY2727" fmla="*/ 126206 h 514350"/>
                <a:gd name="connsiteX2728" fmla="*/ 897731 w 6400800"/>
                <a:gd name="connsiteY2728" fmla="*/ 115729 h 514350"/>
                <a:gd name="connsiteX2729" fmla="*/ 918686 w 6400800"/>
                <a:gd name="connsiteY2729" fmla="*/ 77629 h 514350"/>
                <a:gd name="connsiteX2730" fmla="*/ 937736 w 6400800"/>
                <a:gd name="connsiteY2730" fmla="*/ 44291 h 514350"/>
                <a:gd name="connsiteX2731" fmla="*/ 914876 w 6400800"/>
                <a:gd name="connsiteY2731" fmla="*/ 74771 h 514350"/>
                <a:gd name="connsiteX2732" fmla="*/ 890111 w 6400800"/>
                <a:gd name="connsiteY2732" fmla="*/ 110966 h 514350"/>
                <a:gd name="connsiteX2733" fmla="*/ 886301 w 6400800"/>
                <a:gd name="connsiteY2733" fmla="*/ 116681 h 514350"/>
                <a:gd name="connsiteX2734" fmla="*/ 874871 w 6400800"/>
                <a:gd name="connsiteY2734" fmla="*/ 92869 h 514350"/>
                <a:gd name="connsiteX2735" fmla="*/ 873919 w 6400800"/>
                <a:gd name="connsiteY2735" fmla="*/ 90964 h 514350"/>
                <a:gd name="connsiteX2736" fmla="*/ 872966 w 6400800"/>
                <a:gd name="connsiteY2736" fmla="*/ 91916 h 514350"/>
                <a:gd name="connsiteX2737" fmla="*/ 868204 w 6400800"/>
                <a:gd name="connsiteY2737" fmla="*/ 95726 h 514350"/>
                <a:gd name="connsiteX2738" fmla="*/ 866299 w 6400800"/>
                <a:gd name="connsiteY2738" fmla="*/ 101441 h 514350"/>
                <a:gd name="connsiteX2739" fmla="*/ 868204 w 6400800"/>
                <a:gd name="connsiteY2739" fmla="*/ 113824 h 514350"/>
                <a:gd name="connsiteX2740" fmla="*/ 868204 w 6400800"/>
                <a:gd name="connsiteY2740" fmla="*/ 102394 h 514350"/>
                <a:gd name="connsiteX2741" fmla="*/ 870109 w 6400800"/>
                <a:gd name="connsiteY2741" fmla="*/ 97631 h 514350"/>
                <a:gd name="connsiteX2742" fmla="*/ 872966 w 6400800"/>
                <a:gd name="connsiteY2742" fmla="*/ 95726 h 514350"/>
                <a:gd name="connsiteX2743" fmla="*/ 882491 w 6400800"/>
                <a:gd name="connsiteY2743" fmla="*/ 122396 h 514350"/>
                <a:gd name="connsiteX2744" fmla="*/ 875824 w 6400800"/>
                <a:gd name="connsiteY2744" fmla="*/ 132874 h 514350"/>
                <a:gd name="connsiteX2745" fmla="*/ 860584 w 6400800"/>
                <a:gd name="connsiteY2745" fmla="*/ 159544 h 514350"/>
                <a:gd name="connsiteX2746" fmla="*/ 837724 w 6400800"/>
                <a:gd name="connsiteY2746" fmla="*/ 203359 h 514350"/>
                <a:gd name="connsiteX2747" fmla="*/ 832009 w 6400800"/>
                <a:gd name="connsiteY2747" fmla="*/ 194786 h 514350"/>
                <a:gd name="connsiteX2748" fmla="*/ 838676 w 6400800"/>
                <a:gd name="connsiteY2748" fmla="*/ 137636 h 514350"/>
                <a:gd name="connsiteX2749" fmla="*/ 840581 w 6400800"/>
                <a:gd name="connsiteY2749" fmla="*/ 115729 h 514350"/>
                <a:gd name="connsiteX2750" fmla="*/ 834866 w 6400800"/>
                <a:gd name="connsiteY2750" fmla="*/ 137636 h 514350"/>
                <a:gd name="connsiteX2751" fmla="*/ 820579 w 6400800"/>
                <a:gd name="connsiteY2751" fmla="*/ 194786 h 514350"/>
                <a:gd name="connsiteX2752" fmla="*/ 818674 w 6400800"/>
                <a:gd name="connsiteY2752" fmla="*/ 204311 h 514350"/>
                <a:gd name="connsiteX2753" fmla="*/ 815816 w 6400800"/>
                <a:gd name="connsiteY2753" fmla="*/ 197644 h 514350"/>
                <a:gd name="connsiteX2754" fmla="*/ 807244 w 6400800"/>
                <a:gd name="connsiteY2754" fmla="*/ 174784 h 514350"/>
                <a:gd name="connsiteX2755" fmla="*/ 812006 w 6400800"/>
                <a:gd name="connsiteY2755" fmla="*/ 198596 h 514350"/>
                <a:gd name="connsiteX2756" fmla="*/ 814864 w 6400800"/>
                <a:gd name="connsiteY2756" fmla="*/ 210979 h 514350"/>
                <a:gd name="connsiteX2757" fmla="*/ 815816 w 6400800"/>
                <a:gd name="connsiteY2757" fmla="*/ 216694 h 514350"/>
                <a:gd name="connsiteX2758" fmla="*/ 811054 w 6400800"/>
                <a:gd name="connsiteY2758" fmla="*/ 239554 h 514350"/>
                <a:gd name="connsiteX2759" fmla="*/ 808196 w 6400800"/>
                <a:gd name="connsiteY2759" fmla="*/ 219551 h 514350"/>
                <a:gd name="connsiteX2760" fmla="*/ 807244 w 6400800"/>
                <a:gd name="connsiteY2760" fmla="*/ 264319 h 514350"/>
                <a:gd name="connsiteX2761" fmla="*/ 807244 w 6400800"/>
                <a:gd name="connsiteY2761" fmla="*/ 266224 h 514350"/>
                <a:gd name="connsiteX2762" fmla="*/ 798671 w 6400800"/>
                <a:gd name="connsiteY2762" fmla="*/ 246221 h 514350"/>
                <a:gd name="connsiteX2763" fmla="*/ 800576 w 6400800"/>
                <a:gd name="connsiteY2763" fmla="*/ 239554 h 514350"/>
                <a:gd name="connsiteX2764" fmla="*/ 797719 w 6400800"/>
                <a:gd name="connsiteY2764" fmla="*/ 245269 h 514350"/>
                <a:gd name="connsiteX2765" fmla="*/ 796766 w 6400800"/>
                <a:gd name="connsiteY2765" fmla="*/ 242411 h 514350"/>
                <a:gd name="connsiteX2766" fmla="*/ 792956 w 6400800"/>
                <a:gd name="connsiteY2766" fmla="*/ 233839 h 514350"/>
                <a:gd name="connsiteX2767" fmla="*/ 796766 w 6400800"/>
                <a:gd name="connsiteY2767" fmla="*/ 218599 h 514350"/>
                <a:gd name="connsiteX2768" fmla="*/ 809149 w 6400800"/>
                <a:gd name="connsiteY2768" fmla="*/ 164306 h 514350"/>
                <a:gd name="connsiteX2769" fmla="*/ 812959 w 6400800"/>
                <a:gd name="connsiteY2769" fmla="*/ 143351 h 514350"/>
                <a:gd name="connsiteX2770" fmla="*/ 805339 w 6400800"/>
                <a:gd name="connsiteY2770" fmla="*/ 163354 h 514350"/>
                <a:gd name="connsiteX2771" fmla="*/ 796766 w 6400800"/>
                <a:gd name="connsiteY2771" fmla="*/ 186214 h 514350"/>
                <a:gd name="connsiteX2772" fmla="*/ 785336 w 6400800"/>
                <a:gd name="connsiteY2772" fmla="*/ 215741 h 514350"/>
                <a:gd name="connsiteX2773" fmla="*/ 784384 w 6400800"/>
                <a:gd name="connsiteY2773" fmla="*/ 218599 h 514350"/>
                <a:gd name="connsiteX2774" fmla="*/ 776764 w 6400800"/>
                <a:gd name="connsiteY2774" fmla="*/ 205264 h 514350"/>
                <a:gd name="connsiteX2775" fmla="*/ 774859 w 6400800"/>
                <a:gd name="connsiteY2775" fmla="*/ 202406 h 514350"/>
                <a:gd name="connsiteX2776" fmla="*/ 774859 w 6400800"/>
                <a:gd name="connsiteY2776" fmla="*/ 201454 h 514350"/>
                <a:gd name="connsiteX2777" fmla="*/ 780574 w 6400800"/>
                <a:gd name="connsiteY2777" fmla="*/ 142399 h 514350"/>
                <a:gd name="connsiteX2778" fmla="*/ 781526 w 6400800"/>
                <a:gd name="connsiteY2778" fmla="*/ 119539 h 514350"/>
                <a:gd name="connsiteX2779" fmla="*/ 776764 w 6400800"/>
                <a:gd name="connsiteY2779" fmla="*/ 141446 h 514350"/>
                <a:gd name="connsiteX2780" fmla="*/ 771049 w 6400800"/>
                <a:gd name="connsiteY2780" fmla="*/ 167164 h 514350"/>
                <a:gd name="connsiteX2781" fmla="*/ 766286 w 6400800"/>
                <a:gd name="connsiteY2781" fmla="*/ 189071 h 514350"/>
                <a:gd name="connsiteX2782" fmla="*/ 758666 w 6400800"/>
                <a:gd name="connsiteY2782" fmla="*/ 178594 h 514350"/>
                <a:gd name="connsiteX2783" fmla="*/ 745331 w 6400800"/>
                <a:gd name="connsiteY2783" fmla="*/ 163354 h 514350"/>
                <a:gd name="connsiteX2784" fmla="*/ 740569 w 6400800"/>
                <a:gd name="connsiteY2784" fmla="*/ 157639 h 514350"/>
                <a:gd name="connsiteX2785" fmla="*/ 744379 w 6400800"/>
                <a:gd name="connsiteY2785" fmla="*/ 163354 h 514350"/>
                <a:gd name="connsiteX2786" fmla="*/ 754856 w 6400800"/>
                <a:gd name="connsiteY2786" fmla="*/ 180499 h 514350"/>
                <a:gd name="connsiteX2787" fmla="*/ 763429 w 6400800"/>
                <a:gd name="connsiteY2787" fmla="*/ 196691 h 514350"/>
                <a:gd name="connsiteX2788" fmla="*/ 762476 w 6400800"/>
                <a:gd name="connsiteY2788" fmla="*/ 199549 h 514350"/>
                <a:gd name="connsiteX2789" fmla="*/ 753904 w 6400800"/>
                <a:gd name="connsiteY2789" fmla="*/ 238601 h 514350"/>
                <a:gd name="connsiteX2790" fmla="*/ 747236 w 6400800"/>
                <a:gd name="connsiteY2790" fmla="*/ 224314 h 514350"/>
                <a:gd name="connsiteX2791" fmla="*/ 752951 w 6400800"/>
                <a:gd name="connsiteY2791" fmla="*/ 241459 h 514350"/>
                <a:gd name="connsiteX2792" fmla="*/ 751046 w 6400800"/>
                <a:gd name="connsiteY2792" fmla="*/ 243364 h 514350"/>
                <a:gd name="connsiteX2793" fmla="*/ 749141 w 6400800"/>
                <a:gd name="connsiteY2793" fmla="*/ 252889 h 514350"/>
                <a:gd name="connsiteX2794" fmla="*/ 752951 w 6400800"/>
                <a:gd name="connsiteY2794" fmla="*/ 244316 h 514350"/>
                <a:gd name="connsiteX2795" fmla="*/ 752951 w 6400800"/>
                <a:gd name="connsiteY2795" fmla="*/ 244316 h 514350"/>
                <a:gd name="connsiteX2796" fmla="*/ 744379 w 6400800"/>
                <a:gd name="connsiteY2796" fmla="*/ 282416 h 514350"/>
                <a:gd name="connsiteX2797" fmla="*/ 741521 w 6400800"/>
                <a:gd name="connsiteY2797" fmla="*/ 296704 h 514350"/>
                <a:gd name="connsiteX2798" fmla="*/ 738664 w 6400800"/>
                <a:gd name="connsiteY2798" fmla="*/ 306229 h 514350"/>
                <a:gd name="connsiteX2799" fmla="*/ 738664 w 6400800"/>
                <a:gd name="connsiteY2799" fmla="*/ 306229 h 514350"/>
                <a:gd name="connsiteX2800" fmla="*/ 737711 w 6400800"/>
                <a:gd name="connsiteY2800" fmla="*/ 293846 h 514350"/>
                <a:gd name="connsiteX2801" fmla="*/ 733901 w 6400800"/>
                <a:gd name="connsiteY2801" fmla="*/ 270034 h 514350"/>
                <a:gd name="connsiteX2802" fmla="*/ 731996 w 6400800"/>
                <a:gd name="connsiteY2802" fmla="*/ 259556 h 514350"/>
                <a:gd name="connsiteX2803" fmla="*/ 731044 w 6400800"/>
                <a:gd name="connsiteY2803" fmla="*/ 257651 h 514350"/>
                <a:gd name="connsiteX2804" fmla="*/ 725329 w 6400800"/>
                <a:gd name="connsiteY2804" fmla="*/ 210979 h 514350"/>
                <a:gd name="connsiteX2805" fmla="*/ 722471 w 6400800"/>
                <a:gd name="connsiteY2805" fmla="*/ 186214 h 514350"/>
                <a:gd name="connsiteX2806" fmla="*/ 722471 w 6400800"/>
                <a:gd name="connsiteY2806" fmla="*/ 199549 h 514350"/>
                <a:gd name="connsiteX2807" fmla="*/ 709136 w 6400800"/>
                <a:gd name="connsiteY2807" fmla="*/ 243364 h 514350"/>
                <a:gd name="connsiteX2808" fmla="*/ 704374 w 6400800"/>
                <a:gd name="connsiteY2808" fmla="*/ 229076 h 514350"/>
                <a:gd name="connsiteX2809" fmla="*/ 687229 w 6400800"/>
                <a:gd name="connsiteY2809" fmla="*/ 181451 h 514350"/>
                <a:gd name="connsiteX2810" fmla="*/ 679609 w 6400800"/>
                <a:gd name="connsiteY2810" fmla="*/ 161449 h 514350"/>
                <a:gd name="connsiteX2811" fmla="*/ 679609 w 6400800"/>
                <a:gd name="connsiteY2811" fmla="*/ 148114 h 514350"/>
                <a:gd name="connsiteX2812" fmla="*/ 679609 w 6400800"/>
                <a:gd name="connsiteY2812" fmla="*/ 122396 h 514350"/>
                <a:gd name="connsiteX2813" fmla="*/ 678656 w 6400800"/>
                <a:gd name="connsiteY2813" fmla="*/ 100489 h 514350"/>
                <a:gd name="connsiteX2814" fmla="*/ 675799 w 6400800"/>
                <a:gd name="connsiteY2814" fmla="*/ 122396 h 514350"/>
                <a:gd name="connsiteX2815" fmla="*/ 672941 w 6400800"/>
                <a:gd name="connsiteY2815" fmla="*/ 144304 h 514350"/>
                <a:gd name="connsiteX2816" fmla="*/ 663416 w 6400800"/>
                <a:gd name="connsiteY2816" fmla="*/ 122396 h 514350"/>
                <a:gd name="connsiteX2817" fmla="*/ 659606 w 6400800"/>
                <a:gd name="connsiteY2817" fmla="*/ 114776 h 514350"/>
                <a:gd name="connsiteX2818" fmla="*/ 662464 w 6400800"/>
                <a:gd name="connsiteY2818" fmla="*/ 123349 h 514350"/>
                <a:gd name="connsiteX2819" fmla="*/ 670084 w 6400800"/>
                <a:gd name="connsiteY2819" fmla="*/ 147161 h 514350"/>
                <a:gd name="connsiteX2820" fmla="*/ 671989 w 6400800"/>
                <a:gd name="connsiteY2820" fmla="*/ 153829 h 514350"/>
                <a:gd name="connsiteX2821" fmla="*/ 671036 w 6400800"/>
                <a:gd name="connsiteY2821" fmla="*/ 164306 h 514350"/>
                <a:gd name="connsiteX2822" fmla="*/ 668179 w 6400800"/>
                <a:gd name="connsiteY2822" fmla="*/ 181451 h 514350"/>
                <a:gd name="connsiteX2823" fmla="*/ 662464 w 6400800"/>
                <a:gd name="connsiteY2823" fmla="*/ 219551 h 514350"/>
                <a:gd name="connsiteX2824" fmla="*/ 658654 w 6400800"/>
                <a:gd name="connsiteY2824" fmla="*/ 239554 h 514350"/>
                <a:gd name="connsiteX2825" fmla="*/ 655796 w 6400800"/>
                <a:gd name="connsiteY2825" fmla="*/ 231934 h 514350"/>
                <a:gd name="connsiteX2826" fmla="*/ 657701 w 6400800"/>
                <a:gd name="connsiteY2826" fmla="*/ 210026 h 514350"/>
                <a:gd name="connsiteX2827" fmla="*/ 653891 w 6400800"/>
                <a:gd name="connsiteY2827" fmla="*/ 226219 h 514350"/>
                <a:gd name="connsiteX2828" fmla="*/ 638651 w 6400800"/>
                <a:gd name="connsiteY2828" fmla="*/ 191929 h 514350"/>
                <a:gd name="connsiteX2829" fmla="*/ 630079 w 6400800"/>
                <a:gd name="connsiteY2829" fmla="*/ 174784 h 514350"/>
                <a:gd name="connsiteX2830" fmla="*/ 627221 w 6400800"/>
                <a:gd name="connsiteY2830" fmla="*/ 169069 h 514350"/>
                <a:gd name="connsiteX2831" fmla="*/ 635794 w 6400800"/>
                <a:gd name="connsiteY2831" fmla="*/ 193834 h 514350"/>
                <a:gd name="connsiteX2832" fmla="*/ 649129 w 6400800"/>
                <a:gd name="connsiteY2832" fmla="*/ 240506 h 514350"/>
                <a:gd name="connsiteX2833" fmla="*/ 650081 w 6400800"/>
                <a:gd name="connsiteY2833" fmla="*/ 244316 h 514350"/>
                <a:gd name="connsiteX2834" fmla="*/ 647224 w 6400800"/>
                <a:gd name="connsiteY2834" fmla="*/ 262414 h 514350"/>
                <a:gd name="connsiteX2835" fmla="*/ 644366 w 6400800"/>
                <a:gd name="connsiteY2835" fmla="*/ 279559 h 514350"/>
                <a:gd name="connsiteX2836" fmla="*/ 642461 w 6400800"/>
                <a:gd name="connsiteY2836" fmla="*/ 298609 h 514350"/>
                <a:gd name="connsiteX2837" fmla="*/ 642461 w 6400800"/>
                <a:gd name="connsiteY2837" fmla="*/ 298609 h 514350"/>
                <a:gd name="connsiteX2838" fmla="*/ 642461 w 6400800"/>
                <a:gd name="connsiteY2838" fmla="*/ 294799 h 514350"/>
                <a:gd name="connsiteX2839" fmla="*/ 641509 w 6400800"/>
                <a:gd name="connsiteY2839" fmla="*/ 315754 h 514350"/>
                <a:gd name="connsiteX2840" fmla="*/ 641509 w 6400800"/>
                <a:gd name="connsiteY2840" fmla="*/ 317659 h 514350"/>
                <a:gd name="connsiteX2841" fmla="*/ 639604 w 6400800"/>
                <a:gd name="connsiteY2841" fmla="*/ 309086 h 514350"/>
                <a:gd name="connsiteX2842" fmla="*/ 640556 w 6400800"/>
                <a:gd name="connsiteY2842" fmla="*/ 304324 h 514350"/>
                <a:gd name="connsiteX2843" fmla="*/ 638651 w 6400800"/>
                <a:gd name="connsiteY2843" fmla="*/ 307181 h 514350"/>
                <a:gd name="connsiteX2844" fmla="*/ 632936 w 6400800"/>
                <a:gd name="connsiteY2844" fmla="*/ 284321 h 514350"/>
                <a:gd name="connsiteX2845" fmla="*/ 624364 w 6400800"/>
                <a:gd name="connsiteY2845" fmla="*/ 250031 h 514350"/>
                <a:gd name="connsiteX2846" fmla="*/ 617696 w 6400800"/>
                <a:gd name="connsiteY2846" fmla="*/ 223361 h 514350"/>
                <a:gd name="connsiteX2847" fmla="*/ 614839 w 6400800"/>
                <a:gd name="connsiteY2847" fmla="*/ 210979 h 514350"/>
                <a:gd name="connsiteX2848" fmla="*/ 615791 w 6400800"/>
                <a:gd name="connsiteY2848" fmla="*/ 190024 h 514350"/>
                <a:gd name="connsiteX2849" fmla="*/ 617696 w 6400800"/>
                <a:gd name="connsiteY2849" fmla="*/ 126206 h 514350"/>
                <a:gd name="connsiteX2850" fmla="*/ 607219 w 6400800"/>
                <a:gd name="connsiteY2850" fmla="*/ 187166 h 514350"/>
                <a:gd name="connsiteX2851" fmla="*/ 606266 w 6400800"/>
                <a:gd name="connsiteY2851" fmla="*/ 184309 h 514350"/>
                <a:gd name="connsiteX2852" fmla="*/ 606266 w 6400800"/>
                <a:gd name="connsiteY2852" fmla="*/ 189071 h 514350"/>
                <a:gd name="connsiteX2853" fmla="*/ 601504 w 6400800"/>
                <a:gd name="connsiteY2853" fmla="*/ 215741 h 514350"/>
                <a:gd name="connsiteX2854" fmla="*/ 599599 w 6400800"/>
                <a:gd name="connsiteY2854" fmla="*/ 210979 h 514350"/>
                <a:gd name="connsiteX2855" fmla="*/ 591026 w 6400800"/>
                <a:gd name="connsiteY2855" fmla="*/ 191929 h 514350"/>
                <a:gd name="connsiteX2856" fmla="*/ 595789 w 6400800"/>
                <a:gd name="connsiteY2856" fmla="*/ 212884 h 514350"/>
                <a:gd name="connsiteX2857" fmla="*/ 599599 w 6400800"/>
                <a:gd name="connsiteY2857" fmla="*/ 230029 h 514350"/>
                <a:gd name="connsiteX2858" fmla="*/ 595789 w 6400800"/>
                <a:gd name="connsiteY2858" fmla="*/ 251936 h 514350"/>
                <a:gd name="connsiteX2859" fmla="*/ 589121 w 6400800"/>
                <a:gd name="connsiteY2859" fmla="*/ 294799 h 514350"/>
                <a:gd name="connsiteX2860" fmla="*/ 582454 w 6400800"/>
                <a:gd name="connsiteY2860" fmla="*/ 284321 h 514350"/>
                <a:gd name="connsiteX2861" fmla="*/ 585311 w 6400800"/>
                <a:gd name="connsiteY2861" fmla="*/ 265271 h 514350"/>
                <a:gd name="connsiteX2862" fmla="*/ 588169 w 6400800"/>
                <a:gd name="connsiteY2862" fmla="*/ 244316 h 514350"/>
                <a:gd name="connsiteX2863" fmla="*/ 591026 w 6400800"/>
                <a:gd name="connsiteY2863" fmla="*/ 225266 h 514350"/>
                <a:gd name="connsiteX2864" fmla="*/ 584359 w 6400800"/>
                <a:gd name="connsiteY2864" fmla="*/ 243364 h 514350"/>
                <a:gd name="connsiteX2865" fmla="*/ 579596 w 6400800"/>
                <a:gd name="connsiteY2865" fmla="*/ 258604 h 514350"/>
                <a:gd name="connsiteX2866" fmla="*/ 577691 w 6400800"/>
                <a:gd name="connsiteY2866" fmla="*/ 231934 h 514350"/>
                <a:gd name="connsiteX2867" fmla="*/ 575786 w 6400800"/>
                <a:gd name="connsiteY2867" fmla="*/ 210979 h 514350"/>
                <a:gd name="connsiteX2868" fmla="*/ 573881 w 6400800"/>
                <a:gd name="connsiteY2868" fmla="*/ 230981 h 514350"/>
                <a:gd name="connsiteX2869" fmla="*/ 571024 w 6400800"/>
                <a:gd name="connsiteY2869" fmla="*/ 267176 h 514350"/>
                <a:gd name="connsiteX2870" fmla="*/ 571024 w 6400800"/>
                <a:gd name="connsiteY2870" fmla="*/ 267176 h 514350"/>
                <a:gd name="connsiteX2871" fmla="*/ 567214 w 6400800"/>
                <a:gd name="connsiteY2871" fmla="*/ 262414 h 514350"/>
                <a:gd name="connsiteX2872" fmla="*/ 552926 w 6400800"/>
                <a:gd name="connsiteY2872" fmla="*/ 219551 h 514350"/>
                <a:gd name="connsiteX2873" fmla="*/ 552926 w 6400800"/>
                <a:gd name="connsiteY2873" fmla="*/ 218599 h 514350"/>
                <a:gd name="connsiteX2874" fmla="*/ 555784 w 6400800"/>
                <a:gd name="connsiteY2874" fmla="*/ 189071 h 514350"/>
                <a:gd name="connsiteX2875" fmla="*/ 558641 w 6400800"/>
                <a:gd name="connsiteY2875" fmla="*/ 162401 h 514350"/>
                <a:gd name="connsiteX2876" fmla="*/ 561499 w 6400800"/>
                <a:gd name="connsiteY2876" fmla="*/ 141446 h 514350"/>
                <a:gd name="connsiteX2877" fmla="*/ 564356 w 6400800"/>
                <a:gd name="connsiteY2877" fmla="*/ 123349 h 514350"/>
                <a:gd name="connsiteX2878" fmla="*/ 557689 w 6400800"/>
                <a:gd name="connsiteY2878" fmla="*/ 140494 h 514350"/>
                <a:gd name="connsiteX2879" fmla="*/ 551021 w 6400800"/>
                <a:gd name="connsiteY2879" fmla="*/ 160496 h 514350"/>
                <a:gd name="connsiteX2880" fmla="*/ 544354 w 6400800"/>
                <a:gd name="connsiteY2880" fmla="*/ 187166 h 514350"/>
                <a:gd name="connsiteX2881" fmla="*/ 537686 w 6400800"/>
                <a:gd name="connsiteY2881" fmla="*/ 218599 h 514350"/>
                <a:gd name="connsiteX2882" fmla="*/ 535781 w 6400800"/>
                <a:gd name="connsiteY2882" fmla="*/ 231934 h 514350"/>
                <a:gd name="connsiteX2883" fmla="*/ 534829 w 6400800"/>
                <a:gd name="connsiteY2883" fmla="*/ 220504 h 514350"/>
                <a:gd name="connsiteX2884" fmla="*/ 532924 w 6400800"/>
                <a:gd name="connsiteY2884" fmla="*/ 205264 h 514350"/>
                <a:gd name="connsiteX2885" fmla="*/ 533876 w 6400800"/>
                <a:gd name="connsiteY2885" fmla="*/ 186214 h 514350"/>
                <a:gd name="connsiteX2886" fmla="*/ 534829 w 6400800"/>
                <a:gd name="connsiteY2886" fmla="*/ 166211 h 514350"/>
                <a:gd name="connsiteX2887" fmla="*/ 534829 w 6400800"/>
                <a:gd name="connsiteY2887" fmla="*/ 148114 h 514350"/>
                <a:gd name="connsiteX2888" fmla="*/ 534829 w 6400800"/>
                <a:gd name="connsiteY2888" fmla="*/ 118586 h 514350"/>
                <a:gd name="connsiteX2889" fmla="*/ 533876 w 6400800"/>
                <a:gd name="connsiteY2889" fmla="*/ 92869 h 514350"/>
                <a:gd name="connsiteX2890" fmla="*/ 531019 w 6400800"/>
                <a:gd name="connsiteY2890" fmla="*/ 118586 h 514350"/>
                <a:gd name="connsiteX2891" fmla="*/ 528161 w 6400800"/>
                <a:gd name="connsiteY2891" fmla="*/ 147161 h 514350"/>
                <a:gd name="connsiteX2892" fmla="*/ 526256 w 6400800"/>
                <a:gd name="connsiteY2892" fmla="*/ 165259 h 514350"/>
                <a:gd name="connsiteX2893" fmla="*/ 523399 w 6400800"/>
                <a:gd name="connsiteY2893" fmla="*/ 185261 h 514350"/>
                <a:gd name="connsiteX2894" fmla="*/ 521494 w 6400800"/>
                <a:gd name="connsiteY2894" fmla="*/ 197644 h 514350"/>
                <a:gd name="connsiteX2895" fmla="*/ 513874 w 6400800"/>
                <a:gd name="connsiteY2895" fmla="*/ 170021 h 514350"/>
                <a:gd name="connsiteX2896" fmla="*/ 506254 w 6400800"/>
                <a:gd name="connsiteY2896" fmla="*/ 144304 h 514350"/>
                <a:gd name="connsiteX2897" fmla="*/ 510064 w 6400800"/>
                <a:gd name="connsiteY2897" fmla="*/ 170974 h 514350"/>
                <a:gd name="connsiteX2898" fmla="*/ 517684 w 6400800"/>
                <a:gd name="connsiteY2898" fmla="*/ 222409 h 514350"/>
                <a:gd name="connsiteX2899" fmla="*/ 516731 w 6400800"/>
                <a:gd name="connsiteY2899" fmla="*/ 230029 h 514350"/>
                <a:gd name="connsiteX2900" fmla="*/ 512921 w 6400800"/>
                <a:gd name="connsiteY2900" fmla="*/ 251936 h 514350"/>
                <a:gd name="connsiteX2901" fmla="*/ 487204 w 6400800"/>
                <a:gd name="connsiteY2901" fmla="*/ 172879 h 514350"/>
                <a:gd name="connsiteX2902" fmla="*/ 485299 w 6400800"/>
                <a:gd name="connsiteY2902" fmla="*/ 164306 h 514350"/>
                <a:gd name="connsiteX2903" fmla="*/ 486251 w 6400800"/>
                <a:gd name="connsiteY2903" fmla="*/ 189071 h 514350"/>
                <a:gd name="connsiteX2904" fmla="*/ 488156 w 6400800"/>
                <a:gd name="connsiteY2904" fmla="*/ 217646 h 514350"/>
                <a:gd name="connsiteX2905" fmla="*/ 489109 w 6400800"/>
                <a:gd name="connsiteY2905" fmla="*/ 238601 h 514350"/>
                <a:gd name="connsiteX2906" fmla="*/ 486251 w 6400800"/>
                <a:gd name="connsiteY2906" fmla="*/ 223361 h 514350"/>
                <a:gd name="connsiteX2907" fmla="*/ 482441 w 6400800"/>
                <a:gd name="connsiteY2907" fmla="*/ 207169 h 514350"/>
                <a:gd name="connsiteX2908" fmla="*/ 478631 w 6400800"/>
                <a:gd name="connsiteY2908" fmla="*/ 192881 h 514350"/>
                <a:gd name="connsiteX2909" fmla="*/ 471964 w 6400800"/>
                <a:gd name="connsiteY2909" fmla="*/ 170021 h 514350"/>
                <a:gd name="connsiteX2910" fmla="*/ 465296 w 6400800"/>
                <a:gd name="connsiteY2910" fmla="*/ 150019 h 514350"/>
                <a:gd name="connsiteX2911" fmla="*/ 468154 w 6400800"/>
                <a:gd name="connsiteY2911" fmla="*/ 170021 h 514350"/>
                <a:gd name="connsiteX2912" fmla="*/ 471011 w 6400800"/>
                <a:gd name="connsiteY2912" fmla="*/ 193834 h 514350"/>
                <a:gd name="connsiteX2913" fmla="*/ 472916 w 6400800"/>
                <a:gd name="connsiteY2913" fmla="*/ 208121 h 514350"/>
                <a:gd name="connsiteX2914" fmla="*/ 474821 w 6400800"/>
                <a:gd name="connsiteY2914" fmla="*/ 224314 h 514350"/>
                <a:gd name="connsiteX2915" fmla="*/ 478631 w 6400800"/>
                <a:gd name="connsiteY2915" fmla="*/ 255746 h 514350"/>
                <a:gd name="connsiteX2916" fmla="*/ 474821 w 6400800"/>
                <a:gd name="connsiteY2916" fmla="*/ 240506 h 514350"/>
                <a:gd name="connsiteX2917" fmla="*/ 455771 w 6400800"/>
                <a:gd name="connsiteY2917" fmla="*/ 170974 h 514350"/>
                <a:gd name="connsiteX2918" fmla="*/ 447199 w 6400800"/>
                <a:gd name="connsiteY2918" fmla="*/ 145256 h 514350"/>
                <a:gd name="connsiteX2919" fmla="*/ 451961 w 6400800"/>
                <a:gd name="connsiteY2919" fmla="*/ 171926 h 514350"/>
                <a:gd name="connsiteX2920" fmla="*/ 457676 w 6400800"/>
                <a:gd name="connsiteY2920" fmla="*/ 202406 h 514350"/>
                <a:gd name="connsiteX2921" fmla="*/ 464344 w 6400800"/>
                <a:gd name="connsiteY2921" fmla="*/ 242411 h 514350"/>
                <a:gd name="connsiteX2922" fmla="*/ 471011 w 6400800"/>
                <a:gd name="connsiteY2922" fmla="*/ 282416 h 514350"/>
                <a:gd name="connsiteX2923" fmla="*/ 467201 w 6400800"/>
                <a:gd name="connsiteY2923" fmla="*/ 272891 h 514350"/>
                <a:gd name="connsiteX2924" fmla="*/ 459581 w 6400800"/>
                <a:gd name="connsiteY2924" fmla="*/ 255746 h 514350"/>
                <a:gd name="connsiteX2925" fmla="*/ 463391 w 6400800"/>
                <a:gd name="connsiteY2925" fmla="*/ 273844 h 514350"/>
                <a:gd name="connsiteX2926" fmla="*/ 468154 w 6400800"/>
                <a:gd name="connsiteY2926" fmla="*/ 293846 h 514350"/>
                <a:gd name="connsiteX2927" fmla="*/ 471011 w 6400800"/>
                <a:gd name="connsiteY2927" fmla="*/ 306229 h 514350"/>
                <a:gd name="connsiteX2928" fmla="*/ 473869 w 6400800"/>
                <a:gd name="connsiteY2928" fmla="*/ 320516 h 514350"/>
                <a:gd name="connsiteX2929" fmla="*/ 479584 w 6400800"/>
                <a:gd name="connsiteY2929" fmla="*/ 351949 h 514350"/>
                <a:gd name="connsiteX2930" fmla="*/ 479584 w 6400800"/>
                <a:gd name="connsiteY2930" fmla="*/ 353854 h 514350"/>
                <a:gd name="connsiteX2931" fmla="*/ 478631 w 6400800"/>
                <a:gd name="connsiteY2931" fmla="*/ 351949 h 514350"/>
                <a:gd name="connsiteX2932" fmla="*/ 471964 w 6400800"/>
                <a:gd name="connsiteY2932" fmla="*/ 338614 h 514350"/>
                <a:gd name="connsiteX2933" fmla="*/ 470059 w 6400800"/>
                <a:gd name="connsiteY2933" fmla="*/ 324326 h 514350"/>
                <a:gd name="connsiteX2934" fmla="*/ 462439 w 6400800"/>
                <a:gd name="connsiteY2934" fmla="*/ 280511 h 514350"/>
                <a:gd name="connsiteX2935" fmla="*/ 452914 w 6400800"/>
                <a:gd name="connsiteY2935" fmla="*/ 240506 h 514350"/>
                <a:gd name="connsiteX2936" fmla="*/ 441484 w 6400800"/>
                <a:gd name="connsiteY2936" fmla="*/ 205264 h 514350"/>
                <a:gd name="connsiteX2937" fmla="*/ 437674 w 6400800"/>
                <a:gd name="connsiteY2937" fmla="*/ 194786 h 514350"/>
                <a:gd name="connsiteX2938" fmla="*/ 440531 w 6400800"/>
                <a:gd name="connsiteY2938" fmla="*/ 167164 h 514350"/>
                <a:gd name="connsiteX2939" fmla="*/ 442436 w 6400800"/>
                <a:gd name="connsiteY2939" fmla="*/ 128111 h 514350"/>
                <a:gd name="connsiteX2940" fmla="*/ 441484 w 6400800"/>
                <a:gd name="connsiteY2940" fmla="*/ 94774 h 514350"/>
                <a:gd name="connsiteX2941" fmla="*/ 438626 w 6400800"/>
                <a:gd name="connsiteY2941" fmla="*/ 128111 h 514350"/>
                <a:gd name="connsiteX2942" fmla="*/ 433864 w 6400800"/>
                <a:gd name="connsiteY2942" fmla="*/ 166211 h 514350"/>
                <a:gd name="connsiteX2943" fmla="*/ 431959 w 6400800"/>
                <a:gd name="connsiteY2943" fmla="*/ 178594 h 514350"/>
                <a:gd name="connsiteX2944" fmla="*/ 431006 w 6400800"/>
                <a:gd name="connsiteY2944" fmla="*/ 175736 h 514350"/>
                <a:gd name="connsiteX2945" fmla="*/ 419576 w 6400800"/>
                <a:gd name="connsiteY2945" fmla="*/ 153829 h 514350"/>
                <a:gd name="connsiteX2946" fmla="*/ 408146 w 6400800"/>
                <a:gd name="connsiteY2946" fmla="*/ 135731 h 514350"/>
                <a:gd name="connsiteX2947" fmla="*/ 415766 w 6400800"/>
                <a:gd name="connsiteY2947" fmla="*/ 155734 h 514350"/>
                <a:gd name="connsiteX2948" fmla="*/ 423386 w 6400800"/>
                <a:gd name="connsiteY2948" fmla="*/ 178594 h 514350"/>
                <a:gd name="connsiteX2949" fmla="*/ 428149 w 6400800"/>
                <a:gd name="connsiteY2949" fmla="*/ 195739 h 514350"/>
                <a:gd name="connsiteX2950" fmla="*/ 424339 w 6400800"/>
                <a:gd name="connsiteY2950" fmla="*/ 214789 h 514350"/>
                <a:gd name="connsiteX2951" fmla="*/ 424339 w 6400800"/>
                <a:gd name="connsiteY2951" fmla="*/ 214789 h 514350"/>
                <a:gd name="connsiteX2952" fmla="*/ 415766 w 6400800"/>
                <a:gd name="connsiteY2952" fmla="*/ 202406 h 514350"/>
                <a:gd name="connsiteX2953" fmla="*/ 421481 w 6400800"/>
                <a:gd name="connsiteY2953" fmla="*/ 216694 h 514350"/>
                <a:gd name="connsiteX2954" fmla="*/ 423386 w 6400800"/>
                <a:gd name="connsiteY2954" fmla="*/ 223361 h 514350"/>
                <a:gd name="connsiteX2955" fmla="*/ 412909 w 6400800"/>
                <a:gd name="connsiteY2955" fmla="*/ 272891 h 514350"/>
                <a:gd name="connsiteX2956" fmla="*/ 405289 w 6400800"/>
                <a:gd name="connsiteY2956" fmla="*/ 253841 h 514350"/>
                <a:gd name="connsiteX2957" fmla="*/ 405289 w 6400800"/>
                <a:gd name="connsiteY2957" fmla="*/ 253841 h 514350"/>
                <a:gd name="connsiteX2958" fmla="*/ 404336 w 6400800"/>
                <a:gd name="connsiteY2958" fmla="*/ 210026 h 514350"/>
                <a:gd name="connsiteX2959" fmla="*/ 401479 w 6400800"/>
                <a:gd name="connsiteY2959" fmla="*/ 176689 h 514350"/>
                <a:gd name="connsiteX2960" fmla="*/ 396716 w 6400800"/>
                <a:gd name="connsiteY2960" fmla="*/ 148114 h 514350"/>
                <a:gd name="connsiteX2961" fmla="*/ 397669 w 6400800"/>
                <a:gd name="connsiteY2961" fmla="*/ 177641 h 514350"/>
                <a:gd name="connsiteX2962" fmla="*/ 396716 w 6400800"/>
                <a:gd name="connsiteY2962" fmla="*/ 206216 h 514350"/>
                <a:gd name="connsiteX2963" fmla="*/ 389096 w 6400800"/>
                <a:gd name="connsiteY2963" fmla="*/ 244316 h 514350"/>
                <a:gd name="connsiteX2964" fmla="*/ 381476 w 6400800"/>
                <a:gd name="connsiteY2964" fmla="*/ 219551 h 514350"/>
                <a:gd name="connsiteX2965" fmla="*/ 374809 w 6400800"/>
                <a:gd name="connsiteY2965" fmla="*/ 199549 h 514350"/>
                <a:gd name="connsiteX2966" fmla="*/ 372904 w 6400800"/>
                <a:gd name="connsiteY2966" fmla="*/ 194786 h 514350"/>
                <a:gd name="connsiteX2967" fmla="*/ 372904 w 6400800"/>
                <a:gd name="connsiteY2967" fmla="*/ 190976 h 514350"/>
                <a:gd name="connsiteX2968" fmla="*/ 370046 w 6400800"/>
                <a:gd name="connsiteY2968" fmla="*/ 177641 h 514350"/>
                <a:gd name="connsiteX2969" fmla="*/ 366236 w 6400800"/>
                <a:gd name="connsiteY2969" fmla="*/ 155734 h 514350"/>
                <a:gd name="connsiteX2970" fmla="*/ 364331 w 6400800"/>
                <a:gd name="connsiteY2970" fmla="*/ 148114 h 514350"/>
                <a:gd name="connsiteX2971" fmla="*/ 363379 w 6400800"/>
                <a:gd name="connsiteY2971" fmla="*/ 135731 h 514350"/>
                <a:gd name="connsiteX2972" fmla="*/ 363379 w 6400800"/>
                <a:gd name="connsiteY2972" fmla="*/ 140494 h 514350"/>
                <a:gd name="connsiteX2973" fmla="*/ 362426 w 6400800"/>
                <a:gd name="connsiteY2973" fmla="*/ 136684 h 514350"/>
                <a:gd name="connsiteX2974" fmla="*/ 362426 w 6400800"/>
                <a:gd name="connsiteY2974" fmla="*/ 151924 h 514350"/>
                <a:gd name="connsiteX2975" fmla="*/ 361474 w 6400800"/>
                <a:gd name="connsiteY2975" fmla="*/ 163354 h 514350"/>
                <a:gd name="connsiteX2976" fmla="*/ 357664 w 6400800"/>
                <a:gd name="connsiteY2976" fmla="*/ 151924 h 514350"/>
                <a:gd name="connsiteX2977" fmla="*/ 348139 w 6400800"/>
                <a:gd name="connsiteY2977" fmla="*/ 127159 h 514350"/>
                <a:gd name="connsiteX2978" fmla="*/ 353854 w 6400800"/>
                <a:gd name="connsiteY2978" fmla="*/ 153829 h 514350"/>
                <a:gd name="connsiteX2979" fmla="*/ 361474 w 6400800"/>
                <a:gd name="connsiteY2979" fmla="*/ 183356 h 514350"/>
                <a:gd name="connsiteX2980" fmla="*/ 361474 w 6400800"/>
                <a:gd name="connsiteY2980" fmla="*/ 192881 h 514350"/>
                <a:gd name="connsiteX2981" fmla="*/ 357664 w 6400800"/>
                <a:gd name="connsiteY2981" fmla="*/ 184309 h 514350"/>
                <a:gd name="connsiteX2982" fmla="*/ 360521 w 6400800"/>
                <a:gd name="connsiteY2982" fmla="*/ 198596 h 514350"/>
                <a:gd name="connsiteX2983" fmla="*/ 359569 w 6400800"/>
                <a:gd name="connsiteY2983" fmla="*/ 221456 h 514350"/>
                <a:gd name="connsiteX2984" fmla="*/ 355759 w 6400800"/>
                <a:gd name="connsiteY2984" fmla="*/ 208121 h 514350"/>
                <a:gd name="connsiteX2985" fmla="*/ 350996 w 6400800"/>
                <a:gd name="connsiteY2985" fmla="*/ 193834 h 514350"/>
                <a:gd name="connsiteX2986" fmla="*/ 351949 w 6400800"/>
                <a:gd name="connsiteY2986" fmla="*/ 208121 h 514350"/>
                <a:gd name="connsiteX2987" fmla="*/ 352901 w 6400800"/>
                <a:gd name="connsiteY2987" fmla="*/ 224314 h 514350"/>
                <a:gd name="connsiteX2988" fmla="*/ 353854 w 6400800"/>
                <a:gd name="connsiteY2988" fmla="*/ 246221 h 514350"/>
                <a:gd name="connsiteX2989" fmla="*/ 354806 w 6400800"/>
                <a:gd name="connsiteY2989" fmla="*/ 270986 h 514350"/>
                <a:gd name="connsiteX2990" fmla="*/ 355759 w 6400800"/>
                <a:gd name="connsiteY2990" fmla="*/ 299561 h 514350"/>
                <a:gd name="connsiteX2991" fmla="*/ 356711 w 6400800"/>
                <a:gd name="connsiteY2991" fmla="*/ 316706 h 514350"/>
                <a:gd name="connsiteX2992" fmla="*/ 346234 w 6400800"/>
                <a:gd name="connsiteY2992" fmla="*/ 298609 h 514350"/>
                <a:gd name="connsiteX2993" fmla="*/ 345281 w 6400800"/>
                <a:gd name="connsiteY2993" fmla="*/ 296704 h 514350"/>
                <a:gd name="connsiteX2994" fmla="*/ 345281 w 6400800"/>
                <a:gd name="connsiteY2994" fmla="*/ 291941 h 514350"/>
                <a:gd name="connsiteX2995" fmla="*/ 348139 w 6400800"/>
                <a:gd name="connsiteY2995" fmla="*/ 267176 h 514350"/>
                <a:gd name="connsiteX2996" fmla="*/ 350044 w 6400800"/>
                <a:gd name="connsiteY2996" fmla="*/ 246221 h 514350"/>
                <a:gd name="connsiteX2997" fmla="*/ 344329 w 6400800"/>
                <a:gd name="connsiteY2997" fmla="*/ 267176 h 514350"/>
                <a:gd name="connsiteX2998" fmla="*/ 339566 w 6400800"/>
                <a:gd name="connsiteY2998" fmla="*/ 287179 h 514350"/>
                <a:gd name="connsiteX2999" fmla="*/ 339566 w 6400800"/>
                <a:gd name="connsiteY2999" fmla="*/ 287179 h 514350"/>
                <a:gd name="connsiteX3000" fmla="*/ 339566 w 6400800"/>
                <a:gd name="connsiteY3000" fmla="*/ 288131 h 514350"/>
                <a:gd name="connsiteX3001" fmla="*/ 338614 w 6400800"/>
                <a:gd name="connsiteY3001" fmla="*/ 291941 h 514350"/>
                <a:gd name="connsiteX3002" fmla="*/ 337661 w 6400800"/>
                <a:gd name="connsiteY3002" fmla="*/ 297656 h 514350"/>
                <a:gd name="connsiteX3003" fmla="*/ 324326 w 6400800"/>
                <a:gd name="connsiteY3003" fmla="*/ 277654 h 514350"/>
                <a:gd name="connsiteX3004" fmla="*/ 310991 w 6400800"/>
                <a:gd name="connsiteY3004" fmla="*/ 233839 h 514350"/>
                <a:gd name="connsiteX3005" fmla="*/ 303371 w 6400800"/>
                <a:gd name="connsiteY3005" fmla="*/ 211931 h 514350"/>
                <a:gd name="connsiteX3006" fmla="*/ 306229 w 6400800"/>
                <a:gd name="connsiteY3006" fmla="*/ 196691 h 514350"/>
                <a:gd name="connsiteX3007" fmla="*/ 316706 w 6400800"/>
                <a:gd name="connsiteY3007" fmla="*/ 150971 h 514350"/>
                <a:gd name="connsiteX3008" fmla="*/ 326231 w 6400800"/>
                <a:gd name="connsiteY3008" fmla="*/ 115729 h 514350"/>
                <a:gd name="connsiteX3009" fmla="*/ 335756 w 6400800"/>
                <a:gd name="connsiteY3009" fmla="*/ 85249 h 514350"/>
                <a:gd name="connsiteX3010" fmla="*/ 323374 w 6400800"/>
                <a:gd name="connsiteY3010" fmla="*/ 113824 h 514350"/>
                <a:gd name="connsiteX3011" fmla="*/ 310991 w 6400800"/>
                <a:gd name="connsiteY3011" fmla="*/ 148114 h 514350"/>
                <a:gd name="connsiteX3012" fmla="*/ 303371 w 6400800"/>
                <a:gd name="connsiteY3012" fmla="*/ 169069 h 514350"/>
                <a:gd name="connsiteX3013" fmla="*/ 297656 w 6400800"/>
                <a:gd name="connsiteY3013" fmla="*/ 190024 h 514350"/>
                <a:gd name="connsiteX3014" fmla="*/ 287179 w 6400800"/>
                <a:gd name="connsiteY3014" fmla="*/ 159544 h 514350"/>
                <a:gd name="connsiteX3015" fmla="*/ 294799 w 6400800"/>
                <a:gd name="connsiteY3015" fmla="*/ 198596 h 514350"/>
                <a:gd name="connsiteX3016" fmla="*/ 283369 w 6400800"/>
                <a:gd name="connsiteY3016" fmla="*/ 247174 h 514350"/>
                <a:gd name="connsiteX3017" fmla="*/ 279559 w 6400800"/>
                <a:gd name="connsiteY3017" fmla="*/ 264319 h 514350"/>
                <a:gd name="connsiteX3018" fmla="*/ 276701 w 6400800"/>
                <a:gd name="connsiteY3018" fmla="*/ 253841 h 514350"/>
                <a:gd name="connsiteX3019" fmla="*/ 278606 w 6400800"/>
                <a:gd name="connsiteY3019" fmla="*/ 227171 h 514350"/>
                <a:gd name="connsiteX3020" fmla="*/ 284321 w 6400800"/>
                <a:gd name="connsiteY3020" fmla="*/ 166211 h 514350"/>
                <a:gd name="connsiteX3021" fmla="*/ 287179 w 6400800"/>
                <a:gd name="connsiteY3021" fmla="*/ 139541 h 514350"/>
                <a:gd name="connsiteX3022" fmla="*/ 290989 w 6400800"/>
                <a:gd name="connsiteY3022" fmla="*/ 115729 h 514350"/>
                <a:gd name="connsiteX3023" fmla="*/ 297656 w 6400800"/>
                <a:gd name="connsiteY3023" fmla="*/ 76676 h 514350"/>
                <a:gd name="connsiteX3024" fmla="*/ 304324 w 6400800"/>
                <a:gd name="connsiteY3024" fmla="*/ 42386 h 514350"/>
                <a:gd name="connsiteX3025" fmla="*/ 293846 w 6400800"/>
                <a:gd name="connsiteY3025" fmla="*/ 75724 h 514350"/>
                <a:gd name="connsiteX3026" fmla="*/ 283369 w 6400800"/>
                <a:gd name="connsiteY3026" fmla="*/ 114776 h 514350"/>
                <a:gd name="connsiteX3027" fmla="*/ 277654 w 6400800"/>
                <a:gd name="connsiteY3027" fmla="*/ 138589 h 514350"/>
                <a:gd name="connsiteX3028" fmla="*/ 272891 w 6400800"/>
                <a:gd name="connsiteY3028" fmla="*/ 165259 h 514350"/>
                <a:gd name="connsiteX3029" fmla="*/ 270034 w 6400800"/>
                <a:gd name="connsiteY3029" fmla="*/ 178594 h 514350"/>
                <a:gd name="connsiteX3030" fmla="*/ 261461 w 6400800"/>
                <a:gd name="connsiteY3030" fmla="*/ 196691 h 514350"/>
                <a:gd name="connsiteX3031" fmla="*/ 258604 w 6400800"/>
                <a:gd name="connsiteY3031" fmla="*/ 183356 h 514350"/>
                <a:gd name="connsiteX3032" fmla="*/ 253841 w 6400800"/>
                <a:gd name="connsiteY3032" fmla="*/ 161449 h 514350"/>
                <a:gd name="connsiteX3033" fmla="*/ 254794 w 6400800"/>
                <a:gd name="connsiteY3033" fmla="*/ 183356 h 514350"/>
                <a:gd name="connsiteX3034" fmla="*/ 256699 w 6400800"/>
                <a:gd name="connsiteY3034" fmla="*/ 207169 h 514350"/>
                <a:gd name="connsiteX3035" fmla="*/ 247174 w 6400800"/>
                <a:gd name="connsiteY3035" fmla="*/ 231934 h 514350"/>
                <a:gd name="connsiteX3036" fmla="*/ 245269 w 6400800"/>
                <a:gd name="connsiteY3036" fmla="*/ 236696 h 514350"/>
                <a:gd name="connsiteX3037" fmla="*/ 242411 w 6400800"/>
                <a:gd name="connsiteY3037" fmla="*/ 230029 h 514350"/>
                <a:gd name="connsiteX3038" fmla="*/ 244316 w 6400800"/>
                <a:gd name="connsiteY3038" fmla="*/ 240506 h 514350"/>
                <a:gd name="connsiteX3039" fmla="*/ 236696 w 6400800"/>
                <a:gd name="connsiteY3039" fmla="*/ 262414 h 514350"/>
                <a:gd name="connsiteX3040" fmla="*/ 226219 w 6400800"/>
                <a:gd name="connsiteY3040" fmla="*/ 227171 h 514350"/>
                <a:gd name="connsiteX3041" fmla="*/ 218599 w 6400800"/>
                <a:gd name="connsiteY3041" fmla="*/ 204311 h 514350"/>
                <a:gd name="connsiteX3042" fmla="*/ 210979 w 6400800"/>
                <a:gd name="connsiteY3042" fmla="*/ 184309 h 514350"/>
                <a:gd name="connsiteX3043" fmla="*/ 198596 w 6400800"/>
                <a:gd name="connsiteY3043" fmla="*/ 150971 h 514350"/>
                <a:gd name="connsiteX3044" fmla="*/ 187166 w 6400800"/>
                <a:gd name="connsiteY3044" fmla="*/ 122396 h 514350"/>
                <a:gd name="connsiteX3045" fmla="*/ 194786 w 6400800"/>
                <a:gd name="connsiteY3045" fmla="*/ 151924 h 514350"/>
                <a:gd name="connsiteX3046" fmla="*/ 204311 w 6400800"/>
                <a:gd name="connsiteY3046" fmla="*/ 186214 h 514350"/>
                <a:gd name="connsiteX3047" fmla="*/ 210026 w 6400800"/>
                <a:gd name="connsiteY3047" fmla="*/ 207169 h 514350"/>
                <a:gd name="connsiteX3048" fmla="*/ 215741 w 6400800"/>
                <a:gd name="connsiteY3048" fmla="*/ 230981 h 514350"/>
                <a:gd name="connsiteX3049" fmla="*/ 226219 w 6400800"/>
                <a:gd name="connsiteY3049" fmla="*/ 275749 h 514350"/>
                <a:gd name="connsiteX3050" fmla="*/ 218599 w 6400800"/>
                <a:gd name="connsiteY3050" fmla="*/ 295751 h 514350"/>
                <a:gd name="connsiteX3051" fmla="*/ 217646 w 6400800"/>
                <a:gd name="connsiteY3051" fmla="*/ 298609 h 514350"/>
                <a:gd name="connsiteX3052" fmla="*/ 214789 w 6400800"/>
                <a:gd name="connsiteY3052" fmla="*/ 266224 h 514350"/>
                <a:gd name="connsiteX3053" fmla="*/ 212884 w 6400800"/>
                <a:gd name="connsiteY3053" fmla="*/ 241459 h 514350"/>
                <a:gd name="connsiteX3054" fmla="*/ 210979 w 6400800"/>
                <a:gd name="connsiteY3054" fmla="*/ 266224 h 514350"/>
                <a:gd name="connsiteX3055" fmla="*/ 209074 w 6400800"/>
                <a:gd name="connsiteY3055" fmla="*/ 309086 h 514350"/>
                <a:gd name="connsiteX3056" fmla="*/ 196691 w 6400800"/>
                <a:gd name="connsiteY3056" fmla="*/ 287179 h 514350"/>
                <a:gd name="connsiteX3057" fmla="*/ 187166 w 6400800"/>
                <a:gd name="connsiteY3057" fmla="*/ 270034 h 514350"/>
                <a:gd name="connsiteX3058" fmla="*/ 177641 w 6400800"/>
                <a:gd name="connsiteY3058" fmla="*/ 255746 h 514350"/>
                <a:gd name="connsiteX3059" fmla="*/ 161449 w 6400800"/>
                <a:gd name="connsiteY3059" fmla="*/ 231934 h 514350"/>
                <a:gd name="connsiteX3060" fmla="*/ 156686 w 6400800"/>
                <a:gd name="connsiteY3060" fmla="*/ 225266 h 514350"/>
                <a:gd name="connsiteX3061" fmla="*/ 152876 w 6400800"/>
                <a:gd name="connsiteY3061" fmla="*/ 209074 h 514350"/>
                <a:gd name="connsiteX3062" fmla="*/ 152876 w 6400800"/>
                <a:gd name="connsiteY3062" fmla="*/ 219551 h 514350"/>
                <a:gd name="connsiteX3063" fmla="*/ 146209 w 6400800"/>
                <a:gd name="connsiteY3063" fmla="*/ 210979 h 514350"/>
                <a:gd name="connsiteX3064" fmla="*/ 152876 w 6400800"/>
                <a:gd name="connsiteY3064" fmla="*/ 224314 h 514350"/>
                <a:gd name="connsiteX3065" fmla="*/ 156686 w 6400800"/>
                <a:gd name="connsiteY3065" fmla="*/ 275749 h 514350"/>
                <a:gd name="connsiteX3066" fmla="*/ 148114 w 6400800"/>
                <a:gd name="connsiteY3066" fmla="*/ 263366 h 514350"/>
                <a:gd name="connsiteX3067" fmla="*/ 124301 w 6400800"/>
                <a:gd name="connsiteY3067" fmla="*/ 233839 h 514350"/>
                <a:gd name="connsiteX3068" fmla="*/ 104299 w 6400800"/>
                <a:gd name="connsiteY3068" fmla="*/ 212884 h 514350"/>
                <a:gd name="connsiteX3069" fmla="*/ 88106 w 6400800"/>
                <a:gd name="connsiteY3069" fmla="*/ 197644 h 514350"/>
                <a:gd name="connsiteX3070" fmla="*/ 103346 w 6400800"/>
                <a:gd name="connsiteY3070" fmla="*/ 217646 h 514350"/>
                <a:gd name="connsiteX3071" fmla="*/ 119539 w 6400800"/>
                <a:gd name="connsiteY3071" fmla="*/ 240506 h 514350"/>
                <a:gd name="connsiteX3072" fmla="*/ 139541 w 6400800"/>
                <a:gd name="connsiteY3072" fmla="*/ 271939 h 514350"/>
                <a:gd name="connsiteX3073" fmla="*/ 151924 w 6400800"/>
                <a:gd name="connsiteY3073" fmla="*/ 292894 h 514350"/>
                <a:gd name="connsiteX3074" fmla="*/ 151924 w 6400800"/>
                <a:gd name="connsiteY3074" fmla="*/ 297656 h 514350"/>
                <a:gd name="connsiteX3075" fmla="*/ 150971 w 6400800"/>
                <a:gd name="connsiteY3075" fmla="*/ 296704 h 514350"/>
                <a:gd name="connsiteX3076" fmla="*/ 136684 w 6400800"/>
                <a:gd name="connsiteY3076" fmla="*/ 282416 h 514350"/>
                <a:gd name="connsiteX3077" fmla="*/ 131921 w 6400800"/>
                <a:gd name="connsiteY3077" fmla="*/ 278606 h 514350"/>
                <a:gd name="connsiteX3078" fmla="*/ 132874 w 6400800"/>
                <a:gd name="connsiteY3078" fmla="*/ 274796 h 514350"/>
                <a:gd name="connsiteX3079" fmla="*/ 130969 w 6400800"/>
                <a:gd name="connsiteY3079" fmla="*/ 278606 h 514350"/>
                <a:gd name="connsiteX3080" fmla="*/ 122396 w 6400800"/>
                <a:gd name="connsiteY3080" fmla="*/ 270986 h 514350"/>
                <a:gd name="connsiteX3081" fmla="*/ 130016 w 6400800"/>
                <a:gd name="connsiteY3081" fmla="*/ 280511 h 514350"/>
                <a:gd name="connsiteX3082" fmla="*/ 123349 w 6400800"/>
                <a:gd name="connsiteY3082" fmla="*/ 293846 h 514350"/>
                <a:gd name="connsiteX3083" fmla="*/ 114776 w 6400800"/>
                <a:gd name="connsiteY3083" fmla="*/ 316706 h 514350"/>
                <a:gd name="connsiteX3084" fmla="*/ 112871 w 6400800"/>
                <a:gd name="connsiteY3084" fmla="*/ 321469 h 514350"/>
                <a:gd name="connsiteX3085" fmla="*/ 103346 w 6400800"/>
                <a:gd name="connsiteY3085" fmla="*/ 299561 h 514350"/>
                <a:gd name="connsiteX3086" fmla="*/ 86201 w 6400800"/>
                <a:gd name="connsiteY3086" fmla="*/ 262414 h 514350"/>
                <a:gd name="connsiteX3087" fmla="*/ 78581 w 6400800"/>
                <a:gd name="connsiteY3087" fmla="*/ 245269 h 514350"/>
                <a:gd name="connsiteX3088" fmla="*/ 70961 w 6400800"/>
                <a:gd name="connsiteY3088" fmla="*/ 230981 h 514350"/>
                <a:gd name="connsiteX3089" fmla="*/ 57626 w 6400800"/>
                <a:gd name="connsiteY3089" fmla="*/ 208121 h 514350"/>
                <a:gd name="connsiteX3090" fmla="*/ 46196 w 6400800"/>
                <a:gd name="connsiteY3090" fmla="*/ 188119 h 514350"/>
                <a:gd name="connsiteX3091" fmla="*/ 54769 w 6400800"/>
                <a:gd name="connsiteY3091" fmla="*/ 210026 h 514350"/>
                <a:gd name="connsiteX3092" fmla="*/ 64294 w 6400800"/>
                <a:gd name="connsiteY3092" fmla="*/ 234791 h 514350"/>
                <a:gd name="connsiteX3093" fmla="*/ 70009 w 6400800"/>
                <a:gd name="connsiteY3093" fmla="*/ 250031 h 514350"/>
                <a:gd name="connsiteX3094" fmla="*/ 75724 w 6400800"/>
                <a:gd name="connsiteY3094" fmla="*/ 266224 h 514350"/>
                <a:gd name="connsiteX3095" fmla="*/ 85249 w 6400800"/>
                <a:gd name="connsiteY3095" fmla="*/ 292894 h 514350"/>
                <a:gd name="connsiteX3096" fmla="*/ 79534 w 6400800"/>
                <a:gd name="connsiteY3096" fmla="*/ 284321 h 514350"/>
                <a:gd name="connsiteX3097" fmla="*/ 68104 w 6400800"/>
                <a:gd name="connsiteY3097" fmla="*/ 268129 h 514350"/>
                <a:gd name="connsiteX3098" fmla="*/ 57626 w 6400800"/>
                <a:gd name="connsiteY3098" fmla="*/ 253841 h 514350"/>
                <a:gd name="connsiteX3099" fmla="*/ 64294 w 6400800"/>
                <a:gd name="connsiteY3099" fmla="*/ 270034 h 514350"/>
                <a:gd name="connsiteX3100" fmla="*/ 71914 w 6400800"/>
                <a:gd name="connsiteY3100" fmla="*/ 288131 h 514350"/>
                <a:gd name="connsiteX3101" fmla="*/ 83344 w 6400800"/>
                <a:gd name="connsiteY3101" fmla="*/ 311944 h 514350"/>
                <a:gd name="connsiteX3102" fmla="*/ 90964 w 6400800"/>
                <a:gd name="connsiteY3102" fmla="*/ 330994 h 514350"/>
                <a:gd name="connsiteX3103" fmla="*/ 87154 w 6400800"/>
                <a:gd name="connsiteY3103" fmla="*/ 339566 h 514350"/>
                <a:gd name="connsiteX3104" fmla="*/ 81439 w 6400800"/>
                <a:gd name="connsiteY3104" fmla="*/ 352901 h 514350"/>
                <a:gd name="connsiteX3105" fmla="*/ 78581 w 6400800"/>
                <a:gd name="connsiteY3105" fmla="*/ 339566 h 514350"/>
                <a:gd name="connsiteX3106" fmla="*/ 70009 w 6400800"/>
                <a:gd name="connsiteY3106" fmla="*/ 301466 h 514350"/>
                <a:gd name="connsiteX3107" fmla="*/ 61436 w 6400800"/>
                <a:gd name="connsiteY3107" fmla="*/ 269081 h 514350"/>
                <a:gd name="connsiteX3108" fmla="*/ 53816 w 6400800"/>
                <a:gd name="connsiteY3108" fmla="*/ 244316 h 514350"/>
                <a:gd name="connsiteX3109" fmla="*/ 46196 w 6400800"/>
                <a:gd name="connsiteY3109" fmla="*/ 223361 h 514350"/>
                <a:gd name="connsiteX3110" fmla="*/ 50006 w 6400800"/>
                <a:gd name="connsiteY3110" fmla="*/ 245269 h 514350"/>
                <a:gd name="connsiteX3111" fmla="*/ 53816 w 6400800"/>
                <a:gd name="connsiteY3111" fmla="*/ 270034 h 514350"/>
                <a:gd name="connsiteX3112" fmla="*/ 58579 w 6400800"/>
                <a:gd name="connsiteY3112" fmla="*/ 302419 h 514350"/>
                <a:gd name="connsiteX3113" fmla="*/ 64294 w 6400800"/>
                <a:gd name="connsiteY3113" fmla="*/ 340519 h 514350"/>
                <a:gd name="connsiteX3114" fmla="*/ 69056 w 6400800"/>
                <a:gd name="connsiteY3114" fmla="*/ 381476 h 514350"/>
                <a:gd name="connsiteX3115" fmla="*/ 67151 w 6400800"/>
                <a:gd name="connsiteY3115" fmla="*/ 385286 h 514350"/>
                <a:gd name="connsiteX3116" fmla="*/ 60484 w 6400800"/>
                <a:gd name="connsiteY3116" fmla="*/ 405289 h 514350"/>
                <a:gd name="connsiteX3117" fmla="*/ 59531 w 6400800"/>
                <a:gd name="connsiteY3117" fmla="*/ 407194 h 514350"/>
                <a:gd name="connsiteX3118" fmla="*/ 56674 w 6400800"/>
                <a:gd name="connsiteY3118" fmla="*/ 407194 h 514350"/>
                <a:gd name="connsiteX3119" fmla="*/ 54769 w 6400800"/>
                <a:gd name="connsiteY3119" fmla="*/ 399574 h 514350"/>
                <a:gd name="connsiteX3120" fmla="*/ 46196 w 6400800"/>
                <a:gd name="connsiteY3120" fmla="*/ 364331 h 514350"/>
                <a:gd name="connsiteX3121" fmla="*/ 37624 w 6400800"/>
                <a:gd name="connsiteY3121" fmla="*/ 332899 h 514350"/>
                <a:gd name="connsiteX3122" fmla="*/ 21431 w 6400800"/>
                <a:gd name="connsiteY3122" fmla="*/ 287179 h 514350"/>
                <a:gd name="connsiteX3123" fmla="*/ 13811 w 6400800"/>
                <a:gd name="connsiteY3123" fmla="*/ 270034 h 514350"/>
                <a:gd name="connsiteX3124" fmla="*/ 17621 w 6400800"/>
                <a:gd name="connsiteY3124" fmla="*/ 288131 h 514350"/>
                <a:gd name="connsiteX3125" fmla="*/ 21431 w 6400800"/>
                <a:gd name="connsiteY3125" fmla="*/ 309086 h 514350"/>
                <a:gd name="connsiteX3126" fmla="*/ 26194 w 6400800"/>
                <a:gd name="connsiteY3126" fmla="*/ 335756 h 514350"/>
                <a:gd name="connsiteX3127" fmla="*/ 31909 w 6400800"/>
                <a:gd name="connsiteY3127" fmla="*/ 367189 h 514350"/>
                <a:gd name="connsiteX3128" fmla="*/ 39529 w 6400800"/>
                <a:gd name="connsiteY3128" fmla="*/ 402431 h 514350"/>
                <a:gd name="connsiteX3129" fmla="*/ 39529 w 6400800"/>
                <a:gd name="connsiteY3129" fmla="*/ 404336 h 514350"/>
                <a:gd name="connsiteX3130" fmla="*/ 7144 w 6400800"/>
                <a:gd name="connsiteY3130" fmla="*/ 399574 h 514350"/>
                <a:gd name="connsiteX3131" fmla="*/ 7144 w 6400800"/>
                <a:gd name="connsiteY3131" fmla="*/ 511016 h 514350"/>
                <a:gd name="connsiteX3132" fmla="*/ 6277451 w 6400800"/>
                <a:gd name="connsiteY3132" fmla="*/ 364331 h 514350"/>
                <a:gd name="connsiteX3133" fmla="*/ 6279356 w 6400800"/>
                <a:gd name="connsiteY3133" fmla="*/ 357664 h 514350"/>
                <a:gd name="connsiteX3134" fmla="*/ 6279356 w 6400800"/>
                <a:gd name="connsiteY3134" fmla="*/ 361474 h 514350"/>
                <a:gd name="connsiteX3135" fmla="*/ 6277451 w 6400800"/>
                <a:gd name="connsiteY3135" fmla="*/ 399574 h 514350"/>
                <a:gd name="connsiteX3136" fmla="*/ 6267926 w 6400800"/>
                <a:gd name="connsiteY3136" fmla="*/ 430054 h 514350"/>
                <a:gd name="connsiteX3137" fmla="*/ 6266021 w 6400800"/>
                <a:gd name="connsiteY3137" fmla="*/ 430054 h 514350"/>
                <a:gd name="connsiteX3138" fmla="*/ 6260306 w 6400800"/>
                <a:gd name="connsiteY3138" fmla="*/ 421481 h 514350"/>
                <a:gd name="connsiteX3139" fmla="*/ 6277451 w 6400800"/>
                <a:gd name="connsiteY3139" fmla="*/ 364331 h 514350"/>
                <a:gd name="connsiteX3140" fmla="*/ 6211729 w 6400800"/>
                <a:gd name="connsiteY3140" fmla="*/ 425291 h 514350"/>
                <a:gd name="connsiteX3141" fmla="*/ 6212681 w 6400800"/>
                <a:gd name="connsiteY3141" fmla="*/ 398621 h 514350"/>
                <a:gd name="connsiteX3142" fmla="*/ 6213634 w 6400800"/>
                <a:gd name="connsiteY3142" fmla="*/ 390049 h 514350"/>
                <a:gd name="connsiteX3143" fmla="*/ 6216492 w 6400800"/>
                <a:gd name="connsiteY3143" fmla="*/ 393859 h 514350"/>
                <a:gd name="connsiteX3144" fmla="*/ 6227921 w 6400800"/>
                <a:gd name="connsiteY3144" fmla="*/ 408146 h 514350"/>
                <a:gd name="connsiteX3145" fmla="*/ 6225064 w 6400800"/>
                <a:gd name="connsiteY3145" fmla="*/ 412909 h 514350"/>
                <a:gd name="connsiteX3146" fmla="*/ 6221254 w 6400800"/>
                <a:gd name="connsiteY3146" fmla="*/ 420529 h 514350"/>
                <a:gd name="connsiteX3147" fmla="*/ 6218396 w 6400800"/>
                <a:gd name="connsiteY3147" fmla="*/ 429101 h 514350"/>
                <a:gd name="connsiteX3148" fmla="*/ 6217444 w 6400800"/>
                <a:gd name="connsiteY3148" fmla="*/ 431006 h 514350"/>
                <a:gd name="connsiteX3149" fmla="*/ 6217444 w 6400800"/>
                <a:gd name="connsiteY3149" fmla="*/ 429101 h 514350"/>
                <a:gd name="connsiteX3150" fmla="*/ 6215539 w 6400800"/>
                <a:gd name="connsiteY3150" fmla="*/ 413861 h 514350"/>
                <a:gd name="connsiteX3151" fmla="*/ 6213634 w 6400800"/>
                <a:gd name="connsiteY3151" fmla="*/ 429101 h 514350"/>
                <a:gd name="connsiteX3152" fmla="*/ 6211729 w 6400800"/>
                <a:gd name="connsiteY3152" fmla="*/ 441484 h 514350"/>
                <a:gd name="connsiteX3153" fmla="*/ 6211729 w 6400800"/>
                <a:gd name="connsiteY3153" fmla="*/ 425291 h 514350"/>
                <a:gd name="connsiteX3154" fmla="*/ 6183154 w 6400800"/>
                <a:gd name="connsiteY3154" fmla="*/ 343376 h 514350"/>
                <a:gd name="connsiteX3155" fmla="*/ 6187917 w 6400800"/>
                <a:gd name="connsiteY3155" fmla="*/ 350996 h 514350"/>
                <a:gd name="connsiteX3156" fmla="*/ 6191726 w 6400800"/>
                <a:gd name="connsiteY3156" fmla="*/ 356711 h 514350"/>
                <a:gd name="connsiteX3157" fmla="*/ 6183154 w 6400800"/>
                <a:gd name="connsiteY3157" fmla="*/ 388144 h 514350"/>
                <a:gd name="connsiteX3158" fmla="*/ 6182201 w 6400800"/>
                <a:gd name="connsiteY3158" fmla="*/ 391954 h 514350"/>
                <a:gd name="connsiteX3159" fmla="*/ 6181249 w 6400800"/>
                <a:gd name="connsiteY3159" fmla="*/ 375761 h 514350"/>
                <a:gd name="connsiteX3160" fmla="*/ 6181249 w 6400800"/>
                <a:gd name="connsiteY3160" fmla="*/ 372904 h 514350"/>
                <a:gd name="connsiteX3161" fmla="*/ 6183154 w 6400800"/>
                <a:gd name="connsiteY3161" fmla="*/ 343376 h 514350"/>
                <a:gd name="connsiteX3162" fmla="*/ 6144101 w 6400800"/>
                <a:gd name="connsiteY3162" fmla="*/ 308134 h 514350"/>
                <a:gd name="connsiteX3163" fmla="*/ 6147912 w 6400800"/>
                <a:gd name="connsiteY3163" fmla="*/ 276701 h 514350"/>
                <a:gd name="connsiteX3164" fmla="*/ 6153626 w 6400800"/>
                <a:gd name="connsiteY3164" fmla="*/ 289084 h 514350"/>
                <a:gd name="connsiteX3165" fmla="*/ 6161246 w 6400800"/>
                <a:gd name="connsiteY3165" fmla="*/ 305276 h 514350"/>
                <a:gd name="connsiteX3166" fmla="*/ 6157437 w 6400800"/>
                <a:gd name="connsiteY3166" fmla="*/ 319564 h 514350"/>
                <a:gd name="connsiteX3167" fmla="*/ 6152674 w 6400800"/>
                <a:gd name="connsiteY3167" fmla="*/ 342424 h 514350"/>
                <a:gd name="connsiteX3168" fmla="*/ 6150769 w 6400800"/>
                <a:gd name="connsiteY3168" fmla="*/ 356711 h 514350"/>
                <a:gd name="connsiteX3169" fmla="*/ 6149817 w 6400800"/>
                <a:gd name="connsiteY3169" fmla="*/ 360521 h 514350"/>
                <a:gd name="connsiteX3170" fmla="*/ 6148864 w 6400800"/>
                <a:gd name="connsiteY3170" fmla="*/ 365284 h 514350"/>
                <a:gd name="connsiteX3171" fmla="*/ 6146006 w 6400800"/>
                <a:gd name="connsiteY3171" fmla="*/ 360521 h 514350"/>
                <a:gd name="connsiteX3172" fmla="*/ 6147912 w 6400800"/>
                <a:gd name="connsiteY3172" fmla="*/ 368141 h 514350"/>
                <a:gd name="connsiteX3173" fmla="*/ 6145054 w 6400800"/>
                <a:gd name="connsiteY3173" fmla="*/ 389096 h 514350"/>
                <a:gd name="connsiteX3174" fmla="*/ 6144101 w 6400800"/>
                <a:gd name="connsiteY3174" fmla="*/ 386239 h 514350"/>
                <a:gd name="connsiteX3175" fmla="*/ 6143149 w 6400800"/>
                <a:gd name="connsiteY3175" fmla="*/ 384334 h 514350"/>
                <a:gd name="connsiteX3176" fmla="*/ 6142196 w 6400800"/>
                <a:gd name="connsiteY3176" fmla="*/ 369094 h 514350"/>
                <a:gd name="connsiteX3177" fmla="*/ 6139339 w 6400800"/>
                <a:gd name="connsiteY3177" fmla="*/ 343376 h 514350"/>
                <a:gd name="connsiteX3178" fmla="*/ 6144101 w 6400800"/>
                <a:gd name="connsiteY3178" fmla="*/ 308134 h 514350"/>
                <a:gd name="connsiteX3179" fmla="*/ 6095524 w 6400800"/>
                <a:gd name="connsiteY3179" fmla="*/ 384334 h 514350"/>
                <a:gd name="connsiteX3180" fmla="*/ 6088856 w 6400800"/>
                <a:gd name="connsiteY3180" fmla="*/ 412909 h 514350"/>
                <a:gd name="connsiteX3181" fmla="*/ 6083142 w 6400800"/>
                <a:gd name="connsiteY3181" fmla="*/ 435769 h 514350"/>
                <a:gd name="connsiteX3182" fmla="*/ 6076474 w 6400800"/>
                <a:gd name="connsiteY3182" fmla="*/ 411956 h 514350"/>
                <a:gd name="connsiteX3183" fmla="*/ 6079331 w 6400800"/>
                <a:gd name="connsiteY3183" fmla="*/ 391001 h 514350"/>
                <a:gd name="connsiteX3184" fmla="*/ 6084094 w 6400800"/>
                <a:gd name="connsiteY3184" fmla="*/ 368141 h 514350"/>
                <a:gd name="connsiteX3185" fmla="*/ 6088856 w 6400800"/>
                <a:gd name="connsiteY3185" fmla="*/ 347186 h 514350"/>
                <a:gd name="connsiteX3186" fmla="*/ 6091714 w 6400800"/>
                <a:gd name="connsiteY3186" fmla="*/ 348139 h 514350"/>
                <a:gd name="connsiteX3187" fmla="*/ 6095524 w 6400800"/>
                <a:gd name="connsiteY3187" fmla="*/ 350996 h 514350"/>
                <a:gd name="connsiteX3188" fmla="*/ 6100287 w 6400800"/>
                <a:gd name="connsiteY3188" fmla="*/ 359569 h 514350"/>
                <a:gd name="connsiteX3189" fmla="*/ 6095524 w 6400800"/>
                <a:gd name="connsiteY3189" fmla="*/ 384334 h 514350"/>
                <a:gd name="connsiteX3190" fmla="*/ 6102192 w 6400800"/>
                <a:gd name="connsiteY3190" fmla="*/ 206216 h 514350"/>
                <a:gd name="connsiteX3191" fmla="*/ 6101239 w 6400800"/>
                <a:gd name="connsiteY3191" fmla="*/ 235744 h 514350"/>
                <a:gd name="connsiteX3192" fmla="*/ 6101239 w 6400800"/>
                <a:gd name="connsiteY3192" fmla="*/ 241459 h 514350"/>
                <a:gd name="connsiteX3193" fmla="*/ 6101239 w 6400800"/>
                <a:gd name="connsiteY3193" fmla="*/ 242411 h 514350"/>
                <a:gd name="connsiteX3194" fmla="*/ 6101239 w 6400800"/>
                <a:gd name="connsiteY3194" fmla="*/ 242411 h 514350"/>
                <a:gd name="connsiteX3195" fmla="*/ 6100287 w 6400800"/>
                <a:gd name="connsiteY3195" fmla="*/ 239554 h 514350"/>
                <a:gd name="connsiteX3196" fmla="*/ 6097429 w 6400800"/>
                <a:gd name="connsiteY3196" fmla="*/ 230981 h 514350"/>
                <a:gd name="connsiteX3197" fmla="*/ 6102192 w 6400800"/>
                <a:gd name="connsiteY3197" fmla="*/ 206216 h 514350"/>
                <a:gd name="connsiteX3198" fmla="*/ 6100287 w 6400800"/>
                <a:gd name="connsiteY3198" fmla="*/ 284321 h 514350"/>
                <a:gd name="connsiteX3199" fmla="*/ 6098381 w 6400800"/>
                <a:gd name="connsiteY3199" fmla="*/ 279559 h 514350"/>
                <a:gd name="connsiteX3200" fmla="*/ 6099334 w 6400800"/>
                <a:gd name="connsiteY3200" fmla="*/ 277654 h 514350"/>
                <a:gd name="connsiteX3201" fmla="*/ 6100287 w 6400800"/>
                <a:gd name="connsiteY3201" fmla="*/ 284321 h 514350"/>
                <a:gd name="connsiteX3202" fmla="*/ 6093619 w 6400800"/>
                <a:gd name="connsiteY3202" fmla="*/ 247174 h 514350"/>
                <a:gd name="connsiteX3203" fmla="*/ 6095524 w 6400800"/>
                <a:gd name="connsiteY3203" fmla="*/ 255746 h 514350"/>
                <a:gd name="connsiteX3204" fmla="*/ 6091714 w 6400800"/>
                <a:gd name="connsiteY3204" fmla="*/ 264319 h 514350"/>
                <a:gd name="connsiteX3205" fmla="*/ 6090762 w 6400800"/>
                <a:gd name="connsiteY3205" fmla="*/ 262414 h 514350"/>
                <a:gd name="connsiteX3206" fmla="*/ 6093619 w 6400800"/>
                <a:gd name="connsiteY3206" fmla="*/ 247174 h 514350"/>
                <a:gd name="connsiteX3207" fmla="*/ 6088856 w 6400800"/>
                <a:gd name="connsiteY3207" fmla="*/ 269081 h 514350"/>
                <a:gd name="connsiteX3208" fmla="*/ 6088856 w 6400800"/>
                <a:gd name="connsiteY3208" fmla="*/ 270034 h 514350"/>
                <a:gd name="connsiteX3209" fmla="*/ 6088856 w 6400800"/>
                <a:gd name="connsiteY3209" fmla="*/ 270034 h 514350"/>
                <a:gd name="connsiteX3210" fmla="*/ 6087904 w 6400800"/>
                <a:gd name="connsiteY3210" fmla="*/ 272891 h 514350"/>
                <a:gd name="connsiteX3211" fmla="*/ 6088856 w 6400800"/>
                <a:gd name="connsiteY3211" fmla="*/ 269081 h 514350"/>
                <a:gd name="connsiteX3212" fmla="*/ 6067901 w 6400800"/>
                <a:gd name="connsiteY3212" fmla="*/ 369094 h 514350"/>
                <a:gd name="connsiteX3213" fmla="*/ 6080284 w 6400800"/>
                <a:gd name="connsiteY3213" fmla="*/ 339566 h 514350"/>
                <a:gd name="connsiteX3214" fmla="*/ 6085046 w 6400800"/>
                <a:gd name="connsiteY3214" fmla="*/ 326231 h 514350"/>
                <a:gd name="connsiteX3215" fmla="*/ 6088856 w 6400800"/>
                <a:gd name="connsiteY3215" fmla="*/ 313849 h 514350"/>
                <a:gd name="connsiteX3216" fmla="*/ 6093619 w 6400800"/>
                <a:gd name="connsiteY3216" fmla="*/ 293846 h 514350"/>
                <a:gd name="connsiteX3217" fmla="*/ 6093619 w 6400800"/>
                <a:gd name="connsiteY3217" fmla="*/ 293846 h 514350"/>
                <a:gd name="connsiteX3218" fmla="*/ 6096476 w 6400800"/>
                <a:gd name="connsiteY3218" fmla="*/ 310991 h 514350"/>
                <a:gd name="connsiteX3219" fmla="*/ 6100287 w 6400800"/>
                <a:gd name="connsiteY3219" fmla="*/ 339566 h 514350"/>
                <a:gd name="connsiteX3220" fmla="*/ 6101239 w 6400800"/>
                <a:gd name="connsiteY3220" fmla="*/ 355759 h 514350"/>
                <a:gd name="connsiteX3221" fmla="*/ 6101239 w 6400800"/>
                <a:gd name="connsiteY3221" fmla="*/ 355759 h 514350"/>
                <a:gd name="connsiteX3222" fmla="*/ 6100287 w 6400800"/>
                <a:gd name="connsiteY3222" fmla="*/ 359569 h 514350"/>
                <a:gd name="connsiteX3223" fmla="*/ 6097429 w 6400800"/>
                <a:gd name="connsiteY3223" fmla="*/ 350044 h 514350"/>
                <a:gd name="connsiteX3224" fmla="*/ 6093619 w 6400800"/>
                <a:gd name="connsiteY3224" fmla="*/ 345281 h 514350"/>
                <a:gd name="connsiteX3225" fmla="*/ 6087904 w 6400800"/>
                <a:gd name="connsiteY3225" fmla="*/ 342424 h 514350"/>
                <a:gd name="connsiteX3226" fmla="*/ 6085999 w 6400800"/>
                <a:gd name="connsiteY3226" fmla="*/ 341471 h 514350"/>
                <a:gd name="connsiteX3227" fmla="*/ 6085046 w 6400800"/>
                <a:gd name="connsiteY3227" fmla="*/ 343376 h 514350"/>
                <a:gd name="connsiteX3228" fmla="*/ 6076474 w 6400800"/>
                <a:gd name="connsiteY3228" fmla="*/ 365284 h 514350"/>
                <a:gd name="connsiteX3229" fmla="*/ 6069806 w 6400800"/>
                <a:gd name="connsiteY3229" fmla="*/ 384334 h 514350"/>
                <a:gd name="connsiteX3230" fmla="*/ 6065996 w 6400800"/>
                <a:gd name="connsiteY3230" fmla="*/ 372904 h 514350"/>
                <a:gd name="connsiteX3231" fmla="*/ 6067901 w 6400800"/>
                <a:gd name="connsiteY3231" fmla="*/ 369094 h 514350"/>
                <a:gd name="connsiteX3232" fmla="*/ 6035517 w 6400800"/>
                <a:gd name="connsiteY3232" fmla="*/ 310039 h 514350"/>
                <a:gd name="connsiteX3233" fmla="*/ 6035517 w 6400800"/>
                <a:gd name="connsiteY3233" fmla="*/ 308134 h 514350"/>
                <a:gd name="connsiteX3234" fmla="*/ 6040279 w 6400800"/>
                <a:gd name="connsiteY3234" fmla="*/ 324326 h 514350"/>
                <a:gd name="connsiteX3235" fmla="*/ 6044089 w 6400800"/>
                <a:gd name="connsiteY3235" fmla="*/ 338614 h 514350"/>
                <a:gd name="connsiteX3236" fmla="*/ 6038374 w 6400800"/>
                <a:gd name="connsiteY3236" fmla="*/ 355759 h 514350"/>
                <a:gd name="connsiteX3237" fmla="*/ 6033612 w 6400800"/>
                <a:gd name="connsiteY3237" fmla="*/ 330041 h 514350"/>
                <a:gd name="connsiteX3238" fmla="*/ 6035517 w 6400800"/>
                <a:gd name="connsiteY3238" fmla="*/ 310039 h 514350"/>
                <a:gd name="connsiteX3239" fmla="*/ 6012656 w 6400800"/>
                <a:gd name="connsiteY3239" fmla="*/ 361474 h 514350"/>
                <a:gd name="connsiteX3240" fmla="*/ 6012656 w 6400800"/>
                <a:gd name="connsiteY3240" fmla="*/ 363379 h 514350"/>
                <a:gd name="connsiteX3241" fmla="*/ 6012656 w 6400800"/>
                <a:gd name="connsiteY3241" fmla="*/ 359569 h 514350"/>
                <a:gd name="connsiteX3242" fmla="*/ 6012656 w 6400800"/>
                <a:gd name="connsiteY3242" fmla="*/ 361474 h 514350"/>
                <a:gd name="connsiteX3243" fmla="*/ 6007894 w 6400800"/>
                <a:gd name="connsiteY3243" fmla="*/ 351949 h 514350"/>
                <a:gd name="connsiteX3244" fmla="*/ 6007894 w 6400800"/>
                <a:gd name="connsiteY3244" fmla="*/ 352901 h 514350"/>
                <a:gd name="connsiteX3245" fmla="*/ 6007894 w 6400800"/>
                <a:gd name="connsiteY3245" fmla="*/ 351949 h 514350"/>
                <a:gd name="connsiteX3246" fmla="*/ 6007894 w 6400800"/>
                <a:gd name="connsiteY3246" fmla="*/ 351949 h 514350"/>
                <a:gd name="connsiteX3247" fmla="*/ 5976462 w 6400800"/>
                <a:gd name="connsiteY3247" fmla="*/ 410051 h 514350"/>
                <a:gd name="connsiteX3248" fmla="*/ 5973604 w 6400800"/>
                <a:gd name="connsiteY3248" fmla="*/ 402431 h 514350"/>
                <a:gd name="connsiteX3249" fmla="*/ 5972651 w 6400800"/>
                <a:gd name="connsiteY3249" fmla="*/ 398621 h 514350"/>
                <a:gd name="connsiteX3250" fmla="*/ 5971699 w 6400800"/>
                <a:gd name="connsiteY3250" fmla="*/ 391001 h 514350"/>
                <a:gd name="connsiteX3251" fmla="*/ 5973604 w 6400800"/>
                <a:gd name="connsiteY3251" fmla="*/ 386239 h 514350"/>
                <a:gd name="connsiteX3252" fmla="*/ 5977414 w 6400800"/>
                <a:gd name="connsiteY3252" fmla="*/ 374809 h 514350"/>
                <a:gd name="connsiteX3253" fmla="*/ 5976462 w 6400800"/>
                <a:gd name="connsiteY3253" fmla="*/ 410051 h 514350"/>
                <a:gd name="connsiteX3254" fmla="*/ 5976462 w 6400800"/>
                <a:gd name="connsiteY3254" fmla="*/ 239554 h 514350"/>
                <a:gd name="connsiteX3255" fmla="*/ 5978367 w 6400800"/>
                <a:gd name="connsiteY3255" fmla="*/ 250031 h 514350"/>
                <a:gd name="connsiteX3256" fmla="*/ 5979319 w 6400800"/>
                <a:gd name="connsiteY3256" fmla="*/ 256699 h 514350"/>
                <a:gd name="connsiteX3257" fmla="*/ 5974556 w 6400800"/>
                <a:gd name="connsiteY3257" fmla="*/ 248126 h 514350"/>
                <a:gd name="connsiteX3258" fmla="*/ 5976462 w 6400800"/>
                <a:gd name="connsiteY3258" fmla="*/ 239554 h 514350"/>
                <a:gd name="connsiteX3259" fmla="*/ 5965984 w 6400800"/>
                <a:gd name="connsiteY3259" fmla="*/ 291941 h 514350"/>
                <a:gd name="connsiteX3260" fmla="*/ 5966937 w 6400800"/>
                <a:gd name="connsiteY3260" fmla="*/ 286226 h 514350"/>
                <a:gd name="connsiteX3261" fmla="*/ 5967889 w 6400800"/>
                <a:gd name="connsiteY3261" fmla="*/ 282416 h 514350"/>
                <a:gd name="connsiteX3262" fmla="*/ 5970746 w 6400800"/>
                <a:gd name="connsiteY3262" fmla="*/ 269081 h 514350"/>
                <a:gd name="connsiteX3263" fmla="*/ 5983129 w 6400800"/>
                <a:gd name="connsiteY3263" fmla="*/ 298609 h 514350"/>
                <a:gd name="connsiteX3264" fmla="*/ 5980271 w 6400800"/>
                <a:gd name="connsiteY3264" fmla="*/ 330994 h 514350"/>
                <a:gd name="connsiteX3265" fmla="*/ 5979319 w 6400800"/>
                <a:gd name="connsiteY3265" fmla="*/ 331946 h 514350"/>
                <a:gd name="connsiteX3266" fmla="*/ 5976462 w 6400800"/>
                <a:gd name="connsiteY3266" fmla="*/ 328136 h 514350"/>
                <a:gd name="connsiteX3267" fmla="*/ 5979319 w 6400800"/>
                <a:gd name="connsiteY3267" fmla="*/ 332899 h 514350"/>
                <a:gd name="connsiteX3268" fmla="*/ 5972651 w 6400800"/>
                <a:gd name="connsiteY3268" fmla="*/ 346234 h 514350"/>
                <a:gd name="connsiteX3269" fmla="*/ 5967889 w 6400800"/>
                <a:gd name="connsiteY3269" fmla="*/ 355759 h 514350"/>
                <a:gd name="connsiteX3270" fmla="*/ 5967889 w 6400800"/>
                <a:gd name="connsiteY3270" fmla="*/ 355759 h 514350"/>
                <a:gd name="connsiteX3271" fmla="*/ 5966937 w 6400800"/>
                <a:gd name="connsiteY3271" fmla="*/ 351949 h 514350"/>
                <a:gd name="connsiteX3272" fmla="*/ 5965031 w 6400800"/>
                <a:gd name="connsiteY3272" fmla="*/ 333851 h 514350"/>
                <a:gd name="connsiteX3273" fmla="*/ 5963126 w 6400800"/>
                <a:gd name="connsiteY3273" fmla="*/ 299561 h 514350"/>
                <a:gd name="connsiteX3274" fmla="*/ 5965984 w 6400800"/>
                <a:gd name="connsiteY3274" fmla="*/ 291941 h 514350"/>
                <a:gd name="connsiteX3275" fmla="*/ 5952649 w 6400800"/>
                <a:gd name="connsiteY3275" fmla="*/ 385286 h 514350"/>
                <a:gd name="connsiteX3276" fmla="*/ 5952649 w 6400800"/>
                <a:gd name="connsiteY3276" fmla="*/ 385286 h 514350"/>
                <a:gd name="connsiteX3277" fmla="*/ 5952649 w 6400800"/>
                <a:gd name="connsiteY3277" fmla="*/ 385286 h 514350"/>
                <a:gd name="connsiteX3278" fmla="*/ 5952649 w 6400800"/>
                <a:gd name="connsiteY3278" fmla="*/ 385286 h 514350"/>
                <a:gd name="connsiteX3279" fmla="*/ 5934551 w 6400800"/>
                <a:gd name="connsiteY3279" fmla="*/ 339566 h 514350"/>
                <a:gd name="connsiteX3280" fmla="*/ 5933599 w 6400800"/>
                <a:gd name="connsiteY3280" fmla="*/ 332899 h 514350"/>
                <a:gd name="connsiteX3281" fmla="*/ 5933599 w 6400800"/>
                <a:gd name="connsiteY3281" fmla="*/ 330994 h 514350"/>
                <a:gd name="connsiteX3282" fmla="*/ 5935504 w 6400800"/>
                <a:gd name="connsiteY3282" fmla="*/ 336709 h 514350"/>
                <a:gd name="connsiteX3283" fmla="*/ 5934551 w 6400800"/>
                <a:gd name="connsiteY3283" fmla="*/ 339566 h 514350"/>
                <a:gd name="connsiteX3284" fmla="*/ 5948839 w 6400800"/>
                <a:gd name="connsiteY3284" fmla="*/ 371951 h 514350"/>
                <a:gd name="connsiteX3285" fmla="*/ 5945981 w 6400800"/>
                <a:gd name="connsiteY3285" fmla="*/ 382429 h 514350"/>
                <a:gd name="connsiteX3286" fmla="*/ 5943124 w 6400800"/>
                <a:gd name="connsiteY3286" fmla="*/ 392906 h 514350"/>
                <a:gd name="connsiteX3287" fmla="*/ 5943124 w 6400800"/>
                <a:gd name="connsiteY3287" fmla="*/ 378619 h 514350"/>
                <a:gd name="connsiteX3288" fmla="*/ 5943124 w 6400800"/>
                <a:gd name="connsiteY3288" fmla="*/ 378619 h 514350"/>
                <a:gd name="connsiteX3289" fmla="*/ 5946934 w 6400800"/>
                <a:gd name="connsiteY3289" fmla="*/ 365284 h 514350"/>
                <a:gd name="connsiteX3290" fmla="*/ 5948839 w 6400800"/>
                <a:gd name="connsiteY3290" fmla="*/ 371951 h 514350"/>
                <a:gd name="connsiteX3291" fmla="*/ 5930742 w 6400800"/>
                <a:gd name="connsiteY3291" fmla="*/ 234791 h 514350"/>
                <a:gd name="connsiteX3292" fmla="*/ 5938362 w 6400800"/>
                <a:gd name="connsiteY3292" fmla="*/ 269081 h 514350"/>
                <a:gd name="connsiteX3293" fmla="*/ 5945029 w 6400800"/>
                <a:gd name="connsiteY3293" fmla="*/ 307181 h 514350"/>
                <a:gd name="connsiteX3294" fmla="*/ 5940267 w 6400800"/>
                <a:gd name="connsiteY3294" fmla="*/ 323374 h 514350"/>
                <a:gd name="connsiteX3295" fmla="*/ 5940267 w 6400800"/>
                <a:gd name="connsiteY3295" fmla="*/ 324326 h 514350"/>
                <a:gd name="connsiteX3296" fmla="*/ 5931694 w 6400800"/>
                <a:gd name="connsiteY3296" fmla="*/ 307181 h 514350"/>
                <a:gd name="connsiteX3297" fmla="*/ 5928837 w 6400800"/>
                <a:gd name="connsiteY3297" fmla="*/ 284321 h 514350"/>
                <a:gd name="connsiteX3298" fmla="*/ 5926931 w 6400800"/>
                <a:gd name="connsiteY3298" fmla="*/ 266224 h 514350"/>
                <a:gd name="connsiteX3299" fmla="*/ 5929789 w 6400800"/>
                <a:gd name="connsiteY3299" fmla="*/ 259556 h 514350"/>
                <a:gd name="connsiteX3300" fmla="*/ 5926931 w 6400800"/>
                <a:gd name="connsiteY3300" fmla="*/ 264319 h 514350"/>
                <a:gd name="connsiteX3301" fmla="*/ 5925026 w 6400800"/>
                <a:gd name="connsiteY3301" fmla="*/ 245269 h 514350"/>
                <a:gd name="connsiteX3302" fmla="*/ 5926931 w 6400800"/>
                <a:gd name="connsiteY3302" fmla="*/ 233839 h 514350"/>
                <a:gd name="connsiteX3303" fmla="*/ 5928837 w 6400800"/>
                <a:gd name="connsiteY3303" fmla="*/ 226219 h 514350"/>
                <a:gd name="connsiteX3304" fmla="*/ 5930742 w 6400800"/>
                <a:gd name="connsiteY3304" fmla="*/ 234791 h 514350"/>
                <a:gd name="connsiteX3305" fmla="*/ 5923121 w 6400800"/>
                <a:gd name="connsiteY3305" fmla="*/ 209074 h 514350"/>
                <a:gd name="connsiteX3306" fmla="*/ 5926931 w 6400800"/>
                <a:gd name="connsiteY3306" fmla="*/ 222409 h 514350"/>
                <a:gd name="connsiteX3307" fmla="*/ 5922169 w 6400800"/>
                <a:gd name="connsiteY3307" fmla="*/ 232886 h 514350"/>
                <a:gd name="connsiteX3308" fmla="*/ 5919312 w 6400800"/>
                <a:gd name="connsiteY3308" fmla="*/ 206216 h 514350"/>
                <a:gd name="connsiteX3309" fmla="*/ 5918359 w 6400800"/>
                <a:gd name="connsiteY3309" fmla="*/ 193834 h 514350"/>
                <a:gd name="connsiteX3310" fmla="*/ 5923121 w 6400800"/>
                <a:gd name="connsiteY3310" fmla="*/ 209074 h 514350"/>
                <a:gd name="connsiteX3311" fmla="*/ 5901214 w 6400800"/>
                <a:gd name="connsiteY3311" fmla="*/ 244316 h 514350"/>
                <a:gd name="connsiteX3312" fmla="*/ 5901214 w 6400800"/>
                <a:gd name="connsiteY3312" fmla="*/ 258604 h 514350"/>
                <a:gd name="connsiteX3313" fmla="*/ 5902167 w 6400800"/>
                <a:gd name="connsiteY3313" fmla="*/ 278606 h 514350"/>
                <a:gd name="connsiteX3314" fmla="*/ 5904071 w 6400800"/>
                <a:gd name="connsiteY3314" fmla="*/ 302419 h 514350"/>
                <a:gd name="connsiteX3315" fmla="*/ 5900262 w 6400800"/>
                <a:gd name="connsiteY3315" fmla="*/ 310039 h 514350"/>
                <a:gd name="connsiteX3316" fmla="*/ 5895499 w 6400800"/>
                <a:gd name="connsiteY3316" fmla="*/ 284321 h 514350"/>
                <a:gd name="connsiteX3317" fmla="*/ 5901214 w 6400800"/>
                <a:gd name="connsiteY3317" fmla="*/ 244316 h 514350"/>
                <a:gd name="connsiteX3318" fmla="*/ 5903119 w 6400800"/>
                <a:gd name="connsiteY3318" fmla="*/ 324326 h 514350"/>
                <a:gd name="connsiteX3319" fmla="*/ 5903119 w 6400800"/>
                <a:gd name="connsiteY3319" fmla="*/ 328136 h 514350"/>
                <a:gd name="connsiteX3320" fmla="*/ 5902167 w 6400800"/>
                <a:gd name="connsiteY3320" fmla="*/ 325279 h 514350"/>
                <a:gd name="connsiteX3321" fmla="*/ 5903119 w 6400800"/>
                <a:gd name="connsiteY3321" fmla="*/ 324326 h 514350"/>
                <a:gd name="connsiteX3322" fmla="*/ 5892642 w 6400800"/>
                <a:gd name="connsiteY3322" fmla="*/ 348139 h 514350"/>
                <a:gd name="connsiteX3323" fmla="*/ 5893594 w 6400800"/>
                <a:gd name="connsiteY3323" fmla="*/ 352901 h 514350"/>
                <a:gd name="connsiteX3324" fmla="*/ 5893594 w 6400800"/>
                <a:gd name="connsiteY3324" fmla="*/ 355759 h 514350"/>
                <a:gd name="connsiteX3325" fmla="*/ 5891689 w 6400800"/>
                <a:gd name="connsiteY3325" fmla="*/ 350996 h 514350"/>
                <a:gd name="connsiteX3326" fmla="*/ 5892642 w 6400800"/>
                <a:gd name="connsiteY3326" fmla="*/ 348139 h 514350"/>
                <a:gd name="connsiteX3327" fmla="*/ 5893594 w 6400800"/>
                <a:gd name="connsiteY3327" fmla="*/ 373856 h 514350"/>
                <a:gd name="connsiteX3328" fmla="*/ 5898356 w 6400800"/>
                <a:gd name="connsiteY3328" fmla="*/ 391954 h 514350"/>
                <a:gd name="connsiteX3329" fmla="*/ 5902167 w 6400800"/>
                <a:gd name="connsiteY3329" fmla="*/ 408146 h 514350"/>
                <a:gd name="connsiteX3330" fmla="*/ 5904071 w 6400800"/>
                <a:gd name="connsiteY3330" fmla="*/ 417671 h 514350"/>
                <a:gd name="connsiteX3331" fmla="*/ 5904071 w 6400800"/>
                <a:gd name="connsiteY3331" fmla="*/ 417671 h 514350"/>
                <a:gd name="connsiteX3332" fmla="*/ 5890737 w 6400800"/>
                <a:gd name="connsiteY3332" fmla="*/ 387191 h 514350"/>
                <a:gd name="connsiteX3333" fmla="*/ 5888831 w 6400800"/>
                <a:gd name="connsiteY3333" fmla="*/ 383381 h 514350"/>
                <a:gd name="connsiteX3334" fmla="*/ 5887879 w 6400800"/>
                <a:gd name="connsiteY3334" fmla="*/ 357664 h 514350"/>
                <a:gd name="connsiteX3335" fmla="*/ 5888831 w 6400800"/>
                <a:gd name="connsiteY3335" fmla="*/ 356711 h 514350"/>
                <a:gd name="connsiteX3336" fmla="*/ 5893594 w 6400800"/>
                <a:gd name="connsiteY3336" fmla="*/ 373856 h 514350"/>
                <a:gd name="connsiteX3337" fmla="*/ 5886926 w 6400800"/>
                <a:gd name="connsiteY3337" fmla="*/ 321469 h 514350"/>
                <a:gd name="connsiteX3338" fmla="*/ 5888831 w 6400800"/>
                <a:gd name="connsiteY3338" fmla="*/ 311944 h 514350"/>
                <a:gd name="connsiteX3339" fmla="*/ 5888831 w 6400800"/>
                <a:gd name="connsiteY3339" fmla="*/ 314801 h 514350"/>
                <a:gd name="connsiteX3340" fmla="*/ 5889784 w 6400800"/>
                <a:gd name="connsiteY3340" fmla="*/ 326231 h 514350"/>
                <a:gd name="connsiteX3341" fmla="*/ 5885974 w 6400800"/>
                <a:gd name="connsiteY3341" fmla="*/ 332899 h 514350"/>
                <a:gd name="connsiteX3342" fmla="*/ 5885974 w 6400800"/>
                <a:gd name="connsiteY3342" fmla="*/ 325279 h 514350"/>
                <a:gd name="connsiteX3343" fmla="*/ 5886926 w 6400800"/>
                <a:gd name="connsiteY3343" fmla="*/ 321469 h 514350"/>
                <a:gd name="connsiteX3344" fmla="*/ 5858351 w 6400800"/>
                <a:gd name="connsiteY3344" fmla="*/ 279559 h 514350"/>
                <a:gd name="connsiteX3345" fmla="*/ 5858351 w 6400800"/>
                <a:gd name="connsiteY3345" fmla="*/ 284321 h 514350"/>
                <a:gd name="connsiteX3346" fmla="*/ 5858351 w 6400800"/>
                <a:gd name="connsiteY3346" fmla="*/ 285274 h 514350"/>
                <a:gd name="connsiteX3347" fmla="*/ 5857399 w 6400800"/>
                <a:gd name="connsiteY3347" fmla="*/ 281464 h 514350"/>
                <a:gd name="connsiteX3348" fmla="*/ 5858351 w 6400800"/>
                <a:gd name="connsiteY3348" fmla="*/ 279559 h 514350"/>
                <a:gd name="connsiteX3349" fmla="*/ 5841206 w 6400800"/>
                <a:gd name="connsiteY3349" fmla="*/ 264319 h 514350"/>
                <a:gd name="connsiteX3350" fmla="*/ 5840254 w 6400800"/>
                <a:gd name="connsiteY3350" fmla="*/ 270034 h 514350"/>
                <a:gd name="connsiteX3351" fmla="*/ 5839301 w 6400800"/>
                <a:gd name="connsiteY3351" fmla="*/ 277654 h 514350"/>
                <a:gd name="connsiteX3352" fmla="*/ 5838349 w 6400800"/>
                <a:gd name="connsiteY3352" fmla="*/ 271939 h 514350"/>
                <a:gd name="connsiteX3353" fmla="*/ 5841206 w 6400800"/>
                <a:gd name="connsiteY3353" fmla="*/ 264319 h 514350"/>
                <a:gd name="connsiteX3354" fmla="*/ 5828824 w 6400800"/>
                <a:gd name="connsiteY3354" fmla="*/ 305276 h 514350"/>
                <a:gd name="connsiteX3355" fmla="*/ 5826919 w 6400800"/>
                <a:gd name="connsiteY3355" fmla="*/ 308134 h 514350"/>
                <a:gd name="connsiteX3356" fmla="*/ 5826919 w 6400800"/>
                <a:gd name="connsiteY3356" fmla="*/ 306229 h 514350"/>
                <a:gd name="connsiteX3357" fmla="*/ 5829776 w 6400800"/>
                <a:gd name="connsiteY3357" fmla="*/ 299561 h 514350"/>
                <a:gd name="connsiteX3358" fmla="*/ 5828824 w 6400800"/>
                <a:gd name="connsiteY3358" fmla="*/ 305276 h 514350"/>
                <a:gd name="connsiteX3359" fmla="*/ 5823109 w 6400800"/>
                <a:gd name="connsiteY3359" fmla="*/ 259556 h 514350"/>
                <a:gd name="connsiteX3360" fmla="*/ 5827871 w 6400800"/>
                <a:gd name="connsiteY3360" fmla="*/ 270986 h 514350"/>
                <a:gd name="connsiteX3361" fmla="*/ 5828824 w 6400800"/>
                <a:gd name="connsiteY3361" fmla="*/ 273844 h 514350"/>
                <a:gd name="connsiteX3362" fmla="*/ 5828824 w 6400800"/>
                <a:gd name="connsiteY3362" fmla="*/ 286226 h 514350"/>
                <a:gd name="connsiteX3363" fmla="*/ 5824062 w 6400800"/>
                <a:gd name="connsiteY3363" fmla="*/ 295751 h 514350"/>
                <a:gd name="connsiteX3364" fmla="*/ 5824062 w 6400800"/>
                <a:gd name="connsiteY3364" fmla="*/ 294799 h 514350"/>
                <a:gd name="connsiteX3365" fmla="*/ 5823109 w 6400800"/>
                <a:gd name="connsiteY3365" fmla="*/ 267176 h 514350"/>
                <a:gd name="connsiteX3366" fmla="*/ 5823109 w 6400800"/>
                <a:gd name="connsiteY3366" fmla="*/ 259556 h 514350"/>
                <a:gd name="connsiteX3367" fmla="*/ 5813584 w 6400800"/>
                <a:gd name="connsiteY3367" fmla="*/ 252889 h 514350"/>
                <a:gd name="connsiteX3368" fmla="*/ 5812631 w 6400800"/>
                <a:gd name="connsiteY3368" fmla="*/ 258604 h 514350"/>
                <a:gd name="connsiteX3369" fmla="*/ 5811679 w 6400800"/>
                <a:gd name="connsiteY3369" fmla="*/ 255746 h 514350"/>
                <a:gd name="connsiteX3370" fmla="*/ 5811679 w 6400800"/>
                <a:gd name="connsiteY3370" fmla="*/ 262414 h 514350"/>
                <a:gd name="connsiteX3371" fmla="*/ 5810726 w 6400800"/>
                <a:gd name="connsiteY3371" fmla="*/ 267176 h 514350"/>
                <a:gd name="connsiteX3372" fmla="*/ 5808821 w 6400800"/>
                <a:gd name="connsiteY3372" fmla="*/ 294799 h 514350"/>
                <a:gd name="connsiteX3373" fmla="*/ 5808821 w 6400800"/>
                <a:gd name="connsiteY3373" fmla="*/ 304324 h 514350"/>
                <a:gd name="connsiteX3374" fmla="*/ 5807869 w 6400800"/>
                <a:gd name="connsiteY3374" fmla="*/ 300514 h 514350"/>
                <a:gd name="connsiteX3375" fmla="*/ 5806917 w 6400800"/>
                <a:gd name="connsiteY3375" fmla="*/ 264319 h 514350"/>
                <a:gd name="connsiteX3376" fmla="*/ 5806917 w 6400800"/>
                <a:gd name="connsiteY3376" fmla="*/ 262414 h 514350"/>
                <a:gd name="connsiteX3377" fmla="*/ 5813584 w 6400800"/>
                <a:gd name="connsiteY3377" fmla="*/ 252889 h 514350"/>
                <a:gd name="connsiteX3378" fmla="*/ 5804059 w 6400800"/>
                <a:gd name="connsiteY3378" fmla="*/ 268129 h 514350"/>
                <a:gd name="connsiteX3379" fmla="*/ 5804059 w 6400800"/>
                <a:gd name="connsiteY3379" fmla="*/ 269081 h 514350"/>
                <a:gd name="connsiteX3380" fmla="*/ 5804059 w 6400800"/>
                <a:gd name="connsiteY3380" fmla="*/ 268129 h 514350"/>
                <a:gd name="connsiteX3381" fmla="*/ 5804059 w 6400800"/>
                <a:gd name="connsiteY3381" fmla="*/ 268129 h 514350"/>
                <a:gd name="connsiteX3382" fmla="*/ 5799296 w 6400800"/>
                <a:gd name="connsiteY3382" fmla="*/ 164306 h 514350"/>
                <a:gd name="connsiteX3383" fmla="*/ 5802154 w 6400800"/>
                <a:gd name="connsiteY3383" fmla="*/ 166211 h 514350"/>
                <a:gd name="connsiteX3384" fmla="*/ 5796439 w 6400800"/>
                <a:gd name="connsiteY3384" fmla="*/ 176689 h 514350"/>
                <a:gd name="connsiteX3385" fmla="*/ 5796439 w 6400800"/>
                <a:gd name="connsiteY3385" fmla="*/ 163354 h 514350"/>
                <a:gd name="connsiteX3386" fmla="*/ 5799296 w 6400800"/>
                <a:gd name="connsiteY3386" fmla="*/ 164306 h 514350"/>
                <a:gd name="connsiteX3387" fmla="*/ 5770721 w 6400800"/>
                <a:gd name="connsiteY3387" fmla="*/ 386239 h 514350"/>
                <a:gd name="connsiteX3388" fmla="*/ 5770721 w 6400800"/>
                <a:gd name="connsiteY3388" fmla="*/ 383381 h 514350"/>
                <a:gd name="connsiteX3389" fmla="*/ 5770721 w 6400800"/>
                <a:gd name="connsiteY3389" fmla="*/ 382429 h 514350"/>
                <a:gd name="connsiteX3390" fmla="*/ 5771674 w 6400800"/>
                <a:gd name="connsiteY3390" fmla="*/ 387191 h 514350"/>
                <a:gd name="connsiteX3391" fmla="*/ 5770721 w 6400800"/>
                <a:gd name="connsiteY3391" fmla="*/ 386239 h 514350"/>
                <a:gd name="connsiteX3392" fmla="*/ 5782151 w 6400800"/>
                <a:gd name="connsiteY3392" fmla="*/ 253841 h 514350"/>
                <a:gd name="connsiteX3393" fmla="*/ 5780246 w 6400800"/>
                <a:gd name="connsiteY3393" fmla="*/ 258604 h 514350"/>
                <a:gd name="connsiteX3394" fmla="*/ 5777389 w 6400800"/>
                <a:gd name="connsiteY3394" fmla="*/ 267176 h 514350"/>
                <a:gd name="connsiteX3395" fmla="*/ 5773579 w 6400800"/>
                <a:gd name="connsiteY3395" fmla="*/ 275749 h 514350"/>
                <a:gd name="connsiteX3396" fmla="*/ 5772626 w 6400800"/>
                <a:gd name="connsiteY3396" fmla="*/ 273844 h 514350"/>
                <a:gd name="connsiteX3397" fmla="*/ 5771674 w 6400800"/>
                <a:gd name="connsiteY3397" fmla="*/ 272891 h 514350"/>
                <a:gd name="connsiteX3398" fmla="*/ 5783104 w 6400800"/>
                <a:gd name="connsiteY3398" fmla="*/ 241459 h 514350"/>
                <a:gd name="connsiteX3399" fmla="*/ 5782151 w 6400800"/>
                <a:gd name="connsiteY3399" fmla="*/ 253841 h 514350"/>
                <a:gd name="connsiteX3400" fmla="*/ 5785962 w 6400800"/>
                <a:gd name="connsiteY3400" fmla="*/ 221456 h 514350"/>
                <a:gd name="connsiteX3401" fmla="*/ 5784056 w 6400800"/>
                <a:gd name="connsiteY3401" fmla="*/ 239554 h 514350"/>
                <a:gd name="connsiteX3402" fmla="*/ 5784056 w 6400800"/>
                <a:gd name="connsiteY3402" fmla="*/ 240506 h 514350"/>
                <a:gd name="connsiteX3403" fmla="*/ 5770721 w 6400800"/>
                <a:gd name="connsiteY3403" fmla="*/ 267176 h 514350"/>
                <a:gd name="connsiteX3404" fmla="*/ 5769769 w 6400800"/>
                <a:gd name="connsiteY3404" fmla="*/ 261461 h 514350"/>
                <a:gd name="connsiteX3405" fmla="*/ 5769769 w 6400800"/>
                <a:gd name="connsiteY3405" fmla="*/ 258604 h 514350"/>
                <a:gd name="connsiteX3406" fmla="*/ 5785962 w 6400800"/>
                <a:gd name="connsiteY3406" fmla="*/ 221456 h 514350"/>
                <a:gd name="connsiteX3407" fmla="*/ 5754529 w 6400800"/>
                <a:gd name="connsiteY3407" fmla="*/ 333851 h 514350"/>
                <a:gd name="connsiteX3408" fmla="*/ 5746909 w 6400800"/>
                <a:gd name="connsiteY3408" fmla="*/ 348139 h 514350"/>
                <a:gd name="connsiteX3409" fmla="*/ 5745956 w 6400800"/>
                <a:gd name="connsiteY3409" fmla="*/ 346234 h 514350"/>
                <a:gd name="connsiteX3410" fmla="*/ 5754529 w 6400800"/>
                <a:gd name="connsiteY3410" fmla="*/ 322421 h 514350"/>
                <a:gd name="connsiteX3411" fmla="*/ 5754529 w 6400800"/>
                <a:gd name="connsiteY3411" fmla="*/ 333851 h 514350"/>
                <a:gd name="connsiteX3412" fmla="*/ 5754529 w 6400800"/>
                <a:gd name="connsiteY3412" fmla="*/ 333851 h 514350"/>
                <a:gd name="connsiteX3413" fmla="*/ 5762149 w 6400800"/>
                <a:gd name="connsiteY3413" fmla="*/ 302419 h 514350"/>
                <a:gd name="connsiteX3414" fmla="*/ 5762149 w 6400800"/>
                <a:gd name="connsiteY3414" fmla="*/ 302419 h 514350"/>
                <a:gd name="connsiteX3415" fmla="*/ 5762149 w 6400800"/>
                <a:gd name="connsiteY3415" fmla="*/ 302419 h 514350"/>
                <a:gd name="connsiteX3416" fmla="*/ 5762149 w 6400800"/>
                <a:gd name="connsiteY3416" fmla="*/ 302419 h 514350"/>
                <a:gd name="connsiteX3417" fmla="*/ 5761196 w 6400800"/>
                <a:gd name="connsiteY3417" fmla="*/ 304324 h 514350"/>
                <a:gd name="connsiteX3418" fmla="*/ 5762149 w 6400800"/>
                <a:gd name="connsiteY3418" fmla="*/ 305276 h 514350"/>
                <a:gd name="connsiteX3419" fmla="*/ 5762149 w 6400800"/>
                <a:gd name="connsiteY3419" fmla="*/ 308134 h 514350"/>
                <a:gd name="connsiteX3420" fmla="*/ 5762149 w 6400800"/>
                <a:gd name="connsiteY3420" fmla="*/ 310039 h 514350"/>
                <a:gd name="connsiteX3421" fmla="*/ 5759292 w 6400800"/>
                <a:gd name="connsiteY3421" fmla="*/ 320516 h 514350"/>
                <a:gd name="connsiteX3422" fmla="*/ 5757387 w 6400800"/>
                <a:gd name="connsiteY3422" fmla="*/ 328136 h 514350"/>
                <a:gd name="connsiteX3423" fmla="*/ 5755481 w 6400800"/>
                <a:gd name="connsiteY3423" fmla="*/ 320516 h 514350"/>
                <a:gd name="connsiteX3424" fmla="*/ 5761196 w 6400800"/>
                <a:gd name="connsiteY3424" fmla="*/ 304324 h 514350"/>
                <a:gd name="connsiteX3425" fmla="*/ 5760244 w 6400800"/>
                <a:gd name="connsiteY3425" fmla="*/ 289084 h 514350"/>
                <a:gd name="connsiteX3426" fmla="*/ 5759292 w 6400800"/>
                <a:gd name="connsiteY3426" fmla="*/ 290989 h 514350"/>
                <a:gd name="connsiteX3427" fmla="*/ 5751671 w 6400800"/>
                <a:gd name="connsiteY3427" fmla="*/ 301466 h 514350"/>
                <a:gd name="connsiteX3428" fmla="*/ 5748814 w 6400800"/>
                <a:gd name="connsiteY3428" fmla="*/ 305276 h 514350"/>
                <a:gd name="connsiteX3429" fmla="*/ 5759292 w 6400800"/>
                <a:gd name="connsiteY3429" fmla="*/ 280511 h 514350"/>
                <a:gd name="connsiteX3430" fmla="*/ 5760244 w 6400800"/>
                <a:gd name="connsiteY3430" fmla="*/ 289084 h 514350"/>
                <a:gd name="connsiteX3431" fmla="*/ 5756434 w 6400800"/>
                <a:gd name="connsiteY3431" fmla="*/ 227171 h 514350"/>
                <a:gd name="connsiteX3432" fmla="*/ 5756434 w 6400800"/>
                <a:gd name="connsiteY3432" fmla="*/ 243364 h 514350"/>
                <a:gd name="connsiteX3433" fmla="*/ 5757387 w 6400800"/>
                <a:gd name="connsiteY3433" fmla="*/ 250984 h 514350"/>
                <a:gd name="connsiteX3434" fmla="*/ 5753576 w 6400800"/>
                <a:gd name="connsiteY3434" fmla="*/ 259556 h 514350"/>
                <a:gd name="connsiteX3435" fmla="*/ 5741194 w 6400800"/>
                <a:gd name="connsiteY3435" fmla="*/ 285274 h 514350"/>
                <a:gd name="connsiteX3436" fmla="*/ 5756434 w 6400800"/>
                <a:gd name="connsiteY3436" fmla="*/ 227171 h 514350"/>
                <a:gd name="connsiteX3437" fmla="*/ 5676424 w 6400800"/>
                <a:gd name="connsiteY3437" fmla="*/ 184309 h 514350"/>
                <a:gd name="connsiteX3438" fmla="*/ 5676424 w 6400800"/>
                <a:gd name="connsiteY3438" fmla="*/ 198596 h 514350"/>
                <a:gd name="connsiteX3439" fmla="*/ 5676424 w 6400800"/>
                <a:gd name="connsiteY3439" fmla="*/ 228124 h 514350"/>
                <a:gd name="connsiteX3440" fmla="*/ 5676424 w 6400800"/>
                <a:gd name="connsiteY3440" fmla="*/ 246221 h 514350"/>
                <a:gd name="connsiteX3441" fmla="*/ 5677376 w 6400800"/>
                <a:gd name="connsiteY3441" fmla="*/ 266224 h 514350"/>
                <a:gd name="connsiteX3442" fmla="*/ 5678329 w 6400800"/>
                <a:gd name="connsiteY3442" fmla="*/ 276701 h 514350"/>
                <a:gd name="connsiteX3443" fmla="*/ 5678329 w 6400800"/>
                <a:gd name="connsiteY3443" fmla="*/ 276701 h 514350"/>
                <a:gd name="connsiteX3444" fmla="*/ 5675471 w 6400800"/>
                <a:gd name="connsiteY3444" fmla="*/ 259556 h 514350"/>
                <a:gd name="connsiteX3445" fmla="*/ 5672614 w 6400800"/>
                <a:gd name="connsiteY3445" fmla="*/ 242411 h 514350"/>
                <a:gd name="connsiteX3446" fmla="*/ 5669756 w 6400800"/>
                <a:gd name="connsiteY3446" fmla="*/ 223361 h 514350"/>
                <a:gd name="connsiteX3447" fmla="*/ 5668804 w 6400800"/>
                <a:gd name="connsiteY3447" fmla="*/ 216694 h 514350"/>
                <a:gd name="connsiteX3448" fmla="*/ 5676424 w 6400800"/>
                <a:gd name="connsiteY3448" fmla="*/ 184309 h 514350"/>
                <a:gd name="connsiteX3449" fmla="*/ 5652612 w 6400800"/>
                <a:gd name="connsiteY3449" fmla="*/ 263366 h 514350"/>
                <a:gd name="connsiteX3450" fmla="*/ 5653564 w 6400800"/>
                <a:gd name="connsiteY3450" fmla="*/ 261461 h 514350"/>
                <a:gd name="connsiteX3451" fmla="*/ 5655469 w 6400800"/>
                <a:gd name="connsiteY3451" fmla="*/ 264319 h 514350"/>
                <a:gd name="connsiteX3452" fmla="*/ 5655469 w 6400800"/>
                <a:gd name="connsiteY3452" fmla="*/ 268129 h 514350"/>
                <a:gd name="connsiteX3453" fmla="*/ 5657374 w 6400800"/>
                <a:gd name="connsiteY3453" fmla="*/ 286226 h 514350"/>
                <a:gd name="connsiteX3454" fmla="*/ 5652612 w 6400800"/>
                <a:gd name="connsiteY3454" fmla="*/ 269081 h 514350"/>
                <a:gd name="connsiteX3455" fmla="*/ 5651659 w 6400800"/>
                <a:gd name="connsiteY3455" fmla="*/ 267176 h 514350"/>
                <a:gd name="connsiteX3456" fmla="*/ 5652612 w 6400800"/>
                <a:gd name="connsiteY3456" fmla="*/ 263366 h 514350"/>
                <a:gd name="connsiteX3457" fmla="*/ 5650706 w 6400800"/>
                <a:gd name="connsiteY3457" fmla="*/ 205264 h 514350"/>
                <a:gd name="connsiteX3458" fmla="*/ 5651659 w 6400800"/>
                <a:gd name="connsiteY3458" fmla="*/ 212884 h 514350"/>
                <a:gd name="connsiteX3459" fmla="*/ 5649754 w 6400800"/>
                <a:gd name="connsiteY3459" fmla="*/ 207169 h 514350"/>
                <a:gd name="connsiteX3460" fmla="*/ 5650706 w 6400800"/>
                <a:gd name="connsiteY3460" fmla="*/ 205264 h 514350"/>
                <a:gd name="connsiteX3461" fmla="*/ 5647849 w 6400800"/>
                <a:gd name="connsiteY3461" fmla="*/ 209074 h 514350"/>
                <a:gd name="connsiteX3462" fmla="*/ 5649754 w 6400800"/>
                <a:gd name="connsiteY3462" fmla="*/ 219551 h 514350"/>
                <a:gd name="connsiteX3463" fmla="*/ 5651659 w 6400800"/>
                <a:gd name="connsiteY3463" fmla="*/ 235744 h 514350"/>
                <a:gd name="connsiteX3464" fmla="*/ 5651659 w 6400800"/>
                <a:gd name="connsiteY3464" fmla="*/ 236696 h 514350"/>
                <a:gd name="connsiteX3465" fmla="*/ 5645944 w 6400800"/>
                <a:gd name="connsiteY3465" fmla="*/ 228124 h 514350"/>
                <a:gd name="connsiteX3466" fmla="*/ 5644039 w 6400800"/>
                <a:gd name="connsiteY3466" fmla="*/ 216694 h 514350"/>
                <a:gd name="connsiteX3467" fmla="*/ 5647849 w 6400800"/>
                <a:gd name="connsiteY3467" fmla="*/ 209074 h 514350"/>
                <a:gd name="connsiteX3468" fmla="*/ 5642134 w 6400800"/>
                <a:gd name="connsiteY3468" fmla="*/ 370046 h 514350"/>
                <a:gd name="connsiteX3469" fmla="*/ 5643087 w 6400800"/>
                <a:gd name="connsiteY3469" fmla="*/ 377666 h 514350"/>
                <a:gd name="connsiteX3470" fmla="*/ 5641181 w 6400800"/>
                <a:gd name="connsiteY3470" fmla="*/ 385286 h 514350"/>
                <a:gd name="connsiteX3471" fmla="*/ 5642134 w 6400800"/>
                <a:gd name="connsiteY3471" fmla="*/ 370046 h 514350"/>
                <a:gd name="connsiteX3472" fmla="*/ 5624037 w 6400800"/>
                <a:gd name="connsiteY3472" fmla="*/ 272891 h 514350"/>
                <a:gd name="connsiteX3473" fmla="*/ 5625942 w 6400800"/>
                <a:gd name="connsiteY3473" fmla="*/ 258604 h 514350"/>
                <a:gd name="connsiteX3474" fmla="*/ 5625942 w 6400800"/>
                <a:gd name="connsiteY3474" fmla="*/ 254794 h 514350"/>
                <a:gd name="connsiteX3475" fmla="*/ 5632609 w 6400800"/>
                <a:gd name="connsiteY3475" fmla="*/ 241459 h 514350"/>
                <a:gd name="connsiteX3476" fmla="*/ 5634514 w 6400800"/>
                <a:gd name="connsiteY3476" fmla="*/ 236696 h 514350"/>
                <a:gd name="connsiteX3477" fmla="*/ 5637371 w 6400800"/>
                <a:gd name="connsiteY3477" fmla="*/ 245269 h 514350"/>
                <a:gd name="connsiteX3478" fmla="*/ 5640229 w 6400800"/>
                <a:gd name="connsiteY3478" fmla="*/ 259556 h 514350"/>
                <a:gd name="connsiteX3479" fmla="*/ 5640229 w 6400800"/>
                <a:gd name="connsiteY3479" fmla="*/ 266224 h 514350"/>
                <a:gd name="connsiteX3480" fmla="*/ 5631656 w 6400800"/>
                <a:gd name="connsiteY3480" fmla="*/ 288131 h 514350"/>
                <a:gd name="connsiteX3481" fmla="*/ 5624037 w 6400800"/>
                <a:gd name="connsiteY3481" fmla="*/ 277654 h 514350"/>
                <a:gd name="connsiteX3482" fmla="*/ 5624037 w 6400800"/>
                <a:gd name="connsiteY3482" fmla="*/ 272891 h 514350"/>
                <a:gd name="connsiteX3483" fmla="*/ 5623084 w 6400800"/>
                <a:gd name="connsiteY3483" fmla="*/ 289084 h 514350"/>
                <a:gd name="connsiteX3484" fmla="*/ 5623084 w 6400800"/>
                <a:gd name="connsiteY3484" fmla="*/ 287179 h 514350"/>
                <a:gd name="connsiteX3485" fmla="*/ 5624989 w 6400800"/>
                <a:gd name="connsiteY3485" fmla="*/ 290989 h 514350"/>
                <a:gd name="connsiteX3486" fmla="*/ 5626894 w 6400800"/>
                <a:gd name="connsiteY3486" fmla="*/ 298609 h 514350"/>
                <a:gd name="connsiteX3487" fmla="*/ 5625942 w 6400800"/>
                <a:gd name="connsiteY3487" fmla="*/ 300514 h 514350"/>
                <a:gd name="connsiteX3488" fmla="*/ 5625942 w 6400800"/>
                <a:gd name="connsiteY3488" fmla="*/ 300514 h 514350"/>
                <a:gd name="connsiteX3489" fmla="*/ 5622131 w 6400800"/>
                <a:gd name="connsiteY3489" fmla="*/ 295751 h 514350"/>
                <a:gd name="connsiteX3490" fmla="*/ 5623084 w 6400800"/>
                <a:gd name="connsiteY3490" fmla="*/ 289084 h 514350"/>
                <a:gd name="connsiteX3491" fmla="*/ 5621179 w 6400800"/>
                <a:gd name="connsiteY3491" fmla="*/ 310991 h 514350"/>
                <a:gd name="connsiteX3492" fmla="*/ 5621179 w 6400800"/>
                <a:gd name="connsiteY3492" fmla="*/ 310991 h 514350"/>
                <a:gd name="connsiteX3493" fmla="*/ 5621179 w 6400800"/>
                <a:gd name="connsiteY3493" fmla="*/ 310991 h 514350"/>
                <a:gd name="connsiteX3494" fmla="*/ 5621179 w 6400800"/>
                <a:gd name="connsiteY3494" fmla="*/ 310991 h 514350"/>
                <a:gd name="connsiteX3495" fmla="*/ 5618321 w 6400800"/>
                <a:gd name="connsiteY3495" fmla="*/ 270034 h 514350"/>
                <a:gd name="connsiteX3496" fmla="*/ 5618321 w 6400800"/>
                <a:gd name="connsiteY3496" fmla="*/ 270034 h 514350"/>
                <a:gd name="connsiteX3497" fmla="*/ 5618321 w 6400800"/>
                <a:gd name="connsiteY3497" fmla="*/ 270034 h 514350"/>
                <a:gd name="connsiteX3498" fmla="*/ 5618321 w 6400800"/>
                <a:gd name="connsiteY3498" fmla="*/ 270034 h 514350"/>
                <a:gd name="connsiteX3499" fmla="*/ 5617369 w 6400800"/>
                <a:gd name="connsiteY3499" fmla="*/ 272891 h 514350"/>
                <a:gd name="connsiteX3500" fmla="*/ 5618321 w 6400800"/>
                <a:gd name="connsiteY3500" fmla="*/ 273844 h 514350"/>
                <a:gd name="connsiteX3501" fmla="*/ 5616417 w 6400800"/>
                <a:gd name="connsiteY3501" fmla="*/ 286226 h 514350"/>
                <a:gd name="connsiteX3502" fmla="*/ 5613559 w 6400800"/>
                <a:gd name="connsiteY3502" fmla="*/ 282416 h 514350"/>
                <a:gd name="connsiteX3503" fmla="*/ 5617369 w 6400800"/>
                <a:gd name="connsiteY3503" fmla="*/ 272891 h 514350"/>
                <a:gd name="connsiteX3504" fmla="*/ 5608796 w 6400800"/>
                <a:gd name="connsiteY3504" fmla="*/ 290989 h 514350"/>
                <a:gd name="connsiteX3505" fmla="*/ 5608796 w 6400800"/>
                <a:gd name="connsiteY3505" fmla="*/ 290989 h 514350"/>
                <a:gd name="connsiteX3506" fmla="*/ 5611654 w 6400800"/>
                <a:gd name="connsiteY3506" fmla="*/ 294799 h 514350"/>
                <a:gd name="connsiteX3507" fmla="*/ 5613559 w 6400800"/>
                <a:gd name="connsiteY3507" fmla="*/ 297656 h 514350"/>
                <a:gd name="connsiteX3508" fmla="*/ 5611654 w 6400800"/>
                <a:gd name="connsiteY3508" fmla="*/ 310991 h 514350"/>
                <a:gd name="connsiteX3509" fmla="*/ 5608796 w 6400800"/>
                <a:gd name="connsiteY3509" fmla="*/ 292894 h 514350"/>
                <a:gd name="connsiteX3510" fmla="*/ 5608796 w 6400800"/>
                <a:gd name="connsiteY3510" fmla="*/ 290989 h 514350"/>
                <a:gd name="connsiteX3511" fmla="*/ 5594509 w 6400800"/>
                <a:gd name="connsiteY3511" fmla="*/ 241459 h 514350"/>
                <a:gd name="connsiteX3512" fmla="*/ 5595462 w 6400800"/>
                <a:gd name="connsiteY3512" fmla="*/ 258604 h 514350"/>
                <a:gd name="connsiteX3513" fmla="*/ 5595462 w 6400800"/>
                <a:gd name="connsiteY3513" fmla="*/ 259556 h 514350"/>
                <a:gd name="connsiteX3514" fmla="*/ 5595462 w 6400800"/>
                <a:gd name="connsiteY3514" fmla="*/ 261461 h 514350"/>
                <a:gd name="connsiteX3515" fmla="*/ 5593556 w 6400800"/>
                <a:gd name="connsiteY3515" fmla="*/ 259556 h 514350"/>
                <a:gd name="connsiteX3516" fmla="*/ 5592604 w 6400800"/>
                <a:gd name="connsiteY3516" fmla="*/ 250031 h 514350"/>
                <a:gd name="connsiteX3517" fmla="*/ 5594509 w 6400800"/>
                <a:gd name="connsiteY3517" fmla="*/ 241459 h 514350"/>
                <a:gd name="connsiteX3518" fmla="*/ 5578317 w 6400800"/>
                <a:gd name="connsiteY3518" fmla="*/ 284321 h 514350"/>
                <a:gd name="connsiteX3519" fmla="*/ 5578317 w 6400800"/>
                <a:gd name="connsiteY3519" fmla="*/ 286226 h 514350"/>
                <a:gd name="connsiteX3520" fmla="*/ 5577364 w 6400800"/>
                <a:gd name="connsiteY3520" fmla="*/ 285274 h 514350"/>
                <a:gd name="connsiteX3521" fmla="*/ 5578317 w 6400800"/>
                <a:gd name="connsiteY3521" fmla="*/ 284321 h 514350"/>
                <a:gd name="connsiteX3522" fmla="*/ 5573554 w 6400800"/>
                <a:gd name="connsiteY3522" fmla="*/ 299561 h 514350"/>
                <a:gd name="connsiteX3523" fmla="*/ 5576412 w 6400800"/>
                <a:gd name="connsiteY3523" fmla="*/ 305276 h 514350"/>
                <a:gd name="connsiteX3524" fmla="*/ 5577364 w 6400800"/>
                <a:gd name="connsiteY3524" fmla="*/ 307181 h 514350"/>
                <a:gd name="connsiteX3525" fmla="*/ 5576412 w 6400800"/>
                <a:gd name="connsiteY3525" fmla="*/ 325279 h 514350"/>
                <a:gd name="connsiteX3526" fmla="*/ 5576412 w 6400800"/>
                <a:gd name="connsiteY3526" fmla="*/ 328136 h 514350"/>
                <a:gd name="connsiteX3527" fmla="*/ 5575459 w 6400800"/>
                <a:gd name="connsiteY3527" fmla="*/ 319564 h 514350"/>
                <a:gd name="connsiteX3528" fmla="*/ 5573554 w 6400800"/>
                <a:gd name="connsiteY3528" fmla="*/ 303371 h 514350"/>
                <a:gd name="connsiteX3529" fmla="*/ 5573554 w 6400800"/>
                <a:gd name="connsiteY3529" fmla="*/ 299561 h 514350"/>
                <a:gd name="connsiteX3530" fmla="*/ 5550694 w 6400800"/>
                <a:gd name="connsiteY3530" fmla="*/ 308134 h 514350"/>
                <a:gd name="connsiteX3531" fmla="*/ 5549742 w 6400800"/>
                <a:gd name="connsiteY3531" fmla="*/ 301466 h 514350"/>
                <a:gd name="connsiteX3532" fmla="*/ 5551646 w 6400800"/>
                <a:gd name="connsiteY3532" fmla="*/ 294799 h 514350"/>
                <a:gd name="connsiteX3533" fmla="*/ 5552599 w 6400800"/>
                <a:gd name="connsiteY3533" fmla="*/ 291941 h 514350"/>
                <a:gd name="connsiteX3534" fmla="*/ 5554504 w 6400800"/>
                <a:gd name="connsiteY3534" fmla="*/ 302419 h 514350"/>
                <a:gd name="connsiteX3535" fmla="*/ 5552599 w 6400800"/>
                <a:gd name="connsiteY3535" fmla="*/ 306229 h 514350"/>
                <a:gd name="connsiteX3536" fmla="*/ 5550694 w 6400800"/>
                <a:gd name="connsiteY3536" fmla="*/ 308134 h 514350"/>
                <a:gd name="connsiteX3537" fmla="*/ 5557362 w 6400800"/>
                <a:gd name="connsiteY3537" fmla="*/ 313849 h 514350"/>
                <a:gd name="connsiteX3538" fmla="*/ 5557362 w 6400800"/>
                <a:gd name="connsiteY3538" fmla="*/ 313849 h 514350"/>
                <a:gd name="connsiteX3539" fmla="*/ 5553551 w 6400800"/>
                <a:gd name="connsiteY3539" fmla="*/ 318611 h 514350"/>
                <a:gd name="connsiteX3540" fmla="*/ 5556409 w 6400800"/>
                <a:gd name="connsiteY3540" fmla="*/ 310039 h 514350"/>
                <a:gd name="connsiteX3541" fmla="*/ 5557362 w 6400800"/>
                <a:gd name="connsiteY3541" fmla="*/ 313849 h 514350"/>
                <a:gd name="connsiteX3542" fmla="*/ 5557362 w 6400800"/>
                <a:gd name="connsiteY3542" fmla="*/ 313849 h 514350"/>
                <a:gd name="connsiteX3543" fmla="*/ 5561171 w 6400800"/>
                <a:gd name="connsiteY3543" fmla="*/ 359569 h 514350"/>
                <a:gd name="connsiteX3544" fmla="*/ 5561171 w 6400800"/>
                <a:gd name="connsiteY3544" fmla="*/ 361474 h 514350"/>
                <a:gd name="connsiteX3545" fmla="*/ 5560219 w 6400800"/>
                <a:gd name="connsiteY3545" fmla="*/ 360521 h 514350"/>
                <a:gd name="connsiteX3546" fmla="*/ 5558314 w 6400800"/>
                <a:gd name="connsiteY3546" fmla="*/ 350996 h 514350"/>
                <a:gd name="connsiteX3547" fmla="*/ 5560219 w 6400800"/>
                <a:gd name="connsiteY3547" fmla="*/ 342424 h 514350"/>
                <a:gd name="connsiteX3548" fmla="*/ 5561171 w 6400800"/>
                <a:gd name="connsiteY3548" fmla="*/ 359569 h 514350"/>
                <a:gd name="connsiteX3549" fmla="*/ 5559267 w 6400800"/>
                <a:gd name="connsiteY3549" fmla="*/ 303371 h 514350"/>
                <a:gd name="connsiteX3550" fmla="*/ 5559267 w 6400800"/>
                <a:gd name="connsiteY3550" fmla="*/ 303371 h 514350"/>
                <a:gd name="connsiteX3551" fmla="*/ 5559267 w 6400800"/>
                <a:gd name="connsiteY3551" fmla="*/ 303371 h 514350"/>
                <a:gd name="connsiteX3552" fmla="*/ 5559267 w 6400800"/>
                <a:gd name="connsiteY3552" fmla="*/ 303371 h 514350"/>
                <a:gd name="connsiteX3553" fmla="*/ 5557362 w 6400800"/>
                <a:gd name="connsiteY3553" fmla="*/ 277654 h 514350"/>
                <a:gd name="connsiteX3554" fmla="*/ 5558314 w 6400800"/>
                <a:gd name="connsiteY3554" fmla="*/ 283369 h 514350"/>
                <a:gd name="connsiteX3555" fmla="*/ 5559267 w 6400800"/>
                <a:gd name="connsiteY3555" fmla="*/ 293846 h 514350"/>
                <a:gd name="connsiteX3556" fmla="*/ 5557362 w 6400800"/>
                <a:gd name="connsiteY3556" fmla="*/ 296704 h 514350"/>
                <a:gd name="connsiteX3557" fmla="*/ 5554504 w 6400800"/>
                <a:gd name="connsiteY3557" fmla="*/ 287179 h 514350"/>
                <a:gd name="connsiteX3558" fmla="*/ 5557362 w 6400800"/>
                <a:gd name="connsiteY3558" fmla="*/ 277654 h 514350"/>
                <a:gd name="connsiteX3559" fmla="*/ 5553551 w 6400800"/>
                <a:gd name="connsiteY3559" fmla="*/ 252889 h 514350"/>
                <a:gd name="connsiteX3560" fmla="*/ 5553551 w 6400800"/>
                <a:gd name="connsiteY3560" fmla="*/ 252889 h 514350"/>
                <a:gd name="connsiteX3561" fmla="*/ 5553551 w 6400800"/>
                <a:gd name="connsiteY3561" fmla="*/ 253841 h 514350"/>
                <a:gd name="connsiteX3562" fmla="*/ 5555456 w 6400800"/>
                <a:gd name="connsiteY3562" fmla="*/ 268129 h 514350"/>
                <a:gd name="connsiteX3563" fmla="*/ 5555456 w 6400800"/>
                <a:gd name="connsiteY3563" fmla="*/ 270986 h 514350"/>
                <a:gd name="connsiteX3564" fmla="*/ 5552599 w 6400800"/>
                <a:gd name="connsiteY3564" fmla="*/ 275749 h 514350"/>
                <a:gd name="connsiteX3565" fmla="*/ 5549742 w 6400800"/>
                <a:gd name="connsiteY3565" fmla="*/ 280511 h 514350"/>
                <a:gd name="connsiteX3566" fmla="*/ 5549742 w 6400800"/>
                <a:gd name="connsiteY3566" fmla="*/ 280511 h 514350"/>
                <a:gd name="connsiteX3567" fmla="*/ 5549742 w 6400800"/>
                <a:gd name="connsiteY3567" fmla="*/ 280511 h 514350"/>
                <a:gd name="connsiteX3568" fmla="*/ 5545931 w 6400800"/>
                <a:gd name="connsiteY3568" fmla="*/ 286226 h 514350"/>
                <a:gd name="connsiteX3569" fmla="*/ 5544979 w 6400800"/>
                <a:gd name="connsiteY3569" fmla="*/ 281464 h 514350"/>
                <a:gd name="connsiteX3570" fmla="*/ 5546884 w 6400800"/>
                <a:gd name="connsiteY3570" fmla="*/ 275749 h 514350"/>
                <a:gd name="connsiteX3571" fmla="*/ 5549742 w 6400800"/>
                <a:gd name="connsiteY3571" fmla="*/ 261461 h 514350"/>
                <a:gd name="connsiteX3572" fmla="*/ 5553551 w 6400800"/>
                <a:gd name="connsiteY3572" fmla="*/ 252889 h 514350"/>
                <a:gd name="connsiteX3573" fmla="*/ 5548789 w 6400800"/>
                <a:gd name="connsiteY3573" fmla="*/ 226219 h 514350"/>
                <a:gd name="connsiteX3574" fmla="*/ 5549742 w 6400800"/>
                <a:gd name="connsiteY3574" fmla="*/ 230029 h 514350"/>
                <a:gd name="connsiteX3575" fmla="*/ 5550694 w 6400800"/>
                <a:gd name="connsiteY3575" fmla="*/ 234791 h 514350"/>
                <a:gd name="connsiteX3576" fmla="*/ 5547837 w 6400800"/>
                <a:gd name="connsiteY3576" fmla="*/ 230029 h 514350"/>
                <a:gd name="connsiteX3577" fmla="*/ 5548789 w 6400800"/>
                <a:gd name="connsiteY3577" fmla="*/ 226219 h 514350"/>
                <a:gd name="connsiteX3578" fmla="*/ 5546884 w 6400800"/>
                <a:gd name="connsiteY3578" fmla="*/ 235744 h 514350"/>
                <a:gd name="connsiteX3579" fmla="*/ 5550694 w 6400800"/>
                <a:gd name="connsiteY3579" fmla="*/ 244316 h 514350"/>
                <a:gd name="connsiteX3580" fmla="*/ 5544979 w 6400800"/>
                <a:gd name="connsiteY3580" fmla="*/ 259556 h 514350"/>
                <a:gd name="connsiteX3581" fmla="*/ 5544026 w 6400800"/>
                <a:gd name="connsiteY3581" fmla="*/ 262414 h 514350"/>
                <a:gd name="connsiteX3582" fmla="*/ 5543074 w 6400800"/>
                <a:gd name="connsiteY3582" fmla="*/ 257651 h 514350"/>
                <a:gd name="connsiteX3583" fmla="*/ 5542121 w 6400800"/>
                <a:gd name="connsiteY3583" fmla="*/ 254794 h 514350"/>
                <a:gd name="connsiteX3584" fmla="*/ 5546884 w 6400800"/>
                <a:gd name="connsiteY3584" fmla="*/ 235744 h 514350"/>
                <a:gd name="connsiteX3585" fmla="*/ 5540217 w 6400800"/>
                <a:gd name="connsiteY3585" fmla="*/ 218599 h 514350"/>
                <a:gd name="connsiteX3586" fmla="*/ 5539264 w 6400800"/>
                <a:gd name="connsiteY3586" fmla="*/ 220504 h 514350"/>
                <a:gd name="connsiteX3587" fmla="*/ 5538312 w 6400800"/>
                <a:gd name="connsiteY3587" fmla="*/ 223361 h 514350"/>
                <a:gd name="connsiteX3588" fmla="*/ 5536406 w 6400800"/>
                <a:gd name="connsiteY3588" fmla="*/ 210026 h 514350"/>
                <a:gd name="connsiteX3589" fmla="*/ 5540217 w 6400800"/>
                <a:gd name="connsiteY3589" fmla="*/ 218599 h 514350"/>
                <a:gd name="connsiteX3590" fmla="*/ 5507831 w 6400800"/>
                <a:gd name="connsiteY3590" fmla="*/ 312896 h 514350"/>
                <a:gd name="connsiteX3591" fmla="*/ 5507831 w 6400800"/>
                <a:gd name="connsiteY3591" fmla="*/ 312896 h 514350"/>
                <a:gd name="connsiteX3592" fmla="*/ 5507831 w 6400800"/>
                <a:gd name="connsiteY3592" fmla="*/ 313849 h 514350"/>
                <a:gd name="connsiteX3593" fmla="*/ 5507831 w 6400800"/>
                <a:gd name="connsiteY3593" fmla="*/ 312896 h 514350"/>
                <a:gd name="connsiteX3594" fmla="*/ 5481162 w 6400800"/>
                <a:gd name="connsiteY3594" fmla="*/ 326231 h 514350"/>
                <a:gd name="connsiteX3595" fmla="*/ 5480209 w 6400800"/>
                <a:gd name="connsiteY3595" fmla="*/ 330994 h 514350"/>
                <a:gd name="connsiteX3596" fmla="*/ 5479256 w 6400800"/>
                <a:gd name="connsiteY3596" fmla="*/ 324326 h 514350"/>
                <a:gd name="connsiteX3597" fmla="*/ 5479256 w 6400800"/>
                <a:gd name="connsiteY3597" fmla="*/ 322421 h 514350"/>
                <a:gd name="connsiteX3598" fmla="*/ 5478304 w 6400800"/>
                <a:gd name="connsiteY3598" fmla="*/ 311944 h 514350"/>
                <a:gd name="connsiteX3599" fmla="*/ 5482114 w 6400800"/>
                <a:gd name="connsiteY3599" fmla="*/ 325279 h 514350"/>
                <a:gd name="connsiteX3600" fmla="*/ 5481162 w 6400800"/>
                <a:gd name="connsiteY3600" fmla="*/ 326231 h 514350"/>
                <a:gd name="connsiteX3601" fmla="*/ 5493544 w 6400800"/>
                <a:gd name="connsiteY3601" fmla="*/ 339566 h 514350"/>
                <a:gd name="connsiteX3602" fmla="*/ 5493544 w 6400800"/>
                <a:gd name="connsiteY3602" fmla="*/ 339566 h 514350"/>
                <a:gd name="connsiteX3603" fmla="*/ 5493544 w 6400800"/>
                <a:gd name="connsiteY3603" fmla="*/ 339566 h 514350"/>
                <a:gd name="connsiteX3604" fmla="*/ 5493544 w 6400800"/>
                <a:gd name="connsiteY3604" fmla="*/ 339566 h 514350"/>
                <a:gd name="connsiteX3605" fmla="*/ 5488781 w 6400800"/>
                <a:gd name="connsiteY3605" fmla="*/ 261461 h 514350"/>
                <a:gd name="connsiteX3606" fmla="*/ 5488781 w 6400800"/>
                <a:gd name="connsiteY3606" fmla="*/ 261461 h 514350"/>
                <a:gd name="connsiteX3607" fmla="*/ 5490687 w 6400800"/>
                <a:gd name="connsiteY3607" fmla="*/ 267176 h 514350"/>
                <a:gd name="connsiteX3608" fmla="*/ 5487829 w 6400800"/>
                <a:gd name="connsiteY3608" fmla="*/ 264319 h 514350"/>
                <a:gd name="connsiteX3609" fmla="*/ 5488781 w 6400800"/>
                <a:gd name="connsiteY3609" fmla="*/ 261461 h 514350"/>
                <a:gd name="connsiteX3610" fmla="*/ 5483067 w 6400800"/>
                <a:gd name="connsiteY3610" fmla="*/ 280511 h 514350"/>
                <a:gd name="connsiteX3611" fmla="*/ 5484971 w 6400800"/>
                <a:gd name="connsiteY3611" fmla="*/ 272891 h 514350"/>
                <a:gd name="connsiteX3612" fmla="*/ 5496401 w 6400800"/>
                <a:gd name="connsiteY3612" fmla="*/ 291941 h 514350"/>
                <a:gd name="connsiteX3613" fmla="*/ 5500212 w 6400800"/>
                <a:gd name="connsiteY3613" fmla="*/ 297656 h 514350"/>
                <a:gd name="connsiteX3614" fmla="*/ 5497354 w 6400800"/>
                <a:gd name="connsiteY3614" fmla="*/ 307181 h 514350"/>
                <a:gd name="connsiteX3615" fmla="*/ 5496401 w 6400800"/>
                <a:gd name="connsiteY3615" fmla="*/ 310991 h 514350"/>
                <a:gd name="connsiteX3616" fmla="*/ 5493544 w 6400800"/>
                <a:gd name="connsiteY3616" fmla="*/ 307181 h 514350"/>
                <a:gd name="connsiteX3617" fmla="*/ 5495449 w 6400800"/>
                <a:gd name="connsiteY3617" fmla="*/ 311944 h 514350"/>
                <a:gd name="connsiteX3618" fmla="*/ 5494496 w 6400800"/>
                <a:gd name="connsiteY3618" fmla="*/ 319564 h 514350"/>
                <a:gd name="connsiteX3619" fmla="*/ 5492592 w 6400800"/>
                <a:gd name="connsiteY3619" fmla="*/ 330041 h 514350"/>
                <a:gd name="connsiteX3620" fmla="*/ 5488781 w 6400800"/>
                <a:gd name="connsiteY3620" fmla="*/ 333851 h 514350"/>
                <a:gd name="connsiteX3621" fmla="*/ 5485924 w 6400800"/>
                <a:gd name="connsiteY3621" fmla="*/ 327184 h 514350"/>
                <a:gd name="connsiteX3622" fmla="*/ 5487829 w 6400800"/>
                <a:gd name="connsiteY3622" fmla="*/ 312896 h 514350"/>
                <a:gd name="connsiteX3623" fmla="*/ 5489734 w 6400800"/>
                <a:gd name="connsiteY3623" fmla="*/ 299561 h 514350"/>
                <a:gd name="connsiteX3624" fmla="*/ 5484019 w 6400800"/>
                <a:gd name="connsiteY3624" fmla="*/ 311944 h 514350"/>
                <a:gd name="connsiteX3625" fmla="*/ 5483067 w 6400800"/>
                <a:gd name="connsiteY3625" fmla="*/ 313849 h 514350"/>
                <a:gd name="connsiteX3626" fmla="*/ 5483067 w 6400800"/>
                <a:gd name="connsiteY3626" fmla="*/ 312896 h 514350"/>
                <a:gd name="connsiteX3627" fmla="*/ 5478304 w 6400800"/>
                <a:gd name="connsiteY3627" fmla="*/ 292894 h 514350"/>
                <a:gd name="connsiteX3628" fmla="*/ 5479256 w 6400800"/>
                <a:gd name="connsiteY3628" fmla="*/ 309086 h 514350"/>
                <a:gd name="connsiteX3629" fmla="*/ 5479256 w 6400800"/>
                <a:gd name="connsiteY3629" fmla="*/ 308134 h 514350"/>
                <a:gd name="connsiteX3630" fmla="*/ 5476399 w 6400800"/>
                <a:gd name="connsiteY3630" fmla="*/ 300514 h 514350"/>
                <a:gd name="connsiteX3631" fmla="*/ 5483067 w 6400800"/>
                <a:gd name="connsiteY3631" fmla="*/ 280511 h 514350"/>
                <a:gd name="connsiteX3632" fmla="*/ 5472589 w 6400800"/>
                <a:gd name="connsiteY3632" fmla="*/ 254794 h 514350"/>
                <a:gd name="connsiteX3633" fmla="*/ 5475446 w 6400800"/>
                <a:gd name="connsiteY3633" fmla="*/ 258604 h 514350"/>
                <a:gd name="connsiteX3634" fmla="*/ 5471637 w 6400800"/>
                <a:gd name="connsiteY3634" fmla="*/ 268129 h 514350"/>
                <a:gd name="connsiteX3635" fmla="*/ 5468779 w 6400800"/>
                <a:gd name="connsiteY3635" fmla="*/ 249079 h 514350"/>
                <a:gd name="connsiteX3636" fmla="*/ 5472589 w 6400800"/>
                <a:gd name="connsiteY3636" fmla="*/ 254794 h 514350"/>
                <a:gd name="connsiteX3637" fmla="*/ 5452587 w 6400800"/>
                <a:gd name="connsiteY3637" fmla="*/ 208121 h 514350"/>
                <a:gd name="connsiteX3638" fmla="*/ 5452587 w 6400800"/>
                <a:gd name="connsiteY3638" fmla="*/ 210026 h 514350"/>
                <a:gd name="connsiteX3639" fmla="*/ 5454492 w 6400800"/>
                <a:gd name="connsiteY3639" fmla="*/ 225266 h 514350"/>
                <a:gd name="connsiteX3640" fmla="*/ 5454492 w 6400800"/>
                <a:gd name="connsiteY3640" fmla="*/ 228124 h 514350"/>
                <a:gd name="connsiteX3641" fmla="*/ 5450681 w 6400800"/>
                <a:gd name="connsiteY3641" fmla="*/ 225266 h 514350"/>
                <a:gd name="connsiteX3642" fmla="*/ 5452587 w 6400800"/>
                <a:gd name="connsiteY3642" fmla="*/ 208121 h 514350"/>
                <a:gd name="connsiteX3643" fmla="*/ 5449729 w 6400800"/>
                <a:gd name="connsiteY3643" fmla="*/ 250031 h 514350"/>
                <a:gd name="connsiteX3644" fmla="*/ 5451634 w 6400800"/>
                <a:gd name="connsiteY3644" fmla="*/ 228124 h 514350"/>
                <a:gd name="connsiteX3645" fmla="*/ 5453539 w 6400800"/>
                <a:gd name="connsiteY3645" fmla="*/ 230029 h 514350"/>
                <a:gd name="connsiteX3646" fmla="*/ 5455444 w 6400800"/>
                <a:gd name="connsiteY3646" fmla="*/ 232886 h 514350"/>
                <a:gd name="connsiteX3647" fmla="*/ 5456396 w 6400800"/>
                <a:gd name="connsiteY3647" fmla="*/ 243364 h 514350"/>
                <a:gd name="connsiteX3648" fmla="*/ 5459254 w 6400800"/>
                <a:gd name="connsiteY3648" fmla="*/ 282416 h 514350"/>
                <a:gd name="connsiteX3649" fmla="*/ 5460206 w 6400800"/>
                <a:gd name="connsiteY3649" fmla="*/ 299561 h 514350"/>
                <a:gd name="connsiteX3650" fmla="*/ 5455444 w 6400800"/>
                <a:gd name="connsiteY3650" fmla="*/ 313849 h 514350"/>
                <a:gd name="connsiteX3651" fmla="*/ 5447824 w 6400800"/>
                <a:gd name="connsiteY3651" fmla="*/ 280511 h 514350"/>
                <a:gd name="connsiteX3652" fmla="*/ 5446871 w 6400800"/>
                <a:gd name="connsiteY3652" fmla="*/ 276701 h 514350"/>
                <a:gd name="connsiteX3653" fmla="*/ 5449729 w 6400800"/>
                <a:gd name="connsiteY3653" fmla="*/ 250031 h 514350"/>
                <a:gd name="connsiteX3654" fmla="*/ 5443062 w 6400800"/>
                <a:gd name="connsiteY3654" fmla="*/ 327184 h 514350"/>
                <a:gd name="connsiteX3655" fmla="*/ 5445919 w 6400800"/>
                <a:gd name="connsiteY3655" fmla="*/ 343376 h 514350"/>
                <a:gd name="connsiteX3656" fmla="*/ 5443062 w 6400800"/>
                <a:gd name="connsiteY3656" fmla="*/ 334804 h 514350"/>
                <a:gd name="connsiteX3657" fmla="*/ 5443062 w 6400800"/>
                <a:gd name="connsiteY3657" fmla="*/ 327184 h 514350"/>
                <a:gd name="connsiteX3658" fmla="*/ 5417344 w 6400800"/>
                <a:gd name="connsiteY3658" fmla="*/ 318611 h 514350"/>
                <a:gd name="connsiteX3659" fmla="*/ 5419249 w 6400800"/>
                <a:gd name="connsiteY3659" fmla="*/ 312896 h 514350"/>
                <a:gd name="connsiteX3660" fmla="*/ 5421154 w 6400800"/>
                <a:gd name="connsiteY3660" fmla="*/ 320516 h 514350"/>
                <a:gd name="connsiteX3661" fmla="*/ 5421154 w 6400800"/>
                <a:gd name="connsiteY3661" fmla="*/ 321469 h 514350"/>
                <a:gd name="connsiteX3662" fmla="*/ 5421154 w 6400800"/>
                <a:gd name="connsiteY3662" fmla="*/ 320516 h 514350"/>
                <a:gd name="connsiteX3663" fmla="*/ 5421154 w 6400800"/>
                <a:gd name="connsiteY3663" fmla="*/ 322421 h 514350"/>
                <a:gd name="connsiteX3664" fmla="*/ 5418296 w 6400800"/>
                <a:gd name="connsiteY3664" fmla="*/ 331946 h 514350"/>
                <a:gd name="connsiteX3665" fmla="*/ 5417344 w 6400800"/>
                <a:gd name="connsiteY3665" fmla="*/ 329089 h 514350"/>
                <a:gd name="connsiteX3666" fmla="*/ 5417344 w 6400800"/>
                <a:gd name="connsiteY3666" fmla="*/ 318611 h 514350"/>
                <a:gd name="connsiteX3667" fmla="*/ 5416392 w 6400800"/>
                <a:gd name="connsiteY3667" fmla="*/ 334804 h 514350"/>
                <a:gd name="connsiteX3668" fmla="*/ 5417344 w 6400800"/>
                <a:gd name="connsiteY3668" fmla="*/ 335756 h 514350"/>
                <a:gd name="connsiteX3669" fmla="*/ 5416392 w 6400800"/>
                <a:gd name="connsiteY3669" fmla="*/ 337661 h 514350"/>
                <a:gd name="connsiteX3670" fmla="*/ 5416392 w 6400800"/>
                <a:gd name="connsiteY3670" fmla="*/ 334804 h 514350"/>
                <a:gd name="connsiteX3671" fmla="*/ 5405914 w 6400800"/>
                <a:gd name="connsiteY3671" fmla="*/ 325279 h 514350"/>
                <a:gd name="connsiteX3672" fmla="*/ 5407819 w 6400800"/>
                <a:gd name="connsiteY3672" fmla="*/ 271939 h 514350"/>
                <a:gd name="connsiteX3673" fmla="*/ 5407819 w 6400800"/>
                <a:gd name="connsiteY3673" fmla="*/ 267176 h 514350"/>
                <a:gd name="connsiteX3674" fmla="*/ 5414487 w 6400800"/>
                <a:gd name="connsiteY3674" fmla="*/ 292894 h 514350"/>
                <a:gd name="connsiteX3675" fmla="*/ 5414487 w 6400800"/>
                <a:gd name="connsiteY3675" fmla="*/ 293846 h 514350"/>
                <a:gd name="connsiteX3676" fmla="*/ 5411629 w 6400800"/>
                <a:gd name="connsiteY3676" fmla="*/ 303371 h 514350"/>
                <a:gd name="connsiteX3677" fmla="*/ 5404962 w 6400800"/>
                <a:gd name="connsiteY3677" fmla="*/ 331946 h 514350"/>
                <a:gd name="connsiteX3678" fmla="*/ 5404962 w 6400800"/>
                <a:gd name="connsiteY3678" fmla="*/ 332899 h 514350"/>
                <a:gd name="connsiteX3679" fmla="*/ 5405914 w 6400800"/>
                <a:gd name="connsiteY3679" fmla="*/ 325279 h 514350"/>
                <a:gd name="connsiteX3680" fmla="*/ 5384006 w 6400800"/>
                <a:gd name="connsiteY3680" fmla="*/ 310991 h 514350"/>
                <a:gd name="connsiteX3681" fmla="*/ 5386864 w 6400800"/>
                <a:gd name="connsiteY3681" fmla="*/ 334804 h 514350"/>
                <a:gd name="connsiteX3682" fmla="*/ 5384959 w 6400800"/>
                <a:gd name="connsiteY3682" fmla="*/ 341471 h 514350"/>
                <a:gd name="connsiteX3683" fmla="*/ 5382101 w 6400800"/>
                <a:gd name="connsiteY3683" fmla="*/ 325279 h 514350"/>
                <a:gd name="connsiteX3684" fmla="*/ 5378292 w 6400800"/>
                <a:gd name="connsiteY3684" fmla="*/ 305276 h 514350"/>
                <a:gd name="connsiteX3685" fmla="*/ 5381149 w 6400800"/>
                <a:gd name="connsiteY3685" fmla="*/ 294799 h 514350"/>
                <a:gd name="connsiteX3686" fmla="*/ 5384006 w 6400800"/>
                <a:gd name="connsiteY3686" fmla="*/ 310991 h 514350"/>
                <a:gd name="connsiteX3687" fmla="*/ 5379244 w 6400800"/>
                <a:gd name="connsiteY3687" fmla="*/ 274796 h 514350"/>
                <a:gd name="connsiteX3688" fmla="*/ 5379244 w 6400800"/>
                <a:gd name="connsiteY3688" fmla="*/ 271939 h 514350"/>
                <a:gd name="connsiteX3689" fmla="*/ 5381149 w 6400800"/>
                <a:gd name="connsiteY3689" fmla="*/ 284321 h 514350"/>
                <a:gd name="connsiteX3690" fmla="*/ 5380196 w 6400800"/>
                <a:gd name="connsiteY3690" fmla="*/ 285274 h 514350"/>
                <a:gd name="connsiteX3691" fmla="*/ 5378292 w 6400800"/>
                <a:gd name="connsiteY3691" fmla="*/ 290036 h 514350"/>
                <a:gd name="connsiteX3692" fmla="*/ 5379244 w 6400800"/>
                <a:gd name="connsiteY3692" fmla="*/ 274796 h 514350"/>
                <a:gd name="connsiteX3693" fmla="*/ 5332571 w 6400800"/>
                <a:gd name="connsiteY3693" fmla="*/ 321469 h 514350"/>
                <a:gd name="connsiteX3694" fmla="*/ 5338287 w 6400800"/>
                <a:gd name="connsiteY3694" fmla="*/ 309086 h 514350"/>
                <a:gd name="connsiteX3695" fmla="*/ 5338287 w 6400800"/>
                <a:gd name="connsiteY3695" fmla="*/ 310039 h 514350"/>
                <a:gd name="connsiteX3696" fmla="*/ 5326856 w 6400800"/>
                <a:gd name="connsiteY3696" fmla="*/ 351949 h 514350"/>
                <a:gd name="connsiteX3697" fmla="*/ 5323999 w 6400800"/>
                <a:gd name="connsiteY3697" fmla="*/ 336709 h 514350"/>
                <a:gd name="connsiteX3698" fmla="*/ 5332571 w 6400800"/>
                <a:gd name="connsiteY3698" fmla="*/ 321469 h 514350"/>
                <a:gd name="connsiteX3699" fmla="*/ 5319237 w 6400800"/>
                <a:gd name="connsiteY3699" fmla="*/ 350996 h 514350"/>
                <a:gd name="connsiteX3700" fmla="*/ 5323046 w 6400800"/>
                <a:gd name="connsiteY3700" fmla="*/ 342424 h 514350"/>
                <a:gd name="connsiteX3701" fmla="*/ 5322094 w 6400800"/>
                <a:gd name="connsiteY3701" fmla="*/ 371951 h 514350"/>
                <a:gd name="connsiteX3702" fmla="*/ 5319237 w 6400800"/>
                <a:gd name="connsiteY3702" fmla="*/ 362426 h 514350"/>
                <a:gd name="connsiteX3703" fmla="*/ 5319237 w 6400800"/>
                <a:gd name="connsiteY3703" fmla="*/ 350996 h 514350"/>
                <a:gd name="connsiteX3704" fmla="*/ 5316379 w 6400800"/>
                <a:gd name="connsiteY3704" fmla="*/ 392906 h 514350"/>
                <a:gd name="connsiteX3705" fmla="*/ 5317331 w 6400800"/>
                <a:gd name="connsiteY3705" fmla="*/ 382429 h 514350"/>
                <a:gd name="connsiteX3706" fmla="*/ 5318284 w 6400800"/>
                <a:gd name="connsiteY3706" fmla="*/ 390049 h 514350"/>
                <a:gd name="connsiteX3707" fmla="*/ 5315426 w 6400800"/>
                <a:gd name="connsiteY3707" fmla="*/ 399574 h 514350"/>
                <a:gd name="connsiteX3708" fmla="*/ 5316379 w 6400800"/>
                <a:gd name="connsiteY3708" fmla="*/ 392906 h 514350"/>
                <a:gd name="connsiteX3709" fmla="*/ 5285899 w 6400800"/>
                <a:gd name="connsiteY3709" fmla="*/ 293846 h 514350"/>
                <a:gd name="connsiteX3710" fmla="*/ 5286851 w 6400800"/>
                <a:gd name="connsiteY3710" fmla="*/ 298609 h 514350"/>
                <a:gd name="connsiteX3711" fmla="*/ 5283994 w 6400800"/>
                <a:gd name="connsiteY3711" fmla="*/ 302419 h 514350"/>
                <a:gd name="connsiteX3712" fmla="*/ 5285899 w 6400800"/>
                <a:gd name="connsiteY3712" fmla="*/ 293846 h 514350"/>
                <a:gd name="connsiteX3713" fmla="*/ 5279231 w 6400800"/>
                <a:gd name="connsiteY3713" fmla="*/ 319564 h 514350"/>
                <a:gd name="connsiteX3714" fmla="*/ 5282089 w 6400800"/>
                <a:gd name="connsiteY3714" fmla="*/ 311944 h 514350"/>
                <a:gd name="connsiteX3715" fmla="*/ 5287804 w 6400800"/>
                <a:gd name="connsiteY3715" fmla="*/ 302419 h 514350"/>
                <a:gd name="connsiteX3716" fmla="*/ 5288756 w 6400800"/>
                <a:gd name="connsiteY3716" fmla="*/ 309086 h 514350"/>
                <a:gd name="connsiteX3717" fmla="*/ 5292567 w 6400800"/>
                <a:gd name="connsiteY3717" fmla="*/ 340519 h 514350"/>
                <a:gd name="connsiteX3718" fmla="*/ 5287804 w 6400800"/>
                <a:gd name="connsiteY3718" fmla="*/ 363379 h 514350"/>
                <a:gd name="connsiteX3719" fmla="*/ 5287804 w 6400800"/>
                <a:gd name="connsiteY3719" fmla="*/ 351949 h 514350"/>
                <a:gd name="connsiteX3720" fmla="*/ 5287804 w 6400800"/>
                <a:gd name="connsiteY3720" fmla="*/ 335756 h 514350"/>
                <a:gd name="connsiteX3721" fmla="*/ 5283994 w 6400800"/>
                <a:gd name="connsiteY3721" fmla="*/ 350996 h 514350"/>
                <a:gd name="connsiteX3722" fmla="*/ 5280184 w 6400800"/>
                <a:gd name="connsiteY3722" fmla="*/ 369094 h 514350"/>
                <a:gd name="connsiteX3723" fmla="*/ 5280184 w 6400800"/>
                <a:gd name="connsiteY3723" fmla="*/ 370046 h 514350"/>
                <a:gd name="connsiteX3724" fmla="*/ 5277326 w 6400800"/>
                <a:gd name="connsiteY3724" fmla="*/ 350044 h 514350"/>
                <a:gd name="connsiteX3725" fmla="*/ 5275421 w 6400800"/>
                <a:gd name="connsiteY3725" fmla="*/ 335756 h 514350"/>
                <a:gd name="connsiteX3726" fmla="*/ 5279231 w 6400800"/>
                <a:gd name="connsiteY3726" fmla="*/ 319564 h 514350"/>
                <a:gd name="connsiteX3727" fmla="*/ 5236369 w 6400800"/>
                <a:gd name="connsiteY3727" fmla="*/ 318611 h 514350"/>
                <a:gd name="connsiteX3728" fmla="*/ 5235417 w 6400800"/>
                <a:gd name="connsiteY3728" fmla="*/ 320516 h 514350"/>
                <a:gd name="connsiteX3729" fmla="*/ 5230654 w 6400800"/>
                <a:gd name="connsiteY3729" fmla="*/ 311944 h 514350"/>
                <a:gd name="connsiteX3730" fmla="*/ 5230654 w 6400800"/>
                <a:gd name="connsiteY3730" fmla="*/ 310991 h 514350"/>
                <a:gd name="connsiteX3731" fmla="*/ 5239226 w 6400800"/>
                <a:gd name="connsiteY3731" fmla="*/ 295751 h 514350"/>
                <a:gd name="connsiteX3732" fmla="*/ 5236369 w 6400800"/>
                <a:gd name="connsiteY3732" fmla="*/ 318611 h 514350"/>
                <a:gd name="connsiteX3733" fmla="*/ 5230654 w 6400800"/>
                <a:gd name="connsiteY3733" fmla="*/ 281464 h 514350"/>
                <a:gd name="connsiteX3734" fmla="*/ 5237321 w 6400800"/>
                <a:gd name="connsiteY3734" fmla="*/ 265271 h 514350"/>
                <a:gd name="connsiteX3735" fmla="*/ 5243989 w 6400800"/>
                <a:gd name="connsiteY3735" fmla="*/ 251936 h 514350"/>
                <a:gd name="connsiteX3736" fmla="*/ 5242084 w 6400800"/>
                <a:gd name="connsiteY3736" fmla="*/ 264319 h 514350"/>
                <a:gd name="connsiteX3737" fmla="*/ 5240179 w 6400800"/>
                <a:gd name="connsiteY3737" fmla="*/ 283369 h 514350"/>
                <a:gd name="connsiteX3738" fmla="*/ 5228749 w 6400800"/>
                <a:gd name="connsiteY3738" fmla="*/ 299561 h 514350"/>
                <a:gd name="connsiteX3739" fmla="*/ 5227796 w 6400800"/>
                <a:gd name="connsiteY3739" fmla="*/ 290036 h 514350"/>
                <a:gd name="connsiteX3740" fmla="*/ 5230654 w 6400800"/>
                <a:gd name="connsiteY3740" fmla="*/ 281464 h 514350"/>
                <a:gd name="connsiteX3741" fmla="*/ 5211604 w 6400800"/>
                <a:gd name="connsiteY3741" fmla="*/ 344329 h 514350"/>
                <a:gd name="connsiteX3742" fmla="*/ 5213509 w 6400800"/>
                <a:gd name="connsiteY3742" fmla="*/ 341471 h 514350"/>
                <a:gd name="connsiteX3743" fmla="*/ 5213509 w 6400800"/>
                <a:gd name="connsiteY3743" fmla="*/ 341471 h 514350"/>
                <a:gd name="connsiteX3744" fmla="*/ 5213509 w 6400800"/>
                <a:gd name="connsiteY3744" fmla="*/ 342424 h 514350"/>
                <a:gd name="connsiteX3745" fmla="*/ 5211604 w 6400800"/>
                <a:gd name="connsiteY3745" fmla="*/ 344329 h 514350"/>
                <a:gd name="connsiteX3746" fmla="*/ 5211604 w 6400800"/>
                <a:gd name="connsiteY3746" fmla="*/ 344329 h 514350"/>
                <a:gd name="connsiteX3747" fmla="*/ 5214462 w 6400800"/>
                <a:gd name="connsiteY3747" fmla="*/ 343376 h 514350"/>
                <a:gd name="connsiteX3748" fmla="*/ 5216367 w 6400800"/>
                <a:gd name="connsiteY3748" fmla="*/ 348139 h 514350"/>
                <a:gd name="connsiteX3749" fmla="*/ 5213509 w 6400800"/>
                <a:gd name="connsiteY3749" fmla="*/ 352901 h 514350"/>
                <a:gd name="connsiteX3750" fmla="*/ 5212556 w 6400800"/>
                <a:gd name="connsiteY3750" fmla="*/ 350996 h 514350"/>
                <a:gd name="connsiteX3751" fmla="*/ 5212556 w 6400800"/>
                <a:gd name="connsiteY3751" fmla="*/ 349091 h 514350"/>
                <a:gd name="connsiteX3752" fmla="*/ 5214462 w 6400800"/>
                <a:gd name="connsiteY3752" fmla="*/ 343376 h 514350"/>
                <a:gd name="connsiteX3753" fmla="*/ 5214462 w 6400800"/>
                <a:gd name="connsiteY3753" fmla="*/ 343376 h 514350"/>
                <a:gd name="connsiteX3754" fmla="*/ 5211604 w 6400800"/>
                <a:gd name="connsiteY3754" fmla="*/ 290989 h 514350"/>
                <a:gd name="connsiteX3755" fmla="*/ 5211604 w 6400800"/>
                <a:gd name="connsiteY3755" fmla="*/ 290989 h 514350"/>
                <a:gd name="connsiteX3756" fmla="*/ 5213509 w 6400800"/>
                <a:gd name="connsiteY3756" fmla="*/ 296704 h 514350"/>
                <a:gd name="connsiteX3757" fmla="*/ 5210651 w 6400800"/>
                <a:gd name="connsiteY3757" fmla="*/ 302419 h 514350"/>
                <a:gd name="connsiteX3758" fmla="*/ 5211604 w 6400800"/>
                <a:gd name="connsiteY3758" fmla="*/ 290989 h 514350"/>
                <a:gd name="connsiteX3759" fmla="*/ 5189696 w 6400800"/>
                <a:gd name="connsiteY3759" fmla="*/ 260509 h 514350"/>
                <a:gd name="connsiteX3760" fmla="*/ 5189696 w 6400800"/>
                <a:gd name="connsiteY3760" fmla="*/ 264319 h 514350"/>
                <a:gd name="connsiteX3761" fmla="*/ 5186839 w 6400800"/>
                <a:gd name="connsiteY3761" fmla="*/ 258604 h 514350"/>
                <a:gd name="connsiteX3762" fmla="*/ 5187792 w 6400800"/>
                <a:gd name="connsiteY3762" fmla="*/ 257651 h 514350"/>
                <a:gd name="connsiteX3763" fmla="*/ 5189696 w 6400800"/>
                <a:gd name="connsiteY3763" fmla="*/ 253841 h 514350"/>
                <a:gd name="connsiteX3764" fmla="*/ 5189696 w 6400800"/>
                <a:gd name="connsiteY3764" fmla="*/ 260509 h 514350"/>
                <a:gd name="connsiteX3765" fmla="*/ 5178267 w 6400800"/>
                <a:gd name="connsiteY3765" fmla="*/ 230981 h 514350"/>
                <a:gd name="connsiteX3766" fmla="*/ 5186839 w 6400800"/>
                <a:gd name="connsiteY3766" fmla="*/ 213836 h 514350"/>
                <a:gd name="connsiteX3767" fmla="*/ 5188744 w 6400800"/>
                <a:gd name="connsiteY3767" fmla="*/ 210026 h 514350"/>
                <a:gd name="connsiteX3768" fmla="*/ 5188744 w 6400800"/>
                <a:gd name="connsiteY3768" fmla="*/ 219551 h 514350"/>
                <a:gd name="connsiteX3769" fmla="*/ 5188744 w 6400800"/>
                <a:gd name="connsiteY3769" fmla="*/ 254794 h 514350"/>
                <a:gd name="connsiteX3770" fmla="*/ 5185887 w 6400800"/>
                <a:gd name="connsiteY3770" fmla="*/ 258604 h 514350"/>
                <a:gd name="connsiteX3771" fmla="*/ 5185887 w 6400800"/>
                <a:gd name="connsiteY3771" fmla="*/ 258604 h 514350"/>
                <a:gd name="connsiteX3772" fmla="*/ 5178267 w 6400800"/>
                <a:gd name="connsiteY3772" fmla="*/ 243364 h 514350"/>
                <a:gd name="connsiteX3773" fmla="*/ 5175409 w 6400800"/>
                <a:gd name="connsiteY3773" fmla="*/ 238601 h 514350"/>
                <a:gd name="connsiteX3774" fmla="*/ 5178267 w 6400800"/>
                <a:gd name="connsiteY3774" fmla="*/ 230981 h 514350"/>
                <a:gd name="connsiteX3775" fmla="*/ 5168742 w 6400800"/>
                <a:gd name="connsiteY3775" fmla="*/ 238601 h 514350"/>
                <a:gd name="connsiteX3776" fmla="*/ 5168742 w 6400800"/>
                <a:gd name="connsiteY3776" fmla="*/ 238601 h 514350"/>
                <a:gd name="connsiteX3777" fmla="*/ 5168742 w 6400800"/>
                <a:gd name="connsiteY3777" fmla="*/ 238601 h 514350"/>
                <a:gd name="connsiteX3778" fmla="*/ 5168742 w 6400800"/>
                <a:gd name="connsiteY3778" fmla="*/ 238601 h 514350"/>
                <a:gd name="connsiteX3779" fmla="*/ 5166837 w 6400800"/>
                <a:gd name="connsiteY3779" fmla="*/ 280511 h 514350"/>
                <a:gd name="connsiteX3780" fmla="*/ 5167789 w 6400800"/>
                <a:gd name="connsiteY3780" fmla="*/ 259556 h 514350"/>
                <a:gd name="connsiteX3781" fmla="*/ 5167789 w 6400800"/>
                <a:gd name="connsiteY3781" fmla="*/ 259556 h 514350"/>
                <a:gd name="connsiteX3782" fmla="*/ 5171599 w 6400800"/>
                <a:gd name="connsiteY3782" fmla="*/ 248126 h 514350"/>
                <a:gd name="connsiteX3783" fmla="*/ 5177314 w 6400800"/>
                <a:gd name="connsiteY3783" fmla="*/ 263366 h 514350"/>
                <a:gd name="connsiteX3784" fmla="*/ 5179219 w 6400800"/>
                <a:gd name="connsiteY3784" fmla="*/ 267176 h 514350"/>
                <a:gd name="connsiteX3785" fmla="*/ 5176362 w 6400800"/>
                <a:gd name="connsiteY3785" fmla="*/ 271939 h 514350"/>
                <a:gd name="connsiteX3786" fmla="*/ 5166837 w 6400800"/>
                <a:gd name="connsiteY3786" fmla="*/ 287179 h 514350"/>
                <a:gd name="connsiteX3787" fmla="*/ 5166837 w 6400800"/>
                <a:gd name="connsiteY3787" fmla="*/ 280511 h 514350"/>
                <a:gd name="connsiteX3788" fmla="*/ 5166837 w 6400800"/>
                <a:gd name="connsiteY3788" fmla="*/ 307181 h 514350"/>
                <a:gd name="connsiteX3789" fmla="*/ 5170646 w 6400800"/>
                <a:gd name="connsiteY3789" fmla="*/ 296704 h 514350"/>
                <a:gd name="connsiteX3790" fmla="*/ 5171599 w 6400800"/>
                <a:gd name="connsiteY3790" fmla="*/ 293846 h 514350"/>
                <a:gd name="connsiteX3791" fmla="*/ 5176362 w 6400800"/>
                <a:gd name="connsiteY3791" fmla="*/ 289084 h 514350"/>
                <a:gd name="connsiteX3792" fmla="*/ 5181124 w 6400800"/>
                <a:gd name="connsiteY3792" fmla="*/ 284321 h 514350"/>
                <a:gd name="connsiteX3793" fmla="*/ 5175409 w 6400800"/>
                <a:gd name="connsiteY3793" fmla="*/ 288131 h 514350"/>
                <a:gd name="connsiteX3794" fmla="*/ 5172551 w 6400800"/>
                <a:gd name="connsiteY3794" fmla="*/ 290036 h 514350"/>
                <a:gd name="connsiteX3795" fmla="*/ 5179219 w 6400800"/>
                <a:gd name="connsiteY3795" fmla="*/ 272891 h 514350"/>
                <a:gd name="connsiteX3796" fmla="*/ 5180171 w 6400800"/>
                <a:gd name="connsiteY3796" fmla="*/ 270034 h 514350"/>
                <a:gd name="connsiteX3797" fmla="*/ 5184934 w 6400800"/>
                <a:gd name="connsiteY3797" fmla="*/ 280511 h 514350"/>
                <a:gd name="connsiteX3798" fmla="*/ 5190649 w 6400800"/>
                <a:gd name="connsiteY3798" fmla="*/ 292894 h 514350"/>
                <a:gd name="connsiteX3799" fmla="*/ 5190649 w 6400800"/>
                <a:gd name="connsiteY3799" fmla="*/ 298609 h 514350"/>
                <a:gd name="connsiteX3800" fmla="*/ 5192554 w 6400800"/>
                <a:gd name="connsiteY3800" fmla="*/ 330041 h 514350"/>
                <a:gd name="connsiteX3801" fmla="*/ 5192554 w 6400800"/>
                <a:gd name="connsiteY3801" fmla="*/ 335756 h 514350"/>
                <a:gd name="connsiteX3802" fmla="*/ 5192554 w 6400800"/>
                <a:gd name="connsiteY3802" fmla="*/ 336709 h 514350"/>
                <a:gd name="connsiteX3803" fmla="*/ 5191601 w 6400800"/>
                <a:gd name="connsiteY3803" fmla="*/ 338614 h 514350"/>
                <a:gd name="connsiteX3804" fmla="*/ 5187792 w 6400800"/>
                <a:gd name="connsiteY3804" fmla="*/ 348139 h 514350"/>
                <a:gd name="connsiteX3805" fmla="*/ 5183981 w 6400800"/>
                <a:gd name="connsiteY3805" fmla="*/ 309086 h 514350"/>
                <a:gd name="connsiteX3806" fmla="*/ 5177314 w 6400800"/>
                <a:gd name="connsiteY3806" fmla="*/ 348139 h 514350"/>
                <a:gd name="connsiteX3807" fmla="*/ 5176362 w 6400800"/>
                <a:gd name="connsiteY3807" fmla="*/ 354806 h 514350"/>
                <a:gd name="connsiteX3808" fmla="*/ 5174456 w 6400800"/>
                <a:gd name="connsiteY3808" fmla="*/ 349091 h 514350"/>
                <a:gd name="connsiteX3809" fmla="*/ 5171599 w 6400800"/>
                <a:gd name="connsiteY3809" fmla="*/ 341471 h 514350"/>
                <a:gd name="connsiteX3810" fmla="*/ 5173504 w 6400800"/>
                <a:gd name="connsiteY3810" fmla="*/ 328136 h 514350"/>
                <a:gd name="connsiteX3811" fmla="*/ 5169694 w 6400800"/>
                <a:gd name="connsiteY3811" fmla="*/ 338614 h 514350"/>
                <a:gd name="connsiteX3812" fmla="*/ 5167789 w 6400800"/>
                <a:gd name="connsiteY3812" fmla="*/ 334804 h 514350"/>
                <a:gd name="connsiteX3813" fmla="*/ 5165884 w 6400800"/>
                <a:gd name="connsiteY3813" fmla="*/ 312896 h 514350"/>
                <a:gd name="connsiteX3814" fmla="*/ 5166837 w 6400800"/>
                <a:gd name="connsiteY3814" fmla="*/ 307181 h 514350"/>
                <a:gd name="connsiteX3815" fmla="*/ 5161121 w 6400800"/>
                <a:gd name="connsiteY3815" fmla="*/ 218599 h 514350"/>
                <a:gd name="connsiteX3816" fmla="*/ 5164931 w 6400800"/>
                <a:gd name="connsiteY3816" fmla="*/ 229076 h 514350"/>
                <a:gd name="connsiteX3817" fmla="*/ 5161121 w 6400800"/>
                <a:gd name="connsiteY3817" fmla="*/ 248126 h 514350"/>
                <a:gd name="connsiteX3818" fmla="*/ 5157312 w 6400800"/>
                <a:gd name="connsiteY3818" fmla="*/ 206216 h 514350"/>
                <a:gd name="connsiteX3819" fmla="*/ 5161121 w 6400800"/>
                <a:gd name="connsiteY3819" fmla="*/ 218599 h 514350"/>
                <a:gd name="connsiteX3820" fmla="*/ 5148739 w 6400800"/>
                <a:gd name="connsiteY3820" fmla="*/ 256699 h 514350"/>
                <a:gd name="connsiteX3821" fmla="*/ 5149692 w 6400800"/>
                <a:gd name="connsiteY3821" fmla="*/ 255746 h 514350"/>
                <a:gd name="connsiteX3822" fmla="*/ 5149692 w 6400800"/>
                <a:gd name="connsiteY3822" fmla="*/ 283369 h 514350"/>
                <a:gd name="connsiteX3823" fmla="*/ 5149692 w 6400800"/>
                <a:gd name="connsiteY3823" fmla="*/ 284321 h 514350"/>
                <a:gd name="connsiteX3824" fmla="*/ 5143024 w 6400800"/>
                <a:gd name="connsiteY3824" fmla="*/ 263366 h 514350"/>
                <a:gd name="connsiteX3825" fmla="*/ 5148739 w 6400800"/>
                <a:gd name="connsiteY3825" fmla="*/ 256699 h 514350"/>
                <a:gd name="connsiteX3826" fmla="*/ 5087779 w 6400800"/>
                <a:gd name="connsiteY3826" fmla="*/ 317659 h 514350"/>
                <a:gd name="connsiteX3827" fmla="*/ 5087779 w 6400800"/>
                <a:gd name="connsiteY3827" fmla="*/ 315754 h 514350"/>
                <a:gd name="connsiteX3828" fmla="*/ 5087779 w 6400800"/>
                <a:gd name="connsiteY3828" fmla="*/ 317659 h 514350"/>
                <a:gd name="connsiteX3829" fmla="*/ 5087779 w 6400800"/>
                <a:gd name="connsiteY3829" fmla="*/ 317659 h 514350"/>
                <a:gd name="connsiteX3830" fmla="*/ 5122069 w 6400800"/>
                <a:gd name="connsiteY3830" fmla="*/ 298609 h 514350"/>
                <a:gd name="connsiteX3831" fmla="*/ 5128737 w 6400800"/>
                <a:gd name="connsiteY3831" fmla="*/ 287179 h 514350"/>
                <a:gd name="connsiteX3832" fmla="*/ 5124926 w 6400800"/>
                <a:gd name="connsiteY3832" fmla="*/ 327184 h 514350"/>
                <a:gd name="connsiteX3833" fmla="*/ 5121117 w 6400800"/>
                <a:gd name="connsiteY3833" fmla="*/ 318611 h 514350"/>
                <a:gd name="connsiteX3834" fmla="*/ 5117306 w 6400800"/>
                <a:gd name="connsiteY3834" fmla="*/ 308134 h 514350"/>
                <a:gd name="connsiteX3835" fmla="*/ 5122069 w 6400800"/>
                <a:gd name="connsiteY3835" fmla="*/ 298609 h 514350"/>
                <a:gd name="connsiteX3836" fmla="*/ 5110639 w 6400800"/>
                <a:gd name="connsiteY3836" fmla="*/ 321469 h 514350"/>
                <a:gd name="connsiteX3837" fmla="*/ 5110639 w 6400800"/>
                <a:gd name="connsiteY3837" fmla="*/ 321469 h 514350"/>
                <a:gd name="connsiteX3838" fmla="*/ 5118259 w 6400800"/>
                <a:gd name="connsiteY3838" fmla="*/ 344329 h 514350"/>
                <a:gd name="connsiteX3839" fmla="*/ 5116354 w 6400800"/>
                <a:gd name="connsiteY3839" fmla="*/ 347186 h 514350"/>
                <a:gd name="connsiteX3840" fmla="*/ 5114449 w 6400800"/>
                <a:gd name="connsiteY3840" fmla="*/ 349091 h 514350"/>
                <a:gd name="connsiteX3841" fmla="*/ 5110639 w 6400800"/>
                <a:gd name="connsiteY3841" fmla="*/ 335756 h 514350"/>
                <a:gd name="connsiteX3842" fmla="*/ 5107781 w 6400800"/>
                <a:gd name="connsiteY3842" fmla="*/ 327184 h 514350"/>
                <a:gd name="connsiteX3843" fmla="*/ 5110639 w 6400800"/>
                <a:gd name="connsiteY3843" fmla="*/ 321469 h 514350"/>
                <a:gd name="connsiteX3844" fmla="*/ 5105876 w 6400800"/>
                <a:gd name="connsiteY3844" fmla="*/ 308134 h 514350"/>
                <a:gd name="connsiteX3845" fmla="*/ 5103019 w 6400800"/>
                <a:gd name="connsiteY3845" fmla="*/ 311944 h 514350"/>
                <a:gd name="connsiteX3846" fmla="*/ 5101114 w 6400800"/>
                <a:gd name="connsiteY3846" fmla="*/ 306229 h 514350"/>
                <a:gd name="connsiteX3847" fmla="*/ 5101114 w 6400800"/>
                <a:gd name="connsiteY3847" fmla="*/ 304324 h 514350"/>
                <a:gd name="connsiteX3848" fmla="*/ 5101114 w 6400800"/>
                <a:gd name="connsiteY3848" fmla="*/ 305276 h 514350"/>
                <a:gd name="connsiteX3849" fmla="*/ 5096351 w 6400800"/>
                <a:gd name="connsiteY3849" fmla="*/ 288131 h 514350"/>
                <a:gd name="connsiteX3850" fmla="*/ 5097304 w 6400800"/>
                <a:gd name="connsiteY3850" fmla="*/ 281464 h 514350"/>
                <a:gd name="connsiteX3851" fmla="*/ 5105876 w 6400800"/>
                <a:gd name="connsiteY3851" fmla="*/ 308134 h 514350"/>
                <a:gd name="connsiteX3852" fmla="*/ 5097304 w 6400800"/>
                <a:gd name="connsiteY3852" fmla="*/ 282416 h 514350"/>
                <a:gd name="connsiteX3853" fmla="*/ 5095399 w 6400800"/>
                <a:gd name="connsiteY3853" fmla="*/ 286226 h 514350"/>
                <a:gd name="connsiteX3854" fmla="*/ 5093494 w 6400800"/>
                <a:gd name="connsiteY3854" fmla="*/ 279559 h 514350"/>
                <a:gd name="connsiteX3855" fmla="*/ 5087779 w 6400800"/>
                <a:gd name="connsiteY3855" fmla="*/ 258604 h 514350"/>
                <a:gd name="connsiteX3856" fmla="*/ 5089684 w 6400800"/>
                <a:gd name="connsiteY3856" fmla="*/ 257651 h 514350"/>
                <a:gd name="connsiteX3857" fmla="*/ 5097304 w 6400800"/>
                <a:gd name="connsiteY3857" fmla="*/ 282416 h 514350"/>
                <a:gd name="connsiteX3858" fmla="*/ 5080159 w 6400800"/>
                <a:gd name="connsiteY3858" fmla="*/ 224314 h 514350"/>
                <a:gd name="connsiteX3859" fmla="*/ 5089684 w 6400800"/>
                <a:gd name="connsiteY3859" fmla="*/ 254794 h 514350"/>
                <a:gd name="connsiteX3860" fmla="*/ 5087779 w 6400800"/>
                <a:gd name="connsiteY3860" fmla="*/ 254794 h 514350"/>
                <a:gd name="connsiteX3861" fmla="*/ 5081112 w 6400800"/>
                <a:gd name="connsiteY3861" fmla="*/ 228124 h 514350"/>
                <a:gd name="connsiteX3862" fmla="*/ 5080159 w 6400800"/>
                <a:gd name="connsiteY3862" fmla="*/ 224314 h 514350"/>
                <a:gd name="connsiteX3863" fmla="*/ 5080159 w 6400800"/>
                <a:gd name="connsiteY3863" fmla="*/ 224314 h 514350"/>
                <a:gd name="connsiteX3864" fmla="*/ 5076349 w 6400800"/>
                <a:gd name="connsiteY3864" fmla="*/ 272891 h 514350"/>
                <a:gd name="connsiteX3865" fmla="*/ 5076349 w 6400800"/>
                <a:gd name="connsiteY3865" fmla="*/ 268129 h 514350"/>
                <a:gd name="connsiteX3866" fmla="*/ 5079206 w 6400800"/>
                <a:gd name="connsiteY3866" fmla="*/ 283369 h 514350"/>
                <a:gd name="connsiteX3867" fmla="*/ 5083017 w 6400800"/>
                <a:gd name="connsiteY3867" fmla="*/ 301466 h 514350"/>
                <a:gd name="connsiteX3868" fmla="*/ 5083017 w 6400800"/>
                <a:gd name="connsiteY3868" fmla="*/ 304324 h 514350"/>
                <a:gd name="connsiteX3869" fmla="*/ 5082064 w 6400800"/>
                <a:gd name="connsiteY3869" fmla="*/ 311944 h 514350"/>
                <a:gd name="connsiteX3870" fmla="*/ 5073492 w 6400800"/>
                <a:gd name="connsiteY3870" fmla="*/ 292894 h 514350"/>
                <a:gd name="connsiteX3871" fmla="*/ 5076349 w 6400800"/>
                <a:gd name="connsiteY3871" fmla="*/ 272891 h 514350"/>
                <a:gd name="connsiteX3872" fmla="*/ 5066824 w 6400800"/>
                <a:gd name="connsiteY3872" fmla="*/ 377666 h 514350"/>
                <a:gd name="connsiteX3873" fmla="*/ 5066824 w 6400800"/>
                <a:gd name="connsiteY3873" fmla="*/ 380524 h 514350"/>
                <a:gd name="connsiteX3874" fmla="*/ 5066824 w 6400800"/>
                <a:gd name="connsiteY3874" fmla="*/ 383381 h 514350"/>
                <a:gd name="connsiteX3875" fmla="*/ 5065871 w 6400800"/>
                <a:gd name="connsiteY3875" fmla="*/ 384334 h 514350"/>
                <a:gd name="connsiteX3876" fmla="*/ 5064919 w 6400800"/>
                <a:gd name="connsiteY3876" fmla="*/ 381476 h 514350"/>
                <a:gd name="connsiteX3877" fmla="*/ 5066824 w 6400800"/>
                <a:gd name="connsiteY3877" fmla="*/ 377666 h 514350"/>
                <a:gd name="connsiteX3878" fmla="*/ 5057299 w 6400800"/>
                <a:gd name="connsiteY3878" fmla="*/ 303371 h 514350"/>
                <a:gd name="connsiteX3879" fmla="*/ 5051584 w 6400800"/>
                <a:gd name="connsiteY3879" fmla="*/ 294799 h 514350"/>
                <a:gd name="connsiteX3880" fmla="*/ 5052537 w 6400800"/>
                <a:gd name="connsiteY3880" fmla="*/ 290989 h 514350"/>
                <a:gd name="connsiteX3881" fmla="*/ 5055394 w 6400800"/>
                <a:gd name="connsiteY3881" fmla="*/ 287179 h 514350"/>
                <a:gd name="connsiteX3882" fmla="*/ 5057299 w 6400800"/>
                <a:gd name="connsiteY3882" fmla="*/ 303371 h 514350"/>
                <a:gd name="connsiteX3883" fmla="*/ 5050631 w 6400800"/>
                <a:gd name="connsiteY3883" fmla="*/ 252889 h 514350"/>
                <a:gd name="connsiteX3884" fmla="*/ 5052537 w 6400800"/>
                <a:gd name="connsiteY3884" fmla="*/ 258604 h 514350"/>
                <a:gd name="connsiteX3885" fmla="*/ 5053489 w 6400800"/>
                <a:gd name="connsiteY3885" fmla="*/ 260509 h 514350"/>
                <a:gd name="connsiteX3886" fmla="*/ 5054442 w 6400800"/>
                <a:gd name="connsiteY3886" fmla="*/ 268129 h 514350"/>
                <a:gd name="connsiteX3887" fmla="*/ 5052537 w 6400800"/>
                <a:gd name="connsiteY3887" fmla="*/ 273844 h 514350"/>
                <a:gd name="connsiteX3888" fmla="*/ 5051584 w 6400800"/>
                <a:gd name="connsiteY3888" fmla="*/ 276701 h 514350"/>
                <a:gd name="connsiteX3889" fmla="*/ 5048726 w 6400800"/>
                <a:gd name="connsiteY3889" fmla="*/ 279559 h 514350"/>
                <a:gd name="connsiteX3890" fmla="*/ 5048726 w 6400800"/>
                <a:gd name="connsiteY3890" fmla="*/ 278606 h 514350"/>
                <a:gd name="connsiteX3891" fmla="*/ 5048726 w 6400800"/>
                <a:gd name="connsiteY3891" fmla="*/ 274796 h 514350"/>
                <a:gd name="connsiteX3892" fmla="*/ 5049679 w 6400800"/>
                <a:gd name="connsiteY3892" fmla="*/ 268129 h 514350"/>
                <a:gd name="connsiteX3893" fmla="*/ 5050631 w 6400800"/>
                <a:gd name="connsiteY3893" fmla="*/ 262414 h 514350"/>
                <a:gd name="connsiteX3894" fmla="*/ 5048726 w 6400800"/>
                <a:gd name="connsiteY3894" fmla="*/ 268129 h 514350"/>
                <a:gd name="connsiteX3895" fmla="*/ 5048726 w 6400800"/>
                <a:gd name="connsiteY3895" fmla="*/ 269081 h 514350"/>
                <a:gd name="connsiteX3896" fmla="*/ 5048726 w 6400800"/>
                <a:gd name="connsiteY3896" fmla="*/ 266224 h 514350"/>
                <a:gd name="connsiteX3897" fmla="*/ 5050631 w 6400800"/>
                <a:gd name="connsiteY3897" fmla="*/ 252889 h 514350"/>
                <a:gd name="connsiteX3898" fmla="*/ 5020151 w 6400800"/>
                <a:gd name="connsiteY3898" fmla="*/ 390049 h 514350"/>
                <a:gd name="connsiteX3899" fmla="*/ 5014437 w 6400800"/>
                <a:gd name="connsiteY3899" fmla="*/ 376714 h 514350"/>
                <a:gd name="connsiteX3900" fmla="*/ 5014437 w 6400800"/>
                <a:gd name="connsiteY3900" fmla="*/ 375761 h 514350"/>
                <a:gd name="connsiteX3901" fmla="*/ 5022056 w 6400800"/>
                <a:gd name="connsiteY3901" fmla="*/ 347186 h 514350"/>
                <a:gd name="connsiteX3902" fmla="*/ 5022056 w 6400800"/>
                <a:gd name="connsiteY3902" fmla="*/ 348139 h 514350"/>
                <a:gd name="connsiteX3903" fmla="*/ 5022056 w 6400800"/>
                <a:gd name="connsiteY3903" fmla="*/ 363379 h 514350"/>
                <a:gd name="connsiteX3904" fmla="*/ 5023009 w 6400800"/>
                <a:gd name="connsiteY3904" fmla="*/ 379571 h 514350"/>
                <a:gd name="connsiteX3905" fmla="*/ 5023962 w 6400800"/>
                <a:gd name="connsiteY3905" fmla="*/ 386239 h 514350"/>
                <a:gd name="connsiteX3906" fmla="*/ 5020151 w 6400800"/>
                <a:gd name="connsiteY3906" fmla="*/ 390049 h 514350"/>
                <a:gd name="connsiteX3907" fmla="*/ 5024914 w 6400800"/>
                <a:gd name="connsiteY3907" fmla="*/ 400526 h 514350"/>
                <a:gd name="connsiteX3908" fmla="*/ 5024914 w 6400800"/>
                <a:gd name="connsiteY3908" fmla="*/ 400526 h 514350"/>
                <a:gd name="connsiteX3909" fmla="*/ 5024914 w 6400800"/>
                <a:gd name="connsiteY3909" fmla="*/ 400526 h 514350"/>
                <a:gd name="connsiteX3910" fmla="*/ 5024914 w 6400800"/>
                <a:gd name="connsiteY3910" fmla="*/ 400526 h 514350"/>
                <a:gd name="connsiteX3911" fmla="*/ 5035392 w 6400800"/>
                <a:gd name="connsiteY3911" fmla="*/ 314801 h 514350"/>
                <a:gd name="connsiteX3912" fmla="*/ 5035392 w 6400800"/>
                <a:gd name="connsiteY3912" fmla="*/ 317659 h 514350"/>
                <a:gd name="connsiteX3913" fmla="*/ 5031581 w 6400800"/>
                <a:gd name="connsiteY3913" fmla="*/ 353854 h 514350"/>
                <a:gd name="connsiteX3914" fmla="*/ 5031581 w 6400800"/>
                <a:gd name="connsiteY3914" fmla="*/ 353854 h 514350"/>
                <a:gd name="connsiteX3915" fmla="*/ 5031581 w 6400800"/>
                <a:gd name="connsiteY3915" fmla="*/ 354806 h 514350"/>
                <a:gd name="connsiteX3916" fmla="*/ 5030629 w 6400800"/>
                <a:gd name="connsiteY3916" fmla="*/ 347186 h 514350"/>
                <a:gd name="connsiteX3917" fmla="*/ 5027771 w 6400800"/>
                <a:gd name="connsiteY3917" fmla="*/ 329089 h 514350"/>
                <a:gd name="connsiteX3918" fmla="*/ 5028724 w 6400800"/>
                <a:gd name="connsiteY3918" fmla="*/ 325279 h 514350"/>
                <a:gd name="connsiteX3919" fmla="*/ 5032534 w 6400800"/>
                <a:gd name="connsiteY3919" fmla="*/ 319564 h 514350"/>
                <a:gd name="connsiteX3920" fmla="*/ 5035392 w 6400800"/>
                <a:gd name="connsiteY3920" fmla="*/ 314801 h 514350"/>
                <a:gd name="connsiteX3921" fmla="*/ 5006817 w 6400800"/>
                <a:gd name="connsiteY3921" fmla="*/ 242411 h 514350"/>
                <a:gd name="connsiteX3922" fmla="*/ 5019199 w 6400800"/>
                <a:gd name="connsiteY3922" fmla="*/ 259556 h 514350"/>
                <a:gd name="connsiteX3923" fmla="*/ 5025867 w 6400800"/>
                <a:gd name="connsiteY3923" fmla="*/ 270034 h 514350"/>
                <a:gd name="connsiteX3924" fmla="*/ 5021104 w 6400800"/>
                <a:gd name="connsiteY3924" fmla="*/ 263366 h 514350"/>
                <a:gd name="connsiteX3925" fmla="*/ 5014437 w 6400800"/>
                <a:gd name="connsiteY3925" fmla="*/ 255746 h 514350"/>
                <a:gd name="connsiteX3926" fmla="*/ 5004912 w 6400800"/>
                <a:gd name="connsiteY3926" fmla="*/ 245269 h 514350"/>
                <a:gd name="connsiteX3927" fmla="*/ 5006817 w 6400800"/>
                <a:gd name="connsiteY3927" fmla="*/ 242411 h 514350"/>
                <a:gd name="connsiteX3928" fmla="*/ 5004912 w 6400800"/>
                <a:gd name="connsiteY3928" fmla="*/ 242411 h 514350"/>
                <a:gd name="connsiteX3929" fmla="*/ 5004912 w 6400800"/>
                <a:gd name="connsiteY3929" fmla="*/ 238601 h 514350"/>
                <a:gd name="connsiteX3930" fmla="*/ 5006817 w 6400800"/>
                <a:gd name="connsiteY3930" fmla="*/ 241459 h 514350"/>
                <a:gd name="connsiteX3931" fmla="*/ 5004912 w 6400800"/>
                <a:gd name="connsiteY3931" fmla="*/ 244316 h 514350"/>
                <a:gd name="connsiteX3932" fmla="*/ 5004912 w 6400800"/>
                <a:gd name="connsiteY3932" fmla="*/ 243364 h 514350"/>
                <a:gd name="connsiteX3933" fmla="*/ 5004912 w 6400800"/>
                <a:gd name="connsiteY3933" fmla="*/ 242411 h 514350"/>
                <a:gd name="connsiteX3934" fmla="*/ 4999196 w 6400800"/>
                <a:gd name="connsiteY3934" fmla="*/ 303371 h 514350"/>
                <a:gd name="connsiteX3935" fmla="*/ 5003006 w 6400800"/>
                <a:gd name="connsiteY3935" fmla="*/ 252889 h 514350"/>
                <a:gd name="connsiteX3936" fmla="*/ 5008721 w 6400800"/>
                <a:gd name="connsiteY3936" fmla="*/ 260509 h 514350"/>
                <a:gd name="connsiteX3937" fmla="*/ 5014437 w 6400800"/>
                <a:gd name="connsiteY3937" fmla="*/ 268129 h 514350"/>
                <a:gd name="connsiteX3938" fmla="*/ 5020151 w 6400800"/>
                <a:gd name="connsiteY3938" fmla="*/ 276701 h 514350"/>
                <a:gd name="connsiteX3939" fmla="*/ 5029676 w 6400800"/>
                <a:gd name="connsiteY3939" fmla="*/ 292894 h 514350"/>
                <a:gd name="connsiteX3940" fmla="*/ 5029676 w 6400800"/>
                <a:gd name="connsiteY3940" fmla="*/ 293846 h 514350"/>
                <a:gd name="connsiteX3941" fmla="*/ 5025867 w 6400800"/>
                <a:gd name="connsiteY3941" fmla="*/ 302419 h 514350"/>
                <a:gd name="connsiteX3942" fmla="*/ 5023009 w 6400800"/>
                <a:gd name="connsiteY3942" fmla="*/ 305276 h 514350"/>
                <a:gd name="connsiteX3943" fmla="*/ 5022056 w 6400800"/>
                <a:gd name="connsiteY3943" fmla="*/ 301466 h 514350"/>
                <a:gd name="connsiteX3944" fmla="*/ 5022056 w 6400800"/>
                <a:gd name="connsiteY3944" fmla="*/ 306229 h 514350"/>
                <a:gd name="connsiteX3945" fmla="*/ 5019199 w 6400800"/>
                <a:gd name="connsiteY3945" fmla="*/ 309086 h 514350"/>
                <a:gd name="connsiteX3946" fmla="*/ 5012531 w 6400800"/>
                <a:gd name="connsiteY3946" fmla="*/ 318611 h 514350"/>
                <a:gd name="connsiteX3947" fmla="*/ 5013484 w 6400800"/>
                <a:gd name="connsiteY3947" fmla="*/ 311944 h 514350"/>
                <a:gd name="connsiteX3948" fmla="*/ 5017294 w 6400800"/>
                <a:gd name="connsiteY3948" fmla="*/ 294799 h 514350"/>
                <a:gd name="connsiteX3949" fmla="*/ 5020151 w 6400800"/>
                <a:gd name="connsiteY3949" fmla="*/ 279559 h 514350"/>
                <a:gd name="connsiteX3950" fmla="*/ 5013484 w 6400800"/>
                <a:gd name="connsiteY3950" fmla="*/ 293846 h 514350"/>
                <a:gd name="connsiteX3951" fmla="*/ 5006817 w 6400800"/>
                <a:gd name="connsiteY3951" fmla="*/ 310039 h 514350"/>
                <a:gd name="connsiteX3952" fmla="*/ 4999196 w 6400800"/>
                <a:gd name="connsiteY3952" fmla="*/ 331946 h 514350"/>
                <a:gd name="connsiteX3953" fmla="*/ 4999196 w 6400800"/>
                <a:gd name="connsiteY3953" fmla="*/ 332899 h 514350"/>
                <a:gd name="connsiteX3954" fmla="*/ 4997292 w 6400800"/>
                <a:gd name="connsiteY3954" fmla="*/ 327184 h 514350"/>
                <a:gd name="connsiteX3955" fmla="*/ 4999196 w 6400800"/>
                <a:gd name="connsiteY3955" fmla="*/ 303371 h 514350"/>
                <a:gd name="connsiteX3956" fmla="*/ 4968717 w 6400800"/>
                <a:gd name="connsiteY3956" fmla="*/ 208121 h 514350"/>
                <a:gd name="connsiteX3957" fmla="*/ 4967764 w 6400800"/>
                <a:gd name="connsiteY3957" fmla="*/ 212884 h 514350"/>
                <a:gd name="connsiteX3958" fmla="*/ 4966812 w 6400800"/>
                <a:gd name="connsiteY3958" fmla="*/ 217646 h 514350"/>
                <a:gd name="connsiteX3959" fmla="*/ 4966812 w 6400800"/>
                <a:gd name="connsiteY3959" fmla="*/ 215741 h 514350"/>
                <a:gd name="connsiteX3960" fmla="*/ 4968717 w 6400800"/>
                <a:gd name="connsiteY3960" fmla="*/ 208121 h 514350"/>
                <a:gd name="connsiteX3961" fmla="*/ 4960144 w 6400800"/>
                <a:gd name="connsiteY3961" fmla="*/ 364331 h 514350"/>
                <a:gd name="connsiteX3962" fmla="*/ 4961096 w 6400800"/>
                <a:gd name="connsiteY3962" fmla="*/ 381476 h 514350"/>
                <a:gd name="connsiteX3963" fmla="*/ 4958239 w 6400800"/>
                <a:gd name="connsiteY3963" fmla="*/ 391001 h 514350"/>
                <a:gd name="connsiteX3964" fmla="*/ 4957287 w 6400800"/>
                <a:gd name="connsiteY3964" fmla="*/ 386239 h 514350"/>
                <a:gd name="connsiteX3965" fmla="*/ 4957287 w 6400800"/>
                <a:gd name="connsiteY3965" fmla="*/ 380524 h 514350"/>
                <a:gd name="connsiteX3966" fmla="*/ 4956334 w 6400800"/>
                <a:gd name="connsiteY3966" fmla="*/ 356711 h 514350"/>
                <a:gd name="connsiteX3967" fmla="*/ 4956334 w 6400800"/>
                <a:gd name="connsiteY3967" fmla="*/ 351949 h 514350"/>
                <a:gd name="connsiteX3968" fmla="*/ 4958239 w 6400800"/>
                <a:gd name="connsiteY3968" fmla="*/ 348139 h 514350"/>
                <a:gd name="connsiteX3969" fmla="*/ 4960144 w 6400800"/>
                <a:gd name="connsiteY3969" fmla="*/ 364331 h 514350"/>
                <a:gd name="connsiteX3970" fmla="*/ 4957287 w 6400800"/>
                <a:gd name="connsiteY3970" fmla="*/ 256699 h 514350"/>
                <a:gd name="connsiteX3971" fmla="*/ 4957287 w 6400800"/>
                <a:gd name="connsiteY3971" fmla="*/ 258604 h 514350"/>
                <a:gd name="connsiteX3972" fmla="*/ 4957287 w 6400800"/>
                <a:gd name="connsiteY3972" fmla="*/ 259556 h 514350"/>
                <a:gd name="connsiteX3973" fmla="*/ 4955381 w 6400800"/>
                <a:gd name="connsiteY3973" fmla="*/ 267176 h 514350"/>
                <a:gd name="connsiteX3974" fmla="*/ 4954429 w 6400800"/>
                <a:gd name="connsiteY3974" fmla="*/ 265271 h 514350"/>
                <a:gd name="connsiteX3975" fmla="*/ 4957287 w 6400800"/>
                <a:gd name="connsiteY3975" fmla="*/ 256699 h 514350"/>
                <a:gd name="connsiteX3976" fmla="*/ 4954429 w 6400800"/>
                <a:gd name="connsiteY3976" fmla="*/ 268129 h 514350"/>
                <a:gd name="connsiteX3977" fmla="*/ 4955381 w 6400800"/>
                <a:gd name="connsiteY3977" fmla="*/ 270986 h 514350"/>
                <a:gd name="connsiteX3978" fmla="*/ 4951571 w 6400800"/>
                <a:gd name="connsiteY3978" fmla="*/ 290036 h 514350"/>
                <a:gd name="connsiteX3979" fmla="*/ 4944904 w 6400800"/>
                <a:gd name="connsiteY3979" fmla="*/ 316706 h 514350"/>
                <a:gd name="connsiteX3980" fmla="*/ 4943951 w 6400800"/>
                <a:gd name="connsiteY3980" fmla="*/ 310991 h 514350"/>
                <a:gd name="connsiteX3981" fmla="*/ 4943951 w 6400800"/>
                <a:gd name="connsiteY3981" fmla="*/ 320516 h 514350"/>
                <a:gd name="connsiteX3982" fmla="*/ 4940142 w 6400800"/>
                <a:gd name="connsiteY3982" fmla="*/ 336709 h 514350"/>
                <a:gd name="connsiteX3983" fmla="*/ 4940142 w 6400800"/>
                <a:gd name="connsiteY3983" fmla="*/ 335756 h 514350"/>
                <a:gd name="connsiteX3984" fmla="*/ 4938237 w 6400800"/>
                <a:gd name="connsiteY3984" fmla="*/ 325279 h 514350"/>
                <a:gd name="connsiteX3985" fmla="*/ 4954429 w 6400800"/>
                <a:gd name="connsiteY3985" fmla="*/ 268129 h 514350"/>
                <a:gd name="connsiteX3986" fmla="*/ 4922044 w 6400800"/>
                <a:gd name="connsiteY3986" fmla="*/ 378619 h 514350"/>
                <a:gd name="connsiteX3987" fmla="*/ 4922044 w 6400800"/>
                <a:gd name="connsiteY3987" fmla="*/ 378619 h 514350"/>
                <a:gd name="connsiteX3988" fmla="*/ 4922044 w 6400800"/>
                <a:gd name="connsiteY3988" fmla="*/ 378619 h 514350"/>
                <a:gd name="connsiteX3989" fmla="*/ 4922044 w 6400800"/>
                <a:gd name="connsiteY3989" fmla="*/ 378619 h 514350"/>
                <a:gd name="connsiteX3990" fmla="*/ 4908709 w 6400800"/>
                <a:gd name="connsiteY3990" fmla="*/ 307181 h 514350"/>
                <a:gd name="connsiteX3991" fmla="*/ 4915376 w 6400800"/>
                <a:gd name="connsiteY3991" fmla="*/ 326231 h 514350"/>
                <a:gd name="connsiteX3992" fmla="*/ 4909662 w 6400800"/>
                <a:gd name="connsiteY3992" fmla="*/ 338614 h 514350"/>
                <a:gd name="connsiteX3993" fmla="*/ 4906804 w 6400800"/>
                <a:gd name="connsiteY3993" fmla="*/ 308134 h 514350"/>
                <a:gd name="connsiteX3994" fmla="*/ 4906804 w 6400800"/>
                <a:gd name="connsiteY3994" fmla="*/ 305276 h 514350"/>
                <a:gd name="connsiteX3995" fmla="*/ 4905851 w 6400800"/>
                <a:gd name="connsiteY3995" fmla="*/ 307181 h 514350"/>
                <a:gd name="connsiteX3996" fmla="*/ 4904899 w 6400800"/>
                <a:gd name="connsiteY3996" fmla="*/ 297656 h 514350"/>
                <a:gd name="connsiteX3997" fmla="*/ 4908709 w 6400800"/>
                <a:gd name="connsiteY3997" fmla="*/ 307181 h 514350"/>
                <a:gd name="connsiteX3998" fmla="*/ 4897279 w 6400800"/>
                <a:gd name="connsiteY3998" fmla="*/ 351949 h 514350"/>
                <a:gd name="connsiteX3999" fmla="*/ 4896326 w 6400800"/>
                <a:gd name="connsiteY3999" fmla="*/ 365284 h 514350"/>
                <a:gd name="connsiteX4000" fmla="*/ 4895374 w 6400800"/>
                <a:gd name="connsiteY4000" fmla="*/ 368141 h 514350"/>
                <a:gd name="connsiteX4001" fmla="*/ 4894421 w 6400800"/>
                <a:gd name="connsiteY4001" fmla="*/ 357664 h 514350"/>
                <a:gd name="connsiteX4002" fmla="*/ 4892517 w 6400800"/>
                <a:gd name="connsiteY4002" fmla="*/ 341471 h 514350"/>
                <a:gd name="connsiteX4003" fmla="*/ 4897279 w 6400800"/>
                <a:gd name="connsiteY4003" fmla="*/ 351949 h 514350"/>
                <a:gd name="connsiteX4004" fmla="*/ 4822984 w 6400800"/>
                <a:gd name="connsiteY4004" fmla="*/ 387191 h 514350"/>
                <a:gd name="connsiteX4005" fmla="*/ 4822984 w 6400800"/>
                <a:gd name="connsiteY4005" fmla="*/ 385286 h 514350"/>
                <a:gd name="connsiteX4006" fmla="*/ 4822984 w 6400800"/>
                <a:gd name="connsiteY4006" fmla="*/ 387191 h 514350"/>
                <a:gd name="connsiteX4007" fmla="*/ 4822984 w 6400800"/>
                <a:gd name="connsiteY4007" fmla="*/ 387191 h 514350"/>
                <a:gd name="connsiteX4008" fmla="*/ 4842987 w 6400800"/>
                <a:gd name="connsiteY4008" fmla="*/ 338614 h 514350"/>
                <a:gd name="connsiteX4009" fmla="*/ 4842987 w 6400800"/>
                <a:gd name="connsiteY4009" fmla="*/ 356711 h 514350"/>
                <a:gd name="connsiteX4010" fmla="*/ 4842987 w 6400800"/>
                <a:gd name="connsiteY4010" fmla="*/ 360521 h 514350"/>
                <a:gd name="connsiteX4011" fmla="*/ 4840129 w 6400800"/>
                <a:gd name="connsiteY4011" fmla="*/ 382429 h 514350"/>
                <a:gd name="connsiteX4012" fmla="*/ 4838224 w 6400800"/>
                <a:gd name="connsiteY4012" fmla="*/ 390049 h 514350"/>
                <a:gd name="connsiteX4013" fmla="*/ 4826794 w 6400800"/>
                <a:gd name="connsiteY4013" fmla="*/ 387191 h 514350"/>
                <a:gd name="connsiteX4014" fmla="*/ 4824889 w 6400800"/>
                <a:gd name="connsiteY4014" fmla="*/ 379571 h 514350"/>
                <a:gd name="connsiteX4015" fmla="*/ 4827747 w 6400800"/>
                <a:gd name="connsiteY4015" fmla="*/ 370999 h 514350"/>
                <a:gd name="connsiteX4016" fmla="*/ 4838224 w 6400800"/>
                <a:gd name="connsiteY4016" fmla="*/ 346234 h 514350"/>
                <a:gd name="connsiteX4017" fmla="*/ 4843939 w 6400800"/>
                <a:gd name="connsiteY4017" fmla="*/ 336709 h 514350"/>
                <a:gd name="connsiteX4018" fmla="*/ 4842987 w 6400800"/>
                <a:gd name="connsiteY4018" fmla="*/ 338614 h 514350"/>
                <a:gd name="connsiteX4019" fmla="*/ 4842987 w 6400800"/>
                <a:gd name="connsiteY4019" fmla="*/ 338614 h 514350"/>
                <a:gd name="connsiteX4020" fmla="*/ 4843939 w 6400800"/>
                <a:gd name="connsiteY4020" fmla="*/ 329089 h 514350"/>
                <a:gd name="connsiteX4021" fmla="*/ 4843939 w 6400800"/>
                <a:gd name="connsiteY4021" fmla="*/ 329089 h 514350"/>
                <a:gd name="connsiteX4022" fmla="*/ 4836319 w 6400800"/>
                <a:gd name="connsiteY4022" fmla="*/ 318611 h 514350"/>
                <a:gd name="connsiteX4023" fmla="*/ 4836319 w 6400800"/>
                <a:gd name="connsiteY4023" fmla="*/ 318611 h 514350"/>
                <a:gd name="connsiteX4024" fmla="*/ 4839176 w 6400800"/>
                <a:gd name="connsiteY4024" fmla="*/ 314801 h 514350"/>
                <a:gd name="connsiteX4025" fmla="*/ 4842987 w 6400800"/>
                <a:gd name="connsiteY4025" fmla="*/ 321469 h 514350"/>
                <a:gd name="connsiteX4026" fmla="*/ 4843939 w 6400800"/>
                <a:gd name="connsiteY4026" fmla="*/ 323374 h 514350"/>
                <a:gd name="connsiteX4027" fmla="*/ 4843939 w 6400800"/>
                <a:gd name="connsiteY4027" fmla="*/ 329089 h 514350"/>
                <a:gd name="connsiteX4028" fmla="*/ 4845844 w 6400800"/>
                <a:gd name="connsiteY4028" fmla="*/ 296704 h 514350"/>
                <a:gd name="connsiteX4029" fmla="*/ 4844891 w 6400800"/>
                <a:gd name="connsiteY4029" fmla="*/ 316706 h 514350"/>
                <a:gd name="connsiteX4030" fmla="*/ 4840129 w 6400800"/>
                <a:gd name="connsiteY4030" fmla="*/ 310039 h 514350"/>
                <a:gd name="connsiteX4031" fmla="*/ 4837272 w 6400800"/>
                <a:gd name="connsiteY4031" fmla="*/ 306229 h 514350"/>
                <a:gd name="connsiteX4032" fmla="*/ 4845844 w 6400800"/>
                <a:gd name="connsiteY4032" fmla="*/ 290989 h 514350"/>
                <a:gd name="connsiteX4033" fmla="*/ 4847749 w 6400800"/>
                <a:gd name="connsiteY4033" fmla="*/ 288131 h 514350"/>
                <a:gd name="connsiteX4034" fmla="*/ 4845844 w 6400800"/>
                <a:gd name="connsiteY4034" fmla="*/ 296704 h 514350"/>
                <a:gd name="connsiteX4035" fmla="*/ 4869656 w 6400800"/>
                <a:gd name="connsiteY4035" fmla="*/ 325279 h 514350"/>
                <a:gd name="connsiteX4036" fmla="*/ 4869656 w 6400800"/>
                <a:gd name="connsiteY4036" fmla="*/ 327184 h 514350"/>
                <a:gd name="connsiteX4037" fmla="*/ 4869656 w 6400800"/>
                <a:gd name="connsiteY4037" fmla="*/ 325279 h 514350"/>
                <a:gd name="connsiteX4038" fmla="*/ 4869656 w 6400800"/>
                <a:gd name="connsiteY4038" fmla="*/ 318611 h 514350"/>
                <a:gd name="connsiteX4039" fmla="*/ 4869656 w 6400800"/>
                <a:gd name="connsiteY4039" fmla="*/ 325279 h 514350"/>
                <a:gd name="connsiteX4040" fmla="*/ 4854416 w 6400800"/>
                <a:gd name="connsiteY4040" fmla="*/ 276701 h 514350"/>
                <a:gd name="connsiteX4041" fmla="*/ 4868704 w 6400800"/>
                <a:gd name="connsiteY4041" fmla="*/ 256699 h 514350"/>
                <a:gd name="connsiteX4042" fmla="*/ 4871562 w 6400800"/>
                <a:gd name="connsiteY4042" fmla="*/ 252889 h 514350"/>
                <a:gd name="connsiteX4043" fmla="*/ 4871562 w 6400800"/>
                <a:gd name="connsiteY4043" fmla="*/ 259556 h 514350"/>
                <a:gd name="connsiteX4044" fmla="*/ 4861084 w 6400800"/>
                <a:gd name="connsiteY4044" fmla="*/ 296704 h 514350"/>
                <a:gd name="connsiteX4045" fmla="*/ 4860131 w 6400800"/>
                <a:gd name="connsiteY4045" fmla="*/ 300514 h 514350"/>
                <a:gd name="connsiteX4046" fmla="*/ 4853464 w 6400800"/>
                <a:gd name="connsiteY4046" fmla="*/ 278606 h 514350"/>
                <a:gd name="connsiteX4047" fmla="*/ 4854416 w 6400800"/>
                <a:gd name="connsiteY4047" fmla="*/ 276701 h 514350"/>
                <a:gd name="connsiteX4048" fmla="*/ 4854416 w 6400800"/>
                <a:gd name="connsiteY4048" fmla="*/ 276701 h 514350"/>
                <a:gd name="connsiteX4049" fmla="*/ 4850606 w 6400800"/>
                <a:gd name="connsiteY4049" fmla="*/ 281464 h 514350"/>
                <a:gd name="connsiteX4050" fmla="*/ 4857274 w 6400800"/>
                <a:gd name="connsiteY4050" fmla="*/ 316706 h 514350"/>
                <a:gd name="connsiteX4051" fmla="*/ 4854416 w 6400800"/>
                <a:gd name="connsiteY4051" fmla="*/ 330041 h 514350"/>
                <a:gd name="connsiteX4052" fmla="*/ 4852512 w 6400800"/>
                <a:gd name="connsiteY4052" fmla="*/ 326231 h 514350"/>
                <a:gd name="connsiteX4053" fmla="*/ 4852512 w 6400800"/>
                <a:gd name="connsiteY4053" fmla="*/ 322421 h 514350"/>
                <a:gd name="connsiteX4054" fmla="*/ 4850606 w 6400800"/>
                <a:gd name="connsiteY4054" fmla="*/ 295751 h 514350"/>
                <a:gd name="connsiteX4055" fmla="*/ 4849654 w 6400800"/>
                <a:gd name="connsiteY4055" fmla="*/ 284321 h 514350"/>
                <a:gd name="connsiteX4056" fmla="*/ 4850606 w 6400800"/>
                <a:gd name="connsiteY4056" fmla="*/ 281464 h 514350"/>
                <a:gd name="connsiteX4057" fmla="*/ 4838224 w 6400800"/>
                <a:gd name="connsiteY4057" fmla="*/ 290036 h 514350"/>
                <a:gd name="connsiteX4058" fmla="*/ 4845844 w 6400800"/>
                <a:gd name="connsiteY4058" fmla="*/ 272891 h 514350"/>
                <a:gd name="connsiteX4059" fmla="*/ 4848701 w 6400800"/>
                <a:gd name="connsiteY4059" fmla="*/ 265271 h 514350"/>
                <a:gd name="connsiteX4060" fmla="*/ 4849654 w 6400800"/>
                <a:gd name="connsiteY4060" fmla="*/ 275749 h 514350"/>
                <a:gd name="connsiteX4061" fmla="*/ 4847749 w 6400800"/>
                <a:gd name="connsiteY4061" fmla="*/ 277654 h 514350"/>
                <a:gd name="connsiteX4062" fmla="*/ 4847749 w 6400800"/>
                <a:gd name="connsiteY4062" fmla="*/ 273844 h 514350"/>
                <a:gd name="connsiteX4063" fmla="*/ 4847749 w 6400800"/>
                <a:gd name="connsiteY4063" fmla="*/ 278606 h 514350"/>
                <a:gd name="connsiteX4064" fmla="*/ 4841081 w 6400800"/>
                <a:gd name="connsiteY4064" fmla="*/ 288131 h 514350"/>
                <a:gd name="connsiteX4065" fmla="*/ 4836319 w 6400800"/>
                <a:gd name="connsiteY4065" fmla="*/ 294799 h 514350"/>
                <a:gd name="connsiteX4066" fmla="*/ 4838224 w 6400800"/>
                <a:gd name="connsiteY4066" fmla="*/ 290036 h 514350"/>
                <a:gd name="connsiteX4067" fmla="*/ 4835366 w 6400800"/>
                <a:gd name="connsiteY4067" fmla="*/ 309086 h 514350"/>
                <a:gd name="connsiteX4068" fmla="*/ 4836319 w 6400800"/>
                <a:gd name="connsiteY4068" fmla="*/ 308134 h 514350"/>
                <a:gd name="connsiteX4069" fmla="*/ 4838224 w 6400800"/>
                <a:gd name="connsiteY4069" fmla="*/ 311944 h 514350"/>
                <a:gd name="connsiteX4070" fmla="*/ 4839176 w 6400800"/>
                <a:gd name="connsiteY4070" fmla="*/ 313849 h 514350"/>
                <a:gd name="connsiteX4071" fmla="*/ 4835366 w 6400800"/>
                <a:gd name="connsiteY4071" fmla="*/ 317659 h 514350"/>
                <a:gd name="connsiteX4072" fmla="*/ 4835366 w 6400800"/>
                <a:gd name="connsiteY4072" fmla="*/ 317659 h 514350"/>
                <a:gd name="connsiteX4073" fmla="*/ 4834414 w 6400800"/>
                <a:gd name="connsiteY4073" fmla="*/ 316706 h 514350"/>
                <a:gd name="connsiteX4074" fmla="*/ 4832509 w 6400800"/>
                <a:gd name="connsiteY4074" fmla="*/ 314801 h 514350"/>
                <a:gd name="connsiteX4075" fmla="*/ 4835366 w 6400800"/>
                <a:gd name="connsiteY4075" fmla="*/ 309086 h 514350"/>
                <a:gd name="connsiteX4076" fmla="*/ 4830604 w 6400800"/>
                <a:gd name="connsiteY4076" fmla="*/ 319564 h 514350"/>
                <a:gd name="connsiteX4077" fmla="*/ 4832509 w 6400800"/>
                <a:gd name="connsiteY4077" fmla="*/ 314801 h 514350"/>
                <a:gd name="connsiteX4078" fmla="*/ 4833462 w 6400800"/>
                <a:gd name="connsiteY4078" fmla="*/ 316706 h 514350"/>
                <a:gd name="connsiteX4079" fmla="*/ 4834414 w 6400800"/>
                <a:gd name="connsiteY4079" fmla="*/ 318611 h 514350"/>
                <a:gd name="connsiteX4080" fmla="*/ 4828699 w 6400800"/>
                <a:gd name="connsiteY4080" fmla="*/ 324326 h 514350"/>
                <a:gd name="connsiteX4081" fmla="*/ 4830604 w 6400800"/>
                <a:gd name="connsiteY4081" fmla="*/ 319564 h 514350"/>
                <a:gd name="connsiteX4082" fmla="*/ 4817269 w 6400800"/>
                <a:gd name="connsiteY4082" fmla="*/ 364331 h 514350"/>
                <a:gd name="connsiteX4083" fmla="*/ 4817269 w 6400800"/>
                <a:gd name="connsiteY4083" fmla="*/ 356711 h 514350"/>
                <a:gd name="connsiteX4084" fmla="*/ 4824889 w 6400800"/>
                <a:gd name="connsiteY4084" fmla="*/ 335756 h 514350"/>
                <a:gd name="connsiteX4085" fmla="*/ 4825841 w 6400800"/>
                <a:gd name="connsiteY4085" fmla="*/ 334804 h 514350"/>
                <a:gd name="connsiteX4086" fmla="*/ 4835366 w 6400800"/>
                <a:gd name="connsiteY4086" fmla="*/ 319564 h 514350"/>
                <a:gd name="connsiteX4087" fmla="*/ 4837272 w 6400800"/>
                <a:gd name="connsiteY4087" fmla="*/ 322421 h 514350"/>
                <a:gd name="connsiteX4088" fmla="*/ 4841081 w 6400800"/>
                <a:gd name="connsiteY4088" fmla="*/ 330994 h 514350"/>
                <a:gd name="connsiteX4089" fmla="*/ 4842987 w 6400800"/>
                <a:gd name="connsiteY4089" fmla="*/ 335756 h 514350"/>
                <a:gd name="connsiteX4090" fmla="*/ 4835366 w 6400800"/>
                <a:gd name="connsiteY4090" fmla="*/ 345281 h 514350"/>
                <a:gd name="connsiteX4091" fmla="*/ 4822984 w 6400800"/>
                <a:gd name="connsiteY4091" fmla="*/ 366236 h 514350"/>
                <a:gd name="connsiteX4092" fmla="*/ 4820126 w 6400800"/>
                <a:gd name="connsiteY4092" fmla="*/ 369094 h 514350"/>
                <a:gd name="connsiteX4093" fmla="*/ 4817269 w 6400800"/>
                <a:gd name="connsiteY4093" fmla="*/ 371951 h 514350"/>
                <a:gd name="connsiteX4094" fmla="*/ 4817269 w 6400800"/>
                <a:gd name="connsiteY4094" fmla="*/ 364331 h 514350"/>
                <a:gd name="connsiteX4095" fmla="*/ 4816316 w 6400800"/>
                <a:gd name="connsiteY4095" fmla="*/ 376714 h 514350"/>
                <a:gd name="connsiteX4096" fmla="*/ 4820126 w 6400800"/>
                <a:gd name="connsiteY4096" fmla="*/ 370046 h 514350"/>
                <a:gd name="connsiteX4097" fmla="*/ 4820126 w 6400800"/>
                <a:gd name="connsiteY4097" fmla="*/ 370046 h 514350"/>
                <a:gd name="connsiteX4098" fmla="*/ 4820126 w 6400800"/>
                <a:gd name="connsiteY4098" fmla="*/ 370046 h 514350"/>
                <a:gd name="connsiteX4099" fmla="*/ 4816316 w 6400800"/>
                <a:gd name="connsiteY4099" fmla="*/ 378619 h 514350"/>
                <a:gd name="connsiteX4100" fmla="*/ 4816316 w 6400800"/>
                <a:gd name="connsiteY4100" fmla="*/ 376714 h 514350"/>
                <a:gd name="connsiteX4101" fmla="*/ 4762024 w 6400800"/>
                <a:gd name="connsiteY4101" fmla="*/ 305276 h 514350"/>
                <a:gd name="connsiteX4102" fmla="*/ 4763929 w 6400800"/>
                <a:gd name="connsiteY4102" fmla="*/ 322421 h 514350"/>
                <a:gd name="connsiteX4103" fmla="*/ 4760119 w 6400800"/>
                <a:gd name="connsiteY4103" fmla="*/ 309086 h 514350"/>
                <a:gd name="connsiteX4104" fmla="*/ 4762024 w 6400800"/>
                <a:gd name="connsiteY4104" fmla="*/ 300514 h 514350"/>
                <a:gd name="connsiteX4105" fmla="*/ 4762024 w 6400800"/>
                <a:gd name="connsiteY4105" fmla="*/ 305276 h 514350"/>
                <a:gd name="connsiteX4106" fmla="*/ 4755356 w 6400800"/>
                <a:gd name="connsiteY4106" fmla="*/ 279559 h 514350"/>
                <a:gd name="connsiteX4107" fmla="*/ 4760119 w 6400800"/>
                <a:gd name="connsiteY4107" fmla="*/ 294799 h 514350"/>
                <a:gd name="connsiteX4108" fmla="*/ 4761072 w 6400800"/>
                <a:gd name="connsiteY4108" fmla="*/ 297656 h 514350"/>
                <a:gd name="connsiteX4109" fmla="*/ 4758214 w 6400800"/>
                <a:gd name="connsiteY4109" fmla="*/ 304324 h 514350"/>
                <a:gd name="connsiteX4110" fmla="*/ 4754404 w 6400800"/>
                <a:gd name="connsiteY4110" fmla="*/ 292894 h 514350"/>
                <a:gd name="connsiteX4111" fmla="*/ 4755356 w 6400800"/>
                <a:gd name="connsiteY4111" fmla="*/ 279559 h 514350"/>
                <a:gd name="connsiteX4112" fmla="*/ 4759166 w 6400800"/>
                <a:gd name="connsiteY4112" fmla="*/ 342424 h 514350"/>
                <a:gd name="connsiteX4113" fmla="*/ 4755356 w 6400800"/>
                <a:gd name="connsiteY4113" fmla="*/ 331946 h 514350"/>
                <a:gd name="connsiteX4114" fmla="*/ 4756309 w 6400800"/>
                <a:gd name="connsiteY4114" fmla="*/ 326231 h 514350"/>
                <a:gd name="connsiteX4115" fmla="*/ 4759166 w 6400800"/>
                <a:gd name="connsiteY4115" fmla="*/ 342424 h 514350"/>
                <a:gd name="connsiteX4116" fmla="*/ 4753451 w 6400800"/>
                <a:gd name="connsiteY4116" fmla="*/ 312896 h 514350"/>
                <a:gd name="connsiteX4117" fmla="*/ 4754404 w 6400800"/>
                <a:gd name="connsiteY4117" fmla="*/ 315754 h 514350"/>
                <a:gd name="connsiteX4118" fmla="*/ 4753451 w 6400800"/>
                <a:gd name="connsiteY4118" fmla="*/ 317659 h 514350"/>
                <a:gd name="connsiteX4119" fmla="*/ 4753451 w 6400800"/>
                <a:gd name="connsiteY4119" fmla="*/ 312896 h 514350"/>
                <a:gd name="connsiteX4120" fmla="*/ 4755356 w 6400800"/>
                <a:gd name="connsiteY4120" fmla="*/ 373856 h 514350"/>
                <a:gd name="connsiteX4121" fmla="*/ 4756309 w 6400800"/>
                <a:gd name="connsiteY4121" fmla="*/ 375761 h 514350"/>
                <a:gd name="connsiteX4122" fmla="*/ 4754404 w 6400800"/>
                <a:gd name="connsiteY4122" fmla="*/ 379571 h 514350"/>
                <a:gd name="connsiteX4123" fmla="*/ 4752499 w 6400800"/>
                <a:gd name="connsiteY4123" fmla="*/ 379571 h 514350"/>
                <a:gd name="connsiteX4124" fmla="*/ 4755356 w 6400800"/>
                <a:gd name="connsiteY4124" fmla="*/ 373856 h 514350"/>
                <a:gd name="connsiteX4125" fmla="*/ 4748689 w 6400800"/>
                <a:gd name="connsiteY4125" fmla="*/ 291941 h 514350"/>
                <a:gd name="connsiteX4126" fmla="*/ 4746784 w 6400800"/>
                <a:gd name="connsiteY4126" fmla="*/ 303371 h 514350"/>
                <a:gd name="connsiteX4127" fmla="*/ 4746784 w 6400800"/>
                <a:gd name="connsiteY4127" fmla="*/ 303371 h 514350"/>
                <a:gd name="connsiteX4128" fmla="*/ 4746784 w 6400800"/>
                <a:gd name="connsiteY4128" fmla="*/ 299561 h 514350"/>
                <a:gd name="connsiteX4129" fmla="*/ 4748689 w 6400800"/>
                <a:gd name="connsiteY4129" fmla="*/ 291941 h 514350"/>
                <a:gd name="connsiteX4130" fmla="*/ 4738212 w 6400800"/>
                <a:gd name="connsiteY4130" fmla="*/ 327184 h 514350"/>
                <a:gd name="connsiteX4131" fmla="*/ 4737259 w 6400800"/>
                <a:gd name="connsiteY4131" fmla="*/ 341471 h 514350"/>
                <a:gd name="connsiteX4132" fmla="*/ 4736306 w 6400800"/>
                <a:gd name="connsiteY4132" fmla="*/ 336709 h 514350"/>
                <a:gd name="connsiteX4133" fmla="*/ 4738212 w 6400800"/>
                <a:gd name="connsiteY4133" fmla="*/ 327184 h 514350"/>
                <a:gd name="connsiteX4134" fmla="*/ 4720114 w 6400800"/>
                <a:gd name="connsiteY4134" fmla="*/ 261461 h 514350"/>
                <a:gd name="connsiteX4135" fmla="*/ 4720114 w 6400800"/>
                <a:gd name="connsiteY4135" fmla="*/ 261461 h 514350"/>
                <a:gd name="connsiteX4136" fmla="*/ 4729639 w 6400800"/>
                <a:gd name="connsiteY4136" fmla="*/ 290989 h 514350"/>
                <a:gd name="connsiteX4137" fmla="*/ 4731544 w 6400800"/>
                <a:gd name="connsiteY4137" fmla="*/ 296704 h 514350"/>
                <a:gd name="connsiteX4138" fmla="*/ 4727734 w 6400800"/>
                <a:gd name="connsiteY4138" fmla="*/ 308134 h 514350"/>
                <a:gd name="connsiteX4139" fmla="*/ 4723924 w 6400800"/>
                <a:gd name="connsiteY4139" fmla="*/ 295751 h 514350"/>
                <a:gd name="connsiteX4140" fmla="*/ 4718209 w 6400800"/>
                <a:gd name="connsiteY4140" fmla="*/ 276701 h 514350"/>
                <a:gd name="connsiteX4141" fmla="*/ 4720114 w 6400800"/>
                <a:gd name="connsiteY4141" fmla="*/ 261461 h 514350"/>
                <a:gd name="connsiteX4142" fmla="*/ 4709637 w 6400800"/>
                <a:gd name="connsiteY4142" fmla="*/ 324326 h 514350"/>
                <a:gd name="connsiteX4143" fmla="*/ 4713447 w 6400800"/>
                <a:gd name="connsiteY4143" fmla="*/ 301466 h 514350"/>
                <a:gd name="connsiteX4144" fmla="*/ 4719162 w 6400800"/>
                <a:gd name="connsiteY4144" fmla="*/ 331946 h 514350"/>
                <a:gd name="connsiteX4145" fmla="*/ 4715351 w 6400800"/>
                <a:gd name="connsiteY4145" fmla="*/ 343376 h 514350"/>
                <a:gd name="connsiteX4146" fmla="*/ 4715351 w 6400800"/>
                <a:gd name="connsiteY4146" fmla="*/ 343376 h 514350"/>
                <a:gd name="connsiteX4147" fmla="*/ 4707731 w 6400800"/>
                <a:gd name="connsiteY4147" fmla="*/ 332899 h 514350"/>
                <a:gd name="connsiteX4148" fmla="*/ 4709637 w 6400800"/>
                <a:gd name="connsiteY4148" fmla="*/ 324326 h 514350"/>
                <a:gd name="connsiteX4149" fmla="*/ 4703922 w 6400800"/>
                <a:gd name="connsiteY4149" fmla="*/ 355759 h 514350"/>
                <a:gd name="connsiteX4150" fmla="*/ 4705826 w 6400800"/>
                <a:gd name="connsiteY4150" fmla="*/ 360521 h 514350"/>
                <a:gd name="connsiteX4151" fmla="*/ 4708684 w 6400800"/>
                <a:gd name="connsiteY4151" fmla="*/ 369094 h 514350"/>
                <a:gd name="connsiteX4152" fmla="*/ 4704874 w 6400800"/>
                <a:gd name="connsiteY4152" fmla="*/ 377666 h 514350"/>
                <a:gd name="connsiteX4153" fmla="*/ 4704874 w 6400800"/>
                <a:gd name="connsiteY4153" fmla="*/ 376714 h 514350"/>
                <a:gd name="connsiteX4154" fmla="*/ 4702016 w 6400800"/>
                <a:gd name="connsiteY4154" fmla="*/ 371951 h 514350"/>
                <a:gd name="connsiteX4155" fmla="*/ 4703922 w 6400800"/>
                <a:gd name="connsiteY4155" fmla="*/ 355759 h 514350"/>
                <a:gd name="connsiteX4156" fmla="*/ 4682966 w 6400800"/>
                <a:gd name="connsiteY4156" fmla="*/ 380524 h 514350"/>
                <a:gd name="connsiteX4157" fmla="*/ 4680109 w 6400800"/>
                <a:gd name="connsiteY4157" fmla="*/ 392906 h 514350"/>
                <a:gd name="connsiteX4158" fmla="*/ 4676299 w 6400800"/>
                <a:gd name="connsiteY4158" fmla="*/ 393859 h 514350"/>
                <a:gd name="connsiteX4159" fmla="*/ 4675347 w 6400800"/>
                <a:gd name="connsiteY4159" fmla="*/ 388144 h 514350"/>
                <a:gd name="connsiteX4160" fmla="*/ 4682966 w 6400800"/>
                <a:gd name="connsiteY4160" fmla="*/ 378619 h 514350"/>
                <a:gd name="connsiteX4161" fmla="*/ 4682966 w 6400800"/>
                <a:gd name="connsiteY4161" fmla="*/ 380524 h 514350"/>
                <a:gd name="connsiteX4162" fmla="*/ 4672489 w 6400800"/>
                <a:gd name="connsiteY4162" fmla="*/ 361474 h 514350"/>
                <a:gd name="connsiteX4163" fmla="*/ 4679156 w 6400800"/>
                <a:gd name="connsiteY4163" fmla="*/ 373856 h 514350"/>
                <a:gd name="connsiteX4164" fmla="*/ 4672489 w 6400800"/>
                <a:gd name="connsiteY4164" fmla="*/ 379571 h 514350"/>
                <a:gd name="connsiteX4165" fmla="*/ 4671537 w 6400800"/>
                <a:gd name="connsiteY4165" fmla="*/ 376714 h 514350"/>
                <a:gd name="connsiteX4166" fmla="*/ 4670584 w 6400800"/>
                <a:gd name="connsiteY4166" fmla="*/ 370999 h 514350"/>
                <a:gd name="connsiteX4167" fmla="*/ 4672489 w 6400800"/>
                <a:gd name="connsiteY4167" fmla="*/ 361474 h 514350"/>
                <a:gd name="connsiteX4168" fmla="*/ 4661059 w 6400800"/>
                <a:gd name="connsiteY4168" fmla="*/ 265271 h 514350"/>
                <a:gd name="connsiteX4169" fmla="*/ 4663916 w 6400800"/>
                <a:gd name="connsiteY4169" fmla="*/ 252889 h 514350"/>
                <a:gd name="connsiteX4170" fmla="*/ 4669631 w 6400800"/>
                <a:gd name="connsiteY4170" fmla="*/ 237649 h 514350"/>
                <a:gd name="connsiteX4171" fmla="*/ 4669631 w 6400800"/>
                <a:gd name="connsiteY4171" fmla="*/ 242411 h 514350"/>
                <a:gd name="connsiteX4172" fmla="*/ 4661059 w 6400800"/>
                <a:gd name="connsiteY4172" fmla="*/ 269081 h 514350"/>
                <a:gd name="connsiteX4173" fmla="*/ 4661059 w 6400800"/>
                <a:gd name="connsiteY4173" fmla="*/ 265271 h 514350"/>
                <a:gd name="connsiteX4174" fmla="*/ 4645819 w 6400800"/>
                <a:gd name="connsiteY4174" fmla="*/ 278606 h 514350"/>
                <a:gd name="connsiteX4175" fmla="*/ 4648676 w 6400800"/>
                <a:gd name="connsiteY4175" fmla="*/ 260509 h 514350"/>
                <a:gd name="connsiteX4176" fmla="*/ 4650581 w 6400800"/>
                <a:gd name="connsiteY4176" fmla="*/ 250984 h 514350"/>
                <a:gd name="connsiteX4177" fmla="*/ 4650581 w 6400800"/>
                <a:gd name="connsiteY4177" fmla="*/ 251936 h 514350"/>
                <a:gd name="connsiteX4178" fmla="*/ 4652487 w 6400800"/>
                <a:gd name="connsiteY4178" fmla="*/ 265271 h 514350"/>
                <a:gd name="connsiteX4179" fmla="*/ 4652487 w 6400800"/>
                <a:gd name="connsiteY4179" fmla="*/ 270034 h 514350"/>
                <a:gd name="connsiteX4180" fmla="*/ 4650581 w 6400800"/>
                <a:gd name="connsiteY4180" fmla="*/ 278606 h 514350"/>
                <a:gd name="connsiteX4181" fmla="*/ 4648676 w 6400800"/>
                <a:gd name="connsiteY4181" fmla="*/ 290989 h 514350"/>
                <a:gd name="connsiteX4182" fmla="*/ 4645819 w 6400800"/>
                <a:gd name="connsiteY4182" fmla="*/ 278606 h 514350"/>
                <a:gd name="connsiteX4183" fmla="*/ 4645819 w 6400800"/>
                <a:gd name="connsiteY4183" fmla="*/ 278606 h 514350"/>
                <a:gd name="connsiteX4184" fmla="*/ 4642962 w 6400800"/>
                <a:gd name="connsiteY4184" fmla="*/ 293846 h 514350"/>
                <a:gd name="connsiteX4185" fmla="*/ 4644866 w 6400800"/>
                <a:gd name="connsiteY4185" fmla="*/ 302419 h 514350"/>
                <a:gd name="connsiteX4186" fmla="*/ 4645819 w 6400800"/>
                <a:gd name="connsiteY4186" fmla="*/ 309086 h 514350"/>
                <a:gd name="connsiteX4187" fmla="*/ 4645819 w 6400800"/>
                <a:gd name="connsiteY4187" fmla="*/ 309086 h 514350"/>
                <a:gd name="connsiteX4188" fmla="*/ 4642962 w 6400800"/>
                <a:gd name="connsiteY4188" fmla="*/ 306229 h 514350"/>
                <a:gd name="connsiteX4189" fmla="*/ 4642009 w 6400800"/>
                <a:gd name="connsiteY4189" fmla="*/ 299561 h 514350"/>
                <a:gd name="connsiteX4190" fmla="*/ 4642962 w 6400800"/>
                <a:gd name="connsiteY4190" fmla="*/ 293846 h 514350"/>
                <a:gd name="connsiteX4191" fmla="*/ 4595337 w 6400800"/>
                <a:gd name="connsiteY4191" fmla="*/ 280511 h 514350"/>
                <a:gd name="connsiteX4192" fmla="*/ 4598194 w 6400800"/>
                <a:gd name="connsiteY4192" fmla="*/ 293846 h 514350"/>
                <a:gd name="connsiteX4193" fmla="*/ 4598194 w 6400800"/>
                <a:gd name="connsiteY4193" fmla="*/ 300514 h 514350"/>
                <a:gd name="connsiteX4194" fmla="*/ 4598194 w 6400800"/>
                <a:gd name="connsiteY4194" fmla="*/ 311944 h 514350"/>
                <a:gd name="connsiteX4195" fmla="*/ 4596289 w 6400800"/>
                <a:gd name="connsiteY4195" fmla="*/ 319564 h 514350"/>
                <a:gd name="connsiteX4196" fmla="*/ 4593431 w 6400800"/>
                <a:gd name="connsiteY4196" fmla="*/ 311944 h 514350"/>
                <a:gd name="connsiteX4197" fmla="*/ 4593431 w 6400800"/>
                <a:gd name="connsiteY4197" fmla="*/ 305276 h 514350"/>
                <a:gd name="connsiteX4198" fmla="*/ 4593431 w 6400800"/>
                <a:gd name="connsiteY4198" fmla="*/ 286226 h 514350"/>
                <a:gd name="connsiteX4199" fmla="*/ 4595337 w 6400800"/>
                <a:gd name="connsiteY4199" fmla="*/ 280511 h 514350"/>
                <a:gd name="connsiteX4200" fmla="*/ 4595337 w 6400800"/>
                <a:gd name="connsiteY4200" fmla="*/ 280511 h 514350"/>
                <a:gd name="connsiteX4201" fmla="*/ 4595337 w 6400800"/>
                <a:gd name="connsiteY4201" fmla="*/ 277654 h 514350"/>
                <a:gd name="connsiteX4202" fmla="*/ 4593431 w 6400800"/>
                <a:gd name="connsiteY4202" fmla="*/ 279559 h 514350"/>
                <a:gd name="connsiteX4203" fmla="*/ 4592479 w 6400800"/>
                <a:gd name="connsiteY4203" fmla="*/ 280511 h 514350"/>
                <a:gd name="connsiteX4204" fmla="*/ 4592479 w 6400800"/>
                <a:gd name="connsiteY4204" fmla="*/ 263366 h 514350"/>
                <a:gd name="connsiteX4205" fmla="*/ 4595337 w 6400800"/>
                <a:gd name="connsiteY4205" fmla="*/ 277654 h 514350"/>
                <a:gd name="connsiteX4206" fmla="*/ 4576287 w 6400800"/>
                <a:gd name="connsiteY4206" fmla="*/ 253841 h 514350"/>
                <a:gd name="connsiteX4207" fmla="*/ 4575334 w 6400800"/>
                <a:gd name="connsiteY4207" fmla="*/ 273844 h 514350"/>
                <a:gd name="connsiteX4208" fmla="*/ 4569619 w 6400800"/>
                <a:gd name="connsiteY4208" fmla="*/ 262414 h 514350"/>
                <a:gd name="connsiteX4209" fmla="*/ 4576287 w 6400800"/>
                <a:gd name="connsiteY4209" fmla="*/ 253841 h 514350"/>
                <a:gd name="connsiteX4210" fmla="*/ 4566762 w 6400800"/>
                <a:gd name="connsiteY4210" fmla="*/ 268129 h 514350"/>
                <a:gd name="connsiteX4211" fmla="*/ 4566762 w 6400800"/>
                <a:gd name="connsiteY4211" fmla="*/ 268129 h 514350"/>
                <a:gd name="connsiteX4212" fmla="*/ 4571524 w 6400800"/>
                <a:gd name="connsiteY4212" fmla="*/ 284321 h 514350"/>
                <a:gd name="connsiteX4213" fmla="*/ 4574381 w 6400800"/>
                <a:gd name="connsiteY4213" fmla="*/ 296704 h 514350"/>
                <a:gd name="connsiteX4214" fmla="*/ 4574381 w 6400800"/>
                <a:gd name="connsiteY4214" fmla="*/ 301466 h 514350"/>
                <a:gd name="connsiteX4215" fmla="*/ 4568666 w 6400800"/>
                <a:gd name="connsiteY4215" fmla="*/ 289084 h 514350"/>
                <a:gd name="connsiteX4216" fmla="*/ 4574381 w 6400800"/>
                <a:gd name="connsiteY4216" fmla="*/ 309086 h 514350"/>
                <a:gd name="connsiteX4217" fmla="*/ 4571524 w 6400800"/>
                <a:gd name="connsiteY4217" fmla="*/ 314801 h 514350"/>
                <a:gd name="connsiteX4218" fmla="*/ 4571524 w 6400800"/>
                <a:gd name="connsiteY4218" fmla="*/ 315754 h 514350"/>
                <a:gd name="connsiteX4219" fmla="*/ 4564856 w 6400800"/>
                <a:gd name="connsiteY4219" fmla="*/ 271939 h 514350"/>
                <a:gd name="connsiteX4220" fmla="*/ 4566762 w 6400800"/>
                <a:gd name="connsiteY4220" fmla="*/ 268129 h 514350"/>
                <a:gd name="connsiteX4221" fmla="*/ 4560094 w 6400800"/>
                <a:gd name="connsiteY4221" fmla="*/ 254794 h 514350"/>
                <a:gd name="connsiteX4222" fmla="*/ 4562951 w 6400800"/>
                <a:gd name="connsiteY4222" fmla="*/ 260509 h 514350"/>
                <a:gd name="connsiteX4223" fmla="*/ 4561047 w 6400800"/>
                <a:gd name="connsiteY4223" fmla="*/ 263366 h 514350"/>
                <a:gd name="connsiteX4224" fmla="*/ 4557237 w 6400800"/>
                <a:gd name="connsiteY4224" fmla="*/ 268129 h 514350"/>
                <a:gd name="connsiteX4225" fmla="*/ 4560094 w 6400800"/>
                <a:gd name="connsiteY4225" fmla="*/ 254794 h 514350"/>
                <a:gd name="connsiteX4226" fmla="*/ 4548664 w 6400800"/>
                <a:gd name="connsiteY4226" fmla="*/ 317659 h 514350"/>
                <a:gd name="connsiteX4227" fmla="*/ 4557237 w 6400800"/>
                <a:gd name="connsiteY4227" fmla="*/ 290036 h 514350"/>
                <a:gd name="connsiteX4228" fmla="*/ 4562951 w 6400800"/>
                <a:gd name="connsiteY4228" fmla="*/ 275749 h 514350"/>
                <a:gd name="connsiteX4229" fmla="*/ 4560094 w 6400800"/>
                <a:gd name="connsiteY4229" fmla="*/ 318611 h 514350"/>
                <a:gd name="connsiteX4230" fmla="*/ 4555331 w 6400800"/>
                <a:gd name="connsiteY4230" fmla="*/ 310991 h 514350"/>
                <a:gd name="connsiteX4231" fmla="*/ 4560094 w 6400800"/>
                <a:gd name="connsiteY4231" fmla="*/ 321469 h 514350"/>
                <a:gd name="connsiteX4232" fmla="*/ 4560094 w 6400800"/>
                <a:gd name="connsiteY4232" fmla="*/ 321469 h 514350"/>
                <a:gd name="connsiteX4233" fmla="*/ 4559141 w 6400800"/>
                <a:gd name="connsiteY4233" fmla="*/ 342424 h 514350"/>
                <a:gd name="connsiteX4234" fmla="*/ 4555331 w 6400800"/>
                <a:gd name="connsiteY4234" fmla="*/ 352901 h 514350"/>
                <a:gd name="connsiteX4235" fmla="*/ 4552474 w 6400800"/>
                <a:gd name="connsiteY4235" fmla="*/ 361474 h 514350"/>
                <a:gd name="connsiteX4236" fmla="*/ 4547712 w 6400800"/>
                <a:gd name="connsiteY4236" fmla="*/ 343376 h 514350"/>
                <a:gd name="connsiteX4237" fmla="*/ 4547712 w 6400800"/>
                <a:gd name="connsiteY4237" fmla="*/ 328136 h 514350"/>
                <a:gd name="connsiteX4238" fmla="*/ 4545806 w 6400800"/>
                <a:gd name="connsiteY4238" fmla="*/ 338614 h 514350"/>
                <a:gd name="connsiteX4239" fmla="*/ 4545806 w 6400800"/>
                <a:gd name="connsiteY4239" fmla="*/ 337661 h 514350"/>
                <a:gd name="connsiteX4240" fmla="*/ 4544854 w 6400800"/>
                <a:gd name="connsiteY4240" fmla="*/ 335756 h 514350"/>
                <a:gd name="connsiteX4241" fmla="*/ 4548664 w 6400800"/>
                <a:gd name="connsiteY4241" fmla="*/ 317659 h 514350"/>
                <a:gd name="connsiteX4242" fmla="*/ 4457224 w 6400800"/>
                <a:gd name="connsiteY4242" fmla="*/ 306229 h 514350"/>
                <a:gd name="connsiteX4243" fmla="*/ 4457224 w 6400800"/>
                <a:gd name="connsiteY4243" fmla="*/ 306229 h 514350"/>
                <a:gd name="connsiteX4244" fmla="*/ 4457224 w 6400800"/>
                <a:gd name="connsiteY4244" fmla="*/ 304324 h 514350"/>
                <a:gd name="connsiteX4245" fmla="*/ 4457224 w 6400800"/>
                <a:gd name="connsiteY4245" fmla="*/ 306229 h 514350"/>
                <a:gd name="connsiteX4246" fmla="*/ 4478179 w 6400800"/>
                <a:gd name="connsiteY4246" fmla="*/ 359569 h 514350"/>
                <a:gd name="connsiteX4247" fmla="*/ 4476274 w 6400800"/>
                <a:gd name="connsiteY4247" fmla="*/ 339566 h 514350"/>
                <a:gd name="connsiteX4248" fmla="*/ 4476274 w 6400800"/>
                <a:gd name="connsiteY4248" fmla="*/ 336709 h 514350"/>
                <a:gd name="connsiteX4249" fmla="*/ 4483894 w 6400800"/>
                <a:gd name="connsiteY4249" fmla="*/ 347186 h 514350"/>
                <a:gd name="connsiteX4250" fmla="*/ 4478179 w 6400800"/>
                <a:gd name="connsiteY4250" fmla="*/ 359569 h 514350"/>
                <a:gd name="connsiteX4251" fmla="*/ 4497229 w 6400800"/>
                <a:gd name="connsiteY4251" fmla="*/ 371951 h 514350"/>
                <a:gd name="connsiteX4252" fmla="*/ 4497229 w 6400800"/>
                <a:gd name="connsiteY4252" fmla="*/ 367189 h 514350"/>
                <a:gd name="connsiteX4253" fmla="*/ 4498181 w 6400800"/>
                <a:gd name="connsiteY4253" fmla="*/ 370046 h 514350"/>
                <a:gd name="connsiteX4254" fmla="*/ 4497229 w 6400800"/>
                <a:gd name="connsiteY4254" fmla="*/ 371951 h 514350"/>
                <a:gd name="connsiteX4255" fmla="*/ 4504849 w 6400800"/>
                <a:gd name="connsiteY4255" fmla="*/ 322421 h 514350"/>
                <a:gd name="connsiteX4256" fmla="*/ 4504849 w 6400800"/>
                <a:gd name="connsiteY4256" fmla="*/ 330994 h 514350"/>
                <a:gd name="connsiteX4257" fmla="*/ 4501991 w 6400800"/>
                <a:gd name="connsiteY4257" fmla="*/ 341471 h 514350"/>
                <a:gd name="connsiteX4258" fmla="*/ 4501039 w 6400800"/>
                <a:gd name="connsiteY4258" fmla="*/ 348139 h 514350"/>
                <a:gd name="connsiteX4259" fmla="*/ 4499134 w 6400800"/>
                <a:gd name="connsiteY4259" fmla="*/ 345281 h 514350"/>
                <a:gd name="connsiteX4260" fmla="*/ 4498181 w 6400800"/>
                <a:gd name="connsiteY4260" fmla="*/ 342424 h 514350"/>
                <a:gd name="connsiteX4261" fmla="*/ 4501991 w 6400800"/>
                <a:gd name="connsiteY4261" fmla="*/ 326231 h 514350"/>
                <a:gd name="connsiteX4262" fmla="*/ 4506754 w 6400800"/>
                <a:gd name="connsiteY4262" fmla="*/ 310991 h 514350"/>
                <a:gd name="connsiteX4263" fmla="*/ 4504849 w 6400800"/>
                <a:gd name="connsiteY4263" fmla="*/ 322421 h 514350"/>
                <a:gd name="connsiteX4264" fmla="*/ 4462939 w 6400800"/>
                <a:gd name="connsiteY4264" fmla="*/ 250984 h 514350"/>
                <a:gd name="connsiteX4265" fmla="*/ 4470559 w 6400800"/>
                <a:gd name="connsiteY4265" fmla="*/ 226219 h 514350"/>
                <a:gd name="connsiteX4266" fmla="*/ 4474369 w 6400800"/>
                <a:gd name="connsiteY4266" fmla="*/ 231934 h 514350"/>
                <a:gd name="connsiteX4267" fmla="*/ 4479131 w 6400800"/>
                <a:gd name="connsiteY4267" fmla="*/ 238601 h 514350"/>
                <a:gd name="connsiteX4268" fmla="*/ 4483894 w 6400800"/>
                <a:gd name="connsiteY4268" fmla="*/ 248126 h 514350"/>
                <a:gd name="connsiteX4269" fmla="*/ 4489609 w 6400800"/>
                <a:gd name="connsiteY4269" fmla="*/ 260509 h 514350"/>
                <a:gd name="connsiteX4270" fmla="*/ 4495324 w 6400800"/>
                <a:gd name="connsiteY4270" fmla="*/ 275749 h 514350"/>
                <a:gd name="connsiteX4271" fmla="*/ 4501039 w 6400800"/>
                <a:gd name="connsiteY4271" fmla="*/ 293846 h 514350"/>
                <a:gd name="connsiteX4272" fmla="*/ 4503897 w 6400800"/>
                <a:gd name="connsiteY4272" fmla="*/ 303371 h 514350"/>
                <a:gd name="connsiteX4273" fmla="*/ 4497229 w 6400800"/>
                <a:gd name="connsiteY4273" fmla="*/ 317659 h 514350"/>
                <a:gd name="connsiteX4274" fmla="*/ 4493419 w 6400800"/>
                <a:gd name="connsiteY4274" fmla="*/ 326231 h 514350"/>
                <a:gd name="connsiteX4275" fmla="*/ 4488656 w 6400800"/>
                <a:gd name="connsiteY4275" fmla="*/ 280511 h 514350"/>
                <a:gd name="connsiteX4276" fmla="*/ 4487704 w 6400800"/>
                <a:gd name="connsiteY4276" fmla="*/ 319564 h 514350"/>
                <a:gd name="connsiteX4277" fmla="*/ 4483894 w 6400800"/>
                <a:gd name="connsiteY4277" fmla="*/ 311944 h 514350"/>
                <a:gd name="connsiteX4278" fmla="*/ 4473416 w 6400800"/>
                <a:gd name="connsiteY4278" fmla="*/ 289084 h 514350"/>
                <a:gd name="connsiteX4279" fmla="*/ 4481037 w 6400800"/>
                <a:gd name="connsiteY4279" fmla="*/ 312896 h 514350"/>
                <a:gd name="connsiteX4280" fmla="*/ 4486751 w 6400800"/>
                <a:gd name="connsiteY4280" fmla="*/ 330041 h 514350"/>
                <a:gd name="connsiteX4281" fmla="*/ 4484847 w 6400800"/>
                <a:gd name="connsiteY4281" fmla="*/ 328136 h 514350"/>
                <a:gd name="connsiteX4282" fmla="*/ 4475322 w 6400800"/>
                <a:gd name="connsiteY4282" fmla="*/ 318611 h 514350"/>
                <a:gd name="connsiteX4283" fmla="*/ 4473416 w 6400800"/>
                <a:gd name="connsiteY4283" fmla="*/ 304324 h 514350"/>
                <a:gd name="connsiteX4284" fmla="*/ 4468654 w 6400800"/>
                <a:gd name="connsiteY4284" fmla="*/ 278606 h 514350"/>
                <a:gd name="connsiteX4285" fmla="*/ 4477226 w 6400800"/>
                <a:gd name="connsiteY4285" fmla="*/ 256699 h 514350"/>
                <a:gd name="connsiteX4286" fmla="*/ 4466749 w 6400800"/>
                <a:gd name="connsiteY4286" fmla="*/ 273844 h 514350"/>
                <a:gd name="connsiteX4287" fmla="*/ 4462939 w 6400800"/>
                <a:gd name="connsiteY4287" fmla="*/ 258604 h 514350"/>
                <a:gd name="connsiteX4288" fmla="*/ 4462939 w 6400800"/>
                <a:gd name="connsiteY4288" fmla="*/ 256699 h 514350"/>
                <a:gd name="connsiteX4289" fmla="*/ 4462939 w 6400800"/>
                <a:gd name="connsiteY4289" fmla="*/ 250984 h 514350"/>
                <a:gd name="connsiteX4290" fmla="*/ 4461034 w 6400800"/>
                <a:gd name="connsiteY4290" fmla="*/ 255746 h 514350"/>
                <a:gd name="connsiteX4291" fmla="*/ 4461034 w 6400800"/>
                <a:gd name="connsiteY4291" fmla="*/ 255746 h 514350"/>
                <a:gd name="connsiteX4292" fmla="*/ 4461034 w 6400800"/>
                <a:gd name="connsiteY4292" fmla="*/ 255746 h 514350"/>
                <a:gd name="connsiteX4293" fmla="*/ 4461034 w 6400800"/>
                <a:gd name="connsiteY4293" fmla="*/ 255746 h 514350"/>
                <a:gd name="connsiteX4294" fmla="*/ 4455319 w 6400800"/>
                <a:gd name="connsiteY4294" fmla="*/ 274796 h 514350"/>
                <a:gd name="connsiteX4295" fmla="*/ 4457224 w 6400800"/>
                <a:gd name="connsiteY4295" fmla="*/ 268129 h 514350"/>
                <a:gd name="connsiteX4296" fmla="*/ 4457224 w 6400800"/>
                <a:gd name="connsiteY4296" fmla="*/ 273844 h 514350"/>
                <a:gd name="connsiteX4297" fmla="*/ 4458176 w 6400800"/>
                <a:gd name="connsiteY4297" fmla="*/ 284321 h 514350"/>
                <a:gd name="connsiteX4298" fmla="*/ 4454366 w 6400800"/>
                <a:gd name="connsiteY4298" fmla="*/ 292894 h 514350"/>
                <a:gd name="connsiteX4299" fmla="*/ 4455319 w 6400800"/>
                <a:gd name="connsiteY4299" fmla="*/ 274796 h 514350"/>
                <a:gd name="connsiteX4300" fmla="*/ 4449604 w 6400800"/>
                <a:gd name="connsiteY4300" fmla="*/ 361474 h 514350"/>
                <a:gd name="connsiteX4301" fmla="*/ 4451509 w 6400800"/>
                <a:gd name="connsiteY4301" fmla="*/ 339566 h 514350"/>
                <a:gd name="connsiteX4302" fmla="*/ 4453414 w 6400800"/>
                <a:gd name="connsiteY4302" fmla="*/ 343376 h 514350"/>
                <a:gd name="connsiteX4303" fmla="*/ 4453414 w 6400800"/>
                <a:gd name="connsiteY4303" fmla="*/ 344329 h 514350"/>
                <a:gd name="connsiteX4304" fmla="*/ 4453414 w 6400800"/>
                <a:gd name="connsiteY4304" fmla="*/ 344329 h 514350"/>
                <a:gd name="connsiteX4305" fmla="*/ 4451509 w 6400800"/>
                <a:gd name="connsiteY4305" fmla="*/ 366236 h 514350"/>
                <a:gd name="connsiteX4306" fmla="*/ 4448651 w 6400800"/>
                <a:gd name="connsiteY4306" fmla="*/ 388144 h 514350"/>
                <a:gd name="connsiteX4307" fmla="*/ 4446747 w 6400800"/>
                <a:gd name="connsiteY4307" fmla="*/ 386239 h 514350"/>
                <a:gd name="connsiteX4308" fmla="*/ 4449604 w 6400800"/>
                <a:gd name="connsiteY4308" fmla="*/ 361474 h 514350"/>
                <a:gd name="connsiteX4309" fmla="*/ 4386739 w 6400800"/>
                <a:gd name="connsiteY4309" fmla="*/ 331946 h 514350"/>
                <a:gd name="connsiteX4310" fmla="*/ 4390549 w 6400800"/>
                <a:gd name="connsiteY4310" fmla="*/ 335756 h 514350"/>
                <a:gd name="connsiteX4311" fmla="*/ 4390549 w 6400800"/>
                <a:gd name="connsiteY4311" fmla="*/ 342424 h 514350"/>
                <a:gd name="connsiteX4312" fmla="*/ 4386739 w 6400800"/>
                <a:gd name="connsiteY4312" fmla="*/ 347186 h 514350"/>
                <a:gd name="connsiteX4313" fmla="*/ 4386739 w 6400800"/>
                <a:gd name="connsiteY4313" fmla="*/ 331946 h 514350"/>
                <a:gd name="connsiteX4314" fmla="*/ 4389597 w 6400800"/>
                <a:gd name="connsiteY4314" fmla="*/ 376714 h 514350"/>
                <a:gd name="connsiteX4315" fmla="*/ 4388644 w 6400800"/>
                <a:gd name="connsiteY4315" fmla="*/ 375761 h 514350"/>
                <a:gd name="connsiteX4316" fmla="*/ 4387691 w 6400800"/>
                <a:gd name="connsiteY4316" fmla="*/ 370046 h 514350"/>
                <a:gd name="connsiteX4317" fmla="*/ 4387691 w 6400800"/>
                <a:gd name="connsiteY4317" fmla="*/ 360521 h 514350"/>
                <a:gd name="connsiteX4318" fmla="*/ 4387691 w 6400800"/>
                <a:gd name="connsiteY4318" fmla="*/ 351949 h 514350"/>
                <a:gd name="connsiteX4319" fmla="*/ 4391501 w 6400800"/>
                <a:gd name="connsiteY4319" fmla="*/ 345281 h 514350"/>
                <a:gd name="connsiteX4320" fmla="*/ 4391501 w 6400800"/>
                <a:gd name="connsiteY4320" fmla="*/ 349091 h 514350"/>
                <a:gd name="connsiteX4321" fmla="*/ 4392454 w 6400800"/>
                <a:gd name="connsiteY4321" fmla="*/ 370046 h 514350"/>
                <a:gd name="connsiteX4322" fmla="*/ 4389597 w 6400800"/>
                <a:gd name="connsiteY4322" fmla="*/ 376714 h 514350"/>
                <a:gd name="connsiteX4323" fmla="*/ 4424839 w 6400800"/>
                <a:gd name="connsiteY4323" fmla="*/ 351949 h 514350"/>
                <a:gd name="connsiteX4324" fmla="*/ 4424839 w 6400800"/>
                <a:gd name="connsiteY4324" fmla="*/ 354806 h 514350"/>
                <a:gd name="connsiteX4325" fmla="*/ 4422934 w 6400800"/>
                <a:gd name="connsiteY4325" fmla="*/ 356711 h 514350"/>
                <a:gd name="connsiteX4326" fmla="*/ 4424839 w 6400800"/>
                <a:gd name="connsiteY4326" fmla="*/ 351949 h 514350"/>
                <a:gd name="connsiteX4327" fmla="*/ 4415314 w 6400800"/>
                <a:gd name="connsiteY4327" fmla="*/ 411004 h 514350"/>
                <a:gd name="connsiteX4328" fmla="*/ 4415314 w 6400800"/>
                <a:gd name="connsiteY4328" fmla="*/ 411956 h 514350"/>
                <a:gd name="connsiteX4329" fmla="*/ 4412456 w 6400800"/>
                <a:gd name="connsiteY4329" fmla="*/ 409099 h 514350"/>
                <a:gd name="connsiteX4330" fmla="*/ 4411504 w 6400800"/>
                <a:gd name="connsiteY4330" fmla="*/ 385286 h 514350"/>
                <a:gd name="connsiteX4331" fmla="*/ 4420076 w 6400800"/>
                <a:gd name="connsiteY4331" fmla="*/ 372904 h 514350"/>
                <a:gd name="connsiteX4332" fmla="*/ 4421029 w 6400800"/>
                <a:gd name="connsiteY4332" fmla="*/ 374809 h 514350"/>
                <a:gd name="connsiteX4333" fmla="*/ 4415314 w 6400800"/>
                <a:gd name="connsiteY4333" fmla="*/ 411004 h 514350"/>
                <a:gd name="connsiteX4334" fmla="*/ 4410551 w 6400800"/>
                <a:gd name="connsiteY4334" fmla="*/ 254794 h 514350"/>
                <a:gd name="connsiteX4335" fmla="*/ 4421029 w 6400800"/>
                <a:gd name="connsiteY4335" fmla="*/ 273844 h 514350"/>
                <a:gd name="connsiteX4336" fmla="*/ 4415314 w 6400800"/>
                <a:gd name="connsiteY4336" fmla="*/ 293846 h 514350"/>
                <a:gd name="connsiteX4337" fmla="*/ 4408647 w 6400800"/>
                <a:gd name="connsiteY4337" fmla="*/ 316706 h 514350"/>
                <a:gd name="connsiteX4338" fmla="*/ 4406741 w 6400800"/>
                <a:gd name="connsiteY4338" fmla="*/ 297656 h 514350"/>
                <a:gd name="connsiteX4339" fmla="*/ 4402931 w 6400800"/>
                <a:gd name="connsiteY4339" fmla="*/ 331946 h 514350"/>
                <a:gd name="connsiteX4340" fmla="*/ 4401026 w 6400800"/>
                <a:gd name="connsiteY4340" fmla="*/ 337661 h 514350"/>
                <a:gd name="connsiteX4341" fmla="*/ 4400074 w 6400800"/>
                <a:gd name="connsiteY4341" fmla="*/ 336709 h 514350"/>
                <a:gd name="connsiteX4342" fmla="*/ 4388644 w 6400800"/>
                <a:gd name="connsiteY4342" fmla="*/ 270034 h 514350"/>
                <a:gd name="connsiteX4343" fmla="*/ 4389597 w 6400800"/>
                <a:gd name="connsiteY4343" fmla="*/ 328136 h 514350"/>
                <a:gd name="connsiteX4344" fmla="*/ 4386739 w 6400800"/>
                <a:gd name="connsiteY4344" fmla="*/ 325279 h 514350"/>
                <a:gd name="connsiteX4345" fmla="*/ 4386739 w 6400800"/>
                <a:gd name="connsiteY4345" fmla="*/ 323374 h 514350"/>
                <a:gd name="connsiteX4346" fmla="*/ 4387691 w 6400800"/>
                <a:gd name="connsiteY4346" fmla="*/ 290989 h 514350"/>
                <a:gd name="connsiteX4347" fmla="*/ 4389597 w 6400800"/>
                <a:gd name="connsiteY4347" fmla="*/ 263366 h 514350"/>
                <a:gd name="connsiteX4348" fmla="*/ 4391501 w 6400800"/>
                <a:gd name="connsiteY4348" fmla="*/ 242411 h 514350"/>
                <a:gd name="connsiteX4349" fmla="*/ 4393406 w 6400800"/>
                <a:gd name="connsiteY4349" fmla="*/ 225266 h 514350"/>
                <a:gd name="connsiteX4350" fmla="*/ 4410551 w 6400800"/>
                <a:gd name="connsiteY4350" fmla="*/ 254794 h 514350"/>
                <a:gd name="connsiteX4351" fmla="*/ 4389597 w 6400800"/>
                <a:gd name="connsiteY4351" fmla="*/ 217646 h 514350"/>
                <a:gd name="connsiteX4352" fmla="*/ 4393406 w 6400800"/>
                <a:gd name="connsiteY4352" fmla="*/ 224314 h 514350"/>
                <a:gd name="connsiteX4353" fmla="*/ 4387691 w 6400800"/>
                <a:gd name="connsiteY4353" fmla="*/ 240506 h 514350"/>
                <a:gd name="connsiteX4354" fmla="*/ 4381976 w 6400800"/>
                <a:gd name="connsiteY4354" fmla="*/ 260509 h 514350"/>
                <a:gd name="connsiteX4355" fmla="*/ 4381976 w 6400800"/>
                <a:gd name="connsiteY4355" fmla="*/ 256699 h 514350"/>
                <a:gd name="connsiteX4356" fmla="*/ 4389597 w 6400800"/>
                <a:gd name="connsiteY4356" fmla="*/ 217646 h 514350"/>
                <a:gd name="connsiteX4357" fmla="*/ 4374356 w 6400800"/>
                <a:gd name="connsiteY4357" fmla="*/ 291941 h 514350"/>
                <a:gd name="connsiteX4358" fmla="*/ 4374356 w 6400800"/>
                <a:gd name="connsiteY4358" fmla="*/ 292894 h 514350"/>
                <a:gd name="connsiteX4359" fmla="*/ 4374356 w 6400800"/>
                <a:gd name="connsiteY4359" fmla="*/ 291941 h 514350"/>
                <a:gd name="connsiteX4360" fmla="*/ 4374356 w 6400800"/>
                <a:gd name="connsiteY4360" fmla="*/ 291941 h 514350"/>
                <a:gd name="connsiteX4361" fmla="*/ 4360069 w 6400800"/>
                <a:gd name="connsiteY4361" fmla="*/ 282416 h 514350"/>
                <a:gd name="connsiteX4362" fmla="*/ 4360069 w 6400800"/>
                <a:gd name="connsiteY4362" fmla="*/ 290036 h 514350"/>
                <a:gd name="connsiteX4363" fmla="*/ 4359116 w 6400800"/>
                <a:gd name="connsiteY4363" fmla="*/ 288131 h 514350"/>
                <a:gd name="connsiteX4364" fmla="*/ 4360069 w 6400800"/>
                <a:gd name="connsiteY4364" fmla="*/ 282416 h 514350"/>
                <a:gd name="connsiteX4365" fmla="*/ 4313397 w 6400800"/>
                <a:gd name="connsiteY4365" fmla="*/ 387191 h 514350"/>
                <a:gd name="connsiteX4366" fmla="*/ 4311491 w 6400800"/>
                <a:gd name="connsiteY4366" fmla="*/ 391001 h 514350"/>
                <a:gd name="connsiteX4367" fmla="*/ 4313397 w 6400800"/>
                <a:gd name="connsiteY4367" fmla="*/ 387191 h 514350"/>
                <a:gd name="connsiteX4368" fmla="*/ 4313397 w 6400800"/>
                <a:gd name="connsiteY4368" fmla="*/ 387191 h 514350"/>
                <a:gd name="connsiteX4369" fmla="*/ 4311491 w 6400800"/>
                <a:gd name="connsiteY4369" fmla="*/ 351949 h 514350"/>
                <a:gd name="connsiteX4370" fmla="*/ 4312444 w 6400800"/>
                <a:gd name="connsiteY4370" fmla="*/ 365284 h 514350"/>
                <a:gd name="connsiteX4371" fmla="*/ 4311491 w 6400800"/>
                <a:gd name="connsiteY4371" fmla="*/ 363379 h 514350"/>
                <a:gd name="connsiteX4372" fmla="*/ 4311491 w 6400800"/>
                <a:gd name="connsiteY4372" fmla="*/ 351949 h 514350"/>
                <a:gd name="connsiteX4373" fmla="*/ 4247674 w 6400800"/>
                <a:gd name="connsiteY4373" fmla="*/ 313849 h 514350"/>
                <a:gd name="connsiteX4374" fmla="*/ 4247674 w 6400800"/>
                <a:gd name="connsiteY4374" fmla="*/ 311944 h 514350"/>
                <a:gd name="connsiteX4375" fmla="*/ 4247674 w 6400800"/>
                <a:gd name="connsiteY4375" fmla="*/ 313849 h 514350"/>
                <a:gd name="connsiteX4376" fmla="*/ 4246722 w 6400800"/>
                <a:gd name="connsiteY4376" fmla="*/ 324326 h 514350"/>
                <a:gd name="connsiteX4377" fmla="*/ 4246722 w 6400800"/>
                <a:gd name="connsiteY4377" fmla="*/ 322421 h 514350"/>
                <a:gd name="connsiteX4378" fmla="*/ 4247674 w 6400800"/>
                <a:gd name="connsiteY4378" fmla="*/ 313849 h 514350"/>
                <a:gd name="connsiteX4379" fmla="*/ 4181951 w 6400800"/>
                <a:gd name="connsiteY4379" fmla="*/ 367189 h 514350"/>
                <a:gd name="connsiteX4380" fmla="*/ 4182904 w 6400800"/>
                <a:gd name="connsiteY4380" fmla="*/ 324326 h 514350"/>
                <a:gd name="connsiteX4381" fmla="*/ 4183856 w 6400800"/>
                <a:gd name="connsiteY4381" fmla="*/ 330041 h 514350"/>
                <a:gd name="connsiteX4382" fmla="*/ 4185761 w 6400800"/>
                <a:gd name="connsiteY4382" fmla="*/ 340519 h 514350"/>
                <a:gd name="connsiteX4383" fmla="*/ 4185761 w 6400800"/>
                <a:gd name="connsiteY4383" fmla="*/ 342424 h 514350"/>
                <a:gd name="connsiteX4384" fmla="*/ 4183856 w 6400800"/>
                <a:gd name="connsiteY4384" fmla="*/ 338614 h 514350"/>
                <a:gd name="connsiteX4385" fmla="*/ 4187666 w 6400800"/>
                <a:gd name="connsiteY4385" fmla="*/ 357664 h 514350"/>
                <a:gd name="connsiteX4386" fmla="*/ 4189571 w 6400800"/>
                <a:gd name="connsiteY4386" fmla="*/ 365284 h 514350"/>
                <a:gd name="connsiteX4387" fmla="*/ 4191476 w 6400800"/>
                <a:gd name="connsiteY4387" fmla="*/ 373856 h 514350"/>
                <a:gd name="connsiteX4388" fmla="*/ 4190524 w 6400800"/>
                <a:gd name="connsiteY4388" fmla="*/ 386239 h 514350"/>
                <a:gd name="connsiteX4389" fmla="*/ 4190524 w 6400800"/>
                <a:gd name="connsiteY4389" fmla="*/ 391954 h 514350"/>
                <a:gd name="connsiteX4390" fmla="*/ 4181951 w 6400800"/>
                <a:gd name="connsiteY4390" fmla="*/ 367189 h 514350"/>
                <a:gd name="connsiteX4391" fmla="*/ 4181951 w 6400800"/>
                <a:gd name="connsiteY4391" fmla="*/ 367189 h 514350"/>
                <a:gd name="connsiteX4392" fmla="*/ 4161949 w 6400800"/>
                <a:gd name="connsiteY4392" fmla="*/ 401479 h 514350"/>
                <a:gd name="connsiteX4393" fmla="*/ 4161949 w 6400800"/>
                <a:gd name="connsiteY4393" fmla="*/ 399574 h 514350"/>
                <a:gd name="connsiteX4394" fmla="*/ 4161949 w 6400800"/>
                <a:gd name="connsiteY4394" fmla="*/ 399574 h 514350"/>
                <a:gd name="connsiteX4395" fmla="*/ 4161949 w 6400800"/>
                <a:gd name="connsiteY4395" fmla="*/ 401479 h 514350"/>
                <a:gd name="connsiteX4396" fmla="*/ 4160044 w 6400800"/>
                <a:gd name="connsiteY4396" fmla="*/ 306229 h 514350"/>
                <a:gd name="connsiteX4397" fmla="*/ 4160996 w 6400800"/>
                <a:gd name="connsiteY4397" fmla="*/ 292894 h 514350"/>
                <a:gd name="connsiteX4398" fmla="*/ 4163854 w 6400800"/>
                <a:gd name="connsiteY4398" fmla="*/ 282416 h 514350"/>
                <a:gd name="connsiteX4399" fmla="*/ 4162901 w 6400800"/>
                <a:gd name="connsiteY4399" fmla="*/ 313849 h 514350"/>
                <a:gd name="connsiteX4400" fmla="*/ 4160044 w 6400800"/>
                <a:gd name="connsiteY4400" fmla="*/ 306229 h 514350"/>
                <a:gd name="connsiteX4401" fmla="*/ 4160044 w 6400800"/>
                <a:gd name="connsiteY4401" fmla="*/ 306229 h 514350"/>
                <a:gd name="connsiteX4402" fmla="*/ 4128611 w 6400800"/>
                <a:gd name="connsiteY4402" fmla="*/ 354806 h 514350"/>
                <a:gd name="connsiteX4403" fmla="*/ 4127659 w 6400800"/>
                <a:gd name="connsiteY4403" fmla="*/ 343376 h 514350"/>
                <a:gd name="connsiteX4404" fmla="*/ 4128611 w 6400800"/>
                <a:gd name="connsiteY4404" fmla="*/ 350044 h 514350"/>
                <a:gd name="connsiteX4405" fmla="*/ 4130516 w 6400800"/>
                <a:gd name="connsiteY4405" fmla="*/ 365284 h 514350"/>
                <a:gd name="connsiteX4406" fmla="*/ 4128611 w 6400800"/>
                <a:gd name="connsiteY4406" fmla="*/ 354806 h 514350"/>
                <a:gd name="connsiteX4407" fmla="*/ 4124801 w 6400800"/>
                <a:gd name="connsiteY4407" fmla="*/ 255746 h 514350"/>
                <a:gd name="connsiteX4408" fmla="*/ 4124801 w 6400800"/>
                <a:gd name="connsiteY4408" fmla="*/ 248126 h 514350"/>
                <a:gd name="connsiteX4409" fmla="*/ 4140041 w 6400800"/>
                <a:gd name="connsiteY4409" fmla="*/ 303371 h 514350"/>
                <a:gd name="connsiteX4410" fmla="*/ 4140994 w 6400800"/>
                <a:gd name="connsiteY4410" fmla="*/ 307181 h 514350"/>
                <a:gd name="connsiteX4411" fmla="*/ 4140994 w 6400800"/>
                <a:gd name="connsiteY4411" fmla="*/ 321469 h 514350"/>
                <a:gd name="connsiteX4412" fmla="*/ 4133374 w 6400800"/>
                <a:gd name="connsiteY4412" fmla="*/ 305276 h 514350"/>
                <a:gd name="connsiteX4413" fmla="*/ 4135279 w 6400800"/>
                <a:gd name="connsiteY4413" fmla="*/ 312896 h 514350"/>
                <a:gd name="connsiteX4414" fmla="*/ 4127659 w 6400800"/>
                <a:gd name="connsiteY4414" fmla="*/ 300514 h 514350"/>
                <a:gd name="connsiteX4415" fmla="*/ 4123849 w 6400800"/>
                <a:gd name="connsiteY4415" fmla="*/ 284321 h 514350"/>
                <a:gd name="connsiteX4416" fmla="*/ 4124801 w 6400800"/>
                <a:gd name="connsiteY4416" fmla="*/ 255746 h 514350"/>
                <a:gd name="connsiteX4417" fmla="*/ 4095274 w 6400800"/>
                <a:gd name="connsiteY4417" fmla="*/ 395764 h 514350"/>
                <a:gd name="connsiteX4418" fmla="*/ 4095274 w 6400800"/>
                <a:gd name="connsiteY4418" fmla="*/ 395764 h 514350"/>
                <a:gd name="connsiteX4419" fmla="*/ 4095274 w 6400800"/>
                <a:gd name="connsiteY4419" fmla="*/ 394811 h 514350"/>
                <a:gd name="connsiteX4420" fmla="*/ 4095274 w 6400800"/>
                <a:gd name="connsiteY4420" fmla="*/ 395764 h 514350"/>
                <a:gd name="connsiteX4421" fmla="*/ 4093369 w 6400800"/>
                <a:gd name="connsiteY4421" fmla="*/ 386239 h 514350"/>
                <a:gd name="connsiteX4422" fmla="*/ 4093369 w 6400800"/>
                <a:gd name="connsiteY4422" fmla="*/ 376714 h 514350"/>
                <a:gd name="connsiteX4423" fmla="*/ 4096226 w 6400800"/>
                <a:gd name="connsiteY4423" fmla="*/ 382429 h 514350"/>
                <a:gd name="connsiteX4424" fmla="*/ 4093369 w 6400800"/>
                <a:gd name="connsiteY4424" fmla="*/ 386239 h 514350"/>
                <a:gd name="connsiteX4425" fmla="*/ 4097179 w 6400800"/>
                <a:gd name="connsiteY4425" fmla="*/ 342424 h 514350"/>
                <a:gd name="connsiteX4426" fmla="*/ 4099084 w 6400800"/>
                <a:gd name="connsiteY4426" fmla="*/ 334804 h 514350"/>
                <a:gd name="connsiteX4427" fmla="*/ 4099084 w 6400800"/>
                <a:gd name="connsiteY4427" fmla="*/ 337661 h 514350"/>
                <a:gd name="connsiteX4428" fmla="*/ 4097179 w 6400800"/>
                <a:gd name="connsiteY4428" fmla="*/ 342424 h 514350"/>
                <a:gd name="connsiteX4429" fmla="*/ 4100989 w 6400800"/>
                <a:gd name="connsiteY4429" fmla="*/ 353854 h 514350"/>
                <a:gd name="connsiteX4430" fmla="*/ 4100989 w 6400800"/>
                <a:gd name="connsiteY4430" fmla="*/ 351949 h 514350"/>
                <a:gd name="connsiteX4431" fmla="*/ 4100989 w 6400800"/>
                <a:gd name="connsiteY4431" fmla="*/ 351949 h 514350"/>
                <a:gd name="connsiteX4432" fmla="*/ 4100989 w 6400800"/>
                <a:gd name="connsiteY4432" fmla="*/ 353854 h 514350"/>
                <a:gd name="connsiteX4433" fmla="*/ 4100989 w 6400800"/>
                <a:gd name="connsiteY4433" fmla="*/ 353854 h 514350"/>
                <a:gd name="connsiteX4434" fmla="*/ 4115276 w 6400800"/>
                <a:gd name="connsiteY4434" fmla="*/ 322421 h 514350"/>
                <a:gd name="connsiteX4435" fmla="*/ 4114324 w 6400800"/>
                <a:gd name="connsiteY4435" fmla="*/ 350996 h 514350"/>
                <a:gd name="connsiteX4436" fmla="*/ 4111466 w 6400800"/>
                <a:gd name="connsiteY4436" fmla="*/ 327184 h 514350"/>
                <a:gd name="connsiteX4437" fmla="*/ 4108609 w 6400800"/>
                <a:gd name="connsiteY4437" fmla="*/ 342424 h 514350"/>
                <a:gd name="connsiteX4438" fmla="*/ 4107656 w 6400800"/>
                <a:gd name="connsiteY4438" fmla="*/ 341471 h 514350"/>
                <a:gd name="connsiteX4439" fmla="*/ 4106704 w 6400800"/>
                <a:gd name="connsiteY4439" fmla="*/ 336709 h 514350"/>
                <a:gd name="connsiteX4440" fmla="*/ 4113371 w 6400800"/>
                <a:gd name="connsiteY4440" fmla="*/ 322421 h 514350"/>
                <a:gd name="connsiteX4441" fmla="*/ 4115276 w 6400800"/>
                <a:gd name="connsiteY4441" fmla="*/ 318611 h 514350"/>
                <a:gd name="connsiteX4442" fmla="*/ 4115276 w 6400800"/>
                <a:gd name="connsiteY4442" fmla="*/ 322421 h 514350"/>
                <a:gd name="connsiteX4443" fmla="*/ 4109561 w 6400800"/>
                <a:gd name="connsiteY4443" fmla="*/ 295751 h 514350"/>
                <a:gd name="connsiteX4444" fmla="*/ 4116229 w 6400800"/>
                <a:gd name="connsiteY4444" fmla="*/ 308134 h 514350"/>
                <a:gd name="connsiteX4445" fmla="*/ 4116229 w 6400800"/>
                <a:gd name="connsiteY4445" fmla="*/ 311944 h 514350"/>
                <a:gd name="connsiteX4446" fmla="*/ 4110514 w 6400800"/>
                <a:gd name="connsiteY4446" fmla="*/ 320516 h 514350"/>
                <a:gd name="connsiteX4447" fmla="*/ 4104799 w 6400800"/>
                <a:gd name="connsiteY4447" fmla="*/ 329089 h 514350"/>
                <a:gd name="connsiteX4448" fmla="*/ 4102894 w 6400800"/>
                <a:gd name="connsiteY4448" fmla="*/ 322421 h 514350"/>
                <a:gd name="connsiteX4449" fmla="*/ 4109561 w 6400800"/>
                <a:gd name="connsiteY4449" fmla="*/ 295751 h 514350"/>
                <a:gd name="connsiteX4450" fmla="*/ 4092416 w 6400800"/>
                <a:gd name="connsiteY4450" fmla="*/ 294799 h 514350"/>
                <a:gd name="connsiteX4451" fmla="*/ 4094321 w 6400800"/>
                <a:gd name="connsiteY4451" fmla="*/ 265271 h 514350"/>
                <a:gd name="connsiteX4452" fmla="*/ 4098131 w 6400800"/>
                <a:gd name="connsiteY4452" fmla="*/ 272891 h 514350"/>
                <a:gd name="connsiteX4453" fmla="*/ 4106704 w 6400800"/>
                <a:gd name="connsiteY4453" fmla="*/ 290989 h 514350"/>
                <a:gd name="connsiteX4454" fmla="*/ 4098131 w 6400800"/>
                <a:gd name="connsiteY4454" fmla="*/ 311944 h 514350"/>
                <a:gd name="connsiteX4455" fmla="*/ 4096226 w 6400800"/>
                <a:gd name="connsiteY4455" fmla="*/ 306229 h 514350"/>
                <a:gd name="connsiteX4456" fmla="*/ 4097179 w 6400800"/>
                <a:gd name="connsiteY4456" fmla="*/ 315754 h 514350"/>
                <a:gd name="connsiteX4457" fmla="*/ 4092416 w 6400800"/>
                <a:gd name="connsiteY4457" fmla="*/ 329089 h 514350"/>
                <a:gd name="connsiteX4458" fmla="*/ 4091464 w 6400800"/>
                <a:gd name="connsiteY4458" fmla="*/ 325279 h 514350"/>
                <a:gd name="connsiteX4459" fmla="*/ 4090511 w 6400800"/>
                <a:gd name="connsiteY4459" fmla="*/ 321469 h 514350"/>
                <a:gd name="connsiteX4460" fmla="*/ 4092416 w 6400800"/>
                <a:gd name="connsiteY4460" fmla="*/ 294799 h 514350"/>
                <a:gd name="connsiteX4461" fmla="*/ 4085749 w 6400800"/>
                <a:gd name="connsiteY4461" fmla="*/ 244316 h 514350"/>
                <a:gd name="connsiteX4462" fmla="*/ 4085749 w 6400800"/>
                <a:gd name="connsiteY4462" fmla="*/ 244316 h 514350"/>
                <a:gd name="connsiteX4463" fmla="*/ 4084796 w 6400800"/>
                <a:gd name="connsiteY4463" fmla="*/ 250031 h 514350"/>
                <a:gd name="connsiteX4464" fmla="*/ 4085749 w 6400800"/>
                <a:gd name="connsiteY4464" fmla="*/ 244316 h 514350"/>
                <a:gd name="connsiteX4465" fmla="*/ 4043839 w 6400800"/>
                <a:gd name="connsiteY4465" fmla="*/ 279559 h 514350"/>
                <a:gd name="connsiteX4466" fmla="*/ 4043839 w 6400800"/>
                <a:gd name="connsiteY4466" fmla="*/ 279559 h 514350"/>
                <a:gd name="connsiteX4467" fmla="*/ 4044791 w 6400800"/>
                <a:gd name="connsiteY4467" fmla="*/ 283369 h 514350"/>
                <a:gd name="connsiteX4468" fmla="*/ 4043839 w 6400800"/>
                <a:gd name="connsiteY4468" fmla="*/ 281464 h 514350"/>
                <a:gd name="connsiteX4469" fmla="*/ 4044791 w 6400800"/>
                <a:gd name="connsiteY4469" fmla="*/ 286226 h 514350"/>
                <a:gd name="connsiteX4470" fmla="*/ 4044791 w 6400800"/>
                <a:gd name="connsiteY4470" fmla="*/ 290036 h 514350"/>
                <a:gd name="connsiteX4471" fmla="*/ 4042886 w 6400800"/>
                <a:gd name="connsiteY4471" fmla="*/ 284321 h 514350"/>
                <a:gd name="connsiteX4472" fmla="*/ 4043839 w 6400800"/>
                <a:gd name="connsiteY4472" fmla="*/ 279559 h 514350"/>
                <a:gd name="connsiteX4473" fmla="*/ 4044791 w 6400800"/>
                <a:gd name="connsiteY4473" fmla="*/ 333851 h 514350"/>
                <a:gd name="connsiteX4474" fmla="*/ 4044791 w 6400800"/>
                <a:gd name="connsiteY4474" fmla="*/ 333851 h 514350"/>
                <a:gd name="connsiteX4475" fmla="*/ 4044791 w 6400800"/>
                <a:gd name="connsiteY4475" fmla="*/ 339566 h 514350"/>
                <a:gd name="connsiteX4476" fmla="*/ 4042886 w 6400800"/>
                <a:gd name="connsiteY4476" fmla="*/ 337661 h 514350"/>
                <a:gd name="connsiteX4477" fmla="*/ 4044791 w 6400800"/>
                <a:gd name="connsiteY4477" fmla="*/ 333851 h 514350"/>
                <a:gd name="connsiteX4478" fmla="*/ 4039076 w 6400800"/>
                <a:gd name="connsiteY4478" fmla="*/ 271939 h 514350"/>
                <a:gd name="connsiteX4479" fmla="*/ 4039076 w 6400800"/>
                <a:gd name="connsiteY4479" fmla="*/ 273844 h 514350"/>
                <a:gd name="connsiteX4480" fmla="*/ 4038124 w 6400800"/>
                <a:gd name="connsiteY4480" fmla="*/ 270034 h 514350"/>
                <a:gd name="connsiteX4481" fmla="*/ 4036219 w 6400800"/>
                <a:gd name="connsiteY4481" fmla="*/ 265271 h 514350"/>
                <a:gd name="connsiteX4482" fmla="*/ 4039076 w 6400800"/>
                <a:gd name="connsiteY4482" fmla="*/ 271939 h 514350"/>
                <a:gd name="connsiteX4483" fmla="*/ 4033361 w 6400800"/>
                <a:gd name="connsiteY4483" fmla="*/ 358616 h 514350"/>
                <a:gd name="connsiteX4484" fmla="*/ 4034314 w 6400800"/>
                <a:gd name="connsiteY4484" fmla="*/ 351949 h 514350"/>
                <a:gd name="connsiteX4485" fmla="*/ 4038124 w 6400800"/>
                <a:gd name="connsiteY4485" fmla="*/ 345281 h 514350"/>
                <a:gd name="connsiteX4486" fmla="*/ 4043839 w 6400800"/>
                <a:gd name="connsiteY4486" fmla="*/ 351949 h 514350"/>
                <a:gd name="connsiteX4487" fmla="*/ 4040981 w 6400800"/>
                <a:gd name="connsiteY4487" fmla="*/ 391954 h 514350"/>
                <a:gd name="connsiteX4488" fmla="*/ 4035266 w 6400800"/>
                <a:gd name="connsiteY4488" fmla="*/ 413861 h 514350"/>
                <a:gd name="connsiteX4489" fmla="*/ 4029551 w 6400800"/>
                <a:gd name="connsiteY4489" fmla="*/ 395764 h 514350"/>
                <a:gd name="connsiteX4490" fmla="*/ 4027646 w 6400800"/>
                <a:gd name="connsiteY4490" fmla="*/ 388144 h 514350"/>
                <a:gd name="connsiteX4491" fmla="*/ 4033361 w 6400800"/>
                <a:gd name="connsiteY4491" fmla="*/ 358616 h 514350"/>
                <a:gd name="connsiteX4492" fmla="*/ 4020026 w 6400800"/>
                <a:gd name="connsiteY4492" fmla="*/ 324326 h 514350"/>
                <a:gd name="connsiteX4493" fmla="*/ 4021931 w 6400800"/>
                <a:gd name="connsiteY4493" fmla="*/ 326231 h 514350"/>
                <a:gd name="connsiteX4494" fmla="*/ 4019074 w 6400800"/>
                <a:gd name="connsiteY4494" fmla="*/ 334804 h 514350"/>
                <a:gd name="connsiteX4495" fmla="*/ 4017169 w 6400800"/>
                <a:gd name="connsiteY4495" fmla="*/ 341471 h 514350"/>
                <a:gd name="connsiteX4496" fmla="*/ 4016216 w 6400800"/>
                <a:gd name="connsiteY4496" fmla="*/ 342424 h 514350"/>
                <a:gd name="connsiteX4497" fmla="*/ 4015264 w 6400800"/>
                <a:gd name="connsiteY4497" fmla="*/ 344329 h 514350"/>
                <a:gd name="connsiteX4498" fmla="*/ 4011454 w 6400800"/>
                <a:gd name="connsiteY4498" fmla="*/ 315754 h 514350"/>
                <a:gd name="connsiteX4499" fmla="*/ 4020026 w 6400800"/>
                <a:gd name="connsiteY4499" fmla="*/ 324326 h 514350"/>
                <a:gd name="connsiteX4500" fmla="*/ 3999071 w 6400800"/>
                <a:gd name="connsiteY4500" fmla="*/ 282416 h 514350"/>
                <a:gd name="connsiteX4501" fmla="*/ 3999071 w 6400800"/>
                <a:gd name="connsiteY4501" fmla="*/ 282416 h 514350"/>
                <a:gd name="connsiteX4502" fmla="*/ 4000024 w 6400800"/>
                <a:gd name="connsiteY4502" fmla="*/ 310991 h 514350"/>
                <a:gd name="connsiteX4503" fmla="*/ 4000024 w 6400800"/>
                <a:gd name="connsiteY4503" fmla="*/ 316706 h 514350"/>
                <a:gd name="connsiteX4504" fmla="*/ 3999071 w 6400800"/>
                <a:gd name="connsiteY4504" fmla="*/ 325279 h 514350"/>
                <a:gd name="connsiteX4505" fmla="*/ 3999071 w 6400800"/>
                <a:gd name="connsiteY4505" fmla="*/ 327184 h 514350"/>
                <a:gd name="connsiteX4506" fmla="*/ 3998119 w 6400800"/>
                <a:gd name="connsiteY4506" fmla="*/ 324326 h 514350"/>
                <a:gd name="connsiteX4507" fmla="*/ 3997166 w 6400800"/>
                <a:gd name="connsiteY4507" fmla="*/ 314801 h 514350"/>
                <a:gd name="connsiteX4508" fmla="*/ 3996214 w 6400800"/>
                <a:gd name="connsiteY4508" fmla="*/ 286226 h 514350"/>
                <a:gd name="connsiteX4509" fmla="*/ 3999071 w 6400800"/>
                <a:gd name="connsiteY4509" fmla="*/ 282416 h 514350"/>
                <a:gd name="connsiteX4510" fmla="*/ 3983831 w 6400800"/>
                <a:gd name="connsiteY4510" fmla="*/ 405289 h 514350"/>
                <a:gd name="connsiteX4511" fmla="*/ 3980021 w 6400800"/>
                <a:gd name="connsiteY4511" fmla="*/ 412909 h 514350"/>
                <a:gd name="connsiteX4512" fmla="*/ 3980021 w 6400800"/>
                <a:gd name="connsiteY4512" fmla="*/ 412909 h 514350"/>
                <a:gd name="connsiteX4513" fmla="*/ 3982879 w 6400800"/>
                <a:gd name="connsiteY4513" fmla="*/ 402431 h 514350"/>
                <a:gd name="connsiteX4514" fmla="*/ 3983831 w 6400800"/>
                <a:gd name="connsiteY4514" fmla="*/ 405289 h 514350"/>
                <a:gd name="connsiteX4515" fmla="*/ 3980974 w 6400800"/>
                <a:gd name="connsiteY4515" fmla="*/ 395764 h 514350"/>
                <a:gd name="connsiteX4516" fmla="*/ 3982879 w 6400800"/>
                <a:gd name="connsiteY4516" fmla="*/ 401479 h 514350"/>
                <a:gd name="connsiteX4517" fmla="*/ 3979069 w 6400800"/>
                <a:gd name="connsiteY4517" fmla="*/ 407194 h 514350"/>
                <a:gd name="connsiteX4518" fmla="*/ 3979069 w 6400800"/>
                <a:gd name="connsiteY4518" fmla="*/ 406241 h 514350"/>
                <a:gd name="connsiteX4519" fmla="*/ 3980974 w 6400800"/>
                <a:gd name="connsiteY4519" fmla="*/ 395764 h 514350"/>
                <a:gd name="connsiteX4520" fmla="*/ 3976211 w 6400800"/>
                <a:gd name="connsiteY4520" fmla="*/ 378619 h 514350"/>
                <a:gd name="connsiteX4521" fmla="*/ 3976211 w 6400800"/>
                <a:gd name="connsiteY4521" fmla="*/ 378619 h 514350"/>
                <a:gd name="connsiteX4522" fmla="*/ 3976211 w 6400800"/>
                <a:gd name="connsiteY4522" fmla="*/ 380524 h 514350"/>
                <a:gd name="connsiteX4523" fmla="*/ 3976211 w 6400800"/>
                <a:gd name="connsiteY4523" fmla="*/ 378619 h 514350"/>
                <a:gd name="connsiteX4524" fmla="*/ 3948589 w 6400800"/>
                <a:gd name="connsiteY4524" fmla="*/ 255746 h 514350"/>
                <a:gd name="connsiteX4525" fmla="*/ 3946684 w 6400800"/>
                <a:gd name="connsiteY4525" fmla="*/ 277654 h 514350"/>
                <a:gd name="connsiteX4526" fmla="*/ 3945731 w 6400800"/>
                <a:gd name="connsiteY4526" fmla="*/ 285274 h 514350"/>
                <a:gd name="connsiteX4527" fmla="*/ 3943826 w 6400800"/>
                <a:gd name="connsiteY4527" fmla="*/ 266224 h 514350"/>
                <a:gd name="connsiteX4528" fmla="*/ 3940016 w 6400800"/>
                <a:gd name="connsiteY4528" fmla="*/ 240506 h 514350"/>
                <a:gd name="connsiteX4529" fmla="*/ 3940016 w 6400800"/>
                <a:gd name="connsiteY4529" fmla="*/ 239554 h 514350"/>
                <a:gd name="connsiteX4530" fmla="*/ 3940016 w 6400800"/>
                <a:gd name="connsiteY4530" fmla="*/ 236696 h 514350"/>
                <a:gd name="connsiteX4531" fmla="*/ 3942874 w 6400800"/>
                <a:gd name="connsiteY4531" fmla="*/ 240506 h 514350"/>
                <a:gd name="connsiteX4532" fmla="*/ 3947636 w 6400800"/>
                <a:gd name="connsiteY4532" fmla="*/ 248126 h 514350"/>
                <a:gd name="connsiteX4533" fmla="*/ 3948589 w 6400800"/>
                <a:gd name="connsiteY4533" fmla="*/ 255746 h 514350"/>
                <a:gd name="connsiteX4534" fmla="*/ 3943826 w 6400800"/>
                <a:gd name="connsiteY4534" fmla="*/ 205264 h 514350"/>
                <a:gd name="connsiteX4535" fmla="*/ 3943826 w 6400800"/>
                <a:gd name="connsiteY4535" fmla="*/ 210979 h 514350"/>
                <a:gd name="connsiteX4536" fmla="*/ 3945731 w 6400800"/>
                <a:gd name="connsiteY4536" fmla="*/ 230981 h 514350"/>
                <a:gd name="connsiteX4537" fmla="*/ 3946684 w 6400800"/>
                <a:gd name="connsiteY4537" fmla="*/ 236696 h 514350"/>
                <a:gd name="connsiteX4538" fmla="*/ 3939064 w 6400800"/>
                <a:gd name="connsiteY4538" fmla="*/ 228124 h 514350"/>
                <a:gd name="connsiteX4539" fmla="*/ 3937159 w 6400800"/>
                <a:gd name="connsiteY4539" fmla="*/ 215741 h 514350"/>
                <a:gd name="connsiteX4540" fmla="*/ 3943826 w 6400800"/>
                <a:gd name="connsiteY4540" fmla="*/ 205264 h 514350"/>
                <a:gd name="connsiteX4541" fmla="*/ 3866674 w 6400800"/>
                <a:gd name="connsiteY4541" fmla="*/ 369094 h 514350"/>
                <a:gd name="connsiteX4542" fmla="*/ 3867626 w 6400800"/>
                <a:gd name="connsiteY4542" fmla="*/ 368141 h 514350"/>
                <a:gd name="connsiteX4543" fmla="*/ 3867626 w 6400800"/>
                <a:gd name="connsiteY4543" fmla="*/ 370999 h 514350"/>
                <a:gd name="connsiteX4544" fmla="*/ 3866674 w 6400800"/>
                <a:gd name="connsiteY4544" fmla="*/ 369094 h 514350"/>
                <a:gd name="connsiteX4545" fmla="*/ 3886676 w 6400800"/>
                <a:gd name="connsiteY4545" fmla="*/ 354806 h 514350"/>
                <a:gd name="connsiteX4546" fmla="*/ 3882866 w 6400800"/>
                <a:gd name="connsiteY4546" fmla="*/ 348139 h 514350"/>
                <a:gd name="connsiteX4547" fmla="*/ 3881914 w 6400800"/>
                <a:gd name="connsiteY4547" fmla="*/ 338614 h 514350"/>
                <a:gd name="connsiteX4548" fmla="*/ 3886676 w 6400800"/>
                <a:gd name="connsiteY4548" fmla="*/ 354806 h 514350"/>
                <a:gd name="connsiteX4549" fmla="*/ 3887629 w 6400800"/>
                <a:gd name="connsiteY4549" fmla="*/ 356711 h 514350"/>
                <a:gd name="connsiteX4550" fmla="*/ 3886676 w 6400800"/>
                <a:gd name="connsiteY4550" fmla="*/ 354806 h 514350"/>
                <a:gd name="connsiteX4551" fmla="*/ 3897154 w 6400800"/>
                <a:gd name="connsiteY4551" fmla="*/ 278606 h 514350"/>
                <a:gd name="connsiteX4552" fmla="*/ 3901916 w 6400800"/>
                <a:gd name="connsiteY4552" fmla="*/ 270986 h 514350"/>
                <a:gd name="connsiteX4553" fmla="*/ 3901916 w 6400800"/>
                <a:gd name="connsiteY4553" fmla="*/ 270986 h 514350"/>
                <a:gd name="connsiteX4554" fmla="*/ 3897154 w 6400800"/>
                <a:gd name="connsiteY4554" fmla="*/ 278606 h 514350"/>
                <a:gd name="connsiteX4555" fmla="*/ 3897154 w 6400800"/>
                <a:gd name="connsiteY4555" fmla="*/ 278606 h 514350"/>
                <a:gd name="connsiteX4556" fmla="*/ 3900011 w 6400800"/>
                <a:gd name="connsiteY4556" fmla="*/ 291941 h 514350"/>
                <a:gd name="connsiteX4557" fmla="*/ 3901916 w 6400800"/>
                <a:gd name="connsiteY4557" fmla="*/ 288131 h 514350"/>
                <a:gd name="connsiteX4558" fmla="*/ 3902869 w 6400800"/>
                <a:gd name="connsiteY4558" fmla="*/ 286226 h 514350"/>
                <a:gd name="connsiteX4559" fmla="*/ 3903821 w 6400800"/>
                <a:gd name="connsiteY4559" fmla="*/ 297656 h 514350"/>
                <a:gd name="connsiteX4560" fmla="*/ 3902869 w 6400800"/>
                <a:gd name="connsiteY4560" fmla="*/ 301466 h 514350"/>
                <a:gd name="connsiteX4561" fmla="*/ 3901916 w 6400800"/>
                <a:gd name="connsiteY4561" fmla="*/ 298609 h 514350"/>
                <a:gd name="connsiteX4562" fmla="*/ 3900011 w 6400800"/>
                <a:gd name="connsiteY4562" fmla="*/ 291941 h 514350"/>
                <a:gd name="connsiteX4563" fmla="*/ 3903821 w 6400800"/>
                <a:gd name="connsiteY4563" fmla="*/ 431006 h 514350"/>
                <a:gd name="connsiteX4564" fmla="*/ 3902869 w 6400800"/>
                <a:gd name="connsiteY4564" fmla="*/ 431959 h 514350"/>
                <a:gd name="connsiteX4565" fmla="*/ 3901916 w 6400800"/>
                <a:gd name="connsiteY4565" fmla="*/ 431959 h 514350"/>
                <a:gd name="connsiteX4566" fmla="*/ 3903821 w 6400800"/>
                <a:gd name="connsiteY4566" fmla="*/ 426244 h 514350"/>
                <a:gd name="connsiteX4567" fmla="*/ 3904774 w 6400800"/>
                <a:gd name="connsiteY4567" fmla="*/ 428149 h 514350"/>
                <a:gd name="connsiteX4568" fmla="*/ 3903821 w 6400800"/>
                <a:gd name="connsiteY4568" fmla="*/ 431006 h 514350"/>
                <a:gd name="connsiteX4569" fmla="*/ 3925729 w 6400800"/>
                <a:gd name="connsiteY4569" fmla="*/ 309086 h 514350"/>
                <a:gd name="connsiteX4570" fmla="*/ 3922871 w 6400800"/>
                <a:gd name="connsiteY4570" fmla="*/ 297656 h 514350"/>
                <a:gd name="connsiteX4571" fmla="*/ 3923824 w 6400800"/>
                <a:gd name="connsiteY4571" fmla="*/ 308134 h 514350"/>
                <a:gd name="connsiteX4572" fmla="*/ 3919061 w 6400800"/>
                <a:gd name="connsiteY4572" fmla="*/ 291941 h 514350"/>
                <a:gd name="connsiteX4573" fmla="*/ 3922871 w 6400800"/>
                <a:gd name="connsiteY4573" fmla="*/ 317659 h 514350"/>
                <a:gd name="connsiteX4574" fmla="*/ 3923824 w 6400800"/>
                <a:gd name="connsiteY4574" fmla="*/ 325279 h 514350"/>
                <a:gd name="connsiteX4575" fmla="*/ 3921919 w 6400800"/>
                <a:gd name="connsiteY4575" fmla="*/ 334804 h 514350"/>
                <a:gd name="connsiteX4576" fmla="*/ 3921919 w 6400800"/>
                <a:gd name="connsiteY4576" fmla="*/ 335756 h 514350"/>
                <a:gd name="connsiteX4577" fmla="*/ 3920966 w 6400800"/>
                <a:gd name="connsiteY4577" fmla="*/ 330041 h 514350"/>
                <a:gd name="connsiteX4578" fmla="*/ 3915251 w 6400800"/>
                <a:gd name="connsiteY4578" fmla="*/ 301466 h 514350"/>
                <a:gd name="connsiteX4579" fmla="*/ 3911441 w 6400800"/>
                <a:gd name="connsiteY4579" fmla="*/ 281464 h 514350"/>
                <a:gd name="connsiteX4580" fmla="*/ 3912394 w 6400800"/>
                <a:gd name="connsiteY4580" fmla="*/ 264319 h 514350"/>
                <a:gd name="connsiteX4581" fmla="*/ 3912394 w 6400800"/>
                <a:gd name="connsiteY4581" fmla="*/ 263366 h 514350"/>
                <a:gd name="connsiteX4582" fmla="*/ 3919061 w 6400800"/>
                <a:gd name="connsiteY4582" fmla="*/ 270986 h 514350"/>
                <a:gd name="connsiteX4583" fmla="*/ 3923824 w 6400800"/>
                <a:gd name="connsiteY4583" fmla="*/ 277654 h 514350"/>
                <a:gd name="connsiteX4584" fmla="*/ 3924776 w 6400800"/>
                <a:gd name="connsiteY4584" fmla="*/ 284321 h 514350"/>
                <a:gd name="connsiteX4585" fmla="*/ 3921919 w 6400800"/>
                <a:gd name="connsiteY4585" fmla="*/ 277654 h 514350"/>
                <a:gd name="connsiteX4586" fmla="*/ 3926681 w 6400800"/>
                <a:gd name="connsiteY4586" fmla="*/ 296704 h 514350"/>
                <a:gd name="connsiteX4587" fmla="*/ 3927634 w 6400800"/>
                <a:gd name="connsiteY4587" fmla="*/ 304324 h 514350"/>
                <a:gd name="connsiteX4588" fmla="*/ 3927634 w 6400800"/>
                <a:gd name="connsiteY4588" fmla="*/ 305276 h 514350"/>
                <a:gd name="connsiteX4589" fmla="*/ 3925729 w 6400800"/>
                <a:gd name="connsiteY4589" fmla="*/ 309086 h 514350"/>
                <a:gd name="connsiteX4590" fmla="*/ 3929539 w 6400800"/>
                <a:gd name="connsiteY4590" fmla="*/ 287179 h 514350"/>
                <a:gd name="connsiteX4591" fmla="*/ 3928586 w 6400800"/>
                <a:gd name="connsiteY4591" fmla="*/ 292894 h 514350"/>
                <a:gd name="connsiteX4592" fmla="*/ 3927634 w 6400800"/>
                <a:gd name="connsiteY4592" fmla="*/ 290036 h 514350"/>
                <a:gd name="connsiteX4593" fmla="*/ 3923824 w 6400800"/>
                <a:gd name="connsiteY4593" fmla="*/ 275749 h 514350"/>
                <a:gd name="connsiteX4594" fmla="*/ 3927634 w 6400800"/>
                <a:gd name="connsiteY4594" fmla="*/ 281464 h 514350"/>
                <a:gd name="connsiteX4595" fmla="*/ 3929539 w 6400800"/>
                <a:gd name="connsiteY4595" fmla="*/ 284321 h 514350"/>
                <a:gd name="connsiteX4596" fmla="*/ 3929539 w 6400800"/>
                <a:gd name="connsiteY4596" fmla="*/ 287179 h 514350"/>
                <a:gd name="connsiteX4597" fmla="*/ 3926681 w 6400800"/>
                <a:gd name="connsiteY4597" fmla="*/ 242411 h 514350"/>
                <a:gd name="connsiteX4598" fmla="*/ 3928586 w 6400800"/>
                <a:gd name="connsiteY4598" fmla="*/ 270986 h 514350"/>
                <a:gd name="connsiteX4599" fmla="*/ 3921919 w 6400800"/>
                <a:gd name="connsiteY4599" fmla="*/ 265271 h 514350"/>
                <a:gd name="connsiteX4600" fmla="*/ 3913346 w 6400800"/>
                <a:gd name="connsiteY4600" fmla="*/ 257651 h 514350"/>
                <a:gd name="connsiteX4601" fmla="*/ 3917156 w 6400800"/>
                <a:gd name="connsiteY4601" fmla="*/ 246221 h 514350"/>
                <a:gd name="connsiteX4602" fmla="*/ 3925729 w 6400800"/>
                <a:gd name="connsiteY4602" fmla="*/ 232886 h 514350"/>
                <a:gd name="connsiteX4603" fmla="*/ 3926681 w 6400800"/>
                <a:gd name="connsiteY4603" fmla="*/ 242411 h 514350"/>
                <a:gd name="connsiteX4604" fmla="*/ 3900964 w 6400800"/>
                <a:gd name="connsiteY4604" fmla="*/ 168116 h 514350"/>
                <a:gd name="connsiteX4605" fmla="*/ 3914299 w 6400800"/>
                <a:gd name="connsiteY4605" fmla="*/ 147161 h 514350"/>
                <a:gd name="connsiteX4606" fmla="*/ 3915251 w 6400800"/>
                <a:gd name="connsiteY4606" fmla="*/ 156686 h 514350"/>
                <a:gd name="connsiteX4607" fmla="*/ 3920966 w 6400800"/>
                <a:gd name="connsiteY4607" fmla="*/ 196691 h 514350"/>
                <a:gd name="connsiteX4608" fmla="*/ 3922871 w 6400800"/>
                <a:gd name="connsiteY4608" fmla="*/ 213836 h 514350"/>
                <a:gd name="connsiteX4609" fmla="*/ 3920014 w 6400800"/>
                <a:gd name="connsiteY4609" fmla="*/ 210979 h 514350"/>
                <a:gd name="connsiteX4610" fmla="*/ 3923824 w 6400800"/>
                <a:gd name="connsiteY4610" fmla="*/ 214789 h 514350"/>
                <a:gd name="connsiteX4611" fmla="*/ 3924776 w 6400800"/>
                <a:gd name="connsiteY4611" fmla="*/ 226219 h 514350"/>
                <a:gd name="connsiteX4612" fmla="*/ 3906679 w 6400800"/>
                <a:gd name="connsiteY4612" fmla="*/ 249079 h 514350"/>
                <a:gd name="connsiteX4613" fmla="*/ 3904774 w 6400800"/>
                <a:gd name="connsiteY4613" fmla="*/ 251936 h 514350"/>
                <a:gd name="connsiteX4614" fmla="*/ 3902869 w 6400800"/>
                <a:gd name="connsiteY4614" fmla="*/ 250984 h 514350"/>
                <a:gd name="connsiteX4615" fmla="*/ 3900964 w 6400800"/>
                <a:gd name="connsiteY4615" fmla="*/ 242411 h 514350"/>
                <a:gd name="connsiteX4616" fmla="*/ 3900964 w 6400800"/>
                <a:gd name="connsiteY4616" fmla="*/ 249079 h 514350"/>
                <a:gd name="connsiteX4617" fmla="*/ 3897154 w 6400800"/>
                <a:gd name="connsiteY4617" fmla="*/ 247174 h 514350"/>
                <a:gd name="connsiteX4618" fmla="*/ 3891439 w 6400800"/>
                <a:gd name="connsiteY4618" fmla="*/ 243364 h 514350"/>
                <a:gd name="connsiteX4619" fmla="*/ 3896201 w 6400800"/>
                <a:gd name="connsiteY4619" fmla="*/ 248126 h 514350"/>
                <a:gd name="connsiteX4620" fmla="*/ 3900964 w 6400800"/>
                <a:gd name="connsiteY4620" fmla="*/ 251936 h 514350"/>
                <a:gd name="connsiteX4621" fmla="*/ 3900964 w 6400800"/>
                <a:gd name="connsiteY4621" fmla="*/ 256699 h 514350"/>
                <a:gd name="connsiteX4622" fmla="*/ 3894296 w 6400800"/>
                <a:gd name="connsiteY4622" fmla="*/ 266224 h 514350"/>
                <a:gd name="connsiteX4623" fmla="*/ 3890486 w 6400800"/>
                <a:gd name="connsiteY4623" fmla="*/ 250984 h 514350"/>
                <a:gd name="connsiteX4624" fmla="*/ 3880009 w 6400800"/>
                <a:gd name="connsiteY4624" fmla="*/ 210026 h 514350"/>
                <a:gd name="connsiteX4625" fmla="*/ 3879056 w 6400800"/>
                <a:gd name="connsiteY4625" fmla="*/ 206216 h 514350"/>
                <a:gd name="connsiteX4626" fmla="*/ 3900964 w 6400800"/>
                <a:gd name="connsiteY4626" fmla="*/ 168116 h 514350"/>
                <a:gd name="connsiteX4627" fmla="*/ 3873341 w 6400800"/>
                <a:gd name="connsiteY4627" fmla="*/ 214789 h 514350"/>
                <a:gd name="connsiteX4628" fmla="*/ 3879056 w 6400800"/>
                <a:gd name="connsiteY4628" fmla="*/ 251936 h 514350"/>
                <a:gd name="connsiteX4629" fmla="*/ 3883819 w 6400800"/>
                <a:gd name="connsiteY4629" fmla="*/ 280511 h 514350"/>
                <a:gd name="connsiteX4630" fmla="*/ 3882866 w 6400800"/>
                <a:gd name="connsiteY4630" fmla="*/ 282416 h 514350"/>
                <a:gd name="connsiteX4631" fmla="*/ 3875246 w 6400800"/>
                <a:gd name="connsiteY4631" fmla="*/ 259556 h 514350"/>
                <a:gd name="connsiteX4632" fmla="*/ 3865721 w 6400800"/>
                <a:gd name="connsiteY4632" fmla="*/ 234791 h 514350"/>
                <a:gd name="connsiteX4633" fmla="*/ 3864769 w 6400800"/>
                <a:gd name="connsiteY4633" fmla="*/ 231934 h 514350"/>
                <a:gd name="connsiteX4634" fmla="*/ 3873341 w 6400800"/>
                <a:gd name="connsiteY4634" fmla="*/ 214789 h 514350"/>
                <a:gd name="connsiteX4635" fmla="*/ 3864769 w 6400800"/>
                <a:gd name="connsiteY4635" fmla="*/ 341471 h 514350"/>
                <a:gd name="connsiteX4636" fmla="*/ 3862864 w 6400800"/>
                <a:gd name="connsiteY4636" fmla="*/ 345281 h 514350"/>
                <a:gd name="connsiteX4637" fmla="*/ 3864769 w 6400800"/>
                <a:gd name="connsiteY4637" fmla="*/ 341471 h 514350"/>
                <a:gd name="connsiteX4638" fmla="*/ 3864769 w 6400800"/>
                <a:gd name="connsiteY4638" fmla="*/ 341471 h 514350"/>
                <a:gd name="connsiteX4639" fmla="*/ 3854291 w 6400800"/>
                <a:gd name="connsiteY4639" fmla="*/ 211931 h 514350"/>
                <a:gd name="connsiteX4640" fmla="*/ 3856196 w 6400800"/>
                <a:gd name="connsiteY4640" fmla="*/ 201454 h 514350"/>
                <a:gd name="connsiteX4641" fmla="*/ 3857149 w 6400800"/>
                <a:gd name="connsiteY4641" fmla="*/ 220504 h 514350"/>
                <a:gd name="connsiteX4642" fmla="*/ 3854291 w 6400800"/>
                <a:gd name="connsiteY4642" fmla="*/ 226219 h 514350"/>
                <a:gd name="connsiteX4643" fmla="*/ 3854291 w 6400800"/>
                <a:gd name="connsiteY4643" fmla="*/ 211931 h 514350"/>
                <a:gd name="connsiteX4644" fmla="*/ 3849529 w 6400800"/>
                <a:gd name="connsiteY4644" fmla="*/ 262414 h 514350"/>
                <a:gd name="connsiteX4645" fmla="*/ 3849529 w 6400800"/>
                <a:gd name="connsiteY4645" fmla="*/ 257651 h 514350"/>
                <a:gd name="connsiteX4646" fmla="*/ 3850481 w 6400800"/>
                <a:gd name="connsiteY4646" fmla="*/ 256699 h 514350"/>
                <a:gd name="connsiteX4647" fmla="*/ 3859054 w 6400800"/>
                <a:gd name="connsiteY4647" fmla="*/ 278606 h 514350"/>
                <a:gd name="connsiteX4648" fmla="*/ 3860006 w 6400800"/>
                <a:gd name="connsiteY4648" fmla="*/ 280511 h 514350"/>
                <a:gd name="connsiteX4649" fmla="*/ 3862864 w 6400800"/>
                <a:gd name="connsiteY4649" fmla="*/ 313849 h 514350"/>
                <a:gd name="connsiteX4650" fmla="*/ 3862864 w 6400800"/>
                <a:gd name="connsiteY4650" fmla="*/ 313849 h 514350"/>
                <a:gd name="connsiteX4651" fmla="*/ 3847624 w 6400800"/>
                <a:gd name="connsiteY4651" fmla="*/ 291941 h 514350"/>
                <a:gd name="connsiteX4652" fmla="*/ 3849529 w 6400800"/>
                <a:gd name="connsiteY4652" fmla="*/ 262414 h 514350"/>
                <a:gd name="connsiteX4653" fmla="*/ 3846671 w 6400800"/>
                <a:gd name="connsiteY4653" fmla="*/ 308134 h 514350"/>
                <a:gd name="connsiteX4654" fmla="*/ 3855244 w 6400800"/>
                <a:gd name="connsiteY4654" fmla="*/ 323374 h 514350"/>
                <a:gd name="connsiteX4655" fmla="*/ 3856196 w 6400800"/>
                <a:gd name="connsiteY4655" fmla="*/ 325279 h 514350"/>
                <a:gd name="connsiteX4656" fmla="*/ 3855244 w 6400800"/>
                <a:gd name="connsiteY4656" fmla="*/ 327184 h 514350"/>
                <a:gd name="connsiteX4657" fmla="*/ 3849529 w 6400800"/>
                <a:gd name="connsiteY4657" fmla="*/ 336709 h 514350"/>
                <a:gd name="connsiteX4658" fmla="*/ 3845719 w 6400800"/>
                <a:gd name="connsiteY4658" fmla="*/ 330041 h 514350"/>
                <a:gd name="connsiteX4659" fmla="*/ 3846671 w 6400800"/>
                <a:gd name="connsiteY4659" fmla="*/ 308134 h 514350"/>
                <a:gd name="connsiteX4660" fmla="*/ 3843814 w 6400800"/>
                <a:gd name="connsiteY4660" fmla="*/ 415766 h 514350"/>
                <a:gd name="connsiteX4661" fmla="*/ 3846671 w 6400800"/>
                <a:gd name="connsiteY4661" fmla="*/ 410051 h 514350"/>
                <a:gd name="connsiteX4662" fmla="*/ 3847624 w 6400800"/>
                <a:gd name="connsiteY4662" fmla="*/ 416719 h 514350"/>
                <a:gd name="connsiteX4663" fmla="*/ 3847624 w 6400800"/>
                <a:gd name="connsiteY4663" fmla="*/ 419576 h 514350"/>
                <a:gd name="connsiteX4664" fmla="*/ 3846671 w 6400800"/>
                <a:gd name="connsiteY4664" fmla="*/ 422434 h 514350"/>
                <a:gd name="connsiteX4665" fmla="*/ 3844766 w 6400800"/>
                <a:gd name="connsiteY4665" fmla="*/ 426244 h 514350"/>
                <a:gd name="connsiteX4666" fmla="*/ 3842861 w 6400800"/>
                <a:gd name="connsiteY4666" fmla="*/ 426244 h 514350"/>
                <a:gd name="connsiteX4667" fmla="*/ 3843814 w 6400800"/>
                <a:gd name="connsiteY4667" fmla="*/ 415766 h 514350"/>
                <a:gd name="connsiteX4668" fmla="*/ 3830479 w 6400800"/>
                <a:gd name="connsiteY4668" fmla="*/ 297656 h 514350"/>
                <a:gd name="connsiteX4669" fmla="*/ 3830479 w 6400800"/>
                <a:gd name="connsiteY4669" fmla="*/ 299561 h 514350"/>
                <a:gd name="connsiteX4670" fmla="*/ 3830479 w 6400800"/>
                <a:gd name="connsiteY4670" fmla="*/ 301466 h 514350"/>
                <a:gd name="connsiteX4671" fmla="*/ 3829526 w 6400800"/>
                <a:gd name="connsiteY4671" fmla="*/ 307181 h 514350"/>
                <a:gd name="connsiteX4672" fmla="*/ 3827621 w 6400800"/>
                <a:gd name="connsiteY4672" fmla="*/ 304324 h 514350"/>
                <a:gd name="connsiteX4673" fmla="*/ 3830479 w 6400800"/>
                <a:gd name="connsiteY4673" fmla="*/ 297656 h 514350"/>
                <a:gd name="connsiteX4674" fmla="*/ 3826669 w 6400800"/>
                <a:gd name="connsiteY4674" fmla="*/ 305276 h 514350"/>
                <a:gd name="connsiteX4675" fmla="*/ 3828574 w 6400800"/>
                <a:gd name="connsiteY4675" fmla="*/ 310039 h 514350"/>
                <a:gd name="connsiteX4676" fmla="*/ 3827621 w 6400800"/>
                <a:gd name="connsiteY4676" fmla="*/ 314801 h 514350"/>
                <a:gd name="connsiteX4677" fmla="*/ 3823811 w 6400800"/>
                <a:gd name="connsiteY4677" fmla="*/ 309086 h 514350"/>
                <a:gd name="connsiteX4678" fmla="*/ 3826669 w 6400800"/>
                <a:gd name="connsiteY4678" fmla="*/ 305276 h 514350"/>
                <a:gd name="connsiteX4679" fmla="*/ 3820001 w 6400800"/>
                <a:gd name="connsiteY4679" fmla="*/ 319564 h 514350"/>
                <a:gd name="connsiteX4680" fmla="*/ 3826669 w 6400800"/>
                <a:gd name="connsiteY4680" fmla="*/ 332899 h 514350"/>
                <a:gd name="connsiteX4681" fmla="*/ 3827621 w 6400800"/>
                <a:gd name="connsiteY4681" fmla="*/ 333851 h 514350"/>
                <a:gd name="connsiteX4682" fmla="*/ 3826669 w 6400800"/>
                <a:gd name="connsiteY4682" fmla="*/ 343376 h 514350"/>
                <a:gd name="connsiteX4683" fmla="*/ 3824764 w 6400800"/>
                <a:gd name="connsiteY4683" fmla="*/ 377666 h 514350"/>
                <a:gd name="connsiteX4684" fmla="*/ 3820954 w 6400800"/>
                <a:gd name="connsiteY4684" fmla="*/ 364331 h 514350"/>
                <a:gd name="connsiteX4685" fmla="*/ 3820001 w 6400800"/>
                <a:gd name="connsiteY4685" fmla="*/ 352901 h 514350"/>
                <a:gd name="connsiteX4686" fmla="*/ 3818096 w 6400800"/>
                <a:gd name="connsiteY4686" fmla="*/ 336709 h 514350"/>
                <a:gd name="connsiteX4687" fmla="*/ 3821906 w 6400800"/>
                <a:gd name="connsiteY4687" fmla="*/ 332899 h 514350"/>
                <a:gd name="connsiteX4688" fmla="*/ 3818096 w 6400800"/>
                <a:gd name="connsiteY4688" fmla="*/ 335756 h 514350"/>
                <a:gd name="connsiteX4689" fmla="*/ 3817144 w 6400800"/>
                <a:gd name="connsiteY4689" fmla="*/ 326231 h 514350"/>
                <a:gd name="connsiteX4690" fmla="*/ 3820001 w 6400800"/>
                <a:gd name="connsiteY4690" fmla="*/ 319564 h 514350"/>
                <a:gd name="connsiteX4691" fmla="*/ 3788569 w 6400800"/>
                <a:gd name="connsiteY4691" fmla="*/ 264319 h 514350"/>
                <a:gd name="connsiteX4692" fmla="*/ 3792379 w 6400800"/>
                <a:gd name="connsiteY4692" fmla="*/ 270986 h 514350"/>
                <a:gd name="connsiteX4693" fmla="*/ 3800951 w 6400800"/>
                <a:gd name="connsiteY4693" fmla="*/ 285274 h 514350"/>
                <a:gd name="connsiteX4694" fmla="*/ 3800951 w 6400800"/>
                <a:gd name="connsiteY4694" fmla="*/ 287179 h 514350"/>
                <a:gd name="connsiteX4695" fmla="*/ 3800951 w 6400800"/>
                <a:gd name="connsiteY4695" fmla="*/ 298609 h 514350"/>
                <a:gd name="connsiteX4696" fmla="*/ 3800951 w 6400800"/>
                <a:gd name="connsiteY4696" fmla="*/ 300514 h 514350"/>
                <a:gd name="connsiteX4697" fmla="*/ 3797141 w 6400800"/>
                <a:gd name="connsiteY4697" fmla="*/ 287179 h 514350"/>
                <a:gd name="connsiteX4698" fmla="*/ 3796189 w 6400800"/>
                <a:gd name="connsiteY4698" fmla="*/ 285274 h 514350"/>
                <a:gd name="connsiteX4699" fmla="*/ 3796189 w 6400800"/>
                <a:gd name="connsiteY4699" fmla="*/ 280511 h 514350"/>
                <a:gd name="connsiteX4700" fmla="*/ 3795236 w 6400800"/>
                <a:gd name="connsiteY4700" fmla="*/ 283369 h 514350"/>
                <a:gd name="connsiteX4701" fmla="*/ 3791426 w 6400800"/>
                <a:gd name="connsiteY4701" fmla="*/ 271939 h 514350"/>
                <a:gd name="connsiteX4702" fmla="*/ 3788569 w 6400800"/>
                <a:gd name="connsiteY4702" fmla="*/ 264319 h 514350"/>
                <a:gd name="connsiteX4703" fmla="*/ 3748564 w 6400800"/>
                <a:gd name="connsiteY4703" fmla="*/ 364331 h 514350"/>
                <a:gd name="connsiteX4704" fmla="*/ 3748564 w 6400800"/>
                <a:gd name="connsiteY4704" fmla="*/ 351949 h 514350"/>
                <a:gd name="connsiteX4705" fmla="*/ 3750469 w 6400800"/>
                <a:gd name="connsiteY4705" fmla="*/ 358616 h 514350"/>
                <a:gd name="connsiteX4706" fmla="*/ 3748564 w 6400800"/>
                <a:gd name="connsiteY4706" fmla="*/ 364331 h 514350"/>
                <a:gd name="connsiteX4707" fmla="*/ 3762851 w 6400800"/>
                <a:gd name="connsiteY4707" fmla="*/ 399574 h 514350"/>
                <a:gd name="connsiteX4708" fmla="*/ 3759994 w 6400800"/>
                <a:gd name="connsiteY4708" fmla="*/ 405289 h 514350"/>
                <a:gd name="connsiteX4709" fmla="*/ 3760946 w 6400800"/>
                <a:gd name="connsiteY4709" fmla="*/ 391954 h 514350"/>
                <a:gd name="connsiteX4710" fmla="*/ 3760946 w 6400800"/>
                <a:gd name="connsiteY4710" fmla="*/ 391001 h 514350"/>
                <a:gd name="connsiteX4711" fmla="*/ 3762851 w 6400800"/>
                <a:gd name="connsiteY4711" fmla="*/ 396716 h 514350"/>
                <a:gd name="connsiteX4712" fmla="*/ 3762851 w 6400800"/>
                <a:gd name="connsiteY4712" fmla="*/ 399574 h 514350"/>
                <a:gd name="connsiteX4713" fmla="*/ 3770471 w 6400800"/>
                <a:gd name="connsiteY4713" fmla="*/ 290036 h 514350"/>
                <a:gd name="connsiteX4714" fmla="*/ 3775234 w 6400800"/>
                <a:gd name="connsiteY4714" fmla="*/ 309086 h 514350"/>
                <a:gd name="connsiteX4715" fmla="*/ 3771424 w 6400800"/>
                <a:gd name="connsiteY4715" fmla="*/ 301466 h 514350"/>
                <a:gd name="connsiteX4716" fmla="*/ 3770471 w 6400800"/>
                <a:gd name="connsiteY4716" fmla="*/ 299561 h 514350"/>
                <a:gd name="connsiteX4717" fmla="*/ 3770471 w 6400800"/>
                <a:gd name="connsiteY4717" fmla="*/ 290989 h 514350"/>
                <a:gd name="connsiteX4718" fmla="*/ 3770471 w 6400800"/>
                <a:gd name="connsiteY4718" fmla="*/ 290036 h 514350"/>
                <a:gd name="connsiteX4719" fmla="*/ 3769519 w 6400800"/>
                <a:gd name="connsiteY4719" fmla="*/ 370046 h 514350"/>
                <a:gd name="connsiteX4720" fmla="*/ 3770471 w 6400800"/>
                <a:gd name="connsiteY4720" fmla="*/ 372904 h 514350"/>
                <a:gd name="connsiteX4721" fmla="*/ 3767614 w 6400800"/>
                <a:gd name="connsiteY4721" fmla="*/ 366236 h 514350"/>
                <a:gd name="connsiteX4722" fmla="*/ 3767614 w 6400800"/>
                <a:gd name="connsiteY4722" fmla="*/ 359569 h 514350"/>
                <a:gd name="connsiteX4723" fmla="*/ 3766661 w 6400800"/>
                <a:gd name="connsiteY4723" fmla="*/ 364331 h 514350"/>
                <a:gd name="connsiteX4724" fmla="*/ 3764756 w 6400800"/>
                <a:gd name="connsiteY4724" fmla="*/ 360521 h 514350"/>
                <a:gd name="connsiteX4725" fmla="*/ 3764756 w 6400800"/>
                <a:gd name="connsiteY4725" fmla="*/ 357664 h 514350"/>
                <a:gd name="connsiteX4726" fmla="*/ 3765709 w 6400800"/>
                <a:gd name="connsiteY4726" fmla="*/ 351949 h 514350"/>
                <a:gd name="connsiteX4727" fmla="*/ 3769519 w 6400800"/>
                <a:gd name="connsiteY4727" fmla="*/ 370046 h 514350"/>
                <a:gd name="connsiteX4728" fmla="*/ 3753326 w 6400800"/>
                <a:gd name="connsiteY4728" fmla="*/ 250031 h 514350"/>
                <a:gd name="connsiteX4729" fmla="*/ 3755231 w 6400800"/>
                <a:gd name="connsiteY4729" fmla="*/ 236696 h 514350"/>
                <a:gd name="connsiteX4730" fmla="*/ 3756184 w 6400800"/>
                <a:gd name="connsiteY4730" fmla="*/ 232886 h 514350"/>
                <a:gd name="connsiteX4731" fmla="*/ 3758089 w 6400800"/>
                <a:gd name="connsiteY4731" fmla="*/ 230029 h 514350"/>
                <a:gd name="connsiteX4732" fmla="*/ 3759994 w 6400800"/>
                <a:gd name="connsiteY4732" fmla="*/ 237649 h 514350"/>
                <a:gd name="connsiteX4733" fmla="*/ 3769519 w 6400800"/>
                <a:gd name="connsiteY4733" fmla="*/ 281464 h 514350"/>
                <a:gd name="connsiteX4734" fmla="*/ 3767614 w 6400800"/>
                <a:gd name="connsiteY4734" fmla="*/ 290036 h 514350"/>
                <a:gd name="connsiteX4735" fmla="*/ 3767614 w 6400800"/>
                <a:gd name="connsiteY4735" fmla="*/ 290989 h 514350"/>
                <a:gd name="connsiteX4736" fmla="*/ 3752374 w 6400800"/>
                <a:gd name="connsiteY4736" fmla="*/ 261461 h 514350"/>
                <a:gd name="connsiteX4737" fmla="*/ 3753326 w 6400800"/>
                <a:gd name="connsiteY4737" fmla="*/ 250031 h 514350"/>
                <a:gd name="connsiteX4738" fmla="*/ 3748564 w 6400800"/>
                <a:gd name="connsiteY4738" fmla="*/ 296704 h 514350"/>
                <a:gd name="connsiteX4739" fmla="*/ 3748564 w 6400800"/>
                <a:gd name="connsiteY4739" fmla="*/ 296704 h 514350"/>
                <a:gd name="connsiteX4740" fmla="*/ 3756184 w 6400800"/>
                <a:gd name="connsiteY4740" fmla="*/ 313849 h 514350"/>
                <a:gd name="connsiteX4741" fmla="*/ 3757136 w 6400800"/>
                <a:gd name="connsiteY4741" fmla="*/ 316706 h 514350"/>
                <a:gd name="connsiteX4742" fmla="*/ 3759041 w 6400800"/>
                <a:gd name="connsiteY4742" fmla="*/ 323374 h 514350"/>
                <a:gd name="connsiteX4743" fmla="*/ 3757136 w 6400800"/>
                <a:gd name="connsiteY4743" fmla="*/ 330041 h 514350"/>
                <a:gd name="connsiteX4744" fmla="*/ 3754279 w 6400800"/>
                <a:gd name="connsiteY4744" fmla="*/ 341471 h 514350"/>
                <a:gd name="connsiteX4745" fmla="*/ 3750469 w 6400800"/>
                <a:gd name="connsiteY4745" fmla="*/ 335756 h 514350"/>
                <a:gd name="connsiteX4746" fmla="*/ 3747611 w 6400800"/>
                <a:gd name="connsiteY4746" fmla="*/ 331946 h 514350"/>
                <a:gd name="connsiteX4747" fmla="*/ 3748564 w 6400800"/>
                <a:gd name="connsiteY4747" fmla="*/ 296704 h 514350"/>
                <a:gd name="connsiteX4748" fmla="*/ 3738086 w 6400800"/>
                <a:gd name="connsiteY4748" fmla="*/ 273844 h 514350"/>
                <a:gd name="connsiteX4749" fmla="*/ 3738086 w 6400800"/>
                <a:gd name="connsiteY4749" fmla="*/ 273844 h 514350"/>
                <a:gd name="connsiteX4750" fmla="*/ 3738086 w 6400800"/>
                <a:gd name="connsiteY4750" fmla="*/ 274796 h 514350"/>
                <a:gd name="connsiteX4751" fmla="*/ 3738086 w 6400800"/>
                <a:gd name="connsiteY4751" fmla="*/ 273844 h 514350"/>
                <a:gd name="connsiteX4752" fmla="*/ 3689509 w 6400800"/>
                <a:gd name="connsiteY4752" fmla="*/ 326231 h 514350"/>
                <a:gd name="connsiteX4753" fmla="*/ 3686651 w 6400800"/>
                <a:gd name="connsiteY4753" fmla="*/ 331946 h 514350"/>
                <a:gd name="connsiteX4754" fmla="*/ 3685699 w 6400800"/>
                <a:gd name="connsiteY4754" fmla="*/ 330994 h 514350"/>
                <a:gd name="connsiteX4755" fmla="*/ 3685699 w 6400800"/>
                <a:gd name="connsiteY4755" fmla="*/ 322421 h 514350"/>
                <a:gd name="connsiteX4756" fmla="*/ 3685699 w 6400800"/>
                <a:gd name="connsiteY4756" fmla="*/ 313849 h 514350"/>
                <a:gd name="connsiteX4757" fmla="*/ 3689509 w 6400800"/>
                <a:gd name="connsiteY4757" fmla="*/ 325279 h 514350"/>
                <a:gd name="connsiteX4758" fmla="*/ 3689509 w 6400800"/>
                <a:gd name="connsiteY4758" fmla="*/ 326231 h 514350"/>
                <a:gd name="connsiteX4759" fmla="*/ 3716179 w 6400800"/>
                <a:gd name="connsiteY4759" fmla="*/ 211931 h 514350"/>
                <a:gd name="connsiteX4760" fmla="*/ 3720941 w 6400800"/>
                <a:gd name="connsiteY4760" fmla="*/ 221456 h 514350"/>
                <a:gd name="connsiteX4761" fmla="*/ 3719036 w 6400800"/>
                <a:gd name="connsiteY4761" fmla="*/ 230029 h 514350"/>
                <a:gd name="connsiteX4762" fmla="*/ 3718084 w 6400800"/>
                <a:gd name="connsiteY4762" fmla="*/ 233839 h 514350"/>
                <a:gd name="connsiteX4763" fmla="*/ 3713321 w 6400800"/>
                <a:gd name="connsiteY4763" fmla="*/ 228124 h 514350"/>
                <a:gd name="connsiteX4764" fmla="*/ 3717131 w 6400800"/>
                <a:gd name="connsiteY4764" fmla="*/ 235744 h 514350"/>
                <a:gd name="connsiteX4765" fmla="*/ 3714274 w 6400800"/>
                <a:gd name="connsiteY4765" fmla="*/ 253841 h 514350"/>
                <a:gd name="connsiteX4766" fmla="*/ 3714274 w 6400800"/>
                <a:gd name="connsiteY4766" fmla="*/ 250984 h 514350"/>
                <a:gd name="connsiteX4767" fmla="*/ 3713321 w 6400800"/>
                <a:gd name="connsiteY4767" fmla="*/ 238601 h 514350"/>
                <a:gd name="connsiteX4768" fmla="*/ 3713321 w 6400800"/>
                <a:gd name="connsiteY4768" fmla="*/ 227171 h 514350"/>
                <a:gd name="connsiteX4769" fmla="*/ 3712369 w 6400800"/>
                <a:gd name="connsiteY4769" fmla="*/ 208121 h 514350"/>
                <a:gd name="connsiteX4770" fmla="*/ 3712369 w 6400800"/>
                <a:gd name="connsiteY4770" fmla="*/ 205264 h 514350"/>
                <a:gd name="connsiteX4771" fmla="*/ 3716179 w 6400800"/>
                <a:gd name="connsiteY4771" fmla="*/ 211931 h 514350"/>
                <a:gd name="connsiteX4772" fmla="*/ 3679984 w 6400800"/>
                <a:gd name="connsiteY4772" fmla="*/ 236696 h 514350"/>
                <a:gd name="connsiteX4773" fmla="*/ 3684746 w 6400800"/>
                <a:gd name="connsiteY4773" fmla="*/ 196691 h 514350"/>
                <a:gd name="connsiteX4774" fmla="*/ 3687604 w 6400800"/>
                <a:gd name="connsiteY4774" fmla="*/ 166211 h 514350"/>
                <a:gd name="connsiteX4775" fmla="*/ 3688556 w 6400800"/>
                <a:gd name="connsiteY4775" fmla="*/ 154781 h 514350"/>
                <a:gd name="connsiteX4776" fmla="*/ 3699034 w 6400800"/>
                <a:gd name="connsiteY4776" fmla="*/ 178594 h 514350"/>
                <a:gd name="connsiteX4777" fmla="*/ 3708559 w 6400800"/>
                <a:gd name="connsiteY4777" fmla="*/ 199549 h 514350"/>
                <a:gd name="connsiteX4778" fmla="*/ 3707606 w 6400800"/>
                <a:gd name="connsiteY4778" fmla="*/ 207169 h 514350"/>
                <a:gd name="connsiteX4779" fmla="*/ 3704749 w 6400800"/>
                <a:gd name="connsiteY4779" fmla="*/ 226219 h 514350"/>
                <a:gd name="connsiteX4780" fmla="*/ 3702844 w 6400800"/>
                <a:gd name="connsiteY4780" fmla="*/ 237649 h 514350"/>
                <a:gd name="connsiteX4781" fmla="*/ 3701891 w 6400800"/>
                <a:gd name="connsiteY4781" fmla="*/ 250984 h 514350"/>
                <a:gd name="connsiteX4782" fmla="*/ 3700939 w 6400800"/>
                <a:gd name="connsiteY4782" fmla="*/ 280511 h 514350"/>
                <a:gd name="connsiteX4783" fmla="*/ 3700939 w 6400800"/>
                <a:gd name="connsiteY4783" fmla="*/ 300514 h 514350"/>
                <a:gd name="connsiteX4784" fmla="*/ 3697129 w 6400800"/>
                <a:gd name="connsiteY4784" fmla="*/ 290036 h 514350"/>
                <a:gd name="connsiteX4785" fmla="*/ 3699034 w 6400800"/>
                <a:gd name="connsiteY4785" fmla="*/ 308134 h 514350"/>
                <a:gd name="connsiteX4786" fmla="*/ 3690461 w 6400800"/>
                <a:gd name="connsiteY4786" fmla="*/ 322421 h 514350"/>
                <a:gd name="connsiteX4787" fmla="*/ 3683794 w 6400800"/>
                <a:gd name="connsiteY4787" fmla="*/ 310991 h 514350"/>
                <a:gd name="connsiteX4788" fmla="*/ 3683794 w 6400800"/>
                <a:gd name="connsiteY4788" fmla="*/ 302419 h 514350"/>
                <a:gd name="connsiteX4789" fmla="*/ 3682841 w 6400800"/>
                <a:gd name="connsiteY4789" fmla="*/ 308134 h 514350"/>
                <a:gd name="connsiteX4790" fmla="*/ 3679031 w 6400800"/>
                <a:gd name="connsiteY4790" fmla="*/ 302419 h 514350"/>
                <a:gd name="connsiteX4791" fmla="*/ 3681889 w 6400800"/>
                <a:gd name="connsiteY4791" fmla="*/ 310991 h 514350"/>
                <a:gd name="connsiteX4792" fmla="*/ 3679984 w 6400800"/>
                <a:gd name="connsiteY4792" fmla="*/ 323374 h 514350"/>
                <a:gd name="connsiteX4793" fmla="*/ 3672364 w 6400800"/>
                <a:gd name="connsiteY4793" fmla="*/ 307181 h 514350"/>
                <a:gd name="connsiteX4794" fmla="*/ 3677126 w 6400800"/>
                <a:gd name="connsiteY4794" fmla="*/ 289084 h 514350"/>
                <a:gd name="connsiteX4795" fmla="*/ 3681889 w 6400800"/>
                <a:gd name="connsiteY4795" fmla="*/ 272891 h 514350"/>
                <a:gd name="connsiteX4796" fmla="*/ 3686651 w 6400800"/>
                <a:gd name="connsiteY4796" fmla="*/ 260509 h 514350"/>
                <a:gd name="connsiteX4797" fmla="*/ 3692366 w 6400800"/>
                <a:gd name="connsiteY4797" fmla="*/ 250031 h 514350"/>
                <a:gd name="connsiteX4798" fmla="*/ 3683794 w 6400800"/>
                <a:gd name="connsiteY4798" fmla="*/ 258604 h 514350"/>
                <a:gd name="connsiteX4799" fmla="*/ 3675221 w 6400800"/>
                <a:gd name="connsiteY4799" fmla="*/ 270034 h 514350"/>
                <a:gd name="connsiteX4800" fmla="*/ 3671411 w 6400800"/>
                <a:gd name="connsiteY4800" fmla="*/ 275749 h 514350"/>
                <a:gd name="connsiteX4801" fmla="*/ 3679984 w 6400800"/>
                <a:gd name="connsiteY4801" fmla="*/ 236696 h 514350"/>
                <a:gd name="connsiteX4802" fmla="*/ 3678079 w 6400800"/>
                <a:gd name="connsiteY4802" fmla="*/ 342424 h 514350"/>
                <a:gd name="connsiteX4803" fmla="*/ 3677126 w 6400800"/>
                <a:gd name="connsiteY4803" fmla="*/ 349091 h 514350"/>
                <a:gd name="connsiteX4804" fmla="*/ 3676174 w 6400800"/>
                <a:gd name="connsiteY4804" fmla="*/ 343376 h 514350"/>
                <a:gd name="connsiteX4805" fmla="*/ 3674269 w 6400800"/>
                <a:gd name="connsiteY4805" fmla="*/ 335756 h 514350"/>
                <a:gd name="connsiteX4806" fmla="*/ 3678079 w 6400800"/>
                <a:gd name="connsiteY4806" fmla="*/ 342424 h 514350"/>
                <a:gd name="connsiteX4807" fmla="*/ 3664744 w 6400800"/>
                <a:gd name="connsiteY4807" fmla="*/ 355759 h 514350"/>
                <a:gd name="connsiteX4808" fmla="*/ 3664744 w 6400800"/>
                <a:gd name="connsiteY4808" fmla="*/ 362426 h 514350"/>
                <a:gd name="connsiteX4809" fmla="*/ 3663791 w 6400800"/>
                <a:gd name="connsiteY4809" fmla="*/ 371951 h 514350"/>
                <a:gd name="connsiteX4810" fmla="*/ 3663791 w 6400800"/>
                <a:gd name="connsiteY4810" fmla="*/ 371951 h 514350"/>
                <a:gd name="connsiteX4811" fmla="*/ 3662839 w 6400800"/>
                <a:gd name="connsiteY4811" fmla="*/ 367189 h 514350"/>
                <a:gd name="connsiteX4812" fmla="*/ 3662839 w 6400800"/>
                <a:gd name="connsiteY4812" fmla="*/ 366236 h 514350"/>
                <a:gd name="connsiteX4813" fmla="*/ 3664744 w 6400800"/>
                <a:gd name="connsiteY4813" fmla="*/ 355759 h 514350"/>
                <a:gd name="connsiteX4814" fmla="*/ 3603784 w 6400800"/>
                <a:gd name="connsiteY4814" fmla="*/ 369094 h 514350"/>
                <a:gd name="connsiteX4815" fmla="*/ 3602831 w 6400800"/>
                <a:gd name="connsiteY4815" fmla="*/ 363379 h 514350"/>
                <a:gd name="connsiteX4816" fmla="*/ 3605689 w 6400800"/>
                <a:gd name="connsiteY4816" fmla="*/ 352901 h 514350"/>
                <a:gd name="connsiteX4817" fmla="*/ 3606641 w 6400800"/>
                <a:gd name="connsiteY4817" fmla="*/ 350044 h 514350"/>
                <a:gd name="connsiteX4818" fmla="*/ 3607594 w 6400800"/>
                <a:gd name="connsiteY4818" fmla="*/ 352901 h 514350"/>
                <a:gd name="connsiteX4819" fmla="*/ 3607594 w 6400800"/>
                <a:gd name="connsiteY4819" fmla="*/ 353854 h 514350"/>
                <a:gd name="connsiteX4820" fmla="*/ 3603784 w 6400800"/>
                <a:gd name="connsiteY4820" fmla="*/ 369094 h 514350"/>
                <a:gd name="connsiteX4821" fmla="*/ 3612356 w 6400800"/>
                <a:gd name="connsiteY4821" fmla="*/ 329089 h 514350"/>
                <a:gd name="connsiteX4822" fmla="*/ 3611404 w 6400800"/>
                <a:gd name="connsiteY4822" fmla="*/ 327184 h 514350"/>
                <a:gd name="connsiteX4823" fmla="*/ 3610451 w 6400800"/>
                <a:gd name="connsiteY4823" fmla="*/ 321469 h 514350"/>
                <a:gd name="connsiteX4824" fmla="*/ 3613309 w 6400800"/>
                <a:gd name="connsiteY4824" fmla="*/ 324326 h 514350"/>
                <a:gd name="connsiteX4825" fmla="*/ 3612356 w 6400800"/>
                <a:gd name="connsiteY4825" fmla="*/ 329089 h 514350"/>
                <a:gd name="connsiteX4826" fmla="*/ 3633311 w 6400800"/>
                <a:gd name="connsiteY4826" fmla="*/ 366236 h 514350"/>
                <a:gd name="connsiteX4827" fmla="*/ 3629501 w 6400800"/>
                <a:gd name="connsiteY4827" fmla="*/ 358616 h 514350"/>
                <a:gd name="connsiteX4828" fmla="*/ 3629501 w 6400800"/>
                <a:gd name="connsiteY4828" fmla="*/ 354806 h 514350"/>
                <a:gd name="connsiteX4829" fmla="*/ 3633311 w 6400800"/>
                <a:gd name="connsiteY4829" fmla="*/ 366236 h 514350"/>
                <a:gd name="connsiteX4830" fmla="*/ 3633311 w 6400800"/>
                <a:gd name="connsiteY4830" fmla="*/ 366236 h 514350"/>
                <a:gd name="connsiteX4831" fmla="*/ 3633311 w 6400800"/>
                <a:gd name="connsiteY4831" fmla="*/ 366236 h 514350"/>
                <a:gd name="connsiteX4832" fmla="*/ 3632359 w 6400800"/>
                <a:gd name="connsiteY4832" fmla="*/ 331946 h 514350"/>
                <a:gd name="connsiteX4833" fmla="*/ 3635216 w 6400800"/>
                <a:gd name="connsiteY4833" fmla="*/ 348139 h 514350"/>
                <a:gd name="connsiteX4834" fmla="*/ 3631406 w 6400800"/>
                <a:gd name="connsiteY4834" fmla="*/ 341471 h 514350"/>
                <a:gd name="connsiteX4835" fmla="*/ 3632359 w 6400800"/>
                <a:gd name="connsiteY4835" fmla="*/ 331946 h 514350"/>
                <a:gd name="connsiteX4836" fmla="*/ 3618071 w 6400800"/>
                <a:gd name="connsiteY4836" fmla="*/ 270034 h 514350"/>
                <a:gd name="connsiteX4837" fmla="*/ 3628549 w 6400800"/>
                <a:gd name="connsiteY4837" fmla="*/ 246221 h 514350"/>
                <a:gd name="connsiteX4838" fmla="*/ 3630454 w 6400800"/>
                <a:gd name="connsiteY4838" fmla="*/ 242411 h 514350"/>
                <a:gd name="connsiteX4839" fmla="*/ 3625691 w 6400800"/>
                <a:gd name="connsiteY4839" fmla="*/ 265271 h 514350"/>
                <a:gd name="connsiteX4840" fmla="*/ 3618071 w 6400800"/>
                <a:gd name="connsiteY4840" fmla="*/ 271939 h 514350"/>
                <a:gd name="connsiteX4841" fmla="*/ 3618071 w 6400800"/>
                <a:gd name="connsiteY4841" fmla="*/ 270034 h 514350"/>
                <a:gd name="connsiteX4842" fmla="*/ 3601879 w 6400800"/>
                <a:gd name="connsiteY4842" fmla="*/ 310039 h 514350"/>
                <a:gd name="connsiteX4843" fmla="*/ 3606641 w 6400800"/>
                <a:gd name="connsiteY4843" fmla="*/ 298609 h 514350"/>
                <a:gd name="connsiteX4844" fmla="*/ 3615214 w 6400800"/>
                <a:gd name="connsiteY4844" fmla="*/ 278606 h 514350"/>
                <a:gd name="connsiteX4845" fmla="*/ 3619976 w 6400800"/>
                <a:gd name="connsiteY4845" fmla="*/ 271939 h 514350"/>
                <a:gd name="connsiteX4846" fmla="*/ 3625691 w 6400800"/>
                <a:gd name="connsiteY4846" fmla="*/ 266224 h 514350"/>
                <a:gd name="connsiteX4847" fmla="*/ 3624739 w 6400800"/>
                <a:gd name="connsiteY4847" fmla="*/ 270986 h 514350"/>
                <a:gd name="connsiteX4848" fmla="*/ 3617119 w 6400800"/>
                <a:gd name="connsiteY4848" fmla="*/ 309086 h 514350"/>
                <a:gd name="connsiteX4849" fmla="*/ 3614261 w 6400800"/>
                <a:gd name="connsiteY4849" fmla="*/ 322421 h 514350"/>
                <a:gd name="connsiteX4850" fmla="*/ 3611404 w 6400800"/>
                <a:gd name="connsiteY4850" fmla="*/ 320516 h 514350"/>
                <a:gd name="connsiteX4851" fmla="*/ 3609499 w 6400800"/>
                <a:gd name="connsiteY4851" fmla="*/ 298609 h 514350"/>
                <a:gd name="connsiteX4852" fmla="*/ 3608546 w 6400800"/>
                <a:gd name="connsiteY4852" fmla="*/ 318611 h 514350"/>
                <a:gd name="connsiteX4853" fmla="*/ 3606641 w 6400800"/>
                <a:gd name="connsiteY4853" fmla="*/ 317659 h 514350"/>
                <a:gd name="connsiteX4854" fmla="*/ 3608546 w 6400800"/>
                <a:gd name="connsiteY4854" fmla="*/ 319564 h 514350"/>
                <a:gd name="connsiteX4855" fmla="*/ 3608546 w 6400800"/>
                <a:gd name="connsiteY4855" fmla="*/ 322421 h 514350"/>
                <a:gd name="connsiteX4856" fmla="*/ 3602831 w 6400800"/>
                <a:gd name="connsiteY4856" fmla="*/ 312896 h 514350"/>
                <a:gd name="connsiteX4857" fmla="*/ 3601879 w 6400800"/>
                <a:gd name="connsiteY4857" fmla="*/ 310039 h 514350"/>
                <a:gd name="connsiteX4858" fmla="*/ 3600926 w 6400800"/>
                <a:gd name="connsiteY4858" fmla="*/ 335756 h 514350"/>
                <a:gd name="connsiteX4859" fmla="*/ 3604736 w 6400800"/>
                <a:gd name="connsiteY4859" fmla="*/ 346234 h 514350"/>
                <a:gd name="connsiteX4860" fmla="*/ 3601879 w 6400800"/>
                <a:gd name="connsiteY4860" fmla="*/ 351949 h 514350"/>
                <a:gd name="connsiteX4861" fmla="*/ 3600926 w 6400800"/>
                <a:gd name="connsiteY4861" fmla="*/ 352901 h 514350"/>
                <a:gd name="connsiteX4862" fmla="*/ 3599974 w 6400800"/>
                <a:gd name="connsiteY4862" fmla="*/ 345281 h 514350"/>
                <a:gd name="connsiteX4863" fmla="*/ 3600926 w 6400800"/>
                <a:gd name="connsiteY4863" fmla="*/ 335756 h 514350"/>
                <a:gd name="connsiteX4864" fmla="*/ 3556159 w 6400800"/>
                <a:gd name="connsiteY4864" fmla="*/ 342424 h 514350"/>
                <a:gd name="connsiteX4865" fmla="*/ 3557111 w 6400800"/>
                <a:gd name="connsiteY4865" fmla="*/ 324326 h 514350"/>
                <a:gd name="connsiteX4866" fmla="*/ 3558064 w 6400800"/>
                <a:gd name="connsiteY4866" fmla="*/ 328136 h 514350"/>
                <a:gd name="connsiteX4867" fmla="*/ 3559016 w 6400800"/>
                <a:gd name="connsiteY4867" fmla="*/ 333851 h 514350"/>
                <a:gd name="connsiteX4868" fmla="*/ 3559016 w 6400800"/>
                <a:gd name="connsiteY4868" fmla="*/ 334804 h 514350"/>
                <a:gd name="connsiteX4869" fmla="*/ 3556159 w 6400800"/>
                <a:gd name="connsiteY4869" fmla="*/ 342424 h 514350"/>
                <a:gd name="connsiteX4870" fmla="*/ 3559969 w 6400800"/>
                <a:gd name="connsiteY4870" fmla="*/ 279559 h 514350"/>
                <a:gd name="connsiteX4871" fmla="*/ 3559016 w 6400800"/>
                <a:gd name="connsiteY4871" fmla="*/ 274796 h 514350"/>
                <a:gd name="connsiteX4872" fmla="*/ 3561874 w 6400800"/>
                <a:gd name="connsiteY4872" fmla="*/ 276701 h 514350"/>
                <a:gd name="connsiteX4873" fmla="*/ 3566636 w 6400800"/>
                <a:gd name="connsiteY4873" fmla="*/ 280511 h 514350"/>
                <a:gd name="connsiteX4874" fmla="*/ 3562826 w 6400800"/>
                <a:gd name="connsiteY4874" fmla="*/ 287179 h 514350"/>
                <a:gd name="connsiteX4875" fmla="*/ 3559969 w 6400800"/>
                <a:gd name="connsiteY4875" fmla="*/ 279559 h 514350"/>
                <a:gd name="connsiteX4876" fmla="*/ 3571399 w 6400800"/>
                <a:gd name="connsiteY4876" fmla="*/ 287179 h 514350"/>
                <a:gd name="connsiteX4877" fmla="*/ 3571399 w 6400800"/>
                <a:gd name="connsiteY4877" fmla="*/ 311944 h 514350"/>
                <a:gd name="connsiteX4878" fmla="*/ 3569494 w 6400800"/>
                <a:gd name="connsiteY4878" fmla="*/ 314801 h 514350"/>
                <a:gd name="connsiteX4879" fmla="*/ 3562826 w 6400800"/>
                <a:gd name="connsiteY4879" fmla="*/ 292894 h 514350"/>
                <a:gd name="connsiteX4880" fmla="*/ 3566636 w 6400800"/>
                <a:gd name="connsiteY4880" fmla="*/ 282416 h 514350"/>
                <a:gd name="connsiteX4881" fmla="*/ 3571399 w 6400800"/>
                <a:gd name="connsiteY4881" fmla="*/ 287179 h 514350"/>
                <a:gd name="connsiteX4882" fmla="*/ 3571399 w 6400800"/>
                <a:gd name="connsiteY4882" fmla="*/ 287179 h 514350"/>
                <a:gd name="connsiteX4883" fmla="*/ 3571399 w 6400800"/>
                <a:gd name="connsiteY4883" fmla="*/ 281464 h 514350"/>
                <a:gd name="connsiteX4884" fmla="*/ 3568541 w 6400800"/>
                <a:gd name="connsiteY4884" fmla="*/ 279559 h 514350"/>
                <a:gd name="connsiteX4885" fmla="*/ 3568541 w 6400800"/>
                <a:gd name="connsiteY4885" fmla="*/ 279559 h 514350"/>
                <a:gd name="connsiteX4886" fmla="*/ 3571399 w 6400800"/>
                <a:gd name="connsiteY4886" fmla="*/ 273844 h 514350"/>
                <a:gd name="connsiteX4887" fmla="*/ 3571399 w 6400800"/>
                <a:gd name="connsiteY4887" fmla="*/ 281464 h 514350"/>
                <a:gd name="connsiteX4888" fmla="*/ 3567589 w 6400800"/>
                <a:gd name="connsiteY4888" fmla="*/ 250031 h 514350"/>
                <a:gd name="connsiteX4889" fmla="*/ 3570446 w 6400800"/>
                <a:gd name="connsiteY4889" fmla="*/ 265271 h 514350"/>
                <a:gd name="connsiteX4890" fmla="*/ 3571399 w 6400800"/>
                <a:gd name="connsiteY4890" fmla="*/ 271939 h 514350"/>
                <a:gd name="connsiteX4891" fmla="*/ 3571399 w 6400800"/>
                <a:gd name="connsiteY4891" fmla="*/ 272891 h 514350"/>
                <a:gd name="connsiteX4892" fmla="*/ 3567589 w 6400800"/>
                <a:gd name="connsiteY4892" fmla="*/ 277654 h 514350"/>
                <a:gd name="connsiteX4893" fmla="*/ 3567589 w 6400800"/>
                <a:gd name="connsiteY4893" fmla="*/ 277654 h 514350"/>
                <a:gd name="connsiteX4894" fmla="*/ 3561874 w 6400800"/>
                <a:gd name="connsiteY4894" fmla="*/ 274796 h 514350"/>
                <a:gd name="connsiteX4895" fmla="*/ 3558064 w 6400800"/>
                <a:gd name="connsiteY4895" fmla="*/ 272891 h 514350"/>
                <a:gd name="connsiteX4896" fmla="*/ 3554254 w 6400800"/>
                <a:gd name="connsiteY4896" fmla="*/ 260509 h 514350"/>
                <a:gd name="connsiteX4897" fmla="*/ 3556159 w 6400800"/>
                <a:gd name="connsiteY4897" fmla="*/ 257651 h 514350"/>
                <a:gd name="connsiteX4898" fmla="*/ 3566636 w 6400800"/>
                <a:gd name="connsiteY4898" fmla="*/ 243364 h 514350"/>
                <a:gd name="connsiteX4899" fmla="*/ 3567589 w 6400800"/>
                <a:gd name="connsiteY4899" fmla="*/ 250031 h 514350"/>
                <a:gd name="connsiteX4900" fmla="*/ 3561874 w 6400800"/>
                <a:gd name="connsiteY4900" fmla="*/ 229076 h 514350"/>
                <a:gd name="connsiteX4901" fmla="*/ 3562826 w 6400800"/>
                <a:gd name="connsiteY4901" fmla="*/ 227171 h 514350"/>
                <a:gd name="connsiteX4902" fmla="*/ 3564731 w 6400800"/>
                <a:gd name="connsiteY4902" fmla="*/ 235744 h 514350"/>
                <a:gd name="connsiteX4903" fmla="*/ 3565684 w 6400800"/>
                <a:gd name="connsiteY4903" fmla="*/ 238601 h 514350"/>
                <a:gd name="connsiteX4904" fmla="*/ 3552349 w 6400800"/>
                <a:gd name="connsiteY4904" fmla="*/ 251936 h 514350"/>
                <a:gd name="connsiteX4905" fmla="*/ 3551396 w 6400800"/>
                <a:gd name="connsiteY4905" fmla="*/ 247174 h 514350"/>
                <a:gd name="connsiteX4906" fmla="*/ 3561874 w 6400800"/>
                <a:gd name="connsiteY4906" fmla="*/ 229076 h 514350"/>
                <a:gd name="connsiteX4907" fmla="*/ 3551396 w 6400800"/>
                <a:gd name="connsiteY4907" fmla="*/ 293846 h 514350"/>
                <a:gd name="connsiteX4908" fmla="*/ 3554254 w 6400800"/>
                <a:gd name="connsiteY4908" fmla="*/ 307181 h 514350"/>
                <a:gd name="connsiteX4909" fmla="*/ 3550444 w 6400800"/>
                <a:gd name="connsiteY4909" fmla="*/ 321469 h 514350"/>
                <a:gd name="connsiteX4910" fmla="*/ 3547586 w 6400800"/>
                <a:gd name="connsiteY4910" fmla="*/ 333851 h 514350"/>
                <a:gd name="connsiteX4911" fmla="*/ 3546634 w 6400800"/>
                <a:gd name="connsiteY4911" fmla="*/ 331946 h 514350"/>
                <a:gd name="connsiteX4912" fmla="*/ 3543776 w 6400800"/>
                <a:gd name="connsiteY4912" fmla="*/ 327184 h 514350"/>
                <a:gd name="connsiteX4913" fmla="*/ 3544729 w 6400800"/>
                <a:gd name="connsiteY4913" fmla="*/ 306229 h 514350"/>
                <a:gd name="connsiteX4914" fmla="*/ 3547586 w 6400800"/>
                <a:gd name="connsiteY4914" fmla="*/ 286226 h 514350"/>
                <a:gd name="connsiteX4915" fmla="*/ 3548539 w 6400800"/>
                <a:gd name="connsiteY4915" fmla="*/ 276701 h 514350"/>
                <a:gd name="connsiteX4916" fmla="*/ 3551396 w 6400800"/>
                <a:gd name="connsiteY4916" fmla="*/ 293846 h 514350"/>
                <a:gd name="connsiteX4917" fmla="*/ 3543776 w 6400800"/>
                <a:gd name="connsiteY4917" fmla="*/ 191929 h 514350"/>
                <a:gd name="connsiteX4918" fmla="*/ 3549491 w 6400800"/>
                <a:gd name="connsiteY4918" fmla="*/ 180499 h 514350"/>
                <a:gd name="connsiteX4919" fmla="*/ 3548539 w 6400800"/>
                <a:gd name="connsiteY4919" fmla="*/ 185261 h 514350"/>
                <a:gd name="connsiteX4920" fmla="*/ 3544729 w 6400800"/>
                <a:gd name="connsiteY4920" fmla="*/ 211931 h 514350"/>
                <a:gd name="connsiteX4921" fmla="*/ 3543776 w 6400800"/>
                <a:gd name="connsiteY4921" fmla="*/ 217646 h 514350"/>
                <a:gd name="connsiteX4922" fmla="*/ 3539014 w 6400800"/>
                <a:gd name="connsiteY4922" fmla="*/ 200501 h 514350"/>
                <a:gd name="connsiteX4923" fmla="*/ 3543776 w 6400800"/>
                <a:gd name="connsiteY4923" fmla="*/ 191929 h 514350"/>
                <a:gd name="connsiteX4924" fmla="*/ 3530441 w 6400800"/>
                <a:gd name="connsiteY4924" fmla="*/ 217646 h 514350"/>
                <a:gd name="connsiteX4925" fmla="*/ 3539014 w 6400800"/>
                <a:gd name="connsiteY4925" fmla="*/ 201454 h 514350"/>
                <a:gd name="connsiteX4926" fmla="*/ 3540919 w 6400800"/>
                <a:gd name="connsiteY4926" fmla="*/ 217646 h 514350"/>
                <a:gd name="connsiteX4927" fmla="*/ 3542824 w 6400800"/>
                <a:gd name="connsiteY4927" fmla="*/ 231934 h 514350"/>
                <a:gd name="connsiteX4928" fmla="*/ 3540919 w 6400800"/>
                <a:gd name="connsiteY4928" fmla="*/ 240506 h 514350"/>
                <a:gd name="connsiteX4929" fmla="*/ 3528536 w 6400800"/>
                <a:gd name="connsiteY4929" fmla="*/ 259556 h 514350"/>
                <a:gd name="connsiteX4930" fmla="*/ 3528536 w 6400800"/>
                <a:gd name="connsiteY4930" fmla="*/ 257651 h 514350"/>
                <a:gd name="connsiteX4931" fmla="*/ 3527584 w 6400800"/>
                <a:gd name="connsiteY4931" fmla="*/ 240506 h 514350"/>
                <a:gd name="connsiteX4932" fmla="*/ 3526631 w 6400800"/>
                <a:gd name="connsiteY4932" fmla="*/ 229076 h 514350"/>
                <a:gd name="connsiteX4933" fmla="*/ 3530441 w 6400800"/>
                <a:gd name="connsiteY4933" fmla="*/ 217646 h 514350"/>
                <a:gd name="connsiteX4934" fmla="*/ 3490436 w 6400800"/>
                <a:gd name="connsiteY4934" fmla="*/ 321469 h 514350"/>
                <a:gd name="connsiteX4935" fmla="*/ 3490436 w 6400800"/>
                <a:gd name="connsiteY4935" fmla="*/ 317659 h 514350"/>
                <a:gd name="connsiteX4936" fmla="*/ 3491389 w 6400800"/>
                <a:gd name="connsiteY4936" fmla="*/ 319564 h 514350"/>
                <a:gd name="connsiteX4937" fmla="*/ 3490436 w 6400800"/>
                <a:gd name="connsiteY4937" fmla="*/ 321469 h 514350"/>
                <a:gd name="connsiteX4938" fmla="*/ 3514249 w 6400800"/>
                <a:gd name="connsiteY4938" fmla="*/ 250984 h 514350"/>
                <a:gd name="connsiteX4939" fmla="*/ 3516154 w 6400800"/>
                <a:gd name="connsiteY4939" fmla="*/ 246221 h 514350"/>
                <a:gd name="connsiteX4940" fmla="*/ 3515201 w 6400800"/>
                <a:gd name="connsiteY4940" fmla="*/ 257651 h 514350"/>
                <a:gd name="connsiteX4941" fmla="*/ 3514249 w 6400800"/>
                <a:gd name="connsiteY4941" fmla="*/ 270986 h 514350"/>
                <a:gd name="connsiteX4942" fmla="*/ 3509486 w 6400800"/>
                <a:gd name="connsiteY4942" fmla="*/ 259556 h 514350"/>
                <a:gd name="connsiteX4943" fmla="*/ 3514249 w 6400800"/>
                <a:gd name="connsiteY4943" fmla="*/ 250984 h 514350"/>
                <a:gd name="connsiteX4944" fmla="*/ 3504724 w 6400800"/>
                <a:gd name="connsiteY4944" fmla="*/ 271939 h 514350"/>
                <a:gd name="connsiteX4945" fmla="*/ 3505676 w 6400800"/>
                <a:gd name="connsiteY4945" fmla="*/ 274796 h 514350"/>
                <a:gd name="connsiteX4946" fmla="*/ 3509486 w 6400800"/>
                <a:gd name="connsiteY4946" fmla="*/ 288131 h 514350"/>
                <a:gd name="connsiteX4947" fmla="*/ 3505676 w 6400800"/>
                <a:gd name="connsiteY4947" fmla="*/ 293846 h 514350"/>
                <a:gd name="connsiteX4948" fmla="*/ 3504724 w 6400800"/>
                <a:gd name="connsiteY4948" fmla="*/ 282416 h 514350"/>
                <a:gd name="connsiteX4949" fmla="*/ 3504724 w 6400800"/>
                <a:gd name="connsiteY4949" fmla="*/ 271939 h 514350"/>
                <a:gd name="connsiteX4950" fmla="*/ 3504724 w 6400800"/>
                <a:gd name="connsiteY4950" fmla="*/ 271939 h 514350"/>
                <a:gd name="connsiteX4951" fmla="*/ 3501866 w 6400800"/>
                <a:gd name="connsiteY4951" fmla="*/ 398621 h 514350"/>
                <a:gd name="connsiteX4952" fmla="*/ 3495199 w 6400800"/>
                <a:gd name="connsiteY4952" fmla="*/ 371951 h 514350"/>
                <a:gd name="connsiteX4953" fmla="*/ 3494246 w 6400800"/>
                <a:gd name="connsiteY4953" fmla="*/ 369094 h 514350"/>
                <a:gd name="connsiteX4954" fmla="*/ 3499961 w 6400800"/>
                <a:gd name="connsiteY4954" fmla="*/ 357664 h 514350"/>
                <a:gd name="connsiteX4955" fmla="*/ 3501866 w 6400800"/>
                <a:gd name="connsiteY4955" fmla="*/ 398621 h 514350"/>
                <a:gd name="connsiteX4956" fmla="*/ 3496151 w 6400800"/>
                <a:gd name="connsiteY4956" fmla="*/ 290036 h 514350"/>
                <a:gd name="connsiteX4957" fmla="*/ 3499009 w 6400800"/>
                <a:gd name="connsiteY4957" fmla="*/ 284321 h 514350"/>
                <a:gd name="connsiteX4958" fmla="*/ 3499009 w 6400800"/>
                <a:gd name="connsiteY4958" fmla="*/ 295751 h 514350"/>
                <a:gd name="connsiteX4959" fmla="*/ 3496151 w 6400800"/>
                <a:gd name="connsiteY4959" fmla="*/ 290036 h 514350"/>
                <a:gd name="connsiteX4960" fmla="*/ 3496151 w 6400800"/>
                <a:gd name="connsiteY4960" fmla="*/ 252889 h 514350"/>
                <a:gd name="connsiteX4961" fmla="*/ 3496151 w 6400800"/>
                <a:gd name="connsiteY4961" fmla="*/ 247174 h 514350"/>
                <a:gd name="connsiteX4962" fmla="*/ 3499009 w 6400800"/>
                <a:gd name="connsiteY4962" fmla="*/ 254794 h 514350"/>
                <a:gd name="connsiteX4963" fmla="*/ 3495199 w 6400800"/>
                <a:gd name="connsiteY4963" fmla="*/ 261461 h 514350"/>
                <a:gd name="connsiteX4964" fmla="*/ 3496151 w 6400800"/>
                <a:gd name="connsiteY4964" fmla="*/ 252889 h 514350"/>
                <a:gd name="connsiteX4965" fmla="*/ 3481864 w 6400800"/>
                <a:gd name="connsiteY4965" fmla="*/ 205264 h 514350"/>
                <a:gd name="connsiteX4966" fmla="*/ 3491389 w 6400800"/>
                <a:gd name="connsiteY4966" fmla="*/ 230029 h 514350"/>
                <a:gd name="connsiteX4967" fmla="*/ 3495199 w 6400800"/>
                <a:gd name="connsiteY4967" fmla="*/ 243364 h 514350"/>
                <a:gd name="connsiteX4968" fmla="*/ 3492341 w 6400800"/>
                <a:gd name="connsiteY4968" fmla="*/ 251936 h 514350"/>
                <a:gd name="connsiteX4969" fmla="*/ 3487579 w 6400800"/>
                <a:gd name="connsiteY4969" fmla="*/ 268129 h 514350"/>
                <a:gd name="connsiteX4970" fmla="*/ 3486626 w 6400800"/>
                <a:gd name="connsiteY4970" fmla="*/ 270034 h 514350"/>
                <a:gd name="connsiteX4971" fmla="*/ 3479959 w 6400800"/>
                <a:gd name="connsiteY4971" fmla="*/ 255746 h 514350"/>
                <a:gd name="connsiteX4972" fmla="*/ 3479959 w 6400800"/>
                <a:gd name="connsiteY4972" fmla="*/ 228124 h 514350"/>
                <a:gd name="connsiteX4973" fmla="*/ 3479959 w 6400800"/>
                <a:gd name="connsiteY4973" fmla="*/ 213836 h 514350"/>
                <a:gd name="connsiteX4974" fmla="*/ 3481864 w 6400800"/>
                <a:gd name="connsiteY4974" fmla="*/ 205264 h 514350"/>
                <a:gd name="connsiteX4975" fmla="*/ 3473291 w 6400800"/>
                <a:gd name="connsiteY4975" fmla="*/ 241459 h 514350"/>
                <a:gd name="connsiteX4976" fmla="*/ 3475196 w 6400800"/>
                <a:gd name="connsiteY4976" fmla="*/ 234791 h 514350"/>
                <a:gd name="connsiteX4977" fmla="*/ 3473291 w 6400800"/>
                <a:gd name="connsiteY4977" fmla="*/ 241459 h 514350"/>
                <a:gd name="connsiteX4978" fmla="*/ 3473291 w 6400800"/>
                <a:gd name="connsiteY4978" fmla="*/ 241459 h 514350"/>
                <a:gd name="connsiteX4979" fmla="*/ 3473291 w 6400800"/>
                <a:gd name="connsiteY4979" fmla="*/ 241459 h 514350"/>
                <a:gd name="connsiteX4980" fmla="*/ 3468529 w 6400800"/>
                <a:gd name="connsiteY4980" fmla="*/ 260509 h 514350"/>
                <a:gd name="connsiteX4981" fmla="*/ 3469481 w 6400800"/>
                <a:gd name="connsiteY4981" fmla="*/ 263366 h 514350"/>
                <a:gd name="connsiteX4982" fmla="*/ 3468529 w 6400800"/>
                <a:gd name="connsiteY4982" fmla="*/ 270986 h 514350"/>
                <a:gd name="connsiteX4983" fmla="*/ 3465671 w 6400800"/>
                <a:gd name="connsiteY4983" fmla="*/ 300514 h 514350"/>
                <a:gd name="connsiteX4984" fmla="*/ 3464719 w 6400800"/>
                <a:gd name="connsiteY4984" fmla="*/ 318611 h 514350"/>
                <a:gd name="connsiteX4985" fmla="*/ 3463766 w 6400800"/>
                <a:gd name="connsiteY4985" fmla="*/ 321469 h 514350"/>
                <a:gd name="connsiteX4986" fmla="*/ 3459956 w 6400800"/>
                <a:gd name="connsiteY4986" fmla="*/ 307181 h 514350"/>
                <a:gd name="connsiteX4987" fmla="*/ 3459956 w 6400800"/>
                <a:gd name="connsiteY4987" fmla="*/ 306229 h 514350"/>
                <a:gd name="connsiteX4988" fmla="*/ 3460909 w 6400800"/>
                <a:gd name="connsiteY4988" fmla="*/ 300514 h 514350"/>
                <a:gd name="connsiteX4989" fmla="*/ 3468529 w 6400800"/>
                <a:gd name="connsiteY4989" fmla="*/ 260509 h 514350"/>
                <a:gd name="connsiteX4990" fmla="*/ 3451384 w 6400800"/>
                <a:gd name="connsiteY4990" fmla="*/ 237649 h 514350"/>
                <a:gd name="connsiteX4991" fmla="*/ 3451384 w 6400800"/>
                <a:gd name="connsiteY4991" fmla="*/ 221456 h 514350"/>
                <a:gd name="connsiteX4992" fmla="*/ 3451384 w 6400800"/>
                <a:gd name="connsiteY4992" fmla="*/ 222409 h 514350"/>
                <a:gd name="connsiteX4993" fmla="*/ 3458051 w 6400800"/>
                <a:gd name="connsiteY4993" fmla="*/ 237649 h 514350"/>
                <a:gd name="connsiteX4994" fmla="*/ 3458051 w 6400800"/>
                <a:gd name="connsiteY4994" fmla="*/ 238601 h 514350"/>
                <a:gd name="connsiteX4995" fmla="*/ 3450431 w 6400800"/>
                <a:gd name="connsiteY4995" fmla="*/ 267176 h 514350"/>
                <a:gd name="connsiteX4996" fmla="*/ 3450431 w 6400800"/>
                <a:gd name="connsiteY4996" fmla="*/ 267176 h 514350"/>
                <a:gd name="connsiteX4997" fmla="*/ 3451384 w 6400800"/>
                <a:gd name="connsiteY4997" fmla="*/ 237649 h 514350"/>
                <a:gd name="connsiteX4998" fmla="*/ 3405664 w 6400800"/>
                <a:gd name="connsiteY4998" fmla="*/ 273844 h 514350"/>
                <a:gd name="connsiteX4999" fmla="*/ 3406616 w 6400800"/>
                <a:gd name="connsiteY4999" fmla="*/ 258604 h 514350"/>
                <a:gd name="connsiteX5000" fmla="*/ 3406616 w 6400800"/>
                <a:gd name="connsiteY5000" fmla="*/ 245269 h 514350"/>
                <a:gd name="connsiteX5001" fmla="*/ 3409474 w 6400800"/>
                <a:gd name="connsiteY5001" fmla="*/ 259556 h 514350"/>
                <a:gd name="connsiteX5002" fmla="*/ 3405664 w 6400800"/>
                <a:gd name="connsiteY5002" fmla="*/ 273844 h 514350"/>
                <a:gd name="connsiteX5003" fmla="*/ 3416141 w 6400800"/>
                <a:gd name="connsiteY5003" fmla="*/ 335756 h 514350"/>
                <a:gd name="connsiteX5004" fmla="*/ 3416141 w 6400800"/>
                <a:gd name="connsiteY5004" fmla="*/ 353854 h 514350"/>
                <a:gd name="connsiteX5005" fmla="*/ 3415189 w 6400800"/>
                <a:gd name="connsiteY5005" fmla="*/ 348139 h 514350"/>
                <a:gd name="connsiteX5006" fmla="*/ 3413284 w 6400800"/>
                <a:gd name="connsiteY5006" fmla="*/ 328136 h 514350"/>
                <a:gd name="connsiteX5007" fmla="*/ 3413284 w 6400800"/>
                <a:gd name="connsiteY5007" fmla="*/ 328136 h 514350"/>
                <a:gd name="connsiteX5008" fmla="*/ 3417094 w 6400800"/>
                <a:gd name="connsiteY5008" fmla="*/ 320516 h 514350"/>
                <a:gd name="connsiteX5009" fmla="*/ 3416141 w 6400800"/>
                <a:gd name="connsiteY5009" fmla="*/ 335756 h 514350"/>
                <a:gd name="connsiteX5010" fmla="*/ 3421856 w 6400800"/>
                <a:gd name="connsiteY5010" fmla="*/ 320516 h 514350"/>
                <a:gd name="connsiteX5011" fmla="*/ 3419951 w 6400800"/>
                <a:gd name="connsiteY5011" fmla="*/ 332899 h 514350"/>
                <a:gd name="connsiteX5012" fmla="*/ 3418046 w 6400800"/>
                <a:gd name="connsiteY5012" fmla="*/ 316706 h 514350"/>
                <a:gd name="connsiteX5013" fmla="*/ 3420904 w 6400800"/>
                <a:gd name="connsiteY5013" fmla="*/ 310991 h 514350"/>
                <a:gd name="connsiteX5014" fmla="*/ 3421856 w 6400800"/>
                <a:gd name="connsiteY5014" fmla="*/ 308134 h 514350"/>
                <a:gd name="connsiteX5015" fmla="*/ 3422809 w 6400800"/>
                <a:gd name="connsiteY5015" fmla="*/ 312896 h 514350"/>
                <a:gd name="connsiteX5016" fmla="*/ 3421856 w 6400800"/>
                <a:gd name="connsiteY5016" fmla="*/ 320516 h 514350"/>
                <a:gd name="connsiteX5017" fmla="*/ 3410426 w 6400800"/>
                <a:gd name="connsiteY5017" fmla="*/ 139541 h 514350"/>
                <a:gd name="connsiteX5018" fmla="*/ 3421856 w 6400800"/>
                <a:gd name="connsiteY5018" fmla="*/ 161449 h 514350"/>
                <a:gd name="connsiteX5019" fmla="*/ 3433286 w 6400800"/>
                <a:gd name="connsiteY5019" fmla="*/ 181451 h 514350"/>
                <a:gd name="connsiteX5020" fmla="*/ 3428524 w 6400800"/>
                <a:gd name="connsiteY5020" fmla="*/ 198596 h 514350"/>
                <a:gd name="connsiteX5021" fmla="*/ 3425666 w 6400800"/>
                <a:gd name="connsiteY5021" fmla="*/ 210026 h 514350"/>
                <a:gd name="connsiteX5022" fmla="*/ 3422809 w 6400800"/>
                <a:gd name="connsiteY5022" fmla="*/ 195739 h 514350"/>
                <a:gd name="connsiteX5023" fmla="*/ 3415189 w 6400800"/>
                <a:gd name="connsiteY5023" fmla="*/ 163354 h 514350"/>
                <a:gd name="connsiteX5024" fmla="*/ 3410426 w 6400800"/>
                <a:gd name="connsiteY5024" fmla="*/ 143351 h 514350"/>
                <a:gd name="connsiteX5025" fmla="*/ 3410426 w 6400800"/>
                <a:gd name="connsiteY5025" fmla="*/ 139541 h 514350"/>
                <a:gd name="connsiteX5026" fmla="*/ 3408521 w 6400800"/>
                <a:gd name="connsiteY5026" fmla="*/ 136684 h 514350"/>
                <a:gd name="connsiteX5027" fmla="*/ 3408521 w 6400800"/>
                <a:gd name="connsiteY5027" fmla="*/ 136684 h 514350"/>
                <a:gd name="connsiteX5028" fmla="*/ 3408521 w 6400800"/>
                <a:gd name="connsiteY5028" fmla="*/ 136684 h 514350"/>
                <a:gd name="connsiteX5029" fmla="*/ 3408521 w 6400800"/>
                <a:gd name="connsiteY5029" fmla="*/ 136684 h 514350"/>
                <a:gd name="connsiteX5030" fmla="*/ 3395186 w 6400800"/>
                <a:gd name="connsiteY5030" fmla="*/ 266224 h 514350"/>
                <a:gd name="connsiteX5031" fmla="*/ 3396139 w 6400800"/>
                <a:gd name="connsiteY5031" fmla="*/ 227171 h 514350"/>
                <a:gd name="connsiteX5032" fmla="*/ 3396139 w 6400800"/>
                <a:gd name="connsiteY5032" fmla="*/ 212884 h 514350"/>
                <a:gd name="connsiteX5033" fmla="*/ 3398996 w 6400800"/>
                <a:gd name="connsiteY5033" fmla="*/ 204311 h 514350"/>
                <a:gd name="connsiteX5034" fmla="*/ 3396139 w 6400800"/>
                <a:gd name="connsiteY5034" fmla="*/ 210026 h 514350"/>
                <a:gd name="connsiteX5035" fmla="*/ 3396139 w 6400800"/>
                <a:gd name="connsiteY5035" fmla="*/ 202406 h 514350"/>
                <a:gd name="connsiteX5036" fmla="*/ 3398044 w 6400800"/>
                <a:gd name="connsiteY5036" fmla="*/ 194786 h 514350"/>
                <a:gd name="connsiteX5037" fmla="*/ 3408521 w 6400800"/>
                <a:gd name="connsiteY5037" fmla="*/ 145256 h 514350"/>
                <a:gd name="connsiteX5038" fmla="*/ 3410426 w 6400800"/>
                <a:gd name="connsiteY5038" fmla="*/ 162401 h 514350"/>
                <a:gd name="connsiteX5039" fmla="*/ 3414236 w 6400800"/>
                <a:gd name="connsiteY5039" fmla="*/ 195739 h 514350"/>
                <a:gd name="connsiteX5040" fmla="*/ 3417094 w 6400800"/>
                <a:gd name="connsiteY5040" fmla="*/ 215741 h 514350"/>
                <a:gd name="connsiteX5041" fmla="*/ 3419951 w 6400800"/>
                <a:gd name="connsiteY5041" fmla="*/ 229076 h 514350"/>
                <a:gd name="connsiteX5042" fmla="*/ 3418046 w 6400800"/>
                <a:gd name="connsiteY5042" fmla="*/ 233839 h 514350"/>
                <a:gd name="connsiteX5043" fmla="*/ 3411379 w 6400800"/>
                <a:gd name="connsiteY5043" fmla="*/ 253841 h 514350"/>
                <a:gd name="connsiteX5044" fmla="*/ 3407569 w 6400800"/>
                <a:gd name="connsiteY5044" fmla="*/ 244316 h 514350"/>
                <a:gd name="connsiteX5045" fmla="*/ 3407569 w 6400800"/>
                <a:gd name="connsiteY5045" fmla="*/ 239554 h 514350"/>
                <a:gd name="connsiteX5046" fmla="*/ 3407569 w 6400800"/>
                <a:gd name="connsiteY5046" fmla="*/ 224314 h 514350"/>
                <a:gd name="connsiteX5047" fmla="*/ 3403759 w 6400800"/>
                <a:gd name="connsiteY5047" fmla="*/ 239554 h 514350"/>
                <a:gd name="connsiteX5048" fmla="*/ 3399949 w 6400800"/>
                <a:gd name="connsiteY5048" fmla="*/ 256699 h 514350"/>
                <a:gd name="connsiteX5049" fmla="*/ 3395186 w 6400800"/>
                <a:gd name="connsiteY5049" fmla="*/ 275749 h 514350"/>
                <a:gd name="connsiteX5050" fmla="*/ 3395186 w 6400800"/>
                <a:gd name="connsiteY5050" fmla="*/ 266224 h 514350"/>
                <a:gd name="connsiteX5051" fmla="*/ 3363754 w 6400800"/>
                <a:gd name="connsiteY5051" fmla="*/ 252889 h 514350"/>
                <a:gd name="connsiteX5052" fmla="*/ 3365659 w 6400800"/>
                <a:gd name="connsiteY5052" fmla="*/ 264319 h 514350"/>
                <a:gd name="connsiteX5053" fmla="*/ 3363754 w 6400800"/>
                <a:gd name="connsiteY5053" fmla="*/ 269081 h 514350"/>
                <a:gd name="connsiteX5054" fmla="*/ 3363754 w 6400800"/>
                <a:gd name="connsiteY5054" fmla="*/ 252889 h 514350"/>
                <a:gd name="connsiteX5055" fmla="*/ 3321844 w 6400800"/>
                <a:gd name="connsiteY5055" fmla="*/ 351949 h 514350"/>
                <a:gd name="connsiteX5056" fmla="*/ 3322796 w 6400800"/>
                <a:gd name="connsiteY5056" fmla="*/ 342424 h 514350"/>
                <a:gd name="connsiteX5057" fmla="*/ 3323749 w 6400800"/>
                <a:gd name="connsiteY5057" fmla="*/ 347186 h 514350"/>
                <a:gd name="connsiteX5058" fmla="*/ 3321844 w 6400800"/>
                <a:gd name="connsiteY5058" fmla="*/ 351949 h 514350"/>
                <a:gd name="connsiteX5059" fmla="*/ 3340894 w 6400800"/>
                <a:gd name="connsiteY5059" fmla="*/ 273844 h 514350"/>
                <a:gd name="connsiteX5060" fmla="*/ 3347561 w 6400800"/>
                <a:gd name="connsiteY5060" fmla="*/ 298609 h 514350"/>
                <a:gd name="connsiteX5061" fmla="*/ 3344704 w 6400800"/>
                <a:gd name="connsiteY5061" fmla="*/ 304324 h 514350"/>
                <a:gd name="connsiteX5062" fmla="*/ 3338989 w 6400800"/>
                <a:gd name="connsiteY5062" fmla="*/ 290989 h 514350"/>
                <a:gd name="connsiteX5063" fmla="*/ 3335179 w 6400800"/>
                <a:gd name="connsiteY5063" fmla="*/ 251936 h 514350"/>
                <a:gd name="connsiteX5064" fmla="*/ 3340894 w 6400800"/>
                <a:gd name="connsiteY5064" fmla="*/ 273844 h 514350"/>
                <a:gd name="connsiteX5065" fmla="*/ 3330416 w 6400800"/>
                <a:gd name="connsiteY5065" fmla="*/ 376714 h 514350"/>
                <a:gd name="connsiteX5066" fmla="*/ 3331369 w 6400800"/>
                <a:gd name="connsiteY5066" fmla="*/ 379571 h 514350"/>
                <a:gd name="connsiteX5067" fmla="*/ 3329464 w 6400800"/>
                <a:gd name="connsiteY5067" fmla="*/ 384334 h 514350"/>
                <a:gd name="connsiteX5068" fmla="*/ 3328511 w 6400800"/>
                <a:gd name="connsiteY5068" fmla="*/ 381476 h 514350"/>
                <a:gd name="connsiteX5069" fmla="*/ 3330416 w 6400800"/>
                <a:gd name="connsiteY5069" fmla="*/ 376714 h 514350"/>
                <a:gd name="connsiteX5070" fmla="*/ 3329464 w 6400800"/>
                <a:gd name="connsiteY5070" fmla="*/ 202406 h 514350"/>
                <a:gd name="connsiteX5071" fmla="*/ 3329464 w 6400800"/>
                <a:gd name="connsiteY5071" fmla="*/ 207169 h 514350"/>
                <a:gd name="connsiteX5072" fmla="*/ 3328511 w 6400800"/>
                <a:gd name="connsiteY5072" fmla="*/ 205264 h 514350"/>
                <a:gd name="connsiteX5073" fmla="*/ 3329464 w 6400800"/>
                <a:gd name="connsiteY5073" fmla="*/ 202406 h 514350"/>
                <a:gd name="connsiteX5074" fmla="*/ 3326606 w 6400800"/>
                <a:gd name="connsiteY5074" fmla="*/ 302419 h 514350"/>
                <a:gd name="connsiteX5075" fmla="*/ 3329464 w 6400800"/>
                <a:gd name="connsiteY5075" fmla="*/ 310039 h 514350"/>
                <a:gd name="connsiteX5076" fmla="*/ 3329464 w 6400800"/>
                <a:gd name="connsiteY5076" fmla="*/ 311944 h 514350"/>
                <a:gd name="connsiteX5077" fmla="*/ 3326606 w 6400800"/>
                <a:gd name="connsiteY5077" fmla="*/ 306229 h 514350"/>
                <a:gd name="connsiteX5078" fmla="*/ 3326606 w 6400800"/>
                <a:gd name="connsiteY5078" fmla="*/ 302419 h 514350"/>
                <a:gd name="connsiteX5079" fmla="*/ 3323749 w 6400800"/>
                <a:gd name="connsiteY5079" fmla="*/ 227171 h 514350"/>
                <a:gd name="connsiteX5080" fmla="*/ 3325654 w 6400800"/>
                <a:gd name="connsiteY5080" fmla="*/ 219551 h 514350"/>
                <a:gd name="connsiteX5081" fmla="*/ 3325654 w 6400800"/>
                <a:gd name="connsiteY5081" fmla="*/ 221456 h 514350"/>
                <a:gd name="connsiteX5082" fmla="*/ 3318034 w 6400800"/>
                <a:gd name="connsiteY5082" fmla="*/ 256699 h 514350"/>
                <a:gd name="connsiteX5083" fmla="*/ 3317081 w 6400800"/>
                <a:gd name="connsiteY5083" fmla="*/ 255746 h 514350"/>
                <a:gd name="connsiteX5084" fmla="*/ 3323749 w 6400800"/>
                <a:gd name="connsiteY5084" fmla="*/ 227171 h 514350"/>
                <a:gd name="connsiteX5085" fmla="*/ 3315176 w 6400800"/>
                <a:gd name="connsiteY5085" fmla="*/ 269081 h 514350"/>
                <a:gd name="connsiteX5086" fmla="*/ 3316129 w 6400800"/>
                <a:gd name="connsiteY5086" fmla="*/ 270986 h 514350"/>
                <a:gd name="connsiteX5087" fmla="*/ 3314224 w 6400800"/>
                <a:gd name="connsiteY5087" fmla="*/ 282416 h 514350"/>
                <a:gd name="connsiteX5088" fmla="*/ 3313271 w 6400800"/>
                <a:gd name="connsiteY5088" fmla="*/ 280511 h 514350"/>
                <a:gd name="connsiteX5089" fmla="*/ 3315176 w 6400800"/>
                <a:gd name="connsiteY5089" fmla="*/ 269081 h 514350"/>
                <a:gd name="connsiteX5090" fmla="*/ 3305651 w 6400800"/>
                <a:gd name="connsiteY5090" fmla="*/ 310991 h 514350"/>
                <a:gd name="connsiteX5091" fmla="*/ 3308509 w 6400800"/>
                <a:gd name="connsiteY5091" fmla="*/ 298609 h 514350"/>
                <a:gd name="connsiteX5092" fmla="*/ 3310414 w 6400800"/>
                <a:gd name="connsiteY5092" fmla="*/ 302419 h 514350"/>
                <a:gd name="connsiteX5093" fmla="*/ 3307556 w 6400800"/>
                <a:gd name="connsiteY5093" fmla="*/ 320516 h 514350"/>
                <a:gd name="connsiteX5094" fmla="*/ 3304699 w 6400800"/>
                <a:gd name="connsiteY5094" fmla="*/ 313849 h 514350"/>
                <a:gd name="connsiteX5095" fmla="*/ 3305651 w 6400800"/>
                <a:gd name="connsiteY5095" fmla="*/ 310991 h 514350"/>
                <a:gd name="connsiteX5096" fmla="*/ 3302794 w 6400800"/>
                <a:gd name="connsiteY5096" fmla="*/ 327184 h 514350"/>
                <a:gd name="connsiteX5097" fmla="*/ 3304699 w 6400800"/>
                <a:gd name="connsiteY5097" fmla="*/ 335756 h 514350"/>
                <a:gd name="connsiteX5098" fmla="*/ 3300889 w 6400800"/>
                <a:gd name="connsiteY5098" fmla="*/ 349091 h 514350"/>
                <a:gd name="connsiteX5099" fmla="*/ 3298984 w 6400800"/>
                <a:gd name="connsiteY5099" fmla="*/ 355759 h 514350"/>
                <a:gd name="connsiteX5100" fmla="*/ 3297079 w 6400800"/>
                <a:gd name="connsiteY5100" fmla="*/ 351949 h 514350"/>
                <a:gd name="connsiteX5101" fmla="*/ 3302794 w 6400800"/>
                <a:gd name="connsiteY5101" fmla="*/ 327184 h 514350"/>
                <a:gd name="connsiteX5102" fmla="*/ 3279934 w 6400800"/>
                <a:gd name="connsiteY5102" fmla="*/ 297656 h 514350"/>
                <a:gd name="connsiteX5103" fmla="*/ 3280886 w 6400800"/>
                <a:gd name="connsiteY5103" fmla="*/ 289084 h 514350"/>
                <a:gd name="connsiteX5104" fmla="*/ 3283744 w 6400800"/>
                <a:gd name="connsiteY5104" fmla="*/ 263366 h 514350"/>
                <a:gd name="connsiteX5105" fmla="*/ 3284696 w 6400800"/>
                <a:gd name="connsiteY5105" fmla="*/ 252889 h 514350"/>
                <a:gd name="connsiteX5106" fmla="*/ 3293269 w 6400800"/>
                <a:gd name="connsiteY5106" fmla="*/ 270034 h 514350"/>
                <a:gd name="connsiteX5107" fmla="*/ 3291364 w 6400800"/>
                <a:gd name="connsiteY5107" fmla="*/ 277654 h 514350"/>
                <a:gd name="connsiteX5108" fmla="*/ 3290411 w 6400800"/>
                <a:gd name="connsiteY5108" fmla="*/ 283369 h 514350"/>
                <a:gd name="connsiteX5109" fmla="*/ 3289459 w 6400800"/>
                <a:gd name="connsiteY5109" fmla="*/ 264319 h 514350"/>
                <a:gd name="connsiteX5110" fmla="*/ 3281839 w 6400800"/>
                <a:gd name="connsiteY5110" fmla="*/ 317659 h 514350"/>
                <a:gd name="connsiteX5111" fmla="*/ 3280886 w 6400800"/>
                <a:gd name="connsiteY5111" fmla="*/ 317659 h 514350"/>
                <a:gd name="connsiteX5112" fmla="*/ 3280886 w 6400800"/>
                <a:gd name="connsiteY5112" fmla="*/ 316706 h 514350"/>
                <a:gd name="connsiteX5113" fmla="*/ 3279934 w 6400800"/>
                <a:gd name="connsiteY5113" fmla="*/ 315754 h 514350"/>
                <a:gd name="connsiteX5114" fmla="*/ 3278981 w 6400800"/>
                <a:gd name="connsiteY5114" fmla="*/ 313849 h 514350"/>
                <a:gd name="connsiteX5115" fmla="*/ 3279934 w 6400800"/>
                <a:gd name="connsiteY5115" fmla="*/ 297656 h 514350"/>
                <a:gd name="connsiteX5116" fmla="*/ 3263741 w 6400800"/>
                <a:gd name="connsiteY5116" fmla="*/ 295751 h 514350"/>
                <a:gd name="connsiteX5117" fmla="*/ 3263741 w 6400800"/>
                <a:gd name="connsiteY5117" fmla="*/ 293846 h 514350"/>
                <a:gd name="connsiteX5118" fmla="*/ 3263741 w 6400800"/>
                <a:gd name="connsiteY5118" fmla="*/ 295751 h 514350"/>
                <a:gd name="connsiteX5119" fmla="*/ 3264694 w 6400800"/>
                <a:gd name="connsiteY5119" fmla="*/ 296704 h 514350"/>
                <a:gd name="connsiteX5120" fmla="*/ 3262789 w 6400800"/>
                <a:gd name="connsiteY5120" fmla="*/ 306229 h 514350"/>
                <a:gd name="connsiteX5121" fmla="*/ 3263741 w 6400800"/>
                <a:gd name="connsiteY5121" fmla="*/ 295751 h 514350"/>
                <a:gd name="connsiteX5122" fmla="*/ 3232309 w 6400800"/>
                <a:gd name="connsiteY5122" fmla="*/ 381476 h 514350"/>
                <a:gd name="connsiteX5123" fmla="*/ 3232309 w 6400800"/>
                <a:gd name="connsiteY5123" fmla="*/ 357664 h 514350"/>
                <a:gd name="connsiteX5124" fmla="*/ 3232309 w 6400800"/>
                <a:gd name="connsiteY5124" fmla="*/ 358616 h 514350"/>
                <a:gd name="connsiteX5125" fmla="*/ 3233261 w 6400800"/>
                <a:gd name="connsiteY5125" fmla="*/ 360521 h 514350"/>
                <a:gd name="connsiteX5126" fmla="*/ 3232309 w 6400800"/>
                <a:gd name="connsiteY5126" fmla="*/ 381476 h 514350"/>
                <a:gd name="connsiteX5127" fmla="*/ 3239929 w 6400800"/>
                <a:gd name="connsiteY5127" fmla="*/ 327184 h 514350"/>
                <a:gd name="connsiteX5128" fmla="*/ 3241834 w 6400800"/>
                <a:gd name="connsiteY5128" fmla="*/ 339566 h 514350"/>
                <a:gd name="connsiteX5129" fmla="*/ 3239929 w 6400800"/>
                <a:gd name="connsiteY5129" fmla="*/ 333851 h 514350"/>
                <a:gd name="connsiteX5130" fmla="*/ 3239929 w 6400800"/>
                <a:gd name="connsiteY5130" fmla="*/ 329089 h 514350"/>
                <a:gd name="connsiteX5131" fmla="*/ 3239929 w 6400800"/>
                <a:gd name="connsiteY5131" fmla="*/ 327184 h 514350"/>
                <a:gd name="connsiteX5132" fmla="*/ 3234214 w 6400800"/>
                <a:gd name="connsiteY5132" fmla="*/ 318611 h 514350"/>
                <a:gd name="connsiteX5133" fmla="*/ 3237071 w 6400800"/>
                <a:gd name="connsiteY5133" fmla="*/ 310039 h 514350"/>
                <a:gd name="connsiteX5134" fmla="*/ 3238024 w 6400800"/>
                <a:gd name="connsiteY5134" fmla="*/ 314801 h 514350"/>
                <a:gd name="connsiteX5135" fmla="*/ 3238024 w 6400800"/>
                <a:gd name="connsiteY5135" fmla="*/ 316706 h 514350"/>
                <a:gd name="connsiteX5136" fmla="*/ 3237071 w 6400800"/>
                <a:gd name="connsiteY5136" fmla="*/ 317659 h 514350"/>
                <a:gd name="connsiteX5137" fmla="*/ 3237071 w 6400800"/>
                <a:gd name="connsiteY5137" fmla="*/ 311944 h 514350"/>
                <a:gd name="connsiteX5138" fmla="*/ 3236119 w 6400800"/>
                <a:gd name="connsiteY5138" fmla="*/ 319564 h 514350"/>
                <a:gd name="connsiteX5139" fmla="*/ 3234214 w 6400800"/>
                <a:gd name="connsiteY5139" fmla="*/ 322421 h 514350"/>
                <a:gd name="connsiteX5140" fmla="*/ 3233261 w 6400800"/>
                <a:gd name="connsiteY5140" fmla="*/ 319564 h 514350"/>
                <a:gd name="connsiteX5141" fmla="*/ 3234214 w 6400800"/>
                <a:gd name="connsiteY5141" fmla="*/ 318611 h 514350"/>
                <a:gd name="connsiteX5142" fmla="*/ 3233261 w 6400800"/>
                <a:gd name="connsiteY5142" fmla="*/ 286226 h 514350"/>
                <a:gd name="connsiteX5143" fmla="*/ 3233261 w 6400800"/>
                <a:gd name="connsiteY5143" fmla="*/ 288131 h 514350"/>
                <a:gd name="connsiteX5144" fmla="*/ 3232309 w 6400800"/>
                <a:gd name="connsiteY5144" fmla="*/ 290036 h 514350"/>
                <a:gd name="connsiteX5145" fmla="*/ 3232309 w 6400800"/>
                <a:gd name="connsiteY5145" fmla="*/ 282416 h 514350"/>
                <a:gd name="connsiteX5146" fmla="*/ 3233261 w 6400800"/>
                <a:gd name="connsiteY5146" fmla="*/ 286226 h 514350"/>
                <a:gd name="connsiteX5147" fmla="*/ 3222784 w 6400800"/>
                <a:gd name="connsiteY5147" fmla="*/ 285274 h 514350"/>
                <a:gd name="connsiteX5148" fmla="*/ 3223736 w 6400800"/>
                <a:gd name="connsiteY5148" fmla="*/ 273844 h 514350"/>
                <a:gd name="connsiteX5149" fmla="*/ 3224689 w 6400800"/>
                <a:gd name="connsiteY5149" fmla="*/ 270034 h 514350"/>
                <a:gd name="connsiteX5150" fmla="*/ 3224689 w 6400800"/>
                <a:gd name="connsiteY5150" fmla="*/ 270986 h 514350"/>
                <a:gd name="connsiteX5151" fmla="*/ 3227546 w 6400800"/>
                <a:gd name="connsiteY5151" fmla="*/ 253841 h 514350"/>
                <a:gd name="connsiteX5152" fmla="*/ 3227546 w 6400800"/>
                <a:gd name="connsiteY5152" fmla="*/ 253841 h 514350"/>
                <a:gd name="connsiteX5153" fmla="*/ 3223736 w 6400800"/>
                <a:gd name="connsiteY5153" fmla="*/ 292894 h 514350"/>
                <a:gd name="connsiteX5154" fmla="*/ 3222784 w 6400800"/>
                <a:gd name="connsiteY5154" fmla="*/ 291941 h 514350"/>
                <a:gd name="connsiteX5155" fmla="*/ 3222784 w 6400800"/>
                <a:gd name="connsiteY5155" fmla="*/ 290989 h 514350"/>
                <a:gd name="connsiteX5156" fmla="*/ 3222784 w 6400800"/>
                <a:gd name="connsiteY5156" fmla="*/ 285274 h 514350"/>
                <a:gd name="connsiteX5157" fmla="*/ 3217069 w 6400800"/>
                <a:gd name="connsiteY5157" fmla="*/ 207169 h 514350"/>
                <a:gd name="connsiteX5158" fmla="*/ 3219926 w 6400800"/>
                <a:gd name="connsiteY5158" fmla="*/ 219551 h 514350"/>
                <a:gd name="connsiteX5159" fmla="*/ 3215164 w 6400800"/>
                <a:gd name="connsiteY5159" fmla="*/ 238601 h 514350"/>
                <a:gd name="connsiteX5160" fmla="*/ 3217069 w 6400800"/>
                <a:gd name="connsiteY5160" fmla="*/ 207169 h 514350"/>
                <a:gd name="connsiteX5161" fmla="*/ 3191351 w 6400800"/>
                <a:gd name="connsiteY5161" fmla="*/ 249079 h 514350"/>
                <a:gd name="connsiteX5162" fmla="*/ 3192304 w 6400800"/>
                <a:gd name="connsiteY5162" fmla="*/ 232886 h 514350"/>
                <a:gd name="connsiteX5163" fmla="*/ 3194209 w 6400800"/>
                <a:gd name="connsiteY5163" fmla="*/ 238601 h 514350"/>
                <a:gd name="connsiteX5164" fmla="*/ 3191351 w 6400800"/>
                <a:gd name="connsiteY5164" fmla="*/ 265271 h 514350"/>
                <a:gd name="connsiteX5165" fmla="*/ 3191351 w 6400800"/>
                <a:gd name="connsiteY5165" fmla="*/ 249079 h 514350"/>
                <a:gd name="connsiteX5166" fmla="*/ 3155156 w 6400800"/>
                <a:gd name="connsiteY5166" fmla="*/ 313849 h 514350"/>
                <a:gd name="connsiteX5167" fmla="*/ 3156109 w 6400800"/>
                <a:gd name="connsiteY5167" fmla="*/ 320516 h 514350"/>
                <a:gd name="connsiteX5168" fmla="*/ 3158014 w 6400800"/>
                <a:gd name="connsiteY5168" fmla="*/ 334804 h 514350"/>
                <a:gd name="connsiteX5169" fmla="*/ 3154204 w 6400800"/>
                <a:gd name="connsiteY5169" fmla="*/ 354806 h 514350"/>
                <a:gd name="connsiteX5170" fmla="*/ 3152299 w 6400800"/>
                <a:gd name="connsiteY5170" fmla="*/ 351949 h 514350"/>
                <a:gd name="connsiteX5171" fmla="*/ 3152299 w 6400800"/>
                <a:gd name="connsiteY5171" fmla="*/ 350044 h 514350"/>
                <a:gd name="connsiteX5172" fmla="*/ 3151346 w 6400800"/>
                <a:gd name="connsiteY5172" fmla="*/ 345281 h 514350"/>
                <a:gd name="connsiteX5173" fmla="*/ 3151346 w 6400800"/>
                <a:gd name="connsiteY5173" fmla="*/ 344329 h 514350"/>
                <a:gd name="connsiteX5174" fmla="*/ 3151346 w 6400800"/>
                <a:gd name="connsiteY5174" fmla="*/ 338614 h 514350"/>
                <a:gd name="connsiteX5175" fmla="*/ 3155156 w 6400800"/>
                <a:gd name="connsiteY5175" fmla="*/ 313849 h 514350"/>
                <a:gd name="connsiteX5176" fmla="*/ 3139916 w 6400800"/>
                <a:gd name="connsiteY5176" fmla="*/ 213836 h 514350"/>
                <a:gd name="connsiteX5177" fmla="*/ 3143726 w 6400800"/>
                <a:gd name="connsiteY5177" fmla="*/ 235744 h 514350"/>
                <a:gd name="connsiteX5178" fmla="*/ 3148489 w 6400800"/>
                <a:gd name="connsiteY5178" fmla="*/ 267176 h 514350"/>
                <a:gd name="connsiteX5179" fmla="*/ 3143726 w 6400800"/>
                <a:gd name="connsiteY5179" fmla="*/ 284321 h 514350"/>
                <a:gd name="connsiteX5180" fmla="*/ 3137059 w 6400800"/>
                <a:gd name="connsiteY5180" fmla="*/ 216694 h 514350"/>
                <a:gd name="connsiteX5181" fmla="*/ 3139916 w 6400800"/>
                <a:gd name="connsiteY5181" fmla="*/ 213836 h 514350"/>
                <a:gd name="connsiteX5182" fmla="*/ 3130391 w 6400800"/>
                <a:gd name="connsiteY5182" fmla="*/ 337661 h 514350"/>
                <a:gd name="connsiteX5183" fmla="*/ 3130391 w 6400800"/>
                <a:gd name="connsiteY5183" fmla="*/ 335756 h 514350"/>
                <a:gd name="connsiteX5184" fmla="*/ 3130391 w 6400800"/>
                <a:gd name="connsiteY5184" fmla="*/ 335756 h 514350"/>
                <a:gd name="connsiteX5185" fmla="*/ 3130391 w 6400800"/>
                <a:gd name="connsiteY5185" fmla="*/ 337661 h 514350"/>
                <a:gd name="connsiteX5186" fmla="*/ 3130391 w 6400800"/>
                <a:gd name="connsiteY5186" fmla="*/ 328136 h 514350"/>
                <a:gd name="connsiteX5187" fmla="*/ 3130391 w 6400800"/>
                <a:gd name="connsiteY5187" fmla="*/ 328136 h 514350"/>
                <a:gd name="connsiteX5188" fmla="*/ 3130391 w 6400800"/>
                <a:gd name="connsiteY5188" fmla="*/ 328136 h 514350"/>
                <a:gd name="connsiteX5189" fmla="*/ 3130391 w 6400800"/>
                <a:gd name="connsiteY5189" fmla="*/ 328136 h 514350"/>
                <a:gd name="connsiteX5190" fmla="*/ 3133249 w 6400800"/>
                <a:gd name="connsiteY5190" fmla="*/ 276701 h 514350"/>
                <a:gd name="connsiteX5191" fmla="*/ 3133249 w 6400800"/>
                <a:gd name="connsiteY5191" fmla="*/ 276701 h 514350"/>
                <a:gd name="connsiteX5192" fmla="*/ 3128486 w 6400800"/>
                <a:gd name="connsiteY5192" fmla="*/ 259556 h 514350"/>
                <a:gd name="connsiteX5193" fmla="*/ 3127534 w 6400800"/>
                <a:gd name="connsiteY5193" fmla="*/ 246221 h 514350"/>
                <a:gd name="connsiteX5194" fmla="*/ 3135154 w 6400800"/>
                <a:gd name="connsiteY5194" fmla="*/ 223361 h 514350"/>
                <a:gd name="connsiteX5195" fmla="*/ 3133249 w 6400800"/>
                <a:gd name="connsiteY5195" fmla="*/ 276701 h 514350"/>
                <a:gd name="connsiteX5196" fmla="*/ 3130391 w 6400800"/>
                <a:gd name="connsiteY5196" fmla="*/ 229076 h 514350"/>
                <a:gd name="connsiteX5197" fmla="*/ 3136106 w 6400800"/>
                <a:gd name="connsiteY5197" fmla="*/ 219551 h 514350"/>
                <a:gd name="connsiteX5198" fmla="*/ 3136106 w 6400800"/>
                <a:gd name="connsiteY5198" fmla="*/ 221456 h 514350"/>
                <a:gd name="connsiteX5199" fmla="*/ 3127534 w 6400800"/>
                <a:gd name="connsiteY5199" fmla="*/ 236696 h 514350"/>
                <a:gd name="connsiteX5200" fmla="*/ 3127534 w 6400800"/>
                <a:gd name="connsiteY5200" fmla="*/ 234791 h 514350"/>
                <a:gd name="connsiteX5201" fmla="*/ 3130391 w 6400800"/>
                <a:gd name="connsiteY5201" fmla="*/ 229076 h 514350"/>
                <a:gd name="connsiteX5202" fmla="*/ 3114199 w 6400800"/>
                <a:gd name="connsiteY5202" fmla="*/ 290036 h 514350"/>
                <a:gd name="connsiteX5203" fmla="*/ 3113246 w 6400800"/>
                <a:gd name="connsiteY5203" fmla="*/ 287179 h 514350"/>
                <a:gd name="connsiteX5204" fmla="*/ 3113246 w 6400800"/>
                <a:gd name="connsiteY5204" fmla="*/ 286226 h 514350"/>
                <a:gd name="connsiteX5205" fmla="*/ 3115151 w 6400800"/>
                <a:gd name="connsiteY5205" fmla="*/ 281464 h 514350"/>
                <a:gd name="connsiteX5206" fmla="*/ 3114199 w 6400800"/>
                <a:gd name="connsiteY5206" fmla="*/ 290036 h 514350"/>
                <a:gd name="connsiteX5207" fmla="*/ 3115151 w 6400800"/>
                <a:gd name="connsiteY5207" fmla="*/ 257651 h 514350"/>
                <a:gd name="connsiteX5208" fmla="*/ 3116104 w 6400800"/>
                <a:gd name="connsiteY5208" fmla="*/ 255746 h 514350"/>
                <a:gd name="connsiteX5209" fmla="*/ 3115151 w 6400800"/>
                <a:gd name="connsiteY5209" fmla="*/ 257651 h 514350"/>
                <a:gd name="connsiteX5210" fmla="*/ 3109436 w 6400800"/>
                <a:gd name="connsiteY5210" fmla="*/ 270034 h 514350"/>
                <a:gd name="connsiteX5211" fmla="*/ 3115151 w 6400800"/>
                <a:gd name="connsiteY5211" fmla="*/ 257651 h 514350"/>
                <a:gd name="connsiteX5212" fmla="*/ 3110389 w 6400800"/>
                <a:gd name="connsiteY5212" fmla="*/ 292894 h 514350"/>
                <a:gd name="connsiteX5213" fmla="*/ 3113246 w 6400800"/>
                <a:gd name="connsiteY5213" fmla="*/ 309086 h 514350"/>
                <a:gd name="connsiteX5214" fmla="*/ 3114199 w 6400800"/>
                <a:gd name="connsiteY5214" fmla="*/ 311944 h 514350"/>
                <a:gd name="connsiteX5215" fmla="*/ 3114199 w 6400800"/>
                <a:gd name="connsiteY5215" fmla="*/ 321469 h 514350"/>
                <a:gd name="connsiteX5216" fmla="*/ 3114199 w 6400800"/>
                <a:gd name="connsiteY5216" fmla="*/ 319564 h 514350"/>
                <a:gd name="connsiteX5217" fmla="*/ 3110389 w 6400800"/>
                <a:gd name="connsiteY5217" fmla="*/ 309086 h 514350"/>
                <a:gd name="connsiteX5218" fmla="*/ 3109436 w 6400800"/>
                <a:gd name="connsiteY5218" fmla="*/ 300514 h 514350"/>
                <a:gd name="connsiteX5219" fmla="*/ 3109436 w 6400800"/>
                <a:gd name="connsiteY5219" fmla="*/ 299561 h 514350"/>
                <a:gd name="connsiteX5220" fmla="*/ 3110389 w 6400800"/>
                <a:gd name="connsiteY5220" fmla="*/ 292894 h 514350"/>
                <a:gd name="connsiteX5221" fmla="*/ 3098006 w 6400800"/>
                <a:gd name="connsiteY5221" fmla="*/ 350996 h 514350"/>
                <a:gd name="connsiteX5222" fmla="*/ 3098006 w 6400800"/>
                <a:gd name="connsiteY5222" fmla="*/ 350996 h 514350"/>
                <a:gd name="connsiteX5223" fmla="*/ 3098006 w 6400800"/>
                <a:gd name="connsiteY5223" fmla="*/ 353854 h 514350"/>
                <a:gd name="connsiteX5224" fmla="*/ 3097054 w 6400800"/>
                <a:gd name="connsiteY5224" fmla="*/ 354806 h 514350"/>
                <a:gd name="connsiteX5225" fmla="*/ 3098006 w 6400800"/>
                <a:gd name="connsiteY5225" fmla="*/ 350996 h 514350"/>
                <a:gd name="connsiteX5226" fmla="*/ 3093244 w 6400800"/>
                <a:gd name="connsiteY5226" fmla="*/ 377666 h 514350"/>
                <a:gd name="connsiteX5227" fmla="*/ 3097054 w 6400800"/>
                <a:gd name="connsiteY5227" fmla="*/ 370046 h 514350"/>
                <a:gd name="connsiteX5228" fmla="*/ 3094196 w 6400800"/>
                <a:gd name="connsiteY5228" fmla="*/ 373856 h 514350"/>
                <a:gd name="connsiteX5229" fmla="*/ 3097054 w 6400800"/>
                <a:gd name="connsiteY5229" fmla="*/ 355759 h 514350"/>
                <a:gd name="connsiteX5230" fmla="*/ 3098006 w 6400800"/>
                <a:gd name="connsiteY5230" fmla="*/ 353854 h 514350"/>
                <a:gd name="connsiteX5231" fmla="*/ 3098006 w 6400800"/>
                <a:gd name="connsiteY5231" fmla="*/ 371951 h 514350"/>
                <a:gd name="connsiteX5232" fmla="*/ 3098006 w 6400800"/>
                <a:gd name="connsiteY5232" fmla="*/ 383381 h 514350"/>
                <a:gd name="connsiteX5233" fmla="*/ 3095149 w 6400800"/>
                <a:gd name="connsiteY5233" fmla="*/ 383381 h 514350"/>
                <a:gd name="connsiteX5234" fmla="*/ 3095149 w 6400800"/>
                <a:gd name="connsiteY5234" fmla="*/ 383381 h 514350"/>
                <a:gd name="connsiteX5235" fmla="*/ 3093244 w 6400800"/>
                <a:gd name="connsiteY5235" fmla="*/ 378619 h 514350"/>
                <a:gd name="connsiteX5236" fmla="*/ 3093244 w 6400800"/>
                <a:gd name="connsiteY5236" fmla="*/ 377666 h 514350"/>
                <a:gd name="connsiteX5237" fmla="*/ 3084671 w 6400800"/>
                <a:gd name="connsiteY5237" fmla="*/ 293846 h 514350"/>
                <a:gd name="connsiteX5238" fmla="*/ 3085624 w 6400800"/>
                <a:gd name="connsiteY5238" fmla="*/ 276701 h 514350"/>
                <a:gd name="connsiteX5239" fmla="*/ 3085624 w 6400800"/>
                <a:gd name="connsiteY5239" fmla="*/ 278606 h 514350"/>
                <a:gd name="connsiteX5240" fmla="*/ 3088481 w 6400800"/>
                <a:gd name="connsiteY5240" fmla="*/ 289084 h 514350"/>
                <a:gd name="connsiteX5241" fmla="*/ 3086576 w 6400800"/>
                <a:gd name="connsiteY5241" fmla="*/ 291941 h 514350"/>
                <a:gd name="connsiteX5242" fmla="*/ 3084671 w 6400800"/>
                <a:gd name="connsiteY5242" fmla="*/ 296704 h 514350"/>
                <a:gd name="connsiteX5243" fmla="*/ 3084671 w 6400800"/>
                <a:gd name="connsiteY5243" fmla="*/ 293846 h 514350"/>
                <a:gd name="connsiteX5244" fmla="*/ 3086576 w 6400800"/>
                <a:gd name="connsiteY5244" fmla="*/ 348139 h 514350"/>
                <a:gd name="connsiteX5245" fmla="*/ 3086576 w 6400800"/>
                <a:gd name="connsiteY5245" fmla="*/ 350044 h 514350"/>
                <a:gd name="connsiteX5246" fmla="*/ 3083719 w 6400800"/>
                <a:gd name="connsiteY5246" fmla="*/ 361474 h 514350"/>
                <a:gd name="connsiteX5247" fmla="*/ 3083719 w 6400800"/>
                <a:gd name="connsiteY5247" fmla="*/ 357664 h 514350"/>
                <a:gd name="connsiteX5248" fmla="*/ 3086576 w 6400800"/>
                <a:gd name="connsiteY5248" fmla="*/ 348139 h 514350"/>
                <a:gd name="connsiteX5249" fmla="*/ 3057049 w 6400800"/>
                <a:gd name="connsiteY5249" fmla="*/ 235744 h 514350"/>
                <a:gd name="connsiteX5250" fmla="*/ 3059906 w 6400800"/>
                <a:gd name="connsiteY5250" fmla="*/ 210979 h 514350"/>
                <a:gd name="connsiteX5251" fmla="*/ 3062764 w 6400800"/>
                <a:gd name="connsiteY5251" fmla="*/ 191929 h 514350"/>
                <a:gd name="connsiteX5252" fmla="*/ 3067526 w 6400800"/>
                <a:gd name="connsiteY5252" fmla="*/ 209074 h 514350"/>
                <a:gd name="connsiteX5253" fmla="*/ 3066574 w 6400800"/>
                <a:gd name="connsiteY5253" fmla="*/ 222409 h 514350"/>
                <a:gd name="connsiteX5254" fmla="*/ 3063716 w 6400800"/>
                <a:gd name="connsiteY5254" fmla="*/ 253841 h 514350"/>
                <a:gd name="connsiteX5255" fmla="*/ 3059906 w 6400800"/>
                <a:gd name="connsiteY5255" fmla="*/ 268129 h 514350"/>
                <a:gd name="connsiteX5256" fmla="*/ 3057049 w 6400800"/>
                <a:gd name="connsiteY5256" fmla="*/ 252889 h 514350"/>
                <a:gd name="connsiteX5257" fmla="*/ 3056096 w 6400800"/>
                <a:gd name="connsiteY5257" fmla="*/ 248126 h 514350"/>
                <a:gd name="connsiteX5258" fmla="*/ 3057049 w 6400800"/>
                <a:gd name="connsiteY5258" fmla="*/ 235744 h 514350"/>
                <a:gd name="connsiteX5259" fmla="*/ 3002756 w 6400800"/>
                <a:gd name="connsiteY5259" fmla="*/ 307181 h 514350"/>
                <a:gd name="connsiteX5260" fmla="*/ 3001804 w 6400800"/>
                <a:gd name="connsiteY5260" fmla="*/ 310039 h 514350"/>
                <a:gd name="connsiteX5261" fmla="*/ 3002756 w 6400800"/>
                <a:gd name="connsiteY5261" fmla="*/ 305276 h 514350"/>
                <a:gd name="connsiteX5262" fmla="*/ 3006566 w 6400800"/>
                <a:gd name="connsiteY5262" fmla="*/ 286226 h 514350"/>
                <a:gd name="connsiteX5263" fmla="*/ 3008471 w 6400800"/>
                <a:gd name="connsiteY5263" fmla="*/ 290036 h 514350"/>
                <a:gd name="connsiteX5264" fmla="*/ 3002756 w 6400800"/>
                <a:gd name="connsiteY5264" fmla="*/ 307181 h 514350"/>
                <a:gd name="connsiteX5265" fmla="*/ 3036094 w 6400800"/>
                <a:gd name="connsiteY5265" fmla="*/ 249079 h 514350"/>
                <a:gd name="connsiteX5266" fmla="*/ 3036094 w 6400800"/>
                <a:gd name="connsiteY5266" fmla="*/ 266224 h 514350"/>
                <a:gd name="connsiteX5267" fmla="*/ 3033236 w 6400800"/>
                <a:gd name="connsiteY5267" fmla="*/ 258604 h 514350"/>
                <a:gd name="connsiteX5268" fmla="*/ 3036094 w 6400800"/>
                <a:gd name="connsiteY5268" fmla="*/ 249079 h 514350"/>
                <a:gd name="connsiteX5269" fmla="*/ 3030379 w 6400800"/>
                <a:gd name="connsiteY5269" fmla="*/ 269081 h 514350"/>
                <a:gd name="connsiteX5270" fmla="*/ 3030379 w 6400800"/>
                <a:gd name="connsiteY5270" fmla="*/ 269081 h 514350"/>
                <a:gd name="connsiteX5271" fmla="*/ 3030379 w 6400800"/>
                <a:gd name="connsiteY5271" fmla="*/ 269081 h 514350"/>
                <a:gd name="connsiteX5272" fmla="*/ 3030379 w 6400800"/>
                <a:gd name="connsiteY5272" fmla="*/ 269081 h 514350"/>
                <a:gd name="connsiteX5273" fmla="*/ 3027521 w 6400800"/>
                <a:gd name="connsiteY5273" fmla="*/ 353854 h 514350"/>
                <a:gd name="connsiteX5274" fmla="*/ 3023711 w 6400800"/>
                <a:gd name="connsiteY5274" fmla="*/ 364331 h 514350"/>
                <a:gd name="connsiteX5275" fmla="*/ 3017996 w 6400800"/>
                <a:gd name="connsiteY5275" fmla="*/ 383381 h 514350"/>
                <a:gd name="connsiteX5276" fmla="*/ 3017044 w 6400800"/>
                <a:gd name="connsiteY5276" fmla="*/ 385286 h 514350"/>
                <a:gd name="connsiteX5277" fmla="*/ 3015139 w 6400800"/>
                <a:gd name="connsiteY5277" fmla="*/ 376714 h 514350"/>
                <a:gd name="connsiteX5278" fmla="*/ 3020854 w 6400800"/>
                <a:gd name="connsiteY5278" fmla="*/ 366236 h 514350"/>
                <a:gd name="connsiteX5279" fmla="*/ 3028474 w 6400800"/>
                <a:gd name="connsiteY5279" fmla="*/ 352901 h 514350"/>
                <a:gd name="connsiteX5280" fmla="*/ 3027521 w 6400800"/>
                <a:gd name="connsiteY5280" fmla="*/ 353854 h 514350"/>
                <a:gd name="connsiteX5281" fmla="*/ 3021806 w 6400800"/>
                <a:gd name="connsiteY5281" fmla="*/ 230029 h 514350"/>
                <a:gd name="connsiteX5282" fmla="*/ 3024664 w 6400800"/>
                <a:gd name="connsiteY5282" fmla="*/ 241459 h 514350"/>
                <a:gd name="connsiteX5283" fmla="*/ 3024664 w 6400800"/>
                <a:gd name="connsiteY5283" fmla="*/ 241459 h 514350"/>
                <a:gd name="connsiteX5284" fmla="*/ 3021806 w 6400800"/>
                <a:gd name="connsiteY5284" fmla="*/ 230029 h 514350"/>
                <a:gd name="connsiteX5285" fmla="*/ 3021806 w 6400800"/>
                <a:gd name="connsiteY5285" fmla="*/ 230029 h 514350"/>
                <a:gd name="connsiteX5286" fmla="*/ 3020854 w 6400800"/>
                <a:gd name="connsiteY5286" fmla="*/ 305276 h 514350"/>
                <a:gd name="connsiteX5287" fmla="*/ 3020854 w 6400800"/>
                <a:gd name="connsiteY5287" fmla="*/ 305276 h 514350"/>
                <a:gd name="connsiteX5288" fmla="*/ 3020854 w 6400800"/>
                <a:gd name="connsiteY5288" fmla="*/ 305276 h 514350"/>
                <a:gd name="connsiteX5289" fmla="*/ 3020854 w 6400800"/>
                <a:gd name="connsiteY5289" fmla="*/ 305276 h 514350"/>
                <a:gd name="connsiteX5290" fmla="*/ 3017996 w 6400800"/>
                <a:gd name="connsiteY5290" fmla="*/ 317659 h 514350"/>
                <a:gd name="connsiteX5291" fmla="*/ 3021806 w 6400800"/>
                <a:gd name="connsiteY5291" fmla="*/ 329089 h 514350"/>
                <a:gd name="connsiteX5292" fmla="*/ 3025616 w 6400800"/>
                <a:gd name="connsiteY5292" fmla="*/ 339566 h 514350"/>
                <a:gd name="connsiteX5293" fmla="*/ 3011329 w 6400800"/>
                <a:gd name="connsiteY5293" fmla="*/ 359569 h 514350"/>
                <a:gd name="connsiteX5294" fmla="*/ 3011329 w 6400800"/>
                <a:gd name="connsiteY5294" fmla="*/ 360521 h 514350"/>
                <a:gd name="connsiteX5295" fmla="*/ 3009424 w 6400800"/>
                <a:gd name="connsiteY5295" fmla="*/ 351949 h 514350"/>
                <a:gd name="connsiteX5296" fmla="*/ 3017996 w 6400800"/>
                <a:gd name="connsiteY5296" fmla="*/ 317659 h 514350"/>
                <a:gd name="connsiteX5297" fmla="*/ 3013234 w 6400800"/>
                <a:gd name="connsiteY5297" fmla="*/ 257651 h 514350"/>
                <a:gd name="connsiteX5298" fmla="*/ 3014186 w 6400800"/>
                <a:gd name="connsiteY5298" fmla="*/ 261461 h 514350"/>
                <a:gd name="connsiteX5299" fmla="*/ 3015139 w 6400800"/>
                <a:gd name="connsiteY5299" fmla="*/ 269081 h 514350"/>
                <a:gd name="connsiteX5300" fmla="*/ 3010376 w 6400800"/>
                <a:gd name="connsiteY5300" fmla="*/ 284321 h 514350"/>
                <a:gd name="connsiteX5301" fmla="*/ 3009424 w 6400800"/>
                <a:gd name="connsiteY5301" fmla="*/ 282416 h 514350"/>
                <a:gd name="connsiteX5302" fmla="*/ 3008471 w 6400800"/>
                <a:gd name="connsiteY5302" fmla="*/ 279559 h 514350"/>
                <a:gd name="connsiteX5303" fmla="*/ 3009424 w 6400800"/>
                <a:gd name="connsiteY5303" fmla="*/ 276701 h 514350"/>
                <a:gd name="connsiteX5304" fmla="*/ 3013234 w 6400800"/>
                <a:gd name="connsiteY5304" fmla="*/ 257651 h 514350"/>
                <a:gd name="connsiteX5305" fmla="*/ 3008471 w 6400800"/>
                <a:gd name="connsiteY5305" fmla="*/ 230029 h 514350"/>
                <a:gd name="connsiteX5306" fmla="*/ 3010376 w 6400800"/>
                <a:gd name="connsiteY5306" fmla="*/ 244316 h 514350"/>
                <a:gd name="connsiteX5307" fmla="*/ 3007519 w 6400800"/>
                <a:gd name="connsiteY5307" fmla="*/ 250984 h 514350"/>
                <a:gd name="connsiteX5308" fmla="*/ 3001804 w 6400800"/>
                <a:gd name="connsiteY5308" fmla="*/ 264319 h 514350"/>
                <a:gd name="connsiteX5309" fmla="*/ 3008471 w 6400800"/>
                <a:gd name="connsiteY5309" fmla="*/ 230029 h 514350"/>
                <a:gd name="connsiteX5310" fmla="*/ 3003709 w 6400800"/>
                <a:gd name="connsiteY5310" fmla="*/ 195739 h 514350"/>
                <a:gd name="connsiteX5311" fmla="*/ 3004661 w 6400800"/>
                <a:gd name="connsiteY5311" fmla="*/ 205264 h 514350"/>
                <a:gd name="connsiteX5312" fmla="*/ 2997994 w 6400800"/>
                <a:gd name="connsiteY5312" fmla="*/ 223361 h 514350"/>
                <a:gd name="connsiteX5313" fmla="*/ 2986564 w 6400800"/>
                <a:gd name="connsiteY5313" fmla="*/ 262414 h 514350"/>
                <a:gd name="connsiteX5314" fmla="*/ 2984659 w 6400800"/>
                <a:gd name="connsiteY5314" fmla="*/ 270986 h 514350"/>
                <a:gd name="connsiteX5315" fmla="*/ 2984659 w 6400800"/>
                <a:gd name="connsiteY5315" fmla="*/ 270986 h 514350"/>
                <a:gd name="connsiteX5316" fmla="*/ 3003709 w 6400800"/>
                <a:gd name="connsiteY5316" fmla="*/ 195739 h 514350"/>
                <a:gd name="connsiteX5317" fmla="*/ 2974181 w 6400800"/>
                <a:gd name="connsiteY5317" fmla="*/ 311944 h 514350"/>
                <a:gd name="connsiteX5318" fmla="*/ 2980849 w 6400800"/>
                <a:gd name="connsiteY5318" fmla="*/ 284321 h 514350"/>
                <a:gd name="connsiteX5319" fmla="*/ 2980849 w 6400800"/>
                <a:gd name="connsiteY5319" fmla="*/ 285274 h 514350"/>
                <a:gd name="connsiteX5320" fmla="*/ 2976086 w 6400800"/>
                <a:gd name="connsiteY5320" fmla="*/ 307181 h 514350"/>
                <a:gd name="connsiteX5321" fmla="*/ 2972276 w 6400800"/>
                <a:gd name="connsiteY5321" fmla="*/ 327184 h 514350"/>
                <a:gd name="connsiteX5322" fmla="*/ 2970371 w 6400800"/>
                <a:gd name="connsiteY5322" fmla="*/ 322421 h 514350"/>
                <a:gd name="connsiteX5323" fmla="*/ 2974181 w 6400800"/>
                <a:gd name="connsiteY5323" fmla="*/ 311944 h 514350"/>
                <a:gd name="connsiteX5324" fmla="*/ 2964656 w 6400800"/>
                <a:gd name="connsiteY5324" fmla="*/ 349091 h 514350"/>
                <a:gd name="connsiteX5325" fmla="*/ 2968466 w 6400800"/>
                <a:gd name="connsiteY5325" fmla="*/ 334804 h 514350"/>
                <a:gd name="connsiteX5326" fmla="*/ 2970371 w 6400800"/>
                <a:gd name="connsiteY5326" fmla="*/ 344329 h 514350"/>
                <a:gd name="connsiteX5327" fmla="*/ 2969419 w 6400800"/>
                <a:gd name="connsiteY5327" fmla="*/ 353854 h 514350"/>
                <a:gd name="connsiteX5328" fmla="*/ 2966561 w 6400800"/>
                <a:gd name="connsiteY5328" fmla="*/ 377666 h 514350"/>
                <a:gd name="connsiteX5329" fmla="*/ 2963704 w 6400800"/>
                <a:gd name="connsiteY5329" fmla="*/ 366236 h 514350"/>
                <a:gd name="connsiteX5330" fmla="*/ 2969419 w 6400800"/>
                <a:gd name="connsiteY5330" fmla="*/ 341471 h 514350"/>
                <a:gd name="connsiteX5331" fmla="*/ 2964656 w 6400800"/>
                <a:gd name="connsiteY5331" fmla="*/ 349091 h 514350"/>
                <a:gd name="connsiteX5332" fmla="*/ 2958941 w 6400800"/>
                <a:gd name="connsiteY5332" fmla="*/ 383381 h 514350"/>
                <a:gd name="connsiteX5333" fmla="*/ 2958941 w 6400800"/>
                <a:gd name="connsiteY5333" fmla="*/ 383381 h 514350"/>
                <a:gd name="connsiteX5334" fmla="*/ 2958941 w 6400800"/>
                <a:gd name="connsiteY5334" fmla="*/ 383381 h 514350"/>
                <a:gd name="connsiteX5335" fmla="*/ 2958941 w 6400800"/>
                <a:gd name="connsiteY5335" fmla="*/ 383381 h 514350"/>
                <a:gd name="connsiteX5336" fmla="*/ 2958941 w 6400800"/>
                <a:gd name="connsiteY5336" fmla="*/ 383381 h 514350"/>
                <a:gd name="connsiteX5337" fmla="*/ 2936081 w 6400800"/>
                <a:gd name="connsiteY5337" fmla="*/ 284321 h 514350"/>
                <a:gd name="connsiteX5338" fmla="*/ 2934176 w 6400800"/>
                <a:gd name="connsiteY5338" fmla="*/ 273844 h 514350"/>
                <a:gd name="connsiteX5339" fmla="*/ 2936081 w 6400800"/>
                <a:gd name="connsiteY5339" fmla="*/ 271939 h 514350"/>
                <a:gd name="connsiteX5340" fmla="*/ 2936081 w 6400800"/>
                <a:gd name="connsiteY5340" fmla="*/ 284321 h 514350"/>
                <a:gd name="connsiteX5341" fmla="*/ 2936081 w 6400800"/>
                <a:gd name="connsiteY5341" fmla="*/ 267176 h 514350"/>
                <a:gd name="connsiteX5342" fmla="*/ 2936081 w 6400800"/>
                <a:gd name="connsiteY5342" fmla="*/ 267176 h 514350"/>
                <a:gd name="connsiteX5343" fmla="*/ 2934176 w 6400800"/>
                <a:gd name="connsiteY5343" fmla="*/ 269081 h 514350"/>
                <a:gd name="connsiteX5344" fmla="*/ 2936081 w 6400800"/>
                <a:gd name="connsiteY5344" fmla="*/ 265271 h 514350"/>
                <a:gd name="connsiteX5345" fmla="*/ 2936081 w 6400800"/>
                <a:gd name="connsiteY5345" fmla="*/ 267176 h 514350"/>
                <a:gd name="connsiteX5346" fmla="*/ 2929414 w 6400800"/>
                <a:gd name="connsiteY5346" fmla="*/ 243364 h 514350"/>
                <a:gd name="connsiteX5347" fmla="*/ 2930366 w 6400800"/>
                <a:gd name="connsiteY5347" fmla="*/ 243364 h 514350"/>
                <a:gd name="connsiteX5348" fmla="*/ 2933224 w 6400800"/>
                <a:gd name="connsiteY5348" fmla="*/ 244316 h 514350"/>
                <a:gd name="connsiteX5349" fmla="*/ 2934176 w 6400800"/>
                <a:gd name="connsiteY5349" fmla="*/ 255746 h 514350"/>
                <a:gd name="connsiteX5350" fmla="*/ 2931319 w 6400800"/>
                <a:gd name="connsiteY5350" fmla="*/ 261461 h 514350"/>
                <a:gd name="connsiteX5351" fmla="*/ 2927509 w 6400800"/>
                <a:gd name="connsiteY5351" fmla="*/ 248126 h 514350"/>
                <a:gd name="connsiteX5352" fmla="*/ 2929414 w 6400800"/>
                <a:gd name="connsiteY5352" fmla="*/ 243364 h 514350"/>
                <a:gd name="connsiteX5353" fmla="*/ 2917984 w 6400800"/>
                <a:gd name="connsiteY5353" fmla="*/ 351949 h 514350"/>
                <a:gd name="connsiteX5354" fmla="*/ 2918936 w 6400800"/>
                <a:gd name="connsiteY5354" fmla="*/ 353854 h 514350"/>
                <a:gd name="connsiteX5355" fmla="*/ 2919889 w 6400800"/>
                <a:gd name="connsiteY5355" fmla="*/ 363379 h 514350"/>
                <a:gd name="connsiteX5356" fmla="*/ 2922746 w 6400800"/>
                <a:gd name="connsiteY5356" fmla="*/ 380524 h 514350"/>
                <a:gd name="connsiteX5357" fmla="*/ 2920841 w 6400800"/>
                <a:gd name="connsiteY5357" fmla="*/ 380524 h 514350"/>
                <a:gd name="connsiteX5358" fmla="*/ 2913221 w 6400800"/>
                <a:gd name="connsiteY5358" fmla="*/ 362426 h 514350"/>
                <a:gd name="connsiteX5359" fmla="*/ 2917984 w 6400800"/>
                <a:gd name="connsiteY5359" fmla="*/ 351949 h 514350"/>
                <a:gd name="connsiteX5360" fmla="*/ 2904649 w 6400800"/>
                <a:gd name="connsiteY5360" fmla="*/ 224314 h 514350"/>
                <a:gd name="connsiteX5361" fmla="*/ 2904649 w 6400800"/>
                <a:gd name="connsiteY5361" fmla="*/ 224314 h 514350"/>
                <a:gd name="connsiteX5362" fmla="*/ 2903696 w 6400800"/>
                <a:gd name="connsiteY5362" fmla="*/ 237649 h 514350"/>
                <a:gd name="connsiteX5363" fmla="*/ 2902744 w 6400800"/>
                <a:gd name="connsiteY5363" fmla="*/ 250031 h 514350"/>
                <a:gd name="connsiteX5364" fmla="*/ 2900839 w 6400800"/>
                <a:gd name="connsiteY5364" fmla="*/ 235744 h 514350"/>
                <a:gd name="connsiteX5365" fmla="*/ 2904649 w 6400800"/>
                <a:gd name="connsiteY5365" fmla="*/ 224314 h 514350"/>
                <a:gd name="connsiteX5366" fmla="*/ 2885599 w 6400800"/>
                <a:gd name="connsiteY5366" fmla="*/ 294799 h 514350"/>
                <a:gd name="connsiteX5367" fmla="*/ 2888456 w 6400800"/>
                <a:gd name="connsiteY5367" fmla="*/ 280511 h 514350"/>
                <a:gd name="connsiteX5368" fmla="*/ 2889409 w 6400800"/>
                <a:gd name="connsiteY5368" fmla="*/ 308134 h 514350"/>
                <a:gd name="connsiteX5369" fmla="*/ 2884646 w 6400800"/>
                <a:gd name="connsiteY5369" fmla="*/ 297656 h 514350"/>
                <a:gd name="connsiteX5370" fmla="*/ 2885599 w 6400800"/>
                <a:gd name="connsiteY5370" fmla="*/ 294799 h 514350"/>
                <a:gd name="connsiteX5371" fmla="*/ 2869406 w 6400800"/>
                <a:gd name="connsiteY5371" fmla="*/ 301466 h 514350"/>
                <a:gd name="connsiteX5372" fmla="*/ 2869406 w 6400800"/>
                <a:gd name="connsiteY5372" fmla="*/ 301466 h 514350"/>
                <a:gd name="connsiteX5373" fmla="*/ 2869406 w 6400800"/>
                <a:gd name="connsiteY5373" fmla="*/ 302419 h 514350"/>
                <a:gd name="connsiteX5374" fmla="*/ 2868454 w 6400800"/>
                <a:gd name="connsiteY5374" fmla="*/ 305276 h 514350"/>
                <a:gd name="connsiteX5375" fmla="*/ 2856071 w 6400800"/>
                <a:gd name="connsiteY5375" fmla="*/ 284321 h 514350"/>
                <a:gd name="connsiteX5376" fmla="*/ 2855119 w 6400800"/>
                <a:gd name="connsiteY5376" fmla="*/ 282416 h 514350"/>
                <a:gd name="connsiteX5377" fmla="*/ 2857976 w 6400800"/>
                <a:gd name="connsiteY5377" fmla="*/ 273844 h 514350"/>
                <a:gd name="connsiteX5378" fmla="*/ 2869406 w 6400800"/>
                <a:gd name="connsiteY5378" fmla="*/ 301466 h 514350"/>
                <a:gd name="connsiteX5379" fmla="*/ 2851309 w 6400800"/>
                <a:gd name="connsiteY5379" fmla="*/ 262414 h 514350"/>
                <a:gd name="connsiteX5380" fmla="*/ 2851309 w 6400800"/>
                <a:gd name="connsiteY5380" fmla="*/ 259556 h 514350"/>
                <a:gd name="connsiteX5381" fmla="*/ 2855119 w 6400800"/>
                <a:gd name="connsiteY5381" fmla="*/ 267176 h 514350"/>
                <a:gd name="connsiteX5382" fmla="*/ 2856071 w 6400800"/>
                <a:gd name="connsiteY5382" fmla="*/ 269081 h 514350"/>
                <a:gd name="connsiteX5383" fmla="*/ 2851309 w 6400800"/>
                <a:gd name="connsiteY5383" fmla="*/ 276701 h 514350"/>
                <a:gd name="connsiteX5384" fmla="*/ 2850356 w 6400800"/>
                <a:gd name="connsiteY5384" fmla="*/ 274796 h 514350"/>
                <a:gd name="connsiteX5385" fmla="*/ 2851309 w 6400800"/>
                <a:gd name="connsiteY5385" fmla="*/ 262414 h 514350"/>
                <a:gd name="connsiteX5386" fmla="*/ 2848451 w 6400800"/>
                <a:gd name="connsiteY5386" fmla="*/ 312896 h 514350"/>
                <a:gd name="connsiteX5387" fmla="*/ 2848451 w 6400800"/>
                <a:gd name="connsiteY5387" fmla="*/ 302419 h 514350"/>
                <a:gd name="connsiteX5388" fmla="*/ 2860834 w 6400800"/>
                <a:gd name="connsiteY5388" fmla="*/ 327184 h 514350"/>
                <a:gd name="connsiteX5389" fmla="*/ 2856071 w 6400800"/>
                <a:gd name="connsiteY5389" fmla="*/ 344329 h 514350"/>
                <a:gd name="connsiteX5390" fmla="*/ 2853214 w 6400800"/>
                <a:gd name="connsiteY5390" fmla="*/ 355759 h 514350"/>
                <a:gd name="connsiteX5391" fmla="*/ 2851309 w 6400800"/>
                <a:gd name="connsiteY5391" fmla="*/ 341471 h 514350"/>
                <a:gd name="connsiteX5392" fmla="*/ 2847499 w 6400800"/>
                <a:gd name="connsiteY5392" fmla="*/ 316706 h 514350"/>
                <a:gd name="connsiteX5393" fmla="*/ 2848451 w 6400800"/>
                <a:gd name="connsiteY5393" fmla="*/ 312896 h 514350"/>
                <a:gd name="connsiteX5394" fmla="*/ 2836069 w 6400800"/>
                <a:gd name="connsiteY5394" fmla="*/ 226219 h 514350"/>
                <a:gd name="connsiteX5395" fmla="*/ 2847499 w 6400800"/>
                <a:gd name="connsiteY5395" fmla="*/ 251936 h 514350"/>
                <a:gd name="connsiteX5396" fmla="*/ 2844641 w 6400800"/>
                <a:gd name="connsiteY5396" fmla="*/ 261461 h 514350"/>
                <a:gd name="connsiteX5397" fmla="*/ 2843689 w 6400800"/>
                <a:gd name="connsiteY5397" fmla="*/ 266224 h 514350"/>
                <a:gd name="connsiteX5398" fmla="*/ 2838926 w 6400800"/>
                <a:gd name="connsiteY5398" fmla="*/ 258604 h 514350"/>
                <a:gd name="connsiteX5399" fmla="*/ 2834164 w 6400800"/>
                <a:gd name="connsiteY5399" fmla="*/ 229076 h 514350"/>
                <a:gd name="connsiteX5400" fmla="*/ 2836069 w 6400800"/>
                <a:gd name="connsiteY5400" fmla="*/ 226219 h 514350"/>
                <a:gd name="connsiteX5401" fmla="*/ 2830354 w 6400800"/>
                <a:gd name="connsiteY5401" fmla="*/ 305276 h 514350"/>
                <a:gd name="connsiteX5402" fmla="*/ 2831306 w 6400800"/>
                <a:gd name="connsiteY5402" fmla="*/ 312896 h 514350"/>
                <a:gd name="connsiteX5403" fmla="*/ 2831306 w 6400800"/>
                <a:gd name="connsiteY5403" fmla="*/ 313849 h 514350"/>
                <a:gd name="connsiteX5404" fmla="*/ 2830354 w 6400800"/>
                <a:gd name="connsiteY5404" fmla="*/ 308134 h 514350"/>
                <a:gd name="connsiteX5405" fmla="*/ 2830354 w 6400800"/>
                <a:gd name="connsiteY5405" fmla="*/ 305276 h 514350"/>
                <a:gd name="connsiteX5406" fmla="*/ 2829401 w 6400800"/>
                <a:gd name="connsiteY5406" fmla="*/ 292894 h 514350"/>
                <a:gd name="connsiteX5407" fmla="*/ 2830354 w 6400800"/>
                <a:gd name="connsiteY5407" fmla="*/ 299561 h 514350"/>
                <a:gd name="connsiteX5408" fmla="*/ 2829401 w 6400800"/>
                <a:gd name="connsiteY5408" fmla="*/ 301466 h 514350"/>
                <a:gd name="connsiteX5409" fmla="*/ 2829401 w 6400800"/>
                <a:gd name="connsiteY5409" fmla="*/ 299561 h 514350"/>
                <a:gd name="connsiteX5410" fmla="*/ 2829401 w 6400800"/>
                <a:gd name="connsiteY5410" fmla="*/ 292894 h 514350"/>
                <a:gd name="connsiteX5411" fmla="*/ 2785586 w 6400800"/>
                <a:gd name="connsiteY5411" fmla="*/ 268129 h 514350"/>
                <a:gd name="connsiteX5412" fmla="*/ 2782729 w 6400800"/>
                <a:gd name="connsiteY5412" fmla="*/ 271939 h 514350"/>
                <a:gd name="connsiteX5413" fmla="*/ 2782729 w 6400800"/>
                <a:gd name="connsiteY5413" fmla="*/ 269081 h 514350"/>
                <a:gd name="connsiteX5414" fmla="*/ 2782729 w 6400800"/>
                <a:gd name="connsiteY5414" fmla="*/ 265271 h 514350"/>
                <a:gd name="connsiteX5415" fmla="*/ 2786539 w 6400800"/>
                <a:gd name="connsiteY5415" fmla="*/ 258604 h 514350"/>
                <a:gd name="connsiteX5416" fmla="*/ 2786539 w 6400800"/>
                <a:gd name="connsiteY5416" fmla="*/ 260509 h 514350"/>
                <a:gd name="connsiteX5417" fmla="*/ 2785586 w 6400800"/>
                <a:gd name="connsiteY5417" fmla="*/ 268129 h 514350"/>
                <a:gd name="connsiteX5418" fmla="*/ 2796064 w 6400800"/>
                <a:gd name="connsiteY5418" fmla="*/ 268129 h 514350"/>
                <a:gd name="connsiteX5419" fmla="*/ 2796064 w 6400800"/>
                <a:gd name="connsiteY5419" fmla="*/ 268129 h 514350"/>
                <a:gd name="connsiteX5420" fmla="*/ 2798921 w 6400800"/>
                <a:gd name="connsiteY5420" fmla="*/ 263366 h 514350"/>
                <a:gd name="connsiteX5421" fmla="*/ 2796064 w 6400800"/>
                <a:gd name="connsiteY5421" fmla="*/ 268129 h 514350"/>
                <a:gd name="connsiteX5422" fmla="*/ 2803684 w 6400800"/>
                <a:gd name="connsiteY5422" fmla="*/ 314801 h 514350"/>
                <a:gd name="connsiteX5423" fmla="*/ 2802731 w 6400800"/>
                <a:gd name="connsiteY5423" fmla="*/ 318611 h 514350"/>
                <a:gd name="connsiteX5424" fmla="*/ 2801779 w 6400800"/>
                <a:gd name="connsiteY5424" fmla="*/ 325279 h 514350"/>
                <a:gd name="connsiteX5425" fmla="*/ 2798921 w 6400800"/>
                <a:gd name="connsiteY5425" fmla="*/ 317659 h 514350"/>
                <a:gd name="connsiteX5426" fmla="*/ 2798921 w 6400800"/>
                <a:gd name="connsiteY5426" fmla="*/ 315754 h 514350"/>
                <a:gd name="connsiteX5427" fmla="*/ 2798921 w 6400800"/>
                <a:gd name="connsiteY5427" fmla="*/ 315754 h 514350"/>
                <a:gd name="connsiteX5428" fmla="*/ 2801779 w 6400800"/>
                <a:gd name="connsiteY5428" fmla="*/ 304324 h 514350"/>
                <a:gd name="connsiteX5429" fmla="*/ 2803684 w 6400800"/>
                <a:gd name="connsiteY5429" fmla="*/ 312896 h 514350"/>
                <a:gd name="connsiteX5430" fmla="*/ 2803684 w 6400800"/>
                <a:gd name="connsiteY5430" fmla="*/ 314801 h 514350"/>
                <a:gd name="connsiteX5431" fmla="*/ 2810351 w 6400800"/>
                <a:gd name="connsiteY5431" fmla="*/ 280511 h 514350"/>
                <a:gd name="connsiteX5432" fmla="*/ 2805589 w 6400800"/>
                <a:gd name="connsiteY5432" fmla="*/ 302419 h 514350"/>
                <a:gd name="connsiteX5433" fmla="*/ 2803684 w 6400800"/>
                <a:gd name="connsiteY5433" fmla="*/ 298609 h 514350"/>
                <a:gd name="connsiteX5434" fmla="*/ 2802731 w 6400800"/>
                <a:gd name="connsiteY5434" fmla="*/ 296704 h 514350"/>
                <a:gd name="connsiteX5435" fmla="*/ 2805589 w 6400800"/>
                <a:gd name="connsiteY5435" fmla="*/ 287179 h 514350"/>
                <a:gd name="connsiteX5436" fmla="*/ 2809399 w 6400800"/>
                <a:gd name="connsiteY5436" fmla="*/ 277654 h 514350"/>
                <a:gd name="connsiteX5437" fmla="*/ 2810351 w 6400800"/>
                <a:gd name="connsiteY5437" fmla="*/ 275749 h 514350"/>
                <a:gd name="connsiteX5438" fmla="*/ 2810351 w 6400800"/>
                <a:gd name="connsiteY5438" fmla="*/ 280511 h 514350"/>
                <a:gd name="connsiteX5439" fmla="*/ 2811304 w 6400800"/>
                <a:gd name="connsiteY5439" fmla="*/ 276701 h 514350"/>
                <a:gd name="connsiteX5440" fmla="*/ 2811304 w 6400800"/>
                <a:gd name="connsiteY5440" fmla="*/ 274796 h 514350"/>
                <a:gd name="connsiteX5441" fmla="*/ 2813209 w 6400800"/>
                <a:gd name="connsiteY5441" fmla="*/ 270986 h 514350"/>
                <a:gd name="connsiteX5442" fmla="*/ 2811304 w 6400800"/>
                <a:gd name="connsiteY5442" fmla="*/ 276701 h 514350"/>
                <a:gd name="connsiteX5443" fmla="*/ 2812256 w 6400800"/>
                <a:gd name="connsiteY5443" fmla="*/ 236696 h 514350"/>
                <a:gd name="connsiteX5444" fmla="*/ 2806541 w 6400800"/>
                <a:gd name="connsiteY5444" fmla="*/ 246221 h 514350"/>
                <a:gd name="connsiteX5445" fmla="*/ 2799874 w 6400800"/>
                <a:gd name="connsiteY5445" fmla="*/ 251936 h 514350"/>
                <a:gd name="connsiteX5446" fmla="*/ 2794159 w 6400800"/>
                <a:gd name="connsiteY5446" fmla="*/ 257651 h 514350"/>
                <a:gd name="connsiteX5447" fmla="*/ 2792254 w 6400800"/>
                <a:gd name="connsiteY5447" fmla="*/ 245269 h 514350"/>
                <a:gd name="connsiteX5448" fmla="*/ 2796064 w 6400800"/>
                <a:gd name="connsiteY5448" fmla="*/ 238601 h 514350"/>
                <a:gd name="connsiteX5449" fmla="*/ 2804636 w 6400800"/>
                <a:gd name="connsiteY5449" fmla="*/ 224314 h 514350"/>
                <a:gd name="connsiteX5450" fmla="*/ 2812256 w 6400800"/>
                <a:gd name="connsiteY5450" fmla="*/ 236696 h 514350"/>
                <a:gd name="connsiteX5451" fmla="*/ 2804636 w 6400800"/>
                <a:gd name="connsiteY5451" fmla="*/ 223361 h 514350"/>
                <a:gd name="connsiteX5452" fmla="*/ 2794159 w 6400800"/>
                <a:gd name="connsiteY5452" fmla="*/ 235744 h 514350"/>
                <a:gd name="connsiteX5453" fmla="*/ 2792254 w 6400800"/>
                <a:gd name="connsiteY5453" fmla="*/ 238601 h 514350"/>
                <a:gd name="connsiteX5454" fmla="*/ 2792254 w 6400800"/>
                <a:gd name="connsiteY5454" fmla="*/ 238601 h 514350"/>
                <a:gd name="connsiteX5455" fmla="*/ 2796064 w 6400800"/>
                <a:gd name="connsiteY5455" fmla="*/ 230981 h 514350"/>
                <a:gd name="connsiteX5456" fmla="*/ 2801779 w 6400800"/>
                <a:gd name="connsiteY5456" fmla="*/ 219551 h 514350"/>
                <a:gd name="connsiteX5457" fmla="*/ 2804636 w 6400800"/>
                <a:gd name="connsiteY5457" fmla="*/ 223361 h 514350"/>
                <a:gd name="connsiteX5458" fmla="*/ 2787491 w 6400800"/>
                <a:gd name="connsiteY5458" fmla="*/ 196691 h 514350"/>
                <a:gd name="connsiteX5459" fmla="*/ 2800826 w 6400800"/>
                <a:gd name="connsiteY5459" fmla="*/ 217646 h 514350"/>
                <a:gd name="connsiteX5460" fmla="*/ 2792254 w 6400800"/>
                <a:gd name="connsiteY5460" fmla="*/ 228124 h 514350"/>
                <a:gd name="connsiteX5461" fmla="*/ 2790349 w 6400800"/>
                <a:gd name="connsiteY5461" fmla="*/ 230981 h 514350"/>
                <a:gd name="connsiteX5462" fmla="*/ 2787491 w 6400800"/>
                <a:gd name="connsiteY5462" fmla="*/ 218599 h 514350"/>
                <a:gd name="connsiteX5463" fmla="*/ 2781776 w 6400800"/>
                <a:gd name="connsiteY5463" fmla="*/ 196691 h 514350"/>
                <a:gd name="connsiteX5464" fmla="*/ 2783681 w 6400800"/>
                <a:gd name="connsiteY5464" fmla="*/ 218599 h 514350"/>
                <a:gd name="connsiteX5465" fmla="*/ 2784634 w 6400800"/>
                <a:gd name="connsiteY5465" fmla="*/ 237649 h 514350"/>
                <a:gd name="connsiteX5466" fmla="*/ 2780824 w 6400800"/>
                <a:gd name="connsiteY5466" fmla="*/ 243364 h 514350"/>
                <a:gd name="connsiteX5467" fmla="*/ 2778919 w 6400800"/>
                <a:gd name="connsiteY5467" fmla="*/ 204311 h 514350"/>
                <a:gd name="connsiteX5468" fmla="*/ 2777966 w 6400800"/>
                <a:gd name="connsiteY5468" fmla="*/ 186214 h 514350"/>
                <a:gd name="connsiteX5469" fmla="*/ 2775109 w 6400800"/>
                <a:gd name="connsiteY5469" fmla="*/ 204311 h 514350"/>
                <a:gd name="connsiteX5470" fmla="*/ 2774156 w 6400800"/>
                <a:gd name="connsiteY5470" fmla="*/ 214789 h 514350"/>
                <a:gd name="connsiteX5471" fmla="*/ 2770346 w 6400800"/>
                <a:gd name="connsiteY5471" fmla="*/ 190976 h 514350"/>
                <a:gd name="connsiteX5472" fmla="*/ 2770346 w 6400800"/>
                <a:gd name="connsiteY5472" fmla="*/ 189071 h 514350"/>
                <a:gd name="connsiteX5473" fmla="*/ 2770346 w 6400800"/>
                <a:gd name="connsiteY5473" fmla="*/ 185261 h 514350"/>
                <a:gd name="connsiteX5474" fmla="*/ 2768441 w 6400800"/>
                <a:gd name="connsiteY5474" fmla="*/ 166211 h 514350"/>
                <a:gd name="connsiteX5475" fmla="*/ 2787491 w 6400800"/>
                <a:gd name="connsiteY5475" fmla="*/ 196691 h 514350"/>
                <a:gd name="connsiteX5476" fmla="*/ 2767489 w 6400800"/>
                <a:gd name="connsiteY5476" fmla="*/ 167164 h 514350"/>
                <a:gd name="connsiteX5477" fmla="*/ 2767489 w 6400800"/>
                <a:gd name="connsiteY5477" fmla="*/ 170974 h 514350"/>
                <a:gd name="connsiteX5478" fmla="*/ 2766536 w 6400800"/>
                <a:gd name="connsiteY5478" fmla="*/ 166211 h 514350"/>
                <a:gd name="connsiteX5479" fmla="*/ 2767489 w 6400800"/>
                <a:gd name="connsiteY5479" fmla="*/ 167164 h 514350"/>
                <a:gd name="connsiteX5480" fmla="*/ 2757964 w 6400800"/>
                <a:gd name="connsiteY5480" fmla="*/ 342424 h 514350"/>
                <a:gd name="connsiteX5481" fmla="*/ 2755106 w 6400800"/>
                <a:gd name="connsiteY5481" fmla="*/ 336709 h 514350"/>
                <a:gd name="connsiteX5482" fmla="*/ 2758916 w 6400800"/>
                <a:gd name="connsiteY5482" fmla="*/ 329089 h 514350"/>
                <a:gd name="connsiteX5483" fmla="*/ 2760821 w 6400800"/>
                <a:gd name="connsiteY5483" fmla="*/ 332899 h 514350"/>
                <a:gd name="connsiteX5484" fmla="*/ 2757964 w 6400800"/>
                <a:gd name="connsiteY5484" fmla="*/ 342424 h 514350"/>
                <a:gd name="connsiteX5485" fmla="*/ 2762726 w 6400800"/>
                <a:gd name="connsiteY5485" fmla="*/ 327184 h 514350"/>
                <a:gd name="connsiteX5486" fmla="*/ 2761774 w 6400800"/>
                <a:gd name="connsiteY5486" fmla="*/ 330994 h 514350"/>
                <a:gd name="connsiteX5487" fmla="*/ 2759869 w 6400800"/>
                <a:gd name="connsiteY5487" fmla="*/ 328136 h 514350"/>
                <a:gd name="connsiteX5488" fmla="*/ 2761774 w 6400800"/>
                <a:gd name="connsiteY5488" fmla="*/ 324326 h 514350"/>
                <a:gd name="connsiteX5489" fmla="*/ 2762726 w 6400800"/>
                <a:gd name="connsiteY5489" fmla="*/ 327184 h 514350"/>
                <a:gd name="connsiteX5490" fmla="*/ 2762726 w 6400800"/>
                <a:gd name="connsiteY5490" fmla="*/ 327184 h 514350"/>
                <a:gd name="connsiteX5491" fmla="*/ 2762726 w 6400800"/>
                <a:gd name="connsiteY5491" fmla="*/ 250031 h 514350"/>
                <a:gd name="connsiteX5492" fmla="*/ 2762726 w 6400800"/>
                <a:gd name="connsiteY5492" fmla="*/ 270034 h 514350"/>
                <a:gd name="connsiteX5493" fmla="*/ 2754154 w 6400800"/>
                <a:gd name="connsiteY5493" fmla="*/ 282416 h 514350"/>
                <a:gd name="connsiteX5494" fmla="*/ 2753201 w 6400800"/>
                <a:gd name="connsiteY5494" fmla="*/ 284321 h 514350"/>
                <a:gd name="connsiteX5495" fmla="*/ 2752249 w 6400800"/>
                <a:gd name="connsiteY5495" fmla="*/ 282416 h 514350"/>
                <a:gd name="connsiteX5496" fmla="*/ 2753201 w 6400800"/>
                <a:gd name="connsiteY5496" fmla="*/ 278606 h 514350"/>
                <a:gd name="connsiteX5497" fmla="*/ 2756059 w 6400800"/>
                <a:gd name="connsiteY5497" fmla="*/ 267176 h 514350"/>
                <a:gd name="connsiteX5498" fmla="*/ 2761774 w 6400800"/>
                <a:gd name="connsiteY5498" fmla="*/ 251936 h 514350"/>
                <a:gd name="connsiteX5499" fmla="*/ 2762726 w 6400800"/>
                <a:gd name="connsiteY5499" fmla="*/ 250031 h 514350"/>
                <a:gd name="connsiteX5500" fmla="*/ 2762726 w 6400800"/>
                <a:gd name="connsiteY5500" fmla="*/ 250031 h 514350"/>
                <a:gd name="connsiteX5501" fmla="*/ 2753201 w 6400800"/>
                <a:gd name="connsiteY5501" fmla="*/ 250031 h 514350"/>
                <a:gd name="connsiteX5502" fmla="*/ 2757011 w 6400800"/>
                <a:gd name="connsiteY5502" fmla="*/ 230981 h 514350"/>
                <a:gd name="connsiteX5503" fmla="*/ 2762726 w 6400800"/>
                <a:gd name="connsiteY5503" fmla="*/ 249079 h 514350"/>
                <a:gd name="connsiteX5504" fmla="*/ 2760821 w 6400800"/>
                <a:gd name="connsiteY5504" fmla="*/ 252889 h 514350"/>
                <a:gd name="connsiteX5505" fmla="*/ 2752249 w 6400800"/>
                <a:gd name="connsiteY5505" fmla="*/ 267176 h 514350"/>
                <a:gd name="connsiteX5506" fmla="*/ 2748439 w 6400800"/>
                <a:gd name="connsiteY5506" fmla="*/ 275749 h 514350"/>
                <a:gd name="connsiteX5507" fmla="*/ 2747486 w 6400800"/>
                <a:gd name="connsiteY5507" fmla="*/ 274796 h 514350"/>
                <a:gd name="connsiteX5508" fmla="*/ 2753201 w 6400800"/>
                <a:gd name="connsiteY5508" fmla="*/ 250031 h 514350"/>
                <a:gd name="connsiteX5509" fmla="*/ 2749391 w 6400800"/>
                <a:gd name="connsiteY5509" fmla="*/ 362426 h 514350"/>
                <a:gd name="connsiteX5510" fmla="*/ 2746534 w 6400800"/>
                <a:gd name="connsiteY5510" fmla="*/ 357664 h 514350"/>
                <a:gd name="connsiteX5511" fmla="*/ 2746534 w 6400800"/>
                <a:gd name="connsiteY5511" fmla="*/ 354806 h 514350"/>
                <a:gd name="connsiteX5512" fmla="*/ 2749391 w 6400800"/>
                <a:gd name="connsiteY5512" fmla="*/ 362426 h 514350"/>
                <a:gd name="connsiteX5513" fmla="*/ 2734151 w 6400800"/>
                <a:gd name="connsiteY5513" fmla="*/ 258604 h 514350"/>
                <a:gd name="connsiteX5514" fmla="*/ 2740819 w 6400800"/>
                <a:gd name="connsiteY5514" fmla="*/ 273844 h 514350"/>
                <a:gd name="connsiteX5515" fmla="*/ 2735104 w 6400800"/>
                <a:gd name="connsiteY5515" fmla="*/ 290036 h 514350"/>
                <a:gd name="connsiteX5516" fmla="*/ 2734151 w 6400800"/>
                <a:gd name="connsiteY5516" fmla="*/ 287179 h 514350"/>
                <a:gd name="connsiteX5517" fmla="*/ 2734151 w 6400800"/>
                <a:gd name="connsiteY5517" fmla="*/ 291941 h 514350"/>
                <a:gd name="connsiteX5518" fmla="*/ 2734151 w 6400800"/>
                <a:gd name="connsiteY5518" fmla="*/ 291941 h 514350"/>
                <a:gd name="connsiteX5519" fmla="*/ 2732246 w 6400800"/>
                <a:gd name="connsiteY5519" fmla="*/ 289084 h 514350"/>
                <a:gd name="connsiteX5520" fmla="*/ 2731294 w 6400800"/>
                <a:gd name="connsiteY5520" fmla="*/ 286226 h 514350"/>
                <a:gd name="connsiteX5521" fmla="*/ 2734151 w 6400800"/>
                <a:gd name="connsiteY5521" fmla="*/ 258604 h 514350"/>
                <a:gd name="connsiteX5522" fmla="*/ 2715101 w 6400800"/>
                <a:gd name="connsiteY5522" fmla="*/ 290989 h 514350"/>
                <a:gd name="connsiteX5523" fmla="*/ 2716054 w 6400800"/>
                <a:gd name="connsiteY5523" fmla="*/ 273844 h 514350"/>
                <a:gd name="connsiteX5524" fmla="*/ 2717959 w 6400800"/>
                <a:gd name="connsiteY5524" fmla="*/ 278606 h 514350"/>
                <a:gd name="connsiteX5525" fmla="*/ 2716054 w 6400800"/>
                <a:gd name="connsiteY5525" fmla="*/ 304324 h 514350"/>
                <a:gd name="connsiteX5526" fmla="*/ 2715101 w 6400800"/>
                <a:gd name="connsiteY5526" fmla="*/ 303371 h 514350"/>
                <a:gd name="connsiteX5527" fmla="*/ 2715101 w 6400800"/>
                <a:gd name="connsiteY5527" fmla="*/ 290989 h 514350"/>
                <a:gd name="connsiteX5528" fmla="*/ 2705576 w 6400800"/>
                <a:gd name="connsiteY5528" fmla="*/ 243364 h 514350"/>
                <a:gd name="connsiteX5529" fmla="*/ 2704624 w 6400800"/>
                <a:gd name="connsiteY5529" fmla="*/ 247174 h 514350"/>
                <a:gd name="connsiteX5530" fmla="*/ 2703671 w 6400800"/>
                <a:gd name="connsiteY5530" fmla="*/ 238601 h 514350"/>
                <a:gd name="connsiteX5531" fmla="*/ 2705576 w 6400800"/>
                <a:gd name="connsiteY5531" fmla="*/ 243364 h 514350"/>
                <a:gd name="connsiteX5532" fmla="*/ 2697956 w 6400800"/>
                <a:gd name="connsiteY5532" fmla="*/ 312896 h 514350"/>
                <a:gd name="connsiteX5533" fmla="*/ 2697956 w 6400800"/>
                <a:gd name="connsiteY5533" fmla="*/ 313849 h 514350"/>
                <a:gd name="connsiteX5534" fmla="*/ 2697956 w 6400800"/>
                <a:gd name="connsiteY5534" fmla="*/ 310991 h 514350"/>
                <a:gd name="connsiteX5535" fmla="*/ 2697956 w 6400800"/>
                <a:gd name="connsiteY5535" fmla="*/ 312896 h 514350"/>
                <a:gd name="connsiteX5536" fmla="*/ 2664619 w 6400800"/>
                <a:gd name="connsiteY5536" fmla="*/ 234791 h 514350"/>
                <a:gd name="connsiteX5537" fmla="*/ 2666524 w 6400800"/>
                <a:gd name="connsiteY5537" fmla="*/ 238601 h 514350"/>
                <a:gd name="connsiteX5538" fmla="*/ 2673191 w 6400800"/>
                <a:gd name="connsiteY5538" fmla="*/ 287179 h 514350"/>
                <a:gd name="connsiteX5539" fmla="*/ 2670334 w 6400800"/>
                <a:gd name="connsiteY5539" fmla="*/ 279559 h 514350"/>
                <a:gd name="connsiteX5540" fmla="*/ 2670334 w 6400800"/>
                <a:gd name="connsiteY5540" fmla="*/ 278606 h 514350"/>
                <a:gd name="connsiteX5541" fmla="*/ 2671286 w 6400800"/>
                <a:gd name="connsiteY5541" fmla="*/ 276701 h 514350"/>
                <a:gd name="connsiteX5542" fmla="*/ 2670334 w 6400800"/>
                <a:gd name="connsiteY5542" fmla="*/ 278606 h 514350"/>
                <a:gd name="connsiteX5543" fmla="*/ 2664619 w 6400800"/>
                <a:gd name="connsiteY5543" fmla="*/ 246221 h 514350"/>
                <a:gd name="connsiteX5544" fmla="*/ 2663666 w 6400800"/>
                <a:gd name="connsiteY5544" fmla="*/ 240506 h 514350"/>
                <a:gd name="connsiteX5545" fmla="*/ 2664619 w 6400800"/>
                <a:gd name="connsiteY5545" fmla="*/ 234791 h 514350"/>
                <a:gd name="connsiteX5546" fmla="*/ 2657951 w 6400800"/>
                <a:gd name="connsiteY5546" fmla="*/ 339566 h 514350"/>
                <a:gd name="connsiteX5547" fmla="*/ 2656046 w 6400800"/>
                <a:gd name="connsiteY5547" fmla="*/ 336709 h 514350"/>
                <a:gd name="connsiteX5548" fmla="*/ 2657951 w 6400800"/>
                <a:gd name="connsiteY5548" fmla="*/ 325279 h 514350"/>
                <a:gd name="connsiteX5549" fmla="*/ 2657951 w 6400800"/>
                <a:gd name="connsiteY5549" fmla="*/ 339566 h 514350"/>
                <a:gd name="connsiteX5550" fmla="*/ 2654141 w 6400800"/>
                <a:gd name="connsiteY5550" fmla="*/ 277654 h 514350"/>
                <a:gd name="connsiteX5551" fmla="*/ 2659856 w 6400800"/>
                <a:gd name="connsiteY5551" fmla="*/ 298609 h 514350"/>
                <a:gd name="connsiteX5552" fmla="*/ 2659856 w 6400800"/>
                <a:gd name="connsiteY5552" fmla="*/ 299561 h 514350"/>
                <a:gd name="connsiteX5553" fmla="*/ 2653189 w 6400800"/>
                <a:gd name="connsiteY5553" fmla="*/ 316706 h 514350"/>
                <a:gd name="connsiteX5554" fmla="*/ 2652236 w 6400800"/>
                <a:gd name="connsiteY5554" fmla="*/ 319564 h 514350"/>
                <a:gd name="connsiteX5555" fmla="*/ 2650331 w 6400800"/>
                <a:gd name="connsiteY5555" fmla="*/ 311944 h 514350"/>
                <a:gd name="connsiteX5556" fmla="*/ 2647474 w 6400800"/>
                <a:gd name="connsiteY5556" fmla="*/ 301466 h 514350"/>
                <a:gd name="connsiteX5557" fmla="*/ 2654141 w 6400800"/>
                <a:gd name="connsiteY5557" fmla="*/ 277654 h 514350"/>
                <a:gd name="connsiteX5558" fmla="*/ 2633186 w 6400800"/>
                <a:gd name="connsiteY5558" fmla="*/ 283369 h 514350"/>
                <a:gd name="connsiteX5559" fmla="*/ 2633186 w 6400800"/>
                <a:gd name="connsiteY5559" fmla="*/ 285274 h 514350"/>
                <a:gd name="connsiteX5560" fmla="*/ 2633186 w 6400800"/>
                <a:gd name="connsiteY5560" fmla="*/ 286226 h 514350"/>
                <a:gd name="connsiteX5561" fmla="*/ 2632234 w 6400800"/>
                <a:gd name="connsiteY5561" fmla="*/ 290036 h 514350"/>
                <a:gd name="connsiteX5562" fmla="*/ 2633186 w 6400800"/>
                <a:gd name="connsiteY5562" fmla="*/ 283369 h 514350"/>
                <a:gd name="connsiteX5563" fmla="*/ 2578894 w 6400800"/>
                <a:gd name="connsiteY5563" fmla="*/ 242411 h 514350"/>
                <a:gd name="connsiteX5564" fmla="*/ 2577941 w 6400800"/>
                <a:gd name="connsiteY5564" fmla="*/ 241459 h 514350"/>
                <a:gd name="connsiteX5565" fmla="*/ 2580799 w 6400800"/>
                <a:gd name="connsiteY5565" fmla="*/ 235744 h 514350"/>
                <a:gd name="connsiteX5566" fmla="*/ 2580799 w 6400800"/>
                <a:gd name="connsiteY5566" fmla="*/ 235744 h 514350"/>
                <a:gd name="connsiteX5567" fmla="*/ 2578894 w 6400800"/>
                <a:gd name="connsiteY5567" fmla="*/ 242411 h 514350"/>
                <a:gd name="connsiteX5568" fmla="*/ 2597944 w 6400800"/>
                <a:gd name="connsiteY5568" fmla="*/ 275749 h 514350"/>
                <a:gd name="connsiteX5569" fmla="*/ 2597944 w 6400800"/>
                <a:gd name="connsiteY5569" fmla="*/ 274796 h 514350"/>
                <a:gd name="connsiteX5570" fmla="*/ 2597944 w 6400800"/>
                <a:gd name="connsiteY5570" fmla="*/ 275749 h 514350"/>
                <a:gd name="connsiteX5571" fmla="*/ 2597944 w 6400800"/>
                <a:gd name="connsiteY5571" fmla="*/ 275749 h 514350"/>
                <a:gd name="connsiteX5572" fmla="*/ 2616041 w 6400800"/>
                <a:gd name="connsiteY5572" fmla="*/ 309086 h 514350"/>
                <a:gd name="connsiteX5573" fmla="*/ 2613184 w 6400800"/>
                <a:gd name="connsiteY5573" fmla="*/ 319564 h 514350"/>
                <a:gd name="connsiteX5574" fmla="*/ 2613184 w 6400800"/>
                <a:gd name="connsiteY5574" fmla="*/ 318611 h 514350"/>
                <a:gd name="connsiteX5575" fmla="*/ 2613184 w 6400800"/>
                <a:gd name="connsiteY5575" fmla="*/ 319564 h 514350"/>
                <a:gd name="connsiteX5576" fmla="*/ 2613184 w 6400800"/>
                <a:gd name="connsiteY5576" fmla="*/ 319564 h 514350"/>
                <a:gd name="connsiteX5577" fmla="*/ 2600801 w 6400800"/>
                <a:gd name="connsiteY5577" fmla="*/ 289084 h 514350"/>
                <a:gd name="connsiteX5578" fmla="*/ 2602706 w 6400800"/>
                <a:gd name="connsiteY5578" fmla="*/ 282416 h 514350"/>
                <a:gd name="connsiteX5579" fmla="*/ 2612231 w 6400800"/>
                <a:gd name="connsiteY5579" fmla="*/ 299561 h 514350"/>
                <a:gd name="connsiteX5580" fmla="*/ 2616041 w 6400800"/>
                <a:gd name="connsiteY5580" fmla="*/ 308134 h 514350"/>
                <a:gd name="connsiteX5581" fmla="*/ 2616041 w 6400800"/>
                <a:gd name="connsiteY5581" fmla="*/ 309086 h 514350"/>
                <a:gd name="connsiteX5582" fmla="*/ 2616041 w 6400800"/>
                <a:gd name="connsiteY5582" fmla="*/ 309086 h 514350"/>
                <a:gd name="connsiteX5583" fmla="*/ 2604611 w 6400800"/>
                <a:gd name="connsiteY5583" fmla="*/ 276701 h 514350"/>
                <a:gd name="connsiteX5584" fmla="*/ 2608421 w 6400800"/>
                <a:gd name="connsiteY5584" fmla="*/ 267176 h 514350"/>
                <a:gd name="connsiteX5585" fmla="*/ 2615089 w 6400800"/>
                <a:gd name="connsiteY5585" fmla="*/ 290036 h 514350"/>
                <a:gd name="connsiteX5586" fmla="*/ 2604611 w 6400800"/>
                <a:gd name="connsiteY5586" fmla="*/ 276701 h 514350"/>
                <a:gd name="connsiteX5587" fmla="*/ 2614136 w 6400800"/>
                <a:gd name="connsiteY5587" fmla="*/ 276701 h 514350"/>
                <a:gd name="connsiteX5588" fmla="*/ 2609374 w 6400800"/>
                <a:gd name="connsiteY5588" fmla="*/ 266224 h 514350"/>
                <a:gd name="connsiteX5589" fmla="*/ 2612231 w 6400800"/>
                <a:gd name="connsiteY5589" fmla="*/ 257651 h 514350"/>
                <a:gd name="connsiteX5590" fmla="*/ 2614136 w 6400800"/>
                <a:gd name="connsiteY5590" fmla="*/ 276701 h 514350"/>
                <a:gd name="connsiteX5591" fmla="*/ 2606516 w 6400800"/>
                <a:gd name="connsiteY5591" fmla="*/ 208121 h 514350"/>
                <a:gd name="connsiteX5592" fmla="*/ 2611279 w 6400800"/>
                <a:gd name="connsiteY5592" fmla="*/ 250984 h 514350"/>
                <a:gd name="connsiteX5593" fmla="*/ 2611279 w 6400800"/>
                <a:gd name="connsiteY5593" fmla="*/ 251936 h 514350"/>
                <a:gd name="connsiteX5594" fmla="*/ 2600801 w 6400800"/>
                <a:gd name="connsiteY5594" fmla="*/ 271939 h 514350"/>
                <a:gd name="connsiteX5595" fmla="*/ 2597944 w 6400800"/>
                <a:gd name="connsiteY5595" fmla="*/ 268129 h 514350"/>
                <a:gd name="connsiteX5596" fmla="*/ 2595086 w 6400800"/>
                <a:gd name="connsiteY5596" fmla="*/ 237649 h 514350"/>
                <a:gd name="connsiteX5597" fmla="*/ 2594134 w 6400800"/>
                <a:gd name="connsiteY5597" fmla="*/ 228124 h 514350"/>
                <a:gd name="connsiteX5598" fmla="*/ 2605564 w 6400800"/>
                <a:gd name="connsiteY5598" fmla="*/ 179546 h 514350"/>
                <a:gd name="connsiteX5599" fmla="*/ 2606516 w 6400800"/>
                <a:gd name="connsiteY5599" fmla="*/ 208121 h 514350"/>
                <a:gd name="connsiteX5600" fmla="*/ 2586514 w 6400800"/>
                <a:gd name="connsiteY5600" fmla="*/ 186214 h 514350"/>
                <a:gd name="connsiteX5601" fmla="*/ 2598896 w 6400800"/>
                <a:gd name="connsiteY5601" fmla="*/ 159544 h 514350"/>
                <a:gd name="connsiteX5602" fmla="*/ 2601754 w 6400800"/>
                <a:gd name="connsiteY5602" fmla="*/ 153829 h 514350"/>
                <a:gd name="connsiteX5603" fmla="*/ 2603659 w 6400800"/>
                <a:gd name="connsiteY5603" fmla="*/ 173831 h 514350"/>
                <a:gd name="connsiteX5604" fmla="*/ 2590324 w 6400800"/>
                <a:gd name="connsiteY5604" fmla="*/ 210979 h 514350"/>
                <a:gd name="connsiteX5605" fmla="*/ 2586514 w 6400800"/>
                <a:gd name="connsiteY5605" fmla="*/ 187166 h 514350"/>
                <a:gd name="connsiteX5606" fmla="*/ 2586514 w 6400800"/>
                <a:gd name="connsiteY5606" fmla="*/ 186214 h 514350"/>
                <a:gd name="connsiteX5607" fmla="*/ 2584609 w 6400800"/>
                <a:gd name="connsiteY5607" fmla="*/ 408146 h 514350"/>
                <a:gd name="connsiteX5608" fmla="*/ 2584609 w 6400800"/>
                <a:gd name="connsiteY5608" fmla="*/ 408146 h 514350"/>
                <a:gd name="connsiteX5609" fmla="*/ 2581751 w 6400800"/>
                <a:gd name="connsiteY5609" fmla="*/ 393859 h 514350"/>
                <a:gd name="connsiteX5610" fmla="*/ 2584609 w 6400800"/>
                <a:gd name="connsiteY5610" fmla="*/ 408146 h 514350"/>
                <a:gd name="connsiteX5611" fmla="*/ 2580799 w 6400800"/>
                <a:gd name="connsiteY5611" fmla="*/ 199549 h 514350"/>
                <a:gd name="connsiteX5612" fmla="*/ 2581751 w 6400800"/>
                <a:gd name="connsiteY5612" fmla="*/ 228124 h 514350"/>
                <a:gd name="connsiteX5613" fmla="*/ 2578894 w 6400800"/>
                <a:gd name="connsiteY5613" fmla="*/ 231934 h 514350"/>
                <a:gd name="connsiteX5614" fmla="*/ 2575084 w 6400800"/>
                <a:gd name="connsiteY5614" fmla="*/ 236696 h 514350"/>
                <a:gd name="connsiteX5615" fmla="*/ 2573179 w 6400800"/>
                <a:gd name="connsiteY5615" fmla="*/ 233839 h 514350"/>
                <a:gd name="connsiteX5616" fmla="*/ 2572226 w 6400800"/>
                <a:gd name="connsiteY5616" fmla="*/ 229076 h 514350"/>
                <a:gd name="connsiteX5617" fmla="*/ 2571274 w 6400800"/>
                <a:gd name="connsiteY5617" fmla="*/ 219551 h 514350"/>
                <a:gd name="connsiteX5618" fmla="*/ 2580799 w 6400800"/>
                <a:gd name="connsiteY5618" fmla="*/ 199549 h 514350"/>
                <a:gd name="connsiteX5619" fmla="*/ 2569369 w 6400800"/>
                <a:gd name="connsiteY5619" fmla="*/ 320516 h 514350"/>
                <a:gd name="connsiteX5620" fmla="*/ 2570321 w 6400800"/>
                <a:gd name="connsiteY5620" fmla="*/ 327184 h 514350"/>
                <a:gd name="connsiteX5621" fmla="*/ 2571274 w 6400800"/>
                <a:gd name="connsiteY5621" fmla="*/ 330041 h 514350"/>
                <a:gd name="connsiteX5622" fmla="*/ 2563654 w 6400800"/>
                <a:gd name="connsiteY5622" fmla="*/ 345281 h 514350"/>
                <a:gd name="connsiteX5623" fmla="*/ 2562701 w 6400800"/>
                <a:gd name="connsiteY5623" fmla="*/ 342424 h 514350"/>
                <a:gd name="connsiteX5624" fmla="*/ 2569369 w 6400800"/>
                <a:gd name="connsiteY5624" fmla="*/ 320516 h 514350"/>
                <a:gd name="connsiteX5625" fmla="*/ 2556034 w 6400800"/>
                <a:gd name="connsiteY5625" fmla="*/ 262414 h 514350"/>
                <a:gd name="connsiteX5626" fmla="*/ 2559844 w 6400800"/>
                <a:gd name="connsiteY5626" fmla="*/ 251936 h 514350"/>
                <a:gd name="connsiteX5627" fmla="*/ 2560796 w 6400800"/>
                <a:gd name="connsiteY5627" fmla="*/ 257651 h 514350"/>
                <a:gd name="connsiteX5628" fmla="*/ 2559844 w 6400800"/>
                <a:gd name="connsiteY5628" fmla="*/ 259556 h 514350"/>
                <a:gd name="connsiteX5629" fmla="*/ 2554129 w 6400800"/>
                <a:gd name="connsiteY5629" fmla="*/ 269081 h 514350"/>
                <a:gd name="connsiteX5630" fmla="*/ 2556034 w 6400800"/>
                <a:gd name="connsiteY5630" fmla="*/ 262414 h 514350"/>
                <a:gd name="connsiteX5631" fmla="*/ 2561749 w 6400800"/>
                <a:gd name="connsiteY5631" fmla="*/ 276701 h 514350"/>
                <a:gd name="connsiteX5632" fmla="*/ 2562701 w 6400800"/>
                <a:gd name="connsiteY5632" fmla="*/ 274796 h 514350"/>
                <a:gd name="connsiteX5633" fmla="*/ 2564606 w 6400800"/>
                <a:gd name="connsiteY5633" fmla="*/ 287179 h 514350"/>
                <a:gd name="connsiteX5634" fmla="*/ 2557939 w 6400800"/>
                <a:gd name="connsiteY5634" fmla="*/ 309086 h 514350"/>
                <a:gd name="connsiteX5635" fmla="*/ 2556034 w 6400800"/>
                <a:gd name="connsiteY5635" fmla="*/ 313849 h 514350"/>
                <a:gd name="connsiteX5636" fmla="*/ 2553176 w 6400800"/>
                <a:gd name="connsiteY5636" fmla="*/ 296704 h 514350"/>
                <a:gd name="connsiteX5637" fmla="*/ 2561749 w 6400800"/>
                <a:gd name="connsiteY5637" fmla="*/ 276701 h 514350"/>
                <a:gd name="connsiteX5638" fmla="*/ 2538889 w 6400800"/>
                <a:gd name="connsiteY5638" fmla="*/ 252889 h 514350"/>
                <a:gd name="connsiteX5639" fmla="*/ 2540794 w 6400800"/>
                <a:gd name="connsiteY5639" fmla="*/ 242411 h 514350"/>
                <a:gd name="connsiteX5640" fmla="*/ 2542699 w 6400800"/>
                <a:gd name="connsiteY5640" fmla="*/ 238601 h 514350"/>
                <a:gd name="connsiteX5641" fmla="*/ 2544604 w 6400800"/>
                <a:gd name="connsiteY5641" fmla="*/ 233839 h 514350"/>
                <a:gd name="connsiteX5642" fmla="*/ 2543651 w 6400800"/>
                <a:gd name="connsiteY5642" fmla="*/ 248126 h 514350"/>
                <a:gd name="connsiteX5643" fmla="*/ 2542699 w 6400800"/>
                <a:gd name="connsiteY5643" fmla="*/ 257651 h 514350"/>
                <a:gd name="connsiteX5644" fmla="*/ 2537936 w 6400800"/>
                <a:gd name="connsiteY5644" fmla="*/ 268129 h 514350"/>
                <a:gd name="connsiteX5645" fmla="*/ 2538889 w 6400800"/>
                <a:gd name="connsiteY5645" fmla="*/ 252889 h 514350"/>
                <a:gd name="connsiteX5646" fmla="*/ 2521744 w 6400800"/>
                <a:gd name="connsiteY5646" fmla="*/ 475774 h 514350"/>
                <a:gd name="connsiteX5647" fmla="*/ 2522696 w 6400800"/>
                <a:gd name="connsiteY5647" fmla="*/ 484346 h 514350"/>
                <a:gd name="connsiteX5648" fmla="*/ 2520791 w 6400800"/>
                <a:gd name="connsiteY5648" fmla="*/ 479584 h 514350"/>
                <a:gd name="connsiteX5649" fmla="*/ 2521744 w 6400800"/>
                <a:gd name="connsiteY5649" fmla="*/ 475774 h 514350"/>
                <a:gd name="connsiteX5650" fmla="*/ 2514124 w 6400800"/>
                <a:gd name="connsiteY5650" fmla="*/ 323374 h 514350"/>
                <a:gd name="connsiteX5651" fmla="*/ 2514124 w 6400800"/>
                <a:gd name="connsiteY5651" fmla="*/ 323374 h 514350"/>
                <a:gd name="connsiteX5652" fmla="*/ 2513171 w 6400800"/>
                <a:gd name="connsiteY5652" fmla="*/ 328136 h 514350"/>
                <a:gd name="connsiteX5653" fmla="*/ 2513171 w 6400800"/>
                <a:gd name="connsiteY5653" fmla="*/ 329089 h 514350"/>
                <a:gd name="connsiteX5654" fmla="*/ 2514124 w 6400800"/>
                <a:gd name="connsiteY5654" fmla="*/ 323374 h 514350"/>
                <a:gd name="connsiteX5655" fmla="*/ 2509361 w 6400800"/>
                <a:gd name="connsiteY5655" fmla="*/ 300514 h 514350"/>
                <a:gd name="connsiteX5656" fmla="*/ 2508409 w 6400800"/>
                <a:gd name="connsiteY5656" fmla="*/ 302419 h 514350"/>
                <a:gd name="connsiteX5657" fmla="*/ 2508409 w 6400800"/>
                <a:gd name="connsiteY5657" fmla="*/ 302419 h 514350"/>
                <a:gd name="connsiteX5658" fmla="*/ 2507456 w 6400800"/>
                <a:gd name="connsiteY5658" fmla="*/ 294799 h 514350"/>
                <a:gd name="connsiteX5659" fmla="*/ 2509361 w 6400800"/>
                <a:gd name="connsiteY5659" fmla="*/ 300514 h 514350"/>
                <a:gd name="connsiteX5660" fmla="*/ 2496979 w 6400800"/>
                <a:gd name="connsiteY5660" fmla="*/ 292894 h 514350"/>
                <a:gd name="connsiteX5661" fmla="*/ 2497931 w 6400800"/>
                <a:gd name="connsiteY5661" fmla="*/ 290036 h 514350"/>
                <a:gd name="connsiteX5662" fmla="*/ 2496979 w 6400800"/>
                <a:gd name="connsiteY5662" fmla="*/ 290989 h 514350"/>
                <a:gd name="connsiteX5663" fmla="*/ 2497931 w 6400800"/>
                <a:gd name="connsiteY5663" fmla="*/ 284321 h 514350"/>
                <a:gd name="connsiteX5664" fmla="*/ 2498884 w 6400800"/>
                <a:gd name="connsiteY5664" fmla="*/ 269081 h 514350"/>
                <a:gd name="connsiteX5665" fmla="*/ 2498884 w 6400800"/>
                <a:gd name="connsiteY5665" fmla="*/ 266224 h 514350"/>
                <a:gd name="connsiteX5666" fmla="*/ 2502694 w 6400800"/>
                <a:gd name="connsiteY5666" fmla="*/ 277654 h 514350"/>
                <a:gd name="connsiteX5667" fmla="*/ 2502694 w 6400800"/>
                <a:gd name="connsiteY5667" fmla="*/ 283369 h 514350"/>
                <a:gd name="connsiteX5668" fmla="*/ 2501741 w 6400800"/>
                <a:gd name="connsiteY5668" fmla="*/ 302419 h 514350"/>
                <a:gd name="connsiteX5669" fmla="*/ 2501741 w 6400800"/>
                <a:gd name="connsiteY5669" fmla="*/ 313849 h 514350"/>
                <a:gd name="connsiteX5670" fmla="*/ 2500789 w 6400800"/>
                <a:gd name="connsiteY5670" fmla="*/ 325279 h 514350"/>
                <a:gd name="connsiteX5671" fmla="*/ 2500789 w 6400800"/>
                <a:gd name="connsiteY5671" fmla="*/ 326231 h 514350"/>
                <a:gd name="connsiteX5672" fmla="*/ 2499836 w 6400800"/>
                <a:gd name="connsiteY5672" fmla="*/ 315754 h 514350"/>
                <a:gd name="connsiteX5673" fmla="*/ 2499836 w 6400800"/>
                <a:gd name="connsiteY5673" fmla="*/ 310039 h 514350"/>
                <a:gd name="connsiteX5674" fmla="*/ 2500789 w 6400800"/>
                <a:gd name="connsiteY5674" fmla="*/ 297656 h 514350"/>
                <a:gd name="connsiteX5675" fmla="*/ 2500789 w 6400800"/>
                <a:gd name="connsiteY5675" fmla="*/ 286226 h 514350"/>
                <a:gd name="connsiteX5676" fmla="*/ 2496979 w 6400800"/>
                <a:gd name="connsiteY5676" fmla="*/ 292894 h 514350"/>
                <a:gd name="connsiteX5677" fmla="*/ 2496979 w 6400800"/>
                <a:gd name="connsiteY5677" fmla="*/ 292894 h 514350"/>
                <a:gd name="connsiteX5678" fmla="*/ 2449354 w 6400800"/>
                <a:gd name="connsiteY5678" fmla="*/ 334804 h 514350"/>
                <a:gd name="connsiteX5679" fmla="*/ 2447449 w 6400800"/>
                <a:gd name="connsiteY5679" fmla="*/ 328136 h 514350"/>
                <a:gd name="connsiteX5680" fmla="*/ 2450306 w 6400800"/>
                <a:gd name="connsiteY5680" fmla="*/ 321469 h 514350"/>
                <a:gd name="connsiteX5681" fmla="*/ 2450306 w 6400800"/>
                <a:gd name="connsiteY5681" fmla="*/ 322421 h 514350"/>
                <a:gd name="connsiteX5682" fmla="*/ 2451259 w 6400800"/>
                <a:gd name="connsiteY5682" fmla="*/ 324326 h 514350"/>
                <a:gd name="connsiteX5683" fmla="*/ 2449354 w 6400800"/>
                <a:gd name="connsiteY5683" fmla="*/ 334804 h 514350"/>
                <a:gd name="connsiteX5684" fmla="*/ 2450306 w 6400800"/>
                <a:gd name="connsiteY5684" fmla="*/ 254794 h 514350"/>
                <a:gd name="connsiteX5685" fmla="*/ 2451259 w 6400800"/>
                <a:gd name="connsiteY5685" fmla="*/ 251936 h 514350"/>
                <a:gd name="connsiteX5686" fmla="*/ 2451259 w 6400800"/>
                <a:gd name="connsiteY5686" fmla="*/ 250984 h 514350"/>
                <a:gd name="connsiteX5687" fmla="*/ 2451259 w 6400800"/>
                <a:gd name="connsiteY5687" fmla="*/ 251936 h 514350"/>
                <a:gd name="connsiteX5688" fmla="*/ 2450306 w 6400800"/>
                <a:gd name="connsiteY5688" fmla="*/ 254794 h 514350"/>
                <a:gd name="connsiteX5689" fmla="*/ 2452211 w 6400800"/>
                <a:gd name="connsiteY5689" fmla="*/ 251936 h 514350"/>
                <a:gd name="connsiteX5690" fmla="*/ 2451259 w 6400800"/>
                <a:gd name="connsiteY5690" fmla="*/ 250984 h 514350"/>
                <a:gd name="connsiteX5691" fmla="*/ 2456021 w 6400800"/>
                <a:gd name="connsiteY5691" fmla="*/ 238601 h 514350"/>
                <a:gd name="connsiteX5692" fmla="*/ 2460784 w 6400800"/>
                <a:gd name="connsiteY5692" fmla="*/ 231934 h 514350"/>
                <a:gd name="connsiteX5693" fmla="*/ 2459831 w 6400800"/>
                <a:gd name="connsiteY5693" fmla="*/ 235744 h 514350"/>
                <a:gd name="connsiteX5694" fmla="*/ 2456021 w 6400800"/>
                <a:gd name="connsiteY5694" fmla="*/ 248126 h 514350"/>
                <a:gd name="connsiteX5695" fmla="*/ 2452211 w 6400800"/>
                <a:gd name="connsiteY5695" fmla="*/ 251936 h 514350"/>
                <a:gd name="connsiteX5696" fmla="*/ 2457926 w 6400800"/>
                <a:gd name="connsiteY5696" fmla="*/ 266224 h 514350"/>
                <a:gd name="connsiteX5697" fmla="*/ 2456974 w 6400800"/>
                <a:gd name="connsiteY5697" fmla="*/ 268129 h 514350"/>
                <a:gd name="connsiteX5698" fmla="*/ 2457926 w 6400800"/>
                <a:gd name="connsiteY5698" fmla="*/ 266224 h 514350"/>
                <a:gd name="connsiteX5699" fmla="*/ 2457926 w 6400800"/>
                <a:gd name="connsiteY5699" fmla="*/ 266224 h 514350"/>
                <a:gd name="connsiteX5700" fmla="*/ 2457926 w 6400800"/>
                <a:gd name="connsiteY5700" fmla="*/ 374809 h 514350"/>
                <a:gd name="connsiteX5701" fmla="*/ 2456021 w 6400800"/>
                <a:gd name="connsiteY5701" fmla="*/ 367189 h 514350"/>
                <a:gd name="connsiteX5702" fmla="*/ 2456021 w 6400800"/>
                <a:gd name="connsiteY5702" fmla="*/ 362426 h 514350"/>
                <a:gd name="connsiteX5703" fmla="*/ 2456021 w 6400800"/>
                <a:gd name="connsiteY5703" fmla="*/ 344329 h 514350"/>
                <a:gd name="connsiteX5704" fmla="*/ 2458879 w 6400800"/>
                <a:gd name="connsiteY5704" fmla="*/ 354806 h 514350"/>
                <a:gd name="connsiteX5705" fmla="*/ 2457926 w 6400800"/>
                <a:gd name="connsiteY5705" fmla="*/ 374809 h 514350"/>
                <a:gd name="connsiteX5706" fmla="*/ 2456974 w 6400800"/>
                <a:gd name="connsiteY5706" fmla="*/ 308134 h 514350"/>
                <a:gd name="connsiteX5707" fmla="*/ 2456974 w 6400800"/>
                <a:gd name="connsiteY5707" fmla="*/ 305276 h 514350"/>
                <a:gd name="connsiteX5708" fmla="*/ 2457926 w 6400800"/>
                <a:gd name="connsiteY5708" fmla="*/ 302419 h 514350"/>
                <a:gd name="connsiteX5709" fmla="*/ 2459831 w 6400800"/>
                <a:gd name="connsiteY5709" fmla="*/ 313849 h 514350"/>
                <a:gd name="connsiteX5710" fmla="*/ 2460784 w 6400800"/>
                <a:gd name="connsiteY5710" fmla="*/ 317659 h 514350"/>
                <a:gd name="connsiteX5711" fmla="*/ 2456974 w 6400800"/>
                <a:gd name="connsiteY5711" fmla="*/ 308134 h 514350"/>
                <a:gd name="connsiteX5712" fmla="*/ 2458879 w 6400800"/>
                <a:gd name="connsiteY5712" fmla="*/ 290036 h 514350"/>
                <a:gd name="connsiteX5713" fmla="*/ 2459831 w 6400800"/>
                <a:gd name="connsiteY5713" fmla="*/ 287179 h 514350"/>
                <a:gd name="connsiteX5714" fmla="*/ 2463641 w 6400800"/>
                <a:gd name="connsiteY5714" fmla="*/ 277654 h 514350"/>
                <a:gd name="connsiteX5715" fmla="*/ 2465546 w 6400800"/>
                <a:gd name="connsiteY5715" fmla="*/ 281464 h 514350"/>
                <a:gd name="connsiteX5716" fmla="*/ 2458879 w 6400800"/>
                <a:gd name="connsiteY5716" fmla="*/ 290036 h 514350"/>
                <a:gd name="connsiteX5717" fmla="*/ 2464594 w 6400800"/>
                <a:gd name="connsiteY5717" fmla="*/ 305276 h 514350"/>
                <a:gd name="connsiteX5718" fmla="*/ 2460784 w 6400800"/>
                <a:gd name="connsiteY5718" fmla="*/ 295751 h 514350"/>
                <a:gd name="connsiteX5719" fmla="*/ 2462689 w 6400800"/>
                <a:gd name="connsiteY5719" fmla="*/ 292894 h 514350"/>
                <a:gd name="connsiteX5720" fmla="*/ 2466499 w 6400800"/>
                <a:gd name="connsiteY5720" fmla="*/ 285274 h 514350"/>
                <a:gd name="connsiteX5721" fmla="*/ 2464594 w 6400800"/>
                <a:gd name="connsiteY5721" fmla="*/ 305276 h 514350"/>
                <a:gd name="connsiteX5722" fmla="*/ 2467451 w 6400800"/>
                <a:gd name="connsiteY5722" fmla="*/ 274796 h 514350"/>
                <a:gd name="connsiteX5723" fmla="*/ 2466499 w 6400800"/>
                <a:gd name="connsiteY5723" fmla="*/ 272891 h 514350"/>
                <a:gd name="connsiteX5724" fmla="*/ 2468404 w 6400800"/>
                <a:gd name="connsiteY5724" fmla="*/ 268129 h 514350"/>
                <a:gd name="connsiteX5725" fmla="*/ 2467451 w 6400800"/>
                <a:gd name="connsiteY5725" fmla="*/ 274796 h 514350"/>
                <a:gd name="connsiteX5726" fmla="*/ 2471261 w 6400800"/>
                <a:gd name="connsiteY5726" fmla="*/ 233839 h 514350"/>
                <a:gd name="connsiteX5727" fmla="*/ 2470309 w 6400800"/>
                <a:gd name="connsiteY5727" fmla="*/ 245269 h 514350"/>
                <a:gd name="connsiteX5728" fmla="*/ 2469356 w 6400800"/>
                <a:gd name="connsiteY5728" fmla="*/ 246221 h 514350"/>
                <a:gd name="connsiteX5729" fmla="*/ 2459831 w 6400800"/>
                <a:gd name="connsiteY5729" fmla="*/ 263366 h 514350"/>
                <a:gd name="connsiteX5730" fmla="*/ 2458879 w 6400800"/>
                <a:gd name="connsiteY5730" fmla="*/ 261461 h 514350"/>
                <a:gd name="connsiteX5731" fmla="*/ 2461736 w 6400800"/>
                <a:gd name="connsiteY5731" fmla="*/ 247174 h 514350"/>
                <a:gd name="connsiteX5732" fmla="*/ 2462689 w 6400800"/>
                <a:gd name="connsiteY5732" fmla="*/ 245269 h 514350"/>
                <a:gd name="connsiteX5733" fmla="*/ 2472214 w 6400800"/>
                <a:gd name="connsiteY5733" fmla="*/ 231934 h 514350"/>
                <a:gd name="connsiteX5734" fmla="*/ 2472214 w 6400800"/>
                <a:gd name="connsiteY5734" fmla="*/ 231934 h 514350"/>
                <a:gd name="connsiteX5735" fmla="*/ 2473166 w 6400800"/>
                <a:gd name="connsiteY5735" fmla="*/ 240506 h 514350"/>
                <a:gd name="connsiteX5736" fmla="*/ 2472214 w 6400800"/>
                <a:gd name="connsiteY5736" fmla="*/ 242411 h 514350"/>
                <a:gd name="connsiteX5737" fmla="*/ 2471261 w 6400800"/>
                <a:gd name="connsiteY5737" fmla="*/ 233839 h 514350"/>
                <a:gd name="connsiteX5738" fmla="*/ 2467451 w 6400800"/>
                <a:gd name="connsiteY5738" fmla="*/ 211931 h 514350"/>
                <a:gd name="connsiteX5739" fmla="*/ 2465546 w 6400800"/>
                <a:gd name="connsiteY5739" fmla="*/ 213836 h 514350"/>
                <a:gd name="connsiteX5740" fmla="*/ 2466499 w 6400800"/>
                <a:gd name="connsiteY5740" fmla="*/ 211931 h 514350"/>
                <a:gd name="connsiteX5741" fmla="*/ 2468404 w 6400800"/>
                <a:gd name="connsiteY5741" fmla="*/ 208121 h 514350"/>
                <a:gd name="connsiteX5742" fmla="*/ 2468404 w 6400800"/>
                <a:gd name="connsiteY5742" fmla="*/ 210979 h 514350"/>
                <a:gd name="connsiteX5743" fmla="*/ 2467451 w 6400800"/>
                <a:gd name="connsiteY5743" fmla="*/ 211931 h 514350"/>
                <a:gd name="connsiteX5744" fmla="*/ 2467451 w 6400800"/>
                <a:gd name="connsiteY5744" fmla="*/ 211931 h 514350"/>
                <a:gd name="connsiteX5745" fmla="*/ 2467451 w 6400800"/>
                <a:gd name="connsiteY5745" fmla="*/ 211931 h 514350"/>
                <a:gd name="connsiteX5746" fmla="*/ 2470309 w 6400800"/>
                <a:gd name="connsiteY5746" fmla="*/ 218599 h 514350"/>
                <a:gd name="connsiteX5747" fmla="*/ 2472214 w 6400800"/>
                <a:gd name="connsiteY5747" fmla="*/ 230029 h 514350"/>
                <a:gd name="connsiteX5748" fmla="*/ 2472214 w 6400800"/>
                <a:gd name="connsiteY5748" fmla="*/ 230029 h 514350"/>
                <a:gd name="connsiteX5749" fmla="*/ 2463641 w 6400800"/>
                <a:gd name="connsiteY5749" fmla="*/ 237649 h 514350"/>
                <a:gd name="connsiteX5750" fmla="*/ 2464594 w 6400800"/>
                <a:gd name="connsiteY5750" fmla="*/ 234791 h 514350"/>
                <a:gd name="connsiteX5751" fmla="*/ 2466499 w 6400800"/>
                <a:gd name="connsiteY5751" fmla="*/ 224314 h 514350"/>
                <a:gd name="connsiteX5752" fmla="*/ 2466499 w 6400800"/>
                <a:gd name="connsiteY5752" fmla="*/ 224314 h 514350"/>
                <a:gd name="connsiteX5753" fmla="*/ 2470309 w 6400800"/>
                <a:gd name="connsiteY5753" fmla="*/ 218599 h 514350"/>
                <a:gd name="connsiteX5754" fmla="*/ 2477929 w 6400800"/>
                <a:gd name="connsiteY5754" fmla="*/ 223361 h 514350"/>
                <a:gd name="connsiteX5755" fmla="*/ 2475071 w 6400800"/>
                <a:gd name="connsiteY5755" fmla="*/ 212884 h 514350"/>
                <a:gd name="connsiteX5756" fmla="*/ 2477929 w 6400800"/>
                <a:gd name="connsiteY5756" fmla="*/ 209074 h 514350"/>
                <a:gd name="connsiteX5757" fmla="*/ 2477929 w 6400800"/>
                <a:gd name="connsiteY5757" fmla="*/ 217646 h 514350"/>
                <a:gd name="connsiteX5758" fmla="*/ 2477929 w 6400800"/>
                <a:gd name="connsiteY5758" fmla="*/ 223361 h 514350"/>
                <a:gd name="connsiteX5759" fmla="*/ 2473166 w 6400800"/>
                <a:gd name="connsiteY5759" fmla="*/ 206216 h 514350"/>
                <a:gd name="connsiteX5760" fmla="*/ 2472214 w 6400800"/>
                <a:gd name="connsiteY5760" fmla="*/ 203359 h 514350"/>
                <a:gd name="connsiteX5761" fmla="*/ 2471261 w 6400800"/>
                <a:gd name="connsiteY5761" fmla="*/ 201454 h 514350"/>
                <a:gd name="connsiteX5762" fmla="*/ 2474119 w 6400800"/>
                <a:gd name="connsiteY5762" fmla="*/ 195739 h 514350"/>
                <a:gd name="connsiteX5763" fmla="*/ 2477929 w 6400800"/>
                <a:gd name="connsiteY5763" fmla="*/ 189071 h 514350"/>
                <a:gd name="connsiteX5764" fmla="*/ 2477929 w 6400800"/>
                <a:gd name="connsiteY5764" fmla="*/ 201454 h 514350"/>
                <a:gd name="connsiteX5765" fmla="*/ 2473166 w 6400800"/>
                <a:gd name="connsiteY5765" fmla="*/ 206216 h 514350"/>
                <a:gd name="connsiteX5766" fmla="*/ 2473166 w 6400800"/>
                <a:gd name="connsiteY5766" fmla="*/ 255746 h 514350"/>
                <a:gd name="connsiteX5767" fmla="*/ 2475071 w 6400800"/>
                <a:gd name="connsiteY5767" fmla="*/ 251936 h 514350"/>
                <a:gd name="connsiteX5768" fmla="*/ 2476976 w 6400800"/>
                <a:gd name="connsiteY5768" fmla="*/ 266224 h 514350"/>
                <a:gd name="connsiteX5769" fmla="*/ 2479834 w 6400800"/>
                <a:gd name="connsiteY5769" fmla="*/ 292894 h 514350"/>
                <a:gd name="connsiteX5770" fmla="*/ 2479834 w 6400800"/>
                <a:gd name="connsiteY5770" fmla="*/ 296704 h 514350"/>
                <a:gd name="connsiteX5771" fmla="*/ 2479834 w 6400800"/>
                <a:gd name="connsiteY5771" fmla="*/ 295751 h 514350"/>
                <a:gd name="connsiteX5772" fmla="*/ 2475071 w 6400800"/>
                <a:gd name="connsiteY5772" fmla="*/ 288131 h 514350"/>
                <a:gd name="connsiteX5773" fmla="*/ 2473166 w 6400800"/>
                <a:gd name="connsiteY5773" fmla="*/ 255746 h 514350"/>
                <a:gd name="connsiteX5774" fmla="*/ 2481739 w 6400800"/>
                <a:gd name="connsiteY5774" fmla="*/ 324326 h 514350"/>
                <a:gd name="connsiteX5775" fmla="*/ 2480786 w 6400800"/>
                <a:gd name="connsiteY5775" fmla="*/ 326231 h 514350"/>
                <a:gd name="connsiteX5776" fmla="*/ 2476024 w 6400800"/>
                <a:gd name="connsiteY5776" fmla="*/ 340519 h 514350"/>
                <a:gd name="connsiteX5777" fmla="*/ 2476024 w 6400800"/>
                <a:gd name="connsiteY5777" fmla="*/ 308134 h 514350"/>
                <a:gd name="connsiteX5778" fmla="*/ 2476024 w 6400800"/>
                <a:gd name="connsiteY5778" fmla="*/ 308134 h 514350"/>
                <a:gd name="connsiteX5779" fmla="*/ 2479834 w 6400800"/>
                <a:gd name="connsiteY5779" fmla="*/ 318611 h 514350"/>
                <a:gd name="connsiteX5780" fmla="*/ 2480786 w 6400800"/>
                <a:gd name="connsiteY5780" fmla="*/ 322421 h 514350"/>
                <a:gd name="connsiteX5781" fmla="*/ 2481739 w 6400800"/>
                <a:gd name="connsiteY5781" fmla="*/ 324326 h 514350"/>
                <a:gd name="connsiteX5782" fmla="*/ 2481739 w 6400800"/>
                <a:gd name="connsiteY5782" fmla="*/ 324326 h 514350"/>
                <a:gd name="connsiteX5783" fmla="*/ 2436971 w 6400800"/>
                <a:gd name="connsiteY5783" fmla="*/ 215741 h 514350"/>
                <a:gd name="connsiteX5784" fmla="*/ 2447449 w 6400800"/>
                <a:gd name="connsiteY5784" fmla="*/ 195739 h 514350"/>
                <a:gd name="connsiteX5785" fmla="*/ 2457926 w 6400800"/>
                <a:gd name="connsiteY5785" fmla="*/ 178594 h 514350"/>
                <a:gd name="connsiteX5786" fmla="*/ 2475071 w 6400800"/>
                <a:gd name="connsiteY5786" fmla="*/ 150971 h 514350"/>
                <a:gd name="connsiteX5787" fmla="*/ 2482691 w 6400800"/>
                <a:gd name="connsiteY5787" fmla="*/ 138589 h 514350"/>
                <a:gd name="connsiteX5788" fmla="*/ 2480786 w 6400800"/>
                <a:gd name="connsiteY5788" fmla="*/ 154781 h 514350"/>
                <a:gd name="connsiteX5789" fmla="*/ 2478881 w 6400800"/>
                <a:gd name="connsiteY5789" fmla="*/ 181451 h 514350"/>
                <a:gd name="connsiteX5790" fmla="*/ 2470309 w 6400800"/>
                <a:gd name="connsiteY5790" fmla="*/ 193834 h 514350"/>
                <a:gd name="connsiteX5791" fmla="*/ 2469356 w 6400800"/>
                <a:gd name="connsiteY5791" fmla="*/ 194786 h 514350"/>
                <a:gd name="connsiteX5792" fmla="*/ 2465546 w 6400800"/>
                <a:gd name="connsiteY5792" fmla="*/ 181451 h 514350"/>
                <a:gd name="connsiteX5793" fmla="*/ 2467451 w 6400800"/>
                <a:gd name="connsiteY5793" fmla="*/ 197644 h 514350"/>
                <a:gd name="connsiteX5794" fmla="*/ 2460784 w 6400800"/>
                <a:gd name="connsiteY5794" fmla="*/ 209074 h 514350"/>
                <a:gd name="connsiteX5795" fmla="*/ 2447449 w 6400800"/>
                <a:gd name="connsiteY5795" fmla="*/ 234791 h 514350"/>
                <a:gd name="connsiteX5796" fmla="*/ 2436971 w 6400800"/>
                <a:gd name="connsiteY5796" fmla="*/ 247174 h 514350"/>
                <a:gd name="connsiteX5797" fmla="*/ 2436019 w 6400800"/>
                <a:gd name="connsiteY5797" fmla="*/ 249079 h 514350"/>
                <a:gd name="connsiteX5798" fmla="*/ 2436019 w 6400800"/>
                <a:gd name="connsiteY5798" fmla="*/ 249079 h 514350"/>
                <a:gd name="connsiteX5799" fmla="*/ 2433161 w 6400800"/>
                <a:gd name="connsiteY5799" fmla="*/ 225266 h 514350"/>
                <a:gd name="connsiteX5800" fmla="*/ 2436971 w 6400800"/>
                <a:gd name="connsiteY5800" fmla="*/ 215741 h 514350"/>
                <a:gd name="connsiteX5801" fmla="*/ 2416016 w 6400800"/>
                <a:gd name="connsiteY5801" fmla="*/ 313849 h 514350"/>
                <a:gd name="connsiteX5802" fmla="*/ 2416016 w 6400800"/>
                <a:gd name="connsiteY5802" fmla="*/ 313849 h 514350"/>
                <a:gd name="connsiteX5803" fmla="*/ 2413159 w 6400800"/>
                <a:gd name="connsiteY5803" fmla="*/ 304324 h 514350"/>
                <a:gd name="connsiteX5804" fmla="*/ 2415064 w 6400800"/>
                <a:gd name="connsiteY5804" fmla="*/ 301466 h 514350"/>
                <a:gd name="connsiteX5805" fmla="*/ 2415064 w 6400800"/>
                <a:gd name="connsiteY5805" fmla="*/ 303371 h 514350"/>
                <a:gd name="connsiteX5806" fmla="*/ 2416016 w 6400800"/>
                <a:gd name="connsiteY5806" fmla="*/ 313849 h 514350"/>
                <a:gd name="connsiteX5807" fmla="*/ 2416016 w 6400800"/>
                <a:gd name="connsiteY5807" fmla="*/ 313849 h 514350"/>
                <a:gd name="connsiteX5808" fmla="*/ 2422684 w 6400800"/>
                <a:gd name="connsiteY5808" fmla="*/ 288131 h 514350"/>
                <a:gd name="connsiteX5809" fmla="*/ 2422684 w 6400800"/>
                <a:gd name="connsiteY5809" fmla="*/ 293846 h 514350"/>
                <a:gd name="connsiteX5810" fmla="*/ 2420779 w 6400800"/>
                <a:gd name="connsiteY5810" fmla="*/ 299561 h 514350"/>
                <a:gd name="connsiteX5811" fmla="*/ 2418874 w 6400800"/>
                <a:gd name="connsiteY5811" fmla="*/ 293846 h 514350"/>
                <a:gd name="connsiteX5812" fmla="*/ 2420779 w 6400800"/>
                <a:gd name="connsiteY5812" fmla="*/ 290989 h 514350"/>
                <a:gd name="connsiteX5813" fmla="*/ 2422684 w 6400800"/>
                <a:gd name="connsiteY5813" fmla="*/ 288131 h 514350"/>
                <a:gd name="connsiteX5814" fmla="*/ 2414111 w 6400800"/>
                <a:gd name="connsiteY5814" fmla="*/ 259556 h 514350"/>
                <a:gd name="connsiteX5815" fmla="*/ 2419826 w 6400800"/>
                <a:gd name="connsiteY5815" fmla="*/ 248126 h 514350"/>
                <a:gd name="connsiteX5816" fmla="*/ 2420779 w 6400800"/>
                <a:gd name="connsiteY5816" fmla="*/ 266224 h 514350"/>
                <a:gd name="connsiteX5817" fmla="*/ 2412206 w 6400800"/>
                <a:gd name="connsiteY5817" fmla="*/ 277654 h 514350"/>
                <a:gd name="connsiteX5818" fmla="*/ 2410301 w 6400800"/>
                <a:gd name="connsiteY5818" fmla="*/ 273844 h 514350"/>
                <a:gd name="connsiteX5819" fmla="*/ 2408396 w 6400800"/>
                <a:gd name="connsiteY5819" fmla="*/ 270986 h 514350"/>
                <a:gd name="connsiteX5820" fmla="*/ 2414111 w 6400800"/>
                <a:gd name="connsiteY5820" fmla="*/ 259556 h 514350"/>
                <a:gd name="connsiteX5821" fmla="*/ 2406491 w 6400800"/>
                <a:gd name="connsiteY5821" fmla="*/ 275749 h 514350"/>
                <a:gd name="connsiteX5822" fmla="*/ 2406491 w 6400800"/>
                <a:gd name="connsiteY5822" fmla="*/ 275749 h 514350"/>
                <a:gd name="connsiteX5823" fmla="*/ 2409349 w 6400800"/>
                <a:gd name="connsiteY5823" fmla="*/ 282416 h 514350"/>
                <a:gd name="connsiteX5824" fmla="*/ 2406491 w 6400800"/>
                <a:gd name="connsiteY5824" fmla="*/ 286226 h 514350"/>
                <a:gd name="connsiteX5825" fmla="*/ 2404586 w 6400800"/>
                <a:gd name="connsiteY5825" fmla="*/ 280511 h 514350"/>
                <a:gd name="connsiteX5826" fmla="*/ 2406491 w 6400800"/>
                <a:gd name="connsiteY5826" fmla="*/ 275749 h 514350"/>
                <a:gd name="connsiteX5827" fmla="*/ 2405539 w 6400800"/>
                <a:gd name="connsiteY5827" fmla="*/ 317659 h 514350"/>
                <a:gd name="connsiteX5828" fmla="*/ 2408396 w 6400800"/>
                <a:gd name="connsiteY5828" fmla="*/ 328136 h 514350"/>
                <a:gd name="connsiteX5829" fmla="*/ 2408396 w 6400800"/>
                <a:gd name="connsiteY5829" fmla="*/ 334804 h 514350"/>
                <a:gd name="connsiteX5830" fmla="*/ 2407444 w 6400800"/>
                <a:gd name="connsiteY5830" fmla="*/ 332899 h 514350"/>
                <a:gd name="connsiteX5831" fmla="*/ 2407444 w 6400800"/>
                <a:gd name="connsiteY5831" fmla="*/ 340519 h 514350"/>
                <a:gd name="connsiteX5832" fmla="*/ 2404586 w 6400800"/>
                <a:gd name="connsiteY5832" fmla="*/ 350996 h 514350"/>
                <a:gd name="connsiteX5833" fmla="*/ 2400776 w 6400800"/>
                <a:gd name="connsiteY5833" fmla="*/ 364331 h 514350"/>
                <a:gd name="connsiteX5834" fmla="*/ 2398871 w 6400800"/>
                <a:gd name="connsiteY5834" fmla="*/ 343376 h 514350"/>
                <a:gd name="connsiteX5835" fmla="*/ 2397919 w 6400800"/>
                <a:gd name="connsiteY5835" fmla="*/ 333851 h 514350"/>
                <a:gd name="connsiteX5836" fmla="*/ 2398871 w 6400800"/>
                <a:gd name="connsiteY5836" fmla="*/ 330994 h 514350"/>
                <a:gd name="connsiteX5837" fmla="*/ 2405539 w 6400800"/>
                <a:gd name="connsiteY5837" fmla="*/ 317659 h 514350"/>
                <a:gd name="connsiteX5838" fmla="*/ 2398871 w 6400800"/>
                <a:gd name="connsiteY5838" fmla="*/ 291941 h 514350"/>
                <a:gd name="connsiteX5839" fmla="*/ 2399824 w 6400800"/>
                <a:gd name="connsiteY5839" fmla="*/ 295751 h 514350"/>
                <a:gd name="connsiteX5840" fmla="*/ 2394109 w 6400800"/>
                <a:gd name="connsiteY5840" fmla="*/ 303371 h 514350"/>
                <a:gd name="connsiteX5841" fmla="*/ 2394109 w 6400800"/>
                <a:gd name="connsiteY5841" fmla="*/ 302419 h 514350"/>
                <a:gd name="connsiteX5842" fmla="*/ 2398871 w 6400800"/>
                <a:gd name="connsiteY5842" fmla="*/ 291941 h 514350"/>
                <a:gd name="connsiteX5843" fmla="*/ 2393156 w 6400800"/>
                <a:gd name="connsiteY5843" fmla="*/ 267176 h 514350"/>
                <a:gd name="connsiteX5844" fmla="*/ 2391251 w 6400800"/>
                <a:gd name="connsiteY5844" fmla="*/ 270034 h 514350"/>
                <a:gd name="connsiteX5845" fmla="*/ 2389346 w 6400800"/>
                <a:gd name="connsiteY5845" fmla="*/ 254794 h 514350"/>
                <a:gd name="connsiteX5846" fmla="*/ 2393156 w 6400800"/>
                <a:gd name="connsiteY5846" fmla="*/ 267176 h 514350"/>
                <a:gd name="connsiteX5847" fmla="*/ 2351246 w 6400800"/>
                <a:gd name="connsiteY5847" fmla="*/ 278606 h 514350"/>
                <a:gd name="connsiteX5848" fmla="*/ 2351246 w 6400800"/>
                <a:gd name="connsiteY5848" fmla="*/ 278606 h 514350"/>
                <a:gd name="connsiteX5849" fmla="*/ 2351246 w 6400800"/>
                <a:gd name="connsiteY5849" fmla="*/ 275749 h 514350"/>
                <a:gd name="connsiteX5850" fmla="*/ 2351246 w 6400800"/>
                <a:gd name="connsiteY5850" fmla="*/ 278606 h 514350"/>
                <a:gd name="connsiteX5851" fmla="*/ 2378869 w 6400800"/>
                <a:gd name="connsiteY5851" fmla="*/ 295751 h 514350"/>
                <a:gd name="connsiteX5852" fmla="*/ 2375059 w 6400800"/>
                <a:gd name="connsiteY5852" fmla="*/ 303371 h 514350"/>
                <a:gd name="connsiteX5853" fmla="*/ 2374106 w 6400800"/>
                <a:gd name="connsiteY5853" fmla="*/ 305276 h 514350"/>
                <a:gd name="connsiteX5854" fmla="*/ 2374106 w 6400800"/>
                <a:gd name="connsiteY5854" fmla="*/ 304324 h 514350"/>
                <a:gd name="connsiteX5855" fmla="*/ 2376011 w 6400800"/>
                <a:gd name="connsiteY5855" fmla="*/ 231934 h 514350"/>
                <a:gd name="connsiteX5856" fmla="*/ 2366486 w 6400800"/>
                <a:gd name="connsiteY5856" fmla="*/ 277654 h 514350"/>
                <a:gd name="connsiteX5857" fmla="*/ 2364581 w 6400800"/>
                <a:gd name="connsiteY5857" fmla="*/ 272891 h 514350"/>
                <a:gd name="connsiteX5858" fmla="*/ 2361724 w 6400800"/>
                <a:gd name="connsiteY5858" fmla="*/ 264319 h 514350"/>
                <a:gd name="connsiteX5859" fmla="*/ 2361724 w 6400800"/>
                <a:gd name="connsiteY5859" fmla="*/ 245269 h 514350"/>
                <a:gd name="connsiteX5860" fmla="*/ 2365534 w 6400800"/>
                <a:gd name="connsiteY5860" fmla="*/ 234791 h 514350"/>
                <a:gd name="connsiteX5861" fmla="*/ 2376011 w 6400800"/>
                <a:gd name="connsiteY5861" fmla="*/ 211931 h 514350"/>
                <a:gd name="connsiteX5862" fmla="*/ 2376011 w 6400800"/>
                <a:gd name="connsiteY5862" fmla="*/ 244316 h 514350"/>
                <a:gd name="connsiteX5863" fmla="*/ 2376964 w 6400800"/>
                <a:gd name="connsiteY5863" fmla="*/ 290989 h 514350"/>
                <a:gd name="connsiteX5864" fmla="*/ 2378869 w 6400800"/>
                <a:gd name="connsiteY5864" fmla="*/ 295751 h 514350"/>
                <a:gd name="connsiteX5865" fmla="*/ 2362676 w 6400800"/>
                <a:gd name="connsiteY5865" fmla="*/ 180499 h 514350"/>
                <a:gd name="connsiteX5866" fmla="*/ 2368391 w 6400800"/>
                <a:gd name="connsiteY5866" fmla="*/ 166211 h 514350"/>
                <a:gd name="connsiteX5867" fmla="*/ 2377916 w 6400800"/>
                <a:gd name="connsiteY5867" fmla="*/ 140494 h 514350"/>
                <a:gd name="connsiteX5868" fmla="*/ 2378869 w 6400800"/>
                <a:gd name="connsiteY5868" fmla="*/ 143351 h 514350"/>
                <a:gd name="connsiteX5869" fmla="*/ 2378869 w 6400800"/>
                <a:gd name="connsiteY5869" fmla="*/ 152876 h 514350"/>
                <a:gd name="connsiteX5870" fmla="*/ 2377916 w 6400800"/>
                <a:gd name="connsiteY5870" fmla="*/ 147161 h 514350"/>
                <a:gd name="connsiteX5871" fmla="*/ 2377916 w 6400800"/>
                <a:gd name="connsiteY5871" fmla="*/ 173831 h 514350"/>
                <a:gd name="connsiteX5872" fmla="*/ 2377916 w 6400800"/>
                <a:gd name="connsiteY5872" fmla="*/ 203359 h 514350"/>
                <a:gd name="connsiteX5873" fmla="*/ 2362676 w 6400800"/>
                <a:gd name="connsiteY5873" fmla="*/ 227171 h 514350"/>
                <a:gd name="connsiteX5874" fmla="*/ 2360771 w 6400800"/>
                <a:gd name="connsiteY5874" fmla="*/ 185261 h 514350"/>
                <a:gd name="connsiteX5875" fmla="*/ 2362676 w 6400800"/>
                <a:gd name="connsiteY5875" fmla="*/ 180499 h 514350"/>
                <a:gd name="connsiteX5876" fmla="*/ 2340769 w 6400800"/>
                <a:gd name="connsiteY5876" fmla="*/ 241459 h 514350"/>
                <a:gd name="connsiteX5877" fmla="*/ 2342674 w 6400800"/>
                <a:gd name="connsiteY5877" fmla="*/ 235744 h 514350"/>
                <a:gd name="connsiteX5878" fmla="*/ 2347436 w 6400800"/>
                <a:gd name="connsiteY5878" fmla="*/ 221456 h 514350"/>
                <a:gd name="connsiteX5879" fmla="*/ 2359819 w 6400800"/>
                <a:gd name="connsiteY5879" fmla="*/ 187166 h 514350"/>
                <a:gd name="connsiteX5880" fmla="*/ 2355056 w 6400800"/>
                <a:gd name="connsiteY5880" fmla="*/ 236696 h 514350"/>
                <a:gd name="connsiteX5881" fmla="*/ 2353151 w 6400800"/>
                <a:gd name="connsiteY5881" fmla="*/ 230029 h 514350"/>
                <a:gd name="connsiteX5882" fmla="*/ 2354104 w 6400800"/>
                <a:gd name="connsiteY5882" fmla="*/ 241459 h 514350"/>
                <a:gd name="connsiteX5883" fmla="*/ 2344579 w 6400800"/>
                <a:gd name="connsiteY5883" fmla="*/ 259556 h 514350"/>
                <a:gd name="connsiteX5884" fmla="*/ 2344579 w 6400800"/>
                <a:gd name="connsiteY5884" fmla="*/ 259556 h 514350"/>
                <a:gd name="connsiteX5885" fmla="*/ 2339816 w 6400800"/>
                <a:gd name="connsiteY5885" fmla="*/ 245269 h 514350"/>
                <a:gd name="connsiteX5886" fmla="*/ 2340769 w 6400800"/>
                <a:gd name="connsiteY5886" fmla="*/ 241459 h 514350"/>
                <a:gd name="connsiteX5887" fmla="*/ 2344579 w 6400800"/>
                <a:gd name="connsiteY5887" fmla="*/ 320516 h 514350"/>
                <a:gd name="connsiteX5888" fmla="*/ 2339816 w 6400800"/>
                <a:gd name="connsiteY5888" fmla="*/ 310991 h 514350"/>
                <a:gd name="connsiteX5889" fmla="*/ 2339816 w 6400800"/>
                <a:gd name="connsiteY5889" fmla="*/ 310039 h 514350"/>
                <a:gd name="connsiteX5890" fmla="*/ 2344579 w 6400800"/>
                <a:gd name="connsiteY5890" fmla="*/ 320516 h 514350"/>
                <a:gd name="connsiteX5891" fmla="*/ 2337911 w 6400800"/>
                <a:gd name="connsiteY5891" fmla="*/ 317659 h 514350"/>
                <a:gd name="connsiteX5892" fmla="*/ 2341721 w 6400800"/>
                <a:gd name="connsiteY5892" fmla="*/ 327184 h 514350"/>
                <a:gd name="connsiteX5893" fmla="*/ 2336959 w 6400800"/>
                <a:gd name="connsiteY5893" fmla="*/ 321469 h 514350"/>
                <a:gd name="connsiteX5894" fmla="*/ 2337911 w 6400800"/>
                <a:gd name="connsiteY5894" fmla="*/ 317659 h 514350"/>
                <a:gd name="connsiteX5895" fmla="*/ 2332196 w 6400800"/>
                <a:gd name="connsiteY5895" fmla="*/ 280511 h 514350"/>
                <a:gd name="connsiteX5896" fmla="*/ 2333149 w 6400800"/>
                <a:gd name="connsiteY5896" fmla="*/ 283369 h 514350"/>
                <a:gd name="connsiteX5897" fmla="*/ 2332196 w 6400800"/>
                <a:gd name="connsiteY5897" fmla="*/ 281464 h 514350"/>
                <a:gd name="connsiteX5898" fmla="*/ 2332196 w 6400800"/>
                <a:gd name="connsiteY5898" fmla="*/ 280511 h 514350"/>
                <a:gd name="connsiteX5899" fmla="*/ 2330291 w 6400800"/>
                <a:gd name="connsiteY5899" fmla="*/ 289084 h 514350"/>
                <a:gd name="connsiteX5900" fmla="*/ 2331244 w 6400800"/>
                <a:gd name="connsiteY5900" fmla="*/ 290989 h 514350"/>
                <a:gd name="connsiteX5901" fmla="*/ 2330291 w 6400800"/>
                <a:gd name="connsiteY5901" fmla="*/ 292894 h 514350"/>
                <a:gd name="connsiteX5902" fmla="*/ 2329339 w 6400800"/>
                <a:gd name="connsiteY5902" fmla="*/ 290989 h 514350"/>
                <a:gd name="connsiteX5903" fmla="*/ 2330291 w 6400800"/>
                <a:gd name="connsiteY5903" fmla="*/ 289084 h 514350"/>
                <a:gd name="connsiteX5904" fmla="*/ 2329339 w 6400800"/>
                <a:gd name="connsiteY5904" fmla="*/ 293846 h 514350"/>
                <a:gd name="connsiteX5905" fmla="*/ 2329339 w 6400800"/>
                <a:gd name="connsiteY5905" fmla="*/ 292894 h 514350"/>
                <a:gd name="connsiteX5906" fmla="*/ 2330291 w 6400800"/>
                <a:gd name="connsiteY5906" fmla="*/ 294799 h 514350"/>
                <a:gd name="connsiteX5907" fmla="*/ 2328386 w 6400800"/>
                <a:gd name="connsiteY5907" fmla="*/ 299561 h 514350"/>
                <a:gd name="connsiteX5908" fmla="*/ 2328386 w 6400800"/>
                <a:gd name="connsiteY5908" fmla="*/ 298609 h 514350"/>
                <a:gd name="connsiteX5909" fmla="*/ 2329339 w 6400800"/>
                <a:gd name="connsiteY5909" fmla="*/ 293846 h 514350"/>
                <a:gd name="connsiteX5910" fmla="*/ 2313146 w 6400800"/>
                <a:gd name="connsiteY5910" fmla="*/ 194786 h 514350"/>
                <a:gd name="connsiteX5911" fmla="*/ 2315051 w 6400800"/>
                <a:gd name="connsiteY5911" fmla="*/ 201454 h 514350"/>
                <a:gd name="connsiteX5912" fmla="*/ 2316004 w 6400800"/>
                <a:gd name="connsiteY5912" fmla="*/ 205264 h 514350"/>
                <a:gd name="connsiteX5913" fmla="*/ 2314099 w 6400800"/>
                <a:gd name="connsiteY5913" fmla="*/ 214789 h 514350"/>
                <a:gd name="connsiteX5914" fmla="*/ 2314099 w 6400800"/>
                <a:gd name="connsiteY5914" fmla="*/ 214789 h 514350"/>
                <a:gd name="connsiteX5915" fmla="*/ 2310289 w 6400800"/>
                <a:gd name="connsiteY5915" fmla="*/ 207169 h 514350"/>
                <a:gd name="connsiteX5916" fmla="*/ 2313146 w 6400800"/>
                <a:gd name="connsiteY5916" fmla="*/ 194786 h 514350"/>
                <a:gd name="connsiteX5917" fmla="*/ 2304574 w 6400800"/>
                <a:gd name="connsiteY5917" fmla="*/ 197644 h 514350"/>
                <a:gd name="connsiteX5918" fmla="*/ 2305526 w 6400800"/>
                <a:gd name="connsiteY5918" fmla="*/ 200501 h 514350"/>
                <a:gd name="connsiteX5919" fmla="*/ 2303621 w 6400800"/>
                <a:gd name="connsiteY5919" fmla="*/ 205264 h 514350"/>
                <a:gd name="connsiteX5920" fmla="*/ 2304574 w 6400800"/>
                <a:gd name="connsiteY5920" fmla="*/ 197644 h 514350"/>
                <a:gd name="connsiteX5921" fmla="*/ 2297906 w 6400800"/>
                <a:gd name="connsiteY5921" fmla="*/ 272891 h 514350"/>
                <a:gd name="connsiteX5922" fmla="*/ 2298859 w 6400800"/>
                <a:gd name="connsiteY5922" fmla="*/ 256699 h 514350"/>
                <a:gd name="connsiteX5923" fmla="*/ 2299811 w 6400800"/>
                <a:gd name="connsiteY5923" fmla="*/ 250984 h 514350"/>
                <a:gd name="connsiteX5924" fmla="*/ 2308384 w 6400800"/>
                <a:gd name="connsiteY5924" fmla="*/ 211931 h 514350"/>
                <a:gd name="connsiteX5925" fmla="*/ 2309336 w 6400800"/>
                <a:gd name="connsiteY5925" fmla="*/ 215741 h 514350"/>
                <a:gd name="connsiteX5926" fmla="*/ 2311241 w 6400800"/>
                <a:gd name="connsiteY5926" fmla="*/ 221456 h 514350"/>
                <a:gd name="connsiteX5927" fmla="*/ 2311241 w 6400800"/>
                <a:gd name="connsiteY5927" fmla="*/ 221456 h 514350"/>
                <a:gd name="connsiteX5928" fmla="*/ 2304574 w 6400800"/>
                <a:gd name="connsiteY5928" fmla="*/ 253841 h 514350"/>
                <a:gd name="connsiteX5929" fmla="*/ 2302669 w 6400800"/>
                <a:gd name="connsiteY5929" fmla="*/ 251936 h 514350"/>
                <a:gd name="connsiteX5930" fmla="*/ 2304574 w 6400800"/>
                <a:gd name="connsiteY5930" fmla="*/ 253841 h 514350"/>
                <a:gd name="connsiteX5931" fmla="*/ 2299811 w 6400800"/>
                <a:gd name="connsiteY5931" fmla="*/ 274796 h 514350"/>
                <a:gd name="connsiteX5932" fmla="*/ 2294096 w 6400800"/>
                <a:gd name="connsiteY5932" fmla="*/ 300514 h 514350"/>
                <a:gd name="connsiteX5933" fmla="*/ 2297906 w 6400800"/>
                <a:gd name="connsiteY5933" fmla="*/ 272891 h 514350"/>
                <a:gd name="connsiteX5934" fmla="*/ 2271236 w 6400800"/>
                <a:gd name="connsiteY5934" fmla="*/ 369094 h 514350"/>
                <a:gd name="connsiteX5935" fmla="*/ 2270284 w 6400800"/>
                <a:gd name="connsiteY5935" fmla="*/ 376714 h 514350"/>
                <a:gd name="connsiteX5936" fmla="*/ 2270284 w 6400800"/>
                <a:gd name="connsiteY5936" fmla="*/ 376714 h 514350"/>
                <a:gd name="connsiteX5937" fmla="*/ 2270284 w 6400800"/>
                <a:gd name="connsiteY5937" fmla="*/ 372904 h 514350"/>
                <a:gd name="connsiteX5938" fmla="*/ 2271236 w 6400800"/>
                <a:gd name="connsiteY5938" fmla="*/ 369094 h 514350"/>
                <a:gd name="connsiteX5939" fmla="*/ 2252186 w 6400800"/>
                <a:gd name="connsiteY5939" fmla="*/ 297656 h 514350"/>
                <a:gd name="connsiteX5940" fmla="*/ 2251234 w 6400800"/>
                <a:gd name="connsiteY5940" fmla="*/ 311944 h 514350"/>
                <a:gd name="connsiteX5941" fmla="*/ 2250281 w 6400800"/>
                <a:gd name="connsiteY5941" fmla="*/ 308134 h 514350"/>
                <a:gd name="connsiteX5942" fmla="*/ 2252186 w 6400800"/>
                <a:gd name="connsiteY5942" fmla="*/ 297656 h 514350"/>
                <a:gd name="connsiteX5943" fmla="*/ 2215991 w 6400800"/>
                <a:gd name="connsiteY5943" fmla="*/ 252889 h 514350"/>
                <a:gd name="connsiteX5944" fmla="*/ 2215991 w 6400800"/>
                <a:gd name="connsiteY5944" fmla="*/ 256699 h 514350"/>
                <a:gd name="connsiteX5945" fmla="*/ 2215991 w 6400800"/>
                <a:gd name="connsiteY5945" fmla="*/ 256699 h 514350"/>
                <a:gd name="connsiteX5946" fmla="*/ 2215991 w 6400800"/>
                <a:gd name="connsiteY5946" fmla="*/ 252889 h 514350"/>
                <a:gd name="connsiteX5947" fmla="*/ 2211229 w 6400800"/>
                <a:gd name="connsiteY5947" fmla="*/ 281464 h 514350"/>
                <a:gd name="connsiteX5948" fmla="*/ 2214086 w 6400800"/>
                <a:gd name="connsiteY5948" fmla="*/ 260509 h 514350"/>
                <a:gd name="connsiteX5949" fmla="*/ 2215039 w 6400800"/>
                <a:gd name="connsiteY5949" fmla="*/ 261461 h 514350"/>
                <a:gd name="connsiteX5950" fmla="*/ 2215039 w 6400800"/>
                <a:gd name="connsiteY5950" fmla="*/ 267176 h 514350"/>
                <a:gd name="connsiteX5951" fmla="*/ 2212181 w 6400800"/>
                <a:gd name="connsiteY5951" fmla="*/ 299561 h 514350"/>
                <a:gd name="connsiteX5952" fmla="*/ 2206466 w 6400800"/>
                <a:gd name="connsiteY5952" fmla="*/ 309086 h 514350"/>
                <a:gd name="connsiteX5953" fmla="*/ 2211229 w 6400800"/>
                <a:gd name="connsiteY5953" fmla="*/ 281464 h 514350"/>
                <a:gd name="connsiteX5954" fmla="*/ 2205514 w 6400800"/>
                <a:gd name="connsiteY5954" fmla="*/ 337661 h 514350"/>
                <a:gd name="connsiteX5955" fmla="*/ 2204561 w 6400800"/>
                <a:gd name="connsiteY5955" fmla="*/ 339566 h 514350"/>
                <a:gd name="connsiteX5956" fmla="*/ 2204561 w 6400800"/>
                <a:gd name="connsiteY5956" fmla="*/ 340519 h 514350"/>
                <a:gd name="connsiteX5957" fmla="*/ 2205514 w 6400800"/>
                <a:gd name="connsiteY5957" fmla="*/ 337661 h 514350"/>
                <a:gd name="connsiteX5958" fmla="*/ 2183606 w 6400800"/>
                <a:gd name="connsiteY5958" fmla="*/ 336709 h 514350"/>
                <a:gd name="connsiteX5959" fmla="*/ 2185511 w 6400800"/>
                <a:gd name="connsiteY5959" fmla="*/ 345281 h 514350"/>
                <a:gd name="connsiteX5960" fmla="*/ 2184559 w 6400800"/>
                <a:gd name="connsiteY5960" fmla="*/ 350044 h 514350"/>
                <a:gd name="connsiteX5961" fmla="*/ 2183606 w 6400800"/>
                <a:gd name="connsiteY5961" fmla="*/ 340519 h 514350"/>
                <a:gd name="connsiteX5962" fmla="*/ 2183606 w 6400800"/>
                <a:gd name="connsiteY5962" fmla="*/ 337661 h 514350"/>
                <a:gd name="connsiteX5963" fmla="*/ 2183606 w 6400800"/>
                <a:gd name="connsiteY5963" fmla="*/ 336709 h 514350"/>
                <a:gd name="connsiteX5964" fmla="*/ 2178844 w 6400800"/>
                <a:gd name="connsiteY5964" fmla="*/ 345281 h 514350"/>
                <a:gd name="connsiteX5965" fmla="*/ 2178844 w 6400800"/>
                <a:gd name="connsiteY5965" fmla="*/ 357664 h 514350"/>
                <a:gd name="connsiteX5966" fmla="*/ 2175986 w 6400800"/>
                <a:gd name="connsiteY5966" fmla="*/ 350996 h 514350"/>
                <a:gd name="connsiteX5967" fmla="*/ 2178844 w 6400800"/>
                <a:gd name="connsiteY5967" fmla="*/ 345281 h 514350"/>
                <a:gd name="connsiteX5968" fmla="*/ 2150269 w 6400800"/>
                <a:gd name="connsiteY5968" fmla="*/ 278606 h 514350"/>
                <a:gd name="connsiteX5969" fmla="*/ 2162651 w 6400800"/>
                <a:gd name="connsiteY5969" fmla="*/ 232886 h 514350"/>
                <a:gd name="connsiteX5970" fmla="*/ 2161699 w 6400800"/>
                <a:gd name="connsiteY5970" fmla="*/ 235744 h 514350"/>
                <a:gd name="connsiteX5971" fmla="*/ 2157889 w 6400800"/>
                <a:gd name="connsiteY5971" fmla="*/ 253841 h 514350"/>
                <a:gd name="connsiteX5972" fmla="*/ 2154079 w 6400800"/>
                <a:gd name="connsiteY5972" fmla="*/ 274796 h 514350"/>
                <a:gd name="connsiteX5973" fmla="*/ 2151221 w 6400800"/>
                <a:gd name="connsiteY5973" fmla="*/ 293846 h 514350"/>
                <a:gd name="connsiteX5974" fmla="*/ 2148364 w 6400800"/>
                <a:gd name="connsiteY5974" fmla="*/ 288131 h 514350"/>
                <a:gd name="connsiteX5975" fmla="*/ 2150269 w 6400800"/>
                <a:gd name="connsiteY5975" fmla="*/ 296704 h 514350"/>
                <a:gd name="connsiteX5976" fmla="*/ 2147411 w 6400800"/>
                <a:gd name="connsiteY5976" fmla="*/ 314801 h 514350"/>
                <a:gd name="connsiteX5977" fmla="*/ 2140744 w 6400800"/>
                <a:gd name="connsiteY5977" fmla="*/ 305276 h 514350"/>
                <a:gd name="connsiteX5978" fmla="*/ 2150269 w 6400800"/>
                <a:gd name="connsiteY5978" fmla="*/ 278606 h 514350"/>
                <a:gd name="connsiteX5979" fmla="*/ 2142649 w 6400800"/>
                <a:gd name="connsiteY5979" fmla="*/ 305276 h 514350"/>
                <a:gd name="connsiteX5980" fmla="*/ 2148364 w 6400800"/>
                <a:gd name="connsiteY5980" fmla="*/ 319564 h 514350"/>
                <a:gd name="connsiteX5981" fmla="*/ 2148364 w 6400800"/>
                <a:gd name="connsiteY5981" fmla="*/ 320516 h 514350"/>
                <a:gd name="connsiteX5982" fmla="*/ 2148364 w 6400800"/>
                <a:gd name="connsiteY5982" fmla="*/ 321469 h 514350"/>
                <a:gd name="connsiteX5983" fmla="*/ 2145506 w 6400800"/>
                <a:gd name="connsiteY5983" fmla="*/ 343376 h 514350"/>
                <a:gd name="connsiteX5984" fmla="*/ 2139791 w 6400800"/>
                <a:gd name="connsiteY5984" fmla="*/ 324326 h 514350"/>
                <a:gd name="connsiteX5985" fmla="*/ 2138839 w 6400800"/>
                <a:gd name="connsiteY5985" fmla="*/ 320516 h 514350"/>
                <a:gd name="connsiteX5986" fmla="*/ 2142649 w 6400800"/>
                <a:gd name="connsiteY5986" fmla="*/ 305276 h 514350"/>
                <a:gd name="connsiteX5987" fmla="*/ 2058829 w 6400800"/>
                <a:gd name="connsiteY5987" fmla="*/ 353854 h 514350"/>
                <a:gd name="connsiteX5988" fmla="*/ 2056924 w 6400800"/>
                <a:gd name="connsiteY5988" fmla="*/ 366236 h 514350"/>
                <a:gd name="connsiteX5989" fmla="*/ 2055971 w 6400800"/>
                <a:gd name="connsiteY5989" fmla="*/ 361474 h 514350"/>
                <a:gd name="connsiteX5990" fmla="*/ 2054066 w 6400800"/>
                <a:gd name="connsiteY5990" fmla="*/ 352901 h 514350"/>
                <a:gd name="connsiteX5991" fmla="*/ 2054066 w 6400800"/>
                <a:gd name="connsiteY5991" fmla="*/ 351949 h 514350"/>
                <a:gd name="connsiteX5992" fmla="*/ 2059781 w 6400800"/>
                <a:gd name="connsiteY5992" fmla="*/ 338614 h 514350"/>
                <a:gd name="connsiteX5993" fmla="*/ 2060734 w 6400800"/>
                <a:gd name="connsiteY5993" fmla="*/ 343376 h 514350"/>
                <a:gd name="connsiteX5994" fmla="*/ 2058829 w 6400800"/>
                <a:gd name="connsiteY5994" fmla="*/ 353854 h 514350"/>
                <a:gd name="connsiteX5995" fmla="*/ 2081689 w 6400800"/>
                <a:gd name="connsiteY5995" fmla="*/ 350044 h 514350"/>
                <a:gd name="connsiteX5996" fmla="*/ 2079784 w 6400800"/>
                <a:gd name="connsiteY5996" fmla="*/ 354806 h 514350"/>
                <a:gd name="connsiteX5997" fmla="*/ 2077879 w 6400800"/>
                <a:gd name="connsiteY5997" fmla="*/ 347186 h 514350"/>
                <a:gd name="connsiteX5998" fmla="*/ 2077879 w 6400800"/>
                <a:gd name="connsiteY5998" fmla="*/ 344329 h 514350"/>
                <a:gd name="connsiteX5999" fmla="*/ 2080736 w 6400800"/>
                <a:gd name="connsiteY5999" fmla="*/ 348139 h 514350"/>
                <a:gd name="connsiteX6000" fmla="*/ 2081689 w 6400800"/>
                <a:gd name="connsiteY6000" fmla="*/ 350044 h 514350"/>
                <a:gd name="connsiteX6001" fmla="*/ 2081689 w 6400800"/>
                <a:gd name="connsiteY6001" fmla="*/ 350044 h 514350"/>
                <a:gd name="connsiteX6002" fmla="*/ 2081689 w 6400800"/>
                <a:gd name="connsiteY6002" fmla="*/ 339566 h 514350"/>
                <a:gd name="connsiteX6003" fmla="*/ 2081689 w 6400800"/>
                <a:gd name="connsiteY6003" fmla="*/ 341471 h 514350"/>
                <a:gd name="connsiteX6004" fmla="*/ 2078831 w 6400800"/>
                <a:gd name="connsiteY6004" fmla="*/ 337661 h 514350"/>
                <a:gd name="connsiteX6005" fmla="*/ 2079784 w 6400800"/>
                <a:gd name="connsiteY6005" fmla="*/ 330041 h 514350"/>
                <a:gd name="connsiteX6006" fmla="*/ 2081689 w 6400800"/>
                <a:gd name="connsiteY6006" fmla="*/ 339566 h 514350"/>
                <a:gd name="connsiteX6007" fmla="*/ 2081689 w 6400800"/>
                <a:gd name="connsiteY6007" fmla="*/ 339566 h 514350"/>
                <a:gd name="connsiteX6008" fmla="*/ 2085499 w 6400800"/>
                <a:gd name="connsiteY6008" fmla="*/ 290036 h 514350"/>
                <a:gd name="connsiteX6009" fmla="*/ 2084546 w 6400800"/>
                <a:gd name="connsiteY6009" fmla="*/ 307181 h 514350"/>
                <a:gd name="connsiteX6010" fmla="*/ 2083594 w 6400800"/>
                <a:gd name="connsiteY6010" fmla="*/ 303371 h 514350"/>
                <a:gd name="connsiteX6011" fmla="*/ 2086451 w 6400800"/>
                <a:gd name="connsiteY6011" fmla="*/ 273844 h 514350"/>
                <a:gd name="connsiteX6012" fmla="*/ 2087404 w 6400800"/>
                <a:gd name="connsiteY6012" fmla="*/ 267176 h 514350"/>
                <a:gd name="connsiteX6013" fmla="*/ 2085499 w 6400800"/>
                <a:gd name="connsiteY6013" fmla="*/ 290036 h 514350"/>
                <a:gd name="connsiteX6014" fmla="*/ 2089309 w 6400800"/>
                <a:gd name="connsiteY6014" fmla="*/ 180499 h 514350"/>
                <a:gd name="connsiteX6015" fmla="*/ 2089309 w 6400800"/>
                <a:gd name="connsiteY6015" fmla="*/ 200501 h 514350"/>
                <a:gd name="connsiteX6016" fmla="*/ 2086451 w 6400800"/>
                <a:gd name="connsiteY6016" fmla="*/ 192881 h 514350"/>
                <a:gd name="connsiteX6017" fmla="*/ 2089309 w 6400800"/>
                <a:gd name="connsiteY6017" fmla="*/ 180499 h 514350"/>
                <a:gd name="connsiteX6018" fmla="*/ 2072164 w 6400800"/>
                <a:gd name="connsiteY6018" fmla="*/ 241459 h 514350"/>
                <a:gd name="connsiteX6019" fmla="*/ 2086451 w 6400800"/>
                <a:gd name="connsiteY6019" fmla="*/ 193834 h 514350"/>
                <a:gd name="connsiteX6020" fmla="*/ 2090261 w 6400800"/>
                <a:gd name="connsiteY6020" fmla="*/ 207169 h 514350"/>
                <a:gd name="connsiteX6021" fmla="*/ 2090261 w 6400800"/>
                <a:gd name="connsiteY6021" fmla="*/ 208121 h 514350"/>
                <a:gd name="connsiteX6022" fmla="*/ 2075974 w 6400800"/>
                <a:gd name="connsiteY6022" fmla="*/ 271939 h 514350"/>
                <a:gd name="connsiteX6023" fmla="*/ 2074069 w 6400800"/>
                <a:gd name="connsiteY6023" fmla="*/ 282416 h 514350"/>
                <a:gd name="connsiteX6024" fmla="*/ 2068354 w 6400800"/>
                <a:gd name="connsiteY6024" fmla="*/ 271939 h 514350"/>
                <a:gd name="connsiteX6025" fmla="*/ 2065496 w 6400800"/>
                <a:gd name="connsiteY6025" fmla="*/ 266224 h 514350"/>
                <a:gd name="connsiteX6026" fmla="*/ 2072164 w 6400800"/>
                <a:gd name="connsiteY6026" fmla="*/ 241459 h 514350"/>
                <a:gd name="connsiteX6027" fmla="*/ 2062639 w 6400800"/>
                <a:gd name="connsiteY6027" fmla="*/ 270034 h 514350"/>
                <a:gd name="connsiteX6028" fmla="*/ 2063591 w 6400800"/>
                <a:gd name="connsiteY6028" fmla="*/ 272891 h 514350"/>
                <a:gd name="connsiteX6029" fmla="*/ 2069306 w 6400800"/>
                <a:gd name="connsiteY6029" fmla="*/ 292894 h 514350"/>
                <a:gd name="connsiteX6030" fmla="*/ 2070259 w 6400800"/>
                <a:gd name="connsiteY6030" fmla="*/ 294799 h 514350"/>
                <a:gd name="connsiteX6031" fmla="*/ 2067401 w 6400800"/>
                <a:gd name="connsiteY6031" fmla="*/ 310039 h 514350"/>
                <a:gd name="connsiteX6032" fmla="*/ 2065496 w 6400800"/>
                <a:gd name="connsiteY6032" fmla="*/ 303371 h 514350"/>
                <a:gd name="connsiteX6033" fmla="*/ 2058829 w 6400800"/>
                <a:gd name="connsiteY6033" fmla="*/ 284321 h 514350"/>
                <a:gd name="connsiteX6034" fmla="*/ 2062639 w 6400800"/>
                <a:gd name="connsiteY6034" fmla="*/ 270034 h 514350"/>
                <a:gd name="connsiteX6035" fmla="*/ 2053114 w 6400800"/>
                <a:gd name="connsiteY6035" fmla="*/ 301466 h 514350"/>
                <a:gd name="connsiteX6036" fmla="*/ 2054066 w 6400800"/>
                <a:gd name="connsiteY6036" fmla="*/ 306229 h 514350"/>
                <a:gd name="connsiteX6037" fmla="*/ 2056924 w 6400800"/>
                <a:gd name="connsiteY6037" fmla="*/ 320516 h 514350"/>
                <a:gd name="connsiteX6038" fmla="*/ 2055971 w 6400800"/>
                <a:gd name="connsiteY6038" fmla="*/ 320516 h 514350"/>
                <a:gd name="connsiteX6039" fmla="*/ 2049304 w 6400800"/>
                <a:gd name="connsiteY6039" fmla="*/ 317659 h 514350"/>
                <a:gd name="connsiteX6040" fmla="*/ 2055971 w 6400800"/>
                <a:gd name="connsiteY6040" fmla="*/ 321469 h 514350"/>
                <a:gd name="connsiteX6041" fmla="*/ 2057876 w 6400800"/>
                <a:gd name="connsiteY6041" fmla="*/ 322421 h 514350"/>
                <a:gd name="connsiteX6042" fmla="*/ 2059781 w 6400800"/>
                <a:gd name="connsiteY6042" fmla="*/ 332899 h 514350"/>
                <a:gd name="connsiteX6043" fmla="*/ 2053114 w 6400800"/>
                <a:gd name="connsiteY6043" fmla="*/ 342424 h 514350"/>
                <a:gd name="connsiteX6044" fmla="*/ 2049304 w 6400800"/>
                <a:gd name="connsiteY6044" fmla="*/ 321469 h 514350"/>
                <a:gd name="connsiteX6045" fmla="*/ 2049304 w 6400800"/>
                <a:gd name="connsiteY6045" fmla="*/ 315754 h 514350"/>
                <a:gd name="connsiteX6046" fmla="*/ 2053114 w 6400800"/>
                <a:gd name="connsiteY6046" fmla="*/ 301466 h 514350"/>
                <a:gd name="connsiteX6047" fmla="*/ 2044541 w 6400800"/>
                <a:gd name="connsiteY6047" fmla="*/ 260509 h 514350"/>
                <a:gd name="connsiteX6048" fmla="*/ 2044541 w 6400800"/>
                <a:gd name="connsiteY6048" fmla="*/ 260509 h 514350"/>
                <a:gd name="connsiteX6049" fmla="*/ 2044541 w 6400800"/>
                <a:gd name="connsiteY6049" fmla="*/ 259556 h 514350"/>
                <a:gd name="connsiteX6050" fmla="*/ 2044541 w 6400800"/>
                <a:gd name="connsiteY6050" fmla="*/ 260509 h 514350"/>
                <a:gd name="connsiteX6051" fmla="*/ 2019776 w 6400800"/>
                <a:gd name="connsiteY6051" fmla="*/ 188119 h 514350"/>
                <a:gd name="connsiteX6052" fmla="*/ 2019776 w 6400800"/>
                <a:gd name="connsiteY6052" fmla="*/ 185261 h 514350"/>
                <a:gd name="connsiteX6053" fmla="*/ 2020729 w 6400800"/>
                <a:gd name="connsiteY6053" fmla="*/ 177641 h 514350"/>
                <a:gd name="connsiteX6054" fmla="*/ 2020729 w 6400800"/>
                <a:gd name="connsiteY6054" fmla="*/ 189071 h 514350"/>
                <a:gd name="connsiteX6055" fmla="*/ 2021681 w 6400800"/>
                <a:gd name="connsiteY6055" fmla="*/ 220504 h 514350"/>
                <a:gd name="connsiteX6056" fmla="*/ 2023586 w 6400800"/>
                <a:gd name="connsiteY6056" fmla="*/ 244316 h 514350"/>
                <a:gd name="connsiteX6057" fmla="*/ 2022634 w 6400800"/>
                <a:gd name="connsiteY6057" fmla="*/ 247174 h 514350"/>
                <a:gd name="connsiteX6058" fmla="*/ 2016919 w 6400800"/>
                <a:gd name="connsiteY6058" fmla="*/ 222409 h 514350"/>
                <a:gd name="connsiteX6059" fmla="*/ 2019776 w 6400800"/>
                <a:gd name="connsiteY6059" fmla="*/ 188119 h 514350"/>
                <a:gd name="connsiteX6060" fmla="*/ 1999774 w 6400800"/>
                <a:gd name="connsiteY6060" fmla="*/ 298609 h 514350"/>
                <a:gd name="connsiteX6061" fmla="*/ 1999774 w 6400800"/>
                <a:gd name="connsiteY6061" fmla="*/ 304324 h 514350"/>
                <a:gd name="connsiteX6062" fmla="*/ 1997869 w 6400800"/>
                <a:gd name="connsiteY6062" fmla="*/ 310039 h 514350"/>
                <a:gd name="connsiteX6063" fmla="*/ 1999774 w 6400800"/>
                <a:gd name="connsiteY6063" fmla="*/ 298609 h 514350"/>
                <a:gd name="connsiteX6064" fmla="*/ 1992154 w 6400800"/>
                <a:gd name="connsiteY6064" fmla="*/ 349091 h 514350"/>
                <a:gd name="connsiteX6065" fmla="*/ 1992154 w 6400800"/>
                <a:gd name="connsiteY6065" fmla="*/ 359569 h 514350"/>
                <a:gd name="connsiteX6066" fmla="*/ 1992154 w 6400800"/>
                <a:gd name="connsiteY6066" fmla="*/ 369094 h 514350"/>
                <a:gd name="connsiteX6067" fmla="*/ 1988344 w 6400800"/>
                <a:gd name="connsiteY6067" fmla="*/ 373856 h 514350"/>
                <a:gd name="connsiteX6068" fmla="*/ 1992154 w 6400800"/>
                <a:gd name="connsiteY6068" fmla="*/ 349091 h 514350"/>
                <a:gd name="connsiteX6069" fmla="*/ 1987391 w 6400800"/>
                <a:gd name="connsiteY6069" fmla="*/ 381476 h 514350"/>
                <a:gd name="connsiteX6070" fmla="*/ 1987391 w 6400800"/>
                <a:gd name="connsiteY6070" fmla="*/ 381476 h 514350"/>
                <a:gd name="connsiteX6071" fmla="*/ 1992154 w 6400800"/>
                <a:gd name="connsiteY6071" fmla="*/ 372904 h 514350"/>
                <a:gd name="connsiteX6072" fmla="*/ 1992154 w 6400800"/>
                <a:gd name="connsiteY6072" fmla="*/ 379571 h 514350"/>
                <a:gd name="connsiteX6073" fmla="*/ 1991201 w 6400800"/>
                <a:gd name="connsiteY6073" fmla="*/ 386239 h 514350"/>
                <a:gd name="connsiteX6074" fmla="*/ 1988344 w 6400800"/>
                <a:gd name="connsiteY6074" fmla="*/ 400526 h 514350"/>
                <a:gd name="connsiteX6075" fmla="*/ 1988344 w 6400800"/>
                <a:gd name="connsiteY6075" fmla="*/ 399574 h 514350"/>
                <a:gd name="connsiteX6076" fmla="*/ 1985486 w 6400800"/>
                <a:gd name="connsiteY6076" fmla="*/ 392906 h 514350"/>
                <a:gd name="connsiteX6077" fmla="*/ 1987391 w 6400800"/>
                <a:gd name="connsiteY6077" fmla="*/ 381476 h 514350"/>
                <a:gd name="connsiteX6078" fmla="*/ 1968341 w 6400800"/>
                <a:gd name="connsiteY6078" fmla="*/ 290989 h 514350"/>
                <a:gd name="connsiteX6079" fmla="*/ 1967389 w 6400800"/>
                <a:gd name="connsiteY6079" fmla="*/ 297656 h 514350"/>
                <a:gd name="connsiteX6080" fmla="*/ 1966436 w 6400800"/>
                <a:gd name="connsiteY6080" fmla="*/ 305276 h 514350"/>
                <a:gd name="connsiteX6081" fmla="*/ 1965484 w 6400800"/>
                <a:gd name="connsiteY6081" fmla="*/ 318611 h 514350"/>
                <a:gd name="connsiteX6082" fmla="*/ 1964531 w 6400800"/>
                <a:gd name="connsiteY6082" fmla="*/ 304324 h 514350"/>
                <a:gd name="connsiteX6083" fmla="*/ 1964531 w 6400800"/>
                <a:gd name="connsiteY6083" fmla="*/ 300514 h 514350"/>
                <a:gd name="connsiteX6084" fmla="*/ 1968341 w 6400800"/>
                <a:gd name="connsiteY6084" fmla="*/ 290989 h 514350"/>
                <a:gd name="connsiteX6085" fmla="*/ 1937861 w 6400800"/>
                <a:gd name="connsiteY6085" fmla="*/ 310039 h 514350"/>
                <a:gd name="connsiteX6086" fmla="*/ 1937861 w 6400800"/>
                <a:gd name="connsiteY6086" fmla="*/ 302419 h 514350"/>
                <a:gd name="connsiteX6087" fmla="*/ 1937861 w 6400800"/>
                <a:gd name="connsiteY6087" fmla="*/ 295751 h 514350"/>
                <a:gd name="connsiteX6088" fmla="*/ 1938814 w 6400800"/>
                <a:gd name="connsiteY6088" fmla="*/ 306229 h 514350"/>
                <a:gd name="connsiteX6089" fmla="*/ 1937861 w 6400800"/>
                <a:gd name="connsiteY6089" fmla="*/ 310039 h 514350"/>
                <a:gd name="connsiteX6090" fmla="*/ 1938814 w 6400800"/>
                <a:gd name="connsiteY6090" fmla="*/ 272891 h 514350"/>
                <a:gd name="connsiteX6091" fmla="*/ 1936909 w 6400800"/>
                <a:gd name="connsiteY6091" fmla="*/ 266224 h 514350"/>
                <a:gd name="connsiteX6092" fmla="*/ 1936909 w 6400800"/>
                <a:gd name="connsiteY6092" fmla="*/ 261461 h 514350"/>
                <a:gd name="connsiteX6093" fmla="*/ 1936909 w 6400800"/>
                <a:gd name="connsiteY6093" fmla="*/ 246221 h 514350"/>
                <a:gd name="connsiteX6094" fmla="*/ 1938814 w 6400800"/>
                <a:gd name="connsiteY6094" fmla="*/ 272891 h 514350"/>
                <a:gd name="connsiteX6095" fmla="*/ 1900714 w 6400800"/>
                <a:gd name="connsiteY6095" fmla="*/ 338614 h 514350"/>
                <a:gd name="connsiteX6096" fmla="*/ 1900714 w 6400800"/>
                <a:gd name="connsiteY6096" fmla="*/ 333851 h 514350"/>
                <a:gd name="connsiteX6097" fmla="*/ 1902619 w 6400800"/>
                <a:gd name="connsiteY6097" fmla="*/ 329089 h 514350"/>
                <a:gd name="connsiteX6098" fmla="*/ 1904524 w 6400800"/>
                <a:gd name="connsiteY6098" fmla="*/ 325279 h 514350"/>
                <a:gd name="connsiteX6099" fmla="*/ 1900714 w 6400800"/>
                <a:gd name="connsiteY6099" fmla="*/ 338614 h 514350"/>
                <a:gd name="connsiteX6100" fmla="*/ 1915954 w 6400800"/>
                <a:gd name="connsiteY6100" fmla="*/ 436721 h 514350"/>
                <a:gd name="connsiteX6101" fmla="*/ 1915954 w 6400800"/>
                <a:gd name="connsiteY6101" fmla="*/ 433864 h 514350"/>
                <a:gd name="connsiteX6102" fmla="*/ 1916906 w 6400800"/>
                <a:gd name="connsiteY6102" fmla="*/ 434816 h 514350"/>
                <a:gd name="connsiteX6103" fmla="*/ 1915954 w 6400800"/>
                <a:gd name="connsiteY6103" fmla="*/ 436721 h 514350"/>
                <a:gd name="connsiteX6104" fmla="*/ 1920716 w 6400800"/>
                <a:gd name="connsiteY6104" fmla="*/ 401479 h 514350"/>
                <a:gd name="connsiteX6105" fmla="*/ 1919764 w 6400800"/>
                <a:gd name="connsiteY6105" fmla="*/ 407194 h 514350"/>
                <a:gd name="connsiteX6106" fmla="*/ 1917859 w 6400800"/>
                <a:gd name="connsiteY6106" fmla="*/ 404336 h 514350"/>
                <a:gd name="connsiteX6107" fmla="*/ 1919764 w 6400800"/>
                <a:gd name="connsiteY6107" fmla="*/ 398621 h 514350"/>
                <a:gd name="connsiteX6108" fmla="*/ 1920716 w 6400800"/>
                <a:gd name="connsiteY6108" fmla="*/ 401479 h 514350"/>
                <a:gd name="connsiteX6109" fmla="*/ 1917859 w 6400800"/>
                <a:gd name="connsiteY6109" fmla="*/ 331946 h 514350"/>
                <a:gd name="connsiteX6110" fmla="*/ 1919764 w 6400800"/>
                <a:gd name="connsiteY6110" fmla="*/ 337661 h 514350"/>
                <a:gd name="connsiteX6111" fmla="*/ 1919764 w 6400800"/>
                <a:gd name="connsiteY6111" fmla="*/ 337661 h 514350"/>
                <a:gd name="connsiteX6112" fmla="*/ 1918811 w 6400800"/>
                <a:gd name="connsiteY6112" fmla="*/ 338614 h 514350"/>
                <a:gd name="connsiteX6113" fmla="*/ 1916906 w 6400800"/>
                <a:gd name="connsiteY6113" fmla="*/ 342424 h 514350"/>
                <a:gd name="connsiteX6114" fmla="*/ 1916906 w 6400800"/>
                <a:gd name="connsiteY6114" fmla="*/ 341471 h 514350"/>
                <a:gd name="connsiteX6115" fmla="*/ 1915954 w 6400800"/>
                <a:gd name="connsiteY6115" fmla="*/ 344329 h 514350"/>
                <a:gd name="connsiteX6116" fmla="*/ 1915001 w 6400800"/>
                <a:gd name="connsiteY6116" fmla="*/ 345281 h 514350"/>
                <a:gd name="connsiteX6117" fmla="*/ 1917859 w 6400800"/>
                <a:gd name="connsiteY6117" fmla="*/ 331946 h 514350"/>
                <a:gd name="connsiteX6118" fmla="*/ 1919764 w 6400800"/>
                <a:gd name="connsiteY6118" fmla="*/ 360521 h 514350"/>
                <a:gd name="connsiteX6119" fmla="*/ 1919764 w 6400800"/>
                <a:gd name="connsiteY6119" fmla="*/ 364331 h 514350"/>
                <a:gd name="connsiteX6120" fmla="*/ 1915001 w 6400800"/>
                <a:gd name="connsiteY6120" fmla="*/ 373856 h 514350"/>
                <a:gd name="connsiteX6121" fmla="*/ 1908334 w 6400800"/>
                <a:gd name="connsiteY6121" fmla="*/ 388144 h 514350"/>
                <a:gd name="connsiteX6122" fmla="*/ 1907381 w 6400800"/>
                <a:gd name="connsiteY6122" fmla="*/ 387191 h 514350"/>
                <a:gd name="connsiteX6123" fmla="*/ 1907381 w 6400800"/>
                <a:gd name="connsiteY6123" fmla="*/ 385286 h 514350"/>
                <a:gd name="connsiteX6124" fmla="*/ 1910239 w 6400800"/>
                <a:gd name="connsiteY6124" fmla="*/ 380524 h 514350"/>
                <a:gd name="connsiteX6125" fmla="*/ 1919764 w 6400800"/>
                <a:gd name="connsiteY6125" fmla="*/ 360521 h 514350"/>
                <a:gd name="connsiteX6126" fmla="*/ 1910239 w 6400800"/>
                <a:gd name="connsiteY6126" fmla="*/ 299561 h 514350"/>
                <a:gd name="connsiteX6127" fmla="*/ 1908334 w 6400800"/>
                <a:gd name="connsiteY6127" fmla="*/ 305276 h 514350"/>
                <a:gd name="connsiteX6128" fmla="*/ 1908334 w 6400800"/>
                <a:gd name="connsiteY6128" fmla="*/ 305276 h 514350"/>
                <a:gd name="connsiteX6129" fmla="*/ 1910239 w 6400800"/>
                <a:gd name="connsiteY6129" fmla="*/ 299561 h 514350"/>
                <a:gd name="connsiteX6130" fmla="*/ 1906429 w 6400800"/>
                <a:gd name="connsiteY6130" fmla="*/ 313849 h 514350"/>
                <a:gd name="connsiteX6131" fmla="*/ 1908334 w 6400800"/>
                <a:gd name="connsiteY6131" fmla="*/ 309086 h 514350"/>
                <a:gd name="connsiteX6132" fmla="*/ 1908334 w 6400800"/>
                <a:gd name="connsiteY6132" fmla="*/ 310039 h 514350"/>
                <a:gd name="connsiteX6133" fmla="*/ 1906429 w 6400800"/>
                <a:gd name="connsiteY6133" fmla="*/ 315754 h 514350"/>
                <a:gd name="connsiteX6134" fmla="*/ 1905476 w 6400800"/>
                <a:gd name="connsiteY6134" fmla="*/ 316706 h 514350"/>
                <a:gd name="connsiteX6135" fmla="*/ 1906429 w 6400800"/>
                <a:gd name="connsiteY6135" fmla="*/ 313849 h 514350"/>
                <a:gd name="connsiteX6136" fmla="*/ 1893094 w 6400800"/>
                <a:gd name="connsiteY6136" fmla="*/ 259556 h 514350"/>
                <a:gd name="connsiteX6137" fmla="*/ 1894046 w 6400800"/>
                <a:gd name="connsiteY6137" fmla="*/ 256699 h 514350"/>
                <a:gd name="connsiteX6138" fmla="*/ 1894999 w 6400800"/>
                <a:gd name="connsiteY6138" fmla="*/ 256699 h 514350"/>
                <a:gd name="connsiteX6139" fmla="*/ 1899761 w 6400800"/>
                <a:gd name="connsiteY6139" fmla="*/ 260509 h 514350"/>
                <a:gd name="connsiteX6140" fmla="*/ 1904524 w 6400800"/>
                <a:gd name="connsiteY6140" fmla="*/ 275749 h 514350"/>
                <a:gd name="connsiteX6141" fmla="*/ 1895951 w 6400800"/>
                <a:gd name="connsiteY6141" fmla="*/ 297656 h 514350"/>
                <a:gd name="connsiteX6142" fmla="*/ 1894046 w 6400800"/>
                <a:gd name="connsiteY6142" fmla="*/ 281464 h 514350"/>
                <a:gd name="connsiteX6143" fmla="*/ 1892141 w 6400800"/>
                <a:gd name="connsiteY6143" fmla="*/ 270034 h 514350"/>
                <a:gd name="connsiteX6144" fmla="*/ 1893094 w 6400800"/>
                <a:gd name="connsiteY6144" fmla="*/ 272891 h 514350"/>
                <a:gd name="connsiteX6145" fmla="*/ 1893094 w 6400800"/>
                <a:gd name="connsiteY6145" fmla="*/ 259556 h 514350"/>
                <a:gd name="connsiteX6146" fmla="*/ 1841659 w 6400800"/>
                <a:gd name="connsiteY6146" fmla="*/ 297656 h 514350"/>
                <a:gd name="connsiteX6147" fmla="*/ 1840706 w 6400800"/>
                <a:gd name="connsiteY6147" fmla="*/ 313849 h 514350"/>
                <a:gd name="connsiteX6148" fmla="*/ 1838801 w 6400800"/>
                <a:gd name="connsiteY6148" fmla="*/ 294799 h 514350"/>
                <a:gd name="connsiteX6149" fmla="*/ 1838801 w 6400800"/>
                <a:gd name="connsiteY6149" fmla="*/ 290989 h 514350"/>
                <a:gd name="connsiteX6150" fmla="*/ 1841659 w 6400800"/>
                <a:gd name="connsiteY6150" fmla="*/ 297656 h 514350"/>
                <a:gd name="connsiteX6151" fmla="*/ 1822609 w 6400800"/>
                <a:gd name="connsiteY6151" fmla="*/ 363379 h 514350"/>
                <a:gd name="connsiteX6152" fmla="*/ 1826419 w 6400800"/>
                <a:gd name="connsiteY6152" fmla="*/ 353854 h 514350"/>
                <a:gd name="connsiteX6153" fmla="*/ 1827371 w 6400800"/>
                <a:gd name="connsiteY6153" fmla="*/ 364331 h 514350"/>
                <a:gd name="connsiteX6154" fmla="*/ 1823561 w 6400800"/>
                <a:gd name="connsiteY6154" fmla="*/ 368141 h 514350"/>
                <a:gd name="connsiteX6155" fmla="*/ 1822609 w 6400800"/>
                <a:gd name="connsiteY6155" fmla="*/ 363379 h 514350"/>
                <a:gd name="connsiteX6156" fmla="*/ 1828324 w 6400800"/>
                <a:gd name="connsiteY6156" fmla="*/ 403384 h 514350"/>
                <a:gd name="connsiteX6157" fmla="*/ 1827371 w 6400800"/>
                <a:gd name="connsiteY6157" fmla="*/ 400526 h 514350"/>
                <a:gd name="connsiteX6158" fmla="*/ 1825466 w 6400800"/>
                <a:gd name="connsiteY6158" fmla="*/ 381476 h 514350"/>
                <a:gd name="connsiteX6159" fmla="*/ 1828324 w 6400800"/>
                <a:gd name="connsiteY6159" fmla="*/ 377666 h 514350"/>
                <a:gd name="connsiteX6160" fmla="*/ 1829276 w 6400800"/>
                <a:gd name="connsiteY6160" fmla="*/ 399574 h 514350"/>
                <a:gd name="connsiteX6161" fmla="*/ 1828324 w 6400800"/>
                <a:gd name="connsiteY6161" fmla="*/ 403384 h 514350"/>
                <a:gd name="connsiteX6162" fmla="*/ 1833086 w 6400800"/>
                <a:gd name="connsiteY6162" fmla="*/ 339566 h 514350"/>
                <a:gd name="connsiteX6163" fmla="*/ 1833086 w 6400800"/>
                <a:gd name="connsiteY6163" fmla="*/ 339566 h 514350"/>
                <a:gd name="connsiteX6164" fmla="*/ 1833086 w 6400800"/>
                <a:gd name="connsiteY6164" fmla="*/ 340519 h 514350"/>
                <a:gd name="connsiteX6165" fmla="*/ 1833086 w 6400800"/>
                <a:gd name="connsiteY6165" fmla="*/ 339566 h 514350"/>
                <a:gd name="connsiteX6166" fmla="*/ 1824514 w 6400800"/>
                <a:gd name="connsiteY6166" fmla="*/ 272891 h 514350"/>
                <a:gd name="connsiteX6167" fmla="*/ 1824514 w 6400800"/>
                <a:gd name="connsiteY6167" fmla="*/ 263366 h 514350"/>
                <a:gd name="connsiteX6168" fmla="*/ 1835944 w 6400800"/>
                <a:gd name="connsiteY6168" fmla="*/ 285274 h 514350"/>
                <a:gd name="connsiteX6169" fmla="*/ 1834991 w 6400800"/>
                <a:gd name="connsiteY6169" fmla="*/ 294799 h 514350"/>
                <a:gd name="connsiteX6170" fmla="*/ 1834039 w 6400800"/>
                <a:gd name="connsiteY6170" fmla="*/ 320516 h 514350"/>
                <a:gd name="connsiteX6171" fmla="*/ 1834039 w 6400800"/>
                <a:gd name="connsiteY6171" fmla="*/ 330994 h 514350"/>
                <a:gd name="connsiteX6172" fmla="*/ 1833086 w 6400800"/>
                <a:gd name="connsiteY6172" fmla="*/ 331946 h 514350"/>
                <a:gd name="connsiteX6173" fmla="*/ 1832134 w 6400800"/>
                <a:gd name="connsiteY6173" fmla="*/ 332899 h 514350"/>
                <a:gd name="connsiteX6174" fmla="*/ 1827371 w 6400800"/>
                <a:gd name="connsiteY6174" fmla="*/ 316706 h 514350"/>
                <a:gd name="connsiteX6175" fmla="*/ 1822609 w 6400800"/>
                <a:gd name="connsiteY6175" fmla="*/ 303371 h 514350"/>
                <a:gd name="connsiteX6176" fmla="*/ 1824514 w 6400800"/>
                <a:gd name="connsiteY6176" fmla="*/ 272891 h 514350"/>
                <a:gd name="connsiteX6177" fmla="*/ 1822609 w 6400800"/>
                <a:gd name="connsiteY6177" fmla="*/ 309086 h 514350"/>
                <a:gd name="connsiteX6178" fmla="*/ 1823561 w 6400800"/>
                <a:gd name="connsiteY6178" fmla="*/ 317659 h 514350"/>
                <a:gd name="connsiteX6179" fmla="*/ 1825466 w 6400800"/>
                <a:gd name="connsiteY6179" fmla="*/ 338614 h 514350"/>
                <a:gd name="connsiteX6180" fmla="*/ 1825466 w 6400800"/>
                <a:gd name="connsiteY6180" fmla="*/ 340519 h 514350"/>
                <a:gd name="connsiteX6181" fmla="*/ 1820704 w 6400800"/>
                <a:gd name="connsiteY6181" fmla="*/ 348139 h 514350"/>
                <a:gd name="connsiteX6182" fmla="*/ 1820704 w 6400800"/>
                <a:gd name="connsiteY6182" fmla="*/ 332899 h 514350"/>
                <a:gd name="connsiteX6183" fmla="*/ 1820704 w 6400800"/>
                <a:gd name="connsiteY6183" fmla="*/ 331946 h 514350"/>
                <a:gd name="connsiteX6184" fmla="*/ 1822609 w 6400800"/>
                <a:gd name="connsiteY6184" fmla="*/ 309086 h 514350"/>
                <a:gd name="connsiteX6185" fmla="*/ 1763554 w 6400800"/>
                <a:gd name="connsiteY6185" fmla="*/ 411956 h 514350"/>
                <a:gd name="connsiteX6186" fmla="*/ 1762601 w 6400800"/>
                <a:gd name="connsiteY6186" fmla="*/ 406241 h 514350"/>
                <a:gd name="connsiteX6187" fmla="*/ 1761649 w 6400800"/>
                <a:gd name="connsiteY6187" fmla="*/ 397669 h 514350"/>
                <a:gd name="connsiteX6188" fmla="*/ 1761649 w 6400800"/>
                <a:gd name="connsiteY6188" fmla="*/ 397669 h 514350"/>
                <a:gd name="connsiteX6189" fmla="*/ 1764506 w 6400800"/>
                <a:gd name="connsiteY6189" fmla="*/ 400526 h 514350"/>
                <a:gd name="connsiteX6190" fmla="*/ 1763554 w 6400800"/>
                <a:gd name="connsiteY6190" fmla="*/ 411956 h 514350"/>
                <a:gd name="connsiteX6191" fmla="*/ 1766411 w 6400800"/>
                <a:gd name="connsiteY6191" fmla="*/ 379571 h 514350"/>
                <a:gd name="connsiteX6192" fmla="*/ 1766411 w 6400800"/>
                <a:gd name="connsiteY6192" fmla="*/ 379571 h 514350"/>
                <a:gd name="connsiteX6193" fmla="*/ 1766411 w 6400800"/>
                <a:gd name="connsiteY6193" fmla="*/ 377666 h 514350"/>
                <a:gd name="connsiteX6194" fmla="*/ 1766411 w 6400800"/>
                <a:gd name="connsiteY6194" fmla="*/ 379571 h 514350"/>
                <a:gd name="connsiteX6195" fmla="*/ 1792129 w 6400800"/>
                <a:gd name="connsiteY6195" fmla="*/ 251936 h 514350"/>
                <a:gd name="connsiteX6196" fmla="*/ 1802606 w 6400800"/>
                <a:gd name="connsiteY6196" fmla="*/ 219551 h 514350"/>
                <a:gd name="connsiteX6197" fmla="*/ 1802606 w 6400800"/>
                <a:gd name="connsiteY6197" fmla="*/ 219551 h 514350"/>
                <a:gd name="connsiteX6198" fmla="*/ 1801654 w 6400800"/>
                <a:gd name="connsiteY6198" fmla="*/ 274796 h 514350"/>
                <a:gd name="connsiteX6199" fmla="*/ 1800701 w 6400800"/>
                <a:gd name="connsiteY6199" fmla="*/ 327184 h 514350"/>
                <a:gd name="connsiteX6200" fmla="*/ 1794034 w 6400800"/>
                <a:gd name="connsiteY6200" fmla="*/ 310991 h 514350"/>
                <a:gd name="connsiteX6201" fmla="*/ 1788319 w 6400800"/>
                <a:gd name="connsiteY6201" fmla="*/ 294799 h 514350"/>
                <a:gd name="connsiteX6202" fmla="*/ 1787366 w 6400800"/>
                <a:gd name="connsiteY6202" fmla="*/ 292894 h 514350"/>
                <a:gd name="connsiteX6203" fmla="*/ 1786414 w 6400800"/>
                <a:gd name="connsiteY6203" fmla="*/ 287179 h 514350"/>
                <a:gd name="connsiteX6204" fmla="*/ 1788319 w 6400800"/>
                <a:gd name="connsiteY6204" fmla="*/ 279559 h 514350"/>
                <a:gd name="connsiteX6205" fmla="*/ 1787366 w 6400800"/>
                <a:gd name="connsiteY6205" fmla="*/ 275749 h 514350"/>
                <a:gd name="connsiteX6206" fmla="*/ 1785461 w 6400800"/>
                <a:gd name="connsiteY6206" fmla="*/ 274796 h 514350"/>
                <a:gd name="connsiteX6207" fmla="*/ 1785461 w 6400800"/>
                <a:gd name="connsiteY6207" fmla="*/ 274796 h 514350"/>
                <a:gd name="connsiteX6208" fmla="*/ 1792129 w 6400800"/>
                <a:gd name="connsiteY6208" fmla="*/ 251936 h 514350"/>
                <a:gd name="connsiteX6209" fmla="*/ 1785461 w 6400800"/>
                <a:gd name="connsiteY6209" fmla="*/ 276701 h 514350"/>
                <a:gd name="connsiteX6210" fmla="*/ 1786414 w 6400800"/>
                <a:gd name="connsiteY6210" fmla="*/ 278606 h 514350"/>
                <a:gd name="connsiteX6211" fmla="*/ 1786414 w 6400800"/>
                <a:gd name="connsiteY6211" fmla="*/ 282416 h 514350"/>
                <a:gd name="connsiteX6212" fmla="*/ 1785461 w 6400800"/>
                <a:gd name="connsiteY6212" fmla="*/ 276701 h 514350"/>
                <a:gd name="connsiteX6213" fmla="*/ 1785461 w 6400800"/>
                <a:gd name="connsiteY6213" fmla="*/ 276701 h 514350"/>
                <a:gd name="connsiteX6214" fmla="*/ 1776889 w 6400800"/>
                <a:gd name="connsiteY6214" fmla="*/ 330994 h 514350"/>
                <a:gd name="connsiteX6215" fmla="*/ 1785461 w 6400800"/>
                <a:gd name="connsiteY6215" fmla="*/ 376714 h 514350"/>
                <a:gd name="connsiteX6216" fmla="*/ 1786414 w 6400800"/>
                <a:gd name="connsiteY6216" fmla="*/ 385286 h 514350"/>
                <a:gd name="connsiteX6217" fmla="*/ 1784509 w 6400800"/>
                <a:gd name="connsiteY6217" fmla="*/ 382429 h 514350"/>
                <a:gd name="connsiteX6218" fmla="*/ 1785461 w 6400800"/>
                <a:gd name="connsiteY6218" fmla="*/ 374809 h 514350"/>
                <a:gd name="connsiteX6219" fmla="*/ 1783556 w 6400800"/>
                <a:gd name="connsiteY6219" fmla="*/ 380524 h 514350"/>
                <a:gd name="connsiteX6220" fmla="*/ 1776889 w 6400800"/>
                <a:gd name="connsiteY6220" fmla="*/ 370999 h 514350"/>
                <a:gd name="connsiteX6221" fmla="*/ 1776889 w 6400800"/>
                <a:gd name="connsiteY6221" fmla="*/ 337661 h 514350"/>
                <a:gd name="connsiteX6222" fmla="*/ 1776889 w 6400800"/>
                <a:gd name="connsiteY6222" fmla="*/ 330994 h 514350"/>
                <a:gd name="connsiteX6223" fmla="*/ 1755934 w 6400800"/>
                <a:gd name="connsiteY6223" fmla="*/ 211931 h 514350"/>
                <a:gd name="connsiteX6224" fmla="*/ 1761649 w 6400800"/>
                <a:gd name="connsiteY6224" fmla="*/ 233839 h 514350"/>
                <a:gd name="connsiteX6225" fmla="*/ 1762601 w 6400800"/>
                <a:gd name="connsiteY6225" fmla="*/ 238601 h 514350"/>
                <a:gd name="connsiteX6226" fmla="*/ 1760696 w 6400800"/>
                <a:gd name="connsiteY6226" fmla="*/ 234791 h 514350"/>
                <a:gd name="connsiteX6227" fmla="*/ 1759744 w 6400800"/>
                <a:gd name="connsiteY6227" fmla="*/ 230981 h 514350"/>
                <a:gd name="connsiteX6228" fmla="*/ 1759744 w 6400800"/>
                <a:gd name="connsiteY6228" fmla="*/ 232886 h 514350"/>
                <a:gd name="connsiteX6229" fmla="*/ 1756886 w 6400800"/>
                <a:gd name="connsiteY6229" fmla="*/ 227171 h 514350"/>
                <a:gd name="connsiteX6230" fmla="*/ 1754981 w 6400800"/>
                <a:gd name="connsiteY6230" fmla="*/ 223361 h 514350"/>
                <a:gd name="connsiteX6231" fmla="*/ 1755934 w 6400800"/>
                <a:gd name="connsiteY6231" fmla="*/ 211931 h 514350"/>
                <a:gd name="connsiteX6232" fmla="*/ 1754981 w 6400800"/>
                <a:gd name="connsiteY6232" fmla="*/ 232886 h 514350"/>
                <a:gd name="connsiteX6233" fmla="*/ 1755934 w 6400800"/>
                <a:gd name="connsiteY6233" fmla="*/ 235744 h 514350"/>
                <a:gd name="connsiteX6234" fmla="*/ 1754981 w 6400800"/>
                <a:gd name="connsiteY6234" fmla="*/ 240506 h 514350"/>
                <a:gd name="connsiteX6235" fmla="*/ 1754981 w 6400800"/>
                <a:gd name="connsiteY6235" fmla="*/ 232886 h 514350"/>
                <a:gd name="connsiteX6236" fmla="*/ 1754029 w 6400800"/>
                <a:gd name="connsiteY6236" fmla="*/ 281464 h 514350"/>
                <a:gd name="connsiteX6237" fmla="*/ 1754981 w 6400800"/>
                <a:gd name="connsiteY6237" fmla="*/ 252889 h 514350"/>
                <a:gd name="connsiteX6238" fmla="*/ 1756886 w 6400800"/>
                <a:gd name="connsiteY6238" fmla="*/ 236696 h 514350"/>
                <a:gd name="connsiteX6239" fmla="*/ 1763554 w 6400800"/>
                <a:gd name="connsiteY6239" fmla="*/ 256699 h 514350"/>
                <a:gd name="connsiteX6240" fmla="*/ 1768316 w 6400800"/>
                <a:gd name="connsiteY6240" fmla="*/ 286226 h 514350"/>
                <a:gd name="connsiteX6241" fmla="*/ 1754981 w 6400800"/>
                <a:gd name="connsiteY6241" fmla="*/ 322421 h 514350"/>
                <a:gd name="connsiteX6242" fmla="*/ 1754029 w 6400800"/>
                <a:gd name="connsiteY6242" fmla="*/ 317659 h 514350"/>
                <a:gd name="connsiteX6243" fmla="*/ 1754029 w 6400800"/>
                <a:gd name="connsiteY6243" fmla="*/ 316706 h 514350"/>
                <a:gd name="connsiteX6244" fmla="*/ 1754029 w 6400800"/>
                <a:gd name="connsiteY6244" fmla="*/ 281464 h 514350"/>
                <a:gd name="connsiteX6245" fmla="*/ 1687354 w 6400800"/>
                <a:gd name="connsiteY6245" fmla="*/ 295751 h 514350"/>
                <a:gd name="connsiteX6246" fmla="*/ 1685449 w 6400800"/>
                <a:gd name="connsiteY6246" fmla="*/ 314801 h 514350"/>
                <a:gd name="connsiteX6247" fmla="*/ 1684496 w 6400800"/>
                <a:gd name="connsiteY6247" fmla="*/ 325279 h 514350"/>
                <a:gd name="connsiteX6248" fmla="*/ 1681639 w 6400800"/>
                <a:gd name="connsiteY6248" fmla="*/ 311944 h 514350"/>
                <a:gd name="connsiteX6249" fmla="*/ 1681639 w 6400800"/>
                <a:gd name="connsiteY6249" fmla="*/ 309086 h 514350"/>
                <a:gd name="connsiteX6250" fmla="*/ 1681639 w 6400800"/>
                <a:gd name="connsiteY6250" fmla="*/ 310039 h 514350"/>
                <a:gd name="connsiteX6251" fmla="*/ 1680686 w 6400800"/>
                <a:gd name="connsiteY6251" fmla="*/ 306229 h 514350"/>
                <a:gd name="connsiteX6252" fmla="*/ 1681639 w 6400800"/>
                <a:gd name="connsiteY6252" fmla="*/ 303371 h 514350"/>
                <a:gd name="connsiteX6253" fmla="*/ 1684496 w 6400800"/>
                <a:gd name="connsiteY6253" fmla="*/ 295751 h 514350"/>
                <a:gd name="connsiteX6254" fmla="*/ 1689259 w 6400800"/>
                <a:gd name="connsiteY6254" fmla="*/ 282416 h 514350"/>
                <a:gd name="connsiteX6255" fmla="*/ 1687354 w 6400800"/>
                <a:gd name="connsiteY6255" fmla="*/ 295751 h 514350"/>
                <a:gd name="connsiteX6256" fmla="*/ 1678781 w 6400800"/>
                <a:gd name="connsiteY6256" fmla="*/ 276701 h 514350"/>
                <a:gd name="connsiteX6257" fmla="*/ 1684496 w 6400800"/>
                <a:gd name="connsiteY6257" fmla="*/ 245269 h 514350"/>
                <a:gd name="connsiteX6258" fmla="*/ 1686401 w 6400800"/>
                <a:gd name="connsiteY6258" fmla="*/ 259556 h 514350"/>
                <a:gd name="connsiteX6259" fmla="*/ 1686401 w 6400800"/>
                <a:gd name="connsiteY6259" fmla="*/ 268129 h 514350"/>
                <a:gd name="connsiteX6260" fmla="*/ 1686401 w 6400800"/>
                <a:gd name="connsiteY6260" fmla="*/ 270986 h 514350"/>
                <a:gd name="connsiteX6261" fmla="*/ 1675924 w 6400800"/>
                <a:gd name="connsiteY6261" fmla="*/ 292894 h 514350"/>
                <a:gd name="connsiteX6262" fmla="*/ 1675924 w 6400800"/>
                <a:gd name="connsiteY6262" fmla="*/ 291941 h 514350"/>
                <a:gd name="connsiteX6263" fmla="*/ 1678781 w 6400800"/>
                <a:gd name="connsiteY6263" fmla="*/ 278606 h 514350"/>
                <a:gd name="connsiteX6264" fmla="*/ 1679734 w 6400800"/>
                <a:gd name="connsiteY6264" fmla="*/ 275749 h 514350"/>
                <a:gd name="connsiteX6265" fmla="*/ 1678781 w 6400800"/>
                <a:gd name="connsiteY6265" fmla="*/ 276701 h 514350"/>
                <a:gd name="connsiteX6266" fmla="*/ 1677829 w 6400800"/>
                <a:gd name="connsiteY6266" fmla="*/ 199549 h 514350"/>
                <a:gd name="connsiteX6267" fmla="*/ 1678781 w 6400800"/>
                <a:gd name="connsiteY6267" fmla="*/ 204311 h 514350"/>
                <a:gd name="connsiteX6268" fmla="*/ 1676876 w 6400800"/>
                <a:gd name="connsiteY6268" fmla="*/ 213836 h 514350"/>
                <a:gd name="connsiteX6269" fmla="*/ 1677829 w 6400800"/>
                <a:gd name="connsiteY6269" fmla="*/ 199549 h 514350"/>
                <a:gd name="connsiteX6270" fmla="*/ 1640681 w 6400800"/>
                <a:gd name="connsiteY6270" fmla="*/ 226219 h 514350"/>
                <a:gd name="connsiteX6271" fmla="*/ 1649254 w 6400800"/>
                <a:gd name="connsiteY6271" fmla="*/ 254794 h 514350"/>
                <a:gd name="connsiteX6272" fmla="*/ 1654016 w 6400800"/>
                <a:gd name="connsiteY6272" fmla="*/ 274796 h 514350"/>
                <a:gd name="connsiteX6273" fmla="*/ 1653064 w 6400800"/>
                <a:gd name="connsiteY6273" fmla="*/ 281464 h 514350"/>
                <a:gd name="connsiteX6274" fmla="*/ 1652111 w 6400800"/>
                <a:gd name="connsiteY6274" fmla="*/ 279559 h 514350"/>
                <a:gd name="connsiteX6275" fmla="*/ 1652111 w 6400800"/>
                <a:gd name="connsiteY6275" fmla="*/ 282416 h 514350"/>
                <a:gd name="connsiteX6276" fmla="*/ 1649254 w 6400800"/>
                <a:gd name="connsiteY6276" fmla="*/ 300514 h 514350"/>
                <a:gd name="connsiteX6277" fmla="*/ 1641634 w 6400800"/>
                <a:gd name="connsiteY6277" fmla="*/ 281464 h 514350"/>
                <a:gd name="connsiteX6278" fmla="*/ 1643539 w 6400800"/>
                <a:gd name="connsiteY6278" fmla="*/ 279559 h 514350"/>
                <a:gd name="connsiteX6279" fmla="*/ 1647349 w 6400800"/>
                <a:gd name="connsiteY6279" fmla="*/ 277654 h 514350"/>
                <a:gd name="connsiteX6280" fmla="*/ 1654016 w 6400800"/>
                <a:gd name="connsiteY6280" fmla="*/ 273844 h 514350"/>
                <a:gd name="connsiteX6281" fmla="*/ 1647349 w 6400800"/>
                <a:gd name="connsiteY6281" fmla="*/ 276701 h 514350"/>
                <a:gd name="connsiteX6282" fmla="*/ 1643539 w 6400800"/>
                <a:gd name="connsiteY6282" fmla="*/ 278606 h 514350"/>
                <a:gd name="connsiteX6283" fmla="*/ 1642586 w 6400800"/>
                <a:gd name="connsiteY6283" fmla="*/ 279559 h 514350"/>
                <a:gd name="connsiteX6284" fmla="*/ 1642586 w 6400800"/>
                <a:gd name="connsiteY6284" fmla="*/ 255746 h 514350"/>
                <a:gd name="connsiteX6285" fmla="*/ 1640681 w 6400800"/>
                <a:gd name="connsiteY6285" fmla="*/ 226219 h 514350"/>
                <a:gd name="connsiteX6286" fmla="*/ 1640681 w 6400800"/>
                <a:gd name="connsiteY6286" fmla="*/ 226219 h 514350"/>
                <a:gd name="connsiteX6287" fmla="*/ 1620679 w 6400800"/>
                <a:gd name="connsiteY6287" fmla="*/ 348139 h 514350"/>
                <a:gd name="connsiteX6288" fmla="*/ 1620679 w 6400800"/>
                <a:gd name="connsiteY6288" fmla="*/ 351949 h 514350"/>
                <a:gd name="connsiteX6289" fmla="*/ 1620679 w 6400800"/>
                <a:gd name="connsiteY6289" fmla="*/ 353854 h 514350"/>
                <a:gd name="connsiteX6290" fmla="*/ 1618774 w 6400800"/>
                <a:gd name="connsiteY6290" fmla="*/ 356711 h 514350"/>
                <a:gd name="connsiteX6291" fmla="*/ 1620679 w 6400800"/>
                <a:gd name="connsiteY6291" fmla="*/ 348139 h 514350"/>
                <a:gd name="connsiteX6292" fmla="*/ 1618774 w 6400800"/>
                <a:gd name="connsiteY6292" fmla="*/ 311944 h 514350"/>
                <a:gd name="connsiteX6293" fmla="*/ 1616869 w 6400800"/>
                <a:gd name="connsiteY6293" fmla="*/ 315754 h 514350"/>
                <a:gd name="connsiteX6294" fmla="*/ 1605439 w 6400800"/>
                <a:gd name="connsiteY6294" fmla="*/ 343376 h 514350"/>
                <a:gd name="connsiteX6295" fmla="*/ 1602581 w 6400800"/>
                <a:gd name="connsiteY6295" fmla="*/ 350996 h 514350"/>
                <a:gd name="connsiteX6296" fmla="*/ 1602581 w 6400800"/>
                <a:gd name="connsiteY6296" fmla="*/ 342424 h 514350"/>
                <a:gd name="connsiteX6297" fmla="*/ 1613059 w 6400800"/>
                <a:gd name="connsiteY6297" fmla="*/ 321469 h 514350"/>
                <a:gd name="connsiteX6298" fmla="*/ 1619726 w 6400800"/>
                <a:gd name="connsiteY6298" fmla="*/ 310039 h 514350"/>
                <a:gd name="connsiteX6299" fmla="*/ 1618774 w 6400800"/>
                <a:gd name="connsiteY6299" fmla="*/ 311944 h 514350"/>
                <a:gd name="connsiteX6300" fmla="*/ 1610201 w 6400800"/>
                <a:gd name="connsiteY6300" fmla="*/ 269081 h 514350"/>
                <a:gd name="connsiteX6301" fmla="*/ 1614011 w 6400800"/>
                <a:gd name="connsiteY6301" fmla="*/ 258604 h 514350"/>
                <a:gd name="connsiteX6302" fmla="*/ 1616869 w 6400800"/>
                <a:gd name="connsiteY6302" fmla="*/ 252889 h 514350"/>
                <a:gd name="connsiteX6303" fmla="*/ 1617821 w 6400800"/>
                <a:gd name="connsiteY6303" fmla="*/ 292894 h 514350"/>
                <a:gd name="connsiteX6304" fmla="*/ 1617821 w 6400800"/>
                <a:gd name="connsiteY6304" fmla="*/ 293846 h 514350"/>
                <a:gd name="connsiteX6305" fmla="*/ 1614011 w 6400800"/>
                <a:gd name="connsiteY6305" fmla="*/ 289084 h 514350"/>
                <a:gd name="connsiteX6306" fmla="*/ 1606391 w 6400800"/>
                <a:gd name="connsiteY6306" fmla="*/ 277654 h 514350"/>
                <a:gd name="connsiteX6307" fmla="*/ 1610201 w 6400800"/>
                <a:gd name="connsiteY6307" fmla="*/ 269081 h 514350"/>
                <a:gd name="connsiteX6308" fmla="*/ 1600676 w 6400800"/>
                <a:gd name="connsiteY6308" fmla="*/ 297656 h 514350"/>
                <a:gd name="connsiteX6309" fmla="*/ 1606391 w 6400800"/>
                <a:gd name="connsiteY6309" fmla="*/ 279559 h 514350"/>
                <a:gd name="connsiteX6310" fmla="*/ 1611154 w 6400800"/>
                <a:gd name="connsiteY6310" fmla="*/ 290989 h 514350"/>
                <a:gd name="connsiteX6311" fmla="*/ 1616869 w 6400800"/>
                <a:gd name="connsiteY6311" fmla="*/ 303371 h 514350"/>
                <a:gd name="connsiteX6312" fmla="*/ 1606391 w 6400800"/>
                <a:gd name="connsiteY6312" fmla="*/ 317659 h 514350"/>
                <a:gd name="connsiteX6313" fmla="*/ 1601629 w 6400800"/>
                <a:gd name="connsiteY6313" fmla="*/ 325279 h 514350"/>
                <a:gd name="connsiteX6314" fmla="*/ 1600676 w 6400800"/>
                <a:gd name="connsiteY6314" fmla="*/ 319564 h 514350"/>
                <a:gd name="connsiteX6315" fmla="*/ 1599724 w 6400800"/>
                <a:gd name="connsiteY6315" fmla="*/ 305276 h 514350"/>
                <a:gd name="connsiteX6316" fmla="*/ 1600676 w 6400800"/>
                <a:gd name="connsiteY6316" fmla="*/ 297656 h 514350"/>
                <a:gd name="connsiteX6317" fmla="*/ 1567339 w 6400800"/>
                <a:gd name="connsiteY6317" fmla="*/ 315754 h 514350"/>
                <a:gd name="connsiteX6318" fmla="*/ 1568291 w 6400800"/>
                <a:gd name="connsiteY6318" fmla="*/ 330041 h 514350"/>
                <a:gd name="connsiteX6319" fmla="*/ 1566386 w 6400800"/>
                <a:gd name="connsiteY6319" fmla="*/ 320516 h 514350"/>
                <a:gd name="connsiteX6320" fmla="*/ 1567339 w 6400800"/>
                <a:gd name="connsiteY6320" fmla="*/ 315754 h 514350"/>
                <a:gd name="connsiteX6321" fmla="*/ 1547336 w 6400800"/>
                <a:gd name="connsiteY6321" fmla="*/ 265271 h 514350"/>
                <a:gd name="connsiteX6322" fmla="*/ 1546384 w 6400800"/>
                <a:gd name="connsiteY6322" fmla="*/ 275749 h 514350"/>
                <a:gd name="connsiteX6323" fmla="*/ 1545431 w 6400800"/>
                <a:gd name="connsiteY6323" fmla="*/ 272891 h 514350"/>
                <a:gd name="connsiteX6324" fmla="*/ 1547336 w 6400800"/>
                <a:gd name="connsiteY6324" fmla="*/ 265271 h 514350"/>
                <a:gd name="connsiteX6325" fmla="*/ 1541621 w 6400800"/>
                <a:gd name="connsiteY6325" fmla="*/ 286226 h 514350"/>
                <a:gd name="connsiteX6326" fmla="*/ 1543526 w 6400800"/>
                <a:gd name="connsiteY6326" fmla="*/ 293846 h 514350"/>
                <a:gd name="connsiteX6327" fmla="*/ 1542574 w 6400800"/>
                <a:gd name="connsiteY6327" fmla="*/ 301466 h 514350"/>
                <a:gd name="connsiteX6328" fmla="*/ 1539716 w 6400800"/>
                <a:gd name="connsiteY6328" fmla="*/ 291941 h 514350"/>
                <a:gd name="connsiteX6329" fmla="*/ 1541621 w 6400800"/>
                <a:gd name="connsiteY6329" fmla="*/ 286226 h 514350"/>
                <a:gd name="connsiteX6330" fmla="*/ 1537811 w 6400800"/>
                <a:gd name="connsiteY6330" fmla="*/ 271939 h 514350"/>
                <a:gd name="connsiteX6331" fmla="*/ 1538764 w 6400800"/>
                <a:gd name="connsiteY6331" fmla="*/ 276701 h 514350"/>
                <a:gd name="connsiteX6332" fmla="*/ 1536859 w 6400800"/>
                <a:gd name="connsiteY6332" fmla="*/ 280511 h 514350"/>
                <a:gd name="connsiteX6333" fmla="*/ 1537811 w 6400800"/>
                <a:gd name="connsiteY6333" fmla="*/ 271939 h 514350"/>
                <a:gd name="connsiteX6334" fmla="*/ 1533049 w 6400800"/>
                <a:gd name="connsiteY6334" fmla="*/ 338614 h 514350"/>
                <a:gd name="connsiteX6335" fmla="*/ 1533049 w 6400800"/>
                <a:gd name="connsiteY6335" fmla="*/ 335756 h 514350"/>
                <a:gd name="connsiteX6336" fmla="*/ 1535906 w 6400800"/>
                <a:gd name="connsiteY6336" fmla="*/ 350044 h 514350"/>
                <a:gd name="connsiteX6337" fmla="*/ 1536859 w 6400800"/>
                <a:gd name="connsiteY6337" fmla="*/ 357664 h 514350"/>
                <a:gd name="connsiteX6338" fmla="*/ 1536859 w 6400800"/>
                <a:gd name="connsiteY6338" fmla="*/ 362426 h 514350"/>
                <a:gd name="connsiteX6339" fmla="*/ 1536859 w 6400800"/>
                <a:gd name="connsiteY6339" fmla="*/ 362426 h 514350"/>
                <a:gd name="connsiteX6340" fmla="*/ 1532096 w 6400800"/>
                <a:gd name="connsiteY6340" fmla="*/ 346234 h 514350"/>
                <a:gd name="connsiteX6341" fmla="*/ 1533049 w 6400800"/>
                <a:gd name="connsiteY6341" fmla="*/ 338614 h 514350"/>
                <a:gd name="connsiteX6342" fmla="*/ 1519714 w 6400800"/>
                <a:gd name="connsiteY6342" fmla="*/ 270986 h 514350"/>
                <a:gd name="connsiteX6343" fmla="*/ 1525429 w 6400800"/>
                <a:gd name="connsiteY6343" fmla="*/ 297656 h 514350"/>
                <a:gd name="connsiteX6344" fmla="*/ 1524476 w 6400800"/>
                <a:gd name="connsiteY6344" fmla="*/ 301466 h 514350"/>
                <a:gd name="connsiteX6345" fmla="*/ 1521619 w 6400800"/>
                <a:gd name="connsiteY6345" fmla="*/ 315754 h 514350"/>
                <a:gd name="connsiteX6346" fmla="*/ 1519714 w 6400800"/>
                <a:gd name="connsiteY6346" fmla="*/ 310991 h 514350"/>
                <a:gd name="connsiteX6347" fmla="*/ 1517809 w 6400800"/>
                <a:gd name="connsiteY6347" fmla="*/ 268129 h 514350"/>
                <a:gd name="connsiteX6348" fmla="*/ 1519714 w 6400800"/>
                <a:gd name="connsiteY6348" fmla="*/ 270986 h 514350"/>
                <a:gd name="connsiteX6349" fmla="*/ 1503521 w 6400800"/>
                <a:gd name="connsiteY6349" fmla="*/ 302419 h 514350"/>
                <a:gd name="connsiteX6350" fmla="*/ 1502569 w 6400800"/>
                <a:gd name="connsiteY6350" fmla="*/ 313849 h 514350"/>
                <a:gd name="connsiteX6351" fmla="*/ 1502569 w 6400800"/>
                <a:gd name="connsiteY6351" fmla="*/ 330041 h 514350"/>
                <a:gd name="connsiteX6352" fmla="*/ 1501616 w 6400800"/>
                <a:gd name="connsiteY6352" fmla="*/ 329089 h 514350"/>
                <a:gd name="connsiteX6353" fmla="*/ 1497806 w 6400800"/>
                <a:gd name="connsiteY6353" fmla="*/ 311944 h 514350"/>
                <a:gd name="connsiteX6354" fmla="*/ 1503521 w 6400800"/>
                <a:gd name="connsiteY6354" fmla="*/ 302419 h 514350"/>
                <a:gd name="connsiteX6355" fmla="*/ 1477804 w 6400800"/>
                <a:gd name="connsiteY6355" fmla="*/ 272891 h 514350"/>
                <a:gd name="connsiteX6356" fmla="*/ 1477804 w 6400800"/>
                <a:gd name="connsiteY6356" fmla="*/ 272891 h 514350"/>
                <a:gd name="connsiteX6357" fmla="*/ 1477804 w 6400800"/>
                <a:gd name="connsiteY6357" fmla="*/ 282416 h 514350"/>
                <a:gd name="connsiteX6358" fmla="*/ 1476851 w 6400800"/>
                <a:gd name="connsiteY6358" fmla="*/ 294799 h 514350"/>
                <a:gd name="connsiteX6359" fmla="*/ 1475899 w 6400800"/>
                <a:gd name="connsiteY6359" fmla="*/ 295751 h 514350"/>
                <a:gd name="connsiteX6360" fmla="*/ 1474946 w 6400800"/>
                <a:gd name="connsiteY6360" fmla="*/ 282416 h 514350"/>
                <a:gd name="connsiteX6361" fmla="*/ 1477804 w 6400800"/>
                <a:gd name="connsiteY6361" fmla="*/ 272891 h 514350"/>
                <a:gd name="connsiteX6362" fmla="*/ 1461611 w 6400800"/>
                <a:gd name="connsiteY6362" fmla="*/ 326231 h 514350"/>
                <a:gd name="connsiteX6363" fmla="*/ 1461611 w 6400800"/>
                <a:gd name="connsiteY6363" fmla="*/ 328136 h 514350"/>
                <a:gd name="connsiteX6364" fmla="*/ 1460659 w 6400800"/>
                <a:gd name="connsiteY6364" fmla="*/ 330041 h 514350"/>
                <a:gd name="connsiteX6365" fmla="*/ 1460659 w 6400800"/>
                <a:gd name="connsiteY6365" fmla="*/ 329089 h 514350"/>
                <a:gd name="connsiteX6366" fmla="*/ 1461611 w 6400800"/>
                <a:gd name="connsiteY6366" fmla="*/ 326231 h 514350"/>
                <a:gd name="connsiteX6367" fmla="*/ 1457801 w 6400800"/>
                <a:gd name="connsiteY6367" fmla="*/ 309086 h 514350"/>
                <a:gd name="connsiteX6368" fmla="*/ 1457801 w 6400800"/>
                <a:gd name="connsiteY6368" fmla="*/ 309086 h 514350"/>
                <a:gd name="connsiteX6369" fmla="*/ 1455896 w 6400800"/>
                <a:gd name="connsiteY6369" fmla="*/ 302419 h 514350"/>
                <a:gd name="connsiteX6370" fmla="*/ 1457801 w 6400800"/>
                <a:gd name="connsiteY6370" fmla="*/ 309086 h 514350"/>
                <a:gd name="connsiteX6371" fmla="*/ 1442561 w 6400800"/>
                <a:gd name="connsiteY6371" fmla="*/ 328136 h 514350"/>
                <a:gd name="connsiteX6372" fmla="*/ 1442561 w 6400800"/>
                <a:gd name="connsiteY6372" fmla="*/ 318611 h 514350"/>
                <a:gd name="connsiteX6373" fmla="*/ 1444466 w 6400800"/>
                <a:gd name="connsiteY6373" fmla="*/ 333851 h 514350"/>
                <a:gd name="connsiteX6374" fmla="*/ 1442561 w 6400800"/>
                <a:gd name="connsiteY6374" fmla="*/ 330041 h 514350"/>
                <a:gd name="connsiteX6375" fmla="*/ 1442561 w 6400800"/>
                <a:gd name="connsiteY6375" fmla="*/ 328136 h 514350"/>
                <a:gd name="connsiteX6376" fmla="*/ 1415891 w 6400800"/>
                <a:gd name="connsiteY6376" fmla="*/ 281464 h 514350"/>
                <a:gd name="connsiteX6377" fmla="*/ 1415891 w 6400800"/>
                <a:gd name="connsiteY6377" fmla="*/ 289084 h 514350"/>
                <a:gd name="connsiteX6378" fmla="*/ 1415891 w 6400800"/>
                <a:gd name="connsiteY6378" fmla="*/ 289084 h 514350"/>
                <a:gd name="connsiteX6379" fmla="*/ 1413034 w 6400800"/>
                <a:gd name="connsiteY6379" fmla="*/ 286226 h 514350"/>
                <a:gd name="connsiteX6380" fmla="*/ 1415891 w 6400800"/>
                <a:gd name="connsiteY6380" fmla="*/ 281464 h 514350"/>
                <a:gd name="connsiteX6381" fmla="*/ 1412081 w 6400800"/>
                <a:gd name="connsiteY6381" fmla="*/ 290036 h 514350"/>
                <a:gd name="connsiteX6382" fmla="*/ 1413986 w 6400800"/>
                <a:gd name="connsiteY6382" fmla="*/ 292894 h 514350"/>
                <a:gd name="connsiteX6383" fmla="*/ 1415891 w 6400800"/>
                <a:gd name="connsiteY6383" fmla="*/ 295751 h 514350"/>
                <a:gd name="connsiteX6384" fmla="*/ 1415891 w 6400800"/>
                <a:gd name="connsiteY6384" fmla="*/ 300514 h 514350"/>
                <a:gd name="connsiteX6385" fmla="*/ 1412081 w 6400800"/>
                <a:gd name="connsiteY6385" fmla="*/ 290036 h 514350"/>
                <a:gd name="connsiteX6386" fmla="*/ 1412081 w 6400800"/>
                <a:gd name="connsiteY6386" fmla="*/ 290036 h 514350"/>
                <a:gd name="connsiteX6387" fmla="*/ 1383506 w 6400800"/>
                <a:gd name="connsiteY6387" fmla="*/ 364331 h 514350"/>
                <a:gd name="connsiteX6388" fmla="*/ 1382554 w 6400800"/>
                <a:gd name="connsiteY6388" fmla="*/ 358616 h 514350"/>
                <a:gd name="connsiteX6389" fmla="*/ 1382554 w 6400800"/>
                <a:gd name="connsiteY6389" fmla="*/ 357664 h 514350"/>
                <a:gd name="connsiteX6390" fmla="*/ 1383506 w 6400800"/>
                <a:gd name="connsiteY6390" fmla="*/ 362426 h 514350"/>
                <a:gd name="connsiteX6391" fmla="*/ 1383506 w 6400800"/>
                <a:gd name="connsiteY6391" fmla="*/ 364331 h 514350"/>
                <a:gd name="connsiteX6392" fmla="*/ 1386364 w 6400800"/>
                <a:gd name="connsiteY6392" fmla="*/ 298609 h 514350"/>
                <a:gd name="connsiteX6393" fmla="*/ 1386364 w 6400800"/>
                <a:gd name="connsiteY6393" fmla="*/ 298609 h 514350"/>
                <a:gd name="connsiteX6394" fmla="*/ 1384459 w 6400800"/>
                <a:gd name="connsiteY6394" fmla="*/ 293846 h 514350"/>
                <a:gd name="connsiteX6395" fmla="*/ 1386364 w 6400800"/>
                <a:gd name="connsiteY6395" fmla="*/ 290989 h 514350"/>
                <a:gd name="connsiteX6396" fmla="*/ 1391126 w 6400800"/>
                <a:gd name="connsiteY6396" fmla="*/ 286226 h 514350"/>
                <a:gd name="connsiteX6397" fmla="*/ 1386364 w 6400800"/>
                <a:gd name="connsiteY6397" fmla="*/ 298609 h 514350"/>
                <a:gd name="connsiteX6398" fmla="*/ 1383506 w 6400800"/>
                <a:gd name="connsiteY6398" fmla="*/ 287179 h 514350"/>
                <a:gd name="connsiteX6399" fmla="*/ 1382554 w 6400800"/>
                <a:gd name="connsiteY6399" fmla="*/ 288131 h 514350"/>
                <a:gd name="connsiteX6400" fmla="*/ 1376839 w 6400800"/>
                <a:gd name="connsiteY6400" fmla="*/ 274796 h 514350"/>
                <a:gd name="connsiteX6401" fmla="*/ 1384459 w 6400800"/>
                <a:gd name="connsiteY6401" fmla="*/ 242411 h 514350"/>
                <a:gd name="connsiteX6402" fmla="*/ 1390174 w 6400800"/>
                <a:gd name="connsiteY6402" fmla="*/ 281464 h 514350"/>
                <a:gd name="connsiteX6403" fmla="*/ 1383506 w 6400800"/>
                <a:gd name="connsiteY6403" fmla="*/ 287179 h 514350"/>
                <a:gd name="connsiteX6404" fmla="*/ 1391126 w 6400800"/>
                <a:gd name="connsiteY6404" fmla="*/ 310991 h 514350"/>
                <a:gd name="connsiteX6405" fmla="*/ 1393031 w 6400800"/>
                <a:gd name="connsiteY6405" fmla="*/ 299561 h 514350"/>
                <a:gd name="connsiteX6406" fmla="*/ 1393031 w 6400800"/>
                <a:gd name="connsiteY6406" fmla="*/ 298609 h 514350"/>
                <a:gd name="connsiteX6407" fmla="*/ 1393984 w 6400800"/>
                <a:gd name="connsiteY6407" fmla="*/ 305276 h 514350"/>
                <a:gd name="connsiteX6408" fmla="*/ 1391126 w 6400800"/>
                <a:gd name="connsiteY6408" fmla="*/ 310991 h 514350"/>
                <a:gd name="connsiteX6409" fmla="*/ 1397794 w 6400800"/>
                <a:gd name="connsiteY6409" fmla="*/ 278606 h 514350"/>
                <a:gd name="connsiteX6410" fmla="*/ 1397794 w 6400800"/>
                <a:gd name="connsiteY6410" fmla="*/ 278606 h 514350"/>
                <a:gd name="connsiteX6411" fmla="*/ 1397794 w 6400800"/>
                <a:gd name="connsiteY6411" fmla="*/ 279559 h 514350"/>
                <a:gd name="connsiteX6412" fmla="*/ 1397794 w 6400800"/>
                <a:gd name="connsiteY6412" fmla="*/ 278606 h 514350"/>
                <a:gd name="connsiteX6413" fmla="*/ 1397794 w 6400800"/>
                <a:gd name="connsiteY6413" fmla="*/ 278606 h 514350"/>
                <a:gd name="connsiteX6414" fmla="*/ 1397794 w 6400800"/>
                <a:gd name="connsiteY6414" fmla="*/ 322421 h 514350"/>
                <a:gd name="connsiteX6415" fmla="*/ 1399699 w 6400800"/>
                <a:gd name="connsiteY6415" fmla="*/ 331946 h 514350"/>
                <a:gd name="connsiteX6416" fmla="*/ 1399699 w 6400800"/>
                <a:gd name="connsiteY6416" fmla="*/ 333851 h 514350"/>
                <a:gd name="connsiteX6417" fmla="*/ 1396841 w 6400800"/>
                <a:gd name="connsiteY6417" fmla="*/ 326231 h 514350"/>
                <a:gd name="connsiteX6418" fmla="*/ 1397794 w 6400800"/>
                <a:gd name="connsiteY6418" fmla="*/ 322421 h 514350"/>
                <a:gd name="connsiteX6419" fmla="*/ 1387316 w 6400800"/>
                <a:gd name="connsiteY6419" fmla="*/ 231934 h 514350"/>
                <a:gd name="connsiteX6420" fmla="*/ 1395889 w 6400800"/>
                <a:gd name="connsiteY6420" fmla="*/ 270986 h 514350"/>
                <a:gd name="connsiteX6421" fmla="*/ 1394936 w 6400800"/>
                <a:gd name="connsiteY6421" fmla="*/ 272891 h 514350"/>
                <a:gd name="connsiteX6422" fmla="*/ 1384459 w 6400800"/>
                <a:gd name="connsiteY6422" fmla="*/ 240506 h 514350"/>
                <a:gd name="connsiteX6423" fmla="*/ 1387316 w 6400800"/>
                <a:gd name="connsiteY6423" fmla="*/ 231934 h 514350"/>
                <a:gd name="connsiteX6424" fmla="*/ 1380649 w 6400800"/>
                <a:gd name="connsiteY6424" fmla="*/ 232886 h 514350"/>
                <a:gd name="connsiteX6425" fmla="*/ 1386364 w 6400800"/>
                <a:gd name="connsiteY6425" fmla="*/ 225266 h 514350"/>
                <a:gd name="connsiteX6426" fmla="*/ 1386364 w 6400800"/>
                <a:gd name="connsiteY6426" fmla="*/ 225266 h 514350"/>
                <a:gd name="connsiteX6427" fmla="*/ 1372076 w 6400800"/>
                <a:gd name="connsiteY6427" fmla="*/ 262414 h 514350"/>
                <a:gd name="connsiteX6428" fmla="*/ 1370171 w 6400800"/>
                <a:gd name="connsiteY6428" fmla="*/ 257651 h 514350"/>
                <a:gd name="connsiteX6429" fmla="*/ 1369219 w 6400800"/>
                <a:gd name="connsiteY6429" fmla="*/ 253841 h 514350"/>
                <a:gd name="connsiteX6430" fmla="*/ 1380649 w 6400800"/>
                <a:gd name="connsiteY6430" fmla="*/ 232886 h 514350"/>
                <a:gd name="connsiteX6431" fmla="*/ 1356836 w 6400800"/>
                <a:gd name="connsiteY6431" fmla="*/ 300514 h 514350"/>
                <a:gd name="connsiteX6432" fmla="*/ 1356836 w 6400800"/>
                <a:gd name="connsiteY6432" fmla="*/ 302419 h 514350"/>
                <a:gd name="connsiteX6433" fmla="*/ 1355884 w 6400800"/>
                <a:gd name="connsiteY6433" fmla="*/ 304324 h 514350"/>
                <a:gd name="connsiteX6434" fmla="*/ 1355884 w 6400800"/>
                <a:gd name="connsiteY6434" fmla="*/ 299561 h 514350"/>
                <a:gd name="connsiteX6435" fmla="*/ 1356836 w 6400800"/>
                <a:gd name="connsiteY6435" fmla="*/ 300514 h 514350"/>
                <a:gd name="connsiteX6436" fmla="*/ 1339691 w 6400800"/>
                <a:gd name="connsiteY6436" fmla="*/ 325279 h 514350"/>
                <a:gd name="connsiteX6437" fmla="*/ 1339691 w 6400800"/>
                <a:gd name="connsiteY6437" fmla="*/ 324326 h 514350"/>
                <a:gd name="connsiteX6438" fmla="*/ 1341596 w 6400800"/>
                <a:gd name="connsiteY6438" fmla="*/ 317659 h 514350"/>
                <a:gd name="connsiteX6439" fmla="*/ 1341596 w 6400800"/>
                <a:gd name="connsiteY6439" fmla="*/ 317659 h 514350"/>
                <a:gd name="connsiteX6440" fmla="*/ 1341596 w 6400800"/>
                <a:gd name="connsiteY6440" fmla="*/ 330994 h 514350"/>
                <a:gd name="connsiteX6441" fmla="*/ 1339691 w 6400800"/>
                <a:gd name="connsiteY6441" fmla="*/ 325279 h 514350"/>
                <a:gd name="connsiteX6442" fmla="*/ 1340644 w 6400800"/>
                <a:gd name="connsiteY6442" fmla="*/ 226219 h 514350"/>
                <a:gd name="connsiteX6443" fmla="*/ 1340644 w 6400800"/>
                <a:gd name="connsiteY6443" fmla="*/ 226219 h 514350"/>
                <a:gd name="connsiteX6444" fmla="*/ 1344454 w 6400800"/>
                <a:gd name="connsiteY6444" fmla="*/ 237649 h 514350"/>
                <a:gd name="connsiteX6445" fmla="*/ 1344454 w 6400800"/>
                <a:gd name="connsiteY6445" fmla="*/ 242411 h 514350"/>
                <a:gd name="connsiteX6446" fmla="*/ 1343501 w 6400800"/>
                <a:gd name="connsiteY6446" fmla="*/ 264319 h 514350"/>
                <a:gd name="connsiteX6447" fmla="*/ 1343501 w 6400800"/>
                <a:gd name="connsiteY6447" fmla="*/ 272891 h 514350"/>
                <a:gd name="connsiteX6448" fmla="*/ 1339691 w 6400800"/>
                <a:gd name="connsiteY6448" fmla="*/ 269081 h 514350"/>
                <a:gd name="connsiteX6449" fmla="*/ 1340644 w 6400800"/>
                <a:gd name="connsiteY6449" fmla="*/ 226219 h 514350"/>
                <a:gd name="connsiteX6450" fmla="*/ 1337786 w 6400800"/>
                <a:gd name="connsiteY6450" fmla="*/ 295751 h 514350"/>
                <a:gd name="connsiteX6451" fmla="*/ 1338739 w 6400800"/>
                <a:gd name="connsiteY6451" fmla="*/ 271939 h 514350"/>
                <a:gd name="connsiteX6452" fmla="*/ 1342549 w 6400800"/>
                <a:gd name="connsiteY6452" fmla="*/ 276701 h 514350"/>
                <a:gd name="connsiteX6453" fmla="*/ 1342549 w 6400800"/>
                <a:gd name="connsiteY6453" fmla="*/ 276701 h 514350"/>
                <a:gd name="connsiteX6454" fmla="*/ 1342549 w 6400800"/>
                <a:gd name="connsiteY6454" fmla="*/ 286226 h 514350"/>
                <a:gd name="connsiteX6455" fmla="*/ 1337786 w 6400800"/>
                <a:gd name="connsiteY6455" fmla="*/ 295751 h 514350"/>
                <a:gd name="connsiteX6456" fmla="*/ 1337786 w 6400800"/>
                <a:gd name="connsiteY6456" fmla="*/ 296704 h 514350"/>
                <a:gd name="connsiteX6457" fmla="*/ 1337786 w 6400800"/>
                <a:gd name="connsiteY6457" fmla="*/ 295751 h 514350"/>
                <a:gd name="connsiteX6458" fmla="*/ 1314926 w 6400800"/>
                <a:gd name="connsiteY6458" fmla="*/ 320516 h 514350"/>
                <a:gd name="connsiteX6459" fmla="*/ 1314926 w 6400800"/>
                <a:gd name="connsiteY6459" fmla="*/ 320516 h 514350"/>
                <a:gd name="connsiteX6460" fmla="*/ 1314926 w 6400800"/>
                <a:gd name="connsiteY6460" fmla="*/ 320516 h 514350"/>
                <a:gd name="connsiteX6461" fmla="*/ 1314926 w 6400800"/>
                <a:gd name="connsiteY6461" fmla="*/ 320516 h 514350"/>
                <a:gd name="connsiteX6462" fmla="*/ 1311116 w 6400800"/>
                <a:gd name="connsiteY6462" fmla="*/ 312896 h 514350"/>
                <a:gd name="connsiteX6463" fmla="*/ 1311116 w 6400800"/>
                <a:gd name="connsiteY6463" fmla="*/ 312896 h 514350"/>
                <a:gd name="connsiteX6464" fmla="*/ 1311116 w 6400800"/>
                <a:gd name="connsiteY6464" fmla="*/ 314801 h 514350"/>
                <a:gd name="connsiteX6465" fmla="*/ 1311116 w 6400800"/>
                <a:gd name="connsiteY6465" fmla="*/ 314801 h 514350"/>
                <a:gd name="connsiteX6466" fmla="*/ 1311116 w 6400800"/>
                <a:gd name="connsiteY6466" fmla="*/ 312896 h 514350"/>
                <a:gd name="connsiteX6467" fmla="*/ 1242536 w 6400800"/>
                <a:gd name="connsiteY6467" fmla="*/ 344329 h 514350"/>
                <a:gd name="connsiteX6468" fmla="*/ 1238726 w 6400800"/>
                <a:gd name="connsiteY6468" fmla="*/ 336709 h 514350"/>
                <a:gd name="connsiteX6469" fmla="*/ 1238726 w 6400800"/>
                <a:gd name="connsiteY6469" fmla="*/ 310991 h 514350"/>
                <a:gd name="connsiteX6470" fmla="*/ 1238726 w 6400800"/>
                <a:gd name="connsiteY6470" fmla="*/ 307181 h 514350"/>
                <a:gd name="connsiteX6471" fmla="*/ 1244441 w 6400800"/>
                <a:gd name="connsiteY6471" fmla="*/ 339566 h 514350"/>
                <a:gd name="connsiteX6472" fmla="*/ 1244441 w 6400800"/>
                <a:gd name="connsiteY6472" fmla="*/ 340519 h 514350"/>
                <a:gd name="connsiteX6473" fmla="*/ 1242536 w 6400800"/>
                <a:gd name="connsiteY6473" fmla="*/ 344329 h 514350"/>
                <a:gd name="connsiteX6474" fmla="*/ 1279684 w 6400800"/>
                <a:gd name="connsiteY6474" fmla="*/ 290989 h 514350"/>
                <a:gd name="connsiteX6475" fmla="*/ 1279684 w 6400800"/>
                <a:gd name="connsiteY6475" fmla="*/ 284321 h 514350"/>
                <a:gd name="connsiteX6476" fmla="*/ 1281589 w 6400800"/>
                <a:gd name="connsiteY6476" fmla="*/ 287179 h 514350"/>
                <a:gd name="connsiteX6477" fmla="*/ 1279684 w 6400800"/>
                <a:gd name="connsiteY6477" fmla="*/ 290989 h 514350"/>
                <a:gd name="connsiteX6478" fmla="*/ 1298734 w 6400800"/>
                <a:gd name="connsiteY6478" fmla="*/ 332899 h 514350"/>
                <a:gd name="connsiteX6479" fmla="*/ 1298734 w 6400800"/>
                <a:gd name="connsiteY6479" fmla="*/ 332899 h 514350"/>
                <a:gd name="connsiteX6480" fmla="*/ 1298734 w 6400800"/>
                <a:gd name="connsiteY6480" fmla="*/ 330994 h 514350"/>
                <a:gd name="connsiteX6481" fmla="*/ 1298734 w 6400800"/>
                <a:gd name="connsiteY6481" fmla="*/ 332899 h 514350"/>
                <a:gd name="connsiteX6482" fmla="*/ 1295876 w 6400800"/>
                <a:gd name="connsiteY6482" fmla="*/ 278606 h 514350"/>
                <a:gd name="connsiteX6483" fmla="*/ 1305401 w 6400800"/>
                <a:gd name="connsiteY6483" fmla="*/ 299561 h 514350"/>
                <a:gd name="connsiteX6484" fmla="*/ 1305401 w 6400800"/>
                <a:gd name="connsiteY6484" fmla="*/ 300514 h 514350"/>
                <a:gd name="connsiteX6485" fmla="*/ 1304449 w 6400800"/>
                <a:gd name="connsiteY6485" fmla="*/ 303371 h 514350"/>
                <a:gd name="connsiteX6486" fmla="*/ 1300639 w 6400800"/>
                <a:gd name="connsiteY6486" fmla="*/ 295751 h 514350"/>
                <a:gd name="connsiteX6487" fmla="*/ 1293971 w 6400800"/>
                <a:gd name="connsiteY6487" fmla="*/ 284321 h 514350"/>
                <a:gd name="connsiteX6488" fmla="*/ 1295876 w 6400800"/>
                <a:gd name="connsiteY6488" fmla="*/ 278606 h 514350"/>
                <a:gd name="connsiteX6489" fmla="*/ 1299686 w 6400800"/>
                <a:gd name="connsiteY6489" fmla="*/ 328136 h 514350"/>
                <a:gd name="connsiteX6490" fmla="*/ 1299686 w 6400800"/>
                <a:gd name="connsiteY6490" fmla="*/ 330041 h 514350"/>
                <a:gd name="connsiteX6491" fmla="*/ 1298734 w 6400800"/>
                <a:gd name="connsiteY6491" fmla="*/ 331946 h 514350"/>
                <a:gd name="connsiteX6492" fmla="*/ 1293019 w 6400800"/>
                <a:gd name="connsiteY6492" fmla="*/ 324326 h 514350"/>
                <a:gd name="connsiteX6493" fmla="*/ 1289209 w 6400800"/>
                <a:gd name="connsiteY6493" fmla="*/ 318611 h 514350"/>
                <a:gd name="connsiteX6494" fmla="*/ 1289209 w 6400800"/>
                <a:gd name="connsiteY6494" fmla="*/ 318611 h 514350"/>
                <a:gd name="connsiteX6495" fmla="*/ 1289209 w 6400800"/>
                <a:gd name="connsiteY6495" fmla="*/ 309086 h 514350"/>
                <a:gd name="connsiteX6496" fmla="*/ 1290161 w 6400800"/>
                <a:gd name="connsiteY6496" fmla="*/ 305276 h 514350"/>
                <a:gd name="connsiteX6497" fmla="*/ 1299686 w 6400800"/>
                <a:gd name="connsiteY6497" fmla="*/ 328136 h 514350"/>
                <a:gd name="connsiteX6498" fmla="*/ 1289209 w 6400800"/>
                <a:gd name="connsiteY6498" fmla="*/ 263366 h 514350"/>
                <a:gd name="connsiteX6499" fmla="*/ 1287304 w 6400800"/>
                <a:gd name="connsiteY6499" fmla="*/ 268129 h 514350"/>
                <a:gd name="connsiteX6500" fmla="*/ 1287304 w 6400800"/>
                <a:gd name="connsiteY6500" fmla="*/ 259556 h 514350"/>
                <a:gd name="connsiteX6501" fmla="*/ 1289209 w 6400800"/>
                <a:gd name="connsiteY6501" fmla="*/ 263366 h 514350"/>
                <a:gd name="connsiteX6502" fmla="*/ 1276826 w 6400800"/>
                <a:gd name="connsiteY6502" fmla="*/ 238601 h 514350"/>
                <a:gd name="connsiteX6503" fmla="*/ 1278731 w 6400800"/>
                <a:gd name="connsiteY6503" fmla="*/ 242411 h 514350"/>
                <a:gd name="connsiteX6504" fmla="*/ 1286351 w 6400800"/>
                <a:gd name="connsiteY6504" fmla="*/ 257651 h 514350"/>
                <a:gd name="connsiteX6505" fmla="*/ 1285399 w 6400800"/>
                <a:gd name="connsiteY6505" fmla="*/ 267176 h 514350"/>
                <a:gd name="connsiteX6506" fmla="*/ 1277779 w 6400800"/>
                <a:gd name="connsiteY6506" fmla="*/ 255746 h 514350"/>
                <a:gd name="connsiteX6507" fmla="*/ 1276826 w 6400800"/>
                <a:gd name="connsiteY6507" fmla="*/ 242411 h 514350"/>
                <a:gd name="connsiteX6508" fmla="*/ 1276826 w 6400800"/>
                <a:gd name="connsiteY6508" fmla="*/ 238601 h 514350"/>
                <a:gd name="connsiteX6509" fmla="*/ 1273016 w 6400800"/>
                <a:gd name="connsiteY6509" fmla="*/ 271939 h 514350"/>
                <a:gd name="connsiteX6510" fmla="*/ 1273969 w 6400800"/>
                <a:gd name="connsiteY6510" fmla="*/ 272891 h 514350"/>
                <a:gd name="connsiteX6511" fmla="*/ 1273016 w 6400800"/>
                <a:gd name="connsiteY6511" fmla="*/ 291941 h 514350"/>
                <a:gd name="connsiteX6512" fmla="*/ 1271111 w 6400800"/>
                <a:gd name="connsiteY6512" fmla="*/ 288131 h 514350"/>
                <a:gd name="connsiteX6513" fmla="*/ 1273016 w 6400800"/>
                <a:gd name="connsiteY6513" fmla="*/ 271939 h 514350"/>
                <a:gd name="connsiteX6514" fmla="*/ 1240631 w 6400800"/>
                <a:gd name="connsiteY6514" fmla="*/ 229076 h 514350"/>
                <a:gd name="connsiteX6515" fmla="*/ 1244441 w 6400800"/>
                <a:gd name="connsiteY6515" fmla="*/ 220504 h 514350"/>
                <a:gd name="connsiteX6516" fmla="*/ 1253966 w 6400800"/>
                <a:gd name="connsiteY6516" fmla="*/ 237649 h 514350"/>
                <a:gd name="connsiteX6517" fmla="*/ 1264444 w 6400800"/>
                <a:gd name="connsiteY6517" fmla="*/ 257651 h 514350"/>
                <a:gd name="connsiteX6518" fmla="*/ 1268254 w 6400800"/>
                <a:gd name="connsiteY6518" fmla="*/ 264319 h 514350"/>
                <a:gd name="connsiteX6519" fmla="*/ 1262539 w 6400800"/>
                <a:gd name="connsiteY6519" fmla="*/ 286226 h 514350"/>
                <a:gd name="connsiteX6520" fmla="*/ 1254919 w 6400800"/>
                <a:gd name="connsiteY6520" fmla="*/ 277654 h 514350"/>
                <a:gd name="connsiteX6521" fmla="*/ 1241584 w 6400800"/>
                <a:gd name="connsiteY6521" fmla="*/ 251936 h 514350"/>
                <a:gd name="connsiteX6522" fmla="*/ 1235869 w 6400800"/>
                <a:gd name="connsiteY6522" fmla="*/ 243364 h 514350"/>
                <a:gd name="connsiteX6523" fmla="*/ 1235869 w 6400800"/>
                <a:gd name="connsiteY6523" fmla="*/ 242411 h 514350"/>
                <a:gd name="connsiteX6524" fmla="*/ 1240631 w 6400800"/>
                <a:gd name="connsiteY6524" fmla="*/ 229076 h 514350"/>
                <a:gd name="connsiteX6525" fmla="*/ 1228249 w 6400800"/>
                <a:gd name="connsiteY6525" fmla="*/ 304324 h 514350"/>
                <a:gd name="connsiteX6526" fmla="*/ 1227296 w 6400800"/>
                <a:gd name="connsiteY6526" fmla="*/ 288131 h 514350"/>
                <a:gd name="connsiteX6527" fmla="*/ 1227296 w 6400800"/>
                <a:gd name="connsiteY6527" fmla="*/ 281464 h 514350"/>
                <a:gd name="connsiteX6528" fmla="*/ 1228249 w 6400800"/>
                <a:gd name="connsiteY6528" fmla="*/ 279559 h 514350"/>
                <a:gd name="connsiteX6529" fmla="*/ 1228249 w 6400800"/>
                <a:gd name="connsiteY6529" fmla="*/ 278606 h 514350"/>
                <a:gd name="connsiteX6530" fmla="*/ 1229201 w 6400800"/>
                <a:gd name="connsiteY6530" fmla="*/ 279559 h 514350"/>
                <a:gd name="connsiteX6531" fmla="*/ 1231106 w 6400800"/>
                <a:gd name="connsiteY6531" fmla="*/ 284321 h 514350"/>
                <a:gd name="connsiteX6532" fmla="*/ 1228249 w 6400800"/>
                <a:gd name="connsiteY6532" fmla="*/ 304324 h 514350"/>
                <a:gd name="connsiteX6533" fmla="*/ 1232059 w 6400800"/>
                <a:gd name="connsiteY6533" fmla="*/ 280511 h 514350"/>
                <a:gd name="connsiteX6534" fmla="*/ 1232059 w 6400800"/>
                <a:gd name="connsiteY6534" fmla="*/ 278606 h 514350"/>
                <a:gd name="connsiteX6535" fmla="*/ 1230154 w 6400800"/>
                <a:gd name="connsiteY6535" fmla="*/ 275749 h 514350"/>
                <a:gd name="connsiteX6536" fmla="*/ 1227296 w 6400800"/>
                <a:gd name="connsiteY6536" fmla="*/ 275749 h 514350"/>
                <a:gd name="connsiteX6537" fmla="*/ 1226344 w 6400800"/>
                <a:gd name="connsiteY6537" fmla="*/ 275749 h 514350"/>
                <a:gd name="connsiteX6538" fmla="*/ 1226344 w 6400800"/>
                <a:gd name="connsiteY6538" fmla="*/ 269081 h 514350"/>
                <a:gd name="connsiteX6539" fmla="*/ 1230154 w 6400800"/>
                <a:gd name="connsiteY6539" fmla="*/ 272891 h 514350"/>
                <a:gd name="connsiteX6540" fmla="*/ 1233011 w 6400800"/>
                <a:gd name="connsiteY6540" fmla="*/ 276701 h 514350"/>
                <a:gd name="connsiteX6541" fmla="*/ 1232059 w 6400800"/>
                <a:gd name="connsiteY6541" fmla="*/ 280511 h 514350"/>
                <a:gd name="connsiteX6542" fmla="*/ 1230154 w 6400800"/>
                <a:gd name="connsiteY6542" fmla="*/ 221456 h 514350"/>
                <a:gd name="connsiteX6543" fmla="*/ 1233964 w 6400800"/>
                <a:gd name="connsiteY6543" fmla="*/ 233839 h 514350"/>
                <a:gd name="connsiteX6544" fmla="*/ 1233964 w 6400800"/>
                <a:gd name="connsiteY6544" fmla="*/ 233839 h 514350"/>
                <a:gd name="connsiteX6545" fmla="*/ 1233011 w 6400800"/>
                <a:gd name="connsiteY6545" fmla="*/ 230029 h 514350"/>
                <a:gd name="connsiteX6546" fmla="*/ 1230154 w 6400800"/>
                <a:gd name="connsiteY6546" fmla="*/ 221456 h 514350"/>
                <a:gd name="connsiteX6547" fmla="*/ 1230154 w 6400800"/>
                <a:gd name="connsiteY6547" fmla="*/ 221456 h 514350"/>
                <a:gd name="connsiteX6548" fmla="*/ 1229201 w 6400800"/>
                <a:gd name="connsiteY6548" fmla="*/ 257651 h 514350"/>
                <a:gd name="connsiteX6549" fmla="*/ 1229201 w 6400800"/>
                <a:gd name="connsiteY6549" fmla="*/ 257651 h 514350"/>
                <a:gd name="connsiteX6550" fmla="*/ 1230154 w 6400800"/>
                <a:gd name="connsiteY6550" fmla="*/ 259556 h 514350"/>
                <a:gd name="connsiteX6551" fmla="*/ 1230154 w 6400800"/>
                <a:gd name="connsiteY6551" fmla="*/ 262414 h 514350"/>
                <a:gd name="connsiteX6552" fmla="*/ 1232059 w 6400800"/>
                <a:gd name="connsiteY6552" fmla="*/ 274796 h 514350"/>
                <a:gd name="connsiteX6553" fmla="*/ 1232059 w 6400800"/>
                <a:gd name="connsiteY6553" fmla="*/ 274796 h 514350"/>
                <a:gd name="connsiteX6554" fmla="*/ 1229201 w 6400800"/>
                <a:gd name="connsiteY6554" fmla="*/ 272891 h 514350"/>
                <a:gd name="connsiteX6555" fmla="*/ 1225391 w 6400800"/>
                <a:gd name="connsiteY6555" fmla="*/ 269081 h 514350"/>
                <a:gd name="connsiteX6556" fmla="*/ 1225391 w 6400800"/>
                <a:gd name="connsiteY6556" fmla="*/ 265271 h 514350"/>
                <a:gd name="connsiteX6557" fmla="*/ 1229201 w 6400800"/>
                <a:gd name="connsiteY6557" fmla="*/ 257651 h 514350"/>
                <a:gd name="connsiteX6558" fmla="*/ 1226344 w 6400800"/>
                <a:gd name="connsiteY6558" fmla="*/ 235744 h 514350"/>
                <a:gd name="connsiteX6559" fmla="*/ 1228249 w 6400800"/>
                <a:gd name="connsiteY6559" fmla="*/ 244316 h 514350"/>
                <a:gd name="connsiteX6560" fmla="*/ 1227296 w 6400800"/>
                <a:gd name="connsiteY6560" fmla="*/ 246221 h 514350"/>
                <a:gd name="connsiteX6561" fmla="*/ 1225391 w 6400800"/>
                <a:gd name="connsiteY6561" fmla="*/ 244316 h 514350"/>
                <a:gd name="connsiteX6562" fmla="*/ 1225391 w 6400800"/>
                <a:gd name="connsiteY6562" fmla="*/ 231934 h 514350"/>
                <a:gd name="connsiteX6563" fmla="*/ 1226344 w 6400800"/>
                <a:gd name="connsiteY6563" fmla="*/ 235744 h 514350"/>
                <a:gd name="connsiteX6564" fmla="*/ 1197769 w 6400800"/>
                <a:gd name="connsiteY6564" fmla="*/ 293846 h 514350"/>
                <a:gd name="connsiteX6565" fmla="*/ 1198721 w 6400800"/>
                <a:gd name="connsiteY6565" fmla="*/ 290036 h 514350"/>
                <a:gd name="connsiteX6566" fmla="*/ 1198721 w 6400800"/>
                <a:gd name="connsiteY6566" fmla="*/ 291941 h 514350"/>
                <a:gd name="connsiteX6567" fmla="*/ 1199674 w 6400800"/>
                <a:gd name="connsiteY6567" fmla="*/ 299561 h 514350"/>
                <a:gd name="connsiteX6568" fmla="*/ 1196816 w 6400800"/>
                <a:gd name="connsiteY6568" fmla="*/ 307181 h 514350"/>
                <a:gd name="connsiteX6569" fmla="*/ 1194911 w 6400800"/>
                <a:gd name="connsiteY6569" fmla="*/ 299561 h 514350"/>
                <a:gd name="connsiteX6570" fmla="*/ 1197769 w 6400800"/>
                <a:gd name="connsiteY6570" fmla="*/ 293846 h 514350"/>
                <a:gd name="connsiteX6571" fmla="*/ 1196816 w 6400800"/>
                <a:gd name="connsiteY6571" fmla="*/ 459581 h 514350"/>
                <a:gd name="connsiteX6572" fmla="*/ 1196816 w 6400800"/>
                <a:gd name="connsiteY6572" fmla="*/ 459581 h 514350"/>
                <a:gd name="connsiteX6573" fmla="*/ 1195864 w 6400800"/>
                <a:gd name="connsiteY6573" fmla="*/ 455771 h 514350"/>
                <a:gd name="connsiteX6574" fmla="*/ 1196816 w 6400800"/>
                <a:gd name="connsiteY6574" fmla="*/ 459581 h 514350"/>
                <a:gd name="connsiteX6575" fmla="*/ 1190149 w 6400800"/>
                <a:gd name="connsiteY6575" fmla="*/ 324326 h 514350"/>
                <a:gd name="connsiteX6576" fmla="*/ 1190149 w 6400800"/>
                <a:gd name="connsiteY6576" fmla="*/ 324326 h 514350"/>
                <a:gd name="connsiteX6577" fmla="*/ 1189196 w 6400800"/>
                <a:gd name="connsiteY6577" fmla="*/ 320516 h 514350"/>
                <a:gd name="connsiteX6578" fmla="*/ 1190149 w 6400800"/>
                <a:gd name="connsiteY6578" fmla="*/ 324326 h 514350"/>
                <a:gd name="connsiteX6579" fmla="*/ 1170146 w 6400800"/>
                <a:gd name="connsiteY6579" fmla="*/ 270986 h 514350"/>
                <a:gd name="connsiteX6580" fmla="*/ 1170146 w 6400800"/>
                <a:gd name="connsiteY6580" fmla="*/ 268129 h 514350"/>
                <a:gd name="connsiteX6581" fmla="*/ 1170146 w 6400800"/>
                <a:gd name="connsiteY6581" fmla="*/ 264319 h 514350"/>
                <a:gd name="connsiteX6582" fmla="*/ 1172051 w 6400800"/>
                <a:gd name="connsiteY6582" fmla="*/ 235744 h 514350"/>
                <a:gd name="connsiteX6583" fmla="*/ 1174909 w 6400800"/>
                <a:gd name="connsiteY6583" fmla="*/ 245269 h 514350"/>
                <a:gd name="connsiteX6584" fmla="*/ 1176814 w 6400800"/>
                <a:gd name="connsiteY6584" fmla="*/ 260509 h 514350"/>
                <a:gd name="connsiteX6585" fmla="*/ 1177766 w 6400800"/>
                <a:gd name="connsiteY6585" fmla="*/ 285274 h 514350"/>
                <a:gd name="connsiteX6586" fmla="*/ 1177766 w 6400800"/>
                <a:gd name="connsiteY6586" fmla="*/ 308134 h 514350"/>
                <a:gd name="connsiteX6587" fmla="*/ 1176814 w 6400800"/>
                <a:gd name="connsiteY6587" fmla="*/ 305276 h 514350"/>
                <a:gd name="connsiteX6588" fmla="*/ 1168241 w 6400800"/>
                <a:gd name="connsiteY6588" fmla="*/ 287179 h 514350"/>
                <a:gd name="connsiteX6589" fmla="*/ 1170146 w 6400800"/>
                <a:gd name="connsiteY6589" fmla="*/ 270986 h 514350"/>
                <a:gd name="connsiteX6590" fmla="*/ 1170146 w 6400800"/>
                <a:gd name="connsiteY6590" fmla="*/ 309086 h 514350"/>
                <a:gd name="connsiteX6591" fmla="*/ 1173956 w 6400800"/>
                <a:gd name="connsiteY6591" fmla="*/ 321469 h 514350"/>
                <a:gd name="connsiteX6592" fmla="*/ 1172051 w 6400800"/>
                <a:gd name="connsiteY6592" fmla="*/ 327184 h 514350"/>
                <a:gd name="connsiteX6593" fmla="*/ 1170146 w 6400800"/>
                <a:gd name="connsiteY6593" fmla="*/ 322421 h 514350"/>
                <a:gd name="connsiteX6594" fmla="*/ 1170146 w 6400800"/>
                <a:gd name="connsiteY6594" fmla="*/ 318611 h 514350"/>
                <a:gd name="connsiteX6595" fmla="*/ 1168241 w 6400800"/>
                <a:gd name="connsiteY6595" fmla="*/ 303371 h 514350"/>
                <a:gd name="connsiteX6596" fmla="*/ 1170146 w 6400800"/>
                <a:gd name="connsiteY6596" fmla="*/ 309086 h 514350"/>
                <a:gd name="connsiteX6597" fmla="*/ 1164431 w 6400800"/>
                <a:gd name="connsiteY6597" fmla="*/ 236696 h 514350"/>
                <a:gd name="connsiteX6598" fmla="*/ 1161574 w 6400800"/>
                <a:gd name="connsiteY6598" fmla="*/ 253841 h 514350"/>
                <a:gd name="connsiteX6599" fmla="*/ 1161574 w 6400800"/>
                <a:gd name="connsiteY6599" fmla="*/ 251936 h 514350"/>
                <a:gd name="connsiteX6600" fmla="*/ 1161574 w 6400800"/>
                <a:gd name="connsiteY6600" fmla="*/ 250984 h 514350"/>
                <a:gd name="connsiteX6601" fmla="*/ 1164431 w 6400800"/>
                <a:gd name="connsiteY6601" fmla="*/ 236696 h 514350"/>
                <a:gd name="connsiteX6602" fmla="*/ 1140619 w 6400800"/>
                <a:gd name="connsiteY6602" fmla="*/ 290036 h 514350"/>
                <a:gd name="connsiteX6603" fmla="*/ 1139666 w 6400800"/>
                <a:gd name="connsiteY6603" fmla="*/ 291941 h 514350"/>
                <a:gd name="connsiteX6604" fmla="*/ 1137761 w 6400800"/>
                <a:gd name="connsiteY6604" fmla="*/ 283369 h 514350"/>
                <a:gd name="connsiteX6605" fmla="*/ 1140619 w 6400800"/>
                <a:gd name="connsiteY6605" fmla="*/ 290036 h 514350"/>
                <a:gd name="connsiteX6606" fmla="*/ 1114901 w 6400800"/>
                <a:gd name="connsiteY6606" fmla="*/ 339566 h 514350"/>
                <a:gd name="connsiteX6607" fmla="*/ 1117759 w 6400800"/>
                <a:gd name="connsiteY6607" fmla="*/ 315754 h 514350"/>
                <a:gd name="connsiteX6608" fmla="*/ 1119664 w 6400800"/>
                <a:gd name="connsiteY6608" fmla="*/ 325279 h 514350"/>
                <a:gd name="connsiteX6609" fmla="*/ 1121569 w 6400800"/>
                <a:gd name="connsiteY6609" fmla="*/ 334804 h 514350"/>
                <a:gd name="connsiteX6610" fmla="*/ 1120616 w 6400800"/>
                <a:gd name="connsiteY6610" fmla="*/ 341471 h 514350"/>
                <a:gd name="connsiteX6611" fmla="*/ 1120616 w 6400800"/>
                <a:gd name="connsiteY6611" fmla="*/ 342424 h 514350"/>
                <a:gd name="connsiteX6612" fmla="*/ 1118711 w 6400800"/>
                <a:gd name="connsiteY6612" fmla="*/ 348139 h 514350"/>
                <a:gd name="connsiteX6613" fmla="*/ 1114901 w 6400800"/>
                <a:gd name="connsiteY6613" fmla="*/ 341471 h 514350"/>
                <a:gd name="connsiteX6614" fmla="*/ 1114901 w 6400800"/>
                <a:gd name="connsiteY6614" fmla="*/ 339566 h 514350"/>
                <a:gd name="connsiteX6615" fmla="*/ 1111091 w 6400800"/>
                <a:gd name="connsiteY6615" fmla="*/ 219551 h 514350"/>
                <a:gd name="connsiteX6616" fmla="*/ 1112044 w 6400800"/>
                <a:gd name="connsiteY6616" fmla="*/ 222409 h 514350"/>
                <a:gd name="connsiteX6617" fmla="*/ 1112996 w 6400800"/>
                <a:gd name="connsiteY6617" fmla="*/ 230029 h 514350"/>
                <a:gd name="connsiteX6618" fmla="*/ 1112996 w 6400800"/>
                <a:gd name="connsiteY6618" fmla="*/ 230029 h 514350"/>
                <a:gd name="connsiteX6619" fmla="*/ 1111091 w 6400800"/>
                <a:gd name="connsiteY6619" fmla="*/ 219551 h 514350"/>
                <a:gd name="connsiteX6620" fmla="*/ 1111091 w 6400800"/>
                <a:gd name="connsiteY6620" fmla="*/ 219551 h 514350"/>
                <a:gd name="connsiteX6621" fmla="*/ 1110139 w 6400800"/>
                <a:gd name="connsiteY6621" fmla="*/ 217646 h 514350"/>
                <a:gd name="connsiteX6622" fmla="*/ 1110139 w 6400800"/>
                <a:gd name="connsiteY6622" fmla="*/ 217646 h 514350"/>
                <a:gd name="connsiteX6623" fmla="*/ 1109186 w 6400800"/>
                <a:gd name="connsiteY6623" fmla="*/ 215741 h 514350"/>
                <a:gd name="connsiteX6624" fmla="*/ 1110139 w 6400800"/>
                <a:gd name="connsiteY6624" fmla="*/ 217646 h 514350"/>
                <a:gd name="connsiteX6625" fmla="*/ 1101566 w 6400800"/>
                <a:gd name="connsiteY6625" fmla="*/ 236696 h 514350"/>
                <a:gd name="connsiteX6626" fmla="*/ 1111091 w 6400800"/>
                <a:gd name="connsiteY6626" fmla="*/ 278606 h 514350"/>
                <a:gd name="connsiteX6627" fmla="*/ 1109186 w 6400800"/>
                <a:gd name="connsiteY6627" fmla="*/ 293846 h 514350"/>
                <a:gd name="connsiteX6628" fmla="*/ 1106329 w 6400800"/>
                <a:gd name="connsiteY6628" fmla="*/ 309086 h 514350"/>
                <a:gd name="connsiteX6629" fmla="*/ 1106329 w 6400800"/>
                <a:gd name="connsiteY6629" fmla="*/ 308134 h 514350"/>
                <a:gd name="connsiteX6630" fmla="*/ 1105376 w 6400800"/>
                <a:gd name="connsiteY6630" fmla="*/ 295751 h 514350"/>
                <a:gd name="connsiteX6631" fmla="*/ 1105376 w 6400800"/>
                <a:gd name="connsiteY6631" fmla="*/ 300514 h 514350"/>
                <a:gd name="connsiteX6632" fmla="*/ 1099661 w 6400800"/>
                <a:gd name="connsiteY6632" fmla="*/ 272891 h 514350"/>
                <a:gd name="connsiteX6633" fmla="*/ 1094899 w 6400800"/>
                <a:gd name="connsiteY6633" fmla="*/ 249079 h 514350"/>
                <a:gd name="connsiteX6634" fmla="*/ 1101566 w 6400800"/>
                <a:gd name="connsiteY6634" fmla="*/ 236696 h 514350"/>
                <a:gd name="connsiteX6635" fmla="*/ 1027271 w 6400800"/>
                <a:gd name="connsiteY6635" fmla="*/ 325279 h 514350"/>
                <a:gd name="connsiteX6636" fmla="*/ 1030129 w 6400800"/>
                <a:gd name="connsiteY6636" fmla="*/ 310991 h 514350"/>
                <a:gd name="connsiteX6637" fmla="*/ 1034891 w 6400800"/>
                <a:gd name="connsiteY6637" fmla="*/ 297656 h 514350"/>
                <a:gd name="connsiteX6638" fmla="*/ 1039654 w 6400800"/>
                <a:gd name="connsiteY6638" fmla="*/ 288131 h 514350"/>
                <a:gd name="connsiteX6639" fmla="*/ 1042511 w 6400800"/>
                <a:gd name="connsiteY6639" fmla="*/ 299561 h 514350"/>
                <a:gd name="connsiteX6640" fmla="*/ 1039654 w 6400800"/>
                <a:gd name="connsiteY6640" fmla="*/ 305276 h 514350"/>
                <a:gd name="connsiteX6641" fmla="*/ 1028224 w 6400800"/>
                <a:gd name="connsiteY6641" fmla="*/ 330994 h 514350"/>
                <a:gd name="connsiteX6642" fmla="*/ 1027271 w 6400800"/>
                <a:gd name="connsiteY6642" fmla="*/ 325279 h 514350"/>
                <a:gd name="connsiteX6643" fmla="*/ 1040606 w 6400800"/>
                <a:gd name="connsiteY6643" fmla="*/ 374809 h 514350"/>
                <a:gd name="connsiteX6644" fmla="*/ 1039654 w 6400800"/>
                <a:gd name="connsiteY6644" fmla="*/ 370999 h 514350"/>
                <a:gd name="connsiteX6645" fmla="*/ 1045369 w 6400800"/>
                <a:gd name="connsiteY6645" fmla="*/ 355759 h 514350"/>
                <a:gd name="connsiteX6646" fmla="*/ 1047274 w 6400800"/>
                <a:gd name="connsiteY6646" fmla="*/ 364331 h 514350"/>
                <a:gd name="connsiteX6647" fmla="*/ 1048226 w 6400800"/>
                <a:gd name="connsiteY6647" fmla="*/ 386239 h 514350"/>
                <a:gd name="connsiteX6648" fmla="*/ 1044416 w 6400800"/>
                <a:gd name="connsiteY6648" fmla="*/ 384334 h 514350"/>
                <a:gd name="connsiteX6649" fmla="*/ 1040606 w 6400800"/>
                <a:gd name="connsiteY6649" fmla="*/ 374809 h 514350"/>
                <a:gd name="connsiteX6650" fmla="*/ 1046321 w 6400800"/>
                <a:gd name="connsiteY6650" fmla="*/ 389096 h 514350"/>
                <a:gd name="connsiteX6651" fmla="*/ 1048226 w 6400800"/>
                <a:gd name="connsiteY6651" fmla="*/ 391001 h 514350"/>
                <a:gd name="connsiteX6652" fmla="*/ 1048226 w 6400800"/>
                <a:gd name="connsiteY6652" fmla="*/ 392906 h 514350"/>
                <a:gd name="connsiteX6653" fmla="*/ 1046321 w 6400800"/>
                <a:gd name="connsiteY6653" fmla="*/ 389096 h 514350"/>
                <a:gd name="connsiteX6654" fmla="*/ 1056799 w 6400800"/>
                <a:gd name="connsiteY6654" fmla="*/ 292894 h 514350"/>
                <a:gd name="connsiteX6655" fmla="*/ 1061561 w 6400800"/>
                <a:gd name="connsiteY6655" fmla="*/ 282416 h 514350"/>
                <a:gd name="connsiteX6656" fmla="*/ 1066324 w 6400800"/>
                <a:gd name="connsiteY6656" fmla="*/ 271939 h 514350"/>
                <a:gd name="connsiteX6657" fmla="*/ 1066324 w 6400800"/>
                <a:gd name="connsiteY6657" fmla="*/ 273844 h 514350"/>
                <a:gd name="connsiteX6658" fmla="*/ 1067276 w 6400800"/>
                <a:gd name="connsiteY6658" fmla="*/ 278606 h 514350"/>
                <a:gd name="connsiteX6659" fmla="*/ 1063466 w 6400800"/>
                <a:gd name="connsiteY6659" fmla="*/ 285274 h 514350"/>
                <a:gd name="connsiteX6660" fmla="*/ 1057751 w 6400800"/>
                <a:gd name="connsiteY6660" fmla="*/ 295751 h 514350"/>
                <a:gd name="connsiteX6661" fmla="*/ 1056799 w 6400800"/>
                <a:gd name="connsiteY6661" fmla="*/ 292894 h 514350"/>
                <a:gd name="connsiteX6662" fmla="*/ 1059656 w 6400800"/>
                <a:gd name="connsiteY6662" fmla="*/ 360521 h 514350"/>
                <a:gd name="connsiteX6663" fmla="*/ 1059656 w 6400800"/>
                <a:gd name="connsiteY6663" fmla="*/ 360521 h 514350"/>
                <a:gd name="connsiteX6664" fmla="*/ 1059656 w 6400800"/>
                <a:gd name="connsiteY6664" fmla="*/ 360521 h 514350"/>
                <a:gd name="connsiteX6665" fmla="*/ 1059656 w 6400800"/>
                <a:gd name="connsiteY6665" fmla="*/ 360521 h 514350"/>
                <a:gd name="connsiteX6666" fmla="*/ 1064419 w 6400800"/>
                <a:gd name="connsiteY6666" fmla="*/ 383381 h 514350"/>
                <a:gd name="connsiteX6667" fmla="*/ 1062514 w 6400800"/>
                <a:gd name="connsiteY6667" fmla="*/ 379571 h 514350"/>
                <a:gd name="connsiteX6668" fmla="*/ 1063466 w 6400800"/>
                <a:gd name="connsiteY6668" fmla="*/ 374809 h 514350"/>
                <a:gd name="connsiteX6669" fmla="*/ 1064419 w 6400800"/>
                <a:gd name="connsiteY6669" fmla="*/ 378619 h 514350"/>
                <a:gd name="connsiteX6670" fmla="*/ 1064419 w 6400800"/>
                <a:gd name="connsiteY6670" fmla="*/ 380524 h 514350"/>
                <a:gd name="connsiteX6671" fmla="*/ 1065371 w 6400800"/>
                <a:gd name="connsiteY6671" fmla="*/ 386239 h 514350"/>
                <a:gd name="connsiteX6672" fmla="*/ 1064419 w 6400800"/>
                <a:gd name="connsiteY6672" fmla="*/ 383381 h 514350"/>
                <a:gd name="connsiteX6673" fmla="*/ 1069181 w 6400800"/>
                <a:gd name="connsiteY6673" fmla="*/ 330994 h 514350"/>
                <a:gd name="connsiteX6674" fmla="*/ 1063466 w 6400800"/>
                <a:gd name="connsiteY6674" fmla="*/ 312896 h 514350"/>
                <a:gd name="connsiteX6675" fmla="*/ 1069181 w 6400800"/>
                <a:gd name="connsiteY6675" fmla="*/ 300514 h 514350"/>
                <a:gd name="connsiteX6676" fmla="*/ 1070134 w 6400800"/>
                <a:gd name="connsiteY6676" fmla="*/ 326231 h 514350"/>
                <a:gd name="connsiteX6677" fmla="*/ 1069181 w 6400800"/>
                <a:gd name="connsiteY6677" fmla="*/ 330994 h 514350"/>
                <a:gd name="connsiteX6678" fmla="*/ 1077754 w 6400800"/>
                <a:gd name="connsiteY6678" fmla="*/ 262414 h 514350"/>
                <a:gd name="connsiteX6679" fmla="*/ 1075849 w 6400800"/>
                <a:gd name="connsiteY6679" fmla="*/ 264319 h 514350"/>
                <a:gd name="connsiteX6680" fmla="*/ 1073944 w 6400800"/>
                <a:gd name="connsiteY6680" fmla="*/ 256699 h 514350"/>
                <a:gd name="connsiteX6681" fmla="*/ 1074896 w 6400800"/>
                <a:gd name="connsiteY6681" fmla="*/ 256699 h 514350"/>
                <a:gd name="connsiteX6682" fmla="*/ 1075849 w 6400800"/>
                <a:gd name="connsiteY6682" fmla="*/ 256699 h 514350"/>
                <a:gd name="connsiteX6683" fmla="*/ 1077754 w 6400800"/>
                <a:gd name="connsiteY6683" fmla="*/ 262414 h 514350"/>
                <a:gd name="connsiteX6684" fmla="*/ 1045369 w 6400800"/>
                <a:gd name="connsiteY6684" fmla="*/ 175736 h 514350"/>
                <a:gd name="connsiteX6685" fmla="*/ 1054894 w 6400800"/>
                <a:gd name="connsiteY6685" fmla="*/ 153829 h 514350"/>
                <a:gd name="connsiteX6686" fmla="*/ 1055846 w 6400800"/>
                <a:gd name="connsiteY6686" fmla="*/ 155734 h 514350"/>
                <a:gd name="connsiteX6687" fmla="*/ 1059656 w 6400800"/>
                <a:gd name="connsiteY6687" fmla="*/ 171926 h 514350"/>
                <a:gd name="connsiteX6688" fmla="*/ 1064419 w 6400800"/>
                <a:gd name="connsiteY6688" fmla="*/ 193834 h 514350"/>
                <a:gd name="connsiteX6689" fmla="*/ 1069181 w 6400800"/>
                <a:gd name="connsiteY6689" fmla="*/ 215741 h 514350"/>
                <a:gd name="connsiteX6690" fmla="*/ 1076801 w 6400800"/>
                <a:gd name="connsiteY6690" fmla="*/ 253841 h 514350"/>
                <a:gd name="connsiteX6691" fmla="*/ 1074896 w 6400800"/>
                <a:gd name="connsiteY6691" fmla="*/ 252889 h 514350"/>
                <a:gd name="connsiteX6692" fmla="*/ 1067276 w 6400800"/>
                <a:gd name="connsiteY6692" fmla="*/ 216694 h 514350"/>
                <a:gd name="connsiteX6693" fmla="*/ 1068229 w 6400800"/>
                <a:gd name="connsiteY6693" fmla="*/ 257651 h 514350"/>
                <a:gd name="connsiteX6694" fmla="*/ 1067276 w 6400800"/>
                <a:gd name="connsiteY6694" fmla="*/ 259556 h 514350"/>
                <a:gd name="connsiteX6695" fmla="*/ 1065371 w 6400800"/>
                <a:gd name="connsiteY6695" fmla="*/ 252889 h 514350"/>
                <a:gd name="connsiteX6696" fmla="*/ 1066324 w 6400800"/>
                <a:gd name="connsiteY6696" fmla="*/ 261461 h 514350"/>
                <a:gd name="connsiteX6697" fmla="*/ 1055846 w 6400800"/>
                <a:gd name="connsiteY6697" fmla="*/ 278606 h 514350"/>
                <a:gd name="connsiteX6698" fmla="*/ 1054894 w 6400800"/>
                <a:gd name="connsiteY6698" fmla="*/ 280511 h 514350"/>
                <a:gd name="connsiteX6699" fmla="*/ 1053941 w 6400800"/>
                <a:gd name="connsiteY6699" fmla="*/ 277654 h 514350"/>
                <a:gd name="connsiteX6700" fmla="*/ 1043464 w 6400800"/>
                <a:gd name="connsiteY6700" fmla="*/ 245269 h 514350"/>
                <a:gd name="connsiteX6701" fmla="*/ 1035844 w 6400800"/>
                <a:gd name="connsiteY6701" fmla="*/ 220504 h 514350"/>
                <a:gd name="connsiteX6702" fmla="*/ 1032034 w 6400800"/>
                <a:gd name="connsiteY6702" fmla="*/ 209074 h 514350"/>
                <a:gd name="connsiteX6703" fmla="*/ 1045369 w 6400800"/>
                <a:gd name="connsiteY6703" fmla="*/ 175736 h 514350"/>
                <a:gd name="connsiteX6704" fmla="*/ 1019651 w 6400800"/>
                <a:gd name="connsiteY6704" fmla="*/ 267176 h 514350"/>
                <a:gd name="connsiteX6705" fmla="*/ 1023461 w 6400800"/>
                <a:gd name="connsiteY6705" fmla="*/ 221456 h 514350"/>
                <a:gd name="connsiteX6706" fmla="*/ 1024414 w 6400800"/>
                <a:gd name="connsiteY6706" fmla="*/ 218599 h 514350"/>
                <a:gd name="connsiteX6707" fmla="*/ 1032034 w 6400800"/>
                <a:gd name="connsiteY6707" fmla="*/ 253841 h 514350"/>
                <a:gd name="connsiteX6708" fmla="*/ 1038701 w 6400800"/>
                <a:gd name="connsiteY6708" fmla="*/ 283369 h 514350"/>
                <a:gd name="connsiteX6709" fmla="*/ 1037749 w 6400800"/>
                <a:gd name="connsiteY6709" fmla="*/ 284321 h 514350"/>
                <a:gd name="connsiteX6710" fmla="*/ 1031081 w 6400800"/>
                <a:gd name="connsiteY6710" fmla="*/ 294799 h 514350"/>
                <a:gd name="connsiteX6711" fmla="*/ 1025366 w 6400800"/>
                <a:gd name="connsiteY6711" fmla="*/ 306229 h 514350"/>
                <a:gd name="connsiteX6712" fmla="*/ 1023461 w 6400800"/>
                <a:gd name="connsiteY6712" fmla="*/ 284321 h 514350"/>
                <a:gd name="connsiteX6713" fmla="*/ 1022509 w 6400800"/>
                <a:gd name="connsiteY6713" fmla="*/ 269081 h 514350"/>
                <a:gd name="connsiteX6714" fmla="*/ 1019651 w 6400800"/>
                <a:gd name="connsiteY6714" fmla="*/ 284321 h 514350"/>
                <a:gd name="connsiteX6715" fmla="*/ 1015841 w 6400800"/>
                <a:gd name="connsiteY6715" fmla="*/ 314801 h 514350"/>
                <a:gd name="connsiteX6716" fmla="*/ 1015841 w 6400800"/>
                <a:gd name="connsiteY6716" fmla="*/ 315754 h 514350"/>
                <a:gd name="connsiteX6717" fmla="*/ 1015841 w 6400800"/>
                <a:gd name="connsiteY6717" fmla="*/ 315754 h 514350"/>
                <a:gd name="connsiteX6718" fmla="*/ 1022509 w 6400800"/>
                <a:gd name="connsiteY6718" fmla="*/ 251936 h 514350"/>
                <a:gd name="connsiteX6719" fmla="*/ 1019651 w 6400800"/>
                <a:gd name="connsiteY6719" fmla="*/ 267176 h 514350"/>
                <a:gd name="connsiteX6720" fmla="*/ 1011079 w 6400800"/>
                <a:gd name="connsiteY6720" fmla="*/ 364331 h 514350"/>
                <a:gd name="connsiteX6721" fmla="*/ 1012031 w 6400800"/>
                <a:gd name="connsiteY6721" fmla="*/ 355759 h 514350"/>
                <a:gd name="connsiteX6722" fmla="*/ 1013936 w 6400800"/>
                <a:gd name="connsiteY6722" fmla="*/ 342424 h 514350"/>
                <a:gd name="connsiteX6723" fmla="*/ 1013936 w 6400800"/>
                <a:gd name="connsiteY6723" fmla="*/ 342424 h 514350"/>
                <a:gd name="connsiteX6724" fmla="*/ 1012031 w 6400800"/>
                <a:gd name="connsiteY6724" fmla="*/ 364331 h 514350"/>
                <a:gd name="connsiteX6725" fmla="*/ 1011079 w 6400800"/>
                <a:gd name="connsiteY6725" fmla="*/ 366236 h 514350"/>
                <a:gd name="connsiteX6726" fmla="*/ 1011079 w 6400800"/>
                <a:gd name="connsiteY6726" fmla="*/ 366236 h 514350"/>
                <a:gd name="connsiteX6727" fmla="*/ 1011079 w 6400800"/>
                <a:gd name="connsiteY6727" fmla="*/ 364331 h 514350"/>
                <a:gd name="connsiteX6728" fmla="*/ 1004411 w 6400800"/>
                <a:gd name="connsiteY6728" fmla="*/ 257651 h 514350"/>
                <a:gd name="connsiteX6729" fmla="*/ 1001554 w 6400800"/>
                <a:gd name="connsiteY6729" fmla="*/ 281464 h 514350"/>
                <a:gd name="connsiteX6730" fmla="*/ 996791 w 6400800"/>
                <a:gd name="connsiteY6730" fmla="*/ 271939 h 514350"/>
                <a:gd name="connsiteX6731" fmla="*/ 1004411 w 6400800"/>
                <a:gd name="connsiteY6731" fmla="*/ 257651 h 514350"/>
                <a:gd name="connsiteX6732" fmla="*/ 991076 w 6400800"/>
                <a:gd name="connsiteY6732" fmla="*/ 283369 h 514350"/>
                <a:gd name="connsiteX6733" fmla="*/ 995839 w 6400800"/>
                <a:gd name="connsiteY6733" fmla="*/ 273844 h 514350"/>
                <a:gd name="connsiteX6734" fmla="*/ 999649 w 6400800"/>
                <a:gd name="connsiteY6734" fmla="*/ 291941 h 514350"/>
                <a:gd name="connsiteX6735" fmla="*/ 995839 w 6400800"/>
                <a:gd name="connsiteY6735" fmla="*/ 326231 h 514350"/>
                <a:gd name="connsiteX6736" fmla="*/ 993934 w 6400800"/>
                <a:gd name="connsiteY6736" fmla="*/ 330994 h 514350"/>
                <a:gd name="connsiteX6737" fmla="*/ 992981 w 6400800"/>
                <a:gd name="connsiteY6737" fmla="*/ 320516 h 514350"/>
                <a:gd name="connsiteX6738" fmla="*/ 991076 w 6400800"/>
                <a:gd name="connsiteY6738" fmla="*/ 338614 h 514350"/>
                <a:gd name="connsiteX6739" fmla="*/ 990124 w 6400800"/>
                <a:gd name="connsiteY6739" fmla="*/ 341471 h 514350"/>
                <a:gd name="connsiteX6740" fmla="*/ 981551 w 6400800"/>
                <a:gd name="connsiteY6740" fmla="*/ 365284 h 514350"/>
                <a:gd name="connsiteX6741" fmla="*/ 980599 w 6400800"/>
                <a:gd name="connsiteY6741" fmla="*/ 363379 h 514350"/>
                <a:gd name="connsiteX6742" fmla="*/ 977741 w 6400800"/>
                <a:gd name="connsiteY6742" fmla="*/ 331946 h 514350"/>
                <a:gd name="connsiteX6743" fmla="*/ 975836 w 6400800"/>
                <a:gd name="connsiteY6743" fmla="*/ 311944 h 514350"/>
                <a:gd name="connsiteX6744" fmla="*/ 991076 w 6400800"/>
                <a:gd name="connsiteY6744" fmla="*/ 283369 h 514350"/>
                <a:gd name="connsiteX6745" fmla="*/ 960596 w 6400800"/>
                <a:gd name="connsiteY6745" fmla="*/ 298609 h 514350"/>
                <a:gd name="connsiteX6746" fmla="*/ 968216 w 6400800"/>
                <a:gd name="connsiteY6746" fmla="*/ 280511 h 514350"/>
                <a:gd name="connsiteX6747" fmla="*/ 967264 w 6400800"/>
                <a:gd name="connsiteY6747" fmla="*/ 294799 h 514350"/>
                <a:gd name="connsiteX6748" fmla="*/ 961549 w 6400800"/>
                <a:gd name="connsiteY6748" fmla="*/ 304324 h 514350"/>
                <a:gd name="connsiteX6749" fmla="*/ 961549 w 6400800"/>
                <a:gd name="connsiteY6749" fmla="*/ 303371 h 514350"/>
                <a:gd name="connsiteX6750" fmla="*/ 960596 w 6400800"/>
                <a:gd name="connsiteY6750" fmla="*/ 301466 h 514350"/>
                <a:gd name="connsiteX6751" fmla="*/ 960596 w 6400800"/>
                <a:gd name="connsiteY6751" fmla="*/ 298609 h 514350"/>
                <a:gd name="connsiteX6752" fmla="*/ 939641 w 6400800"/>
                <a:gd name="connsiteY6752" fmla="*/ 258604 h 514350"/>
                <a:gd name="connsiteX6753" fmla="*/ 939641 w 6400800"/>
                <a:gd name="connsiteY6753" fmla="*/ 258604 h 514350"/>
                <a:gd name="connsiteX6754" fmla="*/ 943451 w 6400800"/>
                <a:gd name="connsiteY6754" fmla="*/ 246221 h 514350"/>
                <a:gd name="connsiteX6755" fmla="*/ 943451 w 6400800"/>
                <a:gd name="connsiteY6755" fmla="*/ 251936 h 514350"/>
                <a:gd name="connsiteX6756" fmla="*/ 939641 w 6400800"/>
                <a:gd name="connsiteY6756" fmla="*/ 258604 h 514350"/>
                <a:gd name="connsiteX6757" fmla="*/ 939641 w 6400800"/>
                <a:gd name="connsiteY6757" fmla="*/ 258604 h 514350"/>
                <a:gd name="connsiteX6758" fmla="*/ 944404 w 6400800"/>
                <a:gd name="connsiteY6758" fmla="*/ 280511 h 514350"/>
                <a:gd name="connsiteX6759" fmla="*/ 943451 w 6400800"/>
                <a:gd name="connsiteY6759" fmla="*/ 273844 h 514350"/>
                <a:gd name="connsiteX6760" fmla="*/ 944404 w 6400800"/>
                <a:gd name="connsiteY6760" fmla="*/ 270986 h 514350"/>
                <a:gd name="connsiteX6761" fmla="*/ 944404 w 6400800"/>
                <a:gd name="connsiteY6761" fmla="*/ 271939 h 514350"/>
                <a:gd name="connsiteX6762" fmla="*/ 944404 w 6400800"/>
                <a:gd name="connsiteY6762" fmla="*/ 275749 h 514350"/>
                <a:gd name="connsiteX6763" fmla="*/ 944404 w 6400800"/>
                <a:gd name="connsiteY6763" fmla="*/ 280511 h 514350"/>
                <a:gd name="connsiteX6764" fmla="*/ 944404 w 6400800"/>
                <a:gd name="connsiteY6764" fmla="*/ 270986 h 514350"/>
                <a:gd name="connsiteX6765" fmla="*/ 944404 w 6400800"/>
                <a:gd name="connsiteY6765" fmla="*/ 270986 h 514350"/>
                <a:gd name="connsiteX6766" fmla="*/ 944404 w 6400800"/>
                <a:gd name="connsiteY6766" fmla="*/ 270986 h 514350"/>
                <a:gd name="connsiteX6767" fmla="*/ 944404 w 6400800"/>
                <a:gd name="connsiteY6767" fmla="*/ 270986 h 514350"/>
                <a:gd name="connsiteX6768" fmla="*/ 933926 w 6400800"/>
                <a:gd name="connsiteY6768" fmla="*/ 227171 h 514350"/>
                <a:gd name="connsiteX6769" fmla="*/ 958691 w 6400800"/>
                <a:gd name="connsiteY6769" fmla="*/ 138589 h 514350"/>
                <a:gd name="connsiteX6770" fmla="*/ 958691 w 6400800"/>
                <a:gd name="connsiteY6770" fmla="*/ 146209 h 514350"/>
                <a:gd name="connsiteX6771" fmla="*/ 953929 w 6400800"/>
                <a:gd name="connsiteY6771" fmla="*/ 203359 h 514350"/>
                <a:gd name="connsiteX6772" fmla="*/ 950119 w 6400800"/>
                <a:gd name="connsiteY6772" fmla="*/ 242411 h 514350"/>
                <a:gd name="connsiteX6773" fmla="*/ 948214 w 6400800"/>
                <a:gd name="connsiteY6773" fmla="*/ 246221 h 514350"/>
                <a:gd name="connsiteX6774" fmla="*/ 947261 w 6400800"/>
                <a:gd name="connsiteY6774" fmla="*/ 240506 h 514350"/>
                <a:gd name="connsiteX6775" fmla="*/ 949166 w 6400800"/>
                <a:gd name="connsiteY6775" fmla="*/ 233839 h 514350"/>
                <a:gd name="connsiteX6776" fmla="*/ 946309 w 6400800"/>
                <a:gd name="connsiteY6776" fmla="*/ 238601 h 514350"/>
                <a:gd name="connsiteX6777" fmla="*/ 944404 w 6400800"/>
                <a:gd name="connsiteY6777" fmla="*/ 230029 h 514350"/>
                <a:gd name="connsiteX6778" fmla="*/ 944404 w 6400800"/>
                <a:gd name="connsiteY6778" fmla="*/ 241459 h 514350"/>
                <a:gd name="connsiteX6779" fmla="*/ 939641 w 6400800"/>
                <a:gd name="connsiteY6779" fmla="*/ 251936 h 514350"/>
                <a:gd name="connsiteX6780" fmla="*/ 938689 w 6400800"/>
                <a:gd name="connsiteY6780" fmla="*/ 248126 h 514350"/>
                <a:gd name="connsiteX6781" fmla="*/ 936784 w 6400800"/>
                <a:gd name="connsiteY6781" fmla="*/ 241459 h 514350"/>
                <a:gd name="connsiteX6782" fmla="*/ 943451 w 6400800"/>
                <a:gd name="connsiteY6782" fmla="*/ 217646 h 514350"/>
                <a:gd name="connsiteX6783" fmla="*/ 934879 w 6400800"/>
                <a:gd name="connsiteY6783" fmla="*/ 235744 h 514350"/>
                <a:gd name="connsiteX6784" fmla="*/ 932974 w 6400800"/>
                <a:gd name="connsiteY6784" fmla="*/ 230029 h 514350"/>
                <a:gd name="connsiteX6785" fmla="*/ 933926 w 6400800"/>
                <a:gd name="connsiteY6785" fmla="*/ 227171 h 514350"/>
                <a:gd name="connsiteX6786" fmla="*/ 921544 w 6400800"/>
                <a:gd name="connsiteY6786" fmla="*/ 452914 h 514350"/>
                <a:gd name="connsiteX6787" fmla="*/ 920591 w 6400800"/>
                <a:gd name="connsiteY6787" fmla="*/ 451961 h 514350"/>
                <a:gd name="connsiteX6788" fmla="*/ 919639 w 6400800"/>
                <a:gd name="connsiteY6788" fmla="*/ 438626 h 514350"/>
                <a:gd name="connsiteX6789" fmla="*/ 921544 w 6400800"/>
                <a:gd name="connsiteY6789" fmla="*/ 452914 h 514350"/>
                <a:gd name="connsiteX6790" fmla="*/ 912019 w 6400800"/>
                <a:gd name="connsiteY6790" fmla="*/ 210979 h 514350"/>
                <a:gd name="connsiteX6791" fmla="*/ 915829 w 6400800"/>
                <a:gd name="connsiteY6791" fmla="*/ 227171 h 514350"/>
                <a:gd name="connsiteX6792" fmla="*/ 914876 w 6400800"/>
                <a:gd name="connsiteY6792" fmla="*/ 230029 h 514350"/>
                <a:gd name="connsiteX6793" fmla="*/ 912971 w 6400800"/>
                <a:gd name="connsiteY6793" fmla="*/ 236696 h 514350"/>
                <a:gd name="connsiteX6794" fmla="*/ 912019 w 6400800"/>
                <a:gd name="connsiteY6794" fmla="*/ 232886 h 514350"/>
                <a:gd name="connsiteX6795" fmla="*/ 912019 w 6400800"/>
                <a:gd name="connsiteY6795" fmla="*/ 228124 h 514350"/>
                <a:gd name="connsiteX6796" fmla="*/ 911066 w 6400800"/>
                <a:gd name="connsiteY6796" fmla="*/ 210979 h 514350"/>
                <a:gd name="connsiteX6797" fmla="*/ 911066 w 6400800"/>
                <a:gd name="connsiteY6797" fmla="*/ 204311 h 514350"/>
                <a:gd name="connsiteX6798" fmla="*/ 912019 w 6400800"/>
                <a:gd name="connsiteY6798" fmla="*/ 210979 h 514350"/>
                <a:gd name="connsiteX6799" fmla="*/ 833914 w 6400800"/>
                <a:gd name="connsiteY6799" fmla="*/ 333851 h 514350"/>
                <a:gd name="connsiteX6800" fmla="*/ 834866 w 6400800"/>
                <a:gd name="connsiteY6800" fmla="*/ 331946 h 514350"/>
                <a:gd name="connsiteX6801" fmla="*/ 834866 w 6400800"/>
                <a:gd name="connsiteY6801" fmla="*/ 337661 h 514350"/>
                <a:gd name="connsiteX6802" fmla="*/ 833914 w 6400800"/>
                <a:gd name="connsiteY6802" fmla="*/ 333851 h 514350"/>
                <a:gd name="connsiteX6803" fmla="*/ 847249 w 6400800"/>
                <a:gd name="connsiteY6803" fmla="*/ 304324 h 514350"/>
                <a:gd name="connsiteX6804" fmla="*/ 846296 w 6400800"/>
                <a:gd name="connsiteY6804" fmla="*/ 301466 h 514350"/>
                <a:gd name="connsiteX6805" fmla="*/ 846296 w 6400800"/>
                <a:gd name="connsiteY6805" fmla="*/ 299561 h 514350"/>
                <a:gd name="connsiteX6806" fmla="*/ 851059 w 6400800"/>
                <a:gd name="connsiteY6806" fmla="*/ 286226 h 514350"/>
                <a:gd name="connsiteX6807" fmla="*/ 847249 w 6400800"/>
                <a:gd name="connsiteY6807" fmla="*/ 304324 h 514350"/>
                <a:gd name="connsiteX6808" fmla="*/ 880586 w 6400800"/>
                <a:gd name="connsiteY6808" fmla="*/ 300514 h 514350"/>
                <a:gd name="connsiteX6809" fmla="*/ 876776 w 6400800"/>
                <a:gd name="connsiteY6809" fmla="*/ 319564 h 514350"/>
                <a:gd name="connsiteX6810" fmla="*/ 872966 w 6400800"/>
                <a:gd name="connsiteY6810" fmla="*/ 343376 h 514350"/>
                <a:gd name="connsiteX6811" fmla="*/ 869156 w 6400800"/>
                <a:gd name="connsiteY6811" fmla="*/ 350996 h 514350"/>
                <a:gd name="connsiteX6812" fmla="*/ 868204 w 6400800"/>
                <a:gd name="connsiteY6812" fmla="*/ 349091 h 514350"/>
                <a:gd name="connsiteX6813" fmla="*/ 867251 w 6400800"/>
                <a:gd name="connsiteY6813" fmla="*/ 348139 h 514350"/>
                <a:gd name="connsiteX6814" fmla="*/ 867251 w 6400800"/>
                <a:gd name="connsiteY6814" fmla="*/ 335756 h 514350"/>
                <a:gd name="connsiteX6815" fmla="*/ 866299 w 6400800"/>
                <a:gd name="connsiteY6815" fmla="*/ 301466 h 514350"/>
                <a:gd name="connsiteX6816" fmla="*/ 863441 w 6400800"/>
                <a:gd name="connsiteY6816" fmla="*/ 272891 h 514350"/>
                <a:gd name="connsiteX6817" fmla="*/ 861536 w 6400800"/>
                <a:gd name="connsiteY6817" fmla="*/ 257651 h 514350"/>
                <a:gd name="connsiteX6818" fmla="*/ 862489 w 6400800"/>
                <a:gd name="connsiteY6818" fmla="*/ 255746 h 514350"/>
                <a:gd name="connsiteX6819" fmla="*/ 862489 w 6400800"/>
                <a:gd name="connsiteY6819" fmla="*/ 255746 h 514350"/>
                <a:gd name="connsiteX6820" fmla="*/ 876776 w 6400800"/>
                <a:gd name="connsiteY6820" fmla="*/ 286226 h 514350"/>
                <a:gd name="connsiteX6821" fmla="*/ 881539 w 6400800"/>
                <a:gd name="connsiteY6821" fmla="*/ 296704 h 514350"/>
                <a:gd name="connsiteX6822" fmla="*/ 880586 w 6400800"/>
                <a:gd name="connsiteY6822" fmla="*/ 300514 h 514350"/>
                <a:gd name="connsiteX6823" fmla="*/ 885349 w 6400800"/>
                <a:gd name="connsiteY6823" fmla="*/ 318611 h 514350"/>
                <a:gd name="connsiteX6824" fmla="*/ 884396 w 6400800"/>
                <a:gd name="connsiteY6824" fmla="*/ 319564 h 514350"/>
                <a:gd name="connsiteX6825" fmla="*/ 883444 w 6400800"/>
                <a:gd name="connsiteY6825" fmla="*/ 320516 h 514350"/>
                <a:gd name="connsiteX6826" fmla="*/ 884396 w 6400800"/>
                <a:gd name="connsiteY6826" fmla="*/ 303371 h 514350"/>
                <a:gd name="connsiteX6827" fmla="*/ 887254 w 6400800"/>
                <a:gd name="connsiteY6827" fmla="*/ 310039 h 514350"/>
                <a:gd name="connsiteX6828" fmla="*/ 885349 w 6400800"/>
                <a:gd name="connsiteY6828" fmla="*/ 318611 h 514350"/>
                <a:gd name="connsiteX6829" fmla="*/ 900589 w 6400800"/>
                <a:gd name="connsiteY6829" fmla="*/ 246221 h 514350"/>
                <a:gd name="connsiteX6830" fmla="*/ 900589 w 6400800"/>
                <a:gd name="connsiteY6830" fmla="*/ 246221 h 514350"/>
                <a:gd name="connsiteX6831" fmla="*/ 898684 w 6400800"/>
                <a:gd name="connsiteY6831" fmla="*/ 234791 h 514350"/>
                <a:gd name="connsiteX6832" fmla="*/ 897731 w 6400800"/>
                <a:gd name="connsiteY6832" fmla="*/ 252889 h 514350"/>
                <a:gd name="connsiteX6833" fmla="*/ 897731 w 6400800"/>
                <a:gd name="connsiteY6833" fmla="*/ 253841 h 514350"/>
                <a:gd name="connsiteX6834" fmla="*/ 894874 w 6400800"/>
                <a:gd name="connsiteY6834" fmla="*/ 250031 h 514350"/>
                <a:gd name="connsiteX6835" fmla="*/ 897731 w 6400800"/>
                <a:gd name="connsiteY6835" fmla="*/ 254794 h 514350"/>
                <a:gd name="connsiteX6836" fmla="*/ 897731 w 6400800"/>
                <a:gd name="connsiteY6836" fmla="*/ 257651 h 514350"/>
                <a:gd name="connsiteX6837" fmla="*/ 896779 w 6400800"/>
                <a:gd name="connsiteY6837" fmla="*/ 264319 h 514350"/>
                <a:gd name="connsiteX6838" fmla="*/ 896779 w 6400800"/>
                <a:gd name="connsiteY6838" fmla="*/ 264319 h 514350"/>
                <a:gd name="connsiteX6839" fmla="*/ 896779 w 6400800"/>
                <a:gd name="connsiteY6839" fmla="*/ 264319 h 514350"/>
                <a:gd name="connsiteX6840" fmla="*/ 896779 w 6400800"/>
                <a:gd name="connsiteY6840" fmla="*/ 265271 h 514350"/>
                <a:gd name="connsiteX6841" fmla="*/ 896779 w 6400800"/>
                <a:gd name="connsiteY6841" fmla="*/ 270986 h 514350"/>
                <a:gd name="connsiteX6842" fmla="*/ 896779 w 6400800"/>
                <a:gd name="connsiteY6842" fmla="*/ 272891 h 514350"/>
                <a:gd name="connsiteX6843" fmla="*/ 895826 w 6400800"/>
                <a:gd name="connsiteY6843" fmla="*/ 285274 h 514350"/>
                <a:gd name="connsiteX6844" fmla="*/ 895826 w 6400800"/>
                <a:gd name="connsiteY6844" fmla="*/ 287179 h 514350"/>
                <a:gd name="connsiteX6845" fmla="*/ 891064 w 6400800"/>
                <a:gd name="connsiteY6845" fmla="*/ 279559 h 514350"/>
                <a:gd name="connsiteX6846" fmla="*/ 873919 w 6400800"/>
                <a:gd name="connsiteY6846" fmla="*/ 250984 h 514350"/>
                <a:gd name="connsiteX6847" fmla="*/ 869156 w 6400800"/>
                <a:gd name="connsiteY6847" fmla="*/ 243364 h 514350"/>
                <a:gd name="connsiteX6848" fmla="*/ 869156 w 6400800"/>
                <a:gd name="connsiteY6848" fmla="*/ 242411 h 514350"/>
                <a:gd name="connsiteX6849" fmla="*/ 878681 w 6400800"/>
                <a:gd name="connsiteY6849" fmla="*/ 215741 h 514350"/>
                <a:gd name="connsiteX6850" fmla="*/ 887254 w 6400800"/>
                <a:gd name="connsiteY6850" fmla="*/ 200501 h 514350"/>
                <a:gd name="connsiteX6851" fmla="*/ 895826 w 6400800"/>
                <a:gd name="connsiteY6851" fmla="*/ 223361 h 514350"/>
                <a:gd name="connsiteX6852" fmla="*/ 901541 w 6400800"/>
                <a:gd name="connsiteY6852" fmla="*/ 240506 h 514350"/>
                <a:gd name="connsiteX6853" fmla="*/ 900589 w 6400800"/>
                <a:gd name="connsiteY6853" fmla="*/ 246221 h 514350"/>
                <a:gd name="connsiteX6854" fmla="*/ 891064 w 6400800"/>
                <a:gd name="connsiteY6854" fmla="*/ 190976 h 514350"/>
                <a:gd name="connsiteX6855" fmla="*/ 892969 w 6400800"/>
                <a:gd name="connsiteY6855" fmla="*/ 187166 h 514350"/>
                <a:gd name="connsiteX6856" fmla="*/ 896779 w 6400800"/>
                <a:gd name="connsiteY6856" fmla="*/ 202406 h 514350"/>
                <a:gd name="connsiteX6857" fmla="*/ 891064 w 6400800"/>
                <a:gd name="connsiteY6857" fmla="*/ 190976 h 514350"/>
                <a:gd name="connsiteX6858" fmla="*/ 904399 w 6400800"/>
                <a:gd name="connsiteY6858" fmla="*/ 181451 h 514350"/>
                <a:gd name="connsiteX6859" fmla="*/ 904399 w 6400800"/>
                <a:gd name="connsiteY6859" fmla="*/ 183356 h 514350"/>
                <a:gd name="connsiteX6860" fmla="*/ 903446 w 6400800"/>
                <a:gd name="connsiteY6860" fmla="*/ 210979 h 514350"/>
                <a:gd name="connsiteX6861" fmla="*/ 903446 w 6400800"/>
                <a:gd name="connsiteY6861" fmla="*/ 210026 h 514350"/>
                <a:gd name="connsiteX6862" fmla="*/ 894874 w 6400800"/>
                <a:gd name="connsiteY6862" fmla="*/ 188119 h 514350"/>
                <a:gd name="connsiteX6863" fmla="*/ 903446 w 6400800"/>
                <a:gd name="connsiteY6863" fmla="*/ 173831 h 514350"/>
                <a:gd name="connsiteX6864" fmla="*/ 904399 w 6400800"/>
                <a:gd name="connsiteY6864" fmla="*/ 181451 h 514350"/>
                <a:gd name="connsiteX6865" fmla="*/ 888206 w 6400800"/>
                <a:gd name="connsiteY6865" fmla="*/ 137636 h 514350"/>
                <a:gd name="connsiteX6866" fmla="*/ 890111 w 6400800"/>
                <a:gd name="connsiteY6866" fmla="*/ 132874 h 514350"/>
                <a:gd name="connsiteX6867" fmla="*/ 898684 w 6400800"/>
                <a:gd name="connsiteY6867" fmla="*/ 161449 h 514350"/>
                <a:gd name="connsiteX6868" fmla="*/ 893921 w 6400800"/>
                <a:gd name="connsiteY6868" fmla="*/ 168116 h 514350"/>
                <a:gd name="connsiteX6869" fmla="*/ 885349 w 6400800"/>
                <a:gd name="connsiteY6869" fmla="*/ 180499 h 514350"/>
                <a:gd name="connsiteX6870" fmla="*/ 874871 w 6400800"/>
                <a:gd name="connsiteY6870" fmla="*/ 163354 h 514350"/>
                <a:gd name="connsiteX6871" fmla="*/ 888206 w 6400800"/>
                <a:gd name="connsiteY6871" fmla="*/ 137636 h 514350"/>
                <a:gd name="connsiteX6872" fmla="*/ 872966 w 6400800"/>
                <a:gd name="connsiteY6872" fmla="*/ 169069 h 514350"/>
                <a:gd name="connsiteX6873" fmla="*/ 881539 w 6400800"/>
                <a:gd name="connsiteY6873" fmla="*/ 188119 h 514350"/>
                <a:gd name="connsiteX6874" fmla="*/ 878681 w 6400800"/>
                <a:gd name="connsiteY6874" fmla="*/ 191929 h 514350"/>
                <a:gd name="connsiteX6875" fmla="*/ 856774 w 6400800"/>
                <a:gd name="connsiteY6875" fmla="*/ 226219 h 514350"/>
                <a:gd name="connsiteX6876" fmla="*/ 851059 w 6400800"/>
                <a:gd name="connsiteY6876" fmla="*/ 217646 h 514350"/>
                <a:gd name="connsiteX6877" fmla="*/ 872966 w 6400800"/>
                <a:gd name="connsiteY6877" fmla="*/ 169069 h 514350"/>
                <a:gd name="connsiteX6878" fmla="*/ 847249 w 6400800"/>
                <a:gd name="connsiteY6878" fmla="*/ 225266 h 514350"/>
                <a:gd name="connsiteX6879" fmla="*/ 848201 w 6400800"/>
                <a:gd name="connsiteY6879" fmla="*/ 223361 h 514350"/>
                <a:gd name="connsiteX6880" fmla="*/ 852011 w 6400800"/>
                <a:gd name="connsiteY6880" fmla="*/ 232886 h 514350"/>
                <a:gd name="connsiteX6881" fmla="*/ 845344 w 6400800"/>
                <a:gd name="connsiteY6881" fmla="*/ 243364 h 514350"/>
                <a:gd name="connsiteX6882" fmla="*/ 837724 w 6400800"/>
                <a:gd name="connsiteY6882" fmla="*/ 256699 h 514350"/>
                <a:gd name="connsiteX6883" fmla="*/ 836771 w 6400800"/>
                <a:gd name="connsiteY6883" fmla="*/ 250984 h 514350"/>
                <a:gd name="connsiteX6884" fmla="*/ 847249 w 6400800"/>
                <a:gd name="connsiteY6884" fmla="*/ 225266 h 514350"/>
                <a:gd name="connsiteX6885" fmla="*/ 835819 w 6400800"/>
                <a:gd name="connsiteY6885" fmla="*/ 195739 h 514350"/>
                <a:gd name="connsiteX6886" fmla="*/ 835819 w 6400800"/>
                <a:gd name="connsiteY6886" fmla="*/ 195739 h 514350"/>
                <a:gd name="connsiteX6887" fmla="*/ 840581 w 6400800"/>
                <a:gd name="connsiteY6887" fmla="*/ 206216 h 514350"/>
                <a:gd name="connsiteX6888" fmla="*/ 833914 w 6400800"/>
                <a:gd name="connsiteY6888" fmla="*/ 219551 h 514350"/>
                <a:gd name="connsiteX6889" fmla="*/ 832961 w 6400800"/>
                <a:gd name="connsiteY6889" fmla="*/ 221456 h 514350"/>
                <a:gd name="connsiteX6890" fmla="*/ 835819 w 6400800"/>
                <a:gd name="connsiteY6890" fmla="*/ 195739 h 514350"/>
                <a:gd name="connsiteX6891" fmla="*/ 826294 w 6400800"/>
                <a:gd name="connsiteY6891" fmla="*/ 274796 h 514350"/>
                <a:gd name="connsiteX6892" fmla="*/ 828199 w 6400800"/>
                <a:gd name="connsiteY6892" fmla="*/ 270986 h 514350"/>
                <a:gd name="connsiteX6893" fmla="*/ 828199 w 6400800"/>
                <a:gd name="connsiteY6893" fmla="*/ 272891 h 514350"/>
                <a:gd name="connsiteX6894" fmla="*/ 826294 w 6400800"/>
                <a:gd name="connsiteY6894" fmla="*/ 276701 h 514350"/>
                <a:gd name="connsiteX6895" fmla="*/ 826294 w 6400800"/>
                <a:gd name="connsiteY6895" fmla="*/ 274796 h 514350"/>
                <a:gd name="connsiteX6896" fmla="*/ 812006 w 6400800"/>
                <a:gd name="connsiteY6896" fmla="*/ 448151 h 514350"/>
                <a:gd name="connsiteX6897" fmla="*/ 812006 w 6400800"/>
                <a:gd name="connsiteY6897" fmla="*/ 448151 h 514350"/>
                <a:gd name="connsiteX6898" fmla="*/ 812006 w 6400800"/>
                <a:gd name="connsiteY6898" fmla="*/ 448151 h 514350"/>
                <a:gd name="connsiteX6899" fmla="*/ 812006 w 6400800"/>
                <a:gd name="connsiteY6899" fmla="*/ 448151 h 514350"/>
                <a:gd name="connsiteX6900" fmla="*/ 785336 w 6400800"/>
                <a:gd name="connsiteY6900" fmla="*/ 330041 h 514350"/>
                <a:gd name="connsiteX6901" fmla="*/ 782479 w 6400800"/>
                <a:gd name="connsiteY6901" fmla="*/ 325279 h 514350"/>
                <a:gd name="connsiteX6902" fmla="*/ 782479 w 6400800"/>
                <a:gd name="connsiteY6902" fmla="*/ 315754 h 514350"/>
                <a:gd name="connsiteX6903" fmla="*/ 786289 w 6400800"/>
                <a:gd name="connsiteY6903" fmla="*/ 326231 h 514350"/>
                <a:gd name="connsiteX6904" fmla="*/ 785336 w 6400800"/>
                <a:gd name="connsiteY6904" fmla="*/ 330041 h 514350"/>
                <a:gd name="connsiteX6905" fmla="*/ 797719 w 6400800"/>
                <a:gd name="connsiteY6905" fmla="*/ 271939 h 514350"/>
                <a:gd name="connsiteX6906" fmla="*/ 803434 w 6400800"/>
                <a:gd name="connsiteY6906" fmla="*/ 286226 h 514350"/>
                <a:gd name="connsiteX6907" fmla="*/ 802481 w 6400800"/>
                <a:gd name="connsiteY6907" fmla="*/ 288131 h 514350"/>
                <a:gd name="connsiteX6908" fmla="*/ 792956 w 6400800"/>
                <a:gd name="connsiteY6908" fmla="*/ 310039 h 514350"/>
                <a:gd name="connsiteX6909" fmla="*/ 792956 w 6400800"/>
                <a:gd name="connsiteY6909" fmla="*/ 309086 h 514350"/>
                <a:gd name="connsiteX6910" fmla="*/ 787241 w 6400800"/>
                <a:gd name="connsiteY6910" fmla="*/ 296704 h 514350"/>
                <a:gd name="connsiteX6911" fmla="*/ 795814 w 6400800"/>
                <a:gd name="connsiteY6911" fmla="*/ 266224 h 514350"/>
                <a:gd name="connsiteX6912" fmla="*/ 797719 w 6400800"/>
                <a:gd name="connsiteY6912" fmla="*/ 271939 h 514350"/>
                <a:gd name="connsiteX6913" fmla="*/ 790099 w 6400800"/>
                <a:gd name="connsiteY6913" fmla="*/ 253841 h 514350"/>
                <a:gd name="connsiteX6914" fmla="*/ 793909 w 6400800"/>
                <a:gd name="connsiteY6914" fmla="*/ 261461 h 514350"/>
                <a:gd name="connsiteX6915" fmla="*/ 793909 w 6400800"/>
                <a:gd name="connsiteY6915" fmla="*/ 262414 h 514350"/>
                <a:gd name="connsiteX6916" fmla="*/ 784384 w 6400800"/>
                <a:gd name="connsiteY6916" fmla="*/ 286226 h 514350"/>
                <a:gd name="connsiteX6917" fmla="*/ 785336 w 6400800"/>
                <a:gd name="connsiteY6917" fmla="*/ 273844 h 514350"/>
                <a:gd name="connsiteX6918" fmla="*/ 790099 w 6400800"/>
                <a:gd name="connsiteY6918" fmla="*/ 253841 h 514350"/>
                <a:gd name="connsiteX6919" fmla="*/ 773906 w 6400800"/>
                <a:gd name="connsiteY6919" fmla="*/ 236696 h 514350"/>
                <a:gd name="connsiteX6920" fmla="*/ 776764 w 6400800"/>
                <a:gd name="connsiteY6920" fmla="*/ 213836 h 514350"/>
                <a:gd name="connsiteX6921" fmla="*/ 783431 w 6400800"/>
                <a:gd name="connsiteY6921" fmla="*/ 229076 h 514350"/>
                <a:gd name="connsiteX6922" fmla="*/ 780574 w 6400800"/>
                <a:gd name="connsiteY6922" fmla="*/ 235744 h 514350"/>
                <a:gd name="connsiteX6923" fmla="*/ 777716 w 6400800"/>
                <a:gd name="connsiteY6923" fmla="*/ 231934 h 514350"/>
                <a:gd name="connsiteX6924" fmla="*/ 780574 w 6400800"/>
                <a:gd name="connsiteY6924" fmla="*/ 236696 h 514350"/>
                <a:gd name="connsiteX6925" fmla="*/ 773906 w 6400800"/>
                <a:gd name="connsiteY6925" fmla="*/ 255746 h 514350"/>
                <a:gd name="connsiteX6926" fmla="*/ 773906 w 6400800"/>
                <a:gd name="connsiteY6926" fmla="*/ 236696 h 514350"/>
                <a:gd name="connsiteX6927" fmla="*/ 724376 w 6400800"/>
                <a:gd name="connsiteY6927" fmla="*/ 219551 h 514350"/>
                <a:gd name="connsiteX6928" fmla="*/ 726281 w 6400800"/>
                <a:gd name="connsiteY6928" fmla="*/ 203359 h 514350"/>
                <a:gd name="connsiteX6929" fmla="*/ 726281 w 6400800"/>
                <a:gd name="connsiteY6929" fmla="*/ 229076 h 514350"/>
                <a:gd name="connsiteX6930" fmla="*/ 723424 w 6400800"/>
                <a:gd name="connsiteY6930" fmla="*/ 223361 h 514350"/>
                <a:gd name="connsiteX6931" fmla="*/ 724376 w 6400800"/>
                <a:gd name="connsiteY6931" fmla="*/ 219551 h 514350"/>
                <a:gd name="connsiteX6932" fmla="*/ 723424 w 6400800"/>
                <a:gd name="connsiteY6932" fmla="*/ 224314 h 514350"/>
                <a:gd name="connsiteX6933" fmla="*/ 724376 w 6400800"/>
                <a:gd name="connsiteY6933" fmla="*/ 235744 h 514350"/>
                <a:gd name="connsiteX6934" fmla="*/ 726281 w 6400800"/>
                <a:gd name="connsiteY6934" fmla="*/ 250984 h 514350"/>
                <a:gd name="connsiteX6935" fmla="*/ 726281 w 6400800"/>
                <a:gd name="connsiteY6935" fmla="*/ 251936 h 514350"/>
                <a:gd name="connsiteX6936" fmla="*/ 727234 w 6400800"/>
                <a:gd name="connsiteY6936" fmla="*/ 276701 h 514350"/>
                <a:gd name="connsiteX6937" fmla="*/ 727234 w 6400800"/>
                <a:gd name="connsiteY6937" fmla="*/ 288131 h 514350"/>
                <a:gd name="connsiteX6938" fmla="*/ 725329 w 6400800"/>
                <a:gd name="connsiteY6938" fmla="*/ 284321 h 514350"/>
                <a:gd name="connsiteX6939" fmla="*/ 717709 w 6400800"/>
                <a:gd name="connsiteY6939" fmla="*/ 260509 h 514350"/>
                <a:gd name="connsiteX6940" fmla="*/ 723424 w 6400800"/>
                <a:gd name="connsiteY6940" fmla="*/ 224314 h 514350"/>
                <a:gd name="connsiteX6941" fmla="*/ 710089 w 6400800"/>
                <a:gd name="connsiteY6941" fmla="*/ 308134 h 514350"/>
                <a:gd name="connsiteX6942" fmla="*/ 711041 w 6400800"/>
                <a:gd name="connsiteY6942" fmla="*/ 320516 h 514350"/>
                <a:gd name="connsiteX6943" fmla="*/ 717709 w 6400800"/>
                <a:gd name="connsiteY6943" fmla="*/ 373856 h 514350"/>
                <a:gd name="connsiteX6944" fmla="*/ 711041 w 6400800"/>
                <a:gd name="connsiteY6944" fmla="*/ 389096 h 514350"/>
                <a:gd name="connsiteX6945" fmla="*/ 709136 w 6400800"/>
                <a:gd name="connsiteY6945" fmla="*/ 383381 h 514350"/>
                <a:gd name="connsiteX6946" fmla="*/ 711041 w 6400800"/>
                <a:gd name="connsiteY6946" fmla="*/ 372904 h 514350"/>
                <a:gd name="connsiteX6947" fmla="*/ 713899 w 6400800"/>
                <a:gd name="connsiteY6947" fmla="*/ 352901 h 514350"/>
                <a:gd name="connsiteX6948" fmla="*/ 707231 w 6400800"/>
                <a:gd name="connsiteY6948" fmla="*/ 372904 h 514350"/>
                <a:gd name="connsiteX6949" fmla="*/ 706279 w 6400800"/>
                <a:gd name="connsiteY6949" fmla="*/ 374809 h 514350"/>
                <a:gd name="connsiteX6950" fmla="*/ 701516 w 6400800"/>
                <a:gd name="connsiteY6950" fmla="*/ 357664 h 514350"/>
                <a:gd name="connsiteX6951" fmla="*/ 701516 w 6400800"/>
                <a:gd name="connsiteY6951" fmla="*/ 357664 h 514350"/>
                <a:gd name="connsiteX6952" fmla="*/ 710089 w 6400800"/>
                <a:gd name="connsiteY6952" fmla="*/ 308134 h 514350"/>
                <a:gd name="connsiteX6953" fmla="*/ 676751 w 6400800"/>
                <a:gd name="connsiteY6953" fmla="*/ 253841 h 514350"/>
                <a:gd name="connsiteX6954" fmla="*/ 676751 w 6400800"/>
                <a:gd name="connsiteY6954" fmla="*/ 246221 h 514350"/>
                <a:gd name="connsiteX6955" fmla="*/ 679609 w 6400800"/>
                <a:gd name="connsiteY6955" fmla="*/ 220504 h 514350"/>
                <a:gd name="connsiteX6956" fmla="*/ 682466 w 6400800"/>
                <a:gd name="connsiteY6956" fmla="*/ 181451 h 514350"/>
                <a:gd name="connsiteX6957" fmla="*/ 682466 w 6400800"/>
                <a:gd name="connsiteY6957" fmla="*/ 178594 h 514350"/>
                <a:gd name="connsiteX6958" fmla="*/ 696754 w 6400800"/>
                <a:gd name="connsiteY6958" fmla="*/ 231934 h 514350"/>
                <a:gd name="connsiteX6959" fmla="*/ 705326 w 6400800"/>
                <a:gd name="connsiteY6959" fmla="*/ 267176 h 514350"/>
                <a:gd name="connsiteX6960" fmla="*/ 703421 w 6400800"/>
                <a:gd name="connsiteY6960" fmla="*/ 273844 h 514350"/>
                <a:gd name="connsiteX6961" fmla="*/ 694849 w 6400800"/>
                <a:gd name="connsiteY6961" fmla="*/ 307181 h 514350"/>
                <a:gd name="connsiteX6962" fmla="*/ 692944 w 6400800"/>
                <a:gd name="connsiteY6962" fmla="*/ 313849 h 514350"/>
                <a:gd name="connsiteX6963" fmla="*/ 690086 w 6400800"/>
                <a:gd name="connsiteY6963" fmla="*/ 322421 h 514350"/>
                <a:gd name="connsiteX6964" fmla="*/ 673894 w 6400800"/>
                <a:gd name="connsiteY6964" fmla="*/ 274796 h 514350"/>
                <a:gd name="connsiteX6965" fmla="*/ 676751 w 6400800"/>
                <a:gd name="connsiteY6965" fmla="*/ 253841 h 514350"/>
                <a:gd name="connsiteX6966" fmla="*/ 668179 w 6400800"/>
                <a:gd name="connsiteY6966" fmla="*/ 331946 h 514350"/>
                <a:gd name="connsiteX6967" fmla="*/ 668179 w 6400800"/>
                <a:gd name="connsiteY6967" fmla="*/ 330041 h 514350"/>
                <a:gd name="connsiteX6968" fmla="*/ 669131 w 6400800"/>
                <a:gd name="connsiteY6968" fmla="*/ 334804 h 514350"/>
                <a:gd name="connsiteX6969" fmla="*/ 671989 w 6400800"/>
                <a:gd name="connsiteY6969" fmla="*/ 346234 h 514350"/>
                <a:gd name="connsiteX6970" fmla="*/ 674846 w 6400800"/>
                <a:gd name="connsiteY6970" fmla="*/ 359569 h 514350"/>
                <a:gd name="connsiteX6971" fmla="*/ 676751 w 6400800"/>
                <a:gd name="connsiteY6971" fmla="*/ 370999 h 514350"/>
                <a:gd name="connsiteX6972" fmla="*/ 675799 w 6400800"/>
                <a:gd name="connsiteY6972" fmla="*/ 373856 h 514350"/>
                <a:gd name="connsiteX6973" fmla="*/ 674846 w 6400800"/>
                <a:gd name="connsiteY6973" fmla="*/ 377666 h 514350"/>
                <a:gd name="connsiteX6974" fmla="*/ 670084 w 6400800"/>
                <a:gd name="connsiteY6974" fmla="*/ 368141 h 514350"/>
                <a:gd name="connsiteX6975" fmla="*/ 664369 w 6400800"/>
                <a:gd name="connsiteY6975" fmla="*/ 358616 h 514350"/>
                <a:gd name="connsiteX6976" fmla="*/ 668179 w 6400800"/>
                <a:gd name="connsiteY6976" fmla="*/ 331946 h 514350"/>
                <a:gd name="connsiteX6977" fmla="*/ 656749 w 6400800"/>
                <a:gd name="connsiteY6977" fmla="*/ 266224 h 514350"/>
                <a:gd name="connsiteX6978" fmla="*/ 656749 w 6400800"/>
                <a:gd name="connsiteY6978" fmla="*/ 267176 h 514350"/>
                <a:gd name="connsiteX6979" fmla="*/ 656749 w 6400800"/>
                <a:gd name="connsiteY6979" fmla="*/ 269081 h 514350"/>
                <a:gd name="connsiteX6980" fmla="*/ 656749 w 6400800"/>
                <a:gd name="connsiteY6980" fmla="*/ 266224 h 514350"/>
                <a:gd name="connsiteX6981" fmla="*/ 608171 w 6400800"/>
                <a:gd name="connsiteY6981" fmla="*/ 318611 h 514350"/>
                <a:gd name="connsiteX6982" fmla="*/ 611981 w 6400800"/>
                <a:gd name="connsiteY6982" fmla="*/ 279559 h 514350"/>
                <a:gd name="connsiteX6983" fmla="*/ 613886 w 6400800"/>
                <a:gd name="connsiteY6983" fmla="*/ 288131 h 514350"/>
                <a:gd name="connsiteX6984" fmla="*/ 615791 w 6400800"/>
                <a:gd name="connsiteY6984" fmla="*/ 327184 h 514350"/>
                <a:gd name="connsiteX6985" fmla="*/ 615791 w 6400800"/>
                <a:gd name="connsiteY6985" fmla="*/ 331946 h 514350"/>
                <a:gd name="connsiteX6986" fmla="*/ 615791 w 6400800"/>
                <a:gd name="connsiteY6986" fmla="*/ 337661 h 514350"/>
                <a:gd name="connsiteX6987" fmla="*/ 613886 w 6400800"/>
                <a:gd name="connsiteY6987" fmla="*/ 333851 h 514350"/>
                <a:gd name="connsiteX6988" fmla="*/ 607219 w 6400800"/>
                <a:gd name="connsiteY6988" fmla="*/ 321469 h 514350"/>
                <a:gd name="connsiteX6989" fmla="*/ 608171 w 6400800"/>
                <a:gd name="connsiteY6989" fmla="*/ 318611 h 514350"/>
                <a:gd name="connsiteX6990" fmla="*/ 606266 w 6400800"/>
                <a:gd name="connsiteY6990" fmla="*/ 341471 h 514350"/>
                <a:gd name="connsiteX6991" fmla="*/ 615791 w 6400800"/>
                <a:gd name="connsiteY6991" fmla="*/ 364331 h 514350"/>
                <a:gd name="connsiteX6992" fmla="*/ 615791 w 6400800"/>
                <a:gd name="connsiteY6992" fmla="*/ 365284 h 514350"/>
                <a:gd name="connsiteX6993" fmla="*/ 611029 w 6400800"/>
                <a:gd name="connsiteY6993" fmla="*/ 375761 h 514350"/>
                <a:gd name="connsiteX6994" fmla="*/ 608171 w 6400800"/>
                <a:gd name="connsiteY6994" fmla="*/ 363379 h 514350"/>
                <a:gd name="connsiteX6995" fmla="*/ 605314 w 6400800"/>
                <a:gd name="connsiteY6995" fmla="*/ 350996 h 514350"/>
                <a:gd name="connsiteX6996" fmla="*/ 606266 w 6400800"/>
                <a:gd name="connsiteY6996" fmla="*/ 341471 h 514350"/>
                <a:gd name="connsiteX6997" fmla="*/ 606266 w 6400800"/>
                <a:gd name="connsiteY6997" fmla="*/ 424339 h 514350"/>
                <a:gd name="connsiteX6998" fmla="*/ 609124 w 6400800"/>
                <a:gd name="connsiteY6998" fmla="*/ 433864 h 514350"/>
                <a:gd name="connsiteX6999" fmla="*/ 607219 w 6400800"/>
                <a:gd name="connsiteY6999" fmla="*/ 436721 h 514350"/>
                <a:gd name="connsiteX7000" fmla="*/ 601504 w 6400800"/>
                <a:gd name="connsiteY7000" fmla="*/ 435769 h 514350"/>
                <a:gd name="connsiteX7001" fmla="*/ 606266 w 6400800"/>
                <a:gd name="connsiteY7001" fmla="*/ 424339 h 514350"/>
                <a:gd name="connsiteX7002" fmla="*/ 599599 w 6400800"/>
                <a:gd name="connsiteY7002" fmla="*/ 401479 h 514350"/>
                <a:gd name="connsiteX7003" fmla="*/ 599599 w 6400800"/>
                <a:gd name="connsiteY7003" fmla="*/ 401479 h 514350"/>
                <a:gd name="connsiteX7004" fmla="*/ 599599 w 6400800"/>
                <a:gd name="connsiteY7004" fmla="*/ 403384 h 514350"/>
                <a:gd name="connsiteX7005" fmla="*/ 599599 w 6400800"/>
                <a:gd name="connsiteY7005" fmla="*/ 401479 h 514350"/>
                <a:gd name="connsiteX7006" fmla="*/ 587216 w 6400800"/>
                <a:gd name="connsiteY7006" fmla="*/ 300514 h 514350"/>
                <a:gd name="connsiteX7007" fmla="*/ 591979 w 6400800"/>
                <a:gd name="connsiteY7007" fmla="*/ 310039 h 514350"/>
                <a:gd name="connsiteX7008" fmla="*/ 591026 w 6400800"/>
                <a:gd name="connsiteY7008" fmla="*/ 316706 h 514350"/>
                <a:gd name="connsiteX7009" fmla="*/ 591026 w 6400800"/>
                <a:gd name="connsiteY7009" fmla="*/ 316706 h 514350"/>
                <a:gd name="connsiteX7010" fmla="*/ 590074 w 6400800"/>
                <a:gd name="connsiteY7010" fmla="*/ 319564 h 514350"/>
                <a:gd name="connsiteX7011" fmla="*/ 587216 w 6400800"/>
                <a:gd name="connsiteY7011" fmla="*/ 311944 h 514350"/>
                <a:gd name="connsiteX7012" fmla="*/ 586264 w 6400800"/>
                <a:gd name="connsiteY7012" fmla="*/ 299561 h 514350"/>
                <a:gd name="connsiteX7013" fmla="*/ 587216 w 6400800"/>
                <a:gd name="connsiteY7013" fmla="*/ 300514 h 514350"/>
                <a:gd name="connsiteX7014" fmla="*/ 553879 w 6400800"/>
                <a:gd name="connsiteY7014" fmla="*/ 257651 h 514350"/>
                <a:gd name="connsiteX7015" fmla="*/ 555784 w 6400800"/>
                <a:gd name="connsiteY7015" fmla="*/ 233839 h 514350"/>
                <a:gd name="connsiteX7016" fmla="*/ 558641 w 6400800"/>
                <a:gd name="connsiteY7016" fmla="*/ 249079 h 514350"/>
                <a:gd name="connsiteX7017" fmla="*/ 556736 w 6400800"/>
                <a:gd name="connsiteY7017" fmla="*/ 247174 h 514350"/>
                <a:gd name="connsiteX7018" fmla="*/ 558641 w 6400800"/>
                <a:gd name="connsiteY7018" fmla="*/ 250984 h 514350"/>
                <a:gd name="connsiteX7019" fmla="*/ 570071 w 6400800"/>
                <a:gd name="connsiteY7019" fmla="*/ 297656 h 514350"/>
                <a:gd name="connsiteX7020" fmla="*/ 571976 w 6400800"/>
                <a:gd name="connsiteY7020" fmla="*/ 303371 h 514350"/>
                <a:gd name="connsiteX7021" fmla="*/ 569119 w 6400800"/>
                <a:gd name="connsiteY7021" fmla="*/ 312896 h 514350"/>
                <a:gd name="connsiteX7022" fmla="*/ 564356 w 6400800"/>
                <a:gd name="connsiteY7022" fmla="*/ 295751 h 514350"/>
                <a:gd name="connsiteX7023" fmla="*/ 553879 w 6400800"/>
                <a:gd name="connsiteY7023" fmla="*/ 266224 h 514350"/>
                <a:gd name="connsiteX7024" fmla="*/ 553879 w 6400800"/>
                <a:gd name="connsiteY7024" fmla="*/ 257651 h 514350"/>
                <a:gd name="connsiteX7025" fmla="*/ 551974 w 6400800"/>
                <a:gd name="connsiteY7025" fmla="*/ 295751 h 514350"/>
                <a:gd name="connsiteX7026" fmla="*/ 551974 w 6400800"/>
                <a:gd name="connsiteY7026" fmla="*/ 295751 h 514350"/>
                <a:gd name="connsiteX7027" fmla="*/ 552926 w 6400800"/>
                <a:gd name="connsiteY7027" fmla="*/ 298609 h 514350"/>
                <a:gd name="connsiteX7028" fmla="*/ 556736 w 6400800"/>
                <a:gd name="connsiteY7028" fmla="*/ 317659 h 514350"/>
                <a:gd name="connsiteX7029" fmla="*/ 557689 w 6400800"/>
                <a:gd name="connsiteY7029" fmla="*/ 321469 h 514350"/>
                <a:gd name="connsiteX7030" fmla="*/ 557689 w 6400800"/>
                <a:gd name="connsiteY7030" fmla="*/ 322421 h 514350"/>
                <a:gd name="connsiteX7031" fmla="*/ 557689 w 6400800"/>
                <a:gd name="connsiteY7031" fmla="*/ 326231 h 514350"/>
                <a:gd name="connsiteX7032" fmla="*/ 552926 w 6400800"/>
                <a:gd name="connsiteY7032" fmla="*/ 306229 h 514350"/>
                <a:gd name="connsiteX7033" fmla="*/ 551974 w 6400800"/>
                <a:gd name="connsiteY7033" fmla="*/ 295751 h 514350"/>
                <a:gd name="connsiteX7034" fmla="*/ 529114 w 6400800"/>
                <a:gd name="connsiteY7034" fmla="*/ 290036 h 514350"/>
                <a:gd name="connsiteX7035" fmla="*/ 529114 w 6400800"/>
                <a:gd name="connsiteY7035" fmla="*/ 290036 h 514350"/>
                <a:gd name="connsiteX7036" fmla="*/ 529114 w 6400800"/>
                <a:gd name="connsiteY7036" fmla="*/ 290036 h 514350"/>
                <a:gd name="connsiteX7037" fmla="*/ 529114 w 6400800"/>
                <a:gd name="connsiteY7037" fmla="*/ 290036 h 514350"/>
                <a:gd name="connsiteX7038" fmla="*/ 522446 w 6400800"/>
                <a:gd name="connsiteY7038" fmla="*/ 336709 h 514350"/>
                <a:gd name="connsiteX7039" fmla="*/ 523399 w 6400800"/>
                <a:gd name="connsiteY7039" fmla="*/ 329089 h 514350"/>
                <a:gd name="connsiteX7040" fmla="*/ 526256 w 6400800"/>
                <a:gd name="connsiteY7040" fmla="*/ 336709 h 514350"/>
                <a:gd name="connsiteX7041" fmla="*/ 531019 w 6400800"/>
                <a:gd name="connsiteY7041" fmla="*/ 350996 h 514350"/>
                <a:gd name="connsiteX7042" fmla="*/ 531971 w 6400800"/>
                <a:gd name="connsiteY7042" fmla="*/ 374809 h 514350"/>
                <a:gd name="connsiteX7043" fmla="*/ 533876 w 6400800"/>
                <a:gd name="connsiteY7043" fmla="*/ 403384 h 514350"/>
                <a:gd name="connsiteX7044" fmla="*/ 528161 w 6400800"/>
                <a:gd name="connsiteY7044" fmla="*/ 394811 h 514350"/>
                <a:gd name="connsiteX7045" fmla="*/ 532924 w 6400800"/>
                <a:gd name="connsiteY7045" fmla="*/ 410051 h 514350"/>
                <a:gd name="connsiteX7046" fmla="*/ 534829 w 6400800"/>
                <a:gd name="connsiteY7046" fmla="*/ 417671 h 514350"/>
                <a:gd name="connsiteX7047" fmla="*/ 535781 w 6400800"/>
                <a:gd name="connsiteY7047" fmla="*/ 430054 h 514350"/>
                <a:gd name="connsiteX7048" fmla="*/ 523399 w 6400800"/>
                <a:gd name="connsiteY7048" fmla="*/ 428149 h 514350"/>
                <a:gd name="connsiteX7049" fmla="*/ 522446 w 6400800"/>
                <a:gd name="connsiteY7049" fmla="*/ 427196 h 514350"/>
                <a:gd name="connsiteX7050" fmla="*/ 522446 w 6400800"/>
                <a:gd name="connsiteY7050" fmla="*/ 423386 h 514350"/>
                <a:gd name="connsiteX7051" fmla="*/ 527209 w 6400800"/>
                <a:gd name="connsiteY7051" fmla="*/ 410051 h 514350"/>
                <a:gd name="connsiteX7052" fmla="*/ 522446 w 6400800"/>
                <a:gd name="connsiteY7052" fmla="*/ 418624 h 514350"/>
                <a:gd name="connsiteX7053" fmla="*/ 521494 w 6400800"/>
                <a:gd name="connsiteY7053" fmla="*/ 405289 h 514350"/>
                <a:gd name="connsiteX7054" fmla="*/ 517684 w 6400800"/>
                <a:gd name="connsiteY7054" fmla="*/ 369094 h 514350"/>
                <a:gd name="connsiteX7055" fmla="*/ 522446 w 6400800"/>
                <a:gd name="connsiteY7055" fmla="*/ 336709 h 514350"/>
                <a:gd name="connsiteX7056" fmla="*/ 512921 w 6400800"/>
                <a:gd name="connsiteY7056" fmla="*/ 271939 h 514350"/>
                <a:gd name="connsiteX7057" fmla="*/ 509111 w 6400800"/>
                <a:gd name="connsiteY7057" fmla="*/ 287179 h 514350"/>
                <a:gd name="connsiteX7058" fmla="*/ 509111 w 6400800"/>
                <a:gd name="connsiteY7058" fmla="*/ 288131 h 514350"/>
                <a:gd name="connsiteX7059" fmla="*/ 507206 w 6400800"/>
                <a:gd name="connsiteY7059" fmla="*/ 275749 h 514350"/>
                <a:gd name="connsiteX7060" fmla="*/ 508159 w 6400800"/>
                <a:gd name="connsiteY7060" fmla="*/ 262414 h 514350"/>
                <a:gd name="connsiteX7061" fmla="*/ 509111 w 6400800"/>
                <a:gd name="connsiteY7061" fmla="*/ 262414 h 514350"/>
                <a:gd name="connsiteX7062" fmla="*/ 512921 w 6400800"/>
                <a:gd name="connsiteY7062" fmla="*/ 271939 h 514350"/>
                <a:gd name="connsiteX7063" fmla="*/ 497681 w 6400800"/>
                <a:gd name="connsiteY7063" fmla="*/ 207169 h 514350"/>
                <a:gd name="connsiteX7064" fmla="*/ 506254 w 6400800"/>
                <a:gd name="connsiteY7064" fmla="*/ 245269 h 514350"/>
                <a:gd name="connsiteX7065" fmla="*/ 509111 w 6400800"/>
                <a:gd name="connsiteY7065" fmla="*/ 256699 h 514350"/>
                <a:gd name="connsiteX7066" fmla="*/ 506254 w 6400800"/>
                <a:gd name="connsiteY7066" fmla="*/ 256699 h 514350"/>
                <a:gd name="connsiteX7067" fmla="*/ 505301 w 6400800"/>
                <a:gd name="connsiteY7067" fmla="*/ 256699 h 514350"/>
                <a:gd name="connsiteX7068" fmla="*/ 505301 w 6400800"/>
                <a:gd name="connsiteY7068" fmla="*/ 256699 h 514350"/>
                <a:gd name="connsiteX7069" fmla="*/ 497681 w 6400800"/>
                <a:gd name="connsiteY7069" fmla="*/ 207169 h 514350"/>
                <a:gd name="connsiteX7070" fmla="*/ 497681 w 6400800"/>
                <a:gd name="connsiteY7070" fmla="*/ 207169 h 514350"/>
                <a:gd name="connsiteX7071" fmla="*/ 487204 w 6400800"/>
                <a:gd name="connsiteY7071" fmla="*/ 419576 h 514350"/>
                <a:gd name="connsiteX7072" fmla="*/ 486251 w 6400800"/>
                <a:gd name="connsiteY7072" fmla="*/ 422434 h 514350"/>
                <a:gd name="connsiteX7073" fmla="*/ 483394 w 6400800"/>
                <a:gd name="connsiteY7073" fmla="*/ 422434 h 514350"/>
                <a:gd name="connsiteX7074" fmla="*/ 483394 w 6400800"/>
                <a:gd name="connsiteY7074" fmla="*/ 418624 h 514350"/>
                <a:gd name="connsiteX7075" fmla="*/ 481489 w 6400800"/>
                <a:gd name="connsiteY7075" fmla="*/ 401479 h 514350"/>
                <a:gd name="connsiteX7076" fmla="*/ 487204 w 6400800"/>
                <a:gd name="connsiteY7076" fmla="*/ 419576 h 514350"/>
                <a:gd name="connsiteX7077" fmla="*/ 437674 w 6400800"/>
                <a:gd name="connsiteY7077" fmla="*/ 390049 h 514350"/>
                <a:gd name="connsiteX7078" fmla="*/ 437674 w 6400800"/>
                <a:gd name="connsiteY7078" fmla="*/ 390049 h 514350"/>
                <a:gd name="connsiteX7079" fmla="*/ 437674 w 6400800"/>
                <a:gd name="connsiteY7079" fmla="*/ 388144 h 514350"/>
                <a:gd name="connsiteX7080" fmla="*/ 437674 w 6400800"/>
                <a:gd name="connsiteY7080" fmla="*/ 388144 h 514350"/>
                <a:gd name="connsiteX7081" fmla="*/ 437674 w 6400800"/>
                <a:gd name="connsiteY7081" fmla="*/ 390049 h 514350"/>
                <a:gd name="connsiteX7082" fmla="*/ 437674 w 6400800"/>
                <a:gd name="connsiteY7082" fmla="*/ 390049 h 514350"/>
                <a:gd name="connsiteX7083" fmla="*/ 448151 w 6400800"/>
                <a:gd name="connsiteY7083" fmla="*/ 362426 h 514350"/>
                <a:gd name="connsiteX7084" fmla="*/ 446246 w 6400800"/>
                <a:gd name="connsiteY7084" fmla="*/ 356711 h 514350"/>
                <a:gd name="connsiteX7085" fmla="*/ 449104 w 6400800"/>
                <a:gd name="connsiteY7085" fmla="*/ 347186 h 514350"/>
                <a:gd name="connsiteX7086" fmla="*/ 448151 w 6400800"/>
                <a:gd name="connsiteY7086" fmla="*/ 362426 h 514350"/>
                <a:gd name="connsiteX7087" fmla="*/ 436721 w 6400800"/>
                <a:gd name="connsiteY7087" fmla="*/ 227171 h 514350"/>
                <a:gd name="connsiteX7088" fmla="*/ 440531 w 6400800"/>
                <a:gd name="connsiteY7088" fmla="*/ 246221 h 514350"/>
                <a:gd name="connsiteX7089" fmla="*/ 434816 w 6400800"/>
                <a:gd name="connsiteY7089" fmla="*/ 234791 h 514350"/>
                <a:gd name="connsiteX7090" fmla="*/ 436721 w 6400800"/>
                <a:gd name="connsiteY7090" fmla="*/ 227171 h 514350"/>
                <a:gd name="connsiteX7091" fmla="*/ 428149 w 6400800"/>
                <a:gd name="connsiteY7091" fmla="*/ 280511 h 514350"/>
                <a:gd name="connsiteX7092" fmla="*/ 431959 w 6400800"/>
                <a:gd name="connsiteY7092" fmla="*/ 253841 h 514350"/>
                <a:gd name="connsiteX7093" fmla="*/ 432911 w 6400800"/>
                <a:gd name="connsiteY7093" fmla="*/ 258604 h 514350"/>
                <a:gd name="connsiteX7094" fmla="*/ 438626 w 6400800"/>
                <a:gd name="connsiteY7094" fmla="*/ 284321 h 514350"/>
                <a:gd name="connsiteX7095" fmla="*/ 439579 w 6400800"/>
                <a:gd name="connsiteY7095" fmla="*/ 290036 h 514350"/>
                <a:gd name="connsiteX7096" fmla="*/ 432911 w 6400800"/>
                <a:gd name="connsiteY7096" fmla="*/ 281464 h 514350"/>
                <a:gd name="connsiteX7097" fmla="*/ 439579 w 6400800"/>
                <a:gd name="connsiteY7097" fmla="*/ 295751 h 514350"/>
                <a:gd name="connsiteX7098" fmla="*/ 441484 w 6400800"/>
                <a:gd name="connsiteY7098" fmla="*/ 299561 h 514350"/>
                <a:gd name="connsiteX7099" fmla="*/ 443389 w 6400800"/>
                <a:gd name="connsiteY7099" fmla="*/ 312896 h 514350"/>
                <a:gd name="connsiteX7100" fmla="*/ 446246 w 6400800"/>
                <a:gd name="connsiteY7100" fmla="*/ 328136 h 514350"/>
                <a:gd name="connsiteX7101" fmla="*/ 447199 w 6400800"/>
                <a:gd name="connsiteY7101" fmla="*/ 335756 h 514350"/>
                <a:gd name="connsiteX7102" fmla="*/ 445294 w 6400800"/>
                <a:gd name="connsiteY7102" fmla="*/ 341471 h 514350"/>
                <a:gd name="connsiteX7103" fmla="*/ 442436 w 6400800"/>
                <a:gd name="connsiteY7103" fmla="*/ 349091 h 514350"/>
                <a:gd name="connsiteX7104" fmla="*/ 434816 w 6400800"/>
                <a:gd name="connsiteY7104" fmla="*/ 331946 h 514350"/>
                <a:gd name="connsiteX7105" fmla="*/ 434816 w 6400800"/>
                <a:gd name="connsiteY7105" fmla="*/ 317659 h 514350"/>
                <a:gd name="connsiteX7106" fmla="*/ 432911 w 6400800"/>
                <a:gd name="connsiteY7106" fmla="*/ 328136 h 514350"/>
                <a:gd name="connsiteX7107" fmla="*/ 423386 w 6400800"/>
                <a:gd name="connsiteY7107" fmla="*/ 303371 h 514350"/>
                <a:gd name="connsiteX7108" fmla="*/ 428149 w 6400800"/>
                <a:gd name="connsiteY7108" fmla="*/ 280511 h 514350"/>
                <a:gd name="connsiteX7109" fmla="*/ 418624 w 6400800"/>
                <a:gd name="connsiteY7109" fmla="*/ 345281 h 514350"/>
                <a:gd name="connsiteX7110" fmla="*/ 422434 w 6400800"/>
                <a:gd name="connsiteY7110" fmla="*/ 322421 h 514350"/>
                <a:gd name="connsiteX7111" fmla="*/ 427196 w 6400800"/>
                <a:gd name="connsiteY7111" fmla="*/ 339566 h 514350"/>
                <a:gd name="connsiteX7112" fmla="*/ 430054 w 6400800"/>
                <a:gd name="connsiteY7112" fmla="*/ 350996 h 514350"/>
                <a:gd name="connsiteX7113" fmla="*/ 428149 w 6400800"/>
                <a:gd name="connsiteY7113" fmla="*/ 362426 h 514350"/>
                <a:gd name="connsiteX7114" fmla="*/ 426244 w 6400800"/>
                <a:gd name="connsiteY7114" fmla="*/ 356711 h 514350"/>
                <a:gd name="connsiteX7115" fmla="*/ 420529 w 6400800"/>
                <a:gd name="connsiteY7115" fmla="*/ 344329 h 514350"/>
                <a:gd name="connsiteX7116" fmla="*/ 422434 w 6400800"/>
                <a:gd name="connsiteY7116" fmla="*/ 357664 h 514350"/>
                <a:gd name="connsiteX7117" fmla="*/ 424339 w 6400800"/>
                <a:gd name="connsiteY7117" fmla="*/ 372904 h 514350"/>
                <a:gd name="connsiteX7118" fmla="*/ 425291 w 6400800"/>
                <a:gd name="connsiteY7118" fmla="*/ 377666 h 514350"/>
                <a:gd name="connsiteX7119" fmla="*/ 424339 w 6400800"/>
                <a:gd name="connsiteY7119" fmla="*/ 375761 h 514350"/>
                <a:gd name="connsiteX7120" fmla="*/ 424339 w 6400800"/>
                <a:gd name="connsiteY7120" fmla="*/ 374809 h 514350"/>
                <a:gd name="connsiteX7121" fmla="*/ 418624 w 6400800"/>
                <a:gd name="connsiteY7121" fmla="*/ 351949 h 514350"/>
                <a:gd name="connsiteX7122" fmla="*/ 418624 w 6400800"/>
                <a:gd name="connsiteY7122" fmla="*/ 345281 h 514350"/>
                <a:gd name="connsiteX7123" fmla="*/ 406241 w 6400800"/>
                <a:gd name="connsiteY7123" fmla="*/ 261461 h 514350"/>
                <a:gd name="connsiteX7124" fmla="*/ 411956 w 6400800"/>
                <a:gd name="connsiteY7124" fmla="*/ 285274 h 514350"/>
                <a:gd name="connsiteX7125" fmla="*/ 407194 w 6400800"/>
                <a:gd name="connsiteY7125" fmla="*/ 310039 h 514350"/>
                <a:gd name="connsiteX7126" fmla="*/ 405289 w 6400800"/>
                <a:gd name="connsiteY7126" fmla="*/ 302419 h 514350"/>
                <a:gd name="connsiteX7127" fmla="*/ 406241 w 6400800"/>
                <a:gd name="connsiteY7127" fmla="*/ 261461 h 514350"/>
                <a:gd name="connsiteX7128" fmla="*/ 382429 w 6400800"/>
                <a:gd name="connsiteY7128" fmla="*/ 290036 h 514350"/>
                <a:gd name="connsiteX7129" fmla="*/ 381476 w 6400800"/>
                <a:gd name="connsiteY7129" fmla="*/ 293846 h 514350"/>
                <a:gd name="connsiteX7130" fmla="*/ 381476 w 6400800"/>
                <a:gd name="connsiteY7130" fmla="*/ 285274 h 514350"/>
                <a:gd name="connsiteX7131" fmla="*/ 382429 w 6400800"/>
                <a:gd name="connsiteY7131" fmla="*/ 290036 h 514350"/>
                <a:gd name="connsiteX7132" fmla="*/ 361474 w 6400800"/>
                <a:gd name="connsiteY7132" fmla="*/ 394811 h 514350"/>
                <a:gd name="connsiteX7133" fmla="*/ 361474 w 6400800"/>
                <a:gd name="connsiteY7133" fmla="*/ 404336 h 514350"/>
                <a:gd name="connsiteX7134" fmla="*/ 361474 w 6400800"/>
                <a:gd name="connsiteY7134" fmla="*/ 407194 h 514350"/>
                <a:gd name="connsiteX7135" fmla="*/ 354806 w 6400800"/>
                <a:gd name="connsiteY7135" fmla="*/ 383381 h 514350"/>
                <a:gd name="connsiteX7136" fmla="*/ 354806 w 6400800"/>
                <a:gd name="connsiteY7136" fmla="*/ 382429 h 514350"/>
                <a:gd name="connsiteX7137" fmla="*/ 352901 w 6400800"/>
                <a:gd name="connsiteY7137" fmla="*/ 373856 h 514350"/>
                <a:gd name="connsiteX7138" fmla="*/ 361474 w 6400800"/>
                <a:gd name="connsiteY7138" fmla="*/ 394811 h 514350"/>
                <a:gd name="connsiteX7139" fmla="*/ 347186 w 6400800"/>
                <a:gd name="connsiteY7139" fmla="*/ 307181 h 514350"/>
                <a:gd name="connsiteX7140" fmla="*/ 349091 w 6400800"/>
                <a:gd name="connsiteY7140" fmla="*/ 311944 h 514350"/>
                <a:gd name="connsiteX7141" fmla="*/ 347186 w 6400800"/>
                <a:gd name="connsiteY7141" fmla="*/ 309086 h 514350"/>
                <a:gd name="connsiteX7142" fmla="*/ 347186 w 6400800"/>
                <a:gd name="connsiteY7142" fmla="*/ 307181 h 514350"/>
                <a:gd name="connsiteX7143" fmla="*/ 347186 w 6400800"/>
                <a:gd name="connsiteY7143" fmla="*/ 429101 h 514350"/>
                <a:gd name="connsiteX7144" fmla="*/ 348139 w 6400800"/>
                <a:gd name="connsiteY7144" fmla="*/ 432911 h 514350"/>
                <a:gd name="connsiteX7145" fmla="*/ 346234 w 6400800"/>
                <a:gd name="connsiteY7145" fmla="*/ 432911 h 514350"/>
                <a:gd name="connsiteX7146" fmla="*/ 347186 w 6400800"/>
                <a:gd name="connsiteY7146" fmla="*/ 429101 h 514350"/>
                <a:gd name="connsiteX7147" fmla="*/ 310991 w 6400800"/>
                <a:gd name="connsiteY7147" fmla="*/ 439579 h 514350"/>
                <a:gd name="connsiteX7148" fmla="*/ 311944 w 6400800"/>
                <a:gd name="connsiteY7148" fmla="*/ 424339 h 514350"/>
                <a:gd name="connsiteX7149" fmla="*/ 317659 w 6400800"/>
                <a:gd name="connsiteY7149" fmla="*/ 438626 h 514350"/>
                <a:gd name="connsiteX7150" fmla="*/ 310991 w 6400800"/>
                <a:gd name="connsiteY7150" fmla="*/ 439579 h 514350"/>
                <a:gd name="connsiteX7151" fmla="*/ 302419 w 6400800"/>
                <a:gd name="connsiteY7151" fmla="*/ 230981 h 514350"/>
                <a:gd name="connsiteX7152" fmla="*/ 304324 w 6400800"/>
                <a:gd name="connsiteY7152" fmla="*/ 237649 h 514350"/>
                <a:gd name="connsiteX7153" fmla="*/ 307181 w 6400800"/>
                <a:gd name="connsiteY7153" fmla="*/ 252889 h 514350"/>
                <a:gd name="connsiteX7154" fmla="*/ 300514 w 6400800"/>
                <a:gd name="connsiteY7154" fmla="*/ 244316 h 514350"/>
                <a:gd name="connsiteX7155" fmla="*/ 302419 w 6400800"/>
                <a:gd name="connsiteY7155" fmla="*/ 230981 h 514350"/>
                <a:gd name="connsiteX7156" fmla="*/ 295751 w 6400800"/>
                <a:gd name="connsiteY7156" fmla="*/ 269081 h 514350"/>
                <a:gd name="connsiteX7157" fmla="*/ 297656 w 6400800"/>
                <a:gd name="connsiteY7157" fmla="*/ 262414 h 514350"/>
                <a:gd name="connsiteX7158" fmla="*/ 295751 w 6400800"/>
                <a:gd name="connsiteY7158" fmla="*/ 265271 h 514350"/>
                <a:gd name="connsiteX7159" fmla="*/ 297656 w 6400800"/>
                <a:gd name="connsiteY7159" fmla="*/ 251936 h 514350"/>
                <a:gd name="connsiteX7160" fmla="*/ 299561 w 6400800"/>
                <a:gd name="connsiteY7160" fmla="*/ 243364 h 514350"/>
                <a:gd name="connsiteX7161" fmla="*/ 301466 w 6400800"/>
                <a:gd name="connsiteY7161" fmla="*/ 247174 h 514350"/>
                <a:gd name="connsiteX7162" fmla="*/ 310039 w 6400800"/>
                <a:gd name="connsiteY7162" fmla="*/ 270986 h 514350"/>
                <a:gd name="connsiteX7163" fmla="*/ 319564 w 6400800"/>
                <a:gd name="connsiteY7163" fmla="*/ 312896 h 514350"/>
                <a:gd name="connsiteX7164" fmla="*/ 330041 w 6400800"/>
                <a:gd name="connsiteY7164" fmla="*/ 358616 h 514350"/>
                <a:gd name="connsiteX7165" fmla="*/ 330041 w 6400800"/>
                <a:gd name="connsiteY7165" fmla="*/ 362426 h 514350"/>
                <a:gd name="connsiteX7166" fmla="*/ 327184 w 6400800"/>
                <a:gd name="connsiteY7166" fmla="*/ 404336 h 514350"/>
                <a:gd name="connsiteX7167" fmla="*/ 327184 w 6400800"/>
                <a:gd name="connsiteY7167" fmla="*/ 404336 h 514350"/>
                <a:gd name="connsiteX7168" fmla="*/ 321469 w 6400800"/>
                <a:gd name="connsiteY7168" fmla="*/ 392906 h 514350"/>
                <a:gd name="connsiteX7169" fmla="*/ 310991 w 6400800"/>
                <a:gd name="connsiteY7169" fmla="*/ 362426 h 514350"/>
                <a:gd name="connsiteX7170" fmla="*/ 296704 w 6400800"/>
                <a:gd name="connsiteY7170" fmla="*/ 318611 h 514350"/>
                <a:gd name="connsiteX7171" fmla="*/ 291941 w 6400800"/>
                <a:gd name="connsiteY7171" fmla="*/ 302419 h 514350"/>
                <a:gd name="connsiteX7172" fmla="*/ 295751 w 6400800"/>
                <a:gd name="connsiteY7172" fmla="*/ 269081 h 514350"/>
                <a:gd name="connsiteX7173" fmla="*/ 283369 w 6400800"/>
                <a:gd name="connsiteY7173" fmla="*/ 378619 h 514350"/>
                <a:gd name="connsiteX7174" fmla="*/ 284321 w 6400800"/>
                <a:gd name="connsiteY7174" fmla="*/ 365284 h 514350"/>
                <a:gd name="connsiteX7175" fmla="*/ 285274 w 6400800"/>
                <a:gd name="connsiteY7175" fmla="*/ 363379 h 514350"/>
                <a:gd name="connsiteX7176" fmla="*/ 295751 w 6400800"/>
                <a:gd name="connsiteY7176" fmla="*/ 387191 h 514350"/>
                <a:gd name="connsiteX7177" fmla="*/ 302419 w 6400800"/>
                <a:gd name="connsiteY7177" fmla="*/ 400526 h 514350"/>
                <a:gd name="connsiteX7178" fmla="*/ 303371 w 6400800"/>
                <a:gd name="connsiteY7178" fmla="*/ 404336 h 514350"/>
                <a:gd name="connsiteX7179" fmla="*/ 301466 w 6400800"/>
                <a:gd name="connsiteY7179" fmla="*/ 412909 h 514350"/>
                <a:gd name="connsiteX7180" fmla="*/ 295751 w 6400800"/>
                <a:gd name="connsiteY7180" fmla="*/ 442436 h 514350"/>
                <a:gd name="connsiteX7181" fmla="*/ 283369 w 6400800"/>
                <a:gd name="connsiteY7181" fmla="*/ 444341 h 514350"/>
                <a:gd name="connsiteX7182" fmla="*/ 281464 w 6400800"/>
                <a:gd name="connsiteY7182" fmla="*/ 435769 h 514350"/>
                <a:gd name="connsiteX7183" fmla="*/ 281464 w 6400800"/>
                <a:gd name="connsiteY7183" fmla="*/ 407194 h 514350"/>
                <a:gd name="connsiteX7184" fmla="*/ 283369 w 6400800"/>
                <a:gd name="connsiteY7184" fmla="*/ 378619 h 514350"/>
                <a:gd name="connsiteX7185" fmla="*/ 237649 w 6400800"/>
                <a:gd name="connsiteY7185" fmla="*/ 415766 h 514350"/>
                <a:gd name="connsiteX7186" fmla="*/ 228124 w 6400800"/>
                <a:gd name="connsiteY7186" fmla="*/ 395764 h 514350"/>
                <a:gd name="connsiteX7187" fmla="*/ 229076 w 6400800"/>
                <a:gd name="connsiteY7187" fmla="*/ 383381 h 514350"/>
                <a:gd name="connsiteX7188" fmla="*/ 239554 w 6400800"/>
                <a:gd name="connsiteY7188" fmla="*/ 406241 h 514350"/>
                <a:gd name="connsiteX7189" fmla="*/ 237649 w 6400800"/>
                <a:gd name="connsiteY7189" fmla="*/ 415766 h 514350"/>
                <a:gd name="connsiteX7190" fmla="*/ 247174 w 6400800"/>
                <a:gd name="connsiteY7190" fmla="*/ 431006 h 514350"/>
                <a:gd name="connsiteX7191" fmla="*/ 248126 w 6400800"/>
                <a:gd name="connsiteY7191" fmla="*/ 425291 h 514350"/>
                <a:gd name="connsiteX7192" fmla="*/ 248126 w 6400800"/>
                <a:gd name="connsiteY7192" fmla="*/ 425291 h 514350"/>
                <a:gd name="connsiteX7193" fmla="*/ 247174 w 6400800"/>
                <a:gd name="connsiteY7193" fmla="*/ 431006 h 514350"/>
                <a:gd name="connsiteX7194" fmla="*/ 264319 w 6400800"/>
                <a:gd name="connsiteY7194" fmla="*/ 204311 h 514350"/>
                <a:gd name="connsiteX7195" fmla="*/ 270986 w 6400800"/>
                <a:gd name="connsiteY7195" fmla="*/ 185261 h 514350"/>
                <a:gd name="connsiteX7196" fmla="*/ 267176 w 6400800"/>
                <a:gd name="connsiteY7196" fmla="*/ 214789 h 514350"/>
                <a:gd name="connsiteX7197" fmla="*/ 266224 w 6400800"/>
                <a:gd name="connsiteY7197" fmla="*/ 210026 h 514350"/>
                <a:gd name="connsiteX7198" fmla="*/ 264319 w 6400800"/>
                <a:gd name="connsiteY7198" fmla="*/ 204311 h 514350"/>
                <a:gd name="connsiteX7199" fmla="*/ 264319 w 6400800"/>
                <a:gd name="connsiteY7199" fmla="*/ 204311 h 514350"/>
                <a:gd name="connsiteX7200" fmla="*/ 254794 w 6400800"/>
                <a:gd name="connsiteY7200" fmla="*/ 235744 h 514350"/>
                <a:gd name="connsiteX7201" fmla="*/ 258604 w 6400800"/>
                <a:gd name="connsiteY7201" fmla="*/ 220504 h 514350"/>
                <a:gd name="connsiteX7202" fmla="*/ 261461 w 6400800"/>
                <a:gd name="connsiteY7202" fmla="*/ 242411 h 514350"/>
                <a:gd name="connsiteX7203" fmla="*/ 262414 w 6400800"/>
                <a:gd name="connsiteY7203" fmla="*/ 245269 h 514350"/>
                <a:gd name="connsiteX7204" fmla="*/ 260509 w 6400800"/>
                <a:gd name="connsiteY7204" fmla="*/ 270034 h 514350"/>
                <a:gd name="connsiteX7205" fmla="*/ 257651 w 6400800"/>
                <a:gd name="connsiteY7205" fmla="*/ 264319 h 514350"/>
                <a:gd name="connsiteX7206" fmla="*/ 250984 w 6400800"/>
                <a:gd name="connsiteY7206" fmla="*/ 249079 h 514350"/>
                <a:gd name="connsiteX7207" fmla="*/ 254794 w 6400800"/>
                <a:gd name="connsiteY7207" fmla="*/ 235744 h 514350"/>
                <a:gd name="connsiteX7208" fmla="*/ 245269 w 6400800"/>
                <a:gd name="connsiteY7208" fmla="*/ 276701 h 514350"/>
                <a:gd name="connsiteX7209" fmla="*/ 249079 w 6400800"/>
                <a:gd name="connsiteY7209" fmla="*/ 260509 h 514350"/>
                <a:gd name="connsiteX7210" fmla="*/ 250984 w 6400800"/>
                <a:gd name="connsiteY7210" fmla="*/ 268129 h 514350"/>
                <a:gd name="connsiteX7211" fmla="*/ 258604 w 6400800"/>
                <a:gd name="connsiteY7211" fmla="*/ 292894 h 514350"/>
                <a:gd name="connsiteX7212" fmla="*/ 259556 w 6400800"/>
                <a:gd name="connsiteY7212" fmla="*/ 294799 h 514350"/>
                <a:gd name="connsiteX7213" fmla="*/ 259556 w 6400800"/>
                <a:gd name="connsiteY7213" fmla="*/ 297656 h 514350"/>
                <a:gd name="connsiteX7214" fmla="*/ 257651 w 6400800"/>
                <a:gd name="connsiteY7214" fmla="*/ 333851 h 514350"/>
                <a:gd name="connsiteX7215" fmla="*/ 250984 w 6400800"/>
                <a:gd name="connsiteY7215" fmla="*/ 309086 h 514350"/>
                <a:gd name="connsiteX7216" fmla="*/ 253841 w 6400800"/>
                <a:gd name="connsiteY7216" fmla="*/ 301466 h 514350"/>
                <a:gd name="connsiteX7217" fmla="*/ 250984 w 6400800"/>
                <a:gd name="connsiteY7217" fmla="*/ 307181 h 514350"/>
                <a:gd name="connsiteX7218" fmla="*/ 244316 w 6400800"/>
                <a:gd name="connsiteY7218" fmla="*/ 284321 h 514350"/>
                <a:gd name="connsiteX7219" fmla="*/ 245269 w 6400800"/>
                <a:gd name="connsiteY7219" fmla="*/ 276701 h 514350"/>
                <a:gd name="connsiteX7220" fmla="*/ 236696 w 6400800"/>
                <a:gd name="connsiteY7220" fmla="*/ 325279 h 514350"/>
                <a:gd name="connsiteX7221" fmla="*/ 237649 w 6400800"/>
                <a:gd name="connsiteY7221" fmla="*/ 322421 h 514350"/>
                <a:gd name="connsiteX7222" fmla="*/ 238601 w 6400800"/>
                <a:gd name="connsiteY7222" fmla="*/ 329089 h 514350"/>
                <a:gd name="connsiteX7223" fmla="*/ 235744 w 6400800"/>
                <a:gd name="connsiteY7223" fmla="*/ 335756 h 514350"/>
                <a:gd name="connsiteX7224" fmla="*/ 236696 w 6400800"/>
                <a:gd name="connsiteY7224" fmla="*/ 325279 h 514350"/>
                <a:gd name="connsiteX7225" fmla="*/ 234791 w 6400800"/>
                <a:gd name="connsiteY7225" fmla="*/ 353854 h 514350"/>
                <a:gd name="connsiteX7226" fmla="*/ 240506 w 6400800"/>
                <a:gd name="connsiteY7226" fmla="*/ 337661 h 514350"/>
                <a:gd name="connsiteX7227" fmla="*/ 241459 w 6400800"/>
                <a:gd name="connsiteY7227" fmla="*/ 342424 h 514350"/>
                <a:gd name="connsiteX7228" fmla="*/ 248126 w 6400800"/>
                <a:gd name="connsiteY7228" fmla="*/ 372904 h 514350"/>
                <a:gd name="connsiteX7229" fmla="*/ 247174 w 6400800"/>
                <a:gd name="connsiteY7229" fmla="*/ 378619 h 514350"/>
                <a:gd name="connsiteX7230" fmla="*/ 242411 w 6400800"/>
                <a:gd name="connsiteY7230" fmla="*/ 369094 h 514350"/>
                <a:gd name="connsiteX7231" fmla="*/ 234791 w 6400800"/>
                <a:gd name="connsiteY7231" fmla="*/ 353854 h 514350"/>
                <a:gd name="connsiteX7232" fmla="*/ 234791 w 6400800"/>
                <a:gd name="connsiteY7232" fmla="*/ 353854 h 514350"/>
                <a:gd name="connsiteX7233" fmla="*/ 222409 w 6400800"/>
                <a:gd name="connsiteY7233" fmla="*/ 297656 h 514350"/>
                <a:gd name="connsiteX7234" fmla="*/ 227171 w 6400800"/>
                <a:gd name="connsiteY7234" fmla="*/ 278606 h 514350"/>
                <a:gd name="connsiteX7235" fmla="*/ 228124 w 6400800"/>
                <a:gd name="connsiteY7235" fmla="*/ 284321 h 514350"/>
                <a:gd name="connsiteX7236" fmla="*/ 230029 w 6400800"/>
                <a:gd name="connsiteY7236" fmla="*/ 290989 h 514350"/>
                <a:gd name="connsiteX7237" fmla="*/ 222409 w 6400800"/>
                <a:gd name="connsiteY7237" fmla="*/ 324326 h 514350"/>
                <a:gd name="connsiteX7238" fmla="*/ 221456 w 6400800"/>
                <a:gd name="connsiteY7238" fmla="*/ 330041 h 514350"/>
                <a:gd name="connsiteX7239" fmla="*/ 220504 w 6400800"/>
                <a:gd name="connsiteY7239" fmla="*/ 329089 h 514350"/>
                <a:gd name="connsiteX7240" fmla="*/ 218599 w 6400800"/>
                <a:gd name="connsiteY7240" fmla="*/ 312896 h 514350"/>
                <a:gd name="connsiteX7241" fmla="*/ 222409 w 6400800"/>
                <a:gd name="connsiteY7241" fmla="*/ 297656 h 514350"/>
                <a:gd name="connsiteX7242" fmla="*/ 169069 w 6400800"/>
                <a:gd name="connsiteY7242" fmla="*/ 411956 h 514350"/>
                <a:gd name="connsiteX7243" fmla="*/ 169069 w 6400800"/>
                <a:gd name="connsiteY7243" fmla="*/ 412909 h 514350"/>
                <a:gd name="connsiteX7244" fmla="*/ 165259 w 6400800"/>
                <a:gd name="connsiteY7244" fmla="*/ 396716 h 514350"/>
                <a:gd name="connsiteX7245" fmla="*/ 164306 w 6400800"/>
                <a:gd name="connsiteY7245" fmla="*/ 375761 h 514350"/>
                <a:gd name="connsiteX7246" fmla="*/ 161449 w 6400800"/>
                <a:gd name="connsiteY7246" fmla="*/ 345281 h 514350"/>
                <a:gd name="connsiteX7247" fmla="*/ 158591 w 6400800"/>
                <a:gd name="connsiteY7247" fmla="*/ 321469 h 514350"/>
                <a:gd name="connsiteX7248" fmla="*/ 159544 w 6400800"/>
                <a:gd name="connsiteY7248" fmla="*/ 323374 h 514350"/>
                <a:gd name="connsiteX7249" fmla="*/ 162401 w 6400800"/>
                <a:gd name="connsiteY7249" fmla="*/ 328136 h 514350"/>
                <a:gd name="connsiteX7250" fmla="*/ 167164 w 6400800"/>
                <a:gd name="connsiteY7250" fmla="*/ 376714 h 514350"/>
                <a:gd name="connsiteX7251" fmla="*/ 170021 w 6400800"/>
                <a:gd name="connsiteY7251" fmla="*/ 402431 h 514350"/>
                <a:gd name="connsiteX7252" fmla="*/ 169069 w 6400800"/>
                <a:gd name="connsiteY7252" fmla="*/ 411956 h 514350"/>
                <a:gd name="connsiteX7253" fmla="*/ 209074 w 6400800"/>
                <a:gd name="connsiteY7253" fmla="*/ 350044 h 514350"/>
                <a:gd name="connsiteX7254" fmla="*/ 209074 w 6400800"/>
                <a:gd name="connsiteY7254" fmla="*/ 359569 h 514350"/>
                <a:gd name="connsiteX7255" fmla="*/ 207169 w 6400800"/>
                <a:gd name="connsiteY7255" fmla="*/ 356711 h 514350"/>
                <a:gd name="connsiteX7256" fmla="*/ 209074 w 6400800"/>
                <a:gd name="connsiteY7256" fmla="*/ 350044 h 514350"/>
                <a:gd name="connsiteX7257" fmla="*/ 170974 w 6400800"/>
                <a:gd name="connsiteY7257" fmla="*/ 259556 h 514350"/>
                <a:gd name="connsiteX7258" fmla="*/ 178594 w 6400800"/>
                <a:gd name="connsiteY7258" fmla="*/ 274796 h 514350"/>
                <a:gd name="connsiteX7259" fmla="*/ 187166 w 6400800"/>
                <a:gd name="connsiteY7259" fmla="*/ 291941 h 514350"/>
                <a:gd name="connsiteX7260" fmla="*/ 205264 w 6400800"/>
                <a:gd name="connsiteY7260" fmla="*/ 330041 h 514350"/>
                <a:gd name="connsiteX7261" fmla="*/ 200501 w 6400800"/>
                <a:gd name="connsiteY7261" fmla="*/ 343376 h 514350"/>
                <a:gd name="connsiteX7262" fmla="*/ 199549 w 6400800"/>
                <a:gd name="connsiteY7262" fmla="*/ 342424 h 514350"/>
                <a:gd name="connsiteX7263" fmla="*/ 180499 w 6400800"/>
                <a:gd name="connsiteY7263" fmla="*/ 310039 h 514350"/>
                <a:gd name="connsiteX7264" fmla="*/ 176689 w 6400800"/>
                <a:gd name="connsiteY7264" fmla="*/ 296704 h 514350"/>
                <a:gd name="connsiteX7265" fmla="*/ 176689 w 6400800"/>
                <a:gd name="connsiteY7265" fmla="*/ 305276 h 514350"/>
                <a:gd name="connsiteX7266" fmla="*/ 172879 w 6400800"/>
                <a:gd name="connsiteY7266" fmla="*/ 299561 h 514350"/>
                <a:gd name="connsiteX7267" fmla="*/ 171926 w 6400800"/>
                <a:gd name="connsiteY7267" fmla="*/ 298609 h 514350"/>
                <a:gd name="connsiteX7268" fmla="*/ 168116 w 6400800"/>
                <a:gd name="connsiteY7268" fmla="*/ 279559 h 514350"/>
                <a:gd name="connsiteX7269" fmla="*/ 158591 w 6400800"/>
                <a:gd name="connsiteY7269" fmla="*/ 235744 h 514350"/>
                <a:gd name="connsiteX7270" fmla="*/ 170974 w 6400800"/>
                <a:gd name="connsiteY7270" fmla="*/ 259556 h 514350"/>
                <a:gd name="connsiteX7271" fmla="*/ 161449 w 6400800"/>
                <a:gd name="connsiteY7271" fmla="*/ 307181 h 514350"/>
                <a:gd name="connsiteX7272" fmla="*/ 156686 w 6400800"/>
                <a:gd name="connsiteY7272" fmla="*/ 301466 h 514350"/>
                <a:gd name="connsiteX7273" fmla="*/ 155734 w 6400800"/>
                <a:gd name="connsiteY7273" fmla="*/ 297656 h 514350"/>
                <a:gd name="connsiteX7274" fmla="*/ 161449 w 6400800"/>
                <a:gd name="connsiteY7274" fmla="*/ 307181 h 514350"/>
                <a:gd name="connsiteX7275" fmla="*/ 130969 w 6400800"/>
                <a:gd name="connsiteY7275" fmla="*/ 280511 h 514350"/>
                <a:gd name="connsiteX7276" fmla="*/ 133826 w 6400800"/>
                <a:gd name="connsiteY7276" fmla="*/ 284321 h 514350"/>
                <a:gd name="connsiteX7277" fmla="*/ 145256 w 6400800"/>
                <a:gd name="connsiteY7277" fmla="*/ 301466 h 514350"/>
                <a:gd name="connsiteX7278" fmla="*/ 150971 w 6400800"/>
                <a:gd name="connsiteY7278" fmla="*/ 310039 h 514350"/>
                <a:gd name="connsiteX7279" fmla="*/ 150019 w 6400800"/>
                <a:gd name="connsiteY7279" fmla="*/ 341471 h 514350"/>
                <a:gd name="connsiteX7280" fmla="*/ 149066 w 6400800"/>
                <a:gd name="connsiteY7280" fmla="*/ 339566 h 514350"/>
                <a:gd name="connsiteX7281" fmla="*/ 145256 w 6400800"/>
                <a:gd name="connsiteY7281" fmla="*/ 328136 h 514350"/>
                <a:gd name="connsiteX7282" fmla="*/ 140494 w 6400800"/>
                <a:gd name="connsiteY7282" fmla="*/ 317659 h 514350"/>
                <a:gd name="connsiteX7283" fmla="*/ 132874 w 6400800"/>
                <a:gd name="connsiteY7283" fmla="*/ 301466 h 514350"/>
                <a:gd name="connsiteX7284" fmla="*/ 127159 w 6400800"/>
                <a:gd name="connsiteY7284" fmla="*/ 290989 h 514350"/>
                <a:gd name="connsiteX7285" fmla="*/ 130969 w 6400800"/>
                <a:gd name="connsiteY7285" fmla="*/ 280511 h 514350"/>
                <a:gd name="connsiteX7286" fmla="*/ 121444 w 6400800"/>
                <a:gd name="connsiteY7286" fmla="*/ 318611 h 514350"/>
                <a:gd name="connsiteX7287" fmla="*/ 127159 w 6400800"/>
                <a:gd name="connsiteY7287" fmla="*/ 294799 h 514350"/>
                <a:gd name="connsiteX7288" fmla="*/ 127159 w 6400800"/>
                <a:gd name="connsiteY7288" fmla="*/ 293846 h 514350"/>
                <a:gd name="connsiteX7289" fmla="*/ 129064 w 6400800"/>
                <a:gd name="connsiteY7289" fmla="*/ 303371 h 514350"/>
                <a:gd name="connsiteX7290" fmla="*/ 133826 w 6400800"/>
                <a:gd name="connsiteY7290" fmla="*/ 320516 h 514350"/>
                <a:gd name="connsiteX7291" fmla="*/ 138589 w 6400800"/>
                <a:gd name="connsiteY7291" fmla="*/ 342424 h 514350"/>
                <a:gd name="connsiteX7292" fmla="*/ 143351 w 6400800"/>
                <a:gd name="connsiteY7292" fmla="*/ 369094 h 514350"/>
                <a:gd name="connsiteX7293" fmla="*/ 148114 w 6400800"/>
                <a:gd name="connsiteY7293" fmla="*/ 398621 h 514350"/>
                <a:gd name="connsiteX7294" fmla="*/ 149066 w 6400800"/>
                <a:gd name="connsiteY7294" fmla="*/ 403384 h 514350"/>
                <a:gd name="connsiteX7295" fmla="*/ 149066 w 6400800"/>
                <a:gd name="connsiteY7295" fmla="*/ 411004 h 514350"/>
                <a:gd name="connsiteX7296" fmla="*/ 149066 w 6400800"/>
                <a:gd name="connsiteY7296" fmla="*/ 416719 h 514350"/>
                <a:gd name="connsiteX7297" fmla="*/ 138589 w 6400800"/>
                <a:gd name="connsiteY7297" fmla="*/ 388144 h 514350"/>
                <a:gd name="connsiteX7298" fmla="*/ 129064 w 6400800"/>
                <a:gd name="connsiteY7298" fmla="*/ 363379 h 514350"/>
                <a:gd name="connsiteX7299" fmla="*/ 131921 w 6400800"/>
                <a:gd name="connsiteY7299" fmla="*/ 358616 h 514350"/>
                <a:gd name="connsiteX7300" fmla="*/ 129064 w 6400800"/>
                <a:gd name="connsiteY7300" fmla="*/ 361474 h 514350"/>
                <a:gd name="connsiteX7301" fmla="*/ 124301 w 6400800"/>
                <a:gd name="connsiteY7301" fmla="*/ 350044 h 514350"/>
                <a:gd name="connsiteX7302" fmla="*/ 125254 w 6400800"/>
                <a:gd name="connsiteY7302" fmla="*/ 344329 h 514350"/>
                <a:gd name="connsiteX7303" fmla="*/ 129064 w 6400800"/>
                <a:gd name="connsiteY7303" fmla="*/ 328136 h 514350"/>
                <a:gd name="connsiteX7304" fmla="*/ 121444 w 6400800"/>
                <a:gd name="connsiteY7304" fmla="*/ 343376 h 514350"/>
                <a:gd name="connsiteX7305" fmla="*/ 121444 w 6400800"/>
                <a:gd name="connsiteY7305" fmla="*/ 343376 h 514350"/>
                <a:gd name="connsiteX7306" fmla="*/ 120491 w 6400800"/>
                <a:gd name="connsiteY7306" fmla="*/ 341471 h 514350"/>
                <a:gd name="connsiteX7307" fmla="*/ 117634 w 6400800"/>
                <a:gd name="connsiteY7307" fmla="*/ 334804 h 514350"/>
                <a:gd name="connsiteX7308" fmla="*/ 121444 w 6400800"/>
                <a:gd name="connsiteY7308" fmla="*/ 318611 h 514350"/>
                <a:gd name="connsiteX7309" fmla="*/ 116681 w 6400800"/>
                <a:gd name="connsiteY7309" fmla="*/ 393859 h 514350"/>
                <a:gd name="connsiteX7310" fmla="*/ 127159 w 6400800"/>
                <a:gd name="connsiteY7310" fmla="*/ 419576 h 514350"/>
                <a:gd name="connsiteX7311" fmla="*/ 113824 w 6400800"/>
                <a:gd name="connsiteY7311" fmla="*/ 414814 h 514350"/>
                <a:gd name="connsiteX7312" fmla="*/ 116681 w 6400800"/>
                <a:gd name="connsiteY7312" fmla="*/ 393859 h 514350"/>
                <a:gd name="connsiteX7313" fmla="*/ 91916 w 6400800"/>
                <a:gd name="connsiteY7313" fmla="*/ 341471 h 514350"/>
                <a:gd name="connsiteX7314" fmla="*/ 92869 w 6400800"/>
                <a:gd name="connsiteY7314" fmla="*/ 335756 h 514350"/>
                <a:gd name="connsiteX7315" fmla="*/ 94774 w 6400800"/>
                <a:gd name="connsiteY7315" fmla="*/ 340519 h 514350"/>
                <a:gd name="connsiteX7316" fmla="*/ 102394 w 6400800"/>
                <a:gd name="connsiteY7316" fmla="*/ 358616 h 514350"/>
                <a:gd name="connsiteX7317" fmla="*/ 96679 w 6400800"/>
                <a:gd name="connsiteY7317" fmla="*/ 384334 h 514350"/>
                <a:gd name="connsiteX7318" fmla="*/ 94774 w 6400800"/>
                <a:gd name="connsiteY7318" fmla="*/ 399574 h 514350"/>
                <a:gd name="connsiteX7319" fmla="*/ 93821 w 6400800"/>
                <a:gd name="connsiteY7319" fmla="*/ 400526 h 514350"/>
                <a:gd name="connsiteX7320" fmla="*/ 90964 w 6400800"/>
                <a:gd name="connsiteY7320" fmla="*/ 404336 h 514350"/>
                <a:gd name="connsiteX7321" fmla="*/ 88106 w 6400800"/>
                <a:gd name="connsiteY7321" fmla="*/ 382429 h 514350"/>
                <a:gd name="connsiteX7322" fmla="*/ 85249 w 6400800"/>
                <a:gd name="connsiteY7322" fmla="*/ 365284 h 514350"/>
                <a:gd name="connsiteX7323" fmla="*/ 91916 w 6400800"/>
                <a:gd name="connsiteY7323" fmla="*/ 341471 h 514350"/>
                <a:gd name="connsiteX7324" fmla="*/ 72866 w 6400800"/>
                <a:gd name="connsiteY7324" fmla="*/ 407194 h 514350"/>
                <a:gd name="connsiteX7325" fmla="*/ 72866 w 6400800"/>
                <a:gd name="connsiteY7325" fmla="*/ 409099 h 514350"/>
                <a:gd name="connsiteX7326" fmla="*/ 71914 w 6400800"/>
                <a:gd name="connsiteY7326" fmla="*/ 409099 h 514350"/>
                <a:gd name="connsiteX7327" fmla="*/ 72866 w 6400800"/>
                <a:gd name="connsiteY7327" fmla="*/ 407194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Lst>
              <a:rect l="l" t="t" r="r" b="b"/>
              <a:pathLst>
                <a:path w="6400800" h="514350">
                  <a:moveTo>
                    <a:pt x="7144" y="511016"/>
                  </a:moveTo>
                  <a:lnTo>
                    <a:pt x="6354604" y="511016"/>
                  </a:lnTo>
                  <a:lnTo>
                    <a:pt x="6354604" y="409099"/>
                  </a:lnTo>
                  <a:cubicBezTo>
                    <a:pt x="6346031" y="411004"/>
                    <a:pt x="6337459" y="413861"/>
                    <a:pt x="6327934" y="415766"/>
                  </a:cubicBezTo>
                  <a:cubicBezTo>
                    <a:pt x="6327934" y="411956"/>
                    <a:pt x="6327934" y="408146"/>
                    <a:pt x="6327934" y="404336"/>
                  </a:cubicBezTo>
                  <a:cubicBezTo>
                    <a:pt x="6328887" y="396716"/>
                    <a:pt x="6327934" y="389096"/>
                    <a:pt x="6328887" y="383381"/>
                  </a:cubicBezTo>
                  <a:cubicBezTo>
                    <a:pt x="6329839" y="371951"/>
                    <a:pt x="6329839" y="365284"/>
                    <a:pt x="6329839" y="365284"/>
                  </a:cubicBezTo>
                  <a:cubicBezTo>
                    <a:pt x="6329839" y="365284"/>
                    <a:pt x="6327934" y="371951"/>
                    <a:pt x="6324124" y="383381"/>
                  </a:cubicBezTo>
                  <a:cubicBezTo>
                    <a:pt x="6322219" y="389096"/>
                    <a:pt x="6321267" y="395764"/>
                    <a:pt x="6319362" y="404336"/>
                  </a:cubicBezTo>
                  <a:cubicBezTo>
                    <a:pt x="6318409" y="409099"/>
                    <a:pt x="6317456" y="413861"/>
                    <a:pt x="6316504" y="419576"/>
                  </a:cubicBezTo>
                  <a:cubicBezTo>
                    <a:pt x="6311742" y="420529"/>
                    <a:pt x="6306979" y="421481"/>
                    <a:pt x="6303169" y="423386"/>
                  </a:cubicBezTo>
                  <a:cubicBezTo>
                    <a:pt x="6303169" y="416719"/>
                    <a:pt x="6303169" y="411004"/>
                    <a:pt x="6304121" y="405289"/>
                  </a:cubicBezTo>
                  <a:cubicBezTo>
                    <a:pt x="6308884" y="390049"/>
                    <a:pt x="6314599" y="373856"/>
                    <a:pt x="6319362" y="358616"/>
                  </a:cubicBezTo>
                  <a:cubicBezTo>
                    <a:pt x="6320314" y="355759"/>
                    <a:pt x="6321267" y="352901"/>
                    <a:pt x="6322219" y="349091"/>
                  </a:cubicBezTo>
                  <a:cubicBezTo>
                    <a:pt x="6326029" y="336709"/>
                    <a:pt x="6330792" y="325279"/>
                    <a:pt x="6334601" y="312896"/>
                  </a:cubicBezTo>
                  <a:cubicBezTo>
                    <a:pt x="6340317" y="297656"/>
                    <a:pt x="6345079" y="283369"/>
                    <a:pt x="6349842" y="269081"/>
                  </a:cubicBezTo>
                  <a:cubicBezTo>
                    <a:pt x="6354604" y="254794"/>
                    <a:pt x="6359367" y="240506"/>
                    <a:pt x="6363176" y="228124"/>
                  </a:cubicBezTo>
                  <a:cubicBezTo>
                    <a:pt x="6367939" y="214789"/>
                    <a:pt x="6371749" y="202406"/>
                    <a:pt x="6375559" y="190976"/>
                  </a:cubicBezTo>
                  <a:cubicBezTo>
                    <a:pt x="6383179" y="168116"/>
                    <a:pt x="6388894" y="149066"/>
                    <a:pt x="6393656" y="134779"/>
                  </a:cubicBezTo>
                  <a:cubicBezTo>
                    <a:pt x="6397467" y="121444"/>
                    <a:pt x="6400324" y="113824"/>
                    <a:pt x="6400324" y="113824"/>
                  </a:cubicBezTo>
                  <a:cubicBezTo>
                    <a:pt x="6400324" y="113824"/>
                    <a:pt x="6396514" y="121444"/>
                    <a:pt x="6389846" y="133826"/>
                  </a:cubicBezTo>
                  <a:cubicBezTo>
                    <a:pt x="6386989" y="139541"/>
                    <a:pt x="6384131" y="146209"/>
                    <a:pt x="6380321" y="153829"/>
                  </a:cubicBezTo>
                  <a:cubicBezTo>
                    <a:pt x="6385084" y="136684"/>
                    <a:pt x="6389846" y="121444"/>
                    <a:pt x="6392704" y="110966"/>
                  </a:cubicBezTo>
                  <a:cubicBezTo>
                    <a:pt x="6396514" y="95726"/>
                    <a:pt x="6399371" y="87154"/>
                    <a:pt x="6399371" y="87154"/>
                  </a:cubicBezTo>
                  <a:cubicBezTo>
                    <a:pt x="6399371" y="87154"/>
                    <a:pt x="6395562" y="95726"/>
                    <a:pt x="6388894" y="109061"/>
                  </a:cubicBezTo>
                  <a:cubicBezTo>
                    <a:pt x="6386037" y="115729"/>
                    <a:pt x="6382226" y="125254"/>
                    <a:pt x="6377464" y="134779"/>
                  </a:cubicBezTo>
                  <a:cubicBezTo>
                    <a:pt x="6372701" y="144304"/>
                    <a:pt x="6367939" y="155734"/>
                    <a:pt x="6364129" y="168116"/>
                  </a:cubicBezTo>
                  <a:cubicBezTo>
                    <a:pt x="6354604" y="192881"/>
                    <a:pt x="6343174" y="222409"/>
                    <a:pt x="6332696" y="253841"/>
                  </a:cubicBezTo>
                  <a:cubicBezTo>
                    <a:pt x="6326981" y="270034"/>
                    <a:pt x="6321267" y="286226"/>
                    <a:pt x="6316504" y="302419"/>
                  </a:cubicBezTo>
                  <a:cubicBezTo>
                    <a:pt x="6315551" y="304324"/>
                    <a:pt x="6315551" y="306229"/>
                    <a:pt x="6314599" y="308134"/>
                  </a:cubicBezTo>
                  <a:cubicBezTo>
                    <a:pt x="6315551" y="300514"/>
                    <a:pt x="6316504" y="293846"/>
                    <a:pt x="6317456" y="287179"/>
                  </a:cubicBezTo>
                  <a:cubicBezTo>
                    <a:pt x="6318409" y="279559"/>
                    <a:pt x="6319362" y="272891"/>
                    <a:pt x="6319362" y="267176"/>
                  </a:cubicBezTo>
                  <a:cubicBezTo>
                    <a:pt x="6320314" y="256699"/>
                    <a:pt x="6320314" y="250031"/>
                    <a:pt x="6320314" y="250031"/>
                  </a:cubicBezTo>
                  <a:cubicBezTo>
                    <a:pt x="6320314" y="250031"/>
                    <a:pt x="6318409" y="255746"/>
                    <a:pt x="6314599" y="266224"/>
                  </a:cubicBezTo>
                  <a:cubicBezTo>
                    <a:pt x="6311742" y="276701"/>
                    <a:pt x="6306979" y="291941"/>
                    <a:pt x="6302217" y="310039"/>
                  </a:cubicBezTo>
                  <a:cubicBezTo>
                    <a:pt x="6299359" y="318611"/>
                    <a:pt x="6296501" y="329089"/>
                    <a:pt x="6293644" y="339566"/>
                  </a:cubicBezTo>
                  <a:cubicBezTo>
                    <a:pt x="6291739" y="347186"/>
                    <a:pt x="6288881" y="354806"/>
                    <a:pt x="6286976" y="362426"/>
                  </a:cubicBezTo>
                  <a:cubicBezTo>
                    <a:pt x="6286024" y="352901"/>
                    <a:pt x="6285071" y="343376"/>
                    <a:pt x="6284119" y="335756"/>
                  </a:cubicBezTo>
                  <a:cubicBezTo>
                    <a:pt x="6286024" y="330041"/>
                    <a:pt x="6286976" y="324326"/>
                    <a:pt x="6288881" y="318611"/>
                  </a:cubicBezTo>
                  <a:cubicBezTo>
                    <a:pt x="6293644" y="303371"/>
                    <a:pt x="6298406" y="289084"/>
                    <a:pt x="6302217" y="274796"/>
                  </a:cubicBezTo>
                  <a:cubicBezTo>
                    <a:pt x="6304121" y="268129"/>
                    <a:pt x="6306026" y="261461"/>
                    <a:pt x="6307931" y="255746"/>
                  </a:cubicBezTo>
                  <a:cubicBezTo>
                    <a:pt x="6309837" y="250031"/>
                    <a:pt x="6311742" y="244316"/>
                    <a:pt x="6313646" y="238601"/>
                  </a:cubicBezTo>
                  <a:cubicBezTo>
                    <a:pt x="6317456" y="228124"/>
                    <a:pt x="6320314" y="218599"/>
                    <a:pt x="6323171" y="210026"/>
                  </a:cubicBezTo>
                  <a:cubicBezTo>
                    <a:pt x="6327934" y="193834"/>
                    <a:pt x="6330792" y="185261"/>
                    <a:pt x="6330792" y="185261"/>
                  </a:cubicBezTo>
                  <a:cubicBezTo>
                    <a:pt x="6330792" y="185261"/>
                    <a:pt x="6326981" y="193834"/>
                    <a:pt x="6319362" y="208121"/>
                  </a:cubicBezTo>
                  <a:cubicBezTo>
                    <a:pt x="6315551" y="215741"/>
                    <a:pt x="6311742" y="224314"/>
                    <a:pt x="6306026" y="234791"/>
                  </a:cubicBezTo>
                  <a:cubicBezTo>
                    <a:pt x="6303169" y="239554"/>
                    <a:pt x="6301264" y="245269"/>
                    <a:pt x="6298406" y="250984"/>
                  </a:cubicBezTo>
                  <a:cubicBezTo>
                    <a:pt x="6295549" y="256699"/>
                    <a:pt x="6293644" y="263366"/>
                    <a:pt x="6290787" y="270034"/>
                  </a:cubicBezTo>
                  <a:cubicBezTo>
                    <a:pt x="6286976" y="279559"/>
                    <a:pt x="6282214" y="290036"/>
                    <a:pt x="6278404" y="301466"/>
                  </a:cubicBezTo>
                  <a:cubicBezTo>
                    <a:pt x="6277451" y="295751"/>
                    <a:pt x="6277451" y="292894"/>
                    <a:pt x="6277451" y="292894"/>
                  </a:cubicBezTo>
                  <a:cubicBezTo>
                    <a:pt x="6277451" y="292894"/>
                    <a:pt x="6277451" y="297656"/>
                    <a:pt x="6276499" y="306229"/>
                  </a:cubicBezTo>
                  <a:cubicBezTo>
                    <a:pt x="6275546" y="308134"/>
                    <a:pt x="6274594" y="310991"/>
                    <a:pt x="6273642" y="312896"/>
                  </a:cubicBezTo>
                  <a:cubicBezTo>
                    <a:pt x="6272689" y="315754"/>
                    <a:pt x="6271737" y="319564"/>
                    <a:pt x="6269831" y="322421"/>
                  </a:cubicBezTo>
                  <a:cubicBezTo>
                    <a:pt x="6270784" y="314801"/>
                    <a:pt x="6272689" y="308134"/>
                    <a:pt x="6273642" y="300514"/>
                  </a:cubicBezTo>
                  <a:cubicBezTo>
                    <a:pt x="6277451" y="283369"/>
                    <a:pt x="6280309" y="267176"/>
                    <a:pt x="6283167" y="252889"/>
                  </a:cubicBezTo>
                  <a:cubicBezTo>
                    <a:pt x="6285071" y="245269"/>
                    <a:pt x="6286024" y="238601"/>
                    <a:pt x="6287929" y="231934"/>
                  </a:cubicBezTo>
                  <a:cubicBezTo>
                    <a:pt x="6289834" y="225266"/>
                    <a:pt x="6290787" y="218599"/>
                    <a:pt x="6292692" y="212884"/>
                  </a:cubicBezTo>
                  <a:cubicBezTo>
                    <a:pt x="6295549" y="200501"/>
                    <a:pt x="6298406" y="190024"/>
                    <a:pt x="6300312" y="181451"/>
                  </a:cubicBezTo>
                  <a:cubicBezTo>
                    <a:pt x="6304121" y="164306"/>
                    <a:pt x="6306026" y="153829"/>
                    <a:pt x="6306026" y="153829"/>
                  </a:cubicBezTo>
                  <a:cubicBezTo>
                    <a:pt x="6306026" y="153829"/>
                    <a:pt x="6302217" y="163354"/>
                    <a:pt x="6296501" y="180499"/>
                  </a:cubicBezTo>
                  <a:cubicBezTo>
                    <a:pt x="6293644" y="189071"/>
                    <a:pt x="6289834" y="199549"/>
                    <a:pt x="6286024" y="210979"/>
                  </a:cubicBezTo>
                  <a:cubicBezTo>
                    <a:pt x="6284119" y="216694"/>
                    <a:pt x="6282214" y="223361"/>
                    <a:pt x="6279356" y="230029"/>
                  </a:cubicBezTo>
                  <a:cubicBezTo>
                    <a:pt x="6277451" y="236696"/>
                    <a:pt x="6275546" y="243364"/>
                    <a:pt x="6273642" y="250984"/>
                  </a:cubicBezTo>
                  <a:cubicBezTo>
                    <a:pt x="6269831" y="265271"/>
                    <a:pt x="6265069" y="281464"/>
                    <a:pt x="6260306" y="298609"/>
                  </a:cubicBezTo>
                  <a:cubicBezTo>
                    <a:pt x="6255544" y="315754"/>
                    <a:pt x="6251734" y="333851"/>
                    <a:pt x="6246971" y="351949"/>
                  </a:cubicBezTo>
                  <a:cubicBezTo>
                    <a:pt x="6244114" y="366236"/>
                    <a:pt x="6240304" y="381476"/>
                    <a:pt x="6236494" y="396716"/>
                  </a:cubicBezTo>
                  <a:cubicBezTo>
                    <a:pt x="6236494" y="395764"/>
                    <a:pt x="6235542" y="395764"/>
                    <a:pt x="6235542" y="394811"/>
                  </a:cubicBezTo>
                  <a:cubicBezTo>
                    <a:pt x="6235542" y="379571"/>
                    <a:pt x="6234589" y="370046"/>
                    <a:pt x="6234589" y="370046"/>
                  </a:cubicBezTo>
                  <a:cubicBezTo>
                    <a:pt x="6234589" y="370046"/>
                    <a:pt x="6233637" y="376714"/>
                    <a:pt x="6230779" y="389096"/>
                  </a:cubicBezTo>
                  <a:cubicBezTo>
                    <a:pt x="6229826" y="387191"/>
                    <a:pt x="6228874" y="386239"/>
                    <a:pt x="6227921" y="384334"/>
                  </a:cubicBezTo>
                  <a:cubicBezTo>
                    <a:pt x="6224112" y="378619"/>
                    <a:pt x="6220301" y="372904"/>
                    <a:pt x="6216492" y="367189"/>
                  </a:cubicBezTo>
                  <a:cubicBezTo>
                    <a:pt x="6218396" y="360521"/>
                    <a:pt x="6220301" y="354806"/>
                    <a:pt x="6223159" y="348139"/>
                  </a:cubicBezTo>
                  <a:cubicBezTo>
                    <a:pt x="6227921" y="334804"/>
                    <a:pt x="6232684" y="322421"/>
                    <a:pt x="6236494" y="310991"/>
                  </a:cubicBezTo>
                  <a:cubicBezTo>
                    <a:pt x="6240304" y="299561"/>
                    <a:pt x="6244114" y="289084"/>
                    <a:pt x="6247924" y="279559"/>
                  </a:cubicBezTo>
                  <a:cubicBezTo>
                    <a:pt x="6251734" y="270034"/>
                    <a:pt x="6254592" y="262414"/>
                    <a:pt x="6256496" y="254794"/>
                  </a:cubicBezTo>
                  <a:cubicBezTo>
                    <a:pt x="6261259" y="241459"/>
                    <a:pt x="6264117" y="233839"/>
                    <a:pt x="6264117" y="233839"/>
                  </a:cubicBezTo>
                  <a:cubicBezTo>
                    <a:pt x="6264117" y="233839"/>
                    <a:pt x="6260306" y="241459"/>
                    <a:pt x="6252687" y="253841"/>
                  </a:cubicBezTo>
                  <a:cubicBezTo>
                    <a:pt x="6248876" y="260509"/>
                    <a:pt x="6245067" y="268129"/>
                    <a:pt x="6240304" y="276701"/>
                  </a:cubicBezTo>
                  <a:cubicBezTo>
                    <a:pt x="6235542" y="285274"/>
                    <a:pt x="6230779" y="295751"/>
                    <a:pt x="6225064" y="307181"/>
                  </a:cubicBezTo>
                  <a:cubicBezTo>
                    <a:pt x="6220301" y="318611"/>
                    <a:pt x="6214587" y="330994"/>
                    <a:pt x="6208871" y="343376"/>
                  </a:cubicBezTo>
                  <a:cubicBezTo>
                    <a:pt x="6207919" y="346234"/>
                    <a:pt x="6206014" y="349091"/>
                    <a:pt x="6205062" y="351949"/>
                  </a:cubicBezTo>
                  <a:cubicBezTo>
                    <a:pt x="6205062" y="351949"/>
                    <a:pt x="6204109" y="350996"/>
                    <a:pt x="6204109" y="350996"/>
                  </a:cubicBezTo>
                  <a:cubicBezTo>
                    <a:pt x="6206967" y="340519"/>
                    <a:pt x="6208871" y="330041"/>
                    <a:pt x="6210776" y="320516"/>
                  </a:cubicBezTo>
                  <a:cubicBezTo>
                    <a:pt x="6214587" y="298609"/>
                    <a:pt x="6219349" y="280511"/>
                    <a:pt x="6222206" y="268129"/>
                  </a:cubicBezTo>
                  <a:cubicBezTo>
                    <a:pt x="6225064" y="255746"/>
                    <a:pt x="6226017" y="248126"/>
                    <a:pt x="6226017" y="248126"/>
                  </a:cubicBezTo>
                  <a:cubicBezTo>
                    <a:pt x="6226017" y="248126"/>
                    <a:pt x="6223159" y="254794"/>
                    <a:pt x="6218396" y="267176"/>
                  </a:cubicBezTo>
                  <a:cubicBezTo>
                    <a:pt x="6216492" y="272891"/>
                    <a:pt x="6213634" y="280511"/>
                    <a:pt x="6209824" y="289084"/>
                  </a:cubicBezTo>
                  <a:cubicBezTo>
                    <a:pt x="6206967" y="297656"/>
                    <a:pt x="6203156" y="307181"/>
                    <a:pt x="6199346" y="317659"/>
                  </a:cubicBezTo>
                  <a:cubicBezTo>
                    <a:pt x="6197442" y="323374"/>
                    <a:pt x="6195537" y="330041"/>
                    <a:pt x="6193631" y="335756"/>
                  </a:cubicBezTo>
                  <a:cubicBezTo>
                    <a:pt x="6190774" y="330994"/>
                    <a:pt x="6186964" y="326231"/>
                    <a:pt x="6184106" y="322421"/>
                  </a:cubicBezTo>
                  <a:cubicBezTo>
                    <a:pt x="6183154" y="321469"/>
                    <a:pt x="6182201" y="320516"/>
                    <a:pt x="6181249" y="318611"/>
                  </a:cubicBezTo>
                  <a:cubicBezTo>
                    <a:pt x="6182201" y="312896"/>
                    <a:pt x="6183154" y="307181"/>
                    <a:pt x="6184106" y="302419"/>
                  </a:cubicBezTo>
                  <a:cubicBezTo>
                    <a:pt x="6186012" y="291941"/>
                    <a:pt x="6186964" y="282416"/>
                    <a:pt x="6189821" y="274796"/>
                  </a:cubicBezTo>
                  <a:cubicBezTo>
                    <a:pt x="6193631" y="259556"/>
                    <a:pt x="6195537" y="250984"/>
                    <a:pt x="6195537" y="250984"/>
                  </a:cubicBezTo>
                  <a:cubicBezTo>
                    <a:pt x="6195537" y="250984"/>
                    <a:pt x="6191726" y="259556"/>
                    <a:pt x="6186012" y="273844"/>
                  </a:cubicBezTo>
                  <a:cubicBezTo>
                    <a:pt x="6183154" y="280511"/>
                    <a:pt x="6180296" y="290036"/>
                    <a:pt x="6176487" y="300514"/>
                  </a:cubicBezTo>
                  <a:cubicBezTo>
                    <a:pt x="6175534" y="303371"/>
                    <a:pt x="6174581" y="306229"/>
                    <a:pt x="6173629" y="309086"/>
                  </a:cubicBezTo>
                  <a:cubicBezTo>
                    <a:pt x="6173629" y="309086"/>
                    <a:pt x="6172676" y="308134"/>
                    <a:pt x="6172676" y="308134"/>
                  </a:cubicBezTo>
                  <a:cubicBezTo>
                    <a:pt x="6173629" y="303371"/>
                    <a:pt x="6174581" y="298609"/>
                    <a:pt x="6174581" y="294799"/>
                  </a:cubicBezTo>
                  <a:cubicBezTo>
                    <a:pt x="6176487" y="283369"/>
                    <a:pt x="6178392" y="272891"/>
                    <a:pt x="6180296" y="263366"/>
                  </a:cubicBezTo>
                  <a:cubicBezTo>
                    <a:pt x="6182201" y="253841"/>
                    <a:pt x="6184106" y="244316"/>
                    <a:pt x="6185059" y="236696"/>
                  </a:cubicBezTo>
                  <a:cubicBezTo>
                    <a:pt x="6186964" y="229076"/>
                    <a:pt x="6187917" y="221456"/>
                    <a:pt x="6188869" y="215741"/>
                  </a:cubicBezTo>
                  <a:cubicBezTo>
                    <a:pt x="6190774" y="204311"/>
                    <a:pt x="6192679" y="197644"/>
                    <a:pt x="6192679" y="197644"/>
                  </a:cubicBezTo>
                  <a:cubicBezTo>
                    <a:pt x="6192679" y="197644"/>
                    <a:pt x="6189821" y="203359"/>
                    <a:pt x="6185059" y="214789"/>
                  </a:cubicBezTo>
                  <a:cubicBezTo>
                    <a:pt x="6180296" y="225266"/>
                    <a:pt x="6174581" y="241459"/>
                    <a:pt x="6168867" y="260509"/>
                  </a:cubicBezTo>
                  <a:cubicBezTo>
                    <a:pt x="6166962" y="267176"/>
                    <a:pt x="6165056" y="273844"/>
                    <a:pt x="6163151" y="280511"/>
                  </a:cubicBezTo>
                  <a:cubicBezTo>
                    <a:pt x="6161246" y="270034"/>
                    <a:pt x="6160294" y="261461"/>
                    <a:pt x="6159342" y="253841"/>
                  </a:cubicBezTo>
                  <a:cubicBezTo>
                    <a:pt x="6156484" y="235744"/>
                    <a:pt x="6154579" y="225266"/>
                    <a:pt x="6154579" y="225266"/>
                  </a:cubicBezTo>
                  <a:cubicBezTo>
                    <a:pt x="6154579" y="225266"/>
                    <a:pt x="6155531" y="248126"/>
                    <a:pt x="6156484" y="285274"/>
                  </a:cubicBezTo>
                  <a:cubicBezTo>
                    <a:pt x="6151721" y="278606"/>
                    <a:pt x="6146959" y="272891"/>
                    <a:pt x="6143149" y="268129"/>
                  </a:cubicBezTo>
                  <a:cubicBezTo>
                    <a:pt x="6143149" y="268129"/>
                    <a:pt x="6143149" y="267176"/>
                    <a:pt x="6143149" y="267176"/>
                  </a:cubicBezTo>
                  <a:cubicBezTo>
                    <a:pt x="6144101" y="263366"/>
                    <a:pt x="6145054" y="259556"/>
                    <a:pt x="6146006" y="256699"/>
                  </a:cubicBezTo>
                  <a:cubicBezTo>
                    <a:pt x="6156484" y="210026"/>
                    <a:pt x="6161246" y="178594"/>
                    <a:pt x="6161246" y="178594"/>
                  </a:cubicBezTo>
                  <a:cubicBezTo>
                    <a:pt x="6161246" y="178594"/>
                    <a:pt x="6158389" y="186214"/>
                    <a:pt x="6152674" y="200501"/>
                  </a:cubicBezTo>
                  <a:cubicBezTo>
                    <a:pt x="6152674" y="199549"/>
                    <a:pt x="6152674" y="198596"/>
                    <a:pt x="6152674" y="197644"/>
                  </a:cubicBezTo>
                  <a:cubicBezTo>
                    <a:pt x="6154579" y="188119"/>
                    <a:pt x="6155531" y="179546"/>
                    <a:pt x="6156484" y="172879"/>
                  </a:cubicBezTo>
                  <a:cubicBezTo>
                    <a:pt x="6158389" y="158591"/>
                    <a:pt x="6160294" y="150971"/>
                    <a:pt x="6160294" y="150971"/>
                  </a:cubicBezTo>
                  <a:cubicBezTo>
                    <a:pt x="6160294" y="150971"/>
                    <a:pt x="6157437" y="158591"/>
                    <a:pt x="6152674" y="171926"/>
                  </a:cubicBezTo>
                  <a:cubicBezTo>
                    <a:pt x="6150769" y="178594"/>
                    <a:pt x="6147912" y="187166"/>
                    <a:pt x="6145054" y="196691"/>
                  </a:cubicBezTo>
                  <a:cubicBezTo>
                    <a:pt x="6143149" y="204311"/>
                    <a:pt x="6140292" y="211931"/>
                    <a:pt x="6138387" y="220504"/>
                  </a:cubicBezTo>
                  <a:cubicBezTo>
                    <a:pt x="6136481" y="209074"/>
                    <a:pt x="6135529" y="202406"/>
                    <a:pt x="6135529" y="202406"/>
                  </a:cubicBezTo>
                  <a:cubicBezTo>
                    <a:pt x="6135529" y="202406"/>
                    <a:pt x="6135529" y="209074"/>
                    <a:pt x="6134576" y="221456"/>
                  </a:cubicBezTo>
                  <a:cubicBezTo>
                    <a:pt x="6134576" y="227171"/>
                    <a:pt x="6132671" y="234791"/>
                    <a:pt x="6132671" y="242411"/>
                  </a:cubicBezTo>
                  <a:cubicBezTo>
                    <a:pt x="6132671" y="244316"/>
                    <a:pt x="6131719" y="246221"/>
                    <a:pt x="6131719" y="249079"/>
                  </a:cubicBezTo>
                  <a:cubicBezTo>
                    <a:pt x="6131719" y="250984"/>
                    <a:pt x="6130767" y="251936"/>
                    <a:pt x="6130767" y="253841"/>
                  </a:cubicBezTo>
                  <a:cubicBezTo>
                    <a:pt x="6129814" y="252889"/>
                    <a:pt x="6129814" y="251936"/>
                    <a:pt x="6129814" y="251936"/>
                  </a:cubicBezTo>
                  <a:cubicBezTo>
                    <a:pt x="6129814" y="251936"/>
                    <a:pt x="6129814" y="252889"/>
                    <a:pt x="6130767" y="254794"/>
                  </a:cubicBezTo>
                  <a:cubicBezTo>
                    <a:pt x="6130767" y="256699"/>
                    <a:pt x="6129814" y="258604"/>
                    <a:pt x="6129814" y="261461"/>
                  </a:cubicBezTo>
                  <a:cubicBezTo>
                    <a:pt x="6129814" y="250031"/>
                    <a:pt x="6129814" y="243364"/>
                    <a:pt x="6129814" y="243364"/>
                  </a:cubicBezTo>
                  <a:cubicBezTo>
                    <a:pt x="6129814" y="243364"/>
                    <a:pt x="6127909" y="254794"/>
                    <a:pt x="6126004" y="274796"/>
                  </a:cubicBezTo>
                  <a:cubicBezTo>
                    <a:pt x="6126004" y="276701"/>
                    <a:pt x="6126004" y="279559"/>
                    <a:pt x="6125051" y="281464"/>
                  </a:cubicBezTo>
                  <a:cubicBezTo>
                    <a:pt x="6124099" y="275749"/>
                    <a:pt x="6123146" y="270986"/>
                    <a:pt x="6122194" y="267176"/>
                  </a:cubicBezTo>
                  <a:cubicBezTo>
                    <a:pt x="6119337" y="251936"/>
                    <a:pt x="6117431" y="243364"/>
                    <a:pt x="6117431" y="243364"/>
                  </a:cubicBezTo>
                  <a:cubicBezTo>
                    <a:pt x="6117431" y="243364"/>
                    <a:pt x="6117431" y="251936"/>
                    <a:pt x="6118384" y="267176"/>
                  </a:cubicBezTo>
                  <a:cubicBezTo>
                    <a:pt x="6118384" y="275749"/>
                    <a:pt x="6119337" y="287179"/>
                    <a:pt x="6119337" y="300514"/>
                  </a:cubicBezTo>
                  <a:cubicBezTo>
                    <a:pt x="6117431" y="306229"/>
                    <a:pt x="6115526" y="311944"/>
                    <a:pt x="6114574" y="317659"/>
                  </a:cubicBezTo>
                  <a:cubicBezTo>
                    <a:pt x="6114574" y="313849"/>
                    <a:pt x="6114574" y="310991"/>
                    <a:pt x="6114574" y="307181"/>
                  </a:cubicBezTo>
                  <a:cubicBezTo>
                    <a:pt x="6113621" y="299561"/>
                    <a:pt x="6113621" y="292894"/>
                    <a:pt x="6112669" y="286226"/>
                  </a:cubicBezTo>
                  <a:cubicBezTo>
                    <a:pt x="6111717" y="279559"/>
                    <a:pt x="6110764" y="274796"/>
                    <a:pt x="6109812" y="270986"/>
                  </a:cubicBezTo>
                  <a:cubicBezTo>
                    <a:pt x="6106954" y="262414"/>
                    <a:pt x="6105049" y="258604"/>
                    <a:pt x="6105049" y="258604"/>
                  </a:cubicBezTo>
                  <a:cubicBezTo>
                    <a:pt x="6105049" y="258604"/>
                    <a:pt x="6105049" y="263366"/>
                    <a:pt x="6106001" y="272891"/>
                  </a:cubicBezTo>
                  <a:cubicBezTo>
                    <a:pt x="6106001" y="275749"/>
                    <a:pt x="6106001" y="278606"/>
                    <a:pt x="6106001" y="282416"/>
                  </a:cubicBezTo>
                  <a:cubicBezTo>
                    <a:pt x="6105049" y="279559"/>
                    <a:pt x="6105049" y="276701"/>
                    <a:pt x="6104096" y="273844"/>
                  </a:cubicBezTo>
                  <a:cubicBezTo>
                    <a:pt x="6103144" y="271939"/>
                    <a:pt x="6103144" y="270034"/>
                    <a:pt x="6102192" y="268129"/>
                  </a:cubicBezTo>
                  <a:cubicBezTo>
                    <a:pt x="6102192" y="263366"/>
                    <a:pt x="6101239" y="258604"/>
                    <a:pt x="6101239" y="253841"/>
                  </a:cubicBezTo>
                  <a:cubicBezTo>
                    <a:pt x="6102192" y="251936"/>
                    <a:pt x="6102192" y="249079"/>
                    <a:pt x="6103144" y="247174"/>
                  </a:cubicBezTo>
                  <a:cubicBezTo>
                    <a:pt x="6105049" y="238601"/>
                    <a:pt x="6106954" y="230981"/>
                    <a:pt x="6107906" y="225266"/>
                  </a:cubicBezTo>
                  <a:cubicBezTo>
                    <a:pt x="6110764" y="212884"/>
                    <a:pt x="6111717" y="205264"/>
                    <a:pt x="6111717" y="205264"/>
                  </a:cubicBezTo>
                  <a:cubicBezTo>
                    <a:pt x="6111717" y="205264"/>
                    <a:pt x="6108859" y="211931"/>
                    <a:pt x="6104096" y="223361"/>
                  </a:cubicBezTo>
                  <a:cubicBezTo>
                    <a:pt x="6103144" y="227171"/>
                    <a:pt x="6101239" y="230981"/>
                    <a:pt x="6099334" y="234791"/>
                  </a:cubicBezTo>
                  <a:cubicBezTo>
                    <a:pt x="6098381" y="220504"/>
                    <a:pt x="6097429" y="210026"/>
                    <a:pt x="6096476" y="206216"/>
                  </a:cubicBezTo>
                  <a:cubicBezTo>
                    <a:pt x="6096476" y="204311"/>
                    <a:pt x="6097429" y="201454"/>
                    <a:pt x="6097429" y="199549"/>
                  </a:cubicBezTo>
                  <a:cubicBezTo>
                    <a:pt x="6099334" y="191929"/>
                    <a:pt x="6100287" y="184309"/>
                    <a:pt x="6101239" y="177641"/>
                  </a:cubicBezTo>
                  <a:cubicBezTo>
                    <a:pt x="6102192" y="170974"/>
                    <a:pt x="6103144" y="163354"/>
                    <a:pt x="6104096" y="157639"/>
                  </a:cubicBezTo>
                  <a:cubicBezTo>
                    <a:pt x="6106001" y="145256"/>
                    <a:pt x="6106954" y="133826"/>
                    <a:pt x="6107906" y="124301"/>
                  </a:cubicBezTo>
                  <a:cubicBezTo>
                    <a:pt x="6109812" y="106204"/>
                    <a:pt x="6110764" y="95726"/>
                    <a:pt x="6110764" y="95726"/>
                  </a:cubicBezTo>
                  <a:cubicBezTo>
                    <a:pt x="6110764" y="95726"/>
                    <a:pt x="6107906" y="106204"/>
                    <a:pt x="6104096" y="124301"/>
                  </a:cubicBezTo>
                  <a:cubicBezTo>
                    <a:pt x="6102192" y="132874"/>
                    <a:pt x="6099334" y="144304"/>
                    <a:pt x="6096476" y="156686"/>
                  </a:cubicBezTo>
                  <a:cubicBezTo>
                    <a:pt x="6095524" y="163354"/>
                    <a:pt x="6093619" y="170021"/>
                    <a:pt x="6091714" y="176689"/>
                  </a:cubicBezTo>
                  <a:cubicBezTo>
                    <a:pt x="6089809" y="183356"/>
                    <a:pt x="6087904" y="190976"/>
                    <a:pt x="6085999" y="198596"/>
                  </a:cubicBezTo>
                  <a:cubicBezTo>
                    <a:pt x="6085046" y="203359"/>
                    <a:pt x="6083142" y="209074"/>
                    <a:pt x="6081237" y="214789"/>
                  </a:cubicBezTo>
                  <a:cubicBezTo>
                    <a:pt x="6077426" y="206216"/>
                    <a:pt x="6074569" y="201454"/>
                    <a:pt x="6074569" y="201454"/>
                  </a:cubicBezTo>
                  <a:cubicBezTo>
                    <a:pt x="6074569" y="201454"/>
                    <a:pt x="6076474" y="208121"/>
                    <a:pt x="6079331" y="219551"/>
                  </a:cubicBezTo>
                  <a:cubicBezTo>
                    <a:pt x="6078379" y="222409"/>
                    <a:pt x="6076474" y="225266"/>
                    <a:pt x="6073617" y="230029"/>
                  </a:cubicBezTo>
                  <a:cubicBezTo>
                    <a:pt x="6072664" y="231934"/>
                    <a:pt x="6071712" y="234791"/>
                    <a:pt x="6069806" y="237649"/>
                  </a:cubicBezTo>
                  <a:cubicBezTo>
                    <a:pt x="6069806" y="233839"/>
                    <a:pt x="6069806" y="230981"/>
                    <a:pt x="6069806" y="228124"/>
                  </a:cubicBezTo>
                  <a:cubicBezTo>
                    <a:pt x="6069806" y="213836"/>
                    <a:pt x="6069806" y="205264"/>
                    <a:pt x="6069806" y="205264"/>
                  </a:cubicBezTo>
                  <a:cubicBezTo>
                    <a:pt x="6069806" y="205264"/>
                    <a:pt x="6067901" y="213836"/>
                    <a:pt x="6065996" y="228124"/>
                  </a:cubicBezTo>
                  <a:cubicBezTo>
                    <a:pt x="6065044" y="235744"/>
                    <a:pt x="6063139" y="243364"/>
                    <a:pt x="6061234" y="253841"/>
                  </a:cubicBezTo>
                  <a:cubicBezTo>
                    <a:pt x="6060281" y="256699"/>
                    <a:pt x="6060281" y="259556"/>
                    <a:pt x="6059329" y="263366"/>
                  </a:cubicBezTo>
                  <a:cubicBezTo>
                    <a:pt x="6058376" y="265271"/>
                    <a:pt x="6058376" y="267176"/>
                    <a:pt x="6057424" y="268129"/>
                  </a:cubicBezTo>
                  <a:cubicBezTo>
                    <a:pt x="6054567" y="275749"/>
                    <a:pt x="6051709" y="285274"/>
                    <a:pt x="6048851" y="294799"/>
                  </a:cubicBezTo>
                  <a:cubicBezTo>
                    <a:pt x="6045994" y="304324"/>
                    <a:pt x="6044089" y="313849"/>
                    <a:pt x="6041231" y="324326"/>
                  </a:cubicBezTo>
                  <a:cubicBezTo>
                    <a:pt x="6041231" y="324326"/>
                    <a:pt x="6041231" y="325279"/>
                    <a:pt x="6041231" y="325279"/>
                  </a:cubicBezTo>
                  <a:cubicBezTo>
                    <a:pt x="6038374" y="318611"/>
                    <a:pt x="6036469" y="311944"/>
                    <a:pt x="6033612" y="306229"/>
                  </a:cubicBezTo>
                  <a:cubicBezTo>
                    <a:pt x="6032659" y="303371"/>
                    <a:pt x="6030754" y="299561"/>
                    <a:pt x="6029801" y="296704"/>
                  </a:cubicBezTo>
                  <a:cubicBezTo>
                    <a:pt x="6029801" y="296704"/>
                    <a:pt x="6029801" y="295751"/>
                    <a:pt x="6029801" y="295751"/>
                  </a:cubicBezTo>
                  <a:cubicBezTo>
                    <a:pt x="6030754" y="290036"/>
                    <a:pt x="6031706" y="285274"/>
                    <a:pt x="6031706" y="281464"/>
                  </a:cubicBezTo>
                  <a:cubicBezTo>
                    <a:pt x="6032659" y="272891"/>
                    <a:pt x="6033612" y="269081"/>
                    <a:pt x="6033612" y="269081"/>
                  </a:cubicBezTo>
                  <a:cubicBezTo>
                    <a:pt x="6033612" y="269081"/>
                    <a:pt x="6031706" y="272891"/>
                    <a:pt x="6027896" y="280511"/>
                  </a:cubicBezTo>
                  <a:cubicBezTo>
                    <a:pt x="6026944" y="282416"/>
                    <a:pt x="6025992" y="284321"/>
                    <a:pt x="6025039" y="286226"/>
                  </a:cubicBezTo>
                  <a:cubicBezTo>
                    <a:pt x="6023134" y="281464"/>
                    <a:pt x="6021229" y="276701"/>
                    <a:pt x="6020276" y="272891"/>
                  </a:cubicBezTo>
                  <a:cubicBezTo>
                    <a:pt x="6013609" y="254794"/>
                    <a:pt x="6008846" y="244316"/>
                    <a:pt x="6008846" y="244316"/>
                  </a:cubicBezTo>
                  <a:cubicBezTo>
                    <a:pt x="6008846" y="244316"/>
                    <a:pt x="6011704" y="254794"/>
                    <a:pt x="6016467" y="273844"/>
                  </a:cubicBezTo>
                  <a:cubicBezTo>
                    <a:pt x="6018371" y="279559"/>
                    <a:pt x="6020276" y="286226"/>
                    <a:pt x="6022181" y="293846"/>
                  </a:cubicBezTo>
                  <a:cubicBezTo>
                    <a:pt x="6021229" y="296704"/>
                    <a:pt x="6020276" y="299561"/>
                    <a:pt x="6019324" y="302419"/>
                  </a:cubicBezTo>
                  <a:cubicBezTo>
                    <a:pt x="6018371" y="305276"/>
                    <a:pt x="6017419" y="309086"/>
                    <a:pt x="6016467" y="311944"/>
                  </a:cubicBezTo>
                  <a:cubicBezTo>
                    <a:pt x="6014562" y="318611"/>
                    <a:pt x="6012656" y="326231"/>
                    <a:pt x="6010751" y="333851"/>
                  </a:cubicBezTo>
                  <a:cubicBezTo>
                    <a:pt x="6010751" y="333851"/>
                    <a:pt x="6010751" y="334804"/>
                    <a:pt x="6010751" y="334804"/>
                  </a:cubicBezTo>
                  <a:cubicBezTo>
                    <a:pt x="6007894" y="330041"/>
                    <a:pt x="6005989" y="325279"/>
                    <a:pt x="6003131" y="320516"/>
                  </a:cubicBezTo>
                  <a:cubicBezTo>
                    <a:pt x="6001226" y="316706"/>
                    <a:pt x="5999321" y="312896"/>
                    <a:pt x="5996464" y="308134"/>
                  </a:cubicBezTo>
                  <a:cubicBezTo>
                    <a:pt x="5997417" y="306229"/>
                    <a:pt x="5998369" y="304324"/>
                    <a:pt x="5999321" y="302419"/>
                  </a:cubicBezTo>
                  <a:cubicBezTo>
                    <a:pt x="6002179" y="294799"/>
                    <a:pt x="6005037" y="289084"/>
                    <a:pt x="6007894" y="283369"/>
                  </a:cubicBezTo>
                  <a:cubicBezTo>
                    <a:pt x="6012656" y="272891"/>
                    <a:pt x="6014562" y="267176"/>
                    <a:pt x="6014562" y="267176"/>
                  </a:cubicBezTo>
                  <a:cubicBezTo>
                    <a:pt x="6014562" y="267176"/>
                    <a:pt x="6010751" y="272891"/>
                    <a:pt x="6004084" y="281464"/>
                  </a:cubicBezTo>
                  <a:cubicBezTo>
                    <a:pt x="6001226" y="286226"/>
                    <a:pt x="5997417" y="291941"/>
                    <a:pt x="5993606" y="297656"/>
                  </a:cubicBezTo>
                  <a:cubicBezTo>
                    <a:pt x="5992654" y="289084"/>
                    <a:pt x="5990749" y="281464"/>
                    <a:pt x="5989796" y="273844"/>
                  </a:cubicBezTo>
                  <a:cubicBezTo>
                    <a:pt x="5990749" y="266224"/>
                    <a:pt x="5990749" y="258604"/>
                    <a:pt x="5991701" y="250984"/>
                  </a:cubicBezTo>
                  <a:cubicBezTo>
                    <a:pt x="5992654" y="235744"/>
                    <a:pt x="5995512" y="223361"/>
                    <a:pt x="5997417" y="212884"/>
                  </a:cubicBezTo>
                  <a:cubicBezTo>
                    <a:pt x="6001226" y="191929"/>
                    <a:pt x="6003131" y="179546"/>
                    <a:pt x="6003131" y="179546"/>
                  </a:cubicBezTo>
                  <a:cubicBezTo>
                    <a:pt x="6003131" y="179546"/>
                    <a:pt x="5999321" y="190976"/>
                    <a:pt x="5993606" y="211931"/>
                  </a:cubicBezTo>
                  <a:cubicBezTo>
                    <a:pt x="5990749" y="222409"/>
                    <a:pt x="5986939" y="233839"/>
                    <a:pt x="5985034" y="248126"/>
                  </a:cubicBezTo>
                  <a:cubicBezTo>
                    <a:pt x="5981224" y="233839"/>
                    <a:pt x="5978367" y="219551"/>
                    <a:pt x="5974556" y="206216"/>
                  </a:cubicBezTo>
                  <a:cubicBezTo>
                    <a:pt x="5974556" y="206216"/>
                    <a:pt x="5974556" y="206216"/>
                    <a:pt x="5974556" y="206216"/>
                  </a:cubicBezTo>
                  <a:cubicBezTo>
                    <a:pt x="5975509" y="195739"/>
                    <a:pt x="5976462" y="186214"/>
                    <a:pt x="5977414" y="178594"/>
                  </a:cubicBezTo>
                  <a:cubicBezTo>
                    <a:pt x="5978367" y="163354"/>
                    <a:pt x="5979319" y="153829"/>
                    <a:pt x="5979319" y="153829"/>
                  </a:cubicBezTo>
                  <a:cubicBezTo>
                    <a:pt x="5979319" y="153829"/>
                    <a:pt x="5977414" y="162401"/>
                    <a:pt x="5973604" y="177641"/>
                  </a:cubicBezTo>
                  <a:cubicBezTo>
                    <a:pt x="5972651" y="181451"/>
                    <a:pt x="5971699" y="186214"/>
                    <a:pt x="5969794" y="191929"/>
                  </a:cubicBezTo>
                  <a:cubicBezTo>
                    <a:pt x="5965984" y="180499"/>
                    <a:pt x="5963126" y="170021"/>
                    <a:pt x="5959317" y="160496"/>
                  </a:cubicBezTo>
                  <a:cubicBezTo>
                    <a:pt x="5954554" y="148114"/>
                    <a:pt x="5950744" y="137636"/>
                    <a:pt x="5946934" y="130016"/>
                  </a:cubicBezTo>
                  <a:cubicBezTo>
                    <a:pt x="5939314" y="112871"/>
                    <a:pt x="5934551" y="104299"/>
                    <a:pt x="5934551" y="104299"/>
                  </a:cubicBezTo>
                  <a:cubicBezTo>
                    <a:pt x="5934551" y="104299"/>
                    <a:pt x="5937409" y="113824"/>
                    <a:pt x="5943124" y="131921"/>
                  </a:cubicBezTo>
                  <a:cubicBezTo>
                    <a:pt x="5945981" y="140494"/>
                    <a:pt x="5948839" y="150971"/>
                    <a:pt x="5951696" y="163354"/>
                  </a:cubicBezTo>
                  <a:cubicBezTo>
                    <a:pt x="5955506" y="175736"/>
                    <a:pt x="5957412" y="189071"/>
                    <a:pt x="5961221" y="204311"/>
                  </a:cubicBezTo>
                  <a:cubicBezTo>
                    <a:pt x="5962174" y="208121"/>
                    <a:pt x="5963126" y="212884"/>
                    <a:pt x="5964079" y="216694"/>
                  </a:cubicBezTo>
                  <a:cubicBezTo>
                    <a:pt x="5964079" y="218599"/>
                    <a:pt x="5963126" y="220504"/>
                    <a:pt x="5962174" y="222409"/>
                  </a:cubicBezTo>
                  <a:cubicBezTo>
                    <a:pt x="5961221" y="226219"/>
                    <a:pt x="5959317" y="230981"/>
                    <a:pt x="5958364" y="235744"/>
                  </a:cubicBezTo>
                  <a:cubicBezTo>
                    <a:pt x="5957412" y="234791"/>
                    <a:pt x="5957412" y="233839"/>
                    <a:pt x="5956459" y="232886"/>
                  </a:cubicBezTo>
                  <a:cubicBezTo>
                    <a:pt x="5956459" y="231934"/>
                    <a:pt x="5956459" y="231934"/>
                    <a:pt x="5956459" y="231934"/>
                  </a:cubicBezTo>
                  <a:cubicBezTo>
                    <a:pt x="5956459" y="231934"/>
                    <a:pt x="5956459" y="231934"/>
                    <a:pt x="5956459" y="232886"/>
                  </a:cubicBezTo>
                  <a:cubicBezTo>
                    <a:pt x="5948839" y="219551"/>
                    <a:pt x="5943124" y="208121"/>
                    <a:pt x="5938362" y="199549"/>
                  </a:cubicBezTo>
                  <a:cubicBezTo>
                    <a:pt x="5931694" y="187166"/>
                    <a:pt x="5927884" y="180499"/>
                    <a:pt x="5927884" y="180499"/>
                  </a:cubicBezTo>
                  <a:cubicBezTo>
                    <a:pt x="5927884" y="180499"/>
                    <a:pt x="5937409" y="209074"/>
                    <a:pt x="5953601" y="250984"/>
                  </a:cubicBezTo>
                  <a:cubicBezTo>
                    <a:pt x="5953601" y="252889"/>
                    <a:pt x="5952649" y="253841"/>
                    <a:pt x="5952649" y="255746"/>
                  </a:cubicBezTo>
                  <a:cubicBezTo>
                    <a:pt x="5949792" y="264319"/>
                    <a:pt x="5947887" y="272891"/>
                    <a:pt x="5945029" y="282416"/>
                  </a:cubicBezTo>
                  <a:cubicBezTo>
                    <a:pt x="5945029" y="283369"/>
                    <a:pt x="5944076" y="284321"/>
                    <a:pt x="5944076" y="285274"/>
                  </a:cubicBezTo>
                  <a:cubicBezTo>
                    <a:pt x="5943124" y="280511"/>
                    <a:pt x="5941219" y="275749"/>
                    <a:pt x="5940267" y="271939"/>
                  </a:cubicBezTo>
                  <a:cubicBezTo>
                    <a:pt x="5936456" y="259556"/>
                    <a:pt x="5932646" y="247174"/>
                    <a:pt x="5928837" y="237649"/>
                  </a:cubicBezTo>
                  <a:cubicBezTo>
                    <a:pt x="5925979" y="230981"/>
                    <a:pt x="5924074" y="225266"/>
                    <a:pt x="5922169" y="220504"/>
                  </a:cubicBezTo>
                  <a:cubicBezTo>
                    <a:pt x="5923121" y="217646"/>
                    <a:pt x="5923121" y="216694"/>
                    <a:pt x="5923121" y="216694"/>
                  </a:cubicBezTo>
                  <a:cubicBezTo>
                    <a:pt x="5923121" y="216694"/>
                    <a:pt x="5922169" y="217646"/>
                    <a:pt x="5921217" y="219551"/>
                  </a:cubicBezTo>
                  <a:cubicBezTo>
                    <a:pt x="5920264" y="216694"/>
                    <a:pt x="5919312" y="213836"/>
                    <a:pt x="5917406" y="211931"/>
                  </a:cubicBezTo>
                  <a:cubicBezTo>
                    <a:pt x="5913596" y="204311"/>
                    <a:pt x="5910739" y="198596"/>
                    <a:pt x="5908834" y="194786"/>
                  </a:cubicBezTo>
                  <a:cubicBezTo>
                    <a:pt x="5908834" y="190976"/>
                    <a:pt x="5907881" y="187166"/>
                    <a:pt x="5907881" y="183356"/>
                  </a:cubicBezTo>
                  <a:cubicBezTo>
                    <a:pt x="5905976" y="168116"/>
                    <a:pt x="5905024" y="159544"/>
                    <a:pt x="5905024" y="159544"/>
                  </a:cubicBezTo>
                  <a:cubicBezTo>
                    <a:pt x="5905024" y="159544"/>
                    <a:pt x="5904071" y="168116"/>
                    <a:pt x="5904071" y="184309"/>
                  </a:cubicBezTo>
                  <a:cubicBezTo>
                    <a:pt x="5904071" y="191929"/>
                    <a:pt x="5903119" y="201454"/>
                    <a:pt x="5903119" y="211931"/>
                  </a:cubicBezTo>
                  <a:cubicBezTo>
                    <a:pt x="5903119" y="217646"/>
                    <a:pt x="5903119" y="223361"/>
                    <a:pt x="5902167" y="229076"/>
                  </a:cubicBezTo>
                  <a:cubicBezTo>
                    <a:pt x="5902167" y="234791"/>
                    <a:pt x="5902167" y="241459"/>
                    <a:pt x="5902167" y="248126"/>
                  </a:cubicBezTo>
                  <a:cubicBezTo>
                    <a:pt x="5902167" y="254794"/>
                    <a:pt x="5902167" y="262414"/>
                    <a:pt x="5903119" y="270034"/>
                  </a:cubicBezTo>
                  <a:cubicBezTo>
                    <a:pt x="5902167" y="274796"/>
                    <a:pt x="5901214" y="279559"/>
                    <a:pt x="5900262" y="285274"/>
                  </a:cubicBezTo>
                  <a:cubicBezTo>
                    <a:pt x="5900262" y="284321"/>
                    <a:pt x="5900262" y="283369"/>
                    <a:pt x="5899309" y="282416"/>
                  </a:cubicBezTo>
                  <a:cubicBezTo>
                    <a:pt x="5897404" y="274796"/>
                    <a:pt x="5896451" y="268129"/>
                    <a:pt x="5895499" y="263366"/>
                  </a:cubicBezTo>
                  <a:cubicBezTo>
                    <a:pt x="5893594" y="255746"/>
                    <a:pt x="5892642" y="250031"/>
                    <a:pt x="5891689" y="248126"/>
                  </a:cubicBezTo>
                  <a:cubicBezTo>
                    <a:pt x="5891689" y="246221"/>
                    <a:pt x="5891689" y="245269"/>
                    <a:pt x="5891689" y="245269"/>
                  </a:cubicBezTo>
                  <a:cubicBezTo>
                    <a:pt x="5891689" y="245269"/>
                    <a:pt x="5891689" y="246221"/>
                    <a:pt x="5890737" y="247174"/>
                  </a:cubicBezTo>
                  <a:cubicBezTo>
                    <a:pt x="5890737" y="247174"/>
                    <a:pt x="5890737" y="247174"/>
                    <a:pt x="5890737" y="247174"/>
                  </a:cubicBezTo>
                  <a:cubicBezTo>
                    <a:pt x="5890737" y="247174"/>
                    <a:pt x="5890737" y="247174"/>
                    <a:pt x="5890737" y="248126"/>
                  </a:cubicBezTo>
                  <a:cubicBezTo>
                    <a:pt x="5889784" y="251936"/>
                    <a:pt x="5885974" y="261461"/>
                    <a:pt x="5881212" y="275749"/>
                  </a:cubicBezTo>
                  <a:cubicBezTo>
                    <a:pt x="5880259" y="270986"/>
                    <a:pt x="5879306" y="266224"/>
                    <a:pt x="5878354" y="262414"/>
                  </a:cubicBezTo>
                  <a:cubicBezTo>
                    <a:pt x="5875496" y="248126"/>
                    <a:pt x="5874544" y="240506"/>
                    <a:pt x="5874544" y="240506"/>
                  </a:cubicBezTo>
                  <a:cubicBezTo>
                    <a:pt x="5874544" y="240506"/>
                    <a:pt x="5874544" y="248126"/>
                    <a:pt x="5874544" y="262414"/>
                  </a:cubicBezTo>
                  <a:cubicBezTo>
                    <a:pt x="5874544" y="270034"/>
                    <a:pt x="5875496" y="279559"/>
                    <a:pt x="5875496" y="290989"/>
                  </a:cubicBezTo>
                  <a:cubicBezTo>
                    <a:pt x="5874544" y="293846"/>
                    <a:pt x="5873592" y="295751"/>
                    <a:pt x="5873592" y="298609"/>
                  </a:cubicBezTo>
                  <a:cubicBezTo>
                    <a:pt x="5872639" y="290036"/>
                    <a:pt x="5872639" y="280511"/>
                    <a:pt x="5870734" y="271939"/>
                  </a:cubicBezTo>
                  <a:cubicBezTo>
                    <a:pt x="5869781" y="278606"/>
                    <a:pt x="5868829" y="286226"/>
                    <a:pt x="5867876" y="292894"/>
                  </a:cubicBezTo>
                  <a:cubicBezTo>
                    <a:pt x="5867876" y="285274"/>
                    <a:pt x="5867876" y="276701"/>
                    <a:pt x="5866924" y="269081"/>
                  </a:cubicBezTo>
                  <a:cubicBezTo>
                    <a:pt x="5866924" y="260509"/>
                    <a:pt x="5865971" y="251936"/>
                    <a:pt x="5865971" y="243364"/>
                  </a:cubicBezTo>
                  <a:cubicBezTo>
                    <a:pt x="5870734" y="231934"/>
                    <a:pt x="5873592" y="225266"/>
                    <a:pt x="5873592" y="225266"/>
                  </a:cubicBezTo>
                  <a:cubicBezTo>
                    <a:pt x="5873592" y="225266"/>
                    <a:pt x="5870734" y="230029"/>
                    <a:pt x="5865971" y="237649"/>
                  </a:cubicBezTo>
                  <a:cubicBezTo>
                    <a:pt x="5865971" y="234791"/>
                    <a:pt x="5865971" y="232886"/>
                    <a:pt x="5865971" y="230029"/>
                  </a:cubicBezTo>
                  <a:cubicBezTo>
                    <a:pt x="5865971" y="217646"/>
                    <a:pt x="5865019" y="205264"/>
                    <a:pt x="5865019" y="194786"/>
                  </a:cubicBezTo>
                  <a:cubicBezTo>
                    <a:pt x="5864067" y="172879"/>
                    <a:pt x="5863114" y="154781"/>
                    <a:pt x="5863114" y="141446"/>
                  </a:cubicBezTo>
                  <a:cubicBezTo>
                    <a:pt x="5862162" y="128111"/>
                    <a:pt x="5862162" y="121444"/>
                    <a:pt x="5862162" y="121444"/>
                  </a:cubicBezTo>
                  <a:cubicBezTo>
                    <a:pt x="5862162" y="121444"/>
                    <a:pt x="5861209" y="129064"/>
                    <a:pt x="5859304" y="141446"/>
                  </a:cubicBezTo>
                  <a:cubicBezTo>
                    <a:pt x="5858351" y="147161"/>
                    <a:pt x="5857399" y="153829"/>
                    <a:pt x="5856446" y="161449"/>
                  </a:cubicBezTo>
                  <a:cubicBezTo>
                    <a:pt x="5855494" y="145256"/>
                    <a:pt x="5854542" y="130969"/>
                    <a:pt x="5853589" y="120491"/>
                  </a:cubicBezTo>
                  <a:cubicBezTo>
                    <a:pt x="5852637" y="106204"/>
                    <a:pt x="5851684" y="98584"/>
                    <a:pt x="5851684" y="98584"/>
                  </a:cubicBezTo>
                  <a:cubicBezTo>
                    <a:pt x="5851684" y="98584"/>
                    <a:pt x="5850731" y="106204"/>
                    <a:pt x="5849779" y="120491"/>
                  </a:cubicBezTo>
                  <a:cubicBezTo>
                    <a:pt x="5848826" y="127159"/>
                    <a:pt x="5848826" y="135731"/>
                    <a:pt x="5847874" y="146209"/>
                  </a:cubicBezTo>
                  <a:cubicBezTo>
                    <a:pt x="5846921" y="155734"/>
                    <a:pt x="5846921" y="167164"/>
                    <a:pt x="5846921" y="179546"/>
                  </a:cubicBezTo>
                  <a:cubicBezTo>
                    <a:pt x="5845969" y="203359"/>
                    <a:pt x="5845969" y="231934"/>
                    <a:pt x="5846921" y="262414"/>
                  </a:cubicBezTo>
                  <a:cubicBezTo>
                    <a:pt x="5846921" y="264319"/>
                    <a:pt x="5846921" y="267176"/>
                    <a:pt x="5846921" y="269081"/>
                  </a:cubicBezTo>
                  <a:cubicBezTo>
                    <a:pt x="5845969" y="270986"/>
                    <a:pt x="5844064" y="272891"/>
                    <a:pt x="5843112" y="274796"/>
                  </a:cubicBezTo>
                  <a:cubicBezTo>
                    <a:pt x="5842159" y="270034"/>
                    <a:pt x="5841206" y="265271"/>
                    <a:pt x="5840254" y="261461"/>
                  </a:cubicBezTo>
                  <a:cubicBezTo>
                    <a:pt x="5840254" y="254794"/>
                    <a:pt x="5840254" y="248126"/>
                    <a:pt x="5841206" y="242411"/>
                  </a:cubicBezTo>
                  <a:cubicBezTo>
                    <a:pt x="5841206" y="230029"/>
                    <a:pt x="5841206" y="223361"/>
                    <a:pt x="5841206" y="223361"/>
                  </a:cubicBezTo>
                  <a:cubicBezTo>
                    <a:pt x="5841206" y="223361"/>
                    <a:pt x="5839301" y="230029"/>
                    <a:pt x="5837396" y="242411"/>
                  </a:cubicBezTo>
                  <a:cubicBezTo>
                    <a:pt x="5837396" y="243364"/>
                    <a:pt x="5837396" y="244316"/>
                    <a:pt x="5836444" y="245269"/>
                  </a:cubicBezTo>
                  <a:cubicBezTo>
                    <a:pt x="5833587" y="233839"/>
                    <a:pt x="5831681" y="224314"/>
                    <a:pt x="5829776" y="215741"/>
                  </a:cubicBezTo>
                  <a:cubicBezTo>
                    <a:pt x="5825967" y="198596"/>
                    <a:pt x="5824062" y="189071"/>
                    <a:pt x="5824062" y="189071"/>
                  </a:cubicBezTo>
                  <a:cubicBezTo>
                    <a:pt x="5824062" y="189071"/>
                    <a:pt x="5825014" y="198596"/>
                    <a:pt x="5825967" y="215741"/>
                  </a:cubicBezTo>
                  <a:cubicBezTo>
                    <a:pt x="5826919" y="224314"/>
                    <a:pt x="5827871" y="234791"/>
                    <a:pt x="5828824" y="246221"/>
                  </a:cubicBezTo>
                  <a:cubicBezTo>
                    <a:pt x="5829776" y="252889"/>
                    <a:pt x="5830729" y="260509"/>
                    <a:pt x="5831681" y="268129"/>
                  </a:cubicBezTo>
                  <a:cubicBezTo>
                    <a:pt x="5830729" y="270034"/>
                    <a:pt x="5828824" y="272891"/>
                    <a:pt x="5826919" y="276701"/>
                  </a:cubicBezTo>
                  <a:cubicBezTo>
                    <a:pt x="5826919" y="274796"/>
                    <a:pt x="5825967" y="272891"/>
                    <a:pt x="5825967" y="270986"/>
                  </a:cubicBezTo>
                  <a:cubicBezTo>
                    <a:pt x="5825014" y="263366"/>
                    <a:pt x="5823109" y="255746"/>
                    <a:pt x="5822156" y="250031"/>
                  </a:cubicBezTo>
                  <a:cubicBezTo>
                    <a:pt x="5820251" y="238601"/>
                    <a:pt x="5818346" y="231934"/>
                    <a:pt x="5818346" y="231934"/>
                  </a:cubicBezTo>
                  <a:cubicBezTo>
                    <a:pt x="5818346" y="231934"/>
                    <a:pt x="5818346" y="238601"/>
                    <a:pt x="5818346" y="250031"/>
                  </a:cubicBezTo>
                  <a:cubicBezTo>
                    <a:pt x="5818346" y="255746"/>
                    <a:pt x="5818346" y="262414"/>
                    <a:pt x="5818346" y="270986"/>
                  </a:cubicBezTo>
                  <a:cubicBezTo>
                    <a:pt x="5816442" y="267176"/>
                    <a:pt x="5814537" y="264319"/>
                    <a:pt x="5812631" y="262414"/>
                  </a:cubicBezTo>
                  <a:lnTo>
                    <a:pt x="5812631" y="246221"/>
                  </a:lnTo>
                  <a:lnTo>
                    <a:pt x="5814537" y="220504"/>
                  </a:lnTo>
                  <a:cubicBezTo>
                    <a:pt x="5815489" y="220504"/>
                    <a:pt x="5815489" y="220504"/>
                    <a:pt x="5816442" y="221456"/>
                  </a:cubicBezTo>
                  <a:cubicBezTo>
                    <a:pt x="5817394" y="222409"/>
                    <a:pt x="5818346" y="222409"/>
                    <a:pt x="5819299" y="224314"/>
                  </a:cubicBezTo>
                  <a:cubicBezTo>
                    <a:pt x="5821204" y="226219"/>
                    <a:pt x="5821204" y="229076"/>
                    <a:pt x="5822156" y="231934"/>
                  </a:cubicBezTo>
                  <a:cubicBezTo>
                    <a:pt x="5822156" y="229076"/>
                    <a:pt x="5822156" y="226219"/>
                    <a:pt x="5821204" y="223361"/>
                  </a:cubicBezTo>
                  <a:cubicBezTo>
                    <a:pt x="5820251" y="222409"/>
                    <a:pt x="5819299" y="220504"/>
                    <a:pt x="5818346" y="219551"/>
                  </a:cubicBezTo>
                  <a:cubicBezTo>
                    <a:pt x="5817394" y="218599"/>
                    <a:pt x="5815489" y="217646"/>
                    <a:pt x="5813584" y="217646"/>
                  </a:cubicBezTo>
                  <a:lnTo>
                    <a:pt x="5811679" y="217646"/>
                  </a:lnTo>
                  <a:lnTo>
                    <a:pt x="5811679" y="219551"/>
                  </a:lnTo>
                  <a:cubicBezTo>
                    <a:pt x="5809774" y="228124"/>
                    <a:pt x="5806917" y="237649"/>
                    <a:pt x="5805012" y="246221"/>
                  </a:cubicBezTo>
                  <a:cubicBezTo>
                    <a:pt x="5804059" y="250031"/>
                    <a:pt x="5804059" y="252889"/>
                    <a:pt x="5803106" y="256699"/>
                  </a:cubicBezTo>
                  <a:cubicBezTo>
                    <a:pt x="5801201" y="258604"/>
                    <a:pt x="5799296" y="261461"/>
                    <a:pt x="5796439" y="264319"/>
                  </a:cubicBezTo>
                  <a:cubicBezTo>
                    <a:pt x="5796439" y="259556"/>
                    <a:pt x="5795487" y="256699"/>
                    <a:pt x="5795487" y="253841"/>
                  </a:cubicBezTo>
                  <a:cubicBezTo>
                    <a:pt x="5794534" y="250031"/>
                    <a:pt x="5794534" y="248126"/>
                    <a:pt x="5794534" y="248126"/>
                  </a:cubicBezTo>
                  <a:cubicBezTo>
                    <a:pt x="5794534" y="248126"/>
                    <a:pt x="5794534" y="250031"/>
                    <a:pt x="5794534" y="253841"/>
                  </a:cubicBezTo>
                  <a:cubicBezTo>
                    <a:pt x="5794534" y="257651"/>
                    <a:pt x="5794534" y="262414"/>
                    <a:pt x="5793581" y="268129"/>
                  </a:cubicBezTo>
                  <a:cubicBezTo>
                    <a:pt x="5792629" y="269081"/>
                    <a:pt x="5792629" y="269081"/>
                    <a:pt x="5791676" y="270034"/>
                  </a:cubicBezTo>
                  <a:cubicBezTo>
                    <a:pt x="5791676" y="270034"/>
                    <a:pt x="5791676" y="270034"/>
                    <a:pt x="5791676" y="270034"/>
                  </a:cubicBezTo>
                  <a:lnTo>
                    <a:pt x="5787867" y="239554"/>
                  </a:lnTo>
                  <a:cubicBezTo>
                    <a:pt x="5791676" y="229076"/>
                    <a:pt x="5793581" y="224314"/>
                    <a:pt x="5793581" y="224314"/>
                  </a:cubicBezTo>
                  <a:cubicBezTo>
                    <a:pt x="5793581" y="224314"/>
                    <a:pt x="5791676" y="228124"/>
                    <a:pt x="5786914" y="234791"/>
                  </a:cubicBezTo>
                  <a:lnTo>
                    <a:pt x="5785009" y="205264"/>
                  </a:lnTo>
                  <a:cubicBezTo>
                    <a:pt x="5788819" y="197644"/>
                    <a:pt x="5791676" y="190024"/>
                    <a:pt x="5795487" y="183356"/>
                  </a:cubicBezTo>
                  <a:cubicBezTo>
                    <a:pt x="5795487" y="183356"/>
                    <a:pt x="5795487" y="184309"/>
                    <a:pt x="5795487" y="184309"/>
                  </a:cubicBezTo>
                  <a:cubicBezTo>
                    <a:pt x="5795487" y="184309"/>
                    <a:pt x="5795487" y="183356"/>
                    <a:pt x="5795487" y="183356"/>
                  </a:cubicBezTo>
                  <a:cubicBezTo>
                    <a:pt x="5796439" y="181451"/>
                    <a:pt x="5797392" y="179546"/>
                    <a:pt x="5797392" y="178594"/>
                  </a:cubicBezTo>
                  <a:cubicBezTo>
                    <a:pt x="5803106" y="165259"/>
                    <a:pt x="5808821" y="153829"/>
                    <a:pt x="5812631" y="145256"/>
                  </a:cubicBezTo>
                  <a:cubicBezTo>
                    <a:pt x="5821204" y="126206"/>
                    <a:pt x="5825967" y="115729"/>
                    <a:pt x="5825967" y="115729"/>
                  </a:cubicBezTo>
                  <a:cubicBezTo>
                    <a:pt x="5825967" y="115729"/>
                    <a:pt x="5820251" y="125254"/>
                    <a:pt x="5809774" y="143351"/>
                  </a:cubicBezTo>
                  <a:cubicBezTo>
                    <a:pt x="5805012" y="151924"/>
                    <a:pt x="5798344" y="162401"/>
                    <a:pt x="5791676" y="173831"/>
                  </a:cubicBezTo>
                  <a:cubicBezTo>
                    <a:pt x="5790724" y="172879"/>
                    <a:pt x="5789771" y="171926"/>
                    <a:pt x="5788819" y="170974"/>
                  </a:cubicBezTo>
                  <a:cubicBezTo>
                    <a:pt x="5786914" y="170021"/>
                    <a:pt x="5785009" y="169069"/>
                    <a:pt x="5783104" y="169069"/>
                  </a:cubicBezTo>
                  <a:lnTo>
                    <a:pt x="5781199" y="169069"/>
                  </a:lnTo>
                  <a:lnTo>
                    <a:pt x="5781199" y="170974"/>
                  </a:lnTo>
                  <a:lnTo>
                    <a:pt x="5777389" y="197644"/>
                  </a:lnTo>
                  <a:cubicBezTo>
                    <a:pt x="5774531" y="204311"/>
                    <a:pt x="5770721" y="210026"/>
                    <a:pt x="5766912" y="217646"/>
                  </a:cubicBezTo>
                  <a:cubicBezTo>
                    <a:pt x="5762149" y="226219"/>
                    <a:pt x="5757387" y="234791"/>
                    <a:pt x="5752624" y="244316"/>
                  </a:cubicBezTo>
                  <a:cubicBezTo>
                    <a:pt x="5752624" y="240506"/>
                    <a:pt x="5751671" y="236696"/>
                    <a:pt x="5751671" y="233839"/>
                  </a:cubicBezTo>
                  <a:cubicBezTo>
                    <a:pt x="5750719" y="228124"/>
                    <a:pt x="5749767" y="222409"/>
                    <a:pt x="5749767" y="216694"/>
                  </a:cubicBezTo>
                  <a:cubicBezTo>
                    <a:pt x="5754529" y="199549"/>
                    <a:pt x="5757387" y="190024"/>
                    <a:pt x="5757387" y="190024"/>
                  </a:cubicBezTo>
                  <a:cubicBezTo>
                    <a:pt x="5757387" y="190024"/>
                    <a:pt x="5754529" y="197644"/>
                    <a:pt x="5749767" y="210979"/>
                  </a:cubicBezTo>
                  <a:cubicBezTo>
                    <a:pt x="5749767" y="209074"/>
                    <a:pt x="5748814" y="206216"/>
                    <a:pt x="5748814" y="204311"/>
                  </a:cubicBezTo>
                  <a:cubicBezTo>
                    <a:pt x="5746909" y="188119"/>
                    <a:pt x="5745004" y="178594"/>
                    <a:pt x="5745004" y="178594"/>
                  </a:cubicBezTo>
                  <a:cubicBezTo>
                    <a:pt x="5745004" y="178594"/>
                    <a:pt x="5745004" y="188119"/>
                    <a:pt x="5745004" y="204311"/>
                  </a:cubicBezTo>
                  <a:cubicBezTo>
                    <a:pt x="5745004" y="210026"/>
                    <a:pt x="5745004" y="215741"/>
                    <a:pt x="5745004" y="222409"/>
                  </a:cubicBezTo>
                  <a:cubicBezTo>
                    <a:pt x="5745004" y="223361"/>
                    <a:pt x="5744051" y="224314"/>
                    <a:pt x="5744051" y="225266"/>
                  </a:cubicBezTo>
                  <a:cubicBezTo>
                    <a:pt x="5740242" y="234791"/>
                    <a:pt x="5736431" y="247174"/>
                    <a:pt x="5731669" y="259556"/>
                  </a:cubicBezTo>
                  <a:cubicBezTo>
                    <a:pt x="5731669" y="259556"/>
                    <a:pt x="5731669" y="258604"/>
                    <a:pt x="5731669" y="258604"/>
                  </a:cubicBezTo>
                  <a:cubicBezTo>
                    <a:pt x="5733574" y="245269"/>
                    <a:pt x="5734526" y="238601"/>
                    <a:pt x="5734526" y="238601"/>
                  </a:cubicBezTo>
                  <a:cubicBezTo>
                    <a:pt x="5734526" y="238601"/>
                    <a:pt x="5732621" y="246221"/>
                    <a:pt x="5727859" y="258604"/>
                  </a:cubicBezTo>
                  <a:cubicBezTo>
                    <a:pt x="5726906" y="260509"/>
                    <a:pt x="5726906" y="262414"/>
                    <a:pt x="5725954" y="264319"/>
                  </a:cubicBezTo>
                  <a:cubicBezTo>
                    <a:pt x="5725954" y="264319"/>
                    <a:pt x="5725954" y="263366"/>
                    <a:pt x="5725954" y="263366"/>
                  </a:cubicBezTo>
                  <a:cubicBezTo>
                    <a:pt x="5725954" y="263366"/>
                    <a:pt x="5725954" y="262414"/>
                    <a:pt x="5725954" y="262414"/>
                  </a:cubicBezTo>
                  <a:cubicBezTo>
                    <a:pt x="5725954" y="260509"/>
                    <a:pt x="5726906" y="258604"/>
                    <a:pt x="5726906" y="256699"/>
                  </a:cubicBezTo>
                  <a:cubicBezTo>
                    <a:pt x="5727859" y="251936"/>
                    <a:pt x="5728812" y="247174"/>
                    <a:pt x="5729764" y="242411"/>
                  </a:cubicBezTo>
                  <a:cubicBezTo>
                    <a:pt x="5730717" y="237649"/>
                    <a:pt x="5731669" y="233839"/>
                    <a:pt x="5732621" y="230029"/>
                  </a:cubicBezTo>
                  <a:cubicBezTo>
                    <a:pt x="5734526" y="222409"/>
                    <a:pt x="5736431" y="215741"/>
                    <a:pt x="5737384" y="210026"/>
                  </a:cubicBezTo>
                  <a:cubicBezTo>
                    <a:pt x="5740242" y="198596"/>
                    <a:pt x="5741194" y="191929"/>
                    <a:pt x="5741194" y="191929"/>
                  </a:cubicBezTo>
                  <a:cubicBezTo>
                    <a:pt x="5741194" y="191929"/>
                    <a:pt x="5740242" y="193834"/>
                    <a:pt x="5739289" y="196691"/>
                  </a:cubicBezTo>
                  <a:cubicBezTo>
                    <a:pt x="5740242" y="192881"/>
                    <a:pt x="5740242" y="190024"/>
                    <a:pt x="5740242" y="190024"/>
                  </a:cubicBezTo>
                  <a:cubicBezTo>
                    <a:pt x="5740242" y="190024"/>
                    <a:pt x="5737384" y="197644"/>
                    <a:pt x="5731669" y="211931"/>
                  </a:cubicBezTo>
                  <a:cubicBezTo>
                    <a:pt x="5730717" y="215741"/>
                    <a:pt x="5728812" y="219551"/>
                    <a:pt x="5726906" y="224314"/>
                  </a:cubicBezTo>
                  <a:cubicBezTo>
                    <a:pt x="5725954" y="225266"/>
                    <a:pt x="5725954" y="227171"/>
                    <a:pt x="5725001" y="228124"/>
                  </a:cubicBezTo>
                  <a:cubicBezTo>
                    <a:pt x="5723096" y="231934"/>
                    <a:pt x="5722144" y="235744"/>
                    <a:pt x="5720239" y="240506"/>
                  </a:cubicBezTo>
                  <a:cubicBezTo>
                    <a:pt x="5719287" y="243364"/>
                    <a:pt x="5718334" y="246221"/>
                    <a:pt x="5717381" y="250031"/>
                  </a:cubicBezTo>
                  <a:cubicBezTo>
                    <a:pt x="5716429" y="251936"/>
                    <a:pt x="5716429" y="252889"/>
                    <a:pt x="5715476" y="254794"/>
                  </a:cubicBezTo>
                  <a:cubicBezTo>
                    <a:pt x="5713571" y="260509"/>
                    <a:pt x="5711667" y="266224"/>
                    <a:pt x="5709762" y="272891"/>
                  </a:cubicBezTo>
                  <a:cubicBezTo>
                    <a:pt x="5707856" y="278606"/>
                    <a:pt x="5705951" y="284321"/>
                    <a:pt x="5704046" y="290989"/>
                  </a:cubicBezTo>
                  <a:cubicBezTo>
                    <a:pt x="5701189" y="285274"/>
                    <a:pt x="5699284" y="280511"/>
                    <a:pt x="5696426" y="275749"/>
                  </a:cubicBezTo>
                  <a:cubicBezTo>
                    <a:pt x="5695474" y="271939"/>
                    <a:pt x="5695474" y="269081"/>
                    <a:pt x="5695474" y="269081"/>
                  </a:cubicBezTo>
                  <a:cubicBezTo>
                    <a:pt x="5695474" y="269081"/>
                    <a:pt x="5695474" y="270034"/>
                    <a:pt x="5695474" y="272891"/>
                  </a:cubicBezTo>
                  <a:cubicBezTo>
                    <a:pt x="5692617" y="268129"/>
                    <a:pt x="5690712" y="263366"/>
                    <a:pt x="5688806" y="259556"/>
                  </a:cubicBezTo>
                  <a:cubicBezTo>
                    <a:pt x="5683092" y="249079"/>
                    <a:pt x="5680234" y="243364"/>
                    <a:pt x="5680234" y="243364"/>
                  </a:cubicBezTo>
                  <a:cubicBezTo>
                    <a:pt x="5680234" y="243364"/>
                    <a:pt x="5682139" y="250031"/>
                    <a:pt x="5684996" y="260509"/>
                  </a:cubicBezTo>
                  <a:cubicBezTo>
                    <a:pt x="5687854" y="269081"/>
                    <a:pt x="5690712" y="279559"/>
                    <a:pt x="5694521" y="292894"/>
                  </a:cubicBezTo>
                  <a:cubicBezTo>
                    <a:pt x="5694521" y="297656"/>
                    <a:pt x="5694521" y="302419"/>
                    <a:pt x="5694521" y="309086"/>
                  </a:cubicBezTo>
                  <a:cubicBezTo>
                    <a:pt x="5694521" y="313849"/>
                    <a:pt x="5694521" y="318611"/>
                    <a:pt x="5694521" y="323374"/>
                  </a:cubicBezTo>
                  <a:cubicBezTo>
                    <a:pt x="5693569" y="326231"/>
                    <a:pt x="5692617" y="329089"/>
                    <a:pt x="5691664" y="331946"/>
                  </a:cubicBezTo>
                  <a:cubicBezTo>
                    <a:pt x="5690712" y="330994"/>
                    <a:pt x="5690712" y="330041"/>
                    <a:pt x="5689759" y="329089"/>
                  </a:cubicBezTo>
                  <a:lnTo>
                    <a:pt x="5689759" y="320516"/>
                  </a:lnTo>
                  <a:cubicBezTo>
                    <a:pt x="5688806" y="309086"/>
                    <a:pt x="5688806" y="297656"/>
                    <a:pt x="5687854" y="286226"/>
                  </a:cubicBezTo>
                  <a:cubicBezTo>
                    <a:pt x="5686901" y="297656"/>
                    <a:pt x="5685949" y="308134"/>
                    <a:pt x="5684996" y="319564"/>
                  </a:cubicBezTo>
                  <a:cubicBezTo>
                    <a:pt x="5684044" y="317659"/>
                    <a:pt x="5683092" y="315754"/>
                    <a:pt x="5681187" y="312896"/>
                  </a:cubicBezTo>
                  <a:cubicBezTo>
                    <a:pt x="5679281" y="299561"/>
                    <a:pt x="5677376" y="286226"/>
                    <a:pt x="5675471" y="273844"/>
                  </a:cubicBezTo>
                  <a:cubicBezTo>
                    <a:pt x="5674519" y="267176"/>
                    <a:pt x="5673567" y="260509"/>
                    <a:pt x="5672614" y="253841"/>
                  </a:cubicBezTo>
                  <a:cubicBezTo>
                    <a:pt x="5671662" y="247174"/>
                    <a:pt x="5671662" y="241459"/>
                    <a:pt x="5670709" y="235744"/>
                  </a:cubicBezTo>
                  <a:cubicBezTo>
                    <a:pt x="5669756" y="224314"/>
                    <a:pt x="5668804" y="214789"/>
                    <a:pt x="5667851" y="207169"/>
                  </a:cubicBezTo>
                  <a:cubicBezTo>
                    <a:pt x="5666899" y="198596"/>
                    <a:pt x="5665946" y="192881"/>
                    <a:pt x="5665946" y="188119"/>
                  </a:cubicBezTo>
                  <a:cubicBezTo>
                    <a:pt x="5666899" y="185261"/>
                    <a:pt x="5666899" y="183356"/>
                    <a:pt x="5666899" y="183356"/>
                  </a:cubicBezTo>
                  <a:cubicBezTo>
                    <a:pt x="5666899" y="183356"/>
                    <a:pt x="5665946" y="184309"/>
                    <a:pt x="5665946" y="186214"/>
                  </a:cubicBezTo>
                  <a:cubicBezTo>
                    <a:pt x="5665946" y="183356"/>
                    <a:pt x="5664994" y="181451"/>
                    <a:pt x="5664994" y="181451"/>
                  </a:cubicBezTo>
                  <a:cubicBezTo>
                    <a:pt x="5664994" y="181451"/>
                    <a:pt x="5664994" y="184309"/>
                    <a:pt x="5664994" y="188119"/>
                  </a:cubicBezTo>
                  <a:cubicBezTo>
                    <a:pt x="5663089" y="192881"/>
                    <a:pt x="5659279" y="201454"/>
                    <a:pt x="5654517" y="211931"/>
                  </a:cubicBezTo>
                  <a:cubicBezTo>
                    <a:pt x="5654517" y="210026"/>
                    <a:pt x="5654517" y="207169"/>
                    <a:pt x="5653564" y="205264"/>
                  </a:cubicBezTo>
                  <a:cubicBezTo>
                    <a:pt x="5652612" y="199549"/>
                    <a:pt x="5652612" y="193834"/>
                    <a:pt x="5652612" y="189071"/>
                  </a:cubicBezTo>
                  <a:cubicBezTo>
                    <a:pt x="5655469" y="183356"/>
                    <a:pt x="5657374" y="179546"/>
                    <a:pt x="5657374" y="179546"/>
                  </a:cubicBezTo>
                  <a:cubicBezTo>
                    <a:pt x="5657374" y="179546"/>
                    <a:pt x="5655469" y="182404"/>
                    <a:pt x="5652612" y="187166"/>
                  </a:cubicBezTo>
                  <a:cubicBezTo>
                    <a:pt x="5652612" y="186214"/>
                    <a:pt x="5652612" y="186214"/>
                    <a:pt x="5652612" y="185261"/>
                  </a:cubicBezTo>
                  <a:cubicBezTo>
                    <a:pt x="5651659" y="173831"/>
                    <a:pt x="5651659" y="167164"/>
                    <a:pt x="5651659" y="167164"/>
                  </a:cubicBezTo>
                  <a:cubicBezTo>
                    <a:pt x="5651659" y="167164"/>
                    <a:pt x="5650706" y="171926"/>
                    <a:pt x="5649754" y="179546"/>
                  </a:cubicBezTo>
                  <a:cubicBezTo>
                    <a:pt x="5649754" y="179546"/>
                    <a:pt x="5649754" y="178594"/>
                    <a:pt x="5649754" y="178594"/>
                  </a:cubicBezTo>
                  <a:cubicBezTo>
                    <a:pt x="5648801" y="171926"/>
                    <a:pt x="5648801" y="166211"/>
                    <a:pt x="5647849" y="159544"/>
                  </a:cubicBezTo>
                  <a:cubicBezTo>
                    <a:pt x="5647849" y="153829"/>
                    <a:pt x="5646896" y="148114"/>
                    <a:pt x="5646896" y="142399"/>
                  </a:cubicBezTo>
                  <a:cubicBezTo>
                    <a:pt x="5645944" y="131921"/>
                    <a:pt x="5644992" y="122396"/>
                    <a:pt x="5645944" y="114776"/>
                  </a:cubicBezTo>
                  <a:cubicBezTo>
                    <a:pt x="5645944" y="99536"/>
                    <a:pt x="5644992" y="90011"/>
                    <a:pt x="5644992" y="90011"/>
                  </a:cubicBezTo>
                  <a:cubicBezTo>
                    <a:pt x="5644992" y="90011"/>
                    <a:pt x="5644039" y="98584"/>
                    <a:pt x="5641181" y="113824"/>
                  </a:cubicBezTo>
                  <a:cubicBezTo>
                    <a:pt x="5640229" y="121444"/>
                    <a:pt x="5639276" y="130969"/>
                    <a:pt x="5639276" y="141446"/>
                  </a:cubicBezTo>
                  <a:cubicBezTo>
                    <a:pt x="5639276" y="147161"/>
                    <a:pt x="5638324" y="152876"/>
                    <a:pt x="5638324" y="158591"/>
                  </a:cubicBezTo>
                  <a:cubicBezTo>
                    <a:pt x="5638324" y="164306"/>
                    <a:pt x="5638324" y="170974"/>
                    <a:pt x="5638324" y="177641"/>
                  </a:cubicBezTo>
                  <a:cubicBezTo>
                    <a:pt x="5638324" y="186214"/>
                    <a:pt x="5638324" y="195739"/>
                    <a:pt x="5639276" y="205264"/>
                  </a:cubicBezTo>
                  <a:cubicBezTo>
                    <a:pt x="5638324" y="206216"/>
                    <a:pt x="5638324" y="207169"/>
                    <a:pt x="5637371" y="208121"/>
                  </a:cubicBezTo>
                  <a:cubicBezTo>
                    <a:pt x="5637371" y="208121"/>
                    <a:pt x="5636419" y="209074"/>
                    <a:pt x="5636419" y="209074"/>
                  </a:cubicBezTo>
                  <a:cubicBezTo>
                    <a:pt x="5636419" y="208121"/>
                    <a:pt x="5636419" y="208121"/>
                    <a:pt x="5636419" y="208121"/>
                  </a:cubicBezTo>
                  <a:cubicBezTo>
                    <a:pt x="5636419" y="208121"/>
                    <a:pt x="5636419" y="208121"/>
                    <a:pt x="5636419" y="209074"/>
                  </a:cubicBezTo>
                  <a:cubicBezTo>
                    <a:pt x="5635467" y="210979"/>
                    <a:pt x="5633562" y="212884"/>
                    <a:pt x="5631656" y="215741"/>
                  </a:cubicBezTo>
                  <a:cubicBezTo>
                    <a:pt x="5628799" y="201454"/>
                    <a:pt x="5626894" y="192881"/>
                    <a:pt x="5626894" y="192881"/>
                  </a:cubicBezTo>
                  <a:cubicBezTo>
                    <a:pt x="5626894" y="192881"/>
                    <a:pt x="5626894" y="204311"/>
                    <a:pt x="5626894" y="222409"/>
                  </a:cubicBezTo>
                  <a:cubicBezTo>
                    <a:pt x="5626894" y="222409"/>
                    <a:pt x="5626894" y="222409"/>
                    <a:pt x="5626894" y="223361"/>
                  </a:cubicBezTo>
                  <a:cubicBezTo>
                    <a:pt x="5624037" y="219551"/>
                    <a:pt x="5621179" y="215741"/>
                    <a:pt x="5618321" y="211931"/>
                  </a:cubicBezTo>
                  <a:cubicBezTo>
                    <a:pt x="5608796" y="199549"/>
                    <a:pt x="5601176" y="189071"/>
                    <a:pt x="5593556" y="181451"/>
                  </a:cubicBezTo>
                  <a:cubicBezTo>
                    <a:pt x="5579269" y="165259"/>
                    <a:pt x="5570696" y="155734"/>
                    <a:pt x="5570696" y="155734"/>
                  </a:cubicBezTo>
                  <a:cubicBezTo>
                    <a:pt x="5570696" y="155734"/>
                    <a:pt x="5577364" y="166211"/>
                    <a:pt x="5590699" y="184309"/>
                  </a:cubicBezTo>
                  <a:cubicBezTo>
                    <a:pt x="5597367" y="192881"/>
                    <a:pt x="5604034" y="204311"/>
                    <a:pt x="5612606" y="217646"/>
                  </a:cubicBezTo>
                  <a:cubicBezTo>
                    <a:pt x="5613559" y="219551"/>
                    <a:pt x="5614512" y="221456"/>
                    <a:pt x="5616417" y="223361"/>
                  </a:cubicBezTo>
                  <a:cubicBezTo>
                    <a:pt x="5617369" y="226219"/>
                    <a:pt x="5618321" y="230029"/>
                    <a:pt x="5620226" y="233839"/>
                  </a:cubicBezTo>
                  <a:cubicBezTo>
                    <a:pt x="5620226" y="233839"/>
                    <a:pt x="5620226" y="233839"/>
                    <a:pt x="5620226" y="234791"/>
                  </a:cubicBezTo>
                  <a:cubicBezTo>
                    <a:pt x="5619274" y="236696"/>
                    <a:pt x="5618321" y="238601"/>
                    <a:pt x="5616417" y="241459"/>
                  </a:cubicBezTo>
                  <a:cubicBezTo>
                    <a:pt x="5616417" y="241459"/>
                    <a:pt x="5616417" y="240506"/>
                    <a:pt x="5616417" y="240506"/>
                  </a:cubicBezTo>
                  <a:cubicBezTo>
                    <a:pt x="5616417" y="240506"/>
                    <a:pt x="5616417" y="240506"/>
                    <a:pt x="5616417" y="241459"/>
                  </a:cubicBezTo>
                  <a:cubicBezTo>
                    <a:pt x="5615464" y="242411"/>
                    <a:pt x="5614512" y="244316"/>
                    <a:pt x="5614512" y="245269"/>
                  </a:cubicBezTo>
                  <a:cubicBezTo>
                    <a:pt x="5608796" y="255746"/>
                    <a:pt x="5602129" y="267176"/>
                    <a:pt x="5594509" y="280511"/>
                  </a:cubicBezTo>
                  <a:cubicBezTo>
                    <a:pt x="5594509" y="278606"/>
                    <a:pt x="5594509" y="277654"/>
                    <a:pt x="5594509" y="275749"/>
                  </a:cubicBezTo>
                  <a:cubicBezTo>
                    <a:pt x="5594509" y="272891"/>
                    <a:pt x="5594509" y="270986"/>
                    <a:pt x="5594509" y="268129"/>
                  </a:cubicBezTo>
                  <a:cubicBezTo>
                    <a:pt x="5595462" y="260509"/>
                    <a:pt x="5596414" y="256699"/>
                    <a:pt x="5596414" y="256699"/>
                  </a:cubicBezTo>
                  <a:cubicBezTo>
                    <a:pt x="5596414" y="256699"/>
                    <a:pt x="5595462" y="258604"/>
                    <a:pt x="5594509" y="263366"/>
                  </a:cubicBezTo>
                  <a:cubicBezTo>
                    <a:pt x="5594509" y="263366"/>
                    <a:pt x="5594509" y="262414"/>
                    <a:pt x="5594509" y="262414"/>
                  </a:cubicBezTo>
                  <a:cubicBezTo>
                    <a:pt x="5593556" y="257651"/>
                    <a:pt x="5593556" y="253841"/>
                    <a:pt x="5592604" y="250031"/>
                  </a:cubicBezTo>
                  <a:cubicBezTo>
                    <a:pt x="5591651" y="243364"/>
                    <a:pt x="5590699" y="238601"/>
                    <a:pt x="5590699" y="232886"/>
                  </a:cubicBezTo>
                  <a:cubicBezTo>
                    <a:pt x="5594509" y="223361"/>
                    <a:pt x="5596414" y="217646"/>
                    <a:pt x="5596414" y="217646"/>
                  </a:cubicBezTo>
                  <a:cubicBezTo>
                    <a:pt x="5596414" y="217646"/>
                    <a:pt x="5593556" y="221456"/>
                    <a:pt x="5589746" y="230029"/>
                  </a:cubicBezTo>
                  <a:cubicBezTo>
                    <a:pt x="5589746" y="230029"/>
                    <a:pt x="5589746" y="230029"/>
                    <a:pt x="5589746" y="230029"/>
                  </a:cubicBezTo>
                  <a:cubicBezTo>
                    <a:pt x="5587842" y="218599"/>
                    <a:pt x="5586889" y="211931"/>
                    <a:pt x="5586889" y="211931"/>
                  </a:cubicBezTo>
                  <a:cubicBezTo>
                    <a:pt x="5586889" y="211931"/>
                    <a:pt x="5585937" y="218599"/>
                    <a:pt x="5585937" y="230029"/>
                  </a:cubicBezTo>
                  <a:cubicBezTo>
                    <a:pt x="5585937" y="230029"/>
                    <a:pt x="5585937" y="230981"/>
                    <a:pt x="5585937" y="230981"/>
                  </a:cubicBezTo>
                  <a:cubicBezTo>
                    <a:pt x="5584984" y="225266"/>
                    <a:pt x="5584031" y="219551"/>
                    <a:pt x="5583079" y="213836"/>
                  </a:cubicBezTo>
                  <a:cubicBezTo>
                    <a:pt x="5583079" y="223361"/>
                    <a:pt x="5583079" y="232886"/>
                    <a:pt x="5583079" y="242411"/>
                  </a:cubicBezTo>
                  <a:cubicBezTo>
                    <a:pt x="5582126" y="243364"/>
                    <a:pt x="5582126" y="245269"/>
                    <a:pt x="5581174" y="246221"/>
                  </a:cubicBezTo>
                  <a:cubicBezTo>
                    <a:pt x="5580221" y="247174"/>
                    <a:pt x="5579269" y="249079"/>
                    <a:pt x="5579269" y="250031"/>
                  </a:cubicBezTo>
                  <a:cubicBezTo>
                    <a:pt x="5576412" y="235744"/>
                    <a:pt x="5574506" y="221456"/>
                    <a:pt x="5571649" y="209074"/>
                  </a:cubicBezTo>
                  <a:cubicBezTo>
                    <a:pt x="5570696" y="202406"/>
                    <a:pt x="5568792" y="194786"/>
                    <a:pt x="5567839" y="189071"/>
                  </a:cubicBezTo>
                  <a:cubicBezTo>
                    <a:pt x="5565934" y="182404"/>
                    <a:pt x="5564981" y="176689"/>
                    <a:pt x="5563076" y="170974"/>
                  </a:cubicBezTo>
                  <a:cubicBezTo>
                    <a:pt x="5560219" y="159544"/>
                    <a:pt x="5557362" y="150019"/>
                    <a:pt x="5555456" y="141446"/>
                  </a:cubicBezTo>
                  <a:cubicBezTo>
                    <a:pt x="5550694" y="125254"/>
                    <a:pt x="5548789" y="115729"/>
                    <a:pt x="5548789" y="115729"/>
                  </a:cubicBezTo>
                  <a:cubicBezTo>
                    <a:pt x="5548789" y="115729"/>
                    <a:pt x="5549742" y="125254"/>
                    <a:pt x="5551646" y="142399"/>
                  </a:cubicBezTo>
                  <a:cubicBezTo>
                    <a:pt x="5552599" y="150971"/>
                    <a:pt x="5554504" y="160496"/>
                    <a:pt x="5555456" y="172879"/>
                  </a:cubicBezTo>
                  <a:cubicBezTo>
                    <a:pt x="5556409" y="178594"/>
                    <a:pt x="5557362" y="185261"/>
                    <a:pt x="5558314" y="190976"/>
                  </a:cubicBezTo>
                  <a:cubicBezTo>
                    <a:pt x="5559267" y="197644"/>
                    <a:pt x="5559267" y="204311"/>
                    <a:pt x="5560219" y="211931"/>
                  </a:cubicBezTo>
                  <a:cubicBezTo>
                    <a:pt x="5561171" y="226219"/>
                    <a:pt x="5563076" y="241459"/>
                    <a:pt x="5564981" y="257651"/>
                  </a:cubicBezTo>
                  <a:cubicBezTo>
                    <a:pt x="5565934" y="263366"/>
                    <a:pt x="5565934" y="269081"/>
                    <a:pt x="5565934" y="274796"/>
                  </a:cubicBezTo>
                  <a:cubicBezTo>
                    <a:pt x="5564981" y="275749"/>
                    <a:pt x="5564981" y="277654"/>
                    <a:pt x="5564029" y="278606"/>
                  </a:cubicBezTo>
                  <a:cubicBezTo>
                    <a:pt x="5563076" y="280511"/>
                    <a:pt x="5562124" y="282416"/>
                    <a:pt x="5561171" y="284321"/>
                  </a:cubicBezTo>
                  <a:cubicBezTo>
                    <a:pt x="5557362" y="277654"/>
                    <a:pt x="5553551" y="270034"/>
                    <a:pt x="5549742" y="264319"/>
                  </a:cubicBezTo>
                  <a:cubicBezTo>
                    <a:pt x="5549742" y="263366"/>
                    <a:pt x="5548789" y="262414"/>
                    <a:pt x="5548789" y="261461"/>
                  </a:cubicBezTo>
                  <a:cubicBezTo>
                    <a:pt x="5546884" y="255746"/>
                    <a:pt x="5545931" y="250984"/>
                    <a:pt x="5544026" y="247174"/>
                  </a:cubicBezTo>
                  <a:cubicBezTo>
                    <a:pt x="5545931" y="234791"/>
                    <a:pt x="5547837" y="228124"/>
                    <a:pt x="5547837" y="228124"/>
                  </a:cubicBezTo>
                  <a:cubicBezTo>
                    <a:pt x="5547837" y="228124"/>
                    <a:pt x="5545931" y="232886"/>
                    <a:pt x="5542121" y="241459"/>
                  </a:cubicBezTo>
                  <a:cubicBezTo>
                    <a:pt x="5542121" y="240506"/>
                    <a:pt x="5541169" y="239554"/>
                    <a:pt x="5541169" y="238601"/>
                  </a:cubicBezTo>
                  <a:cubicBezTo>
                    <a:pt x="5540217" y="235744"/>
                    <a:pt x="5539264" y="232886"/>
                    <a:pt x="5538312" y="230029"/>
                  </a:cubicBezTo>
                  <a:cubicBezTo>
                    <a:pt x="5546884" y="192881"/>
                    <a:pt x="5551646" y="167164"/>
                    <a:pt x="5551646" y="167164"/>
                  </a:cubicBezTo>
                  <a:cubicBezTo>
                    <a:pt x="5551646" y="167164"/>
                    <a:pt x="5542121" y="190024"/>
                    <a:pt x="5528787" y="225266"/>
                  </a:cubicBezTo>
                  <a:cubicBezTo>
                    <a:pt x="5526881" y="221456"/>
                    <a:pt x="5524976" y="219551"/>
                    <a:pt x="5524976" y="217646"/>
                  </a:cubicBezTo>
                  <a:cubicBezTo>
                    <a:pt x="5524024" y="213836"/>
                    <a:pt x="5524024" y="210026"/>
                    <a:pt x="5524024" y="207169"/>
                  </a:cubicBezTo>
                  <a:cubicBezTo>
                    <a:pt x="5522119" y="192881"/>
                    <a:pt x="5521167" y="185261"/>
                    <a:pt x="5521167" y="185261"/>
                  </a:cubicBezTo>
                  <a:cubicBezTo>
                    <a:pt x="5521167" y="185261"/>
                    <a:pt x="5521167" y="192881"/>
                    <a:pt x="5520214" y="207169"/>
                  </a:cubicBezTo>
                  <a:cubicBezTo>
                    <a:pt x="5520214" y="213836"/>
                    <a:pt x="5520214" y="222409"/>
                    <a:pt x="5520214" y="232886"/>
                  </a:cubicBezTo>
                  <a:cubicBezTo>
                    <a:pt x="5520214" y="237649"/>
                    <a:pt x="5520214" y="243364"/>
                    <a:pt x="5520214" y="248126"/>
                  </a:cubicBezTo>
                  <a:cubicBezTo>
                    <a:pt x="5520214" y="249079"/>
                    <a:pt x="5520214" y="250031"/>
                    <a:pt x="5520214" y="250984"/>
                  </a:cubicBezTo>
                  <a:cubicBezTo>
                    <a:pt x="5515451" y="264319"/>
                    <a:pt x="5510689" y="277654"/>
                    <a:pt x="5505926" y="291941"/>
                  </a:cubicBezTo>
                  <a:cubicBezTo>
                    <a:pt x="5504974" y="294799"/>
                    <a:pt x="5504021" y="297656"/>
                    <a:pt x="5503069" y="300514"/>
                  </a:cubicBezTo>
                  <a:cubicBezTo>
                    <a:pt x="5501164" y="297656"/>
                    <a:pt x="5500212" y="293846"/>
                    <a:pt x="5498306" y="290989"/>
                  </a:cubicBezTo>
                  <a:cubicBezTo>
                    <a:pt x="5498306" y="289084"/>
                    <a:pt x="5498306" y="287179"/>
                    <a:pt x="5498306" y="285274"/>
                  </a:cubicBezTo>
                  <a:cubicBezTo>
                    <a:pt x="5499259" y="274796"/>
                    <a:pt x="5499259" y="269081"/>
                    <a:pt x="5499259" y="269081"/>
                  </a:cubicBezTo>
                  <a:cubicBezTo>
                    <a:pt x="5499259" y="269081"/>
                    <a:pt x="5497354" y="274796"/>
                    <a:pt x="5494496" y="284321"/>
                  </a:cubicBezTo>
                  <a:cubicBezTo>
                    <a:pt x="5489734" y="273844"/>
                    <a:pt x="5484971" y="265271"/>
                    <a:pt x="5481162" y="257651"/>
                  </a:cubicBezTo>
                  <a:cubicBezTo>
                    <a:pt x="5482114" y="255746"/>
                    <a:pt x="5482114" y="253841"/>
                    <a:pt x="5483067" y="251936"/>
                  </a:cubicBezTo>
                  <a:cubicBezTo>
                    <a:pt x="5486876" y="241459"/>
                    <a:pt x="5489734" y="231934"/>
                    <a:pt x="5492592" y="224314"/>
                  </a:cubicBezTo>
                  <a:cubicBezTo>
                    <a:pt x="5497354" y="209074"/>
                    <a:pt x="5500212" y="200501"/>
                    <a:pt x="5500212" y="200501"/>
                  </a:cubicBezTo>
                  <a:cubicBezTo>
                    <a:pt x="5500212" y="200501"/>
                    <a:pt x="5498306" y="205264"/>
                    <a:pt x="5493544" y="212884"/>
                  </a:cubicBezTo>
                  <a:cubicBezTo>
                    <a:pt x="5496401" y="203359"/>
                    <a:pt x="5500212" y="194786"/>
                    <a:pt x="5502117" y="188119"/>
                  </a:cubicBezTo>
                  <a:cubicBezTo>
                    <a:pt x="5507831" y="170974"/>
                    <a:pt x="5511642" y="160496"/>
                    <a:pt x="5511642" y="160496"/>
                  </a:cubicBezTo>
                  <a:cubicBezTo>
                    <a:pt x="5511642" y="160496"/>
                    <a:pt x="5506879" y="170021"/>
                    <a:pt x="5498306" y="186214"/>
                  </a:cubicBezTo>
                  <a:cubicBezTo>
                    <a:pt x="5494496" y="194786"/>
                    <a:pt x="5489734" y="204311"/>
                    <a:pt x="5484019" y="215741"/>
                  </a:cubicBezTo>
                  <a:cubicBezTo>
                    <a:pt x="5481162" y="221456"/>
                    <a:pt x="5478304" y="227171"/>
                    <a:pt x="5475446" y="233839"/>
                  </a:cubicBezTo>
                  <a:cubicBezTo>
                    <a:pt x="5474494" y="236696"/>
                    <a:pt x="5473542" y="238601"/>
                    <a:pt x="5472589" y="241459"/>
                  </a:cubicBezTo>
                  <a:cubicBezTo>
                    <a:pt x="5465921" y="228124"/>
                    <a:pt x="5461159" y="221456"/>
                    <a:pt x="5461159" y="221456"/>
                  </a:cubicBezTo>
                  <a:cubicBezTo>
                    <a:pt x="5461159" y="221456"/>
                    <a:pt x="5464017" y="231934"/>
                    <a:pt x="5469731" y="248126"/>
                  </a:cubicBezTo>
                  <a:cubicBezTo>
                    <a:pt x="5468779" y="250031"/>
                    <a:pt x="5467826" y="252889"/>
                    <a:pt x="5466874" y="254794"/>
                  </a:cubicBezTo>
                  <a:cubicBezTo>
                    <a:pt x="5466874" y="255746"/>
                    <a:pt x="5465921" y="256699"/>
                    <a:pt x="5465921" y="257651"/>
                  </a:cubicBezTo>
                  <a:cubicBezTo>
                    <a:pt x="5465921" y="257651"/>
                    <a:pt x="5464969" y="256699"/>
                    <a:pt x="5464969" y="256699"/>
                  </a:cubicBezTo>
                  <a:cubicBezTo>
                    <a:pt x="5461159" y="252889"/>
                    <a:pt x="5458301" y="249079"/>
                    <a:pt x="5455444" y="246221"/>
                  </a:cubicBezTo>
                  <a:cubicBezTo>
                    <a:pt x="5454492" y="240506"/>
                    <a:pt x="5453539" y="234791"/>
                    <a:pt x="5452587" y="230029"/>
                  </a:cubicBezTo>
                  <a:cubicBezTo>
                    <a:pt x="5451634" y="224314"/>
                    <a:pt x="5449729" y="219551"/>
                    <a:pt x="5448776" y="214789"/>
                  </a:cubicBezTo>
                  <a:cubicBezTo>
                    <a:pt x="5445919" y="205264"/>
                    <a:pt x="5444014" y="196691"/>
                    <a:pt x="5442109" y="190024"/>
                  </a:cubicBezTo>
                  <a:cubicBezTo>
                    <a:pt x="5442109" y="190024"/>
                    <a:pt x="5442109" y="190024"/>
                    <a:pt x="5442109" y="190024"/>
                  </a:cubicBezTo>
                  <a:cubicBezTo>
                    <a:pt x="5442109" y="184309"/>
                    <a:pt x="5442109" y="180499"/>
                    <a:pt x="5442109" y="180499"/>
                  </a:cubicBezTo>
                  <a:cubicBezTo>
                    <a:pt x="5442109" y="180499"/>
                    <a:pt x="5442109" y="182404"/>
                    <a:pt x="5441156" y="186214"/>
                  </a:cubicBezTo>
                  <a:cubicBezTo>
                    <a:pt x="5438299" y="174784"/>
                    <a:pt x="5436394" y="169069"/>
                    <a:pt x="5436394" y="169069"/>
                  </a:cubicBezTo>
                  <a:cubicBezTo>
                    <a:pt x="5436394" y="169069"/>
                    <a:pt x="5437346" y="176689"/>
                    <a:pt x="5438299" y="190976"/>
                  </a:cubicBezTo>
                  <a:cubicBezTo>
                    <a:pt x="5438299" y="192881"/>
                    <a:pt x="5438299" y="193834"/>
                    <a:pt x="5439251" y="195739"/>
                  </a:cubicBezTo>
                  <a:cubicBezTo>
                    <a:pt x="5437346" y="203359"/>
                    <a:pt x="5435442" y="212884"/>
                    <a:pt x="5433537" y="225266"/>
                  </a:cubicBezTo>
                  <a:cubicBezTo>
                    <a:pt x="5430679" y="223361"/>
                    <a:pt x="5429726" y="221456"/>
                    <a:pt x="5429726" y="221456"/>
                  </a:cubicBezTo>
                  <a:cubicBezTo>
                    <a:pt x="5429726" y="221456"/>
                    <a:pt x="5430679" y="223361"/>
                    <a:pt x="5433537" y="225266"/>
                  </a:cubicBezTo>
                  <a:cubicBezTo>
                    <a:pt x="5432584" y="230029"/>
                    <a:pt x="5431631" y="235744"/>
                    <a:pt x="5430679" y="240506"/>
                  </a:cubicBezTo>
                  <a:cubicBezTo>
                    <a:pt x="5429726" y="232886"/>
                    <a:pt x="5428774" y="228124"/>
                    <a:pt x="5428774" y="228124"/>
                  </a:cubicBezTo>
                  <a:cubicBezTo>
                    <a:pt x="5428774" y="228124"/>
                    <a:pt x="5428774" y="232886"/>
                    <a:pt x="5428774" y="242411"/>
                  </a:cubicBezTo>
                  <a:cubicBezTo>
                    <a:pt x="5426869" y="234791"/>
                    <a:pt x="5425917" y="228124"/>
                    <a:pt x="5424012" y="222409"/>
                  </a:cubicBezTo>
                  <a:cubicBezTo>
                    <a:pt x="5421154" y="208121"/>
                    <a:pt x="5419249" y="200501"/>
                    <a:pt x="5419249" y="200501"/>
                  </a:cubicBezTo>
                  <a:cubicBezTo>
                    <a:pt x="5419249" y="200501"/>
                    <a:pt x="5419249" y="209074"/>
                    <a:pt x="5420201" y="223361"/>
                  </a:cubicBezTo>
                  <a:cubicBezTo>
                    <a:pt x="5421154" y="235744"/>
                    <a:pt x="5422106" y="253841"/>
                    <a:pt x="5424964" y="274796"/>
                  </a:cubicBezTo>
                  <a:cubicBezTo>
                    <a:pt x="5424012" y="282416"/>
                    <a:pt x="5422106" y="290989"/>
                    <a:pt x="5420201" y="299561"/>
                  </a:cubicBezTo>
                  <a:cubicBezTo>
                    <a:pt x="5419249" y="301466"/>
                    <a:pt x="5419249" y="303371"/>
                    <a:pt x="5418296" y="305276"/>
                  </a:cubicBezTo>
                  <a:cubicBezTo>
                    <a:pt x="5417344" y="302419"/>
                    <a:pt x="5416392" y="300514"/>
                    <a:pt x="5415439" y="298609"/>
                  </a:cubicBezTo>
                  <a:cubicBezTo>
                    <a:pt x="5416392" y="294799"/>
                    <a:pt x="5417344" y="291941"/>
                    <a:pt x="5417344" y="291941"/>
                  </a:cubicBezTo>
                  <a:cubicBezTo>
                    <a:pt x="5417344" y="291941"/>
                    <a:pt x="5416392" y="293846"/>
                    <a:pt x="5414487" y="296704"/>
                  </a:cubicBezTo>
                  <a:cubicBezTo>
                    <a:pt x="5414487" y="296704"/>
                    <a:pt x="5414487" y="295751"/>
                    <a:pt x="5414487" y="295751"/>
                  </a:cubicBezTo>
                  <a:cubicBezTo>
                    <a:pt x="5413534" y="292894"/>
                    <a:pt x="5412581" y="290036"/>
                    <a:pt x="5411629" y="287179"/>
                  </a:cubicBezTo>
                  <a:cubicBezTo>
                    <a:pt x="5413534" y="274796"/>
                    <a:pt x="5414487" y="268129"/>
                    <a:pt x="5414487" y="268129"/>
                  </a:cubicBezTo>
                  <a:cubicBezTo>
                    <a:pt x="5414487" y="268129"/>
                    <a:pt x="5412581" y="272891"/>
                    <a:pt x="5409724" y="282416"/>
                  </a:cubicBezTo>
                  <a:cubicBezTo>
                    <a:pt x="5407819" y="276701"/>
                    <a:pt x="5405914" y="271939"/>
                    <a:pt x="5404009" y="267176"/>
                  </a:cubicBezTo>
                  <a:cubicBezTo>
                    <a:pt x="5402104" y="262414"/>
                    <a:pt x="5401151" y="258604"/>
                    <a:pt x="5399246" y="253841"/>
                  </a:cubicBezTo>
                  <a:cubicBezTo>
                    <a:pt x="5400199" y="240506"/>
                    <a:pt x="5400199" y="232886"/>
                    <a:pt x="5400199" y="232886"/>
                  </a:cubicBezTo>
                  <a:cubicBezTo>
                    <a:pt x="5400199" y="232886"/>
                    <a:pt x="5399246" y="237649"/>
                    <a:pt x="5396389" y="247174"/>
                  </a:cubicBezTo>
                  <a:cubicBezTo>
                    <a:pt x="5396389" y="246221"/>
                    <a:pt x="5395437" y="245269"/>
                    <a:pt x="5395437" y="244316"/>
                  </a:cubicBezTo>
                  <a:cubicBezTo>
                    <a:pt x="5390674" y="231934"/>
                    <a:pt x="5387817" y="224314"/>
                    <a:pt x="5387817" y="224314"/>
                  </a:cubicBezTo>
                  <a:cubicBezTo>
                    <a:pt x="5387817" y="224314"/>
                    <a:pt x="5388769" y="231934"/>
                    <a:pt x="5391626" y="245269"/>
                  </a:cubicBezTo>
                  <a:cubicBezTo>
                    <a:pt x="5392579" y="249079"/>
                    <a:pt x="5393531" y="252889"/>
                    <a:pt x="5394484" y="257651"/>
                  </a:cubicBezTo>
                  <a:cubicBezTo>
                    <a:pt x="5391626" y="269081"/>
                    <a:pt x="5388769" y="283369"/>
                    <a:pt x="5384959" y="300514"/>
                  </a:cubicBezTo>
                  <a:cubicBezTo>
                    <a:pt x="5384959" y="299561"/>
                    <a:pt x="5384959" y="298609"/>
                    <a:pt x="5384006" y="297656"/>
                  </a:cubicBezTo>
                  <a:cubicBezTo>
                    <a:pt x="5383054" y="288131"/>
                    <a:pt x="5382101" y="283369"/>
                    <a:pt x="5382101" y="283369"/>
                  </a:cubicBezTo>
                  <a:cubicBezTo>
                    <a:pt x="5382101" y="283369"/>
                    <a:pt x="5382101" y="284321"/>
                    <a:pt x="5382101" y="287179"/>
                  </a:cubicBezTo>
                  <a:cubicBezTo>
                    <a:pt x="5381149" y="283369"/>
                    <a:pt x="5380196" y="280511"/>
                    <a:pt x="5380196" y="276701"/>
                  </a:cubicBezTo>
                  <a:cubicBezTo>
                    <a:pt x="5380196" y="275749"/>
                    <a:pt x="5379244" y="273844"/>
                    <a:pt x="5379244" y="272891"/>
                  </a:cubicBezTo>
                  <a:cubicBezTo>
                    <a:pt x="5380196" y="270986"/>
                    <a:pt x="5380196" y="269081"/>
                    <a:pt x="5380196" y="269081"/>
                  </a:cubicBezTo>
                  <a:cubicBezTo>
                    <a:pt x="5380196" y="269081"/>
                    <a:pt x="5380196" y="270034"/>
                    <a:pt x="5379244" y="271939"/>
                  </a:cubicBezTo>
                  <a:cubicBezTo>
                    <a:pt x="5376387" y="260509"/>
                    <a:pt x="5374481" y="250984"/>
                    <a:pt x="5372576" y="241459"/>
                  </a:cubicBezTo>
                  <a:cubicBezTo>
                    <a:pt x="5372576" y="238601"/>
                    <a:pt x="5372576" y="235744"/>
                    <a:pt x="5373529" y="232886"/>
                  </a:cubicBezTo>
                  <a:cubicBezTo>
                    <a:pt x="5374481" y="217646"/>
                    <a:pt x="5376387" y="203359"/>
                    <a:pt x="5378292" y="190024"/>
                  </a:cubicBezTo>
                  <a:cubicBezTo>
                    <a:pt x="5379244" y="176689"/>
                    <a:pt x="5382101" y="165259"/>
                    <a:pt x="5384006" y="153829"/>
                  </a:cubicBezTo>
                  <a:cubicBezTo>
                    <a:pt x="5384959" y="148114"/>
                    <a:pt x="5385912" y="143351"/>
                    <a:pt x="5386864" y="138589"/>
                  </a:cubicBezTo>
                  <a:cubicBezTo>
                    <a:pt x="5387817" y="133826"/>
                    <a:pt x="5388769" y="130016"/>
                    <a:pt x="5389721" y="126206"/>
                  </a:cubicBezTo>
                  <a:cubicBezTo>
                    <a:pt x="5392579" y="110966"/>
                    <a:pt x="5394484" y="102394"/>
                    <a:pt x="5394484" y="102394"/>
                  </a:cubicBezTo>
                  <a:cubicBezTo>
                    <a:pt x="5394484" y="102394"/>
                    <a:pt x="5391626" y="110966"/>
                    <a:pt x="5385912" y="125254"/>
                  </a:cubicBezTo>
                  <a:cubicBezTo>
                    <a:pt x="5384959" y="129064"/>
                    <a:pt x="5383054" y="132874"/>
                    <a:pt x="5381149" y="137636"/>
                  </a:cubicBezTo>
                  <a:cubicBezTo>
                    <a:pt x="5379244" y="142399"/>
                    <a:pt x="5378292" y="147161"/>
                    <a:pt x="5376387" y="151924"/>
                  </a:cubicBezTo>
                  <a:cubicBezTo>
                    <a:pt x="5373529" y="162401"/>
                    <a:pt x="5369719" y="174784"/>
                    <a:pt x="5366862" y="188119"/>
                  </a:cubicBezTo>
                  <a:cubicBezTo>
                    <a:pt x="5365909" y="193834"/>
                    <a:pt x="5364004" y="199549"/>
                    <a:pt x="5363051" y="205264"/>
                  </a:cubicBezTo>
                  <a:cubicBezTo>
                    <a:pt x="5361146" y="199549"/>
                    <a:pt x="5360194" y="196691"/>
                    <a:pt x="5360194" y="196691"/>
                  </a:cubicBezTo>
                  <a:cubicBezTo>
                    <a:pt x="5360194" y="196691"/>
                    <a:pt x="5361146" y="201454"/>
                    <a:pt x="5361146" y="210979"/>
                  </a:cubicBezTo>
                  <a:cubicBezTo>
                    <a:pt x="5360194" y="217646"/>
                    <a:pt x="5358289" y="224314"/>
                    <a:pt x="5357337" y="230981"/>
                  </a:cubicBezTo>
                  <a:cubicBezTo>
                    <a:pt x="5356384" y="235744"/>
                    <a:pt x="5355431" y="240506"/>
                    <a:pt x="5355431" y="245269"/>
                  </a:cubicBezTo>
                  <a:cubicBezTo>
                    <a:pt x="5355431" y="241459"/>
                    <a:pt x="5354479" y="238601"/>
                    <a:pt x="5354479" y="235744"/>
                  </a:cubicBezTo>
                  <a:cubicBezTo>
                    <a:pt x="5354479" y="233839"/>
                    <a:pt x="5354479" y="231934"/>
                    <a:pt x="5354479" y="230029"/>
                  </a:cubicBezTo>
                  <a:cubicBezTo>
                    <a:pt x="5355431" y="217646"/>
                    <a:pt x="5355431" y="210979"/>
                    <a:pt x="5355431" y="210979"/>
                  </a:cubicBezTo>
                  <a:cubicBezTo>
                    <a:pt x="5355431" y="210979"/>
                    <a:pt x="5354479" y="214789"/>
                    <a:pt x="5352574" y="222409"/>
                  </a:cubicBezTo>
                  <a:cubicBezTo>
                    <a:pt x="5350669" y="210026"/>
                    <a:pt x="5348764" y="199549"/>
                    <a:pt x="5347812" y="190024"/>
                  </a:cubicBezTo>
                  <a:cubicBezTo>
                    <a:pt x="5347812" y="186214"/>
                    <a:pt x="5347812" y="182404"/>
                    <a:pt x="5347812" y="179546"/>
                  </a:cubicBezTo>
                  <a:cubicBezTo>
                    <a:pt x="5347812" y="167164"/>
                    <a:pt x="5347812" y="160496"/>
                    <a:pt x="5347812" y="160496"/>
                  </a:cubicBezTo>
                  <a:cubicBezTo>
                    <a:pt x="5347812" y="160496"/>
                    <a:pt x="5346859" y="165259"/>
                    <a:pt x="5344954" y="173831"/>
                  </a:cubicBezTo>
                  <a:cubicBezTo>
                    <a:pt x="5342096" y="158591"/>
                    <a:pt x="5341144" y="150019"/>
                    <a:pt x="5341144" y="150019"/>
                  </a:cubicBezTo>
                  <a:cubicBezTo>
                    <a:pt x="5341144" y="150019"/>
                    <a:pt x="5341144" y="160496"/>
                    <a:pt x="5342096" y="177641"/>
                  </a:cubicBezTo>
                  <a:cubicBezTo>
                    <a:pt x="5342096" y="180499"/>
                    <a:pt x="5342096" y="184309"/>
                    <a:pt x="5342096" y="187166"/>
                  </a:cubicBezTo>
                  <a:cubicBezTo>
                    <a:pt x="5341144" y="190976"/>
                    <a:pt x="5341144" y="195739"/>
                    <a:pt x="5340192" y="200501"/>
                  </a:cubicBezTo>
                  <a:cubicBezTo>
                    <a:pt x="5339239" y="209074"/>
                    <a:pt x="5337334" y="218599"/>
                    <a:pt x="5337334" y="229076"/>
                  </a:cubicBezTo>
                  <a:cubicBezTo>
                    <a:pt x="5337334" y="239554"/>
                    <a:pt x="5336381" y="250984"/>
                    <a:pt x="5336381" y="263366"/>
                  </a:cubicBezTo>
                  <a:cubicBezTo>
                    <a:pt x="5336381" y="269081"/>
                    <a:pt x="5336381" y="275749"/>
                    <a:pt x="5336381" y="282416"/>
                  </a:cubicBezTo>
                  <a:cubicBezTo>
                    <a:pt x="5336381" y="282416"/>
                    <a:pt x="5336381" y="282416"/>
                    <a:pt x="5336381" y="282416"/>
                  </a:cubicBezTo>
                  <a:cubicBezTo>
                    <a:pt x="5335429" y="286226"/>
                    <a:pt x="5334476" y="290036"/>
                    <a:pt x="5333524" y="293846"/>
                  </a:cubicBezTo>
                  <a:cubicBezTo>
                    <a:pt x="5333524" y="292894"/>
                    <a:pt x="5332571" y="291941"/>
                    <a:pt x="5332571" y="291941"/>
                  </a:cubicBezTo>
                  <a:cubicBezTo>
                    <a:pt x="5330667" y="287179"/>
                    <a:pt x="5329714" y="282416"/>
                    <a:pt x="5327809" y="278606"/>
                  </a:cubicBezTo>
                  <a:cubicBezTo>
                    <a:pt x="5323999" y="269081"/>
                    <a:pt x="5321142" y="259556"/>
                    <a:pt x="5319237" y="252889"/>
                  </a:cubicBezTo>
                  <a:cubicBezTo>
                    <a:pt x="5313521" y="238601"/>
                    <a:pt x="5310664" y="230029"/>
                    <a:pt x="5310664" y="230029"/>
                  </a:cubicBezTo>
                  <a:cubicBezTo>
                    <a:pt x="5310664" y="230029"/>
                    <a:pt x="5312569" y="238601"/>
                    <a:pt x="5315426" y="253841"/>
                  </a:cubicBezTo>
                  <a:cubicBezTo>
                    <a:pt x="5316379" y="257651"/>
                    <a:pt x="5317331" y="262414"/>
                    <a:pt x="5318284" y="267176"/>
                  </a:cubicBezTo>
                  <a:cubicBezTo>
                    <a:pt x="5316379" y="264319"/>
                    <a:pt x="5315426" y="263366"/>
                    <a:pt x="5315426" y="263366"/>
                  </a:cubicBezTo>
                  <a:cubicBezTo>
                    <a:pt x="5315426" y="263366"/>
                    <a:pt x="5317331" y="268129"/>
                    <a:pt x="5320189" y="276701"/>
                  </a:cubicBezTo>
                  <a:cubicBezTo>
                    <a:pt x="5320189" y="278606"/>
                    <a:pt x="5321142" y="279559"/>
                    <a:pt x="5321142" y="281464"/>
                  </a:cubicBezTo>
                  <a:cubicBezTo>
                    <a:pt x="5322094" y="286226"/>
                    <a:pt x="5323046" y="291941"/>
                    <a:pt x="5324951" y="297656"/>
                  </a:cubicBezTo>
                  <a:cubicBezTo>
                    <a:pt x="5325904" y="300514"/>
                    <a:pt x="5326856" y="303371"/>
                    <a:pt x="5326856" y="306229"/>
                  </a:cubicBezTo>
                  <a:cubicBezTo>
                    <a:pt x="5323999" y="310991"/>
                    <a:pt x="5320189" y="316706"/>
                    <a:pt x="5316379" y="322421"/>
                  </a:cubicBezTo>
                  <a:cubicBezTo>
                    <a:pt x="5313521" y="327184"/>
                    <a:pt x="5309712" y="332899"/>
                    <a:pt x="5306854" y="338614"/>
                  </a:cubicBezTo>
                  <a:cubicBezTo>
                    <a:pt x="5303996" y="343376"/>
                    <a:pt x="5301139" y="349091"/>
                    <a:pt x="5298281" y="354806"/>
                  </a:cubicBezTo>
                  <a:cubicBezTo>
                    <a:pt x="5298281" y="350996"/>
                    <a:pt x="5298281" y="347186"/>
                    <a:pt x="5298281" y="344329"/>
                  </a:cubicBezTo>
                  <a:cubicBezTo>
                    <a:pt x="5299234" y="334804"/>
                    <a:pt x="5300187" y="326231"/>
                    <a:pt x="5301139" y="318611"/>
                  </a:cubicBezTo>
                  <a:cubicBezTo>
                    <a:pt x="5303044" y="308134"/>
                    <a:pt x="5303996" y="299561"/>
                    <a:pt x="5305901" y="291941"/>
                  </a:cubicBezTo>
                  <a:cubicBezTo>
                    <a:pt x="5309712" y="276701"/>
                    <a:pt x="5311617" y="269081"/>
                    <a:pt x="5311617" y="269081"/>
                  </a:cubicBezTo>
                  <a:cubicBezTo>
                    <a:pt x="5311617" y="269081"/>
                    <a:pt x="5307806" y="276701"/>
                    <a:pt x="5302092" y="290989"/>
                  </a:cubicBezTo>
                  <a:cubicBezTo>
                    <a:pt x="5301139" y="293846"/>
                    <a:pt x="5300187" y="295751"/>
                    <a:pt x="5299234" y="298609"/>
                  </a:cubicBezTo>
                  <a:cubicBezTo>
                    <a:pt x="5299234" y="276701"/>
                    <a:pt x="5299234" y="263366"/>
                    <a:pt x="5299234" y="263366"/>
                  </a:cubicBezTo>
                  <a:cubicBezTo>
                    <a:pt x="5299234" y="263366"/>
                    <a:pt x="5295424" y="284321"/>
                    <a:pt x="5290662" y="317659"/>
                  </a:cubicBezTo>
                  <a:cubicBezTo>
                    <a:pt x="5290662" y="315754"/>
                    <a:pt x="5289709" y="314801"/>
                    <a:pt x="5289709" y="312896"/>
                  </a:cubicBezTo>
                  <a:cubicBezTo>
                    <a:pt x="5287804" y="306229"/>
                    <a:pt x="5286851" y="300514"/>
                    <a:pt x="5284946" y="295751"/>
                  </a:cubicBezTo>
                  <a:cubicBezTo>
                    <a:pt x="5284946" y="295751"/>
                    <a:pt x="5284946" y="295751"/>
                    <a:pt x="5284946" y="295751"/>
                  </a:cubicBezTo>
                  <a:cubicBezTo>
                    <a:pt x="5284946" y="295751"/>
                    <a:pt x="5284946" y="295751"/>
                    <a:pt x="5284946" y="295751"/>
                  </a:cubicBezTo>
                  <a:cubicBezTo>
                    <a:pt x="5283994" y="291941"/>
                    <a:pt x="5283042" y="288131"/>
                    <a:pt x="5282089" y="284321"/>
                  </a:cubicBezTo>
                  <a:cubicBezTo>
                    <a:pt x="5282089" y="283369"/>
                    <a:pt x="5282089" y="283369"/>
                    <a:pt x="5281137" y="282416"/>
                  </a:cubicBezTo>
                  <a:cubicBezTo>
                    <a:pt x="5285899" y="264319"/>
                    <a:pt x="5288756" y="252889"/>
                    <a:pt x="5288756" y="252889"/>
                  </a:cubicBezTo>
                  <a:cubicBezTo>
                    <a:pt x="5288756" y="252889"/>
                    <a:pt x="5284946" y="260509"/>
                    <a:pt x="5279231" y="273844"/>
                  </a:cubicBezTo>
                  <a:cubicBezTo>
                    <a:pt x="5278279" y="269081"/>
                    <a:pt x="5276374" y="265271"/>
                    <a:pt x="5275421" y="262414"/>
                  </a:cubicBezTo>
                  <a:cubicBezTo>
                    <a:pt x="5270659" y="250031"/>
                    <a:pt x="5268754" y="243364"/>
                    <a:pt x="5268754" y="243364"/>
                  </a:cubicBezTo>
                  <a:cubicBezTo>
                    <a:pt x="5268754" y="243364"/>
                    <a:pt x="5269706" y="250031"/>
                    <a:pt x="5271612" y="262414"/>
                  </a:cubicBezTo>
                  <a:cubicBezTo>
                    <a:pt x="5272564" y="268129"/>
                    <a:pt x="5273517" y="275749"/>
                    <a:pt x="5274469" y="283369"/>
                  </a:cubicBezTo>
                  <a:cubicBezTo>
                    <a:pt x="5270659" y="290989"/>
                    <a:pt x="5266849" y="300514"/>
                    <a:pt x="5263039" y="310039"/>
                  </a:cubicBezTo>
                  <a:cubicBezTo>
                    <a:pt x="5263039" y="305276"/>
                    <a:pt x="5263039" y="302419"/>
                    <a:pt x="5263039" y="302419"/>
                  </a:cubicBezTo>
                  <a:cubicBezTo>
                    <a:pt x="5263039" y="302419"/>
                    <a:pt x="5262087" y="305276"/>
                    <a:pt x="5260181" y="310039"/>
                  </a:cubicBezTo>
                  <a:cubicBezTo>
                    <a:pt x="5260181" y="310039"/>
                    <a:pt x="5260181" y="309086"/>
                    <a:pt x="5260181" y="309086"/>
                  </a:cubicBezTo>
                  <a:cubicBezTo>
                    <a:pt x="5260181" y="306229"/>
                    <a:pt x="5260181" y="303371"/>
                    <a:pt x="5261134" y="301466"/>
                  </a:cubicBezTo>
                  <a:cubicBezTo>
                    <a:pt x="5261134" y="294799"/>
                    <a:pt x="5262087" y="289084"/>
                    <a:pt x="5262087" y="284321"/>
                  </a:cubicBezTo>
                  <a:cubicBezTo>
                    <a:pt x="5263039" y="274796"/>
                    <a:pt x="5263039" y="269081"/>
                    <a:pt x="5263039" y="269081"/>
                  </a:cubicBezTo>
                  <a:cubicBezTo>
                    <a:pt x="5263039" y="269081"/>
                    <a:pt x="5261134" y="273844"/>
                    <a:pt x="5258276" y="283369"/>
                  </a:cubicBezTo>
                  <a:cubicBezTo>
                    <a:pt x="5258276" y="284321"/>
                    <a:pt x="5257324" y="286226"/>
                    <a:pt x="5257324" y="287179"/>
                  </a:cubicBezTo>
                  <a:cubicBezTo>
                    <a:pt x="5256371" y="282416"/>
                    <a:pt x="5256371" y="277654"/>
                    <a:pt x="5255419" y="273844"/>
                  </a:cubicBezTo>
                  <a:cubicBezTo>
                    <a:pt x="5255419" y="272891"/>
                    <a:pt x="5255419" y="271939"/>
                    <a:pt x="5255419" y="271939"/>
                  </a:cubicBezTo>
                  <a:cubicBezTo>
                    <a:pt x="5255419" y="271939"/>
                    <a:pt x="5255419" y="271939"/>
                    <a:pt x="5255419" y="270986"/>
                  </a:cubicBezTo>
                  <a:cubicBezTo>
                    <a:pt x="5256371" y="268129"/>
                    <a:pt x="5256371" y="266224"/>
                    <a:pt x="5256371" y="266224"/>
                  </a:cubicBezTo>
                  <a:cubicBezTo>
                    <a:pt x="5256371" y="266224"/>
                    <a:pt x="5256371" y="267176"/>
                    <a:pt x="5255419" y="268129"/>
                  </a:cubicBezTo>
                  <a:cubicBezTo>
                    <a:pt x="5256371" y="255746"/>
                    <a:pt x="5257324" y="244316"/>
                    <a:pt x="5258276" y="232886"/>
                  </a:cubicBezTo>
                  <a:cubicBezTo>
                    <a:pt x="5262087" y="188119"/>
                    <a:pt x="5263039" y="158591"/>
                    <a:pt x="5263039" y="158591"/>
                  </a:cubicBezTo>
                  <a:cubicBezTo>
                    <a:pt x="5263039" y="158591"/>
                    <a:pt x="5258276" y="175736"/>
                    <a:pt x="5252562" y="204311"/>
                  </a:cubicBezTo>
                  <a:cubicBezTo>
                    <a:pt x="5253514" y="193834"/>
                    <a:pt x="5254467" y="183356"/>
                    <a:pt x="5255419" y="173831"/>
                  </a:cubicBezTo>
                  <a:cubicBezTo>
                    <a:pt x="5256371" y="160496"/>
                    <a:pt x="5257324" y="150019"/>
                    <a:pt x="5258276" y="140494"/>
                  </a:cubicBezTo>
                  <a:cubicBezTo>
                    <a:pt x="5260181" y="121444"/>
                    <a:pt x="5260181" y="110966"/>
                    <a:pt x="5260181" y="110966"/>
                  </a:cubicBezTo>
                  <a:cubicBezTo>
                    <a:pt x="5260181" y="110966"/>
                    <a:pt x="5257324" y="121444"/>
                    <a:pt x="5254467" y="139541"/>
                  </a:cubicBezTo>
                  <a:cubicBezTo>
                    <a:pt x="5252562" y="149066"/>
                    <a:pt x="5250656" y="159544"/>
                    <a:pt x="5247799" y="172879"/>
                  </a:cubicBezTo>
                  <a:cubicBezTo>
                    <a:pt x="5246846" y="179546"/>
                    <a:pt x="5244942" y="186214"/>
                    <a:pt x="5243989" y="192881"/>
                  </a:cubicBezTo>
                  <a:cubicBezTo>
                    <a:pt x="5243989" y="195739"/>
                    <a:pt x="5243037" y="198596"/>
                    <a:pt x="5243037" y="201454"/>
                  </a:cubicBezTo>
                  <a:cubicBezTo>
                    <a:pt x="5242084" y="197644"/>
                    <a:pt x="5241131" y="194786"/>
                    <a:pt x="5241131" y="194786"/>
                  </a:cubicBezTo>
                  <a:cubicBezTo>
                    <a:pt x="5241131" y="194786"/>
                    <a:pt x="5241131" y="199549"/>
                    <a:pt x="5241131" y="209074"/>
                  </a:cubicBezTo>
                  <a:cubicBezTo>
                    <a:pt x="5241131" y="210979"/>
                    <a:pt x="5240179" y="213836"/>
                    <a:pt x="5240179" y="215741"/>
                  </a:cubicBezTo>
                  <a:cubicBezTo>
                    <a:pt x="5239226" y="225266"/>
                    <a:pt x="5237321" y="235744"/>
                    <a:pt x="5235417" y="246221"/>
                  </a:cubicBezTo>
                  <a:cubicBezTo>
                    <a:pt x="5234464" y="248126"/>
                    <a:pt x="5232559" y="250984"/>
                    <a:pt x="5230654" y="252889"/>
                  </a:cubicBezTo>
                  <a:cubicBezTo>
                    <a:pt x="5227796" y="256699"/>
                    <a:pt x="5225892" y="261461"/>
                    <a:pt x="5222081" y="266224"/>
                  </a:cubicBezTo>
                  <a:cubicBezTo>
                    <a:pt x="5220176" y="270034"/>
                    <a:pt x="5217319" y="274796"/>
                    <a:pt x="5215414" y="279559"/>
                  </a:cubicBezTo>
                  <a:cubicBezTo>
                    <a:pt x="5215414" y="279559"/>
                    <a:pt x="5215414" y="279559"/>
                    <a:pt x="5215414" y="278606"/>
                  </a:cubicBezTo>
                  <a:cubicBezTo>
                    <a:pt x="5216367" y="276701"/>
                    <a:pt x="5216367" y="275749"/>
                    <a:pt x="5216367" y="275749"/>
                  </a:cubicBezTo>
                  <a:cubicBezTo>
                    <a:pt x="5216367" y="275749"/>
                    <a:pt x="5216367" y="276701"/>
                    <a:pt x="5215414" y="277654"/>
                  </a:cubicBezTo>
                  <a:cubicBezTo>
                    <a:pt x="5213509" y="267176"/>
                    <a:pt x="5212556" y="257651"/>
                    <a:pt x="5211604" y="249079"/>
                  </a:cubicBezTo>
                  <a:cubicBezTo>
                    <a:pt x="5210651" y="239554"/>
                    <a:pt x="5209699" y="230981"/>
                    <a:pt x="5208746" y="224314"/>
                  </a:cubicBezTo>
                  <a:cubicBezTo>
                    <a:pt x="5206842" y="210979"/>
                    <a:pt x="5205889" y="202406"/>
                    <a:pt x="5205889" y="202406"/>
                  </a:cubicBezTo>
                  <a:cubicBezTo>
                    <a:pt x="5205889" y="202406"/>
                    <a:pt x="5205889" y="210026"/>
                    <a:pt x="5204937" y="224314"/>
                  </a:cubicBezTo>
                  <a:cubicBezTo>
                    <a:pt x="5204937" y="230981"/>
                    <a:pt x="5204937" y="239554"/>
                    <a:pt x="5204937" y="249079"/>
                  </a:cubicBezTo>
                  <a:cubicBezTo>
                    <a:pt x="5204937" y="253841"/>
                    <a:pt x="5204937" y="258604"/>
                    <a:pt x="5204937" y="264319"/>
                  </a:cubicBezTo>
                  <a:cubicBezTo>
                    <a:pt x="5204937" y="270034"/>
                    <a:pt x="5204937" y="275749"/>
                    <a:pt x="5205889" y="281464"/>
                  </a:cubicBezTo>
                  <a:cubicBezTo>
                    <a:pt x="5205889" y="284321"/>
                    <a:pt x="5205889" y="286226"/>
                    <a:pt x="5205889" y="289084"/>
                  </a:cubicBezTo>
                  <a:cubicBezTo>
                    <a:pt x="5204937" y="287179"/>
                    <a:pt x="5203984" y="286226"/>
                    <a:pt x="5203984" y="286226"/>
                  </a:cubicBezTo>
                  <a:cubicBezTo>
                    <a:pt x="5203984" y="286226"/>
                    <a:pt x="5204937" y="288131"/>
                    <a:pt x="5205889" y="290989"/>
                  </a:cubicBezTo>
                  <a:cubicBezTo>
                    <a:pt x="5205889" y="290989"/>
                    <a:pt x="5205889" y="290989"/>
                    <a:pt x="5205889" y="291941"/>
                  </a:cubicBezTo>
                  <a:cubicBezTo>
                    <a:pt x="5204937" y="290036"/>
                    <a:pt x="5203984" y="289084"/>
                    <a:pt x="5203984" y="287179"/>
                  </a:cubicBezTo>
                  <a:cubicBezTo>
                    <a:pt x="5203984" y="287179"/>
                    <a:pt x="5203984" y="287179"/>
                    <a:pt x="5203984" y="287179"/>
                  </a:cubicBezTo>
                  <a:cubicBezTo>
                    <a:pt x="5203984" y="287179"/>
                    <a:pt x="5203984" y="287179"/>
                    <a:pt x="5203984" y="287179"/>
                  </a:cubicBezTo>
                  <a:cubicBezTo>
                    <a:pt x="5201126" y="281464"/>
                    <a:pt x="5199221" y="278606"/>
                    <a:pt x="5199221" y="278606"/>
                  </a:cubicBezTo>
                  <a:cubicBezTo>
                    <a:pt x="5199221" y="278606"/>
                    <a:pt x="5200174" y="283369"/>
                    <a:pt x="5202079" y="290989"/>
                  </a:cubicBezTo>
                  <a:cubicBezTo>
                    <a:pt x="5201126" y="292894"/>
                    <a:pt x="5200174" y="295751"/>
                    <a:pt x="5198269" y="300514"/>
                  </a:cubicBezTo>
                  <a:cubicBezTo>
                    <a:pt x="5197317" y="298609"/>
                    <a:pt x="5196364" y="297656"/>
                    <a:pt x="5195412" y="295751"/>
                  </a:cubicBezTo>
                  <a:cubicBezTo>
                    <a:pt x="5193506" y="284321"/>
                    <a:pt x="5192554" y="273844"/>
                    <a:pt x="5191601" y="263366"/>
                  </a:cubicBezTo>
                  <a:cubicBezTo>
                    <a:pt x="5187792" y="232886"/>
                    <a:pt x="5185887" y="208121"/>
                    <a:pt x="5184934" y="190024"/>
                  </a:cubicBezTo>
                  <a:cubicBezTo>
                    <a:pt x="5183981" y="181451"/>
                    <a:pt x="5183981" y="173831"/>
                    <a:pt x="5183981" y="169069"/>
                  </a:cubicBezTo>
                  <a:cubicBezTo>
                    <a:pt x="5183981" y="164306"/>
                    <a:pt x="5183981" y="161449"/>
                    <a:pt x="5183981" y="161449"/>
                  </a:cubicBezTo>
                  <a:cubicBezTo>
                    <a:pt x="5183981" y="161449"/>
                    <a:pt x="5183981" y="164306"/>
                    <a:pt x="5183029" y="169069"/>
                  </a:cubicBezTo>
                  <a:cubicBezTo>
                    <a:pt x="5182076" y="173831"/>
                    <a:pt x="5182076" y="180499"/>
                    <a:pt x="5181124" y="190024"/>
                  </a:cubicBezTo>
                  <a:cubicBezTo>
                    <a:pt x="5181124" y="196691"/>
                    <a:pt x="5180171" y="204311"/>
                    <a:pt x="5180171" y="211931"/>
                  </a:cubicBezTo>
                  <a:cubicBezTo>
                    <a:pt x="5179219" y="212884"/>
                    <a:pt x="5178267" y="213836"/>
                    <a:pt x="5177314" y="215741"/>
                  </a:cubicBezTo>
                  <a:cubicBezTo>
                    <a:pt x="5174456" y="219551"/>
                    <a:pt x="5170646" y="224314"/>
                    <a:pt x="5165884" y="231934"/>
                  </a:cubicBezTo>
                  <a:cubicBezTo>
                    <a:pt x="5164931" y="232886"/>
                    <a:pt x="5163979" y="234791"/>
                    <a:pt x="5163979" y="235744"/>
                  </a:cubicBezTo>
                  <a:cubicBezTo>
                    <a:pt x="5163026" y="233839"/>
                    <a:pt x="5162074" y="231934"/>
                    <a:pt x="5161121" y="230029"/>
                  </a:cubicBezTo>
                  <a:cubicBezTo>
                    <a:pt x="5161121" y="230029"/>
                    <a:pt x="5161121" y="229076"/>
                    <a:pt x="5161121" y="229076"/>
                  </a:cubicBezTo>
                  <a:cubicBezTo>
                    <a:pt x="5162074" y="222409"/>
                    <a:pt x="5162074" y="217646"/>
                    <a:pt x="5163026" y="213836"/>
                  </a:cubicBezTo>
                  <a:cubicBezTo>
                    <a:pt x="5163979" y="210026"/>
                    <a:pt x="5163979" y="208121"/>
                    <a:pt x="5163979" y="208121"/>
                  </a:cubicBezTo>
                  <a:cubicBezTo>
                    <a:pt x="5163979" y="208121"/>
                    <a:pt x="5161121" y="213836"/>
                    <a:pt x="5158264" y="224314"/>
                  </a:cubicBezTo>
                  <a:cubicBezTo>
                    <a:pt x="5157312" y="222409"/>
                    <a:pt x="5156359" y="221456"/>
                    <a:pt x="5156359" y="220504"/>
                  </a:cubicBezTo>
                  <a:cubicBezTo>
                    <a:pt x="5152549" y="213836"/>
                    <a:pt x="5149692" y="208121"/>
                    <a:pt x="5147787" y="205264"/>
                  </a:cubicBezTo>
                  <a:cubicBezTo>
                    <a:pt x="5146834" y="195739"/>
                    <a:pt x="5145881" y="186214"/>
                    <a:pt x="5144929" y="178594"/>
                  </a:cubicBezTo>
                  <a:cubicBezTo>
                    <a:pt x="5143024" y="159544"/>
                    <a:pt x="5141119" y="149066"/>
                    <a:pt x="5141119" y="149066"/>
                  </a:cubicBezTo>
                  <a:cubicBezTo>
                    <a:pt x="5141119" y="149066"/>
                    <a:pt x="5141119" y="159544"/>
                    <a:pt x="5141119" y="178594"/>
                  </a:cubicBezTo>
                  <a:cubicBezTo>
                    <a:pt x="5141119" y="197644"/>
                    <a:pt x="5141119" y="224314"/>
                    <a:pt x="5141119" y="255746"/>
                  </a:cubicBezTo>
                  <a:cubicBezTo>
                    <a:pt x="5141119" y="256699"/>
                    <a:pt x="5141119" y="257651"/>
                    <a:pt x="5141119" y="258604"/>
                  </a:cubicBezTo>
                  <a:cubicBezTo>
                    <a:pt x="5140167" y="259556"/>
                    <a:pt x="5140167" y="259556"/>
                    <a:pt x="5139214" y="260509"/>
                  </a:cubicBezTo>
                  <a:cubicBezTo>
                    <a:pt x="5138262" y="261461"/>
                    <a:pt x="5136356" y="263366"/>
                    <a:pt x="5134451" y="265271"/>
                  </a:cubicBezTo>
                  <a:cubicBezTo>
                    <a:pt x="5131594" y="216694"/>
                    <a:pt x="5128737" y="184309"/>
                    <a:pt x="5128737" y="184309"/>
                  </a:cubicBezTo>
                  <a:cubicBezTo>
                    <a:pt x="5128737" y="184309"/>
                    <a:pt x="5126831" y="204311"/>
                    <a:pt x="5124926" y="236696"/>
                  </a:cubicBezTo>
                  <a:cubicBezTo>
                    <a:pt x="5121117" y="225266"/>
                    <a:pt x="5119212" y="219551"/>
                    <a:pt x="5119212" y="219551"/>
                  </a:cubicBezTo>
                  <a:cubicBezTo>
                    <a:pt x="5119212" y="219551"/>
                    <a:pt x="5121117" y="230029"/>
                    <a:pt x="5123974" y="249079"/>
                  </a:cubicBezTo>
                  <a:cubicBezTo>
                    <a:pt x="5123974" y="251936"/>
                    <a:pt x="5123974" y="255746"/>
                    <a:pt x="5123021" y="258604"/>
                  </a:cubicBezTo>
                  <a:cubicBezTo>
                    <a:pt x="5122069" y="263366"/>
                    <a:pt x="5121117" y="270034"/>
                    <a:pt x="5120164" y="279559"/>
                  </a:cubicBezTo>
                  <a:cubicBezTo>
                    <a:pt x="5119212" y="281464"/>
                    <a:pt x="5117306" y="283369"/>
                    <a:pt x="5116354" y="285274"/>
                  </a:cubicBezTo>
                  <a:cubicBezTo>
                    <a:pt x="5113496" y="289084"/>
                    <a:pt x="5109687" y="293846"/>
                    <a:pt x="5106829" y="298609"/>
                  </a:cubicBezTo>
                  <a:cubicBezTo>
                    <a:pt x="5105876" y="299561"/>
                    <a:pt x="5104924" y="301466"/>
                    <a:pt x="5103971" y="303371"/>
                  </a:cubicBezTo>
                  <a:cubicBezTo>
                    <a:pt x="5097304" y="287179"/>
                    <a:pt x="5090637" y="272891"/>
                    <a:pt x="5085874" y="261461"/>
                  </a:cubicBezTo>
                  <a:cubicBezTo>
                    <a:pt x="5085874" y="261461"/>
                    <a:pt x="5085874" y="261461"/>
                    <a:pt x="5086826" y="261461"/>
                  </a:cubicBezTo>
                  <a:cubicBezTo>
                    <a:pt x="5089684" y="260509"/>
                    <a:pt x="5091589" y="260509"/>
                    <a:pt x="5091589" y="260509"/>
                  </a:cubicBezTo>
                  <a:cubicBezTo>
                    <a:pt x="5091589" y="260509"/>
                    <a:pt x="5089684" y="260509"/>
                    <a:pt x="5086826" y="260509"/>
                  </a:cubicBezTo>
                  <a:cubicBezTo>
                    <a:pt x="5086826" y="260509"/>
                    <a:pt x="5085874" y="260509"/>
                    <a:pt x="5085874" y="260509"/>
                  </a:cubicBezTo>
                  <a:cubicBezTo>
                    <a:pt x="5078254" y="243364"/>
                    <a:pt x="5073492" y="232886"/>
                    <a:pt x="5071587" y="230029"/>
                  </a:cubicBezTo>
                  <a:cubicBezTo>
                    <a:pt x="5071587" y="225266"/>
                    <a:pt x="5071587" y="222409"/>
                    <a:pt x="5071587" y="222409"/>
                  </a:cubicBezTo>
                  <a:cubicBezTo>
                    <a:pt x="5071587" y="222409"/>
                    <a:pt x="5070634" y="224314"/>
                    <a:pt x="5069681" y="227171"/>
                  </a:cubicBezTo>
                  <a:cubicBezTo>
                    <a:pt x="5066824" y="214789"/>
                    <a:pt x="5063967" y="203359"/>
                    <a:pt x="5062062" y="192881"/>
                  </a:cubicBezTo>
                  <a:cubicBezTo>
                    <a:pt x="5061109" y="186214"/>
                    <a:pt x="5059204" y="180499"/>
                    <a:pt x="5058251" y="174784"/>
                  </a:cubicBezTo>
                  <a:cubicBezTo>
                    <a:pt x="5057299" y="169069"/>
                    <a:pt x="5056346" y="164306"/>
                    <a:pt x="5055394" y="159544"/>
                  </a:cubicBezTo>
                  <a:cubicBezTo>
                    <a:pt x="5051584" y="140494"/>
                    <a:pt x="5049679" y="130016"/>
                    <a:pt x="5049679" y="130016"/>
                  </a:cubicBezTo>
                  <a:cubicBezTo>
                    <a:pt x="5049679" y="130016"/>
                    <a:pt x="5050631" y="140494"/>
                    <a:pt x="5050631" y="159544"/>
                  </a:cubicBezTo>
                  <a:cubicBezTo>
                    <a:pt x="5050631" y="164306"/>
                    <a:pt x="5051584" y="169069"/>
                    <a:pt x="5051584" y="174784"/>
                  </a:cubicBezTo>
                  <a:cubicBezTo>
                    <a:pt x="5052537" y="180499"/>
                    <a:pt x="5052537" y="186214"/>
                    <a:pt x="5053489" y="192881"/>
                  </a:cubicBezTo>
                  <a:cubicBezTo>
                    <a:pt x="5055394" y="206216"/>
                    <a:pt x="5056346" y="220504"/>
                    <a:pt x="5059204" y="236696"/>
                  </a:cubicBezTo>
                  <a:cubicBezTo>
                    <a:pt x="5060156" y="240506"/>
                    <a:pt x="5061109" y="245269"/>
                    <a:pt x="5061109" y="249079"/>
                  </a:cubicBezTo>
                  <a:cubicBezTo>
                    <a:pt x="5059204" y="254794"/>
                    <a:pt x="5057299" y="262414"/>
                    <a:pt x="5055394" y="270034"/>
                  </a:cubicBezTo>
                  <a:cubicBezTo>
                    <a:pt x="5054442" y="270986"/>
                    <a:pt x="5053489" y="270986"/>
                    <a:pt x="5052537" y="271939"/>
                  </a:cubicBezTo>
                  <a:cubicBezTo>
                    <a:pt x="5052537" y="271939"/>
                    <a:pt x="5052537" y="271939"/>
                    <a:pt x="5052537" y="271939"/>
                  </a:cubicBezTo>
                  <a:cubicBezTo>
                    <a:pt x="5051584" y="269081"/>
                    <a:pt x="5051584" y="267176"/>
                    <a:pt x="5051584" y="267176"/>
                  </a:cubicBezTo>
                  <a:cubicBezTo>
                    <a:pt x="5051584" y="267176"/>
                    <a:pt x="5051584" y="268129"/>
                    <a:pt x="5051584" y="269081"/>
                  </a:cubicBezTo>
                  <a:cubicBezTo>
                    <a:pt x="5050631" y="266224"/>
                    <a:pt x="5049679" y="264319"/>
                    <a:pt x="5048726" y="261461"/>
                  </a:cubicBezTo>
                  <a:cubicBezTo>
                    <a:pt x="5048726" y="261461"/>
                    <a:pt x="5048726" y="261461"/>
                    <a:pt x="5048726" y="261461"/>
                  </a:cubicBezTo>
                  <a:cubicBezTo>
                    <a:pt x="5049679" y="255746"/>
                    <a:pt x="5050631" y="252889"/>
                    <a:pt x="5050631" y="252889"/>
                  </a:cubicBezTo>
                  <a:cubicBezTo>
                    <a:pt x="5050631" y="252889"/>
                    <a:pt x="5049679" y="254794"/>
                    <a:pt x="5047774" y="259556"/>
                  </a:cubicBezTo>
                  <a:cubicBezTo>
                    <a:pt x="5043964" y="250984"/>
                    <a:pt x="5041106" y="243364"/>
                    <a:pt x="5039201" y="236696"/>
                  </a:cubicBezTo>
                  <a:cubicBezTo>
                    <a:pt x="5034439" y="222409"/>
                    <a:pt x="5031581" y="214789"/>
                    <a:pt x="5031581" y="214789"/>
                  </a:cubicBezTo>
                  <a:cubicBezTo>
                    <a:pt x="5031581" y="214789"/>
                    <a:pt x="5033487" y="223361"/>
                    <a:pt x="5035392" y="237649"/>
                  </a:cubicBezTo>
                  <a:cubicBezTo>
                    <a:pt x="5036344" y="243364"/>
                    <a:pt x="5037296" y="249079"/>
                    <a:pt x="5039201" y="256699"/>
                  </a:cubicBezTo>
                  <a:cubicBezTo>
                    <a:pt x="5038249" y="258604"/>
                    <a:pt x="5036344" y="261461"/>
                    <a:pt x="5034439" y="265271"/>
                  </a:cubicBezTo>
                  <a:cubicBezTo>
                    <a:pt x="5034439" y="264319"/>
                    <a:pt x="5034439" y="263366"/>
                    <a:pt x="5034439" y="262414"/>
                  </a:cubicBezTo>
                  <a:cubicBezTo>
                    <a:pt x="5033487" y="253841"/>
                    <a:pt x="5031581" y="247174"/>
                    <a:pt x="5030629" y="241459"/>
                  </a:cubicBezTo>
                  <a:cubicBezTo>
                    <a:pt x="5028724" y="230029"/>
                    <a:pt x="5026819" y="223361"/>
                    <a:pt x="5026819" y="223361"/>
                  </a:cubicBezTo>
                  <a:cubicBezTo>
                    <a:pt x="5026819" y="223361"/>
                    <a:pt x="5026819" y="230029"/>
                    <a:pt x="5025867" y="242411"/>
                  </a:cubicBezTo>
                  <a:cubicBezTo>
                    <a:pt x="5025867" y="248126"/>
                    <a:pt x="5025867" y="255746"/>
                    <a:pt x="5025867" y="263366"/>
                  </a:cubicBezTo>
                  <a:cubicBezTo>
                    <a:pt x="5025867" y="267176"/>
                    <a:pt x="5025867" y="271939"/>
                    <a:pt x="5025867" y="276701"/>
                  </a:cubicBezTo>
                  <a:cubicBezTo>
                    <a:pt x="5025867" y="277654"/>
                    <a:pt x="5025867" y="279559"/>
                    <a:pt x="5025867" y="281464"/>
                  </a:cubicBezTo>
                  <a:cubicBezTo>
                    <a:pt x="5020151" y="274796"/>
                    <a:pt x="5015389" y="268129"/>
                    <a:pt x="5010626" y="263366"/>
                  </a:cubicBezTo>
                  <a:cubicBezTo>
                    <a:pt x="5003006" y="255746"/>
                    <a:pt x="4998244" y="250984"/>
                    <a:pt x="4995387" y="248126"/>
                  </a:cubicBezTo>
                  <a:cubicBezTo>
                    <a:pt x="4996339" y="245269"/>
                    <a:pt x="4997292" y="243364"/>
                    <a:pt x="4997292" y="243364"/>
                  </a:cubicBezTo>
                  <a:cubicBezTo>
                    <a:pt x="4997292" y="243364"/>
                    <a:pt x="4996339" y="245269"/>
                    <a:pt x="4994434" y="248126"/>
                  </a:cubicBezTo>
                  <a:cubicBezTo>
                    <a:pt x="4993481" y="247174"/>
                    <a:pt x="4992529" y="246221"/>
                    <a:pt x="4992529" y="246221"/>
                  </a:cubicBezTo>
                  <a:cubicBezTo>
                    <a:pt x="4994434" y="211931"/>
                    <a:pt x="4994434" y="190024"/>
                    <a:pt x="4994434" y="190024"/>
                  </a:cubicBezTo>
                  <a:cubicBezTo>
                    <a:pt x="4994434" y="190024"/>
                    <a:pt x="4988719" y="210026"/>
                    <a:pt x="4983004" y="240506"/>
                  </a:cubicBezTo>
                  <a:cubicBezTo>
                    <a:pt x="4982051" y="239554"/>
                    <a:pt x="4981099" y="238601"/>
                    <a:pt x="4981099" y="238601"/>
                  </a:cubicBezTo>
                  <a:cubicBezTo>
                    <a:pt x="4967764" y="226219"/>
                    <a:pt x="4959192" y="219551"/>
                    <a:pt x="4959192" y="219551"/>
                  </a:cubicBezTo>
                  <a:cubicBezTo>
                    <a:pt x="4959192" y="219551"/>
                    <a:pt x="4965859" y="227171"/>
                    <a:pt x="4978242" y="241459"/>
                  </a:cubicBezTo>
                  <a:cubicBezTo>
                    <a:pt x="4979194" y="243364"/>
                    <a:pt x="4981099" y="244316"/>
                    <a:pt x="4982051" y="246221"/>
                  </a:cubicBezTo>
                  <a:cubicBezTo>
                    <a:pt x="4982051" y="247174"/>
                    <a:pt x="4982051" y="248126"/>
                    <a:pt x="4982051" y="248126"/>
                  </a:cubicBezTo>
                  <a:cubicBezTo>
                    <a:pt x="4980146" y="257651"/>
                    <a:pt x="4978242" y="268129"/>
                    <a:pt x="4976337" y="279559"/>
                  </a:cubicBezTo>
                  <a:cubicBezTo>
                    <a:pt x="4974431" y="283369"/>
                    <a:pt x="4971574" y="287179"/>
                    <a:pt x="4969669" y="290989"/>
                  </a:cubicBezTo>
                  <a:cubicBezTo>
                    <a:pt x="4965859" y="281464"/>
                    <a:pt x="4963001" y="272891"/>
                    <a:pt x="4960144" y="265271"/>
                  </a:cubicBezTo>
                  <a:cubicBezTo>
                    <a:pt x="4960144" y="265271"/>
                    <a:pt x="4960144" y="264319"/>
                    <a:pt x="4960144" y="264319"/>
                  </a:cubicBezTo>
                  <a:cubicBezTo>
                    <a:pt x="4960144" y="253841"/>
                    <a:pt x="4960144" y="245269"/>
                    <a:pt x="4959192" y="237649"/>
                  </a:cubicBezTo>
                  <a:cubicBezTo>
                    <a:pt x="4958239" y="223361"/>
                    <a:pt x="4958239" y="215741"/>
                    <a:pt x="4958239" y="214789"/>
                  </a:cubicBezTo>
                  <a:cubicBezTo>
                    <a:pt x="4963001" y="194786"/>
                    <a:pt x="4965859" y="177641"/>
                    <a:pt x="4968717" y="164306"/>
                  </a:cubicBezTo>
                  <a:cubicBezTo>
                    <a:pt x="4972526" y="145256"/>
                    <a:pt x="4974431" y="134779"/>
                    <a:pt x="4974431" y="134779"/>
                  </a:cubicBezTo>
                  <a:cubicBezTo>
                    <a:pt x="4974431" y="134779"/>
                    <a:pt x="4970621" y="145256"/>
                    <a:pt x="4964906" y="163354"/>
                  </a:cubicBezTo>
                  <a:cubicBezTo>
                    <a:pt x="4962049" y="171926"/>
                    <a:pt x="4959192" y="181451"/>
                    <a:pt x="4955381" y="191929"/>
                  </a:cubicBezTo>
                  <a:cubicBezTo>
                    <a:pt x="4955381" y="182404"/>
                    <a:pt x="4955381" y="176689"/>
                    <a:pt x="4955381" y="176689"/>
                  </a:cubicBezTo>
                  <a:cubicBezTo>
                    <a:pt x="4955381" y="176689"/>
                    <a:pt x="4954429" y="186214"/>
                    <a:pt x="4952524" y="202406"/>
                  </a:cubicBezTo>
                  <a:cubicBezTo>
                    <a:pt x="4952524" y="202406"/>
                    <a:pt x="4952524" y="203359"/>
                    <a:pt x="4952524" y="203359"/>
                  </a:cubicBezTo>
                  <a:cubicBezTo>
                    <a:pt x="4949667" y="210979"/>
                    <a:pt x="4947762" y="218599"/>
                    <a:pt x="4944904" y="227171"/>
                  </a:cubicBezTo>
                  <a:cubicBezTo>
                    <a:pt x="4944904" y="227171"/>
                    <a:pt x="4944904" y="226219"/>
                    <a:pt x="4944904" y="226219"/>
                  </a:cubicBezTo>
                  <a:cubicBezTo>
                    <a:pt x="4939189" y="209074"/>
                    <a:pt x="4936331" y="199549"/>
                    <a:pt x="4936331" y="199549"/>
                  </a:cubicBezTo>
                  <a:cubicBezTo>
                    <a:pt x="4936331" y="199549"/>
                    <a:pt x="4938237" y="213836"/>
                    <a:pt x="4942046" y="236696"/>
                  </a:cubicBezTo>
                  <a:cubicBezTo>
                    <a:pt x="4942046" y="237649"/>
                    <a:pt x="4941094" y="238601"/>
                    <a:pt x="4941094" y="239554"/>
                  </a:cubicBezTo>
                  <a:cubicBezTo>
                    <a:pt x="4935379" y="255746"/>
                    <a:pt x="4929664" y="273844"/>
                    <a:pt x="4922996" y="292894"/>
                  </a:cubicBezTo>
                  <a:cubicBezTo>
                    <a:pt x="4922996" y="291941"/>
                    <a:pt x="4922996" y="290036"/>
                    <a:pt x="4922996" y="289084"/>
                  </a:cubicBezTo>
                  <a:cubicBezTo>
                    <a:pt x="4921092" y="275749"/>
                    <a:pt x="4920139" y="269081"/>
                    <a:pt x="4920139" y="269081"/>
                  </a:cubicBezTo>
                  <a:cubicBezTo>
                    <a:pt x="4920139" y="269081"/>
                    <a:pt x="4919187" y="276701"/>
                    <a:pt x="4919187" y="290036"/>
                  </a:cubicBezTo>
                  <a:cubicBezTo>
                    <a:pt x="4919187" y="291941"/>
                    <a:pt x="4919187" y="293846"/>
                    <a:pt x="4919187" y="296704"/>
                  </a:cubicBezTo>
                  <a:cubicBezTo>
                    <a:pt x="4918234" y="293846"/>
                    <a:pt x="4918234" y="290989"/>
                    <a:pt x="4917281" y="289084"/>
                  </a:cubicBezTo>
                  <a:cubicBezTo>
                    <a:pt x="4915376" y="279559"/>
                    <a:pt x="4913471" y="271939"/>
                    <a:pt x="4911567" y="266224"/>
                  </a:cubicBezTo>
                  <a:cubicBezTo>
                    <a:pt x="4907756" y="253841"/>
                    <a:pt x="4904899" y="246221"/>
                    <a:pt x="4904899" y="246221"/>
                  </a:cubicBezTo>
                  <a:cubicBezTo>
                    <a:pt x="4904899" y="246221"/>
                    <a:pt x="4905851" y="253841"/>
                    <a:pt x="4907756" y="267176"/>
                  </a:cubicBezTo>
                  <a:cubicBezTo>
                    <a:pt x="4908709" y="273844"/>
                    <a:pt x="4908709" y="281464"/>
                    <a:pt x="4909662" y="290989"/>
                  </a:cubicBezTo>
                  <a:cubicBezTo>
                    <a:pt x="4910614" y="299561"/>
                    <a:pt x="4910614" y="310039"/>
                    <a:pt x="4911567" y="321469"/>
                  </a:cubicBezTo>
                  <a:cubicBezTo>
                    <a:pt x="4910614" y="323374"/>
                    <a:pt x="4909662" y="325279"/>
                    <a:pt x="4908709" y="327184"/>
                  </a:cubicBezTo>
                  <a:cubicBezTo>
                    <a:pt x="4906804" y="322421"/>
                    <a:pt x="4903946" y="317659"/>
                    <a:pt x="4902042" y="313849"/>
                  </a:cubicBezTo>
                  <a:cubicBezTo>
                    <a:pt x="4899184" y="308134"/>
                    <a:pt x="4896326" y="302419"/>
                    <a:pt x="4894421" y="298609"/>
                  </a:cubicBezTo>
                  <a:cubicBezTo>
                    <a:pt x="4893469" y="290036"/>
                    <a:pt x="4892517" y="285274"/>
                    <a:pt x="4892517" y="285274"/>
                  </a:cubicBezTo>
                  <a:cubicBezTo>
                    <a:pt x="4892517" y="285274"/>
                    <a:pt x="4892517" y="288131"/>
                    <a:pt x="4891564" y="293846"/>
                  </a:cubicBezTo>
                  <a:cubicBezTo>
                    <a:pt x="4889659" y="290989"/>
                    <a:pt x="4888706" y="289084"/>
                    <a:pt x="4888706" y="289084"/>
                  </a:cubicBezTo>
                  <a:cubicBezTo>
                    <a:pt x="4888706" y="289084"/>
                    <a:pt x="4889659" y="291941"/>
                    <a:pt x="4891564" y="295751"/>
                  </a:cubicBezTo>
                  <a:cubicBezTo>
                    <a:pt x="4890612" y="306229"/>
                    <a:pt x="4888706" y="324326"/>
                    <a:pt x="4887754" y="348139"/>
                  </a:cubicBezTo>
                  <a:cubicBezTo>
                    <a:pt x="4887754" y="350996"/>
                    <a:pt x="4887754" y="354806"/>
                    <a:pt x="4887754" y="357664"/>
                  </a:cubicBezTo>
                  <a:cubicBezTo>
                    <a:pt x="4885849" y="354806"/>
                    <a:pt x="4883944" y="352901"/>
                    <a:pt x="4882991" y="350996"/>
                  </a:cubicBezTo>
                  <a:cubicBezTo>
                    <a:pt x="4882991" y="347186"/>
                    <a:pt x="4882039" y="343376"/>
                    <a:pt x="4882039" y="338614"/>
                  </a:cubicBezTo>
                  <a:cubicBezTo>
                    <a:pt x="4882039" y="338614"/>
                    <a:pt x="4882039" y="337661"/>
                    <a:pt x="4882039" y="337661"/>
                  </a:cubicBezTo>
                  <a:cubicBezTo>
                    <a:pt x="4882991" y="333851"/>
                    <a:pt x="4882991" y="330041"/>
                    <a:pt x="4883944" y="327184"/>
                  </a:cubicBezTo>
                  <a:cubicBezTo>
                    <a:pt x="4884896" y="324326"/>
                    <a:pt x="4884896" y="321469"/>
                    <a:pt x="4885849" y="319564"/>
                  </a:cubicBezTo>
                  <a:cubicBezTo>
                    <a:pt x="4886801" y="315754"/>
                    <a:pt x="4887754" y="312896"/>
                    <a:pt x="4887754" y="312896"/>
                  </a:cubicBezTo>
                  <a:cubicBezTo>
                    <a:pt x="4887754" y="312896"/>
                    <a:pt x="4886801" y="314801"/>
                    <a:pt x="4884896" y="318611"/>
                  </a:cubicBezTo>
                  <a:cubicBezTo>
                    <a:pt x="4883944" y="320516"/>
                    <a:pt x="4882991" y="323374"/>
                    <a:pt x="4882039" y="326231"/>
                  </a:cubicBezTo>
                  <a:cubicBezTo>
                    <a:pt x="4882039" y="327184"/>
                    <a:pt x="4882039" y="327184"/>
                    <a:pt x="4882039" y="328136"/>
                  </a:cubicBezTo>
                  <a:cubicBezTo>
                    <a:pt x="4882039" y="327184"/>
                    <a:pt x="4882039" y="326231"/>
                    <a:pt x="4882039" y="326231"/>
                  </a:cubicBezTo>
                  <a:cubicBezTo>
                    <a:pt x="4880134" y="312896"/>
                    <a:pt x="4878229" y="300514"/>
                    <a:pt x="4877276" y="288131"/>
                  </a:cubicBezTo>
                  <a:cubicBezTo>
                    <a:pt x="4876324" y="279559"/>
                    <a:pt x="4874419" y="270986"/>
                    <a:pt x="4873466" y="263366"/>
                  </a:cubicBezTo>
                  <a:cubicBezTo>
                    <a:pt x="4875372" y="253841"/>
                    <a:pt x="4876324" y="245269"/>
                    <a:pt x="4878229" y="238601"/>
                  </a:cubicBezTo>
                  <a:cubicBezTo>
                    <a:pt x="4881087" y="221456"/>
                    <a:pt x="4882039" y="211931"/>
                    <a:pt x="4882039" y="211931"/>
                  </a:cubicBezTo>
                  <a:cubicBezTo>
                    <a:pt x="4882039" y="211931"/>
                    <a:pt x="4879181" y="221456"/>
                    <a:pt x="4874419" y="237649"/>
                  </a:cubicBezTo>
                  <a:cubicBezTo>
                    <a:pt x="4873466" y="241459"/>
                    <a:pt x="4872514" y="245269"/>
                    <a:pt x="4870609" y="249079"/>
                  </a:cubicBezTo>
                  <a:cubicBezTo>
                    <a:pt x="4869656" y="242411"/>
                    <a:pt x="4867751" y="236696"/>
                    <a:pt x="4866799" y="231934"/>
                  </a:cubicBezTo>
                  <a:cubicBezTo>
                    <a:pt x="4863941" y="218599"/>
                    <a:pt x="4862037" y="210979"/>
                    <a:pt x="4862037" y="210979"/>
                  </a:cubicBezTo>
                  <a:cubicBezTo>
                    <a:pt x="4862037" y="210979"/>
                    <a:pt x="4862037" y="218599"/>
                    <a:pt x="4862989" y="232886"/>
                  </a:cubicBezTo>
                  <a:cubicBezTo>
                    <a:pt x="4862989" y="237649"/>
                    <a:pt x="4863941" y="242411"/>
                    <a:pt x="4863941" y="248126"/>
                  </a:cubicBezTo>
                  <a:cubicBezTo>
                    <a:pt x="4863941" y="250984"/>
                    <a:pt x="4863941" y="255746"/>
                    <a:pt x="4863941" y="261461"/>
                  </a:cubicBezTo>
                  <a:cubicBezTo>
                    <a:pt x="4862989" y="262414"/>
                    <a:pt x="4862037" y="263366"/>
                    <a:pt x="4860131" y="264319"/>
                  </a:cubicBezTo>
                  <a:cubicBezTo>
                    <a:pt x="4856322" y="268129"/>
                    <a:pt x="4850606" y="272891"/>
                    <a:pt x="4843939" y="281464"/>
                  </a:cubicBezTo>
                  <a:cubicBezTo>
                    <a:pt x="4842987" y="277654"/>
                    <a:pt x="4842034" y="273844"/>
                    <a:pt x="4841081" y="270986"/>
                  </a:cubicBezTo>
                  <a:cubicBezTo>
                    <a:pt x="4842034" y="268129"/>
                    <a:pt x="4842987" y="266224"/>
                    <a:pt x="4842987" y="266224"/>
                  </a:cubicBezTo>
                  <a:cubicBezTo>
                    <a:pt x="4842987" y="266224"/>
                    <a:pt x="4842034" y="267176"/>
                    <a:pt x="4841081" y="269081"/>
                  </a:cubicBezTo>
                  <a:cubicBezTo>
                    <a:pt x="4840129" y="265271"/>
                    <a:pt x="4840129" y="262414"/>
                    <a:pt x="4840129" y="262414"/>
                  </a:cubicBezTo>
                  <a:cubicBezTo>
                    <a:pt x="4840129" y="262414"/>
                    <a:pt x="4840129" y="265271"/>
                    <a:pt x="4840129" y="270034"/>
                  </a:cubicBezTo>
                  <a:cubicBezTo>
                    <a:pt x="4838224" y="271939"/>
                    <a:pt x="4836319" y="274796"/>
                    <a:pt x="4833462" y="278606"/>
                  </a:cubicBezTo>
                  <a:cubicBezTo>
                    <a:pt x="4830604" y="283369"/>
                    <a:pt x="4826794" y="288131"/>
                    <a:pt x="4822984" y="294799"/>
                  </a:cubicBezTo>
                  <a:cubicBezTo>
                    <a:pt x="4821079" y="297656"/>
                    <a:pt x="4819174" y="301466"/>
                    <a:pt x="4816316" y="304324"/>
                  </a:cubicBezTo>
                  <a:cubicBezTo>
                    <a:pt x="4814412" y="308134"/>
                    <a:pt x="4812506" y="311944"/>
                    <a:pt x="4809649" y="315754"/>
                  </a:cubicBezTo>
                  <a:cubicBezTo>
                    <a:pt x="4809649" y="316706"/>
                    <a:pt x="4808697" y="317659"/>
                    <a:pt x="4807744" y="318611"/>
                  </a:cubicBezTo>
                  <a:cubicBezTo>
                    <a:pt x="4807744" y="309086"/>
                    <a:pt x="4807744" y="304324"/>
                    <a:pt x="4807744" y="304324"/>
                  </a:cubicBezTo>
                  <a:cubicBezTo>
                    <a:pt x="4807744" y="304324"/>
                    <a:pt x="4805839" y="312896"/>
                    <a:pt x="4803934" y="327184"/>
                  </a:cubicBezTo>
                  <a:cubicBezTo>
                    <a:pt x="4801076" y="331946"/>
                    <a:pt x="4798219" y="336709"/>
                    <a:pt x="4795362" y="342424"/>
                  </a:cubicBezTo>
                  <a:cubicBezTo>
                    <a:pt x="4795362" y="335756"/>
                    <a:pt x="4795362" y="330041"/>
                    <a:pt x="4795362" y="324326"/>
                  </a:cubicBezTo>
                  <a:cubicBezTo>
                    <a:pt x="4795362" y="319564"/>
                    <a:pt x="4795362" y="315754"/>
                    <a:pt x="4795362" y="311944"/>
                  </a:cubicBezTo>
                  <a:cubicBezTo>
                    <a:pt x="4796314" y="308134"/>
                    <a:pt x="4796314" y="305276"/>
                    <a:pt x="4796314" y="302419"/>
                  </a:cubicBezTo>
                  <a:cubicBezTo>
                    <a:pt x="4796314" y="300514"/>
                    <a:pt x="4796314" y="299561"/>
                    <a:pt x="4797266" y="297656"/>
                  </a:cubicBezTo>
                  <a:cubicBezTo>
                    <a:pt x="4799172" y="286226"/>
                    <a:pt x="4802029" y="274796"/>
                    <a:pt x="4803934" y="264319"/>
                  </a:cubicBezTo>
                  <a:cubicBezTo>
                    <a:pt x="4811554" y="221456"/>
                    <a:pt x="4815364" y="192881"/>
                    <a:pt x="4815364" y="192881"/>
                  </a:cubicBezTo>
                  <a:cubicBezTo>
                    <a:pt x="4815364" y="192881"/>
                    <a:pt x="4804887" y="220504"/>
                    <a:pt x="4792504" y="262414"/>
                  </a:cubicBezTo>
                  <a:cubicBezTo>
                    <a:pt x="4791551" y="264319"/>
                    <a:pt x="4791551" y="266224"/>
                    <a:pt x="4790599" y="268129"/>
                  </a:cubicBezTo>
                  <a:cubicBezTo>
                    <a:pt x="4788694" y="256699"/>
                    <a:pt x="4788694" y="250031"/>
                    <a:pt x="4788694" y="250031"/>
                  </a:cubicBezTo>
                  <a:cubicBezTo>
                    <a:pt x="4788694" y="250031"/>
                    <a:pt x="4788694" y="257651"/>
                    <a:pt x="4787741" y="270986"/>
                  </a:cubicBezTo>
                  <a:cubicBezTo>
                    <a:pt x="4787741" y="273844"/>
                    <a:pt x="4787741" y="277654"/>
                    <a:pt x="4787741" y="281464"/>
                  </a:cubicBezTo>
                  <a:cubicBezTo>
                    <a:pt x="4785837" y="287179"/>
                    <a:pt x="4783931" y="292894"/>
                    <a:pt x="4782979" y="299561"/>
                  </a:cubicBezTo>
                  <a:cubicBezTo>
                    <a:pt x="4782979" y="297656"/>
                    <a:pt x="4782979" y="295751"/>
                    <a:pt x="4782979" y="293846"/>
                  </a:cubicBezTo>
                  <a:cubicBezTo>
                    <a:pt x="4783931" y="282416"/>
                    <a:pt x="4783931" y="271939"/>
                    <a:pt x="4784884" y="263366"/>
                  </a:cubicBezTo>
                  <a:cubicBezTo>
                    <a:pt x="4785837" y="253841"/>
                    <a:pt x="4785837" y="246221"/>
                    <a:pt x="4786789" y="239554"/>
                  </a:cubicBezTo>
                  <a:cubicBezTo>
                    <a:pt x="4788694" y="226219"/>
                    <a:pt x="4789647" y="218599"/>
                    <a:pt x="4789647" y="218599"/>
                  </a:cubicBezTo>
                  <a:cubicBezTo>
                    <a:pt x="4789647" y="218599"/>
                    <a:pt x="4787741" y="226219"/>
                    <a:pt x="4782979" y="238601"/>
                  </a:cubicBezTo>
                  <a:cubicBezTo>
                    <a:pt x="4781074" y="245269"/>
                    <a:pt x="4779169" y="252889"/>
                    <a:pt x="4777264" y="262414"/>
                  </a:cubicBezTo>
                  <a:cubicBezTo>
                    <a:pt x="4776312" y="264319"/>
                    <a:pt x="4776312" y="266224"/>
                    <a:pt x="4776312" y="269081"/>
                  </a:cubicBezTo>
                  <a:cubicBezTo>
                    <a:pt x="4774406" y="257651"/>
                    <a:pt x="4773454" y="251936"/>
                    <a:pt x="4773454" y="251936"/>
                  </a:cubicBezTo>
                  <a:cubicBezTo>
                    <a:pt x="4773454" y="251936"/>
                    <a:pt x="4773454" y="264319"/>
                    <a:pt x="4773454" y="284321"/>
                  </a:cubicBezTo>
                  <a:cubicBezTo>
                    <a:pt x="4772501" y="287179"/>
                    <a:pt x="4772501" y="290989"/>
                    <a:pt x="4771549" y="293846"/>
                  </a:cubicBezTo>
                  <a:cubicBezTo>
                    <a:pt x="4771549" y="294799"/>
                    <a:pt x="4771549" y="294799"/>
                    <a:pt x="4771549" y="295751"/>
                  </a:cubicBezTo>
                  <a:cubicBezTo>
                    <a:pt x="4769644" y="273844"/>
                    <a:pt x="4767739" y="260509"/>
                    <a:pt x="4767739" y="260509"/>
                  </a:cubicBezTo>
                  <a:cubicBezTo>
                    <a:pt x="4767739" y="260509"/>
                    <a:pt x="4765834" y="274796"/>
                    <a:pt x="4764881" y="297656"/>
                  </a:cubicBezTo>
                  <a:cubicBezTo>
                    <a:pt x="4762024" y="290036"/>
                    <a:pt x="4758214" y="283369"/>
                    <a:pt x="4755356" y="276701"/>
                  </a:cubicBezTo>
                  <a:cubicBezTo>
                    <a:pt x="4753451" y="273844"/>
                    <a:pt x="4752499" y="271939"/>
                    <a:pt x="4750594" y="270034"/>
                  </a:cubicBezTo>
                  <a:cubicBezTo>
                    <a:pt x="4753451" y="260509"/>
                    <a:pt x="4755356" y="251936"/>
                    <a:pt x="4758214" y="243364"/>
                  </a:cubicBezTo>
                  <a:cubicBezTo>
                    <a:pt x="4767739" y="209074"/>
                    <a:pt x="4774406" y="180499"/>
                    <a:pt x="4780122" y="161449"/>
                  </a:cubicBezTo>
                  <a:cubicBezTo>
                    <a:pt x="4784884" y="141446"/>
                    <a:pt x="4787741" y="130016"/>
                    <a:pt x="4787741" y="130016"/>
                  </a:cubicBezTo>
                  <a:cubicBezTo>
                    <a:pt x="4787741" y="130016"/>
                    <a:pt x="4782979" y="140494"/>
                    <a:pt x="4776312" y="160496"/>
                  </a:cubicBezTo>
                  <a:cubicBezTo>
                    <a:pt x="4769644" y="179546"/>
                    <a:pt x="4759166" y="207169"/>
                    <a:pt x="4747737" y="240506"/>
                  </a:cubicBezTo>
                  <a:cubicBezTo>
                    <a:pt x="4745831" y="246221"/>
                    <a:pt x="4743926" y="251936"/>
                    <a:pt x="4742022" y="257651"/>
                  </a:cubicBezTo>
                  <a:cubicBezTo>
                    <a:pt x="4742022" y="257651"/>
                    <a:pt x="4742022" y="257651"/>
                    <a:pt x="4742022" y="257651"/>
                  </a:cubicBezTo>
                  <a:cubicBezTo>
                    <a:pt x="4737259" y="251936"/>
                    <a:pt x="4732497" y="248126"/>
                    <a:pt x="4727734" y="244316"/>
                  </a:cubicBezTo>
                  <a:cubicBezTo>
                    <a:pt x="4725829" y="242411"/>
                    <a:pt x="4722972" y="241459"/>
                    <a:pt x="4721066" y="240506"/>
                  </a:cubicBezTo>
                  <a:cubicBezTo>
                    <a:pt x="4719162" y="239554"/>
                    <a:pt x="4717256" y="238601"/>
                    <a:pt x="4716304" y="238601"/>
                  </a:cubicBezTo>
                  <a:cubicBezTo>
                    <a:pt x="4713447" y="237649"/>
                    <a:pt x="4712494" y="237649"/>
                    <a:pt x="4712494" y="237649"/>
                  </a:cubicBezTo>
                  <a:cubicBezTo>
                    <a:pt x="4712494" y="237649"/>
                    <a:pt x="4713447" y="238601"/>
                    <a:pt x="4716304" y="239554"/>
                  </a:cubicBezTo>
                  <a:cubicBezTo>
                    <a:pt x="4719162" y="240506"/>
                    <a:pt x="4722019" y="243364"/>
                    <a:pt x="4725829" y="246221"/>
                  </a:cubicBezTo>
                  <a:cubicBezTo>
                    <a:pt x="4729639" y="250031"/>
                    <a:pt x="4733449" y="254794"/>
                    <a:pt x="4736306" y="260509"/>
                  </a:cubicBezTo>
                  <a:cubicBezTo>
                    <a:pt x="4737259" y="262414"/>
                    <a:pt x="4738212" y="264319"/>
                    <a:pt x="4739164" y="266224"/>
                  </a:cubicBezTo>
                  <a:cubicBezTo>
                    <a:pt x="4736306" y="274796"/>
                    <a:pt x="4732497" y="284321"/>
                    <a:pt x="4729639" y="293846"/>
                  </a:cubicBezTo>
                  <a:cubicBezTo>
                    <a:pt x="4729639" y="294799"/>
                    <a:pt x="4729639" y="294799"/>
                    <a:pt x="4728687" y="295751"/>
                  </a:cubicBezTo>
                  <a:cubicBezTo>
                    <a:pt x="4728687" y="295751"/>
                    <a:pt x="4728687" y="295751"/>
                    <a:pt x="4728687" y="294799"/>
                  </a:cubicBezTo>
                  <a:cubicBezTo>
                    <a:pt x="4728687" y="291941"/>
                    <a:pt x="4728687" y="290989"/>
                    <a:pt x="4728687" y="290989"/>
                  </a:cubicBezTo>
                  <a:cubicBezTo>
                    <a:pt x="4728687" y="290989"/>
                    <a:pt x="4728687" y="291941"/>
                    <a:pt x="4727734" y="293846"/>
                  </a:cubicBezTo>
                  <a:cubicBezTo>
                    <a:pt x="4723924" y="285274"/>
                    <a:pt x="4720114" y="277654"/>
                    <a:pt x="4717256" y="270986"/>
                  </a:cubicBezTo>
                  <a:cubicBezTo>
                    <a:pt x="4716304" y="269081"/>
                    <a:pt x="4715351" y="267176"/>
                    <a:pt x="4714399" y="265271"/>
                  </a:cubicBezTo>
                  <a:cubicBezTo>
                    <a:pt x="4715351" y="257651"/>
                    <a:pt x="4716304" y="252889"/>
                    <a:pt x="4716304" y="252889"/>
                  </a:cubicBezTo>
                  <a:cubicBezTo>
                    <a:pt x="4716304" y="252889"/>
                    <a:pt x="4715351" y="256699"/>
                    <a:pt x="4713447" y="262414"/>
                  </a:cubicBezTo>
                  <a:cubicBezTo>
                    <a:pt x="4708684" y="252889"/>
                    <a:pt x="4706779" y="248126"/>
                    <a:pt x="4706779" y="248126"/>
                  </a:cubicBezTo>
                  <a:cubicBezTo>
                    <a:pt x="4706779" y="248126"/>
                    <a:pt x="4708684" y="254794"/>
                    <a:pt x="4712494" y="267176"/>
                  </a:cubicBezTo>
                  <a:cubicBezTo>
                    <a:pt x="4711541" y="270034"/>
                    <a:pt x="4710589" y="273844"/>
                    <a:pt x="4708684" y="277654"/>
                  </a:cubicBezTo>
                  <a:cubicBezTo>
                    <a:pt x="4700112" y="251936"/>
                    <a:pt x="4694397" y="236696"/>
                    <a:pt x="4694397" y="236696"/>
                  </a:cubicBezTo>
                  <a:cubicBezTo>
                    <a:pt x="4694397" y="236696"/>
                    <a:pt x="4697254" y="258604"/>
                    <a:pt x="4702969" y="293846"/>
                  </a:cubicBezTo>
                  <a:cubicBezTo>
                    <a:pt x="4700112" y="304324"/>
                    <a:pt x="4696301" y="317659"/>
                    <a:pt x="4691539" y="331946"/>
                  </a:cubicBezTo>
                  <a:cubicBezTo>
                    <a:pt x="4691539" y="330994"/>
                    <a:pt x="4690587" y="330041"/>
                    <a:pt x="4690587" y="329089"/>
                  </a:cubicBezTo>
                  <a:cubicBezTo>
                    <a:pt x="4685824" y="319564"/>
                    <a:pt x="4682966" y="313849"/>
                    <a:pt x="4682966" y="313849"/>
                  </a:cubicBezTo>
                  <a:cubicBezTo>
                    <a:pt x="4682966" y="313849"/>
                    <a:pt x="4683919" y="316706"/>
                    <a:pt x="4684872" y="322421"/>
                  </a:cubicBezTo>
                  <a:cubicBezTo>
                    <a:pt x="4684872" y="322421"/>
                    <a:pt x="4684872" y="322421"/>
                    <a:pt x="4684872" y="322421"/>
                  </a:cubicBezTo>
                  <a:cubicBezTo>
                    <a:pt x="4676299" y="310991"/>
                    <a:pt x="4671537" y="304324"/>
                    <a:pt x="4671537" y="304324"/>
                  </a:cubicBezTo>
                  <a:cubicBezTo>
                    <a:pt x="4671537" y="304324"/>
                    <a:pt x="4675347" y="311944"/>
                    <a:pt x="4682014" y="324326"/>
                  </a:cubicBezTo>
                  <a:cubicBezTo>
                    <a:pt x="4683919" y="328136"/>
                    <a:pt x="4686776" y="332899"/>
                    <a:pt x="4688681" y="337661"/>
                  </a:cubicBezTo>
                  <a:cubicBezTo>
                    <a:pt x="4688681" y="338614"/>
                    <a:pt x="4688681" y="339566"/>
                    <a:pt x="4689634" y="340519"/>
                  </a:cubicBezTo>
                  <a:cubicBezTo>
                    <a:pt x="4687729" y="349091"/>
                    <a:pt x="4684872" y="356711"/>
                    <a:pt x="4682966" y="366236"/>
                  </a:cubicBezTo>
                  <a:cubicBezTo>
                    <a:pt x="4681062" y="364331"/>
                    <a:pt x="4680109" y="361474"/>
                    <a:pt x="4678204" y="359569"/>
                  </a:cubicBezTo>
                  <a:cubicBezTo>
                    <a:pt x="4675347" y="355759"/>
                    <a:pt x="4671537" y="351949"/>
                    <a:pt x="4669631" y="349091"/>
                  </a:cubicBezTo>
                  <a:cubicBezTo>
                    <a:pt x="4669631" y="349091"/>
                    <a:pt x="4669631" y="349091"/>
                    <a:pt x="4668679" y="348139"/>
                  </a:cubicBezTo>
                  <a:cubicBezTo>
                    <a:pt x="4669631" y="341471"/>
                    <a:pt x="4669631" y="335756"/>
                    <a:pt x="4669631" y="330994"/>
                  </a:cubicBezTo>
                  <a:cubicBezTo>
                    <a:pt x="4670584" y="318611"/>
                    <a:pt x="4669631" y="310991"/>
                    <a:pt x="4669631" y="310991"/>
                  </a:cubicBezTo>
                  <a:cubicBezTo>
                    <a:pt x="4669631" y="310991"/>
                    <a:pt x="4669631" y="311944"/>
                    <a:pt x="4669631" y="313849"/>
                  </a:cubicBezTo>
                  <a:cubicBezTo>
                    <a:pt x="4669631" y="310039"/>
                    <a:pt x="4670584" y="305276"/>
                    <a:pt x="4670584" y="301466"/>
                  </a:cubicBezTo>
                  <a:cubicBezTo>
                    <a:pt x="4670584" y="296704"/>
                    <a:pt x="4670584" y="291941"/>
                    <a:pt x="4670584" y="287179"/>
                  </a:cubicBezTo>
                  <a:cubicBezTo>
                    <a:pt x="4672489" y="282416"/>
                    <a:pt x="4673441" y="278606"/>
                    <a:pt x="4675347" y="274796"/>
                  </a:cubicBezTo>
                  <a:cubicBezTo>
                    <a:pt x="4683919" y="259556"/>
                    <a:pt x="4689634" y="250984"/>
                    <a:pt x="4689634" y="250984"/>
                  </a:cubicBezTo>
                  <a:cubicBezTo>
                    <a:pt x="4689634" y="250984"/>
                    <a:pt x="4686776" y="254794"/>
                    <a:pt x="4681062" y="262414"/>
                  </a:cubicBezTo>
                  <a:cubicBezTo>
                    <a:pt x="4684872" y="252889"/>
                    <a:pt x="4686776" y="248126"/>
                    <a:pt x="4686776" y="248126"/>
                  </a:cubicBezTo>
                  <a:cubicBezTo>
                    <a:pt x="4686776" y="248126"/>
                    <a:pt x="4682966" y="254794"/>
                    <a:pt x="4675347" y="265271"/>
                  </a:cubicBezTo>
                  <a:cubicBezTo>
                    <a:pt x="4673441" y="267176"/>
                    <a:pt x="4672489" y="270034"/>
                    <a:pt x="4670584" y="272891"/>
                  </a:cubicBezTo>
                  <a:cubicBezTo>
                    <a:pt x="4670584" y="270986"/>
                    <a:pt x="4670584" y="270034"/>
                    <a:pt x="4670584" y="268129"/>
                  </a:cubicBezTo>
                  <a:cubicBezTo>
                    <a:pt x="4669631" y="261461"/>
                    <a:pt x="4669631" y="255746"/>
                    <a:pt x="4668679" y="250984"/>
                  </a:cubicBezTo>
                  <a:cubicBezTo>
                    <a:pt x="4668679" y="250031"/>
                    <a:pt x="4668679" y="248126"/>
                    <a:pt x="4669631" y="247174"/>
                  </a:cubicBezTo>
                  <a:cubicBezTo>
                    <a:pt x="4671537" y="230981"/>
                    <a:pt x="4671537" y="222409"/>
                    <a:pt x="4671537" y="222409"/>
                  </a:cubicBezTo>
                  <a:cubicBezTo>
                    <a:pt x="4671537" y="222409"/>
                    <a:pt x="4671537" y="224314"/>
                    <a:pt x="4670584" y="229076"/>
                  </a:cubicBezTo>
                  <a:cubicBezTo>
                    <a:pt x="4669631" y="231934"/>
                    <a:pt x="4668679" y="236696"/>
                    <a:pt x="4666774" y="242411"/>
                  </a:cubicBezTo>
                  <a:cubicBezTo>
                    <a:pt x="4666774" y="242411"/>
                    <a:pt x="4666774" y="242411"/>
                    <a:pt x="4666774" y="241459"/>
                  </a:cubicBezTo>
                  <a:cubicBezTo>
                    <a:pt x="4666774" y="241459"/>
                    <a:pt x="4666774" y="241459"/>
                    <a:pt x="4666774" y="241459"/>
                  </a:cubicBezTo>
                  <a:cubicBezTo>
                    <a:pt x="4666774" y="241459"/>
                    <a:pt x="4666774" y="241459"/>
                    <a:pt x="4666774" y="241459"/>
                  </a:cubicBezTo>
                  <a:cubicBezTo>
                    <a:pt x="4665822" y="235744"/>
                    <a:pt x="4663916" y="230981"/>
                    <a:pt x="4662012" y="228124"/>
                  </a:cubicBezTo>
                  <a:cubicBezTo>
                    <a:pt x="4661059" y="224314"/>
                    <a:pt x="4660106" y="222409"/>
                    <a:pt x="4660106" y="222409"/>
                  </a:cubicBezTo>
                  <a:cubicBezTo>
                    <a:pt x="4660106" y="222409"/>
                    <a:pt x="4660106" y="224314"/>
                    <a:pt x="4661059" y="228124"/>
                  </a:cubicBezTo>
                  <a:cubicBezTo>
                    <a:pt x="4662012" y="231934"/>
                    <a:pt x="4662964" y="237649"/>
                    <a:pt x="4662964" y="244316"/>
                  </a:cubicBezTo>
                  <a:cubicBezTo>
                    <a:pt x="4662964" y="245269"/>
                    <a:pt x="4662964" y="245269"/>
                    <a:pt x="4662964" y="246221"/>
                  </a:cubicBezTo>
                  <a:cubicBezTo>
                    <a:pt x="4662964" y="246221"/>
                    <a:pt x="4662964" y="246221"/>
                    <a:pt x="4662964" y="246221"/>
                  </a:cubicBezTo>
                  <a:cubicBezTo>
                    <a:pt x="4660106" y="250031"/>
                    <a:pt x="4657249" y="254794"/>
                    <a:pt x="4654391" y="262414"/>
                  </a:cubicBezTo>
                  <a:cubicBezTo>
                    <a:pt x="4653439" y="265271"/>
                    <a:pt x="4652487" y="268129"/>
                    <a:pt x="4650581" y="271939"/>
                  </a:cubicBezTo>
                  <a:cubicBezTo>
                    <a:pt x="4649629" y="267176"/>
                    <a:pt x="4647724" y="264319"/>
                    <a:pt x="4646772" y="261461"/>
                  </a:cubicBezTo>
                  <a:cubicBezTo>
                    <a:pt x="4646772" y="260509"/>
                    <a:pt x="4645819" y="259556"/>
                    <a:pt x="4645819" y="259556"/>
                  </a:cubicBezTo>
                  <a:cubicBezTo>
                    <a:pt x="4645819" y="257651"/>
                    <a:pt x="4646772" y="255746"/>
                    <a:pt x="4646772" y="253841"/>
                  </a:cubicBezTo>
                  <a:cubicBezTo>
                    <a:pt x="4648676" y="243364"/>
                    <a:pt x="4650581" y="234791"/>
                    <a:pt x="4653439" y="227171"/>
                  </a:cubicBezTo>
                  <a:cubicBezTo>
                    <a:pt x="4657249" y="212884"/>
                    <a:pt x="4660106" y="204311"/>
                    <a:pt x="4660106" y="204311"/>
                  </a:cubicBezTo>
                  <a:cubicBezTo>
                    <a:pt x="4660106" y="204311"/>
                    <a:pt x="4656297" y="211931"/>
                    <a:pt x="4650581" y="226219"/>
                  </a:cubicBezTo>
                  <a:cubicBezTo>
                    <a:pt x="4647724" y="232886"/>
                    <a:pt x="4643914" y="241459"/>
                    <a:pt x="4641056" y="251936"/>
                  </a:cubicBezTo>
                  <a:cubicBezTo>
                    <a:pt x="4639151" y="256699"/>
                    <a:pt x="4637247" y="261461"/>
                    <a:pt x="4636294" y="267176"/>
                  </a:cubicBezTo>
                  <a:cubicBezTo>
                    <a:pt x="4636294" y="264319"/>
                    <a:pt x="4636294" y="261461"/>
                    <a:pt x="4636294" y="259556"/>
                  </a:cubicBezTo>
                  <a:cubicBezTo>
                    <a:pt x="4636294" y="251936"/>
                    <a:pt x="4637247" y="246221"/>
                    <a:pt x="4638199" y="242411"/>
                  </a:cubicBezTo>
                  <a:cubicBezTo>
                    <a:pt x="4639151" y="238601"/>
                    <a:pt x="4639151" y="235744"/>
                    <a:pt x="4639151" y="235744"/>
                  </a:cubicBezTo>
                  <a:cubicBezTo>
                    <a:pt x="4639151" y="235744"/>
                    <a:pt x="4638199" y="237649"/>
                    <a:pt x="4637247" y="241459"/>
                  </a:cubicBezTo>
                  <a:cubicBezTo>
                    <a:pt x="4636294" y="245269"/>
                    <a:pt x="4633437" y="250984"/>
                    <a:pt x="4632484" y="258604"/>
                  </a:cubicBezTo>
                  <a:cubicBezTo>
                    <a:pt x="4632484" y="258604"/>
                    <a:pt x="4632484" y="258604"/>
                    <a:pt x="4632484" y="258604"/>
                  </a:cubicBezTo>
                  <a:cubicBezTo>
                    <a:pt x="4631531" y="255746"/>
                    <a:pt x="4631531" y="254794"/>
                    <a:pt x="4631531" y="254794"/>
                  </a:cubicBezTo>
                  <a:cubicBezTo>
                    <a:pt x="4631531" y="254794"/>
                    <a:pt x="4631531" y="256699"/>
                    <a:pt x="4632484" y="259556"/>
                  </a:cubicBezTo>
                  <a:cubicBezTo>
                    <a:pt x="4630579" y="267176"/>
                    <a:pt x="4629626" y="275749"/>
                    <a:pt x="4628674" y="285274"/>
                  </a:cubicBezTo>
                  <a:cubicBezTo>
                    <a:pt x="4628674" y="288131"/>
                    <a:pt x="4628674" y="290989"/>
                    <a:pt x="4628674" y="293846"/>
                  </a:cubicBezTo>
                  <a:cubicBezTo>
                    <a:pt x="4627722" y="296704"/>
                    <a:pt x="4626769" y="300514"/>
                    <a:pt x="4625816" y="303371"/>
                  </a:cubicBezTo>
                  <a:cubicBezTo>
                    <a:pt x="4619149" y="298609"/>
                    <a:pt x="4614387" y="295751"/>
                    <a:pt x="4610576" y="293846"/>
                  </a:cubicBezTo>
                  <a:cubicBezTo>
                    <a:pt x="4606766" y="291941"/>
                    <a:pt x="4604862" y="290989"/>
                    <a:pt x="4604862" y="290989"/>
                  </a:cubicBezTo>
                  <a:cubicBezTo>
                    <a:pt x="4604862" y="290989"/>
                    <a:pt x="4606766" y="291941"/>
                    <a:pt x="4610576" y="294799"/>
                  </a:cubicBezTo>
                  <a:cubicBezTo>
                    <a:pt x="4614387" y="296704"/>
                    <a:pt x="4619149" y="301466"/>
                    <a:pt x="4624864" y="307181"/>
                  </a:cubicBezTo>
                  <a:cubicBezTo>
                    <a:pt x="4624864" y="307181"/>
                    <a:pt x="4624864" y="307181"/>
                    <a:pt x="4625816" y="308134"/>
                  </a:cubicBezTo>
                  <a:cubicBezTo>
                    <a:pt x="4624864" y="313849"/>
                    <a:pt x="4622959" y="319564"/>
                    <a:pt x="4622006" y="325279"/>
                  </a:cubicBezTo>
                  <a:cubicBezTo>
                    <a:pt x="4621054" y="330994"/>
                    <a:pt x="4620101" y="337661"/>
                    <a:pt x="4619149" y="343376"/>
                  </a:cubicBezTo>
                  <a:cubicBezTo>
                    <a:pt x="4615339" y="330041"/>
                    <a:pt x="4611529" y="317659"/>
                    <a:pt x="4607719" y="306229"/>
                  </a:cubicBezTo>
                  <a:cubicBezTo>
                    <a:pt x="4605814" y="300514"/>
                    <a:pt x="4604862" y="295751"/>
                    <a:pt x="4602956" y="290989"/>
                  </a:cubicBezTo>
                  <a:cubicBezTo>
                    <a:pt x="4602004" y="282416"/>
                    <a:pt x="4601051" y="274796"/>
                    <a:pt x="4601051" y="269081"/>
                  </a:cubicBezTo>
                  <a:cubicBezTo>
                    <a:pt x="4599147" y="255746"/>
                    <a:pt x="4599147" y="248126"/>
                    <a:pt x="4599147" y="248126"/>
                  </a:cubicBezTo>
                  <a:cubicBezTo>
                    <a:pt x="4599147" y="248126"/>
                    <a:pt x="4598194" y="255746"/>
                    <a:pt x="4597241" y="269081"/>
                  </a:cubicBezTo>
                  <a:cubicBezTo>
                    <a:pt x="4597241" y="270034"/>
                    <a:pt x="4597241" y="270986"/>
                    <a:pt x="4597241" y="271939"/>
                  </a:cubicBezTo>
                  <a:cubicBezTo>
                    <a:pt x="4594384" y="263366"/>
                    <a:pt x="4591526" y="255746"/>
                    <a:pt x="4589622" y="250031"/>
                  </a:cubicBezTo>
                  <a:cubicBezTo>
                    <a:pt x="4589622" y="247174"/>
                    <a:pt x="4589622" y="244316"/>
                    <a:pt x="4589622" y="240506"/>
                  </a:cubicBezTo>
                  <a:cubicBezTo>
                    <a:pt x="4590574" y="225266"/>
                    <a:pt x="4590574" y="210979"/>
                    <a:pt x="4590574" y="197644"/>
                  </a:cubicBezTo>
                  <a:cubicBezTo>
                    <a:pt x="4591526" y="144304"/>
                    <a:pt x="4590574" y="109061"/>
                    <a:pt x="4590574" y="109061"/>
                  </a:cubicBezTo>
                  <a:cubicBezTo>
                    <a:pt x="4590574" y="109061"/>
                    <a:pt x="4584859" y="144304"/>
                    <a:pt x="4579144" y="197644"/>
                  </a:cubicBezTo>
                  <a:cubicBezTo>
                    <a:pt x="4578191" y="210979"/>
                    <a:pt x="4576287" y="225266"/>
                    <a:pt x="4574381" y="240506"/>
                  </a:cubicBezTo>
                  <a:cubicBezTo>
                    <a:pt x="4573429" y="245269"/>
                    <a:pt x="4573429" y="250984"/>
                    <a:pt x="4573429" y="256699"/>
                  </a:cubicBezTo>
                  <a:cubicBezTo>
                    <a:pt x="4573429" y="256699"/>
                    <a:pt x="4572476" y="257651"/>
                    <a:pt x="4572476" y="257651"/>
                  </a:cubicBezTo>
                  <a:cubicBezTo>
                    <a:pt x="4569619" y="259556"/>
                    <a:pt x="4566762" y="262414"/>
                    <a:pt x="4563904" y="265271"/>
                  </a:cubicBezTo>
                  <a:cubicBezTo>
                    <a:pt x="4563904" y="265271"/>
                    <a:pt x="4563904" y="264319"/>
                    <a:pt x="4563904" y="264319"/>
                  </a:cubicBezTo>
                  <a:cubicBezTo>
                    <a:pt x="4561999" y="261461"/>
                    <a:pt x="4560094" y="258604"/>
                    <a:pt x="4559141" y="255746"/>
                  </a:cubicBezTo>
                  <a:cubicBezTo>
                    <a:pt x="4559141" y="253841"/>
                    <a:pt x="4560094" y="250984"/>
                    <a:pt x="4560094" y="249079"/>
                  </a:cubicBezTo>
                  <a:cubicBezTo>
                    <a:pt x="4570572" y="195739"/>
                    <a:pt x="4576287" y="159544"/>
                    <a:pt x="4576287" y="159544"/>
                  </a:cubicBezTo>
                  <a:cubicBezTo>
                    <a:pt x="4576287" y="159544"/>
                    <a:pt x="4564856" y="192881"/>
                    <a:pt x="4550569" y="243364"/>
                  </a:cubicBezTo>
                  <a:cubicBezTo>
                    <a:pt x="4550569" y="243364"/>
                    <a:pt x="4550569" y="243364"/>
                    <a:pt x="4550569" y="243364"/>
                  </a:cubicBezTo>
                  <a:cubicBezTo>
                    <a:pt x="4550569" y="243364"/>
                    <a:pt x="4550569" y="243364"/>
                    <a:pt x="4550569" y="243364"/>
                  </a:cubicBezTo>
                  <a:cubicBezTo>
                    <a:pt x="4550569" y="244316"/>
                    <a:pt x="4549616" y="245269"/>
                    <a:pt x="4549616" y="246221"/>
                  </a:cubicBezTo>
                  <a:cubicBezTo>
                    <a:pt x="4549616" y="247174"/>
                    <a:pt x="4549616" y="248126"/>
                    <a:pt x="4548664" y="248126"/>
                  </a:cubicBezTo>
                  <a:cubicBezTo>
                    <a:pt x="4548664" y="248126"/>
                    <a:pt x="4548664" y="248126"/>
                    <a:pt x="4548664" y="248126"/>
                  </a:cubicBezTo>
                  <a:cubicBezTo>
                    <a:pt x="4548664" y="248126"/>
                    <a:pt x="4548664" y="248126"/>
                    <a:pt x="4548664" y="248126"/>
                  </a:cubicBezTo>
                  <a:cubicBezTo>
                    <a:pt x="4544854" y="261461"/>
                    <a:pt x="4540091" y="276701"/>
                    <a:pt x="4536281" y="292894"/>
                  </a:cubicBezTo>
                  <a:cubicBezTo>
                    <a:pt x="4534376" y="261461"/>
                    <a:pt x="4531519" y="241459"/>
                    <a:pt x="4531519" y="241459"/>
                  </a:cubicBezTo>
                  <a:cubicBezTo>
                    <a:pt x="4531519" y="241459"/>
                    <a:pt x="4527709" y="266224"/>
                    <a:pt x="4525804" y="303371"/>
                  </a:cubicBezTo>
                  <a:cubicBezTo>
                    <a:pt x="4525804" y="305276"/>
                    <a:pt x="4525804" y="307181"/>
                    <a:pt x="4525804" y="309086"/>
                  </a:cubicBezTo>
                  <a:cubicBezTo>
                    <a:pt x="4524851" y="308134"/>
                    <a:pt x="4524851" y="308134"/>
                    <a:pt x="4524851" y="308134"/>
                  </a:cubicBezTo>
                  <a:cubicBezTo>
                    <a:pt x="4524851" y="308134"/>
                    <a:pt x="4524851" y="309086"/>
                    <a:pt x="4525804" y="310039"/>
                  </a:cubicBezTo>
                  <a:cubicBezTo>
                    <a:pt x="4524851" y="317659"/>
                    <a:pt x="4524851" y="325279"/>
                    <a:pt x="4523899" y="333851"/>
                  </a:cubicBezTo>
                  <a:cubicBezTo>
                    <a:pt x="4523899" y="334804"/>
                    <a:pt x="4523899" y="336709"/>
                    <a:pt x="4523899" y="337661"/>
                  </a:cubicBezTo>
                  <a:cubicBezTo>
                    <a:pt x="4523899" y="338614"/>
                    <a:pt x="4523899" y="338614"/>
                    <a:pt x="4522947" y="339566"/>
                  </a:cubicBezTo>
                  <a:cubicBezTo>
                    <a:pt x="4521041" y="333851"/>
                    <a:pt x="4519137" y="328136"/>
                    <a:pt x="4517231" y="322421"/>
                  </a:cubicBezTo>
                  <a:cubicBezTo>
                    <a:pt x="4516279" y="314801"/>
                    <a:pt x="4515326" y="307181"/>
                    <a:pt x="4514374" y="301466"/>
                  </a:cubicBezTo>
                  <a:cubicBezTo>
                    <a:pt x="4515326" y="299561"/>
                    <a:pt x="4516279" y="298609"/>
                    <a:pt x="4517231" y="297656"/>
                  </a:cubicBezTo>
                  <a:cubicBezTo>
                    <a:pt x="4520089" y="293846"/>
                    <a:pt x="4521041" y="291941"/>
                    <a:pt x="4521041" y="291941"/>
                  </a:cubicBezTo>
                  <a:cubicBezTo>
                    <a:pt x="4521041" y="291941"/>
                    <a:pt x="4519137" y="293846"/>
                    <a:pt x="4516279" y="297656"/>
                  </a:cubicBezTo>
                  <a:cubicBezTo>
                    <a:pt x="4515326" y="298609"/>
                    <a:pt x="4515326" y="299561"/>
                    <a:pt x="4514374" y="300514"/>
                  </a:cubicBezTo>
                  <a:cubicBezTo>
                    <a:pt x="4514374" y="299561"/>
                    <a:pt x="4514374" y="299561"/>
                    <a:pt x="4514374" y="298609"/>
                  </a:cubicBezTo>
                  <a:cubicBezTo>
                    <a:pt x="4515326" y="296704"/>
                    <a:pt x="4516279" y="294799"/>
                    <a:pt x="4517231" y="293846"/>
                  </a:cubicBezTo>
                  <a:cubicBezTo>
                    <a:pt x="4519137" y="290036"/>
                    <a:pt x="4520089" y="288131"/>
                    <a:pt x="4520089" y="288131"/>
                  </a:cubicBezTo>
                  <a:cubicBezTo>
                    <a:pt x="4520089" y="288131"/>
                    <a:pt x="4519137" y="290036"/>
                    <a:pt x="4516279" y="292894"/>
                  </a:cubicBezTo>
                  <a:cubicBezTo>
                    <a:pt x="4515326" y="293846"/>
                    <a:pt x="4515326" y="294799"/>
                    <a:pt x="4514374" y="295751"/>
                  </a:cubicBezTo>
                  <a:cubicBezTo>
                    <a:pt x="4513422" y="290036"/>
                    <a:pt x="4512469" y="285274"/>
                    <a:pt x="4512469" y="281464"/>
                  </a:cubicBezTo>
                  <a:cubicBezTo>
                    <a:pt x="4511516" y="272891"/>
                    <a:pt x="4511516" y="268129"/>
                    <a:pt x="4511516" y="268129"/>
                  </a:cubicBezTo>
                  <a:cubicBezTo>
                    <a:pt x="4511516" y="268129"/>
                    <a:pt x="4511516" y="270034"/>
                    <a:pt x="4510564" y="272891"/>
                  </a:cubicBezTo>
                  <a:cubicBezTo>
                    <a:pt x="4508659" y="259556"/>
                    <a:pt x="4506754" y="250984"/>
                    <a:pt x="4506754" y="250984"/>
                  </a:cubicBezTo>
                  <a:cubicBezTo>
                    <a:pt x="4506754" y="250984"/>
                    <a:pt x="4506754" y="267176"/>
                    <a:pt x="4506754" y="292894"/>
                  </a:cubicBezTo>
                  <a:cubicBezTo>
                    <a:pt x="4504849" y="289084"/>
                    <a:pt x="4502944" y="285274"/>
                    <a:pt x="4501991" y="282416"/>
                  </a:cubicBezTo>
                  <a:cubicBezTo>
                    <a:pt x="4499134" y="276701"/>
                    <a:pt x="4496276" y="271939"/>
                    <a:pt x="4494372" y="267176"/>
                  </a:cubicBezTo>
                  <a:cubicBezTo>
                    <a:pt x="4491514" y="262414"/>
                    <a:pt x="4489609" y="258604"/>
                    <a:pt x="4486751" y="254794"/>
                  </a:cubicBezTo>
                  <a:cubicBezTo>
                    <a:pt x="4483894" y="250984"/>
                    <a:pt x="4481989" y="248126"/>
                    <a:pt x="4480084" y="245269"/>
                  </a:cubicBezTo>
                  <a:cubicBezTo>
                    <a:pt x="4478179" y="242411"/>
                    <a:pt x="4476274" y="240506"/>
                    <a:pt x="4474369" y="238601"/>
                  </a:cubicBezTo>
                  <a:cubicBezTo>
                    <a:pt x="4471512" y="235744"/>
                    <a:pt x="4470559" y="233839"/>
                    <a:pt x="4469606" y="233839"/>
                  </a:cubicBezTo>
                  <a:cubicBezTo>
                    <a:pt x="4470559" y="230981"/>
                    <a:pt x="4471512" y="228124"/>
                    <a:pt x="4471512" y="225266"/>
                  </a:cubicBezTo>
                  <a:cubicBezTo>
                    <a:pt x="4474369" y="214789"/>
                    <a:pt x="4476274" y="206216"/>
                    <a:pt x="4477226" y="198596"/>
                  </a:cubicBezTo>
                  <a:cubicBezTo>
                    <a:pt x="4480084" y="184309"/>
                    <a:pt x="4481037" y="175736"/>
                    <a:pt x="4481037" y="175736"/>
                  </a:cubicBezTo>
                  <a:cubicBezTo>
                    <a:pt x="4481037" y="175736"/>
                    <a:pt x="4478179" y="183356"/>
                    <a:pt x="4473416" y="197644"/>
                  </a:cubicBezTo>
                  <a:cubicBezTo>
                    <a:pt x="4471512" y="204311"/>
                    <a:pt x="4467701" y="212884"/>
                    <a:pt x="4463891" y="222409"/>
                  </a:cubicBezTo>
                  <a:cubicBezTo>
                    <a:pt x="4461034" y="229076"/>
                    <a:pt x="4458176" y="236696"/>
                    <a:pt x="4455319" y="244316"/>
                  </a:cubicBezTo>
                  <a:cubicBezTo>
                    <a:pt x="4454366" y="240506"/>
                    <a:pt x="4453414" y="237649"/>
                    <a:pt x="4453414" y="237649"/>
                  </a:cubicBezTo>
                  <a:cubicBezTo>
                    <a:pt x="4453414" y="237649"/>
                    <a:pt x="4453414" y="240506"/>
                    <a:pt x="4454366" y="247174"/>
                  </a:cubicBezTo>
                  <a:cubicBezTo>
                    <a:pt x="4453414" y="249079"/>
                    <a:pt x="4452462" y="251936"/>
                    <a:pt x="4451509" y="253841"/>
                  </a:cubicBezTo>
                  <a:cubicBezTo>
                    <a:pt x="4446747" y="265271"/>
                    <a:pt x="4441984" y="276701"/>
                    <a:pt x="4436269" y="289084"/>
                  </a:cubicBezTo>
                  <a:cubicBezTo>
                    <a:pt x="4436269" y="288131"/>
                    <a:pt x="4435316" y="288131"/>
                    <a:pt x="4435316" y="287179"/>
                  </a:cubicBezTo>
                  <a:cubicBezTo>
                    <a:pt x="4436269" y="283369"/>
                    <a:pt x="4437222" y="278606"/>
                    <a:pt x="4438174" y="274796"/>
                  </a:cubicBezTo>
                  <a:cubicBezTo>
                    <a:pt x="4440079" y="265271"/>
                    <a:pt x="4441984" y="255746"/>
                    <a:pt x="4444841" y="247174"/>
                  </a:cubicBezTo>
                  <a:cubicBezTo>
                    <a:pt x="4449604" y="229076"/>
                    <a:pt x="4452462" y="211931"/>
                    <a:pt x="4454366" y="195739"/>
                  </a:cubicBezTo>
                  <a:cubicBezTo>
                    <a:pt x="4457224" y="179546"/>
                    <a:pt x="4459129" y="165259"/>
                    <a:pt x="4460081" y="151924"/>
                  </a:cubicBezTo>
                  <a:cubicBezTo>
                    <a:pt x="4461034" y="145256"/>
                    <a:pt x="4461987" y="139541"/>
                    <a:pt x="4461987" y="133826"/>
                  </a:cubicBezTo>
                  <a:cubicBezTo>
                    <a:pt x="4461987" y="128111"/>
                    <a:pt x="4462939" y="123349"/>
                    <a:pt x="4462939" y="118586"/>
                  </a:cubicBezTo>
                  <a:cubicBezTo>
                    <a:pt x="4463891" y="99536"/>
                    <a:pt x="4463891" y="89059"/>
                    <a:pt x="4463891" y="89059"/>
                  </a:cubicBezTo>
                  <a:cubicBezTo>
                    <a:pt x="4463891" y="89059"/>
                    <a:pt x="4461987" y="99536"/>
                    <a:pt x="4458176" y="118586"/>
                  </a:cubicBezTo>
                  <a:cubicBezTo>
                    <a:pt x="4457224" y="123349"/>
                    <a:pt x="4456272" y="128111"/>
                    <a:pt x="4455319" y="133826"/>
                  </a:cubicBezTo>
                  <a:cubicBezTo>
                    <a:pt x="4454366" y="139541"/>
                    <a:pt x="4452462" y="145256"/>
                    <a:pt x="4451509" y="151924"/>
                  </a:cubicBezTo>
                  <a:cubicBezTo>
                    <a:pt x="4448651" y="164306"/>
                    <a:pt x="4445794" y="178594"/>
                    <a:pt x="4441984" y="194786"/>
                  </a:cubicBezTo>
                  <a:cubicBezTo>
                    <a:pt x="4438174" y="210026"/>
                    <a:pt x="4434364" y="227171"/>
                    <a:pt x="4428649" y="245269"/>
                  </a:cubicBezTo>
                  <a:cubicBezTo>
                    <a:pt x="4426744" y="252889"/>
                    <a:pt x="4423887" y="261461"/>
                    <a:pt x="4421981" y="269081"/>
                  </a:cubicBezTo>
                  <a:cubicBezTo>
                    <a:pt x="4419124" y="265271"/>
                    <a:pt x="4417219" y="261461"/>
                    <a:pt x="4414362" y="258604"/>
                  </a:cubicBezTo>
                  <a:cubicBezTo>
                    <a:pt x="4406741" y="247174"/>
                    <a:pt x="4400074" y="237649"/>
                    <a:pt x="4394359" y="230029"/>
                  </a:cubicBezTo>
                  <a:cubicBezTo>
                    <a:pt x="4391501" y="227171"/>
                    <a:pt x="4389597" y="224314"/>
                    <a:pt x="4387691" y="221456"/>
                  </a:cubicBezTo>
                  <a:cubicBezTo>
                    <a:pt x="4392454" y="195739"/>
                    <a:pt x="4395312" y="180499"/>
                    <a:pt x="4395312" y="180499"/>
                  </a:cubicBezTo>
                  <a:cubicBezTo>
                    <a:pt x="4395312" y="180499"/>
                    <a:pt x="4390549" y="193834"/>
                    <a:pt x="4382929" y="215741"/>
                  </a:cubicBezTo>
                  <a:cubicBezTo>
                    <a:pt x="4378166" y="209074"/>
                    <a:pt x="4375309" y="206216"/>
                    <a:pt x="4375309" y="206216"/>
                  </a:cubicBezTo>
                  <a:cubicBezTo>
                    <a:pt x="4375309" y="206216"/>
                    <a:pt x="4378166" y="210979"/>
                    <a:pt x="4381976" y="218599"/>
                  </a:cubicBezTo>
                  <a:cubicBezTo>
                    <a:pt x="4378166" y="230029"/>
                    <a:pt x="4374356" y="244316"/>
                    <a:pt x="4369594" y="259556"/>
                  </a:cubicBezTo>
                  <a:cubicBezTo>
                    <a:pt x="4368641" y="248126"/>
                    <a:pt x="4368641" y="241459"/>
                    <a:pt x="4368641" y="241459"/>
                  </a:cubicBezTo>
                  <a:cubicBezTo>
                    <a:pt x="4368641" y="241459"/>
                    <a:pt x="4367689" y="249079"/>
                    <a:pt x="4366737" y="263366"/>
                  </a:cubicBezTo>
                  <a:cubicBezTo>
                    <a:pt x="4366737" y="267176"/>
                    <a:pt x="4365784" y="270986"/>
                    <a:pt x="4365784" y="274796"/>
                  </a:cubicBezTo>
                  <a:cubicBezTo>
                    <a:pt x="4364831" y="277654"/>
                    <a:pt x="4363879" y="281464"/>
                    <a:pt x="4362926" y="285274"/>
                  </a:cubicBezTo>
                  <a:cubicBezTo>
                    <a:pt x="4362926" y="284321"/>
                    <a:pt x="4362926" y="283369"/>
                    <a:pt x="4362926" y="282416"/>
                  </a:cubicBezTo>
                  <a:cubicBezTo>
                    <a:pt x="4361974" y="269081"/>
                    <a:pt x="4361022" y="261461"/>
                    <a:pt x="4361022" y="261461"/>
                  </a:cubicBezTo>
                  <a:cubicBezTo>
                    <a:pt x="4361022" y="261461"/>
                    <a:pt x="4360069" y="269081"/>
                    <a:pt x="4359116" y="283369"/>
                  </a:cubicBezTo>
                  <a:cubicBezTo>
                    <a:pt x="4359116" y="285274"/>
                    <a:pt x="4359116" y="288131"/>
                    <a:pt x="4359116" y="290989"/>
                  </a:cubicBezTo>
                  <a:cubicBezTo>
                    <a:pt x="4358164" y="291941"/>
                    <a:pt x="4358164" y="293846"/>
                    <a:pt x="4357212" y="295751"/>
                  </a:cubicBezTo>
                  <a:cubicBezTo>
                    <a:pt x="4355306" y="291941"/>
                    <a:pt x="4353401" y="288131"/>
                    <a:pt x="4351497" y="284321"/>
                  </a:cubicBezTo>
                  <a:cubicBezTo>
                    <a:pt x="4351497" y="274796"/>
                    <a:pt x="4351497" y="266224"/>
                    <a:pt x="4351497" y="257651"/>
                  </a:cubicBezTo>
                  <a:cubicBezTo>
                    <a:pt x="4351497" y="250984"/>
                    <a:pt x="4351497" y="245269"/>
                    <a:pt x="4351497" y="238601"/>
                  </a:cubicBezTo>
                  <a:cubicBezTo>
                    <a:pt x="4351497" y="232886"/>
                    <a:pt x="4350544" y="227171"/>
                    <a:pt x="4349591" y="221456"/>
                  </a:cubicBezTo>
                  <a:cubicBezTo>
                    <a:pt x="4348639" y="210979"/>
                    <a:pt x="4346734" y="201454"/>
                    <a:pt x="4345781" y="194786"/>
                  </a:cubicBezTo>
                  <a:cubicBezTo>
                    <a:pt x="4343876" y="179546"/>
                    <a:pt x="4342924" y="170974"/>
                    <a:pt x="4342924" y="170974"/>
                  </a:cubicBezTo>
                  <a:cubicBezTo>
                    <a:pt x="4342924" y="170974"/>
                    <a:pt x="4342924" y="179546"/>
                    <a:pt x="4341972" y="194786"/>
                  </a:cubicBezTo>
                  <a:cubicBezTo>
                    <a:pt x="4341972" y="201454"/>
                    <a:pt x="4341972" y="209074"/>
                    <a:pt x="4341972" y="217646"/>
                  </a:cubicBezTo>
                  <a:cubicBezTo>
                    <a:pt x="4341019" y="210026"/>
                    <a:pt x="4340066" y="205264"/>
                    <a:pt x="4340066" y="205264"/>
                  </a:cubicBezTo>
                  <a:cubicBezTo>
                    <a:pt x="4340066" y="205264"/>
                    <a:pt x="4340066" y="212884"/>
                    <a:pt x="4339114" y="226219"/>
                  </a:cubicBezTo>
                  <a:cubicBezTo>
                    <a:pt x="4339114" y="232886"/>
                    <a:pt x="4339114" y="240506"/>
                    <a:pt x="4338162" y="250031"/>
                  </a:cubicBezTo>
                  <a:cubicBezTo>
                    <a:pt x="4338162" y="250984"/>
                    <a:pt x="4338162" y="251936"/>
                    <a:pt x="4338162" y="252889"/>
                  </a:cubicBezTo>
                  <a:cubicBezTo>
                    <a:pt x="4338162" y="251936"/>
                    <a:pt x="4337209" y="250984"/>
                    <a:pt x="4337209" y="250984"/>
                  </a:cubicBezTo>
                  <a:cubicBezTo>
                    <a:pt x="4330541" y="231934"/>
                    <a:pt x="4324826" y="213836"/>
                    <a:pt x="4318159" y="196691"/>
                  </a:cubicBezTo>
                  <a:cubicBezTo>
                    <a:pt x="4306729" y="163354"/>
                    <a:pt x="4296251" y="135731"/>
                    <a:pt x="4289584" y="116681"/>
                  </a:cubicBezTo>
                  <a:cubicBezTo>
                    <a:pt x="4282916" y="97631"/>
                    <a:pt x="4278154" y="86201"/>
                    <a:pt x="4278154" y="86201"/>
                  </a:cubicBezTo>
                  <a:cubicBezTo>
                    <a:pt x="4278154" y="86201"/>
                    <a:pt x="4281012" y="97631"/>
                    <a:pt x="4285774" y="117634"/>
                  </a:cubicBezTo>
                  <a:cubicBezTo>
                    <a:pt x="4291489" y="137636"/>
                    <a:pt x="4298156" y="166211"/>
                    <a:pt x="4307681" y="199549"/>
                  </a:cubicBezTo>
                  <a:cubicBezTo>
                    <a:pt x="4315301" y="228124"/>
                    <a:pt x="4324826" y="261461"/>
                    <a:pt x="4334351" y="295751"/>
                  </a:cubicBezTo>
                  <a:cubicBezTo>
                    <a:pt x="4334351" y="295751"/>
                    <a:pt x="4334351" y="296704"/>
                    <a:pt x="4334351" y="296704"/>
                  </a:cubicBezTo>
                  <a:cubicBezTo>
                    <a:pt x="4334351" y="295751"/>
                    <a:pt x="4334351" y="294799"/>
                    <a:pt x="4334351" y="294799"/>
                  </a:cubicBezTo>
                  <a:cubicBezTo>
                    <a:pt x="4334351" y="294799"/>
                    <a:pt x="4334351" y="296704"/>
                    <a:pt x="4334351" y="301466"/>
                  </a:cubicBezTo>
                  <a:cubicBezTo>
                    <a:pt x="4334351" y="306229"/>
                    <a:pt x="4333399" y="310991"/>
                    <a:pt x="4333399" y="315754"/>
                  </a:cubicBezTo>
                  <a:cubicBezTo>
                    <a:pt x="4332447" y="325279"/>
                    <a:pt x="4331494" y="334804"/>
                    <a:pt x="4329589" y="344329"/>
                  </a:cubicBezTo>
                  <a:cubicBezTo>
                    <a:pt x="4329589" y="344329"/>
                    <a:pt x="4328637" y="343376"/>
                    <a:pt x="4328637" y="343376"/>
                  </a:cubicBezTo>
                  <a:cubicBezTo>
                    <a:pt x="4327684" y="342424"/>
                    <a:pt x="4327684" y="341471"/>
                    <a:pt x="4326731" y="340519"/>
                  </a:cubicBezTo>
                  <a:cubicBezTo>
                    <a:pt x="4326731" y="338614"/>
                    <a:pt x="4325779" y="335756"/>
                    <a:pt x="4325779" y="333851"/>
                  </a:cubicBezTo>
                  <a:cubicBezTo>
                    <a:pt x="4321969" y="309086"/>
                    <a:pt x="4318159" y="286226"/>
                    <a:pt x="4315301" y="267176"/>
                  </a:cubicBezTo>
                  <a:cubicBezTo>
                    <a:pt x="4308634" y="228124"/>
                    <a:pt x="4301966" y="202406"/>
                    <a:pt x="4301966" y="202406"/>
                  </a:cubicBezTo>
                  <a:cubicBezTo>
                    <a:pt x="4301966" y="202406"/>
                    <a:pt x="4301966" y="229076"/>
                    <a:pt x="4303872" y="268129"/>
                  </a:cubicBezTo>
                  <a:cubicBezTo>
                    <a:pt x="4303872" y="270034"/>
                    <a:pt x="4303872" y="271939"/>
                    <a:pt x="4303872" y="274796"/>
                  </a:cubicBezTo>
                  <a:cubicBezTo>
                    <a:pt x="4302919" y="279559"/>
                    <a:pt x="4302919" y="284321"/>
                    <a:pt x="4301966" y="290036"/>
                  </a:cubicBezTo>
                  <a:cubicBezTo>
                    <a:pt x="4301966" y="292894"/>
                    <a:pt x="4301014" y="296704"/>
                    <a:pt x="4300062" y="300514"/>
                  </a:cubicBezTo>
                  <a:cubicBezTo>
                    <a:pt x="4296251" y="295751"/>
                    <a:pt x="4292441" y="290989"/>
                    <a:pt x="4288631" y="286226"/>
                  </a:cubicBezTo>
                  <a:cubicBezTo>
                    <a:pt x="4292441" y="292894"/>
                    <a:pt x="4295299" y="298609"/>
                    <a:pt x="4299109" y="305276"/>
                  </a:cubicBezTo>
                  <a:cubicBezTo>
                    <a:pt x="4298156" y="310991"/>
                    <a:pt x="4297204" y="316706"/>
                    <a:pt x="4296251" y="323374"/>
                  </a:cubicBezTo>
                  <a:cubicBezTo>
                    <a:pt x="4295299" y="330041"/>
                    <a:pt x="4293394" y="337661"/>
                    <a:pt x="4292441" y="346234"/>
                  </a:cubicBezTo>
                  <a:cubicBezTo>
                    <a:pt x="4291489" y="345281"/>
                    <a:pt x="4291489" y="344329"/>
                    <a:pt x="4290537" y="343376"/>
                  </a:cubicBezTo>
                  <a:cubicBezTo>
                    <a:pt x="4289584" y="330994"/>
                    <a:pt x="4289584" y="319564"/>
                    <a:pt x="4288631" y="308134"/>
                  </a:cubicBezTo>
                  <a:cubicBezTo>
                    <a:pt x="4285774" y="262414"/>
                    <a:pt x="4281964" y="231934"/>
                    <a:pt x="4281964" y="231934"/>
                  </a:cubicBezTo>
                  <a:cubicBezTo>
                    <a:pt x="4281964" y="231934"/>
                    <a:pt x="4279106" y="262414"/>
                    <a:pt x="4277201" y="309086"/>
                  </a:cubicBezTo>
                  <a:cubicBezTo>
                    <a:pt x="4277201" y="311944"/>
                    <a:pt x="4277201" y="315754"/>
                    <a:pt x="4277201" y="318611"/>
                  </a:cubicBezTo>
                  <a:cubicBezTo>
                    <a:pt x="4276249" y="315754"/>
                    <a:pt x="4274344" y="312896"/>
                    <a:pt x="4273391" y="310039"/>
                  </a:cubicBezTo>
                  <a:cubicBezTo>
                    <a:pt x="4273391" y="308134"/>
                    <a:pt x="4272439" y="305276"/>
                    <a:pt x="4272439" y="303371"/>
                  </a:cubicBezTo>
                  <a:cubicBezTo>
                    <a:pt x="4271487" y="292894"/>
                    <a:pt x="4271487" y="283369"/>
                    <a:pt x="4270534" y="273844"/>
                  </a:cubicBezTo>
                  <a:cubicBezTo>
                    <a:pt x="4270534" y="269081"/>
                    <a:pt x="4269581" y="265271"/>
                    <a:pt x="4269581" y="260509"/>
                  </a:cubicBezTo>
                  <a:cubicBezTo>
                    <a:pt x="4269581" y="258604"/>
                    <a:pt x="4269581" y="257651"/>
                    <a:pt x="4269581" y="255746"/>
                  </a:cubicBezTo>
                  <a:cubicBezTo>
                    <a:pt x="4269581" y="248126"/>
                    <a:pt x="4270534" y="241459"/>
                    <a:pt x="4270534" y="234791"/>
                  </a:cubicBezTo>
                  <a:cubicBezTo>
                    <a:pt x="4273391" y="187166"/>
                    <a:pt x="4273391" y="155734"/>
                    <a:pt x="4273391" y="155734"/>
                  </a:cubicBezTo>
                  <a:cubicBezTo>
                    <a:pt x="4273391" y="155734"/>
                    <a:pt x="4265772" y="187166"/>
                    <a:pt x="4259104" y="233839"/>
                  </a:cubicBezTo>
                  <a:cubicBezTo>
                    <a:pt x="4257199" y="245269"/>
                    <a:pt x="4255294" y="258604"/>
                    <a:pt x="4253389" y="271939"/>
                  </a:cubicBezTo>
                  <a:cubicBezTo>
                    <a:pt x="4253389" y="270986"/>
                    <a:pt x="4252437" y="270986"/>
                    <a:pt x="4252437" y="270034"/>
                  </a:cubicBezTo>
                  <a:cubicBezTo>
                    <a:pt x="4252437" y="267176"/>
                    <a:pt x="4253389" y="264319"/>
                    <a:pt x="4253389" y="262414"/>
                  </a:cubicBezTo>
                  <a:cubicBezTo>
                    <a:pt x="4255294" y="248126"/>
                    <a:pt x="4255294" y="240506"/>
                    <a:pt x="4255294" y="240506"/>
                  </a:cubicBezTo>
                  <a:cubicBezTo>
                    <a:pt x="4255294" y="240506"/>
                    <a:pt x="4253389" y="248126"/>
                    <a:pt x="4249579" y="262414"/>
                  </a:cubicBezTo>
                  <a:cubicBezTo>
                    <a:pt x="4249579" y="263366"/>
                    <a:pt x="4249579" y="264319"/>
                    <a:pt x="4248626" y="264319"/>
                  </a:cubicBezTo>
                  <a:cubicBezTo>
                    <a:pt x="4247674" y="263366"/>
                    <a:pt x="4247674" y="262414"/>
                    <a:pt x="4246722" y="261461"/>
                  </a:cubicBezTo>
                  <a:cubicBezTo>
                    <a:pt x="4245769" y="260509"/>
                    <a:pt x="4244816" y="259556"/>
                    <a:pt x="4244816" y="257651"/>
                  </a:cubicBezTo>
                  <a:cubicBezTo>
                    <a:pt x="4244816" y="253841"/>
                    <a:pt x="4244816" y="251936"/>
                    <a:pt x="4244816" y="251936"/>
                  </a:cubicBezTo>
                  <a:cubicBezTo>
                    <a:pt x="4244816" y="251936"/>
                    <a:pt x="4244816" y="253841"/>
                    <a:pt x="4243864" y="256699"/>
                  </a:cubicBezTo>
                  <a:cubicBezTo>
                    <a:pt x="4242912" y="254794"/>
                    <a:pt x="4241959" y="252889"/>
                    <a:pt x="4240054" y="251936"/>
                  </a:cubicBezTo>
                  <a:cubicBezTo>
                    <a:pt x="4236244" y="246221"/>
                    <a:pt x="4232434" y="240506"/>
                    <a:pt x="4229576" y="235744"/>
                  </a:cubicBezTo>
                  <a:cubicBezTo>
                    <a:pt x="4223862" y="227171"/>
                    <a:pt x="4220051" y="222409"/>
                    <a:pt x="4220051" y="222409"/>
                  </a:cubicBezTo>
                  <a:cubicBezTo>
                    <a:pt x="4220051" y="222409"/>
                    <a:pt x="4221956" y="228124"/>
                    <a:pt x="4226719" y="237649"/>
                  </a:cubicBezTo>
                  <a:cubicBezTo>
                    <a:pt x="4228624" y="242411"/>
                    <a:pt x="4231481" y="248126"/>
                    <a:pt x="4234339" y="254794"/>
                  </a:cubicBezTo>
                  <a:cubicBezTo>
                    <a:pt x="4235291" y="255746"/>
                    <a:pt x="4235291" y="257651"/>
                    <a:pt x="4236244" y="258604"/>
                  </a:cubicBezTo>
                  <a:cubicBezTo>
                    <a:pt x="4234339" y="256699"/>
                    <a:pt x="4233387" y="253841"/>
                    <a:pt x="4231481" y="251936"/>
                  </a:cubicBezTo>
                  <a:cubicBezTo>
                    <a:pt x="4227672" y="246221"/>
                    <a:pt x="4223862" y="242411"/>
                    <a:pt x="4220051" y="237649"/>
                  </a:cubicBezTo>
                  <a:cubicBezTo>
                    <a:pt x="4213384" y="229076"/>
                    <a:pt x="4206716" y="223361"/>
                    <a:pt x="4202906" y="219551"/>
                  </a:cubicBezTo>
                  <a:cubicBezTo>
                    <a:pt x="4199097" y="215741"/>
                    <a:pt x="4196239" y="213836"/>
                    <a:pt x="4196239" y="213836"/>
                  </a:cubicBezTo>
                  <a:cubicBezTo>
                    <a:pt x="4196239" y="213836"/>
                    <a:pt x="4198144" y="216694"/>
                    <a:pt x="4201954" y="220504"/>
                  </a:cubicBezTo>
                  <a:cubicBezTo>
                    <a:pt x="4205764" y="225266"/>
                    <a:pt x="4211479" y="230981"/>
                    <a:pt x="4216241" y="240506"/>
                  </a:cubicBezTo>
                  <a:cubicBezTo>
                    <a:pt x="4219099" y="245269"/>
                    <a:pt x="4222909" y="250031"/>
                    <a:pt x="4225766" y="255746"/>
                  </a:cubicBezTo>
                  <a:cubicBezTo>
                    <a:pt x="4228624" y="261461"/>
                    <a:pt x="4232434" y="267176"/>
                    <a:pt x="4235291" y="273844"/>
                  </a:cubicBezTo>
                  <a:cubicBezTo>
                    <a:pt x="4235291" y="273844"/>
                    <a:pt x="4235291" y="273844"/>
                    <a:pt x="4235291" y="274796"/>
                  </a:cubicBezTo>
                  <a:cubicBezTo>
                    <a:pt x="4235291" y="276701"/>
                    <a:pt x="4235291" y="279559"/>
                    <a:pt x="4235291" y="282416"/>
                  </a:cubicBezTo>
                  <a:cubicBezTo>
                    <a:pt x="4235291" y="282416"/>
                    <a:pt x="4234339" y="281464"/>
                    <a:pt x="4234339" y="281464"/>
                  </a:cubicBezTo>
                  <a:cubicBezTo>
                    <a:pt x="4231481" y="277654"/>
                    <a:pt x="4229576" y="276701"/>
                    <a:pt x="4229576" y="276701"/>
                  </a:cubicBezTo>
                  <a:cubicBezTo>
                    <a:pt x="4229576" y="276701"/>
                    <a:pt x="4231481" y="278606"/>
                    <a:pt x="4233387" y="282416"/>
                  </a:cubicBezTo>
                  <a:cubicBezTo>
                    <a:pt x="4233387" y="283369"/>
                    <a:pt x="4234339" y="283369"/>
                    <a:pt x="4235291" y="284321"/>
                  </a:cubicBezTo>
                  <a:cubicBezTo>
                    <a:pt x="4235291" y="284321"/>
                    <a:pt x="4235291" y="284321"/>
                    <a:pt x="4235291" y="285274"/>
                  </a:cubicBezTo>
                  <a:cubicBezTo>
                    <a:pt x="4233387" y="292894"/>
                    <a:pt x="4231481" y="301466"/>
                    <a:pt x="4229576" y="310039"/>
                  </a:cubicBezTo>
                  <a:cubicBezTo>
                    <a:pt x="4225766" y="301466"/>
                    <a:pt x="4222909" y="295751"/>
                    <a:pt x="4222909" y="295751"/>
                  </a:cubicBezTo>
                  <a:cubicBezTo>
                    <a:pt x="4222909" y="295751"/>
                    <a:pt x="4224814" y="303371"/>
                    <a:pt x="4228624" y="316706"/>
                  </a:cubicBezTo>
                  <a:cubicBezTo>
                    <a:pt x="4227672" y="319564"/>
                    <a:pt x="4227672" y="323374"/>
                    <a:pt x="4226719" y="327184"/>
                  </a:cubicBezTo>
                  <a:cubicBezTo>
                    <a:pt x="4225766" y="331946"/>
                    <a:pt x="4224814" y="336709"/>
                    <a:pt x="4223862" y="341471"/>
                  </a:cubicBezTo>
                  <a:cubicBezTo>
                    <a:pt x="4223862" y="338614"/>
                    <a:pt x="4222909" y="336709"/>
                    <a:pt x="4222909" y="334804"/>
                  </a:cubicBezTo>
                  <a:cubicBezTo>
                    <a:pt x="4221004" y="320516"/>
                    <a:pt x="4219099" y="311944"/>
                    <a:pt x="4219099" y="311944"/>
                  </a:cubicBezTo>
                  <a:cubicBezTo>
                    <a:pt x="4219099" y="311944"/>
                    <a:pt x="4219099" y="319564"/>
                    <a:pt x="4219099" y="331946"/>
                  </a:cubicBezTo>
                  <a:cubicBezTo>
                    <a:pt x="4218147" y="329089"/>
                    <a:pt x="4218147" y="326231"/>
                    <a:pt x="4217194" y="322421"/>
                  </a:cubicBezTo>
                  <a:cubicBezTo>
                    <a:pt x="4206716" y="272891"/>
                    <a:pt x="4198144" y="240506"/>
                    <a:pt x="4198144" y="240506"/>
                  </a:cubicBezTo>
                  <a:cubicBezTo>
                    <a:pt x="4198144" y="240506"/>
                    <a:pt x="4200049" y="273844"/>
                    <a:pt x="4205764" y="323374"/>
                  </a:cubicBezTo>
                  <a:cubicBezTo>
                    <a:pt x="4206716" y="335756"/>
                    <a:pt x="4208622" y="350044"/>
                    <a:pt x="4210526" y="364331"/>
                  </a:cubicBezTo>
                  <a:cubicBezTo>
                    <a:pt x="4210526" y="364331"/>
                    <a:pt x="4210526" y="363379"/>
                    <a:pt x="4210526" y="363379"/>
                  </a:cubicBezTo>
                  <a:cubicBezTo>
                    <a:pt x="4209574" y="357664"/>
                    <a:pt x="4207669" y="353854"/>
                    <a:pt x="4206716" y="350044"/>
                  </a:cubicBezTo>
                  <a:cubicBezTo>
                    <a:pt x="4204812" y="342424"/>
                    <a:pt x="4202906" y="338614"/>
                    <a:pt x="4202906" y="338614"/>
                  </a:cubicBezTo>
                  <a:cubicBezTo>
                    <a:pt x="4202906" y="338614"/>
                    <a:pt x="4202906" y="343376"/>
                    <a:pt x="4202906" y="350996"/>
                  </a:cubicBezTo>
                  <a:cubicBezTo>
                    <a:pt x="4202906" y="354806"/>
                    <a:pt x="4202906" y="359569"/>
                    <a:pt x="4202906" y="365284"/>
                  </a:cubicBezTo>
                  <a:cubicBezTo>
                    <a:pt x="4202906" y="368141"/>
                    <a:pt x="4202906" y="370999"/>
                    <a:pt x="4202906" y="373856"/>
                  </a:cubicBezTo>
                  <a:cubicBezTo>
                    <a:pt x="4202906" y="375761"/>
                    <a:pt x="4202906" y="377666"/>
                    <a:pt x="4202906" y="380524"/>
                  </a:cubicBezTo>
                  <a:cubicBezTo>
                    <a:pt x="4202906" y="379571"/>
                    <a:pt x="4202906" y="379571"/>
                    <a:pt x="4201954" y="378619"/>
                  </a:cubicBezTo>
                  <a:cubicBezTo>
                    <a:pt x="4201954" y="372904"/>
                    <a:pt x="4201001" y="367189"/>
                    <a:pt x="4201001" y="361474"/>
                  </a:cubicBezTo>
                  <a:cubicBezTo>
                    <a:pt x="4199097" y="318611"/>
                    <a:pt x="4196239" y="290989"/>
                    <a:pt x="4196239" y="290989"/>
                  </a:cubicBezTo>
                  <a:cubicBezTo>
                    <a:pt x="4196239" y="290989"/>
                    <a:pt x="4193381" y="310991"/>
                    <a:pt x="4191476" y="343376"/>
                  </a:cubicBezTo>
                  <a:cubicBezTo>
                    <a:pt x="4190524" y="340519"/>
                    <a:pt x="4189571" y="338614"/>
                    <a:pt x="4188619" y="335756"/>
                  </a:cubicBezTo>
                  <a:cubicBezTo>
                    <a:pt x="4185761" y="329089"/>
                    <a:pt x="4183856" y="323374"/>
                    <a:pt x="4181951" y="319564"/>
                  </a:cubicBezTo>
                  <a:cubicBezTo>
                    <a:pt x="4181951" y="318611"/>
                    <a:pt x="4180999" y="317659"/>
                    <a:pt x="4180999" y="316706"/>
                  </a:cubicBezTo>
                  <a:cubicBezTo>
                    <a:pt x="4180999" y="291941"/>
                    <a:pt x="4180999" y="271939"/>
                    <a:pt x="4180999" y="256699"/>
                  </a:cubicBezTo>
                  <a:cubicBezTo>
                    <a:pt x="4180999" y="239554"/>
                    <a:pt x="4180999" y="230029"/>
                    <a:pt x="4180999" y="230029"/>
                  </a:cubicBezTo>
                  <a:cubicBezTo>
                    <a:pt x="4180999" y="230029"/>
                    <a:pt x="4180046" y="239554"/>
                    <a:pt x="4177189" y="256699"/>
                  </a:cubicBezTo>
                  <a:cubicBezTo>
                    <a:pt x="4177189" y="260509"/>
                    <a:pt x="4176236" y="265271"/>
                    <a:pt x="4175284" y="270034"/>
                  </a:cubicBezTo>
                  <a:cubicBezTo>
                    <a:pt x="4175284" y="263366"/>
                    <a:pt x="4174331" y="257651"/>
                    <a:pt x="4174331" y="251936"/>
                  </a:cubicBezTo>
                  <a:cubicBezTo>
                    <a:pt x="4172426" y="207169"/>
                    <a:pt x="4168616" y="176689"/>
                    <a:pt x="4168616" y="176689"/>
                  </a:cubicBezTo>
                  <a:cubicBezTo>
                    <a:pt x="4168616" y="176689"/>
                    <a:pt x="4164806" y="207169"/>
                    <a:pt x="4162901" y="251936"/>
                  </a:cubicBezTo>
                  <a:cubicBezTo>
                    <a:pt x="4161949" y="263366"/>
                    <a:pt x="4161949" y="274796"/>
                    <a:pt x="4160996" y="287179"/>
                  </a:cubicBezTo>
                  <a:cubicBezTo>
                    <a:pt x="4158139" y="292894"/>
                    <a:pt x="4156234" y="298609"/>
                    <a:pt x="4154329" y="303371"/>
                  </a:cubicBezTo>
                  <a:cubicBezTo>
                    <a:pt x="4151471" y="295751"/>
                    <a:pt x="4149566" y="288131"/>
                    <a:pt x="4146709" y="280511"/>
                  </a:cubicBezTo>
                  <a:cubicBezTo>
                    <a:pt x="4144804" y="267176"/>
                    <a:pt x="4141946" y="255746"/>
                    <a:pt x="4140041" y="246221"/>
                  </a:cubicBezTo>
                  <a:cubicBezTo>
                    <a:pt x="4137184" y="231934"/>
                    <a:pt x="4133374" y="224314"/>
                    <a:pt x="4133374" y="224314"/>
                  </a:cubicBezTo>
                  <a:cubicBezTo>
                    <a:pt x="4133374" y="224314"/>
                    <a:pt x="4134326" y="226219"/>
                    <a:pt x="4134326" y="230029"/>
                  </a:cubicBezTo>
                  <a:cubicBezTo>
                    <a:pt x="4135279" y="233839"/>
                    <a:pt x="4135279" y="239554"/>
                    <a:pt x="4136231" y="247174"/>
                  </a:cubicBezTo>
                  <a:cubicBezTo>
                    <a:pt x="4136231" y="248126"/>
                    <a:pt x="4136231" y="249079"/>
                    <a:pt x="4136231" y="250031"/>
                  </a:cubicBezTo>
                  <a:cubicBezTo>
                    <a:pt x="4130516" y="230981"/>
                    <a:pt x="4123849" y="213836"/>
                    <a:pt x="4118134" y="197644"/>
                  </a:cubicBezTo>
                  <a:cubicBezTo>
                    <a:pt x="4108609" y="166211"/>
                    <a:pt x="4100036" y="139541"/>
                    <a:pt x="4093369" y="121444"/>
                  </a:cubicBezTo>
                  <a:cubicBezTo>
                    <a:pt x="4087654" y="103346"/>
                    <a:pt x="4083844" y="92869"/>
                    <a:pt x="4083844" y="92869"/>
                  </a:cubicBezTo>
                  <a:cubicBezTo>
                    <a:pt x="4083844" y="92869"/>
                    <a:pt x="4085749" y="103346"/>
                    <a:pt x="4089559" y="122396"/>
                  </a:cubicBezTo>
                  <a:cubicBezTo>
                    <a:pt x="4093369" y="141446"/>
                    <a:pt x="4099084" y="168116"/>
                    <a:pt x="4106704" y="200501"/>
                  </a:cubicBezTo>
                  <a:cubicBezTo>
                    <a:pt x="4110514" y="215741"/>
                    <a:pt x="4115276" y="231934"/>
                    <a:pt x="4119086" y="248126"/>
                  </a:cubicBezTo>
                  <a:cubicBezTo>
                    <a:pt x="4118134" y="251936"/>
                    <a:pt x="4118134" y="256699"/>
                    <a:pt x="4117181" y="262414"/>
                  </a:cubicBezTo>
                  <a:cubicBezTo>
                    <a:pt x="4116229" y="270034"/>
                    <a:pt x="4115276" y="279559"/>
                    <a:pt x="4114324" y="290036"/>
                  </a:cubicBezTo>
                  <a:cubicBezTo>
                    <a:pt x="4113371" y="288131"/>
                    <a:pt x="4111466" y="286226"/>
                    <a:pt x="4110514" y="284321"/>
                  </a:cubicBezTo>
                  <a:cubicBezTo>
                    <a:pt x="4113371" y="274796"/>
                    <a:pt x="4114324" y="269081"/>
                    <a:pt x="4114324" y="269081"/>
                  </a:cubicBezTo>
                  <a:cubicBezTo>
                    <a:pt x="4114324" y="269081"/>
                    <a:pt x="4112419" y="273844"/>
                    <a:pt x="4108609" y="282416"/>
                  </a:cubicBezTo>
                  <a:cubicBezTo>
                    <a:pt x="4106704" y="279559"/>
                    <a:pt x="4104799" y="276701"/>
                    <a:pt x="4102894" y="273844"/>
                  </a:cubicBezTo>
                  <a:cubicBezTo>
                    <a:pt x="4100989" y="270034"/>
                    <a:pt x="4098131" y="266224"/>
                    <a:pt x="4096226" y="263366"/>
                  </a:cubicBezTo>
                  <a:cubicBezTo>
                    <a:pt x="4097179" y="262414"/>
                    <a:pt x="4097179" y="262414"/>
                    <a:pt x="4097179" y="262414"/>
                  </a:cubicBezTo>
                  <a:cubicBezTo>
                    <a:pt x="4097179" y="262414"/>
                    <a:pt x="4097179" y="262414"/>
                    <a:pt x="4096226" y="263366"/>
                  </a:cubicBezTo>
                  <a:cubicBezTo>
                    <a:pt x="4094321" y="259556"/>
                    <a:pt x="4092416" y="256699"/>
                    <a:pt x="4090511" y="253841"/>
                  </a:cubicBezTo>
                  <a:cubicBezTo>
                    <a:pt x="4090511" y="253841"/>
                    <a:pt x="4090511" y="252889"/>
                    <a:pt x="4090511" y="252889"/>
                  </a:cubicBezTo>
                  <a:cubicBezTo>
                    <a:pt x="4090511" y="248126"/>
                    <a:pt x="4090511" y="243364"/>
                    <a:pt x="4090511" y="238601"/>
                  </a:cubicBezTo>
                  <a:cubicBezTo>
                    <a:pt x="4090511" y="230029"/>
                    <a:pt x="4090511" y="222409"/>
                    <a:pt x="4090511" y="215741"/>
                  </a:cubicBezTo>
                  <a:cubicBezTo>
                    <a:pt x="4090511" y="203359"/>
                    <a:pt x="4089559" y="195739"/>
                    <a:pt x="4089559" y="195739"/>
                  </a:cubicBezTo>
                  <a:cubicBezTo>
                    <a:pt x="4089559" y="195739"/>
                    <a:pt x="4088606" y="202406"/>
                    <a:pt x="4086701" y="214789"/>
                  </a:cubicBezTo>
                  <a:cubicBezTo>
                    <a:pt x="4085749" y="221456"/>
                    <a:pt x="4084796" y="228124"/>
                    <a:pt x="4083844" y="236696"/>
                  </a:cubicBezTo>
                  <a:cubicBezTo>
                    <a:pt x="4083844" y="237649"/>
                    <a:pt x="4083844" y="238601"/>
                    <a:pt x="4083844" y="239554"/>
                  </a:cubicBezTo>
                  <a:cubicBezTo>
                    <a:pt x="4082891" y="238601"/>
                    <a:pt x="4082891" y="237649"/>
                    <a:pt x="4081939" y="236696"/>
                  </a:cubicBezTo>
                  <a:cubicBezTo>
                    <a:pt x="4081939" y="235744"/>
                    <a:pt x="4081939" y="235744"/>
                    <a:pt x="4081939" y="234791"/>
                  </a:cubicBezTo>
                  <a:cubicBezTo>
                    <a:pt x="4081939" y="225266"/>
                    <a:pt x="4081939" y="216694"/>
                    <a:pt x="4081939" y="210026"/>
                  </a:cubicBezTo>
                  <a:cubicBezTo>
                    <a:pt x="4081939" y="195739"/>
                    <a:pt x="4081939" y="188119"/>
                    <a:pt x="4081939" y="188119"/>
                  </a:cubicBezTo>
                  <a:cubicBezTo>
                    <a:pt x="4081939" y="188119"/>
                    <a:pt x="4080034" y="195739"/>
                    <a:pt x="4078129" y="210026"/>
                  </a:cubicBezTo>
                  <a:cubicBezTo>
                    <a:pt x="4077176" y="214789"/>
                    <a:pt x="4076224" y="220504"/>
                    <a:pt x="4075271" y="227171"/>
                  </a:cubicBezTo>
                  <a:cubicBezTo>
                    <a:pt x="4065746" y="210979"/>
                    <a:pt x="4059079" y="202406"/>
                    <a:pt x="4059079" y="202406"/>
                  </a:cubicBezTo>
                  <a:cubicBezTo>
                    <a:pt x="4059079" y="202406"/>
                    <a:pt x="4063841" y="214789"/>
                    <a:pt x="4073366" y="236696"/>
                  </a:cubicBezTo>
                  <a:cubicBezTo>
                    <a:pt x="4072414" y="241459"/>
                    <a:pt x="4071461" y="246221"/>
                    <a:pt x="4071461" y="250984"/>
                  </a:cubicBezTo>
                  <a:cubicBezTo>
                    <a:pt x="4070509" y="256699"/>
                    <a:pt x="4069556" y="261461"/>
                    <a:pt x="4067651" y="268129"/>
                  </a:cubicBezTo>
                  <a:cubicBezTo>
                    <a:pt x="4066699" y="271939"/>
                    <a:pt x="4065746" y="275749"/>
                    <a:pt x="4064794" y="279559"/>
                  </a:cubicBezTo>
                  <a:cubicBezTo>
                    <a:pt x="4063841" y="270986"/>
                    <a:pt x="4062889" y="262414"/>
                    <a:pt x="4061936" y="253841"/>
                  </a:cubicBezTo>
                  <a:cubicBezTo>
                    <a:pt x="4059079" y="237649"/>
                    <a:pt x="4057174" y="221456"/>
                    <a:pt x="4054316" y="207169"/>
                  </a:cubicBezTo>
                  <a:cubicBezTo>
                    <a:pt x="4053364" y="199549"/>
                    <a:pt x="4052411" y="192881"/>
                    <a:pt x="4050506" y="186214"/>
                  </a:cubicBezTo>
                  <a:cubicBezTo>
                    <a:pt x="4049554" y="179546"/>
                    <a:pt x="4047649" y="173831"/>
                    <a:pt x="4046696" y="168116"/>
                  </a:cubicBezTo>
                  <a:cubicBezTo>
                    <a:pt x="4043839" y="156686"/>
                    <a:pt x="4041934" y="146209"/>
                    <a:pt x="4040029" y="137636"/>
                  </a:cubicBezTo>
                  <a:cubicBezTo>
                    <a:pt x="4036219" y="121444"/>
                    <a:pt x="4034314" y="111919"/>
                    <a:pt x="4034314" y="111919"/>
                  </a:cubicBezTo>
                  <a:cubicBezTo>
                    <a:pt x="4034314" y="111919"/>
                    <a:pt x="4035266" y="121444"/>
                    <a:pt x="4036219" y="138589"/>
                  </a:cubicBezTo>
                  <a:cubicBezTo>
                    <a:pt x="4037171" y="147161"/>
                    <a:pt x="4038124" y="157639"/>
                    <a:pt x="4039076" y="169069"/>
                  </a:cubicBezTo>
                  <a:cubicBezTo>
                    <a:pt x="4040029" y="180499"/>
                    <a:pt x="4040981" y="193834"/>
                    <a:pt x="4042886" y="208121"/>
                  </a:cubicBezTo>
                  <a:cubicBezTo>
                    <a:pt x="4043839" y="217646"/>
                    <a:pt x="4044791" y="228124"/>
                    <a:pt x="4044791" y="238601"/>
                  </a:cubicBezTo>
                  <a:cubicBezTo>
                    <a:pt x="4037171" y="196691"/>
                    <a:pt x="4031456" y="170021"/>
                    <a:pt x="4031456" y="170021"/>
                  </a:cubicBezTo>
                  <a:cubicBezTo>
                    <a:pt x="4031456" y="170021"/>
                    <a:pt x="4032409" y="203359"/>
                    <a:pt x="4036219" y="252889"/>
                  </a:cubicBezTo>
                  <a:cubicBezTo>
                    <a:pt x="4036219" y="256699"/>
                    <a:pt x="4037171" y="260509"/>
                    <a:pt x="4037171" y="264319"/>
                  </a:cubicBezTo>
                  <a:cubicBezTo>
                    <a:pt x="4036219" y="266224"/>
                    <a:pt x="4036219" y="269081"/>
                    <a:pt x="4035266" y="271939"/>
                  </a:cubicBezTo>
                  <a:cubicBezTo>
                    <a:pt x="4033361" y="270034"/>
                    <a:pt x="4031456" y="268129"/>
                    <a:pt x="4030504" y="266224"/>
                  </a:cubicBezTo>
                  <a:cubicBezTo>
                    <a:pt x="4027646" y="263366"/>
                    <a:pt x="4025741" y="260509"/>
                    <a:pt x="4023836" y="258604"/>
                  </a:cubicBezTo>
                  <a:cubicBezTo>
                    <a:pt x="4018121" y="247174"/>
                    <a:pt x="4013359" y="237649"/>
                    <a:pt x="4009549" y="229076"/>
                  </a:cubicBezTo>
                  <a:cubicBezTo>
                    <a:pt x="4000976" y="212884"/>
                    <a:pt x="3996214" y="203359"/>
                    <a:pt x="3996214" y="203359"/>
                  </a:cubicBezTo>
                  <a:cubicBezTo>
                    <a:pt x="3996214" y="203359"/>
                    <a:pt x="4000024" y="212884"/>
                    <a:pt x="4005739" y="230981"/>
                  </a:cubicBezTo>
                  <a:cubicBezTo>
                    <a:pt x="4008596" y="237649"/>
                    <a:pt x="4011454" y="246221"/>
                    <a:pt x="4014311" y="255746"/>
                  </a:cubicBezTo>
                  <a:cubicBezTo>
                    <a:pt x="4010501" y="248126"/>
                    <a:pt x="4007644" y="243364"/>
                    <a:pt x="4007644" y="243364"/>
                  </a:cubicBezTo>
                  <a:cubicBezTo>
                    <a:pt x="4007644" y="243364"/>
                    <a:pt x="4010501" y="251936"/>
                    <a:pt x="4015264" y="267176"/>
                  </a:cubicBezTo>
                  <a:cubicBezTo>
                    <a:pt x="4018121" y="274796"/>
                    <a:pt x="4020979" y="284321"/>
                    <a:pt x="4024789" y="294799"/>
                  </a:cubicBezTo>
                  <a:cubicBezTo>
                    <a:pt x="4025741" y="296704"/>
                    <a:pt x="4026694" y="299561"/>
                    <a:pt x="4026694" y="301466"/>
                  </a:cubicBezTo>
                  <a:cubicBezTo>
                    <a:pt x="4023836" y="310039"/>
                    <a:pt x="4020026" y="319564"/>
                    <a:pt x="4017169" y="329089"/>
                  </a:cubicBezTo>
                  <a:cubicBezTo>
                    <a:pt x="4017169" y="329089"/>
                    <a:pt x="4016216" y="328136"/>
                    <a:pt x="4016216" y="328136"/>
                  </a:cubicBezTo>
                  <a:cubicBezTo>
                    <a:pt x="4011454" y="325279"/>
                    <a:pt x="4008596" y="322421"/>
                    <a:pt x="4005739" y="320516"/>
                  </a:cubicBezTo>
                  <a:cubicBezTo>
                    <a:pt x="4005739" y="319564"/>
                    <a:pt x="4005739" y="318611"/>
                    <a:pt x="4005739" y="318611"/>
                  </a:cubicBezTo>
                  <a:cubicBezTo>
                    <a:pt x="4005739" y="315754"/>
                    <a:pt x="4004786" y="313849"/>
                    <a:pt x="4004786" y="310991"/>
                  </a:cubicBezTo>
                  <a:cubicBezTo>
                    <a:pt x="4004786" y="285274"/>
                    <a:pt x="4002881" y="269081"/>
                    <a:pt x="4002881" y="269081"/>
                  </a:cubicBezTo>
                  <a:cubicBezTo>
                    <a:pt x="4002881" y="269081"/>
                    <a:pt x="4001929" y="274796"/>
                    <a:pt x="4000024" y="284321"/>
                  </a:cubicBezTo>
                  <a:cubicBezTo>
                    <a:pt x="3996214" y="261461"/>
                    <a:pt x="3993356" y="248126"/>
                    <a:pt x="3993356" y="248126"/>
                  </a:cubicBezTo>
                  <a:cubicBezTo>
                    <a:pt x="3993356" y="248126"/>
                    <a:pt x="3993356" y="262414"/>
                    <a:pt x="3993356" y="286226"/>
                  </a:cubicBezTo>
                  <a:cubicBezTo>
                    <a:pt x="3993356" y="286226"/>
                    <a:pt x="3992404" y="286226"/>
                    <a:pt x="3992404" y="286226"/>
                  </a:cubicBezTo>
                  <a:cubicBezTo>
                    <a:pt x="3991451" y="286226"/>
                    <a:pt x="3990499" y="287179"/>
                    <a:pt x="3990499" y="287179"/>
                  </a:cubicBezTo>
                  <a:cubicBezTo>
                    <a:pt x="3988594" y="289084"/>
                    <a:pt x="3986689" y="290989"/>
                    <a:pt x="3985736" y="292894"/>
                  </a:cubicBezTo>
                  <a:lnTo>
                    <a:pt x="3985736" y="292894"/>
                  </a:lnTo>
                  <a:lnTo>
                    <a:pt x="3985736" y="293846"/>
                  </a:lnTo>
                  <a:cubicBezTo>
                    <a:pt x="3984784" y="300514"/>
                    <a:pt x="3983831" y="307181"/>
                    <a:pt x="3983831" y="313849"/>
                  </a:cubicBezTo>
                  <a:cubicBezTo>
                    <a:pt x="3981926" y="310039"/>
                    <a:pt x="3980021" y="307181"/>
                    <a:pt x="3978116" y="303371"/>
                  </a:cubicBezTo>
                  <a:cubicBezTo>
                    <a:pt x="3983831" y="284321"/>
                    <a:pt x="3987641" y="272891"/>
                    <a:pt x="3987641" y="272891"/>
                  </a:cubicBezTo>
                  <a:cubicBezTo>
                    <a:pt x="3987641" y="272891"/>
                    <a:pt x="3982879" y="282416"/>
                    <a:pt x="3976211" y="298609"/>
                  </a:cubicBezTo>
                  <a:cubicBezTo>
                    <a:pt x="3975259" y="296704"/>
                    <a:pt x="3974306" y="295751"/>
                    <a:pt x="3973354" y="293846"/>
                  </a:cubicBezTo>
                  <a:cubicBezTo>
                    <a:pt x="3973354" y="291941"/>
                    <a:pt x="3973354" y="290036"/>
                    <a:pt x="3973354" y="288131"/>
                  </a:cubicBezTo>
                  <a:cubicBezTo>
                    <a:pt x="3973354" y="288131"/>
                    <a:pt x="3973354" y="288131"/>
                    <a:pt x="3973354" y="287179"/>
                  </a:cubicBezTo>
                  <a:cubicBezTo>
                    <a:pt x="3975259" y="283369"/>
                    <a:pt x="3976211" y="280511"/>
                    <a:pt x="3977164" y="278606"/>
                  </a:cubicBezTo>
                  <a:cubicBezTo>
                    <a:pt x="3979069" y="273844"/>
                    <a:pt x="3980974" y="270986"/>
                    <a:pt x="3980974" y="270986"/>
                  </a:cubicBezTo>
                  <a:cubicBezTo>
                    <a:pt x="3980974" y="270986"/>
                    <a:pt x="3979069" y="272891"/>
                    <a:pt x="3976211" y="277654"/>
                  </a:cubicBezTo>
                  <a:cubicBezTo>
                    <a:pt x="3975259" y="278606"/>
                    <a:pt x="3974306" y="280511"/>
                    <a:pt x="3973354" y="282416"/>
                  </a:cubicBezTo>
                  <a:cubicBezTo>
                    <a:pt x="3973354" y="271939"/>
                    <a:pt x="3974306" y="262414"/>
                    <a:pt x="3974306" y="254794"/>
                  </a:cubicBezTo>
                  <a:cubicBezTo>
                    <a:pt x="3975259" y="238601"/>
                    <a:pt x="3975259" y="230029"/>
                    <a:pt x="3975259" y="230029"/>
                  </a:cubicBezTo>
                  <a:cubicBezTo>
                    <a:pt x="3975259" y="230029"/>
                    <a:pt x="3973354" y="238601"/>
                    <a:pt x="3970496" y="254794"/>
                  </a:cubicBezTo>
                  <a:cubicBezTo>
                    <a:pt x="3969544" y="262414"/>
                    <a:pt x="3967639" y="271939"/>
                    <a:pt x="3965734" y="281464"/>
                  </a:cubicBezTo>
                  <a:cubicBezTo>
                    <a:pt x="3964781" y="278606"/>
                    <a:pt x="3962876" y="276701"/>
                    <a:pt x="3961924" y="274796"/>
                  </a:cubicBezTo>
                  <a:cubicBezTo>
                    <a:pt x="3961924" y="272891"/>
                    <a:pt x="3962876" y="270986"/>
                    <a:pt x="3962876" y="269081"/>
                  </a:cubicBezTo>
                  <a:cubicBezTo>
                    <a:pt x="3965734" y="253841"/>
                    <a:pt x="3966686" y="245269"/>
                    <a:pt x="3966686" y="245269"/>
                  </a:cubicBezTo>
                  <a:cubicBezTo>
                    <a:pt x="3966686" y="245269"/>
                    <a:pt x="3963829" y="253841"/>
                    <a:pt x="3959066" y="268129"/>
                  </a:cubicBezTo>
                  <a:cubicBezTo>
                    <a:pt x="3959066" y="268129"/>
                    <a:pt x="3959066" y="269081"/>
                    <a:pt x="3959066" y="269081"/>
                  </a:cubicBezTo>
                  <a:cubicBezTo>
                    <a:pt x="3959066" y="268129"/>
                    <a:pt x="3958114" y="267176"/>
                    <a:pt x="3958114" y="267176"/>
                  </a:cubicBezTo>
                  <a:cubicBezTo>
                    <a:pt x="3958114" y="267176"/>
                    <a:pt x="3958114" y="268129"/>
                    <a:pt x="3958114" y="269081"/>
                  </a:cubicBezTo>
                  <a:cubicBezTo>
                    <a:pt x="3957161" y="267176"/>
                    <a:pt x="3956209" y="266224"/>
                    <a:pt x="3955256" y="264319"/>
                  </a:cubicBezTo>
                  <a:cubicBezTo>
                    <a:pt x="3955256" y="258604"/>
                    <a:pt x="3955256" y="252889"/>
                    <a:pt x="3954304" y="247174"/>
                  </a:cubicBezTo>
                  <a:cubicBezTo>
                    <a:pt x="3954304" y="235744"/>
                    <a:pt x="3952399" y="224314"/>
                    <a:pt x="3951446" y="214789"/>
                  </a:cubicBezTo>
                  <a:cubicBezTo>
                    <a:pt x="3950494" y="205264"/>
                    <a:pt x="3949541" y="196691"/>
                    <a:pt x="3947636" y="190024"/>
                  </a:cubicBezTo>
                  <a:cubicBezTo>
                    <a:pt x="3944779" y="176689"/>
                    <a:pt x="3943826" y="169069"/>
                    <a:pt x="3943826" y="169069"/>
                  </a:cubicBezTo>
                  <a:cubicBezTo>
                    <a:pt x="3943826" y="169069"/>
                    <a:pt x="3943826" y="176689"/>
                    <a:pt x="3943826" y="190024"/>
                  </a:cubicBezTo>
                  <a:cubicBezTo>
                    <a:pt x="3943826" y="196691"/>
                    <a:pt x="3943826" y="205264"/>
                    <a:pt x="3943826" y="214789"/>
                  </a:cubicBezTo>
                  <a:cubicBezTo>
                    <a:pt x="3943826" y="218599"/>
                    <a:pt x="3943826" y="222409"/>
                    <a:pt x="3943826" y="225266"/>
                  </a:cubicBezTo>
                  <a:cubicBezTo>
                    <a:pt x="3942874" y="221456"/>
                    <a:pt x="3941921" y="218599"/>
                    <a:pt x="3940969" y="215741"/>
                  </a:cubicBezTo>
                  <a:cubicBezTo>
                    <a:pt x="3940016" y="212884"/>
                    <a:pt x="3939064" y="210026"/>
                    <a:pt x="3939064" y="207169"/>
                  </a:cubicBezTo>
                  <a:cubicBezTo>
                    <a:pt x="3940016" y="206216"/>
                    <a:pt x="3940016" y="205264"/>
                    <a:pt x="3940016" y="205264"/>
                  </a:cubicBezTo>
                  <a:cubicBezTo>
                    <a:pt x="3940016" y="205264"/>
                    <a:pt x="3940016" y="206216"/>
                    <a:pt x="3939064" y="206216"/>
                  </a:cubicBezTo>
                  <a:cubicBezTo>
                    <a:pt x="3937159" y="201454"/>
                    <a:pt x="3936206" y="197644"/>
                    <a:pt x="3936206" y="197644"/>
                  </a:cubicBezTo>
                  <a:cubicBezTo>
                    <a:pt x="3936206" y="197644"/>
                    <a:pt x="3936206" y="201454"/>
                    <a:pt x="3937159" y="208121"/>
                  </a:cubicBezTo>
                  <a:cubicBezTo>
                    <a:pt x="3935254" y="210026"/>
                    <a:pt x="3932396" y="212884"/>
                    <a:pt x="3929539" y="216694"/>
                  </a:cubicBezTo>
                  <a:cubicBezTo>
                    <a:pt x="3928586" y="210026"/>
                    <a:pt x="3926681" y="204311"/>
                    <a:pt x="3925729" y="197644"/>
                  </a:cubicBezTo>
                  <a:cubicBezTo>
                    <a:pt x="3922871" y="183356"/>
                    <a:pt x="3919061" y="170021"/>
                    <a:pt x="3916204" y="158591"/>
                  </a:cubicBezTo>
                  <a:cubicBezTo>
                    <a:pt x="3915251" y="153829"/>
                    <a:pt x="3913346" y="148114"/>
                    <a:pt x="3912394" y="144304"/>
                  </a:cubicBezTo>
                  <a:cubicBezTo>
                    <a:pt x="3913346" y="142399"/>
                    <a:pt x="3914299" y="141446"/>
                    <a:pt x="3915251" y="139541"/>
                  </a:cubicBezTo>
                  <a:cubicBezTo>
                    <a:pt x="3927634" y="121444"/>
                    <a:pt x="3935254" y="110966"/>
                    <a:pt x="3935254" y="110966"/>
                  </a:cubicBezTo>
                  <a:cubicBezTo>
                    <a:pt x="3935254" y="110966"/>
                    <a:pt x="3926681" y="120491"/>
                    <a:pt x="3912394" y="136684"/>
                  </a:cubicBezTo>
                  <a:cubicBezTo>
                    <a:pt x="3911441" y="137636"/>
                    <a:pt x="3911441" y="138589"/>
                    <a:pt x="3910489" y="138589"/>
                  </a:cubicBezTo>
                  <a:cubicBezTo>
                    <a:pt x="3909536" y="134779"/>
                    <a:pt x="3908584" y="131921"/>
                    <a:pt x="3906679" y="128111"/>
                  </a:cubicBezTo>
                  <a:cubicBezTo>
                    <a:pt x="3900964" y="111919"/>
                    <a:pt x="3898106" y="102394"/>
                    <a:pt x="3898106" y="102394"/>
                  </a:cubicBezTo>
                  <a:cubicBezTo>
                    <a:pt x="3898106" y="102394"/>
                    <a:pt x="3900011" y="111919"/>
                    <a:pt x="3902869" y="129064"/>
                  </a:cubicBezTo>
                  <a:cubicBezTo>
                    <a:pt x="3903821" y="132874"/>
                    <a:pt x="3904774" y="137636"/>
                    <a:pt x="3905726" y="143351"/>
                  </a:cubicBezTo>
                  <a:cubicBezTo>
                    <a:pt x="3905726" y="143351"/>
                    <a:pt x="3905726" y="143351"/>
                    <a:pt x="3905726" y="143351"/>
                  </a:cubicBezTo>
                  <a:cubicBezTo>
                    <a:pt x="3900011" y="150019"/>
                    <a:pt x="3894296" y="158591"/>
                    <a:pt x="3887629" y="167164"/>
                  </a:cubicBezTo>
                  <a:cubicBezTo>
                    <a:pt x="3880961" y="175736"/>
                    <a:pt x="3874294" y="185261"/>
                    <a:pt x="3866674" y="195739"/>
                  </a:cubicBezTo>
                  <a:cubicBezTo>
                    <a:pt x="3864769" y="190976"/>
                    <a:pt x="3863816" y="186214"/>
                    <a:pt x="3862864" y="182404"/>
                  </a:cubicBezTo>
                  <a:cubicBezTo>
                    <a:pt x="3857149" y="165259"/>
                    <a:pt x="3854291" y="155734"/>
                    <a:pt x="3854291" y="155734"/>
                  </a:cubicBezTo>
                  <a:cubicBezTo>
                    <a:pt x="3854291" y="155734"/>
                    <a:pt x="3856196" y="166211"/>
                    <a:pt x="3859054" y="183356"/>
                  </a:cubicBezTo>
                  <a:cubicBezTo>
                    <a:pt x="3860006" y="189071"/>
                    <a:pt x="3861911" y="195739"/>
                    <a:pt x="3862864" y="202406"/>
                  </a:cubicBezTo>
                  <a:cubicBezTo>
                    <a:pt x="3860959" y="204311"/>
                    <a:pt x="3860006" y="207169"/>
                    <a:pt x="3858101" y="209074"/>
                  </a:cubicBezTo>
                  <a:cubicBezTo>
                    <a:pt x="3856196" y="211931"/>
                    <a:pt x="3855244" y="213836"/>
                    <a:pt x="3853339" y="216694"/>
                  </a:cubicBezTo>
                  <a:cubicBezTo>
                    <a:pt x="3851434" y="208121"/>
                    <a:pt x="3850481" y="200501"/>
                    <a:pt x="3849529" y="195739"/>
                  </a:cubicBezTo>
                  <a:cubicBezTo>
                    <a:pt x="3850481" y="189071"/>
                    <a:pt x="3851434" y="183356"/>
                    <a:pt x="3852386" y="178594"/>
                  </a:cubicBezTo>
                  <a:cubicBezTo>
                    <a:pt x="3854291" y="166211"/>
                    <a:pt x="3855244" y="158591"/>
                    <a:pt x="3855244" y="158591"/>
                  </a:cubicBezTo>
                  <a:cubicBezTo>
                    <a:pt x="3855244" y="158591"/>
                    <a:pt x="3853339" y="165259"/>
                    <a:pt x="3848576" y="177641"/>
                  </a:cubicBezTo>
                  <a:cubicBezTo>
                    <a:pt x="3846671" y="184309"/>
                    <a:pt x="3844766" y="190976"/>
                    <a:pt x="3841909" y="199549"/>
                  </a:cubicBezTo>
                  <a:cubicBezTo>
                    <a:pt x="3840956" y="204311"/>
                    <a:pt x="3839051" y="208121"/>
                    <a:pt x="3838099" y="212884"/>
                  </a:cubicBezTo>
                  <a:cubicBezTo>
                    <a:pt x="3837146" y="216694"/>
                    <a:pt x="3836194" y="221456"/>
                    <a:pt x="3835241" y="225266"/>
                  </a:cubicBezTo>
                  <a:cubicBezTo>
                    <a:pt x="3835241" y="224314"/>
                    <a:pt x="3834289" y="223361"/>
                    <a:pt x="3834289" y="222409"/>
                  </a:cubicBezTo>
                  <a:cubicBezTo>
                    <a:pt x="3831431" y="217646"/>
                    <a:pt x="3828574" y="212884"/>
                    <a:pt x="3825716" y="209074"/>
                  </a:cubicBezTo>
                  <a:cubicBezTo>
                    <a:pt x="3815239" y="193834"/>
                    <a:pt x="3809524" y="184309"/>
                    <a:pt x="3809524" y="184309"/>
                  </a:cubicBezTo>
                  <a:cubicBezTo>
                    <a:pt x="3809524" y="184309"/>
                    <a:pt x="3814286" y="193834"/>
                    <a:pt x="3821906" y="210979"/>
                  </a:cubicBezTo>
                  <a:cubicBezTo>
                    <a:pt x="3823811" y="214789"/>
                    <a:pt x="3825716" y="219551"/>
                    <a:pt x="3828574" y="224314"/>
                  </a:cubicBezTo>
                  <a:cubicBezTo>
                    <a:pt x="3829526" y="227171"/>
                    <a:pt x="3831431" y="230981"/>
                    <a:pt x="3832384" y="234791"/>
                  </a:cubicBezTo>
                  <a:cubicBezTo>
                    <a:pt x="3831431" y="241459"/>
                    <a:pt x="3829526" y="248126"/>
                    <a:pt x="3828574" y="254794"/>
                  </a:cubicBezTo>
                  <a:cubicBezTo>
                    <a:pt x="3827621" y="256699"/>
                    <a:pt x="3826669" y="257651"/>
                    <a:pt x="3825716" y="259556"/>
                  </a:cubicBezTo>
                  <a:cubicBezTo>
                    <a:pt x="3823811" y="262414"/>
                    <a:pt x="3821906" y="266224"/>
                    <a:pt x="3820954" y="269081"/>
                  </a:cubicBezTo>
                  <a:cubicBezTo>
                    <a:pt x="3820954" y="268129"/>
                    <a:pt x="3820001" y="268129"/>
                    <a:pt x="3820001" y="267176"/>
                  </a:cubicBezTo>
                  <a:cubicBezTo>
                    <a:pt x="3810476" y="255746"/>
                    <a:pt x="3804761" y="249079"/>
                    <a:pt x="3804761" y="249079"/>
                  </a:cubicBezTo>
                  <a:cubicBezTo>
                    <a:pt x="3804761" y="249079"/>
                    <a:pt x="3809524" y="256699"/>
                    <a:pt x="3817144" y="270034"/>
                  </a:cubicBezTo>
                  <a:cubicBezTo>
                    <a:pt x="3818096" y="270986"/>
                    <a:pt x="3818096" y="271939"/>
                    <a:pt x="3819049" y="272891"/>
                  </a:cubicBezTo>
                  <a:cubicBezTo>
                    <a:pt x="3815239" y="280511"/>
                    <a:pt x="3811429" y="287179"/>
                    <a:pt x="3806666" y="294799"/>
                  </a:cubicBezTo>
                  <a:cubicBezTo>
                    <a:pt x="3806666" y="294799"/>
                    <a:pt x="3806666" y="294799"/>
                    <a:pt x="3806666" y="294799"/>
                  </a:cubicBezTo>
                  <a:cubicBezTo>
                    <a:pt x="3805714" y="293846"/>
                    <a:pt x="3804761" y="291941"/>
                    <a:pt x="3803809" y="290989"/>
                  </a:cubicBezTo>
                  <a:cubicBezTo>
                    <a:pt x="3803809" y="290036"/>
                    <a:pt x="3803809" y="289084"/>
                    <a:pt x="3802856" y="287179"/>
                  </a:cubicBezTo>
                  <a:cubicBezTo>
                    <a:pt x="3801904" y="283369"/>
                    <a:pt x="3800951" y="280511"/>
                    <a:pt x="3799999" y="276701"/>
                  </a:cubicBezTo>
                  <a:cubicBezTo>
                    <a:pt x="3798094" y="270034"/>
                    <a:pt x="3796189" y="265271"/>
                    <a:pt x="3795236" y="260509"/>
                  </a:cubicBezTo>
                  <a:cubicBezTo>
                    <a:pt x="3792379" y="250984"/>
                    <a:pt x="3790474" y="246221"/>
                    <a:pt x="3790474" y="246221"/>
                  </a:cubicBezTo>
                  <a:cubicBezTo>
                    <a:pt x="3790474" y="246221"/>
                    <a:pt x="3790474" y="251936"/>
                    <a:pt x="3791426" y="260509"/>
                  </a:cubicBezTo>
                  <a:cubicBezTo>
                    <a:pt x="3791426" y="264319"/>
                    <a:pt x="3792379" y="269081"/>
                    <a:pt x="3792379" y="273844"/>
                  </a:cubicBezTo>
                  <a:cubicBezTo>
                    <a:pt x="3790474" y="271939"/>
                    <a:pt x="3789521" y="270034"/>
                    <a:pt x="3787616" y="268129"/>
                  </a:cubicBezTo>
                  <a:cubicBezTo>
                    <a:pt x="3783806" y="263366"/>
                    <a:pt x="3779996" y="259556"/>
                    <a:pt x="3777139" y="255746"/>
                  </a:cubicBezTo>
                  <a:cubicBezTo>
                    <a:pt x="3776186" y="251936"/>
                    <a:pt x="3774281" y="249079"/>
                    <a:pt x="3773329" y="246221"/>
                  </a:cubicBezTo>
                  <a:cubicBezTo>
                    <a:pt x="3767614" y="231934"/>
                    <a:pt x="3764756" y="224314"/>
                    <a:pt x="3764756" y="224314"/>
                  </a:cubicBezTo>
                  <a:cubicBezTo>
                    <a:pt x="3764756" y="224314"/>
                    <a:pt x="3766661" y="232886"/>
                    <a:pt x="3769519" y="247174"/>
                  </a:cubicBezTo>
                  <a:cubicBezTo>
                    <a:pt x="3771424" y="254794"/>
                    <a:pt x="3773329" y="263366"/>
                    <a:pt x="3776186" y="273844"/>
                  </a:cubicBezTo>
                  <a:cubicBezTo>
                    <a:pt x="3778091" y="281464"/>
                    <a:pt x="3779996" y="290989"/>
                    <a:pt x="3781901" y="299561"/>
                  </a:cubicBezTo>
                  <a:cubicBezTo>
                    <a:pt x="3775234" y="275749"/>
                    <a:pt x="3767614" y="253841"/>
                    <a:pt x="3760946" y="234791"/>
                  </a:cubicBezTo>
                  <a:cubicBezTo>
                    <a:pt x="3759041" y="229076"/>
                    <a:pt x="3757136" y="224314"/>
                    <a:pt x="3755231" y="218599"/>
                  </a:cubicBezTo>
                  <a:cubicBezTo>
                    <a:pt x="3758089" y="214789"/>
                    <a:pt x="3759041" y="211931"/>
                    <a:pt x="3759041" y="211931"/>
                  </a:cubicBezTo>
                  <a:cubicBezTo>
                    <a:pt x="3759041" y="211931"/>
                    <a:pt x="3757136" y="213836"/>
                    <a:pt x="3754279" y="217646"/>
                  </a:cubicBezTo>
                  <a:cubicBezTo>
                    <a:pt x="3753326" y="213836"/>
                    <a:pt x="3752374" y="210979"/>
                    <a:pt x="3750469" y="208121"/>
                  </a:cubicBezTo>
                  <a:cubicBezTo>
                    <a:pt x="3752374" y="201454"/>
                    <a:pt x="3752374" y="197644"/>
                    <a:pt x="3752374" y="197644"/>
                  </a:cubicBezTo>
                  <a:cubicBezTo>
                    <a:pt x="3752374" y="197644"/>
                    <a:pt x="3751421" y="200501"/>
                    <a:pt x="3748564" y="205264"/>
                  </a:cubicBezTo>
                  <a:cubicBezTo>
                    <a:pt x="3739991" y="181451"/>
                    <a:pt x="3734276" y="167164"/>
                    <a:pt x="3734276" y="167164"/>
                  </a:cubicBezTo>
                  <a:cubicBezTo>
                    <a:pt x="3734276" y="167164"/>
                    <a:pt x="3737134" y="186214"/>
                    <a:pt x="3742849" y="217646"/>
                  </a:cubicBezTo>
                  <a:cubicBezTo>
                    <a:pt x="3740944" y="222409"/>
                    <a:pt x="3738086" y="229076"/>
                    <a:pt x="3736181" y="236696"/>
                  </a:cubicBezTo>
                  <a:cubicBezTo>
                    <a:pt x="3736181" y="237649"/>
                    <a:pt x="3736181" y="237649"/>
                    <a:pt x="3735229" y="238601"/>
                  </a:cubicBezTo>
                  <a:cubicBezTo>
                    <a:pt x="3733324" y="240506"/>
                    <a:pt x="3731419" y="243364"/>
                    <a:pt x="3730466" y="245269"/>
                  </a:cubicBezTo>
                  <a:cubicBezTo>
                    <a:pt x="3728561" y="242411"/>
                    <a:pt x="3727609" y="239554"/>
                    <a:pt x="3726656" y="236696"/>
                  </a:cubicBezTo>
                  <a:cubicBezTo>
                    <a:pt x="3726656" y="235744"/>
                    <a:pt x="3726656" y="234791"/>
                    <a:pt x="3726656" y="232886"/>
                  </a:cubicBezTo>
                  <a:cubicBezTo>
                    <a:pt x="3726656" y="221456"/>
                    <a:pt x="3725704" y="214789"/>
                    <a:pt x="3725704" y="214789"/>
                  </a:cubicBezTo>
                  <a:cubicBezTo>
                    <a:pt x="3725704" y="214789"/>
                    <a:pt x="3724751" y="220504"/>
                    <a:pt x="3722846" y="230029"/>
                  </a:cubicBezTo>
                  <a:cubicBezTo>
                    <a:pt x="3722846" y="230029"/>
                    <a:pt x="3722846" y="229076"/>
                    <a:pt x="3721894" y="229076"/>
                  </a:cubicBezTo>
                  <a:cubicBezTo>
                    <a:pt x="3721894" y="229076"/>
                    <a:pt x="3721894" y="229076"/>
                    <a:pt x="3721894" y="229076"/>
                  </a:cubicBezTo>
                  <a:cubicBezTo>
                    <a:pt x="3723799" y="215741"/>
                    <a:pt x="3724751" y="203359"/>
                    <a:pt x="3725704" y="190976"/>
                  </a:cubicBezTo>
                  <a:cubicBezTo>
                    <a:pt x="3726656" y="184309"/>
                    <a:pt x="3726656" y="178594"/>
                    <a:pt x="3727609" y="172879"/>
                  </a:cubicBezTo>
                  <a:cubicBezTo>
                    <a:pt x="3728561" y="167164"/>
                    <a:pt x="3729514" y="161449"/>
                    <a:pt x="3730466" y="155734"/>
                  </a:cubicBezTo>
                  <a:cubicBezTo>
                    <a:pt x="3732371" y="145256"/>
                    <a:pt x="3733324" y="135731"/>
                    <a:pt x="3734276" y="128111"/>
                  </a:cubicBezTo>
                  <a:cubicBezTo>
                    <a:pt x="3736181" y="112871"/>
                    <a:pt x="3737134" y="104299"/>
                    <a:pt x="3737134" y="104299"/>
                  </a:cubicBezTo>
                  <a:cubicBezTo>
                    <a:pt x="3737134" y="104299"/>
                    <a:pt x="3734276" y="112871"/>
                    <a:pt x="3730466" y="127159"/>
                  </a:cubicBezTo>
                  <a:cubicBezTo>
                    <a:pt x="3728561" y="134779"/>
                    <a:pt x="3725704" y="143351"/>
                    <a:pt x="3722846" y="153829"/>
                  </a:cubicBezTo>
                  <a:cubicBezTo>
                    <a:pt x="3720941" y="158591"/>
                    <a:pt x="3719989" y="164306"/>
                    <a:pt x="3718084" y="170021"/>
                  </a:cubicBezTo>
                  <a:cubicBezTo>
                    <a:pt x="3717131" y="175736"/>
                    <a:pt x="3715226" y="182404"/>
                    <a:pt x="3714274" y="188119"/>
                  </a:cubicBezTo>
                  <a:cubicBezTo>
                    <a:pt x="3713321" y="194786"/>
                    <a:pt x="3711416" y="201454"/>
                    <a:pt x="3710464" y="208121"/>
                  </a:cubicBezTo>
                  <a:cubicBezTo>
                    <a:pt x="3710464" y="208121"/>
                    <a:pt x="3710464" y="208121"/>
                    <a:pt x="3710464" y="207169"/>
                  </a:cubicBezTo>
                  <a:cubicBezTo>
                    <a:pt x="3702844" y="194786"/>
                    <a:pt x="3697129" y="184309"/>
                    <a:pt x="3691414" y="174784"/>
                  </a:cubicBezTo>
                  <a:cubicBezTo>
                    <a:pt x="3684746" y="164306"/>
                    <a:pt x="3679984" y="155734"/>
                    <a:pt x="3677126" y="150971"/>
                  </a:cubicBezTo>
                  <a:cubicBezTo>
                    <a:pt x="3678079" y="142399"/>
                    <a:pt x="3678079" y="137636"/>
                    <a:pt x="3678079" y="137636"/>
                  </a:cubicBezTo>
                  <a:cubicBezTo>
                    <a:pt x="3678079" y="137636"/>
                    <a:pt x="3677126" y="141446"/>
                    <a:pt x="3675221" y="149066"/>
                  </a:cubicBezTo>
                  <a:cubicBezTo>
                    <a:pt x="3674269" y="148114"/>
                    <a:pt x="3674269" y="147161"/>
                    <a:pt x="3674269" y="147161"/>
                  </a:cubicBezTo>
                  <a:cubicBezTo>
                    <a:pt x="3674269" y="147161"/>
                    <a:pt x="3674269" y="148114"/>
                    <a:pt x="3675221" y="150019"/>
                  </a:cubicBezTo>
                  <a:cubicBezTo>
                    <a:pt x="3674269" y="153829"/>
                    <a:pt x="3673316" y="158591"/>
                    <a:pt x="3672364" y="164306"/>
                  </a:cubicBezTo>
                  <a:cubicBezTo>
                    <a:pt x="3670459" y="172879"/>
                    <a:pt x="3668554" y="182404"/>
                    <a:pt x="3665696" y="194786"/>
                  </a:cubicBezTo>
                  <a:cubicBezTo>
                    <a:pt x="3664744" y="199549"/>
                    <a:pt x="3663791" y="204311"/>
                    <a:pt x="3662839" y="209074"/>
                  </a:cubicBezTo>
                  <a:cubicBezTo>
                    <a:pt x="3662839" y="209074"/>
                    <a:pt x="3662839" y="210026"/>
                    <a:pt x="3661886" y="210026"/>
                  </a:cubicBezTo>
                  <a:cubicBezTo>
                    <a:pt x="3660934" y="211931"/>
                    <a:pt x="3659029" y="214789"/>
                    <a:pt x="3658076" y="216694"/>
                  </a:cubicBezTo>
                  <a:cubicBezTo>
                    <a:pt x="3659029" y="190976"/>
                    <a:pt x="3658076" y="174784"/>
                    <a:pt x="3658076" y="174784"/>
                  </a:cubicBezTo>
                  <a:cubicBezTo>
                    <a:pt x="3658076" y="174784"/>
                    <a:pt x="3652361" y="200501"/>
                    <a:pt x="3645694" y="239554"/>
                  </a:cubicBezTo>
                  <a:cubicBezTo>
                    <a:pt x="3645694" y="241459"/>
                    <a:pt x="3644741" y="244316"/>
                    <a:pt x="3644741" y="246221"/>
                  </a:cubicBezTo>
                  <a:cubicBezTo>
                    <a:pt x="3644741" y="247174"/>
                    <a:pt x="3643789" y="248126"/>
                    <a:pt x="3643789" y="249079"/>
                  </a:cubicBezTo>
                  <a:cubicBezTo>
                    <a:pt x="3642836" y="251936"/>
                    <a:pt x="3641884" y="255746"/>
                    <a:pt x="3640931" y="259556"/>
                  </a:cubicBezTo>
                  <a:cubicBezTo>
                    <a:pt x="3636169" y="249079"/>
                    <a:pt x="3633311" y="243364"/>
                    <a:pt x="3633311" y="243364"/>
                  </a:cubicBezTo>
                  <a:cubicBezTo>
                    <a:pt x="3633311" y="243364"/>
                    <a:pt x="3635216" y="250984"/>
                    <a:pt x="3639979" y="265271"/>
                  </a:cubicBezTo>
                  <a:cubicBezTo>
                    <a:pt x="3639026" y="268129"/>
                    <a:pt x="3638074" y="271939"/>
                    <a:pt x="3637121" y="275749"/>
                  </a:cubicBezTo>
                  <a:cubicBezTo>
                    <a:pt x="3631406" y="266224"/>
                    <a:pt x="3627596" y="261461"/>
                    <a:pt x="3627596" y="261461"/>
                  </a:cubicBezTo>
                  <a:cubicBezTo>
                    <a:pt x="3627596" y="261461"/>
                    <a:pt x="3630454" y="268129"/>
                    <a:pt x="3635216" y="280511"/>
                  </a:cubicBezTo>
                  <a:cubicBezTo>
                    <a:pt x="3635216" y="280511"/>
                    <a:pt x="3635216" y="280511"/>
                    <a:pt x="3635216" y="281464"/>
                  </a:cubicBezTo>
                  <a:cubicBezTo>
                    <a:pt x="3633311" y="290036"/>
                    <a:pt x="3631406" y="299561"/>
                    <a:pt x="3630454" y="309086"/>
                  </a:cubicBezTo>
                  <a:cubicBezTo>
                    <a:pt x="3629501" y="316706"/>
                    <a:pt x="3628549" y="324326"/>
                    <a:pt x="3627596" y="332899"/>
                  </a:cubicBezTo>
                  <a:cubicBezTo>
                    <a:pt x="3624739" y="325279"/>
                    <a:pt x="3622834" y="318611"/>
                    <a:pt x="3620929" y="312896"/>
                  </a:cubicBezTo>
                  <a:cubicBezTo>
                    <a:pt x="3620929" y="310991"/>
                    <a:pt x="3620929" y="309086"/>
                    <a:pt x="3620929" y="309086"/>
                  </a:cubicBezTo>
                  <a:cubicBezTo>
                    <a:pt x="3620929" y="309086"/>
                    <a:pt x="3620929" y="310039"/>
                    <a:pt x="3619976" y="310991"/>
                  </a:cubicBezTo>
                  <a:cubicBezTo>
                    <a:pt x="3619976" y="310039"/>
                    <a:pt x="3619024" y="309086"/>
                    <a:pt x="3619024" y="308134"/>
                  </a:cubicBezTo>
                  <a:cubicBezTo>
                    <a:pt x="3620929" y="295751"/>
                    <a:pt x="3621881" y="284321"/>
                    <a:pt x="3622834" y="272891"/>
                  </a:cubicBezTo>
                  <a:cubicBezTo>
                    <a:pt x="3624739" y="252889"/>
                    <a:pt x="3625691" y="234791"/>
                    <a:pt x="3626644" y="221456"/>
                  </a:cubicBezTo>
                  <a:cubicBezTo>
                    <a:pt x="3629501" y="215741"/>
                    <a:pt x="3630454" y="211931"/>
                    <a:pt x="3630454" y="211931"/>
                  </a:cubicBezTo>
                  <a:cubicBezTo>
                    <a:pt x="3630454" y="211931"/>
                    <a:pt x="3629501" y="213836"/>
                    <a:pt x="3626644" y="216694"/>
                  </a:cubicBezTo>
                  <a:cubicBezTo>
                    <a:pt x="3626644" y="215741"/>
                    <a:pt x="3626644" y="214789"/>
                    <a:pt x="3626644" y="214789"/>
                  </a:cubicBezTo>
                  <a:cubicBezTo>
                    <a:pt x="3626644" y="200501"/>
                    <a:pt x="3626644" y="192881"/>
                    <a:pt x="3626644" y="192881"/>
                  </a:cubicBezTo>
                  <a:cubicBezTo>
                    <a:pt x="3626644" y="192881"/>
                    <a:pt x="3624739" y="200501"/>
                    <a:pt x="3622834" y="214789"/>
                  </a:cubicBezTo>
                  <a:cubicBezTo>
                    <a:pt x="3621881" y="217646"/>
                    <a:pt x="3621881" y="221456"/>
                    <a:pt x="3620929" y="226219"/>
                  </a:cubicBezTo>
                  <a:cubicBezTo>
                    <a:pt x="3620929" y="226219"/>
                    <a:pt x="3620929" y="226219"/>
                    <a:pt x="3620929" y="227171"/>
                  </a:cubicBezTo>
                  <a:cubicBezTo>
                    <a:pt x="3618071" y="231934"/>
                    <a:pt x="3614261" y="237649"/>
                    <a:pt x="3609499" y="243364"/>
                  </a:cubicBezTo>
                  <a:cubicBezTo>
                    <a:pt x="3607594" y="246221"/>
                    <a:pt x="3605689" y="249079"/>
                    <a:pt x="3603784" y="251936"/>
                  </a:cubicBezTo>
                  <a:cubicBezTo>
                    <a:pt x="3607594" y="242411"/>
                    <a:pt x="3610451" y="233839"/>
                    <a:pt x="3613309" y="225266"/>
                  </a:cubicBezTo>
                  <a:cubicBezTo>
                    <a:pt x="3615214" y="219551"/>
                    <a:pt x="3617119" y="213836"/>
                    <a:pt x="3619024" y="208121"/>
                  </a:cubicBezTo>
                  <a:cubicBezTo>
                    <a:pt x="3620929" y="202406"/>
                    <a:pt x="3622834" y="197644"/>
                    <a:pt x="3624739" y="192881"/>
                  </a:cubicBezTo>
                  <a:cubicBezTo>
                    <a:pt x="3628549" y="183356"/>
                    <a:pt x="3631406" y="174784"/>
                    <a:pt x="3634264" y="168116"/>
                  </a:cubicBezTo>
                  <a:cubicBezTo>
                    <a:pt x="3639026" y="153829"/>
                    <a:pt x="3642836" y="146209"/>
                    <a:pt x="3642836" y="146209"/>
                  </a:cubicBezTo>
                  <a:cubicBezTo>
                    <a:pt x="3642836" y="146209"/>
                    <a:pt x="3639026" y="153829"/>
                    <a:pt x="3631406" y="166211"/>
                  </a:cubicBezTo>
                  <a:cubicBezTo>
                    <a:pt x="3627596" y="172879"/>
                    <a:pt x="3623786" y="180499"/>
                    <a:pt x="3618071" y="189071"/>
                  </a:cubicBezTo>
                  <a:cubicBezTo>
                    <a:pt x="3615214" y="193834"/>
                    <a:pt x="3613309" y="198596"/>
                    <a:pt x="3610451" y="203359"/>
                  </a:cubicBezTo>
                  <a:cubicBezTo>
                    <a:pt x="3607594" y="209074"/>
                    <a:pt x="3605689" y="213836"/>
                    <a:pt x="3602831" y="219551"/>
                  </a:cubicBezTo>
                  <a:cubicBezTo>
                    <a:pt x="3598069" y="229076"/>
                    <a:pt x="3593306" y="238601"/>
                    <a:pt x="3588544" y="250031"/>
                  </a:cubicBezTo>
                  <a:cubicBezTo>
                    <a:pt x="3588544" y="245269"/>
                    <a:pt x="3588544" y="242411"/>
                    <a:pt x="3588544" y="242411"/>
                  </a:cubicBezTo>
                  <a:cubicBezTo>
                    <a:pt x="3588544" y="242411"/>
                    <a:pt x="3587591" y="248126"/>
                    <a:pt x="3585686" y="256699"/>
                  </a:cubicBezTo>
                  <a:cubicBezTo>
                    <a:pt x="3585686" y="256699"/>
                    <a:pt x="3585686" y="256699"/>
                    <a:pt x="3585686" y="257651"/>
                  </a:cubicBezTo>
                  <a:cubicBezTo>
                    <a:pt x="3583781" y="261461"/>
                    <a:pt x="3581876" y="266224"/>
                    <a:pt x="3579971" y="270986"/>
                  </a:cubicBezTo>
                  <a:cubicBezTo>
                    <a:pt x="3578066" y="274796"/>
                    <a:pt x="3576161" y="278606"/>
                    <a:pt x="3573304" y="282416"/>
                  </a:cubicBezTo>
                  <a:cubicBezTo>
                    <a:pt x="3571399" y="275749"/>
                    <a:pt x="3569494" y="269081"/>
                    <a:pt x="3568541" y="263366"/>
                  </a:cubicBezTo>
                  <a:cubicBezTo>
                    <a:pt x="3566636" y="257651"/>
                    <a:pt x="3565684" y="252889"/>
                    <a:pt x="3564731" y="248126"/>
                  </a:cubicBezTo>
                  <a:cubicBezTo>
                    <a:pt x="3564731" y="248126"/>
                    <a:pt x="3564731" y="248126"/>
                    <a:pt x="3564731" y="248126"/>
                  </a:cubicBezTo>
                  <a:cubicBezTo>
                    <a:pt x="3563779" y="244316"/>
                    <a:pt x="3563779" y="241459"/>
                    <a:pt x="3562826" y="237649"/>
                  </a:cubicBezTo>
                  <a:cubicBezTo>
                    <a:pt x="3562826" y="236696"/>
                    <a:pt x="3562826" y="235744"/>
                    <a:pt x="3561874" y="233839"/>
                  </a:cubicBezTo>
                  <a:cubicBezTo>
                    <a:pt x="3564731" y="230029"/>
                    <a:pt x="3566636" y="227171"/>
                    <a:pt x="3566636" y="227171"/>
                  </a:cubicBezTo>
                  <a:cubicBezTo>
                    <a:pt x="3566636" y="227171"/>
                    <a:pt x="3564731" y="229076"/>
                    <a:pt x="3561874" y="230981"/>
                  </a:cubicBezTo>
                  <a:cubicBezTo>
                    <a:pt x="3559969" y="222409"/>
                    <a:pt x="3559016" y="218599"/>
                    <a:pt x="3559016" y="218599"/>
                  </a:cubicBezTo>
                  <a:cubicBezTo>
                    <a:pt x="3559016" y="218599"/>
                    <a:pt x="3559016" y="223361"/>
                    <a:pt x="3559016" y="231934"/>
                  </a:cubicBezTo>
                  <a:cubicBezTo>
                    <a:pt x="3557111" y="228124"/>
                    <a:pt x="3556159" y="224314"/>
                    <a:pt x="3554254" y="220504"/>
                  </a:cubicBezTo>
                  <a:cubicBezTo>
                    <a:pt x="3559969" y="211931"/>
                    <a:pt x="3564731" y="204311"/>
                    <a:pt x="3569494" y="197644"/>
                  </a:cubicBezTo>
                  <a:cubicBezTo>
                    <a:pt x="3576161" y="189071"/>
                    <a:pt x="3580924" y="180499"/>
                    <a:pt x="3585686" y="174784"/>
                  </a:cubicBezTo>
                  <a:cubicBezTo>
                    <a:pt x="3595211" y="162401"/>
                    <a:pt x="3600926" y="154781"/>
                    <a:pt x="3600926" y="154781"/>
                  </a:cubicBezTo>
                  <a:cubicBezTo>
                    <a:pt x="3600926" y="154781"/>
                    <a:pt x="3594259" y="160496"/>
                    <a:pt x="3582829" y="171926"/>
                  </a:cubicBezTo>
                  <a:cubicBezTo>
                    <a:pt x="3577114" y="176689"/>
                    <a:pt x="3570446" y="184309"/>
                    <a:pt x="3562826" y="192881"/>
                  </a:cubicBezTo>
                  <a:cubicBezTo>
                    <a:pt x="3558064" y="197644"/>
                    <a:pt x="3553301" y="203359"/>
                    <a:pt x="3549491" y="209074"/>
                  </a:cubicBezTo>
                  <a:cubicBezTo>
                    <a:pt x="3545681" y="199549"/>
                    <a:pt x="3542824" y="193834"/>
                    <a:pt x="3542824" y="193834"/>
                  </a:cubicBezTo>
                  <a:cubicBezTo>
                    <a:pt x="3542824" y="193834"/>
                    <a:pt x="3543776" y="200501"/>
                    <a:pt x="3546634" y="212884"/>
                  </a:cubicBezTo>
                  <a:cubicBezTo>
                    <a:pt x="3544729" y="215741"/>
                    <a:pt x="3541871" y="218599"/>
                    <a:pt x="3539966" y="222409"/>
                  </a:cubicBezTo>
                  <a:cubicBezTo>
                    <a:pt x="3539966" y="222409"/>
                    <a:pt x="3539014" y="223361"/>
                    <a:pt x="3539014" y="223361"/>
                  </a:cubicBezTo>
                  <a:cubicBezTo>
                    <a:pt x="3539014" y="219551"/>
                    <a:pt x="3539014" y="214789"/>
                    <a:pt x="3539014" y="210979"/>
                  </a:cubicBezTo>
                  <a:cubicBezTo>
                    <a:pt x="3539014" y="200501"/>
                    <a:pt x="3539014" y="191929"/>
                    <a:pt x="3539014" y="184309"/>
                  </a:cubicBezTo>
                  <a:cubicBezTo>
                    <a:pt x="3539014" y="180499"/>
                    <a:pt x="3539014" y="176689"/>
                    <a:pt x="3539014" y="173831"/>
                  </a:cubicBezTo>
                  <a:cubicBezTo>
                    <a:pt x="3539966" y="170974"/>
                    <a:pt x="3540919" y="170021"/>
                    <a:pt x="3540919" y="170021"/>
                  </a:cubicBezTo>
                  <a:cubicBezTo>
                    <a:pt x="3540919" y="170021"/>
                    <a:pt x="3539966" y="170974"/>
                    <a:pt x="3539014" y="172879"/>
                  </a:cubicBezTo>
                  <a:cubicBezTo>
                    <a:pt x="3539014" y="166211"/>
                    <a:pt x="3539014" y="162401"/>
                    <a:pt x="3539014" y="162401"/>
                  </a:cubicBezTo>
                  <a:cubicBezTo>
                    <a:pt x="3539014" y="162401"/>
                    <a:pt x="3538061" y="167164"/>
                    <a:pt x="3537109" y="176689"/>
                  </a:cubicBezTo>
                  <a:cubicBezTo>
                    <a:pt x="3535204" y="180499"/>
                    <a:pt x="3531394" y="184309"/>
                    <a:pt x="3527584" y="190976"/>
                  </a:cubicBezTo>
                  <a:cubicBezTo>
                    <a:pt x="3522821" y="197644"/>
                    <a:pt x="3518059" y="205264"/>
                    <a:pt x="3511391" y="214789"/>
                  </a:cubicBezTo>
                  <a:cubicBezTo>
                    <a:pt x="3511391" y="214789"/>
                    <a:pt x="3511391" y="215741"/>
                    <a:pt x="3510439" y="215741"/>
                  </a:cubicBezTo>
                  <a:cubicBezTo>
                    <a:pt x="3509486" y="210026"/>
                    <a:pt x="3509486" y="205264"/>
                    <a:pt x="3508534" y="201454"/>
                  </a:cubicBezTo>
                  <a:cubicBezTo>
                    <a:pt x="3506629" y="188119"/>
                    <a:pt x="3505676" y="180499"/>
                    <a:pt x="3505676" y="180499"/>
                  </a:cubicBezTo>
                  <a:cubicBezTo>
                    <a:pt x="3505676" y="180499"/>
                    <a:pt x="3505676" y="188119"/>
                    <a:pt x="3504724" y="202406"/>
                  </a:cubicBezTo>
                  <a:cubicBezTo>
                    <a:pt x="3504724" y="209074"/>
                    <a:pt x="3504724" y="216694"/>
                    <a:pt x="3503771" y="226219"/>
                  </a:cubicBezTo>
                  <a:cubicBezTo>
                    <a:pt x="3502819" y="228124"/>
                    <a:pt x="3501866" y="229076"/>
                    <a:pt x="3500914" y="230981"/>
                  </a:cubicBezTo>
                  <a:cubicBezTo>
                    <a:pt x="3498056" y="235744"/>
                    <a:pt x="3495199" y="241459"/>
                    <a:pt x="3491389" y="247174"/>
                  </a:cubicBezTo>
                  <a:cubicBezTo>
                    <a:pt x="3488531" y="241459"/>
                    <a:pt x="3486626" y="235744"/>
                    <a:pt x="3483769" y="230029"/>
                  </a:cubicBezTo>
                  <a:cubicBezTo>
                    <a:pt x="3479006" y="218599"/>
                    <a:pt x="3474244" y="209074"/>
                    <a:pt x="3469481" y="200501"/>
                  </a:cubicBezTo>
                  <a:cubicBezTo>
                    <a:pt x="3470434" y="197644"/>
                    <a:pt x="3471386" y="193834"/>
                    <a:pt x="3471386" y="190976"/>
                  </a:cubicBezTo>
                  <a:cubicBezTo>
                    <a:pt x="3473291" y="182404"/>
                    <a:pt x="3475196" y="174784"/>
                    <a:pt x="3477101" y="167164"/>
                  </a:cubicBezTo>
                  <a:cubicBezTo>
                    <a:pt x="3479006" y="159544"/>
                    <a:pt x="3480911" y="152876"/>
                    <a:pt x="3482816" y="146209"/>
                  </a:cubicBezTo>
                  <a:cubicBezTo>
                    <a:pt x="3486626" y="132874"/>
                    <a:pt x="3489484" y="121444"/>
                    <a:pt x="3492341" y="111919"/>
                  </a:cubicBezTo>
                  <a:cubicBezTo>
                    <a:pt x="3497104" y="92869"/>
                    <a:pt x="3499961" y="82391"/>
                    <a:pt x="3499961" y="82391"/>
                  </a:cubicBezTo>
                  <a:cubicBezTo>
                    <a:pt x="3499961" y="82391"/>
                    <a:pt x="3496151" y="92869"/>
                    <a:pt x="3488531" y="110966"/>
                  </a:cubicBezTo>
                  <a:cubicBezTo>
                    <a:pt x="3484721" y="120491"/>
                    <a:pt x="3480911" y="130969"/>
                    <a:pt x="3476149" y="144304"/>
                  </a:cubicBezTo>
                  <a:cubicBezTo>
                    <a:pt x="3473291" y="150971"/>
                    <a:pt x="3471386" y="157639"/>
                    <a:pt x="3468529" y="164306"/>
                  </a:cubicBezTo>
                  <a:cubicBezTo>
                    <a:pt x="3466624" y="170974"/>
                    <a:pt x="3464719" y="177641"/>
                    <a:pt x="3461861" y="185261"/>
                  </a:cubicBezTo>
                  <a:cubicBezTo>
                    <a:pt x="3456146" y="173831"/>
                    <a:pt x="3452336" y="168116"/>
                    <a:pt x="3452336" y="168116"/>
                  </a:cubicBezTo>
                  <a:cubicBezTo>
                    <a:pt x="3452336" y="168116"/>
                    <a:pt x="3455194" y="175736"/>
                    <a:pt x="3460909" y="189071"/>
                  </a:cubicBezTo>
                  <a:cubicBezTo>
                    <a:pt x="3457099" y="200501"/>
                    <a:pt x="3454241" y="211931"/>
                    <a:pt x="3450431" y="225266"/>
                  </a:cubicBezTo>
                  <a:cubicBezTo>
                    <a:pt x="3447574" y="220504"/>
                    <a:pt x="3444716" y="214789"/>
                    <a:pt x="3441859" y="210026"/>
                  </a:cubicBezTo>
                  <a:cubicBezTo>
                    <a:pt x="3441859" y="209074"/>
                    <a:pt x="3441859" y="208121"/>
                    <a:pt x="3442811" y="208121"/>
                  </a:cubicBezTo>
                  <a:cubicBezTo>
                    <a:pt x="3444716" y="197644"/>
                    <a:pt x="3445669" y="190976"/>
                    <a:pt x="3445669" y="190976"/>
                  </a:cubicBezTo>
                  <a:cubicBezTo>
                    <a:pt x="3445669" y="190976"/>
                    <a:pt x="3442811" y="196691"/>
                    <a:pt x="3439001" y="205264"/>
                  </a:cubicBezTo>
                  <a:cubicBezTo>
                    <a:pt x="3439001" y="205264"/>
                    <a:pt x="3439001" y="205264"/>
                    <a:pt x="3439001" y="205264"/>
                  </a:cubicBezTo>
                  <a:cubicBezTo>
                    <a:pt x="3439001" y="190976"/>
                    <a:pt x="3439001" y="177641"/>
                    <a:pt x="3438049" y="165259"/>
                  </a:cubicBezTo>
                  <a:cubicBezTo>
                    <a:pt x="3438049" y="153829"/>
                    <a:pt x="3437096" y="144304"/>
                    <a:pt x="3437096" y="135731"/>
                  </a:cubicBezTo>
                  <a:cubicBezTo>
                    <a:pt x="3436144" y="127159"/>
                    <a:pt x="3436144" y="119539"/>
                    <a:pt x="3435191" y="112871"/>
                  </a:cubicBezTo>
                  <a:cubicBezTo>
                    <a:pt x="3434239" y="100489"/>
                    <a:pt x="3433286" y="92869"/>
                    <a:pt x="3433286" y="92869"/>
                  </a:cubicBezTo>
                  <a:cubicBezTo>
                    <a:pt x="3433286" y="92869"/>
                    <a:pt x="3432334" y="100489"/>
                    <a:pt x="3431381" y="112871"/>
                  </a:cubicBezTo>
                  <a:cubicBezTo>
                    <a:pt x="3430429" y="122396"/>
                    <a:pt x="3429476" y="134779"/>
                    <a:pt x="3428524" y="149066"/>
                  </a:cubicBezTo>
                  <a:cubicBezTo>
                    <a:pt x="3428524" y="149066"/>
                    <a:pt x="3428524" y="150019"/>
                    <a:pt x="3428524" y="150019"/>
                  </a:cubicBezTo>
                  <a:cubicBezTo>
                    <a:pt x="3427571" y="143351"/>
                    <a:pt x="3426619" y="137636"/>
                    <a:pt x="3426619" y="131921"/>
                  </a:cubicBezTo>
                  <a:cubicBezTo>
                    <a:pt x="3424714" y="120491"/>
                    <a:pt x="3423761" y="113824"/>
                    <a:pt x="3423761" y="113824"/>
                  </a:cubicBezTo>
                  <a:cubicBezTo>
                    <a:pt x="3423761" y="113824"/>
                    <a:pt x="3422809" y="120491"/>
                    <a:pt x="3422809" y="131921"/>
                  </a:cubicBezTo>
                  <a:cubicBezTo>
                    <a:pt x="3422809" y="142399"/>
                    <a:pt x="3421856" y="157639"/>
                    <a:pt x="3420904" y="174784"/>
                  </a:cubicBezTo>
                  <a:cubicBezTo>
                    <a:pt x="3418046" y="170021"/>
                    <a:pt x="3415189" y="166211"/>
                    <a:pt x="3412331" y="162401"/>
                  </a:cubicBezTo>
                  <a:cubicBezTo>
                    <a:pt x="3405664" y="152876"/>
                    <a:pt x="3400901" y="146209"/>
                    <a:pt x="3398044" y="141446"/>
                  </a:cubicBezTo>
                  <a:cubicBezTo>
                    <a:pt x="3398996" y="135731"/>
                    <a:pt x="3400901" y="129064"/>
                    <a:pt x="3401854" y="123349"/>
                  </a:cubicBezTo>
                  <a:cubicBezTo>
                    <a:pt x="3399949" y="128111"/>
                    <a:pt x="3398044" y="133826"/>
                    <a:pt x="3396139" y="139541"/>
                  </a:cubicBezTo>
                  <a:cubicBezTo>
                    <a:pt x="3393281" y="135731"/>
                    <a:pt x="3391376" y="132874"/>
                    <a:pt x="3391376" y="132874"/>
                  </a:cubicBezTo>
                  <a:cubicBezTo>
                    <a:pt x="3391376" y="132874"/>
                    <a:pt x="3392329" y="134779"/>
                    <a:pt x="3395186" y="139541"/>
                  </a:cubicBezTo>
                  <a:cubicBezTo>
                    <a:pt x="3395186" y="140494"/>
                    <a:pt x="3395186" y="140494"/>
                    <a:pt x="3395186" y="141446"/>
                  </a:cubicBezTo>
                  <a:cubicBezTo>
                    <a:pt x="3391376" y="153829"/>
                    <a:pt x="3386614" y="166211"/>
                    <a:pt x="3382804" y="177641"/>
                  </a:cubicBezTo>
                  <a:cubicBezTo>
                    <a:pt x="3382804" y="175736"/>
                    <a:pt x="3382804" y="174784"/>
                    <a:pt x="3382804" y="172879"/>
                  </a:cubicBezTo>
                  <a:cubicBezTo>
                    <a:pt x="3381851" y="158591"/>
                    <a:pt x="3381851" y="150971"/>
                    <a:pt x="3381851" y="150971"/>
                  </a:cubicBezTo>
                  <a:cubicBezTo>
                    <a:pt x="3381851" y="150971"/>
                    <a:pt x="3380899" y="158591"/>
                    <a:pt x="3378994" y="172879"/>
                  </a:cubicBezTo>
                  <a:cubicBezTo>
                    <a:pt x="3378041" y="179546"/>
                    <a:pt x="3377089" y="188119"/>
                    <a:pt x="3376136" y="197644"/>
                  </a:cubicBezTo>
                  <a:cubicBezTo>
                    <a:pt x="3372326" y="210026"/>
                    <a:pt x="3368516" y="222409"/>
                    <a:pt x="3365659" y="234791"/>
                  </a:cubicBezTo>
                  <a:cubicBezTo>
                    <a:pt x="3363754" y="240506"/>
                    <a:pt x="3361849" y="247174"/>
                    <a:pt x="3358991" y="253841"/>
                  </a:cubicBezTo>
                  <a:cubicBezTo>
                    <a:pt x="3358991" y="254794"/>
                    <a:pt x="3358039" y="256699"/>
                    <a:pt x="3358039" y="257651"/>
                  </a:cubicBezTo>
                  <a:cubicBezTo>
                    <a:pt x="3355181" y="250984"/>
                    <a:pt x="3353276" y="244316"/>
                    <a:pt x="3351371" y="239554"/>
                  </a:cubicBezTo>
                  <a:cubicBezTo>
                    <a:pt x="3351371" y="238601"/>
                    <a:pt x="3351371" y="237649"/>
                    <a:pt x="3351371" y="237649"/>
                  </a:cubicBezTo>
                  <a:cubicBezTo>
                    <a:pt x="3351371" y="237649"/>
                    <a:pt x="3351371" y="237649"/>
                    <a:pt x="3351371" y="238601"/>
                  </a:cubicBezTo>
                  <a:cubicBezTo>
                    <a:pt x="3347561" y="228124"/>
                    <a:pt x="3344704" y="221456"/>
                    <a:pt x="3344704" y="221456"/>
                  </a:cubicBezTo>
                  <a:cubicBezTo>
                    <a:pt x="3344704" y="221456"/>
                    <a:pt x="3346609" y="230981"/>
                    <a:pt x="3349466" y="248126"/>
                  </a:cubicBezTo>
                  <a:cubicBezTo>
                    <a:pt x="3348514" y="252889"/>
                    <a:pt x="3348514" y="258604"/>
                    <a:pt x="3347561" y="265271"/>
                  </a:cubicBezTo>
                  <a:cubicBezTo>
                    <a:pt x="3346609" y="270986"/>
                    <a:pt x="3346609" y="276701"/>
                    <a:pt x="3345656" y="283369"/>
                  </a:cubicBezTo>
                  <a:cubicBezTo>
                    <a:pt x="3344704" y="284321"/>
                    <a:pt x="3344704" y="285274"/>
                    <a:pt x="3343751" y="287179"/>
                  </a:cubicBezTo>
                  <a:cubicBezTo>
                    <a:pt x="3341846" y="283369"/>
                    <a:pt x="3340894" y="278606"/>
                    <a:pt x="3339941" y="274796"/>
                  </a:cubicBezTo>
                  <a:cubicBezTo>
                    <a:pt x="3335179" y="259556"/>
                    <a:pt x="3329464" y="245269"/>
                    <a:pt x="3325654" y="231934"/>
                  </a:cubicBezTo>
                  <a:cubicBezTo>
                    <a:pt x="3326606" y="227171"/>
                    <a:pt x="3327559" y="221456"/>
                    <a:pt x="3328511" y="216694"/>
                  </a:cubicBezTo>
                  <a:cubicBezTo>
                    <a:pt x="3332321" y="199549"/>
                    <a:pt x="3334226" y="184309"/>
                    <a:pt x="3338036" y="170974"/>
                  </a:cubicBezTo>
                  <a:cubicBezTo>
                    <a:pt x="3340894" y="157639"/>
                    <a:pt x="3343751" y="145256"/>
                    <a:pt x="3346609" y="136684"/>
                  </a:cubicBezTo>
                  <a:cubicBezTo>
                    <a:pt x="3352324" y="117634"/>
                    <a:pt x="3355181" y="106204"/>
                    <a:pt x="3355181" y="106204"/>
                  </a:cubicBezTo>
                  <a:cubicBezTo>
                    <a:pt x="3355181" y="106204"/>
                    <a:pt x="3350419" y="116681"/>
                    <a:pt x="3342799" y="134779"/>
                  </a:cubicBezTo>
                  <a:cubicBezTo>
                    <a:pt x="3338989" y="144304"/>
                    <a:pt x="3335179" y="155734"/>
                    <a:pt x="3330416" y="169069"/>
                  </a:cubicBezTo>
                  <a:cubicBezTo>
                    <a:pt x="3325654" y="180499"/>
                    <a:pt x="3322796" y="193834"/>
                    <a:pt x="3318986" y="208121"/>
                  </a:cubicBezTo>
                  <a:cubicBezTo>
                    <a:pt x="3318986" y="206216"/>
                    <a:pt x="3318986" y="205264"/>
                    <a:pt x="3318986" y="203359"/>
                  </a:cubicBezTo>
                  <a:cubicBezTo>
                    <a:pt x="3319939" y="200501"/>
                    <a:pt x="3319939" y="198596"/>
                    <a:pt x="3320891" y="195739"/>
                  </a:cubicBezTo>
                  <a:cubicBezTo>
                    <a:pt x="3323749" y="185261"/>
                    <a:pt x="3325654" y="176689"/>
                    <a:pt x="3327559" y="170021"/>
                  </a:cubicBezTo>
                  <a:cubicBezTo>
                    <a:pt x="3330416" y="155734"/>
                    <a:pt x="3332321" y="147161"/>
                    <a:pt x="3332321" y="147161"/>
                  </a:cubicBezTo>
                  <a:cubicBezTo>
                    <a:pt x="3332321" y="147161"/>
                    <a:pt x="3329464" y="154781"/>
                    <a:pt x="3323749" y="169069"/>
                  </a:cubicBezTo>
                  <a:cubicBezTo>
                    <a:pt x="3323749" y="170021"/>
                    <a:pt x="3322796" y="170974"/>
                    <a:pt x="3322796" y="171926"/>
                  </a:cubicBezTo>
                  <a:cubicBezTo>
                    <a:pt x="3322796" y="170021"/>
                    <a:pt x="3323749" y="167164"/>
                    <a:pt x="3323749" y="165259"/>
                  </a:cubicBezTo>
                  <a:cubicBezTo>
                    <a:pt x="3325654" y="158591"/>
                    <a:pt x="3326606" y="152876"/>
                    <a:pt x="3328511" y="147161"/>
                  </a:cubicBezTo>
                  <a:cubicBezTo>
                    <a:pt x="3331369" y="135731"/>
                    <a:pt x="3334226" y="125254"/>
                    <a:pt x="3336131" y="116681"/>
                  </a:cubicBezTo>
                  <a:cubicBezTo>
                    <a:pt x="3339941" y="99536"/>
                    <a:pt x="3341846" y="90011"/>
                    <a:pt x="3341846" y="90011"/>
                  </a:cubicBezTo>
                  <a:cubicBezTo>
                    <a:pt x="3341846" y="90011"/>
                    <a:pt x="3338036" y="99536"/>
                    <a:pt x="3332321" y="114776"/>
                  </a:cubicBezTo>
                  <a:cubicBezTo>
                    <a:pt x="3329464" y="122396"/>
                    <a:pt x="3325654" y="132874"/>
                    <a:pt x="3321844" y="143351"/>
                  </a:cubicBezTo>
                  <a:cubicBezTo>
                    <a:pt x="3319939" y="149066"/>
                    <a:pt x="3318034" y="154781"/>
                    <a:pt x="3315176" y="161449"/>
                  </a:cubicBezTo>
                  <a:cubicBezTo>
                    <a:pt x="3313271" y="168116"/>
                    <a:pt x="3311366" y="174784"/>
                    <a:pt x="3308509" y="181451"/>
                  </a:cubicBezTo>
                  <a:cubicBezTo>
                    <a:pt x="3308509" y="181451"/>
                    <a:pt x="3308509" y="181451"/>
                    <a:pt x="3308509" y="181451"/>
                  </a:cubicBezTo>
                  <a:cubicBezTo>
                    <a:pt x="3307556" y="179546"/>
                    <a:pt x="3307556" y="178594"/>
                    <a:pt x="3306604" y="176689"/>
                  </a:cubicBezTo>
                  <a:cubicBezTo>
                    <a:pt x="3298031" y="153829"/>
                    <a:pt x="3292316" y="140494"/>
                    <a:pt x="3292316" y="140494"/>
                  </a:cubicBezTo>
                  <a:cubicBezTo>
                    <a:pt x="3292316" y="140494"/>
                    <a:pt x="3297079" y="158591"/>
                    <a:pt x="3305651" y="189071"/>
                  </a:cubicBezTo>
                  <a:cubicBezTo>
                    <a:pt x="3301841" y="201454"/>
                    <a:pt x="3298031" y="213836"/>
                    <a:pt x="3294221" y="227171"/>
                  </a:cubicBezTo>
                  <a:cubicBezTo>
                    <a:pt x="3294221" y="228124"/>
                    <a:pt x="3293269" y="230029"/>
                    <a:pt x="3293269" y="230981"/>
                  </a:cubicBezTo>
                  <a:cubicBezTo>
                    <a:pt x="3293269" y="230029"/>
                    <a:pt x="3292316" y="230029"/>
                    <a:pt x="3292316" y="229076"/>
                  </a:cubicBezTo>
                  <a:cubicBezTo>
                    <a:pt x="3282791" y="209074"/>
                    <a:pt x="3277076" y="197644"/>
                    <a:pt x="3277076" y="197644"/>
                  </a:cubicBezTo>
                  <a:cubicBezTo>
                    <a:pt x="3277076" y="197644"/>
                    <a:pt x="3282791" y="211931"/>
                    <a:pt x="3291364" y="237649"/>
                  </a:cubicBezTo>
                  <a:cubicBezTo>
                    <a:pt x="3289459" y="244316"/>
                    <a:pt x="3287554" y="250984"/>
                    <a:pt x="3285649" y="257651"/>
                  </a:cubicBezTo>
                  <a:cubicBezTo>
                    <a:pt x="3282791" y="253841"/>
                    <a:pt x="3279934" y="249079"/>
                    <a:pt x="3277076" y="246221"/>
                  </a:cubicBezTo>
                  <a:cubicBezTo>
                    <a:pt x="3276124" y="245269"/>
                    <a:pt x="3275171" y="243364"/>
                    <a:pt x="3274219" y="242411"/>
                  </a:cubicBezTo>
                  <a:cubicBezTo>
                    <a:pt x="3276124" y="215741"/>
                    <a:pt x="3277076" y="199549"/>
                    <a:pt x="3277076" y="199549"/>
                  </a:cubicBezTo>
                  <a:cubicBezTo>
                    <a:pt x="3277076" y="199549"/>
                    <a:pt x="3275171" y="206216"/>
                    <a:pt x="3272314" y="217646"/>
                  </a:cubicBezTo>
                  <a:cubicBezTo>
                    <a:pt x="3271361" y="222409"/>
                    <a:pt x="3269456" y="228124"/>
                    <a:pt x="3268504" y="234791"/>
                  </a:cubicBezTo>
                  <a:cubicBezTo>
                    <a:pt x="3265646" y="230029"/>
                    <a:pt x="3261836" y="226219"/>
                    <a:pt x="3258979" y="223361"/>
                  </a:cubicBezTo>
                  <a:cubicBezTo>
                    <a:pt x="3247549" y="210979"/>
                    <a:pt x="3241834" y="203359"/>
                    <a:pt x="3241834" y="203359"/>
                  </a:cubicBezTo>
                  <a:cubicBezTo>
                    <a:pt x="3241834" y="203359"/>
                    <a:pt x="3247549" y="211931"/>
                    <a:pt x="3256121" y="226219"/>
                  </a:cubicBezTo>
                  <a:cubicBezTo>
                    <a:pt x="3259931" y="230981"/>
                    <a:pt x="3262789" y="236696"/>
                    <a:pt x="3266599" y="243364"/>
                  </a:cubicBezTo>
                  <a:cubicBezTo>
                    <a:pt x="3264694" y="250031"/>
                    <a:pt x="3262789" y="256699"/>
                    <a:pt x="3260884" y="265271"/>
                  </a:cubicBezTo>
                  <a:cubicBezTo>
                    <a:pt x="3258979" y="271939"/>
                    <a:pt x="3257074" y="279559"/>
                    <a:pt x="3256121" y="288131"/>
                  </a:cubicBezTo>
                  <a:cubicBezTo>
                    <a:pt x="3256121" y="287179"/>
                    <a:pt x="3256121" y="287179"/>
                    <a:pt x="3256121" y="287179"/>
                  </a:cubicBezTo>
                  <a:cubicBezTo>
                    <a:pt x="3256121" y="287179"/>
                    <a:pt x="3256121" y="288131"/>
                    <a:pt x="3256121" y="289084"/>
                  </a:cubicBezTo>
                  <a:cubicBezTo>
                    <a:pt x="3256121" y="290989"/>
                    <a:pt x="3255169" y="291941"/>
                    <a:pt x="3255169" y="293846"/>
                  </a:cubicBezTo>
                  <a:cubicBezTo>
                    <a:pt x="3254216" y="292894"/>
                    <a:pt x="3254216" y="291941"/>
                    <a:pt x="3253264" y="290036"/>
                  </a:cubicBezTo>
                  <a:cubicBezTo>
                    <a:pt x="3253264" y="284321"/>
                    <a:pt x="3254216" y="280511"/>
                    <a:pt x="3254216" y="280511"/>
                  </a:cubicBezTo>
                  <a:cubicBezTo>
                    <a:pt x="3254216" y="280511"/>
                    <a:pt x="3253264" y="282416"/>
                    <a:pt x="3252311" y="287179"/>
                  </a:cubicBezTo>
                  <a:cubicBezTo>
                    <a:pt x="3248501" y="280511"/>
                    <a:pt x="3246596" y="276701"/>
                    <a:pt x="3246596" y="276701"/>
                  </a:cubicBezTo>
                  <a:cubicBezTo>
                    <a:pt x="3246596" y="276701"/>
                    <a:pt x="3248501" y="281464"/>
                    <a:pt x="3251359" y="290989"/>
                  </a:cubicBezTo>
                  <a:cubicBezTo>
                    <a:pt x="3250406" y="292894"/>
                    <a:pt x="3250406" y="295751"/>
                    <a:pt x="3249454" y="298609"/>
                  </a:cubicBezTo>
                  <a:cubicBezTo>
                    <a:pt x="3248501" y="300514"/>
                    <a:pt x="3248501" y="302419"/>
                    <a:pt x="3247549" y="304324"/>
                  </a:cubicBezTo>
                  <a:cubicBezTo>
                    <a:pt x="3247549" y="302419"/>
                    <a:pt x="3246596" y="301466"/>
                    <a:pt x="3246596" y="301466"/>
                  </a:cubicBezTo>
                  <a:cubicBezTo>
                    <a:pt x="3246596" y="301466"/>
                    <a:pt x="3246596" y="303371"/>
                    <a:pt x="3246596" y="306229"/>
                  </a:cubicBezTo>
                  <a:cubicBezTo>
                    <a:pt x="3245644" y="310039"/>
                    <a:pt x="3244691" y="313849"/>
                    <a:pt x="3243739" y="317659"/>
                  </a:cubicBezTo>
                  <a:cubicBezTo>
                    <a:pt x="3242786" y="312896"/>
                    <a:pt x="3240881" y="308134"/>
                    <a:pt x="3239929" y="304324"/>
                  </a:cubicBezTo>
                  <a:cubicBezTo>
                    <a:pt x="3241834" y="299561"/>
                    <a:pt x="3242786" y="296704"/>
                    <a:pt x="3242786" y="296704"/>
                  </a:cubicBezTo>
                  <a:cubicBezTo>
                    <a:pt x="3242786" y="296704"/>
                    <a:pt x="3241834" y="298609"/>
                    <a:pt x="3238976" y="302419"/>
                  </a:cubicBezTo>
                  <a:cubicBezTo>
                    <a:pt x="3238024" y="299561"/>
                    <a:pt x="3237071" y="296704"/>
                    <a:pt x="3236119" y="293846"/>
                  </a:cubicBezTo>
                  <a:cubicBezTo>
                    <a:pt x="3236119" y="292894"/>
                    <a:pt x="3235166" y="291941"/>
                    <a:pt x="3235166" y="290036"/>
                  </a:cubicBezTo>
                  <a:cubicBezTo>
                    <a:pt x="3238024" y="284321"/>
                    <a:pt x="3239929" y="278606"/>
                    <a:pt x="3241834" y="273844"/>
                  </a:cubicBezTo>
                  <a:cubicBezTo>
                    <a:pt x="3244691" y="267176"/>
                    <a:pt x="3247549" y="261461"/>
                    <a:pt x="3249454" y="256699"/>
                  </a:cubicBezTo>
                  <a:cubicBezTo>
                    <a:pt x="3254216" y="247174"/>
                    <a:pt x="3256121" y="242411"/>
                    <a:pt x="3256121" y="242411"/>
                  </a:cubicBezTo>
                  <a:cubicBezTo>
                    <a:pt x="3256121" y="242411"/>
                    <a:pt x="3252311" y="247174"/>
                    <a:pt x="3245644" y="254794"/>
                  </a:cubicBezTo>
                  <a:cubicBezTo>
                    <a:pt x="3242786" y="258604"/>
                    <a:pt x="3238976" y="263366"/>
                    <a:pt x="3235166" y="270034"/>
                  </a:cubicBezTo>
                  <a:cubicBezTo>
                    <a:pt x="3233261" y="271939"/>
                    <a:pt x="3232309" y="274796"/>
                    <a:pt x="3230404" y="276701"/>
                  </a:cubicBezTo>
                  <a:cubicBezTo>
                    <a:pt x="3230404" y="275749"/>
                    <a:pt x="3229451" y="273844"/>
                    <a:pt x="3229451" y="272891"/>
                  </a:cubicBezTo>
                  <a:cubicBezTo>
                    <a:pt x="3227546" y="266224"/>
                    <a:pt x="3224689" y="260509"/>
                    <a:pt x="3222784" y="253841"/>
                  </a:cubicBezTo>
                  <a:cubicBezTo>
                    <a:pt x="3220879" y="250031"/>
                    <a:pt x="3219926" y="245269"/>
                    <a:pt x="3218021" y="241459"/>
                  </a:cubicBezTo>
                  <a:cubicBezTo>
                    <a:pt x="3218021" y="239554"/>
                    <a:pt x="3218021" y="238601"/>
                    <a:pt x="3218021" y="236696"/>
                  </a:cubicBezTo>
                  <a:cubicBezTo>
                    <a:pt x="3219926" y="226219"/>
                    <a:pt x="3221831" y="215741"/>
                    <a:pt x="3222784" y="206216"/>
                  </a:cubicBezTo>
                  <a:cubicBezTo>
                    <a:pt x="3225641" y="191929"/>
                    <a:pt x="3227546" y="178594"/>
                    <a:pt x="3229451" y="166211"/>
                  </a:cubicBezTo>
                  <a:cubicBezTo>
                    <a:pt x="3231356" y="154781"/>
                    <a:pt x="3233261" y="144304"/>
                    <a:pt x="3235166" y="135731"/>
                  </a:cubicBezTo>
                  <a:cubicBezTo>
                    <a:pt x="3238024" y="118586"/>
                    <a:pt x="3239929" y="109061"/>
                    <a:pt x="3239929" y="109061"/>
                  </a:cubicBezTo>
                  <a:cubicBezTo>
                    <a:pt x="3239929" y="109061"/>
                    <a:pt x="3237071" y="118586"/>
                    <a:pt x="3231356" y="134779"/>
                  </a:cubicBezTo>
                  <a:cubicBezTo>
                    <a:pt x="3226594" y="150971"/>
                    <a:pt x="3218974" y="175736"/>
                    <a:pt x="3212306" y="204311"/>
                  </a:cubicBezTo>
                  <a:cubicBezTo>
                    <a:pt x="3211354" y="208121"/>
                    <a:pt x="3210401" y="211931"/>
                    <a:pt x="3209449" y="215741"/>
                  </a:cubicBezTo>
                  <a:cubicBezTo>
                    <a:pt x="3207544" y="210979"/>
                    <a:pt x="3206591" y="207169"/>
                    <a:pt x="3204686" y="204311"/>
                  </a:cubicBezTo>
                  <a:cubicBezTo>
                    <a:pt x="3204686" y="186214"/>
                    <a:pt x="3203734" y="175736"/>
                    <a:pt x="3203734" y="175736"/>
                  </a:cubicBezTo>
                  <a:cubicBezTo>
                    <a:pt x="3203734" y="175736"/>
                    <a:pt x="3202781" y="187166"/>
                    <a:pt x="3200876" y="206216"/>
                  </a:cubicBezTo>
                  <a:cubicBezTo>
                    <a:pt x="3199924" y="215741"/>
                    <a:pt x="3198019" y="227171"/>
                    <a:pt x="3196114" y="240506"/>
                  </a:cubicBezTo>
                  <a:cubicBezTo>
                    <a:pt x="3196114" y="241459"/>
                    <a:pt x="3196114" y="242411"/>
                    <a:pt x="3195161" y="243364"/>
                  </a:cubicBezTo>
                  <a:cubicBezTo>
                    <a:pt x="3195161" y="234791"/>
                    <a:pt x="3196114" y="226219"/>
                    <a:pt x="3196114" y="217646"/>
                  </a:cubicBezTo>
                  <a:cubicBezTo>
                    <a:pt x="3197066" y="204311"/>
                    <a:pt x="3197066" y="191929"/>
                    <a:pt x="3198019" y="180499"/>
                  </a:cubicBezTo>
                  <a:cubicBezTo>
                    <a:pt x="3198971" y="169069"/>
                    <a:pt x="3198971" y="159544"/>
                    <a:pt x="3199924" y="151924"/>
                  </a:cubicBezTo>
                  <a:cubicBezTo>
                    <a:pt x="3200876" y="135731"/>
                    <a:pt x="3200876" y="127159"/>
                    <a:pt x="3200876" y="127159"/>
                  </a:cubicBezTo>
                  <a:cubicBezTo>
                    <a:pt x="3200876" y="127159"/>
                    <a:pt x="3198971" y="135731"/>
                    <a:pt x="3195161" y="151924"/>
                  </a:cubicBezTo>
                  <a:cubicBezTo>
                    <a:pt x="3192304" y="168116"/>
                    <a:pt x="3187541" y="190976"/>
                    <a:pt x="3184684" y="217646"/>
                  </a:cubicBezTo>
                  <a:cubicBezTo>
                    <a:pt x="3183731" y="223361"/>
                    <a:pt x="3182779" y="230029"/>
                    <a:pt x="3181826" y="235744"/>
                  </a:cubicBezTo>
                  <a:cubicBezTo>
                    <a:pt x="3180874" y="233839"/>
                    <a:pt x="3179921" y="232886"/>
                    <a:pt x="3179921" y="231934"/>
                  </a:cubicBezTo>
                  <a:cubicBezTo>
                    <a:pt x="3179921" y="227171"/>
                    <a:pt x="3179921" y="224314"/>
                    <a:pt x="3179921" y="224314"/>
                  </a:cubicBezTo>
                  <a:cubicBezTo>
                    <a:pt x="3179921" y="224314"/>
                    <a:pt x="3179921" y="226219"/>
                    <a:pt x="3178969" y="230029"/>
                  </a:cubicBezTo>
                  <a:cubicBezTo>
                    <a:pt x="3178016" y="228124"/>
                    <a:pt x="3177064" y="227171"/>
                    <a:pt x="3177064" y="227171"/>
                  </a:cubicBezTo>
                  <a:cubicBezTo>
                    <a:pt x="3177064" y="227171"/>
                    <a:pt x="3178016" y="229076"/>
                    <a:pt x="3178016" y="231934"/>
                  </a:cubicBezTo>
                  <a:cubicBezTo>
                    <a:pt x="3177064" y="236696"/>
                    <a:pt x="3176111" y="243364"/>
                    <a:pt x="3174206" y="250984"/>
                  </a:cubicBezTo>
                  <a:cubicBezTo>
                    <a:pt x="3173254" y="258604"/>
                    <a:pt x="3171349" y="267176"/>
                    <a:pt x="3170396" y="277654"/>
                  </a:cubicBezTo>
                  <a:cubicBezTo>
                    <a:pt x="3170396" y="276701"/>
                    <a:pt x="3170396" y="276701"/>
                    <a:pt x="3169444" y="275749"/>
                  </a:cubicBezTo>
                  <a:cubicBezTo>
                    <a:pt x="3168491" y="254794"/>
                    <a:pt x="3165634" y="234791"/>
                    <a:pt x="3163729" y="215741"/>
                  </a:cubicBezTo>
                  <a:cubicBezTo>
                    <a:pt x="3163729" y="212884"/>
                    <a:pt x="3162776" y="210026"/>
                    <a:pt x="3162776" y="207169"/>
                  </a:cubicBezTo>
                  <a:cubicBezTo>
                    <a:pt x="3162776" y="206216"/>
                    <a:pt x="3163729" y="204311"/>
                    <a:pt x="3163729" y="203359"/>
                  </a:cubicBezTo>
                  <a:cubicBezTo>
                    <a:pt x="3169444" y="174784"/>
                    <a:pt x="3172301" y="150019"/>
                    <a:pt x="3174206" y="132874"/>
                  </a:cubicBezTo>
                  <a:cubicBezTo>
                    <a:pt x="3176111" y="115729"/>
                    <a:pt x="3178016" y="106204"/>
                    <a:pt x="3178016" y="106204"/>
                  </a:cubicBezTo>
                  <a:cubicBezTo>
                    <a:pt x="3178016" y="106204"/>
                    <a:pt x="3175159" y="115729"/>
                    <a:pt x="3170396" y="131921"/>
                  </a:cubicBezTo>
                  <a:cubicBezTo>
                    <a:pt x="3167539" y="143351"/>
                    <a:pt x="3162776" y="159544"/>
                    <a:pt x="3158014" y="177641"/>
                  </a:cubicBezTo>
                  <a:cubicBezTo>
                    <a:pt x="3157061" y="171926"/>
                    <a:pt x="3156109" y="165259"/>
                    <a:pt x="3154204" y="159544"/>
                  </a:cubicBezTo>
                  <a:cubicBezTo>
                    <a:pt x="3152299" y="150971"/>
                    <a:pt x="3150394" y="142399"/>
                    <a:pt x="3149441" y="134779"/>
                  </a:cubicBezTo>
                  <a:cubicBezTo>
                    <a:pt x="3147536" y="127159"/>
                    <a:pt x="3145631" y="119539"/>
                    <a:pt x="3143726" y="112871"/>
                  </a:cubicBezTo>
                  <a:cubicBezTo>
                    <a:pt x="3139916" y="99536"/>
                    <a:pt x="3137059" y="87154"/>
                    <a:pt x="3133249" y="77629"/>
                  </a:cubicBezTo>
                  <a:cubicBezTo>
                    <a:pt x="3126581" y="58579"/>
                    <a:pt x="3122771" y="47149"/>
                    <a:pt x="3122771" y="47149"/>
                  </a:cubicBezTo>
                  <a:cubicBezTo>
                    <a:pt x="3122771" y="47149"/>
                    <a:pt x="3125629" y="58579"/>
                    <a:pt x="3129439" y="78581"/>
                  </a:cubicBezTo>
                  <a:cubicBezTo>
                    <a:pt x="3132296" y="88106"/>
                    <a:pt x="3134201" y="100489"/>
                    <a:pt x="3136106" y="114776"/>
                  </a:cubicBezTo>
                  <a:cubicBezTo>
                    <a:pt x="3137059" y="121444"/>
                    <a:pt x="3138964" y="129064"/>
                    <a:pt x="3139916" y="136684"/>
                  </a:cubicBezTo>
                  <a:cubicBezTo>
                    <a:pt x="3140869" y="144304"/>
                    <a:pt x="3141821" y="152876"/>
                    <a:pt x="3142774" y="161449"/>
                  </a:cubicBezTo>
                  <a:cubicBezTo>
                    <a:pt x="3145631" y="177641"/>
                    <a:pt x="3146584" y="195739"/>
                    <a:pt x="3147536" y="213836"/>
                  </a:cubicBezTo>
                  <a:cubicBezTo>
                    <a:pt x="3147536" y="214789"/>
                    <a:pt x="3146584" y="215741"/>
                    <a:pt x="3146584" y="217646"/>
                  </a:cubicBezTo>
                  <a:cubicBezTo>
                    <a:pt x="3145631" y="214789"/>
                    <a:pt x="3144679" y="211931"/>
                    <a:pt x="3143726" y="210026"/>
                  </a:cubicBezTo>
                  <a:cubicBezTo>
                    <a:pt x="3141821" y="205264"/>
                    <a:pt x="3139916" y="201454"/>
                    <a:pt x="3138964" y="196691"/>
                  </a:cubicBezTo>
                  <a:cubicBezTo>
                    <a:pt x="3137059" y="190024"/>
                    <a:pt x="3136106" y="184309"/>
                    <a:pt x="3134201" y="179546"/>
                  </a:cubicBezTo>
                  <a:cubicBezTo>
                    <a:pt x="3129439" y="164306"/>
                    <a:pt x="3126581" y="155734"/>
                    <a:pt x="3126581" y="155734"/>
                  </a:cubicBezTo>
                  <a:cubicBezTo>
                    <a:pt x="3126581" y="155734"/>
                    <a:pt x="3127534" y="161449"/>
                    <a:pt x="3129439" y="172879"/>
                  </a:cubicBezTo>
                  <a:cubicBezTo>
                    <a:pt x="3125629" y="164306"/>
                    <a:pt x="3121819" y="155734"/>
                    <a:pt x="3118961" y="150019"/>
                  </a:cubicBezTo>
                  <a:cubicBezTo>
                    <a:pt x="3116104" y="144304"/>
                    <a:pt x="3114199" y="139541"/>
                    <a:pt x="3112294" y="136684"/>
                  </a:cubicBezTo>
                  <a:cubicBezTo>
                    <a:pt x="3108484" y="128111"/>
                    <a:pt x="3105626" y="120491"/>
                    <a:pt x="3102769" y="113824"/>
                  </a:cubicBezTo>
                  <a:cubicBezTo>
                    <a:pt x="3095149" y="96679"/>
                    <a:pt x="3090386" y="87154"/>
                    <a:pt x="3090386" y="87154"/>
                  </a:cubicBezTo>
                  <a:cubicBezTo>
                    <a:pt x="3090386" y="87154"/>
                    <a:pt x="3093244" y="97631"/>
                    <a:pt x="3099911" y="114776"/>
                  </a:cubicBezTo>
                  <a:cubicBezTo>
                    <a:pt x="3102769" y="123349"/>
                    <a:pt x="3105626" y="133826"/>
                    <a:pt x="3109436" y="146209"/>
                  </a:cubicBezTo>
                  <a:cubicBezTo>
                    <a:pt x="3111341" y="152876"/>
                    <a:pt x="3113246" y="159544"/>
                    <a:pt x="3115151" y="167164"/>
                  </a:cubicBezTo>
                  <a:cubicBezTo>
                    <a:pt x="3111341" y="159544"/>
                    <a:pt x="3109436" y="155734"/>
                    <a:pt x="3109436" y="155734"/>
                  </a:cubicBezTo>
                  <a:cubicBezTo>
                    <a:pt x="3109436" y="155734"/>
                    <a:pt x="3111341" y="163354"/>
                    <a:pt x="3116104" y="176689"/>
                  </a:cubicBezTo>
                  <a:cubicBezTo>
                    <a:pt x="3118009" y="181451"/>
                    <a:pt x="3119914" y="188119"/>
                    <a:pt x="3121819" y="194786"/>
                  </a:cubicBezTo>
                  <a:cubicBezTo>
                    <a:pt x="3122771" y="200501"/>
                    <a:pt x="3124676" y="207169"/>
                    <a:pt x="3125629" y="213836"/>
                  </a:cubicBezTo>
                  <a:cubicBezTo>
                    <a:pt x="3124676" y="214789"/>
                    <a:pt x="3124676" y="215741"/>
                    <a:pt x="3123724" y="215741"/>
                  </a:cubicBezTo>
                  <a:cubicBezTo>
                    <a:pt x="3123724" y="212884"/>
                    <a:pt x="3122771" y="210979"/>
                    <a:pt x="3122771" y="210979"/>
                  </a:cubicBezTo>
                  <a:cubicBezTo>
                    <a:pt x="3122771" y="210979"/>
                    <a:pt x="3122771" y="212884"/>
                    <a:pt x="3122771" y="216694"/>
                  </a:cubicBezTo>
                  <a:cubicBezTo>
                    <a:pt x="3119914" y="219551"/>
                    <a:pt x="3117056" y="223361"/>
                    <a:pt x="3113246" y="228124"/>
                  </a:cubicBezTo>
                  <a:cubicBezTo>
                    <a:pt x="3113246" y="228124"/>
                    <a:pt x="3113246" y="228124"/>
                    <a:pt x="3113246" y="228124"/>
                  </a:cubicBezTo>
                  <a:cubicBezTo>
                    <a:pt x="3112294" y="213836"/>
                    <a:pt x="3111341" y="201454"/>
                    <a:pt x="3110389" y="191929"/>
                  </a:cubicBezTo>
                  <a:cubicBezTo>
                    <a:pt x="3109436" y="178594"/>
                    <a:pt x="3108484" y="171926"/>
                    <a:pt x="3108484" y="171926"/>
                  </a:cubicBezTo>
                  <a:cubicBezTo>
                    <a:pt x="3108484" y="171926"/>
                    <a:pt x="3107531" y="179546"/>
                    <a:pt x="3106579" y="192881"/>
                  </a:cubicBezTo>
                  <a:cubicBezTo>
                    <a:pt x="3105626" y="202406"/>
                    <a:pt x="3105626" y="213836"/>
                    <a:pt x="3104674" y="228124"/>
                  </a:cubicBezTo>
                  <a:cubicBezTo>
                    <a:pt x="3104674" y="228124"/>
                    <a:pt x="3104674" y="227171"/>
                    <a:pt x="3104674" y="227171"/>
                  </a:cubicBezTo>
                  <a:cubicBezTo>
                    <a:pt x="3099911" y="214789"/>
                    <a:pt x="3097054" y="208121"/>
                    <a:pt x="3097054" y="208121"/>
                  </a:cubicBezTo>
                  <a:cubicBezTo>
                    <a:pt x="3097054" y="208121"/>
                    <a:pt x="3098006" y="215741"/>
                    <a:pt x="3100864" y="228124"/>
                  </a:cubicBezTo>
                  <a:cubicBezTo>
                    <a:pt x="3101816" y="232886"/>
                    <a:pt x="3102769" y="238601"/>
                    <a:pt x="3103721" y="244316"/>
                  </a:cubicBezTo>
                  <a:cubicBezTo>
                    <a:pt x="3100864" y="248126"/>
                    <a:pt x="3098959" y="251936"/>
                    <a:pt x="3096101" y="255746"/>
                  </a:cubicBezTo>
                  <a:cubicBezTo>
                    <a:pt x="3093244" y="260509"/>
                    <a:pt x="3090386" y="264319"/>
                    <a:pt x="3087529" y="270034"/>
                  </a:cubicBezTo>
                  <a:cubicBezTo>
                    <a:pt x="3085624" y="263366"/>
                    <a:pt x="3083719" y="257651"/>
                    <a:pt x="3082766" y="252889"/>
                  </a:cubicBezTo>
                  <a:cubicBezTo>
                    <a:pt x="3078956" y="241459"/>
                    <a:pt x="3077051" y="233839"/>
                    <a:pt x="3077051" y="233839"/>
                  </a:cubicBezTo>
                  <a:cubicBezTo>
                    <a:pt x="3077051" y="233839"/>
                    <a:pt x="3078004" y="240506"/>
                    <a:pt x="3078956" y="252889"/>
                  </a:cubicBezTo>
                  <a:cubicBezTo>
                    <a:pt x="3078956" y="256699"/>
                    <a:pt x="3079909" y="260509"/>
                    <a:pt x="3079909" y="264319"/>
                  </a:cubicBezTo>
                  <a:cubicBezTo>
                    <a:pt x="3078956" y="261461"/>
                    <a:pt x="3078004" y="258604"/>
                    <a:pt x="3077051" y="255746"/>
                  </a:cubicBezTo>
                  <a:cubicBezTo>
                    <a:pt x="3076099" y="252889"/>
                    <a:pt x="3075146" y="250984"/>
                    <a:pt x="3074194" y="248126"/>
                  </a:cubicBezTo>
                  <a:cubicBezTo>
                    <a:pt x="3074194" y="246221"/>
                    <a:pt x="3074194" y="244316"/>
                    <a:pt x="3074194" y="242411"/>
                  </a:cubicBezTo>
                  <a:cubicBezTo>
                    <a:pt x="3074194" y="237649"/>
                    <a:pt x="3075146" y="232886"/>
                    <a:pt x="3075146" y="229076"/>
                  </a:cubicBezTo>
                  <a:cubicBezTo>
                    <a:pt x="3076099" y="226219"/>
                    <a:pt x="3077051" y="223361"/>
                    <a:pt x="3077051" y="220504"/>
                  </a:cubicBezTo>
                  <a:cubicBezTo>
                    <a:pt x="3080861" y="208121"/>
                    <a:pt x="3082766" y="197644"/>
                    <a:pt x="3086576" y="189071"/>
                  </a:cubicBezTo>
                  <a:cubicBezTo>
                    <a:pt x="3092291" y="171926"/>
                    <a:pt x="3096101" y="161449"/>
                    <a:pt x="3096101" y="161449"/>
                  </a:cubicBezTo>
                  <a:cubicBezTo>
                    <a:pt x="3096101" y="161449"/>
                    <a:pt x="3091339" y="170974"/>
                    <a:pt x="3083719" y="188119"/>
                  </a:cubicBezTo>
                  <a:cubicBezTo>
                    <a:pt x="3079909" y="196691"/>
                    <a:pt x="3076099" y="207169"/>
                    <a:pt x="3071336" y="218599"/>
                  </a:cubicBezTo>
                  <a:cubicBezTo>
                    <a:pt x="3070384" y="220504"/>
                    <a:pt x="3069431" y="222409"/>
                    <a:pt x="3068479" y="224314"/>
                  </a:cubicBezTo>
                  <a:cubicBezTo>
                    <a:pt x="3068479" y="221456"/>
                    <a:pt x="3068479" y="218599"/>
                    <a:pt x="3068479" y="216694"/>
                  </a:cubicBezTo>
                  <a:cubicBezTo>
                    <a:pt x="3068479" y="213836"/>
                    <a:pt x="3069431" y="211931"/>
                    <a:pt x="3069431" y="209074"/>
                  </a:cubicBezTo>
                  <a:cubicBezTo>
                    <a:pt x="3070384" y="198596"/>
                    <a:pt x="3071336" y="189071"/>
                    <a:pt x="3072289" y="181451"/>
                  </a:cubicBezTo>
                  <a:cubicBezTo>
                    <a:pt x="3073241" y="166211"/>
                    <a:pt x="3073241" y="157639"/>
                    <a:pt x="3073241" y="157639"/>
                  </a:cubicBezTo>
                  <a:cubicBezTo>
                    <a:pt x="3073241" y="157639"/>
                    <a:pt x="3071336" y="166211"/>
                    <a:pt x="3067526" y="180499"/>
                  </a:cubicBezTo>
                  <a:cubicBezTo>
                    <a:pt x="3067526" y="181451"/>
                    <a:pt x="3067526" y="182404"/>
                    <a:pt x="3066574" y="183356"/>
                  </a:cubicBezTo>
                  <a:cubicBezTo>
                    <a:pt x="3065621" y="169069"/>
                    <a:pt x="3065621" y="157639"/>
                    <a:pt x="3064669" y="148114"/>
                  </a:cubicBezTo>
                  <a:cubicBezTo>
                    <a:pt x="3064669" y="146209"/>
                    <a:pt x="3064669" y="145256"/>
                    <a:pt x="3064669" y="145256"/>
                  </a:cubicBezTo>
                  <a:cubicBezTo>
                    <a:pt x="3064669" y="145256"/>
                    <a:pt x="3064669" y="145256"/>
                    <a:pt x="3064669" y="146209"/>
                  </a:cubicBezTo>
                  <a:cubicBezTo>
                    <a:pt x="3063716" y="136684"/>
                    <a:pt x="3063716" y="131921"/>
                    <a:pt x="3063716" y="131921"/>
                  </a:cubicBezTo>
                  <a:cubicBezTo>
                    <a:pt x="3063716" y="131921"/>
                    <a:pt x="3061811" y="148114"/>
                    <a:pt x="3058954" y="174784"/>
                  </a:cubicBezTo>
                  <a:cubicBezTo>
                    <a:pt x="3058001" y="179546"/>
                    <a:pt x="3057049" y="185261"/>
                    <a:pt x="3056096" y="190976"/>
                  </a:cubicBezTo>
                  <a:cubicBezTo>
                    <a:pt x="3055144" y="193834"/>
                    <a:pt x="3055144" y="197644"/>
                    <a:pt x="3054191" y="201454"/>
                  </a:cubicBezTo>
                  <a:cubicBezTo>
                    <a:pt x="3052286" y="196691"/>
                    <a:pt x="3050381" y="192881"/>
                    <a:pt x="3049429" y="189071"/>
                  </a:cubicBezTo>
                  <a:cubicBezTo>
                    <a:pt x="3049429" y="189071"/>
                    <a:pt x="3049429" y="189071"/>
                    <a:pt x="3049429" y="188119"/>
                  </a:cubicBezTo>
                  <a:cubicBezTo>
                    <a:pt x="3052286" y="174784"/>
                    <a:pt x="3053239" y="162401"/>
                    <a:pt x="3056096" y="151924"/>
                  </a:cubicBezTo>
                  <a:cubicBezTo>
                    <a:pt x="3060859" y="131921"/>
                    <a:pt x="3062764" y="120491"/>
                    <a:pt x="3062764" y="120491"/>
                  </a:cubicBezTo>
                  <a:cubicBezTo>
                    <a:pt x="3062764" y="120491"/>
                    <a:pt x="3058954" y="130969"/>
                    <a:pt x="3052286" y="150971"/>
                  </a:cubicBezTo>
                  <a:cubicBezTo>
                    <a:pt x="3048476" y="160496"/>
                    <a:pt x="3045619" y="172879"/>
                    <a:pt x="3041809" y="186214"/>
                  </a:cubicBezTo>
                  <a:cubicBezTo>
                    <a:pt x="3039904" y="192881"/>
                    <a:pt x="3037999" y="200501"/>
                    <a:pt x="3036094" y="208121"/>
                  </a:cubicBezTo>
                  <a:cubicBezTo>
                    <a:pt x="3035141" y="210979"/>
                    <a:pt x="3035141" y="213836"/>
                    <a:pt x="3034189" y="215741"/>
                  </a:cubicBezTo>
                  <a:cubicBezTo>
                    <a:pt x="3033236" y="211931"/>
                    <a:pt x="3032284" y="209074"/>
                    <a:pt x="3032284" y="205264"/>
                  </a:cubicBezTo>
                  <a:cubicBezTo>
                    <a:pt x="3038951" y="181451"/>
                    <a:pt x="3044666" y="162401"/>
                    <a:pt x="3048476" y="148114"/>
                  </a:cubicBezTo>
                  <a:cubicBezTo>
                    <a:pt x="3053239" y="131921"/>
                    <a:pt x="3057049" y="123349"/>
                    <a:pt x="3057049" y="123349"/>
                  </a:cubicBezTo>
                  <a:cubicBezTo>
                    <a:pt x="3057049" y="123349"/>
                    <a:pt x="3056096" y="125254"/>
                    <a:pt x="3054191" y="129064"/>
                  </a:cubicBezTo>
                  <a:cubicBezTo>
                    <a:pt x="3052286" y="132874"/>
                    <a:pt x="3049429" y="138589"/>
                    <a:pt x="3045619" y="146209"/>
                  </a:cubicBezTo>
                  <a:cubicBezTo>
                    <a:pt x="3040856" y="155734"/>
                    <a:pt x="3035141" y="169069"/>
                    <a:pt x="3029426" y="184309"/>
                  </a:cubicBezTo>
                  <a:cubicBezTo>
                    <a:pt x="3029426" y="177641"/>
                    <a:pt x="3028474" y="171926"/>
                    <a:pt x="3029426" y="167164"/>
                  </a:cubicBezTo>
                  <a:cubicBezTo>
                    <a:pt x="3030379" y="150019"/>
                    <a:pt x="3030379" y="140494"/>
                    <a:pt x="3030379" y="140494"/>
                  </a:cubicBezTo>
                  <a:cubicBezTo>
                    <a:pt x="3030379" y="140494"/>
                    <a:pt x="3028474" y="150019"/>
                    <a:pt x="3025616" y="166211"/>
                  </a:cubicBezTo>
                  <a:cubicBezTo>
                    <a:pt x="3023711" y="174784"/>
                    <a:pt x="3023711" y="184309"/>
                    <a:pt x="3022759" y="196691"/>
                  </a:cubicBezTo>
                  <a:cubicBezTo>
                    <a:pt x="3022759" y="198596"/>
                    <a:pt x="3022759" y="200501"/>
                    <a:pt x="3022759" y="202406"/>
                  </a:cubicBezTo>
                  <a:cubicBezTo>
                    <a:pt x="3021806" y="205264"/>
                    <a:pt x="3020854" y="208121"/>
                    <a:pt x="3019901" y="210979"/>
                  </a:cubicBezTo>
                  <a:cubicBezTo>
                    <a:pt x="3017044" y="218599"/>
                    <a:pt x="3014186" y="226219"/>
                    <a:pt x="3011329" y="234791"/>
                  </a:cubicBezTo>
                  <a:cubicBezTo>
                    <a:pt x="3009424" y="230981"/>
                    <a:pt x="3008471" y="228124"/>
                    <a:pt x="3007519" y="226219"/>
                  </a:cubicBezTo>
                  <a:cubicBezTo>
                    <a:pt x="3009424" y="219551"/>
                    <a:pt x="3011329" y="215741"/>
                    <a:pt x="3011329" y="215741"/>
                  </a:cubicBezTo>
                  <a:cubicBezTo>
                    <a:pt x="3011329" y="215741"/>
                    <a:pt x="3009424" y="218599"/>
                    <a:pt x="3006566" y="222409"/>
                  </a:cubicBezTo>
                  <a:cubicBezTo>
                    <a:pt x="3004661" y="215741"/>
                    <a:pt x="3003709" y="209074"/>
                    <a:pt x="3001804" y="202406"/>
                  </a:cubicBezTo>
                  <a:cubicBezTo>
                    <a:pt x="3001804" y="200501"/>
                    <a:pt x="3000851" y="199549"/>
                    <a:pt x="3000851" y="197644"/>
                  </a:cubicBezTo>
                  <a:cubicBezTo>
                    <a:pt x="3001804" y="194786"/>
                    <a:pt x="3002756" y="191929"/>
                    <a:pt x="3003709" y="189071"/>
                  </a:cubicBezTo>
                  <a:cubicBezTo>
                    <a:pt x="3006566" y="179546"/>
                    <a:pt x="3008471" y="170974"/>
                    <a:pt x="3011329" y="164306"/>
                  </a:cubicBezTo>
                  <a:cubicBezTo>
                    <a:pt x="3016091" y="150971"/>
                    <a:pt x="3018949" y="142399"/>
                    <a:pt x="3018949" y="142399"/>
                  </a:cubicBezTo>
                  <a:cubicBezTo>
                    <a:pt x="3018949" y="142399"/>
                    <a:pt x="3015139" y="150019"/>
                    <a:pt x="3007519" y="162401"/>
                  </a:cubicBezTo>
                  <a:cubicBezTo>
                    <a:pt x="3004661" y="168116"/>
                    <a:pt x="3001804" y="174784"/>
                    <a:pt x="2997994" y="182404"/>
                  </a:cubicBezTo>
                  <a:cubicBezTo>
                    <a:pt x="2997041" y="177641"/>
                    <a:pt x="2996089" y="172879"/>
                    <a:pt x="2995136" y="169069"/>
                  </a:cubicBezTo>
                  <a:cubicBezTo>
                    <a:pt x="3002756" y="140494"/>
                    <a:pt x="3009424" y="117634"/>
                    <a:pt x="3014186" y="100489"/>
                  </a:cubicBezTo>
                  <a:cubicBezTo>
                    <a:pt x="3017044" y="90011"/>
                    <a:pt x="3019901" y="82391"/>
                    <a:pt x="3021806" y="76676"/>
                  </a:cubicBezTo>
                  <a:cubicBezTo>
                    <a:pt x="3023711" y="70961"/>
                    <a:pt x="3024664" y="68104"/>
                    <a:pt x="3024664" y="68104"/>
                  </a:cubicBezTo>
                  <a:cubicBezTo>
                    <a:pt x="3024664" y="68104"/>
                    <a:pt x="3023711" y="70961"/>
                    <a:pt x="3020854" y="75724"/>
                  </a:cubicBezTo>
                  <a:cubicBezTo>
                    <a:pt x="3017996" y="80486"/>
                    <a:pt x="3015139" y="88106"/>
                    <a:pt x="3010376" y="98584"/>
                  </a:cubicBezTo>
                  <a:cubicBezTo>
                    <a:pt x="3006566" y="108109"/>
                    <a:pt x="3001804" y="120491"/>
                    <a:pt x="2996089" y="134779"/>
                  </a:cubicBezTo>
                  <a:cubicBezTo>
                    <a:pt x="2994184" y="139541"/>
                    <a:pt x="2993231" y="143351"/>
                    <a:pt x="2991326" y="148114"/>
                  </a:cubicBezTo>
                  <a:cubicBezTo>
                    <a:pt x="2989421" y="138589"/>
                    <a:pt x="2988469" y="130016"/>
                    <a:pt x="2987516" y="122396"/>
                  </a:cubicBezTo>
                  <a:cubicBezTo>
                    <a:pt x="2985611" y="103346"/>
                    <a:pt x="2984659" y="91916"/>
                    <a:pt x="2984659" y="91916"/>
                  </a:cubicBezTo>
                  <a:cubicBezTo>
                    <a:pt x="2984659" y="91916"/>
                    <a:pt x="2984659" y="103346"/>
                    <a:pt x="2983706" y="122396"/>
                  </a:cubicBezTo>
                  <a:cubicBezTo>
                    <a:pt x="2983706" y="131921"/>
                    <a:pt x="2984659" y="144304"/>
                    <a:pt x="2985611" y="157639"/>
                  </a:cubicBezTo>
                  <a:cubicBezTo>
                    <a:pt x="2985611" y="159544"/>
                    <a:pt x="2985611" y="161449"/>
                    <a:pt x="2985611" y="163354"/>
                  </a:cubicBezTo>
                  <a:cubicBezTo>
                    <a:pt x="2983706" y="169069"/>
                    <a:pt x="2981801" y="175736"/>
                    <a:pt x="2978944" y="182404"/>
                  </a:cubicBezTo>
                  <a:cubicBezTo>
                    <a:pt x="2973229" y="199549"/>
                    <a:pt x="2967514" y="218599"/>
                    <a:pt x="2960846" y="238601"/>
                  </a:cubicBezTo>
                  <a:cubicBezTo>
                    <a:pt x="2959894" y="236696"/>
                    <a:pt x="2959894" y="234791"/>
                    <a:pt x="2959894" y="234791"/>
                  </a:cubicBezTo>
                  <a:cubicBezTo>
                    <a:pt x="2959894" y="234791"/>
                    <a:pt x="2959894" y="236696"/>
                    <a:pt x="2960846" y="239554"/>
                  </a:cubicBezTo>
                  <a:cubicBezTo>
                    <a:pt x="2957036" y="250984"/>
                    <a:pt x="2954179" y="262414"/>
                    <a:pt x="2950369" y="274796"/>
                  </a:cubicBezTo>
                  <a:cubicBezTo>
                    <a:pt x="2951321" y="268129"/>
                    <a:pt x="2952274" y="264319"/>
                    <a:pt x="2952274" y="264319"/>
                  </a:cubicBezTo>
                  <a:cubicBezTo>
                    <a:pt x="2952274" y="264319"/>
                    <a:pt x="2949416" y="271939"/>
                    <a:pt x="2944654" y="284321"/>
                  </a:cubicBezTo>
                  <a:cubicBezTo>
                    <a:pt x="2944654" y="284321"/>
                    <a:pt x="2944654" y="283369"/>
                    <a:pt x="2944654" y="283369"/>
                  </a:cubicBezTo>
                  <a:cubicBezTo>
                    <a:pt x="2944654" y="281464"/>
                    <a:pt x="2944654" y="279559"/>
                    <a:pt x="2945606" y="277654"/>
                  </a:cubicBezTo>
                  <a:cubicBezTo>
                    <a:pt x="2947511" y="263366"/>
                    <a:pt x="2948464" y="250984"/>
                    <a:pt x="2949416" y="238601"/>
                  </a:cubicBezTo>
                  <a:cubicBezTo>
                    <a:pt x="2950369" y="232886"/>
                    <a:pt x="2950369" y="226219"/>
                    <a:pt x="2951321" y="221456"/>
                  </a:cubicBezTo>
                  <a:cubicBezTo>
                    <a:pt x="2952274" y="215741"/>
                    <a:pt x="2953226" y="210979"/>
                    <a:pt x="2953226" y="205264"/>
                  </a:cubicBezTo>
                  <a:cubicBezTo>
                    <a:pt x="2954179" y="195739"/>
                    <a:pt x="2955131" y="186214"/>
                    <a:pt x="2956084" y="179546"/>
                  </a:cubicBezTo>
                  <a:cubicBezTo>
                    <a:pt x="2957989" y="165259"/>
                    <a:pt x="2958941" y="156686"/>
                    <a:pt x="2958941" y="156686"/>
                  </a:cubicBezTo>
                  <a:cubicBezTo>
                    <a:pt x="2958941" y="156686"/>
                    <a:pt x="2957036" y="164306"/>
                    <a:pt x="2952274" y="178594"/>
                  </a:cubicBezTo>
                  <a:cubicBezTo>
                    <a:pt x="2950369" y="185261"/>
                    <a:pt x="2948464" y="193834"/>
                    <a:pt x="2945606" y="203359"/>
                  </a:cubicBezTo>
                  <a:cubicBezTo>
                    <a:pt x="2944654" y="208121"/>
                    <a:pt x="2942749" y="212884"/>
                    <a:pt x="2941796" y="218599"/>
                  </a:cubicBezTo>
                  <a:cubicBezTo>
                    <a:pt x="2940844" y="224314"/>
                    <a:pt x="2939891" y="230029"/>
                    <a:pt x="2937986" y="235744"/>
                  </a:cubicBezTo>
                  <a:cubicBezTo>
                    <a:pt x="2936081" y="246221"/>
                    <a:pt x="2933224" y="257651"/>
                    <a:pt x="2931319" y="270034"/>
                  </a:cubicBezTo>
                  <a:cubicBezTo>
                    <a:pt x="2930366" y="266224"/>
                    <a:pt x="2930366" y="263366"/>
                    <a:pt x="2929414" y="260509"/>
                  </a:cubicBezTo>
                  <a:cubicBezTo>
                    <a:pt x="2929414" y="258604"/>
                    <a:pt x="2928461" y="257651"/>
                    <a:pt x="2928461" y="256699"/>
                  </a:cubicBezTo>
                  <a:cubicBezTo>
                    <a:pt x="2930366" y="253841"/>
                    <a:pt x="2931319" y="251936"/>
                    <a:pt x="2931319" y="251936"/>
                  </a:cubicBezTo>
                  <a:cubicBezTo>
                    <a:pt x="2931319" y="251936"/>
                    <a:pt x="2930366" y="252889"/>
                    <a:pt x="2927509" y="254794"/>
                  </a:cubicBezTo>
                  <a:cubicBezTo>
                    <a:pt x="2926556" y="251936"/>
                    <a:pt x="2925604" y="249079"/>
                    <a:pt x="2925604" y="247174"/>
                  </a:cubicBezTo>
                  <a:cubicBezTo>
                    <a:pt x="2929414" y="237649"/>
                    <a:pt x="2931319" y="231934"/>
                    <a:pt x="2931319" y="231934"/>
                  </a:cubicBezTo>
                  <a:cubicBezTo>
                    <a:pt x="2931319" y="231934"/>
                    <a:pt x="2928461" y="235744"/>
                    <a:pt x="2924651" y="243364"/>
                  </a:cubicBezTo>
                  <a:cubicBezTo>
                    <a:pt x="2923699" y="241459"/>
                    <a:pt x="2923699" y="239554"/>
                    <a:pt x="2922746" y="237649"/>
                  </a:cubicBezTo>
                  <a:lnTo>
                    <a:pt x="2922746" y="236696"/>
                  </a:lnTo>
                  <a:lnTo>
                    <a:pt x="2921794" y="236696"/>
                  </a:lnTo>
                  <a:cubicBezTo>
                    <a:pt x="2919889" y="236696"/>
                    <a:pt x="2917984" y="236696"/>
                    <a:pt x="2916079" y="236696"/>
                  </a:cubicBezTo>
                  <a:lnTo>
                    <a:pt x="2916079" y="236696"/>
                  </a:lnTo>
                  <a:cubicBezTo>
                    <a:pt x="2928461" y="200501"/>
                    <a:pt x="2935129" y="176689"/>
                    <a:pt x="2935129" y="176689"/>
                  </a:cubicBezTo>
                  <a:cubicBezTo>
                    <a:pt x="2935129" y="176689"/>
                    <a:pt x="2924651" y="196691"/>
                    <a:pt x="2909411" y="230029"/>
                  </a:cubicBezTo>
                  <a:cubicBezTo>
                    <a:pt x="2907506" y="222409"/>
                    <a:pt x="2904649" y="216694"/>
                    <a:pt x="2902744" y="211931"/>
                  </a:cubicBezTo>
                  <a:cubicBezTo>
                    <a:pt x="2901791" y="206216"/>
                    <a:pt x="2900839" y="201454"/>
                    <a:pt x="2900839" y="195739"/>
                  </a:cubicBezTo>
                  <a:cubicBezTo>
                    <a:pt x="2899886" y="188119"/>
                    <a:pt x="2898934" y="180499"/>
                    <a:pt x="2897981" y="173831"/>
                  </a:cubicBezTo>
                  <a:cubicBezTo>
                    <a:pt x="2897029" y="167164"/>
                    <a:pt x="2897029" y="160496"/>
                    <a:pt x="2896076" y="153829"/>
                  </a:cubicBezTo>
                  <a:cubicBezTo>
                    <a:pt x="2895124" y="141446"/>
                    <a:pt x="2894171" y="130969"/>
                    <a:pt x="2893219" y="121444"/>
                  </a:cubicBezTo>
                  <a:cubicBezTo>
                    <a:pt x="2891314" y="103346"/>
                    <a:pt x="2890361" y="93821"/>
                    <a:pt x="2890361" y="93821"/>
                  </a:cubicBezTo>
                  <a:cubicBezTo>
                    <a:pt x="2890361" y="93821"/>
                    <a:pt x="2890361" y="104299"/>
                    <a:pt x="2889409" y="121444"/>
                  </a:cubicBezTo>
                  <a:cubicBezTo>
                    <a:pt x="2889409" y="130016"/>
                    <a:pt x="2889409" y="141446"/>
                    <a:pt x="2889409" y="153829"/>
                  </a:cubicBezTo>
                  <a:cubicBezTo>
                    <a:pt x="2889409" y="160496"/>
                    <a:pt x="2889409" y="166211"/>
                    <a:pt x="2889409" y="173831"/>
                  </a:cubicBezTo>
                  <a:cubicBezTo>
                    <a:pt x="2889409" y="180499"/>
                    <a:pt x="2890361" y="188119"/>
                    <a:pt x="2890361" y="195739"/>
                  </a:cubicBezTo>
                  <a:cubicBezTo>
                    <a:pt x="2890361" y="200501"/>
                    <a:pt x="2891314" y="206216"/>
                    <a:pt x="2891314" y="211931"/>
                  </a:cubicBezTo>
                  <a:cubicBezTo>
                    <a:pt x="2890361" y="213836"/>
                    <a:pt x="2889409" y="215741"/>
                    <a:pt x="2887504" y="217646"/>
                  </a:cubicBezTo>
                  <a:cubicBezTo>
                    <a:pt x="2886551" y="218599"/>
                    <a:pt x="2885599" y="220504"/>
                    <a:pt x="2885599" y="221456"/>
                  </a:cubicBezTo>
                  <a:cubicBezTo>
                    <a:pt x="2883694" y="212884"/>
                    <a:pt x="2882741" y="204311"/>
                    <a:pt x="2880836" y="195739"/>
                  </a:cubicBezTo>
                  <a:cubicBezTo>
                    <a:pt x="2878931" y="185261"/>
                    <a:pt x="2877026" y="174784"/>
                    <a:pt x="2874169" y="166211"/>
                  </a:cubicBezTo>
                  <a:cubicBezTo>
                    <a:pt x="2872264" y="157639"/>
                    <a:pt x="2870359" y="150019"/>
                    <a:pt x="2867501" y="144304"/>
                  </a:cubicBezTo>
                  <a:cubicBezTo>
                    <a:pt x="2863691" y="131921"/>
                    <a:pt x="2860834" y="125254"/>
                    <a:pt x="2860834" y="125254"/>
                  </a:cubicBezTo>
                  <a:cubicBezTo>
                    <a:pt x="2860834" y="125254"/>
                    <a:pt x="2861786" y="132874"/>
                    <a:pt x="2863691" y="145256"/>
                  </a:cubicBezTo>
                  <a:cubicBezTo>
                    <a:pt x="2864644" y="151924"/>
                    <a:pt x="2865596" y="159544"/>
                    <a:pt x="2866549" y="168116"/>
                  </a:cubicBezTo>
                  <a:cubicBezTo>
                    <a:pt x="2867501" y="176689"/>
                    <a:pt x="2868454" y="187166"/>
                    <a:pt x="2869406" y="197644"/>
                  </a:cubicBezTo>
                  <a:cubicBezTo>
                    <a:pt x="2870359" y="208121"/>
                    <a:pt x="2871311" y="220504"/>
                    <a:pt x="2872264" y="232886"/>
                  </a:cubicBezTo>
                  <a:cubicBezTo>
                    <a:pt x="2872264" y="237649"/>
                    <a:pt x="2873216" y="242411"/>
                    <a:pt x="2873216" y="247174"/>
                  </a:cubicBezTo>
                  <a:cubicBezTo>
                    <a:pt x="2870359" y="253841"/>
                    <a:pt x="2867501" y="262414"/>
                    <a:pt x="2864644" y="270034"/>
                  </a:cubicBezTo>
                  <a:cubicBezTo>
                    <a:pt x="2863691" y="270986"/>
                    <a:pt x="2863691" y="272891"/>
                    <a:pt x="2863691" y="274796"/>
                  </a:cubicBezTo>
                  <a:cubicBezTo>
                    <a:pt x="2860834" y="269081"/>
                    <a:pt x="2857976" y="263366"/>
                    <a:pt x="2855119" y="257651"/>
                  </a:cubicBezTo>
                  <a:cubicBezTo>
                    <a:pt x="2850356" y="248126"/>
                    <a:pt x="2845594" y="239554"/>
                    <a:pt x="2841784" y="230029"/>
                  </a:cubicBezTo>
                  <a:cubicBezTo>
                    <a:pt x="2855119" y="229076"/>
                    <a:pt x="2855119" y="226219"/>
                    <a:pt x="2855119" y="226219"/>
                  </a:cubicBezTo>
                  <a:cubicBezTo>
                    <a:pt x="2855119" y="226219"/>
                    <a:pt x="2854166" y="228124"/>
                    <a:pt x="2853214" y="231934"/>
                  </a:cubicBezTo>
                  <a:cubicBezTo>
                    <a:pt x="2849404" y="224314"/>
                    <a:pt x="2844641" y="215741"/>
                    <a:pt x="2840831" y="209074"/>
                  </a:cubicBezTo>
                  <a:cubicBezTo>
                    <a:pt x="2857024" y="174784"/>
                    <a:pt x="2866549" y="150971"/>
                    <a:pt x="2866549" y="150971"/>
                  </a:cubicBezTo>
                  <a:cubicBezTo>
                    <a:pt x="2866549" y="150971"/>
                    <a:pt x="2853214" y="169069"/>
                    <a:pt x="2835116" y="198596"/>
                  </a:cubicBezTo>
                  <a:cubicBezTo>
                    <a:pt x="2833211" y="194786"/>
                    <a:pt x="2831306" y="191929"/>
                    <a:pt x="2829401" y="188119"/>
                  </a:cubicBezTo>
                  <a:cubicBezTo>
                    <a:pt x="2826544" y="170021"/>
                    <a:pt x="2823686" y="151924"/>
                    <a:pt x="2820829" y="132874"/>
                  </a:cubicBezTo>
                  <a:cubicBezTo>
                    <a:pt x="2820829" y="146209"/>
                    <a:pt x="2820829" y="160496"/>
                    <a:pt x="2821781" y="173831"/>
                  </a:cubicBezTo>
                  <a:cubicBezTo>
                    <a:pt x="2817019" y="166211"/>
                    <a:pt x="2812256" y="158591"/>
                    <a:pt x="2807494" y="151924"/>
                  </a:cubicBezTo>
                  <a:cubicBezTo>
                    <a:pt x="2797969" y="137636"/>
                    <a:pt x="2790349" y="125254"/>
                    <a:pt x="2782729" y="115729"/>
                  </a:cubicBezTo>
                  <a:cubicBezTo>
                    <a:pt x="2768441" y="95726"/>
                    <a:pt x="2759869" y="85249"/>
                    <a:pt x="2759869" y="85249"/>
                  </a:cubicBezTo>
                  <a:cubicBezTo>
                    <a:pt x="2759869" y="85249"/>
                    <a:pt x="2766536" y="97631"/>
                    <a:pt x="2778919" y="118586"/>
                  </a:cubicBezTo>
                  <a:cubicBezTo>
                    <a:pt x="2785586" y="129064"/>
                    <a:pt x="2792254" y="142399"/>
                    <a:pt x="2799874" y="156686"/>
                  </a:cubicBezTo>
                  <a:cubicBezTo>
                    <a:pt x="2803684" y="164306"/>
                    <a:pt x="2808446" y="171926"/>
                    <a:pt x="2812256" y="180499"/>
                  </a:cubicBezTo>
                  <a:cubicBezTo>
                    <a:pt x="2815114" y="186214"/>
                    <a:pt x="2817971" y="191929"/>
                    <a:pt x="2820829" y="197644"/>
                  </a:cubicBezTo>
                  <a:cubicBezTo>
                    <a:pt x="2820829" y="199549"/>
                    <a:pt x="2820829" y="202406"/>
                    <a:pt x="2820829" y="204311"/>
                  </a:cubicBezTo>
                  <a:cubicBezTo>
                    <a:pt x="2820829" y="209074"/>
                    <a:pt x="2821781" y="213836"/>
                    <a:pt x="2821781" y="218599"/>
                  </a:cubicBezTo>
                  <a:cubicBezTo>
                    <a:pt x="2819876" y="221456"/>
                    <a:pt x="2818924" y="224314"/>
                    <a:pt x="2817019" y="227171"/>
                  </a:cubicBezTo>
                  <a:cubicBezTo>
                    <a:pt x="2813209" y="222409"/>
                    <a:pt x="2810351" y="216694"/>
                    <a:pt x="2806541" y="211931"/>
                  </a:cubicBezTo>
                  <a:cubicBezTo>
                    <a:pt x="2806541" y="210979"/>
                    <a:pt x="2805589" y="210979"/>
                    <a:pt x="2805589" y="210026"/>
                  </a:cubicBezTo>
                  <a:cubicBezTo>
                    <a:pt x="2806541" y="209074"/>
                    <a:pt x="2806541" y="208121"/>
                    <a:pt x="2806541" y="208121"/>
                  </a:cubicBezTo>
                  <a:cubicBezTo>
                    <a:pt x="2806541" y="208121"/>
                    <a:pt x="2806541" y="208121"/>
                    <a:pt x="2805589" y="209074"/>
                  </a:cubicBezTo>
                  <a:cubicBezTo>
                    <a:pt x="2800826" y="202406"/>
                    <a:pt x="2796064" y="196691"/>
                    <a:pt x="2792254" y="191929"/>
                  </a:cubicBezTo>
                  <a:cubicBezTo>
                    <a:pt x="2782729" y="179546"/>
                    <a:pt x="2775109" y="169069"/>
                    <a:pt x="2767489" y="161449"/>
                  </a:cubicBezTo>
                  <a:cubicBezTo>
                    <a:pt x="2766536" y="160496"/>
                    <a:pt x="2766536" y="159544"/>
                    <a:pt x="2765584" y="158591"/>
                  </a:cubicBezTo>
                  <a:cubicBezTo>
                    <a:pt x="2765584" y="157639"/>
                    <a:pt x="2765584" y="156686"/>
                    <a:pt x="2765584" y="155734"/>
                  </a:cubicBezTo>
                  <a:cubicBezTo>
                    <a:pt x="2764631" y="145256"/>
                    <a:pt x="2762726" y="135731"/>
                    <a:pt x="2762726" y="128111"/>
                  </a:cubicBezTo>
                  <a:cubicBezTo>
                    <a:pt x="2760821" y="112871"/>
                    <a:pt x="2759869" y="103346"/>
                    <a:pt x="2759869" y="103346"/>
                  </a:cubicBezTo>
                  <a:cubicBezTo>
                    <a:pt x="2759869" y="103346"/>
                    <a:pt x="2759869" y="111919"/>
                    <a:pt x="2758916" y="128111"/>
                  </a:cubicBezTo>
                  <a:cubicBezTo>
                    <a:pt x="2758916" y="134779"/>
                    <a:pt x="2758916" y="141446"/>
                    <a:pt x="2758916" y="150019"/>
                  </a:cubicBezTo>
                  <a:cubicBezTo>
                    <a:pt x="2750344" y="140494"/>
                    <a:pt x="2745581" y="135731"/>
                    <a:pt x="2745581" y="135731"/>
                  </a:cubicBezTo>
                  <a:cubicBezTo>
                    <a:pt x="2745581" y="135731"/>
                    <a:pt x="2750344" y="142399"/>
                    <a:pt x="2758916" y="153829"/>
                  </a:cubicBezTo>
                  <a:cubicBezTo>
                    <a:pt x="2758916" y="154781"/>
                    <a:pt x="2758916" y="155734"/>
                    <a:pt x="2758916" y="155734"/>
                  </a:cubicBezTo>
                  <a:cubicBezTo>
                    <a:pt x="2758916" y="161449"/>
                    <a:pt x="2758916" y="167164"/>
                    <a:pt x="2758916" y="172879"/>
                  </a:cubicBezTo>
                  <a:cubicBezTo>
                    <a:pt x="2758916" y="178594"/>
                    <a:pt x="2759869" y="185261"/>
                    <a:pt x="2759869" y="191929"/>
                  </a:cubicBezTo>
                  <a:cubicBezTo>
                    <a:pt x="2759869" y="200501"/>
                    <a:pt x="2760821" y="210026"/>
                    <a:pt x="2761774" y="219551"/>
                  </a:cubicBezTo>
                  <a:cubicBezTo>
                    <a:pt x="2761774" y="218599"/>
                    <a:pt x="2760821" y="217646"/>
                    <a:pt x="2760821" y="217646"/>
                  </a:cubicBezTo>
                  <a:cubicBezTo>
                    <a:pt x="2760821" y="216694"/>
                    <a:pt x="2760821" y="216694"/>
                    <a:pt x="2760821" y="216694"/>
                  </a:cubicBezTo>
                  <a:cubicBezTo>
                    <a:pt x="2760821" y="216694"/>
                    <a:pt x="2760821" y="216694"/>
                    <a:pt x="2760821" y="217646"/>
                  </a:cubicBezTo>
                  <a:cubicBezTo>
                    <a:pt x="2749391" y="189071"/>
                    <a:pt x="2741771" y="172879"/>
                    <a:pt x="2741771" y="172879"/>
                  </a:cubicBezTo>
                  <a:cubicBezTo>
                    <a:pt x="2741771" y="172879"/>
                    <a:pt x="2747486" y="193834"/>
                    <a:pt x="2757011" y="228124"/>
                  </a:cubicBezTo>
                  <a:cubicBezTo>
                    <a:pt x="2754154" y="236696"/>
                    <a:pt x="2749391" y="250984"/>
                    <a:pt x="2743676" y="268129"/>
                  </a:cubicBezTo>
                  <a:cubicBezTo>
                    <a:pt x="2740819" y="262414"/>
                    <a:pt x="2737961" y="258604"/>
                    <a:pt x="2736056" y="254794"/>
                  </a:cubicBezTo>
                  <a:cubicBezTo>
                    <a:pt x="2737009" y="241459"/>
                    <a:pt x="2737009" y="232886"/>
                    <a:pt x="2737009" y="232886"/>
                  </a:cubicBezTo>
                  <a:cubicBezTo>
                    <a:pt x="2737009" y="232886"/>
                    <a:pt x="2735104" y="238601"/>
                    <a:pt x="2732246" y="249079"/>
                  </a:cubicBezTo>
                  <a:cubicBezTo>
                    <a:pt x="2731294" y="247174"/>
                    <a:pt x="2730341" y="246221"/>
                    <a:pt x="2730341" y="246221"/>
                  </a:cubicBezTo>
                  <a:cubicBezTo>
                    <a:pt x="2730341" y="246221"/>
                    <a:pt x="2730341" y="247174"/>
                    <a:pt x="2731294" y="250031"/>
                  </a:cubicBezTo>
                  <a:cubicBezTo>
                    <a:pt x="2730341" y="252889"/>
                    <a:pt x="2730341" y="254794"/>
                    <a:pt x="2729389" y="258604"/>
                  </a:cubicBezTo>
                  <a:lnTo>
                    <a:pt x="2729389" y="247174"/>
                  </a:lnTo>
                  <a:lnTo>
                    <a:pt x="2731294" y="218599"/>
                  </a:lnTo>
                  <a:cubicBezTo>
                    <a:pt x="2732246" y="218599"/>
                    <a:pt x="2732246" y="218599"/>
                    <a:pt x="2733199" y="219551"/>
                  </a:cubicBezTo>
                  <a:cubicBezTo>
                    <a:pt x="2734151" y="220504"/>
                    <a:pt x="2735104" y="221456"/>
                    <a:pt x="2736056" y="222409"/>
                  </a:cubicBezTo>
                  <a:cubicBezTo>
                    <a:pt x="2737961" y="224314"/>
                    <a:pt x="2737961" y="228124"/>
                    <a:pt x="2738914" y="230981"/>
                  </a:cubicBezTo>
                  <a:cubicBezTo>
                    <a:pt x="2738914" y="228124"/>
                    <a:pt x="2738914" y="225266"/>
                    <a:pt x="2737961" y="222409"/>
                  </a:cubicBezTo>
                  <a:cubicBezTo>
                    <a:pt x="2737009" y="220504"/>
                    <a:pt x="2736056" y="219551"/>
                    <a:pt x="2735104" y="218599"/>
                  </a:cubicBezTo>
                  <a:cubicBezTo>
                    <a:pt x="2734151" y="217646"/>
                    <a:pt x="2732246" y="216694"/>
                    <a:pt x="2730341" y="216694"/>
                  </a:cubicBezTo>
                  <a:lnTo>
                    <a:pt x="2728436" y="216694"/>
                  </a:lnTo>
                  <a:lnTo>
                    <a:pt x="2728436" y="218599"/>
                  </a:lnTo>
                  <a:cubicBezTo>
                    <a:pt x="2726531" y="228124"/>
                    <a:pt x="2723674" y="238601"/>
                    <a:pt x="2721769" y="248126"/>
                  </a:cubicBezTo>
                  <a:cubicBezTo>
                    <a:pt x="2720816" y="251936"/>
                    <a:pt x="2720816" y="256699"/>
                    <a:pt x="2719864" y="260509"/>
                  </a:cubicBezTo>
                  <a:cubicBezTo>
                    <a:pt x="2718911" y="258604"/>
                    <a:pt x="2717959" y="256699"/>
                    <a:pt x="2717006" y="254794"/>
                  </a:cubicBezTo>
                  <a:cubicBezTo>
                    <a:pt x="2717006" y="254794"/>
                    <a:pt x="2717006" y="253841"/>
                    <a:pt x="2717006" y="253841"/>
                  </a:cubicBezTo>
                  <a:cubicBezTo>
                    <a:pt x="2717959" y="244316"/>
                    <a:pt x="2718911" y="238601"/>
                    <a:pt x="2718911" y="238601"/>
                  </a:cubicBezTo>
                  <a:cubicBezTo>
                    <a:pt x="2718911" y="238601"/>
                    <a:pt x="2717959" y="241459"/>
                    <a:pt x="2716054" y="247174"/>
                  </a:cubicBezTo>
                  <a:cubicBezTo>
                    <a:pt x="2717006" y="204311"/>
                    <a:pt x="2716054" y="176689"/>
                    <a:pt x="2716054" y="176689"/>
                  </a:cubicBezTo>
                  <a:cubicBezTo>
                    <a:pt x="2716054" y="176689"/>
                    <a:pt x="2715101" y="185261"/>
                    <a:pt x="2713196" y="198596"/>
                  </a:cubicBezTo>
                  <a:cubicBezTo>
                    <a:pt x="2712244" y="207169"/>
                    <a:pt x="2710339" y="217646"/>
                    <a:pt x="2709386" y="230029"/>
                  </a:cubicBezTo>
                  <a:cubicBezTo>
                    <a:pt x="2707481" y="226219"/>
                    <a:pt x="2706529" y="221456"/>
                    <a:pt x="2704624" y="218599"/>
                  </a:cubicBezTo>
                  <a:lnTo>
                    <a:pt x="2703671" y="199549"/>
                  </a:lnTo>
                  <a:lnTo>
                    <a:pt x="2703671" y="163354"/>
                  </a:lnTo>
                  <a:cubicBezTo>
                    <a:pt x="2704624" y="163354"/>
                    <a:pt x="2705576" y="163354"/>
                    <a:pt x="2706529" y="164306"/>
                  </a:cubicBezTo>
                  <a:cubicBezTo>
                    <a:pt x="2708434" y="165259"/>
                    <a:pt x="2709386" y="166211"/>
                    <a:pt x="2710339" y="167164"/>
                  </a:cubicBezTo>
                  <a:cubicBezTo>
                    <a:pt x="2712244" y="170021"/>
                    <a:pt x="2713196" y="173831"/>
                    <a:pt x="2714149" y="176689"/>
                  </a:cubicBezTo>
                  <a:cubicBezTo>
                    <a:pt x="2714149" y="172879"/>
                    <a:pt x="2713196" y="169069"/>
                    <a:pt x="2712244" y="166211"/>
                  </a:cubicBezTo>
                  <a:cubicBezTo>
                    <a:pt x="2711291" y="164306"/>
                    <a:pt x="2710339" y="163354"/>
                    <a:pt x="2708434" y="161449"/>
                  </a:cubicBezTo>
                  <a:cubicBezTo>
                    <a:pt x="2706529" y="160496"/>
                    <a:pt x="2704624" y="159544"/>
                    <a:pt x="2702719" y="159544"/>
                  </a:cubicBezTo>
                  <a:lnTo>
                    <a:pt x="2700814" y="159544"/>
                  </a:lnTo>
                  <a:lnTo>
                    <a:pt x="2700814" y="161449"/>
                  </a:lnTo>
                  <a:lnTo>
                    <a:pt x="2697004" y="193834"/>
                  </a:lnTo>
                  <a:cubicBezTo>
                    <a:pt x="2694146" y="186214"/>
                    <a:pt x="2693194" y="181451"/>
                    <a:pt x="2693194" y="181451"/>
                  </a:cubicBezTo>
                  <a:cubicBezTo>
                    <a:pt x="2693194" y="181451"/>
                    <a:pt x="2694146" y="187166"/>
                    <a:pt x="2697004" y="198596"/>
                  </a:cubicBezTo>
                  <a:lnTo>
                    <a:pt x="2697004" y="198596"/>
                  </a:lnTo>
                  <a:cubicBezTo>
                    <a:pt x="2696051" y="210979"/>
                    <a:pt x="2696051" y="224314"/>
                    <a:pt x="2696051" y="236696"/>
                  </a:cubicBezTo>
                  <a:cubicBezTo>
                    <a:pt x="2696051" y="245269"/>
                    <a:pt x="2696051" y="253841"/>
                    <a:pt x="2697004" y="262414"/>
                  </a:cubicBezTo>
                  <a:cubicBezTo>
                    <a:pt x="2697004" y="262414"/>
                    <a:pt x="2697004" y="263366"/>
                    <a:pt x="2697004" y="263366"/>
                  </a:cubicBezTo>
                  <a:cubicBezTo>
                    <a:pt x="2697004" y="264319"/>
                    <a:pt x="2696051" y="265271"/>
                    <a:pt x="2696051" y="265271"/>
                  </a:cubicBezTo>
                  <a:cubicBezTo>
                    <a:pt x="2695099" y="264319"/>
                    <a:pt x="2694146" y="262414"/>
                    <a:pt x="2694146" y="261461"/>
                  </a:cubicBezTo>
                  <a:cubicBezTo>
                    <a:pt x="2691289" y="255746"/>
                    <a:pt x="2688431" y="250984"/>
                    <a:pt x="2685574" y="246221"/>
                  </a:cubicBezTo>
                  <a:cubicBezTo>
                    <a:pt x="2682716" y="233839"/>
                    <a:pt x="2680811" y="221456"/>
                    <a:pt x="2677954" y="210979"/>
                  </a:cubicBezTo>
                  <a:cubicBezTo>
                    <a:pt x="2677001" y="207169"/>
                    <a:pt x="2677001" y="204311"/>
                    <a:pt x="2676049" y="200501"/>
                  </a:cubicBezTo>
                  <a:cubicBezTo>
                    <a:pt x="2677954" y="190976"/>
                    <a:pt x="2679859" y="182404"/>
                    <a:pt x="2681764" y="173831"/>
                  </a:cubicBezTo>
                  <a:cubicBezTo>
                    <a:pt x="2683669" y="162401"/>
                    <a:pt x="2685574" y="152876"/>
                    <a:pt x="2687479" y="144304"/>
                  </a:cubicBezTo>
                  <a:cubicBezTo>
                    <a:pt x="2690336" y="128111"/>
                    <a:pt x="2691289" y="118586"/>
                    <a:pt x="2691289" y="118586"/>
                  </a:cubicBezTo>
                  <a:cubicBezTo>
                    <a:pt x="2691289" y="118586"/>
                    <a:pt x="2688431" y="128111"/>
                    <a:pt x="2683669" y="143351"/>
                  </a:cubicBezTo>
                  <a:cubicBezTo>
                    <a:pt x="2681764" y="149066"/>
                    <a:pt x="2679859" y="155734"/>
                    <a:pt x="2677954" y="162401"/>
                  </a:cubicBezTo>
                  <a:cubicBezTo>
                    <a:pt x="2677001" y="166211"/>
                    <a:pt x="2675096" y="170974"/>
                    <a:pt x="2673191" y="176689"/>
                  </a:cubicBezTo>
                  <a:cubicBezTo>
                    <a:pt x="2673191" y="176689"/>
                    <a:pt x="2673191" y="177641"/>
                    <a:pt x="2673191" y="177641"/>
                  </a:cubicBezTo>
                  <a:cubicBezTo>
                    <a:pt x="2673191" y="176689"/>
                    <a:pt x="2672239" y="174784"/>
                    <a:pt x="2672239" y="173831"/>
                  </a:cubicBezTo>
                  <a:cubicBezTo>
                    <a:pt x="2670334" y="163354"/>
                    <a:pt x="2668429" y="153829"/>
                    <a:pt x="2666524" y="146209"/>
                  </a:cubicBezTo>
                  <a:cubicBezTo>
                    <a:pt x="2663666" y="130969"/>
                    <a:pt x="2661761" y="121444"/>
                    <a:pt x="2661761" y="121444"/>
                  </a:cubicBezTo>
                  <a:cubicBezTo>
                    <a:pt x="2661761" y="121444"/>
                    <a:pt x="2661761" y="130016"/>
                    <a:pt x="2662714" y="146209"/>
                  </a:cubicBezTo>
                  <a:cubicBezTo>
                    <a:pt x="2663666" y="158591"/>
                    <a:pt x="2664619" y="176689"/>
                    <a:pt x="2666524" y="196691"/>
                  </a:cubicBezTo>
                  <a:cubicBezTo>
                    <a:pt x="2666524" y="197644"/>
                    <a:pt x="2665571" y="199549"/>
                    <a:pt x="2665571" y="200501"/>
                  </a:cubicBezTo>
                  <a:cubicBezTo>
                    <a:pt x="2665571" y="201454"/>
                    <a:pt x="2664619" y="203359"/>
                    <a:pt x="2664619" y="204311"/>
                  </a:cubicBezTo>
                  <a:cubicBezTo>
                    <a:pt x="2658904" y="192881"/>
                    <a:pt x="2653189" y="183356"/>
                    <a:pt x="2649379" y="174784"/>
                  </a:cubicBezTo>
                  <a:cubicBezTo>
                    <a:pt x="2639854" y="152876"/>
                    <a:pt x="2634139" y="141446"/>
                    <a:pt x="2634139" y="141446"/>
                  </a:cubicBezTo>
                  <a:cubicBezTo>
                    <a:pt x="2634139" y="141446"/>
                    <a:pt x="2637949" y="153829"/>
                    <a:pt x="2646521" y="176689"/>
                  </a:cubicBezTo>
                  <a:cubicBezTo>
                    <a:pt x="2650331" y="187166"/>
                    <a:pt x="2656046" y="199549"/>
                    <a:pt x="2661761" y="214789"/>
                  </a:cubicBezTo>
                  <a:cubicBezTo>
                    <a:pt x="2661761" y="215741"/>
                    <a:pt x="2661761" y="215741"/>
                    <a:pt x="2660809" y="216694"/>
                  </a:cubicBezTo>
                  <a:cubicBezTo>
                    <a:pt x="2656999" y="210026"/>
                    <a:pt x="2655094" y="204311"/>
                    <a:pt x="2652236" y="201454"/>
                  </a:cubicBezTo>
                  <a:cubicBezTo>
                    <a:pt x="2649379" y="197644"/>
                    <a:pt x="2648426" y="196691"/>
                    <a:pt x="2648426" y="196691"/>
                  </a:cubicBezTo>
                  <a:cubicBezTo>
                    <a:pt x="2648426" y="196691"/>
                    <a:pt x="2649379" y="198596"/>
                    <a:pt x="2651284" y="202406"/>
                  </a:cubicBezTo>
                  <a:cubicBezTo>
                    <a:pt x="2654141" y="206216"/>
                    <a:pt x="2655094" y="211931"/>
                    <a:pt x="2657951" y="218599"/>
                  </a:cubicBezTo>
                  <a:cubicBezTo>
                    <a:pt x="2657951" y="220504"/>
                    <a:pt x="2658904" y="222409"/>
                    <a:pt x="2658904" y="223361"/>
                  </a:cubicBezTo>
                  <a:cubicBezTo>
                    <a:pt x="2658904" y="224314"/>
                    <a:pt x="2657951" y="225266"/>
                    <a:pt x="2657951" y="226219"/>
                  </a:cubicBezTo>
                  <a:cubicBezTo>
                    <a:pt x="2654141" y="214789"/>
                    <a:pt x="2650331" y="203359"/>
                    <a:pt x="2647474" y="193834"/>
                  </a:cubicBezTo>
                  <a:cubicBezTo>
                    <a:pt x="2644616" y="184309"/>
                    <a:pt x="2640806" y="175736"/>
                    <a:pt x="2638901" y="169069"/>
                  </a:cubicBezTo>
                  <a:cubicBezTo>
                    <a:pt x="2634139" y="154781"/>
                    <a:pt x="2631281" y="147161"/>
                    <a:pt x="2631281" y="147161"/>
                  </a:cubicBezTo>
                  <a:cubicBezTo>
                    <a:pt x="2631281" y="147161"/>
                    <a:pt x="2632234" y="155734"/>
                    <a:pt x="2635091" y="170021"/>
                  </a:cubicBezTo>
                  <a:cubicBezTo>
                    <a:pt x="2637949" y="184309"/>
                    <a:pt x="2641759" y="205264"/>
                    <a:pt x="2647474" y="230029"/>
                  </a:cubicBezTo>
                  <a:cubicBezTo>
                    <a:pt x="2648426" y="235744"/>
                    <a:pt x="2650331" y="241459"/>
                    <a:pt x="2651284" y="247174"/>
                  </a:cubicBezTo>
                  <a:cubicBezTo>
                    <a:pt x="2648426" y="255746"/>
                    <a:pt x="2645569" y="264319"/>
                    <a:pt x="2642711" y="273844"/>
                  </a:cubicBezTo>
                  <a:cubicBezTo>
                    <a:pt x="2641759" y="272891"/>
                    <a:pt x="2641759" y="271939"/>
                    <a:pt x="2640806" y="270034"/>
                  </a:cubicBezTo>
                  <a:cubicBezTo>
                    <a:pt x="2640806" y="269081"/>
                    <a:pt x="2639854" y="269081"/>
                    <a:pt x="2639854" y="268129"/>
                  </a:cubicBezTo>
                  <a:cubicBezTo>
                    <a:pt x="2642711" y="238601"/>
                    <a:pt x="2643664" y="220504"/>
                    <a:pt x="2643664" y="220504"/>
                  </a:cubicBezTo>
                  <a:cubicBezTo>
                    <a:pt x="2643664" y="220504"/>
                    <a:pt x="2640806" y="230029"/>
                    <a:pt x="2636996" y="247174"/>
                  </a:cubicBezTo>
                  <a:cubicBezTo>
                    <a:pt x="2636996" y="220504"/>
                    <a:pt x="2636044" y="204311"/>
                    <a:pt x="2636044" y="204311"/>
                  </a:cubicBezTo>
                  <a:cubicBezTo>
                    <a:pt x="2636044" y="204311"/>
                    <a:pt x="2633186" y="217646"/>
                    <a:pt x="2630329" y="240506"/>
                  </a:cubicBezTo>
                  <a:cubicBezTo>
                    <a:pt x="2628424" y="228124"/>
                    <a:pt x="2625566" y="216694"/>
                    <a:pt x="2623661" y="206216"/>
                  </a:cubicBezTo>
                  <a:cubicBezTo>
                    <a:pt x="2618899" y="182404"/>
                    <a:pt x="2614136" y="162401"/>
                    <a:pt x="2610326" y="147161"/>
                  </a:cubicBezTo>
                  <a:cubicBezTo>
                    <a:pt x="2613184" y="141446"/>
                    <a:pt x="2615089" y="137636"/>
                    <a:pt x="2615089" y="137636"/>
                  </a:cubicBezTo>
                  <a:cubicBezTo>
                    <a:pt x="2615089" y="137636"/>
                    <a:pt x="2613184" y="140494"/>
                    <a:pt x="2610326" y="145256"/>
                  </a:cubicBezTo>
                  <a:cubicBezTo>
                    <a:pt x="2610326" y="144304"/>
                    <a:pt x="2610326" y="144304"/>
                    <a:pt x="2609374" y="143351"/>
                  </a:cubicBezTo>
                  <a:cubicBezTo>
                    <a:pt x="2605564" y="128111"/>
                    <a:pt x="2603659" y="119539"/>
                    <a:pt x="2603659" y="119539"/>
                  </a:cubicBezTo>
                  <a:cubicBezTo>
                    <a:pt x="2603659" y="119539"/>
                    <a:pt x="2604611" y="128111"/>
                    <a:pt x="2605564" y="144304"/>
                  </a:cubicBezTo>
                  <a:cubicBezTo>
                    <a:pt x="2605564" y="146209"/>
                    <a:pt x="2605564" y="149066"/>
                    <a:pt x="2606516" y="150971"/>
                  </a:cubicBezTo>
                  <a:cubicBezTo>
                    <a:pt x="2604611" y="153829"/>
                    <a:pt x="2602706" y="155734"/>
                    <a:pt x="2600801" y="158591"/>
                  </a:cubicBezTo>
                  <a:cubicBezTo>
                    <a:pt x="2596991" y="163354"/>
                    <a:pt x="2594134" y="169069"/>
                    <a:pt x="2589371" y="175736"/>
                  </a:cubicBezTo>
                  <a:cubicBezTo>
                    <a:pt x="2589371" y="174784"/>
                    <a:pt x="2589371" y="172879"/>
                    <a:pt x="2588419" y="171926"/>
                  </a:cubicBezTo>
                  <a:cubicBezTo>
                    <a:pt x="2585561" y="155734"/>
                    <a:pt x="2583656" y="147161"/>
                    <a:pt x="2583656" y="147161"/>
                  </a:cubicBezTo>
                  <a:cubicBezTo>
                    <a:pt x="2583656" y="147161"/>
                    <a:pt x="2583656" y="156686"/>
                    <a:pt x="2584609" y="171926"/>
                  </a:cubicBezTo>
                  <a:cubicBezTo>
                    <a:pt x="2584609" y="174784"/>
                    <a:pt x="2584609" y="178594"/>
                    <a:pt x="2585561" y="182404"/>
                  </a:cubicBezTo>
                  <a:cubicBezTo>
                    <a:pt x="2585561" y="182404"/>
                    <a:pt x="2585561" y="182404"/>
                    <a:pt x="2585561" y="182404"/>
                  </a:cubicBezTo>
                  <a:cubicBezTo>
                    <a:pt x="2582704" y="187166"/>
                    <a:pt x="2579846" y="192881"/>
                    <a:pt x="2576036" y="198596"/>
                  </a:cubicBezTo>
                  <a:cubicBezTo>
                    <a:pt x="2575084" y="190976"/>
                    <a:pt x="2575084" y="183356"/>
                    <a:pt x="2574131" y="177641"/>
                  </a:cubicBezTo>
                  <a:cubicBezTo>
                    <a:pt x="2573179" y="165259"/>
                    <a:pt x="2573179" y="157639"/>
                    <a:pt x="2573179" y="157639"/>
                  </a:cubicBezTo>
                  <a:cubicBezTo>
                    <a:pt x="2573179" y="157639"/>
                    <a:pt x="2572226" y="162401"/>
                    <a:pt x="2571274" y="170974"/>
                  </a:cubicBezTo>
                  <a:cubicBezTo>
                    <a:pt x="2571274" y="170974"/>
                    <a:pt x="2571274" y="170021"/>
                    <a:pt x="2571274" y="170021"/>
                  </a:cubicBezTo>
                  <a:cubicBezTo>
                    <a:pt x="2570321" y="162401"/>
                    <a:pt x="2570321" y="155734"/>
                    <a:pt x="2569369" y="149066"/>
                  </a:cubicBezTo>
                  <a:cubicBezTo>
                    <a:pt x="2569369" y="142399"/>
                    <a:pt x="2568416" y="135731"/>
                    <a:pt x="2568416" y="130016"/>
                  </a:cubicBezTo>
                  <a:cubicBezTo>
                    <a:pt x="2567464" y="118586"/>
                    <a:pt x="2566511" y="108109"/>
                    <a:pt x="2567464" y="99536"/>
                  </a:cubicBezTo>
                  <a:cubicBezTo>
                    <a:pt x="2567464" y="82391"/>
                    <a:pt x="2566511" y="72866"/>
                    <a:pt x="2566511" y="72866"/>
                  </a:cubicBezTo>
                  <a:cubicBezTo>
                    <a:pt x="2566511" y="72866"/>
                    <a:pt x="2565559" y="82391"/>
                    <a:pt x="2562701" y="99536"/>
                  </a:cubicBezTo>
                  <a:cubicBezTo>
                    <a:pt x="2561749" y="108109"/>
                    <a:pt x="2560796" y="118586"/>
                    <a:pt x="2560796" y="130016"/>
                  </a:cubicBezTo>
                  <a:cubicBezTo>
                    <a:pt x="2560796" y="135731"/>
                    <a:pt x="2559844" y="142399"/>
                    <a:pt x="2559844" y="149066"/>
                  </a:cubicBezTo>
                  <a:cubicBezTo>
                    <a:pt x="2559844" y="155734"/>
                    <a:pt x="2559844" y="162401"/>
                    <a:pt x="2559844" y="170021"/>
                  </a:cubicBezTo>
                  <a:cubicBezTo>
                    <a:pt x="2559844" y="178594"/>
                    <a:pt x="2559844" y="187166"/>
                    <a:pt x="2560796" y="195739"/>
                  </a:cubicBezTo>
                  <a:cubicBezTo>
                    <a:pt x="2559844" y="192881"/>
                    <a:pt x="2558891" y="191929"/>
                    <a:pt x="2558891" y="191929"/>
                  </a:cubicBezTo>
                  <a:cubicBezTo>
                    <a:pt x="2558891" y="191929"/>
                    <a:pt x="2559844" y="194786"/>
                    <a:pt x="2561749" y="200501"/>
                  </a:cubicBezTo>
                  <a:cubicBezTo>
                    <a:pt x="2561749" y="206216"/>
                    <a:pt x="2562701" y="211931"/>
                    <a:pt x="2562701" y="217646"/>
                  </a:cubicBezTo>
                  <a:cubicBezTo>
                    <a:pt x="2562701" y="219551"/>
                    <a:pt x="2562701" y="221456"/>
                    <a:pt x="2562701" y="223361"/>
                  </a:cubicBezTo>
                  <a:cubicBezTo>
                    <a:pt x="2558891" y="230981"/>
                    <a:pt x="2555081" y="238601"/>
                    <a:pt x="2551271" y="247174"/>
                  </a:cubicBezTo>
                  <a:cubicBezTo>
                    <a:pt x="2550319" y="239554"/>
                    <a:pt x="2550319" y="233839"/>
                    <a:pt x="2549366" y="230029"/>
                  </a:cubicBezTo>
                  <a:cubicBezTo>
                    <a:pt x="2553176" y="219551"/>
                    <a:pt x="2555081" y="212884"/>
                    <a:pt x="2555081" y="212884"/>
                  </a:cubicBezTo>
                  <a:cubicBezTo>
                    <a:pt x="2555081" y="212884"/>
                    <a:pt x="2552224" y="218599"/>
                    <a:pt x="2546509" y="228124"/>
                  </a:cubicBezTo>
                  <a:cubicBezTo>
                    <a:pt x="2546509" y="226219"/>
                    <a:pt x="2547461" y="224314"/>
                    <a:pt x="2547461" y="222409"/>
                  </a:cubicBezTo>
                  <a:cubicBezTo>
                    <a:pt x="2551271" y="206216"/>
                    <a:pt x="2553176" y="196691"/>
                    <a:pt x="2553176" y="196691"/>
                  </a:cubicBezTo>
                  <a:cubicBezTo>
                    <a:pt x="2553176" y="196691"/>
                    <a:pt x="2549366" y="205264"/>
                    <a:pt x="2543651" y="221456"/>
                  </a:cubicBezTo>
                  <a:cubicBezTo>
                    <a:pt x="2541746" y="228124"/>
                    <a:pt x="2538889" y="236696"/>
                    <a:pt x="2536984" y="246221"/>
                  </a:cubicBezTo>
                  <a:cubicBezTo>
                    <a:pt x="2536984" y="245269"/>
                    <a:pt x="2536984" y="245269"/>
                    <a:pt x="2536984" y="244316"/>
                  </a:cubicBezTo>
                  <a:cubicBezTo>
                    <a:pt x="2535079" y="230029"/>
                    <a:pt x="2534126" y="221456"/>
                    <a:pt x="2534126" y="221456"/>
                  </a:cubicBezTo>
                  <a:cubicBezTo>
                    <a:pt x="2534126" y="221456"/>
                    <a:pt x="2534126" y="230029"/>
                    <a:pt x="2533174" y="244316"/>
                  </a:cubicBezTo>
                  <a:cubicBezTo>
                    <a:pt x="2533174" y="246221"/>
                    <a:pt x="2533174" y="249079"/>
                    <a:pt x="2533174" y="250984"/>
                  </a:cubicBezTo>
                  <a:cubicBezTo>
                    <a:pt x="2533174" y="249079"/>
                    <a:pt x="2532221" y="247174"/>
                    <a:pt x="2532221" y="245269"/>
                  </a:cubicBezTo>
                  <a:cubicBezTo>
                    <a:pt x="2529364" y="233839"/>
                    <a:pt x="2527459" y="223361"/>
                    <a:pt x="2524601" y="213836"/>
                  </a:cubicBezTo>
                  <a:cubicBezTo>
                    <a:pt x="2521744" y="204311"/>
                    <a:pt x="2519839" y="196691"/>
                    <a:pt x="2517934" y="190024"/>
                  </a:cubicBezTo>
                  <a:cubicBezTo>
                    <a:pt x="2513171" y="176689"/>
                    <a:pt x="2511266" y="169069"/>
                    <a:pt x="2511266" y="169069"/>
                  </a:cubicBezTo>
                  <a:cubicBezTo>
                    <a:pt x="2511266" y="169069"/>
                    <a:pt x="2512219" y="176689"/>
                    <a:pt x="2514124" y="190976"/>
                  </a:cubicBezTo>
                  <a:cubicBezTo>
                    <a:pt x="2515076" y="197644"/>
                    <a:pt x="2516029" y="206216"/>
                    <a:pt x="2516981" y="215741"/>
                  </a:cubicBezTo>
                  <a:cubicBezTo>
                    <a:pt x="2517934" y="225266"/>
                    <a:pt x="2518886" y="235744"/>
                    <a:pt x="2520791" y="248126"/>
                  </a:cubicBezTo>
                  <a:cubicBezTo>
                    <a:pt x="2521744" y="257651"/>
                    <a:pt x="2522696" y="267176"/>
                    <a:pt x="2523649" y="277654"/>
                  </a:cubicBezTo>
                  <a:cubicBezTo>
                    <a:pt x="2522696" y="279559"/>
                    <a:pt x="2521744" y="281464"/>
                    <a:pt x="2521744" y="282416"/>
                  </a:cubicBezTo>
                  <a:cubicBezTo>
                    <a:pt x="2519839" y="274796"/>
                    <a:pt x="2517934" y="269081"/>
                    <a:pt x="2516981" y="263366"/>
                  </a:cubicBezTo>
                  <a:cubicBezTo>
                    <a:pt x="2513171" y="250031"/>
                    <a:pt x="2511266" y="243364"/>
                    <a:pt x="2511266" y="243364"/>
                  </a:cubicBezTo>
                  <a:cubicBezTo>
                    <a:pt x="2511266" y="243364"/>
                    <a:pt x="2512219" y="250984"/>
                    <a:pt x="2513171" y="264319"/>
                  </a:cubicBezTo>
                  <a:cubicBezTo>
                    <a:pt x="2513171" y="268129"/>
                    <a:pt x="2514124" y="272891"/>
                    <a:pt x="2514124" y="277654"/>
                  </a:cubicBezTo>
                  <a:cubicBezTo>
                    <a:pt x="2510314" y="269081"/>
                    <a:pt x="2507456" y="262414"/>
                    <a:pt x="2504599" y="256699"/>
                  </a:cubicBezTo>
                  <a:cubicBezTo>
                    <a:pt x="2504599" y="254794"/>
                    <a:pt x="2504599" y="253841"/>
                    <a:pt x="2504599" y="253841"/>
                  </a:cubicBezTo>
                  <a:cubicBezTo>
                    <a:pt x="2504599" y="253841"/>
                    <a:pt x="2504599" y="254794"/>
                    <a:pt x="2503646" y="255746"/>
                  </a:cubicBezTo>
                  <a:cubicBezTo>
                    <a:pt x="2499836" y="248126"/>
                    <a:pt x="2497931" y="243364"/>
                    <a:pt x="2497931" y="243364"/>
                  </a:cubicBezTo>
                  <a:cubicBezTo>
                    <a:pt x="2497931" y="243364"/>
                    <a:pt x="2499836" y="249079"/>
                    <a:pt x="2502694" y="259556"/>
                  </a:cubicBezTo>
                  <a:cubicBezTo>
                    <a:pt x="2501741" y="261461"/>
                    <a:pt x="2500789" y="264319"/>
                    <a:pt x="2499836" y="267176"/>
                  </a:cubicBezTo>
                  <a:cubicBezTo>
                    <a:pt x="2499836" y="268129"/>
                    <a:pt x="2498884" y="269081"/>
                    <a:pt x="2498884" y="270034"/>
                  </a:cubicBezTo>
                  <a:cubicBezTo>
                    <a:pt x="2496979" y="253841"/>
                    <a:pt x="2496026" y="237649"/>
                    <a:pt x="2494121" y="223361"/>
                  </a:cubicBezTo>
                  <a:cubicBezTo>
                    <a:pt x="2495074" y="222409"/>
                    <a:pt x="2495074" y="221456"/>
                    <a:pt x="2496026" y="220504"/>
                  </a:cubicBezTo>
                  <a:cubicBezTo>
                    <a:pt x="2500789" y="212884"/>
                    <a:pt x="2504599" y="207169"/>
                    <a:pt x="2506504" y="203359"/>
                  </a:cubicBezTo>
                  <a:cubicBezTo>
                    <a:pt x="2509361" y="199549"/>
                    <a:pt x="2510314" y="197644"/>
                    <a:pt x="2510314" y="197644"/>
                  </a:cubicBezTo>
                  <a:cubicBezTo>
                    <a:pt x="2510314" y="197644"/>
                    <a:pt x="2508409" y="199549"/>
                    <a:pt x="2505551" y="203359"/>
                  </a:cubicBezTo>
                  <a:cubicBezTo>
                    <a:pt x="2502694" y="206216"/>
                    <a:pt x="2497931" y="210979"/>
                    <a:pt x="2493169" y="217646"/>
                  </a:cubicBezTo>
                  <a:cubicBezTo>
                    <a:pt x="2493169" y="217646"/>
                    <a:pt x="2493169" y="216694"/>
                    <a:pt x="2493169" y="216694"/>
                  </a:cubicBezTo>
                  <a:cubicBezTo>
                    <a:pt x="2492216" y="210026"/>
                    <a:pt x="2492216" y="203359"/>
                    <a:pt x="2491264" y="196691"/>
                  </a:cubicBezTo>
                  <a:cubicBezTo>
                    <a:pt x="2497931" y="188119"/>
                    <a:pt x="2501741" y="183356"/>
                    <a:pt x="2501741" y="183356"/>
                  </a:cubicBezTo>
                  <a:cubicBezTo>
                    <a:pt x="2501741" y="183356"/>
                    <a:pt x="2497931" y="187166"/>
                    <a:pt x="2490311" y="192881"/>
                  </a:cubicBezTo>
                  <a:cubicBezTo>
                    <a:pt x="2489359" y="187166"/>
                    <a:pt x="2489359" y="181451"/>
                    <a:pt x="2489359" y="176689"/>
                  </a:cubicBezTo>
                  <a:cubicBezTo>
                    <a:pt x="2492216" y="171926"/>
                    <a:pt x="2495074" y="168116"/>
                    <a:pt x="2497931" y="165259"/>
                  </a:cubicBezTo>
                  <a:cubicBezTo>
                    <a:pt x="2500789" y="161449"/>
                    <a:pt x="2502694" y="159544"/>
                    <a:pt x="2502694" y="159544"/>
                  </a:cubicBezTo>
                  <a:cubicBezTo>
                    <a:pt x="2502694" y="159544"/>
                    <a:pt x="2500789" y="161449"/>
                    <a:pt x="2496979" y="164306"/>
                  </a:cubicBezTo>
                  <a:cubicBezTo>
                    <a:pt x="2495074" y="166211"/>
                    <a:pt x="2492216" y="169069"/>
                    <a:pt x="2489359" y="171926"/>
                  </a:cubicBezTo>
                  <a:cubicBezTo>
                    <a:pt x="2489359" y="165259"/>
                    <a:pt x="2488406" y="158591"/>
                    <a:pt x="2488406" y="153829"/>
                  </a:cubicBezTo>
                  <a:cubicBezTo>
                    <a:pt x="2488406" y="146209"/>
                    <a:pt x="2487454" y="139541"/>
                    <a:pt x="2487454" y="135731"/>
                  </a:cubicBezTo>
                  <a:cubicBezTo>
                    <a:pt x="2491264" y="129064"/>
                    <a:pt x="2494121" y="125254"/>
                    <a:pt x="2494121" y="125254"/>
                  </a:cubicBezTo>
                  <a:cubicBezTo>
                    <a:pt x="2494121" y="125254"/>
                    <a:pt x="2492216" y="128111"/>
                    <a:pt x="2487454" y="132874"/>
                  </a:cubicBezTo>
                  <a:cubicBezTo>
                    <a:pt x="2487454" y="130969"/>
                    <a:pt x="2487454" y="129064"/>
                    <a:pt x="2487454" y="129064"/>
                  </a:cubicBezTo>
                  <a:cubicBezTo>
                    <a:pt x="2487454" y="129064"/>
                    <a:pt x="2487454" y="130969"/>
                    <a:pt x="2486501" y="132874"/>
                  </a:cubicBezTo>
                  <a:cubicBezTo>
                    <a:pt x="2483644" y="136684"/>
                    <a:pt x="2479834" y="140494"/>
                    <a:pt x="2475071" y="146209"/>
                  </a:cubicBezTo>
                  <a:cubicBezTo>
                    <a:pt x="2469356" y="152876"/>
                    <a:pt x="2462689" y="161449"/>
                    <a:pt x="2455069" y="171926"/>
                  </a:cubicBezTo>
                  <a:cubicBezTo>
                    <a:pt x="2451259" y="176689"/>
                    <a:pt x="2447449" y="182404"/>
                    <a:pt x="2442686" y="188119"/>
                  </a:cubicBezTo>
                  <a:cubicBezTo>
                    <a:pt x="2439829" y="192881"/>
                    <a:pt x="2436019" y="197644"/>
                    <a:pt x="2433161" y="203359"/>
                  </a:cubicBezTo>
                  <a:cubicBezTo>
                    <a:pt x="2433161" y="199549"/>
                    <a:pt x="2432209" y="195739"/>
                    <a:pt x="2432209" y="191929"/>
                  </a:cubicBezTo>
                  <a:cubicBezTo>
                    <a:pt x="2428399" y="158591"/>
                    <a:pt x="2426494" y="130969"/>
                    <a:pt x="2425541" y="110966"/>
                  </a:cubicBezTo>
                  <a:cubicBezTo>
                    <a:pt x="2425541" y="101441"/>
                    <a:pt x="2424589" y="93821"/>
                    <a:pt x="2424589" y="88106"/>
                  </a:cubicBezTo>
                  <a:cubicBezTo>
                    <a:pt x="2424589" y="82391"/>
                    <a:pt x="2424589" y="80486"/>
                    <a:pt x="2424589" y="80486"/>
                  </a:cubicBezTo>
                  <a:cubicBezTo>
                    <a:pt x="2424589" y="80486"/>
                    <a:pt x="2424589" y="83344"/>
                    <a:pt x="2423636" y="88106"/>
                  </a:cubicBezTo>
                  <a:cubicBezTo>
                    <a:pt x="2422684" y="92869"/>
                    <a:pt x="2422684" y="101441"/>
                    <a:pt x="2421731" y="110966"/>
                  </a:cubicBezTo>
                  <a:cubicBezTo>
                    <a:pt x="2420779" y="120491"/>
                    <a:pt x="2420779" y="132874"/>
                    <a:pt x="2420779" y="146209"/>
                  </a:cubicBezTo>
                  <a:cubicBezTo>
                    <a:pt x="2420779" y="159544"/>
                    <a:pt x="2420779" y="175736"/>
                    <a:pt x="2421731" y="191929"/>
                  </a:cubicBezTo>
                  <a:cubicBezTo>
                    <a:pt x="2421731" y="200501"/>
                    <a:pt x="2422684" y="210026"/>
                    <a:pt x="2422684" y="220504"/>
                  </a:cubicBezTo>
                  <a:cubicBezTo>
                    <a:pt x="2416969" y="230029"/>
                    <a:pt x="2411254" y="239554"/>
                    <a:pt x="2405539" y="250031"/>
                  </a:cubicBezTo>
                  <a:cubicBezTo>
                    <a:pt x="2404586" y="251936"/>
                    <a:pt x="2403634" y="254794"/>
                    <a:pt x="2401729" y="256699"/>
                  </a:cubicBezTo>
                  <a:cubicBezTo>
                    <a:pt x="2401729" y="256699"/>
                    <a:pt x="2400776" y="255746"/>
                    <a:pt x="2400776" y="255746"/>
                  </a:cubicBezTo>
                  <a:cubicBezTo>
                    <a:pt x="2397919" y="247174"/>
                    <a:pt x="2395061" y="239554"/>
                    <a:pt x="2392204" y="233839"/>
                  </a:cubicBezTo>
                  <a:cubicBezTo>
                    <a:pt x="2389346" y="208121"/>
                    <a:pt x="2386489" y="186214"/>
                    <a:pt x="2385536" y="170974"/>
                  </a:cubicBezTo>
                  <a:cubicBezTo>
                    <a:pt x="2384584" y="162401"/>
                    <a:pt x="2383631" y="155734"/>
                    <a:pt x="2382679" y="150971"/>
                  </a:cubicBezTo>
                  <a:cubicBezTo>
                    <a:pt x="2383631" y="147161"/>
                    <a:pt x="2384584" y="144304"/>
                    <a:pt x="2384584" y="140494"/>
                  </a:cubicBezTo>
                  <a:cubicBezTo>
                    <a:pt x="2384584" y="138589"/>
                    <a:pt x="2383631" y="137636"/>
                    <a:pt x="2382679" y="135731"/>
                  </a:cubicBezTo>
                  <a:cubicBezTo>
                    <a:pt x="2385536" y="129064"/>
                    <a:pt x="2388394" y="121444"/>
                    <a:pt x="2390299" y="114776"/>
                  </a:cubicBezTo>
                  <a:cubicBezTo>
                    <a:pt x="2413159" y="53816"/>
                    <a:pt x="2427446" y="12859"/>
                    <a:pt x="2427446" y="12859"/>
                  </a:cubicBezTo>
                  <a:cubicBezTo>
                    <a:pt x="2427446" y="12859"/>
                    <a:pt x="2407444" y="50959"/>
                    <a:pt x="2380774" y="110014"/>
                  </a:cubicBezTo>
                  <a:cubicBezTo>
                    <a:pt x="2374106" y="124301"/>
                    <a:pt x="2366486" y="140494"/>
                    <a:pt x="2358866" y="157639"/>
                  </a:cubicBezTo>
                  <a:cubicBezTo>
                    <a:pt x="2357914" y="160496"/>
                    <a:pt x="2356009" y="163354"/>
                    <a:pt x="2355056" y="166211"/>
                  </a:cubicBezTo>
                  <a:cubicBezTo>
                    <a:pt x="2356009" y="162401"/>
                    <a:pt x="2356961" y="158591"/>
                    <a:pt x="2357914" y="155734"/>
                  </a:cubicBezTo>
                  <a:cubicBezTo>
                    <a:pt x="2360771" y="141446"/>
                    <a:pt x="2362676" y="132874"/>
                    <a:pt x="2362676" y="132874"/>
                  </a:cubicBezTo>
                  <a:cubicBezTo>
                    <a:pt x="2362676" y="132874"/>
                    <a:pt x="2359819" y="140494"/>
                    <a:pt x="2354104" y="154781"/>
                  </a:cubicBezTo>
                  <a:cubicBezTo>
                    <a:pt x="2351246" y="161449"/>
                    <a:pt x="2348389" y="170021"/>
                    <a:pt x="2344579" y="179546"/>
                  </a:cubicBezTo>
                  <a:cubicBezTo>
                    <a:pt x="2340769" y="189071"/>
                    <a:pt x="2336959" y="200501"/>
                    <a:pt x="2334101" y="211931"/>
                  </a:cubicBezTo>
                  <a:cubicBezTo>
                    <a:pt x="2334101" y="211931"/>
                    <a:pt x="2334101" y="211931"/>
                    <a:pt x="2334101" y="211931"/>
                  </a:cubicBezTo>
                  <a:cubicBezTo>
                    <a:pt x="2336006" y="197644"/>
                    <a:pt x="2338864" y="184309"/>
                    <a:pt x="2340769" y="171926"/>
                  </a:cubicBezTo>
                  <a:cubicBezTo>
                    <a:pt x="2343626" y="156686"/>
                    <a:pt x="2344579" y="143351"/>
                    <a:pt x="2347436" y="130969"/>
                  </a:cubicBezTo>
                  <a:cubicBezTo>
                    <a:pt x="2350294" y="118586"/>
                    <a:pt x="2352199" y="108109"/>
                    <a:pt x="2354104" y="99536"/>
                  </a:cubicBezTo>
                  <a:cubicBezTo>
                    <a:pt x="2357914" y="82391"/>
                    <a:pt x="2358866" y="71914"/>
                    <a:pt x="2358866" y="71914"/>
                  </a:cubicBezTo>
                  <a:cubicBezTo>
                    <a:pt x="2358866" y="71914"/>
                    <a:pt x="2355056" y="81439"/>
                    <a:pt x="2350294" y="98584"/>
                  </a:cubicBezTo>
                  <a:cubicBezTo>
                    <a:pt x="2347436" y="107156"/>
                    <a:pt x="2344579" y="117634"/>
                    <a:pt x="2340769" y="129064"/>
                  </a:cubicBezTo>
                  <a:cubicBezTo>
                    <a:pt x="2336959" y="140494"/>
                    <a:pt x="2333149" y="154781"/>
                    <a:pt x="2330291" y="170021"/>
                  </a:cubicBezTo>
                  <a:cubicBezTo>
                    <a:pt x="2328386" y="177641"/>
                    <a:pt x="2326481" y="185261"/>
                    <a:pt x="2324576" y="193834"/>
                  </a:cubicBezTo>
                  <a:cubicBezTo>
                    <a:pt x="2323624" y="190976"/>
                    <a:pt x="2321719" y="188119"/>
                    <a:pt x="2320766" y="185261"/>
                  </a:cubicBezTo>
                  <a:cubicBezTo>
                    <a:pt x="2324576" y="168116"/>
                    <a:pt x="2326481" y="157639"/>
                    <a:pt x="2326481" y="157639"/>
                  </a:cubicBezTo>
                  <a:cubicBezTo>
                    <a:pt x="2326481" y="157639"/>
                    <a:pt x="2323624" y="165259"/>
                    <a:pt x="2318861" y="179546"/>
                  </a:cubicBezTo>
                  <a:cubicBezTo>
                    <a:pt x="2316004" y="173831"/>
                    <a:pt x="2315051" y="170974"/>
                    <a:pt x="2315051" y="170974"/>
                  </a:cubicBezTo>
                  <a:cubicBezTo>
                    <a:pt x="2315051" y="170974"/>
                    <a:pt x="2316004" y="174784"/>
                    <a:pt x="2317909" y="181451"/>
                  </a:cubicBezTo>
                  <a:cubicBezTo>
                    <a:pt x="2316956" y="185261"/>
                    <a:pt x="2315051" y="189071"/>
                    <a:pt x="2313146" y="193834"/>
                  </a:cubicBezTo>
                  <a:cubicBezTo>
                    <a:pt x="2312194" y="192881"/>
                    <a:pt x="2312194" y="191929"/>
                    <a:pt x="2311241" y="190976"/>
                  </a:cubicBezTo>
                  <a:cubicBezTo>
                    <a:pt x="2314099" y="161449"/>
                    <a:pt x="2314099" y="141446"/>
                    <a:pt x="2314099" y="141446"/>
                  </a:cubicBezTo>
                  <a:cubicBezTo>
                    <a:pt x="2314099" y="141446"/>
                    <a:pt x="2306479" y="165259"/>
                    <a:pt x="2298859" y="202406"/>
                  </a:cubicBezTo>
                  <a:cubicBezTo>
                    <a:pt x="2296954" y="211931"/>
                    <a:pt x="2294096" y="221456"/>
                    <a:pt x="2292191" y="231934"/>
                  </a:cubicBezTo>
                  <a:cubicBezTo>
                    <a:pt x="2291239" y="237649"/>
                    <a:pt x="2290286" y="244316"/>
                    <a:pt x="2289334" y="250031"/>
                  </a:cubicBezTo>
                  <a:cubicBezTo>
                    <a:pt x="2288381" y="252889"/>
                    <a:pt x="2287429" y="255746"/>
                    <a:pt x="2285524" y="259556"/>
                  </a:cubicBezTo>
                  <a:cubicBezTo>
                    <a:pt x="2282666" y="267176"/>
                    <a:pt x="2279809" y="276701"/>
                    <a:pt x="2275999" y="287179"/>
                  </a:cubicBezTo>
                  <a:cubicBezTo>
                    <a:pt x="2275999" y="287179"/>
                    <a:pt x="2275999" y="288131"/>
                    <a:pt x="2275999" y="288131"/>
                  </a:cubicBezTo>
                  <a:cubicBezTo>
                    <a:pt x="2275999" y="286226"/>
                    <a:pt x="2275999" y="284321"/>
                    <a:pt x="2275999" y="282416"/>
                  </a:cubicBezTo>
                  <a:cubicBezTo>
                    <a:pt x="2276951" y="271939"/>
                    <a:pt x="2276951" y="265271"/>
                    <a:pt x="2276951" y="265271"/>
                  </a:cubicBezTo>
                  <a:cubicBezTo>
                    <a:pt x="2276951" y="265271"/>
                    <a:pt x="2275046" y="270986"/>
                    <a:pt x="2272189" y="281464"/>
                  </a:cubicBezTo>
                  <a:cubicBezTo>
                    <a:pt x="2271236" y="284321"/>
                    <a:pt x="2270284" y="287179"/>
                    <a:pt x="2269331" y="290989"/>
                  </a:cubicBezTo>
                  <a:cubicBezTo>
                    <a:pt x="2269331" y="290989"/>
                    <a:pt x="2269331" y="290989"/>
                    <a:pt x="2269331" y="290989"/>
                  </a:cubicBezTo>
                  <a:cubicBezTo>
                    <a:pt x="2269331" y="280511"/>
                    <a:pt x="2268379" y="270034"/>
                    <a:pt x="2269331" y="261461"/>
                  </a:cubicBezTo>
                  <a:cubicBezTo>
                    <a:pt x="2270284" y="252889"/>
                    <a:pt x="2269331" y="245269"/>
                    <a:pt x="2270284" y="238601"/>
                  </a:cubicBezTo>
                  <a:cubicBezTo>
                    <a:pt x="2271236" y="232886"/>
                    <a:pt x="2271236" y="228124"/>
                    <a:pt x="2272189" y="225266"/>
                  </a:cubicBezTo>
                  <a:cubicBezTo>
                    <a:pt x="2275046" y="215741"/>
                    <a:pt x="2275999" y="210979"/>
                    <a:pt x="2275999" y="210979"/>
                  </a:cubicBezTo>
                  <a:cubicBezTo>
                    <a:pt x="2275999" y="210979"/>
                    <a:pt x="2272189" y="218599"/>
                    <a:pt x="2266474" y="232886"/>
                  </a:cubicBezTo>
                  <a:cubicBezTo>
                    <a:pt x="2267426" y="230029"/>
                    <a:pt x="2267426" y="228124"/>
                    <a:pt x="2267426" y="228124"/>
                  </a:cubicBezTo>
                  <a:cubicBezTo>
                    <a:pt x="2267426" y="228124"/>
                    <a:pt x="2265521" y="230981"/>
                    <a:pt x="2263616" y="235744"/>
                  </a:cubicBezTo>
                  <a:cubicBezTo>
                    <a:pt x="2264569" y="226219"/>
                    <a:pt x="2265521" y="220504"/>
                    <a:pt x="2265521" y="220504"/>
                  </a:cubicBezTo>
                  <a:cubicBezTo>
                    <a:pt x="2265521" y="220504"/>
                    <a:pt x="2262664" y="230029"/>
                    <a:pt x="2256949" y="247174"/>
                  </a:cubicBezTo>
                  <a:cubicBezTo>
                    <a:pt x="2255044" y="250984"/>
                    <a:pt x="2253139" y="253841"/>
                    <a:pt x="2252186" y="258604"/>
                  </a:cubicBezTo>
                  <a:cubicBezTo>
                    <a:pt x="2251234" y="259556"/>
                    <a:pt x="2251234" y="260509"/>
                    <a:pt x="2250281" y="262414"/>
                  </a:cubicBezTo>
                  <a:cubicBezTo>
                    <a:pt x="2252186" y="255746"/>
                    <a:pt x="2253139" y="249079"/>
                    <a:pt x="2255044" y="243364"/>
                  </a:cubicBezTo>
                  <a:cubicBezTo>
                    <a:pt x="2260759" y="216694"/>
                    <a:pt x="2264569" y="194786"/>
                    <a:pt x="2267426" y="178594"/>
                  </a:cubicBezTo>
                  <a:cubicBezTo>
                    <a:pt x="2269331" y="163354"/>
                    <a:pt x="2270284" y="153829"/>
                    <a:pt x="2270284" y="153829"/>
                  </a:cubicBezTo>
                  <a:cubicBezTo>
                    <a:pt x="2270284" y="153829"/>
                    <a:pt x="2267426" y="162401"/>
                    <a:pt x="2262664" y="177641"/>
                  </a:cubicBezTo>
                  <a:cubicBezTo>
                    <a:pt x="2260759" y="185261"/>
                    <a:pt x="2257901" y="194786"/>
                    <a:pt x="2254091" y="205264"/>
                  </a:cubicBezTo>
                  <a:cubicBezTo>
                    <a:pt x="2251234" y="212884"/>
                    <a:pt x="2249329" y="221456"/>
                    <a:pt x="2246471" y="230981"/>
                  </a:cubicBezTo>
                  <a:cubicBezTo>
                    <a:pt x="2244566" y="234791"/>
                    <a:pt x="2243614" y="239554"/>
                    <a:pt x="2241709" y="244316"/>
                  </a:cubicBezTo>
                  <a:cubicBezTo>
                    <a:pt x="2240756" y="240506"/>
                    <a:pt x="2239804" y="236696"/>
                    <a:pt x="2239804" y="233839"/>
                  </a:cubicBezTo>
                  <a:cubicBezTo>
                    <a:pt x="2235994" y="215741"/>
                    <a:pt x="2233136" y="205264"/>
                    <a:pt x="2233136" y="205264"/>
                  </a:cubicBezTo>
                  <a:cubicBezTo>
                    <a:pt x="2233136" y="205264"/>
                    <a:pt x="2235041" y="224314"/>
                    <a:pt x="2237899" y="255746"/>
                  </a:cubicBezTo>
                  <a:cubicBezTo>
                    <a:pt x="2236946" y="259556"/>
                    <a:pt x="2235041" y="264319"/>
                    <a:pt x="2234089" y="269081"/>
                  </a:cubicBezTo>
                  <a:cubicBezTo>
                    <a:pt x="2234089" y="269081"/>
                    <a:pt x="2233136" y="270034"/>
                    <a:pt x="2233136" y="270034"/>
                  </a:cubicBezTo>
                  <a:cubicBezTo>
                    <a:pt x="2233136" y="268129"/>
                    <a:pt x="2233136" y="265271"/>
                    <a:pt x="2233136" y="263366"/>
                  </a:cubicBezTo>
                  <a:cubicBezTo>
                    <a:pt x="2233136" y="253841"/>
                    <a:pt x="2232184" y="244316"/>
                    <a:pt x="2231231" y="234791"/>
                  </a:cubicBezTo>
                  <a:cubicBezTo>
                    <a:pt x="2230279" y="225266"/>
                    <a:pt x="2229326" y="216694"/>
                    <a:pt x="2228374" y="207169"/>
                  </a:cubicBezTo>
                  <a:cubicBezTo>
                    <a:pt x="2229326" y="198596"/>
                    <a:pt x="2230279" y="193834"/>
                    <a:pt x="2230279" y="193834"/>
                  </a:cubicBezTo>
                  <a:cubicBezTo>
                    <a:pt x="2230279" y="193834"/>
                    <a:pt x="2229326" y="197644"/>
                    <a:pt x="2226469" y="204311"/>
                  </a:cubicBezTo>
                  <a:cubicBezTo>
                    <a:pt x="2225516" y="202406"/>
                    <a:pt x="2224564" y="201454"/>
                    <a:pt x="2222659" y="200501"/>
                  </a:cubicBezTo>
                  <a:cubicBezTo>
                    <a:pt x="2221706" y="200501"/>
                    <a:pt x="2221706" y="199549"/>
                    <a:pt x="2220754" y="199549"/>
                  </a:cubicBezTo>
                  <a:cubicBezTo>
                    <a:pt x="2219801" y="199549"/>
                    <a:pt x="2218849" y="199549"/>
                    <a:pt x="2217896" y="199549"/>
                  </a:cubicBezTo>
                  <a:cubicBezTo>
                    <a:pt x="2215991" y="200501"/>
                    <a:pt x="2215991" y="201454"/>
                    <a:pt x="2215039" y="202406"/>
                  </a:cubicBezTo>
                  <a:cubicBezTo>
                    <a:pt x="2213134" y="206216"/>
                    <a:pt x="2213134" y="210979"/>
                    <a:pt x="2213134" y="214789"/>
                  </a:cubicBezTo>
                  <a:cubicBezTo>
                    <a:pt x="2214086" y="210979"/>
                    <a:pt x="2215039" y="206216"/>
                    <a:pt x="2217896" y="203359"/>
                  </a:cubicBezTo>
                  <a:cubicBezTo>
                    <a:pt x="2218849" y="202406"/>
                    <a:pt x="2218849" y="201454"/>
                    <a:pt x="2219801" y="201454"/>
                  </a:cubicBezTo>
                  <a:cubicBezTo>
                    <a:pt x="2219801" y="201454"/>
                    <a:pt x="2220754" y="201454"/>
                    <a:pt x="2220754" y="202406"/>
                  </a:cubicBezTo>
                  <a:cubicBezTo>
                    <a:pt x="2221706" y="203359"/>
                    <a:pt x="2222659" y="205264"/>
                    <a:pt x="2223611" y="207169"/>
                  </a:cubicBezTo>
                  <a:lnTo>
                    <a:pt x="2223611" y="215741"/>
                  </a:lnTo>
                  <a:cubicBezTo>
                    <a:pt x="2223611" y="215741"/>
                    <a:pt x="2223611" y="215741"/>
                    <a:pt x="2223611" y="215741"/>
                  </a:cubicBezTo>
                  <a:cubicBezTo>
                    <a:pt x="2221706" y="222409"/>
                    <a:pt x="2218849" y="230981"/>
                    <a:pt x="2215991" y="241459"/>
                  </a:cubicBezTo>
                  <a:cubicBezTo>
                    <a:pt x="2213134" y="250984"/>
                    <a:pt x="2209324" y="262414"/>
                    <a:pt x="2206466" y="274796"/>
                  </a:cubicBezTo>
                  <a:cubicBezTo>
                    <a:pt x="2203609" y="287179"/>
                    <a:pt x="2199799" y="299561"/>
                    <a:pt x="2196941" y="313849"/>
                  </a:cubicBezTo>
                  <a:cubicBezTo>
                    <a:pt x="2195989" y="308134"/>
                    <a:pt x="2195989" y="305276"/>
                    <a:pt x="2195989" y="305276"/>
                  </a:cubicBezTo>
                  <a:cubicBezTo>
                    <a:pt x="2195989" y="305276"/>
                    <a:pt x="2195989" y="310039"/>
                    <a:pt x="2195036" y="317659"/>
                  </a:cubicBezTo>
                  <a:cubicBezTo>
                    <a:pt x="2194084" y="315754"/>
                    <a:pt x="2193131" y="314801"/>
                    <a:pt x="2193131" y="314801"/>
                  </a:cubicBezTo>
                  <a:cubicBezTo>
                    <a:pt x="2193131" y="314801"/>
                    <a:pt x="2194084" y="315754"/>
                    <a:pt x="2195036" y="318611"/>
                  </a:cubicBezTo>
                  <a:cubicBezTo>
                    <a:pt x="2195036" y="320516"/>
                    <a:pt x="2195036" y="321469"/>
                    <a:pt x="2195036" y="323374"/>
                  </a:cubicBezTo>
                  <a:cubicBezTo>
                    <a:pt x="2194084" y="327184"/>
                    <a:pt x="2193131" y="330994"/>
                    <a:pt x="2192179" y="334804"/>
                  </a:cubicBezTo>
                  <a:cubicBezTo>
                    <a:pt x="2191226" y="332899"/>
                    <a:pt x="2191226" y="331946"/>
                    <a:pt x="2190274" y="330994"/>
                  </a:cubicBezTo>
                  <a:cubicBezTo>
                    <a:pt x="2190274" y="330041"/>
                    <a:pt x="2191226" y="330041"/>
                    <a:pt x="2191226" y="330041"/>
                  </a:cubicBezTo>
                  <a:cubicBezTo>
                    <a:pt x="2191226" y="330041"/>
                    <a:pt x="2191226" y="330041"/>
                    <a:pt x="2190274" y="330994"/>
                  </a:cubicBezTo>
                  <a:cubicBezTo>
                    <a:pt x="2189321" y="328136"/>
                    <a:pt x="2188369" y="326231"/>
                    <a:pt x="2188369" y="326231"/>
                  </a:cubicBezTo>
                  <a:cubicBezTo>
                    <a:pt x="2188369" y="326231"/>
                    <a:pt x="2188369" y="328136"/>
                    <a:pt x="2189321" y="331946"/>
                  </a:cubicBezTo>
                  <a:cubicBezTo>
                    <a:pt x="2189321" y="331946"/>
                    <a:pt x="2188369" y="332899"/>
                    <a:pt x="2188369" y="332899"/>
                  </a:cubicBezTo>
                  <a:cubicBezTo>
                    <a:pt x="2186464" y="321469"/>
                    <a:pt x="2185511" y="315754"/>
                    <a:pt x="2185511" y="315754"/>
                  </a:cubicBezTo>
                  <a:cubicBezTo>
                    <a:pt x="2185511" y="315754"/>
                    <a:pt x="2185511" y="323374"/>
                    <a:pt x="2184559" y="336709"/>
                  </a:cubicBezTo>
                  <a:cubicBezTo>
                    <a:pt x="2184559" y="336709"/>
                    <a:pt x="2184559" y="336709"/>
                    <a:pt x="2184559" y="337661"/>
                  </a:cubicBezTo>
                  <a:cubicBezTo>
                    <a:pt x="2183606" y="339566"/>
                    <a:pt x="2181701" y="341471"/>
                    <a:pt x="2179796" y="343376"/>
                  </a:cubicBezTo>
                  <a:cubicBezTo>
                    <a:pt x="2179796" y="342424"/>
                    <a:pt x="2178844" y="341471"/>
                    <a:pt x="2178844" y="340519"/>
                  </a:cubicBezTo>
                  <a:cubicBezTo>
                    <a:pt x="2183606" y="320516"/>
                    <a:pt x="2188369" y="301466"/>
                    <a:pt x="2192179" y="283369"/>
                  </a:cubicBezTo>
                  <a:cubicBezTo>
                    <a:pt x="2205514" y="228124"/>
                    <a:pt x="2212181" y="190024"/>
                    <a:pt x="2212181" y="190024"/>
                  </a:cubicBezTo>
                  <a:cubicBezTo>
                    <a:pt x="2212181" y="190024"/>
                    <a:pt x="2199799" y="222409"/>
                    <a:pt x="2183606" y="272891"/>
                  </a:cubicBezTo>
                  <a:cubicBezTo>
                    <a:pt x="2184559" y="266224"/>
                    <a:pt x="2186464" y="259556"/>
                    <a:pt x="2187416" y="253841"/>
                  </a:cubicBezTo>
                  <a:cubicBezTo>
                    <a:pt x="2189321" y="246221"/>
                    <a:pt x="2190274" y="239554"/>
                    <a:pt x="2192179" y="231934"/>
                  </a:cubicBezTo>
                  <a:cubicBezTo>
                    <a:pt x="2194084" y="224314"/>
                    <a:pt x="2195989" y="216694"/>
                    <a:pt x="2196941" y="210026"/>
                  </a:cubicBezTo>
                  <a:cubicBezTo>
                    <a:pt x="2197894" y="204311"/>
                    <a:pt x="2199799" y="198596"/>
                    <a:pt x="2200751" y="193834"/>
                  </a:cubicBezTo>
                  <a:cubicBezTo>
                    <a:pt x="2201704" y="189071"/>
                    <a:pt x="2203609" y="184309"/>
                    <a:pt x="2204561" y="179546"/>
                  </a:cubicBezTo>
                  <a:cubicBezTo>
                    <a:pt x="2207419" y="170021"/>
                    <a:pt x="2209324" y="162401"/>
                    <a:pt x="2211229" y="155734"/>
                  </a:cubicBezTo>
                  <a:cubicBezTo>
                    <a:pt x="2215039" y="142399"/>
                    <a:pt x="2217896" y="134779"/>
                    <a:pt x="2217896" y="134779"/>
                  </a:cubicBezTo>
                  <a:cubicBezTo>
                    <a:pt x="2217896" y="134779"/>
                    <a:pt x="2215039" y="139541"/>
                    <a:pt x="2211229" y="148114"/>
                  </a:cubicBezTo>
                  <a:cubicBezTo>
                    <a:pt x="2211229" y="148114"/>
                    <a:pt x="2211229" y="147161"/>
                    <a:pt x="2211229" y="147161"/>
                  </a:cubicBezTo>
                  <a:cubicBezTo>
                    <a:pt x="2213134" y="139541"/>
                    <a:pt x="2215039" y="131921"/>
                    <a:pt x="2216944" y="125254"/>
                  </a:cubicBezTo>
                  <a:cubicBezTo>
                    <a:pt x="2218849" y="118586"/>
                    <a:pt x="2220754" y="111919"/>
                    <a:pt x="2222659" y="105251"/>
                  </a:cubicBezTo>
                  <a:cubicBezTo>
                    <a:pt x="2226469" y="92869"/>
                    <a:pt x="2229326" y="81439"/>
                    <a:pt x="2233136" y="72866"/>
                  </a:cubicBezTo>
                  <a:cubicBezTo>
                    <a:pt x="2238851" y="54769"/>
                    <a:pt x="2242661" y="45244"/>
                    <a:pt x="2242661" y="45244"/>
                  </a:cubicBezTo>
                  <a:cubicBezTo>
                    <a:pt x="2242661" y="45244"/>
                    <a:pt x="2237899" y="54769"/>
                    <a:pt x="2229326" y="71914"/>
                  </a:cubicBezTo>
                  <a:cubicBezTo>
                    <a:pt x="2224564" y="80486"/>
                    <a:pt x="2220754" y="90964"/>
                    <a:pt x="2215991" y="103346"/>
                  </a:cubicBezTo>
                  <a:cubicBezTo>
                    <a:pt x="2213134" y="109061"/>
                    <a:pt x="2211229" y="115729"/>
                    <a:pt x="2208371" y="122396"/>
                  </a:cubicBezTo>
                  <a:cubicBezTo>
                    <a:pt x="2205514" y="129064"/>
                    <a:pt x="2203609" y="136684"/>
                    <a:pt x="2200751" y="144304"/>
                  </a:cubicBezTo>
                  <a:cubicBezTo>
                    <a:pt x="2195036" y="159544"/>
                    <a:pt x="2190274" y="176689"/>
                    <a:pt x="2184559" y="193834"/>
                  </a:cubicBezTo>
                  <a:cubicBezTo>
                    <a:pt x="2181701" y="204311"/>
                    <a:pt x="2177891" y="215741"/>
                    <a:pt x="2175034" y="228124"/>
                  </a:cubicBezTo>
                  <a:cubicBezTo>
                    <a:pt x="2175986" y="218599"/>
                    <a:pt x="2176939" y="210026"/>
                    <a:pt x="2177891" y="203359"/>
                  </a:cubicBezTo>
                  <a:cubicBezTo>
                    <a:pt x="2178844" y="198596"/>
                    <a:pt x="2178844" y="193834"/>
                    <a:pt x="2178844" y="190024"/>
                  </a:cubicBezTo>
                  <a:cubicBezTo>
                    <a:pt x="2179796" y="186214"/>
                    <a:pt x="2180749" y="184309"/>
                    <a:pt x="2180749" y="184309"/>
                  </a:cubicBezTo>
                  <a:cubicBezTo>
                    <a:pt x="2180749" y="184309"/>
                    <a:pt x="2179796" y="185261"/>
                    <a:pt x="2179796" y="187166"/>
                  </a:cubicBezTo>
                  <a:cubicBezTo>
                    <a:pt x="2180749" y="180499"/>
                    <a:pt x="2180749" y="176689"/>
                    <a:pt x="2180749" y="176689"/>
                  </a:cubicBezTo>
                  <a:cubicBezTo>
                    <a:pt x="2180749" y="176689"/>
                    <a:pt x="2178844" y="183356"/>
                    <a:pt x="2175986" y="194786"/>
                  </a:cubicBezTo>
                  <a:cubicBezTo>
                    <a:pt x="2174081" y="198596"/>
                    <a:pt x="2172176" y="202406"/>
                    <a:pt x="2170271" y="208121"/>
                  </a:cubicBezTo>
                  <a:cubicBezTo>
                    <a:pt x="2163604" y="223361"/>
                    <a:pt x="2155031" y="245269"/>
                    <a:pt x="2144554" y="271939"/>
                  </a:cubicBezTo>
                  <a:cubicBezTo>
                    <a:pt x="2141696" y="279559"/>
                    <a:pt x="2137886" y="288131"/>
                    <a:pt x="2135029" y="296704"/>
                  </a:cubicBezTo>
                  <a:cubicBezTo>
                    <a:pt x="2135029" y="296704"/>
                    <a:pt x="2135029" y="296704"/>
                    <a:pt x="2135029" y="295751"/>
                  </a:cubicBezTo>
                  <a:cubicBezTo>
                    <a:pt x="2133124" y="290989"/>
                    <a:pt x="2131219" y="286226"/>
                    <a:pt x="2129314" y="282416"/>
                  </a:cubicBezTo>
                  <a:cubicBezTo>
                    <a:pt x="2133124" y="261461"/>
                    <a:pt x="2135981" y="244316"/>
                    <a:pt x="2137886" y="231934"/>
                  </a:cubicBezTo>
                  <a:cubicBezTo>
                    <a:pt x="2139791" y="217646"/>
                    <a:pt x="2141696" y="210026"/>
                    <a:pt x="2141696" y="210026"/>
                  </a:cubicBezTo>
                  <a:cubicBezTo>
                    <a:pt x="2141696" y="210026"/>
                    <a:pt x="2138839" y="217646"/>
                    <a:pt x="2134076" y="230981"/>
                  </a:cubicBezTo>
                  <a:cubicBezTo>
                    <a:pt x="2131219" y="239554"/>
                    <a:pt x="2127409" y="250984"/>
                    <a:pt x="2123599" y="263366"/>
                  </a:cubicBezTo>
                  <a:cubicBezTo>
                    <a:pt x="2123599" y="260509"/>
                    <a:pt x="2122646" y="257651"/>
                    <a:pt x="2122646" y="253841"/>
                  </a:cubicBezTo>
                  <a:cubicBezTo>
                    <a:pt x="2120741" y="238601"/>
                    <a:pt x="2118836" y="225266"/>
                    <a:pt x="2117884" y="211931"/>
                  </a:cubicBezTo>
                  <a:cubicBezTo>
                    <a:pt x="2115979" y="198596"/>
                    <a:pt x="2114074" y="187166"/>
                    <a:pt x="2112169" y="176689"/>
                  </a:cubicBezTo>
                  <a:cubicBezTo>
                    <a:pt x="2110264" y="166211"/>
                    <a:pt x="2108359" y="157639"/>
                    <a:pt x="2107406" y="150019"/>
                  </a:cubicBezTo>
                  <a:cubicBezTo>
                    <a:pt x="2104549" y="134779"/>
                    <a:pt x="2102644" y="127159"/>
                    <a:pt x="2102644" y="127159"/>
                  </a:cubicBezTo>
                  <a:cubicBezTo>
                    <a:pt x="2102644" y="127159"/>
                    <a:pt x="2102644" y="135731"/>
                    <a:pt x="2103596" y="150971"/>
                  </a:cubicBezTo>
                  <a:cubicBezTo>
                    <a:pt x="2103596" y="155734"/>
                    <a:pt x="2104549" y="161449"/>
                    <a:pt x="2104549" y="168116"/>
                  </a:cubicBezTo>
                  <a:cubicBezTo>
                    <a:pt x="2104549" y="171926"/>
                    <a:pt x="2104549" y="176689"/>
                    <a:pt x="2104549" y="183356"/>
                  </a:cubicBezTo>
                  <a:cubicBezTo>
                    <a:pt x="2104549" y="190024"/>
                    <a:pt x="2105501" y="197644"/>
                    <a:pt x="2105501" y="207169"/>
                  </a:cubicBezTo>
                  <a:cubicBezTo>
                    <a:pt x="2105501" y="212884"/>
                    <a:pt x="2106454" y="218599"/>
                    <a:pt x="2106454" y="225266"/>
                  </a:cubicBezTo>
                  <a:cubicBezTo>
                    <a:pt x="2105501" y="224314"/>
                    <a:pt x="2105501" y="222409"/>
                    <a:pt x="2104549" y="221456"/>
                  </a:cubicBezTo>
                  <a:cubicBezTo>
                    <a:pt x="2104549" y="221456"/>
                    <a:pt x="2104549" y="221456"/>
                    <a:pt x="2104549" y="221456"/>
                  </a:cubicBezTo>
                  <a:lnTo>
                    <a:pt x="2104549" y="221456"/>
                  </a:lnTo>
                  <a:cubicBezTo>
                    <a:pt x="2103596" y="219551"/>
                    <a:pt x="2102644" y="217646"/>
                    <a:pt x="2102644" y="215741"/>
                  </a:cubicBezTo>
                  <a:cubicBezTo>
                    <a:pt x="2102644" y="211931"/>
                    <a:pt x="2101691" y="208121"/>
                    <a:pt x="2101691" y="205264"/>
                  </a:cubicBezTo>
                  <a:cubicBezTo>
                    <a:pt x="2100739" y="193834"/>
                    <a:pt x="2099786" y="184309"/>
                    <a:pt x="2098834" y="176689"/>
                  </a:cubicBezTo>
                  <a:cubicBezTo>
                    <a:pt x="2098834" y="173831"/>
                    <a:pt x="2097881" y="170974"/>
                    <a:pt x="2097881" y="168116"/>
                  </a:cubicBezTo>
                  <a:cubicBezTo>
                    <a:pt x="2100739" y="155734"/>
                    <a:pt x="2102644" y="149066"/>
                    <a:pt x="2102644" y="149066"/>
                  </a:cubicBezTo>
                  <a:cubicBezTo>
                    <a:pt x="2102644" y="149066"/>
                    <a:pt x="2100739" y="153829"/>
                    <a:pt x="2096929" y="162401"/>
                  </a:cubicBezTo>
                  <a:cubicBezTo>
                    <a:pt x="2095976" y="155734"/>
                    <a:pt x="2095024" y="151924"/>
                    <a:pt x="2095024" y="151924"/>
                  </a:cubicBezTo>
                  <a:cubicBezTo>
                    <a:pt x="2095024" y="151924"/>
                    <a:pt x="2095024" y="157639"/>
                    <a:pt x="2095024" y="167164"/>
                  </a:cubicBezTo>
                  <a:cubicBezTo>
                    <a:pt x="2088356" y="182404"/>
                    <a:pt x="2078831" y="206216"/>
                    <a:pt x="2066449" y="235744"/>
                  </a:cubicBezTo>
                  <a:cubicBezTo>
                    <a:pt x="2063591" y="243364"/>
                    <a:pt x="2060734" y="250984"/>
                    <a:pt x="2056924" y="259556"/>
                  </a:cubicBezTo>
                  <a:cubicBezTo>
                    <a:pt x="2061686" y="234791"/>
                    <a:pt x="2063591" y="219551"/>
                    <a:pt x="2063591" y="219551"/>
                  </a:cubicBezTo>
                  <a:cubicBezTo>
                    <a:pt x="2063591" y="219551"/>
                    <a:pt x="2058829" y="231934"/>
                    <a:pt x="2052161" y="252889"/>
                  </a:cubicBezTo>
                  <a:cubicBezTo>
                    <a:pt x="2051209" y="250984"/>
                    <a:pt x="2050256" y="249079"/>
                    <a:pt x="2050256" y="248126"/>
                  </a:cubicBezTo>
                  <a:cubicBezTo>
                    <a:pt x="2050256" y="238601"/>
                    <a:pt x="2050256" y="233839"/>
                    <a:pt x="2050256" y="233839"/>
                  </a:cubicBezTo>
                  <a:cubicBezTo>
                    <a:pt x="2050256" y="233839"/>
                    <a:pt x="2049304" y="237649"/>
                    <a:pt x="2048351" y="244316"/>
                  </a:cubicBezTo>
                  <a:cubicBezTo>
                    <a:pt x="2047399" y="241459"/>
                    <a:pt x="2046446" y="240506"/>
                    <a:pt x="2046446" y="240506"/>
                  </a:cubicBezTo>
                  <a:cubicBezTo>
                    <a:pt x="2046446" y="240506"/>
                    <a:pt x="2047399" y="242411"/>
                    <a:pt x="2047399" y="247174"/>
                  </a:cubicBezTo>
                  <a:cubicBezTo>
                    <a:pt x="2046446" y="251936"/>
                    <a:pt x="2045494" y="258604"/>
                    <a:pt x="2044541" y="266224"/>
                  </a:cubicBezTo>
                  <a:cubicBezTo>
                    <a:pt x="2044541" y="264319"/>
                    <a:pt x="2043589" y="261461"/>
                    <a:pt x="2043589" y="259556"/>
                  </a:cubicBezTo>
                  <a:cubicBezTo>
                    <a:pt x="2042636" y="255746"/>
                    <a:pt x="2042636" y="252889"/>
                    <a:pt x="2041684" y="249079"/>
                  </a:cubicBezTo>
                  <a:cubicBezTo>
                    <a:pt x="2046446" y="210026"/>
                    <a:pt x="2048351" y="184309"/>
                    <a:pt x="2048351" y="184309"/>
                  </a:cubicBezTo>
                  <a:cubicBezTo>
                    <a:pt x="2048351" y="184309"/>
                    <a:pt x="2044541" y="196691"/>
                    <a:pt x="2039779" y="216694"/>
                  </a:cubicBezTo>
                  <a:cubicBezTo>
                    <a:pt x="2038826" y="218599"/>
                    <a:pt x="2037874" y="220504"/>
                    <a:pt x="2036921" y="223361"/>
                  </a:cubicBezTo>
                  <a:cubicBezTo>
                    <a:pt x="2036921" y="221456"/>
                    <a:pt x="2035969" y="220504"/>
                    <a:pt x="2035969" y="218599"/>
                  </a:cubicBezTo>
                  <a:cubicBezTo>
                    <a:pt x="2034064" y="206216"/>
                    <a:pt x="2032159" y="195739"/>
                    <a:pt x="2031206" y="187166"/>
                  </a:cubicBezTo>
                  <a:cubicBezTo>
                    <a:pt x="2030254" y="179546"/>
                    <a:pt x="2029301" y="173831"/>
                    <a:pt x="2028349" y="169069"/>
                  </a:cubicBezTo>
                  <a:cubicBezTo>
                    <a:pt x="2030254" y="154781"/>
                    <a:pt x="2031206" y="147161"/>
                    <a:pt x="2031206" y="147161"/>
                  </a:cubicBezTo>
                  <a:cubicBezTo>
                    <a:pt x="2031206" y="147161"/>
                    <a:pt x="2030254" y="150971"/>
                    <a:pt x="2028349" y="157639"/>
                  </a:cubicBezTo>
                  <a:cubicBezTo>
                    <a:pt x="2029301" y="145256"/>
                    <a:pt x="2030254" y="138589"/>
                    <a:pt x="2030254" y="138589"/>
                  </a:cubicBezTo>
                  <a:cubicBezTo>
                    <a:pt x="2030254" y="138589"/>
                    <a:pt x="2028349" y="146209"/>
                    <a:pt x="2023586" y="160496"/>
                  </a:cubicBezTo>
                  <a:cubicBezTo>
                    <a:pt x="2021681" y="167164"/>
                    <a:pt x="2019776" y="176689"/>
                    <a:pt x="2017871" y="186214"/>
                  </a:cubicBezTo>
                  <a:cubicBezTo>
                    <a:pt x="2017871" y="188119"/>
                    <a:pt x="2016919" y="190024"/>
                    <a:pt x="2016919" y="191929"/>
                  </a:cubicBezTo>
                  <a:cubicBezTo>
                    <a:pt x="2016919" y="191929"/>
                    <a:pt x="2016919" y="190976"/>
                    <a:pt x="2016919" y="190976"/>
                  </a:cubicBezTo>
                  <a:cubicBezTo>
                    <a:pt x="2018824" y="170021"/>
                    <a:pt x="2019776" y="158591"/>
                    <a:pt x="2019776" y="158591"/>
                  </a:cubicBezTo>
                  <a:cubicBezTo>
                    <a:pt x="2019776" y="158591"/>
                    <a:pt x="2017871" y="166211"/>
                    <a:pt x="2015014" y="178594"/>
                  </a:cubicBezTo>
                  <a:cubicBezTo>
                    <a:pt x="2015014" y="176689"/>
                    <a:pt x="2014061" y="174784"/>
                    <a:pt x="2014061" y="174784"/>
                  </a:cubicBezTo>
                  <a:cubicBezTo>
                    <a:pt x="2014061" y="174784"/>
                    <a:pt x="2014061" y="175736"/>
                    <a:pt x="2014061" y="177641"/>
                  </a:cubicBezTo>
                  <a:cubicBezTo>
                    <a:pt x="2013109" y="172879"/>
                    <a:pt x="2012156" y="168116"/>
                    <a:pt x="2011204" y="163354"/>
                  </a:cubicBezTo>
                  <a:cubicBezTo>
                    <a:pt x="2008346" y="148114"/>
                    <a:pt x="2006441" y="135731"/>
                    <a:pt x="2003584" y="125254"/>
                  </a:cubicBezTo>
                  <a:cubicBezTo>
                    <a:pt x="1999774" y="104299"/>
                    <a:pt x="1996916" y="91916"/>
                    <a:pt x="1996916" y="91916"/>
                  </a:cubicBezTo>
                  <a:cubicBezTo>
                    <a:pt x="1996916" y="91916"/>
                    <a:pt x="1997869" y="104299"/>
                    <a:pt x="1999774" y="125254"/>
                  </a:cubicBezTo>
                  <a:cubicBezTo>
                    <a:pt x="2000726" y="135731"/>
                    <a:pt x="2001679" y="149066"/>
                    <a:pt x="2003584" y="164306"/>
                  </a:cubicBezTo>
                  <a:cubicBezTo>
                    <a:pt x="2004536" y="175736"/>
                    <a:pt x="2006441" y="189071"/>
                    <a:pt x="2008346" y="203359"/>
                  </a:cubicBezTo>
                  <a:cubicBezTo>
                    <a:pt x="2005489" y="213836"/>
                    <a:pt x="2002631" y="227171"/>
                    <a:pt x="1999774" y="240506"/>
                  </a:cubicBezTo>
                  <a:cubicBezTo>
                    <a:pt x="1995011" y="262414"/>
                    <a:pt x="1990249" y="288131"/>
                    <a:pt x="1984534" y="314801"/>
                  </a:cubicBezTo>
                  <a:cubicBezTo>
                    <a:pt x="1984534" y="303371"/>
                    <a:pt x="1984534" y="292894"/>
                    <a:pt x="1984534" y="283369"/>
                  </a:cubicBezTo>
                  <a:cubicBezTo>
                    <a:pt x="1984534" y="277654"/>
                    <a:pt x="1984534" y="271939"/>
                    <a:pt x="1984534" y="267176"/>
                  </a:cubicBezTo>
                  <a:cubicBezTo>
                    <a:pt x="1985486" y="265271"/>
                    <a:pt x="1986439" y="263366"/>
                    <a:pt x="1986439" y="263366"/>
                  </a:cubicBezTo>
                  <a:cubicBezTo>
                    <a:pt x="1986439" y="263366"/>
                    <a:pt x="1985486" y="264319"/>
                    <a:pt x="1984534" y="265271"/>
                  </a:cubicBezTo>
                  <a:cubicBezTo>
                    <a:pt x="1984534" y="257651"/>
                    <a:pt x="1984534" y="250031"/>
                    <a:pt x="1985486" y="243364"/>
                  </a:cubicBezTo>
                  <a:cubicBezTo>
                    <a:pt x="1986439" y="231934"/>
                    <a:pt x="1986439" y="221456"/>
                    <a:pt x="1987391" y="212884"/>
                  </a:cubicBezTo>
                  <a:cubicBezTo>
                    <a:pt x="1988344" y="195739"/>
                    <a:pt x="1989296" y="186214"/>
                    <a:pt x="1989296" y="186214"/>
                  </a:cubicBezTo>
                  <a:cubicBezTo>
                    <a:pt x="1989296" y="186214"/>
                    <a:pt x="1987391" y="195739"/>
                    <a:pt x="1983581" y="211931"/>
                  </a:cubicBezTo>
                  <a:cubicBezTo>
                    <a:pt x="1981676" y="220504"/>
                    <a:pt x="1979771" y="230029"/>
                    <a:pt x="1978819" y="242411"/>
                  </a:cubicBezTo>
                  <a:cubicBezTo>
                    <a:pt x="1976914" y="253841"/>
                    <a:pt x="1975961" y="267176"/>
                    <a:pt x="1974056" y="281464"/>
                  </a:cubicBezTo>
                  <a:cubicBezTo>
                    <a:pt x="1974056" y="281464"/>
                    <a:pt x="1973104" y="282416"/>
                    <a:pt x="1973104" y="282416"/>
                  </a:cubicBezTo>
                  <a:cubicBezTo>
                    <a:pt x="1971199" y="284321"/>
                    <a:pt x="1970246" y="286226"/>
                    <a:pt x="1968341" y="289084"/>
                  </a:cubicBezTo>
                  <a:cubicBezTo>
                    <a:pt x="1968341" y="287179"/>
                    <a:pt x="1968341" y="285274"/>
                    <a:pt x="1968341" y="283369"/>
                  </a:cubicBezTo>
                  <a:cubicBezTo>
                    <a:pt x="1971199" y="277654"/>
                    <a:pt x="1973104" y="274796"/>
                    <a:pt x="1973104" y="274796"/>
                  </a:cubicBezTo>
                  <a:cubicBezTo>
                    <a:pt x="1973104" y="274796"/>
                    <a:pt x="1971199" y="276701"/>
                    <a:pt x="1968341" y="280511"/>
                  </a:cubicBezTo>
                  <a:cubicBezTo>
                    <a:pt x="1970246" y="255746"/>
                    <a:pt x="1972151" y="235744"/>
                    <a:pt x="1973104" y="224314"/>
                  </a:cubicBezTo>
                  <a:cubicBezTo>
                    <a:pt x="1975961" y="201454"/>
                    <a:pt x="1976914" y="187166"/>
                    <a:pt x="1976914" y="187166"/>
                  </a:cubicBezTo>
                  <a:cubicBezTo>
                    <a:pt x="1976914" y="187166"/>
                    <a:pt x="1973104" y="198596"/>
                    <a:pt x="1967389" y="218599"/>
                  </a:cubicBezTo>
                  <a:cubicBezTo>
                    <a:pt x="1967389" y="217646"/>
                    <a:pt x="1967389" y="216694"/>
                    <a:pt x="1967389" y="216694"/>
                  </a:cubicBezTo>
                  <a:cubicBezTo>
                    <a:pt x="1967389" y="216694"/>
                    <a:pt x="1967389" y="217646"/>
                    <a:pt x="1966436" y="220504"/>
                  </a:cubicBezTo>
                  <a:cubicBezTo>
                    <a:pt x="1963579" y="229076"/>
                    <a:pt x="1960721" y="238601"/>
                    <a:pt x="1957864" y="250031"/>
                  </a:cubicBezTo>
                  <a:cubicBezTo>
                    <a:pt x="1955959" y="256699"/>
                    <a:pt x="1954054" y="264319"/>
                    <a:pt x="1952149" y="271939"/>
                  </a:cubicBezTo>
                  <a:cubicBezTo>
                    <a:pt x="1947386" y="250031"/>
                    <a:pt x="1944529" y="232886"/>
                    <a:pt x="1941671" y="221456"/>
                  </a:cubicBezTo>
                  <a:cubicBezTo>
                    <a:pt x="1941671" y="218599"/>
                    <a:pt x="1942624" y="215741"/>
                    <a:pt x="1942624" y="213836"/>
                  </a:cubicBezTo>
                  <a:cubicBezTo>
                    <a:pt x="1946434" y="203359"/>
                    <a:pt x="1949291" y="193834"/>
                    <a:pt x="1952149" y="186214"/>
                  </a:cubicBezTo>
                  <a:cubicBezTo>
                    <a:pt x="1958816" y="168116"/>
                    <a:pt x="1962626" y="157639"/>
                    <a:pt x="1962626" y="157639"/>
                  </a:cubicBezTo>
                  <a:cubicBezTo>
                    <a:pt x="1962626" y="157639"/>
                    <a:pt x="1957864" y="167164"/>
                    <a:pt x="1948339" y="185261"/>
                  </a:cubicBezTo>
                  <a:cubicBezTo>
                    <a:pt x="1947386" y="187166"/>
                    <a:pt x="1946434" y="189071"/>
                    <a:pt x="1945481" y="190976"/>
                  </a:cubicBezTo>
                  <a:cubicBezTo>
                    <a:pt x="1945481" y="190024"/>
                    <a:pt x="1945481" y="189071"/>
                    <a:pt x="1945481" y="189071"/>
                  </a:cubicBezTo>
                  <a:cubicBezTo>
                    <a:pt x="1945481" y="189071"/>
                    <a:pt x="1945481" y="190024"/>
                    <a:pt x="1944529" y="192881"/>
                  </a:cubicBezTo>
                  <a:cubicBezTo>
                    <a:pt x="1942624" y="196691"/>
                    <a:pt x="1940719" y="201454"/>
                    <a:pt x="1938814" y="205264"/>
                  </a:cubicBezTo>
                  <a:cubicBezTo>
                    <a:pt x="1936909" y="170021"/>
                    <a:pt x="1935004" y="148114"/>
                    <a:pt x="1935004" y="148114"/>
                  </a:cubicBezTo>
                  <a:cubicBezTo>
                    <a:pt x="1935004" y="148114"/>
                    <a:pt x="1931194" y="178594"/>
                    <a:pt x="1928336" y="224314"/>
                  </a:cubicBezTo>
                  <a:cubicBezTo>
                    <a:pt x="1928336" y="225266"/>
                    <a:pt x="1928336" y="227171"/>
                    <a:pt x="1928336" y="229076"/>
                  </a:cubicBezTo>
                  <a:cubicBezTo>
                    <a:pt x="1927384" y="231934"/>
                    <a:pt x="1925479" y="234791"/>
                    <a:pt x="1924526" y="236696"/>
                  </a:cubicBezTo>
                  <a:cubicBezTo>
                    <a:pt x="1921669" y="243364"/>
                    <a:pt x="1918811" y="250984"/>
                    <a:pt x="1915001" y="258604"/>
                  </a:cubicBezTo>
                  <a:cubicBezTo>
                    <a:pt x="1914049" y="261461"/>
                    <a:pt x="1912144" y="265271"/>
                    <a:pt x="1911191" y="268129"/>
                  </a:cubicBezTo>
                  <a:cubicBezTo>
                    <a:pt x="1910239" y="265271"/>
                    <a:pt x="1908334" y="262414"/>
                    <a:pt x="1907381" y="259556"/>
                  </a:cubicBezTo>
                  <a:lnTo>
                    <a:pt x="1907381" y="258604"/>
                  </a:lnTo>
                  <a:lnTo>
                    <a:pt x="1907381" y="258604"/>
                  </a:lnTo>
                  <a:cubicBezTo>
                    <a:pt x="1905476" y="256699"/>
                    <a:pt x="1903571" y="254794"/>
                    <a:pt x="1900714" y="253841"/>
                  </a:cubicBezTo>
                  <a:cubicBezTo>
                    <a:pt x="1899761" y="253841"/>
                    <a:pt x="1898809" y="252889"/>
                    <a:pt x="1897856" y="252889"/>
                  </a:cubicBezTo>
                  <a:cubicBezTo>
                    <a:pt x="1897856" y="252889"/>
                    <a:pt x="1896904" y="252889"/>
                    <a:pt x="1896904" y="252889"/>
                  </a:cubicBezTo>
                  <a:cubicBezTo>
                    <a:pt x="1896904" y="251936"/>
                    <a:pt x="1896904" y="251936"/>
                    <a:pt x="1896904" y="250984"/>
                  </a:cubicBezTo>
                  <a:cubicBezTo>
                    <a:pt x="1896904" y="249079"/>
                    <a:pt x="1897856" y="247174"/>
                    <a:pt x="1897856" y="246221"/>
                  </a:cubicBezTo>
                  <a:cubicBezTo>
                    <a:pt x="1899761" y="240506"/>
                    <a:pt x="1900714" y="234791"/>
                    <a:pt x="1902619" y="230029"/>
                  </a:cubicBezTo>
                  <a:cubicBezTo>
                    <a:pt x="1903571" y="228124"/>
                    <a:pt x="1903571" y="226219"/>
                    <a:pt x="1903571" y="226219"/>
                  </a:cubicBezTo>
                  <a:cubicBezTo>
                    <a:pt x="1903571" y="226219"/>
                    <a:pt x="1903571" y="226219"/>
                    <a:pt x="1902619" y="227171"/>
                  </a:cubicBezTo>
                  <a:cubicBezTo>
                    <a:pt x="1903571" y="222409"/>
                    <a:pt x="1905476" y="218599"/>
                    <a:pt x="1906429" y="214789"/>
                  </a:cubicBezTo>
                  <a:cubicBezTo>
                    <a:pt x="1909286" y="205264"/>
                    <a:pt x="1912144" y="196691"/>
                    <a:pt x="1915001" y="190976"/>
                  </a:cubicBezTo>
                  <a:cubicBezTo>
                    <a:pt x="1919764" y="177641"/>
                    <a:pt x="1922621" y="170021"/>
                    <a:pt x="1922621" y="170021"/>
                  </a:cubicBezTo>
                  <a:cubicBezTo>
                    <a:pt x="1922621" y="170021"/>
                    <a:pt x="1918811" y="176689"/>
                    <a:pt x="1911191" y="189071"/>
                  </a:cubicBezTo>
                  <a:cubicBezTo>
                    <a:pt x="1907381" y="194786"/>
                    <a:pt x="1903571" y="203359"/>
                    <a:pt x="1899761" y="211931"/>
                  </a:cubicBezTo>
                  <a:cubicBezTo>
                    <a:pt x="1897856" y="216694"/>
                    <a:pt x="1894999" y="221456"/>
                    <a:pt x="1893094" y="226219"/>
                  </a:cubicBezTo>
                  <a:cubicBezTo>
                    <a:pt x="1892141" y="229076"/>
                    <a:pt x="1890236" y="231934"/>
                    <a:pt x="1889284" y="235744"/>
                  </a:cubicBezTo>
                  <a:cubicBezTo>
                    <a:pt x="1889284" y="234791"/>
                    <a:pt x="1889284" y="233839"/>
                    <a:pt x="1888331" y="232886"/>
                  </a:cubicBezTo>
                  <a:cubicBezTo>
                    <a:pt x="1888331" y="227171"/>
                    <a:pt x="1888331" y="221456"/>
                    <a:pt x="1889284" y="216694"/>
                  </a:cubicBezTo>
                  <a:cubicBezTo>
                    <a:pt x="1889284" y="210979"/>
                    <a:pt x="1890236" y="205264"/>
                    <a:pt x="1891189" y="200501"/>
                  </a:cubicBezTo>
                  <a:cubicBezTo>
                    <a:pt x="1892141" y="195739"/>
                    <a:pt x="1893094" y="190976"/>
                    <a:pt x="1894046" y="187166"/>
                  </a:cubicBezTo>
                  <a:cubicBezTo>
                    <a:pt x="1895951" y="179546"/>
                    <a:pt x="1897856" y="172879"/>
                    <a:pt x="1899761" y="169069"/>
                  </a:cubicBezTo>
                  <a:cubicBezTo>
                    <a:pt x="1901666" y="165259"/>
                    <a:pt x="1902619" y="162401"/>
                    <a:pt x="1902619" y="162401"/>
                  </a:cubicBezTo>
                  <a:cubicBezTo>
                    <a:pt x="1902619" y="162401"/>
                    <a:pt x="1901666" y="164306"/>
                    <a:pt x="1898809" y="168116"/>
                  </a:cubicBezTo>
                  <a:cubicBezTo>
                    <a:pt x="1895951" y="171926"/>
                    <a:pt x="1893094" y="177641"/>
                    <a:pt x="1890236" y="186214"/>
                  </a:cubicBezTo>
                  <a:cubicBezTo>
                    <a:pt x="1889284" y="190024"/>
                    <a:pt x="1887379" y="194786"/>
                    <a:pt x="1885474" y="199549"/>
                  </a:cubicBezTo>
                  <a:cubicBezTo>
                    <a:pt x="1884521" y="204311"/>
                    <a:pt x="1883569" y="209074"/>
                    <a:pt x="1882616" y="213836"/>
                  </a:cubicBezTo>
                  <a:cubicBezTo>
                    <a:pt x="1882616" y="211931"/>
                    <a:pt x="1882616" y="210026"/>
                    <a:pt x="1882616" y="210026"/>
                  </a:cubicBezTo>
                  <a:cubicBezTo>
                    <a:pt x="1882616" y="210026"/>
                    <a:pt x="1880711" y="216694"/>
                    <a:pt x="1878806" y="228124"/>
                  </a:cubicBezTo>
                  <a:cubicBezTo>
                    <a:pt x="1877854" y="232886"/>
                    <a:pt x="1876901" y="237649"/>
                    <a:pt x="1874996" y="243364"/>
                  </a:cubicBezTo>
                  <a:cubicBezTo>
                    <a:pt x="1874996" y="239554"/>
                    <a:pt x="1874996" y="237649"/>
                    <a:pt x="1874996" y="237649"/>
                  </a:cubicBezTo>
                  <a:cubicBezTo>
                    <a:pt x="1874996" y="237649"/>
                    <a:pt x="1874044" y="244316"/>
                    <a:pt x="1872139" y="255746"/>
                  </a:cubicBezTo>
                  <a:cubicBezTo>
                    <a:pt x="1871186" y="260509"/>
                    <a:pt x="1870234" y="266224"/>
                    <a:pt x="1868329" y="270986"/>
                  </a:cubicBezTo>
                  <a:cubicBezTo>
                    <a:pt x="1868329" y="267176"/>
                    <a:pt x="1869281" y="263366"/>
                    <a:pt x="1869281" y="259556"/>
                  </a:cubicBezTo>
                  <a:cubicBezTo>
                    <a:pt x="1871186" y="243364"/>
                    <a:pt x="1873091" y="228124"/>
                    <a:pt x="1874996" y="213836"/>
                  </a:cubicBezTo>
                  <a:cubicBezTo>
                    <a:pt x="1875949" y="207169"/>
                    <a:pt x="1876901" y="200501"/>
                    <a:pt x="1877854" y="193834"/>
                  </a:cubicBezTo>
                  <a:cubicBezTo>
                    <a:pt x="1878806" y="187166"/>
                    <a:pt x="1880711" y="181451"/>
                    <a:pt x="1881664" y="175736"/>
                  </a:cubicBezTo>
                  <a:cubicBezTo>
                    <a:pt x="1883569" y="164306"/>
                    <a:pt x="1885474" y="154781"/>
                    <a:pt x="1888331" y="146209"/>
                  </a:cubicBezTo>
                  <a:cubicBezTo>
                    <a:pt x="1892141" y="130016"/>
                    <a:pt x="1894999" y="120491"/>
                    <a:pt x="1894999" y="120491"/>
                  </a:cubicBezTo>
                  <a:cubicBezTo>
                    <a:pt x="1894999" y="120491"/>
                    <a:pt x="1891189" y="129064"/>
                    <a:pt x="1885474" y="144304"/>
                  </a:cubicBezTo>
                  <a:cubicBezTo>
                    <a:pt x="1882616" y="151924"/>
                    <a:pt x="1878806" y="161449"/>
                    <a:pt x="1875949" y="172879"/>
                  </a:cubicBezTo>
                  <a:cubicBezTo>
                    <a:pt x="1874044" y="178594"/>
                    <a:pt x="1872139" y="184309"/>
                    <a:pt x="1870234" y="190976"/>
                  </a:cubicBezTo>
                  <a:cubicBezTo>
                    <a:pt x="1868329" y="197644"/>
                    <a:pt x="1867376" y="204311"/>
                    <a:pt x="1865471" y="210979"/>
                  </a:cubicBezTo>
                  <a:cubicBezTo>
                    <a:pt x="1863566" y="219551"/>
                    <a:pt x="1860709" y="229076"/>
                    <a:pt x="1858804" y="238601"/>
                  </a:cubicBezTo>
                  <a:cubicBezTo>
                    <a:pt x="1858804" y="221456"/>
                    <a:pt x="1857851" y="206216"/>
                    <a:pt x="1856899" y="194786"/>
                  </a:cubicBezTo>
                  <a:cubicBezTo>
                    <a:pt x="1855946" y="181451"/>
                    <a:pt x="1854994" y="172879"/>
                    <a:pt x="1854994" y="172879"/>
                  </a:cubicBezTo>
                  <a:cubicBezTo>
                    <a:pt x="1854994" y="172879"/>
                    <a:pt x="1854041" y="180499"/>
                    <a:pt x="1853089" y="194786"/>
                  </a:cubicBezTo>
                  <a:cubicBezTo>
                    <a:pt x="1852136" y="208121"/>
                    <a:pt x="1850231" y="228124"/>
                    <a:pt x="1848326" y="250984"/>
                  </a:cubicBezTo>
                  <a:cubicBezTo>
                    <a:pt x="1847374" y="260509"/>
                    <a:pt x="1846421" y="271939"/>
                    <a:pt x="1845469" y="282416"/>
                  </a:cubicBezTo>
                  <a:cubicBezTo>
                    <a:pt x="1843564" y="279559"/>
                    <a:pt x="1841659" y="276701"/>
                    <a:pt x="1839754" y="273844"/>
                  </a:cubicBezTo>
                  <a:cubicBezTo>
                    <a:pt x="1839754" y="270986"/>
                    <a:pt x="1838801" y="269081"/>
                    <a:pt x="1838801" y="269081"/>
                  </a:cubicBezTo>
                  <a:cubicBezTo>
                    <a:pt x="1838801" y="269081"/>
                    <a:pt x="1838801" y="270034"/>
                    <a:pt x="1838801" y="272891"/>
                  </a:cubicBezTo>
                  <a:cubicBezTo>
                    <a:pt x="1834039" y="266224"/>
                    <a:pt x="1830229" y="260509"/>
                    <a:pt x="1827371" y="256699"/>
                  </a:cubicBezTo>
                  <a:cubicBezTo>
                    <a:pt x="1829276" y="216694"/>
                    <a:pt x="1828324" y="190976"/>
                    <a:pt x="1828324" y="190976"/>
                  </a:cubicBezTo>
                  <a:cubicBezTo>
                    <a:pt x="1828324" y="190976"/>
                    <a:pt x="1826419" y="202406"/>
                    <a:pt x="1822609" y="222409"/>
                  </a:cubicBezTo>
                  <a:cubicBezTo>
                    <a:pt x="1822609" y="219551"/>
                    <a:pt x="1822609" y="217646"/>
                    <a:pt x="1822609" y="214789"/>
                  </a:cubicBezTo>
                  <a:cubicBezTo>
                    <a:pt x="1822609" y="196691"/>
                    <a:pt x="1821656" y="178594"/>
                    <a:pt x="1822609" y="161449"/>
                  </a:cubicBezTo>
                  <a:cubicBezTo>
                    <a:pt x="1823561" y="144304"/>
                    <a:pt x="1823561" y="129064"/>
                    <a:pt x="1823561" y="113824"/>
                  </a:cubicBezTo>
                  <a:cubicBezTo>
                    <a:pt x="1824514" y="54769"/>
                    <a:pt x="1823561" y="15716"/>
                    <a:pt x="1823561" y="15716"/>
                  </a:cubicBezTo>
                  <a:cubicBezTo>
                    <a:pt x="1823561" y="15716"/>
                    <a:pt x="1817846" y="54769"/>
                    <a:pt x="1812131" y="112871"/>
                  </a:cubicBezTo>
                  <a:cubicBezTo>
                    <a:pt x="1811179" y="127159"/>
                    <a:pt x="1809274" y="143351"/>
                    <a:pt x="1807369" y="160496"/>
                  </a:cubicBezTo>
                  <a:cubicBezTo>
                    <a:pt x="1805464" y="175736"/>
                    <a:pt x="1805464" y="191929"/>
                    <a:pt x="1805464" y="209074"/>
                  </a:cubicBezTo>
                  <a:cubicBezTo>
                    <a:pt x="1803559" y="210026"/>
                    <a:pt x="1802606" y="210979"/>
                    <a:pt x="1801654" y="211931"/>
                  </a:cubicBezTo>
                  <a:lnTo>
                    <a:pt x="1801654" y="211931"/>
                  </a:lnTo>
                  <a:lnTo>
                    <a:pt x="1801654" y="212884"/>
                  </a:lnTo>
                  <a:cubicBezTo>
                    <a:pt x="1797844" y="221456"/>
                    <a:pt x="1794034" y="229076"/>
                    <a:pt x="1790224" y="237649"/>
                  </a:cubicBezTo>
                  <a:cubicBezTo>
                    <a:pt x="1790224" y="217646"/>
                    <a:pt x="1790224" y="207169"/>
                    <a:pt x="1790224" y="207169"/>
                  </a:cubicBezTo>
                  <a:cubicBezTo>
                    <a:pt x="1790224" y="207169"/>
                    <a:pt x="1788319" y="218599"/>
                    <a:pt x="1786414" y="239554"/>
                  </a:cubicBezTo>
                  <a:cubicBezTo>
                    <a:pt x="1786414" y="243364"/>
                    <a:pt x="1785461" y="246221"/>
                    <a:pt x="1784509" y="250984"/>
                  </a:cubicBezTo>
                  <a:cubicBezTo>
                    <a:pt x="1784509" y="251936"/>
                    <a:pt x="1784509" y="251936"/>
                    <a:pt x="1783556" y="252889"/>
                  </a:cubicBezTo>
                  <a:cubicBezTo>
                    <a:pt x="1779746" y="236696"/>
                    <a:pt x="1776889" y="226219"/>
                    <a:pt x="1776889" y="226219"/>
                  </a:cubicBezTo>
                  <a:cubicBezTo>
                    <a:pt x="1776889" y="226219"/>
                    <a:pt x="1776889" y="236696"/>
                    <a:pt x="1777841" y="253841"/>
                  </a:cubicBezTo>
                  <a:cubicBezTo>
                    <a:pt x="1774031" y="244316"/>
                    <a:pt x="1771174" y="236696"/>
                    <a:pt x="1768316" y="230029"/>
                  </a:cubicBezTo>
                  <a:cubicBezTo>
                    <a:pt x="1763554" y="219551"/>
                    <a:pt x="1760696" y="211931"/>
                    <a:pt x="1759744" y="209074"/>
                  </a:cubicBezTo>
                  <a:cubicBezTo>
                    <a:pt x="1759744" y="209074"/>
                    <a:pt x="1759744" y="208121"/>
                    <a:pt x="1759744" y="208121"/>
                  </a:cubicBezTo>
                  <a:cubicBezTo>
                    <a:pt x="1761649" y="202406"/>
                    <a:pt x="1761649" y="198596"/>
                    <a:pt x="1761649" y="198596"/>
                  </a:cubicBezTo>
                  <a:cubicBezTo>
                    <a:pt x="1761649" y="198596"/>
                    <a:pt x="1760696" y="200501"/>
                    <a:pt x="1759744" y="203359"/>
                  </a:cubicBezTo>
                  <a:cubicBezTo>
                    <a:pt x="1759744" y="200501"/>
                    <a:pt x="1759744" y="197644"/>
                    <a:pt x="1759744" y="195739"/>
                  </a:cubicBezTo>
                  <a:cubicBezTo>
                    <a:pt x="1760696" y="187166"/>
                    <a:pt x="1760696" y="178594"/>
                    <a:pt x="1761649" y="171926"/>
                  </a:cubicBezTo>
                  <a:cubicBezTo>
                    <a:pt x="1762601" y="158591"/>
                    <a:pt x="1762601" y="151924"/>
                    <a:pt x="1762601" y="151924"/>
                  </a:cubicBezTo>
                  <a:cubicBezTo>
                    <a:pt x="1762601" y="151924"/>
                    <a:pt x="1760696" y="159544"/>
                    <a:pt x="1756886" y="171926"/>
                  </a:cubicBezTo>
                  <a:cubicBezTo>
                    <a:pt x="1754981" y="180499"/>
                    <a:pt x="1752124" y="191929"/>
                    <a:pt x="1749266" y="205264"/>
                  </a:cubicBezTo>
                  <a:cubicBezTo>
                    <a:pt x="1746409" y="200501"/>
                    <a:pt x="1745456" y="197644"/>
                    <a:pt x="1745456" y="197644"/>
                  </a:cubicBezTo>
                  <a:cubicBezTo>
                    <a:pt x="1745456" y="197644"/>
                    <a:pt x="1746409" y="201454"/>
                    <a:pt x="1749266" y="208121"/>
                  </a:cubicBezTo>
                  <a:cubicBezTo>
                    <a:pt x="1748314" y="213836"/>
                    <a:pt x="1747361" y="219551"/>
                    <a:pt x="1746409" y="225266"/>
                  </a:cubicBezTo>
                  <a:cubicBezTo>
                    <a:pt x="1746409" y="226219"/>
                    <a:pt x="1746409" y="227171"/>
                    <a:pt x="1746409" y="228124"/>
                  </a:cubicBezTo>
                  <a:cubicBezTo>
                    <a:pt x="1741646" y="193834"/>
                    <a:pt x="1737836" y="171926"/>
                    <a:pt x="1737836" y="171926"/>
                  </a:cubicBezTo>
                  <a:cubicBezTo>
                    <a:pt x="1737836" y="171926"/>
                    <a:pt x="1736884" y="204311"/>
                    <a:pt x="1738789" y="252889"/>
                  </a:cubicBezTo>
                  <a:cubicBezTo>
                    <a:pt x="1737836" y="253841"/>
                    <a:pt x="1737836" y="255746"/>
                    <a:pt x="1736884" y="256699"/>
                  </a:cubicBezTo>
                  <a:cubicBezTo>
                    <a:pt x="1735931" y="253841"/>
                    <a:pt x="1735931" y="252889"/>
                    <a:pt x="1735931" y="252889"/>
                  </a:cubicBezTo>
                  <a:cubicBezTo>
                    <a:pt x="1735931" y="252889"/>
                    <a:pt x="1735931" y="254794"/>
                    <a:pt x="1735931" y="257651"/>
                  </a:cubicBezTo>
                  <a:cubicBezTo>
                    <a:pt x="1734979" y="259556"/>
                    <a:pt x="1734026" y="261461"/>
                    <a:pt x="1733074" y="264319"/>
                  </a:cubicBezTo>
                  <a:cubicBezTo>
                    <a:pt x="1731169" y="270034"/>
                    <a:pt x="1729264" y="276701"/>
                    <a:pt x="1727359" y="283369"/>
                  </a:cubicBezTo>
                  <a:cubicBezTo>
                    <a:pt x="1725454" y="288131"/>
                    <a:pt x="1723549" y="293846"/>
                    <a:pt x="1722596" y="299561"/>
                  </a:cubicBezTo>
                  <a:cubicBezTo>
                    <a:pt x="1720691" y="278606"/>
                    <a:pt x="1718786" y="267176"/>
                    <a:pt x="1718786" y="267176"/>
                  </a:cubicBezTo>
                  <a:cubicBezTo>
                    <a:pt x="1718786" y="267176"/>
                    <a:pt x="1717834" y="286226"/>
                    <a:pt x="1716881" y="317659"/>
                  </a:cubicBezTo>
                  <a:cubicBezTo>
                    <a:pt x="1716881" y="317659"/>
                    <a:pt x="1716881" y="318611"/>
                    <a:pt x="1716881" y="318611"/>
                  </a:cubicBezTo>
                  <a:cubicBezTo>
                    <a:pt x="1715929" y="317659"/>
                    <a:pt x="1715929" y="316706"/>
                    <a:pt x="1714976" y="316706"/>
                  </a:cubicBezTo>
                  <a:cubicBezTo>
                    <a:pt x="1712119" y="307181"/>
                    <a:pt x="1710214" y="297656"/>
                    <a:pt x="1707356" y="288131"/>
                  </a:cubicBezTo>
                  <a:cubicBezTo>
                    <a:pt x="1708309" y="270034"/>
                    <a:pt x="1709261" y="252889"/>
                    <a:pt x="1709261" y="237649"/>
                  </a:cubicBezTo>
                  <a:cubicBezTo>
                    <a:pt x="1711166" y="192881"/>
                    <a:pt x="1710214" y="163354"/>
                    <a:pt x="1710214" y="163354"/>
                  </a:cubicBezTo>
                  <a:cubicBezTo>
                    <a:pt x="1710214" y="163354"/>
                    <a:pt x="1705451" y="189071"/>
                    <a:pt x="1698784" y="229076"/>
                  </a:cubicBezTo>
                  <a:cubicBezTo>
                    <a:pt x="1696879" y="219551"/>
                    <a:pt x="1695926" y="210979"/>
                    <a:pt x="1694021" y="203359"/>
                  </a:cubicBezTo>
                  <a:cubicBezTo>
                    <a:pt x="1695926" y="191929"/>
                    <a:pt x="1697831" y="180499"/>
                    <a:pt x="1699736" y="170021"/>
                  </a:cubicBezTo>
                  <a:cubicBezTo>
                    <a:pt x="1702594" y="151924"/>
                    <a:pt x="1705451" y="134779"/>
                    <a:pt x="1706404" y="119539"/>
                  </a:cubicBezTo>
                  <a:cubicBezTo>
                    <a:pt x="1708309" y="104299"/>
                    <a:pt x="1709261" y="91916"/>
                    <a:pt x="1710214" y="80486"/>
                  </a:cubicBezTo>
                  <a:cubicBezTo>
                    <a:pt x="1712119" y="59531"/>
                    <a:pt x="1713071" y="47149"/>
                    <a:pt x="1713071" y="47149"/>
                  </a:cubicBezTo>
                  <a:cubicBezTo>
                    <a:pt x="1713071" y="47149"/>
                    <a:pt x="1710214" y="59531"/>
                    <a:pt x="1706404" y="80486"/>
                  </a:cubicBezTo>
                  <a:cubicBezTo>
                    <a:pt x="1704499" y="90964"/>
                    <a:pt x="1701641" y="104299"/>
                    <a:pt x="1698784" y="118586"/>
                  </a:cubicBezTo>
                  <a:cubicBezTo>
                    <a:pt x="1695926" y="133826"/>
                    <a:pt x="1692116" y="150019"/>
                    <a:pt x="1688306" y="168116"/>
                  </a:cubicBezTo>
                  <a:cubicBezTo>
                    <a:pt x="1688306" y="169069"/>
                    <a:pt x="1687354" y="170974"/>
                    <a:pt x="1687354" y="171926"/>
                  </a:cubicBezTo>
                  <a:cubicBezTo>
                    <a:pt x="1685449" y="164306"/>
                    <a:pt x="1684496" y="160496"/>
                    <a:pt x="1684496" y="160496"/>
                  </a:cubicBezTo>
                  <a:cubicBezTo>
                    <a:pt x="1684496" y="160496"/>
                    <a:pt x="1684496" y="167164"/>
                    <a:pt x="1685449" y="179546"/>
                  </a:cubicBezTo>
                  <a:cubicBezTo>
                    <a:pt x="1684496" y="185261"/>
                    <a:pt x="1682591" y="191929"/>
                    <a:pt x="1681639" y="197644"/>
                  </a:cubicBezTo>
                  <a:cubicBezTo>
                    <a:pt x="1680686" y="195739"/>
                    <a:pt x="1680686" y="194786"/>
                    <a:pt x="1680686" y="192881"/>
                  </a:cubicBezTo>
                  <a:cubicBezTo>
                    <a:pt x="1681639" y="186214"/>
                    <a:pt x="1681639" y="180499"/>
                    <a:pt x="1681639" y="174784"/>
                  </a:cubicBezTo>
                  <a:cubicBezTo>
                    <a:pt x="1681639" y="162401"/>
                    <a:pt x="1682591" y="151924"/>
                    <a:pt x="1682591" y="143351"/>
                  </a:cubicBezTo>
                  <a:cubicBezTo>
                    <a:pt x="1682591" y="126206"/>
                    <a:pt x="1683544" y="115729"/>
                    <a:pt x="1683544" y="115729"/>
                  </a:cubicBezTo>
                  <a:cubicBezTo>
                    <a:pt x="1683544" y="115729"/>
                    <a:pt x="1681639" y="125254"/>
                    <a:pt x="1678781" y="143351"/>
                  </a:cubicBezTo>
                  <a:cubicBezTo>
                    <a:pt x="1677829" y="151924"/>
                    <a:pt x="1675924" y="162401"/>
                    <a:pt x="1674019" y="174784"/>
                  </a:cubicBezTo>
                  <a:cubicBezTo>
                    <a:pt x="1672114" y="187166"/>
                    <a:pt x="1669256" y="200501"/>
                    <a:pt x="1666399" y="215741"/>
                  </a:cubicBezTo>
                  <a:cubicBezTo>
                    <a:pt x="1665446" y="220504"/>
                    <a:pt x="1664494" y="226219"/>
                    <a:pt x="1663541" y="231934"/>
                  </a:cubicBezTo>
                  <a:cubicBezTo>
                    <a:pt x="1662589" y="228124"/>
                    <a:pt x="1661636" y="225266"/>
                    <a:pt x="1661636" y="225266"/>
                  </a:cubicBezTo>
                  <a:cubicBezTo>
                    <a:pt x="1661636" y="225266"/>
                    <a:pt x="1661636" y="229076"/>
                    <a:pt x="1662589" y="236696"/>
                  </a:cubicBezTo>
                  <a:cubicBezTo>
                    <a:pt x="1661636" y="242411"/>
                    <a:pt x="1660684" y="248126"/>
                    <a:pt x="1659731" y="253841"/>
                  </a:cubicBezTo>
                  <a:cubicBezTo>
                    <a:pt x="1659731" y="252889"/>
                    <a:pt x="1658779" y="251936"/>
                    <a:pt x="1658779" y="251936"/>
                  </a:cubicBezTo>
                  <a:cubicBezTo>
                    <a:pt x="1654969" y="240506"/>
                    <a:pt x="1650206" y="230981"/>
                    <a:pt x="1646396" y="223361"/>
                  </a:cubicBezTo>
                  <a:cubicBezTo>
                    <a:pt x="1645444" y="220504"/>
                    <a:pt x="1643539" y="218599"/>
                    <a:pt x="1642586" y="215741"/>
                  </a:cubicBezTo>
                  <a:cubicBezTo>
                    <a:pt x="1642586" y="210979"/>
                    <a:pt x="1642586" y="207169"/>
                    <a:pt x="1642586" y="202406"/>
                  </a:cubicBezTo>
                  <a:cubicBezTo>
                    <a:pt x="1641634" y="186214"/>
                    <a:pt x="1641634" y="170021"/>
                    <a:pt x="1640681" y="154781"/>
                  </a:cubicBezTo>
                  <a:cubicBezTo>
                    <a:pt x="1639729" y="139541"/>
                    <a:pt x="1637824" y="125254"/>
                    <a:pt x="1635919" y="111919"/>
                  </a:cubicBezTo>
                  <a:cubicBezTo>
                    <a:pt x="1630204" y="58579"/>
                    <a:pt x="1624489" y="23336"/>
                    <a:pt x="1624489" y="23336"/>
                  </a:cubicBezTo>
                  <a:cubicBezTo>
                    <a:pt x="1624489" y="23336"/>
                    <a:pt x="1623536" y="58579"/>
                    <a:pt x="1624489" y="111919"/>
                  </a:cubicBezTo>
                  <a:cubicBezTo>
                    <a:pt x="1624489" y="125254"/>
                    <a:pt x="1624489" y="139541"/>
                    <a:pt x="1625441" y="154781"/>
                  </a:cubicBezTo>
                  <a:cubicBezTo>
                    <a:pt x="1626394" y="170021"/>
                    <a:pt x="1624489" y="186214"/>
                    <a:pt x="1625441" y="202406"/>
                  </a:cubicBezTo>
                  <a:cubicBezTo>
                    <a:pt x="1625441" y="210026"/>
                    <a:pt x="1625441" y="217646"/>
                    <a:pt x="1625441" y="225266"/>
                  </a:cubicBezTo>
                  <a:cubicBezTo>
                    <a:pt x="1625441" y="227171"/>
                    <a:pt x="1625441" y="229076"/>
                    <a:pt x="1625441" y="230981"/>
                  </a:cubicBezTo>
                  <a:cubicBezTo>
                    <a:pt x="1624489" y="230029"/>
                    <a:pt x="1624489" y="228124"/>
                    <a:pt x="1623536" y="227171"/>
                  </a:cubicBezTo>
                  <a:cubicBezTo>
                    <a:pt x="1620679" y="211931"/>
                    <a:pt x="1619726" y="203359"/>
                    <a:pt x="1619726" y="203359"/>
                  </a:cubicBezTo>
                  <a:cubicBezTo>
                    <a:pt x="1619726" y="203359"/>
                    <a:pt x="1619726" y="208121"/>
                    <a:pt x="1619726" y="217646"/>
                  </a:cubicBezTo>
                  <a:cubicBezTo>
                    <a:pt x="1613059" y="201454"/>
                    <a:pt x="1608296" y="190976"/>
                    <a:pt x="1608296" y="190976"/>
                  </a:cubicBezTo>
                  <a:cubicBezTo>
                    <a:pt x="1608296" y="190976"/>
                    <a:pt x="1612106" y="207169"/>
                    <a:pt x="1619726" y="233839"/>
                  </a:cubicBezTo>
                  <a:cubicBezTo>
                    <a:pt x="1619726" y="236696"/>
                    <a:pt x="1619726" y="239554"/>
                    <a:pt x="1619726" y="242411"/>
                  </a:cubicBezTo>
                  <a:cubicBezTo>
                    <a:pt x="1615916" y="236696"/>
                    <a:pt x="1613059" y="233839"/>
                    <a:pt x="1613059" y="233839"/>
                  </a:cubicBezTo>
                  <a:cubicBezTo>
                    <a:pt x="1613059" y="233839"/>
                    <a:pt x="1614964" y="238601"/>
                    <a:pt x="1619726" y="247174"/>
                  </a:cubicBezTo>
                  <a:cubicBezTo>
                    <a:pt x="1616869" y="250984"/>
                    <a:pt x="1614011" y="256699"/>
                    <a:pt x="1610201" y="264319"/>
                  </a:cubicBezTo>
                  <a:cubicBezTo>
                    <a:pt x="1609249" y="266224"/>
                    <a:pt x="1608296" y="268129"/>
                    <a:pt x="1607344" y="270034"/>
                  </a:cubicBezTo>
                  <a:cubicBezTo>
                    <a:pt x="1607344" y="269081"/>
                    <a:pt x="1606391" y="269081"/>
                    <a:pt x="1606391" y="269081"/>
                  </a:cubicBezTo>
                  <a:cubicBezTo>
                    <a:pt x="1606391" y="269081"/>
                    <a:pt x="1606391" y="269081"/>
                    <a:pt x="1607344" y="270034"/>
                  </a:cubicBezTo>
                  <a:cubicBezTo>
                    <a:pt x="1605439" y="273844"/>
                    <a:pt x="1603534" y="277654"/>
                    <a:pt x="1601629" y="282416"/>
                  </a:cubicBezTo>
                  <a:cubicBezTo>
                    <a:pt x="1601629" y="277654"/>
                    <a:pt x="1600676" y="273844"/>
                    <a:pt x="1600676" y="269081"/>
                  </a:cubicBezTo>
                  <a:cubicBezTo>
                    <a:pt x="1598771" y="243364"/>
                    <a:pt x="1596866" y="221456"/>
                    <a:pt x="1595914" y="207169"/>
                  </a:cubicBezTo>
                  <a:cubicBezTo>
                    <a:pt x="1594961" y="191929"/>
                    <a:pt x="1594009" y="183356"/>
                    <a:pt x="1594009" y="183356"/>
                  </a:cubicBezTo>
                  <a:cubicBezTo>
                    <a:pt x="1594009" y="183356"/>
                    <a:pt x="1593056" y="191929"/>
                    <a:pt x="1592104" y="207169"/>
                  </a:cubicBezTo>
                  <a:cubicBezTo>
                    <a:pt x="1592104" y="212884"/>
                    <a:pt x="1591151" y="219551"/>
                    <a:pt x="1591151" y="227171"/>
                  </a:cubicBezTo>
                  <a:cubicBezTo>
                    <a:pt x="1589246" y="216694"/>
                    <a:pt x="1586389" y="207169"/>
                    <a:pt x="1583531" y="197644"/>
                  </a:cubicBezTo>
                  <a:cubicBezTo>
                    <a:pt x="1581626" y="190976"/>
                    <a:pt x="1579721" y="185261"/>
                    <a:pt x="1578769" y="179546"/>
                  </a:cubicBezTo>
                  <a:cubicBezTo>
                    <a:pt x="1576864" y="173831"/>
                    <a:pt x="1574959" y="168116"/>
                    <a:pt x="1573054" y="163354"/>
                  </a:cubicBezTo>
                  <a:cubicBezTo>
                    <a:pt x="1569244" y="152876"/>
                    <a:pt x="1566386" y="144304"/>
                    <a:pt x="1563529" y="137636"/>
                  </a:cubicBezTo>
                  <a:cubicBezTo>
                    <a:pt x="1556861" y="123349"/>
                    <a:pt x="1554004" y="115729"/>
                    <a:pt x="1554004" y="115729"/>
                  </a:cubicBezTo>
                  <a:cubicBezTo>
                    <a:pt x="1554004" y="115729"/>
                    <a:pt x="1555909" y="124301"/>
                    <a:pt x="1560671" y="138589"/>
                  </a:cubicBezTo>
                  <a:cubicBezTo>
                    <a:pt x="1562576" y="146209"/>
                    <a:pt x="1564481" y="154781"/>
                    <a:pt x="1567339" y="165259"/>
                  </a:cubicBezTo>
                  <a:cubicBezTo>
                    <a:pt x="1568291" y="170021"/>
                    <a:pt x="1569244" y="175736"/>
                    <a:pt x="1571149" y="181451"/>
                  </a:cubicBezTo>
                  <a:cubicBezTo>
                    <a:pt x="1572101" y="187166"/>
                    <a:pt x="1573054" y="192881"/>
                    <a:pt x="1574006" y="199549"/>
                  </a:cubicBezTo>
                  <a:cubicBezTo>
                    <a:pt x="1576864" y="211931"/>
                    <a:pt x="1577816" y="226219"/>
                    <a:pt x="1579721" y="240506"/>
                  </a:cubicBezTo>
                  <a:cubicBezTo>
                    <a:pt x="1581626" y="253841"/>
                    <a:pt x="1582579" y="269081"/>
                    <a:pt x="1584484" y="283369"/>
                  </a:cubicBezTo>
                  <a:cubicBezTo>
                    <a:pt x="1581626" y="274796"/>
                    <a:pt x="1579721" y="266224"/>
                    <a:pt x="1576864" y="258604"/>
                  </a:cubicBezTo>
                  <a:cubicBezTo>
                    <a:pt x="1575911" y="255746"/>
                    <a:pt x="1574959" y="252889"/>
                    <a:pt x="1573054" y="249079"/>
                  </a:cubicBezTo>
                  <a:cubicBezTo>
                    <a:pt x="1573054" y="249079"/>
                    <a:pt x="1573054" y="248126"/>
                    <a:pt x="1573054" y="247174"/>
                  </a:cubicBezTo>
                  <a:cubicBezTo>
                    <a:pt x="1573054" y="243364"/>
                    <a:pt x="1573054" y="238601"/>
                    <a:pt x="1572101" y="234791"/>
                  </a:cubicBezTo>
                  <a:cubicBezTo>
                    <a:pt x="1571149" y="221456"/>
                    <a:pt x="1569244" y="209074"/>
                    <a:pt x="1567339" y="198596"/>
                  </a:cubicBezTo>
                  <a:cubicBezTo>
                    <a:pt x="1566386" y="192881"/>
                    <a:pt x="1564481" y="188119"/>
                    <a:pt x="1563529" y="184309"/>
                  </a:cubicBezTo>
                  <a:cubicBezTo>
                    <a:pt x="1561624" y="179546"/>
                    <a:pt x="1560671" y="175736"/>
                    <a:pt x="1558766" y="171926"/>
                  </a:cubicBezTo>
                  <a:cubicBezTo>
                    <a:pt x="1555909" y="164306"/>
                    <a:pt x="1553051" y="159544"/>
                    <a:pt x="1550194" y="155734"/>
                  </a:cubicBezTo>
                  <a:cubicBezTo>
                    <a:pt x="1548289" y="151924"/>
                    <a:pt x="1546384" y="150019"/>
                    <a:pt x="1546384" y="150019"/>
                  </a:cubicBezTo>
                  <a:cubicBezTo>
                    <a:pt x="1546384" y="150019"/>
                    <a:pt x="1547336" y="151924"/>
                    <a:pt x="1549241" y="155734"/>
                  </a:cubicBezTo>
                  <a:cubicBezTo>
                    <a:pt x="1551146" y="159544"/>
                    <a:pt x="1553051" y="165259"/>
                    <a:pt x="1554956" y="171926"/>
                  </a:cubicBezTo>
                  <a:cubicBezTo>
                    <a:pt x="1555909" y="175736"/>
                    <a:pt x="1556861" y="179546"/>
                    <a:pt x="1557814" y="184309"/>
                  </a:cubicBezTo>
                  <a:cubicBezTo>
                    <a:pt x="1557814" y="189071"/>
                    <a:pt x="1558766" y="193834"/>
                    <a:pt x="1559719" y="198596"/>
                  </a:cubicBezTo>
                  <a:cubicBezTo>
                    <a:pt x="1559719" y="203359"/>
                    <a:pt x="1560671" y="208121"/>
                    <a:pt x="1560671" y="213836"/>
                  </a:cubicBezTo>
                  <a:cubicBezTo>
                    <a:pt x="1560671" y="214789"/>
                    <a:pt x="1560671" y="215741"/>
                    <a:pt x="1559719" y="216694"/>
                  </a:cubicBezTo>
                  <a:cubicBezTo>
                    <a:pt x="1558766" y="213836"/>
                    <a:pt x="1556861" y="210979"/>
                    <a:pt x="1555909" y="208121"/>
                  </a:cubicBezTo>
                  <a:cubicBezTo>
                    <a:pt x="1554004" y="203359"/>
                    <a:pt x="1551146" y="199549"/>
                    <a:pt x="1549241" y="194786"/>
                  </a:cubicBezTo>
                  <a:cubicBezTo>
                    <a:pt x="1545431" y="186214"/>
                    <a:pt x="1541621" y="179546"/>
                    <a:pt x="1537811" y="173831"/>
                  </a:cubicBezTo>
                  <a:cubicBezTo>
                    <a:pt x="1530191" y="162401"/>
                    <a:pt x="1526381" y="156686"/>
                    <a:pt x="1526381" y="156686"/>
                  </a:cubicBezTo>
                  <a:cubicBezTo>
                    <a:pt x="1526381" y="156686"/>
                    <a:pt x="1529239" y="163354"/>
                    <a:pt x="1534001" y="175736"/>
                  </a:cubicBezTo>
                  <a:cubicBezTo>
                    <a:pt x="1536859" y="181451"/>
                    <a:pt x="1539716" y="189071"/>
                    <a:pt x="1542574" y="197644"/>
                  </a:cubicBezTo>
                  <a:cubicBezTo>
                    <a:pt x="1543526" y="201454"/>
                    <a:pt x="1545431" y="205264"/>
                    <a:pt x="1546384" y="209074"/>
                  </a:cubicBezTo>
                  <a:cubicBezTo>
                    <a:pt x="1546384" y="208121"/>
                    <a:pt x="1545431" y="208121"/>
                    <a:pt x="1545431" y="208121"/>
                  </a:cubicBezTo>
                  <a:cubicBezTo>
                    <a:pt x="1545431" y="208121"/>
                    <a:pt x="1546384" y="209074"/>
                    <a:pt x="1546384" y="210979"/>
                  </a:cubicBezTo>
                  <a:cubicBezTo>
                    <a:pt x="1548289" y="215741"/>
                    <a:pt x="1549241" y="220504"/>
                    <a:pt x="1551146" y="226219"/>
                  </a:cubicBezTo>
                  <a:cubicBezTo>
                    <a:pt x="1552099" y="228124"/>
                    <a:pt x="1552099" y="229076"/>
                    <a:pt x="1552099" y="230981"/>
                  </a:cubicBezTo>
                  <a:cubicBezTo>
                    <a:pt x="1552099" y="232886"/>
                    <a:pt x="1553051" y="233839"/>
                    <a:pt x="1553051" y="235744"/>
                  </a:cubicBezTo>
                  <a:cubicBezTo>
                    <a:pt x="1553051" y="237649"/>
                    <a:pt x="1553051" y="239554"/>
                    <a:pt x="1554004" y="241459"/>
                  </a:cubicBezTo>
                  <a:cubicBezTo>
                    <a:pt x="1554004" y="242411"/>
                    <a:pt x="1554004" y="243364"/>
                    <a:pt x="1554004" y="244316"/>
                  </a:cubicBezTo>
                  <a:cubicBezTo>
                    <a:pt x="1554004" y="246221"/>
                    <a:pt x="1553051" y="248126"/>
                    <a:pt x="1553051" y="250031"/>
                  </a:cubicBezTo>
                  <a:cubicBezTo>
                    <a:pt x="1551146" y="253841"/>
                    <a:pt x="1549241" y="257651"/>
                    <a:pt x="1547336" y="263366"/>
                  </a:cubicBezTo>
                  <a:cubicBezTo>
                    <a:pt x="1545431" y="258604"/>
                    <a:pt x="1543526" y="254794"/>
                    <a:pt x="1542574" y="251936"/>
                  </a:cubicBezTo>
                  <a:cubicBezTo>
                    <a:pt x="1542574" y="249079"/>
                    <a:pt x="1542574" y="245269"/>
                    <a:pt x="1542574" y="243364"/>
                  </a:cubicBezTo>
                  <a:cubicBezTo>
                    <a:pt x="1542574" y="230029"/>
                    <a:pt x="1542574" y="222409"/>
                    <a:pt x="1542574" y="222409"/>
                  </a:cubicBezTo>
                  <a:cubicBezTo>
                    <a:pt x="1542574" y="222409"/>
                    <a:pt x="1541621" y="230029"/>
                    <a:pt x="1538764" y="243364"/>
                  </a:cubicBezTo>
                  <a:cubicBezTo>
                    <a:pt x="1538764" y="243364"/>
                    <a:pt x="1538764" y="243364"/>
                    <a:pt x="1538764" y="243364"/>
                  </a:cubicBezTo>
                  <a:cubicBezTo>
                    <a:pt x="1534001" y="232886"/>
                    <a:pt x="1531144" y="226219"/>
                    <a:pt x="1531144" y="226219"/>
                  </a:cubicBezTo>
                  <a:cubicBezTo>
                    <a:pt x="1531144" y="226219"/>
                    <a:pt x="1533049" y="234791"/>
                    <a:pt x="1537811" y="250031"/>
                  </a:cubicBezTo>
                  <a:cubicBezTo>
                    <a:pt x="1537811" y="252889"/>
                    <a:pt x="1536859" y="255746"/>
                    <a:pt x="1536859" y="258604"/>
                  </a:cubicBezTo>
                  <a:cubicBezTo>
                    <a:pt x="1534954" y="251936"/>
                    <a:pt x="1533049" y="245269"/>
                    <a:pt x="1531144" y="239554"/>
                  </a:cubicBezTo>
                  <a:cubicBezTo>
                    <a:pt x="1529239" y="232886"/>
                    <a:pt x="1527334" y="227171"/>
                    <a:pt x="1525429" y="220504"/>
                  </a:cubicBezTo>
                  <a:cubicBezTo>
                    <a:pt x="1524476" y="217646"/>
                    <a:pt x="1523524" y="214789"/>
                    <a:pt x="1521619" y="211931"/>
                  </a:cubicBezTo>
                  <a:cubicBezTo>
                    <a:pt x="1518761" y="173831"/>
                    <a:pt x="1515904" y="150019"/>
                    <a:pt x="1515904" y="150019"/>
                  </a:cubicBezTo>
                  <a:cubicBezTo>
                    <a:pt x="1515904" y="150019"/>
                    <a:pt x="1514951" y="166211"/>
                    <a:pt x="1513046" y="192881"/>
                  </a:cubicBezTo>
                  <a:cubicBezTo>
                    <a:pt x="1510189" y="187166"/>
                    <a:pt x="1508284" y="182404"/>
                    <a:pt x="1506379" y="177641"/>
                  </a:cubicBezTo>
                  <a:cubicBezTo>
                    <a:pt x="1499711" y="163354"/>
                    <a:pt x="1495901" y="154781"/>
                    <a:pt x="1495901" y="154781"/>
                  </a:cubicBezTo>
                  <a:cubicBezTo>
                    <a:pt x="1495901" y="154781"/>
                    <a:pt x="1497806" y="163354"/>
                    <a:pt x="1502569" y="178594"/>
                  </a:cubicBezTo>
                  <a:cubicBezTo>
                    <a:pt x="1503521" y="182404"/>
                    <a:pt x="1504474" y="186214"/>
                    <a:pt x="1505426" y="190024"/>
                  </a:cubicBezTo>
                  <a:cubicBezTo>
                    <a:pt x="1505426" y="189071"/>
                    <a:pt x="1504474" y="189071"/>
                    <a:pt x="1504474" y="189071"/>
                  </a:cubicBezTo>
                  <a:cubicBezTo>
                    <a:pt x="1504474" y="189071"/>
                    <a:pt x="1506379" y="196691"/>
                    <a:pt x="1510189" y="210026"/>
                  </a:cubicBezTo>
                  <a:cubicBezTo>
                    <a:pt x="1510189" y="210979"/>
                    <a:pt x="1511141" y="212884"/>
                    <a:pt x="1511141" y="213836"/>
                  </a:cubicBezTo>
                  <a:cubicBezTo>
                    <a:pt x="1511141" y="220504"/>
                    <a:pt x="1510189" y="227171"/>
                    <a:pt x="1510189" y="233839"/>
                  </a:cubicBezTo>
                  <a:cubicBezTo>
                    <a:pt x="1510189" y="241459"/>
                    <a:pt x="1509236" y="250031"/>
                    <a:pt x="1509236" y="258604"/>
                  </a:cubicBezTo>
                  <a:cubicBezTo>
                    <a:pt x="1503521" y="241459"/>
                    <a:pt x="1498759" y="230981"/>
                    <a:pt x="1498759" y="230981"/>
                  </a:cubicBezTo>
                  <a:cubicBezTo>
                    <a:pt x="1498759" y="230981"/>
                    <a:pt x="1501616" y="248126"/>
                    <a:pt x="1508284" y="275749"/>
                  </a:cubicBezTo>
                  <a:cubicBezTo>
                    <a:pt x="1508284" y="279559"/>
                    <a:pt x="1508284" y="283369"/>
                    <a:pt x="1507331" y="288131"/>
                  </a:cubicBezTo>
                  <a:cubicBezTo>
                    <a:pt x="1506379" y="290036"/>
                    <a:pt x="1505426" y="290989"/>
                    <a:pt x="1504474" y="292894"/>
                  </a:cubicBezTo>
                  <a:cubicBezTo>
                    <a:pt x="1503521" y="294799"/>
                    <a:pt x="1501616" y="296704"/>
                    <a:pt x="1500664" y="298609"/>
                  </a:cubicBezTo>
                  <a:cubicBezTo>
                    <a:pt x="1497806" y="287179"/>
                    <a:pt x="1495901" y="275749"/>
                    <a:pt x="1493044" y="266224"/>
                  </a:cubicBezTo>
                  <a:cubicBezTo>
                    <a:pt x="1495901" y="253841"/>
                    <a:pt x="1497806" y="246221"/>
                    <a:pt x="1497806" y="246221"/>
                  </a:cubicBezTo>
                  <a:cubicBezTo>
                    <a:pt x="1497806" y="246221"/>
                    <a:pt x="1495901" y="251936"/>
                    <a:pt x="1491139" y="260509"/>
                  </a:cubicBezTo>
                  <a:cubicBezTo>
                    <a:pt x="1491139" y="260509"/>
                    <a:pt x="1491139" y="259556"/>
                    <a:pt x="1491139" y="259556"/>
                  </a:cubicBezTo>
                  <a:cubicBezTo>
                    <a:pt x="1491139" y="253841"/>
                    <a:pt x="1490186" y="249079"/>
                    <a:pt x="1490186" y="244316"/>
                  </a:cubicBezTo>
                  <a:cubicBezTo>
                    <a:pt x="1490186" y="242411"/>
                    <a:pt x="1490186" y="240506"/>
                    <a:pt x="1489234" y="238601"/>
                  </a:cubicBezTo>
                  <a:cubicBezTo>
                    <a:pt x="1489234" y="237649"/>
                    <a:pt x="1489234" y="237649"/>
                    <a:pt x="1489234" y="237649"/>
                  </a:cubicBezTo>
                  <a:cubicBezTo>
                    <a:pt x="1489234" y="237649"/>
                    <a:pt x="1489234" y="237649"/>
                    <a:pt x="1489234" y="238601"/>
                  </a:cubicBezTo>
                  <a:cubicBezTo>
                    <a:pt x="1488281" y="230981"/>
                    <a:pt x="1488281" y="225266"/>
                    <a:pt x="1486376" y="219551"/>
                  </a:cubicBezTo>
                  <a:cubicBezTo>
                    <a:pt x="1483519" y="206216"/>
                    <a:pt x="1482566" y="198596"/>
                    <a:pt x="1482566" y="198596"/>
                  </a:cubicBezTo>
                  <a:cubicBezTo>
                    <a:pt x="1482566" y="198596"/>
                    <a:pt x="1482566" y="206216"/>
                    <a:pt x="1482566" y="220504"/>
                  </a:cubicBezTo>
                  <a:cubicBezTo>
                    <a:pt x="1482566" y="222409"/>
                    <a:pt x="1482566" y="225266"/>
                    <a:pt x="1482566" y="228124"/>
                  </a:cubicBezTo>
                  <a:cubicBezTo>
                    <a:pt x="1476851" y="206216"/>
                    <a:pt x="1473041" y="193834"/>
                    <a:pt x="1473041" y="193834"/>
                  </a:cubicBezTo>
                  <a:cubicBezTo>
                    <a:pt x="1473041" y="193834"/>
                    <a:pt x="1474946" y="220504"/>
                    <a:pt x="1479709" y="259556"/>
                  </a:cubicBezTo>
                  <a:cubicBezTo>
                    <a:pt x="1479709" y="260509"/>
                    <a:pt x="1478756" y="261461"/>
                    <a:pt x="1478756" y="262414"/>
                  </a:cubicBezTo>
                  <a:cubicBezTo>
                    <a:pt x="1477804" y="263366"/>
                    <a:pt x="1477804" y="265271"/>
                    <a:pt x="1476851" y="266224"/>
                  </a:cubicBezTo>
                  <a:cubicBezTo>
                    <a:pt x="1476851" y="263366"/>
                    <a:pt x="1475899" y="260509"/>
                    <a:pt x="1475899" y="257651"/>
                  </a:cubicBezTo>
                  <a:cubicBezTo>
                    <a:pt x="1473994" y="244316"/>
                    <a:pt x="1473041" y="232886"/>
                    <a:pt x="1471136" y="221456"/>
                  </a:cubicBezTo>
                  <a:cubicBezTo>
                    <a:pt x="1469231" y="210979"/>
                    <a:pt x="1468279" y="201454"/>
                    <a:pt x="1466374" y="193834"/>
                  </a:cubicBezTo>
                  <a:cubicBezTo>
                    <a:pt x="1462564" y="178594"/>
                    <a:pt x="1460659" y="170021"/>
                    <a:pt x="1460659" y="170021"/>
                  </a:cubicBezTo>
                  <a:cubicBezTo>
                    <a:pt x="1460659" y="170021"/>
                    <a:pt x="1461611" y="178594"/>
                    <a:pt x="1462564" y="193834"/>
                  </a:cubicBezTo>
                  <a:cubicBezTo>
                    <a:pt x="1463516" y="201454"/>
                    <a:pt x="1463516" y="210979"/>
                    <a:pt x="1464469" y="221456"/>
                  </a:cubicBezTo>
                  <a:cubicBezTo>
                    <a:pt x="1465421" y="231934"/>
                    <a:pt x="1465421" y="244316"/>
                    <a:pt x="1465421" y="257651"/>
                  </a:cubicBezTo>
                  <a:cubicBezTo>
                    <a:pt x="1465421" y="263366"/>
                    <a:pt x="1465421" y="269081"/>
                    <a:pt x="1465421" y="275749"/>
                  </a:cubicBezTo>
                  <a:cubicBezTo>
                    <a:pt x="1462564" y="265271"/>
                    <a:pt x="1458754" y="254794"/>
                    <a:pt x="1455896" y="246221"/>
                  </a:cubicBezTo>
                  <a:cubicBezTo>
                    <a:pt x="1453039" y="235744"/>
                    <a:pt x="1450181" y="226219"/>
                    <a:pt x="1447324" y="218599"/>
                  </a:cubicBezTo>
                  <a:cubicBezTo>
                    <a:pt x="1442561" y="203359"/>
                    <a:pt x="1439704" y="194786"/>
                    <a:pt x="1439704" y="194786"/>
                  </a:cubicBezTo>
                  <a:cubicBezTo>
                    <a:pt x="1439704" y="194786"/>
                    <a:pt x="1440656" y="202406"/>
                    <a:pt x="1442561" y="215741"/>
                  </a:cubicBezTo>
                  <a:cubicBezTo>
                    <a:pt x="1439704" y="203359"/>
                    <a:pt x="1437799" y="193834"/>
                    <a:pt x="1435894" y="185261"/>
                  </a:cubicBezTo>
                  <a:cubicBezTo>
                    <a:pt x="1435894" y="169069"/>
                    <a:pt x="1435894" y="159544"/>
                    <a:pt x="1435894" y="159544"/>
                  </a:cubicBezTo>
                  <a:cubicBezTo>
                    <a:pt x="1435894" y="159544"/>
                    <a:pt x="1434941" y="164306"/>
                    <a:pt x="1433036" y="173831"/>
                  </a:cubicBezTo>
                  <a:cubicBezTo>
                    <a:pt x="1431131" y="165259"/>
                    <a:pt x="1430179" y="160496"/>
                    <a:pt x="1430179" y="160496"/>
                  </a:cubicBezTo>
                  <a:cubicBezTo>
                    <a:pt x="1430179" y="160496"/>
                    <a:pt x="1430179" y="162401"/>
                    <a:pt x="1430179" y="166211"/>
                  </a:cubicBezTo>
                  <a:cubicBezTo>
                    <a:pt x="1428274" y="158591"/>
                    <a:pt x="1427321" y="151924"/>
                    <a:pt x="1425416" y="147161"/>
                  </a:cubicBezTo>
                  <a:cubicBezTo>
                    <a:pt x="1421606" y="134779"/>
                    <a:pt x="1418749" y="127159"/>
                    <a:pt x="1418749" y="127159"/>
                  </a:cubicBezTo>
                  <a:cubicBezTo>
                    <a:pt x="1418749" y="127159"/>
                    <a:pt x="1419701" y="134779"/>
                    <a:pt x="1421606" y="148114"/>
                  </a:cubicBezTo>
                  <a:cubicBezTo>
                    <a:pt x="1422559" y="154781"/>
                    <a:pt x="1423511" y="162401"/>
                    <a:pt x="1423511" y="171926"/>
                  </a:cubicBezTo>
                  <a:cubicBezTo>
                    <a:pt x="1424464" y="181451"/>
                    <a:pt x="1424464" y="190976"/>
                    <a:pt x="1425416" y="202406"/>
                  </a:cubicBezTo>
                  <a:cubicBezTo>
                    <a:pt x="1425416" y="208121"/>
                    <a:pt x="1426369" y="212884"/>
                    <a:pt x="1426369" y="218599"/>
                  </a:cubicBezTo>
                  <a:cubicBezTo>
                    <a:pt x="1425416" y="224314"/>
                    <a:pt x="1424464" y="230029"/>
                    <a:pt x="1424464" y="235744"/>
                  </a:cubicBezTo>
                  <a:cubicBezTo>
                    <a:pt x="1423511" y="231934"/>
                    <a:pt x="1422559" y="229076"/>
                    <a:pt x="1421606" y="226219"/>
                  </a:cubicBezTo>
                  <a:cubicBezTo>
                    <a:pt x="1419701" y="219551"/>
                    <a:pt x="1416844" y="214789"/>
                    <a:pt x="1415891" y="210026"/>
                  </a:cubicBezTo>
                  <a:cubicBezTo>
                    <a:pt x="1412081" y="201454"/>
                    <a:pt x="1410176" y="195739"/>
                    <a:pt x="1410176" y="195739"/>
                  </a:cubicBezTo>
                  <a:cubicBezTo>
                    <a:pt x="1410176" y="195739"/>
                    <a:pt x="1411129" y="201454"/>
                    <a:pt x="1412081" y="210979"/>
                  </a:cubicBezTo>
                  <a:cubicBezTo>
                    <a:pt x="1413034" y="215741"/>
                    <a:pt x="1413986" y="221456"/>
                    <a:pt x="1414939" y="228124"/>
                  </a:cubicBezTo>
                  <a:cubicBezTo>
                    <a:pt x="1415891" y="234791"/>
                    <a:pt x="1416844" y="241459"/>
                    <a:pt x="1416844" y="250031"/>
                  </a:cubicBezTo>
                  <a:cubicBezTo>
                    <a:pt x="1416844" y="255746"/>
                    <a:pt x="1417796" y="261461"/>
                    <a:pt x="1418749" y="268129"/>
                  </a:cubicBezTo>
                  <a:cubicBezTo>
                    <a:pt x="1416844" y="270986"/>
                    <a:pt x="1414939" y="273844"/>
                    <a:pt x="1413034" y="277654"/>
                  </a:cubicBezTo>
                  <a:cubicBezTo>
                    <a:pt x="1412081" y="275749"/>
                    <a:pt x="1412081" y="273844"/>
                    <a:pt x="1411129" y="271939"/>
                  </a:cubicBezTo>
                  <a:cubicBezTo>
                    <a:pt x="1406366" y="237649"/>
                    <a:pt x="1401604" y="215741"/>
                    <a:pt x="1401604" y="215741"/>
                  </a:cubicBezTo>
                  <a:cubicBezTo>
                    <a:pt x="1401604" y="215741"/>
                    <a:pt x="1401604" y="226219"/>
                    <a:pt x="1400651" y="243364"/>
                  </a:cubicBezTo>
                  <a:cubicBezTo>
                    <a:pt x="1397794" y="233839"/>
                    <a:pt x="1394936" y="226219"/>
                    <a:pt x="1392079" y="219551"/>
                  </a:cubicBezTo>
                  <a:cubicBezTo>
                    <a:pt x="1392079" y="217646"/>
                    <a:pt x="1393031" y="215741"/>
                    <a:pt x="1393031" y="213836"/>
                  </a:cubicBezTo>
                  <a:cubicBezTo>
                    <a:pt x="1393984" y="212884"/>
                    <a:pt x="1394936" y="211931"/>
                    <a:pt x="1395889" y="210979"/>
                  </a:cubicBezTo>
                  <a:cubicBezTo>
                    <a:pt x="1399699" y="207169"/>
                    <a:pt x="1400651" y="205264"/>
                    <a:pt x="1400651" y="205264"/>
                  </a:cubicBezTo>
                  <a:cubicBezTo>
                    <a:pt x="1400651" y="205264"/>
                    <a:pt x="1398746" y="207169"/>
                    <a:pt x="1394936" y="210026"/>
                  </a:cubicBezTo>
                  <a:cubicBezTo>
                    <a:pt x="1394936" y="210026"/>
                    <a:pt x="1393984" y="210979"/>
                    <a:pt x="1393031" y="210979"/>
                  </a:cubicBezTo>
                  <a:cubicBezTo>
                    <a:pt x="1393984" y="205264"/>
                    <a:pt x="1394936" y="202406"/>
                    <a:pt x="1394936" y="202406"/>
                  </a:cubicBezTo>
                  <a:cubicBezTo>
                    <a:pt x="1394936" y="202406"/>
                    <a:pt x="1393031" y="206216"/>
                    <a:pt x="1391126" y="212884"/>
                  </a:cubicBezTo>
                  <a:cubicBezTo>
                    <a:pt x="1391126" y="212884"/>
                    <a:pt x="1390174" y="213836"/>
                    <a:pt x="1390174" y="213836"/>
                  </a:cubicBezTo>
                  <a:cubicBezTo>
                    <a:pt x="1386364" y="204311"/>
                    <a:pt x="1384459" y="199549"/>
                    <a:pt x="1384459" y="199549"/>
                  </a:cubicBezTo>
                  <a:cubicBezTo>
                    <a:pt x="1384459" y="199549"/>
                    <a:pt x="1385411" y="205264"/>
                    <a:pt x="1387316" y="215741"/>
                  </a:cubicBezTo>
                  <a:cubicBezTo>
                    <a:pt x="1384459" y="218599"/>
                    <a:pt x="1382554" y="220504"/>
                    <a:pt x="1378744" y="224314"/>
                  </a:cubicBezTo>
                  <a:cubicBezTo>
                    <a:pt x="1374934" y="229076"/>
                    <a:pt x="1371124" y="233839"/>
                    <a:pt x="1367314" y="240506"/>
                  </a:cubicBezTo>
                  <a:cubicBezTo>
                    <a:pt x="1363504" y="230029"/>
                    <a:pt x="1358741" y="219551"/>
                    <a:pt x="1354931" y="209074"/>
                  </a:cubicBezTo>
                  <a:cubicBezTo>
                    <a:pt x="1354931" y="199549"/>
                    <a:pt x="1354931" y="191929"/>
                    <a:pt x="1354931" y="185261"/>
                  </a:cubicBezTo>
                  <a:cubicBezTo>
                    <a:pt x="1354931" y="167164"/>
                    <a:pt x="1354931" y="157639"/>
                    <a:pt x="1354931" y="157639"/>
                  </a:cubicBezTo>
                  <a:cubicBezTo>
                    <a:pt x="1354931" y="157639"/>
                    <a:pt x="1353026" y="168116"/>
                    <a:pt x="1351121" y="185261"/>
                  </a:cubicBezTo>
                  <a:cubicBezTo>
                    <a:pt x="1350169" y="189071"/>
                    <a:pt x="1350169" y="192881"/>
                    <a:pt x="1349216" y="197644"/>
                  </a:cubicBezTo>
                  <a:cubicBezTo>
                    <a:pt x="1347311" y="193834"/>
                    <a:pt x="1345406" y="190024"/>
                    <a:pt x="1343501" y="186214"/>
                  </a:cubicBezTo>
                  <a:cubicBezTo>
                    <a:pt x="1343501" y="181451"/>
                    <a:pt x="1344454" y="175736"/>
                    <a:pt x="1344454" y="171926"/>
                  </a:cubicBezTo>
                  <a:cubicBezTo>
                    <a:pt x="1344454" y="166211"/>
                    <a:pt x="1344454" y="161449"/>
                    <a:pt x="1344454" y="157639"/>
                  </a:cubicBezTo>
                  <a:cubicBezTo>
                    <a:pt x="1344454" y="151924"/>
                    <a:pt x="1345406" y="147161"/>
                    <a:pt x="1345406" y="142399"/>
                  </a:cubicBezTo>
                  <a:cubicBezTo>
                    <a:pt x="1346359" y="129064"/>
                    <a:pt x="1346359" y="120491"/>
                    <a:pt x="1346359" y="120491"/>
                  </a:cubicBezTo>
                  <a:cubicBezTo>
                    <a:pt x="1346359" y="120491"/>
                    <a:pt x="1344454" y="128111"/>
                    <a:pt x="1341596" y="141446"/>
                  </a:cubicBezTo>
                  <a:cubicBezTo>
                    <a:pt x="1340644" y="148114"/>
                    <a:pt x="1338739" y="156686"/>
                    <a:pt x="1336834" y="166211"/>
                  </a:cubicBezTo>
                  <a:cubicBezTo>
                    <a:pt x="1336834" y="167164"/>
                    <a:pt x="1336834" y="168116"/>
                    <a:pt x="1335881" y="169069"/>
                  </a:cubicBezTo>
                  <a:cubicBezTo>
                    <a:pt x="1333024" y="162401"/>
                    <a:pt x="1330166" y="156686"/>
                    <a:pt x="1327309" y="150971"/>
                  </a:cubicBezTo>
                  <a:cubicBezTo>
                    <a:pt x="1299686" y="91916"/>
                    <a:pt x="1280636" y="53816"/>
                    <a:pt x="1280636" y="53816"/>
                  </a:cubicBezTo>
                  <a:cubicBezTo>
                    <a:pt x="1280636" y="53816"/>
                    <a:pt x="1293971" y="94774"/>
                    <a:pt x="1317784" y="155734"/>
                  </a:cubicBezTo>
                  <a:cubicBezTo>
                    <a:pt x="1322546" y="168116"/>
                    <a:pt x="1327309" y="180499"/>
                    <a:pt x="1332071" y="193834"/>
                  </a:cubicBezTo>
                  <a:cubicBezTo>
                    <a:pt x="1332071" y="195739"/>
                    <a:pt x="1332071" y="196691"/>
                    <a:pt x="1331119" y="197644"/>
                  </a:cubicBezTo>
                  <a:cubicBezTo>
                    <a:pt x="1329214" y="209074"/>
                    <a:pt x="1327309" y="222409"/>
                    <a:pt x="1326356" y="235744"/>
                  </a:cubicBezTo>
                  <a:cubicBezTo>
                    <a:pt x="1324451" y="249079"/>
                    <a:pt x="1323499" y="263366"/>
                    <a:pt x="1321594" y="277654"/>
                  </a:cubicBezTo>
                  <a:cubicBezTo>
                    <a:pt x="1321594" y="283369"/>
                    <a:pt x="1320641" y="288131"/>
                    <a:pt x="1319689" y="293846"/>
                  </a:cubicBezTo>
                  <a:cubicBezTo>
                    <a:pt x="1318736" y="292894"/>
                    <a:pt x="1318736" y="291941"/>
                    <a:pt x="1317784" y="290989"/>
                  </a:cubicBezTo>
                  <a:cubicBezTo>
                    <a:pt x="1317784" y="289084"/>
                    <a:pt x="1317784" y="289084"/>
                    <a:pt x="1317784" y="289084"/>
                  </a:cubicBezTo>
                  <a:cubicBezTo>
                    <a:pt x="1317784" y="289084"/>
                    <a:pt x="1317784" y="290036"/>
                    <a:pt x="1316831" y="290989"/>
                  </a:cubicBezTo>
                  <a:cubicBezTo>
                    <a:pt x="1316831" y="290036"/>
                    <a:pt x="1315879" y="289084"/>
                    <a:pt x="1315879" y="288131"/>
                  </a:cubicBezTo>
                  <a:cubicBezTo>
                    <a:pt x="1314926" y="287179"/>
                    <a:pt x="1314926" y="286226"/>
                    <a:pt x="1313974" y="285274"/>
                  </a:cubicBezTo>
                  <a:cubicBezTo>
                    <a:pt x="1315879" y="259556"/>
                    <a:pt x="1316831" y="244316"/>
                    <a:pt x="1316831" y="244316"/>
                  </a:cubicBezTo>
                  <a:cubicBezTo>
                    <a:pt x="1316831" y="244316"/>
                    <a:pt x="1313974" y="256699"/>
                    <a:pt x="1309211" y="277654"/>
                  </a:cubicBezTo>
                  <a:cubicBezTo>
                    <a:pt x="1305401" y="271939"/>
                    <a:pt x="1302544" y="266224"/>
                    <a:pt x="1298734" y="260509"/>
                  </a:cubicBezTo>
                  <a:cubicBezTo>
                    <a:pt x="1304449" y="235744"/>
                    <a:pt x="1310164" y="213836"/>
                    <a:pt x="1313974" y="199549"/>
                  </a:cubicBezTo>
                  <a:cubicBezTo>
                    <a:pt x="1317784" y="182404"/>
                    <a:pt x="1319689" y="172879"/>
                    <a:pt x="1319689" y="172879"/>
                  </a:cubicBezTo>
                  <a:cubicBezTo>
                    <a:pt x="1319689" y="172879"/>
                    <a:pt x="1307306" y="202406"/>
                    <a:pt x="1291114" y="249079"/>
                  </a:cubicBezTo>
                  <a:cubicBezTo>
                    <a:pt x="1287304" y="243364"/>
                    <a:pt x="1284446" y="238601"/>
                    <a:pt x="1281589" y="234791"/>
                  </a:cubicBezTo>
                  <a:cubicBezTo>
                    <a:pt x="1273016" y="222409"/>
                    <a:pt x="1267301" y="215741"/>
                    <a:pt x="1267301" y="215741"/>
                  </a:cubicBezTo>
                  <a:cubicBezTo>
                    <a:pt x="1267301" y="215741"/>
                    <a:pt x="1270159" y="222409"/>
                    <a:pt x="1275874" y="232886"/>
                  </a:cubicBezTo>
                  <a:cubicBezTo>
                    <a:pt x="1274921" y="234791"/>
                    <a:pt x="1273969" y="238601"/>
                    <a:pt x="1272064" y="243364"/>
                  </a:cubicBezTo>
                  <a:cubicBezTo>
                    <a:pt x="1268254" y="237649"/>
                    <a:pt x="1264444" y="231934"/>
                    <a:pt x="1261586" y="227171"/>
                  </a:cubicBezTo>
                  <a:cubicBezTo>
                    <a:pt x="1257776" y="221456"/>
                    <a:pt x="1253014" y="215741"/>
                    <a:pt x="1249204" y="210979"/>
                  </a:cubicBezTo>
                  <a:cubicBezTo>
                    <a:pt x="1248251" y="210026"/>
                    <a:pt x="1248251" y="209074"/>
                    <a:pt x="1247299" y="208121"/>
                  </a:cubicBezTo>
                  <a:cubicBezTo>
                    <a:pt x="1250156" y="203359"/>
                    <a:pt x="1251109" y="199549"/>
                    <a:pt x="1251109" y="199549"/>
                  </a:cubicBezTo>
                  <a:cubicBezTo>
                    <a:pt x="1251109" y="199549"/>
                    <a:pt x="1249204" y="202406"/>
                    <a:pt x="1246346" y="206216"/>
                  </a:cubicBezTo>
                  <a:cubicBezTo>
                    <a:pt x="1239679" y="197644"/>
                    <a:pt x="1233964" y="190024"/>
                    <a:pt x="1229201" y="184309"/>
                  </a:cubicBezTo>
                  <a:cubicBezTo>
                    <a:pt x="1217771" y="170974"/>
                    <a:pt x="1211104" y="162401"/>
                    <a:pt x="1211104" y="162401"/>
                  </a:cubicBezTo>
                  <a:cubicBezTo>
                    <a:pt x="1211104" y="162401"/>
                    <a:pt x="1216819" y="170974"/>
                    <a:pt x="1226344" y="186214"/>
                  </a:cubicBezTo>
                  <a:cubicBezTo>
                    <a:pt x="1231106" y="192881"/>
                    <a:pt x="1235869" y="202406"/>
                    <a:pt x="1242536" y="211931"/>
                  </a:cubicBezTo>
                  <a:cubicBezTo>
                    <a:pt x="1240631" y="214789"/>
                    <a:pt x="1238726" y="217646"/>
                    <a:pt x="1236821" y="220504"/>
                  </a:cubicBezTo>
                  <a:cubicBezTo>
                    <a:pt x="1235869" y="222409"/>
                    <a:pt x="1234916" y="224314"/>
                    <a:pt x="1233011" y="226219"/>
                  </a:cubicBezTo>
                  <a:cubicBezTo>
                    <a:pt x="1233011" y="221456"/>
                    <a:pt x="1232059" y="217646"/>
                    <a:pt x="1231106" y="212884"/>
                  </a:cubicBezTo>
                  <a:cubicBezTo>
                    <a:pt x="1231106" y="211931"/>
                    <a:pt x="1230154" y="210026"/>
                    <a:pt x="1228249" y="209074"/>
                  </a:cubicBezTo>
                  <a:cubicBezTo>
                    <a:pt x="1228249" y="209074"/>
                    <a:pt x="1227296" y="209074"/>
                    <a:pt x="1226344" y="209074"/>
                  </a:cubicBezTo>
                  <a:cubicBezTo>
                    <a:pt x="1225391" y="206216"/>
                    <a:pt x="1224439" y="202406"/>
                    <a:pt x="1223486" y="199549"/>
                  </a:cubicBezTo>
                  <a:cubicBezTo>
                    <a:pt x="1218724" y="187166"/>
                    <a:pt x="1215866" y="179546"/>
                    <a:pt x="1215866" y="179546"/>
                  </a:cubicBezTo>
                  <a:cubicBezTo>
                    <a:pt x="1215866" y="179546"/>
                    <a:pt x="1216819" y="187166"/>
                    <a:pt x="1219676" y="200501"/>
                  </a:cubicBezTo>
                  <a:cubicBezTo>
                    <a:pt x="1220629" y="204311"/>
                    <a:pt x="1220629" y="208121"/>
                    <a:pt x="1221581" y="211931"/>
                  </a:cubicBezTo>
                  <a:cubicBezTo>
                    <a:pt x="1221581" y="212884"/>
                    <a:pt x="1220629" y="212884"/>
                    <a:pt x="1220629" y="213836"/>
                  </a:cubicBezTo>
                  <a:cubicBezTo>
                    <a:pt x="1214914" y="208121"/>
                    <a:pt x="1211104" y="203359"/>
                    <a:pt x="1207294" y="200501"/>
                  </a:cubicBezTo>
                  <a:cubicBezTo>
                    <a:pt x="1203484" y="197644"/>
                    <a:pt x="1201579" y="195739"/>
                    <a:pt x="1201579" y="195739"/>
                  </a:cubicBezTo>
                  <a:cubicBezTo>
                    <a:pt x="1201579" y="195739"/>
                    <a:pt x="1203484" y="197644"/>
                    <a:pt x="1206341" y="201454"/>
                  </a:cubicBezTo>
                  <a:cubicBezTo>
                    <a:pt x="1209199" y="205264"/>
                    <a:pt x="1213009" y="210979"/>
                    <a:pt x="1217771" y="217646"/>
                  </a:cubicBezTo>
                  <a:lnTo>
                    <a:pt x="1217771" y="217646"/>
                  </a:lnTo>
                  <a:cubicBezTo>
                    <a:pt x="1216819" y="222409"/>
                    <a:pt x="1216819" y="227171"/>
                    <a:pt x="1216819" y="231934"/>
                  </a:cubicBezTo>
                  <a:cubicBezTo>
                    <a:pt x="1207294" y="223361"/>
                    <a:pt x="1202531" y="219551"/>
                    <a:pt x="1202531" y="219551"/>
                  </a:cubicBezTo>
                  <a:cubicBezTo>
                    <a:pt x="1202531" y="219551"/>
                    <a:pt x="1207294" y="226219"/>
                    <a:pt x="1215866" y="236696"/>
                  </a:cubicBezTo>
                  <a:cubicBezTo>
                    <a:pt x="1215866" y="240506"/>
                    <a:pt x="1214914" y="245269"/>
                    <a:pt x="1214914" y="249079"/>
                  </a:cubicBezTo>
                  <a:cubicBezTo>
                    <a:pt x="1214914" y="250984"/>
                    <a:pt x="1214914" y="252889"/>
                    <a:pt x="1214914" y="255746"/>
                  </a:cubicBezTo>
                  <a:cubicBezTo>
                    <a:pt x="1214914" y="253841"/>
                    <a:pt x="1213961" y="252889"/>
                    <a:pt x="1213961" y="250984"/>
                  </a:cubicBezTo>
                  <a:cubicBezTo>
                    <a:pt x="1213961" y="250984"/>
                    <a:pt x="1213961" y="250031"/>
                    <a:pt x="1213961" y="250031"/>
                  </a:cubicBezTo>
                  <a:cubicBezTo>
                    <a:pt x="1213961" y="249079"/>
                    <a:pt x="1214914" y="249079"/>
                    <a:pt x="1214914" y="249079"/>
                  </a:cubicBezTo>
                  <a:cubicBezTo>
                    <a:pt x="1214914" y="249079"/>
                    <a:pt x="1214914" y="249079"/>
                    <a:pt x="1213961" y="250031"/>
                  </a:cubicBezTo>
                  <a:cubicBezTo>
                    <a:pt x="1212056" y="242411"/>
                    <a:pt x="1209199" y="235744"/>
                    <a:pt x="1207294" y="229076"/>
                  </a:cubicBezTo>
                  <a:cubicBezTo>
                    <a:pt x="1204436" y="222409"/>
                    <a:pt x="1202531" y="216694"/>
                    <a:pt x="1200626" y="212884"/>
                  </a:cubicBezTo>
                  <a:cubicBezTo>
                    <a:pt x="1195864" y="204311"/>
                    <a:pt x="1193959" y="198596"/>
                    <a:pt x="1193959" y="198596"/>
                  </a:cubicBezTo>
                  <a:cubicBezTo>
                    <a:pt x="1193959" y="198596"/>
                    <a:pt x="1194911" y="204311"/>
                    <a:pt x="1196816" y="213836"/>
                  </a:cubicBezTo>
                  <a:cubicBezTo>
                    <a:pt x="1197769" y="218599"/>
                    <a:pt x="1198721" y="224314"/>
                    <a:pt x="1200626" y="230981"/>
                  </a:cubicBezTo>
                  <a:cubicBezTo>
                    <a:pt x="1201579" y="237649"/>
                    <a:pt x="1202531" y="245269"/>
                    <a:pt x="1204436" y="252889"/>
                  </a:cubicBezTo>
                  <a:cubicBezTo>
                    <a:pt x="1204436" y="254794"/>
                    <a:pt x="1205389" y="256699"/>
                    <a:pt x="1205389" y="258604"/>
                  </a:cubicBezTo>
                  <a:cubicBezTo>
                    <a:pt x="1202531" y="251936"/>
                    <a:pt x="1199674" y="245269"/>
                    <a:pt x="1196816" y="239554"/>
                  </a:cubicBezTo>
                  <a:cubicBezTo>
                    <a:pt x="1193959" y="233839"/>
                    <a:pt x="1191101" y="229076"/>
                    <a:pt x="1189196" y="224314"/>
                  </a:cubicBezTo>
                  <a:cubicBezTo>
                    <a:pt x="1184434" y="216694"/>
                    <a:pt x="1181576" y="211931"/>
                    <a:pt x="1181576" y="211931"/>
                  </a:cubicBezTo>
                  <a:cubicBezTo>
                    <a:pt x="1181576" y="211931"/>
                    <a:pt x="1183481" y="216694"/>
                    <a:pt x="1185386" y="225266"/>
                  </a:cubicBezTo>
                  <a:cubicBezTo>
                    <a:pt x="1187291" y="230029"/>
                    <a:pt x="1188244" y="234791"/>
                    <a:pt x="1190149" y="241459"/>
                  </a:cubicBezTo>
                  <a:cubicBezTo>
                    <a:pt x="1192054" y="247174"/>
                    <a:pt x="1193006" y="254794"/>
                    <a:pt x="1194911" y="262414"/>
                  </a:cubicBezTo>
                  <a:cubicBezTo>
                    <a:pt x="1195864" y="267176"/>
                    <a:pt x="1196816" y="271939"/>
                    <a:pt x="1197769" y="276701"/>
                  </a:cubicBezTo>
                  <a:cubicBezTo>
                    <a:pt x="1196816" y="279559"/>
                    <a:pt x="1194911" y="281464"/>
                    <a:pt x="1193959" y="284321"/>
                  </a:cubicBezTo>
                  <a:cubicBezTo>
                    <a:pt x="1193959" y="284321"/>
                    <a:pt x="1193959" y="283369"/>
                    <a:pt x="1193959" y="283369"/>
                  </a:cubicBezTo>
                  <a:cubicBezTo>
                    <a:pt x="1193959" y="282416"/>
                    <a:pt x="1193006" y="280511"/>
                    <a:pt x="1193006" y="279559"/>
                  </a:cubicBezTo>
                  <a:cubicBezTo>
                    <a:pt x="1193959" y="277654"/>
                    <a:pt x="1193959" y="276701"/>
                    <a:pt x="1193959" y="276701"/>
                  </a:cubicBezTo>
                  <a:cubicBezTo>
                    <a:pt x="1193959" y="276701"/>
                    <a:pt x="1193959" y="277654"/>
                    <a:pt x="1193006" y="278606"/>
                  </a:cubicBezTo>
                  <a:cubicBezTo>
                    <a:pt x="1190149" y="268129"/>
                    <a:pt x="1187291" y="258604"/>
                    <a:pt x="1184434" y="250984"/>
                  </a:cubicBezTo>
                  <a:cubicBezTo>
                    <a:pt x="1179671" y="239554"/>
                    <a:pt x="1176814" y="231934"/>
                    <a:pt x="1174909" y="227171"/>
                  </a:cubicBezTo>
                  <a:cubicBezTo>
                    <a:pt x="1174909" y="226219"/>
                    <a:pt x="1174909" y="224314"/>
                    <a:pt x="1174909" y="223361"/>
                  </a:cubicBezTo>
                  <a:cubicBezTo>
                    <a:pt x="1174909" y="212884"/>
                    <a:pt x="1175861" y="204311"/>
                    <a:pt x="1175861" y="196691"/>
                  </a:cubicBezTo>
                  <a:cubicBezTo>
                    <a:pt x="1175861" y="182404"/>
                    <a:pt x="1174909" y="173831"/>
                    <a:pt x="1174909" y="173831"/>
                  </a:cubicBezTo>
                  <a:cubicBezTo>
                    <a:pt x="1174909" y="173831"/>
                    <a:pt x="1173956" y="182404"/>
                    <a:pt x="1172051" y="196691"/>
                  </a:cubicBezTo>
                  <a:cubicBezTo>
                    <a:pt x="1171099" y="204311"/>
                    <a:pt x="1169194" y="212884"/>
                    <a:pt x="1168241" y="223361"/>
                  </a:cubicBezTo>
                  <a:cubicBezTo>
                    <a:pt x="1168241" y="224314"/>
                    <a:pt x="1168241" y="225266"/>
                    <a:pt x="1168241" y="226219"/>
                  </a:cubicBezTo>
                  <a:cubicBezTo>
                    <a:pt x="1167289" y="229076"/>
                    <a:pt x="1165384" y="232886"/>
                    <a:pt x="1162526" y="238601"/>
                  </a:cubicBezTo>
                  <a:cubicBezTo>
                    <a:pt x="1161574" y="230981"/>
                    <a:pt x="1160621" y="223361"/>
                    <a:pt x="1158716" y="215741"/>
                  </a:cubicBezTo>
                  <a:cubicBezTo>
                    <a:pt x="1156811" y="206216"/>
                    <a:pt x="1153954" y="197644"/>
                    <a:pt x="1152049" y="189071"/>
                  </a:cubicBezTo>
                  <a:cubicBezTo>
                    <a:pt x="1143476" y="155734"/>
                    <a:pt x="1136809" y="133826"/>
                    <a:pt x="1136809" y="133826"/>
                  </a:cubicBezTo>
                  <a:cubicBezTo>
                    <a:pt x="1136809" y="133826"/>
                    <a:pt x="1137761" y="156686"/>
                    <a:pt x="1140619" y="190024"/>
                  </a:cubicBezTo>
                  <a:cubicBezTo>
                    <a:pt x="1141571" y="198596"/>
                    <a:pt x="1142524" y="208121"/>
                    <a:pt x="1143476" y="217646"/>
                  </a:cubicBezTo>
                  <a:cubicBezTo>
                    <a:pt x="1144429" y="227171"/>
                    <a:pt x="1144429" y="237649"/>
                    <a:pt x="1146334" y="248126"/>
                  </a:cubicBezTo>
                  <a:cubicBezTo>
                    <a:pt x="1146334" y="252889"/>
                    <a:pt x="1147286" y="256699"/>
                    <a:pt x="1147286" y="261461"/>
                  </a:cubicBezTo>
                  <a:cubicBezTo>
                    <a:pt x="1147286" y="261461"/>
                    <a:pt x="1147286" y="261461"/>
                    <a:pt x="1147286" y="261461"/>
                  </a:cubicBezTo>
                  <a:cubicBezTo>
                    <a:pt x="1147286" y="259556"/>
                    <a:pt x="1147286" y="258604"/>
                    <a:pt x="1147286" y="258604"/>
                  </a:cubicBezTo>
                  <a:cubicBezTo>
                    <a:pt x="1147286" y="258604"/>
                    <a:pt x="1147286" y="259556"/>
                    <a:pt x="1147286" y="260509"/>
                  </a:cubicBezTo>
                  <a:cubicBezTo>
                    <a:pt x="1146334" y="257651"/>
                    <a:pt x="1144429" y="254794"/>
                    <a:pt x="1143476" y="251936"/>
                  </a:cubicBezTo>
                  <a:cubicBezTo>
                    <a:pt x="1142524" y="250984"/>
                    <a:pt x="1142524" y="250031"/>
                    <a:pt x="1141571" y="249079"/>
                  </a:cubicBezTo>
                  <a:cubicBezTo>
                    <a:pt x="1141571" y="242411"/>
                    <a:pt x="1141571" y="237649"/>
                    <a:pt x="1141571" y="237649"/>
                  </a:cubicBezTo>
                  <a:cubicBezTo>
                    <a:pt x="1141571" y="237649"/>
                    <a:pt x="1140619" y="240506"/>
                    <a:pt x="1139666" y="246221"/>
                  </a:cubicBezTo>
                  <a:cubicBezTo>
                    <a:pt x="1136809" y="241459"/>
                    <a:pt x="1134904" y="236696"/>
                    <a:pt x="1132046" y="231934"/>
                  </a:cubicBezTo>
                  <a:cubicBezTo>
                    <a:pt x="1132046" y="231934"/>
                    <a:pt x="1132046" y="230981"/>
                    <a:pt x="1132046" y="230981"/>
                  </a:cubicBezTo>
                  <a:cubicBezTo>
                    <a:pt x="1128236" y="211931"/>
                    <a:pt x="1124426" y="193834"/>
                    <a:pt x="1120616" y="177641"/>
                  </a:cubicBezTo>
                  <a:cubicBezTo>
                    <a:pt x="1116806" y="161449"/>
                    <a:pt x="1113949" y="146209"/>
                    <a:pt x="1110139" y="132874"/>
                  </a:cubicBezTo>
                  <a:cubicBezTo>
                    <a:pt x="1106329" y="119539"/>
                    <a:pt x="1103471" y="108109"/>
                    <a:pt x="1100614" y="98584"/>
                  </a:cubicBezTo>
                  <a:cubicBezTo>
                    <a:pt x="1094899" y="79534"/>
                    <a:pt x="1092041" y="69056"/>
                    <a:pt x="1092041" y="69056"/>
                  </a:cubicBezTo>
                  <a:cubicBezTo>
                    <a:pt x="1092041" y="69056"/>
                    <a:pt x="1093946" y="80486"/>
                    <a:pt x="1096804" y="99536"/>
                  </a:cubicBezTo>
                  <a:cubicBezTo>
                    <a:pt x="1098709" y="109061"/>
                    <a:pt x="1100614" y="121444"/>
                    <a:pt x="1103471" y="134779"/>
                  </a:cubicBezTo>
                  <a:cubicBezTo>
                    <a:pt x="1106329" y="148114"/>
                    <a:pt x="1108234" y="163354"/>
                    <a:pt x="1110139" y="180499"/>
                  </a:cubicBezTo>
                  <a:cubicBezTo>
                    <a:pt x="1111091" y="186214"/>
                    <a:pt x="1112044" y="192881"/>
                    <a:pt x="1112996" y="199549"/>
                  </a:cubicBezTo>
                  <a:cubicBezTo>
                    <a:pt x="1112044" y="197644"/>
                    <a:pt x="1111091" y="196691"/>
                    <a:pt x="1110139" y="194786"/>
                  </a:cubicBezTo>
                  <a:cubicBezTo>
                    <a:pt x="1109186" y="192881"/>
                    <a:pt x="1107281" y="190976"/>
                    <a:pt x="1106329" y="190024"/>
                  </a:cubicBezTo>
                  <a:cubicBezTo>
                    <a:pt x="1106329" y="189071"/>
                    <a:pt x="1106329" y="189071"/>
                    <a:pt x="1105376" y="188119"/>
                  </a:cubicBezTo>
                  <a:cubicBezTo>
                    <a:pt x="1101566" y="177641"/>
                    <a:pt x="1098709" y="168116"/>
                    <a:pt x="1095851" y="160496"/>
                  </a:cubicBezTo>
                  <a:cubicBezTo>
                    <a:pt x="1090136" y="145256"/>
                    <a:pt x="1087279" y="136684"/>
                    <a:pt x="1087279" y="136684"/>
                  </a:cubicBezTo>
                  <a:cubicBezTo>
                    <a:pt x="1087279" y="136684"/>
                    <a:pt x="1089184" y="145256"/>
                    <a:pt x="1092041" y="161449"/>
                  </a:cubicBezTo>
                  <a:cubicBezTo>
                    <a:pt x="1093946" y="169069"/>
                    <a:pt x="1095851" y="178594"/>
                    <a:pt x="1098709" y="190024"/>
                  </a:cubicBezTo>
                  <a:cubicBezTo>
                    <a:pt x="1100614" y="197644"/>
                    <a:pt x="1102519" y="207169"/>
                    <a:pt x="1103471" y="215741"/>
                  </a:cubicBezTo>
                  <a:cubicBezTo>
                    <a:pt x="1099661" y="206216"/>
                    <a:pt x="1097756" y="200501"/>
                    <a:pt x="1097756" y="200501"/>
                  </a:cubicBezTo>
                  <a:cubicBezTo>
                    <a:pt x="1097756" y="200501"/>
                    <a:pt x="1099661" y="209074"/>
                    <a:pt x="1102519" y="224314"/>
                  </a:cubicBezTo>
                  <a:cubicBezTo>
                    <a:pt x="1100614" y="227171"/>
                    <a:pt x="1097756" y="230981"/>
                    <a:pt x="1094899" y="233839"/>
                  </a:cubicBezTo>
                  <a:cubicBezTo>
                    <a:pt x="1092994" y="225266"/>
                    <a:pt x="1091089" y="216694"/>
                    <a:pt x="1089184" y="209074"/>
                  </a:cubicBezTo>
                  <a:cubicBezTo>
                    <a:pt x="1086326" y="182404"/>
                    <a:pt x="1084421" y="166211"/>
                    <a:pt x="1084421" y="166211"/>
                  </a:cubicBezTo>
                  <a:cubicBezTo>
                    <a:pt x="1084421" y="166211"/>
                    <a:pt x="1084421" y="172879"/>
                    <a:pt x="1083469" y="184309"/>
                  </a:cubicBezTo>
                  <a:cubicBezTo>
                    <a:pt x="1080611" y="171926"/>
                    <a:pt x="1077754" y="160496"/>
                    <a:pt x="1073944" y="149066"/>
                  </a:cubicBezTo>
                  <a:cubicBezTo>
                    <a:pt x="1071086" y="140494"/>
                    <a:pt x="1069181" y="131921"/>
                    <a:pt x="1066324" y="123349"/>
                  </a:cubicBezTo>
                  <a:cubicBezTo>
                    <a:pt x="1072991" y="105251"/>
                    <a:pt x="1075849" y="94774"/>
                    <a:pt x="1075849" y="94774"/>
                  </a:cubicBezTo>
                  <a:cubicBezTo>
                    <a:pt x="1075849" y="94774"/>
                    <a:pt x="1072039" y="103346"/>
                    <a:pt x="1064419" y="119539"/>
                  </a:cubicBezTo>
                  <a:cubicBezTo>
                    <a:pt x="1062514" y="112871"/>
                    <a:pt x="1059656" y="106204"/>
                    <a:pt x="1057751" y="100489"/>
                  </a:cubicBezTo>
                  <a:cubicBezTo>
                    <a:pt x="1054894" y="92869"/>
                    <a:pt x="1052036" y="85249"/>
                    <a:pt x="1050131" y="78581"/>
                  </a:cubicBezTo>
                  <a:cubicBezTo>
                    <a:pt x="1047274" y="71914"/>
                    <a:pt x="1044416" y="65246"/>
                    <a:pt x="1042511" y="59531"/>
                  </a:cubicBezTo>
                  <a:cubicBezTo>
                    <a:pt x="1037749" y="47149"/>
                    <a:pt x="1032986" y="36671"/>
                    <a:pt x="1029176" y="28099"/>
                  </a:cubicBezTo>
                  <a:cubicBezTo>
                    <a:pt x="1017746" y="16669"/>
                    <a:pt x="1012984" y="7144"/>
                    <a:pt x="1012984" y="7144"/>
                  </a:cubicBezTo>
                  <a:cubicBezTo>
                    <a:pt x="1012984" y="7144"/>
                    <a:pt x="1016794" y="17621"/>
                    <a:pt x="1022509" y="34766"/>
                  </a:cubicBezTo>
                  <a:cubicBezTo>
                    <a:pt x="1025366" y="43339"/>
                    <a:pt x="1029176" y="54769"/>
                    <a:pt x="1032986" y="67151"/>
                  </a:cubicBezTo>
                  <a:cubicBezTo>
                    <a:pt x="1034891" y="73819"/>
                    <a:pt x="1036796" y="79534"/>
                    <a:pt x="1038701" y="87154"/>
                  </a:cubicBezTo>
                  <a:cubicBezTo>
                    <a:pt x="1040606" y="93821"/>
                    <a:pt x="1042511" y="101441"/>
                    <a:pt x="1044416" y="109061"/>
                  </a:cubicBezTo>
                  <a:cubicBezTo>
                    <a:pt x="1044416" y="109061"/>
                    <a:pt x="1044416" y="110014"/>
                    <a:pt x="1044416" y="110014"/>
                  </a:cubicBezTo>
                  <a:cubicBezTo>
                    <a:pt x="1039654" y="101441"/>
                    <a:pt x="1037749" y="96679"/>
                    <a:pt x="1037749" y="96679"/>
                  </a:cubicBezTo>
                  <a:cubicBezTo>
                    <a:pt x="1037749" y="96679"/>
                    <a:pt x="1039654" y="104299"/>
                    <a:pt x="1044416" y="117634"/>
                  </a:cubicBezTo>
                  <a:cubicBezTo>
                    <a:pt x="1046321" y="124301"/>
                    <a:pt x="1049179" y="131921"/>
                    <a:pt x="1051084" y="141446"/>
                  </a:cubicBezTo>
                  <a:cubicBezTo>
                    <a:pt x="1051084" y="143351"/>
                    <a:pt x="1052036" y="144304"/>
                    <a:pt x="1052036" y="146209"/>
                  </a:cubicBezTo>
                  <a:cubicBezTo>
                    <a:pt x="1048226" y="153829"/>
                    <a:pt x="1043464" y="163354"/>
                    <a:pt x="1037749" y="172879"/>
                  </a:cubicBezTo>
                  <a:cubicBezTo>
                    <a:pt x="1033939" y="180499"/>
                    <a:pt x="1029176" y="188119"/>
                    <a:pt x="1024414" y="195739"/>
                  </a:cubicBezTo>
                  <a:cubicBezTo>
                    <a:pt x="1024414" y="194786"/>
                    <a:pt x="1023461" y="193834"/>
                    <a:pt x="1023461" y="192881"/>
                  </a:cubicBezTo>
                  <a:cubicBezTo>
                    <a:pt x="1023461" y="190024"/>
                    <a:pt x="1023461" y="187166"/>
                    <a:pt x="1023461" y="184309"/>
                  </a:cubicBezTo>
                  <a:cubicBezTo>
                    <a:pt x="1024414" y="169069"/>
                    <a:pt x="1024414" y="154781"/>
                    <a:pt x="1024414" y="142399"/>
                  </a:cubicBezTo>
                  <a:cubicBezTo>
                    <a:pt x="1024414" y="130016"/>
                    <a:pt x="1024414" y="119539"/>
                    <a:pt x="1023461" y="110014"/>
                  </a:cubicBezTo>
                  <a:cubicBezTo>
                    <a:pt x="1023461" y="101441"/>
                    <a:pt x="1022509" y="93821"/>
                    <a:pt x="1021556" y="89059"/>
                  </a:cubicBezTo>
                  <a:cubicBezTo>
                    <a:pt x="1020604" y="84296"/>
                    <a:pt x="1020604" y="81439"/>
                    <a:pt x="1020604" y="81439"/>
                  </a:cubicBezTo>
                  <a:cubicBezTo>
                    <a:pt x="1020604" y="81439"/>
                    <a:pt x="1020604" y="84296"/>
                    <a:pt x="1020604" y="89059"/>
                  </a:cubicBezTo>
                  <a:cubicBezTo>
                    <a:pt x="1020604" y="93821"/>
                    <a:pt x="1019651" y="100489"/>
                    <a:pt x="1019651" y="110014"/>
                  </a:cubicBezTo>
                  <a:cubicBezTo>
                    <a:pt x="1018699" y="124301"/>
                    <a:pt x="1016794" y="142399"/>
                    <a:pt x="1014889" y="165259"/>
                  </a:cubicBezTo>
                  <a:cubicBezTo>
                    <a:pt x="1013936" y="162401"/>
                    <a:pt x="1013936" y="161449"/>
                    <a:pt x="1013936" y="161449"/>
                  </a:cubicBezTo>
                  <a:cubicBezTo>
                    <a:pt x="1013936" y="161449"/>
                    <a:pt x="1013936" y="163354"/>
                    <a:pt x="1014889" y="168116"/>
                  </a:cubicBezTo>
                  <a:cubicBezTo>
                    <a:pt x="1013936" y="172879"/>
                    <a:pt x="1013936" y="178594"/>
                    <a:pt x="1012984" y="183356"/>
                  </a:cubicBezTo>
                  <a:cubicBezTo>
                    <a:pt x="1011079" y="196691"/>
                    <a:pt x="1009174" y="210026"/>
                    <a:pt x="1007269" y="224314"/>
                  </a:cubicBezTo>
                  <a:cubicBezTo>
                    <a:pt x="996791" y="242411"/>
                    <a:pt x="984409" y="262414"/>
                    <a:pt x="972026" y="283369"/>
                  </a:cubicBezTo>
                  <a:cubicBezTo>
                    <a:pt x="972026" y="277654"/>
                    <a:pt x="971074" y="273844"/>
                    <a:pt x="971074" y="269081"/>
                  </a:cubicBezTo>
                  <a:cubicBezTo>
                    <a:pt x="972979" y="263366"/>
                    <a:pt x="975836" y="256699"/>
                    <a:pt x="977741" y="251936"/>
                  </a:cubicBezTo>
                  <a:cubicBezTo>
                    <a:pt x="983456" y="235744"/>
                    <a:pt x="989171" y="220504"/>
                    <a:pt x="992981" y="206216"/>
                  </a:cubicBezTo>
                  <a:cubicBezTo>
                    <a:pt x="996791" y="192881"/>
                    <a:pt x="1000601" y="180499"/>
                    <a:pt x="1002506" y="170974"/>
                  </a:cubicBezTo>
                  <a:cubicBezTo>
                    <a:pt x="1007269" y="150971"/>
                    <a:pt x="1009174" y="139541"/>
                    <a:pt x="1009174" y="139541"/>
                  </a:cubicBezTo>
                  <a:cubicBezTo>
                    <a:pt x="1009174" y="139541"/>
                    <a:pt x="1005364" y="150971"/>
                    <a:pt x="998696" y="170021"/>
                  </a:cubicBezTo>
                  <a:cubicBezTo>
                    <a:pt x="995839" y="179546"/>
                    <a:pt x="990124" y="190976"/>
                    <a:pt x="985361" y="204311"/>
                  </a:cubicBezTo>
                  <a:cubicBezTo>
                    <a:pt x="980599" y="217646"/>
                    <a:pt x="972979" y="231934"/>
                    <a:pt x="966311" y="248126"/>
                  </a:cubicBezTo>
                  <a:cubicBezTo>
                    <a:pt x="964406" y="251936"/>
                    <a:pt x="962501" y="255746"/>
                    <a:pt x="960596" y="260509"/>
                  </a:cubicBezTo>
                  <a:cubicBezTo>
                    <a:pt x="961549" y="248126"/>
                    <a:pt x="961549" y="236696"/>
                    <a:pt x="961549" y="225266"/>
                  </a:cubicBezTo>
                  <a:cubicBezTo>
                    <a:pt x="966311" y="212884"/>
                    <a:pt x="969169" y="206216"/>
                    <a:pt x="969169" y="206216"/>
                  </a:cubicBezTo>
                  <a:cubicBezTo>
                    <a:pt x="969169" y="206216"/>
                    <a:pt x="966311" y="210979"/>
                    <a:pt x="961549" y="218599"/>
                  </a:cubicBezTo>
                  <a:cubicBezTo>
                    <a:pt x="961549" y="213836"/>
                    <a:pt x="961549" y="210026"/>
                    <a:pt x="961549" y="206216"/>
                  </a:cubicBezTo>
                  <a:cubicBezTo>
                    <a:pt x="961549" y="182404"/>
                    <a:pt x="960596" y="162401"/>
                    <a:pt x="958691" y="149066"/>
                  </a:cubicBezTo>
                  <a:cubicBezTo>
                    <a:pt x="957739" y="143351"/>
                    <a:pt x="957739" y="138589"/>
                    <a:pt x="956786" y="134779"/>
                  </a:cubicBezTo>
                  <a:cubicBezTo>
                    <a:pt x="956786" y="132874"/>
                    <a:pt x="957739" y="131921"/>
                    <a:pt x="957739" y="131921"/>
                  </a:cubicBezTo>
                  <a:cubicBezTo>
                    <a:pt x="957739" y="131921"/>
                    <a:pt x="957739" y="132874"/>
                    <a:pt x="956786" y="133826"/>
                  </a:cubicBezTo>
                  <a:cubicBezTo>
                    <a:pt x="956786" y="133826"/>
                    <a:pt x="956786" y="132874"/>
                    <a:pt x="956786" y="132874"/>
                  </a:cubicBezTo>
                  <a:cubicBezTo>
                    <a:pt x="955834" y="129064"/>
                    <a:pt x="955834" y="127159"/>
                    <a:pt x="955834" y="127159"/>
                  </a:cubicBezTo>
                  <a:cubicBezTo>
                    <a:pt x="955834" y="127159"/>
                    <a:pt x="955834" y="130969"/>
                    <a:pt x="955834" y="136684"/>
                  </a:cubicBezTo>
                  <a:cubicBezTo>
                    <a:pt x="951071" y="147161"/>
                    <a:pt x="940594" y="171926"/>
                    <a:pt x="927259" y="206216"/>
                  </a:cubicBezTo>
                  <a:cubicBezTo>
                    <a:pt x="927259" y="206216"/>
                    <a:pt x="927259" y="205264"/>
                    <a:pt x="927259" y="205264"/>
                  </a:cubicBezTo>
                  <a:cubicBezTo>
                    <a:pt x="928211" y="196691"/>
                    <a:pt x="929164" y="189071"/>
                    <a:pt x="930116" y="183356"/>
                  </a:cubicBezTo>
                  <a:cubicBezTo>
                    <a:pt x="932021" y="170974"/>
                    <a:pt x="932974" y="164306"/>
                    <a:pt x="932974" y="164306"/>
                  </a:cubicBezTo>
                  <a:cubicBezTo>
                    <a:pt x="932974" y="164306"/>
                    <a:pt x="930116" y="170974"/>
                    <a:pt x="926306" y="183356"/>
                  </a:cubicBezTo>
                  <a:cubicBezTo>
                    <a:pt x="924401" y="189071"/>
                    <a:pt x="922496" y="195739"/>
                    <a:pt x="920591" y="203359"/>
                  </a:cubicBezTo>
                  <a:cubicBezTo>
                    <a:pt x="916781" y="192881"/>
                    <a:pt x="913924" y="182404"/>
                    <a:pt x="910114" y="171926"/>
                  </a:cubicBezTo>
                  <a:cubicBezTo>
                    <a:pt x="909161" y="169069"/>
                    <a:pt x="908209" y="167164"/>
                    <a:pt x="907256" y="164306"/>
                  </a:cubicBezTo>
                  <a:cubicBezTo>
                    <a:pt x="909161" y="161449"/>
                    <a:pt x="910114" y="159544"/>
                    <a:pt x="912019" y="157639"/>
                  </a:cubicBezTo>
                  <a:cubicBezTo>
                    <a:pt x="920591" y="145256"/>
                    <a:pt x="927259" y="133826"/>
                    <a:pt x="933926" y="124301"/>
                  </a:cubicBezTo>
                  <a:cubicBezTo>
                    <a:pt x="946309" y="106204"/>
                    <a:pt x="953929" y="95726"/>
                    <a:pt x="953929" y="95726"/>
                  </a:cubicBezTo>
                  <a:cubicBezTo>
                    <a:pt x="953929" y="95726"/>
                    <a:pt x="945356" y="105251"/>
                    <a:pt x="931069" y="121444"/>
                  </a:cubicBezTo>
                  <a:cubicBezTo>
                    <a:pt x="923449" y="129064"/>
                    <a:pt x="915829" y="140494"/>
                    <a:pt x="906304" y="151924"/>
                  </a:cubicBezTo>
                  <a:cubicBezTo>
                    <a:pt x="905351" y="152876"/>
                    <a:pt x="904399" y="153829"/>
                    <a:pt x="904399" y="154781"/>
                  </a:cubicBezTo>
                  <a:cubicBezTo>
                    <a:pt x="901541" y="147161"/>
                    <a:pt x="898684" y="139541"/>
                    <a:pt x="894874" y="131921"/>
                  </a:cubicBezTo>
                  <a:lnTo>
                    <a:pt x="892016" y="126206"/>
                  </a:lnTo>
                  <a:cubicBezTo>
                    <a:pt x="893921" y="122396"/>
                    <a:pt x="895826" y="118586"/>
                    <a:pt x="897731" y="115729"/>
                  </a:cubicBezTo>
                  <a:cubicBezTo>
                    <a:pt x="905351" y="100489"/>
                    <a:pt x="912019" y="87154"/>
                    <a:pt x="918686" y="77629"/>
                  </a:cubicBezTo>
                  <a:cubicBezTo>
                    <a:pt x="931069" y="56674"/>
                    <a:pt x="937736" y="44291"/>
                    <a:pt x="937736" y="44291"/>
                  </a:cubicBezTo>
                  <a:cubicBezTo>
                    <a:pt x="937736" y="44291"/>
                    <a:pt x="929164" y="55721"/>
                    <a:pt x="914876" y="74771"/>
                  </a:cubicBezTo>
                  <a:cubicBezTo>
                    <a:pt x="907256" y="84296"/>
                    <a:pt x="899636" y="96679"/>
                    <a:pt x="890111" y="110966"/>
                  </a:cubicBezTo>
                  <a:cubicBezTo>
                    <a:pt x="889159" y="112871"/>
                    <a:pt x="887254" y="114776"/>
                    <a:pt x="886301" y="116681"/>
                  </a:cubicBezTo>
                  <a:lnTo>
                    <a:pt x="874871" y="92869"/>
                  </a:lnTo>
                  <a:lnTo>
                    <a:pt x="873919" y="90964"/>
                  </a:lnTo>
                  <a:lnTo>
                    <a:pt x="872966" y="91916"/>
                  </a:lnTo>
                  <a:cubicBezTo>
                    <a:pt x="871061" y="92869"/>
                    <a:pt x="869156" y="93821"/>
                    <a:pt x="868204" y="95726"/>
                  </a:cubicBezTo>
                  <a:cubicBezTo>
                    <a:pt x="867251" y="97631"/>
                    <a:pt x="866299" y="99536"/>
                    <a:pt x="866299" y="101441"/>
                  </a:cubicBezTo>
                  <a:cubicBezTo>
                    <a:pt x="866299" y="105251"/>
                    <a:pt x="867251" y="110014"/>
                    <a:pt x="868204" y="113824"/>
                  </a:cubicBezTo>
                  <a:cubicBezTo>
                    <a:pt x="867251" y="110014"/>
                    <a:pt x="867251" y="106204"/>
                    <a:pt x="868204" y="102394"/>
                  </a:cubicBezTo>
                  <a:cubicBezTo>
                    <a:pt x="868204" y="100489"/>
                    <a:pt x="869156" y="99536"/>
                    <a:pt x="870109" y="97631"/>
                  </a:cubicBezTo>
                  <a:cubicBezTo>
                    <a:pt x="871061" y="96679"/>
                    <a:pt x="872014" y="96679"/>
                    <a:pt x="872966" y="95726"/>
                  </a:cubicBezTo>
                  <a:lnTo>
                    <a:pt x="882491" y="122396"/>
                  </a:lnTo>
                  <a:cubicBezTo>
                    <a:pt x="880586" y="126206"/>
                    <a:pt x="877729" y="129064"/>
                    <a:pt x="875824" y="132874"/>
                  </a:cubicBezTo>
                  <a:cubicBezTo>
                    <a:pt x="871061" y="141446"/>
                    <a:pt x="866299" y="150019"/>
                    <a:pt x="860584" y="159544"/>
                  </a:cubicBezTo>
                  <a:cubicBezTo>
                    <a:pt x="852964" y="172879"/>
                    <a:pt x="845344" y="188119"/>
                    <a:pt x="837724" y="203359"/>
                  </a:cubicBezTo>
                  <a:cubicBezTo>
                    <a:pt x="834866" y="198596"/>
                    <a:pt x="832961" y="195739"/>
                    <a:pt x="832009" y="194786"/>
                  </a:cubicBezTo>
                  <a:cubicBezTo>
                    <a:pt x="834866" y="170974"/>
                    <a:pt x="836771" y="151924"/>
                    <a:pt x="838676" y="137636"/>
                  </a:cubicBezTo>
                  <a:cubicBezTo>
                    <a:pt x="839629" y="123349"/>
                    <a:pt x="840581" y="115729"/>
                    <a:pt x="840581" y="115729"/>
                  </a:cubicBezTo>
                  <a:cubicBezTo>
                    <a:pt x="840581" y="115729"/>
                    <a:pt x="838676" y="123349"/>
                    <a:pt x="834866" y="137636"/>
                  </a:cubicBezTo>
                  <a:cubicBezTo>
                    <a:pt x="831056" y="151924"/>
                    <a:pt x="826294" y="170974"/>
                    <a:pt x="820579" y="194786"/>
                  </a:cubicBezTo>
                  <a:cubicBezTo>
                    <a:pt x="819626" y="197644"/>
                    <a:pt x="819626" y="200501"/>
                    <a:pt x="818674" y="204311"/>
                  </a:cubicBezTo>
                  <a:cubicBezTo>
                    <a:pt x="817721" y="202406"/>
                    <a:pt x="816769" y="199549"/>
                    <a:pt x="815816" y="197644"/>
                  </a:cubicBezTo>
                  <a:cubicBezTo>
                    <a:pt x="810101" y="183356"/>
                    <a:pt x="807244" y="174784"/>
                    <a:pt x="807244" y="174784"/>
                  </a:cubicBezTo>
                  <a:cubicBezTo>
                    <a:pt x="807244" y="174784"/>
                    <a:pt x="809149" y="183356"/>
                    <a:pt x="812006" y="198596"/>
                  </a:cubicBezTo>
                  <a:cubicBezTo>
                    <a:pt x="812959" y="202406"/>
                    <a:pt x="813911" y="206216"/>
                    <a:pt x="814864" y="210979"/>
                  </a:cubicBezTo>
                  <a:cubicBezTo>
                    <a:pt x="814864" y="212884"/>
                    <a:pt x="815816" y="214789"/>
                    <a:pt x="815816" y="216694"/>
                  </a:cubicBezTo>
                  <a:cubicBezTo>
                    <a:pt x="813911" y="224314"/>
                    <a:pt x="812959" y="231934"/>
                    <a:pt x="811054" y="239554"/>
                  </a:cubicBezTo>
                  <a:cubicBezTo>
                    <a:pt x="809149" y="226219"/>
                    <a:pt x="808196" y="219551"/>
                    <a:pt x="808196" y="219551"/>
                  </a:cubicBezTo>
                  <a:cubicBezTo>
                    <a:pt x="808196" y="219551"/>
                    <a:pt x="807244" y="236696"/>
                    <a:pt x="807244" y="264319"/>
                  </a:cubicBezTo>
                  <a:cubicBezTo>
                    <a:pt x="807244" y="265271"/>
                    <a:pt x="807244" y="265271"/>
                    <a:pt x="807244" y="266224"/>
                  </a:cubicBezTo>
                  <a:cubicBezTo>
                    <a:pt x="804386" y="259556"/>
                    <a:pt x="801529" y="252889"/>
                    <a:pt x="798671" y="246221"/>
                  </a:cubicBezTo>
                  <a:cubicBezTo>
                    <a:pt x="799624" y="241459"/>
                    <a:pt x="800576" y="239554"/>
                    <a:pt x="800576" y="239554"/>
                  </a:cubicBezTo>
                  <a:cubicBezTo>
                    <a:pt x="800576" y="239554"/>
                    <a:pt x="799624" y="241459"/>
                    <a:pt x="797719" y="245269"/>
                  </a:cubicBezTo>
                  <a:cubicBezTo>
                    <a:pt x="797719" y="244316"/>
                    <a:pt x="796766" y="243364"/>
                    <a:pt x="796766" y="242411"/>
                  </a:cubicBezTo>
                  <a:cubicBezTo>
                    <a:pt x="795814" y="239554"/>
                    <a:pt x="793909" y="236696"/>
                    <a:pt x="792956" y="233839"/>
                  </a:cubicBezTo>
                  <a:cubicBezTo>
                    <a:pt x="794861" y="229076"/>
                    <a:pt x="795814" y="223361"/>
                    <a:pt x="796766" y="218599"/>
                  </a:cubicBezTo>
                  <a:cubicBezTo>
                    <a:pt x="802481" y="196691"/>
                    <a:pt x="806291" y="177641"/>
                    <a:pt x="809149" y="164306"/>
                  </a:cubicBezTo>
                  <a:cubicBezTo>
                    <a:pt x="811054" y="150971"/>
                    <a:pt x="812959" y="143351"/>
                    <a:pt x="812959" y="143351"/>
                  </a:cubicBezTo>
                  <a:cubicBezTo>
                    <a:pt x="812959" y="143351"/>
                    <a:pt x="810101" y="150971"/>
                    <a:pt x="805339" y="163354"/>
                  </a:cubicBezTo>
                  <a:cubicBezTo>
                    <a:pt x="803434" y="170021"/>
                    <a:pt x="800576" y="177641"/>
                    <a:pt x="796766" y="186214"/>
                  </a:cubicBezTo>
                  <a:cubicBezTo>
                    <a:pt x="793909" y="194786"/>
                    <a:pt x="790099" y="205264"/>
                    <a:pt x="785336" y="215741"/>
                  </a:cubicBezTo>
                  <a:cubicBezTo>
                    <a:pt x="785336" y="216694"/>
                    <a:pt x="784384" y="217646"/>
                    <a:pt x="784384" y="218599"/>
                  </a:cubicBezTo>
                  <a:cubicBezTo>
                    <a:pt x="781526" y="213836"/>
                    <a:pt x="779621" y="209074"/>
                    <a:pt x="776764" y="205264"/>
                  </a:cubicBezTo>
                  <a:cubicBezTo>
                    <a:pt x="775811" y="204311"/>
                    <a:pt x="775811" y="203359"/>
                    <a:pt x="774859" y="202406"/>
                  </a:cubicBezTo>
                  <a:cubicBezTo>
                    <a:pt x="774859" y="202406"/>
                    <a:pt x="774859" y="202406"/>
                    <a:pt x="774859" y="201454"/>
                  </a:cubicBezTo>
                  <a:cubicBezTo>
                    <a:pt x="777716" y="176689"/>
                    <a:pt x="779621" y="156686"/>
                    <a:pt x="780574" y="142399"/>
                  </a:cubicBezTo>
                  <a:cubicBezTo>
                    <a:pt x="781526" y="128111"/>
                    <a:pt x="781526" y="119539"/>
                    <a:pt x="781526" y="119539"/>
                  </a:cubicBezTo>
                  <a:cubicBezTo>
                    <a:pt x="781526" y="119539"/>
                    <a:pt x="779621" y="127159"/>
                    <a:pt x="776764" y="141446"/>
                  </a:cubicBezTo>
                  <a:cubicBezTo>
                    <a:pt x="775811" y="148114"/>
                    <a:pt x="772954" y="156686"/>
                    <a:pt x="771049" y="167164"/>
                  </a:cubicBezTo>
                  <a:cubicBezTo>
                    <a:pt x="769144" y="173831"/>
                    <a:pt x="768191" y="181451"/>
                    <a:pt x="766286" y="189071"/>
                  </a:cubicBezTo>
                  <a:cubicBezTo>
                    <a:pt x="763429" y="185261"/>
                    <a:pt x="760571" y="181451"/>
                    <a:pt x="758666" y="178594"/>
                  </a:cubicBezTo>
                  <a:cubicBezTo>
                    <a:pt x="753904" y="171926"/>
                    <a:pt x="748189" y="166211"/>
                    <a:pt x="745331" y="163354"/>
                  </a:cubicBezTo>
                  <a:cubicBezTo>
                    <a:pt x="742474" y="159544"/>
                    <a:pt x="740569" y="157639"/>
                    <a:pt x="740569" y="157639"/>
                  </a:cubicBezTo>
                  <a:cubicBezTo>
                    <a:pt x="740569" y="157639"/>
                    <a:pt x="741521" y="159544"/>
                    <a:pt x="744379" y="163354"/>
                  </a:cubicBezTo>
                  <a:cubicBezTo>
                    <a:pt x="747236" y="167164"/>
                    <a:pt x="751046" y="172879"/>
                    <a:pt x="754856" y="180499"/>
                  </a:cubicBezTo>
                  <a:cubicBezTo>
                    <a:pt x="757714" y="185261"/>
                    <a:pt x="760571" y="190976"/>
                    <a:pt x="763429" y="196691"/>
                  </a:cubicBezTo>
                  <a:cubicBezTo>
                    <a:pt x="763429" y="197644"/>
                    <a:pt x="763429" y="198596"/>
                    <a:pt x="762476" y="199549"/>
                  </a:cubicBezTo>
                  <a:cubicBezTo>
                    <a:pt x="759619" y="211931"/>
                    <a:pt x="756761" y="224314"/>
                    <a:pt x="753904" y="238601"/>
                  </a:cubicBezTo>
                  <a:cubicBezTo>
                    <a:pt x="749141" y="230029"/>
                    <a:pt x="747236" y="224314"/>
                    <a:pt x="747236" y="224314"/>
                  </a:cubicBezTo>
                  <a:cubicBezTo>
                    <a:pt x="747236" y="224314"/>
                    <a:pt x="749141" y="230981"/>
                    <a:pt x="752951" y="241459"/>
                  </a:cubicBezTo>
                  <a:cubicBezTo>
                    <a:pt x="751999" y="242411"/>
                    <a:pt x="751999" y="242411"/>
                    <a:pt x="751046" y="243364"/>
                  </a:cubicBezTo>
                  <a:cubicBezTo>
                    <a:pt x="749141" y="246221"/>
                    <a:pt x="749141" y="250031"/>
                    <a:pt x="749141" y="252889"/>
                  </a:cubicBezTo>
                  <a:cubicBezTo>
                    <a:pt x="750094" y="250031"/>
                    <a:pt x="751046" y="246221"/>
                    <a:pt x="752951" y="244316"/>
                  </a:cubicBezTo>
                  <a:cubicBezTo>
                    <a:pt x="752951" y="244316"/>
                    <a:pt x="752951" y="244316"/>
                    <a:pt x="752951" y="244316"/>
                  </a:cubicBezTo>
                  <a:cubicBezTo>
                    <a:pt x="750094" y="256699"/>
                    <a:pt x="747236" y="269081"/>
                    <a:pt x="744379" y="282416"/>
                  </a:cubicBezTo>
                  <a:cubicBezTo>
                    <a:pt x="743426" y="287179"/>
                    <a:pt x="742474" y="291941"/>
                    <a:pt x="741521" y="296704"/>
                  </a:cubicBezTo>
                  <a:cubicBezTo>
                    <a:pt x="740569" y="299561"/>
                    <a:pt x="739616" y="302419"/>
                    <a:pt x="738664" y="306229"/>
                  </a:cubicBezTo>
                  <a:cubicBezTo>
                    <a:pt x="738664" y="306229"/>
                    <a:pt x="738664" y="306229"/>
                    <a:pt x="738664" y="306229"/>
                  </a:cubicBezTo>
                  <a:cubicBezTo>
                    <a:pt x="738664" y="302419"/>
                    <a:pt x="737711" y="297656"/>
                    <a:pt x="737711" y="293846"/>
                  </a:cubicBezTo>
                  <a:cubicBezTo>
                    <a:pt x="736759" y="285274"/>
                    <a:pt x="735806" y="277654"/>
                    <a:pt x="733901" y="270034"/>
                  </a:cubicBezTo>
                  <a:cubicBezTo>
                    <a:pt x="732949" y="266224"/>
                    <a:pt x="731996" y="263366"/>
                    <a:pt x="731996" y="259556"/>
                  </a:cubicBezTo>
                  <a:cubicBezTo>
                    <a:pt x="731996" y="258604"/>
                    <a:pt x="731996" y="258604"/>
                    <a:pt x="731044" y="257651"/>
                  </a:cubicBezTo>
                  <a:cubicBezTo>
                    <a:pt x="729139" y="238601"/>
                    <a:pt x="727234" y="223361"/>
                    <a:pt x="725329" y="210979"/>
                  </a:cubicBezTo>
                  <a:cubicBezTo>
                    <a:pt x="723424" y="195739"/>
                    <a:pt x="722471" y="186214"/>
                    <a:pt x="722471" y="186214"/>
                  </a:cubicBezTo>
                  <a:cubicBezTo>
                    <a:pt x="722471" y="186214"/>
                    <a:pt x="722471" y="190976"/>
                    <a:pt x="722471" y="199549"/>
                  </a:cubicBezTo>
                  <a:cubicBezTo>
                    <a:pt x="720566" y="204311"/>
                    <a:pt x="715804" y="220504"/>
                    <a:pt x="709136" y="243364"/>
                  </a:cubicBezTo>
                  <a:cubicBezTo>
                    <a:pt x="707231" y="238601"/>
                    <a:pt x="706279" y="233839"/>
                    <a:pt x="704374" y="229076"/>
                  </a:cubicBezTo>
                  <a:cubicBezTo>
                    <a:pt x="698659" y="211931"/>
                    <a:pt x="692944" y="195739"/>
                    <a:pt x="687229" y="181451"/>
                  </a:cubicBezTo>
                  <a:cubicBezTo>
                    <a:pt x="684371" y="174784"/>
                    <a:pt x="682466" y="168116"/>
                    <a:pt x="679609" y="161449"/>
                  </a:cubicBezTo>
                  <a:cubicBezTo>
                    <a:pt x="679609" y="156686"/>
                    <a:pt x="679609" y="151924"/>
                    <a:pt x="679609" y="148114"/>
                  </a:cubicBezTo>
                  <a:cubicBezTo>
                    <a:pt x="679609" y="138589"/>
                    <a:pt x="679609" y="130016"/>
                    <a:pt x="679609" y="122396"/>
                  </a:cubicBezTo>
                  <a:cubicBezTo>
                    <a:pt x="679609" y="108109"/>
                    <a:pt x="678656" y="100489"/>
                    <a:pt x="678656" y="100489"/>
                  </a:cubicBezTo>
                  <a:cubicBezTo>
                    <a:pt x="678656" y="100489"/>
                    <a:pt x="677704" y="108109"/>
                    <a:pt x="675799" y="122396"/>
                  </a:cubicBezTo>
                  <a:cubicBezTo>
                    <a:pt x="674846" y="128111"/>
                    <a:pt x="673894" y="135731"/>
                    <a:pt x="672941" y="144304"/>
                  </a:cubicBezTo>
                  <a:cubicBezTo>
                    <a:pt x="669131" y="134779"/>
                    <a:pt x="665321" y="127159"/>
                    <a:pt x="663416" y="122396"/>
                  </a:cubicBezTo>
                  <a:cubicBezTo>
                    <a:pt x="660559" y="117634"/>
                    <a:pt x="659606" y="114776"/>
                    <a:pt x="659606" y="114776"/>
                  </a:cubicBezTo>
                  <a:cubicBezTo>
                    <a:pt x="659606" y="114776"/>
                    <a:pt x="660559" y="117634"/>
                    <a:pt x="662464" y="123349"/>
                  </a:cubicBezTo>
                  <a:cubicBezTo>
                    <a:pt x="664369" y="129064"/>
                    <a:pt x="667226" y="136684"/>
                    <a:pt x="670084" y="147161"/>
                  </a:cubicBezTo>
                  <a:cubicBezTo>
                    <a:pt x="671036" y="149066"/>
                    <a:pt x="671036" y="151924"/>
                    <a:pt x="671989" y="153829"/>
                  </a:cubicBezTo>
                  <a:cubicBezTo>
                    <a:pt x="671989" y="157639"/>
                    <a:pt x="671036" y="160496"/>
                    <a:pt x="671036" y="164306"/>
                  </a:cubicBezTo>
                  <a:cubicBezTo>
                    <a:pt x="670084" y="170021"/>
                    <a:pt x="669131" y="175736"/>
                    <a:pt x="668179" y="181451"/>
                  </a:cubicBezTo>
                  <a:cubicBezTo>
                    <a:pt x="666274" y="193834"/>
                    <a:pt x="664369" y="206216"/>
                    <a:pt x="662464" y="219551"/>
                  </a:cubicBezTo>
                  <a:cubicBezTo>
                    <a:pt x="661511" y="226219"/>
                    <a:pt x="660559" y="232886"/>
                    <a:pt x="658654" y="239554"/>
                  </a:cubicBezTo>
                  <a:cubicBezTo>
                    <a:pt x="657701" y="236696"/>
                    <a:pt x="656749" y="233839"/>
                    <a:pt x="655796" y="231934"/>
                  </a:cubicBezTo>
                  <a:cubicBezTo>
                    <a:pt x="656749" y="218599"/>
                    <a:pt x="657701" y="210026"/>
                    <a:pt x="657701" y="210026"/>
                  </a:cubicBezTo>
                  <a:cubicBezTo>
                    <a:pt x="657701" y="210026"/>
                    <a:pt x="655796" y="215741"/>
                    <a:pt x="653891" y="226219"/>
                  </a:cubicBezTo>
                  <a:cubicBezTo>
                    <a:pt x="648176" y="212884"/>
                    <a:pt x="643414" y="201454"/>
                    <a:pt x="638651" y="191929"/>
                  </a:cubicBezTo>
                  <a:cubicBezTo>
                    <a:pt x="634841" y="184309"/>
                    <a:pt x="631984" y="178594"/>
                    <a:pt x="630079" y="174784"/>
                  </a:cubicBezTo>
                  <a:cubicBezTo>
                    <a:pt x="628174" y="170974"/>
                    <a:pt x="627221" y="169069"/>
                    <a:pt x="627221" y="169069"/>
                  </a:cubicBezTo>
                  <a:cubicBezTo>
                    <a:pt x="627221" y="169069"/>
                    <a:pt x="630079" y="178594"/>
                    <a:pt x="635794" y="193834"/>
                  </a:cubicBezTo>
                  <a:cubicBezTo>
                    <a:pt x="639604" y="205264"/>
                    <a:pt x="644366" y="221456"/>
                    <a:pt x="649129" y="240506"/>
                  </a:cubicBezTo>
                  <a:cubicBezTo>
                    <a:pt x="649129" y="241459"/>
                    <a:pt x="649129" y="242411"/>
                    <a:pt x="650081" y="244316"/>
                  </a:cubicBezTo>
                  <a:cubicBezTo>
                    <a:pt x="649129" y="250031"/>
                    <a:pt x="648176" y="255746"/>
                    <a:pt x="647224" y="262414"/>
                  </a:cubicBezTo>
                  <a:cubicBezTo>
                    <a:pt x="646271" y="268129"/>
                    <a:pt x="645319" y="273844"/>
                    <a:pt x="644366" y="279559"/>
                  </a:cubicBezTo>
                  <a:cubicBezTo>
                    <a:pt x="643414" y="285274"/>
                    <a:pt x="643414" y="291941"/>
                    <a:pt x="642461" y="298609"/>
                  </a:cubicBezTo>
                  <a:cubicBezTo>
                    <a:pt x="642461" y="298609"/>
                    <a:pt x="642461" y="298609"/>
                    <a:pt x="642461" y="298609"/>
                  </a:cubicBezTo>
                  <a:cubicBezTo>
                    <a:pt x="642461" y="296704"/>
                    <a:pt x="642461" y="294799"/>
                    <a:pt x="642461" y="294799"/>
                  </a:cubicBezTo>
                  <a:cubicBezTo>
                    <a:pt x="642461" y="294799"/>
                    <a:pt x="642461" y="302419"/>
                    <a:pt x="641509" y="315754"/>
                  </a:cubicBezTo>
                  <a:cubicBezTo>
                    <a:pt x="641509" y="316706"/>
                    <a:pt x="641509" y="316706"/>
                    <a:pt x="641509" y="317659"/>
                  </a:cubicBezTo>
                  <a:cubicBezTo>
                    <a:pt x="640556" y="314801"/>
                    <a:pt x="639604" y="311944"/>
                    <a:pt x="639604" y="309086"/>
                  </a:cubicBezTo>
                  <a:cubicBezTo>
                    <a:pt x="640556" y="306229"/>
                    <a:pt x="640556" y="304324"/>
                    <a:pt x="640556" y="304324"/>
                  </a:cubicBezTo>
                  <a:cubicBezTo>
                    <a:pt x="640556" y="304324"/>
                    <a:pt x="639604" y="305276"/>
                    <a:pt x="638651" y="307181"/>
                  </a:cubicBezTo>
                  <a:cubicBezTo>
                    <a:pt x="636746" y="299561"/>
                    <a:pt x="634841" y="291941"/>
                    <a:pt x="632936" y="284321"/>
                  </a:cubicBezTo>
                  <a:cubicBezTo>
                    <a:pt x="630079" y="271939"/>
                    <a:pt x="626269" y="260509"/>
                    <a:pt x="624364" y="250031"/>
                  </a:cubicBezTo>
                  <a:cubicBezTo>
                    <a:pt x="622459" y="239554"/>
                    <a:pt x="619601" y="230981"/>
                    <a:pt x="617696" y="223361"/>
                  </a:cubicBezTo>
                  <a:cubicBezTo>
                    <a:pt x="616744" y="218599"/>
                    <a:pt x="615791" y="214789"/>
                    <a:pt x="614839" y="210979"/>
                  </a:cubicBezTo>
                  <a:cubicBezTo>
                    <a:pt x="615791" y="204311"/>
                    <a:pt x="615791" y="197644"/>
                    <a:pt x="615791" y="190024"/>
                  </a:cubicBezTo>
                  <a:cubicBezTo>
                    <a:pt x="616744" y="169069"/>
                    <a:pt x="617696" y="148114"/>
                    <a:pt x="617696" y="126206"/>
                  </a:cubicBezTo>
                  <a:cubicBezTo>
                    <a:pt x="613886" y="146209"/>
                    <a:pt x="610076" y="166211"/>
                    <a:pt x="607219" y="187166"/>
                  </a:cubicBezTo>
                  <a:cubicBezTo>
                    <a:pt x="607219" y="186214"/>
                    <a:pt x="607219" y="185261"/>
                    <a:pt x="606266" y="184309"/>
                  </a:cubicBezTo>
                  <a:cubicBezTo>
                    <a:pt x="606266" y="186214"/>
                    <a:pt x="606266" y="188119"/>
                    <a:pt x="606266" y="189071"/>
                  </a:cubicBezTo>
                  <a:cubicBezTo>
                    <a:pt x="604361" y="197644"/>
                    <a:pt x="603409" y="207169"/>
                    <a:pt x="601504" y="215741"/>
                  </a:cubicBezTo>
                  <a:cubicBezTo>
                    <a:pt x="600551" y="213836"/>
                    <a:pt x="600551" y="211931"/>
                    <a:pt x="599599" y="210979"/>
                  </a:cubicBezTo>
                  <a:cubicBezTo>
                    <a:pt x="593884" y="198596"/>
                    <a:pt x="591026" y="191929"/>
                    <a:pt x="591026" y="191929"/>
                  </a:cubicBezTo>
                  <a:cubicBezTo>
                    <a:pt x="591026" y="191929"/>
                    <a:pt x="592931" y="199549"/>
                    <a:pt x="595789" y="212884"/>
                  </a:cubicBezTo>
                  <a:cubicBezTo>
                    <a:pt x="596741" y="217646"/>
                    <a:pt x="597694" y="223361"/>
                    <a:pt x="599599" y="230029"/>
                  </a:cubicBezTo>
                  <a:cubicBezTo>
                    <a:pt x="598646" y="237649"/>
                    <a:pt x="596741" y="244316"/>
                    <a:pt x="595789" y="251936"/>
                  </a:cubicBezTo>
                  <a:cubicBezTo>
                    <a:pt x="592931" y="266224"/>
                    <a:pt x="591026" y="280511"/>
                    <a:pt x="589121" y="294799"/>
                  </a:cubicBezTo>
                  <a:cubicBezTo>
                    <a:pt x="586264" y="290989"/>
                    <a:pt x="584359" y="288131"/>
                    <a:pt x="582454" y="284321"/>
                  </a:cubicBezTo>
                  <a:cubicBezTo>
                    <a:pt x="583406" y="277654"/>
                    <a:pt x="584359" y="270986"/>
                    <a:pt x="585311" y="265271"/>
                  </a:cubicBezTo>
                  <a:cubicBezTo>
                    <a:pt x="586264" y="256699"/>
                    <a:pt x="587216" y="250031"/>
                    <a:pt x="588169" y="244316"/>
                  </a:cubicBezTo>
                  <a:cubicBezTo>
                    <a:pt x="590074" y="232886"/>
                    <a:pt x="591026" y="225266"/>
                    <a:pt x="591026" y="225266"/>
                  </a:cubicBezTo>
                  <a:cubicBezTo>
                    <a:pt x="591026" y="225266"/>
                    <a:pt x="588169" y="231934"/>
                    <a:pt x="584359" y="243364"/>
                  </a:cubicBezTo>
                  <a:cubicBezTo>
                    <a:pt x="583406" y="247174"/>
                    <a:pt x="581501" y="252889"/>
                    <a:pt x="579596" y="258604"/>
                  </a:cubicBezTo>
                  <a:cubicBezTo>
                    <a:pt x="578644" y="248126"/>
                    <a:pt x="578644" y="239554"/>
                    <a:pt x="577691" y="231934"/>
                  </a:cubicBezTo>
                  <a:cubicBezTo>
                    <a:pt x="576739" y="218599"/>
                    <a:pt x="575786" y="210979"/>
                    <a:pt x="575786" y="210979"/>
                  </a:cubicBezTo>
                  <a:cubicBezTo>
                    <a:pt x="575786" y="210979"/>
                    <a:pt x="574834" y="218599"/>
                    <a:pt x="573881" y="230981"/>
                  </a:cubicBezTo>
                  <a:cubicBezTo>
                    <a:pt x="572929" y="240506"/>
                    <a:pt x="571976" y="252889"/>
                    <a:pt x="571024" y="267176"/>
                  </a:cubicBezTo>
                  <a:cubicBezTo>
                    <a:pt x="571024" y="267176"/>
                    <a:pt x="571024" y="267176"/>
                    <a:pt x="571024" y="267176"/>
                  </a:cubicBezTo>
                  <a:cubicBezTo>
                    <a:pt x="570071" y="265271"/>
                    <a:pt x="568166" y="264319"/>
                    <a:pt x="567214" y="262414"/>
                  </a:cubicBezTo>
                  <a:cubicBezTo>
                    <a:pt x="561499" y="245269"/>
                    <a:pt x="556736" y="230981"/>
                    <a:pt x="552926" y="219551"/>
                  </a:cubicBezTo>
                  <a:cubicBezTo>
                    <a:pt x="552926" y="219551"/>
                    <a:pt x="552926" y="218599"/>
                    <a:pt x="552926" y="218599"/>
                  </a:cubicBezTo>
                  <a:cubicBezTo>
                    <a:pt x="553879" y="208121"/>
                    <a:pt x="554831" y="198596"/>
                    <a:pt x="555784" y="189071"/>
                  </a:cubicBezTo>
                  <a:cubicBezTo>
                    <a:pt x="556736" y="179546"/>
                    <a:pt x="557689" y="170021"/>
                    <a:pt x="558641" y="162401"/>
                  </a:cubicBezTo>
                  <a:cubicBezTo>
                    <a:pt x="559594" y="154781"/>
                    <a:pt x="560546" y="147161"/>
                    <a:pt x="561499" y="141446"/>
                  </a:cubicBezTo>
                  <a:cubicBezTo>
                    <a:pt x="563404" y="130016"/>
                    <a:pt x="564356" y="123349"/>
                    <a:pt x="564356" y="123349"/>
                  </a:cubicBezTo>
                  <a:cubicBezTo>
                    <a:pt x="564356" y="123349"/>
                    <a:pt x="561499" y="130016"/>
                    <a:pt x="557689" y="140494"/>
                  </a:cubicBezTo>
                  <a:cubicBezTo>
                    <a:pt x="555784" y="146209"/>
                    <a:pt x="553879" y="152876"/>
                    <a:pt x="551021" y="160496"/>
                  </a:cubicBezTo>
                  <a:cubicBezTo>
                    <a:pt x="548164" y="168116"/>
                    <a:pt x="546259" y="177641"/>
                    <a:pt x="544354" y="187166"/>
                  </a:cubicBezTo>
                  <a:cubicBezTo>
                    <a:pt x="542449" y="196691"/>
                    <a:pt x="540544" y="207169"/>
                    <a:pt x="537686" y="218599"/>
                  </a:cubicBezTo>
                  <a:cubicBezTo>
                    <a:pt x="536734" y="222409"/>
                    <a:pt x="536734" y="227171"/>
                    <a:pt x="535781" y="231934"/>
                  </a:cubicBezTo>
                  <a:cubicBezTo>
                    <a:pt x="535781" y="228124"/>
                    <a:pt x="534829" y="224314"/>
                    <a:pt x="534829" y="220504"/>
                  </a:cubicBezTo>
                  <a:cubicBezTo>
                    <a:pt x="534829" y="214789"/>
                    <a:pt x="533876" y="210026"/>
                    <a:pt x="532924" y="205264"/>
                  </a:cubicBezTo>
                  <a:cubicBezTo>
                    <a:pt x="532924" y="198596"/>
                    <a:pt x="533876" y="192881"/>
                    <a:pt x="533876" y="186214"/>
                  </a:cubicBezTo>
                  <a:cubicBezTo>
                    <a:pt x="533876" y="179546"/>
                    <a:pt x="534829" y="172879"/>
                    <a:pt x="534829" y="166211"/>
                  </a:cubicBezTo>
                  <a:cubicBezTo>
                    <a:pt x="534829" y="159544"/>
                    <a:pt x="534829" y="153829"/>
                    <a:pt x="534829" y="148114"/>
                  </a:cubicBezTo>
                  <a:cubicBezTo>
                    <a:pt x="534829" y="136684"/>
                    <a:pt x="534829" y="127159"/>
                    <a:pt x="534829" y="118586"/>
                  </a:cubicBezTo>
                  <a:cubicBezTo>
                    <a:pt x="534829" y="102394"/>
                    <a:pt x="533876" y="92869"/>
                    <a:pt x="533876" y="92869"/>
                  </a:cubicBezTo>
                  <a:cubicBezTo>
                    <a:pt x="533876" y="92869"/>
                    <a:pt x="532924" y="102394"/>
                    <a:pt x="531019" y="118586"/>
                  </a:cubicBezTo>
                  <a:cubicBezTo>
                    <a:pt x="530066" y="126206"/>
                    <a:pt x="529114" y="136684"/>
                    <a:pt x="528161" y="147161"/>
                  </a:cubicBezTo>
                  <a:cubicBezTo>
                    <a:pt x="527209" y="152876"/>
                    <a:pt x="527209" y="158591"/>
                    <a:pt x="526256" y="165259"/>
                  </a:cubicBezTo>
                  <a:cubicBezTo>
                    <a:pt x="525304" y="171926"/>
                    <a:pt x="524351" y="177641"/>
                    <a:pt x="523399" y="185261"/>
                  </a:cubicBezTo>
                  <a:cubicBezTo>
                    <a:pt x="522446" y="189071"/>
                    <a:pt x="522446" y="192881"/>
                    <a:pt x="521494" y="197644"/>
                  </a:cubicBezTo>
                  <a:cubicBezTo>
                    <a:pt x="518636" y="187166"/>
                    <a:pt x="516731" y="177641"/>
                    <a:pt x="513874" y="170021"/>
                  </a:cubicBezTo>
                  <a:cubicBezTo>
                    <a:pt x="509111" y="153829"/>
                    <a:pt x="506254" y="144304"/>
                    <a:pt x="506254" y="144304"/>
                  </a:cubicBezTo>
                  <a:cubicBezTo>
                    <a:pt x="506254" y="144304"/>
                    <a:pt x="507206" y="153829"/>
                    <a:pt x="510064" y="170974"/>
                  </a:cubicBezTo>
                  <a:cubicBezTo>
                    <a:pt x="511969" y="184309"/>
                    <a:pt x="513874" y="201454"/>
                    <a:pt x="517684" y="222409"/>
                  </a:cubicBezTo>
                  <a:cubicBezTo>
                    <a:pt x="517684" y="225266"/>
                    <a:pt x="516731" y="227171"/>
                    <a:pt x="516731" y="230029"/>
                  </a:cubicBezTo>
                  <a:cubicBezTo>
                    <a:pt x="515779" y="237649"/>
                    <a:pt x="514826" y="244316"/>
                    <a:pt x="512921" y="251936"/>
                  </a:cubicBezTo>
                  <a:cubicBezTo>
                    <a:pt x="499586" y="210026"/>
                    <a:pt x="490061" y="181451"/>
                    <a:pt x="487204" y="172879"/>
                  </a:cubicBezTo>
                  <a:cubicBezTo>
                    <a:pt x="486251" y="167164"/>
                    <a:pt x="485299" y="164306"/>
                    <a:pt x="485299" y="164306"/>
                  </a:cubicBezTo>
                  <a:cubicBezTo>
                    <a:pt x="485299" y="164306"/>
                    <a:pt x="486251" y="173831"/>
                    <a:pt x="486251" y="189071"/>
                  </a:cubicBezTo>
                  <a:cubicBezTo>
                    <a:pt x="487204" y="196691"/>
                    <a:pt x="487204" y="207169"/>
                    <a:pt x="488156" y="217646"/>
                  </a:cubicBezTo>
                  <a:cubicBezTo>
                    <a:pt x="488156" y="224314"/>
                    <a:pt x="489109" y="230981"/>
                    <a:pt x="489109" y="238601"/>
                  </a:cubicBezTo>
                  <a:cubicBezTo>
                    <a:pt x="488156" y="232886"/>
                    <a:pt x="487204" y="228124"/>
                    <a:pt x="486251" y="223361"/>
                  </a:cubicBezTo>
                  <a:cubicBezTo>
                    <a:pt x="485299" y="217646"/>
                    <a:pt x="484346" y="212884"/>
                    <a:pt x="482441" y="207169"/>
                  </a:cubicBezTo>
                  <a:cubicBezTo>
                    <a:pt x="480536" y="202406"/>
                    <a:pt x="479584" y="197644"/>
                    <a:pt x="478631" y="192881"/>
                  </a:cubicBezTo>
                  <a:cubicBezTo>
                    <a:pt x="475774" y="184309"/>
                    <a:pt x="473869" y="176689"/>
                    <a:pt x="471964" y="170021"/>
                  </a:cubicBezTo>
                  <a:cubicBezTo>
                    <a:pt x="468154" y="157639"/>
                    <a:pt x="465296" y="150019"/>
                    <a:pt x="465296" y="150019"/>
                  </a:cubicBezTo>
                  <a:cubicBezTo>
                    <a:pt x="465296" y="150019"/>
                    <a:pt x="466249" y="157639"/>
                    <a:pt x="468154" y="170021"/>
                  </a:cubicBezTo>
                  <a:cubicBezTo>
                    <a:pt x="469106" y="176689"/>
                    <a:pt x="470059" y="184309"/>
                    <a:pt x="471011" y="193834"/>
                  </a:cubicBezTo>
                  <a:cubicBezTo>
                    <a:pt x="471964" y="198596"/>
                    <a:pt x="471964" y="203359"/>
                    <a:pt x="472916" y="208121"/>
                  </a:cubicBezTo>
                  <a:cubicBezTo>
                    <a:pt x="473869" y="212884"/>
                    <a:pt x="473869" y="218599"/>
                    <a:pt x="474821" y="224314"/>
                  </a:cubicBezTo>
                  <a:cubicBezTo>
                    <a:pt x="475774" y="233839"/>
                    <a:pt x="476726" y="244316"/>
                    <a:pt x="478631" y="255746"/>
                  </a:cubicBezTo>
                  <a:cubicBezTo>
                    <a:pt x="477679" y="250031"/>
                    <a:pt x="475774" y="245269"/>
                    <a:pt x="474821" y="240506"/>
                  </a:cubicBezTo>
                  <a:cubicBezTo>
                    <a:pt x="467201" y="211931"/>
                    <a:pt x="460534" y="188119"/>
                    <a:pt x="455771" y="170974"/>
                  </a:cubicBezTo>
                  <a:cubicBezTo>
                    <a:pt x="450056" y="154781"/>
                    <a:pt x="447199" y="145256"/>
                    <a:pt x="447199" y="145256"/>
                  </a:cubicBezTo>
                  <a:cubicBezTo>
                    <a:pt x="447199" y="145256"/>
                    <a:pt x="449104" y="154781"/>
                    <a:pt x="451961" y="171926"/>
                  </a:cubicBezTo>
                  <a:cubicBezTo>
                    <a:pt x="453866" y="180499"/>
                    <a:pt x="454819" y="190976"/>
                    <a:pt x="457676" y="202406"/>
                  </a:cubicBezTo>
                  <a:cubicBezTo>
                    <a:pt x="459581" y="213836"/>
                    <a:pt x="462439" y="227171"/>
                    <a:pt x="464344" y="242411"/>
                  </a:cubicBezTo>
                  <a:cubicBezTo>
                    <a:pt x="466249" y="254794"/>
                    <a:pt x="469106" y="268129"/>
                    <a:pt x="471011" y="282416"/>
                  </a:cubicBezTo>
                  <a:cubicBezTo>
                    <a:pt x="469106" y="278606"/>
                    <a:pt x="468154" y="275749"/>
                    <a:pt x="467201" y="272891"/>
                  </a:cubicBezTo>
                  <a:cubicBezTo>
                    <a:pt x="462439" y="262414"/>
                    <a:pt x="459581" y="255746"/>
                    <a:pt x="459581" y="255746"/>
                  </a:cubicBezTo>
                  <a:cubicBezTo>
                    <a:pt x="459581" y="255746"/>
                    <a:pt x="460534" y="262414"/>
                    <a:pt x="463391" y="273844"/>
                  </a:cubicBezTo>
                  <a:cubicBezTo>
                    <a:pt x="464344" y="279559"/>
                    <a:pt x="466249" y="286226"/>
                    <a:pt x="468154" y="293846"/>
                  </a:cubicBezTo>
                  <a:cubicBezTo>
                    <a:pt x="469106" y="297656"/>
                    <a:pt x="470059" y="302419"/>
                    <a:pt x="471011" y="306229"/>
                  </a:cubicBezTo>
                  <a:cubicBezTo>
                    <a:pt x="471964" y="310991"/>
                    <a:pt x="472916" y="315754"/>
                    <a:pt x="473869" y="320516"/>
                  </a:cubicBezTo>
                  <a:cubicBezTo>
                    <a:pt x="475774" y="330041"/>
                    <a:pt x="477679" y="340519"/>
                    <a:pt x="479584" y="351949"/>
                  </a:cubicBezTo>
                  <a:cubicBezTo>
                    <a:pt x="479584" y="352901"/>
                    <a:pt x="479584" y="352901"/>
                    <a:pt x="479584" y="353854"/>
                  </a:cubicBezTo>
                  <a:cubicBezTo>
                    <a:pt x="479584" y="353854"/>
                    <a:pt x="479584" y="352901"/>
                    <a:pt x="478631" y="351949"/>
                  </a:cubicBezTo>
                  <a:cubicBezTo>
                    <a:pt x="476726" y="347186"/>
                    <a:pt x="473869" y="343376"/>
                    <a:pt x="471964" y="338614"/>
                  </a:cubicBezTo>
                  <a:cubicBezTo>
                    <a:pt x="471011" y="333851"/>
                    <a:pt x="471011" y="329089"/>
                    <a:pt x="470059" y="324326"/>
                  </a:cubicBezTo>
                  <a:cubicBezTo>
                    <a:pt x="468154" y="309086"/>
                    <a:pt x="465296" y="294799"/>
                    <a:pt x="462439" y="280511"/>
                  </a:cubicBezTo>
                  <a:cubicBezTo>
                    <a:pt x="459581" y="266224"/>
                    <a:pt x="455771" y="252889"/>
                    <a:pt x="452914" y="240506"/>
                  </a:cubicBezTo>
                  <a:cubicBezTo>
                    <a:pt x="449104" y="228124"/>
                    <a:pt x="445294" y="215741"/>
                    <a:pt x="441484" y="205264"/>
                  </a:cubicBezTo>
                  <a:cubicBezTo>
                    <a:pt x="440531" y="201454"/>
                    <a:pt x="438626" y="198596"/>
                    <a:pt x="437674" y="194786"/>
                  </a:cubicBezTo>
                  <a:cubicBezTo>
                    <a:pt x="438626" y="185261"/>
                    <a:pt x="439579" y="175736"/>
                    <a:pt x="440531" y="167164"/>
                  </a:cubicBezTo>
                  <a:cubicBezTo>
                    <a:pt x="441484" y="151924"/>
                    <a:pt x="442436" y="139541"/>
                    <a:pt x="442436" y="128111"/>
                  </a:cubicBezTo>
                  <a:cubicBezTo>
                    <a:pt x="442436" y="106204"/>
                    <a:pt x="441484" y="94774"/>
                    <a:pt x="441484" y="94774"/>
                  </a:cubicBezTo>
                  <a:cubicBezTo>
                    <a:pt x="441484" y="94774"/>
                    <a:pt x="440531" y="107156"/>
                    <a:pt x="438626" y="128111"/>
                  </a:cubicBezTo>
                  <a:cubicBezTo>
                    <a:pt x="437674" y="138589"/>
                    <a:pt x="435769" y="151924"/>
                    <a:pt x="433864" y="166211"/>
                  </a:cubicBezTo>
                  <a:cubicBezTo>
                    <a:pt x="432911" y="170021"/>
                    <a:pt x="432911" y="173831"/>
                    <a:pt x="431959" y="178594"/>
                  </a:cubicBezTo>
                  <a:cubicBezTo>
                    <a:pt x="431959" y="177641"/>
                    <a:pt x="431006" y="176689"/>
                    <a:pt x="431006" y="175736"/>
                  </a:cubicBezTo>
                  <a:cubicBezTo>
                    <a:pt x="427196" y="167164"/>
                    <a:pt x="423386" y="159544"/>
                    <a:pt x="419576" y="153829"/>
                  </a:cubicBezTo>
                  <a:cubicBezTo>
                    <a:pt x="412909" y="142399"/>
                    <a:pt x="408146" y="135731"/>
                    <a:pt x="408146" y="135731"/>
                  </a:cubicBezTo>
                  <a:cubicBezTo>
                    <a:pt x="408146" y="135731"/>
                    <a:pt x="411004" y="143351"/>
                    <a:pt x="415766" y="155734"/>
                  </a:cubicBezTo>
                  <a:cubicBezTo>
                    <a:pt x="418624" y="161449"/>
                    <a:pt x="420529" y="170021"/>
                    <a:pt x="423386" y="178594"/>
                  </a:cubicBezTo>
                  <a:cubicBezTo>
                    <a:pt x="425291" y="184309"/>
                    <a:pt x="427196" y="190024"/>
                    <a:pt x="428149" y="195739"/>
                  </a:cubicBezTo>
                  <a:cubicBezTo>
                    <a:pt x="427196" y="201454"/>
                    <a:pt x="425291" y="208121"/>
                    <a:pt x="424339" y="214789"/>
                  </a:cubicBezTo>
                  <a:cubicBezTo>
                    <a:pt x="424339" y="214789"/>
                    <a:pt x="424339" y="214789"/>
                    <a:pt x="424339" y="214789"/>
                  </a:cubicBezTo>
                  <a:cubicBezTo>
                    <a:pt x="418624" y="206216"/>
                    <a:pt x="415766" y="202406"/>
                    <a:pt x="415766" y="202406"/>
                  </a:cubicBezTo>
                  <a:cubicBezTo>
                    <a:pt x="415766" y="202406"/>
                    <a:pt x="417671" y="208121"/>
                    <a:pt x="421481" y="216694"/>
                  </a:cubicBezTo>
                  <a:cubicBezTo>
                    <a:pt x="422434" y="218599"/>
                    <a:pt x="423386" y="220504"/>
                    <a:pt x="423386" y="223361"/>
                  </a:cubicBezTo>
                  <a:cubicBezTo>
                    <a:pt x="420529" y="238601"/>
                    <a:pt x="416719" y="255746"/>
                    <a:pt x="412909" y="272891"/>
                  </a:cubicBezTo>
                  <a:cubicBezTo>
                    <a:pt x="410051" y="264319"/>
                    <a:pt x="407194" y="257651"/>
                    <a:pt x="405289" y="253841"/>
                  </a:cubicBezTo>
                  <a:cubicBezTo>
                    <a:pt x="405289" y="253841"/>
                    <a:pt x="405289" y="253841"/>
                    <a:pt x="405289" y="253841"/>
                  </a:cubicBezTo>
                  <a:cubicBezTo>
                    <a:pt x="405289" y="237649"/>
                    <a:pt x="405289" y="223361"/>
                    <a:pt x="404336" y="210026"/>
                  </a:cubicBezTo>
                  <a:cubicBezTo>
                    <a:pt x="403384" y="196691"/>
                    <a:pt x="403384" y="185261"/>
                    <a:pt x="401479" y="176689"/>
                  </a:cubicBezTo>
                  <a:cubicBezTo>
                    <a:pt x="398621" y="158591"/>
                    <a:pt x="396716" y="148114"/>
                    <a:pt x="396716" y="148114"/>
                  </a:cubicBezTo>
                  <a:cubicBezTo>
                    <a:pt x="396716" y="148114"/>
                    <a:pt x="396716" y="158591"/>
                    <a:pt x="397669" y="177641"/>
                  </a:cubicBezTo>
                  <a:cubicBezTo>
                    <a:pt x="397669" y="186214"/>
                    <a:pt x="397669" y="195739"/>
                    <a:pt x="396716" y="206216"/>
                  </a:cubicBezTo>
                  <a:cubicBezTo>
                    <a:pt x="394811" y="214789"/>
                    <a:pt x="391954" y="228124"/>
                    <a:pt x="389096" y="244316"/>
                  </a:cubicBezTo>
                  <a:cubicBezTo>
                    <a:pt x="386239" y="235744"/>
                    <a:pt x="384334" y="227171"/>
                    <a:pt x="381476" y="219551"/>
                  </a:cubicBezTo>
                  <a:cubicBezTo>
                    <a:pt x="379571" y="212884"/>
                    <a:pt x="377666" y="205264"/>
                    <a:pt x="374809" y="199549"/>
                  </a:cubicBezTo>
                  <a:cubicBezTo>
                    <a:pt x="373856" y="197644"/>
                    <a:pt x="373856" y="196691"/>
                    <a:pt x="372904" y="194786"/>
                  </a:cubicBezTo>
                  <a:cubicBezTo>
                    <a:pt x="372904" y="193834"/>
                    <a:pt x="372904" y="192881"/>
                    <a:pt x="372904" y="190976"/>
                  </a:cubicBezTo>
                  <a:cubicBezTo>
                    <a:pt x="371951" y="186214"/>
                    <a:pt x="370999" y="181451"/>
                    <a:pt x="370046" y="177641"/>
                  </a:cubicBezTo>
                  <a:cubicBezTo>
                    <a:pt x="368141" y="169069"/>
                    <a:pt x="367189" y="162401"/>
                    <a:pt x="366236" y="155734"/>
                  </a:cubicBezTo>
                  <a:cubicBezTo>
                    <a:pt x="365284" y="152876"/>
                    <a:pt x="365284" y="150019"/>
                    <a:pt x="364331" y="148114"/>
                  </a:cubicBezTo>
                  <a:cubicBezTo>
                    <a:pt x="363379" y="140494"/>
                    <a:pt x="363379" y="135731"/>
                    <a:pt x="363379" y="135731"/>
                  </a:cubicBezTo>
                  <a:cubicBezTo>
                    <a:pt x="363379" y="135731"/>
                    <a:pt x="363379" y="137636"/>
                    <a:pt x="363379" y="140494"/>
                  </a:cubicBezTo>
                  <a:cubicBezTo>
                    <a:pt x="362426" y="138589"/>
                    <a:pt x="362426" y="136684"/>
                    <a:pt x="362426" y="136684"/>
                  </a:cubicBezTo>
                  <a:cubicBezTo>
                    <a:pt x="362426" y="136684"/>
                    <a:pt x="362426" y="142399"/>
                    <a:pt x="362426" y="151924"/>
                  </a:cubicBezTo>
                  <a:cubicBezTo>
                    <a:pt x="362426" y="154781"/>
                    <a:pt x="362426" y="158591"/>
                    <a:pt x="361474" y="163354"/>
                  </a:cubicBezTo>
                  <a:cubicBezTo>
                    <a:pt x="359569" y="159544"/>
                    <a:pt x="358616" y="155734"/>
                    <a:pt x="357664" y="151924"/>
                  </a:cubicBezTo>
                  <a:cubicBezTo>
                    <a:pt x="350996" y="135731"/>
                    <a:pt x="348139" y="127159"/>
                    <a:pt x="348139" y="127159"/>
                  </a:cubicBezTo>
                  <a:cubicBezTo>
                    <a:pt x="348139" y="127159"/>
                    <a:pt x="350044" y="136684"/>
                    <a:pt x="353854" y="153829"/>
                  </a:cubicBezTo>
                  <a:cubicBezTo>
                    <a:pt x="355759" y="162401"/>
                    <a:pt x="358616" y="171926"/>
                    <a:pt x="361474" y="183356"/>
                  </a:cubicBezTo>
                  <a:cubicBezTo>
                    <a:pt x="361474" y="186214"/>
                    <a:pt x="361474" y="189071"/>
                    <a:pt x="361474" y="192881"/>
                  </a:cubicBezTo>
                  <a:cubicBezTo>
                    <a:pt x="359569" y="187166"/>
                    <a:pt x="357664" y="184309"/>
                    <a:pt x="357664" y="184309"/>
                  </a:cubicBezTo>
                  <a:cubicBezTo>
                    <a:pt x="357664" y="184309"/>
                    <a:pt x="358616" y="189071"/>
                    <a:pt x="360521" y="198596"/>
                  </a:cubicBezTo>
                  <a:cubicBezTo>
                    <a:pt x="360521" y="205264"/>
                    <a:pt x="360521" y="212884"/>
                    <a:pt x="359569" y="221456"/>
                  </a:cubicBezTo>
                  <a:cubicBezTo>
                    <a:pt x="357664" y="216694"/>
                    <a:pt x="356711" y="211931"/>
                    <a:pt x="355759" y="208121"/>
                  </a:cubicBezTo>
                  <a:cubicBezTo>
                    <a:pt x="352901" y="199549"/>
                    <a:pt x="350996" y="193834"/>
                    <a:pt x="350996" y="193834"/>
                  </a:cubicBezTo>
                  <a:cubicBezTo>
                    <a:pt x="350996" y="193834"/>
                    <a:pt x="350996" y="199549"/>
                    <a:pt x="351949" y="208121"/>
                  </a:cubicBezTo>
                  <a:cubicBezTo>
                    <a:pt x="351949" y="212884"/>
                    <a:pt x="352901" y="218599"/>
                    <a:pt x="352901" y="224314"/>
                  </a:cubicBezTo>
                  <a:cubicBezTo>
                    <a:pt x="353854" y="230981"/>
                    <a:pt x="353854" y="237649"/>
                    <a:pt x="353854" y="246221"/>
                  </a:cubicBezTo>
                  <a:cubicBezTo>
                    <a:pt x="353854" y="253841"/>
                    <a:pt x="354806" y="262414"/>
                    <a:pt x="354806" y="270986"/>
                  </a:cubicBezTo>
                  <a:cubicBezTo>
                    <a:pt x="355759" y="279559"/>
                    <a:pt x="355759" y="289084"/>
                    <a:pt x="355759" y="299561"/>
                  </a:cubicBezTo>
                  <a:cubicBezTo>
                    <a:pt x="355759" y="305276"/>
                    <a:pt x="356711" y="310991"/>
                    <a:pt x="356711" y="316706"/>
                  </a:cubicBezTo>
                  <a:cubicBezTo>
                    <a:pt x="352901" y="310039"/>
                    <a:pt x="349091" y="303371"/>
                    <a:pt x="346234" y="298609"/>
                  </a:cubicBezTo>
                  <a:cubicBezTo>
                    <a:pt x="346234" y="297656"/>
                    <a:pt x="345281" y="297656"/>
                    <a:pt x="345281" y="296704"/>
                  </a:cubicBezTo>
                  <a:cubicBezTo>
                    <a:pt x="345281" y="294799"/>
                    <a:pt x="345281" y="293846"/>
                    <a:pt x="345281" y="291941"/>
                  </a:cubicBezTo>
                  <a:cubicBezTo>
                    <a:pt x="346234" y="282416"/>
                    <a:pt x="347186" y="274796"/>
                    <a:pt x="348139" y="267176"/>
                  </a:cubicBezTo>
                  <a:cubicBezTo>
                    <a:pt x="349091" y="253841"/>
                    <a:pt x="350044" y="246221"/>
                    <a:pt x="350044" y="246221"/>
                  </a:cubicBezTo>
                  <a:cubicBezTo>
                    <a:pt x="350044" y="246221"/>
                    <a:pt x="348139" y="253841"/>
                    <a:pt x="344329" y="267176"/>
                  </a:cubicBezTo>
                  <a:cubicBezTo>
                    <a:pt x="342424" y="272891"/>
                    <a:pt x="341471" y="279559"/>
                    <a:pt x="339566" y="287179"/>
                  </a:cubicBezTo>
                  <a:cubicBezTo>
                    <a:pt x="339566" y="287179"/>
                    <a:pt x="339566" y="287179"/>
                    <a:pt x="339566" y="287179"/>
                  </a:cubicBezTo>
                  <a:cubicBezTo>
                    <a:pt x="339566" y="287179"/>
                    <a:pt x="339566" y="287179"/>
                    <a:pt x="339566" y="288131"/>
                  </a:cubicBezTo>
                  <a:cubicBezTo>
                    <a:pt x="339566" y="289084"/>
                    <a:pt x="338614" y="290036"/>
                    <a:pt x="338614" y="291941"/>
                  </a:cubicBezTo>
                  <a:cubicBezTo>
                    <a:pt x="338614" y="293846"/>
                    <a:pt x="337661" y="295751"/>
                    <a:pt x="337661" y="297656"/>
                  </a:cubicBezTo>
                  <a:cubicBezTo>
                    <a:pt x="332899" y="290036"/>
                    <a:pt x="328136" y="283369"/>
                    <a:pt x="324326" y="277654"/>
                  </a:cubicBezTo>
                  <a:cubicBezTo>
                    <a:pt x="320516" y="263366"/>
                    <a:pt x="315754" y="249079"/>
                    <a:pt x="310991" y="233839"/>
                  </a:cubicBezTo>
                  <a:cubicBezTo>
                    <a:pt x="308134" y="226219"/>
                    <a:pt x="306229" y="219551"/>
                    <a:pt x="303371" y="211931"/>
                  </a:cubicBezTo>
                  <a:cubicBezTo>
                    <a:pt x="304324" y="206216"/>
                    <a:pt x="305276" y="201454"/>
                    <a:pt x="306229" y="196691"/>
                  </a:cubicBezTo>
                  <a:cubicBezTo>
                    <a:pt x="310039" y="179546"/>
                    <a:pt x="312896" y="164306"/>
                    <a:pt x="316706" y="150971"/>
                  </a:cubicBezTo>
                  <a:cubicBezTo>
                    <a:pt x="320516" y="137636"/>
                    <a:pt x="322421" y="125254"/>
                    <a:pt x="326231" y="115729"/>
                  </a:cubicBezTo>
                  <a:cubicBezTo>
                    <a:pt x="331946" y="96679"/>
                    <a:pt x="335756" y="85249"/>
                    <a:pt x="335756" y="85249"/>
                  </a:cubicBezTo>
                  <a:cubicBezTo>
                    <a:pt x="335756" y="85249"/>
                    <a:pt x="330994" y="95726"/>
                    <a:pt x="323374" y="113824"/>
                  </a:cubicBezTo>
                  <a:cubicBezTo>
                    <a:pt x="319564" y="123349"/>
                    <a:pt x="315754" y="134779"/>
                    <a:pt x="310991" y="148114"/>
                  </a:cubicBezTo>
                  <a:cubicBezTo>
                    <a:pt x="309086" y="154781"/>
                    <a:pt x="306229" y="161449"/>
                    <a:pt x="303371" y="169069"/>
                  </a:cubicBezTo>
                  <a:cubicBezTo>
                    <a:pt x="301466" y="175736"/>
                    <a:pt x="299561" y="183356"/>
                    <a:pt x="297656" y="190024"/>
                  </a:cubicBezTo>
                  <a:cubicBezTo>
                    <a:pt x="293846" y="179546"/>
                    <a:pt x="290989" y="170021"/>
                    <a:pt x="287179" y="159544"/>
                  </a:cubicBezTo>
                  <a:cubicBezTo>
                    <a:pt x="290036" y="172879"/>
                    <a:pt x="291941" y="185261"/>
                    <a:pt x="294799" y="198596"/>
                  </a:cubicBezTo>
                  <a:cubicBezTo>
                    <a:pt x="290989" y="213836"/>
                    <a:pt x="287179" y="230029"/>
                    <a:pt x="283369" y="247174"/>
                  </a:cubicBezTo>
                  <a:cubicBezTo>
                    <a:pt x="282416" y="252889"/>
                    <a:pt x="281464" y="258604"/>
                    <a:pt x="279559" y="264319"/>
                  </a:cubicBezTo>
                  <a:cubicBezTo>
                    <a:pt x="278606" y="260509"/>
                    <a:pt x="277654" y="257651"/>
                    <a:pt x="276701" y="253841"/>
                  </a:cubicBezTo>
                  <a:cubicBezTo>
                    <a:pt x="276701" y="245269"/>
                    <a:pt x="277654" y="235744"/>
                    <a:pt x="278606" y="227171"/>
                  </a:cubicBezTo>
                  <a:cubicBezTo>
                    <a:pt x="280511" y="205264"/>
                    <a:pt x="281464" y="185261"/>
                    <a:pt x="284321" y="166211"/>
                  </a:cubicBezTo>
                  <a:cubicBezTo>
                    <a:pt x="285274" y="156686"/>
                    <a:pt x="286226" y="148114"/>
                    <a:pt x="287179" y="139541"/>
                  </a:cubicBezTo>
                  <a:cubicBezTo>
                    <a:pt x="288131" y="130969"/>
                    <a:pt x="290036" y="123349"/>
                    <a:pt x="290989" y="115729"/>
                  </a:cubicBezTo>
                  <a:cubicBezTo>
                    <a:pt x="293846" y="100489"/>
                    <a:pt x="294799" y="87154"/>
                    <a:pt x="297656" y="76676"/>
                  </a:cubicBezTo>
                  <a:cubicBezTo>
                    <a:pt x="302419" y="54769"/>
                    <a:pt x="304324" y="42386"/>
                    <a:pt x="304324" y="42386"/>
                  </a:cubicBezTo>
                  <a:cubicBezTo>
                    <a:pt x="304324" y="42386"/>
                    <a:pt x="300514" y="54769"/>
                    <a:pt x="293846" y="75724"/>
                  </a:cubicBezTo>
                  <a:cubicBezTo>
                    <a:pt x="290036" y="86201"/>
                    <a:pt x="287179" y="99536"/>
                    <a:pt x="283369" y="114776"/>
                  </a:cubicBezTo>
                  <a:cubicBezTo>
                    <a:pt x="281464" y="122396"/>
                    <a:pt x="279559" y="130016"/>
                    <a:pt x="277654" y="138589"/>
                  </a:cubicBezTo>
                  <a:cubicBezTo>
                    <a:pt x="275749" y="147161"/>
                    <a:pt x="274796" y="156686"/>
                    <a:pt x="272891" y="165259"/>
                  </a:cubicBezTo>
                  <a:cubicBezTo>
                    <a:pt x="271939" y="170021"/>
                    <a:pt x="270986" y="173831"/>
                    <a:pt x="270034" y="178594"/>
                  </a:cubicBezTo>
                  <a:cubicBezTo>
                    <a:pt x="268129" y="182404"/>
                    <a:pt x="265271" y="188119"/>
                    <a:pt x="261461" y="196691"/>
                  </a:cubicBezTo>
                  <a:cubicBezTo>
                    <a:pt x="260509" y="191929"/>
                    <a:pt x="258604" y="187166"/>
                    <a:pt x="258604" y="183356"/>
                  </a:cubicBezTo>
                  <a:cubicBezTo>
                    <a:pt x="255746" y="170021"/>
                    <a:pt x="253841" y="161449"/>
                    <a:pt x="253841" y="161449"/>
                  </a:cubicBezTo>
                  <a:cubicBezTo>
                    <a:pt x="253841" y="161449"/>
                    <a:pt x="253841" y="169069"/>
                    <a:pt x="254794" y="183356"/>
                  </a:cubicBezTo>
                  <a:cubicBezTo>
                    <a:pt x="254794" y="190024"/>
                    <a:pt x="255746" y="197644"/>
                    <a:pt x="256699" y="207169"/>
                  </a:cubicBezTo>
                  <a:cubicBezTo>
                    <a:pt x="253841" y="213836"/>
                    <a:pt x="250984" y="222409"/>
                    <a:pt x="247174" y="231934"/>
                  </a:cubicBezTo>
                  <a:cubicBezTo>
                    <a:pt x="246221" y="232886"/>
                    <a:pt x="246221" y="234791"/>
                    <a:pt x="245269" y="236696"/>
                  </a:cubicBezTo>
                  <a:cubicBezTo>
                    <a:pt x="243364" y="231934"/>
                    <a:pt x="242411" y="230029"/>
                    <a:pt x="242411" y="230029"/>
                  </a:cubicBezTo>
                  <a:cubicBezTo>
                    <a:pt x="242411" y="230029"/>
                    <a:pt x="243364" y="233839"/>
                    <a:pt x="244316" y="240506"/>
                  </a:cubicBezTo>
                  <a:cubicBezTo>
                    <a:pt x="241459" y="247174"/>
                    <a:pt x="239554" y="254794"/>
                    <a:pt x="236696" y="262414"/>
                  </a:cubicBezTo>
                  <a:cubicBezTo>
                    <a:pt x="232886" y="250031"/>
                    <a:pt x="229076" y="238601"/>
                    <a:pt x="226219" y="227171"/>
                  </a:cubicBezTo>
                  <a:cubicBezTo>
                    <a:pt x="223361" y="219551"/>
                    <a:pt x="221456" y="210979"/>
                    <a:pt x="218599" y="204311"/>
                  </a:cubicBezTo>
                  <a:cubicBezTo>
                    <a:pt x="215741" y="196691"/>
                    <a:pt x="213836" y="190024"/>
                    <a:pt x="210979" y="184309"/>
                  </a:cubicBezTo>
                  <a:cubicBezTo>
                    <a:pt x="206216" y="171926"/>
                    <a:pt x="202406" y="160496"/>
                    <a:pt x="198596" y="150971"/>
                  </a:cubicBezTo>
                  <a:cubicBezTo>
                    <a:pt x="191929" y="132874"/>
                    <a:pt x="187166" y="122396"/>
                    <a:pt x="187166" y="122396"/>
                  </a:cubicBezTo>
                  <a:cubicBezTo>
                    <a:pt x="187166" y="122396"/>
                    <a:pt x="190024" y="132874"/>
                    <a:pt x="194786" y="151924"/>
                  </a:cubicBezTo>
                  <a:cubicBezTo>
                    <a:pt x="197644" y="161449"/>
                    <a:pt x="200501" y="172879"/>
                    <a:pt x="204311" y="186214"/>
                  </a:cubicBezTo>
                  <a:cubicBezTo>
                    <a:pt x="206216" y="192881"/>
                    <a:pt x="208121" y="199549"/>
                    <a:pt x="210026" y="207169"/>
                  </a:cubicBezTo>
                  <a:cubicBezTo>
                    <a:pt x="211931" y="214789"/>
                    <a:pt x="213836" y="222409"/>
                    <a:pt x="215741" y="230981"/>
                  </a:cubicBezTo>
                  <a:cubicBezTo>
                    <a:pt x="218599" y="245269"/>
                    <a:pt x="222409" y="260509"/>
                    <a:pt x="226219" y="275749"/>
                  </a:cubicBezTo>
                  <a:cubicBezTo>
                    <a:pt x="224314" y="280511"/>
                    <a:pt x="221456" y="287179"/>
                    <a:pt x="218599" y="295751"/>
                  </a:cubicBezTo>
                  <a:cubicBezTo>
                    <a:pt x="218599" y="296704"/>
                    <a:pt x="217646" y="297656"/>
                    <a:pt x="217646" y="298609"/>
                  </a:cubicBezTo>
                  <a:cubicBezTo>
                    <a:pt x="216694" y="286226"/>
                    <a:pt x="215741" y="274796"/>
                    <a:pt x="214789" y="266224"/>
                  </a:cubicBezTo>
                  <a:cubicBezTo>
                    <a:pt x="213836" y="250984"/>
                    <a:pt x="212884" y="241459"/>
                    <a:pt x="212884" y="241459"/>
                  </a:cubicBezTo>
                  <a:cubicBezTo>
                    <a:pt x="212884" y="241459"/>
                    <a:pt x="211931" y="250031"/>
                    <a:pt x="210979" y="266224"/>
                  </a:cubicBezTo>
                  <a:cubicBezTo>
                    <a:pt x="210026" y="277654"/>
                    <a:pt x="210026" y="291941"/>
                    <a:pt x="209074" y="309086"/>
                  </a:cubicBezTo>
                  <a:cubicBezTo>
                    <a:pt x="204311" y="301466"/>
                    <a:pt x="200501" y="293846"/>
                    <a:pt x="196691" y="287179"/>
                  </a:cubicBezTo>
                  <a:cubicBezTo>
                    <a:pt x="192881" y="281464"/>
                    <a:pt x="190024" y="275749"/>
                    <a:pt x="187166" y="270034"/>
                  </a:cubicBezTo>
                  <a:cubicBezTo>
                    <a:pt x="183356" y="265271"/>
                    <a:pt x="180499" y="260509"/>
                    <a:pt x="177641" y="255746"/>
                  </a:cubicBezTo>
                  <a:cubicBezTo>
                    <a:pt x="171926" y="246221"/>
                    <a:pt x="166211" y="238601"/>
                    <a:pt x="161449" y="231934"/>
                  </a:cubicBezTo>
                  <a:cubicBezTo>
                    <a:pt x="159544" y="230029"/>
                    <a:pt x="158591" y="227171"/>
                    <a:pt x="156686" y="225266"/>
                  </a:cubicBezTo>
                  <a:cubicBezTo>
                    <a:pt x="154781" y="214789"/>
                    <a:pt x="152876" y="209074"/>
                    <a:pt x="152876" y="209074"/>
                  </a:cubicBezTo>
                  <a:cubicBezTo>
                    <a:pt x="152876" y="209074"/>
                    <a:pt x="152876" y="212884"/>
                    <a:pt x="152876" y="219551"/>
                  </a:cubicBezTo>
                  <a:cubicBezTo>
                    <a:pt x="149066" y="213836"/>
                    <a:pt x="146209" y="210979"/>
                    <a:pt x="146209" y="210979"/>
                  </a:cubicBezTo>
                  <a:cubicBezTo>
                    <a:pt x="146209" y="210979"/>
                    <a:pt x="148114" y="215741"/>
                    <a:pt x="152876" y="224314"/>
                  </a:cubicBezTo>
                  <a:cubicBezTo>
                    <a:pt x="153829" y="235744"/>
                    <a:pt x="154781" y="253841"/>
                    <a:pt x="156686" y="275749"/>
                  </a:cubicBezTo>
                  <a:cubicBezTo>
                    <a:pt x="153829" y="271939"/>
                    <a:pt x="150971" y="267176"/>
                    <a:pt x="148114" y="263366"/>
                  </a:cubicBezTo>
                  <a:cubicBezTo>
                    <a:pt x="139541" y="252889"/>
                    <a:pt x="131921" y="242411"/>
                    <a:pt x="124301" y="233839"/>
                  </a:cubicBezTo>
                  <a:cubicBezTo>
                    <a:pt x="116681" y="225266"/>
                    <a:pt x="110966" y="217646"/>
                    <a:pt x="104299" y="212884"/>
                  </a:cubicBezTo>
                  <a:cubicBezTo>
                    <a:pt x="94774" y="203359"/>
                    <a:pt x="88106" y="197644"/>
                    <a:pt x="88106" y="197644"/>
                  </a:cubicBezTo>
                  <a:cubicBezTo>
                    <a:pt x="88106" y="197644"/>
                    <a:pt x="93821" y="205264"/>
                    <a:pt x="103346" y="217646"/>
                  </a:cubicBezTo>
                  <a:cubicBezTo>
                    <a:pt x="108109" y="223361"/>
                    <a:pt x="113824" y="231934"/>
                    <a:pt x="119539" y="240506"/>
                  </a:cubicBezTo>
                  <a:cubicBezTo>
                    <a:pt x="126206" y="249079"/>
                    <a:pt x="131921" y="260509"/>
                    <a:pt x="139541" y="271939"/>
                  </a:cubicBezTo>
                  <a:cubicBezTo>
                    <a:pt x="143351" y="278606"/>
                    <a:pt x="148114" y="285274"/>
                    <a:pt x="151924" y="292894"/>
                  </a:cubicBezTo>
                  <a:cubicBezTo>
                    <a:pt x="151924" y="294799"/>
                    <a:pt x="151924" y="295751"/>
                    <a:pt x="151924" y="297656"/>
                  </a:cubicBezTo>
                  <a:cubicBezTo>
                    <a:pt x="151924" y="297656"/>
                    <a:pt x="150971" y="296704"/>
                    <a:pt x="150971" y="296704"/>
                  </a:cubicBezTo>
                  <a:cubicBezTo>
                    <a:pt x="145256" y="290989"/>
                    <a:pt x="140494" y="285274"/>
                    <a:pt x="136684" y="282416"/>
                  </a:cubicBezTo>
                  <a:cubicBezTo>
                    <a:pt x="134779" y="280511"/>
                    <a:pt x="133826" y="279559"/>
                    <a:pt x="131921" y="278606"/>
                  </a:cubicBezTo>
                  <a:cubicBezTo>
                    <a:pt x="132874" y="275749"/>
                    <a:pt x="132874" y="274796"/>
                    <a:pt x="132874" y="274796"/>
                  </a:cubicBezTo>
                  <a:cubicBezTo>
                    <a:pt x="132874" y="274796"/>
                    <a:pt x="131921" y="275749"/>
                    <a:pt x="130969" y="278606"/>
                  </a:cubicBezTo>
                  <a:cubicBezTo>
                    <a:pt x="125254" y="273844"/>
                    <a:pt x="122396" y="270986"/>
                    <a:pt x="122396" y="270986"/>
                  </a:cubicBezTo>
                  <a:cubicBezTo>
                    <a:pt x="122396" y="270986"/>
                    <a:pt x="125254" y="274796"/>
                    <a:pt x="130016" y="280511"/>
                  </a:cubicBezTo>
                  <a:cubicBezTo>
                    <a:pt x="128111" y="283369"/>
                    <a:pt x="126206" y="288131"/>
                    <a:pt x="123349" y="293846"/>
                  </a:cubicBezTo>
                  <a:cubicBezTo>
                    <a:pt x="120491" y="299561"/>
                    <a:pt x="117634" y="308134"/>
                    <a:pt x="114776" y="316706"/>
                  </a:cubicBezTo>
                  <a:cubicBezTo>
                    <a:pt x="113824" y="318611"/>
                    <a:pt x="113824" y="319564"/>
                    <a:pt x="112871" y="321469"/>
                  </a:cubicBezTo>
                  <a:cubicBezTo>
                    <a:pt x="110014" y="313849"/>
                    <a:pt x="107156" y="306229"/>
                    <a:pt x="103346" y="299561"/>
                  </a:cubicBezTo>
                  <a:cubicBezTo>
                    <a:pt x="97631" y="286226"/>
                    <a:pt x="91916" y="273844"/>
                    <a:pt x="86201" y="262414"/>
                  </a:cubicBezTo>
                  <a:cubicBezTo>
                    <a:pt x="83344" y="255746"/>
                    <a:pt x="80486" y="250984"/>
                    <a:pt x="78581" y="245269"/>
                  </a:cubicBezTo>
                  <a:cubicBezTo>
                    <a:pt x="75724" y="240506"/>
                    <a:pt x="72866" y="235744"/>
                    <a:pt x="70961" y="230981"/>
                  </a:cubicBezTo>
                  <a:cubicBezTo>
                    <a:pt x="66199" y="222409"/>
                    <a:pt x="61436" y="213836"/>
                    <a:pt x="57626" y="208121"/>
                  </a:cubicBezTo>
                  <a:cubicBezTo>
                    <a:pt x="50006" y="195739"/>
                    <a:pt x="46196" y="188119"/>
                    <a:pt x="46196" y="188119"/>
                  </a:cubicBezTo>
                  <a:cubicBezTo>
                    <a:pt x="46196" y="188119"/>
                    <a:pt x="49054" y="195739"/>
                    <a:pt x="54769" y="210026"/>
                  </a:cubicBezTo>
                  <a:cubicBezTo>
                    <a:pt x="57626" y="216694"/>
                    <a:pt x="60484" y="225266"/>
                    <a:pt x="64294" y="234791"/>
                  </a:cubicBezTo>
                  <a:cubicBezTo>
                    <a:pt x="66199" y="239554"/>
                    <a:pt x="68104" y="244316"/>
                    <a:pt x="70009" y="250031"/>
                  </a:cubicBezTo>
                  <a:cubicBezTo>
                    <a:pt x="71914" y="254794"/>
                    <a:pt x="73819" y="260509"/>
                    <a:pt x="75724" y="266224"/>
                  </a:cubicBezTo>
                  <a:cubicBezTo>
                    <a:pt x="78581" y="274796"/>
                    <a:pt x="82391" y="283369"/>
                    <a:pt x="85249" y="292894"/>
                  </a:cubicBezTo>
                  <a:cubicBezTo>
                    <a:pt x="83344" y="290036"/>
                    <a:pt x="81439" y="286226"/>
                    <a:pt x="79534" y="284321"/>
                  </a:cubicBezTo>
                  <a:cubicBezTo>
                    <a:pt x="74771" y="277654"/>
                    <a:pt x="71914" y="271939"/>
                    <a:pt x="68104" y="268129"/>
                  </a:cubicBezTo>
                  <a:cubicBezTo>
                    <a:pt x="61436" y="258604"/>
                    <a:pt x="57626" y="253841"/>
                    <a:pt x="57626" y="253841"/>
                  </a:cubicBezTo>
                  <a:cubicBezTo>
                    <a:pt x="57626" y="253841"/>
                    <a:pt x="59531" y="259556"/>
                    <a:pt x="64294" y="270034"/>
                  </a:cubicBezTo>
                  <a:cubicBezTo>
                    <a:pt x="66199" y="274796"/>
                    <a:pt x="69056" y="281464"/>
                    <a:pt x="71914" y="288131"/>
                  </a:cubicBezTo>
                  <a:cubicBezTo>
                    <a:pt x="76676" y="295751"/>
                    <a:pt x="79534" y="303371"/>
                    <a:pt x="83344" y="311944"/>
                  </a:cubicBezTo>
                  <a:cubicBezTo>
                    <a:pt x="86201" y="317659"/>
                    <a:pt x="88106" y="324326"/>
                    <a:pt x="90964" y="330994"/>
                  </a:cubicBezTo>
                  <a:cubicBezTo>
                    <a:pt x="90011" y="333851"/>
                    <a:pt x="89059" y="336709"/>
                    <a:pt x="87154" y="339566"/>
                  </a:cubicBezTo>
                  <a:cubicBezTo>
                    <a:pt x="85249" y="343376"/>
                    <a:pt x="83344" y="348139"/>
                    <a:pt x="81439" y="352901"/>
                  </a:cubicBezTo>
                  <a:cubicBezTo>
                    <a:pt x="80486" y="348139"/>
                    <a:pt x="79534" y="343376"/>
                    <a:pt x="78581" y="339566"/>
                  </a:cubicBezTo>
                  <a:cubicBezTo>
                    <a:pt x="75724" y="326231"/>
                    <a:pt x="72866" y="312896"/>
                    <a:pt x="70009" y="301466"/>
                  </a:cubicBezTo>
                  <a:cubicBezTo>
                    <a:pt x="67151" y="290036"/>
                    <a:pt x="64294" y="278606"/>
                    <a:pt x="61436" y="269081"/>
                  </a:cubicBezTo>
                  <a:cubicBezTo>
                    <a:pt x="58579" y="259556"/>
                    <a:pt x="56674" y="250984"/>
                    <a:pt x="53816" y="244316"/>
                  </a:cubicBezTo>
                  <a:cubicBezTo>
                    <a:pt x="49054" y="230981"/>
                    <a:pt x="46196" y="223361"/>
                    <a:pt x="46196" y="223361"/>
                  </a:cubicBezTo>
                  <a:cubicBezTo>
                    <a:pt x="46196" y="223361"/>
                    <a:pt x="47149" y="230981"/>
                    <a:pt x="50006" y="245269"/>
                  </a:cubicBezTo>
                  <a:cubicBezTo>
                    <a:pt x="50959" y="251936"/>
                    <a:pt x="51911" y="260509"/>
                    <a:pt x="53816" y="270034"/>
                  </a:cubicBezTo>
                  <a:cubicBezTo>
                    <a:pt x="55721" y="279559"/>
                    <a:pt x="56674" y="290989"/>
                    <a:pt x="58579" y="302419"/>
                  </a:cubicBezTo>
                  <a:cubicBezTo>
                    <a:pt x="60484" y="314801"/>
                    <a:pt x="61436" y="327184"/>
                    <a:pt x="64294" y="340519"/>
                  </a:cubicBezTo>
                  <a:cubicBezTo>
                    <a:pt x="66199" y="353854"/>
                    <a:pt x="67151" y="367189"/>
                    <a:pt x="69056" y="381476"/>
                  </a:cubicBezTo>
                  <a:cubicBezTo>
                    <a:pt x="68104" y="382429"/>
                    <a:pt x="68104" y="383381"/>
                    <a:pt x="67151" y="385286"/>
                  </a:cubicBezTo>
                  <a:cubicBezTo>
                    <a:pt x="64294" y="391954"/>
                    <a:pt x="62389" y="398621"/>
                    <a:pt x="60484" y="405289"/>
                  </a:cubicBezTo>
                  <a:cubicBezTo>
                    <a:pt x="60484" y="406241"/>
                    <a:pt x="60484" y="406241"/>
                    <a:pt x="59531" y="407194"/>
                  </a:cubicBezTo>
                  <a:cubicBezTo>
                    <a:pt x="58579" y="407194"/>
                    <a:pt x="57626" y="407194"/>
                    <a:pt x="56674" y="407194"/>
                  </a:cubicBezTo>
                  <a:cubicBezTo>
                    <a:pt x="55721" y="404336"/>
                    <a:pt x="55721" y="402431"/>
                    <a:pt x="54769" y="399574"/>
                  </a:cubicBezTo>
                  <a:cubicBezTo>
                    <a:pt x="51911" y="387191"/>
                    <a:pt x="49054" y="375761"/>
                    <a:pt x="46196" y="364331"/>
                  </a:cubicBezTo>
                  <a:cubicBezTo>
                    <a:pt x="43339" y="352901"/>
                    <a:pt x="40481" y="342424"/>
                    <a:pt x="37624" y="332899"/>
                  </a:cubicBezTo>
                  <a:cubicBezTo>
                    <a:pt x="31909" y="313849"/>
                    <a:pt x="26194" y="297656"/>
                    <a:pt x="21431" y="287179"/>
                  </a:cubicBezTo>
                  <a:cubicBezTo>
                    <a:pt x="16669" y="276701"/>
                    <a:pt x="13811" y="270034"/>
                    <a:pt x="13811" y="270034"/>
                  </a:cubicBezTo>
                  <a:cubicBezTo>
                    <a:pt x="13811" y="270034"/>
                    <a:pt x="14764" y="276701"/>
                    <a:pt x="17621" y="288131"/>
                  </a:cubicBezTo>
                  <a:cubicBezTo>
                    <a:pt x="18574" y="293846"/>
                    <a:pt x="20479" y="300514"/>
                    <a:pt x="21431" y="309086"/>
                  </a:cubicBezTo>
                  <a:cubicBezTo>
                    <a:pt x="23336" y="316706"/>
                    <a:pt x="24289" y="326231"/>
                    <a:pt x="26194" y="335756"/>
                  </a:cubicBezTo>
                  <a:cubicBezTo>
                    <a:pt x="28099" y="345281"/>
                    <a:pt x="30004" y="355759"/>
                    <a:pt x="31909" y="367189"/>
                  </a:cubicBezTo>
                  <a:cubicBezTo>
                    <a:pt x="35719" y="378619"/>
                    <a:pt x="37624" y="390049"/>
                    <a:pt x="39529" y="402431"/>
                  </a:cubicBezTo>
                  <a:cubicBezTo>
                    <a:pt x="39529" y="403384"/>
                    <a:pt x="39529" y="403384"/>
                    <a:pt x="39529" y="404336"/>
                  </a:cubicBezTo>
                  <a:cubicBezTo>
                    <a:pt x="29051" y="402431"/>
                    <a:pt x="18574" y="401479"/>
                    <a:pt x="7144" y="399574"/>
                  </a:cubicBezTo>
                  <a:lnTo>
                    <a:pt x="7144" y="511016"/>
                  </a:lnTo>
                  <a:close/>
                  <a:moveTo>
                    <a:pt x="6277451" y="364331"/>
                  </a:moveTo>
                  <a:cubicBezTo>
                    <a:pt x="6278404" y="362426"/>
                    <a:pt x="6278404" y="359569"/>
                    <a:pt x="6279356" y="357664"/>
                  </a:cubicBezTo>
                  <a:cubicBezTo>
                    <a:pt x="6279356" y="358616"/>
                    <a:pt x="6279356" y="360521"/>
                    <a:pt x="6279356" y="361474"/>
                  </a:cubicBezTo>
                  <a:cubicBezTo>
                    <a:pt x="6278404" y="370999"/>
                    <a:pt x="6278404" y="384334"/>
                    <a:pt x="6277451" y="399574"/>
                  </a:cubicBezTo>
                  <a:cubicBezTo>
                    <a:pt x="6274594" y="409099"/>
                    <a:pt x="6270784" y="419576"/>
                    <a:pt x="6267926" y="430054"/>
                  </a:cubicBezTo>
                  <a:cubicBezTo>
                    <a:pt x="6266974" y="430054"/>
                    <a:pt x="6266974" y="430054"/>
                    <a:pt x="6266021" y="430054"/>
                  </a:cubicBezTo>
                  <a:cubicBezTo>
                    <a:pt x="6264117" y="427196"/>
                    <a:pt x="6262212" y="424339"/>
                    <a:pt x="6260306" y="421481"/>
                  </a:cubicBezTo>
                  <a:cubicBezTo>
                    <a:pt x="6266021" y="402431"/>
                    <a:pt x="6271737" y="383381"/>
                    <a:pt x="6277451" y="364331"/>
                  </a:cubicBezTo>
                  <a:close/>
                  <a:moveTo>
                    <a:pt x="6211729" y="425291"/>
                  </a:moveTo>
                  <a:cubicBezTo>
                    <a:pt x="6211729" y="415766"/>
                    <a:pt x="6212681" y="406241"/>
                    <a:pt x="6212681" y="398621"/>
                  </a:cubicBezTo>
                  <a:cubicBezTo>
                    <a:pt x="6212681" y="395764"/>
                    <a:pt x="6212681" y="392906"/>
                    <a:pt x="6213634" y="390049"/>
                  </a:cubicBezTo>
                  <a:cubicBezTo>
                    <a:pt x="6214587" y="391001"/>
                    <a:pt x="6215539" y="392906"/>
                    <a:pt x="6216492" y="393859"/>
                  </a:cubicBezTo>
                  <a:cubicBezTo>
                    <a:pt x="6220301" y="398621"/>
                    <a:pt x="6224112" y="403384"/>
                    <a:pt x="6227921" y="408146"/>
                  </a:cubicBezTo>
                  <a:cubicBezTo>
                    <a:pt x="6226969" y="410051"/>
                    <a:pt x="6226017" y="411956"/>
                    <a:pt x="6225064" y="412909"/>
                  </a:cubicBezTo>
                  <a:cubicBezTo>
                    <a:pt x="6224112" y="414814"/>
                    <a:pt x="6222206" y="417671"/>
                    <a:pt x="6221254" y="420529"/>
                  </a:cubicBezTo>
                  <a:cubicBezTo>
                    <a:pt x="6220301" y="423386"/>
                    <a:pt x="6219349" y="426244"/>
                    <a:pt x="6218396" y="429101"/>
                  </a:cubicBezTo>
                  <a:cubicBezTo>
                    <a:pt x="6218396" y="430054"/>
                    <a:pt x="6218396" y="430054"/>
                    <a:pt x="6217444" y="431006"/>
                  </a:cubicBezTo>
                  <a:cubicBezTo>
                    <a:pt x="6217444" y="430054"/>
                    <a:pt x="6217444" y="429101"/>
                    <a:pt x="6217444" y="429101"/>
                  </a:cubicBezTo>
                  <a:cubicBezTo>
                    <a:pt x="6216492" y="419576"/>
                    <a:pt x="6215539" y="413861"/>
                    <a:pt x="6215539" y="413861"/>
                  </a:cubicBezTo>
                  <a:cubicBezTo>
                    <a:pt x="6215539" y="413861"/>
                    <a:pt x="6214587" y="419576"/>
                    <a:pt x="6213634" y="429101"/>
                  </a:cubicBezTo>
                  <a:cubicBezTo>
                    <a:pt x="6213634" y="432911"/>
                    <a:pt x="6212681" y="436721"/>
                    <a:pt x="6211729" y="441484"/>
                  </a:cubicBezTo>
                  <a:cubicBezTo>
                    <a:pt x="6211729" y="435769"/>
                    <a:pt x="6211729" y="430054"/>
                    <a:pt x="6211729" y="425291"/>
                  </a:cubicBezTo>
                  <a:close/>
                  <a:moveTo>
                    <a:pt x="6183154" y="343376"/>
                  </a:moveTo>
                  <a:cubicBezTo>
                    <a:pt x="6185059" y="346234"/>
                    <a:pt x="6186012" y="348139"/>
                    <a:pt x="6187917" y="350996"/>
                  </a:cubicBezTo>
                  <a:cubicBezTo>
                    <a:pt x="6188869" y="352901"/>
                    <a:pt x="6190774" y="354806"/>
                    <a:pt x="6191726" y="356711"/>
                  </a:cubicBezTo>
                  <a:cubicBezTo>
                    <a:pt x="6188869" y="366236"/>
                    <a:pt x="6186012" y="376714"/>
                    <a:pt x="6183154" y="388144"/>
                  </a:cubicBezTo>
                  <a:cubicBezTo>
                    <a:pt x="6183154" y="389096"/>
                    <a:pt x="6182201" y="391001"/>
                    <a:pt x="6182201" y="391954"/>
                  </a:cubicBezTo>
                  <a:cubicBezTo>
                    <a:pt x="6182201" y="386239"/>
                    <a:pt x="6181249" y="381476"/>
                    <a:pt x="6181249" y="375761"/>
                  </a:cubicBezTo>
                  <a:cubicBezTo>
                    <a:pt x="6181249" y="374809"/>
                    <a:pt x="6181249" y="373856"/>
                    <a:pt x="6181249" y="372904"/>
                  </a:cubicBezTo>
                  <a:cubicBezTo>
                    <a:pt x="6181249" y="362426"/>
                    <a:pt x="6182201" y="352901"/>
                    <a:pt x="6183154" y="343376"/>
                  </a:cubicBezTo>
                  <a:close/>
                  <a:moveTo>
                    <a:pt x="6144101" y="308134"/>
                  </a:moveTo>
                  <a:cubicBezTo>
                    <a:pt x="6145054" y="297656"/>
                    <a:pt x="6146959" y="287179"/>
                    <a:pt x="6147912" y="276701"/>
                  </a:cubicBezTo>
                  <a:cubicBezTo>
                    <a:pt x="6149817" y="280511"/>
                    <a:pt x="6151721" y="284321"/>
                    <a:pt x="6153626" y="289084"/>
                  </a:cubicBezTo>
                  <a:cubicBezTo>
                    <a:pt x="6156484" y="293846"/>
                    <a:pt x="6158389" y="299561"/>
                    <a:pt x="6161246" y="305276"/>
                  </a:cubicBezTo>
                  <a:cubicBezTo>
                    <a:pt x="6160294" y="308134"/>
                    <a:pt x="6159342" y="313849"/>
                    <a:pt x="6157437" y="319564"/>
                  </a:cubicBezTo>
                  <a:cubicBezTo>
                    <a:pt x="6155531" y="325279"/>
                    <a:pt x="6154579" y="332899"/>
                    <a:pt x="6152674" y="342424"/>
                  </a:cubicBezTo>
                  <a:cubicBezTo>
                    <a:pt x="6151721" y="347186"/>
                    <a:pt x="6150769" y="351949"/>
                    <a:pt x="6150769" y="356711"/>
                  </a:cubicBezTo>
                  <a:cubicBezTo>
                    <a:pt x="6150769" y="358616"/>
                    <a:pt x="6149817" y="359569"/>
                    <a:pt x="6149817" y="360521"/>
                  </a:cubicBezTo>
                  <a:cubicBezTo>
                    <a:pt x="6149817" y="362426"/>
                    <a:pt x="6148864" y="363379"/>
                    <a:pt x="6148864" y="365284"/>
                  </a:cubicBezTo>
                  <a:cubicBezTo>
                    <a:pt x="6146959" y="362426"/>
                    <a:pt x="6146006" y="360521"/>
                    <a:pt x="6146006" y="360521"/>
                  </a:cubicBezTo>
                  <a:cubicBezTo>
                    <a:pt x="6146006" y="360521"/>
                    <a:pt x="6146959" y="363379"/>
                    <a:pt x="6147912" y="368141"/>
                  </a:cubicBezTo>
                  <a:cubicBezTo>
                    <a:pt x="6146959" y="374809"/>
                    <a:pt x="6146006" y="382429"/>
                    <a:pt x="6145054" y="389096"/>
                  </a:cubicBezTo>
                  <a:cubicBezTo>
                    <a:pt x="6145054" y="388144"/>
                    <a:pt x="6144101" y="387191"/>
                    <a:pt x="6144101" y="386239"/>
                  </a:cubicBezTo>
                  <a:cubicBezTo>
                    <a:pt x="6144101" y="385286"/>
                    <a:pt x="6143149" y="385286"/>
                    <a:pt x="6143149" y="384334"/>
                  </a:cubicBezTo>
                  <a:cubicBezTo>
                    <a:pt x="6143149" y="379571"/>
                    <a:pt x="6142196" y="373856"/>
                    <a:pt x="6142196" y="369094"/>
                  </a:cubicBezTo>
                  <a:cubicBezTo>
                    <a:pt x="6141244" y="360521"/>
                    <a:pt x="6140292" y="351949"/>
                    <a:pt x="6139339" y="343376"/>
                  </a:cubicBezTo>
                  <a:cubicBezTo>
                    <a:pt x="6142196" y="331946"/>
                    <a:pt x="6143149" y="319564"/>
                    <a:pt x="6144101" y="308134"/>
                  </a:cubicBezTo>
                  <a:close/>
                  <a:moveTo>
                    <a:pt x="6095524" y="384334"/>
                  </a:moveTo>
                  <a:cubicBezTo>
                    <a:pt x="6093619" y="393859"/>
                    <a:pt x="6090762" y="403384"/>
                    <a:pt x="6088856" y="412909"/>
                  </a:cubicBezTo>
                  <a:cubicBezTo>
                    <a:pt x="6086951" y="420529"/>
                    <a:pt x="6085046" y="428149"/>
                    <a:pt x="6083142" y="435769"/>
                  </a:cubicBezTo>
                  <a:cubicBezTo>
                    <a:pt x="6081237" y="428149"/>
                    <a:pt x="6079331" y="419576"/>
                    <a:pt x="6076474" y="411956"/>
                  </a:cubicBezTo>
                  <a:cubicBezTo>
                    <a:pt x="6077426" y="405289"/>
                    <a:pt x="6078379" y="397669"/>
                    <a:pt x="6079331" y="391001"/>
                  </a:cubicBezTo>
                  <a:cubicBezTo>
                    <a:pt x="6080284" y="383381"/>
                    <a:pt x="6082189" y="375761"/>
                    <a:pt x="6084094" y="368141"/>
                  </a:cubicBezTo>
                  <a:lnTo>
                    <a:pt x="6088856" y="347186"/>
                  </a:lnTo>
                  <a:cubicBezTo>
                    <a:pt x="6089809" y="347186"/>
                    <a:pt x="6090762" y="347186"/>
                    <a:pt x="6091714" y="348139"/>
                  </a:cubicBezTo>
                  <a:cubicBezTo>
                    <a:pt x="6093619" y="349091"/>
                    <a:pt x="6094571" y="350044"/>
                    <a:pt x="6095524" y="350996"/>
                  </a:cubicBezTo>
                  <a:cubicBezTo>
                    <a:pt x="6098381" y="352901"/>
                    <a:pt x="6099334" y="356711"/>
                    <a:pt x="6100287" y="359569"/>
                  </a:cubicBezTo>
                  <a:cubicBezTo>
                    <a:pt x="6099334" y="367189"/>
                    <a:pt x="6097429" y="375761"/>
                    <a:pt x="6095524" y="384334"/>
                  </a:cubicBezTo>
                  <a:close/>
                  <a:moveTo>
                    <a:pt x="6102192" y="206216"/>
                  </a:moveTo>
                  <a:cubicBezTo>
                    <a:pt x="6102192" y="211931"/>
                    <a:pt x="6102192" y="222409"/>
                    <a:pt x="6101239" y="235744"/>
                  </a:cubicBezTo>
                  <a:cubicBezTo>
                    <a:pt x="6101239" y="237649"/>
                    <a:pt x="6101239" y="239554"/>
                    <a:pt x="6101239" y="241459"/>
                  </a:cubicBezTo>
                  <a:cubicBezTo>
                    <a:pt x="6101239" y="241459"/>
                    <a:pt x="6101239" y="242411"/>
                    <a:pt x="6101239" y="242411"/>
                  </a:cubicBezTo>
                  <a:cubicBezTo>
                    <a:pt x="6101239" y="242411"/>
                    <a:pt x="6101239" y="242411"/>
                    <a:pt x="6101239" y="242411"/>
                  </a:cubicBezTo>
                  <a:cubicBezTo>
                    <a:pt x="6101239" y="241459"/>
                    <a:pt x="6100287" y="240506"/>
                    <a:pt x="6100287" y="239554"/>
                  </a:cubicBezTo>
                  <a:cubicBezTo>
                    <a:pt x="6099334" y="236696"/>
                    <a:pt x="6098381" y="233839"/>
                    <a:pt x="6097429" y="230981"/>
                  </a:cubicBezTo>
                  <a:cubicBezTo>
                    <a:pt x="6099334" y="222409"/>
                    <a:pt x="6100287" y="213836"/>
                    <a:pt x="6102192" y="206216"/>
                  </a:cubicBezTo>
                  <a:close/>
                  <a:moveTo>
                    <a:pt x="6100287" y="284321"/>
                  </a:moveTo>
                  <a:cubicBezTo>
                    <a:pt x="6099334" y="282416"/>
                    <a:pt x="6099334" y="281464"/>
                    <a:pt x="6098381" y="279559"/>
                  </a:cubicBezTo>
                  <a:cubicBezTo>
                    <a:pt x="6098381" y="278606"/>
                    <a:pt x="6099334" y="277654"/>
                    <a:pt x="6099334" y="277654"/>
                  </a:cubicBezTo>
                  <a:cubicBezTo>
                    <a:pt x="6099334" y="279559"/>
                    <a:pt x="6099334" y="281464"/>
                    <a:pt x="6100287" y="284321"/>
                  </a:cubicBezTo>
                  <a:close/>
                  <a:moveTo>
                    <a:pt x="6093619" y="247174"/>
                  </a:moveTo>
                  <a:cubicBezTo>
                    <a:pt x="6094571" y="250031"/>
                    <a:pt x="6094571" y="252889"/>
                    <a:pt x="6095524" y="255746"/>
                  </a:cubicBezTo>
                  <a:cubicBezTo>
                    <a:pt x="6094571" y="258604"/>
                    <a:pt x="6092667" y="261461"/>
                    <a:pt x="6091714" y="264319"/>
                  </a:cubicBezTo>
                  <a:cubicBezTo>
                    <a:pt x="6091714" y="263366"/>
                    <a:pt x="6090762" y="262414"/>
                    <a:pt x="6090762" y="262414"/>
                  </a:cubicBezTo>
                  <a:cubicBezTo>
                    <a:pt x="6091714" y="257651"/>
                    <a:pt x="6092667" y="251936"/>
                    <a:pt x="6093619" y="247174"/>
                  </a:cubicBezTo>
                  <a:close/>
                  <a:moveTo>
                    <a:pt x="6088856" y="269081"/>
                  </a:moveTo>
                  <a:cubicBezTo>
                    <a:pt x="6088856" y="269081"/>
                    <a:pt x="6088856" y="270034"/>
                    <a:pt x="6088856" y="270034"/>
                  </a:cubicBezTo>
                  <a:cubicBezTo>
                    <a:pt x="6088856" y="270034"/>
                    <a:pt x="6088856" y="270034"/>
                    <a:pt x="6088856" y="270034"/>
                  </a:cubicBezTo>
                  <a:cubicBezTo>
                    <a:pt x="6088856" y="270986"/>
                    <a:pt x="6087904" y="271939"/>
                    <a:pt x="6087904" y="272891"/>
                  </a:cubicBezTo>
                  <a:cubicBezTo>
                    <a:pt x="6088856" y="270986"/>
                    <a:pt x="6088856" y="270034"/>
                    <a:pt x="6088856" y="269081"/>
                  </a:cubicBezTo>
                  <a:close/>
                  <a:moveTo>
                    <a:pt x="6067901" y="369094"/>
                  </a:moveTo>
                  <a:cubicBezTo>
                    <a:pt x="6072664" y="358616"/>
                    <a:pt x="6076474" y="349091"/>
                    <a:pt x="6080284" y="339566"/>
                  </a:cubicBezTo>
                  <a:cubicBezTo>
                    <a:pt x="6082189" y="334804"/>
                    <a:pt x="6084094" y="330041"/>
                    <a:pt x="6085046" y="326231"/>
                  </a:cubicBezTo>
                  <a:cubicBezTo>
                    <a:pt x="6085999" y="321469"/>
                    <a:pt x="6087904" y="317659"/>
                    <a:pt x="6088856" y="313849"/>
                  </a:cubicBezTo>
                  <a:cubicBezTo>
                    <a:pt x="6090762" y="306229"/>
                    <a:pt x="6092667" y="299561"/>
                    <a:pt x="6093619" y="293846"/>
                  </a:cubicBezTo>
                  <a:cubicBezTo>
                    <a:pt x="6093619" y="293846"/>
                    <a:pt x="6093619" y="293846"/>
                    <a:pt x="6093619" y="293846"/>
                  </a:cubicBezTo>
                  <a:cubicBezTo>
                    <a:pt x="6094571" y="299561"/>
                    <a:pt x="6095524" y="305276"/>
                    <a:pt x="6096476" y="310991"/>
                  </a:cubicBezTo>
                  <a:cubicBezTo>
                    <a:pt x="6098381" y="319564"/>
                    <a:pt x="6098381" y="329089"/>
                    <a:pt x="6100287" y="339566"/>
                  </a:cubicBezTo>
                  <a:cubicBezTo>
                    <a:pt x="6100287" y="345281"/>
                    <a:pt x="6101239" y="350044"/>
                    <a:pt x="6101239" y="355759"/>
                  </a:cubicBezTo>
                  <a:cubicBezTo>
                    <a:pt x="6101239" y="355759"/>
                    <a:pt x="6101239" y="355759"/>
                    <a:pt x="6101239" y="355759"/>
                  </a:cubicBezTo>
                  <a:cubicBezTo>
                    <a:pt x="6101239" y="356711"/>
                    <a:pt x="6100287" y="358616"/>
                    <a:pt x="6100287" y="359569"/>
                  </a:cubicBezTo>
                  <a:cubicBezTo>
                    <a:pt x="6100287" y="355759"/>
                    <a:pt x="6099334" y="352901"/>
                    <a:pt x="6097429" y="350044"/>
                  </a:cubicBezTo>
                  <a:cubicBezTo>
                    <a:pt x="6096476" y="348139"/>
                    <a:pt x="6094571" y="347186"/>
                    <a:pt x="6093619" y="345281"/>
                  </a:cubicBezTo>
                  <a:cubicBezTo>
                    <a:pt x="6091714" y="344329"/>
                    <a:pt x="6089809" y="343376"/>
                    <a:pt x="6087904" y="342424"/>
                  </a:cubicBezTo>
                  <a:lnTo>
                    <a:pt x="6085999" y="341471"/>
                  </a:lnTo>
                  <a:lnTo>
                    <a:pt x="6085046" y="343376"/>
                  </a:lnTo>
                  <a:cubicBezTo>
                    <a:pt x="6082189" y="350996"/>
                    <a:pt x="6079331" y="357664"/>
                    <a:pt x="6076474" y="365284"/>
                  </a:cubicBezTo>
                  <a:cubicBezTo>
                    <a:pt x="6074569" y="371951"/>
                    <a:pt x="6071712" y="377666"/>
                    <a:pt x="6069806" y="384334"/>
                  </a:cubicBezTo>
                  <a:cubicBezTo>
                    <a:pt x="6068854" y="380524"/>
                    <a:pt x="6067901" y="376714"/>
                    <a:pt x="6065996" y="372904"/>
                  </a:cubicBezTo>
                  <a:cubicBezTo>
                    <a:pt x="6066949" y="371951"/>
                    <a:pt x="6067901" y="370999"/>
                    <a:pt x="6067901" y="369094"/>
                  </a:cubicBezTo>
                  <a:close/>
                  <a:moveTo>
                    <a:pt x="6035517" y="310039"/>
                  </a:moveTo>
                  <a:cubicBezTo>
                    <a:pt x="6035517" y="309086"/>
                    <a:pt x="6035517" y="309086"/>
                    <a:pt x="6035517" y="308134"/>
                  </a:cubicBezTo>
                  <a:cubicBezTo>
                    <a:pt x="6036469" y="312896"/>
                    <a:pt x="6038374" y="318611"/>
                    <a:pt x="6040279" y="324326"/>
                  </a:cubicBezTo>
                  <a:cubicBezTo>
                    <a:pt x="6041231" y="329089"/>
                    <a:pt x="6042184" y="333851"/>
                    <a:pt x="6044089" y="338614"/>
                  </a:cubicBezTo>
                  <a:cubicBezTo>
                    <a:pt x="6042184" y="344329"/>
                    <a:pt x="6040279" y="350044"/>
                    <a:pt x="6038374" y="355759"/>
                  </a:cubicBezTo>
                  <a:cubicBezTo>
                    <a:pt x="6036469" y="345281"/>
                    <a:pt x="6035517" y="336709"/>
                    <a:pt x="6033612" y="330041"/>
                  </a:cubicBezTo>
                  <a:cubicBezTo>
                    <a:pt x="6034564" y="323374"/>
                    <a:pt x="6034564" y="315754"/>
                    <a:pt x="6035517" y="310039"/>
                  </a:cubicBezTo>
                  <a:close/>
                  <a:moveTo>
                    <a:pt x="6012656" y="361474"/>
                  </a:moveTo>
                  <a:cubicBezTo>
                    <a:pt x="6012656" y="362426"/>
                    <a:pt x="6012656" y="363379"/>
                    <a:pt x="6012656" y="363379"/>
                  </a:cubicBezTo>
                  <a:cubicBezTo>
                    <a:pt x="6012656" y="362426"/>
                    <a:pt x="6012656" y="361474"/>
                    <a:pt x="6012656" y="359569"/>
                  </a:cubicBezTo>
                  <a:cubicBezTo>
                    <a:pt x="6012656" y="360521"/>
                    <a:pt x="6012656" y="360521"/>
                    <a:pt x="6012656" y="361474"/>
                  </a:cubicBezTo>
                  <a:close/>
                  <a:moveTo>
                    <a:pt x="6007894" y="351949"/>
                  </a:moveTo>
                  <a:cubicBezTo>
                    <a:pt x="6007894" y="351949"/>
                    <a:pt x="6007894" y="352901"/>
                    <a:pt x="6007894" y="352901"/>
                  </a:cubicBezTo>
                  <a:cubicBezTo>
                    <a:pt x="6007894" y="351949"/>
                    <a:pt x="6007894" y="351949"/>
                    <a:pt x="6007894" y="351949"/>
                  </a:cubicBezTo>
                  <a:cubicBezTo>
                    <a:pt x="6007894" y="350996"/>
                    <a:pt x="6007894" y="351949"/>
                    <a:pt x="6007894" y="351949"/>
                  </a:cubicBezTo>
                  <a:close/>
                  <a:moveTo>
                    <a:pt x="5976462" y="410051"/>
                  </a:moveTo>
                  <a:cubicBezTo>
                    <a:pt x="5975509" y="407194"/>
                    <a:pt x="5974556" y="404336"/>
                    <a:pt x="5973604" y="402431"/>
                  </a:cubicBezTo>
                  <a:cubicBezTo>
                    <a:pt x="5973604" y="401479"/>
                    <a:pt x="5972651" y="399574"/>
                    <a:pt x="5972651" y="398621"/>
                  </a:cubicBezTo>
                  <a:cubicBezTo>
                    <a:pt x="5972651" y="395764"/>
                    <a:pt x="5971699" y="392906"/>
                    <a:pt x="5971699" y="391001"/>
                  </a:cubicBezTo>
                  <a:cubicBezTo>
                    <a:pt x="5972651" y="389096"/>
                    <a:pt x="5972651" y="387191"/>
                    <a:pt x="5973604" y="386239"/>
                  </a:cubicBezTo>
                  <a:cubicBezTo>
                    <a:pt x="5975509" y="382429"/>
                    <a:pt x="5976462" y="378619"/>
                    <a:pt x="5977414" y="374809"/>
                  </a:cubicBezTo>
                  <a:cubicBezTo>
                    <a:pt x="5977414" y="385286"/>
                    <a:pt x="5976462" y="397669"/>
                    <a:pt x="5976462" y="410051"/>
                  </a:cubicBezTo>
                  <a:close/>
                  <a:moveTo>
                    <a:pt x="5976462" y="239554"/>
                  </a:moveTo>
                  <a:cubicBezTo>
                    <a:pt x="5977414" y="243364"/>
                    <a:pt x="5977414" y="246221"/>
                    <a:pt x="5978367" y="250031"/>
                  </a:cubicBezTo>
                  <a:cubicBezTo>
                    <a:pt x="5978367" y="251936"/>
                    <a:pt x="5979319" y="254794"/>
                    <a:pt x="5979319" y="256699"/>
                  </a:cubicBezTo>
                  <a:cubicBezTo>
                    <a:pt x="5977414" y="253841"/>
                    <a:pt x="5976462" y="250984"/>
                    <a:pt x="5974556" y="248126"/>
                  </a:cubicBezTo>
                  <a:cubicBezTo>
                    <a:pt x="5975509" y="245269"/>
                    <a:pt x="5975509" y="242411"/>
                    <a:pt x="5976462" y="239554"/>
                  </a:cubicBezTo>
                  <a:close/>
                  <a:moveTo>
                    <a:pt x="5965984" y="291941"/>
                  </a:moveTo>
                  <a:cubicBezTo>
                    <a:pt x="5965984" y="290036"/>
                    <a:pt x="5966937" y="288131"/>
                    <a:pt x="5966937" y="286226"/>
                  </a:cubicBezTo>
                  <a:cubicBezTo>
                    <a:pt x="5966937" y="285274"/>
                    <a:pt x="5967889" y="283369"/>
                    <a:pt x="5967889" y="282416"/>
                  </a:cubicBezTo>
                  <a:cubicBezTo>
                    <a:pt x="5968842" y="277654"/>
                    <a:pt x="5969794" y="273844"/>
                    <a:pt x="5970746" y="269081"/>
                  </a:cubicBezTo>
                  <a:cubicBezTo>
                    <a:pt x="5974556" y="278606"/>
                    <a:pt x="5979319" y="289084"/>
                    <a:pt x="5983129" y="298609"/>
                  </a:cubicBezTo>
                  <a:cubicBezTo>
                    <a:pt x="5982176" y="309086"/>
                    <a:pt x="5981224" y="319564"/>
                    <a:pt x="5980271" y="330994"/>
                  </a:cubicBezTo>
                  <a:cubicBezTo>
                    <a:pt x="5980271" y="330994"/>
                    <a:pt x="5980271" y="331946"/>
                    <a:pt x="5979319" y="331946"/>
                  </a:cubicBezTo>
                  <a:cubicBezTo>
                    <a:pt x="5977414" y="329089"/>
                    <a:pt x="5976462" y="328136"/>
                    <a:pt x="5976462" y="328136"/>
                  </a:cubicBezTo>
                  <a:cubicBezTo>
                    <a:pt x="5976462" y="328136"/>
                    <a:pt x="5977414" y="330041"/>
                    <a:pt x="5979319" y="332899"/>
                  </a:cubicBezTo>
                  <a:cubicBezTo>
                    <a:pt x="5977414" y="336709"/>
                    <a:pt x="5974556" y="341471"/>
                    <a:pt x="5972651" y="346234"/>
                  </a:cubicBezTo>
                  <a:cubicBezTo>
                    <a:pt x="5970746" y="349091"/>
                    <a:pt x="5969794" y="352901"/>
                    <a:pt x="5967889" y="355759"/>
                  </a:cubicBezTo>
                  <a:cubicBezTo>
                    <a:pt x="5967889" y="355759"/>
                    <a:pt x="5967889" y="355759"/>
                    <a:pt x="5967889" y="355759"/>
                  </a:cubicBezTo>
                  <a:cubicBezTo>
                    <a:pt x="5967889" y="353854"/>
                    <a:pt x="5967889" y="352901"/>
                    <a:pt x="5966937" y="351949"/>
                  </a:cubicBezTo>
                  <a:cubicBezTo>
                    <a:pt x="5965984" y="346234"/>
                    <a:pt x="5965984" y="339566"/>
                    <a:pt x="5965031" y="333851"/>
                  </a:cubicBezTo>
                  <a:cubicBezTo>
                    <a:pt x="5964079" y="321469"/>
                    <a:pt x="5964079" y="310039"/>
                    <a:pt x="5963126" y="299561"/>
                  </a:cubicBezTo>
                  <a:cubicBezTo>
                    <a:pt x="5964079" y="296704"/>
                    <a:pt x="5965031" y="294799"/>
                    <a:pt x="5965984" y="291941"/>
                  </a:cubicBezTo>
                  <a:close/>
                  <a:moveTo>
                    <a:pt x="5952649" y="385286"/>
                  </a:moveTo>
                  <a:cubicBezTo>
                    <a:pt x="5952649" y="385286"/>
                    <a:pt x="5952649" y="385286"/>
                    <a:pt x="5952649" y="385286"/>
                  </a:cubicBezTo>
                  <a:cubicBezTo>
                    <a:pt x="5952649" y="385286"/>
                    <a:pt x="5952649" y="385286"/>
                    <a:pt x="5952649" y="385286"/>
                  </a:cubicBezTo>
                  <a:cubicBezTo>
                    <a:pt x="5952649" y="385286"/>
                    <a:pt x="5952649" y="385286"/>
                    <a:pt x="5952649" y="385286"/>
                  </a:cubicBezTo>
                  <a:close/>
                  <a:moveTo>
                    <a:pt x="5934551" y="339566"/>
                  </a:moveTo>
                  <a:cubicBezTo>
                    <a:pt x="5934551" y="337661"/>
                    <a:pt x="5933599" y="334804"/>
                    <a:pt x="5933599" y="332899"/>
                  </a:cubicBezTo>
                  <a:cubicBezTo>
                    <a:pt x="5933599" y="331946"/>
                    <a:pt x="5933599" y="331946"/>
                    <a:pt x="5933599" y="330994"/>
                  </a:cubicBezTo>
                  <a:cubicBezTo>
                    <a:pt x="5934551" y="332899"/>
                    <a:pt x="5934551" y="334804"/>
                    <a:pt x="5935504" y="336709"/>
                  </a:cubicBezTo>
                  <a:cubicBezTo>
                    <a:pt x="5935504" y="337661"/>
                    <a:pt x="5934551" y="338614"/>
                    <a:pt x="5934551" y="339566"/>
                  </a:cubicBezTo>
                  <a:close/>
                  <a:moveTo>
                    <a:pt x="5948839" y="371951"/>
                  </a:moveTo>
                  <a:cubicBezTo>
                    <a:pt x="5947887" y="374809"/>
                    <a:pt x="5946934" y="378619"/>
                    <a:pt x="5945981" y="382429"/>
                  </a:cubicBezTo>
                  <a:cubicBezTo>
                    <a:pt x="5945029" y="386239"/>
                    <a:pt x="5944076" y="389096"/>
                    <a:pt x="5943124" y="392906"/>
                  </a:cubicBezTo>
                  <a:cubicBezTo>
                    <a:pt x="5943124" y="387191"/>
                    <a:pt x="5943124" y="382429"/>
                    <a:pt x="5943124" y="378619"/>
                  </a:cubicBezTo>
                  <a:cubicBezTo>
                    <a:pt x="5943124" y="378619"/>
                    <a:pt x="5943124" y="378619"/>
                    <a:pt x="5943124" y="378619"/>
                  </a:cubicBezTo>
                  <a:cubicBezTo>
                    <a:pt x="5945029" y="373856"/>
                    <a:pt x="5945981" y="370046"/>
                    <a:pt x="5946934" y="365284"/>
                  </a:cubicBezTo>
                  <a:cubicBezTo>
                    <a:pt x="5946934" y="367189"/>
                    <a:pt x="5947887" y="370046"/>
                    <a:pt x="5948839" y="371951"/>
                  </a:cubicBezTo>
                  <a:close/>
                  <a:moveTo>
                    <a:pt x="5930742" y="234791"/>
                  </a:moveTo>
                  <a:cubicBezTo>
                    <a:pt x="5933599" y="245269"/>
                    <a:pt x="5935504" y="256699"/>
                    <a:pt x="5938362" y="269081"/>
                  </a:cubicBezTo>
                  <a:cubicBezTo>
                    <a:pt x="5941219" y="280511"/>
                    <a:pt x="5942171" y="293846"/>
                    <a:pt x="5945029" y="307181"/>
                  </a:cubicBezTo>
                  <a:cubicBezTo>
                    <a:pt x="5943124" y="312896"/>
                    <a:pt x="5941219" y="317659"/>
                    <a:pt x="5940267" y="323374"/>
                  </a:cubicBezTo>
                  <a:cubicBezTo>
                    <a:pt x="5940267" y="323374"/>
                    <a:pt x="5940267" y="324326"/>
                    <a:pt x="5940267" y="324326"/>
                  </a:cubicBezTo>
                  <a:cubicBezTo>
                    <a:pt x="5937409" y="318611"/>
                    <a:pt x="5934551" y="312896"/>
                    <a:pt x="5931694" y="307181"/>
                  </a:cubicBezTo>
                  <a:cubicBezTo>
                    <a:pt x="5930742" y="299561"/>
                    <a:pt x="5929789" y="291941"/>
                    <a:pt x="5928837" y="284321"/>
                  </a:cubicBezTo>
                  <a:cubicBezTo>
                    <a:pt x="5927884" y="277654"/>
                    <a:pt x="5927884" y="271939"/>
                    <a:pt x="5926931" y="266224"/>
                  </a:cubicBezTo>
                  <a:cubicBezTo>
                    <a:pt x="5928837" y="261461"/>
                    <a:pt x="5929789" y="259556"/>
                    <a:pt x="5929789" y="259556"/>
                  </a:cubicBezTo>
                  <a:cubicBezTo>
                    <a:pt x="5929789" y="259556"/>
                    <a:pt x="5928837" y="261461"/>
                    <a:pt x="5926931" y="264319"/>
                  </a:cubicBezTo>
                  <a:cubicBezTo>
                    <a:pt x="5925979" y="257651"/>
                    <a:pt x="5925026" y="251936"/>
                    <a:pt x="5925026" y="245269"/>
                  </a:cubicBezTo>
                  <a:cubicBezTo>
                    <a:pt x="5925979" y="241459"/>
                    <a:pt x="5926931" y="237649"/>
                    <a:pt x="5926931" y="233839"/>
                  </a:cubicBezTo>
                  <a:cubicBezTo>
                    <a:pt x="5927884" y="230981"/>
                    <a:pt x="5927884" y="228124"/>
                    <a:pt x="5928837" y="226219"/>
                  </a:cubicBezTo>
                  <a:cubicBezTo>
                    <a:pt x="5928837" y="229076"/>
                    <a:pt x="5929789" y="231934"/>
                    <a:pt x="5930742" y="234791"/>
                  </a:cubicBezTo>
                  <a:close/>
                  <a:moveTo>
                    <a:pt x="5923121" y="209074"/>
                  </a:moveTo>
                  <a:cubicBezTo>
                    <a:pt x="5924074" y="212884"/>
                    <a:pt x="5925979" y="217646"/>
                    <a:pt x="5926931" y="222409"/>
                  </a:cubicBezTo>
                  <a:cubicBezTo>
                    <a:pt x="5925026" y="225266"/>
                    <a:pt x="5924074" y="229076"/>
                    <a:pt x="5922169" y="232886"/>
                  </a:cubicBezTo>
                  <a:cubicBezTo>
                    <a:pt x="5921217" y="223361"/>
                    <a:pt x="5920264" y="214789"/>
                    <a:pt x="5919312" y="206216"/>
                  </a:cubicBezTo>
                  <a:cubicBezTo>
                    <a:pt x="5919312" y="201454"/>
                    <a:pt x="5918359" y="197644"/>
                    <a:pt x="5918359" y="193834"/>
                  </a:cubicBezTo>
                  <a:cubicBezTo>
                    <a:pt x="5920264" y="197644"/>
                    <a:pt x="5921217" y="202406"/>
                    <a:pt x="5923121" y="209074"/>
                  </a:cubicBezTo>
                  <a:close/>
                  <a:moveTo>
                    <a:pt x="5901214" y="244316"/>
                  </a:moveTo>
                  <a:cubicBezTo>
                    <a:pt x="5901214" y="247174"/>
                    <a:pt x="5901214" y="251936"/>
                    <a:pt x="5901214" y="258604"/>
                  </a:cubicBezTo>
                  <a:cubicBezTo>
                    <a:pt x="5901214" y="264319"/>
                    <a:pt x="5901214" y="270986"/>
                    <a:pt x="5902167" y="278606"/>
                  </a:cubicBezTo>
                  <a:cubicBezTo>
                    <a:pt x="5902167" y="286226"/>
                    <a:pt x="5903119" y="293846"/>
                    <a:pt x="5904071" y="302419"/>
                  </a:cubicBezTo>
                  <a:cubicBezTo>
                    <a:pt x="5903119" y="304324"/>
                    <a:pt x="5901214" y="307181"/>
                    <a:pt x="5900262" y="310039"/>
                  </a:cubicBezTo>
                  <a:cubicBezTo>
                    <a:pt x="5898356" y="300514"/>
                    <a:pt x="5896451" y="291941"/>
                    <a:pt x="5895499" y="284321"/>
                  </a:cubicBezTo>
                  <a:cubicBezTo>
                    <a:pt x="5897404" y="264319"/>
                    <a:pt x="5900262" y="250984"/>
                    <a:pt x="5901214" y="244316"/>
                  </a:cubicBezTo>
                  <a:close/>
                  <a:moveTo>
                    <a:pt x="5903119" y="324326"/>
                  </a:moveTo>
                  <a:cubicBezTo>
                    <a:pt x="5903119" y="325279"/>
                    <a:pt x="5903119" y="327184"/>
                    <a:pt x="5903119" y="328136"/>
                  </a:cubicBezTo>
                  <a:cubicBezTo>
                    <a:pt x="5903119" y="327184"/>
                    <a:pt x="5903119" y="326231"/>
                    <a:pt x="5902167" y="325279"/>
                  </a:cubicBezTo>
                  <a:cubicBezTo>
                    <a:pt x="5903119" y="325279"/>
                    <a:pt x="5903119" y="324326"/>
                    <a:pt x="5903119" y="324326"/>
                  </a:cubicBezTo>
                  <a:close/>
                  <a:moveTo>
                    <a:pt x="5892642" y="348139"/>
                  </a:moveTo>
                  <a:cubicBezTo>
                    <a:pt x="5892642" y="350044"/>
                    <a:pt x="5892642" y="350996"/>
                    <a:pt x="5893594" y="352901"/>
                  </a:cubicBezTo>
                  <a:cubicBezTo>
                    <a:pt x="5893594" y="353854"/>
                    <a:pt x="5893594" y="354806"/>
                    <a:pt x="5893594" y="355759"/>
                  </a:cubicBezTo>
                  <a:cubicBezTo>
                    <a:pt x="5892642" y="353854"/>
                    <a:pt x="5892642" y="351949"/>
                    <a:pt x="5891689" y="350996"/>
                  </a:cubicBezTo>
                  <a:cubicBezTo>
                    <a:pt x="5892642" y="350044"/>
                    <a:pt x="5892642" y="349091"/>
                    <a:pt x="5892642" y="348139"/>
                  </a:cubicBezTo>
                  <a:close/>
                  <a:moveTo>
                    <a:pt x="5893594" y="373856"/>
                  </a:moveTo>
                  <a:cubicBezTo>
                    <a:pt x="5895499" y="379571"/>
                    <a:pt x="5897404" y="385286"/>
                    <a:pt x="5898356" y="391954"/>
                  </a:cubicBezTo>
                  <a:cubicBezTo>
                    <a:pt x="5899309" y="396716"/>
                    <a:pt x="5901214" y="402431"/>
                    <a:pt x="5902167" y="408146"/>
                  </a:cubicBezTo>
                  <a:cubicBezTo>
                    <a:pt x="5903119" y="411004"/>
                    <a:pt x="5903119" y="414814"/>
                    <a:pt x="5904071" y="417671"/>
                  </a:cubicBezTo>
                  <a:cubicBezTo>
                    <a:pt x="5904071" y="417671"/>
                    <a:pt x="5904071" y="417671"/>
                    <a:pt x="5904071" y="417671"/>
                  </a:cubicBezTo>
                  <a:cubicBezTo>
                    <a:pt x="5899309" y="407194"/>
                    <a:pt x="5895499" y="397669"/>
                    <a:pt x="5890737" y="387191"/>
                  </a:cubicBezTo>
                  <a:cubicBezTo>
                    <a:pt x="5889784" y="386239"/>
                    <a:pt x="5889784" y="385286"/>
                    <a:pt x="5888831" y="383381"/>
                  </a:cubicBezTo>
                  <a:lnTo>
                    <a:pt x="5887879" y="357664"/>
                  </a:lnTo>
                  <a:cubicBezTo>
                    <a:pt x="5887879" y="357664"/>
                    <a:pt x="5887879" y="356711"/>
                    <a:pt x="5888831" y="356711"/>
                  </a:cubicBezTo>
                  <a:cubicBezTo>
                    <a:pt x="5889784" y="363379"/>
                    <a:pt x="5891689" y="368141"/>
                    <a:pt x="5893594" y="373856"/>
                  </a:cubicBezTo>
                  <a:close/>
                  <a:moveTo>
                    <a:pt x="5886926" y="321469"/>
                  </a:moveTo>
                  <a:cubicBezTo>
                    <a:pt x="5887879" y="317659"/>
                    <a:pt x="5887879" y="314801"/>
                    <a:pt x="5888831" y="311944"/>
                  </a:cubicBezTo>
                  <a:cubicBezTo>
                    <a:pt x="5888831" y="312896"/>
                    <a:pt x="5888831" y="313849"/>
                    <a:pt x="5888831" y="314801"/>
                  </a:cubicBezTo>
                  <a:cubicBezTo>
                    <a:pt x="5888831" y="318611"/>
                    <a:pt x="5889784" y="322421"/>
                    <a:pt x="5889784" y="326231"/>
                  </a:cubicBezTo>
                  <a:cubicBezTo>
                    <a:pt x="5888831" y="328136"/>
                    <a:pt x="5887879" y="330041"/>
                    <a:pt x="5885974" y="332899"/>
                  </a:cubicBezTo>
                  <a:cubicBezTo>
                    <a:pt x="5885974" y="330041"/>
                    <a:pt x="5885974" y="327184"/>
                    <a:pt x="5885974" y="325279"/>
                  </a:cubicBezTo>
                  <a:cubicBezTo>
                    <a:pt x="5885974" y="323374"/>
                    <a:pt x="5886926" y="322421"/>
                    <a:pt x="5886926" y="321469"/>
                  </a:cubicBezTo>
                  <a:close/>
                  <a:moveTo>
                    <a:pt x="5858351" y="279559"/>
                  </a:moveTo>
                  <a:cubicBezTo>
                    <a:pt x="5858351" y="281464"/>
                    <a:pt x="5858351" y="282416"/>
                    <a:pt x="5858351" y="284321"/>
                  </a:cubicBezTo>
                  <a:cubicBezTo>
                    <a:pt x="5858351" y="284321"/>
                    <a:pt x="5858351" y="285274"/>
                    <a:pt x="5858351" y="285274"/>
                  </a:cubicBezTo>
                  <a:cubicBezTo>
                    <a:pt x="5858351" y="284321"/>
                    <a:pt x="5857399" y="283369"/>
                    <a:pt x="5857399" y="281464"/>
                  </a:cubicBezTo>
                  <a:cubicBezTo>
                    <a:pt x="5857399" y="281464"/>
                    <a:pt x="5857399" y="280511"/>
                    <a:pt x="5858351" y="279559"/>
                  </a:cubicBezTo>
                  <a:close/>
                  <a:moveTo>
                    <a:pt x="5841206" y="264319"/>
                  </a:moveTo>
                  <a:cubicBezTo>
                    <a:pt x="5841206" y="266224"/>
                    <a:pt x="5840254" y="268129"/>
                    <a:pt x="5840254" y="270034"/>
                  </a:cubicBezTo>
                  <a:cubicBezTo>
                    <a:pt x="5840254" y="272891"/>
                    <a:pt x="5839301" y="274796"/>
                    <a:pt x="5839301" y="277654"/>
                  </a:cubicBezTo>
                  <a:cubicBezTo>
                    <a:pt x="5839301" y="275749"/>
                    <a:pt x="5838349" y="273844"/>
                    <a:pt x="5838349" y="271939"/>
                  </a:cubicBezTo>
                  <a:cubicBezTo>
                    <a:pt x="5840254" y="269081"/>
                    <a:pt x="5840254" y="267176"/>
                    <a:pt x="5841206" y="264319"/>
                  </a:cubicBezTo>
                  <a:close/>
                  <a:moveTo>
                    <a:pt x="5828824" y="305276"/>
                  </a:moveTo>
                  <a:cubicBezTo>
                    <a:pt x="5827871" y="306229"/>
                    <a:pt x="5827871" y="307181"/>
                    <a:pt x="5826919" y="308134"/>
                  </a:cubicBezTo>
                  <a:cubicBezTo>
                    <a:pt x="5826919" y="307181"/>
                    <a:pt x="5826919" y="307181"/>
                    <a:pt x="5826919" y="306229"/>
                  </a:cubicBezTo>
                  <a:cubicBezTo>
                    <a:pt x="5827871" y="304324"/>
                    <a:pt x="5828824" y="301466"/>
                    <a:pt x="5829776" y="299561"/>
                  </a:cubicBezTo>
                  <a:cubicBezTo>
                    <a:pt x="5828824" y="302419"/>
                    <a:pt x="5828824" y="303371"/>
                    <a:pt x="5828824" y="305276"/>
                  </a:cubicBezTo>
                  <a:close/>
                  <a:moveTo>
                    <a:pt x="5823109" y="259556"/>
                  </a:moveTo>
                  <a:cubicBezTo>
                    <a:pt x="5824062" y="262414"/>
                    <a:pt x="5825967" y="266224"/>
                    <a:pt x="5827871" y="270986"/>
                  </a:cubicBezTo>
                  <a:cubicBezTo>
                    <a:pt x="5827871" y="271939"/>
                    <a:pt x="5828824" y="272891"/>
                    <a:pt x="5828824" y="273844"/>
                  </a:cubicBezTo>
                  <a:cubicBezTo>
                    <a:pt x="5828824" y="277654"/>
                    <a:pt x="5828824" y="281464"/>
                    <a:pt x="5828824" y="286226"/>
                  </a:cubicBezTo>
                  <a:cubicBezTo>
                    <a:pt x="5826919" y="289084"/>
                    <a:pt x="5825967" y="291941"/>
                    <a:pt x="5824062" y="295751"/>
                  </a:cubicBezTo>
                  <a:lnTo>
                    <a:pt x="5824062" y="294799"/>
                  </a:lnTo>
                  <a:lnTo>
                    <a:pt x="5823109" y="267176"/>
                  </a:lnTo>
                  <a:lnTo>
                    <a:pt x="5823109" y="259556"/>
                  </a:lnTo>
                  <a:close/>
                  <a:moveTo>
                    <a:pt x="5813584" y="252889"/>
                  </a:moveTo>
                  <a:cubicBezTo>
                    <a:pt x="5813584" y="254794"/>
                    <a:pt x="5812631" y="256699"/>
                    <a:pt x="5812631" y="258604"/>
                  </a:cubicBezTo>
                  <a:cubicBezTo>
                    <a:pt x="5811679" y="256699"/>
                    <a:pt x="5811679" y="255746"/>
                    <a:pt x="5811679" y="255746"/>
                  </a:cubicBezTo>
                  <a:cubicBezTo>
                    <a:pt x="5811679" y="255746"/>
                    <a:pt x="5811679" y="258604"/>
                    <a:pt x="5811679" y="262414"/>
                  </a:cubicBezTo>
                  <a:cubicBezTo>
                    <a:pt x="5811679" y="264319"/>
                    <a:pt x="5810726" y="265271"/>
                    <a:pt x="5810726" y="267176"/>
                  </a:cubicBezTo>
                  <a:cubicBezTo>
                    <a:pt x="5809774" y="276701"/>
                    <a:pt x="5808821" y="285274"/>
                    <a:pt x="5808821" y="294799"/>
                  </a:cubicBezTo>
                  <a:lnTo>
                    <a:pt x="5808821" y="304324"/>
                  </a:lnTo>
                  <a:lnTo>
                    <a:pt x="5807869" y="300514"/>
                  </a:lnTo>
                  <a:cubicBezTo>
                    <a:pt x="5808821" y="286226"/>
                    <a:pt x="5807869" y="273844"/>
                    <a:pt x="5806917" y="264319"/>
                  </a:cubicBezTo>
                  <a:cubicBezTo>
                    <a:pt x="5806917" y="263366"/>
                    <a:pt x="5806917" y="263366"/>
                    <a:pt x="5806917" y="262414"/>
                  </a:cubicBezTo>
                  <a:cubicBezTo>
                    <a:pt x="5809774" y="258604"/>
                    <a:pt x="5812631" y="254794"/>
                    <a:pt x="5813584" y="252889"/>
                  </a:cubicBezTo>
                  <a:close/>
                  <a:moveTo>
                    <a:pt x="5804059" y="268129"/>
                  </a:moveTo>
                  <a:cubicBezTo>
                    <a:pt x="5804059" y="268129"/>
                    <a:pt x="5804059" y="269081"/>
                    <a:pt x="5804059" y="269081"/>
                  </a:cubicBezTo>
                  <a:lnTo>
                    <a:pt x="5804059" y="268129"/>
                  </a:lnTo>
                  <a:cubicBezTo>
                    <a:pt x="5804059" y="268129"/>
                    <a:pt x="5804059" y="268129"/>
                    <a:pt x="5804059" y="268129"/>
                  </a:cubicBezTo>
                  <a:close/>
                  <a:moveTo>
                    <a:pt x="5799296" y="164306"/>
                  </a:moveTo>
                  <a:cubicBezTo>
                    <a:pt x="5800249" y="165259"/>
                    <a:pt x="5801201" y="165259"/>
                    <a:pt x="5802154" y="166211"/>
                  </a:cubicBezTo>
                  <a:cubicBezTo>
                    <a:pt x="5800249" y="170021"/>
                    <a:pt x="5798344" y="172879"/>
                    <a:pt x="5796439" y="176689"/>
                  </a:cubicBezTo>
                  <a:lnTo>
                    <a:pt x="5796439" y="163354"/>
                  </a:lnTo>
                  <a:cubicBezTo>
                    <a:pt x="5797392" y="163354"/>
                    <a:pt x="5798344" y="163354"/>
                    <a:pt x="5799296" y="164306"/>
                  </a:cubicBezTo>
                  <a:close/>
                  <a:moveTo>
                    <a:pt x="5770721" y="386239"/>
                  </a:moveTo>
                  <a:cubicBezTo>
                    <a:pt x="5770721" y="385286"/>
                    <a:pt x="5770721" y="384334"/>
                    <a:pt x="5770721" y="383381"/>
                  </a:cubicBezTo>
                  <a:cubicBezTo>
                    <a:pt x="5770721" y="383381"/>
                    <a:pt x="5770721" y="382429"/>
                    <a:pt x="5770721" y="382429"/>
                  </a:cubicBezTo>
                  <a:cubicBezTo>
                    <a:pt x="5770721" y="384334"/>
                    <a:pt x="5770721" y="385286"/>
                    <a:pt x="5771674" y="387191"/>
                  </a:cubicBezTo>
                  <a:cubicBezTo>
                    <a:pt x="5771674" y="386239"/>
                    <a:pt x="5771674" y="386239"/>
                    <a:pt x="5770721" y="386239"/>
                  </a:cubicBezTo>
                  <a:close/>
                  <a:moveTo>
                    <a:pt x="5782151" y="253841"/>
                  </a:moveTo>
                  <a:cubicBezTo>
                    <a:pt x="5781199" y="254794"/>
                    <a:pt x="5781199" y="256699"/>
                    <a:pt x="5780246" y="258604"/>
                  </a:cubicBezTo>
                  <a:cubicBezTo>
                    <a:pt x="5779294" y="261461"/>
                    <a:pt x="5778342" y="264319"/>
                    <a:pt x="5777389" y="267176"/>
                  </a:cubicBezTo>
                  <a:cubicBezTo>
                    <a:pt x="5776437" y="270034"/>
                    <a:pt x="5775484" y="272891"/>
                    <a:pt x="5773579" y="275749"/>
                  </a:cubicBezTo>
                  <a:cubicBezTo>
                    <a:pt x="5773579" y="274796"/>
                    <a:pt x="5772626" y="274796"/>
                    <a:pt x="5772626" y="273844"/>
                  </a:cubicBezTo>
                  <a:cubicBezTo>
                    <a:pt x="5772626" y="273844"/>
                    <a:pt x="5772626" y="272891"/>
                    <a:pt x="5771674" y="272891"/>
                  </a:cubicBezTo>
                  <a:cubicBezTo>
                    <a:pt x="5777389" y="256699"/>
                    <a:pt x="5781199" y="246221"/>
                    <a:pt x="5783104" y="241459"/>
                  </a:cubicBezTo>
                  <a:cubicBezTo>
                    <a:pt x="5783104" y="245269"/>
                    <a:pt x="5783104" y="250031"/>
                    <a:pt x="5782151" y="253841"/>
                  </a:cubicBezTo>
                  <a:close/>
                  <a:moveTo>
                    <a:pt x="5785962" y="221456"/>
                  </a:moveTo>
                  <a:cubicBezTo>
                    <a:pt x="5785009" y="227171"/>
                    <a:pt x="5785009" y="232886"/>
                    <a:pt x="5784056" y="239554"/>
                  </a:cubicBezTo>
                  <a:cubicBezTo>
                    <a:pt x="5784056" y="239554"/>
                    <a:pt x="5784056" y="240506"/>
                    <a:pt x="5784056" y="240506"/>
                  </a:cubicBezTo>
                  <a:cubicBezTo>
                    <a:pt x="5782151" y="244316"/>
                    <a:pt x="5777389" y="253841"/>
                    <a:pt x="5770721" y="267176"/>
                  </a:cubicBezTo>
                  <a:cubicBezTo>
                    <a:pt x="5770721" y="265271"/>
                    <a:pt x="5769769" y="263366"/>
                    <a:pt x="5769769" y="261461"/>
                  </a:cubicBezTo>
                  <a:cubicBezTo>
                    <a:pt x="5769769" y="260509"/>
                    <a:pt x="5769769" y="259556"/>
                    <a:pt x="5769769" y="258604"/>
                  </a:cubicBezTo>
                  <a:cubicBezTo>
                    <a:pt x="5775484" y="246221"/>
                    <a:pt x="5781199" y="233839"/>
                    <a:pt x="5785962" y="221456"/>
                  </a:cubicBezTo>
                  <a:close/>
                  <a:moveTo>
                    <a:pt x="5754529" y="333851"/>
                  </a:moveTo>
                  <a:cubicBezTo>
                    <a:pt x="5751671" y="338614"/>
                    <a:pt x="5749767" y="343376"/>
                    <a:pt x="5746909" y="348139"/>
                  </a:cubicBezTo>
                  <a:cubicBezTo>
                    <a:pt x="5746909" y="347186"/>
                    <a:pt x="5745956" y="347186"/>
                    <a:pt x="5745956" y="346234"/>
                  </a:cubicBezTo>
                  <a:cubicBezTo>
                    <a:pt x="5748814" y="337661"/>
                    <a:pt x="5751671" y="330041"/>
                    <a:pt x="5754529" y="322421"/>
                  </a:cubicBezTo>
                  <a:cubicBezTo>
                    <a:pt x="5754529" y="325279"/>
                    <a:pt x="5754529" y="329089"/>
                    <a:pt x="5754529" y="333851"/>
                  </a:cubicBezTo>
                  <a:cubicBezTo>
                    <a:pt x="5754529" y="333851"/>
                    <a:pt x="5754529" y="333851"/>
                    <a:pt x="5754529" y="333851"/>
                  </a:cubicBezTo>
                  <a:close/>
                  <a:moveTo>
                    <a:pt x="5762149" y="302419"/>
                  </a:moveTo>
                  <a:cubicBezTo>
                    <a:pt x="5762149" y="303371"/>
                    <a:pt x="5762149" y="303371"/>
                    <a:pt x="5762149" y="302419"/>
                  </a:cubicBezTo>
                  <a:cubicBezTo>
                    <a:pt x="5762149" y="303371"/>
                    <a:pt x="5761196" y="303371"/>
                    <a:pt x="5762149" y="302419"/>
                  </a:cubicBezTo>
                  <a:cubicBezTo>
                    <a:pt x="5761196" y="303371"/>
                    <a:pt x="5761196" y="303371"/>
                    <a:pt x="5762149" y="302419"/>
                  </a:cubicBezTo>
                  <a:close/>
                  <a:moveTo>
                    <a:pt x="5761196" y="304324"/>
                  </a:moveTo>
                  <a:cubicBezTo>
                    <a:pt x="5761196" y="304324"/>
                    <a:pt x="5761196" y="305276"/>
                    <a:pt x="5762149" y="305276"/>
                  </a:cubicBezTo>
                  <a:cubicBezTo>
                    <a:pt x="5762149" y="306229"/>
                    <a:pt x="5762149" y="307181"/>
                    <a:pt x="5762149" y="308134"/>
                  </a:cubicBezTo>
                  <a:cubicBezTo>
                    <a:pt x="5762149" y="309086"/>
                    <a:pt x="5762149" y="309086"/>
                    <a:pt x="5762149" y="310039"/>
                  </a:cubicBezTo>
                  <a:cubicBezTo>
                    <a:pt x="5761196" y="313849"/>
                    <a:pt x="5760244" y="316706"/>
                    <a:pt x="5759292" y="320516"/>
                  </a:cubicBezTo>
                  <a:cubicBezTo>
                    <a:pt x="5758339" y="323374"/>
                    <a:pt x="5758339" y="325279"/>
                    <a:pt x="5757387" y="328136"/>
                  </a:cubicBezTo>
                  <a:cubicBezTo>
                    <a:pt x="5756434" y="324326"/>
                    <a:pt x="5755481" y="321469"/>
                    <a:pt x="5755481" y="320516"/>
                  </a:cubicBezTo>
                  <a:cubicBezTo>
                    <a:pt x="5757387" y="314801"/>
                    <a:pt x="5759292" y="309086"/>
                    <a:pt x="5761196" y="304324"/>
                  </a:cubicBezTo>
                  <a:close/>
                  <a:moveTo>
                    <a:pt x="5760244" y="289084"/>
                  </a:moveTo>
                  <a:cubicBezTo>
                    <a:pt x="5760244" y="290036"/>
                    <a:pt x="5759292" y="290036"/>
                    <a:pt x="5759292" y="290989"/>
                  </a:cubicBezTo>
                  <a:cubicBezTo>
                    <a:pt x="5757387" y="293846"/>
                    <a:pt x="5754529" y="297656"/>
                    <a:pt x="5751671" y="301466"/>
                  </a:cubicBezTo>
                  <a:cubicBezTo>
                    <a:pt x="5750719" y="302419"/>
                    <a:pt x="5749767" y="304324"/>
                    <a:pt x="5748814" y="305276"/>
                  </a:cubicBezTo>
                  <a:cubicBezTo>
                    <a:pt x="5752624" y="296704"/>
                    <a:pt x="5755481" y="288131"/>
                    <a:pt x="5759292" y="280511"/>
                  </a:cubicBezTo>
                  <a:cubicBezTo>
                    <a:pt x="5760244" y="284321"/>
                    <a:pt x="5760244" y="286226"/>
                    <a:pt x="5760244" y="289084"/>
                  </a:cubicBezTo>
                  <a:close/>
                  <a:moveTo>
                    <a:pt x="5756434" y="227171"/>
                  </a:moveTo>
                  <a:cubicBezTo>
                    <a:pt x="5756434" y="231934"/>
                    <a:pt x="5756434" y="237649"/>
                    <a:pt x="5756434" y="243364"/>
                  </a:cubicBezTo>
                  <a:cubicBezTo>
                    <a:pt x="5756434" y="246221"/>
                    <a:pt x="5756434" y="248126"/>
                    <a:pt x="5757387" y="250984"/>
                  </a:cubicBezTo>
                  <a:cubicBezTo>
                    <a:pt x="5756434" y="253841"/>
                    <a:pt x="5754529" y="256699"/>
                    <a:pt x="5753576" y="259556"/>
                  </a:cubicBezTo>
                  <a:cubicBezTo>
                    <a:pt x="5749767" y="268129"/>
                    <a:pt x="5745004" y="276701"/>
                    <a:pt x="5741194" y="285274"/>
                  </a:cubicBezTo>
                  <a:cubicBezTo>
                    <a:pt x="5746909" y="262414"/>
                    <a:pt x="5752624" y="243364"/>
                    <a:pt x="5756434" y="227171"/>
                  </a:cubicBezTo>
                  <a:close/>
                  <a:moveTo>
                    <a:pt x="5676424" y="184309"/>
                  </a:moveTo>
                  <a:cubicBezTo>
                    <a:pt x="5676424" y="188119"/>
                    <a:pt x="5676424" y="192881"/>
                    <a:pt x="5676424" y="198596"/>
                  </a:cubicBezTo>
                  <a:cubicBezTo>
                    <a:pt x="5676424" y="206216"/>
                    <a:pt x="5676424" y="216694"/>
                    <a:pt x="5676424" y="228124"/>
                  </a:cubicBezTo>
                  <a:cubicBezTo>
                    <a:pt x="5676424" y="233839"/>
                    <a:pt x="5676424" y="239554"/>
                    <a:pt x="5676424" y="246221"/>
                  </a:cubicBezTo>
                  <a:cubicBezTo>
                    <a:pt x="5676424" y="252889"/>
                    <a:pt x="5677376" y="259556"/>
                    <a:pt x="5677376" y="266224"/>
                  </a:cubicBezTo>
                  <a:cubicBezTo>
                    <a:pt x="5677376" y="270034"/>
                    <a:pt x="5677376" y="273844"/>
                    <a:pt x="5678329" y="276701"/>
                  </a:cubicBezTo>
                  <a:cubicBezTo>
                    <a:pt x="5678329" y="276701"/>
                    <a:pt x="5678329" y="276701"/>
                    <a:pt x="5678329" y="276701"/>
                  </a:cubicBezTo>
                  <a:cubicBezTo>
                    <a:pt x="5677376" y="270986"/>
                    <a:pt x="5676424" y="265271"/>
                    <a:pt x="5675471" y="259556"/>
                  </a:cubicBezTo>
                  <a:cubicBezTo>
                    <a:pt x="5674519" y="253841"/>
                    <a:pt x="5673567" y="248126"/>
                    <a:pt x="5672614" y="242411"/>
                  </a:cubicBezTo>
                  <a:cubicBezTo>
                    <a:pt x="5671662" y="235744"/>
                    <a:pt x="5670709" y="229076"/>
                    <a:pt x="5669756" y="223361"/>
                  </a:cubicBezTo>
                  <a:cubicBezTo>
                    <a:pt x="5669756" y="221456"/>
                    <a:pt x="5668804" y="218599"/>
                    <a:pt x="5668804" y="216694"/>
                  </a:cubicBezTo>
                  <a:cubicBezTo>
                    <a:pt x="5671662" y="202406"/>
                    <a:pt x="5674519" y="190976"/>
                    <a:pt x="5676424" y="184309"/>
                  </a:cubicBezTo>
                  <a:close/>
                  <a:moveTo>
                    <a:pt x="5652612" y="263366"/>
                  </a:moveTo>
                  <a:cubicBezTo>
                    <a:pt x="5652612" y="262414"/>
                    <a:pt x="5652612" y="262414"/>
                    <a:pt x="5653564" y="261461"/>
                  </a:cubicBezTo>
                  <a:cubicBezTo>
                    <a:pt x="5654517" y="262414"/>
                    <a:pt x="5654517" y="263366"/>
                    <a:pt x="5655469" y="264319"/>
                  </a:cubicBezTo>
                  <a:cubicBezTo>
                    <a:pt x="5655469" y="265271"/>
                    <a:pt x="5655469" y="266224"/>
                    <a:pt x="5655469" y="268129"/>
                  </a:cubicBezTo>
                  <a:cubicBezTo>
                    <a:pt x="5656421" y="273844"/>
                    <a:pt x="5656421" y="279559"/>
                    <a:pt x="5657374" y="286226"/>
                  </a:cubicBezTo>
                  <a:cubicBezTo>
                    <a:pt x="5655469" y="280511"/>
                    <a:pt x="5654517" y="274796"/>
                    <a:pt x="5652612" y="269081"/>
                  </a:cubicBezTo>
                  <a:cubicBezTo>
                    <a:pt x="5652612" y="268129"/>
                    <a:pt x="5652612" y="268129"/>
                    <a:pt x="5651659" y="267176"/>
                  </a:cubicBezTo>
                  <a:cubicBezTo>
                    <a:pt x="5652612" y="265271"/>
                    <a:pt x="5652612" y="264319"/>
                    <a:pt x="5652612" y="263366"/>
                  </a:cubicBezTo>
                  <a:close/>
                  <a:moveTo>
                    <a:pt x="5650706" y="205264"/>
                  </a:moveTo>
                  <a:cubicBezTo>
                    <a:pt x="5650706" y="208121"/>
                    <a:pt x="5650706" y="210979"/>
                    <a:pt x="5651659" y="212884"/>
                  </a:cubicBezTo>
                  <a:cubicBezTo>
                    <a:pt x="5650706" y="210979"/>
                    <a:pt x="5649754" y="209074"/>
                    <a:pt x="5649754" y="207169"/>
                  </a:cubicBezTo>
                  <a:cubicBezTo>
                    <a:pt x="5649754" y="206216"/>
                    <a:pt x="5649754" y="205264"/>
                    <a:pt x="5650706" y="205264"/>
                  </a:cubicBezTo>
                  <a:close/>
                  <a:moveTo>
                    <a:pt x="5647849" y="209074"/>
                  </a:moveTo>
                  <a:cubicBezTo>
                    <a:pt x="5647849" y="211931"/>
                    <a:pt x="5648801" y="215741"/>
                    <a:pt x="5649754" y="219551"/>
                  </a:cubicBezTo>
                  <a:cubicBezTo>
                    <a:pt x="5650706" y="224314"/>
                    <a:pt x="5650706" y="230029"/>
                    <a:pt x="5651659" y="235744"/>
                  </a:cubicBezTo>
                  <a:cubicBezTo>
                    <a:pt x="5651659" y="235744"/>
                    <a:pt x="5651659" y="235744"/>
                    <a:pt x="5651659" y="236696"/>
                  </a:cubicBezTo>
                  <a:cubicBezTo>
                    <a:pt x="5649754" y="233839"/>
                    <a:pt x="5647849" y="230981"/>
                    <a:pt x="5645944" y="228124"/>
                  </a:cubicBezTo>
                  <a:cubicBezTo>
                    <a:pt x="5644992" y="224314"/>
                    <a:pt x="5644992" y="220504"/>
                    <a:pt x="5644039" y="216694"/>
                  </a:cubicBezTo>
                  <a:cubicBezTo>
                    <a:pt x="5644992" y="213836"/>
                    <a:pt x="5646896" y="211931"/>
                    <a:pt x="5647849" y="209074"/>
                  </a:cubicBezTo>
                  <a:close/>
                  <a:moveTo>
                    <a:pt x="5642134" y="370046"/>
                  </a:moveTo>
                  <a:cubicBezTo>
                    <a:pt x="5642134" y="372904"/>
                    <a:pt x="5643087" y="374809"/>
                    <a:pt x="5643087" y="377666"/>
                  </a:cubicBezTo>
                  <a:cubicBezTo>
                    <a:pt x="5642134" y="379571"/>
                    <a:pt x="5642134" y="382429"/>
                    <a:pt x="5641181" y="385286"/>
                  </a:cubicBezTo>
                  <a:cubicBezTo>
                    <a:pt x="5641181" y="379571"/>
                    <a:pt x="5641181" y="374809"/>
                    <a:pt x="5642134" y="370046"/>
                  </a:cubicBezTo>
                  <a:close/>
                  <a:moveTo>
                    <a:pt x="5624037" y="272891"/>
                  </a:moveTo>
                  <a:cubicBezTo>
                    <a:pt x="5624989" y="268129"/>
                    <a:pt x="5624989" y="263366"/>
                    <a:pt x="5625942" y="258604"/>
                  </a:cubicBezTo>
                  <a:cubicBezTo>
                    <a:pt x="5625942" y="256699"/>
                    <a:pt x="5625942" y="255746"/>
                    <a:pt x="5625942" y="254794"/>
                  </a:cubicBezTo>
                  <a:cubicBezTo>
                    <a:pt x="5627846" y="250031"/>
                    <a:pt x="5629751" y="245269"/>
                    <a:pt x="5632609" y="241459"/>
                  </a:cubicBezTo>
                  <a:cubicBezTo>
                    <a:pt x="5633562" y="239554"/>
                    <a:pt x="5634514" y="238601"/>
                    <a:pt x="5634514" y="236696"/>
                  </a:cubicBezTo>
                  <a:cubicBezTo>
                    <a:pt x="5635467" y="239554"/>
                    <a:pt x="5636419" y="242411"/>
                    <a:pt x="5637371" y="245269"/>
                  </a:cubicBezTo>
                  <a:cubicBezTo>
                    <a:pt x="5638324" y="249079"/>
                    <a:pt x="5639276" y="253841"/>
                    <a:pt x="5640229" y="259556"/>
                  </a:cubicBezTo>
                  <a:cubicBezTo>
                    <a:pt x="5640229" y="261461"/>
                    <a:pt x="5640229" y="264319"/>
                    <a:pt x="5640229" y="266224"/>
                  </a:cubicBezTo>
                  <a:cubicBezTo>
                    <a:pt x="5637371" y="272891"/>
                    <a:pt x="5634514" y="280511"/>
                    <a:pt x="5631656" y="288131"/>
                  </a:cubicBezTo>
                  <a:cubicBezTo>
                    <a:pt x="5628799" y="284321"/>
                    <a:pt x="5626894" y="280511"/>
                    <a:pt x="5624037" y="277654"/>
                  </a:cubicBezTo>
                  <a:cubicBezTo>
                    <a:pt x="5623084" y="275749"/>
                    <a:pt x="5624037" y="273844"/>
                    <a:pt x="5624037" y="272891"/>
                  </a:cubicBezTo>
                  <a:close/>
                  <a:moveTo>
                    <a:pt x="5623084" y="289084"/>
                  </a:moveTo>
                  <a:cubicBezTo>
                    <a:pt x="5623084" y="288131"/>
                    <a:pt x="5623084" y="288131"/>
                    <a:pt x="5623084" y="287179"/>
                  </a:cubicBezTo>
                  <a:cubicBezTo>
                    <a:pt x="5624037" y="288131"/>
                    <a:pt x="5624037" y="290036"/>
                    <a:pt x="5624989" y="290989"/>
                  </a:cubicBezTo>
                  <a:cubicBezTo>
                    <a:pt x="5625942" y="292894"/>
                    <a:pt x="5626894" y="295751"/>
                    <a:pt x="5626894" y="298609"/>
                  </a:cubicBezTo>
                  <a:cubicBezTo>
                    <a:pt x="5626894" y="299561"/>
                    <a:pt x="5626894" y="299561"/>
                    <a:pt x="5625942" y="300514"/>
                  </a:cubicBezTo>
                  <a:cubicBezTo>
                    <a:pt x="5625942" y="300514"/>
                    <a:pt x="5625942" y="300514"/>
                    <a:pt x="5625942" y="300514"/>
                  </a:cubicBezTo>
                  <a:cubicBezTo>
                    <a:pt x="5624989" y="298609"/>
                    <a:pt x="5624037" y="297656"/>
                    <a:pt x="5622131" y="295751"/>
                  </a:cubicBezTo>
                  <a:cubicBezTo>
                    <a:pt x="5622131" y="293846"/>
                    <a:pt x="5622131" y="290989"/>
                    <a:pt x="5623084" y="289084"/>
                  </a:cubicBezTo>
                  <a:close/>
                  <a:moveTo>
                    <a:pt x="5621179" y="310991"/>
                  </a:moveTo>
                  <a:cubicBezTo>
                    <a:pt x="5621179" y="310991"/>
                    <a:pt x="5621179" y="310991"/>
                    <a:pt x="5621179" y="310991"/>
                  </a:cubicBezTo>
                  <a:cubicBezTo>
                    <a:pt x="5621179" y="310991"/>
                    <a:pt x="5621179" y="310991"/>
                    <a:pt x="5621179" y="310991"/>
                  </a:cubicBezTo>
                  <a:cubicBezTo>
                    <a:pt x="5621179" y="310991"/>
                    <a:pt x="5621179" y="310991"/>
                    <a:pt x="5621179" y="310991"/>
                  </a:cubicBezTo>
                  <a:close/>
                  <a:moveTo>
                    <a:pt x="5618321" y="270034"/>
                  </a:moveTo>
                  <a:cubicBezTo>
                    <a:pt x="5618321" y="270034"/>
                    <a:pt x="5618321" y="270986"/>
                    <a:pt x="5618321" y="270034"/>
                  </a:cubicBezTo>
                  <a:cubicBezTo>
                    <a:pt x="5618321" y="270986"/>
                    <a:pt x="5618321" y="270986"/>
                    <a:pt x="5618321" y="270034"/>
                  </a:cubicBezTo>
                  <a:cubicBezTo>
                    <a:pt x="5618321" y="270986"/>
                    <a:pt x="5618321" y="270034"/>
                    <a:pt x="5618321" y="270034"/>
                  </a:cubicBezTo>
                  <a:close/>
                  <a:moveTo>
                    <a:pt x="5617369" y="272891"/>
                  </a:moveTo>
                  <a:cubicBezTo>
                    <a:pt x="5617369" y="272891"/>
                    <a:pt x="5617369" y="273844"/>
                    <a:pt x="5618321" y="273844"/>
                  </a:cubicBezTo>
                  <a:cubicBezTo>
                    <a:pt x="5617369" y="277654"/>
                    <a:pt x="5617369" y="282416"/>
                    <a:pt x="5616417" y="286226"/>
                  </a:cubicBezTo>
                  <a:cubicBezTo>
                    <a:pt x="5615464" y="285274"/>
                    <a:pt x="5614512" y="283369"/>
                    <a:pt x="5613559" y="282416"/>
                  </a:cubicBezTo>
                  <a:cubicBezTo>
                    <a:pt x="5614512" y="279559"/>
                    <a:pt x="5615464" y="276701"/>
                    <a:pt x="5617369" y="272891"/>
                  </a:cubicBezTo>
                  <a:close/>
                  <a:moveTo>
                    <a:pt x="5608796" y="290989"/>
                  </a:moveTo>
                  <a:cubicBezTo>
                    <a:pt x="5608796" y="290989"/>
                    <a:pt x="5609749" y="290989"/>
                    <a:pt x="5608796" y="290989"/>
                  </a:cubicBezTo>
                  <a:cubicBezTo>
                    <a:pt x="5609749" y="291941"/>
                    <a:pt x="5610701" y="293846"/>
                    <a:pt x="5611654" y="294799"/>
                  </a:cubicBezTo>
                  <a:cubicBezTo>
                    <a:pt x="5612606" y="295751"/>
                    <a:pt x="5612606" y="296704"/>
                    <a:pt x="5613559" y="297656"/>
                  </a:cubicBezTo>
                  <a:cubicBezTo>
                    <a:pt x="5612606" y="302419"/>
                    <a:pt x="5612606" y="306229"/>
                    <a:pt x="5611654" y="310991"/>
                  </a:cubicBezTo>
                  <a:cubicBezTo>
                    <a:pt x="5610701" y="305276"/>
                    <a:pt x="5609749" y="298609"/>
                    <a:pt x="5608796" y="292894"/>
                  </a:cubicBezTo>
                  <a:cubicBezTo>
                    <a:pt x="5608796" y="291941"/>
                    <a:pt x="5608796" y="291941"/>
                    <a:pt x="5608796" y="290989"/>
                  </a:cubicBezTo>
                  <a:close/>
                  <a:moveTo>
                    <a:pt x="5594509" y="241459"/>
                  </a:moveTo>
                  <a:cubicBezTo>
                    <a:pt x="5594509" y="247174"/>
                    <a:pt x="5594509" y="252889"/>
                    <a:pt x="5595462" y="258604"/>
                  </a:cubicBezTo>
                  <a:cubicBezTo>
                    <a:pt x="5595462" y="258604"/>
                    <a:pt x="5595462" y="259556"/>
                    <a:pt x="5595462" y="259556"/>
                  </a:cubicBezTo>
                  <a:cubicBezTo>
                    <a:pt x="5595462" y="260509"/>
                    <a:pt x="5595462" y="260509"/>
                    <a:pt x="5595462" y="261461"/>
                  </a:cubicBezTo>
                  <a:cubicBezTo>
                    <a:pt x="5594509" y="260509"/>
                    <a:pt x="5594509" y="260509"/>
                    <a:pt x="5593556" y="259556"/>
                  </a:cubicBezTo>
                  <a:cubicBezTo>
                    <a:pt x="5593556" y="256699"/>
                    <a:pt x="5592604" y="252889"/>
                    <a:pt x="5592604" y="250031"/>
                  </a:cubicBezTo>
                  <a:cubicBezTo>
                    <a:pt x="5591651" y="246221"/>
                    <a:pt x="5593556" y="244316"/>
                    <a:pt x="5594509" y="241459"/>
                  </a:cubicBezTo>
                  <a:close/>
                  <a:moveTo>
                    <a:pt x="5578317" y="284321"/>
                  </a:moveTo>
                  <a:cubicBezTo>
                    <a:pt x="5578317" y="285274"/>
                    <a:pt x="5578317" y="285274"/>
                    <a:pt x="5578317" y="286226"/>
                  </a:cubicBezTo>
                  <a:cubicBezTo>
                    <a:pt x="5578317" y="286226"/>
                    <a:pt x="5578317" y="285274"/>
                    <a:pt x="5577364" y="285274"/>
                  </a:cubicBezTo>
                  <a:cubicBezTo>
                    <a:pt x="5578317" y="284321"/>
                    <a:pt x="5578317" y="284321"/>
                    <a:pt x="5578317" y="284321"/>
                  </a:cubicBezTo>
                  <a:close/>
                  <a:moveTo>
                    <a:pt x="5573554" y="299561"/>
                  </a:moveTo>
                  <a:cubicBezTo>
                    <a:pt x="5574506" y="301466"/>
                    <a:pt x="5575459" y="303371"/>
                    <a:pt x="5576412" y="305276"/>
                  </a:cubicBezTo>
                  <a:cubicBezTo>
                    <a:pt x="5576412" y="306229"/>
                    <a:pt x="5577364" y="306229"/>
                    <a:pt x="5577364" y="307181"/>
                  </a:cubicBezTo>
                  <a:cubicBezTo>
                    <a:pt x="5577364" y="311944"/>
                    <a:pt x="5576412" y="317659"/>
                    <a:pt x="5576412" y="325279"/>
                  </a:cubicBezTo>
                  <a:cubicBezTo>
                    <a:pt x="5576412" y="326231"/>
                    <a:pt x="5576412" y="327184"/>
                    <a:pt x="5576412" y="328136"/>
                  </a:cubicBezTo>
                  <a:cubicBezTo>
                    <a:pt x="5576412" y="325279"/>
                    <a:pt x="5575459" y="322421"/>
                    <a:pt x="5575459" y="319564"/>
                  </a:cubicBezTo>
                  <a:cubicBezTo>
                    <a:pt x="5574506" y="313849"/>
                    <a:pt x="5573554" y="309086"/>
                    <a:pt x="5573554" y="303371"/>
                  </a:cubicBezTo>
                  <a:cubicBezTo>
                    <a:pt x="5572601" y="301466"/>
                    <a:pt x="5573554" y="300514"/>
                    <a:pt x="5573554" y="299561"/>
                  </a:cubicBezTo>
                  <a:close/>
                  <a:moveTo>
                    <a:pt x="5550694" y="308134"/>
                  </a:moveTo>
                  <a:cubicBezTo>
                    <a:pt x="5550694" y="305276"/>
                    <a:pt x="5549742" y="303371"/>
                    <a:pt x="5549742" y="301466"/>
                  </a:cubicBezTo>
                  <a:cubicBezTo>
                    <a:pt x="5550694" y="299561"/>
                    <a:pt x="5550694" y="296704"/>
                    <a:pt x="5551646" y="294799"/>
                  </a:cubicBezTo>
                  <a:cubicBezTo>
                    <a:pt x="5551646" y="293846"/>
                    <a:pt x="5552599" y="292894"/>
                    <a:pt x="5552599" y="291941"/>
                  </a:cubicBezTo>
                  <a:cubicBezTo>
                    <a:pt x="5553551" y="294799"/>
                    <a:pt x="5553551" y="298609"/>
                    <a:pt x="5554504" y="302419"/>
                  </a:cubicBezTo>
                  <a:cubicBezTo>
                    <a:pt x="5553551" y="303371"/>
                    <a:pt x="5553551" y="304324"/>
                    <a:pt x="5552599" y="306229"/>
                  </a:cubicBezTo>
                  <a:cubicBezTo>
                    <a:pt x="5551646" y="306229"/>
                    <a:pt x="5551646" y="307181"/>
                    <a:pt x="5550694" y="308134"/>
                  </a:cubicBezTo>
                  <a:close/>
                  <a:moveTo>
                    <a:pt x="5557362" y="313849"/>
                  </a:moveTo>
                  <a:cubicBezTo>
                    <a:pt x="5557362" y="313849"/>
                    <a:pt x="5557362" y="314801"/>
                    <a:pt x="5557362" y="313849"/>
                  </a:cubicBezTo>
                  <a:cubicBezTo>
                    <a:pt x="5556409" y="315754"/>
                    <a:pt x="5554504" y="317659"/>
                    <a:pt x="5553551" y="318611"/>
                  </a:cubicBezTo>
                  <a:cubicBezTo>
                    <a:pt x="5554504" y="315754"/>
                    <a:pt x="5555456" y="312896"/>
                    <a:pt x="5556409" y="310039"/>
                  </a:cubicBezTo>
                  <a:cubicBezTo>
                    <a:pt x="5556409" y="311944"/>
                    <a:pt x="5557362" y="312896"/>
                    <a:pt x="5557362" y="313849"/>
                  </a:cubicBezTo>
                  <a:cubicBezTo>
                    <a:pt x="5557362" y="313849"/>
                    <a:pt x="5557362" y="313849"/>
                    <a:pt x="5557362" y="313849"/>
                  </a:cubicBezTo>
                  <a:close/>
                  <a:moveTo>
                    <a:pt x="5561171" y="359569"/>
                  </a:moveTo>
                  <a:cubicBezTo>
                    <a:pt x="5561171" y="360521"/>
                    <a:pt x="5561171" y="360521"/>
                    <a:pt x="5561171" y="361474"/>
                  </a:cubicBezTo>
                  <a:cubicBezTo>
                    <a:pt x="5561171" y="361474"/>
                    <a:pt x="5560219" y="360521"/>
                    <a:pt x="5560219" y="360521"/>
                  </a:cubicBezTo>
                  <a:cubicBezTo>
                    <a:pt x="5559267" y="357664"/>
                    <a:pt x="5559267" y="353854"/>
                    <a:pt x="5558314" y="350996"/>
                  </a:cubicBezTo>
                  <a:cubicBezTo>
                    <a:pt x="5559267" y="348139"/>
                    <a:pt x="5560219" y="345281"/>
                    <a:pt x="5560219" y="342424"/>
                  </a:cubicBezTo>
                  <a:cubicBezTo>
                    <a:pt x="5561171" y="348139"/>
                    <a:pt x="5561171" y="353854"/>
                    <a:pt x="5561171" y="359569"/>
                  </a:cubicBezTo>
                  <a:close/>
                  <a:moveTo>
                    <a:pt x="5559267" y="303371"/>
                  </a:moveTo>
                  <a:cubicBezTo>
                    <a:pt x="5559267" y="303371"/>
                    <a:pt x="5559267" y="304324"/>
                    <a:pt x="5559267" y="303371"/>
                  </a:cubicBezTo>
                  <a:cubicBezTo>
                    <a:pt x="5559267" y="304324"/>
                    <a:pt x="5559267" y="304324"/>
                    <a:pt x="5559267" y="303371"/>
                  </a:cubicBezTo>
                  <a:cubicBezTo>
                    <a:pt x="5559267" y="303371"/>
                    <a:pt x="5559267" y="303371"/>
                    <a:pt x="5559267" y="303371"/>
                  </a:cubicBezTo>
                  <a:close/>
                  <a:moveTo>
                    <a:pt x="5557362" y="277654"/>
                  </a:moveTo>
                  <a:cubicBezTo>
                    <a:pt x="5557362" y="279559"/>
                    <a:pt x="5557362" y="281464"/>
                    <a:pt x="5558314" y="283369"/>
                  </a:cubicBezTo>
                  <a:cubicBezTo>
                    <a:pt x="5558314" y="287179"/>
                    <a:pt x="5559267" y="290989"/>
                    <a:pt x="5559267" y="293846"/>
                  </a:cubicBezTo>
                  <a:cubicBezTo>
                    <a:pt x="5558314" y="294799"/>
                    <a:pt x="5558314" y="295751"/>
                    <a:pt x="5557362" y="296704"/>
                  </a:cubicBezTo>
                  <a:cubicBezTo>
                    <a:pt x="5556409" y="292894"/>
                    <a:pt x="5555456" y="290036"/>
                    <a:pt x="5554504" y="287179"/>
                  </a:cubicBezTo>
                  <a:cubicBezTo>
                    <a:pt x="5554504" y="284321"/>
                    <a:pt x="5556409" y="281464"/>
                    <a:pt x="5557362" y="277654"/>
                  </a:cubicBezTo>
                  <a:close/>
                  <a:moveTo>
                    <a:pt x="5553551" y="252889"/>
                  </a:moveTo>
                  <a:cubicBezTo>
                    <a:pt x="5553551" y="252889"/>
                    <a:pt x="5553551" y="252889"/>
                    <a:pt x="5553551" y="252889"/>
                  </a:cubicBezTo>
                  <a:cubicBezTo>
                    <a:pt x="5553551" y="253841"/>
                    <a:pt x="5553551" y="253841"/>
                    <a:pt x="5553551" y="253841"/>
                  </a:cubicBezTo>
                  <a:cubicBezTo>
                    <a:pt x="5554504" y="258604"/>
                    <a:pt x="5554504" y="263366"/>
                    <a:pt x="5555456" y="268129"/>
                  </a:cubicBezTo>
                  <a:cubicBezTo>
                    <a:pt x="5555456" y="269081"/>
                    <a:pt x="5555456" y="270034"/>
                    <a:pt x="5555456" y="270986"/>
                  </a:cubicBezTo>
                  <a:cubicBezTo>
                    <a:pt x="5554504" y="272891"/>
                    <a:pt x="5553551" y="273844"/>
                    <a:pt x="5552599" y="275749"/>
                  </a:cubicBezTo>
                  <a:cubicBezTo>
                    <a:pt x="5551646" y="276701"/>
                    <a:pt x="5550694" y="278606"/>
                    <a:pt x="5549742" y="280511"/>
                  </a:cubicBezTo>
                  <a:cubicBezTo>
                    <a:pt x="5549742" y="280511"/>
                    <a:pt x="5549742" y="280511"/>
                    <a:pt x="5549742" y="280511"/>
                  </a:cubicBezTo>
                  <a:cubicBezTo>
                    <a:pt x="5549742" y="280511"/>
                    <a:pt x="5549742" y="280511"/>
                    <a:pt x="5549742" y="280511"/>
                  </a:cubicBezTo>
                  <a:cubicBezTo>
                    <a:pt x="5548789" y="282416"/>
                    <a:pt x="5547837" y="284321"/>
                    <a:pt x="5545931" y="286226"/>
                  </a:cubicBezTo>
                  <a:cubicBezTo>
                    <a:pt x="5545931" y="284321"/>
                    <a:pt x="5544979" y="282416"/>
                    <a:pt x="5544979" y="281464"/>
                  </a:cubicBezTo>
                  <a:cubicBezTo>
                    <a:pt x="5545931" y="279559"/>
                    <a:pt x="5545931" y="277654"/>
                    <a:pt x="5546884" y="275749"/>
                  </a:cubicBezTo>
                  <a:cubicBezTo>
                    <a:pt x="5547837" y="270986"/>
                    <a:pt x="5548789" y="266224"/>
                    <a:pt x="5549742" y="261461"/>
                  </a:cubicBezTo>
                  <a:cubicBezTo>
                    <a:pt x="5552599" y="258604"/>
                    <a:pt x="5553551" y="255746"/>
                    <a:pt x="5553551" y="252889"/>
                  </a:cubicBezTo>
                  <a:close/>
                  <a:moveTo>
                    <a:pt x="5548789" y="226219"/>
                  </a:moveTo>
                  <a:cubicBezTo>
                    <a:pt x="5548789" y="227171"/>
                    <a:pt x="5549742" y="229076"/>
                    <a:pt x="5549742" y="230029"/>
                  </a:cubicBezTo>
                  <a:cubicBezTo>
                    <a:pt x="5549742" y="231934"/>
                    <a:pt x="5550694" y="232886"/>
                    <a:pt x="5550694" y="234791"/>
                  </a:cubicBezTo>
                  <a:cubicBezTo>
                    <a:pt x="5549742" y="232886"/>
                    <a:pt x="5548789" y="230981"/>
                    <a:pt x="5547837" y="230029"/>
                  </a:cubicBezTo>
                  <a:cubicBezTo>
                    <a:pt x="5548789" y="229076"/>
                    <a:pt x="5548789" y="227171"/>
                    <a:pt x="5548789" y="226219"/>
                  </a:cubicBezTo>
                  <a:close/>
                  <a:moveTo>
                    <a:pt x="5546884" y="235744"/>
                  </a:moveTo>
                  <a:cubicBezTo>
                    <a:pt x="5547837" y="238601"/>
                    <a:pt x="5548789" y="241459"/>
                    <a:pt x="5550694" y="244316"/>
                  </a:cubicBezTo>
                  <a:cubicBezTo>
                    <a:pt x="5548789" y="249079"/>
                    <a:pt x="5546884" y="253841"/>
                    <a:pt x="5544979" y="259556"/>
                  </a:cubicBezTo>
                  <a:cubicBezTo>
                    <a:pt x="5544979" y="260509"/>
                    <a:pt x="5544026" y="261461"/>
                    <a:pt x="5544026" y="262414"/>
                  </a:cubicBezTo>
                  <a:cubicBezTo>
                    <a:pt x="5544026" y="260509"/>
                    <a:pt x="5543074" y="258604"/>
                    <a:pt x="5543074" y="257651"/>
                  </a:cubicBezTo>
                  <a:cubicBezTo>
                    <a:pt x="5543074" y="256699"/>
                    <a:pt x="5543074" y="255746"/>
                    <a:pt x="5542121" y="254794"/>
                  </a:cubicBezTo>
                  <a:cubicBezTo>
                    <a:pt x="5544026" y="248126"/>
                    <a:pt x="5545931" y="241459"/>
                    <a:pt x="5546884" y="235744"/>
                  </a:cubicBezTo>
                  <a:close/>
                  <a:moveTo>
                    <a:pt x="5540217" y="218599"/>
                  </a:moveTo>
                  <a:cubicBezTo>
                    <a:pt x="5540217" y="219551"/>
                    <a:pt x="5540217" y="219551"/>
                    <a:pt x="5539264" y="220504"/>
                  </a:cubicBezTo>
                  <a:cubicBezTo>
                    <a:pt x="5539264" y="221456"/>
                    <a:pt x="5538312" y="222409"/>
                    <a:pt x="5538312" y="223361"/>
                  </a:cubicBezTo>
                  <a:cubicBezTo>
                    <a:pt x="5537359" y="218599"/>
                    <a:pt x="5537359" y="214789"/>
                    <a:pt x="5536406" y="210026"/>
                  </a:cubicBezTo>
                  <a:cubicBezTo>
                    <a:pt x="5537359" y="211931"/>
                    <a:pt x="5538312" y="214789"/>
                    <a:pt x="5540217" y="218599"/>
                  </a:cubicBezTo>
                  <a:close/>
                  <a:moveTo>
                    <a:pt x="5507831" y="312896"/>
                  </a:moveTo>
                  <a:cubicBezTo>
                    <a:pt x="5507831" y="313849"/>
                    <a:pt x="5507831" y="313849"/>
                    <a:pt x="5507831" y="312896"/>
                  </a:cubicBezTo>
                  <a:cubicBezTo>
                    <a:pt x="5507831" y="313849"/>
                    <a:pt x="5507831" y="313849"/>
                    <a:pt x="5507831" y="313849"/>
                  </a:cubicBezTo>
                  <a:cubicBezTo>
                    <a:pt x="5507831" y="313849"/>
                    <a:pt x="5507831" y="313849"/>
                    <a:pt x="5507831" y="312896"/>
                  </a:cubicBezTo>
                  <a:close/>
                  <a:moveTo>
                    <a:pt x="5481162" y="326231"/>
                  </a:moveTo>
                  <a:cubicBezTo>
                    <a:pt x="5481162" y="327184"/>
                    <a:pt x="5480209" y="329089"/>
                    <a:pt x="5480209" y="330994"/>
                  </a:cubicBezTo>
                  <a:cubicBezTo>
                    <a:pt x="5480209" y="329089"/>
                    <a:pt x="5480209" y="326231"/>
                    <a:pt x="5479256" y="324326"/>
                  </a:cubicBezTo>
                  <a:cubicBezTo>
                    <a:pt x="5479256" y="323374"/>
                    <a:pt x="5479256" y="323374"/>
                    <a:pt x="5479256" y="322421"/>
                  </a:cubicBezTo>
                  <a:cubicBezTo>
                    <a:pt x="5479256" y="318611"/>
                    <a:pt x="5478304" y="315754"/>
                    <a:pt x="5478304" y="311944"/>
                  </a:cubicBezTo>
                  <a:cubicBezTo>
                    <a:pt x="5479256" y="315754"/>
                    <a:pt x="5480209" y="320516"/>
                    <a:pt x="5482114" y="325279"/>
                  </a:cubicBezTo>
                  <a:cubicBezTo>
                    <a:pt x="5481162" y="325279"/>
                    <a:pt x="5481162" y="325279"/>
                    <a:pt x="5481162" y="326231"/>
                  </a:cubicBezTo>
                  <a:close/>
                  <a:moveTo>
                    <a:pt x="5493544" y="339566"/>
                  </a:moveTo>
                  <a:cubicBezTo>
                    <a:pt x="5493544" y="339566"/>
                    <a:pt x="5493544" y="339566"/>
                    <a:pt x="5493544" y="339566"/>
                  </a:cubicBezTo>
                  <a:cubicBezTo>
                    <a:pt x="5493544" y="339566"/>
                    <a:pt x="5493544" y="339566"/>
                    <a:pt x="5493544" y="339566"/>
                  </a:cubicBezTo>
                  <a:cubicBezTo>
                    <a:pt x="5493544" y="339566"/>
                    <a:pt x="5493544" y="339566"/>
                    <a:pt x="5493544" y="339566"/>
                  </a:cubicBezTo>
                  <a:close/>
                  <a:moveTo>
                    <a:pt x="5488781" y="261461"/>
                  </a:moveTo>
                  <a:cubicBezTo>
                    <a:pt x="5488781" y="261461"/>
                    <a:pt x="5488781" y="261461"/>
                    <a:pt x="5488781" y="261461"/>
                  </a:cubicBezTo>
                  <a:cubicBezTo>
                    <a:pt x="5489734" y="263366"/>
                    <a:pt x="5489734" y="265271"/>
                    <a:pt x="5490687" y="267176"/>
                  </a:cubicBezTo>
                  <a:cubicBezTo>
                    <a:pt x="5489734" y="266224"/>
                    <a:pt x="5488781" y="265271"/>
                    <a:pt x="5487829" y="264319"/>
                  </a:cubicBezTo>
                  <a:cubicBezTo>
                    <a:pt x="5487829" y="263366"/>
                    <a:pt x="5487829" y="262414"/>
                    <a:pt x="5488781" y="261461"/>
                  </a:cubicBezTo>
                  <a:close/>
                  <a:moveTo>
                    <a:pt x="5483067" y="280511"/>
                  </a:moveTo>
                  <a:cubicBezTo>
                    <a:pt x="5484019" y="277654"/>
                    <a:pt x="5484971" y="275749"/>
                    <a:pt x="5484971" y="272891"/>
                  </a:cubicBezTo>
                  <a:cubicBezTo>
                    <a:pt x="5488781" y="278606"/>
                    <a:pt x="5492592" y="285274"/>
                    <a:pt x="5496401" y="291941"/>
                  </a:cubicBezTo>
                  <a:cubicBezTo>
                    <a:pt x="5497354" y="293846"/>
                    <a:pt x="5498306" y="295751"/>
                    <a:pt x="5500212" y="297656"/>
                  </a:cubicBezTo>
                  <a:cubicBezTo>
                    <a:pt x="5499259" y="300514"/>
                    <a:pt x="5498306" y="303371"/>
                    <a:pt x="5497354" y="307181"/>
                  </a:cubicBezTo>
                  <a:cubicBezTo>
                    <a:pt x="5497354" y="308134"/>
                    <a:pt x="5497354" y="310039"/>
                    <a:pt x="5496401" y="310991"/>
                  </a:cubicBezTo>
                  <a:cubicBezTo>
                    <a:pt x="5494496" y="309086"/>
                    <a:pt x="5493544" y="307181"/>
                    <a:pt x="5493544" y="307181"/>
                  </a:cubicBezTo>
                  <a:cubicBezTo>
                    <a:pt x="5493544" y="307181"/>
                    <a:pt x="5494496" y="309086"/>
                    <a:pt x="5495449" y="311944"/>
                  </a:cubicBezTo>
                  <a:cubicBezTo>
                    <a:pt x="5495449" y="314801"/>
                    <a:pt x="5494496" y="316706"/>
                    <a:pt x="5494496" y="319564"/>
                  </a:cubicBezTo>
                  <a:cubicBezTo>
                    <a:pt x="5493544" y="323374"/>
                    <a:pt x="5493544" y="326231"/>
                    <a:pt x="5492592" y="330041"/>
                  </a:cubicBezTo>
                  <a:cubicBezTo>
                    <a:pt x="5491639" y="330994"/>
                    <a:pt x="5490687" y="331946"/>
                    <a:pt x="5488781" y="333851"/>
                  </a:cubicBezTo>
                  <a:cubicBezTo>
                    <a:pt x="5487829" y="330994"/>
                    <a:pt x="5486876" y="329089"/>
                    <a:pt x="5485924" y="327184"/>
                  </a:cubicBezTo>
                  <a:cubicBezTo>
                    <a:pt x="5485924" y="321469"/>
                    <a:pt x="5486876" y="316706"/>
                    <a:pt x="5487829" y="312896"/>
                  </a:cubicBezTo>
                  <a:cubicBezTo>
                    <a:pt x="5488781" y="304324"/>
                    <a:pt x="5489734" y="299561"/>
                    <a:pt x="5489734" y="299561"/>
                  </a:cubicBezTo>
                  <a:cubicBezTo>
                    <a:pt x="5489734" y="299561"/>
                    <a:pt x="5487829" y="304324"/>
                    <a:pt x="5484019" y="311944"/>
                  </a:cubicBezTo>
                  <a:cubicBezTo>
                    <a:pt x="5484019" y="312896"/>
                    <a:pt x="5484019" y="312896"/>
                    <a:pt x="5483067" y="313849"/>
                  </a:cubicBezTo>
                  <a:cubicBezTo>
                    <a:pt x="5483067" y="313849"/>
                    <a:pt x="5483067" y="312896"/>
                    <a:pt x="5483067" y="312896"/>
                  </a:cubicBezTo>
                  <a:cubicBezTo>
                    <a:pt x="5480209" y="300514"/>
                    <a:pt x="5478304" y="292894"/>
                    <a:pt x="5478304" y="292894"/>
                  </a:cubicBezTo>
                  <a:cubicBezTo>
                    <a:pt x="5478304" y="292894"/>
                    <a:pt x="5478304" y="298609"/>
                    <a:pt x="5479256" y="309086"/>
                  </a:cubicBezTo>
                  <a:cubicBezTo>
                    <a:pt x="5479256" y="309086"/>
                    <a:pt x="5479256" y="308134"/>
                    <a:pt x="5479256" y="308134"/>
                  </a:cubicBezTo>
                  <a:cubicBezTo>
                    <a:pt x="5478304" y="305276"/>
                    <a:pt x="5477351" y="303371"/>
                    <a:pt x="5476399" y="300514"/>
                  </a:cubicBezTo>
                  <a:cubicBezTo>
                    <a:pt x="5479256" y="293846"/>
                    <a:pt x="5481162" y="287179"/>
                    <a:pt x="5483067" y="280511"/>
                  </a:cubicBezTo>
                  <a:close/>
                  <a:moveTo>
                    <a:pt x="5472589" y="254794"/>
                  </a:moveTo>
                  <a:cubicBezTo>
                    <a:pt x="5473542" y="255746"/>
                    <a:pt x="5474494" y="256699"/>
                    <a:pt x="5475446" y="258604"/>
                  </a:cubicBezTo>
                  <a:cubicBezTo>
                    <a:pt x="5474494" y="261461"/>
                    <a:pt x="5472589" y="265271"/>
                    <a:pt x="5471637" y="268129"/>
                  </a:cubicBezTo>
                  <a:cubicBezTo>
                    <a:pt x="5470684" y="261461"/>
                    <a:pt x="5469731" y="255746"/>
                    <a:pt x="5468779" y="249079"/>
                  </a:cubicBezTo>
                  <a:cubicBezTo>
                    <a:pt x="5469731" y="250984"/>
                    <a:pt x="5471637" y="252889"/>
                    <a:pt x="5472589" y="254794"/>
                  </a:cubicBezTo>
                  <a:close/>
                  <a:moveTo>
                    <a:pt x="5452587" y="208121"/>
                  </a:moveTo>
                  <a:cubicBezTo>
                    <a:pt x="5452587" y="209074"/>
                    <a:pt x="5452587" y="210026"/>
                    <a:pt x="5452587" y="210026"/>
                  </a:cubicBezTo>
                  <a:cubicBezTo>
                    <a:pt x="5453539" y="214789"/>
                    <a:pt x="5454492" y="220504"/>
                    <a:pt x="5454492" y="225266"/>
                  </a:cubicBezTo>
                  <a:cubicBezTo>
                    <a:pt x="5454492" y="226219"/>
                    <a:pt x="5454492" y="227171"/>
                    <a:pt x="5454492" y="228124"/>
                  </a:cubicBezTo>
                  <a:cubicBezTo>
                    <a:pt x="5453539" y="227171"/>
                    <a:pt x="5451634" y="226219"/>
                    <a:pt x="5450681" y="225266"/>
                  </a:cubicBezTo>
                  <a:cubicBezTo>
                    <a:pt x="5451634" y="219551"/>
                    <a:pt x="5452587" y="212884"/>
                    <a:pt x="5452587" y="208121"/>
                  </a:cubicBezTo>
                  <a:close/>
                  <a:moveTo>
                    <a:pt x="5449729" y="250031"/>
                  </a:moveTo>
                  <a:cubicBezTo>
                    <a:pt x="5450681" y="242411"/>
                    <a:pt x="5450681" y="234791"/>
                    <a:pt x="5451634" y="228124"/>
                  </a:cubicBezTo>
                  <a:cubicBezTo>
                    <a:pt x="5452587" y="229076"/>
                    <a:pt x="5452587" y="229076"/>
                    <a:pt x="5453539" y="230029"/>
                  </a:cubicBezTo>
                  <a:cubicBezTo>
                    <a:pt x="5454492" y="230981"/>
                    <a:pt x="5455444" y="231934"/>
                    <a:pt x="5455444" y="232886"/>
                  </a:cubicBezTo>
                  <a:cubicBezTo>
                    <a:pt x="5455444" y="236696"/>
                    <a:pt x="5456396" y="239554"/>
                    <a:pt x="5456396" y="243364"/>
                  </a:cubicBezTo>
                  <a:cubicBezTo>
                    <a:pt x="5457349" y="255746"/>
                    <a:pt x="5458301" y="268129"/>
                    <a:pt x="5459254" y="282416"/>
                  </a:cubicBezTo>
                  <a:cubicBezTo>
                    <a:pt x="5460206" y="288131"/>
                    <a:pt x="5460206" y="293846"/>
                    <a:pt x="5460206" y="299561"/>
                  </a:cubicBezTo>
                  <a:cubicBezTo>
                    <a:pt x="5458301" y="304324"/>
                    <a:pt x="5457349" y="309086"/>
                    <a:pt x="5455444" y="313849"/>
                  </a:cubicBezTo>
                  <a:cubicBezTo>
                    <a:pt x="5452587" y="302419"/>
                    <a:pt x="5450681" y="290989"/>
                    <a:pt x="5447824" y="280511"/>
                  </a:cubicBezTo>
                  <a:cubicBezTo>
                    <a:pt x="5447824" y="279559"/>
                    <a:pt x="5447824" y="277654"/>
                    <a:pt x="5446871" y="276701"/>
                  </a:cubicBezTo>
                  <a:cubicBezTo>
                    <a:pt x="5448776" y="267176"/>
                    <a:pt x="5448776" y="257651"/>
                    <a:pt x="5449729" y="250031"/>
                  </a:cubicBezTo>
                  <a:close/>
                  <a:moveTo>
                    <a:pt x="5443062" y="327184"/>
                  </a:moveTo>
                  <a:cubicBezTo>
                    <a:pt x="5444014" y="332899"/>
                    <a:pt x="5444967" y="338614"/>
                    <a:pt x="5445919" y="343376"/>
                  </a:cubicBezTo>
                  <a:cubicBezTo>
                    <a:pt x="5444967" y="340519"/>
                    <a:pt x="5444014" y="337661"/>
                    <a:pt x="5443062" y="334804"/>
                  </a:cubicBezTo>
                  <a:cubicBezTo>
                    <a:pt x="5442109" y="332899"/>
                    <a:pt x="5443062" y="330041"/>
                    <a:pt x="5443062" y="327184"/>
                  </a:cubicBezTo>
                  <a:close/>
                  <a:moveTo>
                    <a:pt x="5417344" y="318611"/>
                  </a:moveTo>
                  <a:cubicBezTo>
                    <a:pt x="5418296" y="316706"/>
                    <a:pt x="5418296" y="314801"/>
                    <a:pt x="5419249" y="312896"/>
                  </a:cubicBezTo>
                  <a:cubicBezTo>
                    <a:pt x="5420201" y="315754"/>
                    <a:pt x="5421154" y="318611"/>
                    <a:pt x="5421154" y="320516"/>
                  </a:cubicBezTo>
                  <a:cubicBezTo>
                    <a:pt x="5421154" y="320516"/>
                    <a:pt x="5421154" y="321469"/>
                    <a:pt x="5421154" y="321469"/>
                  </a:cubicBezTo>
                  <a:cubicBezTo>
                    <a:pt x="5421154" y="320516"/>
                    <a:pt x="5421154" y="320516"/>
                    <a:pt x="5421154" y="320516"/>
                  </a:cubicBezTo>
                  <a:cubicBezTo>
                    <a:pt x="5421154" y="320516"/>
                    <a:pt x="5421154" y="321469"/>
                    <a:pt x="5421154" y="322421"/>
                  </a:cubicBezTo>
                  <a:cubicBezTo>
                    <a:pt x="5420201" y="325279"/>
                    <a:pt x="5419249" y="329089"/>
                    <a:pt x="5418296" y="331946"/>
                  </a:cubicBezTo>
                  <a:cubicBezTo>
                    <a:pt x="5417344" y="330994"/>
                    <a:pt x="5417344" y="330041"/>
                    <a:pt x="5417344" y="329089"/>
                  </a:cubicBezTo>
                  <a:cubicBezTo>
                    <a:pt x="5417344" y="326231"/>
                    <a:pt x="5417344" y="322421"/>
                    <a:pt x="5417344" y="318611"/>
                  </a:cubicBezTo>
                  <a:close/>
                  <a:moveTo>
                    <a:pt x="5416392" y="334804"/>
                  </a:moveTo>
                  <a:cubicBezTo>
                    <a:pt x="5416392" y="335756"/>
                    <a:pt x="5416392" y="335756"/>
                    <a:pt x="5417344" y="335756"/>
                  </a:cubicBezTo>
                  <a:cubicBezTo>
                    <a:pt x="5417344" y="336709"/>
                    <a:pt x="5416392" y="337661"/>
                    <a:pt x="5416392" y="337661"/>
                  </a:cubicBezTo>
                  <a:cubicBezTo>
                    <a:pt x="5416392" y="336709"/>
                    <a:pt x="5416392" y="335756"/>
                    <a:pt x="5416392" y="334804"/>
                  </a:cubicBezTo>
                  <a:close/>
                  <a:moveTo>
                    <a:pt x="5405914" y="325279"/>
                  </a:moveTo>
                  <a:cubicBezTo>
                    <a:pt x="5406867" y="302419"/>
                    <a:pt x="5407819" y="284321"/>
                    <a:pt x="5407819" y="271939"/>
                  </a:cubicBezTo>
                  <a:cubicBezTo>
                    <a:pt x="5407819" y="270034"/>
                    <a:pt x="5407819" y="269081"/>
                    <a:pt x="5407819" y="267176"/>
                  </a:cubicBezTo>
                  <a:cubicBezTo>
                    <a:pt x="5409724" y="274796"/>
                    <a:pt x="5411629" y="283369"/>
                    <a:pt x="5414487" y="292894"/>
                  </a:cubicBezTo>
                  <a:cubicBezTo>
                    <a:pt x="5414487" y="292894"/>
                    <a:pt x="5414487" y="292894"/>
                    <a:pt x="5414487" y="293846"/>
                  </a:cubicBezTo>
                  <a:cubicBezTo>
                    <a:pt x="5413534" y="296704"/>
                    <a:pt x="5412581" y="299561"/>
                    <a:pt x="5411629" y="303371"/>
                  </a:cubicBezTo>
                  <a:cubicBezTo>
                    <a:pt x="5408771" y="311944"/>
                    <a:pt x="5406867" y="321469"/>
                    <a:pt x="5404962" y="331946"/>
                  </a:cubicBezTo>
                  <a:cubicBezTo>
                    <a:pt x="5404962" y="331946"/>
                    <a:pt x="5404962" y="332899"/>
                    <a:pt x="5404962" y="332899"/>
                  </a:cubicBezTo>
                  <a:cubicBezTo>
                    <a:pt x="5404962" y="330994"/>
                    <a:pt x="5404962" y="328136"/>
                    <a:pt x="5405914" y="325279"/>
                  </a:cubicBezTo>
                  <a:close/>
                  <a:moveTo>
                    <a:pt x="5384006" y="310991"/>
                  </a:moveTo>
                  <a:cubicBezTo>
                    <a:pt x="5384959" y="318611"/>
                    <a:pt x="5385912" y="326231"/>
                    <a:pt x="5386864" y="334804"/>
                  </a:cubicBezTo>
                  <a:cubicBezTo>
                    <a:pt x="5385912" y="336709"/>
                    <a:pt x="5385912" y="339566"/>
                    <a:pt x="5384959" y="341471"/>
                  </a:cubicBezTo>
                  <a:cubicBezTo>
                    <a:pt x="5384006" y="335756"/>
                    <a:pt x="5383054" y="330041"/>
                    <a:pt x="5382101" y="325279"/>
                  </a:cubicBezTo>
                  <a:cubicBezTo>
                    <a:pt x="5381149" y="317659"/>
                    <a:pt x="5380196" y="310991"/>
                    <a:pt x="5378292" y="305276"/>
                  </a:cubicBezTo>
                  <a:cubicBezTo>
                    <a:pt x="5379244" y="301466"/>
                    <a:pt x="5380196" y="298609"/>
                    <a:pt x="5381149" y="294799"/>
                  </a:cubicBezTo>
                  <a:cubicBezTo>
                    <a:pt x="5382101" y="299561"/>
                    <a:pt x="5383054" y="305276"/>
                    <a:pt x="5384006" y="310991"/>
                  </a:cubicBezTo>
                  <a:close/>
                  <a:moveTo>
                    <a:pt x="5379244" y="274796"/>
                  </a:moveTo>
                  <a:cubicBezTo>
                    <a:pt x="5379244" y="273844"/>
                    <a:pt x="5379244" y="272891"/>
                    <a:pt x="5379244" y="271939"/>
                  </a:cubicBezTo>
                  <a:cubicBezTo>
                    <a:pt x="5379244" y="275749"/>
                    <a:pt x="5380196" y="280511"/>
                    <a:pt x="5381149" y="284321"/>
                  </a:cubicBezTo>
                  <a:cubicBezTo>
                    <a:pt x="5381149" y="284321"/>
                    <a:pt x="5381149" y="285274"/>
                    <a:pt x="5380196" y="285274"/>
                  </a:cubicBezTo>
                  <a:cubicBezTo>
                    <a:pt x="5379244" y="287179"/>
                    <a:pt x="5379244" y="288131"/>
                    <a:pt x="5378292" y="290036"/>
                  </a:cubicBezTo>
                  <a:cubicBezTo>
                    <a:pt x="5378292" y="285274"/>
                    <a:pt x="5378292" y="280511"/>
                    <a:pt x="5379244" y="274796"/>
                  </a:cubicBezTo>
                  <a:close/>
                  <a:moveTo>
                    <a:pt x="5332571" y="321469"/>
                  </a:moveTo>
                  <a:cubicBezTo>
                    <a:pt x="5334476" y="316706"/>
                    <a:pt x="5336381" y="312896"/>
                    <a:pt x="5338287" y="309086"/>
                  </a:cubicBezTo>
                  <a:cubicBezTo>
                    <a:pt x="5338287" y="309086"/>
                    <a:pt x="5338287" y="310039"/>
                    <a:pt x="5338287" y="310039"/>
                  </a:cubicBezTo>
                  <a:cubicBezTo>
                    <a:pt x="5334476" y="323374"/>
                    <a:pt x="5330667" y="337661"/>
                    <a:pt x="5326856" y="351949"/>
                  </a:cubicBezTo>
                  <a:cubicBezTo>
                    <a:pt x="5325904" y="345281"/>
                    <a:pt x="5324951" y="340519"/>
                    <a:pt x="5323999" y="336709"/>
                  </a:cubicBezTo>
                  <a:cubicBezTo>
                    <a:pt x="5327809" y="330994"/>
                    <a:pt x="5330667" y="326231"/>
                    <a:pt x="5332571" y="321469"/>
                  </a:cubicBezTo>
                  <a:close/>
                  <a:moveTo>
                    <a:pt x="5319237" y="350996"/>
                  </a:moveTo>
                  <a:cubicBezTo>
                    <a:pt x="5320189" y="348139"/>
                    <a:pt x="5322094" y="345281"/>
                    <a:pt x="5323046" y="342424"/>
                  </a:cubicBezTo>
                  <a:cubicBezTo>
                    <a:pt x="5323046" y="350044"/>
                    <a:pt x="5322094" y="359569"/>
                    <a:pt x="5322094" y="371951"/>
                  </a:cubicBezTo>
                  <a:cubicBezTo>
                    <a:pt x="5321142" y="368141"/>
                    <a:pt x="5320189" y="365284"/>
                    <a:pt x="5319237" y="362426"/>
                  </a:cubicBezTo>
                  <a:cubicBezTo>
                    <a:pt x="5319237" y="357664"/>
                    <a:pt x="5319237" y="353854"/>
                    <a:pt x="5319237" y="350996"/>
                  </a:cubicBezTo>
                  <a:close/>
                  <a:moveTo>
                    <a:pt x="5316379" y="392906"/>
                  </a:moveTo>
                  <a:cubicBezTo>
                    <a:pt x="5316379" y="389096"/>
                    <a:pt x="5317331" y="386239"/>
                    <a:pt x="5317331" y="382429"/>
                  </a:cubicBezTo>
                  <a:cubicBezTo>
                    <a:pt x="5317331" y="384334"/>
                    <a:pt x="5318284" y="387191"/>
                    <a:pt x="5318284" y="390049"/>
                  </a:cubicBezTo>
                  <a:cubicBezTo>
                    <a:pt x="5317331" y="392906"/>
                    <a:pt x="5316379" y="395764"/>
                    <a:pt x="5315426" y="399574"/>
                  </a:cubicBezTo>
                  <a:cubicBezTo>
                    <a:pt x="5316379" y="396716"/>
                    <a:pt x="5316379" y="394811"/>
                    <a:pt x="5316379" y="392906"/>
                  </a:cubicBezTo>
                  <a:close/>
                  <a:moveTo>
                    <a:pt x="5285899" y="293846"/>
                  </a:moveTo>
                  <a:cubicBezTo>
                    <a:pt x="5285899" y="295751"/>
                    <a:pt x="5285899" y="296704"/>
                    <a:pt x="5286851" y="298609"/>
                  </a:cubicBezTo>
                  <a:cubicBezTo>
                    <a:pt x="5285899" y="299561"/>
                    <a:pt x="5284946" y="300514"/>
                    <a:pt x="5283994" y="302419"/>
                  </a:cubicBezTo>
                  <a:cubicBezTo>
                    <a:pt x="5284946" y="299561"/>
                    <a:pt x="5285899" y="296704"/>
                    <a:pt x="5285899" y="293846"/>
                  </a:cubicBezTo>
                  <a:close/>
                  <a:moveTo>
                    <a:pt x="5279231" y="319564"/>
                  </a:moveTo>
                  <a:cubicBezTo>
                    <a:pt x="5280184" y="316706"/>
                    <a:pt x="5281137" y="313849"/>
                    <a:pt x="5282089" y="311944"/>
                  </a:cubicBezTo>
                  <a:cubicBezTo>
                    <a:pt x="5283994" y="308134"/>
                    <a:pt x="5285899" y="305276"/>
                    <a:pt x="5287804" y="302419"/>
                  </a:cubicBezTo>
                  <a:cubicBezTo>
                    <a:pt x="5287804" y="304324"/>
                    <a:pt x="5288756" y="307181"/>
                    <a:pt x="5288756" y="309086"/>
                  </a:cubicBezTo>
                  <a:cubicBezTo>
                    <a:pt x="5289709" y="318611"/>
                    <a:pt x="5290662" y="329089"/>
                    <a:pt x="5292567" y="340519"/>
                  </a:cubicBezTo>
                  <a:cubicBezTo>
                    <a:pt x="5290662" y="347186"/>
                    <a:pt x="5288756" y="354806"/>
                    <a:pt x="5287804" y="363379"/>
                  </a:cubicBezTo>
                  <a:cubicBezTo>
                    <a:pt x="5287804" y="359569"/>
                    <a:pt x="5287804" y="354806"/>
                    <a:pt x="5287804" y="351949"/>
                  </a:cubicBezTo>
                  <a:cubicBezTo>
                    <a:pt x="5287804" y="341471"/>
                    <a:pt x="5287804" y="335756"/>
                    <a:pt x="5287804" y="335756"/>
                  </a:cubicBezTo>
                  <a:cubicBezTo>
                    <a:pt x="5287804" y="335756"/>
                    <a:pt x="5286851" y="341471"/>
                    <a:pt x="5283994" y="350996"/>
                  </a:cubicBezTo>
                  <a:cubicBezTo>
                    <a:pt x="5283042" y="355759"/>
                    <a:pt x="5282089" y="362426"/>
                    <a:pt x="5280184" y="369094"/>
                  </a:cubicBezTo>
                  <a:cubicBezTo>
                    <a:pt x="5280184" y="369094"/>
                    <a:pt x="5280184" y="369094"/>
                    <a:pt x="5280184" y="370046"/>
                  </a:cubicBezTo>
                  <a:cubicBezTo>
                    <a:pt x="5279231" y="363379"/>
                    <a:pt x="5278279" y="356711"/>
                    <a:pt x="5277326" y="350044"/>
                  </a:cubicBezTo>
                  <a:cubicBezTo>
                    <a:pt x="5276374" y="345281"/>
                    <a:pt x="5276374" y="340519"/>
                    <a:pt x="5275421" y="335756"/>
                  </a:cubicBezTo>
                  <a:cubicBezTo>
                    <a:pt x="5275421" y="330041"/>
                    <a:pt x="5277326" y="324326"/>
                    <a:pt x="5279231" y="319564"/>
                  </a:cubicBezTo>
                  <a:close/>
                  <a:moveTo>
                    <a:pt x="5236369" y="318611"/>
                  </a:moveTo>
                  <a:cubicBezTo>
                    <a:pt x="5236369" y="319564"/>
                    <a:pt x="5235417" y="319564"/>
                    <a:pt x="5235417" y="320516"/>
                  </a:cubicBezTo>
                  <a:cubicBezTo>
                    <a:pt x="5233512" y="317659"/>
                    <a:pt x="5232559" y="314801"/>
                    <a:pt x="5230654" y="311944"/>
                  </a:cubicBezTo>
                  <a:cubicBezTo>
                    <a:pt x="5230654" y="311944"/>
                    <a:pt x="5230654" y="310991"/>
                    <a:pt x="5230654" y="310991"/>
                  </a:cubicBezTo>
                  <a:cubicBezTo>
                    <a:pt x="5233512" y="305276"/>
                    <a:pt x="5236369" y="300514"/>
                    <a:pt x="5239226" y="295751"/>
                  </a:cubicBezTo>
                  <a:cubicBezTo>
                    <a:pt x="5238274" y="303371"/>
                    <a:pt x="5237321" y="310991"/>
                    <a:pt x="5236369" y="318611"/>
                  </a:cubicBezTo>
                  <a:close/>
                  <a:moveTo>
                    <a:pt x="5230654" y="281464"/>
                  </a:moveTo>
                  <a:cubicBezTo>
                    <a:pt x="5233512" y="275749"/>
                    <a:pt x="5235417" y="270034"/>
                    <a:pt x="5237321" y="265271"/>
                  </a:cubicBezTo>
                  <a:cubicBezTo>
                    <a:pt x="5239226" y="260509"/>
                    <a:pt x="5242084" y="255746"/>
                    <a:pt x="5243989" y="251936"/>
                  </a:cubicBezTo>
                  <a:cubicBezTo>
                    <a:pt x="5243037" y="255746"/>
                    <a:pt x="5243037" y="259556"/>
                    <a:pt x="5242084" y="264319"/>
                  </a:cubicBezTo>
                  <a:cubicBezTo>
                    <a:pt x="5241131" y="270034"/>
                    <a:pt x="5240179" y="276701"/>
                    <a:pt x="5240179" y="283369"/>
                  </a:cubicBezTo>
                  <a:cubicBezTo>
                    <a:pt x="5236369" y="288131"/>
                    <a:pt x="5232559" y="293846"/>
                    <a:pt x="5228749" y="299561"/>
                  </a:cubicBezTo>
                  <a:cubicBezTo>
                    <a:pt x="5228749" y="296704"/>
                    <a:pt x="5227796" y="292894"/>
                    <a:pt x="5227796" y="290036"/>
                  </a:cubicBezTo>
                  <a:cubicBezTo>
                    <a:pt x="5227796" y="286226"/>
                    <a:pt x="5228749" y="284321"/>
                    <a:pt x="5230654" y="281464"/>
                  </a:cubicBezTo>
                  <a:close/>
                  <a:moveTo>
                    <a:pt x="5211604" y="344329"/>
                  </a:moveTo>
                  <a:cubicBezTo>
                    <a:pt x="5212556" y="343376"/>
                    <a:pt x="5212556" y="342424"/>
                    <a:pt x="5213509" y="341471"/>
                  </a:cubicBezTo>
                  <a:cubicBezTo>
                    <a:pt x="5213509" y="341471"/>
                    <a:pt x="5213509" y="341471"/>
                    <a:pt x="5213509" y="341471"/>
                  </a:cubicBezTo>
                  <a:cubicBezTo>
                    <a:pt x="5213509" y="341471"/>
                    <a:pt x="5213509" y="342424"/>
                    <a:pt x="5213509" y="342424"/>
                  </a:cubicBezTo>
                  <a:cubicBezTo>
                    <a:pt x="5212556" y="343376"/>
                    <a:pt x="5212556" y="344329"/>
                    <a:pt x="5211604" y="344329"/>
                  </a:cubicBezTo>
                  <a:cubicBezTo>
                    <a:pt x="5211604" y="345281"/>
                    <a:pt x="5211604" y="345281"/>
                    <a:pt x="5211604" y="344329"/>
                  </a:cubicBezTo>
                  <a:close/>
                  <a:moveTo>
                    <a:pt x="5214462" y="343376"/>
                  </a:moveTo>
                  <a:cubicBezTo>
                    <a:pt x="5215414" y="345281"/>
                    <a:pt x="5216367" y="346234"/>
                    <a:pt x="5216367" y="348139"/>
                  </a:cubicBezTo>
                  <a:cubicBezTo>
                    <a:pt x="5215414" y="350044"/>
                    <a:pt x="5214462" y="350996"/>
                    <a:pt x="5213509" y="352901"/>
                  </a:cubicBezTo>
                  <a:cubicBezTo>
                    <a:pt x="5213509" y="351949"/>
                    <a:pt x="5212556" y="351949"/>
                    <a:pt x="5212556" y="350996"/>
                  </a:cubicBezTo>
                  <a:cubicBezTo>
                    <a:pt x="5212556" y="350044"/>
                    <a:pt x="5212556" y="350044"/>
                    <a:pt x="5212556" y="349091"/>
                  </a:cubicBezTo>
                  <a:cubicBezTo>
                    <a:pt x="5212556" y="347186"/>
                    <a:pt x="5213509" y="345281"/>
                    <a:pt x="5214462" y="343376"/>
                  </a:cubicBezTo>
                  <a:cubicBezTo>
                    <a:pt x="5213509" y="343376"/>
                    <a:pt x="5213509" y="343376"/>
                    <a:pt x="5214462" y="343376"/>
                  </a:cubicBezTo>
                  <a:close/>
                  <a:moveTo>
                    <a:pt x="5211604" y="290989"/>
                  </a:moveTo>
                  <a:cubicBezTo>
                    <a:pt x="5211604" y="290989"/>
                    <a:pt x="5211604" y="291941"/>
                    <a:pt x="5211604" y="290989"/>
                  </a:cubicBezTo>
                  <a:cubicBezTo>
                    <a:pt x="5212556" y="292894"/>
                    <a:pt x="5212556" y="294799"/>
                    <a:pt x="5213509" y="296704"/>
                  </a:cubicBezTo>
                  <a:cubicBezTo>
                    <a:pt x="5212556" y="298609"/>
                    <a:pt x="5211604" y="300514"/>
                    <a:pt x="5210651" y="302419"/>
                  </a:cubicBezTo>
                  <a:cubicBezTo>
                    <a:pt x="5211604" y="297656"/>
                    <a:pt x="5211604" y="293846"/>
                    <a:pt x="5211604" y="290989"/>
                  </a:cubicBezTo>
                  <a:close/>
                  <a:moveTo>
                    <a:pt x="5189696" y="260509"/>
                  </a:moveTo>
                  <a:cubicBezTo>
                    <a:pt x="5189696" y="261461"/>
                    <a:pt x="5189696" y="263366"/>
                    <a:pt x="5189696" y="264319"/>
                  </a:cubicBezTo>
                  <a:cubicBezTo>
                    <a:pt x="5188744" y="262414"/>
                    <a:pt x="5187792" y="260509"/>
                    <a:pt x="5186839" y="258604"/>
                  </a:cubicBezTo>
                  <a:cubicBezTo>
                    <a:pt x="5186839" y="258604"/>
                    <a:pt x="5186839" y="257651"/>
                    <a:pt x="5187792" y="257651"/>
                  </a:cubicBezTo>
                  <a:cubicBezTo>
                    <a:pt x="5188744" y="255746"/>
                    <a:pt x="5189696" y="254794"/>
                    <a:pt x="5189696" y="253841"/>
                  </a:cubicBezTo>
                  <a:cubicBezTo>
                    <a:pt x="5189696" y="255746"/>
                    <a:pt x="5189696" y="258604"/>
                    <a:pt x="5189696" y="260509"/>
                  </a:cubicBezTo>
                  <a:close/>
                  <a:moveTo>
                    <a:pt x="5178267" y="230981"/>
                  </a:moveTo>
                  <a:cubicBezTo>
                    <a:pt x="5181124" y="223361"/>
                    <a:pt x="5184934" y="217646"/>
                    <a:pt x="5186839" y="213836"/>
                  </a:cubicBezTo>
                  <a:cubicBezTo>
                    <a:pt x="5187792" y="212884"/>
                    <a:pt x="5187792" y="210979"/>
                    <a:pt x="5188744" y="210026"/>
                  </a:cubicBezTo>
                  <a:cubicBezTo>
                    <a:pt x="5188744" y="212884"/>
                    <a:pt x="5188744" y="215741"/>
                    <a:pt x="5188744" y="219551"/>
                  </a:cubicBezTo>
                  <a:cubicBezTo>
                    <a:pt x="5188744" y="230029"/>
                    <a:pt x="5188744" y="241459"/>
                    <a:pt x="5188744" y="254794"/>
                  </a:cubicBezTo>
                  <a:cubicBezTo>
                    <a:pt x="5187792" y="255746"/>
                    <a:pt x="5186839" y="256699"/>
                    <a:pt x="5185887" y="258604"/>
                  </a:cubicBezTo>
                  <a:cubicBezTo>
                    <a:pt x="5185887" y="258604"/>
                    <a:pt x="5185887" y="258604"/>
                    <a:pt x="5185887" y="258604"/>
                  </a:cubicBezTo>
                  <a:cubicBezTo>
                    <a:pt x="5183029" y="252889"/>
                    <a:pt x="5180171" y="248126"/>
                    <a:pt x="5178267" y="243364"/>
                  </a:cubicBezTo>
                  <a:cubicBezTo>
                    <a:pt x="5177314" y="241459"/>
                    <a:pt x="5176362" y="240506"/>
                    <a:pt x="5175409" y="238601"/>
                  </a:cubicBezTo>
                  <a:cubicBezTo>
                    <a:pt x="5176362" y="234791"/>
                    <a:pt x="5177314" y="232886"/>
                    <a:pt x="5178267" y="230981"/>
                  </a:cubicBezTo>
                  <a:close/>
                  <a:moveTo>
                    <a:pt x="5168742" y="238601"/>
                  </a:moveTo>
                  <a:cubicBezTo>
                    <a:pt x="5168742" y="239554"/>
                    <a:pt x="5168742" y="239554"/>
                    <a:pt x="5168742" y="238601"/>
                  </a:cubicBezTo>
                  <a:cubicBezTo>
                    <a:pt x="5168742" y="239554"/>
                    <a:pt x="5168742" y="239554"/>
                    <a:pt x="5168742" y="238601"/>
                  </a:cubicBezTo>
                  <a:cubicBezTo>
                    <a:pt x="5168742" y="239554"/>
                    <a:pt x="5168742" y="239554"/>
                    <a:pt x="5168742" y="238601"/>
                  </a:cubicBezTo>
                  <a:close/>
                  <a:moveTo>
                    <a:pt x="5166837" y="280511"/>
                  </a:moveTo>
                  <a:cubicBezTo>
                    <a:pt x="5166837" y="272891"/>
                    <a:pt x="5167789" y="266224"/>
                    <a:pt x="5167789" y="259556"/>
                  </a:cubicBezTo>
                  <a:cubicBezTo>
                    <a:pt x="5167789" y="259556"/>
                    <a:pt x="5167789" y="259556"/>
                    <a:pt x="5167789" y="259556"/>
                  </a:cubicBezTo>
                  <a:cubicBezTo>
                    <a:pt x="5168742" y="255746"/>
                    <a:pt x="5170646" y="251936"/>
                    <a:pt x="5171599" y="248126"/>
                  </a:cubicBezTo>
                  <a:cubicBezTo>
                    <a:pt x="5173504" y="252889"/>
                    <a:pt x="5175409" y="257651"/>
                    <a:pt x="5177314" y="263366"/>
                  </a:cubicBezTo>
                  <a:cubicBezTo>
                    <a:pt x="5178267" y="264319"/>
                    <a:pt x="5178267" y="266224"/>
                    <a:pt x="5179219" y="267176"/>
                  </a:cubicBezTo>
                  <a:cubicBezTo>
                    <a:pt x="5178267" y="268129"/>
                    <a:pt x="5177314" y="270034"/>
                    <a:pt x="5176362" y="271939"/>
                  </a:cubicBezTo>
                  <a:cubicBezTo>
                    <a:pt x="5173504" y="275749"/>
                    <a:pt x="5170646" y="281464"/>
                    <a:pt x="5166837" y="287179"/>
                  </a:cubicBezTo>
                  <a:cubicBezTo>
                    <a:pt x="5166837" y="283369"/>
                    <a:pt x="5166837" y="281464"/>
                    <a:pt x="5166837" y="280511"/>
                  </a:cubicBezTo>
                  <a:close/>
                  <a:moveTo>
                    <a:pt x="5166837" y="307181"/>
                  </a:moveTo>
                  <a:cubicBezTo>
                    <a:pt x="5167789" y="303371"/>
                    <a:pt x="5168742" y="299561"/>
                    <a:pt x="5170646" y="296704"/>
                  </a:cubicBezTo>
                  <a:cubicBezTo>
                    <a:pt x="5170646" y="295751"/>
                    <a:pt x="5171599" y="294799"/>
                    <a:pt x="5171599" y="293846"/>
                  </a:cubicBezTo>
                  <a:cubicBezTo>
                    <a:pt x="5173504" y="291941"/>
                    <a:pt x="5175409" y="290036"/>
                    <a:pt x="5176362" y="289084"/>
                  </a:cubicBezTo>
                  <a:cubicBezTo>
                    <a:pt x="5179219" y="286226"/>
                    <a:pt x="5181124" y="284321"/>
                    <a:pt x="5181124" y="284321"/>
                  </a:cubicBezTo>
                  <a:cubicBezTo>
                    <a:pt x="5181124" y="284321"/>
                    <a:pt x="5179219" y="285274"/>
                    <a:pt x="5175409" y="288131"/>
                  </a:cubicBezTo>
                  <a:cubicBezTo>
                    <a:pt x="5174456" y="289084"/>
                    <a:pt x="5173504" y="289084"/>
                    <a:pt x="5172551" y="290036"/>
                  </a:cubicBezTo>
                  <a:cubicBezTo>
                    <a:pt x="5175409" y="283369"/>
                    <a:pt x="5177314" y="277654"/>
                    <a:pt x="5179219" y="272891"/>
                  </a:cubicBezTo>
                  <a:cubicBezTo>
                    <a:pt x="5179219" y="271939"/>
                    <a:pt x="5180171" y="270986"/>
                    <a:pt x="5180171" y="270034"/>
                  </a:cubicBezTo>
                  <a:cubicBezTo>
                    <a:pt x="5182076" y="273844"/>
                    <a:pt x="5183029" y="276701"/>
                    <a:pt x="5184934" y="280511"/>
                  </a:cubicBezTo>
                  <a:cubicBezTo>
                    <a:pt x="5186839" y="284321"/>
                    <a:pt x="5188744" y="289084"/>
                    <a:pt x="5190649" y="292894"/>
                  </a:cubicBezTo>
                  <a:cubicBezTo>
                    <a:pt x="5190649" y="294799"/>
                    <a:pt x="5190649" y="296704"/>
                    <a:pt x="5190649" y="298609"/>
                  </a:cubicBezTo>
                  <a:cubicBezTo>
                    <a:pt x="5191601" y="308134"/>
                    <a:pt x="5191601" y="318611"/>
                    <a:pt x="5192554" y="330041"/>
                  </a:cubicBezTo>
                  <a:cubicBezTo>
                    <a:pt x="5192554" y="331946"/>
                    <a:pt x="5192554" y="333851"/>
                    <a:pt x="5192554" y="335756"/>
                  </a:cubicBezTo>
                  <a:cubicBezTo>
                    <a:pt x="5192554" y="335756"/>
                    <a:pt x="5192554" y="336709"/>
                    <a:pt x="5192554" y="336709"/>
                  </a:cubicBezTo>
                  <a:cubicBezTo>
                    <a:pt x="5192554" y="337661"/>
                    <a:pt x="5191601" y="337661"/>
                    <a:pt x="5191601" y="338614"/>
                  </a:cubicBezTo>
                  <a:cubicBezTo>
                    <a:pt x="5190649" y="341471"/>
                    <a:pt x="5188744" y="345281"/>
                    <a:pt x="5187792" y="348139"/>
                  </a:cubicBezTo>
                  <a:cubicBezTo>
                    <a:pt x="5185887" y="324326"/>
                    <a:pt x="5183981" y="309086"/>
                    <a:pt x="5183981" y="309086"/>
                  </a:cubicBezTo>
                  <a:cubicBezTo>
                    <a:pt x="5183981" y="309086"/>
                    <a:pt x="5180171" y="324326"/>
                    <a:pt x="5177314" y="348139"/>
                  </a:cubicBezTo>
                  <a:cubicBezTo>
                    <a:pt x="5177314" y="350044"/>
                    <a:pt x="5176362" y="352901"/>
                    <a:pt x="5176362" y="354806"/>
                  </a:cubicBezTo>
                  <a:cubicBezTo>
                    <a:pt x="5175409" y="352901"/>
                    <a:pt x="5174456" y="350996"/>
                    <a:pt x="5174456" y="349091"/>
                  </a:cubicBezTo>
                  <a:cubicBezTo>
                    <a:pt x="5173504" y="346234"/>
                    <a:pt x="5172551" y="344329"/>
                    <a:pt x="5171599" y="341471"/>
                  </a:cubicBezTo>
                  <a:cubicBezTo>
                    <a:pt x="5172551" y="336709"/>
                    <a:pt x="5173504" y="332899"/>
                    <a:pt x="5173504" y="328136"/>
                  </a:cubicBezTo>
                  <a:cubicBezTo>
                    <a:pt x="5172551" y="331946"/>
                    <a:pt x="5171599" y="334804"/>
                    <a:pt x="5169694" y="338614"/>
                  </a:cubicBezTo>
                  <a:cubicBezTo>
                    <a:pt x="5168742" y="337661"/>
                    <a:pt x="5168742" y="335756"/>
                    <a:pt x="5167789" y="334804"/>
                  </a:cubicBezTo>
                  <a:cubicBezTo>
                    <a:pt x="5166837" y="327184"/>
                    <a:pt x="5166837" y="320516"/>
                    <a:pt x="5165884" y="312896"/>
                  </a:cubicBezTo>
                  <a:cubicBezTo>
                    <a:pt x="5166837" y="310991"/>
                    <a:pt x="5166837" y="309086"/>
                    <a:pt x="5166837" y="307181"/>
                  </a:cubicBezTo>
                  <a:close/>
                  <a:moveTo>
                    <a:pt x="5161121" y="218599"/>
                  </a:moveTo>
                  <a:cubicBezTo>
                    <a:pt x="5162074" y="221456"/>
                    <a:pt x="5163979" y="225266"/>
                    <a:pt x="5164931" y="229076"/>
                  </a:cubicBezTo>
                  <a:cubicBezTo>
                    <a:pt x="5163979" y="234791"/>
                    <a:pt x="5162074" y="240506"/>
                    <a:pt x="5161121" y="248126"/>
                  </a:cubicBezTo>
                  <a:cubicBezTo>
                    <a:pt x="5160169" y="232886"/>
                    <a:pt x="5158264" y="218599"/>
                    <a:pt x="5157312" y="206216"/>
                  </a:cubicBezTo>
                  <a:cubicBezTo>
                    <a:pt x="5158264" y="209074"/>
                    <a:pt x="5159217" y="213836"/>
                    <a:pt x="5161121" y="218599"/>
                  </a:cubicBezTo>
                  <a:close/>
                  <a:moveTo>
                    <a:pt x="5148739" y="256699"/>
                  </a:moveTo>
                  <a:cubicBezTo>
                    <a:pt x="5148739" y="255746"/>
                    <a:pt x="5149692" y="255746"/>
                    <a:pt x="5149692" y="255746"/>
                  </a:cubicBezTo>
                  <a:cubicBezTo>
                    <a:pt x="5149692" y="264319"/>
                    <a:pt x="5149692" y="273844"/>
                    <a:pt x="5149692" y="283369"/>
                  </a:cubicBezTo>
                  <a:cubicBezTo>
                    <a:pt x="5149692" y="283369"/>
                    <a:pt x="5149692" y="284321"/>
                    <a:pt x="5149692" y="284321"/>
                  </a:cubicBezTo>
                  <a:cubicBezTo>
                    <a:pt x="5147787" y="276701"/>
                    <a:pt x="5144929" y="270034"/>
                    <a:pt x="5143024" y="263366"/>
                  </a:cubicBezTo>
                  <a:cubicBezTo>
                    <a:pt x="5145881" y="261461"/>
                    <a:pt x="5147787" y="258604"/>
                    <a:pt x="5148739" y="256699"/>
                  </a:cubicBezTo>
                  <a:close/>
                  <a:moveTo>
                    <a:pt x="5087779" y="317659"/>
                  </a:moveTo>
                  <a:cubicBezTo>
                    <a:pt x="5087779" y="316706"/>
                    <a:pt x="5087779" y="316706"/>
                    <a:pt x="5087779" y="315754"/>
                  </a:cubicBezTo>
                  <a:cubicBezTo>
                    <a:pt x="5087779" y="316706"/>
                    <a:pt x="5087779" y="316706"/>
                    <a:pt x="5087779" y="317659"/>
                  </a:cubicBezTo>
                  <a:cubicBezTo>
                    <a:pt x="5087779" y="317659"/>
                    <a:pt x="5087779" y="317659"/>
                    <a:pt x="5087779" y="317659"/>
                  </a:cubicBezTo>
                  <a:close/>
                  <a:moveTo>
                    <a:pt x="5122069" y="298609"/>
                  </a:moveTo>
                  <a:cubicBezTo>
                    <a:pt x="5123974" y="294799"/>
                    <a:pt x="5126831" y="290989"/>
                    <a:pt x="5128737" y="287179"/>
                  </a:cubicBezTo>
                  <a:cubicBezTo>
                    <a:pt x="5127784" y="298609"/>
                    <a:pt x="5125879" y="311944"/>
                    <a:pt x="5124926" y="327184"/>
                  </a:cubicBezTo>
                  <a:cubicBezTo>
                    <a:pt x="5123974" y="324326"/>
                    <a:pt x="5122069" y="321469"/>
                    <a:pt x="5121117" y="318611"/>
                  </a:cubicBezTo>
                  <a:cubicBezTo>
                    <a:pt x="5119212" y="314801"/>
                    <a:pt x="5118259" y="311944"/>
                    <a:pt x="5117306" y="308134"/>
                  </a:cubicBezTo>
                  <a:cubicBezTo>
                    <a:pt x="5118259" y="304324"/>
                    <a:pt x="5120164" y="301466"/>
                    <a:pt x="5122069" y="298609"/>
                  </a:cubicBezTo>
                  <a:close/>
                  <a:moveTo>
                    <a:pt x="5110639" y="321469"/>
                  </a:moveTo>
                  <a:cubicBezTo>
                    <a:pt x="5110639" y="321469"/>
                    <a:pt x="5110639" y="321469"/>
                    <a:pt x="5110639" y="321469"/>
                  </a:cubicBezTo>
                  <a:cubicBezTo>
                    <a:pt x="5113496" y="329089"/>
                    <a:pt x="5115401" y="336709"/>
                    <a:pt x="5118259" y="344329"/>
                  </a:cubicBezTo>
                  <a:cubicBezTo>
                    <a:pt x="5117306" y="345281"/>
                    <a:pt x="5117306" y="346234"/>
                    <a:pt x="5116354" y="347186"/>
                  </a:cubicBezTo>
                  <a:cubicBezTo>
                    <a:pt x="5115401" y="348139"/>
                    <a:pt x="5115401" y="349091"/>
                    <a:pt x="5114449" y="349091"/>
                  </a:cubicBezTo>
                  <a:cubicBezTo>
                    <a:pt x="5113496" y="344329"/>
                    <a:pt x="5111592" y="339566"/>
                    <a:pt x="5110639" y="335756"/>
                  </a:cubicBezTo>
                  <a:cubicBezTo>
                    <a:pt x="5109687" y="332899"/>
                    <a:pt x="5108734" y="330041"/>
                    <a:pt x="5107781" y="327184"/>
                  </a:cubicBezTo>
                  <a:cubicBezTo>
                    <a:pt x="5108734" y="325279"/>
                    <a:pt x="5109687" y="323374"/>
                    <a:pt x="5110639" y="321469"/>
                  </a:cubicBezTo>
                  <a:close/>
                  <a:moveTo>
                    <a:pt x="5105876" y="308134"/>
                  </a:moveTo>
                  <a:cubicBezTo>
                    <a:pt x="5104924" y="309086"/>
                    <a:pt x="5103971" y="310991"/>
                    <a:pt x="5103019" y="311944"/>
                  </a:cubicBezTo>
                  <a:cubicBezTo>
                    <a:pt x="5102067" y="310039"/>
                    <a:pt x="5102067" y="308134"/>
                    <a:pt x="5101114" y="306229"/>
                  </a:cubicBezTo>
                  <a:cubicBezTo>
                    <a:pt x="5101114" y="305276"/>
                    <a:pt x="5101114" y="304324"/>
                    <a:pt x="5101114" y="304324"/>
                  </a:cubicBezTo>
                  <a:cubicBezTo>
                    <a:pt x="5101114" y="304324"/>
                    <a:pt x="5101114" y="304324"/>
                    <a:pt x="5101114" y="305276"/>
                  </a:cubicBezTo>
                  <a:cubicBezTo>
                    <a:pt x="5099209" y="299561"/>
                    <a:pt x="5098256" y="293846"/>
                    <a:pt x="5096351" y="288131"/>
                  </a:cubicBezTo>
                  <a:cubicBezTo>
                    <a:pt x="5096351" y="285274"/>
                    <a:pt x="5097304" y="282416"/>
                    <a:pt x="5097304" y="281464"/>
                  </a:cubicBezTo>
                  <a:cubicBezTo>
                    <a:pt x="5100162" y="290989"/>
                    <a:pt x="5103019" y="299561"/>
                    <a:pt x="5105876" y="308134"/>
                  </a:cubicBezTo>
                  <a:close/>
                  <a:moveTo>
                    <a:pt x="5097304" y="282416"/>
                  </a:moveTo>
                  <a:cubicBezTo>
                    <a:pt x="5097304" y="283369"/>
                    <a:pt x="5096351" y="284321"/>
                    <a:pt x="5095399" y="286226"/>
                  </a:cubicBezTo>
                  <a:cubicBezTo>
                    <a:pt x="5094446" y="284321"/>
                    <a:pt x="5094446" y="281464"/>
                    <a:pt x="5093494" y="279559"/>
                  </a:cubicBezTo>
                  <a:cubicBezTo>
                    <a:pt x="5091589" y="271939"/>
                    <a:pt x="5089684" y="265271"/>
                    <a:pt x="5087779" y="258604"/>
                  </a:cubicBezTo>
                  <a:cubicBezTo>
                    <a:pt x="5087779" y="258604"/>
                    <a:pt x="5088731" y="257651"/>
                    <a:pt x="5089684" y="257651"/>
                  </a:cubicBezTo>
                  <a:cubicBezTo>
                    <a:pt x="5092542" y="265271"/>
                    <a:pt x="5094446" y="273844"/>
                    <a:pt x="5097304" y="282416"/>
                  </a:cubicBezTo>
                  <a:close/>
                  <a:moveTo>
                    <a:pt x="5080159" y="224314"/>
                  </a:moveTo>
                  <a:cubicBezTo>
                    <a:pt x="5081112" y="228124"/>
                    <a:pt x="5083969" y="238601"/>
                    <a:pt x="5089684" y="254794"/>
                  </a:cubicBezTo>
                  <a:cubicBezTo>
                    <a:pt x="5089684" y="254794"/>
                    <a:pt x="5088731" y="254794"/>
                    <a:pt x="5087779" y="254794"/>
                  </a:cubicBezTo>
                  <a:cubicBezTo>
                    <a:pt x="5085874" y="245269"/>
                    <a:pt x="5083017" y="236696"/>
                    <a:pt x="5081112" y="228124"/>
                  </a:cubicBezTo>
                  <a:cubicBezTo>
                    <a:pt x="5081112" y="228124"/>
                    <a:pt x="5080159" y="227171"/>
                    <a:pt x="5080159" y="224314"/>
                  </a:cubicBezTo>
                  <a:cubicBezTo>
                    <a:pt x="5080159" y="225266"/>
                    <a:pt x="5080159" y="225266"/>
                    <a:pt x="5080159" y="224314"/>
                  </a:cubicBezTo>
                  <a:close/>
                  <a:moveTo>
                    <a:pt x="5076349" y="272891"/>
                  </a:moveTo>
                  <a:cubicBezTo>
                    <a:pt x="5076349" y="270986"/>
                    <a:pt x="5076349" y="270034"/>
                    <a:pt x="5076349" y="268129"/>
                  </a:cubicBezTo>
                  <a:cubicBezTo>
                    <a:pt x="5077301" y="272891"/>
                    <a:pt x="5078254" y="277654"/>
                    <a:pt x="5079206" y="283369"/>
                  </a:cubicBezTo>
                  <a:cubicBezTo>
                    <a:pt x="5080159" y="289084"/>
                    <a:pt x="5082064" y="295751"/>
                    <a:pt x="5083017" y="301466"/>
                  </a:cubicBezTo>
                  <a:cubicBezTo>
                    <a:pt x="5083017" y="302419"/>
                    <a:pt x="5083017" y="303371"/>
                    <a:pt x="5083017" y="304324"/>
                  </a:cubicBezTo>
                  <a:cubicBezTo>
                    <a:pt x="5083017" y="306229"/>
                    <a:pt x="5082064" y="309086"/>
                    <a:pt x="5082064" y="311944"/>
                  </a:cubicBezTo>
                  <a:cubicBezTo>
                    <a:pt x="5079206" y="305276"/>
                    <a:pt x="5076349" y="298609"/>
                    <a:pt x="5073492" y="292894"/>
                  </a:cubicBezTo>
                  <a:cubicBezTo>
                    <a:pt x="5074444" y="285274"/>
                    <a:pt x="5075396" y="278606"/>
                    <a:pt x="5076349" y="272891"/>
                  </a:cubicBezTo>
                  <a:close/>
                  <a:moveTo>
                    <a:pt x="5066824" y="377666"/>
                  </a:moveTo>
                  <a:cubicBezTo>
                    <a:pt x="5066824" y="378619"/>
                    <a:pt x="5066824" y="379571"/>
                    <a:pt x="5066824" y="380524"/>
                  </a:cubicBezTo>
                  <a:cubicBezTo>
                    <a:pt x="5066824" y="381476"/>
                    <a:pt x="5066824" y="382429"/>
                    <a:pt x="5066824" y="383381"/>
                  </a:cubicBezTo>
                  <a:cubicBezTo>
                    <a:pt x="5066824" y="383381"/>
                    <a:pt x="5066824" y="384334"/>
                    <a:pt x="5065871" y="384334"/>
                  </a:cubicBezTo>
                  <a:cubicBezTo>
                    <a:pt x="5065871" y="383381"/>
                    <a:pt x="5064919" y="382429"/>
                    <a:pt x="5064919" y="381476"/>
                  </a:cubicBezTo>
                  <a:cubicBezTo>
                    <a:pt x="5065871" y="380524"/>
                    <a:pt x="5065871" y="379571"/>
                    <a:pt x="5066824" y="377666"/>
                  </a:cubicBezTo>
                  <a:close/>
                  <a:moveTo>
                    <a:pt x="5057299" y="303371"/>
                  </a:moveTo>
                  <a:cubicBezTo>
                    <a:pt x="5055394" y="300514"/>
                    <a:pt x="5053489" y="297656"/>
                    <a:pt x="5051584" y="294799"/>
                  </a:cubicBezTo>
                  <a:cubicBezTo>
                    <a:pt x="5051584" y="293846"/>
                    <a:pt x="5051584" y="291941"/>
                    <a:pt x="5052537" y="290989"/>
                  </a:cubicBezTo>
                  <a:cubicBezTo>
                    <a:pt x="5053489" y="290036"/>
                    <a:pt x="5054442" y="288131"/>
                    <a:pt x="5055394" y="287179"/>
                  </a:cubicBezTo>
                  <a:cubicBezTo>
                    <a:pt x="5056346" y="291941"/>
                    <a:pt x="5056346" y="297656"/>
                    <a:pt x="5057299" y="303371"/>
                  </a:cubicBezTo>
                  <a:close/>
                  <a:moveTo>
                    <a:pt x="5050631" y="252889"/>
                  </a:moveTo>
                  <a:cubicBezTo>
                    <a:pt x="5051584" y="254794"/>
                    <a:pt x="5051584" y="256699"/>
                    <a:pt x="5052537" y="258604"/>
                  </a:cubicBezTo>
                  <a:cubicBezTo>
                    <a:pt x="5052537" y="259556"/>
                    <a:pt x="5052537" y="260509"/>
                    <a:pt x="5053489" y="260509"/>
                  </a:cubicBezTo>
                  <a:cubicBezTo>
                    <a:pt x="5053489" y="262414"/>
                    <a:pt x="5053489" y="265271"/>
                    <a:pt x="5054442" y="268129"/>
                  </a:cubicBezTo>
                  <a:cubicBezTo>
                    <a:pt x="5053489" y="270034"/>
                    <a:pt x="5053489" y="271939"/>
                    <a:pt x="5052537" y="273844"/>
                  </a:cubicBezTo>
                  <a:cubicBezTo>
                    <a:pt x="5052537" y="274796"/>
                    <a:pt x="5051584" y="275749"/>
                    <a:pt x="5051584" y="276701"/>
                  </a:cubicBezTo>
                  <a:cubicBezTo>
                    <a:pt x="5050631" y="277654"/>
                    <a:pt x="5049679" y="278606"/>
                    <a:pt x="5048726" y="279559"/>
                  </a:cubicBezTo>
                  <a:cubicBezTo>
                    <a:pt x="5048726" y="279559"/>
                    <a:pt x="5048726" y="278606"/>
                    <a:pt x="5048726" y="278606"/>
                  </a:cubicBezTo>
                  <a:cubicBezTo>
                    <a:pt x="5048726" y="277654"/>
                    <a:pt x="5048726" y="275749"/>
                    <a:pt x="5048726" y="274796"/>
                  </a:cubicBezTo>
                  <a:cubicBezTo>
                    <a:pt x="5048726" y="271939"/>
                    <a:pt x="5048726" y="270034"/>
                    <a:pt x="5049679" y="268129"/>
                  </a:cubicBezTo>
                  <a:cubicBezTo>
                    <a:pt x="5049679" y="264319"/>
                    <a:pt x="5050631" y="262414"/>
                    <a:pt x="5050631" y="262414"/>
                  </a:cubicBezTo>
                  <a:cubicBezTo>
                    <a:pt x="5050631" y="262414"/>
                    <a:pt x="5049679" y="264319"/>
                    <a:pt x="5048726" y="268129"/>
                  </a:cubicBezTo>
                  <a:cubicBezTo>
                    <a:pt x="5048726" y="268129"/>
                    <a:pt x="5048726" y="269081"/>
                    <a:pt x="5048726" y="269081"/>
                  </a:cubicBezTo>
                  <a:cubicBezTo>
                    <a:pt x="5048726" y="268129"/>
                    <a:pt x="5048726" y="267176"/>
                    <a:pt x="5048726" y="266224"/>
                  </a:cubicBezTo>
                  <a:cubicBezTo>
                    <a:pt x="5048726" y="260509"/>
                    <a:pt x="5049679" y="256699"/>
                    <a:pt x="5050631" y="252889"/>
                  </a:cubicBezTo>
                  <a:close/>
                  <a:moveTo>
                    <a:pt x="5020151" y="390049"/>
                  </a:moveTo>
                  <a:cubicBezTo>
                    <a:pt x="5018246" y="385286"/>
                    <a:pt x="5016342" y="380524"/>
                    <a:pt x="5014437" y="376714"/>
                  </a:cubicBezTo>
                  <a:cubicBezTo>
                    <a:pt x="5014437" y="376714"/>
                    <a:pt x="5014437" y="375761"/>
                    <a:pt x="5014437" y="375761"/>
                  </a:cubicBezTo>
                  <a:cubicBezTo>
                    <a:pt x="5017294" y="365284"/>
                    <a:pt x="5020151" y="355759"/>
                    <a:pt x="5022056" y="347186"/>
                  </a:cubicBezTo>
                  <a:cubicBezTo>
                    <a:pt x="5022056" y="347186"/>
                    <a:pt x="5022056" y="348139"/>
                    <a:pt x="5022056" y="348139"/>
                  </a:cubicBezTo>
                  <a:cubicBezTo>
                    <a:pt x="5022056" y="352901"/>
                    <a:pt x="5022056" y="357664"/>
                    <a:pt x="5022056" y="363379"/>
                  </a:cubicBezTo>
                  <a:cubicBezTo>
                    <a:pt x="5022056" y="368141"/>
                    <a:pt x="5023009" y="373856"/>
                    <a:pt x="5023009" y="379571"/>
                  </a:cubicBezTo>
                  <a:cubicBezTo>
                    <a:pt x="5023009" y="381476"/>
                    <a:pt x="5023009" y="384334"/>
                    <a:pt x="5023962" y="386239"/>
                  </a:cubicBezTo>
                  <a:cubicBezTo>
                    <a:pt x="5023009" y="386239"/>
                    <a:pt x="5022056" y="388144"/>
                    <a:pt x="5020151" y="390049"/>
                  </a:cubicBezTo>
                  <a:close/>
                  <a:moveTo>
                    <a:pt x="5024914" y="400526"/>
                  </a:moveTo>
                  <a:cubicBezTo>
                    <a:pt x="5024914" y="400526"/>
                    <a:pt x="5024914" y="400526"/>
                    <a:pt x="5024914" y="400526"/>
                  </a:cubicBezTo>
                  <a:cubicBezTo>
                    <a:pt x="5024914" y="400526"/>
                    <a:pt x="5024914" y="400526"/>
                    <a:pt x="5024914" y="400526"/>
                  </a:cubicBezTo>
                  <a:cubicBezTo>
                    <a:pt x="5024914" y="400526"/>
                    <a:pt x="5024914" y="400526"/>
                    <a:pt x="5024914" y="400526"/>
                  </a:cubicBezTo>
                  <a:close/>
                  <a:moveTo>
                    <a:pt x="5035392" y="314801"/>
                  </a:moveTo>
                  <a:cubicBezTo>
                    <a:pt x="5035392" y="315754"/>
                    <a:pt x="5035392" y="316706"/>
                    <a:pt x="5035392" y="317659"/>
                  </a:cubicBezTo>
                  <a:cubicBezTo>
                    <a:pt x="5034439" y="329089"/>
                    <a:pt x="5032534" y="341471"/>
                    <a:pt x="5031581" y="353854"/>
                  </a:cubicBezTo>
                  <a:cubicBezTo>
                    <a:pt x="5031581" y="353854"/>
                    <a:pt x="5031581" y="353854"/>
                    <a:pt x="5031581" y="353854"/>
                  </a:cubicBezTo>
                  <a:cubicBezTo>
                    <a:pt x="5031581" y="353854"/>
                    <a:pt x="5031581" y="354806"/>
                    <a:pt x="5031581" y="354806"/>
                  </a:cubicBezTo>
                  <a:cubicBezTo>
                    <a:pt x="5031581" y="351949"/>
                    <a:pt x="5030629" y="349091"/>
                    <a:pt x="5030629" y="347186"/>
                  </a:cubicBezTo>
                  <a:cubicBezTo>
                    <a:pt x="5029676" y="340519"/>
                    <a:pt x="5028724" y="334804"/>
                    <a:pt x="5027771" y="329089"/>
                  </a:cubicBezTo>
                  <a:cubicBezTo>
                    <a:pt x="5027771" y="328136"/>
                    <a:pt x="5028724" y="326231"/>
                    <a:pt x="5028724" y="325279"/>
                  </a:cubicBezTo>
                  <a:cubicBezTo>
                    <a:pt x="5029676" y="323374"/>
                    <a:pt x="5030629" y="321469"/>
                    <a:pt x="5032534" y="319564"/>
                  </a:cubicBezTo>
                  <a:cubicBezTo>
                    <a:pt x="5033487" y="317659"/>
                    <a:pt x="5034439" y="315754"/>
                    <a:pt x="5035392" y="314801"/>
                  </a:cubicBezTo>
                  <a:close/>
                  <a:moveTo>
                    <a:pt x="5006817" y="242411"/>
                  </a:moveTo>
                  <a:cubicBezTo>
                    <a:pt x="5009674" y="246221"/>
                    <a:pt x="5013484" y="251936"/>
                    <a:pt x="5019199" y="259556"/>
                  </a:cubicBezTo>
                  <a:cubicBezTo>
                    <a:pt x="5022056" y="262414"/>
                    <a:pt x="5023962" y="266224"/>
                    <a:pt x="5025867" y="270034"/>
                  </a:cubicBezTo>
                  <a:cubicBezTo>
                    <a:pt x="5023962" y="268129"/>
                    <a:pt x="5022056" y="265271"/>
                    <a:pt x="5021104" y="263366"/>
                  </a:cubicBezTo>
                  <a:cubicBezTo>
                    <a:pt x="5019199" y="260509"/>
                    <a:pt x="5016342" y="258604"/>
                    <a:pt x="5014437" y="255746"/>
                  </a:cubicBezTo>
                  <a:cubicBezTo>
                    <a:pt x="5011579" y="251936"/>
                    <a:pt x="5007769" y="249079"/>
                    <a:pt x="5004912" y="245269"/>
                  </a:cubicBezTo>
                  <a:cubicBezTo>
                    <a:pt x="5006817" y="244316"/>
                    <a:pt x="5006817" y="243364"/>
                    <a:pt x="5006817" y="242411"/>
                  </a:cubicBezTo>
                  <a:close/>
                  <a:moveTo>
                    <a:pt x="5004912" y="242411"/>
                  </a:moveTo>
                  <a:cubicBezTo>
                    <a:pt x="5004912" y="241459"/>
                    <a:pt x="5004912" y="240506"/>
                    <a:pt x="5004912" y="238601"/>
                  </a:cubicBezTo>
                  <a:cubicBezTo>
                    <a:pt x="5004912" y="238601"/>
                    <a:pt x="5005864" y="239554"/>
                    <a:pt x="5006817" y="241459"/>
                  </a:cubicBezTo>
                  <a:cubicBezTo>
                    <a:pt x="5005864" y="242411"/>
                    <a:pt x="5005864" y="243364"/>
                    <a:pt x="5004912" y="244316"/>
                  </a:cubicBezTo>
                  <a:cubicBezTo>
                    <a:pt x="5004912" y="244316"/>
                    <a:pt x="5004912" y="244316"/>
                    <a:pt x="5004912" y="243364"/>
                  </a:cubicBezTo>
                  <a:cubicBezTo>
                    <a:pt x="5003959" y="243364"/>
                    <a:pt x="5003959" y="242411"/>
                    <a:pt x="5004912" y="242411"/>
                  </a:cubicBezTo>
                  <a:close/>
                  <a:moveTo>
                    <a:pt x="4999196" y="303371"/>
                  </a:moveTo>
                  <a:cubicBezTo>
                    <a:pt x="5001101" y="285274"/>
                    <a:pt x="5002054" y="268129"/>
                    <a:pt x="5003006" y="252889"/>
                  </a:cubicBezTo>
                  <a:cubicBezTo>
                    <a:pt x="5004912" y="255746"/>
                    <a:pt x="5006817" y="257651"/>
                    <a:pt x="5008721" y="260509"/>
                  </a:cubicBezTo>
                  <a:cubicBezTo>
                    <a:pt x="5010626" y="263366"/>
                    <a:pt x="5012531" y="266224"/>
                    <a:pt x="5014437" y="268129"/>
                  </a:cubicBezTo>
                  <a:cubicBezTo>
                    <a:pt x="5016342" y="270986"/>
                    <a:pt x="5018246" y="273844"/>
                    <a:pt x="5020151" y="276701"/>
                  </a:cubicBezTo>
                  <a:cubicBezTo>
                    <a:pt x="5023009" y="281464"/>
                    <a:pt x="5026819" y="287179"/>
                    <a:pt x="5029676" y="292894"/>
                  </a:cubicBezTo>
                  <a:cubicBezTo>
                    <a:pt x="5029676" y="292894"/>
                    <a:pt x="5029676" y="293846"/>
                    <a:pt x="5029676" y="293846"/>
                  </a:cubicBezTo>
                  <a:cubicBezTo>
                    <a:pt x="5028724" y="296704"/>
                    <a:pt x="5026819" y="299561"/>
                    <a:pt x="5025867" y="302419"/>
                  </a:cubicBezTo>
                  <a:cubicBezTo>
                    <a:pt x="5024914" y="303371"/>
                    <a:pt x="5023962" y="304324"/>
                    <a:pt x="5023009" y="305276"/>
                  </a:cubicBezTo>
                  <a:cubicBezTo>
                    <a:pt x="5023009" y="302419"/>
                    <a:pt x="5022056" y="301466"/>
                    <a:pt x="5022056" y="301466"/>
                  </a:cubicBezTo>
                  <a:cubicBezTo>
                    <a:pt x="5022056" y="301466"/>
                    <a:pt x="5022056" y="303371"/>
                    <a:pt x="5022056" y="306229"/>
                  </a:cubicBezTo>
                  <a:cubicBezTo>
                    <a:pt x="5021104" y="307181"/>
                    <a:pt x="5020151" y="308134"/>
                    <a:pt x="5019199" y="309086"/>
                  </a:cubicBezTo>
                  <a:cubicBezTo>
                    <a:pt x="5017294" y="311944"/>
                    <a:pt x="5014437" y="314801"/>
                    <a:pt x="5012531" y="318611"/>
                  </a:cubicBezTo>
                  <a:cubicBezTo>
                    <a:pt x="5012531" y="316706"/>
                    <a:pt x="5013484" y="313849"/>
                    <a:pt x="5013484" y="311944"/>
                  </a:cubicBezTo>
                  <a:cubicBezTo>
                    <a:pt x="5014437" y="305276"/>
                    <a:pt x="5015389" y="299561"/>
                    <a:pt x="5017294" y="294799"/>
                  </a:cubicBezTo>
                  <a:cubicBezTo>
                    <a:pt x="5019199" y="285274"/>
                    <a:pt x="5020151" y="279559"/>
                    <a:pt x="5020151" y="279559"/>
                  </a:cubicBezTo>
                  <a:cubicBezTo>
                    <a:pt x="5020151" y="279559"/>
                    <a:pt x="5017294" y="284321"/>
                    <a:pt x="5013484" y="293846"/>
                  </a:cubicBezTo>
                  <a:cubicBezTo>
                    <a:pt x="5011579" y="298609"/>
                    <a:pt x="5008721" y="304324"/>
                    <a:pt x="5006817" y="310039"/>
                  </a:cubicBezTo>
                  <a:cubicBezTo>
                    <a:pt x="5003959" y="316706"/>
                    <a:pt x="5002054" y="324326"/>
                    <a:pt x="4999196" y="331946"/>
                  </a:cubicBezTo>
                  <a:cubicBezTo>
                    <a:pt x="4999196" y="331946"/>
                    <a:pt x="4999196" y="332899"/>
                    <a:pt x="4999196" y="332899"/>
                  </a:cubicBezTo>
                  <a:cubicBezTo>
                    <a:pt x="4998244" y="330994"/>
                    <a:pt x="4997292" y="329089"/>
                    <a:pt x="4997292" y="327184"/>
                  </a:cubicBezTo>
                  <a:cubicBezTo>
                    <a:pt x="4998244" y="320516"/>
                    <a:pt x="4998244" y="311944"/>
                    <a:pt x="4999196" y="303371"/>
                  </a:cubicBezTo>
                  <a:close/>
                  <a:moveTo>
                    <a:pt x="4968717" y="208121"/>
                  </a:moveTo>
                  <a:cubicBezTo>
                    <a:pt x="4968717" y="209074"/>
                    <a:pt x="4968717" y="210026"/>
                    <a:pt x="4967764" y="212884"/>
                  </a:cubicBezTo>
                  <a:cubicBezTo>
                    <a:pt x="4967764" y="213836"/>
                    <a:pt x="4966812" y="215741"/>
                    <a:pt x="4966812" y="217646"/>
                  </a:cubicBezTo>
                  <a:cubicBezTo>
                    <a:pt x="4966812" y="216694"/>
                    <a:pt x="4966812" y="216694"/>
                    <a:pt x="4966812" y="215741"/>
                  </a:cubicBezTo>
                  <a:cubicBezTo>
                    <a:pt x="4967764" y="213836"/>
                    <a:pt x="4968717" y="210979"/>
                    <a:pt x="4968717" y="208121"/>
                  </a:cubicBezTo>
                  <a:close/>
                  <a:moveTo>
                    <a:pt x="4960144" y="364331"/>
                  </a:moveTo>
                  <a:cubicBezTo>
                    <a:pt x="4960144" y="370046"/>
                    <a:pt x="4961096" y="375761"/>
                    <a:pt x="4961096" y="381476"/>
                  </a:cubicBezTo>
                  <a:cubicBezTo>
                    <a:pt x="4960144" y="384334"/>
                    <a:pt x="4959192" y="388144"/>
                    <a:pt x="4958239" y="391001"/>
                  </a:cubicBezTo>
                  <a:cubicBezTo>
                    <a:pt x="4958239" y="389096"/>
                    <a:pt x="4957287" y="387191"/>
                    <a:pt x="4957287" y="386239"/>
                  </a:cubicBezTo>
                  <a:cubicBezTo>
                    <a:pt x="4957287" y="384334"/>
                    <a:pt x="4957287" y="382429"/>
                    <a:pt x="4957287" y="380524"/>
                  </a:cubicBezTo>
                  <a:cubicBezTo>
                    <a:pt x="4957287" y="371951"/>
                    <a:pt x="4957287" y="363379"/>
                    <a:pt x="4956334" y="356711"/>
                  </a:cubicBezTo>
                  <a:cubicBezTo>
                    <a:pt x="4956334" y="354806"/>
                    <a:pt x="4956334" y="353854"/>
                    <a:pt x="4956334" y="351949"/>
                  </a:cubicBezTo>
                  <a:cubicBezTo>
                    <a:pt x="4957287" y="350996"/>
                    <a:pt x="4958239" y="349091"/>
                    <a:pt x="4958239" y="348139"/>
                  </a:cubicBezTo>
                  <a:cubicBezTo>
                    <a:pt x="4959192" y="352901"/>
                    <a:pt x="4959192" y="358616"/>
                    <a:pt x="4960144" y="364331"/>
                  </a:cubicBezTo>
                  <a:close/>
                  <a:moveTo>
                    <a:pt x="4957287" y="256699"/>
                  </a:moveTo>
                  <a:cubicBezTo>
                    <a:pt x="4957287" y="257651"/>
                    <a:pt x="4957287" y="258604"/>
                    <a:pt x="4957287" y="258604"/>
                  </a:cubicBezTo>
                  <a:cubicBezTo>
                    <a:pt x="4957287" y="258604"/>
                    <a:pt x="4957287" y="259556"/>
                    <a:pt x="4957287" y="259556"/>
                  </a:cubicBezTo>
                  <a:cubicBezTo>
                    <a:pt x="4956334" y="262414"/>
                    <a:pt x="4956334" y="264319"/>
                    <a:pt x="4955381" y="267176"/>
                  </a:cubicBezTo>
                  <a:cubicBezTo>
                    <a:pt x="4955381" y="266224"/>
                    <a:pt x="4954429" y="266224"/>
                    <a:pt x="4954429" y="265271"/>
                  </a:cubicBezTo>
                  <a:cubicBezTo>
                    <a:pt x="4955381" y="263366"/>
                    <a:pt x="4956334" y="259556"/>
                    <a:pt x="4957287" y="256699"/>
                  </a:cubicBezTo>
                  <a:close/>
                  <a:moveTo>
                    <a:pt x="4954429" y="268129"/>
                  </a:moveTo>
                  <a:cubicBezTo>
                    <a:pt x="4954429" y="269081"/>
                    <a:pt x="4955381" y="270034"/>
                    <a:pt x="4955381" y="270986"/>
                  </a:cubicBezTo>
                  <a:cubicBezTo>
                    <a:pt x="4954429" y="276701"/>
                    <a:pt x="4952524" y="283369"/>
                    <a:pt x="4951571" y="290036"/>
                  </a:cubicBezTo>
                  <a:cubicBezTo>
                    <a:pt x="4949667" y="298609"/>
                    <a:pt x="4947762" y="307181"/>
                    <a:pt x="4944904" y="316706"/>
                  </a:cubicBezTo>
                  <a:cubicBezTo>
                    <a:pt x="4943951" y="312896"/>
                    <a:pt x="4943951" y="310991"/>
                    <a:pt x="4943951" y="310991"/>
                  </a:cubicBezTo>
                  <a:cubicBezTo>
                    <a:pt x="4943951" y="310991"/>
                    <a:pt x="4943951" y="314801"/>
                    <a:pt x="4943951" y="320516"/>
                  </a:cubicBezTo>
                  <a:cubicBezTo>
                    <a:pt x="4942999" y="326231"/>
                    <a:pt x="4941094" y="330994"/>
                    <a:pt x="4940142" y="336709"/>
                  </a:cubicBezTo>
                  <a:cubicBezTo>
                    <a:pt x="4940142" y="336709"/>
                    <a:pt x="4940142" y="335756"/>
                    <a:pt x="4940142" y="335756"/>
                  </a:cubicBezTo>
                  <a:cubicBezTo>
                    <a:pt x="4939189" y="331946"/>
                    <a:pt x="4939189" y="329089"/>
                    <a:pt x="4938237" y="325279"/>
                  </a:cubicBezTo>
                  <a:cubicBezTo>
                    <a:pt x="4943951" y="306229"/>
                    <a:pt x="4949667" y="286226"/>
                    <a:pt x="4954429" y="268129"/>
                  </a:cubicBezTo>
                  <a:close/>
                  <a:moveTo>
                    <a:pt x="4922044" y="378619"/>
                  </a:moveTo>
                  <a:cubicBezTo>
                    <a:pt x="4922044" y="378619"/>
                    <a:pt x="4922044" y="378619"/>
                    <a:pt x="4922044" y="378619"/>
                  </a:cubicBezTo>
                  <a:cubicBezTo>
                    <a:pt x="4922044" y="379571"/>
                    <a:pt x="4922044" y="379571"/>
                    <a:pt x="4922044" y="378619"/>
                  </a:cubicBezTo>
                  <a:cubicBezTo>
                    <a:pt x="4922044" y="379571"/>
                    <a:pt x="4922044" y="378619"/>
                    <a:pt x="4922044" y="378619"/>
                  </a:cubicBezTo>
                  <a:close/>
                  <a:moveTo>
                    <a:pt x="4908709" y="307181"/>
                  </a:moveTo>
                  <a:cubicBezTo>
                    <a:pt x="4910614" y="312896"/>
                    <a:pt x="4912519" y="318611"/>
                    <a:pt x="4915376" y="326231"/>
                  </a:cubicBezTo>
                  <a:cubicBezTo>
                    <a:pt x="4913471" y="330041"/>
                    <a:pt x="4911567" y="334804"/>
                    <a:pt x="4909662" y="338614"/>
                  </a:cubicBezTo>
                  <a:cubicBezTo>
                    <a:pt x="4908709" y="327184"/>
                    <a:pt x="4907756" y="316706"/>
                    <a:pt x="4906804" y="308134"/>
                  </a:cubicBezTo>
                  <a:cubicBezTo>
                    <a:pt x="4906804" y="306229"/>
                    <a:pt x="4906804" y="305276"/>
                    <a:pt x="4906804" y="305276"/>
                  </a:cubicBezTo>
                  <a:cubicBezTo>
                    <a:pt x="4906804" y="305276"/>
                    <a:pt x="4906804" y="306229"/>
                    <a:pt x="4905851" y="307181"/>
                  </a:cubicBezTo>
                  <a:cubicBezTo>
                    <a:pt x="4905851" y="303371"/>
                    <a:pt x="4904899" y="300514"/>
                    <a:pt x="4904899" y="297656"/>
                  </a:cubicBezTo>
                  <a:cubicBezTo>
                    <a:pt x="4906804" y="300514"/>
                    <a:pt x="4907756" y="303371"/>
                    <a:pt x="4908709" y="307181"/>
                  </a:cubicBezTo>
                  <a:close/>
                  <a:moveTo>
                    <a:pt x="4897279" y="351949"/>
                  </a:moveTo>
                  <a:cubicBezTo>
                    <a:pt x="4897279" y="356711"/>
                    <a:pt x="4897279" y="360521"/>
                    <a:pt x="4896326" y="365284"/>
                  </a:cubicBezTo>
                  <a:cubicBezTo>
                    <a:pt x="4896326" y="366236"/>
                    <a:pt x="4895374" y="367189"/>
                    <a:pt x="4895374" y="368141"/>
                  </a:cubicBezTo>
                  <a:cubicBezTo>
                    <a:pt x="4895374" y="365284"/>
                    <a:pt x="4894421" y="361474"/>
                    <a:pt x="4894421" y="357664"/>
                  </a:cubicBezTo>
                  <a:cubicBezTo>
                    <a:pt x="4893469" y="351949"/>
                    <a:pt x="4893469" y="347186"/>
                    <a:pt x="4892517" y="341471"/>
                  </a:cubicBezTo>
                  <a:cubicBezTo>
                    <a:pt x="4894421" y="345281"/>
                    <a:pt x="4895374" y="348139"/>
                    <a:pt x="4897279" y="351949"/>
                  </a:cubicBezTo>
                  <a:close/>
                  <a:moveTo>
                    <a:pt x="4822984" y="387191"/>
                  </a:moveTo>
                  <a:cubicBezTo>
                    <a:pt x="4822984" y="386239"/>
                    <a:pt x="4822984" y="386239"/>
                    <a:pt x="4822984" y="385286"/>
                  </a:cubicBezTo>
                  <a:cubicBezTo>
                    <a:pt x="4822984" y="386239"/>
                    <a:pt x="4822984" y="387191"/>
                    <a:pt x="4822984" y="387191"/>
                  </a:cubicBezTo>
                  <a:cubicBezTo>
                    <a:pt x="4822984" y="387191"/>
                    <a:pt x="4822984" y="387191"/>
                    <a:pt x="4822984" y="387191"/>
                  </a:cubicBezTo>
                  <a:close/>
                  <a:moveTo>
                    <a:pt x="4842987" y="338614"/>
                  </a:moveTo>
                  <a:cubicBezTo>
                    <a:pt x="4842987" y="344329"/>
                    <a:pt x="4842987" y="350044"/>
                    <a:pt x="4842987" y="356711"/>
                  </a:cubicBezTo>
                  <a:cubicBezTo>
                    <a:pt x="4842987" y="357664"/>
                    <a:pt x="4842987" y="359569"/>
                    <a:pt x="4842987" y="360521"/>
                  </a:cubicBezTo>
                  <a:cubicBezTo>
                    <a:pt x="4842034" y="366236"/>
                    <a:pt x="4841081" y="373856"/>
                    <a:pt x="4840129" y="382429"/>
                  </a:cubicBezTo>
                  <a:cubicBezTo>
                    <a:pt x="4839176" y="385286"/>
                    <a:pt x="4839176" y="387191"/>
                    <a:pt x="4838224" y="390049"/>
                  </a:cubicBezTo>
                  <a:cubicBezTo>
                    <a:pt x="4834414" y="389096"/>
                    <a:pt x="4830604" y="388144"/>
                    <a:pt x="4826794" y="387191"/>
                  </a:cubicBezTo>
                  <a:cubicBezTo>
                    <a:pt x="4825841" y="384334"/>
                    <a:pt x="4824889" y="381476"/>
                    <a:pt x="4824889" y="379571"/>
                  </a:cubicBezTo>
                  <a:cubicBezTo>
                    <a:pt x="4825841" y="376714"/>
                    <a:pt x="4826794" y="373856"/>
                    <a:pt x="4827747" y="370999"/>
                  </a:cubicBezTo>
                  <a:cubicBezTo>
                    <a:pt x="4830604" y="361474"/>
                    <a:pt x="4834414" y="352901"/>
                    <a:pt x="4838224" y="346234"/>
                  </a:cubicBezTo>
                  <a:cubicBezTo>
                    <a:pt x="4840129" y="342424"/>
                    <a:pt x="4842034" y="339566"/>
                    <a:pt x="4843939" y="336709"/>
                  </a:cubicBezTo>
                  <a:cubicBezTo>
                    <a:pt x="4842987" y="337661"/>
                    <a:pt x="4842987" y="338614"/>
                    <a:pt x="4842987" y="338614"/>
                  </a:cubicBezTo>
                  <a:cubicBezTo>
                    <a:pt x="4842987" y="338614"/>
                    <a:pt x="4842987" y="338614"/>
                    <a:pt x="4842987" y="338614"/>
                  </a:cubicBezTo>
                  <a:close/>
                  <a:moveTo>
                    <a:pt x="4843939" y="329089"/>
                  </a:moveTo>
                  <a:cubicBezTo>
                    <a:pt x="4843939" y="329089"/>
                    <a:pt x="4843939" y="329089"/>
                    <a:pt x="4843939" y="329089"/>
                  </a:cubicBezTo>
                  <a:cubicBezTo>
                    <a:pt x="4841081" y="324326"/>
                    <a:pt x="4838224" y="320516"/>
                    <a:pt x="4836319" y="318611"/>
                  </a:cubicBezTo>
                  <a:cubicBezTo>
                    <a:pt x="4836319" y="318611"/>
                    <a:pt x="4836319" y="318611"/>
                    <a:pt x="4836319" y="318611"/>
                  </a:cubicBezTo>
                  <a:cubicBezTo>
                    <a:pt x="4837272" y="316706"/>
                    <a:pt x="4838224" y="315754"/>
                    <a:pt x="4839176" y="314801"/>
                  </a:cubicBezTo>
                  <a:cubicBezTo>
                    <a:pt x="4840129" y="316706"/>
                    <a:pt x="4841081" y="319564"/>
                    <a:pt x="4842987" y="321469"/>
                  </a:cubicBezTo>
                  <a:cubicBezTo>
                    <a:pt x="4842987" y="322421"/>
                    <a:pt x="4843939" y="323374"/>
                    <a:pt x="4843939" y="323374"/>
                  </a:cubicBezTo>
                  <a:cubicBezTo>
                    <a:pt x="4843939" y="325279"/>
                    <a:pt x="4843939" y="327184"/>
                    <a:pt x="4843939" y="329089"/>
                  </a:cubicBezTo>
                  <a:close/>
                  <a:moveTo>
                    <a:pt x="4845844" y="296704"/>
                  </a:moveTo>
                  <a:cubicBezTo>
                    <a:pt x="4845844" y="302419"/>
                    <a:pt x="4844891" y="309086"/>
                    <a:pt x="4844891" y="316706"/>
                  </a:cubicBezTo>
                  <a:cubicBezTo>
                    <a:pt x="4842987" y="314801"/>
                    <a:pt x="4842034" y="311944"/>
                    <a:pt x="4840129" y="310039"/>
                  </a:cubicBezTo>
                  <a:cubicBezTo>
                    <a:pt x="4839176" y="309086"/>
                    <a:pt x="4838224" y="307181"/>
                    <a:pt x="4837272" y="306229"/>
                  </a:cubicBezTo>
                  <a:cubicBezTo>
                    <a:pt x="4840129" y="300514"/>
                    <a:pt x="4842987" y="295751"/>
                    <a:pt x="4845844" y="290989"/>
                  </a:cubicBezTo>
                  <a:cubicBezTo>
                    <a:pt x="4846797" y="290036"/>
                    <a:pt x="4846797" y="289084"/>
                    <a:pt x="4847749" y="288131"/>
                  </a:cubicBezTo>
                  <a:cubicBezTo>
                    <a:pt x="4846797" y="290989"/>
                    <a:pt x="4845844" y="293846"/>
                    <a:pt x="4845844" y="296704"/>
                  </a:cubicBezTo>
                  <a:close/>
                  <a:moveTo>
                    <a:pt x="4869656" y="325279"/>
                  </a:moveTo>
                  <a:cubicBezTo>
                    <a:pt x="4869656" y="326231"/>
                    <a:pt x="4869656" y="326231"/>
                    <a:pt x="4869656" y="327184"/>
                  </a:cubicBezTo>
                  <a:cubicBezTo>
                    <a:pt x="4869656" y="327184"/>
                    <a:pt x="4869656" y="326231"/>
                    <a:pt x="4869656" y="325279"/>
                  </a:cubicBezTo>
                  <a:cubicBezTo>
                    <a:pt x="4869656" y="323374"/>
                    <a:pt x="4869656" y="320516"/>
                    <a:pt x="4869656" y="318611"/>
                  </a:cubicBezTo>
                  <a:cubicBezTo>
                    <a:pt x="4869656" y="320516"/>
                    <a:pt x="4869656" y="323374"/>
                    <a:pt x="4869656" y="325279"/>
                  </a:cubicBezTo>
                  <a:close/>
                  <a:moveTo>
                    <a:pt x="4854416" y="276701"/>
                  </a:moveTo>
                  <a:cubicBezTo>
                    <a:pt x="4860131" y="267176"/>
                    <a:pt x="4865847" y="261461"/>
                    <a:pt x="4868704" y="256699"/>
                  </a:cubicBezTo>
                  <a:cubicBezTo>
                    <a:pt x="4869656" y="255746"/>
                    <a:pt x="4870609" y="253841"/>
                    <a:pt x="4871562" y="252889"/>
                  </a:cubicBezTo>
                  <a:cubicBezTo>
                    <a:pt x="4871562" y="254794"/>
                    <a:pt x="4871562" y="257651"/>
                    <a:pt x="4871562" y="259556"/>
                  </a:cubicBezTo>
                  <a:cubicBezTo>
                    <a:pt x="4868704" y="270986"/>
                    <a:pt x="4864894" y="283369"/>
                    <a:pt x="4861084" y="296704"/>
                  </a:cubicBezTo>
                  <a:cubicBezTo>
                    <a:pt x="4861084" y="297656"/>
                    <a:pt x="4860131" y="299561"/>
                    <a:pt x="4860131" y="300514"/>
                  </a:cubicBezTo>
                  <a:cubicBezTo>
                    <a:pt x="4857274" y="291941"/>
                    <a:pt x="4855369" y="284321"/>
                    <a:pt x="4853464" y="278606"/>
                  </a:cubicBezTo>
                  <a:cubicBezTo>
                    <a:pt x="4854416" y="277654"/>
                    <a:pt x="4854416" y="277654"/>
                    <a:pt x="4854416" y="276701"/>
                  </a:cubicBezTo>
                  <a:cubicBezTo>
                    <a:pt x="4854416" y="276701"/>
                    <a:pt x="4854416" y="276701"/>
                    <a:pt x="4854416" y="276701"/>
                  </a:cubicBezTo>
                  <a:close/>
                  <a:moveTo>
                    <a:pt x="4850606" y="281464"/>
                  </a:moveTo>
                  <a:cubicBezTo>
                    <a:pt x="4852512" y="290989"/>
                    <a:pt x="4854416" y="303371"/>
                    <a:pt x="4857274" y="316706"/>
                  </a:cubicBezTo>
                  <a:cubicBezTo>
                    <a:pt x="4856322" y="321469"/>
                    <a:pt x="4855369" y="325279"/>
                    <a:pt x="4854416" y="330041"/>
                  </a:cubicBezTo>
                  <a:cubicBezTo>
                    <a:pt x="4853464" y="329089"/>
                    <a:pt x="4852512" y="327184"/>
                    <a:pt x="4852512" y="326231"/>
                  </a:cubicBezTo>
                  <a:cubicBezTo>
                    <a:pt x="4852512" y="325279"/>
                    <a:pt x="4852512" y="323374"/>
                    <a:pt x="4852512" y="322421"/>
                  </a:cubicBezTo>
                  <a:cubicBezTo>
                    <a:pt x="4851559" y="311944"/>
                    <a:pt x="4851559" y="303371"/>
                    <a:pt x="4850606" y="295751"/>
                  </a:cubicBezTo>
                  <a:cubicBezTo>
                    <a:pt x="4850606" y="290989"/>
                    <a:pt x="4849654" y="287179"/>
                    <a:pt x="4849654" y="284321"/>
                  </a:cubicBezTo>
                  <a:cubicBezTo>
                    <a:pt x="4849654" y="283369"/>
                    <a:pt x="4849654" y="282416"/>
                    <a:pt x="4850606" y="281464"/>
                  </a:cubicBezTo>
                  <a:close/>
                  <a:moveTo>
                    <a:pt x="4838224" y="290036"/>
                  </a:moveTo>
                  <a:cubicBezTo>
                    <a:pt x="4841081" y="283369"/>
                    <a:pt x="4843939" y="277654"/>
                    <a:pt x="4845844" y="272891"/>
                  </a:cubicBezTo>
                  <a:cubicBezTo>
                    <a:pt x="4846797" y="270034"/>
                    <a:pt x="4847749" y="267176"/>
                    <a:pt x="4848701" y="265271"/>
                  </a:cubicBezTo>
                  <a:cubicBezTo>
                    <a:pt x="4848701" y="268129"/>
                    <a:pt x="4849654" y="271939"/>
                    <a:pt x="4849654" y="275749"/>
                  </a:cubicBezTo>
                  <a:cubicBezTo>
                    <a:pt x="4848701" y="276701"/>
                    <a:pt x="4848701" y="277654"/>
                    <a:pt x="4847749" y="277654"/>
                  </a:cubicBezTo>
                  <a:cubicBezTo>
                    <a:pt x="4847749" y="274796"/>
                    <a:pt x="4847749" y="273844"/>
                    <a:pt x="4847749" y="273844"/>
                  </a:cubicBezTo>
                  <a:cubicBezTo>
                    <a:pt x="4847749" y="273844"/>
                    <a:pt x="4847749" y="275749"/>
                    <a:pt x="4847749" y="278606"/>
                  </a:cubicBezTo>
                  <a:cubicBezTo>
                    <a:pt x="4845844" y="281464"/>
                    <a:pt x="4842987" y="284321"/>
                    <a:pt x="4841081" y="288131"/>
                  </a:cubicBezTo>
                  <a:cubicBezTo>
                    <a:pt x="4840129" y="290036"/>
                    <a:pt x="4838224" y="291941"/>
                    <a:pt x="4836319" y="294799"/>
                  </a:cubicBezTo>
                  <a:cubicBezTo>
                    <a:pt x="4836319" y="292894"/>
                    <a:pt x="4837272" y="291941"/>
                    <a:pt x="4838224" y="290036"/>
                  </a:cubicBezTo>
                  <a:close/>
                  <a:moveTo>
                    <a:pt x="4835366" y="309086"/>
                  </a:moveTo>
                  <a:cubicBezTo>
                    <a:pt x="4835366" y="309086"/>
                    <a:pt x="4835366" y="308134"/>
                    <a:pt x="4836319" y="308134"/>
                  </a:cubicBezTo>
                  <a:cubicBezTo>
                    <a:pt x="4837272" y="309086"/>
                    <a:pt x="4837272" y="310039"/>
                    <a:pt x="4838224" y="311944"/>
                  </a:cubicBezTo>
                  <a:cubicBezTo>
                    <a:pt x="4838224" y="312896"/>
                    <a:pt x="4839176" y="312896"/>
                    <a:pt x="4839176" y="313849"/>
                  </a:cubicBezTo>
                  <a:cubicBezTo>
                    <a:pt x="4838224" y="314801"/>
                    <a:pt x="4837272" y="315754"/>
                    <a:pt x="4835366" y="317659"/>
                  </a:cubicBezTo>
                  <a:cubicBezTo>
                    <a:pt x="4835366" y="317659"/>
                    <a:pt x="4835366" y="317659"/>
                    <a:pt x="4835366" y="317659"/>
                  </a:cubicBezTo>
                  <a:cubicBezTo>
                    <a:pt x="4835366" y="317659"/>
                    <a:pt x="4834414" y="316706"/>
                    <a:pt x="4834414" y="316706"/>
                  </a:cubicBezTo>
                  <a:cubicBezTo>
                    <a:pt x="4833462" y="315754"/>
                    <a:pt x="4833462" y="315754"/>
                    <a:pt x="4832509" y="314801"/>
                  </a:cubicBezTo>
                  <a:cubicBezTo>
                    <a:pt x="4833462" y="312896"/>
                    <a:pt x="4834414" y="310991"/>
                    <a:pt x="4835366" y="309086"/>
                  </a:cubicBezTo>
                  <a:close/>
                  <a:moveTo>
                    <a:pt x="4830604" y="319564"/>
                  </a:moveTo>
                  <a:cubicBezTo>
                    <a:pt x="4831556" y="317659"/>
                    <a:pt x="4831556" y="316706"/>
                    <a:pt x="4832509" y="314801"/>
                  </a:cubicBezTo>
                  <a:cubicBezTo>
                    <a:pt x="4832509" y="315754"/>
                    <a:pt x="4833462" y="315754"/>
                    <a:pt x="4833462" y="316706"/>
                  </a:cubicBezTo>
                  <a:cubicBezTo>
                    <a:pt x="4833462" y="317659"/>
                    <a:pt x="4834414" y="317659"/>
                    <a:pt x="4834414" y="318611"/>
                  </a:cubicBezTo>
                  <a:cubicBezTo>
                    <a:pt x="4832509" y="320516"/>
                    <a:pt x="4830604" y="322421"/>
                    <a:pt x="4828699" y="324326"/>
                  </a:cubicBezTo>
                  <a:cubicBezTo>
                    <a:pt x="4829651" y="322421"/>
                    <a:pt x="4829651" y="320516"/>
                    <a:pt x="4830604" y="319564"/>
                  </a:cubicBezTo>
                  <a:close/>
                  <a:moveTo>
                    <a:pt x="4817269" y="364331"/>
                  </a:moveTo>
                  <a:cubicBezTo>
                    <a:pt x="4817269" y="361474"/>
                    <a:pt x="4817269" y="359569"/>
                    <a:pt x="4817269" y="356711"/>
                  </a:cubicBezTo>
                  <a:cubicBezTo>
                    <a:pt x="4820126" y="349091"/>
                    <a:pt x="4822984" y="342424"/>
                    <a:pt x="4824889" y="335756"/>
                  </a:cubicBezTo>
                  <a:cubicBezTo>
                    <a:pt x="4824889" y="335756"/>
                    <a:pt x="4825841" y="334804"/>
                    <a:pt x="4825841" y="334804"/>
                  </a:cubicBezTo>
                  <a:cubicBezTo>
                    <a:pt x="4829651" y="328136"/>
                    <a:pt x="4833462" y="323374"/>
                    <a:pt x="4835366" y="319564"/>
                  </a:cubicBezTo>
                  <a:cubicBezTo>
                    <a:pt x="4835366" y="320516"/>
                    <a:pt x="4836319" y="321469"/>
                    <a:pt x="4837272" y="322421"/>
                  </a:cubicBezTo>
                  <a:cubicBezTo>
                    <a:pt x="4838224" y="324326"/>
                    <a:pt x="4839176" y="327184"/>
                    <a:pt x="4841081" y="330994"/>
                  </a:cubicBezTo>
                  <a:cubicBezTo>
                    <a:pt x="4842034" y="332899"/>
                    <a:pt x="4842034" y="333851"/>
                    <a:pt x="4842987" y="335756"/>
                  </a:cubicBezTo>
                  <a:cubicBezTo>
                    <a:pt x="4840129" y="338614"/>
                    <a:pt x="4838224" y="341471"/>
                    <a:pt x="4835366" y="345281"/>
                  </a:cubicBezTo>
                  <a:cubicBezTo>
                    <a:pt x="4831556" y="350996"/>
                    <a:pt x="4826794" y="357664"/>
                    <a:pt x="4822984" y="366236"/>
                  </a:cubicBezTo>
                  <a:cubicBezTo>
                    <a:pt x="4822031" y="367189"/>
                    <a:pt x="4821079" y="368141"/>
                    <a:pt x="4820126" y="369094"/>
                  </a:cubicBezTo>
                  <a:cubicBezTo>
                    <a:pt x="4819174" y="370046"/>
                    <a:pt x="4818222" y="370999"/>
                    <a:pt x="4817269" y="371951"/>
                  </a:cubicBezTo>
                  <a:cubicBezTo>
                    <a:pt x="4816316" y="369094"/>
                    <a:pt x="4817269" y="366236"/>
                    <a:pt x="4817269" y="364331"/>
                  </a:cubicBezTo>
                  <a:close/>
                  <a:moveTo>
                    <a:pt x="4816316" y="376714"/>
                  </a:moveTo>
                  <a:cubicBezTo>
                    <a:pt x="4817269" y="373856"/>
                    <a:pt x="4819174" y="370999"/>
                    <a:pt x="4820126" y="370046"/>
                  </a:cubicBezTo>
                  <a:cubicBezTo>
                    <a:pt x="4820126" y="370046"/>
                    <a:pt x="4820126" y="370046"/>
                    <a:pt x="4820126" y="370046"/>
                  </a:cubicBezTo>
                  <a:cubicBezTo>
                    <a:pt x="4820126" y="370046"/>
                    <a:pt x="4820126" y="370046"/>
                    <a:pt x="4820126" y="370046"/>
                  </a:cubicBezTo>
                  <a:cubicBezTo>
                    <a:pt x="4819174" y="372904"/>
                    <a:pt x="4817269" y="375761"/>
                    <a:pt x="4816316" y="378619"/>
                  </a:cubicBezTo>
                  <a:cubicBezTo>
                    <a:pt x="4816316" y="376714"/>
                    <a:pt x="4816316" y="376714"/>
                    <a:pt x="4816316" y="376714"/>
                  </a:cubicBezTo>
                  <a:close/>
                  <a:moveTo>
                    <a:pt x="4762024" y="305276"/>
                  </a:moveTo>
                  <a:cubicBezTo>
                    <a:pt x="4762024" y="306229"/>
                    <a:pt x="4762976" y="312896"/>
                    <a:pt x="4763929" y="322421"/>
                  </a:cubicBezTo>
                  <a:cubicBezTo>
                    <a:pt x="4762024" y="317659"/>
                    <a:pt x="4761072" y="313849"/>
                    <a:pt x="4760119" y="309086"/>
                  </a:cubicBezTo>
                  <a:cubicBezTo>
                    <a:pt x="4761072" y="306229"/>
                    <a:pt x="4761072" y="303371"/>
                    <a:pt x="4762024" y="300514"/>
                  </a:cubicBezTo>
                  <a:cubicBezTo>
                    <a:pt x="4762024" y="302419"/>
                    <a:pt x="4762024" y="303371"/>
                    <a:pt x="4762024" y="305276"/>
                  </a:cubicBezTo>
                  <a:close/>
                  <a:moveTo>
                    <a:pt x="4755356" y="279559"/>
                  </a:moveTo>
                  <a:cubicBezTo>
                    <a:pt x="4757262" y="284321"/>
                    <a:pt x="4758214" y="289084"/>
                    <a:pt x="4760119" y="294799"/>
                  </a:cubicBezTo>
                  <a:cubicBezTo>
                    <a:pt x="4760119" y="295751"/>
                    <a:pt x="4760119" y="296704"/>
                    <a:pt x="4761072" y="297656"/>
                  </a:cubicBezTo>
                  <a:cubicBezTo>
                    <a:pt x="4760119" y="299561"/>
                    <a:pt x="4759166" y="301466"/>
                    <a:pt x="4758214" y="304324"/>
                  </a:cubicBezTo>
                  <a:cubicBezTo>
                    <a:pt x="4757262" y="300514"/>
                    <a:pt x="4755356" y="296704"/>
                    <a:pt x="4754404" y="292894"/>
                  </a:cubicBezTo>
                  <a:cubicBezTo>
                    <a:pt x="4754404" y="288131"/>
                    <a:pt x="4754404" y="284321"/>
                    <a:pt x="4755356" y="279559"/>
                  </a:cubicBezTo>
                  <a:close/>
                  <a:moveTo>
                    <a:pt x="4759166" y="342424"/>
                  </a:moveTo>
                  <a:cubicBezTo>
                    <a:pt x="4757262" y="338614"/>
                    <a:pt x="4756309" y="335756"/>
                    <a:pt x="4755356" y="331946"/>
                  </a:cubicBezTo>
                  <a:cubicBezTo>
                    <a:pt x="4755356" y="330041"/>
                    <a:pt x="4756309" y="328136"/>
                    <a:pt x="4756309" y="326231"/>
                  </a:cubicBezTo>
                  <a:cubicBezTo>
                    <a:pt x="4757262" y="330994"/>
                    <a:pt x="4758214" y="336709"/>
                    <a:pt x="4759166" y="342424"/>
                  </a:cubicBezTo>
                  <a:close/>
                  <a:moveTo>
                    <a:pt x="4753451" y="312896"/>
                  </a:moveTo>
                  <a:cubicBezTo>
                    <a:pt x="4753451" y="313849"/>
                    <a:pt x="4753451" y="314801"/>
                    <a:pt x="4754404" y="315754"/>
                  </a:cubicBezTo>
                  <a:cubicBezTo>
                    <a:pt x="4754404" y="316706"/>
                    <a:pt x="4754404" y="316706"/>
                    <a:pt x="4753451" y="317659"/>
                  </a:cubicBezTo>
                  <a:cubicBezTo>
                    <a:pt x="4753451" y="315754"/>
                    <a:pt x="4753451" y="313849"/>
                    <a:pt x="4753451" y="312896"/>
                  </a:cubicBezTo>
                  <a:close/>
                  <a:moveTo>
                    <a:pt x="4755356" y="373856"/>
                  </a:moveTo>
                  <a:cubicBezTo>
                    <a:pt x="4755356" y="374809"/>
                    <a:pt x="4755356" y="374809"/>
                    <a:pt x="4756309" y="375761"/>
                  </a:cubicBezTo>
                  <a:cubicBezTo>
                    <a:pt x="4755356" y="376714"/>
                    <a:pt x="4755356" y="378619"/>
                    <a:pt x="4754404" y="379571"/>
                  </a:cubicBezTo>
                  <a:cubicBezTo>
                    <a:pt x="4753451" y="379571"/>
                    <a:pt x="4753451" y="379571"/>
                    <a:pt x="4752499" y="379571"/>
                  </a:cubicBezTo>
                  <a:cubicBezTo>
                    <a:pt x="4753451" y="377666"/>
                    <a:pt x="4754404" y="375761"/>
                    <a:pt x="4755356" y="373856"/>
                  </a:cubicBezTo>
                  <a:close/>
                  <a:moveTo>
                    <a:pt x="4748689" y="291941"/>
                  </a:moveTo>
                  <a:cubicBezTo>
                    <a:pt x="4747737" y="295751"/>
                    <a:pt x="4747737" y="299561"/>
                    <a:pt x="4746784" y="303371"/>
                  </a:cubicBezTo>
                  <a:cubicBezTo>
                    <a:pt x="4746784" y="303371"/>
                    <a:pt x="4746784" y="303371"/>
                    <a:pt x="4746784" y="303371"/>
                  </a:cubicBezTo>
                  <a:cubicBezTo>
                    <a:pt x="4746784" y="302419"/>
                    <a:pt x="4746784" y="300514"/>
                    <a:pt x="4746784" y="299561"/>
                  </a:cubicBezTo>
                  <a:cubicBezTo>
                    <a:pt x="4746784" y="296704"/>
                    <a:pt x="4747737" y="293846"/>
                    <a:pt x="4748689" y="291941"/>
                  </a:cubicBezTo>
                  <a:close/>
                  <a:moveTo>
                    <a:pt x="4738212" y="327184"/>
                  </a:moveTo>
                  <a:cubicBezTo>
                    <a:pt x="4738212" y="331946"/>
                    <a:pt x="4737259" y="335756"/>
                    <a:pt x="4737259" y="341471"/>
                  </a:cubicBezTo>
                  <a:cubicBezTo>
                    <a:pt x="4737259" y="339566"/>
                    <a:pt x="4736306" y="338614"/>
                    <a:pt x="4736306" y="336709"/>
                  </a:cubicBezTo>
                  <a:cubicBezTo>
                    <a:pt x="4737259" y="332899"/>
                    <a:pt x="4737259" y="330041"/>
                    <a:pt x="4738212" y="327184"/>
                  </a:cubicBezTo>
                  <a:close/>
                  <a:moveTo>
                    <a:pt x="4720114" y="261461"/>
                  </a:moveTo>
                  <a:cubicBezTo>
                    <a:pt x="4720114" y="261461"/>
                    <a:pt x="4720114" y="261461"/>
                    <a:pt x="4720114" y="261461"/>
                  </a:cubicBezTo>
                  <a:cubicBezTo>
                    <a:pt x="4722972" y="270034"/>
                    <a:pt x="4725829" y="279559"/>
                    <a:pt x="4729639" y="290989"/>
                  </a:cubicBezTo>
                  <a:cubicBezTo>
                    <a:pt x="4730591" y="292894"/>
                    <a:pt x="4730591" y="294799"/>
                    <a:pt x="4731544" y="296704"/>
                  </a:cubicBezTo>
                  <a:cubicBezTo>
                    <a:pt x="4730591" y="300514"/>
                    <a:pt x="4728687" y="304324"/>
                    <a:pt x="4727734" y="308134"/>
                  </a:cubicBezTo>
                  <a:cubicBezTo>
                    <a:pt x="4726781" y="304324"/>
                    <a:pt x="4724876" y="299561"/>
                    <a:pt x="4723924" y="295751"/>
                  </a:cubicBezTo>
                  <a:cubicBezTo>
                    <a:pt x="4722019" y="289084"/>
                    <a:pt x="4720114" y="282416"/>
                    <a:pt x="4718209" y="276701"/>
                  </a:cubicBezTo>
                  <a:cubicBezTo>
                    <a:pt x="4718209" y="270034"/>
                    <a:pt x="4719162" y="265271"/>
                    <a:pt x="4720114" y="261461"/>
                  </a:cubicBezTo>
                  <a:close/>
                  <a:moveTo>
                    <a:pt x="4709637" y="324326"/>
                  </a:moveTo>
                  <a:cubicBezTo>
                    <a:pt x="4711541" y="315754"/>
                    <a:pt x="4712494" y="308134"/>
                    <a:pt x="4713447" y="301466"/>
                  </a:cubicBezTo>
                  <a:cubicBezTo>
                    <a:pt x="4715351" y="310991"/>
                    <a:pt x="4717256" y="321469"/>
                    <a:pt x="4719162" y="331946"/>
                  </a:cubicBezTo>
                  <a:cubicBezTo>
                    <a:pt x="4718209" y="335756"/>
                    <a:pt x="4716304" y="339566"/>
                    <a:pt x="4715351" y="343376"/>
                  </a:cubicBezTo>
                  <a:cubicBezTo>
                    <a:pt x="4715351" y="343376"/>
                    <a:pt x="4715351" y="343376"/>
                    <a:pt x="4715351" y="343376"/>
                  </a:cubicBezTo>
                  <a:cubicBezTo>
                    <a:pt x="4712494" y="339566"/>
                    <a:pt x="4709637" y="335756"/>
                    <a:pt x="4707731" y="332899"/>
                  </a:cubicBezTo>
                  <a:cubicBezTo>
                    <a:pt x="4708684" y="330041"/>
                    <a:pt x="4708684" y="327184"/>
                    <a:pt x="4709637" y="324326"/>
                  </a:cubicBezTo>
                  <a:close/>
                  <a:moveTo>
                    <a:pt x="4703922" y="355759"/>
                  </a:moveTo>
                  <a:cubicBezTo>
                    <a:pt x="4704874" y="357664"/>
                    <a:pt x="4704874" y="358616"/>
                    <a:pt x="4705826" y="360521"/>
                  </a:cubicBezTo>
                  <a:cubicBezTo>
                    <a:pt x="4706779" y="363379"/>
                    <a:pt x="4707731" y="366236"/>
                    <a:pt x="4708684" y="369094"/>
                  </a:cubicBezTo>
                  <a:cubicBezTo>
                    <a:pt x="4707731" y="371951"/>
                    <a:pt x="4705826" y="374809"/>
                    <a:pt x="4704874" y="377666"/>
                  </a:cubicBezTo>
                  <a:cubicBezTo>
                    <a:pt x="4704874" y="377666"/>
                    <a:pt x="4704874" y="376714"/>
                    <a:pt x="4704874" y="376714"/>
                  </a:cubicBezTo>
                  <a:cubicBezTo>
                    <a:pt x="4703922" y="374809"/>
                    <a:pt x="4702969" y="373856"/>
                    <a:pt x="4702016" y="371951"/>
                  </a:cubicBezTo>
                  <a:cubicBezTo>
                    <a:pt x="4702016" y="366236"/>
                    <a:pt x="4702969" y="361474"/>
                    <a:pt x="4703922" y="355759"/>
                  </a:cubicBezTo>
                  <a:close/>
                  <a:moveTo>
                    <a:pt x="4682966" y="380524"/>
                  </a:moveTo>
                  <a:cubicBezTo>
                    <a:pt x="4682014" y="384334"/>
                    <a:pt x="4681062" y="388144"/>
                    <a:pt x="4680109" y="392906"/>
                  </a:cubicBezTo>
                  <a:cubicBezTo>
                    <a:pt x="4679156" y="392906"/>
                    <a:pt x="4677251" y="393859"/>
                    <a:pt x="4676299" y="393859"/>
                  </a:cubicBezTo>
                  <a:cubicBezTo>
                    <a:pt x="4676299" y="391954"/>
                    <a:pt x="4675347" y="390049"/>
                    <a:pt x="4675347" y="388144"/>
                  </a:cubicBezTo>
                  <a:cubicBezTo>
                    <a:pt x="4678204" y="384334"/>
                    <a:pt x="4681062" y="381476"/>
                    <a:pt x="4682966" y="378619"/>
                  </a:cubicBezTo>
                  <a:cubicBezTo>
                    <a:pt x="4682014" y="379571"/>
                    <a:pt x="4682966" y="380524"/>
                    <a:pt x="4682966" y="380524"/>
                  </a:cubicBezTo>
                  <a:close/>
                  <a:moveTo>
                    <a:pt x="4672489" y="361474"/>
                  </a:moveTo>
                  <a:cubicBezTo>
                    <a:pt x="4674394" y="365284"/>
                    <a:pt x="4677251" y="370046"/>
                    <a:pt x="4679156" y="373856"/>
                  </a:cubicBezTo>
                  <a:cubicBezTo>
                    <a:pt x="4677251" y="375761"/>
                    <a:pt x="4674394" y="377666"/>
                    <a:pt x="4672489" y="379571"/>
                  </a:cubicBezTo>
                  <a:cubicBezTo>
                    <a:pt x="4672489" y="378619"/>
                    <a:pt x="4672489" y="377666"/>
                    <a:pt x="4671537" y="376714"/>
                  </a:cubicBezTo>
                  <a:cubicBezTo>
                    <a:pt x="4671537" y="374809"/>
                    <a:pt x="4670584" y="372904"/>
                    <a:pt x="4670584" y="370999"/>
                  </a:cubicBezTo>
                  <a:cubicBezTo>
                    <a:pt x="4671537" y="368141"/>
                    <a:pt x="4671537" y="364331"/>
                    <a:pt x="4672489" y="361474"/>
                  </a:cubicBezTo>
                  <a:close/>
                  <a:moveTo>
                    <a:pt x="4661059" y="265271"/>
                  </a:moveTo>
                  <a:cubicBezTo>
                    <a:pt x="4662012" y="260509"/>
                    <a:pt x="4662964" y="256699"/>
                    <a:pt x="4663916" y="252889"/>
                  </a:cubicBezTo>
                  <a:cubicBezTo>
                    <a:pt x="4665822" y="246221"/>
                    <a:pt x="4667726" y="241459"/>
                    <a:pt x="4669631" y="237649"/>
                  </a:cubicBezTo>
                  <a:cubicBezTo>
                    <a:pt x="4669631" y="239554"/>
                    <a:pt x="4669631" y="240506"/>
                    <a:pt x="4669631" y="242411"/>
                  </a:cubicBezTo>
                  <a:cubicBezTo>
                    <a:pt x="4667726" y="250031"/>
                    <a:pt x="4664869" y="259556"/>
                    <a:pt x="4661059" y="269081"/>
                  </a:cubicBezTo>
                  <a:cubicBezTo>
                    <a:pt x="4661059" y="268129"/>
                    <a:pt x="4661059" y="266224"/>
                    <a:pt x="4661059" y="265271"/>
                  </a:cubicBezTo>
                  <a:close/>
                  <a:moveTo>
                    <a:pt x="4645819" y="278606"/>
                  </a:moveTo>
                  <a:cubicBezTo>
                    <a:pt x="4646772" y="271939"/>
                    <a:pt x="4647724" y="266224"/>
                    <a:pt x="4648676" y="260509"/>
                  </a:cubicBezTo>
                  <a:cubicBezTo>
                    <a:pt x="4649629" y="257651"/>
                    <a:pt x="4649629" y="253841"/>
                    <a:pt x="4650581" y="250984"/>
                  </a:cubicBezTo>
                  <a:cubicBezTo>
                    <a:pt x="4650581" y="250984"/>
                    <a:pt x="4650581" y="251936"/>
                    <a:pt x="4650581" y="251936"/>
                  </a:cubicBezTo>
                  <a:cubicBezTo>
                    <a:pt x="4651534" y="254794"/>
                    <a:pt x="4652487" y="259556"/>
                    <a:pt x="4652487" y="265271"/>
                  </a:cubicBezTo>
                  <a:cubicBezTo>
                    <a:pt x="4652487" y="267176"/>
                    <a:pt x="4652487" y="269081"/>
                    <a:pt x="4652487" y="270034"/>
                  </a:cubicBezTo>
                  <a:cubicBezTo>
                    <a:pt x="4651534" y="272891"/>
                    <a:pt x="4651534" y="275749"/>
                    <a:pt x="4650581" y="278606"/>
                  </a:cubicBezTo>
                  <a:cubicBezTo>
                    <a:pt x="4649629" y="282416"/>
                    <a:pt x="4648676" y="287179"/>
                    <a:pt x="4648676" y="290989"/>
                  </a:cubicBezTo>
                  <a:cubicBezTo>
                    <a:pt x="4648676" y="287179"/>
                    <a:pt x="4646772" y="283369"/>
                    <a:pt x="4645819" y="278606"/>
                  </a:cubicBezTo>
                  <a:cubicBezTo>
                    <a:pt x="4645819" y="278606"/>
                    <a:pt x="4645819" y="278606"/>
                    <a:pt x="4645819" y="278606"/>
                  </a:cubicBezTo>
                  <a:close/>
                  <a:moveTo>
                    <a:pt x="4642962" y="293846"/>
                  </a:moveTo>
                  <a:cubicBezTo>
                    <a:pt x="4643914" y="296704"/>
                    <a:pt x="4643914" y="299561"/>
                    <a:pt x="4644866" y="302419"/>
                  </a:cubicBezTo>
                  <a:cubicBezTo>
                    <a:pt x="4644866" y="304324"/>
                    <a:pt x="4645819" y="307181"/>
                    <a:pt x="4645819" y="309086"/>
                  </a:cubicBezTo>
                  <a:cubicBezTo>
                    <a:pt x="4645819" y="309086"/>
                    <a:pt x="4645819" y="309086"/>
                    <a:pt x="4645819" y="309086"/>
                  </a:cubicBezTo>
                  <a:cubicBezTo>
                    <a:pt x="4644866" y="308134"/>
                    <a:pt x="4643914" y="307181"/>
                    <a:pt x="4642962" y="306229"/>
                  </a:cubicBezTo>
                  <a:cubicBezTo>
                    <a:pt x="4642962" y="304324"/>
                    <a:pt x="4642009" y="302419"/>
                    <a:pt x="4642009" y="299561"/>
                  </a:cubicBezTo>
                  <a:cubicBezTo>
                    <a:pt x="4642962" y="297656"/>
                    <a:pt x="4642962" y="295751"/>
                    <a:pt x="4642962" y="293846"/>
                  </a:cubicBezTo>
                  <a:close/>
                  <a:moveTo>
                    <a:pt x="4595337" y="280511"/>
                  </a:moveTo>
                  <a:cubicBezTo>
                    <a:pt x="4596289" y="284321"/>
                    <a:pt x="4597241" y="289084"/>
                    <a:pt x="4598194" y="293846"/>
                  </a:cubicBezTo>
                  <a:cubicBezTo>
                    <a:pt x="4598194" y="295751"/>
                    <a:pt x="4598194" y="298609"/>
                    <a:pt x="4598194" y="300514"/>
                  </a:cubicBezTo>
                  <a:cubicBezTo>
                    <a:pt x="4598194" y="304324"/>
                    <a:pt x="4598194" y="308134"/>
                    <a:pt x="4598194" y="311944"/>
                  </a:cubicBezTo>
                  <a:cubicBezTo>
                    <a:pt x="4597241" y="313849"/>
                    <a:pt x="4597241" y="316706"/>
                    <a:pt x="4596289" y="319564"/>
                  </a:cubicBezTo>
                  <a:cubicBezTo>
                    <a:pt x="4595337" y="316706"/>
                    <a:pt x="4594384" y="314801"/>
                    <a:pt x="4593431" y="311944"/>
                  </a:cubicBezTo>
                  <a:cubicBezTo>
                    <a:pt x="4593431" y="310039"/>
                    <a:pt x="4593431" y="307181"/>
                    <a:pt x="4593431" y="305276"/>
                  </a:cubicBezTo>
                  <a:cubicBezTo>
                    <a:pt x="4593431" y="298609"/>
                    <a:pt x="4593431" y="292894"/>
                    <a:pt x="4593431" y="286226"/>
                  </a:cubicBezTo>
                  <a:cubicBezTo>
                    <a:pt x="4593431" y="284321"/>
                    <a:pt x="4594384" y="282416"/>
                    <a:pt x="4595337" y="280511"/>
                  </a:cubicBezTo>
                  <a:cubicBezTo>
                    <a:pt x="4595337" y="280511"/>
                    <a:pt x="4595337" y="280511"/>
                    <a:pt x="4595337" y="280511"/>
                  </a:cubicBezTo>
                  <a:close/>
                  <a:moveTo>
                    <a:pt x="4595337" y="277654"/>
                  </a:moveTo>
                  <a:cubicBezTo>
                    <a:pt x="4594384" y="278606"/>
                    <a:pt x="4594384" y="278606"/>
                    <a:pt x="4593431" y="279559"/>
                  </a:cubicBezTo>
                  <a:cubicBezTo>
                    <a:pt x="4593431" y="279559"/>
                    <a:pt x="4593431" y="280511"/>
                    <a:pt x="4592479" y="280511"/>
                  </a:cubicBezTo>
                  <a:cubicBezTo>
                    <a:pt x="4592479" y="274796"/>
                    <a:pt x="4592479" y="269081"/>
                    <a:pt x="4592479" y="263366"/>
                  </a:cubicBezTo>
                  <a:cubicBezTo>
                    <a:pt x="4593431" y="267176"/>
                    <a:pt x="4594384" y="271939"/>
                    <a:pt x="4595337" y="277654"/>
                  </a:cubicBezTo>
                  <a:close/>
                  <a:moveTo>
                    <a:pt x="4576287" y="253841"/>
                  </a:moveTo>
                  <a:cubicBezTo>
                    <a:pt x="4576287" y="260509"/>
                    <a:pt x="4576287" y="267176"/>
                    <a:pt x="4575334" y="273844"/>
                  </a:cubicBezTo>
                  <a:cubicBezTo>
                    <a:pt x="4573429" y="270034"/>
                    <a:pt x="4571524" y="266224"/>
                    <a:pt x="4569619" y="262414"/>
                  </a:cubicBezTo>
                  <a:cubicBezTo>
                    <a:pt x="4572476" y="259556"/>
                    <a:pt x="4574381" y="256699"/>
                    <a:pt x="4576287" y="253841"/>
                  </a:cubicBezTo>
                  <a:close/>
                  <a:moveTo>
                    <a:pt x="4566762" y="268129"/>
                  </a:moveTo>
                  <a:cubicBezTo>
                    <a:pt x="4566762" y="268129"/>
                    <a:pt x="4566762" y="269081"/>
                    <a:pt x="4566762" y="268129"/>
                  </a:cubicBezTo>
                  <a:cubicBezTo>
                    <a:pt x="4568666" y="273844"/>
                    <a:pt x="4570572" y="278606"/>
                    <a:pt x="4571524" y="284321"/>
                  </a:cubicBezTo>
                  <a:cubicBezTo>
                    <a:pt x="4572476" y="288131"/>
                    <a:pt x="4573429" y="292894"/>
                    <a:pt x="4574381" y="296704"/>
                  </a:cubicBezTo>
                  <a:cubicBezTo>
                    <a:pt x="4574381" y="298609"/>
                    <a:pt x="4574381" y="299561"/>
                    <a:pt x="4574381" y="301466"/>
                  </a:cubicBezTo>
                  <a:cubicBezTo>
                    <a:pt x="4570572" y="293846"/>
                    <a:pt x="4568666" y="289084"/>
                    <a:pt x="4568666" y="289084"/>
                  </a:cubicBezTo>
                  <a:cubicBezTo>
                    <a:pt x="4568666" y="289084"/>
                    <a:pt x="4570572" y="296704"/>
                    <a:pt x="4574381" y="309086"/>
                  </a:cubicBezTo>
                  <a:cubicBezTo>
                    <a:pt x="4573429" y="310991"/>
                    <a:pt x="4572476" y="312896"/>
                    <a:pt x="4571524" y="314801"/>
                  </a:cubicBezTo>
                  <a:cubicBezTo>
                    <a:pt x="4571524" y="314801"/>
                    <a:pt x="4571524" y="314801"/>
                    <a:pt x="4571524" y="315754"/>
                  </a:cubicBezTo>
                  <a:cubicBezTo>
                    <a:pt x="4568666" y="293846"/>
                    <a:pt x="4566762" y="278606"/>
                    <a:pt x="4564856" y="271939"/>
                  </a:cubicBezTo>
                  <a:cubicBezTo>
                    <a:pt x="4564856" y="270986"/>
                    <a:pt x="4565809" y="270034"/>
                    <a:pt x="4566762" y="268129"/>
                  </a:cubicBezTo>
                  <a:close/>
                  <a:moveTo>
                    <a:pt x="4560094" y="254794"/>
                  </a:moveTo>
                  <a:cubicBezTo>
                    <a:pt x="4561047" y="256699"/>
                    <a:pt x="4561999" y="258604"/>
                    <a:pt x="4562951" y="260509"/>
                  </a:cubicBezTo>
                  <a:cubicBezTo>
                    <a:pt x="4561999" y="261461"/>
                    <a:pt x="4561047" y="262414"/>
                    <a:pt x="4561047" y="263366"/>
                  </a:cubicBezTo>
                  <a:cubicBezTo>
                    <a:pt x="4560094" y="265271"/>
                    <a:pt x="4558189" y="266224"/>
                    <a:pt x="4557237" y="268129"/>
                  </a:cubicBezTo>
                  <a:cubicBezTo>
                    <a:pt x="4558189" y="263366"/>
                    <a:pt x="4559141" y="258604"/>
                    <a:pt x="4560094" y="254794"/>
                  </a:cubicBezTo>
                  <a:close/>
                  <a:moveTo>
                    <a:pt x="4548664" y="317659"/>
                  </a:moveTo>
                  <a:cubicBezTo>
                    <a:pt x="4551522" y="307181"/>
                    <a:pt x="4554379" y="298609"/>
                    <a:pt x="4557237" y="290036"/>
                  </a:cubicBezTo>
                  <a:cubicBezTo>
                    <a:pt x="4559141" y="284321"/>
                    <a:pt x="4561047" y="279559"/>
                    <a:pt x="4562951" y="275749"/>
                  </a:cubicBezTo>
                  <a:cubicBezTo>
                    <a:pt x="4561999" y="283369"/>
                    <a:pt x="4561047" y="298609"/>
                    <a:pt x="4560094" y="318611"/>
                  </a:cubicBezTo>
                  <a:cubicBezTo>
                    <a:pt x="4557237" y="313849"/>
                    <a:pt x="4555331" y="310991"/>
                    <a:pt x="4555331" y="310991"/>
                  </a:cubicBezTo>
                  <a:cubicBezTo>
                    <a:pt x="4555331" y="310991"/>
                    <a:pt x="4557237" y="314801"/>
                    <a:pt x="4560094" y="321469"/>
                  </a:cubicBezTo>
                  <a:cubicBezTo>
                    <a:pt x="4560094" y="321469"/>
                    <a:pt x="4560094" y="321469"/>
                    <a:pt x="4560094" y="321469"/>
                  </a:cubicBezTo>
                  <a:cubicBezTo>
                    <a:pt x="4560094" y="328136"/>
                    <a:pt x="4559141" y="334804"/>
                    <a:pt x="4559141" y="342424"/>
                  </a:cubicBezTo>
                  <a:cubicBezTo>
                    <a:pt x="4558189" y="346234"/>
                    <a:pt x="4556284" y="349091"/>
                    <a:pt x="4555331" y="352901"/>
                  </a:cubicBezTo>
                  <a:cubicBezTo>
                    <a:pt x="4554379" y="355759"/>
                    <a:pt x="4553426" y="358616"/>
                    <a:pt x="4552474" y="361474"/>
                  </a:cubicBezTo>
                  <a:cubicBezTo>
                    <a:pt x="4550569" y="354806"/>
                    <a:pt x="4549616" y="349091"/>
                    <a:pt x="4547712" y="343376"/>
                  </a:cubicBezTo>
                  <a:cubicBezTo>
                    <a:pt x="4547712" y="333851"/>
                    <a:pt x="4547712" y="328136"/>
                    <a:pt x="4547712" y="328136"/>
                  </a:cubicBezTo>
                  <a:cubicBezTo>
                    <a:pt x="4547712" y="328136"/>
                    <a:pt x="4546759" y="331946"/>
                    <a:pt x="4545806" y="338614"/>
                  </a:cubicBezTo>
                  <a:cubicBezTo>
                    <a:pt x="4545806" y="338614"/>
                    <a:pt x="4545806" y="337661"/>
                    <a:pt x="4545806" y="337661"/>
                  </a:cubicBezTo>
                  <a:cubicBezTo>
                    <a:pt x="4545806" y="336709"/>
                    <a:pt x="4545806" y="336709"/>
                    <a:pt x="4544854" y="335756"/>
                  </a:cubicBezTo>
                  <a:cubicBezTo>
                    <a:pt x="4546759" y="329089"/>
                    <a:pt x="4547712" y="323374"/>
                    <a:pt x="4548664" y="317659"/>
                  </a:cubicBezTo>
                  <a:close/>
                  <a:moveTo>
                    <a:pt x="4457224" y="306229"/>
                  </a:moveTo>
                  <a:cubicBezTo>
                    <a:pt x="4457224" y="306229"/>
                    <a:pt x="4456272" y="306229"/>
                    <a:pt x="4457224" y="306229"/>
                  </a:cubicBezTo>
                  <a:cubicBezTo>
                    <a:pt x="4457224" y="305276"/>
                    <a:pt x="4457224" y="305276"/>
                    <a:pt x="4457224" y="304324"/>
                  </a:cubicBezTo>
                  <a:cubicBezTo>
                    <a:pt x="4457224" y="305276"/>
                    <a:pt x="4457224" y="306229"/>
                    <a:pt x="4457224" y="306229"/>
                  </a:cubicBezTo>
                  <a:close/>
                  <a:moveTo>
                    <a:pt x="4478179" y="359569"/>
                  </a:moveTo>
                  <a:cubicBezTo>
                    <a:pt x="4477226" y="352901"/>
                    <a:pt x="4476274" y="346234"/>
                    <a:pt x="4476274" y="339566"/>
                  </a:cubicBezTo>
                  <a:cubicBezTo>
                    <a:pt x="4476274" y="338614"/>
                    <a:pt x="4476274" y="337661"/>
                    <a:pt x="4476274" y="336709"/>
                  </a:cubicBezTo>
                  <a:cubicBezTo>
                    <a:pt x="4479131" y="340519"/>
                    <a:pt x="4481037" y="343376"/>
                    <a:pt x="4483894" y="347186"/>
                  </a:cubicBezTo>
                  <a:cubicBezTo>
                    <a:pt x="4481037" y="350996"/>
                    <a:pt x="4480084" y="355759"/>
                    <a:pt x="4478179" y="359569"/>
                  </a:cubicBezTo>
                  <a:close/>
                  <a:moveTo>
                    <a:pt x="4497229" y="371951"/>
                  </a:moveTo>
                  <a:cubicBezTo>
                    <a:pt x="4497229" y="370046"/>
                    <a:pt x="4497229" y="369094"/>
                    <a:pt x="4497229" y="367189"/>
                  </a:cubicBezTo>
                  <a:cubicBezTo>
                    <a:pt x="4497229" y="368141"/>
                    <a:pt x="4497229" y="369094"/>
                    <a:pt x="4498181" y="370046"/>
                  </a:cubicBezTo>
                  <a:cubicBezTo>
                    <a:pt x="4497229" y="370999"/>
                    <a:pt x="4497229" y="370999"/>
                    <a:pt x="4497229" y="371951"/>
                  </a:cubicBezTo>
                  <a:close/>
                  <a:moveTo>
                    <a:pt x="4504849" y="322421"/>
                  </a:moveTo>
                  <a:cubicBezTo>
                    <a:pt x="4504849" y="325279"/>
                    <a:pt x="4504849" y="328136"/>
                    <a:pt x="4504849" y="330994"/>
                  </a:cubicBezTo>
                  <a:cubicBezTo>
                    <a:pt x="4503897" y="333851"/>
                    <a:pt x="4502944" y="337661"/>
                    <a:pt x="4501991" y="341471"/>
                  </a:cubicBezTo>
                  <a:cubicBezTo>
                    <a:pt x="4501991" y="343376"/>
                    <a:pt x="4501039" y="346234"/>
                    <a:pt x="4501039" y="348139"/>
                  </a:cubicBezTo>
                  <a:cubicBezTo>
                    <a:pt x="4500087" y="347186"/>
                    <a:pt x="4499134" y="346234"/>
                    <a:pt x="4499134" y="345281"/>
                  </a:cubicBezTo>
                  <a:cubicBezTo>
                    <a:pt x="4499134" y="344329"/>
                    <a:pt x="4498181" y="343376"/>
                    <a:pt x="4498181" y="342424"/>
                  </a:cubicBezTo>
                  <a:cubicBezTo>
                    <a:pt x="4499134" y="336709"/>
                    <a:pt x="4501039" y="330994"/>
                    <a:pt x="4501991" y="326231"/>
                  </a:cubicBezTo>
                  <a:cubicBezTo>
                    <a:pt x="4502944" y="320516"/>
                    <a:pt x="4504849" y="315754"/>
                    <a:pt x="4506754" y="310991"/>
                  </a:cubicBezTo>
                  <a:cubicBezTo>
                    <a:pt x="4505801" y="314801"/>
                    <a:pt x="4505801" y="318611"/>
                    <a:pt x="4504849" y="322421"/>
                  </a:cubicBezTo>
                  <a:close/>
                  <a:moveTo>
                    <a:pt x="4462939" y="250984"/>
                  </a:moveTo>
                  <a:cubicBezTo>
                    <a:pt x="4465797" y="242411"/>
                    <a:pt x="4468654" y="233839"/>
                    <a:pt x="4470559" y="226219"/>
                  </a:cubicBezTo>
                  <a:cubicBezTo>
                    <a:pt x="4470559" y="227171"/>
                    <a:pt x="4472464" y="229076"/>
                    <a:pt x="4474369" y="231934"/>
                  </a:cubicBezTo>
                  <a:cubicBezTo>
                    <a:pt x="4475322" y="233839"/>
                    <a:pt x="4477226" y="235744"/>
                    <a:pt x="4479131" y="238601"/>
                  </a:cubicBezTo>
                  <a:cubicBezTo>
                    <a:pt x="4481037" y="241459"/>
                    <a:pt x="4481989" y="245269"/>
                    <a:pt x="4483894" y="248126"/>
                  </a:cubicBezTo>
                  <a:cubicBezTo>
                    <a:pt x="4485799" y="251936"/>
                    <a:pt x="4487704" y="255746"/>
                    <a:pt x="4489609" y="260509"/>
                  </a:cubicBezTo>
                  <a:cubicBezTo>
                    <a:pt x="4491514" y="265271"/>
                    <a:pt x="4493419" y="270034"/>
                    <a:pt x="4495324" y="275749"/>
                  </a:cubicBezTo>
                  <a:cubicBezTo>
                    <a:pt x="4497229" y="281464"/>
                    <a:pt x="4499134" y="287179"/>
                    <a:pt x="4501039" y="293846"/>
                  </a:cubicBezTo>
                  <a:cubicBezTo>
                    <a:pt x="4501991" y="296704"/>
                    <a:pt x="4502944" y="299561"/>
                    <a:pt x="4503897" y="303371"/>
                  </a:cubicBezTo>
                  <a:cubicBezTo>
                    <a:pt x="4501991" y="308134"/>
                    <a:pt x="4499134" y="312896"/>
                    <a:pt x="4497229" y="317659"/>
                  </a:cubicBezTo>
                  <a:cubicBezTo>
                    <a:pt x="4496276" y="320516"/>
                    <a:pt x="4494372" y="323374"/>
                    <a:pt x="4493419" y="326231"/>
                  </a:cubicBezTo>
                  <a:cubicBezTo>
                    <a:pt x="4490562" y="297656"/>
                    <a:pt x="4488656" y="280511"/>
                    <a:pt x="4488656" y="280511"/>
                  </a:cubicBezTo>
                  <a:cubicBezTo>
                    <a:pt x="4488656" y="280511"/>
                    <a:pt x="4487704" y="294799"/>
                    <a:pt x="4487704" y="319564"/>
                  </a:cubicBezTo>
                  <a:cubicBezTo>
                    <a:pt x="4486751" y="316706"/>
                    <a:pt x="4484847" y="313849"/>
                    <a:pt x="4483894" y="311944"/>
                  </a:cubicBezTo>
                  <a:cubicBezTo>
                    <a:pt x="4477226" y="297656"/>
                    <a:pt x="4473416" y="289084"/>
                    <a:pt x="4473416" y="289084"/>
                  </a:cubicBezTo>
                  <a:cubicBezTo>
                    <a:pt x="4473416" y="289084"/>
                    <a:pt x="4476274" y="297656"/>
                    <a:pt x="4481037" y="312896"/>
                  </a:cubicBezTo>
                  <a:cubicBezTo>
                    <a:pt x="4482941" y="317659"/>
                    <a:pt x="4484847" y="323374"/>
                    <a:pt x="4486751" y="330041"/>
                  </a:cubicBezTo>
                  <a:cubicBezTo>
                    <a:pt x="4485799" y="329089"/>
                    <a:pt x="4485799" y="328136"/>
                    <a:pt x="4484847" y="328136"/>
                  </a:cubicBezTo>
                  <a:cubicBezTo>
                    <a:pt x="4481037" y="324326"/>
                    <a:pt x="4478179" y="321469"/>
                    <a:pt x="4475322" y="318611"/>
                  </a:cubicBezTo>
                  <a:cubicBezTo>
                    <a:pt x="4474369" y="313849"/>
                    <a:pt x="4473416" y="309086"/>
                    <a:pt x="4473416" y="304324"/>
                  </a:cubicBezTo>
                  <a:cubicBezTo>
                    <a:pt x="4471512" y="294799"/>
                    <a:pt x="4470559" y="286226"/>
                    <a:pt x="4468654" y="278606"/>
                  </a:cubicBezTo>
                  <a:cubicBezTo>
                    <a:pt x="4474369" y="264319"/>
                    <a:pt x="4477226" y="256699"/>
                    <a:pt x="4477226" y="256699"/>
                  </a:cubicBezTo>
                  <a:cubicBezTo>
                    <a:pt x="4477226" y="256699"/>
                    <a:pt x="4473416" y="262414"/>
                    <a:pt x="4466749" y="273844"/>
                  </a:cubicBezTo>
                  <a:cubicBezTo>
                    <a:pt x="4465797" y="268129"/>
                    <a:pt x="4464844" y="263366"/>
                    <a:pt x="4462939" y="258604"/>
                  </a:cubicBezTo>
                  <a:cubicBezTo>
                    <a:pt x="4462939" y="257651"/>
                    <a:pt x="4462939" y="256699"/>
                    <a:pt x="4462939" y="256699"/>
                  </a:cubicBezTo>
                  <a:cubicBezTo>
                    <a:pt x="4461987" y="253841"/>
                    <a:pt x="4461987" y="252889"/>
                    <a:pt x="4462939" y="250984"/>
                  </a:cubicBezTo>
                  <a:close/>
                  <a:moveTo>
                    <a:pt x="4461034" y="255746"/>
                  </a:moveTo>
                  <a:cubicBezTo>
                    <a:pt x="4461034" y="255746"/>
                    <a:pt x="4461034" y="256699"/>
                    <a:pt x="4461034" y="255746"/>
                  </a:cubicBezTo>
                  <a:cubicBezTo>
                    <a:pt x="4461034" y="256699"/>
                    <a:pt x="4461034" y="256699"/>
                    <a:pt x="4461034" y="255746"/>
                  </a:cubicBezTo>
                  <a:cubicBezTo>
                    <a:pt x="4461034" y="255746"/>
                    <a:pt x="4461034" y="255746"/>
                    <a:pt x="4461034" y="255746"/>
                  </a:cubicBezTo>
                  <a:close/>
                  <a:moveTo>
                    <a:pt x="4455319" y="274796"/>
                  </a:moveTo>
                  <a:cubicBezTo>
                    <a:pt x="4456272" y="272891"/>
                    <a:pt x="4457224" y="270034"/>
                    <a:pt x="4457224" y="268129"/>
                  </a:cubicBezTo>
                  <a:cubicBezTo>
                    <a:pt x="4457224" y="270034"/>
                    <a:pt x="4457224" y="271939"/>
                    <a:pt x="4457224" y="273844"/>
                  </a:cubicBezTo>
                  <a:cubicBezTo>
                    <a:pt x="4457224" y="277654"/>
                    <a:pt x="4457224" y="280511"/>
                    <a:pt x="4458176" y="284321"/>
                  </a:cubicBezTo>
                  <a:cubicBezTo>
                    <a:pt x="4457224" y="287179"/>
                    <a:pt x="4455319" y="290036"/>
                    <a:pt x="4454366" y="292894"/>
                  </a:cubicBezTo>
                  <a:cubicBezTo>
                    <a:pt x="4454366" y="287179"/>
                    <a:pt x="4454366" y="280511"/>
                    <a:pt x="4455319" y="274796"/>
                  </a:cubicBezTo>
                  <a:close/>
                  <a:moveTo>
                    <a:pt x="4449604" y="361474"/>
                  </a:moveTo>
                  <a:cubicBezTo>
                    <a:pt x="4450556" y="353854"/>
                    <a:pt x="4450556" y="346234"/>
                    <a:pt x="4451509" y="339566"/>
                  </a:cubicBezTo>
                  <a:cubicBezTo>
                    <a:pt x="4452462" y="340519"/>
                    <a:pt x="4452462" y="342424"/>
                    <a:pt x="4453414" y="343376"/>
                  </a:cubicBezTo>
                  <a:cubicBezTo>
                    <a:pt x="4453414" y="343376"/>
                    <a:pt x="4453414" y="343376"/>
                    <a:pt x="4453414" y="344329"/>
                  </a:cubicBezTo>
                  <a:cubicBezTo>
                    <a:pt x="4453414" y="344329"/>
                    <a:pt x="4453414" y="344329"/>
                    <a:pt x="4453414" y="344329"/>
                  </a:cubicBezTo>
                  <a:cubicBezTo>
                    <a:pt x="4452462" y="350996"/>
                    <a:pt x="4451509" y="358616"/>
                    <a:pt x="4451509" y="366236"/>
                  </a:cubicBezTo>
                  <a:cubicBezTo>
                    <a:pt x="4450556" y="372904"/>
                    <a:pt x="4449604" y="380524"/>
                    <a:pt x="4448651" y="388144"/>
                  </a:cubicBezTo>
                  <a:cubicBezTo>
                    <a:pt x="4447699" y="387191"/>
                    <a:pt x="4447699" y="387191"/>
                    <a:pt x="4446747" y="386239"/>
                  </a:cubicBezTo>
                  <a:cubicBezTo>
                    <a:pt x="4447699" y="377666"/>
                    <a:pt x="4448651" y="370046"/>
                    <a:pt x="4449604" y="361474"/>
                  </a:cubicBezTo>
                  <a:close/>
                  <a:moveTo>
                    <a:pt x="4386739" y="331946"/>
                  </a:moveTo>
                  <a:cubicBezTo>
                    <a:pt x="4387691" y="332899"/>
                    <a:pt x="4388644" y="334804"/>
                    <a:pt x="4390549" y="335756"/>
                  </a:cubicBezTo>
                  <a:cubicBezTo>
                    <a:pt x="4390549" y="337661"/>
                    <a:pt x="4390549" y="339566"/>
                    <a:pt x="4390549" y="342424"/>
                  </a:cubicBezTo>
                  <a:cubicBezTo>
                    <a:pt x="4389597" y="343376"/>
                    <a:pt x="4388644" y="345281"/>
                    <a:pt x="4386739" y="347186"/>
                  </a:cubicBezTo>
                  <a:cubicBezTo>
                    <a:pt x="4386739" y="341471"/>
                    <a:pt x="4386739" y="336709"/>
                    <a:pt x="4386739" y="331946"/>
                  </a:cubicBezTo>
                  <a:close/>
                  <a:moveTo>
                    <a:pt x="4389597" y="376714"/>
                  </a:moveTo>
                  <a:cubicBezTo>
                    <a:pt x="4389597" y="376714"/>
                    <a:pt x="4389597" y="375761"/>
                    <a:pt x="4388644" y="375761"/>
                  </a:cubicBezTo>
                  <a:cubicBezTo>
                    <a:pt x="4388644" y="373856"/>
                    <a:pt x="4387691" y="371951"/>
                    <a:pt x="4387691" y="370046"/>
                  </a:cubicBezTo>
                  <a:cubicBezTo>
                    <a:pt x="4387691" y="367189"/>
                    <a:pt x="4387691" y="363379"/>
                    <a:pt x="4387691" y="360521"/>
                  </a:cubicBezTo>
                  <a:cubicBezTo>
                    <a:pt x="4387691" y="357664"/>
                    <a:pt x="4387691" y="354806"/>
                    <a:pt x="4387691" y="351949"/>
                  </a:cubicBezTo>
                  <a:cubicBezTo>
                    <a:pt x="4388644" y="349091"/>
                    <a:pt x="4390549" y="347186"/>
                    <a:pt x="4391501" y="345281"/>
                  </a:cubicBezTo>
                  <a:cubicBezTo>
                    <a:pt x="4391501" y="346234"/>
                    <a:pt x="4391501" y="348139"/>
                    <a:pt x="4391501" y="349091"/>
                  </a:cubicBezTo>
                  <a:cubicBezTo>
                    <a:pt x="4391501" y="355759"/>
                    <a:pt x="4392454" y="362426"/>
                    <a:pt x="4392454" y="370046"/>
                  </a:cubicBezTo>
                  <a:cubicBezTo>
                    <a:pt x="4390549" y="371951"/>
                    <a:pt x="4389597" y="374809"/>
                    <a:pt x="4389597" y="376714"/>
                  </a:cubicBezTo>
                  <a:close/>
                  <a:moveTo>
                    <a:pt x="4424839" y="351949"/>
                  </a:moveTo>
                  <a:cubicBezTo>
                    <a:pt x="4424839" y="352901"/>
                    <a:pt x="4424839" y="353854"/>
                    <a:pt x="4424839" y="354806"/>
                  </a:cubicBezTo>
                  <a:cubicBezTo>
                    <a:pt x="4423887" y="355759"/>
                    <a:pt x="4423887" y="356711"/>
                    <a:pt x="4422934" y="356711"/>
                  </a:cubicBezTo>
                  <a:cubicBezTo>
                    <a:pt x="4422934" y="354806"/>
                    <a:pt x="4423887" y="353854"/>
                    <a:pt x="4424839" y="351949"/>
                  </a:cubicBezTo>
                  <a:close/>
                  <a:moveTo>
                    <a:pt x="4415314" y="411004"/>
                  </a:moveTo>
                  <a:cubicBezTo>
                    <a:pt x="4415314" y="411004"/>
                    <a:pt x="4415314" y="411956"/>
                    <a:pt x="4415314" y="411956"/>
                  </a:cubicBezTo>
                  <a:cubicBezTo>
                    <a:pt x="4414362" y="411004"/>
                    <a:pt x="4413409" y="410051"/>
                    <a:pt x="4412456" y="409099"/>
                  </a:cubicBezTo>
                  <a:cubicBezTo>
                    <a:pt x="4412456" y="401479"/>
                    <a:pt x="4412456" y="392906"/>
                    <a:pt x="4411504" y="385286"/>
                  </a:cubicBezTo>
                  <a:cubicBezTo>
                    <a:pt x="4414362" y="380524"/>
                    <a:pt x="4417219" y="376714"/>
                    <a:pt x="4420076" y="372904"/>
                  </a:cubicBezTo>
                  <a:cubicBezTo>
                    <a:pt x="4420076" y="373856"/>
                    <a:pt x="4421029" y="373856"/>
                    <a:pt x="4421029" y="374809"/>
                  </a:cubicBezTo>
                  <a:cubicBezTo>
                    <a:pt x="4419124" y="386239"/>
                    <a:pt x="4417219" y="397669"/>
                    <a:pt x="4415314" y="411004"/>
                  </a:cubicBezTo>
                  <a:close/>
                  <a:moveTo>
                    <a:pt x="4410551" y="254794"/>
                  </a:moveTo>
                  <a:cubicBezTo>
                    <a:pt x="4413409" y="260509"/>
                    <a:pt x="4417219" y="267176"/>
                    <a:pt x="4421029" y="273844"/>
                  </a:cubicBezTo>
                  <a:cubicBezTo>
                    <a:pt x="4419124" y="280511"/>
                    <a:pt x="4417219" y="287179"/>
                    <a:pt x="4415314" y="293846"/>
                  </a:cubicBezTo>
                  <a:cubicBezTo>
                    <a:pt x="4413409" y="301466"/>
                    <a:pt x="4410551" y="309086"/>
                    <a:pt x="4408647" y="316706"/>
                  </a:cubicBezTo>
                  <a:cubicBezTo>
                    <a:pt x="4407694" y="305276"/>
                    <a:pt x="4406741" y="297656"/>
                    <a:pt x="4406741" y="297656"/>
                  </a:cubicBezTo>
                  <a:cubicBezTo>
                    <a:pt x="4406741" y="297656"/>
                    <a:pt x="4404837" y="310991"/>
                    <a:pt x="4402931" y="331946"/>
                  </a:cubicBezTo>
                  <a:cubicBezTo>
                    <a:pt x="4402931" y="333851"/>
                    <a:pt x="4401979" y="335756"/>
                    <a:pt x="4401026" y="337661"/>
                  </a:cubicBezTo>
                  <a:cubicBezTo>
                    <a:pt x="4401026" y="337661"/>
                    <a:pt x="4400074" y="336709"/>
                    <a:pt x="4400074" y="336709"/>
                  </a:cubicBezTo>
                  <a:cubicBezTo>
                    <a:pt x="4393406" y="295751"/>
                    <a:pt x="4388644" y="270034"/>
                    <a:pt x="4388644" y="270034"/>
                  </a:cubicBezTo>
                  <a:cubicBezTo>
                    <a:pt x="4388644" y="270034"/>
                    <a:pt x="4388644" y="292894"/>
                    <a:pt x="4389597" y="328136"/>
                  </a:cubicBezTo>
                  <a:cubicBezTo>
                    <a:pt x="4388644" y="327184"/>
                    <a:pt x="4387691" y="326231"/>
                    <a:pt x="4386739" y="325279"/>
                  </a:cubicBezTo>
                  <a:cubicBezTo>
                    <a:pt x="4386739" y="324326"/>
                    <a:pt x="4386739" y="324326"/>
                    <a:pt x="4386739" y="323374"/>
                  </a:cubicBezTo>
                  <a:cubicBezTo>
                    <a:pt x="4387691" y="311944"/>
                    <a:pt x="4386739" y="300514"/>
                    <a:pt x="4387691" y="290989"/>
                  </a:cubicBezTo>
                  <a:cubicBezTo>
                    <a:pt x="4388644" y="280511"/>
                    <a:pt x="4388644" y="271939"/>
                    <a:pt x="4389597" y="263366"/>
                  </a:cubicBezTo>
                  <a:cubicBezTo>
                    <a:pt x="4390549" y="254794"/>
                    <a:pt x="4390549" y="248126"/>
                    <a:pt x="4391501" y="242411"/>
                  </a:cubicBezTo>
                  <a:cubicBezTo>
                    <a:pt x="4392454" y="233839"/>
                    <a:pt x="4393406" y="228124"/>
                    <a:pt x="4393406" y="225266"/>
                  </a:cubicBezTo>
                  <a:cubicBezTo>
                    <a:pt x="4399122" y="232886"/>
                    <a:pt x="4403884" y="243364"/>
                    <a:pt x="4410551" y="254794"/>
                  </a:cubicBezTo>
                  <a:close/>
                  <a:moveTo>
                    <a:pt x="4389597" y="217646"/>
                  </a:moveTo>
                  <a:cubicBezTo>
                    <a:pt x="4390549" y="219551"/>
                    <a:pt x="4392454" y="221456"/>
                    <a:pt x="4393406" y="224314"/>
                  </a:cubicBezTo>
                  <a:cubicBezTo>
                    <a:pt x="4392454" y="227171"/>
                    <a:pt x="4390549" y="232886"/>
                    <a:pt x="4387691" y="240506"/>
                  </a:cubicBezTo>
                  <a:cubicBezTo>
                    <a:pt x="4385787" y="246221"/>
                    <a:pt x="4383881" y="252889"/>
                    <a:pt x="4381976" y="260509"/>
                  </a:cubicBezTo>
                  <a:cubicBezTo>
                    <a:pt x="4381976" y="259556"/>
                    <a:pt x="4381976" y="257651"/>
                    <a:pt x="4381976" y="256699"/>
                  </a:cubicBezTo>
                  <a:cubicBezTo>
                    <a:pt x="4384834" y="242411"/>
                    <a:pt x="4386739" y="229076"/>
                    <a:pt x="4389597" y="217646"/>
                  </a:cubicBezTo>
                  <a:close/>
                  <a:moveTo>
                    <a:pt x="4374356" y="291941"/>
                  </a:moveTo>
                  <a:cubicBezTo>
                    <a:pt x="4374356" y="291941"/>
                    <a:pt x="4374356" y="292894"/>
                    <a:pt x="4374356" y="292894"/>
                  </a:cubicBezTo>
                  <a:cubicBezTo>
                    <a:pt x="4374356" y="292894"/>
                    <a:pt x="4374356" y="292894"/>
                    <a:pt x="4374356" y="291941"/>
                  </a:cubicBezTo>
                  <a:cubicBezTo>
                    <a:pt x="4374356" y="291941"/>
                    <a:pt x="4374356" y="291941"/>
                    <a:pt x="4374356" y="291941"/>
                  </a:cubicBezTo>
                  <a:close/>
                  <a:moveTo>
                    <a:pt x="4360069" y="282416"/>
                  </a:moveTo>
                  <a:cubicBezTo>
                    <a:pt x="4360069" y="284321"/>
                    <a:pt x="4360069" y="287179"/>
                    <a:pt x="4360069" y="290036"/>
                  </a:cubicBezTo>
                  <a:cubicBezTo>
                    <a:pt x="4360069" y="289084"/>
                    <a:pt x="4359116" y="288131"/>
                    <a:pt x="4359116" y="288131"/>
                  </a:cubicBezTo>
                  <a:cubicBezTo>
                    <a:pt x="4359116" y="285274"/>
                    <a:pt x="4359116" y="283369"/>
                    <a:pt x="4360069" y="282416"/>
                  </a:cubicBezTo>
                  <a:close/>
                  <a:moveTo>
                    <a:pt x="4313397" y="387191"/>
                  </a:moveTo>
                  <a:cubicBezTo>
                    <a:pt x="4312444" y="388144"/>
                    <a:pt x="4312444" y="390049"/>
                    <a:pt x="4311491" y="391001"/>
                  </a:cubicBezTo>
                  <a:cubicBezTo>
                    <a:pt x="4312444" y="389096"/>
                    <a:pt x="4312444" y="388144"/>
                    <a:pt x="4313397" y="387191"/>
                  </a:cubicBezTo>
                  <a:cubicBezTo>
                    <a:pt x="4313397" y="386239"/>
                    <a:pt x="4313397" y="387191"/>
                    <a:pt x="4313397" y="387191"/>
                  </a:cubicBezTo>
                  <a:close/>
                  <a:moveTo>
                    <a:pt x="4311491" y="351949"/>
                  </a:moveTo>
                  <a:cubicBezTo>
                    <a:pt x="4311491" y="356711"/>
                    <a:pt x="4312444" y="360521"/>
                    <a:pt x="4312444" y="365284"/>
                  </a:cubicBezTo>
                  <a:cubicBezTo>
                    <a:pt x="4311491" y="364331"/>
                    <a:pt x="4311491" y="364331"/>
                    <a:pt x="4311491" y="363379"/>
                  </a:cubicBezTo>
                  <a:cubicBezTo>
                    <a:pt x="4311491" y="358616"/>
                    <a:pt x="4311491" y="355759"/>
                    <a:pt x="4311491" y="351949"/>
                  </a:cubicBezTo>
                  <a:close/>
                  <a:moveTo>
                    <a:pt x="4247674" y="313849"/>
                  </a:moveTo>
                  <a:cubicBezTo>
                    <a:pt x="4247674" y="312896"/>
                    <a:pt x="4247674" y="312896"/>
                    <a:pt x="4247674" y="311944"/>
                  </a:cubicBezTo>
                  <a:cubicBezTo>
                    <a:pt x="4247674" y="312896"/>
                    <a:pt x="4247674" y="312896"/>
                    <a:pt x="4247674" y="313849"/>
                  </a:cubicBezTo>
                  <a:cubicBezTo>
                    <a:pt x="4247674" y="317659"/>
                    <a:pt x="4247674" y="320516"/>
                    <a:pt x="4246722" y="324326"/>
                  </a:cubicBezTo>
                  <a:cubicBezTo>
                    <a:pt x="4246722" y="323374"/>
                    <a:pt x="4246722" y="322421"/>
                    <a:pt x="4246722" y="322421"/>
                  </a:cubicBezTo>
                  <a:cubicBezTo>
                    <a:pt x="4246722" y="318611"/>
                    <a:pt x="4247674" y="315754"/>
                    <a:pt x="4247674" y="313849"/>
                  </a:cubicBezTo>
                  <a:close/>
                  <a:moveTo>
                    <a:pt x="4181951" y="367189"/>
                  </a:moveTo>
                  <a:cubicBezTo>
                    <a:pt x="4181951" y="351949"/>
                    <a:pt x="4182904" y="337661"/>
                    <a:pt x="4182904" y="324326"/>
                  </a:cubicBezTo>
                  <a:cubicBezTo>
                    <a:pt x="4182904" y="326231"/>
                    <a:pt x="4183856" y="328136"/>
                    <a:pt x="4183856" y="330041"/>
                  </a:cubicBezTo>
                  <a:cubicBezTo>
                    <a:pt x="4184809" y="333851"/>
                    <a:pt x="4185761" y="336709"/>
                    <a:pt x="4185761" y="340519"/>
                  </a:cubicBezTo>
                  <a:cubicBezTo>
                    <a:pt x="4185761" y="341471"/>
                    <a:pt x="4185761" y="342424"/>
                    <a:pt x="4185761" y="342424"/>
                  </a:cubicBezTo>
                  <a:cubicBezTo>
                    <a:pt x="4184809" y="339566"/>
                    <a:pt x="4183856" y="338614"/>
                    <a:pt x="4183856" y="338614"/>
                  </a:cubicBezTo>
                  <a:cubicBezTo>
                    <a:pt x="4183856" y="338614"/>
                    <a:pt x="4184809" y="345281"/>
                    <a:pt x="4187666" y="357664"/>
                  </a:cubicBezTo>
                  <a:cubicBezTo>
                    <a:pt x="4187666" y="360521"/>
                    <a:pt x="4188619" y="362426"/>
                    <a:pt x="4189571" y="365284"/>
                  </a:cubicBezTo>
                  <a:cubicBezTo>
                    <a:pt x="4189571" y="368141"/>
                    <a:pt x="4190524" y="370999"/>
                    <a:pt x="4191476" y="373856"/>
                  </a:cubicBezTo>
                  <a:cubicBezTo>
                    <a:pt x="4191476" y="377666"/>
                    <a:pt x="4190524" y="382429"/>
                    <a:pt x="4190524" y="386239"/>
                  </a:cubicBezTo>
                  <a:cubicBezTo>
                    <a:pt x="4190524" y="388144"/>
                    <a:pt x="4190524" y="390049"/>
                    <a:pt x="4190524" y="391954"/>
                  </a:cubicBezTo>
                  <a:cubicBezTo>
                    <a:pt x="4187666" y="383381"/>
                    <a:pt x="4184809" y="374809"/>
                    <a:pt x="4181951" y="367189"/>
                  </a:cubicBezTo>
                  <a:cubicBezTo>
                    <a:pt x="4181951" y="369094"/>
                    <a:pt x="4181951" y="368141"/>
                    <a:pt x="4181951" y="367189"/>
                  </a:cubicBezTo>
                  <a:close/>
                  <a:moveTo>
                    <a:pt x="4161949" y="401479"/>
                  </a:moveTo>
                  <a:cubicBezTo>
                    <a:pt x="4161949" y="400526"/>
                    <a:pt x="4161949" y="400526"/>
                    <a:pt x="4161949" y="399574"/>
                  </a:cubicBezTo>
                  <a:cubicBezTo>
                    <a:pt x="4161949" y="399574"/>
                    <a:pt x="4161949" y="399574"/>
                    <a:pt x="4161949" y="399574"/>
                  </a:cubicBezTo>
                  <a:cubicBezTo>
                    <a:pt x="4161949" y="400526"/>
                    <a:pt x="4161949" y="401479"/>
                    <a:pt x="4161949" y="401479"/>
                  </a:cubicBezTo>
                  <a:close/>
                  <a:moveTo>
                    <a:pt x="4160044" y="306229"/>
                  </a:moveTo>
                  <a:cubicBezTo>
                    <a:pt x="4160044" y="299561"/>
                    <a:pt x="4160996" y="295751"/>
                    <a:pt x="4160996" y="292894"/>
                  </a:cubicBezTo>
                  <a:cubicBezTo>
                    <a:pt x="4161949" y="289084"/>
                    <a:pt x="4162901" y="286226"/>
                    <a:pt x="4163854" y="282416"/>
                  </a:cubicBezTo>
                  <a:cubicBezTo>
                    <a:pt x="4163854" y="292894"/>
                    <a:pt x="4162901" y="303371"/>
                    <a:pt x="4162901" y="313849"/>
                  </a:cubicBezTo>
                  <a:cubicBezTo>
                    <a:pt x="4161949" y="310991"/>
                    <a:pt x="4160996" y="309086"/>
                    <a:pt x="4160044" y="306229"/>
                  </a:cubicBezTo>
                  <a:cubicBezTo>
                    <a:pt x="4160044" y="306229"/>
                    <a:pt x="4160044" y="306229"/>
                    <a:pt x="4160044" y="306229"/>
                  </a:cubicBezTo>
                  <a:close/>
                  <a:moveTo>
                    <a:pt x="4128611" y="354806"/>
                  </a:moveTo>
                  <a:cubicBezTo>
                    <a:pt x="4128611" y="350996"/>
                    <a:pt x="4128611" y="347186"/>
                    <a:pt x="4127659" y="343376"/>
                  </a:cubicBezTo>
                  <a:cubicBezTo>
                    <a:pt x="4127659" y="345281"/>
                    <a:pt x="4127659" y="347186"/>
                    <a:pt x="4128611" y="350044"/>
                  </a:cubicBezTo>
                  <a:cubicBezTo>
                    <a:pt x="4129564" y="354806"/>
                    <a:pt x="4129564" y="360521"/>
                    <a:pt x="4130516" y="365284"/>
                  </a:cubicBezTo>
                  <a:cubicBezTo>
                    <a:pt x="4129564" y="361474"/>
                    <a:pt x="4129564" y="358616"/>
                    <a:pt x="4128611" y="354806"/>
                  </a:cubicBezTo>
                  <a:close/>
                  <a:moveTo>
                    <a:pt x="4124801" y="255746"/>
                  </a:moveTo>
                  <a:cubicBezTo>
                    <a:pt x="4124801" y="252889"/>
                    <a:pt x="4124801" y="250031"/>
                    <a:pt x="4124801" y="248126"/>
                  </a:cubicBezTo>
                  <a:cubicBezTo>
                    <a:pt x="4129564" y="265271"/>
                    <a:pt x="4134326" y="284321"/>
                    <a:pt x="4140041" y="303371"/>
                  </a:cubicBezTo>
                  <a:cubicBezTo>
                    <a:pt x="4140041" y="304324"/>
                    <a:pt x="4140994" y="306229"/>
                    <a:pt x="4140994" y="307181"/>
                  </a:cubicBezTo>
                  <a:cubicBezTo>
                    <a:pt x="4140994" y="311944"/>
                    <a:pt x="4140994" y="316706"/>
                    <a:pt x="4140994" y="321469"/>
                  </a:cubicBezTo>
                  <a:cubicBezTo>
                    <a:pt x="4136231" y="310991"/>
                    <a:pt x="4133374" y="305276"/>
                    <a:pt x="4133374" y="305276"/>
                  </a:cubicBezTo>
                  <a:cubicBezTo>
                    <a:pt x="4133374" y="305276"/>
                    <a:pt x="4134326" y="308134"/>
                    <a:pt x="4135279" y="312896"/>
                  </a:cubicBezTo>
                  <a:cubicBezTo>
                    <a:pt x="4132421" y="309086"/>
                    <a:pt x="4130516" y="304324"/>
                    <a:pt x="4127659" y="300514"/>
                  </a:cubicBezTo>
                  <a:cubicBezTo>
                    <a:pt x="4125754" y="293846"/>
                    <a:pt x="4124801" y="288131"/>
                    <a:pt x="4123849" y="284321"/>
                  </a:cubicBezTo>
                  <a:cubicBezTo>
                    <a:pt x="4124801" y="273844"/>
                    <a:pt x="4124801" y="264319"/>
                    <a:pt x="4124801" y="255746"/>
                  </a:cubicBezTo>
                  <a:close/>
                  <a:moveTo>
                    <a:pt x="4095274" y="395764"/>
                  </a:moveTo>
                  <a:cubicBezTo>
                    <a:pt x="4094321" y="395764"/>
                    <a:pt x="4094321" y="395764"/>
                    <a:pt x="4095274" y="395764"/>
                  </a:cubicBezTo>
                  <a:cubicBezTo>
                    <a:pt x="4095274" y="394811"/>
                    <a:pt x="4095274" y="394811"/>
                    <a:pt x="4095274" y="394811"/>
                  </a:cubicBezTo>
                  <a:cubicBezTo>
                    <a:pt x="4095274" y="394811"/>
                    <a:pt x="4095274" y="395764"/>
                    <a:pt x="4095274" y="395764"/>
                  </a:cubicBezTo>
                  <a:close/>
                  <a:moveTo>
                    <a:pt x="4093369" y="386239"/>
                  </a:moveTo>
                  <a:cubicBezTo>
                    <a:pt x="4093369" y="383381"/>
                    <a:pt x="4093369" y="379571"/>
                    <a:pt x="4093369" y="376714"/>
                  </a:cubicBezTo>
                  <a:cubicBezTo>
                    <a:pt x="4094321" y="378619"/>
                    <a:pt x="4095274" y="380524"/>
                    <a:pt x="4096226" y="382429"/>
                  </a:cubicBezTo>
                  <a:cubicBezTo>
                    <a:pt x="4094321" y="384334"/>
                    <a:pt x="4094321" y="385286"/>
                    <a:pt x="4093369" y="386239"/>
                  </a:cubicBezTo>
                  <a:close/>
                  <a:moveTo>
                    <a:pt x="4097179" y="342424"/>
                  </a:moveTo>
                  <a:cubicBezTo>
                    <a:pt x="4098131" y="339566"/>
                    <a:pt x="4098131" y="337661"/>
                    <a:pt x="4099084" y="334804"/>
                  </a:cubicBezTo>
                  <a:cubicBezTo>
                    <a:pt x="4099084" y="335756"/>
                    <a:pt x="4099084" y="336709"/>
                    <a:pt x="4099084" y="337661"/>
                  </a:cubicBezTo>
                  <a:cubicBezTo>
                    <a:pt x="4099084" y="339566"/>
                    <a:pt x="4098131" y="340519"/>
                    <a:pt x="4097179" y="342424"/>
                  </a:cubicBezTo>
                  <a:close/>
                  <a:moveTo>
                    <a:pt x="4100989" y="353854"/>
                  </a:moveTo>
                  <a:cubicBezTo>
                    <a:pt x="4100989" y="352901"/>
                    <a:pt x="4100989" y="351949"/>
                    <a:pt x="4100989" y="351949"/>
                  </a:cubicBezTo>
                  <a:cubicBezTo>
                    <a:pt x="4100989" y="351949"/>
                    <a:pt x="4100989" y="351949"/>
                    <a:pt x="4100989" y="351949"/>
                  </a:cubicBezTo>
                  <a:cubicBezTo>
                    <a:pt x="4100989" y="352901"/>
                    <a:pt x="4100989" y="353854"/>
                    <a:pt x="4100989" y="353854"/>
                  </a:cubicBezTo>
                  <a:cubicBezTo>
                    <a:pt x="4100989" y="354806"/>
                    <a:pt x="4100989" y="353854"/>
                    <a:pt x="4100989" y="353854"/>
                  </a:cubicBezTo>
                  <a:close/>
                  <a:moveTo>
                    <a:pt x="4115276" y="322421"/>
                  </a:moveTo>
                  <a:cubicBezTo>
                    <a:pt x="4115276" y="330994"/>
                    <a:pt x="4114324" y="341471"/>
                    <a:pt x="4114324" y="350996"/>
                  </a:cubicBezTo>
                  <a:cubicBezTo>
                    <a:pt x="4113371" y="336709"/>
                    <a:pt x="4111466" y="327184"/>
                    <a:pt x="4111466" y="327184"/>
                  </a:cubicBezTo>
                  <a:cubicBezTo>
                    <a:pt x="4111466" y="327184"/>
                    <a:pt x="4110514" y="332899"/>
                    <a:pt x="4108609" y="342424"/>
                  </a:cubicBezTo>
                  <a:cubicBezTo>
                    <a:pt x="4108609" y="342424"/>
                    <a:pt x="4107656" y="341471"/>
                    <a:pt x="4107656" y="341471"/>
                  </a:cubicBezTo>
                  <a:cubicBezTo>
                    <a:pt x="4107656" y="339566"/>
                    <a:pt x="4106704" y="338614"/>
                    <a:pt x="4106704" y="336709"/>
                  </a:cubicBezTo>
                  <a:cubicBezTo>
                    <a:pt x="4108609" y="330994"/>
                    <a:pt x="4111466" y="326231"/>
                    <a:pt x="4113371" y="322421"/>
                  </a:cubicBezTo>
                  <a:cubicBezTo>
                    <a:pt x="4114324" y="321469"/>
                    <a:pt x="4114324" y="319564"/>
                    <a:pt x="4115276" y="318611"/>
                  </a:cubicBezTo>
                  <a:cubicBezTo>
                    <a:pt x="4115276" y="319564"/>
                    <a:pt x="4115276" y="320516"/>
                    <a:pt x="4115276" y="322421"/>
                  </a:cubicBezTo>
                  <a:close/>
                  <a:moveTo>
                    <a:pt x="4109561" y="295751"/>
                  </a:moveTo>
                  <a:cubicBezTo>
                    <a:pt x="4111466" y="299561"/>
                    <a:pt x="4113371" y="303371"/>
                    <a:pt x="4116229" y="308134"/>
                  </a:cubicBezTo>
                  <a:cubicBezTo>
                    <a:pt x="4116229" y="309086"/>
                    <a:pt x="4116229" y="310991"/>
                    <a:pt x="4116229" y="311944"/>
                  </a:cubicBezTo>
                  <a:cubicBezTo>
                    <a:pt x="4114324" y="314801"/>
                    <a:pt x="4112419" y="316706"/>
                    <a:pt x="4110514" y="320516"/>
                  </a:cubicBezTo>
                  <a:cubicBezTo>
                    <a:pt x="4108609" y="323374"/>
                    <a:pt x="4106704" y="326231"/>
                    <a:pt x="4104799" y="329089"/>
                  </a:cubicBezTo>
                  <a:cubicBezTo>
                    <a:pt x="4103846" y="326231"/>
                    <a:pt x="4102894" y="324326"/>
                    <a:pt x="4102894" y="322421"/>
                  </a:cubicBezTo>
                  <a:cubicBezTo>
                    <a:pt x="4105751" y="311944"/>
                    <a:pt x="4107656" y="303371"/>
                    <a:pt x="4109561" y="295751"/>
                  </a:cubicBezTo>
                  <a:close/>
                  <a:moveTo>
                    <a:pt x="4092416" y="294799"/>
                  </a:moveTo>
                  <a:cubicBezTo>
                    <a:pt x="4093369" y="284321"/>
                    <a:pt x="4093369" y="274796"/>
                    <a:pt x="4094321" y="265271"/>
                  </a:cubicBezTo>
                  <a:cubicBezTo>
                    <a:pt x="4095274" y="268129"/>
                    <a:pt x="4096226" y="270034"/>
                    <a:pt x="4098131" y="272891"/>
                  </a:cubicBezTo>
                  <a:cubicBezTo>
                    <a:pt x="4100989" y="278606"/>
                    <a:pt x="4103846" y="284321"/>
                    <a:pt x="4106704" y="290989"/>
                  </a:cubicBezTo>
                  <a:cubicBezTo>
                    <a:pt x="4103846" y="296704"/>
                    <a:pt x="4101941" y="304324"/>
                    <a:pt x="4098131" y="311944"/>
                  </a:cubicBezTo>
                  <a:cubicBezTo>
                    <a:pt x="4097179" y="308134"/>
                    <a:pt x="4096226" y="306229"/>
                    <a:pt x="4096226" y="306229"/>
                  </a:cubicBezTo>
                  <a:cubicBezTo>
                    <a:pt x="4096226" y="306229"/>
                    <a:pt x="4096226" y="310039"/>
                    <a:pt x="4097179" y="315754"/>
                  </a:cubicBezTo>
                  <a:cubicBezTo>
                    <a:pt x="4095274" y="320516"/>
                    <a:pt x="4093369" y="324326"/>
                    <a:pt x="4092416" y="329089"/>
                  </a:cubicBezTo>
                  <a:cubicBezTo>
                    <a:pt x="4092416" y="328136"/>
                    <a:pt x="4091464" y="326231"/>
                    <a:pt x="4091464" y="325279"/>
                  </a:cubicBezTo>
                  <a:cubicBezTo>
                    <a:pt x="4091464" y="324326"/>
                    <a:pt x="4090511" y="323374"/>
                    <a:pt x="4090511" y="321469"/>
                  </a:cubicBezTo>
                  <a:cubicBezTo>
                    <a:pt x="4091464" y="311944"/>
                    <a:pt x="4092416" y="303371"/>
                    <a:pt x="4092416" y="294799"/>
                  </a:cubicBezTo>
                  <a:close/>
                  <a:moveTo>
                    <a:pt x="4085749" y="244316"/>
                  </a:moveTo>
                  <a:cubicBezTo>
                    <a:pt x="4085749" y="245269"/>
                    <a:pt x="4085749" y="245269"/>
                    <a:pt x="4085749" y="244316"/>
                  </a:cubicBezTo>
                  <a:cubicBezTo>
                    <a:pt x="4085749" y="247174"/>
                    <a:pt x="4085749" y="248126"/>
                    <a:pt x="4084796" y="250031"/>
                  </a:cubicBezTo>
                  <a:cubicBezTo>
                    <a:pt x="4084796" y="249079"/>
                    <a:pt x="4084796" y="246221"/>
                    <a:pt x="4085749" y="244316"/>
                  </a:cubicBezTo>
                  <a:close/>
                  <a:moveTo>
                    <a:pt x="4043839" y="279559"/>
                  </a:moveTo>
                  <a:cubicBezTo>
                    <a:pt x="4044791" y="280511"/>
                    <a:pt x="4044791" y="280511"/>
                    <a:pt x="4043839" y="279559"/>
                  </a:cubicBezTo>
                  <a:cubicBezTo>
                    <a:pt x="4044791" y="281464"/>
                    <a:pt x="4044791" y="282416"/>
                    <a:pt x="4044791" y="283369"/>
                  </a:cubicBezTo>
                  <a:cubicBezTo>
                    <a:pt x="4043839" y="282416"/>
                    <a:pt x="4043839" y="281464"/>
                    <a:pt x="4043839" y="281464"/>
                  </a:cubicBezTo>
                  <a:cubicBezTo>
                    <a:pt x="4043839" y="281464"/>
                    <a:pt x="4043839" y="283369"/>
                    <a:pt x="4044791" y="286226"/>
                  </a:cubicBezTo>
                  <a:cubicBezTo>
                    <a:pt x="4044791" y="287179"/>
                    <a:pt x="4044791" y="288131"/>
                    <a:pt x="4044791" y="290036"/>
                  </a:cubicBezTo>
                  <a:cubicBezTo>
                    <a:pt x="4043839" y="288131"/>
                    <a:pt x="4042886" y="286226"/>
                    <a:pt x="4042886" y="284321"/>
                  </a:cubicBezTo>
                  <a:cubicBezTo>
                    <a:pt x="4043839" y="282416"/>
                    <a:pt x="4043839" y="281464"/>
                    <a:pt x="4043839" y="279559"/>
                  </a:cubicBezTo>
                  <a:close/>
                  <a:moveTo>
                    <a:pt x="4044791" y="333851"/>
                  </a:moveTo>
                  <a:cubicBezTo>
                    <a:pt x="4044791" y="333851"/>
                    <a:pt x="4044791" y="333851"/>
                    <a:pt x="4044791" y="333851"/>
                  </a:cubicBezTo>
                  <a:cubicBezTo>
                    <a:pt x="4044791" y="335756"/>
                    <a:pt x="4044791" y="337661"/>
                    <a:pt x="4044791" y="339566"/>
                  </a:cubicBezTo>
                  <a:cubicBezTo>
                    <a:pt x="4043839" y="338614"/>
                    <a:pt x="4043839" y="338614"/>
                    <a:pt x="4042886" y="337661"/>
                  </a:cubicBezTo>
                  <a:cubicBezTo>
                    <a:pt x="4042886" y="335756"/>
                    <a:pt x="4043839" y="334804"/>
                    <a:pt x="4044791" y="333851"/>
                  </a:cubicBezTo>
                  <a:close/>
                  <a:moveTo>
                    <a:pt x="4039076" y="271939"/>
                  </a:moveTo>
                  <a:cubicBezTo>
                    <a:pt x="4039076" y="272891"/>
                    <a:pt x="4039076" y="272891"/>
                    <a:pt x="4039076" y="273844"/>
                  </a:cubicBezTo>
                  <a:cubicBezTo>
                    <a:pt x="4039076" y="272891"/>
                    <a:pt x="4038124" y="271939"/>
                    <a:pt x="4038124" y="270034"/>
                  </a:cubicBezTo>
                  <a:cubicBezTo>
                    <a:pt x="4037171" y="268129"/>
                    <a:pt x="4037171" y="267176"/>
                    <a:pt x="4036219" y="265271"/>
                  </a:cubicBezTo>
                  <a:cubicBezTo>
                    <a:pt x="4037171" y="267176"/>
                    <a:pt x="4038124" y="269081"/>
                    <a:pt x="4039076" y="271939"/>
                  </a:cubicBezTo>
                  <a:close/>
                  <a:moveTo>
                    <a:pt x="4033361" y="358616"/>
                  </a:moveTo>
                  <a:cubicBezTo>
                    <a:pt x="4033361" y="355759"/>
                    <a:pt x="4034314" y="353854"/>
                    <a:pt x="4034314" y="351949"/>
                  </a:cubicBezTo>
                  <a:cubicBezTo>
                    <a:pt x="4035266" y="350044"/>
                    <a:pt x="4037171" y="347186"/>
                    <a:pt x="4038124" y="345281"/>
                  </a:cubicBezTo>
                  <a:cubicBezTo>
                    <a:pt x="4040029" y="347186"/>
                    <a:pt x="4041934" y="350044"/>
                    <a:pt x="4043839" y="351949"/>
                  </a:cubicBezTo>
                  <a:cubicBezTo>
                    <a:pt x="4042886" y="363379"/>
                    <a:pt x="4041934" y="376714"/>
                    <a:pt x="4040981" y="391954"/>
                  </a:cubicBezTo>
                  <a:cubicBezTo>
                    <a:pt x="4039076" y="398621"/>
                    <a:pt x="4037171" y="406241"/>
                    <a:pt x="4035266" y="413861"/>
                  </a:cubicBezTo>
                  <a:cubicBezTo>
                    <a:pt x="4033361" y="407194"/>
                    <a:pt x="4030504" y="401479"/>
                    <a:pt x="4029551" y="395764"/>
                  </a:cubicBezTo>
                  <a:cubicBezTo>
                    <a:pt x="4028599" y="392906"/>
                    <a:pt x="4027646" y="391001"/>
                    <a:pt x="4027646" y="388144"/>
                  </a:cubicBezTo>
                  <a:cubicBezTo>
                    <a:pt x="4029551" y="377666"/>
                    <a:pt x="4031456" y="368141"/>
                    <a:pt x="4033361" y="358616"/>
                  </a:cubicBezTo>
                  <a:close/>
                  <a:moveTo>
                    <a:pt x="4020026" y="324326"/>
                  </a:moveTo>
                  <a:cubicBezTo>
                    <a:pt x="4020979" y="325279"/>
                    <a:pt x="4020979" y="325279"/>
                    <a:pt x="4021931" y="326231"/>
                  </a:cubicBezTo>
                  <a:cubicBezTo>
                    <a:pt x="4020979" y="329089"/>
                    <a:pt x="4020026" y="331946"/>
                    <a:pt x="4019074" y="334804"/>
                  </a:cubicBezTo>
                  <a:cubicBezTo>
                    <a:pt x="4018121" y="336709"/>
                    <a:pt x="4018121" y="339566"/>
                    <a:pt x="4017169" y="341471"/>
                  </a:cubicBezTo>
                  <a:cubicBezTo>
                    <a:pt x="4017169" y="341471"/>
                    <a:pt x="4017169" y="342424"/>
                    <a:pt x="4016216" y="342424"/>
                  </a:cubicBezTo>
                  <a:cubicBezTo>
                    <a:pt x="4016216" y="343376"/>
                    <a:pt x="4015264" y="343376"/>
                    <a:pt x="4015264" y="344329"/>
                  </a:cubicBezTo>
                  <a:cubicBezTo>
                    <a:pt x="4014311" y="333851"/>
                    <a:pt x="4012406" y="324326"/>
                    <a:pt x="4011454" y="315754"/>
                  </a:cubicBezTo>
                  <a:cubicBezTo>
                    <a:pt x="4014311" y="317659"/>
                    <a:pt x="4017169" y="320516"/>
                    <a:pt x="4020026" y="324326"/>
                  </a:cubicBezTo>
                  <a:close/>
                  <a:moveTo>
                    <a:pt x="3999071" y="282416"/>
                  </a:moveTo>
                  <a:cubicBezTo>
                    <a:pt x="4000024" y="282416"/>
                    <a:pt x="4000024" y="282416"/>
                    <a:pt x="3999071" y="282416"/>
                  </a:cubicBezTo>
                  <a:cubicBezTo>
                    <a:pt x="4000024" y="290989"/>
                    <a:pt x="4000024" y="300514"/>
                    <a:pt x="4000024" y="310991"/>
                  </a:cubicBezTo>
                  <a:cubicBezTo>
                    <a:pt x="4000024" y="312896"/>
                    <a:pt x="4000024" y="314801"/>
                    <a:pt x="4000024" y="316706"/>
                  </a:cubicBezTo>
                  <a:cubicBezTo>
                    <a:pt x="4000024" y="319564"/>
                    <a:pt x="3999071" y="322421"/>
                    <a:pt x="3999071" y="325279"/>
                  </a:cubicBezTo>
                  <a:cubicBezTo>
                    <a:pt x="3999071" y="325279"/>
                    <a:pt x="3999071" y="326231"/>
                    <a:pt x="3999071" y="327184"/>
                  </a:cubicBezTo>
                  <a:cubicBezTo>
                    <a:pt x="3999071" y="326231"/>
                    <a:pt x="3998119" y="325279"/>
                    <a:pt x="3998119" y="324326"/>
                  </a:cubicBezTo>
                  <a:lnTo>
                    <a:pt x="3997166" y="314801"/>
                  </a:lnTo>
                  <a:lnTo>
                    <a:pt x="3996214" y="286226"/>
                  </a:lnTo>
                  <a:cubicBezTo>
                    <a:pt x="3997166" y="285274"/>
                    <a:pt x="3998119" y="284321"/>
                    <a:pt x="3999071" y="282416"/>
                  </a:cubicBezTo>
                  <a:close/>
                  <a:moveTo>
                    <a:pt x="3983831" y="405289"/>
                  </a:moveTo>
                  <a:cubicBezTo>
                    <a:pt x="3982879" y="408146"/>
                    <a:pt x="3981926" y="410051"/>
                    <a:pt x="3980021" y="412909"/>
                  </a:cubicBezTo>
                  <a:cubicBezTo>
                    <a:pt x="3980021" y="412909"/>
                    <a:pt x="3980021" y="412909"/>
                    <a:pt x="3980021" y="412909"/>
                  </a:cubicBezTo>
                  <a:cubicBezTo>
                    <a:pt x="3981926" y="407194"/>
                    <a:pt x="3981926" y="404336"/>
                    <a:pt x="3982879" y="402431"/>
                  </a:cubicBezTo>
                  <a:cubicBezTo>
                    <a:pt x="3982879" y="403384"/>
                    <a:pt x="3982879" y="404336"/>
                    <a:pt x="3983831" y="405289"/>
                  </a:cubicBezTo>
                  <a:close/>
                  <a:moveTo>
                    <a:pt x="3980974" y="395764"/>
                  </a:moveTo>
                  <a:cubicBezTo>
                    <a:pt x="3981926" y="397669"/>
                    <a:pt x="3981926" y="399574"/>
                    <a:pt x="3982879" y="401479"/>
                  </a:cubicBezTo>
                  <a:cubicBezTo>
                    <a:pt x="3982879" y="402431"/>
                    <a:pt x="3980974" y="404336"/>
                    <a:pt x="3979069" y="407194"/>
                  </a:cubicBezTo>
                  <a:cubicBezTo>
                    <a:pt x="3979069" y="407194"/>
                    <a:pt x="3979069" y="406241"/>
                    <a:pt x="3979069" y="406241"/>
                  </a:cubicBezTo>
                  <a:cubicBezTo>
                    <a:pt x="3980021" y="403384"/>
                    <a:pt x="3980021" y="399574"/>
                    <a:pt x="3980974" y="395764"/>
                  </a:cubicBezTo>
                  <a:close/>
                  <a:moveTo>
                    <a:pt x="3976211" y="378619"/>
                  </a:moveTo>
                  <a:cubicBezTo>
                    <a:pt x="3976211" y="378619"/>
                    <a:pt x="3976211" y="378619"/>
                    <a:pt x="3976211" y="378619"/>
                  </a:cubicBezTo>
                  <a:cubicBezTo>
                    <a:pt x="3976211" y="379571"/>
                    <a:pt x="3976211" y="379571"/>
                    <a:pt x="3976211" y="380524"/>
                  </a:cubicBezTo>
                  <a:cubicBezTo>
                    <a:pt x="3976211" y="379571"/>
                    <a:pt x="3976211" y="378619"/>
                    <a:pt x="3976211" y="378619"/>
                  </a:cubicBezTo>
                  <a:close/>
                  <a:moveTo>
                    <a:pt x="3948589" y="255746"/>
                  </a:moveTo>
                  <a:cubicBezTo>
                    <a:pt x="3948589" y="262414"/>
                    <a:pt x="3947636" y="270034"/>
                    <a:pt x="3946684" y="277654"/>
                  </a:cubicBezTo>
                  <a:cubicBezTo>
                    <a:pt x="3946684" y="279559"/>
                    <a:pt x="3946684" y="282416"/>
                    <a:pt x="3945731" y="285274"/>
                  </a:cubicBezTo>
                  <a:cubicBezTo>
                    <a:pt x="3944779" y="278606"/>
                    <a:pt x="3944779" y="272891"/>
                    <a:pt x="3943826" y="266224"/>
                  </a:cubicBezTo>
                  <a:cubicBezTo>
                    <a:pt x="3942874" y="257651"/>
                    <a:pt x="3940969" y="249079"/>
                    <a:pt x="3940016" y="240506"/>
                  </a:cubicBezTo>
                  <a:cubicBezTo>
                    <a:pt x="3940016" y="240506"/>
                    <a:pt x="3940016" y="240506"/>
                    <a:pt x="3940016" y="239554"/>
                  </a:cubicBezTo>
                  <a:cubicBezTo>
                    <a:pt x="3940016" y="238601"/>
                    <a:pt x="3940016" y="237649"/>
                    <a:pt x="3940016" y="236696"/>
                  </a:cubicBezTo>
                  <a:cubicBezTo>
                    <a:pt x="3940969" y="237649"/>
                    <a:pt x="3941921" y="239554"/>
                    <a:pt x="3942874" y="240506"/>
                  </a:cubicBezTo>
                  <a:cubicBezTo>
                    <a:pt x="3944779" y="243364"/>
                    <a:pt x="3945731" y="245269"/>
                    <a:pt x="3947636" y="248126"/>
                  </a:cubicBezTo>
                  <a:cubicBezTo>
                    <a:pt x="3948589" y="251936"/>
                    <a:pt x="3948589" y="253841"/>
                    <a:pt x="3948589" y="255746"/>
                  </a:cubicBezTo>
                  <a:close/>
                  <a:moveTo>
                    <a:pt x="3943826" y="205264"/>
                  </a:moveTo>
                  <a:cubicBezTo>
                    <a:pt x="3943826" y="207169"/>
                    <a:pt x="3943826" y="209074"/>
                    <a:pt x="3943826" y="210979"/>
                  </a:cubicBezTo>
                  <a:cubicBezTo>
                    <a:pt x="3943826" y="216694"/>
                    <a:pt x="3944779" y="223361"/>
                    <a:pt x="3945731" y="230981"/>
                  </a:cubicBezTo>
                  <a:cubicBezTo>
                    <a:pt x="3945731" y="232886"/>
                    <a:pt x="3945731" y="234791"/>
                    <a:pt x="3946684" y="236696"/>
                  </a:cubicBezTo>
                  <a:cubicBezTo>
                    <a:pt x="3943826" y="233839"/>
                    <a:pt x="3941921" y="230029"/>
                    <a:pt x="3939064" y="228124"/>
                  </a:cubicBezTo>
                  <a:cubicBezTo>
                    <a:pt x="3938111" y="224314"/>
                    <a:pt x="3938111" y="219551"/>
                    <a:pt x="3937159" y="215741"/>
                  </a:cubicBezTo>
                  <a:cubicBezTo>
                    <a:pt x="3940016" y="210979"/>
                    <a:pt x="3941921" y="208121"/>
                    <a:pt x="3943826" y="205264"/>
                  </a:cubicBezTo>
                  <a:close/>
                  <a:moveTo>
                    <a:pt x="3866674" y="369094"/>
                  </a:moveTo>
                  <a:cubicBezTo>
                    <a:pt x="3866674" y="369094"/>
                    <a:pt x="3866674" y="368141"/>
                    <a:pt x="3867626" y="368141"/>
                  </a:cubicBezTo>
                  <a:cubicBezTo>
                    <a:pt x="3867626" y="369094"/>
                    <a:pt x="3867626" y="370046"/>
                    <a:pt x="3867626" y="370999"/>
                  </a:cubicBezTo>
                  <a:cubicBezTo>
                    <a:pt x="3867626" y="370046"/>
                    <a:pt x="3866674" y="370046"/>
                    <a:pt x="3866674" y="369094"/>
                  </a:cubicBezTo>
                  <a:close/>
                  <a:moveTo>
                    <a:pt x="3886676" y="354806"/>
                  </a:moveTo>
                  <a:cubicBezTo>
                    <a:pt x="3885724" y="351949"/>
                    <a:pt x="3883819" y="350044"/>
                    <a:pt x="3882866" y="348139"/>
                  </a:cubicBezTo>
                  <a:cubicBezTo>
                    <a:pt x="3882866" y="345281"/>
                    <a:pt x="3881914" y="341471"/>
                    <a:pt x="3881914" y="338614"/>
                  </a:cubicBezTo>
                  <a:cubicBezTo>
                    <a:pt x="3883819" y="343376"/>
                    <a:pt x="3885724" y="349091"/>
                    <a:pt x="3886676" y="354806"/>
                  </a:cubicBezTo>
                  <a:cubicBezTo>
                    <a:pt x="3887629" y="354806"/>
                    <a:pt x="3887629" y="355759"/>
                    <a:pt x="3887629" y="356711"/>
                  </a:cubicBezTo>
                  <a:cubicBezTo>
                    <a:pt x="3887629" y="355759"/>
                    <a:pt x="3887629" y="354806"/>
                    <a:pt x="3886676" y="354806"/>
                  </a:cubicBezTo>
                  <a:close/>
                  <a:moveTo>
                    <a:pt x="3897154" y="278606"/>
                  </a:moveTo>
                  <a:cubicBezTo>
                    <a:pt x="3899059" y="275749"/>
                    <a:pt x="3900011" y="272891"/>
                    <a:pt x="3901916" y="270986"/>
                  </a:cubicBezTo>
                  <a:cubicBezTo>
                    <a:pt x="3901916" y="270986"/>
                    <a:pt x="3901916" y="270986"/>
                    <a:pt x="3901916" y="270986"/>
                  </a:cubicBezTo>
                  <a:cubicBezTo>
                    <a:pt x="3900964" y="273844"/>
                    <a:pt x="3899059" y="276701"/>
                    <a:pt x="3897154" y="278606"/>
                  </a:cubicBezTo>
                  <a:cubicBezTo>
                    <a:pt x="3898106" y="279559"/>
                    <a:pt x="3897154" y="279559"/>
                    <a:pt x="3897154" y="278606"/>
                  </a:cubicBezTo>
                  <a:close/>
                  <a:moveTo>
                    <a:pt x="3900011" y="291941"/>
                  </a:moveTo>
                  <a:cubicBezTo>
                    <a:pt x="3900011" y="290989"/>
                    <a:pt x="3900964" y="289084"/>
                    <a:pt x="3901916" y="288131"/>
                  </a:cubicBezTo>
                  <a:cubicBezTo>
                    <a:pt x="3901916" y="287179"/>
                    <a:pt x="3902869" y="287179"/>
                    <a:pt x="3902869" y="286226"/>
                  </a:cubicBezTo>
                  <a:cubicBezTo>
                    <a:pt x="3902869" y="290036"/>
                    <a:pt x="3902869" y="293846"/>
                    <a:pt x="3903821" y="297656"/>
                  </a:cubicBezTo>
                  <a:cubicBezTo>
                    <a:pt x="3903821" y="298609"/>
                    <a:pt x="3903821" y="300514"/>
                    <a:pt x="3902869" y="301466"/>
                  </a:cubicBezTo>
                  <a:cubicBezTo>
                    <a:pt x="3902869" y="300514"/>
                    <a:pt x="3902869" y="299561"/>
                    <a:pt x="3901916" y="298609"/>
                  </a:cubicBezTo>
                  <a:cubicBezTo>
                    <a:pt x="3901916" y="295751"/>
                    <a:pt x="3900964" y="293846"/>
                    <a:pt x="3900011" y="291941"/>
                  </a:cubicBezTo>
                  <a:close/>
                  <a:moveTo>
                    <a:pt x="3903821" y="431006"/>
                  </a:moveTo>
                  <a:cubicBezTo>
                    <a:pt x="3903821" y="431006"/>
                    <a:pt x="3903821" y="431959"/>
                    <a:pt x="3902869" y="431959"/>
                  </a:cubicBezTo>
                  <a:lnTo>
                    <a:pt x="3901916" y="431959"/>
                  </a:lnTo>
                  <a:cubicBezTo>
                    <a:pt x="3902869" y="430054"/>
                    <a:pt x="3902869" y="428149"/>
                    <a:pt x="3903821" y="426244"/>
                  </a:cubicBezTo>
                  <a:cubicBezTo>
                    <a:pt x="3903821" y="427196"/>
                    <a:pt x="3903821" y="427196"/>
                    <a:pt x="3904774" y="428149"/>
                  </a:cubicBezTo>
                  <a:cubicBezTo>
                    <a:pt x="3903821" y="429101"/>
                    <a:pt x="3903821" y="430054"/>
                    <a:pt x="3903821" y="431006"/>
                  </a:cubicBezTo>
                  <a:close/>
                  <a:moveTo>
                    <a:pt x="3925729" y="309086"/>
                  </a:moveTo>
                  <a:cubicBezTo>
                    <a:pt x="3923824" y="301466"/>
                    <a:pt x="3922871" y="297656"/>
                    <a:pt x="3922871" y="297656"/>
                  </a:cubicBezTo>
                  <a:cubicBezTo>
                    <a:pt x="3922871" y="297656"/>
                    <a:pt x="3922871" y="301466"/>
                    <a:pt x="3923824" y="308134"/>
                  </a:cubicBezTo>
                  <a:cubicBezTo>
                    <a:pt x="3920966" y="297656"/>
                    <a:pt x="3919061" y="291941"/>
                    <a:pt x="3919061" y="291941"/>
                  </a:cubicBezTo>
                  <a:cubicBezTo>
                    <a:pt x="3919061" y="291941"/>
                    <a:pt x="3920014" y="301466"/>
                    <a:pt x="3922871" y="317659"/>
                  </a:cubicBezTo>
                  <a:cubicBezTo>
                    <a:pt x="3922871" y="320516"/>
                    <a:pt x="3923824" y="322421"/>
                    <a:pt x="3923824" y="325279"/>
                  </a:cubicBezTo>
                  <a:cubicBezTo>
                    <a:pt x="3922871" y="328136"/>
                    <a:pt x="3922871" y="331946"/>
                    <a:pt x="3921919" y="334804"/>
                  </a:cubicBezTo>
                  <a:cubicBezTo>
                    <a:pt x="3921919" y="334804"/>
                    <a:pt x="3921919" y="335756"/>
                    <a:pt x="3921919" y="335756"/>
                  </a:cubicBezTo>
                  <a:cubicBezTo>
                    <a:pt x="3921919" y="333851"/>
                    <a:pt x="3920966" y="331946"/>
                    <a:pt x="3920966" y="330041"/>
                  </a:cubicBezTo>
                  <a:cubicBezTo>
                    <a:pt x="3919061" y="319564"/>
                    <a:pt x="3917156" y="310039"/>
                    <a:pt x="3915251" y="301466"/>
                  </a:cubicBezTo>
                  <a:cubicBezTo>
                    <a:pt x="3913346" y="293846"/>
                    <a:pt x="3912394" y="287179"/>
                    <a:pt x="3911441" y="281464"/>
                  </a:cubicBezTo>
                  <a:cubicBezTo>
                    <a:pt x="3911441" y="273844"/>
                    <a:pt x="3912394" y="268129"/>
                    <a:pt x="3912394" y="264319"/>
                  </a:cubicBezTo>
                  <a:cubicBezTo>
                    <a:pt x="3912394" y="264319"/>
                    <a:pt x="3912394" y="263366"/>
                    <a:pt x="3912394" y="263366"/>
                  </a:cubicBezTo>
                  <a:cubicBezTo>
                    <a:pt x="3914299" y="265271"/>
                    <a:pt x="3917156" y="268129"/>
                    <a:pt x="3919061" y="270986"/>
                  </a:cubicBezTo>
                  <a:cubicBezTo>
                    <a:pt x="3920966" y="272891"/>
                    <a:pt x="3922871" y="274796"/>
                    <a:pt x="3923824" y="277654"/>
                  </a:cubicBezTo>
                  <a:cubicBezTo>
                    <a:pt x="3923824" y="277654"/>
                    <a:pt x="3923824" y="280511"/>
                    <a:pt x="3924776" y="284321"/>
                  </a:cubicBezTo>
                  <a:cubicBezTo>
                    <a:pt x="3922871" y="279559"/>
                    <a:pt x="3921919" y="277654"/>
                    <a:pt x="3921919" y="277654"/>
                  </a:cubicBezTo>
                  <a:cubicBezTo>
                    <a:pt x="3921919" y="277654"/>
                    <a:pt x="3923824" y="284321"/>
                    <a:pt x="3926681" y="296704"/>
                  </a:cubicBezTo>
                  <a:cubicBezTo>
                    <a:pt x="3926681" y="298609"/>
                    <a:pt x="3927634" y="301466"/>
                    <a:pt x="3927634" y="304324"/>
                  </a:cubicBezTo>
                  <a:cubicBezTo>
                    <a:pt x="3927634" y="304324"/>
                    <a:pt x="3927634" y="304324"/>
                    <a:pt x="3927634" y="305276"/>
                  </a:cubicBezTo>
                  <a:cubicBezTo>
                    <a:pt x="3926681" y="304324"/>
                    <a:pt x="3925729" y="306229"/>
                    <a:pt x="3925729" y="309086"/>
                  </a:cubicBezTo>
                  <a:close/>
                  <a:moveTo>
                    <a:pt x="3929539" y="287179"/>
                  </a:moveTo>
                  <a:cubicBezTo>
                    <a:pt x="3929539" y="289084"/>
                    <a:pt x="3928586" y="290989"/>
                    <a:pt x="3928586" y="292894"/>
                  </a:cubicBezTo>
                  <a:cubicBezTo>
                    <a:pt x="3928586" y="291941"/>
                    <a:pt x="3927634" y="290989"/>
                    <a:pt x="3927634" y="290036"/>
                  </a:cubicBezTo>
                  <a:cubicBezTo>
                    <a:pt x="3924776" y="281464"/>
                    <a:pt x="3923824" y="275749"/>
                    <a:pt x="3923824" y="275749"/>
                  </a:cubicBezTo>
                  <a:cubicBezTo>
                    <a:pt x="3924776" y="277654"/>
                    <a:pt x="3926681" y="279559"/>
                    <a:pt x="3927634" y="281464"/>
                  </a:cubicBezTo>
                  <a:cubicBezTo>
                    <a:pt x="3928586" y="282416"/>
                    <a:pt x="3928586" y="283369"/>
                    <a:pt x="3929539" y="284321"/>
                  </a:cubicBezTo>
                  <a:cubicBezTo>
                    <a:pt x="3929539" y="284321"/>
                    <a:pt x="3929539" y="285274"/>
                    <a:pt x="3929539" y="287179"/>
                  </a:cubicBezTo>
                  <a:close/>
                  <a:moveTo>
                    <a:pt x="3926681" y="242411"/>
                  </a:moveTo>
                  <a:cubicBezTo>
                    <a:pt x="3927634" y="251936"/>
                    <a:pt x="3928586" y="261461"/>
                    <a:pt x="3928586" y="270986"/>
                  </a:cubicBezTo>
                  <a:cubicBezTo>
                    <a:pt x="3926681" y="269081"/>
                    <a:pt x="3924776" y="266224"/>
                    <a:pt x="3921919" y="265271"/>
                  </a:cubicBezTo>
                  <a:cubicBezTo>
                    <a:pt x="3919061" y="262414"/>
                    <a:pt x="3916204" y="259556"/>
                    <a:pt x="3913346" y="257651"/>
                  </a:cubicBezTo>
                  <a:cubicBezTo>
                    <a:pt x="3915251" y="253841"/>
                    <a:pt x="3916204" y="250031"/>
                    <a:pt x="3917156" y="246221"/>
                  </a:cubicBezTo>
                  <a:cubicBezTo>
                    <a:pt x="3920014" y="241459"/>
                    <a:pt x="3922871" y="236696"/>
                    <a:pt x="3925729" y="232886"/>
                  </a:cubicBezTo>
                  <a:cubicBezTo>
                    <a:pt x="3925729" y="235744"/>
                    <a:pt x="3925729" y="239554"/>
                    <a:pt x="3926681" y="242411"/>
                  </a:cubicBezTo>
                  <a:close/>
                  <a:moveTo>
                    <a:pt x="3900964" y="168116"/>
                  </a:moveTo>
                  <a:cubicBezTo>
                    <a:pt x="3905726" y="160496"/>
                    <a:pt x="3910489" y="153829"/>
                    <a:pt x="3914299" y="147161"/>
                  </a:cubicBezTo>
                  <a:cubicBezTo>
                    <a:pt x="3914299" y="150019"/>
                    <a:pt x="3915251" y="152876"/>
                    <a:pt x="3915251" y="156686"/>
                  </a:cubicBezTo>
                  <a:cubicBezTo>
                    <a:pt x="3917156" y="168116"/>
                    <a:pt x="3919061" y="181451"/>
                    <a:pt x="3920966" y="196691"/>
                  </a:cubicBezTo>
                  <a:cubicBezTo>
                    <a:pt x="3921919" y="202406"/>
                    <a:pt x="3921919" y="208121"/>
                    <a:pt x="3922871" y="213836"/>
                  </a:cubicBezTo>
                  <a:cubicBezTo>
                    <a:pt x="3920966" y="211931"/>
                    <a:pt x="3920014" y="210979"/>
                    <a:pt x="3920014" y="210979"/>
                  </a:cubicBezTo>
                  <a:cubicBezTo>
                    <a:pt x="3920014" y="210979"/>
                    <a:pt x="3920966" y="212884"/>
                    <a:pt x="3923824" y="214789"/>
                  </a:cubicBezTo>
                  <a:cubicBezTo>
                    <a:pt x="3923824" y="218599"/>
                    <a:pt x="3924776" y="222409"/>
                    <a:pt x="3924776" y="226219"/>
                  </a:cubicBezTo>
                  <a:cubicBezTo>
                    <a:pt x="3919061" y="232886"/>
                    <a:pt x="3913346" y="240506"/>
                    <a:pt x="3906679" y="249079"/>
                  </a:cubicBezTo>
                  <a:cubicBezTo>
                    <a:pt x="3905726" y="250031"/>
                    <a:pt x="3905726" y="250984"/>
                    <a:pt x="3904774" y="251936"/>
                  </a:cubicBezTo>
                  <a:cubicBezTo>
                    <a:pt x="3903821" y="251936"/>
                    <a:pt x="3903821" y="250984"/>
                    <a:pt x="3902869" y="250984"/>
                  </a:cubicBezTo>
                  <a:cubicBezTo>
                    <a:pt x="3901916" y="245269"/>
                    <a:pt x="3900964" y="242411"/>
                    <a:pt x="3900964" y="242411"/>
                  </a:cubicBezTo>
                  <a:cubicBezTo>
                    <a:pt x="3900964" y="242411"/>
                    <a:pt x="3900964" y="245269"/>
                    <a:pt x="3900964" y="249079"/>
                  </a:cubicBezTo>
                  <a:cubicBezTo>
                    <a:pt x="3900011" y="248126"/>
                    <a:pt x="3898106" y="247174"/>
                    <a:pt x="3897154" y="247174"/>
                  </a:cubicBezTo>
                  <a:cubicBezTo>
                    <a:pt x="3893344" y="245269"/>
                    <a:pt x="3891439" y="243364"/>
                    <a:pt x="3891439" y="243364"/>
                  </a:cubicBezTo>
                  <a:cubicBezTo>
                    <a:pt x="3891439" y="243364"/>
                    <a:pt x="3893344" y="245269"/>
                    <a:pt x="3896201" y="248126"/>
                  </a:cubicBezTo>
                  <a:cubicBezTo>
                    <a:pt x="3897154" y="249079"/>
                    <a:pt x="3899059" y="250984"/>
                    <a:pt x="3900964" y="251936"/>
                  </a:cubicBezTo>
                  <a:cubicBezTo>
                    <a:pt x="3900964" y="253841"/>
                    <a:pt x="3900964" y="254794"/>
                    <a:pt x="3900964" y="256699"/>
                  </a:cubicBezTo>
                  <a:cubicBezTo>
                    <a:pt x="3899059" y="259556"/>
                    <a:pt x="3896201" y="263366"/>
                    <a:pt x="3894296" y="266224"/>
                  </a:cubicBezTo>
                  <a:cubicBezTo>
                    <a:pt x="3893344" y="261461"/>
                    <a:pt x="3891439" y="255746"/>
                    <a:pt x="3890486" y="250984"/>
                  </a:cubicBezTo>
                  <a:cubicBezTo>
                    <a:pt x="3886676" y="235744"/>
                    <a:pt x="3883819" y="222409"/>
                    <a:pt x="3880009" y="210026"/>
                  </a:cubicBezTo>
                  <a:cubicBezTo>
                    <a:pt x="3880009" y="209074"/>
                    <a:pt x="3879056" y="207169"/>
                    <a:pt x="3879056" y="206216"/>
                  </a:cubicBezTo>
                  <a:cubicBezTo>
                    <a:pt x="3886676" y="191929"/>
                    <a:pt x="3894296" y="178594"/>
                    <a:pt x="3900964" y="168116"/>
                  </a:cubicBezTo>
                  <a:close/>
                  <a:moveTo>
                    <a:pt x="3873341" y="214789"/>
                  </a:moveTo>
                  <a:cubicBezTo>
                    <a:pt x="3875246" y="226219"/>
                    <a:pt x="3877151" y="238601"/>
                    <a:pt x="3879056" y="251936"/>
                  </a:cubicBezTo>
                  <a:cubicBezTo>
                    <a:pt x="3880009" y="260509"/>
                    <a:pt x="3881914" y="270034"/>
                    <a:pt x="3883819" y="280511"/>
                  </a:cubicBezTo>
                  <a:cubicBezTo>
                    <a:pt x="3883819" y="281464"/>
                    <a:pt x="3882866" y="281464"/>
                    <a:pt x="3882866" y="282416"/>
                  </a:cubicBezTo>
                  <a:cubicBezTo>
                    <a:pt x="3880009" y="273844"/>
                    <a:pt x="3878104" y="266224"/>
                    <a:pt x="3875246" y="259556"/>
                  </a:cubicBezTo>
                  <a:cubicBezTo>
                    <a:pt x="3871436" y="250031"/>
                    <a:pt x="3868579" y="241459"/>
                    <a:pt x="3865721" y="234791"/>
                  </a:cubicBezTo>
                  <a:cubicBezTo>
                    <a:pt x="3865721" y="233839"/>
                    <a:pt x="3864769" y="232886"/>
                    <a:pt x="3864769" y="231934"/>
                  </a:cubicBezTo>
                  <a:cubicBezTo>
                    <a:pt x="3867626" y="225266"/>
                    <a:pt x="3870484" y="219551"/>
                    <a:pt x="3873341" y="214789"/>
                  </a:cubicBezTo>
                  <a:close/>
                  <a:moveTo>
                    <a:pt x="3864769" y="341471"/>
                  </a:moveTo>
                  <a:cubicBezTo>
                    <a:pt x="3863816" y="342424"/>
                    <a:pt x="3863816" y="344329"/>
                    <a:pt x="3862864" y="345281"/>
                  </a:cubicBezTo>
                  <a:cubicBezTo>
                    <a:pt x="3862864" y="344329"/>
                    <a:pt x="3863816" y="343376"/>
                    <a:pt x="3864769" y="341471"/>
                  </a:cubicBezTo>
                  <a:cubicBezTo>
                    <a:pt x="3864769" y="341471"/>
                    <a:pt x="3864769" y="341471"/>
                    <a:pt x="3864769" y="341471"/>
                  </a:cubicBezTo>
                  <a:close/>
                  <a:moveTo>
                    <a:pt x="3854291" y="211931"/>
                  </a:moveTo>
                  <a:cubicBezTo>
                    <a:pt x="3854291" y="208121"/>
                    <a:pt x="3855244" y="204311"/>
                    <a:pt x="3856196" y="201454"/>
                  </a:cubicBezTo>
                  <a:cubicBezTo>
                    <a:pt x="3856196" y="206216"/>
                    <a:pt x="3856196" y="212884"/>
                    <a:pt x="3857149" y="220504"/>
                  </a:cubicBezTo>
                  <a:cubicBezTo>
                    <a:pt x="3856196" y="222409"/>
                    <a:pt x="3855244" y="224314"/>
                    <a:pt x="3854291" y="226219"/>
                  </a:cubicBezTo>
                  <a:cubicBezTo>
                    <a:pt x="3853339" y="220504"/>
                    <a:pt x="3854291" y="215741"/>
                    <a:pt x="3854291" y="211931"/>
                  </a:cubicBezTo>
                  <a:close/>
                  <a:moveTo>
                    <a:pt x="3849529" y="262414"/>
                  </a:moveTo>
                  <a:cubicBezTo>
                    <a:pt x="3849529" y="260509"/>
                    <a:pt x="3849529" y="259556"/>
                    <a:pt x="3849529" y="257651"/>
                  </a:cubicBezTo>
                  <a:cubicBezTo>
                    <a:pt x="3849529" y="257651"/>
                    <a:pt x="3849529" y="256699"/>
                    <a:pt x="3850481" y="256699"/>
                  </a:cubicBezTo>
                  <a:cubicBezTo>
                    <a:pt x="3853339" y="263366"/>
                    <a:pt x="3856196" y="270986"/>
                    <a:pt x="3859054" y="278606"/>
                  </a:cubicBezTo>
                  <a:cubicBezTo>
                    <a:pt x="3859054" y="279559"/>
                    <a:pt x="3859054" y="279559"/>
                    <a:pt x="3860006" y="280511"/>
                  </a:cubicBezTo>
                  <a:cubicBezTo>
                    <a:pt x="3860959" y="290989"/>
                    <a:pt x="3861911" y="302419"/>
                    <a:pt x="3862864" y="313849"/>
                  </a:cubicBezTo>
                  <a:cubicBezTo>
                    <a:pt x="3862864" y="313849"/>
                    <a:pt x="3862864" y="313849"/>
                    <a:pt x="3862864" y="313849"/>
                  </a:cubicBezTo>
                  <a:cubicBezTo>
                    <a:pt x="3858101" y="305276"/>
                    <a:pt x="3852386" y="298609"/>
                    <a:pt x="3847624" y="291941"/>
                  </a:cubicBezTo>
                  <a:cubicBezTo>
                    <a:pt x="3848576" y="281464"/>
                    <a:pt x="3848576" y="271939"/>
                    <a:pt x="3849529" y="262414"/>
                  </a:cubicBezTo>
                  <a:close/>
                  <a:moveTo>
                    <a:pt x="3846671" y="308134"/>
                  </a:moveTo>
                  <a:cubicBezTo>
                    <a:pt x="3849529" y="312896"/>
                    <a:pt x="3852386" y="318611"/>
                    <a:pt x="3855244" y="323374"/>
                  </a:cubicBezTo>
                  <a:cubicBezTo>
                    <a:pt x="3855244" y="324326"/>
                    <a:pt x="3856196" y="324326"/>
                    <a:pt x="3856196" y="325279"/>
                  </a:cubicBezTo>
                  <a:cubicBezTo>
                    <a:pt x="3856196" y="326231"/>
                    <a:pt x="3855244" y="326231"/>
                    <a:pt x="3855244" y="327184"/>
                  </a:cubicBezTo>
                  <a:cubicBezTo>
                    <a:pt x="3853339" y="330041"/>
                    <a:pt x="3851434" y="333851"/>
                    <a:pt x="3849529" y="336709"/>
                  </a:cubicBezTo>
                  <a:cubicBezTo>
                    <a:pt x="3848576" y="334804"/>
                    <a:pt x="3846671" y="331946"/>
                    <a:pt x="3845719" y="330041"/>
                  </a:cubicBezTo>
                  <a:cubicBezTo>
                    <a:pt x="3845719" y="323374"/>
                    <a:pt x="3846671" y="315754"/>
                    <a:pt x="3846671" y="308134"/>
                  </a:cubicBezTo>
                  <a:close/>
                  <a:moveTo>
                    <a:pt x="3843814" y="415766"/>
                  </a:moveTo>
                  <a:cubicBezTo>
                    <a:pt x="3844766" y="413861"/>
                    <a:pt x="3845719" y="411956"/>
                    <a:pt x="3846671" y="410051"/>
                  </a:cubicBezTo>
                  <a:cubicBezTo>
                    <a:pt x="3846671" y="411956"/>
                    <a:pt x="3847624" y="414814"/>
                    <a:pt x="3847624" y="416719"/>
                  </a:cubicBezTo>
                  <a:cubicBezTo>
                    <a:pt x="3847624" y="417671"/>
                    <a:pt x="3847624" y="418624"/>
                    <a:pt x="3847624" y="419576"/>
                  </a:cubicBezTo>
                  <a:cubicBezTo>
                    <a:pt x="3847624" y="420529"/>
                    <a:pt x="3846671" y="421481"/>
                    <a:pt x="3846671" y="422434"/>
                  </a:cubicBezTo>
                  <a:cubicBezTo>
                    <a:pt x="3845719" y="423386"/>
                    <a:pt x="3845719" y="425291"/>
                    <a:pt x="3844766" y="426244"/>
                  </a:cubicBezTo>
                  <a:lnTo>
                    <a:pt x="3842861" y="426244"/>
                  </a:lnTo>
                  <a:cubicBezTo>
                    <a:pt x="3843814" y="422434"/>
                    <a:pt x="3843814" y="418624"/>
                    <a:pt x="3843814" y="415766"/>
                  </a:cubicBezTo>
                  <a:close/>
                  <a:moveTo>
                    <a:pt x="3830479" y="297656"/>
                  </a:moveTo>
                  <a:cubicBezTo>
                    <a:pt x="3830479" y="298609"/>
                    <a:pt x="3830479" y="298609"/>
                    <a:pt x="3830479" y="299561"/>
                  </a:cubicBezTo>
                  <a:cubicBezTo>
                    <a:pt x="3830479" y="300514"/>
                    <a:pt x="3830479" y="300514"/>
                    <a:pt x="3830479" y="301466"/>
                  </a:cubicBezTo>
                  <a:cubicBezTo>
                    <a:pt x="3830479" y="303371"/>
                    <a:pt x="3830479" y="305276"/>
                    <a:pt x="3829526" y="307181"/>
                  </a:cubicBezTo>
                  <a:cubicBezTo>
                    <a:pt x="3828574" y="306229"/>
                    <a:pt x="3827621" y="305276"/>
                    <a:pt x="3827621" y="304324"/>
                  </a:cubicBezTo>
                  <a:cubicBezTo>
                    <a:pt x="3828574" y="301466"/>
                    <a:pt x="3829526" y="299561"/>
                    <a:pt x="3830479" y="297656"/>
                  </a:cubicBezTo>
                  <a:close/>
                  <a:moveTo>
                    <a:pt x="3826669" y="305276"/>
                  </a:moveTo>
                  <a:cubicBezTo>
                    <a:pt x="3827621" y="306229"/>
                    <a:pt x="3827621" y="308134"/>
                    <a:pt x="3828574" y="310039"/>
                  </a:cubicBezTo>
                  <a:cubicBezTo>
                    <a:pt x="3828574" y="311944"/>
                    <a:pt x="3828574" y="312896"/>
                    <a:pt x="3827621" y="314801"/>
                  </a:cubicBezTo>
                  <a:cubicBezTo>
                    <a:pt x="3826669" y="312896"/>
                    <a:pt x="3824764" y="310991"/>
                    <a:pt x="3823811" y="309086"/>
                  </a:cubicBezTo>
                  <a:cubicBezTo>
                    <a:pt x="3825716" y="307181"/>
                    <a:pt x="3825716" y="306229"/>
                    <a:pt x="3826669" y="305276"/>
                  </a:cubicBezTo>
                  <a:close/>
                  <a:moveTo>
                    <a:pt x="3820001" y="319564"/>
                  </a:moveTo>
                  <a:cubicBezTo>
                    <a:pt x="3821906" y="323374"/>
                    <a:pt x="3823811" y="328136"/>
                    <a:pt x="3826669" y="332899"/>
                  </a:cubicBezTo>
                  <a:cubicBezTo>
                    <a:pt x="3826669" y="332899"/>
                    <a:pt x="3826669" y="333851"/>
                    <a:pt x="3827621" y="333851"/>
                  </a:cubicBezTo>
                  <a:cubicBezTo>
                    <a:pt x="3827621" y="336709"/>
                    <a:pt x="3826669" y="339566"/>
                    <a:pt x="3826669" y="343376"/>
                  </a:cubicBezTo>
                  <a:cubicBezTo>
                    <a:pt x="3825716" y="354806"/>
                    <a:pt x="3825716" y="366236"/>
                    <a:pt x="3824764" y="377666"/>
                  </a:cubicBezTo>
                  <a:cubicBezTo>
                    <a:pt x="3823811" y="372904"/>
                    <a:pt x="3821906" y="368141"/>
                    <a:pt x="3820954" y="364331"/>
                  </a:cubicBezTo>
                  <a:cubicBezTo>
                    <a:pt x="3820954" y="360521"/>
                    <a:pt x="3820001" y="356711"/>
                    <a:pt x="3820001" y="352901"/>
                  </a:cubicBezTo>
                  <a:cubicBezTo>
                    <a:pt x="3820001" y="347186"/>
                    <a:pt x="3819049" y="341471"/>
                    <a:pt x="3818096" y="336709"/>
                  </a:cubicBezTo>
                  <a:cubicBezTo>
                    <a:pt x="3820001" y="333851"/>
                    <a:pt x="3821906" y="332899"/>
                    <a:pt x="3821906" y="332899"/>
                  </a:cubicBezTo>
                  <a:cubicBezTo>
                    <a:pt x="3821906" y="332899"/>
                    <a:pt x="3820954" y="333851"/>
                    <a:pt x="3818096" y="335756"/>
                  </a:cubicBezTo>
                  <a:cubicBezTo>
                    <a:pt x="3818096" y="332899"/>
                    <a:pt x="3817144" y="329089"/>
                    <a:pt x="3817144" y="326231"/>
                  </a:cubicBezTo>
                  <a:cubicBezTo>
                    <a:pt x="3818096" y="323374"/>
                    <a:pt x="3819049" y="321469"/>
                    <a:pt x="3820001" y="319564"/>
                  </a:cubicBezTo>
                  <a:close/>
                  <a:moveTo>
                    <a:pt x="3788569" y="264319"/>
                  </a:moveTo>
                  <a:cubicBezTo>
                    <a:pt x="3789521" y="266224"/>
                    <a:pt x="3791426" y="268129"/>
                    <a:pt x="3792379" y="270986"/>
                  </a:cubicBezTo>
                  <a:cubicBezTo>
                    <a:pt x="3795236" y="274796"/>
                    <a:pt x="3798094" y="280511"/>
                    <a:pt x="3800951" y="285274"/>
                  </a:cubicBezTo>
                  <a:cubicBezTo>
                    <a:pt x="3800951" y="286226"/>
                    <a:pt x="3800951" y="286226"/>
                    <a:pt x="3800951" y="287179"/>
                  </a:cubicBezTo>
                  <a:cubicBezTo>
                    <a:pt x="3800951" y="290989"/>
                    <a:pt x="3800951" y="294799"/>
                    <a:pt x="3800951" y="298609"/>
                  </a:cubicBezTo>
                  <a:cubicBezTo>
                    <a:pt x="3800951" y="299561"/>
                    <a:pt x="3800951" y="300514"/>
                    <a:pt x="3800951" y="300514"/>
                  </a:cubicBezTo>
                  <a:cubicBezTo>
                    <a:pt x="3799999" y="295751"/>
                    <a:pt x="3798094" y="291941"/>
                    <a:pt x="3797141" y="287179"/>
                  </a:cubicBezTo>
                  <a:cubicBezTo>
                    <a:pt x="3797141" y="286226"/>
                    <a:pt x="3796189" y="285274"/>
                    <a:pt x="3796189" y="285274"/>
                  </a:cubicBezTo>
                  <a:cubicBezTo>
                    <a:pt x="3796189" y="282416"/>
                    <a:pt x="3796189" y="280511"/>
                    <a:pt x="3796189" y="280511"/>
                  </a:cubicBezTo>
                  <a:cubicBezTo>
                    <a:pt x="3796189" y="280511"/>
                    <a:pt x="3796189" y="281464"/>
                    <a:pt x="3795236" y="283369"/>
                  </a:cubicBezTo>
                  <a:cubicBezTo>
                    <a:pt x="3794284" y="279559"/>
                    <a:pt x="3792379" y="275749"/>
                    <a:pt x="3791426" y="271939"/>
                  </a:cubicBezTo>
                  <a:cubicBezTo>
                    <a:pt x="3790474" y="269081"/>
                    <a:pt x="3789521" y="266224"/>
                    <a:pt x="3788569" y="264319"/>
                  </a:cubicBezTo>
                  <a:close/>
                  <a:moveTo>
                    <a:pt x="3748564" y="364331"/>
                  </a:moveTo>
                  <a:cubicBezTo>
                    <a:pt x="3748564" y="359569"/>
                    <a:pt x="3748564" y="355759"/>
                    <a:pt x="3748564" y="351949"/>
                  </a:cubicBezTo>
                  <a:cubicBezTo>
                    <a:pt x="3749516" y="353854"/>
                    <a:pt x="3749516" y="355759"/>
                    <a:pt x="3750469" y="358616"/>
                  </a:cubicBezTo>
                  <a:cubicBezTo>
                    <a:pt x="3749516" y="359569"/>
                    <a:pt x="3749516" y="361474"/>
                    <a:pt x="3748564" y="364331"/>
                  </a:cubicBezTo>
                  <a:close/>
                  <a:moveTo>
                    <a:pt x="3762851" y="399574"/>
                  </a:moveTo>
                  <a:cubicBezTo>
                    <a:pt x="3761899" y="401479"/>
                    <a:pt x="3760946" y="403384"/>
                    <a:pt x="3759994" y="405289"/>
                  </a:cubicBezTo>
                  <a:cubicBezTo>
                    <a:pt x="3759994" y="400526"/>
                    <a:pt x="3760946" y="395764"/>
                    <a:pt x="3760946" y="391954"/>
                  </a:cubicBezTo>
                  <a:cubicBezTo>
                    <a:pt x="3760946" y="391954"/>
                    <a:pt x="3760946" y="391001"/>
                    <a:pt x="3760946" y="391001"/>
                  </a:cubicBezTo>
                  <a:cubicBezTo>
                    <a:pt x="3761899" y="392906"/>
                    <a:pt x="3761899" y="394811"/>
                    <a:pt x="3762851" y="396716"/>
                  </a:cubicBezTo>
                  <a:cubicBezTo>
                    <a:pt x="3763804" y="397669"/>
                    <a:pt x="3762851" y="398621"/>
                    <a:pt x="3762851" y="399574"/>
                  </a:cubicBezTo>
                  <a:close/>
                  <a:moveTo>
                    <a:pt x="3770471" y="290036"/>
                  </a:moveTo>
                  <a:cubicBezTo>
                    <a:pt x="3772376" y="296704"/>
                    <a:pt x="3773329" y="302419"/>
                    <a:pt x="3775234" y="309086"/>
                  </a:cubicBezTo>
                  <a:cubicBezTo>
                    <a:pt x="3774281" y="306229"/>
                    <a:pt x="3773329" y="304324"/>
                    <a:pt x="3771424" y="301466"/>
                  </a:cubicBezTo>
                  <a:cubicBezTo>
                    <a:pt x="3771424" y="300514"/>
                    <a:pt x="3770471" y="300514"/>
                    <a:pt x="3770471" y="299561"/>
                  </a:cubicBezTo>
                  <a:cubicBezTo>
                    <a:pt x="3770471" y="296704"/>
                    <a:pt x="3770471" y="293846"/>
                    <a:pt x="3770471" y="290989"/>
                  </a:cubicBezTo>
                  <a:cubicBezTo>
                    <a:pt x="3770471" y="290989"/>
                    <a:pt x="3770471" y="290036"/>
                    <a:pt x="3770471" y="290036"/>
                  </a:cubicBezTo>
                  <a:close/>
                  <a:moveTo>
                    <a:pt x="3769519" y="370046"/>
                  </a:moveTo>
                  <a:cubicBezTo>
                    <a:pt x="3769519" y="370999"/>
                    <a:pt x="3769519" y="371951"/>
                    <a:pt x="3770471" y="372904"/>
                  </a:cubicBezTo>
                  <a:cubicBezTo>
                    <a:pt x="3769519" y="370999"/>
                    <a:pt x="3768566" y="369094"/>
                    <a:pt x="3767614" y="366236"/>
                  </a:cubicBezTo>
                  <a:cubicBezTo>
                    <a:pt x="3767614" y="362426"/>
                    <a:pt x="3767614" y="359569"/>
                    <a:pt x="3767614" y="359569"/>
                  </a:cubicBezTo>
                  <a:cubicBezTo>
                    <a:pt x="3767614" y="359569"/>
                    <a:pt x="3767614" y="361474"/>
                    <a:pt x="3766661" y="364331"/>
                  </a:cubicBezTo>
                  <a:cubicBezTo>
                    <a:pt x="3765709" y="363379"/>
                    <a:pt x="3765709" y="361474"/>
                    <a:pt x="3764756" y="360521"/>
                  </a:cubicBezTo>
                  <a:cubicBezTo>
                    <a:pt x="3764756" y="359569"/>
                    <a:pt x="3764756" y="358616"/>
                    <a:pt x="3764756" y="357664"/>
                  </a:cubicBezTo>
                  <a:cubicBezTo>
                    <a:pt x="3764756" y="355759"/>
                    <a:pt x="3765709" y="353854"/>
                    <a:pt x="3765709" y="351949"/>
                  </a:cubicBezTo>
                  <a:cubicBezTo>
                    <a:pt x="3767614" y="358616"/>
                    <a:pt x="3768566" y="364331"/>
                    <a:pt x="3769519" y="370046"/>
                  </a:cubicBezTo>
                  <a:close/>
                  <a:moveTo>
                    <a:pt x="3753326" y="250031"/>
                  </a:moveTo>
                  <a:cubicBezTo>
                    <a:pt x="3754279" y="245269"/>
                    <a:pt x="3754279" y="241459"/>
                    <a:pt x="3755231" y="236696"/>
                  </a:cubicBezTo>
                  <a:cubicBezTo>
                    <a:pt x="3755231" y="235744"/>
                    <a:pt x="3755231" y="233839"/>
                    <a:pt x="3756184" y="232886"/>
                  </a:cubicBezTo>
                  <a:cubicBezTo>
                    <a:pt x="3757136" y="231934"/>
                    <a:pt x="3757136" y="230981"/>
                    <a:pt x="3758089" y="230029"/>
                  </a:cubicBezTo>
                  <a:cubicBezTo>
                    <a:pt x="3759041" y="232886"/>
                    <a:pt x="3759041" y="234791"/>
                    <a:pt x="3759994" y="237649"/>
                  </a:cubicBezTo>
                  <a:cubicBezTo>
                    <a:pt x="3762851" y="250984"/>
                    <a:pt x="3766661" y="266224"/>
                    <a:pt x="3769519" y="281464"/>
                  </a:cubicBezTo>
                  <a:cubicBezTo>
                    <a:pt x="3768566" y="284321"/>
                    <a:pt x="3768566" y="287179"/>
                    <a:pt x="3767614" y="290036"/>
                  </a:cubicBezTo>
                  <a:cubicBezTo>
                    <a:pt x="3767614" y="290036"/>
                    <a:pt x="3767614" y="290036"/>
                    <a:pt x="3767614" y="290989"/>
                  </a:cubicBezTo>
                  <a:cubicBezTo>
                    <a:pt x="3762851" y="280511"/>
                    <a:pt x="3757136" y="270986"/>
                    <a:pt x="3752374" y="261461"/>
                  </a:cubicBezTo>
                  <a:cubicBezTo>
                    <a:pt x="3752374" y="258604"/>
                    <a:pt x="3752374" y="253841"/>
                    <a:pt x="3753326" y="250031"/>
                  </a:cubicBezTo>
                  <a:close/>
                  <a:moveTo>
                    <a:pt x="3748564" y="296704"/>
                  </a:moveTo>
                  <a:cubicBezTo>
                    <a:pt x="3748564" y="296704"/>
                    <a:pt x="3748564" y="296704"/>
                    <a:pt x="3748564" y="296704"/>
                  </a:cubicBezTo>
                  <a:cubicBezTo>
                    <a:pt x="3751421" y="301466"/>
                    <a:pt x="3753326" y="307181"/>
                    <a:pt x="3756184" y="313849"/>
                  </a:cubicBezTo>
                  <a:cubicBezTo>
                    <a:pt x="3756184" y="314801"/>
                    <a:pt x="3757136" y="315754"/>
                    <a:pt x="3757136" y="316706"/>
                  </a:cubicBezTo>
                  <a:cubicBezTo>
                    <a:pt x="3758089" y="318611"/>
                    <a:pt x="3758089" y="321469"/>
                    <a:pt x="3759041" y="323374"/>
                  </a:cubicBezTo>
                  <a:cubicBezTo>
                    <a:pt x="3758089" y="325279"/>
                    <a:pt x="3758089" y="328136"/>
                    <a:pt x="3757136" y="330041"/>
                  </a:cubicBezTo>
                  <a:cubicBezTo>
                    <a:pt x="3756184" y="333851"/>
                    <a:pt x="3755231" y="337661"/>
                    <a:pt x="3754279" y="341471"/>
                  </a:cubicBezTo>
                  <a:cubicBezTo>
                    <a:pt x="3753326" y="339566"/>
                    <a:pt x="3751421" y="337661"/>
                    <a:pt x="3750469" y="335756"/>
                  </a:cubicBezTo>
                  <a:cubicBezTo>
                    <a:pt x="3749516" y="333851"/>
                    <a:pt x="3748564" y="332899"/>
                    <a:pt x="3747611" y="331946"/>
                  </a:cubicBezTo>
                  <a:cubicBezTo>
                    <a:pt x="3748564" y="320516"/>
                    <a:pt x="3748564" y="308134"/>
                    <a:pt x="3748564" y="296704"/>
                  </a:cubicBezTo>
                  <a:close/>
                  <a:moveTo>
                    <a:pt x="3738086" y="273844"/>
                  </a:moveTo>
                  <a:cubicBezTo>
                    <a:pt x="3738086" y="273844"/>
                    <a:pt x="3738086" y="273844"/>
                    <a:pt x="3738086" y="273844"/>
                  </a:cubicBezTo>
                  <a:cubicBezTo>
                    <a:pt x="3738086" y="274796"/>
                    <a:pt x="3738086" y="274796"/>
                    <a:pt x="3738086" y="274796"/>
                  </a:cubicBezTo>
                  <a:cubicBezTo>
                    <a:pt x="3738086" y="273844"/>
                    <a:pt x="3738086" y="273844"/>
                    <a:pt x="3738086" y="273844"/>
                  </a:cubicBezTo>
                  <a:close/>
                  <a:moveTo>
                    <a:pt x="3689509" y="326231"/>
                  </a:moveTo>
                  <a:cubicBezTo>
                    <a:pt x="3688556" y="328136"/>
                    <a:pt x="3687604" y="330041"/>
                    <a:pt x="3686651" y="331946"/>
                  </a:cubicBezTo>
                  <a:cubicBezTo>
                    <a:pt x="3686651" y="331946"/>
                    <a:pt x="3686651" y="330994"/>
                    <a:pt x="3685699" y="330994"/>
                  </a:cubicBezTo>
                  <a:cubicBezTo>
                    <a:pt x="3685699" y="328136"/>
                    <a:pt x="3685699" y="325279"/>
                    <a:pt x="3685699" y="322421"/>
                  </a:cubicBezTo>
                  <a:cubicBezTo>
                    <a:pt x="3685699" y="319564"/>
                    <a:pt x="3685699" y="316706"/>
                    <a:pt x="3685699" y="313849"/>
                  </a:cubicBezTo>
                  <a:cubicBezTo>
                    <a:pt x="3686651" y="316706"/>
                    <a:pt x="3688556" y="320516"/>
                    <a:pt x="3689509" y="325279"/>
                  </a:cubicBezTo>
                  <a:cubicBezTo>
                    <a:pt x="3689509" y="326231"/>
                    <a:pt x="3689509" y="326231"/>
                    <a:pt x="3689509" y="326231"/>
                  </a:cubicBezTo>
                  <a:close/>
                  <a:moveTo>
                    <a:pt x="3716179" y="211931"/>
                  </a:moveTo>
                  <a:cubicBezTo>
                    <a:pt x="3718084" y="214789"/>
                    <a:pt x="3719036" y="218599"/>
                    <a:pt x="3720941" y="221456"/>
                  </a:cubicBezTo>
                  <a:cubicBezTo>
                    <a:pt x="3719989" y="224314"/>
                    <a:pt x="3719989" y="227171"/>
                    <a:pt x="3719036" y="230029"/>
                  </a:cubicBezTo>
                  <a:cubicBezTo>
                    <a:pt x="3719036" y="230981"/>
                    <a:pt x="3719036" y="232886"/>
                    <a:pt x="3718084" y="233839"/>
                  </a:cubicBezTo>
                  <a:cubicBezTo>
                    <a:pt x="3715226" y="230029"/>
                    <a:pt x="3713321" y="228124"/>
                    <a:pt x="3713321" y="228124"/>
                  </a:cubicBezTo>
                  <a:cubicBezTo>
                    <a:pt x="3713321" y="228124"/>
                    <a:pt x="3715226" y="230981"/>
                    <a:pt x="3717131" y="235744"/>
                  </a:cubicBezTo>
                  <a:cubicBezTo>
                    <a:pt x="3716179" y="241459"/>
                    <a:pt x="3715226" y="247174"/>
                    <a:pt x="3714274" y="253841"/>
                  </a:cubicBezTo>
                  <a:cubicBezTo>
                    <a:pt x="3714274" y="252889"/>
                    <a:pt x="3714274" y="251936"/>
                    <a:pt x="3714274" y="250984"/>
                  </a:cubicBezTo>
                  <a:cubicBezTo>
                    <a:pt x="3714274" y="246221"/>
                    <a:pt x="3713321" y="242411"/>
                    <a:pt x="3713321" y="238601"/>
                  </a:cubicBezTo>
                  <a:cubicBezTo>
                    <a:pt x="3713321" y="234791"/>
                    <a:pt x="3713321" y="230981"/>
                    <a:pt x="3713321" y="227171"/>
                  </a:cubicBezTo>
                  <a:cubicBezTo>
                    <a:pt x="3713321" y="219551"/>
                    <a:pt x="3712369" y="213836"/>
                    <a:pt x="3712369" y="208121"/>
                  </a:cubicBezTo>
                  <a:cubicBezTo>
                    <a:pt x="3712369" y="207169"/>
                    <a:pt x="3712369" y="206216"/>
                    <a:pt x="3712369" y="205264"/>
                  </a:cubicBezTo>
                  <a:cubicBezTo>
                    <a:pt x="3713321" y="207169"/>
                    <a:pt x="3714274" y="209074"/>
                    <a:pt x="3716179" y="211931"/>
                  </a:cubicBezTo>
                  <a:close/>
                  <a:moveTo>
                    <a:pt x="3679984" y="236696"/>
                  </a:moveTo>
                  <a:cubicBezTo>
                    <a:pt x="3681889" y="222409"/>
                    <a:pt x="3683794" y="209074"/>
                    <a:pt x="3684746" y="196691"/>
                  </a:cubicBezTo>
                  <a:cubicBezTo>
                    <a:pt x="3685699" y="185261"/>
                    <a:pt x="3687604" y="174784"/>
                    <a:pt x="3687604" y="166211"/>
                  </a:cubicBezTo>
                  <a:cubicBezTo>
                    <a:pt x="3687604" y="161449"/>
                    <a:pt x="3688556" y="157639"/>
                    <a:pt x="3688556" y="154781"/>
                  </a:cubicBezTo>
                  <a:cubicBezTo>
                    <a:pt x="3690461" y="159544"/>
                    <a:pt x="3694271" y="168116"/>
                    <a:pt x="3699034" y="178594"/>
                  </a:cubicBezTo>
                  <a:cubicBezTo>
                    <a:pt x="3701891" y="184309"/>
                    <a:pt x="3704749" y="191929"/>
                    <a:pt x="3708559" y="199549"/>
                  </a:cubicBezTo>
                  <a:cubicBezTo>
                    <a:pt x="3708559" y="201454"/>
                    <a:pt x="3707606" y="204311"/>
                    <a:pt x="3707606" y="207169"/>
                  </a:cubicBezTo>
                  <a:cubicBezTo>
                    <a:pt x="3706654" y="211931"/>
                    <a:pt x="3705701" y="218599"/>
                    <a:pt x="3704749" y="226219"/>
                  </a:cubicBezTo>
                  <a:cubicBezTo>
                    <a:pt x="3703796" y="230029"/>
                    <a:pt x="3703796" y="233839"/>
                    <a:pt x="3702844" y="237649"/>
                  </a:cubicBezTo>
                  <a:cubicBezTo>
                    <a:pt x="3702844" y="241459"/>
                    <a:pt x="3701891" y="246221"/>
                    <a:pt x="3701891" y="250984"/>
                  </a:cubicBezTo>
                  <a:cubicBezTo>
                    <a:pt x="3700939" y="259556"/>
                    <a:pt x="3700939" y="270034"/>
                    <a:pt x="3700939" y="280511"/>
                  </a:cubicBezTo>
                  <a:cubicBezTo>
                    <a:pt x="3700939" y="287179"/>
                    <a:pt x="3700939" y="293846"/>
                    <a:pt x="3700939" y="300514"/>
                  </a:cubicBezTo>
                  <a:cubicBezTo>
                    <a:pt x="3699034" y="293846"/>
                    <a:pt x="3697129" y="290036"/>
                    <a:pt x="3697129" y="290036"/>
                  </a:cubicBezTo>
                  <a:cubicBezTo>
                    <a:pt x="3697129" y="290036"/>
                    <a:pt x="3698081" y="296704"/>
                    <a:pt x="3699034" y="308134"/>
                  </a:cubicBezTo>
                  <a:cubicBezTo>
                    <a:pt x="3696176" y="312896"/>
                    <a:pt x="3693319" y="317659"/>
                    <a:pt x="3690461" y="322421"/>
                  </a:cubicBezTo>
                  <a:cubicBezTo>
                    <a:pt x="3687604" y="317659"/>
                    <a:pt x="3685699" y="313849"/>
                    <a:pt x="3683794" y="310991"/>
                  </a:cubicBezTo>
                  <a:cubicBezTo>
                    <a:pt x="3683794" y="305276"/>
                    <a:pt x="3683794" y="302419"/>
                    <a:pt x="3683794" y="302419"/>
                  </a:cubicBezTo>
                  <a:cubicBezTo>
                    <a:pt x="3683794" y="302419"/>
                    <a:pt x="3683794" y="304324"/>
                    <a:pt x="3682841" y="308134"/>
                  </a:cubicBezTo>
                  <a:cubicBezTo>
                    <a:pt x="3680936" y="304324"/>
                    <a:pt x="3679031" y="302419"/>
                    <a:pt x="3679031" y="302419"/>
                  </a:cubicBezTo>
                  <a:cubicBezTo>
                    <a:pt x="3679031" y="302419"/>
                    <a:pt x="3679984" y="305276"/>
                    <a:pt x="3681889" y="310991"/>
                  </a:cubicBezTo>
                  <a:cubicBezTo>
                    <a:pt x="3680936" y="313849"/>
                    <a:pt x="3680936" y="318611"/>
                    <a:pt x="3679984" y="323374"/>
                  </a:cubicBezTo>
                  <a:cubicBezTo>
                    <a:pt x="3677126" y="317659"/>
                    <a:pt x="3675221" y="311944"/>
                    <a:pt x="3672364" y="307181"/>
                  </a:cubicBezTo>
                  <a:cubicBezTo>
                    <a:pt x="3674269" y="300514"/>
                    <a:pt x="3676174" y="294799"/>
                    <a:pt x="3677126" y="289084"/>
                  </a:cubicBezTo>
                  <a:cubicBezTo>
                    <a:pt x="3679031" y="283369"/>
                    <a:pt x="3680936" y="277654"/>
                    <a:pt x="3681889" y="272891"/>
                  </a:cubicBezTo>
                  <a:cubicBezTo>
                    <a:pt x="3683794" y="268129"/>
                    <a:pt x="3685699" y="264319"/>
                    <a:pt x="3686651" y="260509"/>
                  </a:cubicBezTo>
                  <a:cubicBezTo>
                    <a:pt x="3690461" y="253841"/>
                    <a:pt x="3692366" y="250031"/>
                    <a:pt x="3692366" y="250031"/>
                  </a:cubicBezTo>
                  <a:cubicBezTo>
                    <a:pt x="3692366" y="250031"/>
                    <a:pt x="3689509" y="252889"/>
                    <a:pt x="3683794" y="258604"/>
                  </a:cubicBezTo>
                  <a:cubicBezTo>
                    <a:pt x="3680936" y="261461"/>
                    <a:pt x="3678079" y="265271"/>
                    <a:pt x="3675221" y="270034"/>
                  </a:cubicBezTo>
                  <a:cubicBezTo>
                    <a:pt x="3674269" y="271939"/>
                    <a:pt x="3673316" y="273844"/>
                    <a:pt x="3671411" y="275749"/>
                  </a:cubicBezTo>
                  <a:cubicBezTo>
                    <a:pt x="3677126" y="261461"/>
                    <a:pt x="3679031" y="248126"/>
                    <a:pt x="3679984" y="236696"/>
                  </a:cubicBezTo>
                  <a:close/>
                  <a:moveTo>
                    <a:pt x="3678079" y="342424"/>
                  </a:moveTo>
                  <a:cubicBezTo>
                    <a:pt x="3678079" y="344329"/>
                    <a:pt x="3677126" y="346234"/>
                    <a:pt x="3677126" y="349091"/>
                  </a:cubicBezTo>
                  <a:cubicBezTo>
                    <a:pt x="3677126" y="347186"/>
                    <a:pt x="3676174" y="345281"/>
                    <a:pt x="3676174" y="343376"/>
                  </a:cubicBezTo>
                  <a:cubicBezTo>
                    <a:pt x="3675221" y="340519"/>
                    <a:pt x="3675221" y="337661"/>
                    <a:pt x="3674269" y="335756"/>
                  </a:cubicBezTo>
                  <a:cubicBezTo>
                    <a:pt x="3675221" y="337661"/>
                    <a:pt x="3676174" y="340519"/>
                    <a:pt x="3678079" y="342424"/>
                  </a:cubicBezTo>
                  <a:close/>
                  <a:moveTo>
                    <a:pt x="3664744" y="355759"/>
                  </a:moveTo>
                  <a:cubicBezTo>
                    <a:pt x="3664744" y="357664"/>
                    <a:pt x="3664744" y="360521"/>
                    <a:pt x="3664744" y="362426"/>
                  </a:cubicBezTo>
                  <a:cubicBezTo>
                    <a:pt x="3664744" y="365284"/>
                    <a:pt x="3663791" y="368141"/>
                    <a:pt x="3663791" y="371951"/>
                  </a:cubicBezTo>
                  <a:cubicBezTo>
                    <a:pt x="3663791" y="371951"/>
                    <a:pt x="3663791" y="371951"/>
                    <a:pt x="3663791" y="371951"/>
                  </a:cubicBezTo>
                  <a:cubicBezTo>
                    <a:pt x="3663791" y="370046"/>
                    <a:pt x="3662839" y="368141"/>
                    <a:pt x="3662839" y="367189"/>
                  </a:cubicBezTo>
                  <a:cubicBezTo>
                    <a:pt x="3662839" y="367189"/>
                    <a:pt x="3662839" y="367189"/>
                    <a:pt x="3662839" y="366236"/>
                  </a:cubicBezTo>
                  <a:cubicBezTo>
                    <a:pt x="3663791" y="363379"/>
                    <a:pt x="3664744" y="359569"/>
                    <a:pt x="3664744" y="355759"/>
                  </a:cubicBezTo>
                  <a:close/>
                  <a:moveTo>
                    <a:pt x="3603784" y="369094"/>
                  </a:moveTo>
                  <a:cubicBezTo>
                    <a:pt x="3603784" y="367189"/>
                    <a:pt x="3602831" y="365284"/>
                    <a:pt x="3602831" y="363379"/>
                  </a:cubicBezTo>
                  <a:cubicBezTo>
                    <a:pt x="3603784" y="359569"/>
                    <a:pt x="3604736" y="355759"/>
                    <a:pt x="3605689" y="352901"/>
                  </a:cubicBezTo>
                  <a:cubicBezTo>
                    <a:pt x="3605689" y="351949"/>
                    <a:pt x="3606641" y="350996"/>
                    <a:pt x="3606641" y="350044"/>
                  </a:cubicBezTo>
                  <a:cubicBezTo>
                    <a:pt x="3606641" y="350996"/>
                    <a:pt x="3607594" y="351949"/>
                    <a:pt x="3607594" y="352901"/>
                  </a:cubicBezTo>
                  <a:lnTo>
                    <a:pt x="3607594" y="353854"/>
                  </a:lnTo>
                  <a:cubicBezTo>
                    <a:pt x="3605689" y="358616"/>
                    <a:pt x="3604736" y="364331"/>
                    <a:pt x="3603784" y="369094"/>
                  </a:cubicBezTo>
                  <a:close/>
                  <a:moveTo>
                    <a:pt x="3612356" y="329089"/>
                  </a:moveTo>
                  <a:cubicBezTo>
                    <a:pt x="3612356" y="329089"/>
                    <a:pt x="3611404" y="328136"/>
                    <a:pt x="3611404" y="327184"/>
                  </a:cubicBezTo>
                  <a:cubicBezTo>
                    <a:pt x="3611404" y="325279"/>
                    <a:pt x="3611404" y="323374"/>
                    <a:pt x="3610451" y="321469"/>
                  </a:cubicBezTo>
                  <a:cubicBezTo>
                    <a:pt x="3611404" y="322421"/>
                    <a:pt x="3612356" y="323374"/>
                    <a:pt x="3613309" y="324326"/>
                  </a:cubicBezTo>
                  <a:cubicBezTo>
                    <a:pt x="3613309" y="326231"/>
                    <a:pt x="3612356" y="327184"/>
                    <a:pt x="3612356" y="329089"/>
                  </a:cubicBezTo>
                  <a:close/>
                  <a:moveTo>
                    <a:pt x="3633311" y="366236"/>
                  </a:moveTo>
                  <a:cubicBezTo>
                    <a:pt x="3632359" y="363379"/>
                    <a:pt x="3630454" y="361474"/>
                    <a:pt x="3629501" y="358616"/>
                  </a:cubicBezTo>
                  <a:cubicBezTo>
                    <a:pt x="3629501" y="357664"/>
                    <a:pt x="3629501" y="355759"/>
                    <a:pt x="3629501" y="354806"/>
                  </a:cubicBezTo>
                  <a:cubicBezTo>
                    <a:pt x="3631406" y="357664"/>
                    <a:pt x="3632359" y="361474"/>
                    <a:pt x="3633311" y="366236"/>
                  </a:cubicBezTo>
                  <a:cubicBezTo>
                    <a:pt x="3633311" y="366236"/>
                    <a:pt x="3634264" y="366236"/>
                    <a:pt x="3633311" y="366236"/>
                  </a:cubicBezTo>
                  <a:cubicBezTo>
                    <a:pt x="3634264" y="366236"/>
                    <a:pt x="3633311" y="366236"/>
                    <a:pt x="3633311" y="366236"/>
                  </a:cubicBezTo>
                  <a:close/>
                  <a:moveTo>
                    <a:pt x="3632359" y="331946"/>
                  </a:moveTo>
                  <a:cubicBezTo>
                    <a:pt x="3633311" y="336709"/>
                    <a:pt x="3634264" y="342424"/>
                    <a:pt x="3635216" y="348139"/>
                  </a:cubicBezTo>
                  <a:cubicBezTo>
                    <a:pt x="3634264" y="346234"/>
                    <a:pt x="3632359" y="343376"/>
                    <a:pt x="3631406" y="341471"/>
                  </a:cubicBezTo>
                  <a:cubicBezTo>
                    <a:pt x="3631406" y="337661"/>
                    <a:pt x="3631406" y="334804"/>
                    <a:pt x="3632359" y="331946"/>
                  </a:cubicBezTo>
                  <a:close/>
                  <a:moveTo>
                    <a:pt x="3618071" y="270034"/>
                  </a:moveTo>
                  <a:cubicBezTo>
                    <a:pt x="3621881" y="261461"/>
                    <a:pt x="3624739" y="252889"/>
                    <a:pt x="3628549" y="246221"/>
                  </a:cubicBezTo>
                  <a:cubicBezTo>
                    <a:pt x="3629501" y="244316"/>
                    <a:pt x="3629501" y="243364"/>
                    <a:pt x="3630454" y="242411"/>
                  </a:cubicBezTo>
                  <a:cubicBezTo>
                    <a:pt x="3629501" y="249079"/>
                    <a:pt x="3627596" y="256699"/>
                    <a:pt x="3625691" y="265271"/>
                  </a:cubicBezTo>
                  <a:cubicBezTo>
                    <a:pt x="3623786" y="267176"/>
                    <a:pt x="3620929" y="269081"/>
                    <a:pt x="3618071" y="271939"/>
                  </a:cubicBezTo>
                  <a:cubicBezTo>
                    <a:pt x="3618071" y="270986"/>
                    <a:pt x="3618071" y="270034"/>
                    <a:pt x="3618071" y="270034"/>
                  </a:cubicBezTo>
                  <a:close/>
                  <a:moveTo>
                    <a:pt x="3601879" y="310039"/>
                  </a:moveTo>
                  <a:cubicBezTo>
                    <a:pt x="3603784" y="306229"/>
                    <a:pt x="3604736" y="302419"/>
                    <a:pt x="3606641" y="298609"/>
                  </a:cubicBezTo>
                  <a:cubicBezTo>
                    <a:pt x="3609499" y="291941"/>
                    <a:pt x="3612356" y="285274"/>
                    <a:pt x="3615214" y="278606"/>
                  </a:cubicBezTo>
                  <a:cubicBezTo>
                    <a:pt x="3617119" y="276701"/>
                    <a:pt x="3619024" y="273844"/>
                    <a:pt x="3619976" y="271939"/>
                  </a:cubicBezTo>
                  <a:cubicBezTo>
                    <a:pt x="3621881" y="270034"/>
                    <a:pt x="3623786" y="268129"/>
                    <a:pt x="3625691" y="266224"/>
                  </a:cubicBezTo>
                  <a:cubicBezTo>
                    <a:pt x="3625691" y="268129"/>
                    <a:pt x="3624739" y="269081"/>
                    <a:pt x="3624739" y="270986"/>
                  </a:cubicBezTo>
                  <a:cubicBezTo>
                    <a:pt x="3621881" y="282416"/>
                    <a:pt x="3619976" y="295751"/>
                    <a:pt x="3617119" y="309086"/>
                  </a:cubicBezTo>
                  <a:cubicBezTo>
                    <a:pt x="3616166" y="312896"/>
                    <a:pt x="3615214" y="317659"/>
                    <a:pt x="3614261" y="322421"/>
                  </a:cubicBezTo>
                  <a:cubicBezTo>
                    <a:pt x="3613309" y="321469"/>
                    <a:pt x="3612356" y="320516"/>
                    <a:pt x="3611404" y="320516"/>
                  </a:cubicBezTo>
                  <a:cubicBezTo>
                    <a:pt x="3610451" y="312896"/>
                    <a:pt x="3610451" y="306229"/>
                    <a:pt x="3609499" y="298609"/>
                  </a:cubicBezTo>
                  <a:cubicBezTo>
                    <a:pt x="3609499" y="305276"/>
                    <a:pt x="3608546" y="311944"/>
                    <a:pt x="3608546" y="318611"/>
                  </a:cubicBezTo>
                  <a:cubicBezTo>
                    <a:pt x="3607594" y="318611"/>
                    <a:pt x="3606641" y="317659"/>
                    <a:pt x="3606641" y="317659"/>
                  </a:cubicBezTo>
                  <a:cubicBezTo>
                    <a:pt x="3607594" y="318611"/>
                    <a:pt x="3608546" y="318611"/>
                    <a:pt x="3608546" y="319564"/>
                  </a:cubicBezTo>
                  <a:cubicBezTo>
                    <a:pt x="3608546" y="320516"/>
                    <a:pt x="3608546" y="321469"/>
                    <a:pt x="3608546" y="322421"/>
                  </a:cubicBezTo>
                  <a:cubicBezTo>
                    <a:pt x="3606641" y="318611"/>
                    <a:pt x="3604736" y="315754"/>
                    <a:pt x="3602831" y="312896"/>
                  </a:cubicBezTo>
                  <a:cubicBezTo>
                    <a:pt x="3601879" y="310991"/>
                    <a:pt x="3601879" y="310039"/>
                    <a:pt x="3601879" y="310039"/>
                  </a:cubicBezTo>
                  <a:close/>
                  <a:moveTo>
                    <a:pt x="3600926" y="335756"/>
                  </a:moveTo>
                  <a:cubicBezTo>
                    <a:pt x="3601879" y="339566"/>
                    <a:pt x="3603784" y="342424"/>
                    <a:pt x="3604736" y="346234"/>
                  </a:cubicBezTo>
                  <a:cubicBezTo>
                    <a:pt x="3603784" y="348139"/>
                    <a:pt x="3602831" y="350044"/>
                    <a:pt x="3601879" y="351949"/>
                  </a:cubicBezTo>
                  <a:cubicBezTo>
                    <a:pt x="3601879" y="351949"/>
                    <a:pt x="3601879" y="352901"/>
                    <a:pt x="3600926" y="352901"/>
                  </a:cubicBezTo>
                  <a:cubicBezTo>
                    <a:pt x="3600926" y="350044"/>
                    <a:pt x="3599974" y="348139"/>
                    <a:pt x="3599974" y="345281"/>
                  </a:cubicBezTo>
                  <a:cubicBezTo>
                    <a:pt x="3599974" y="342424"/>
                    <a:pt x="3600926" y="338614"/>
                    <a:pt x="3600926" y="335756"/>
                  </a:cubicBezTo>
                  <a:close/>
                  <a:moveTo>
                    <a:pt x="3556159" y="342424"/>
                  </a:moveTo>
                  <a:cubicBezTo>
                    <a:pt x="3556159" y="335756"/>
                    <a:pt x="3557111" y="330041"/>
                    <a:pt x="3557111" y="324326"/>
                  </a:cubicBezTo>
                  <a:cubicBezTo>
                    <a:pt x="3557111" y="325279"/>
                    <a:pt x="3558064" y="327184"/>
                    <a:pt x="3558064" y="328136"/>
                  </a:cubicBezTo>
                  <a:cubicBezTo>
                    <a:pt x="3558064" y="330041"/>
                    <a:pt x="3559016" y="331946"/>
                    <a:pt x="3559016" y="333851"/>
                  </a:cubicBezTo>
                  <a:cubicBezTo>
                    <a:pt x="3559016" y="333851"/>
                    <a:pt x="3559016" y="334804"/>
                    <a:pt x="3559016" y="334804"/>
                  </a:cubicBezTo>
                  <a:cubicBezTo>
                    <a:pt x="3558064" y="337661"/>
                    <a:pt x="3557111" y="339566"/>
                    <a:pt x="3556159" y="342424"/>
                  </a:cubicBezTo>
                  <a:close/>
                  <a:moveTo>
                    <a:pt x="3559969" y="279559"/>
                  </a:moveTo>
                  <a:cubicBezTo>
                    <a:pt x="3559016" y="277654"/>
                    <a:pt x="3559016" y="276701"/>
                    <a:pt x="3559016" y="274796"/>
                  </a:cubicBezTo>
                  <a:cubicBezTo>
                    <a:pt x="3559969" y="275749"/>
                    <a:pt x="3560921" y="275749"/>
                    <a:pt x="3561874" y="276701"/>
                  </a:cubicBezTo>
                  <a:cubicBezTo>
                    <a:pt x="3563779" y="277654"/>
                    <a:pt x="3564731" y="278606"/>
                    <a:pt x="3566636" y="280511"/>
                  </a:cubicBezTo>
                  <a:cubicBezTo>
                    <a:pt x="3565684" y="282416"/>
                    <a:pt x="3563779" y="284321"/>
                    <a:pt x="3562826" y="287179"/>
                  </a:cubicBezTo>
                  <a:cubicBezTo>
                    <a:pt x="3561874" y="285274"/>
                    <a:pt x="3560921" y="282416"/>
                    <a:pt x="3559969" y="279559"/>
                  </a:cubicBezTo>
                  <a:close/>
                  <a:moveTo>
                    <a:pt x="3571399" y="287179"/>
                  </a:moveTo>
                  <a:cubicBezTo>
                    <a:pt x="3571399" y="294799"/>
                    <a:pt x="3571399" y="303371"/>
                    <a:pt x="3571399" y="311944"/>
                  </a:cubicBezTo>
                  <a:cubicBezTo>
                    <a:pt x="3570446" y="312896"/>
                    <a:pt x="3570446" y="313849"/>
                    <a:pt x="3569494" y="314801"/>
                  </a:cubicBezTo>
                  <a:cubicBezTo>
                    <a:pt x="3567589" y="307181"/>
                    <a:pt x="3565684" y="299561"/>
                    <a:pt x="3562826" y="292894"/>
                  </a:cubicBezTo>
                  <a:cubicBezTo>
                    <a:pt x="3563779" y="289084"/>
                    <a:pt x="3565684" y="285274"/>
                    <a:pt x="3566636" y="282416"/>
                  </a:cubicBezTo>
                  <a:cubicBezTo>
                    <a:pt x="3568541" y="283369"/>
                    <a:pt x="3570446" y="284321"/>
                    <a:pt x="3571399" y="287179"/>
                  </a:cubicBezTo>
                  <a:cubicBezTo>
                    <a:pt x="3571399" y="286226"/>
                    <a:pt x="3571399" y="286226"/>
                    <a:pt x="3571399" y="287179"/>
                  </a:cubicBezTo>
                  <a:close/>
                  <a:moveTo>
                    <a:pt x="3571399" y="281464"/>
                  </a:moveTo>
                  <a:cubicBezTo>
                    <a:pt x="3570446" y="280511"/>
                    <a:pt x="3569494" y="280511"/>
                    <a:pt x="3568541" y="279559"/>
                  </a:cubicBezTo>
                  <a:cubicBezTo>
                    <a:pt x="3568541" y="279559"/>
                    <a:pt x="3568541" y="279559"/>
                    <a:pt x="3568541" y="279559"/>
                  </a:cubicBezTo>
                  <a:cubicBezTo>
                    <a:pt x="3570446" y="276701"/>
                    <a:pt x="3571399" y="274796"/>
                    <a:pt x="3571399" y="273844"/>
                  </a:cubicBezTo>
                  <a:cubicBezTo>
                    <a:pt x="3571399" y="276701"/>
                    <a:pt x="3571399" y="279559"/>
                    <a:pt x="3571399" y="281464"/>
                  </a:cubicBezTo>
                  <a:close/>
                  <a:moveTo>
                    <a:pt x="3567589" y="250031"/>
                  </a:moveTo>
                  <a:cubicBezTo>
                    <a:pt x="3568541" y="254794"/>
                    <a:pt x="3569494" y="260509"/>
                    <a:pt x="3570446" y="265271"/>
                  </a:cubicBezTo>
                  <a:cubicBezTo>
                    <a:pt x="3570446" y="267176"/>
                    <a:pt x="3571399" y="270034"/>
                    <a:pt x="3571399" y="271939"/>
                  </a:cubicBezTo>
                  <a:cubicBezTo>
                    <a:pt x="3571399" y="271939"/>
                    <a:pt x="3571399" y="272891"/>
                    <a:pt x="3571399" y="272891"/>
                  </a:cubicBezTo>
                  <a:cubicBezTo>
                    <a:pt x="3571399" y="272891"/>
                    <a:pt x="3569494" y="274796"/>
                    <a:pt x="3567589" y="277654"/>
                  </a:cubicBezTo>
                  <a:cubicBezTo>
                    <a:pt x="3567589" y="277654"/>
                    <a:pt x="3567589" y="277654"/>
                    <a:pt x="3567589" y="277654"/>
                  </a:cubicBezTo>
                  <a:cubicBezTo>
                    <a:pt x="3565684" y="276701"/>
                    <a:pt x="3563779" y="274796"/>
                    <a:pt x="3561874" y="274796"/>
                  </a:cubicBezTo>
                  <a:cubicBezTo>
                    <a:pt x="3559969" y="273844"/>
                    <a:pt x="3559016" y="273844"/>
                    <a:pt x="3558064" y="272891"/>
                  </a:cubicBezTo>
                  <a:cubicBezTo>
                    <a:pt x="3557111" y="269081"/>
                    <a:pt x="3555206" y="264319"/>
                    <a:pt x="3554254" y="260509"/>
                  </a:cubicBezTo>
                  <a:cubicBezTo>
                    <a:pt x="3555206" y="259556"/>
                    <a:pt x="3555206" y="258604"/>
                    <a:pt x="3556159" y="257651"/>
                  </a:cubicBezTo>
                  <a:cubicBezTo>
                    <a:pt x="3559969" y="251936"/>
                    <a:pt x="3562826" y="247174"/>
                    <a:pt x="3566636" y="243364"/>
                  </a:cubicBezTo>
                  <a:cubicBezTo>
                    <a:pt x="3567589" y="246221"/>
                    <a:pt x="3567589" y="248126"/>
                    <a:pt x="3567589" y="250031"/>
                  </a:cubicBezTo>
                  <a:close/>
                  <a:moveTo>
                    <a:pt x="3561874" y="229076"/>
                  </a:moveTo>
                  <a:cubicBezTo>
                    <a:pt x="3561874" y="228124"/>
                    <a:pt x="3562826" y="228124"/>
                    <a:pt x="3562826" y="227171"/>
                  </a:cubicBezTo>
                  <a:cubicBezTo>
                    <a:pt x="3563779" y="230029"/>
                    <a:pt x="3563779" y="232886"/>
                    <a:pt x="3564731" y="235744"/>
                  </a:cubicBezTo>
                  <a:cubicBezTo>
                    <a:pt x="3564731" y="236696"/>
                    <a:pt x="3564731" y="237649"/>
                    <a:pt x="3565684" y="238601"/>
                  </a:cubicBezTo>
                  <a:cubicBezTo>
                    <a:pt x="3561874" y="241459"/>
                    <a:pt x="3557111" y="246221"/>
                    <a:pt x="3552349" y="251936"/>
                  </a:cubicBezTo>
                  <a:cubicBezTo>
                    <a:pt x="3552349" y="250031"/>
                    <a:pt x="3551396" y="248126"/>
                    <a:pt x="3551396" y="247174"/>
                  </a:cubicBezTo>
                  <a:cubicBezTo>
                    <a:pt x="3555206" y="241459"/>
                    <a:pt x="3558064" y="234791"/>
                    <a:pt x="3561874" y="229076"/>
                  </a:cubicBezTo>
                  <a:close/>
                  <a:moveTo>
                    <a:pt x="3551396" y="293846"/>
                  </a:moveTo>
                  <a:cubicBezTo>
                    <a:pt x="3552349" y="298609"/>
                    <a:pt x="3553301" y="303371"/>
                    <a:pt x="3554254" y="307181"/>
                  </a:cubicBezTo>
                  <a:cubicBezTo>
                    <a:pt x="3553301" y="311944"/>
                    <a:pt x="3551396" y="315754"/>
                    <a:pt x="3550444" y="321469"/>
                  </a:cubicBezTo>
                  <a:cubicBezTo>
                    <a:pt x="3549491" y="325279"/>
                    <a:pt x="3548539" y="329089"/>
                    <a:pt x="3547586" y="333851"/>
                  </a:cubicBezTo>
                  <a:cubicBezTo>
                    <a:pt x="3547586" y="332899"/>
                    <a:pt x="3546634" y="332899"/>
                    <a:pt x="3546634" y="331946"/>
                  </a:cubicBezTo>
                  <a:cubicBezTo>
                    <a:pt x="3545681" y="330041"/>
                    <a:pt x="3544729" y="329089"/>
                    <a:pt x="3543776" y="327184"/>
                  </a:cubicBezTo>
                  <a:cubicBezTo>
                    <a:pt x="3544729" y="319564"/>
                    <a:pt x="3544729" y="312896"/>
                    <a:pt x="3544729" y="306229"/>
                  </a:cubicBezTo>
                  <a:cubicBezTo>
                    <a:pt x="3545681" y="299561"/>
                    <a:pt x="3546634" y="292894"/>
                    <a:pt x="3547586" y="286226"/>
                  </a:cubicBezTo>
                  <a:cubicBezTo>
                    <a:pt x="3547586" y="283369"/>
                    <a:pt x="3548539" y="279559"/>
                    <a:pt x="3548539" y="276701"/>
                  </a:cubicBezTo>
                  <a:cubicBezTo>
                    <a:pt x="3548539" y="282416"/>
                    <a:pt x="3550444" y="288131"/>
                    <a:pt x="3551396" y="293846"/>
                  </a:cubicBezTo>
                  <a:close/>
                  <a:moveTo>
                    <a:pt x="3543776" y="191929"/>
                  </a:moveTo>
                  <a:cubicBezTo>
                    <a:pt x="3545681" y="187166"/>
                    <a:pt x="3547586" y="183356"/>
                    <a:pt x="3549491" y="180499"/>
                  </a:cubicBezTo>
                  <a:cubicBezTo>
                    <a:pt x="3549491" y="181451"/>
                    <a:pt x="3549491" y="183356"/>
                    <a:pt x="3548539" y="185261"/>
                  </a:cubicBezTo>
                  <a:cubicBezTo>
                    <a:pt x="3547586" y="192881"/>
                    <a:pt x="3546634" y="201454"/>
                    <a:pt x="3544729" y="211931"/>
                  </a:cubicBezTo>
                  <a:cubicBezTo>
                    <a:pt x="3544729" y="213836"/>
                    <a:pt x="3543776" y="215741"/>
                    <a:pt x="3543776" y="217646"/>
                  </a:cubicBezTo>
                  <a:cubicBezTo>
                    <a:pt x="3541871" y="210026"/>
                    <a:pt x="3539966" y="204311"/>
                    <a:pt x="3539014" y="200501"/>
                  </a:cubicBezTo>
                  <a:cubicBezTo>
                    <a:pt x="3540919" y="196691"/>
                    <a:pt x="3541871" y="194786"/>
                    <a:pt x="3543776" y="191929"/>
                  </a:cubicBezTo>
                  <a:close/>
                  <a:moveTo>
                    <a:pt x="3530441" y="217646"/>
                  </a:moveTo>
                  <a:cubicBezTo>
                    <a:pt x="3533299" y="211931"/>
                    <a:pt x="3536156" y="206216"/>
                    <a:pt x="3539014" y="201454"/>
                  </a:cubicBezTo>
                  <a:cubicBezTo>
                    <a:pt x="3539014" y="205264"/>
                    <a:pt x="3539966" y="210979"/>
                    <a:pt x="3540919" y="217646"/>
                  </a:cubicBezTo>
                  <a:cubicBezTo>
                    <a:pt x="3540919" y="221456"/>
                    <a:pt x="3541871" y="226219"/>
                    <a:pt x="3542824" y="231934"/>
                  </a:cubicBezTo>
                  <a:cubicBezTo>
                    <a:pt x="3541871" y="234791"/>
                    <a:pt x="3541871" y="237649"/>
                    <a:pt x="3540919" y="240506"/>
                  </a:cubicBezTo>
                  <a:cubicBezTo>
                    <a:pt x="3537109" y="246221"/>
                    <a:pt x="3532346" y="252889"/>
                    <a:pt x="3528536" y="259556"/>
                  </a:cubicBezTo>
                  <a:cubicBezTo>
                    <a:pt x="3528536" y="258604"/>
                    <a:pt x="3528536" y="257651"/>
                    <a:pt x="3528536" y="257651"/>
                  </a:cubicBezTo>
                  <a:cubicBezTo>
                    <a:pt x="3528536" y="251936"/>
                    <a:pt x="3528536" y="246221"/>
                    <a:pt x="3527584" y="240506"/>
                  </a:cubicBezTo>
                  <a:cubicBezTo>
                    <a:pt x="3527584" y="236696"/>
                    <a:pt x="3526631" y="232886"/>
                    <a:pt x="3526631" y="229076"/>
                  </a:cubicBezTo>
                  <a:cubicBezTo>
                    <a:pt x="3527584" y="224314"/>
                    <a:pt x="3528536" y="220504"/>
                    <a:pt x="3530441" y="217646"/>
                  </a:cubicBezTo>
                  <a:close/>
                  <a:moveTo>
                    <a:pt x="3490436" y="321469"/>
                  </a:moveTo>
                  <a:cubicBezTo>
                    <a:pt x="3490436" y="320516"/>
                    <a:pt x="3490436" y="318611"/>
                    <a:pt x="3490436" y="317659"/>
                  </a:cubicBezTo>
                  <a:cubicBezTo>
                    <a:pt x="3490436" y="318611"/>
                    <a:pt x="3491389" y="319564"/>
                    <a:pt x="3491389" y="319564"/>
                  </a:cubicBezTo>
                  <a:cubicBezTo>
                    <a:pt x="3491389" y="320516"/>
                    <a:pt x="3491389" y="320516"/>
                    <a:pt x="3490436" y="321469"/>
                  </a:cubicBezTo>
                  <a:close/>
                  <a:moveTo>
                    <a:pt x="3514249" y="250984"/>
                  </a:moveTo>
                  <a:cubicBezTo>
                    <a:pt x="3515201" y="249079"/>
                    <a:pt x="3516154" y="247174"/>
                    <a:pt x="3516154" y="246221"/>
                  </a:cubicBezTo>
                  <a:cubicBezTo>
                    <a:pt x="3516154" y="250031"/>
                    <a:pt x="3516154" y="253841"/>
                    <a:pt x="3515201" y="257651"/>
                  </a:cubicBezTo>
                  <a:cubicBezTo>
                    <a:pt x="3515201" y="261461"/>
                    <a:pt x="3514249" y="266224"/>
                    <a:pt x="3514249" y="270986"/>
                  </a:cubicBezTo>
                  <a:cubicBezTo>
                    <a:pt x="3513296" y="267176"/>
                    <a:pt x="3511391" y="263366"/>
                    <a:pt x="3509486" y="259556"/>
                  </a:cubicBezTo>
                  <a:cubicBezTo>
                    <a:pt x="3512344" y="255746"/>
                    <a:pt x="3513296" y="252889"/>
                    <a:pt x="3514249" y="250984"/>
                  </a:cubicBezTo>
                  <a:close/>
                  <a:moveTo>
                    <a:pt x="3504724" y="271939"/>
                  </a:moveTo>
                  <a:cubicBezTo>
                    <a:pt x="3504724" y="272891"/>
                    <a:pt x="3505676" y="273844"/>
                    <a:pt x="3505676" y="274796"/>
                  </a:cubicBezTo>
                  <a:cubicBezTo>
                    <a:pt x="3506629" y="279559"/>
                    <a:pt x="3508534" y="283369"/>
                    <a:pt x="3509486" y="288131"/>
                  </a:cubicBezTo>
                  <a:cubicBezTo>
                    <a:pt x="3508534" y="290036"/>
                    <a:pt x="3507581" y="291941"/>
                    <a:pt x="3505676" y="293846"/>
                  </a:cubicBezTo>
                  <a:cubicBezTo>
                    <a:pt x="3505676" y="290036"/>
                    <a:pt x="3504724" y="286226"/>
                    <a:pt x="3504724" y="282416"/>
                  </a:cubicBezTo>
                  <a:cubicBezTo>
                    <a:pt x="3504724" y="279559"/>
                    <a:pt x="3504724" y="275749"/>
                    <a:pt x="3504724" y="271939"/>
                  </a:cubicBezTo>
                  <a:cubicBezTo>
                    <a:pt x="3504724" y="272891"/>
                    <a:pt x="3504724" y="272891"/>
                    <a:pt x="3504724" y="271939"/>
                  </a:cubicBezTo>
                  <a:close/>
                  <a:moveTo>
                    <a:pt x="3501866" y="398621"/>
                  </a:moveTo>
                  <a:cubicBezTo>
                    <a:pt x="3499961" y="389096"/>
                    <a:pt x="3497104" y="380524"/>
                    <a:pt x="3495199" y="371951"/>
                  </a:cubicBezTo>
                  <a:cubicBezTo>
                    <a:pt x="3495199" y="370999"/>
                    <a:pt x="3494246" y="370046"/>
                    <a:pt x="3494246" y="369094"/>
                  </a:cubicBezTo>
                  <a:cubicBezTo>
                    <a:pt x="3496151" y="365284"/>
                    <a:pt x="3498056" y="361474"/>
                    <a:pt x="3499961" y="357664"/>
                  </a:cubicBezTo>
                  <a:cubicBezTo>
                    <a:pt x="3500914" y="370999"/>
                    <a:pt x="3500914" y="384334"/>
                    <a:pt x="3501866" y="398621"/>
                  </a:cubicBezTo>
                  <a:close/>
                  <a:moveTo>
                    <a:pt x="3496151" y="290036"/>
                  </a:moveTo>
                  <a:cubicBezTo>
                    <a:pt x="3497104" y="288131"/>
                    <a:pt x="3498056" y="286226"/>
                    <a:pt x="3499009" y="284321"/>
                  </a:cubicBezTo>
                  <a:cubicBezTo>
                    <a:pt x="3499009" y="288131"/>
                    <a:pt x="3499009" y="291941"/>
                    <a:pt x="3499009" y="295751"/>
                  </a:cubicBezTo>
                  <a:cubicBezTo>
                    <a:pt x="3498056" y="293846"/>
                    <a:pt x="3497104" y="291941"/>
                    <a:pt x="3496151" y="290036"/>
                  </a:cubicBezTo>
                  <a:close/>
                  <a:moveTo>
                    <a:pt x="3496151" y="252889"/>
                  </a:moveTo>
                  <a:cubicBezTo>
                    <a:pt x="3496151" y="250984"/>
                    <a:pt x="3496151" y="249079"/>
                    <a:pt x="3496151" y="247174"/>
                  </a:cubicBezTo>
                  <a:cubicBezTo>
                    <a:pt x="3497104" y="250031"/>
                    <a:pt x="3498056" y="252889"/>
                    <a:pt x="3499009" y="254794"/>
                  </a:cubicBezTo>
                  <a:cubicBezTo>
                    <a:pt x="3498056" y="256699"/>
                    <a:pt x="3496151" y="258604"/>
                    <a:pt x="3495199" y="261461"/>
                  </a:cubicBezTo>
                  <a:cubicBezTo>
                    <a:pt x="3495199" y="258604"/>
                    <a:pt x="3496151" y="255746"/>
                    <a:pt x="3496151" y="252889"/>
                  </a:cubicBezTo>
                  <a:close/>
                  <a:moveTo>
                    <a:pt x="3481864" y="205264"/>
                  </a:moveTo>
                  <a:cubicBezTo>
                    <a:pt x="3484721" y="212884"/>
                    <a:pt x="3488531" y="220504"/>
                    <a:pt x="3491389" y="230029"/>
                  </a:cubicBezTo>
                  <a:cubicBezTo>
                    <a:pt x="3492341" y="233839"/>
                    <a:pt x="3494246" y="238601"/>
                    <a:pt x="3495199" y="243364"/>
                  </a:cubicBezTo>
                  <a:cubicBezTo>
                    <a:pt x="3494246" y="245269"/>
                    <a:pt x="3493294" y="248126"/>
                    <a:pt x="3492341" y="251936"/>
                  </a:cubicBezTo>
                  <a:cubicBezTo>
                    <a:pt x="3491389" y="256699"/>
                    <a:pt x="3489484" y="261461"/>
                    <a:pt x="3487579" y="268129"/>
                  </a:cubicBezTo>
                  <a:cubicBezTo>
                    <a:pt x="3487579" y="269081"/>
                    <a:pt x="3487579" y="269081"/>
                    <a:pt x="3486626" y="270034"/>
                  </a:cubicBezTo>
                  <a:cubicBezTo>
                    <a:pt x="3484721" y="265271"/>
                    <a:pt x="3481864" y="260509"/>
                    <a:pt x="3479959" y="255746"/>
                  </a:cubicBezTo>
                  <a:cubicBezTo>
                    <a:pt x="3479959" y="245269"/>
                    <a:pt x="3479959" y="235744"/>
                    <a:pt x="3479959" y="228124"/>
                  </a:cubicBezTo>
                  <a:cubicBezTo>
                    <a:pt x="3479959" y="221456"/>
                    <a:pt x="3479959" y="216694"/>
                    <a:pt x="3479959" y="213836"/>
                  </a:cubicBezTo>
                  <a:cubicBezTo>
                    <a:pt x="3480911" y="211931"/>
                    <a:pt x="3480911" y="208121"/>
                    <a:pt x="3481864" y="205264"/>
                  </a:cubicBezTo>
                  <a:close/>
                  <a:moveTo>
                    <a:pt x="3473291" y="241459"/>
                  </a:moveTo>
                  <a:cubicBezTo>
                    <a:pt x="3474244" y="239554"/>
                    <a:pt x="3474244" y="236696"/>
                    <a:pt x="3475196" y="234791"/>
                  </a:cubicBezTo>
                  <a:cubicBezTo>
                    <a:pt x="3474244" y="236696"/>
                    <a:pt x="3474244" y="239554"/>
                    <a:pt x="3473291" y="241459"/>
                  </a:cubicBezTo>
                  <a:cubicBezTo>
                    <a:pt x="3473291" y="242411"/>
                    <a:pt x="3473291" y="241459"/>
                    <a:pt x="3473291" y="241459"/>
                  </a:cubicBezTo>
                  <a:cubicBezTo>
                    <a:pt x="3473291" y="241459"/>
                    <a:pt x="3473291" y="241459"/>
                    <a:pt x="3473291" y="241459"/>
                  </a:cubicBezTo>
                  <a:close/>
                  <a:moveTo>
                    <a:pt x="3468529" y="260509"/>
                  </a:moveTo>
                  <a:cubicBezTo>
                    <a:pt x="3468529" y="261461"/>
                    <a:pt x="3469481" y="262414"/>
                    <a:pt x="3469481" y="263366"/>
                  </a:cubicBezTo>
                  <a:cubicBezTo>
                    <a:pt x="3469481" y="266224"/>
                    <a:pt x="3468529" y="268129"/>
                    <a:pt x="3468529" y="270986"/>
                  </a:cubicBezTo>
                  <a:cubicBezTo>
                    <a:pt x="3467576" y="279559"/>
                    <a:pt x="3466624" y="290036"/>
                    <a:pt x="3465671" y="300514"/>
                  </a:cubicBezTo>
                  <a:cubicBezTo>
                    <a:pt x="3464719" y="306229"/>
                    <a:pt x="3464719" y="311944"/>
                    <a:pt x="3464719" y="318611"/>
                  </a:cubicBezTo>
                  <a:cubicBezTo>
                    <a:pt x="3464719" y="319564"/>
                    <a:pt x="3463766" y="320516"/>
                    <a:pt x="3463766" y="321469"/>
                  </a:cubicBezTo>
                  <a:cubicBezTo>
                    <a:pt x="3462814" y="316706"/>
                    <a:pt x="3460909" y="311944"/>
                    <a:pt x="3459956" y="307181"/>
                  </a:cubicBezTo>
                  <a:cubicBezTo>
                    <a:pt x="3459956" y="307181"/>
                    <a:pt x="3459956" y="306229"/>
                    <a:pt x="3459956" y="306229"/>
                  </a:cubicBezTo>
                  <a:cubicBezTo>
                    <a:pt x="3459956" y="304324"/>
                    <a:pt x="3460909" y="302419"/>
                    <a:pt x="3460909" y="300514"/>
                  </a:cubicBezTo>
                  <a:cubicBezTo>
                    <a:pt x="3463766" y="287179"/>
                    <a:pt x="3466624" y="273844"/>
                    <a:pt x="3468529" y="260509"/>
                  </a:cubicBezTo>
                  <a:close/>
                  <a:moveTo>
                    <a:pt x="3451384" y="237649"/>
                  </a:moveTo>
                  <a:cubicBezTo>
                    <a:pt x="3451384" y="231934"/>
                    <a:pt x="3451384" y="227171"/>
                    <a:pt x="3451384" y="221456"/>
                  </a:cubicBezTo>
                  <a:cubicBezTo>
                    <a:pt x="3451384" y="221456"/>
                    <a:pt x="3451384" y="221456"/>
                    <a:pt x="3451384" y="222409"/>
                  </a:cubicBezTo>
                  <a:cubicBezTo>
                    <a:pt x="3453289" y="227171"/>
                    <a:pt x="3456146" y="231934"/>
                    <a:pt x="3458051" y="237649"/>
                  </a:cubicBezTo>
                  <a:cubicBezTo>
                    <a:pt x="3458051" y="237649"/>
                    <a:pt x="3458051" y="238601"/>
                    <a:pt x="3458051" y="238601"/>
                  </a:cubicBezTo>
                  <a:cubicBezTo>
                    <a:pt x="3455194" y="248126"/>
                    <a:pt x="3452336" y="257651"/>
                    <a:pt x="3450431" y="267176"/>
                  </a:cubicBezTo>
                  <a:cubicBezTo>
                    <a:pt x="3450431" y="267176"/>
                    <a:pt x="3450431" y="267176"/>
                    <a:pt x="3450431" y="267176"/>
                  </a:cubicBezTo>
                  <a:cubicBezTo>
                    <a:pt x="3451384" y="256699"/>
                    <a:pt x="3451384" y="247174"/>
                    <a:pt x="3451384" y="237649"/>
                  </a:cubicBezTo>
                  <a:close/>
                  <a:moveTo>
                    <a:pt x="3405664" y="273844"/>
                  </a:moveTo>
                  <a:cubicBezTo>
                    <a:pt x="3406616" y="268129"/>
                    <a:pt x="3406616" y="263366"/>
                    <a:pt x="3406616" y="258604"/>
                  </a:cubicBezTo>
                  <a:cubicBezTo>
                    <a:pt x="3406616" y="253841"/>
                    <a:pt x="3406616" y="249079"/>
                    <a:pt x="3406616" y="245269"/>
                  </a:cubicBezTo>
                  <a:cubicBezTo>
                    <a:pt x="3406616" y="247174"/>
                    <a:pt x="3407569" y="251936"/>
                    <a:pt x="3409474" y="259556"/>
                  </a:cubicBezTo>
                  <a:cubicBezTo>
                    <a:pt x="3409474" y="264319"/>
                    <a:pt x="3407569" y="269081"/>
                    <a:pt x="3405664" y="273844"/>
                  </a:cubicBezTo>
                  <a:close/>
                  <a:moveTo>
                    <a:pt x="3416141" y="335756"/>
                  </a:moveTo>
                  <a:cubicBezTo>
                    <a:pt x="3416141" y="341471"/>
                    <a:pt x="3416141" y="347186"/>
                    <a:pt x="3416141" y="353854"/>
                  </a:cubicBezTo>
                  <a:cubicBezTo>
                    <a:pt x="3416141" y="351949"/>
                    <a:pt x="3415189" y="350044"/>
                    <a:pt x="3415189" y="348139"/>
                  </a:cubicBezTo>
                  <a:cubicBezTo>
                    <a:pt x="3414236" y="340519"/>
                    <a:pt x="3414236" y="333851"/>
                    <a:pt x="3413284" y="328136"/>
                  </a:cubicBezTo>
                  <a:cubicBezTo>
                    <a:pt x="3413284" y="328136"/>
                    <a:pt x="3413284" y="328136"/>
                    <a:pt x="3413284" y="328136"/>
                  </a:cubicBezTo>
                  <a:cubicBezTo>
                    <a:pt x="3414236" y="325279"/>
                    <a:pt x="3415189" y="323374"/>
                    <a:pt x="3417094" y="320516"/>
                  </a:cubicBezTo>
                  <a:cubicBezTo>
                    <a:pt x="3417094" y="324326"/>
                    <a:pt x="3417094" y="329089"/>
                    <a:pt x="3416141" y="335756"/>
                  </a:cubicBezTo>
                  <a:close/>
                  <a:moveTo>
                    <a:pt x="3421856" y="320516"/>
                  </a:moveTo>
                  <a:cubicBezTo>
                    <a:pt x="3420904" y="324326"/>
                    <a:pt x="3420904" y="329089"/>
                    <a:pt x="3419951" y="332899"/>
                  </a:cubicBezTo>
                  <a:cubicBezTo>
                    <a:pt x="3418999" y="326231"/>
                    <a:pt x="3418999" y="320516"/>
                    <a:pt x="3418046" y="316706"/>
                  </a:cubicBezTo>
                  <a:cubicBezTo>
                    <a:pt x="3418999" y="314801"/>
                    <a:pt x="3419951" y="312896"/>
                    <a:pt x="3420904" y="310991"/>
                  </a:cubicBezTo>
                  <a:cubicBezTo>
                    <a:pt x="3420904" y="310039"/>
                    <a:pt x="3421856" y="309086"/>
                    <a:pt x="3421856" y="308134"/>
                  </a:cubicBezTo>
                  <a:cubicBezTo>
                    <a:pt x="3421856" y="310039"/>
                    <a:pt x="3422809" y="310991"/>
                    <a:pt x="3422809" y="312896"/>
                  </a:cubicBezTo>
                  <a:cubicBezTo>
                    <a:pt x="3422809" y="314801"/>
                    <a:pt x="3422809" y="317659"/>
                    <a:pt x="3421856" y="320516"/>
                  </a:cubicBezTo>
                  <a:close/>
                  <a:moveTo>
                    <a:pt x="3410426" y="139541"/>
                  </a:moveTo>
                  <a:cubicBezTo>
                    <a:pt x="3413284" y="145256"/>
                    <a:pt x="3417094" y="151924"/>
                    <a:pt x="3421856" y="161449"/>
                  </a:cubicBezTo>
                  <a:cubicBezTo>
                    <a:pt x="3424714" y="167164"/>
                    <a:pt x="3428524" y="173831"/>
                    <a:pt x="3433286" y="181451"/>
                  </a:cubicBezTo>
                  <a:cubicBezTo>
                    <a:pt x="3431381" y="187166"/>
                    <a:pt x="3430429" y="192881"/>
                    <a:pt x="3428524" y="198596"/>
                  </a:cubicBezTo>
                  <a:cubicBezTo>
                    <a:pt x="3427571" y="202406"/>
                    <a:pt x="3426619" y="206216"/>
                    <a:pt x="3425666" y="210026"/>
                  </a:cubicBezTo>
                  <a:cubicBezTo>
                    <a:pt x="3424714" y="205264"/>
                    <a:pt x="3423761" y="200501"/>
                    <a:pt x="3422809" y="195739"/>
                  </a:cubicBezTo>
                  <a:cubicBezTo>
                    <a:pt x="3419951" y="183356"/>
                    <a:pt x="3417094" y="171926"/>
                    <a:pt x="3415189" y="163354"/>
                  </a:cubicBezTo>
                  <a:cubicBezTo>
                    <a:pt x="3413284" y="154781"/>
                    <a:pt x="3411379" y="148114"/>
                    <a:pt x="3410426" y="143351"/>
                  </a:cubicBezTo>
                  <a:cubicBezTo>
                    <a:pt x="3409474" y="141446"/>
                    <a:pt x="3410426" y="140494"/>
                    <a:pt x="3410426" y="139541"/>
                  </a:cubicBezTo>
                  <a:close/>
                  <a:moveTo>
                    <a:pt x="3408521" y="136684"/>
                  </a:moveTo>
                  <a:cubicBezTo>
                    <a:pt x="3408521" y="136684"/>
                    <a:pt x="3408521" y="136684"/>
                    <a:pt x="3408521" y="136684"/>
                  </a:cubicBezTo>
                  <a:cubicBezTo>
                    <a:pt x="3408521" y="136684"/>
                    <a:pt x="3408521" y="136684"/>
                    <a:pt x="3408521" y="136684"/>
                  </a:cubicBezTo>
                  <a:cubicBezTo>
                    <a:pt x="3408521" y="136684"/>
                    <a:pt x="3408521" y="136684"/>
                    <a:pt x="3408521" y="136684"/>
                  </a:cubicBezTo>
                  <a:close/>
                  <a:moveTo>
                    <a:pt x="3395186" y="266224"/>
                  </a:moveTo>
                  <a:cubicBezTo>
                    <a:pt x="3396139" y="251936"/>
                    <a:pt x="3396139" y="239554"/>
                    <a:pt x="3396139" y="227171"/>
                  </a:cubicBezTo>
                  <a:cubicBezTo>
                    <a:pt x="3396139" y="222409"/>
                    <a:pt x="3396139" y="217646"/>
                    <a:pt x="3396139" y="212884"/>
                  </a:cubicBezTo>
                  <a:cubicBezTo>
                    <a:pt x="3397091" y="210026"/>
                    <a:pt x="3398044" y="207169"/>
                    <a:pt x="3398996" y="204311"/>
                  </a:cubicBezTo>
                  <a:cubicBezTo>
                    <a:pt x="3398044" y="206216"/>
                    <a:pt x="3397091" y="208121"/>
                    <a:pt x="3396139" y="210026"/>
                  </a:cubicBezTo>
                  <a:cubicBezTo>
                    <a:pt x="3396139" y="207169"/>
                    <a:pt x="3396139" y="204311"/>
                    <a:pt x="3396139" y="202406"/>
                  </a:cubicBezTo>
                  <a:cubicBezTo>
                    <a:pt x="3397091" y="199549"/>
                    <a:pt x="3397091" y="197644"/>
                    <a:pt x="3398044" y="194786"/>
                  </a:cubicBezTo>
                  <a:cubicBezTo>
                    <a:pt x="3401854" y="178594"/>
                    <a:pt x="3405664" y="162401"/>
                    <a:pt x="3408521" y="145256"/>
                  </a:cubicBezTo>
                  <a:cubicBezTo>
                    <a:pt x="3408521" y="150019"/>
                    <a:pt x="3409474" y="155734"/>
                    <a:pt x="3410426" y="162401"/>
                  </a:cubicBezTo>
                  <a:cubicBezTo>
                    <a:pt x="3411379" y="171926"/>
                    <a:pt x="3412331" y="182404"/>
                    <a:pt x="3414236" y="195739"/>
                  </a:cubicBezTo>
                  <a:cubicBezTo>
                    <a:pt x="3415189" y="202406"/>
                    <a:pt x="3416141" y="209074"/>
                    <a:pt x="3417094" y="215741"/>
                  </a:cubicBezTo>
                  <a:cubicBezTo>
                    <a:pt x="3418046" y="220504"/>
                    <a:pt x="3418999" y="224314"/>
                    <a:pt x="3419951" y="229076"/>
                  </a:cubicBezTo>
                  <a:cubicBezTo>
                    <a:pt x="3418999" y="230981"/>
                    <a:pt x="3418999" y="232886"/>
                    <a:pt x="3418046" y="233839"/>
                  </a:cubicBezTo>
                  <a:cubicBezTo>
                    <a:pt x="3416141" y="240506"/>
                    <a:pt x="3414236" y="247174"/>
                    <a:pt x="3411379" y="253841"/>
                  </a:cubicBezTo>
                  <a:cubicBezTo>
                    <a:pt x="3408521" y="248126"/>
                    <a:pt x="3407569" y="245269"/>
                    <a:pt x="3407569" y="244316"/>
                  </a:cubicBezTo>
                  <a:cubicBezTo>
                    <a:pt x="3407569" y="242411"/>
                    <a:pt x="3407569" y="241459"/>
                    <a:pt x="3407569" y="239554"/>
                  </a:cubicBezTo>
                  <a:cubicBezTo>
                    <a:pt x="3407569" y="230029"/>
                    <a:pt x="3407569" y="224314"/>
                    <a:pt x="3407569" y="224314"/>
                  </a:cubicBezTo>
                  <a:cubicBezTo>
                    <a:pt x="3407569" y="224314"/>
                    <a:pt x="3405664" y="230029"/>
                    <a:pt x="3403759" y="239554"/>
                  </a:cubicBezTo>
                  <a:cubicBezTo>
                    <a:pt x="3402806" y="244316"/>
                    <a:pt x="3400901" y="250031"/>
                    <a:pt x="3399949" y="256699"/>
                  </a:cubicBezTo>
                  <a:cubicBezTo>
                    <a:pt x="3398996" y="262414"/>
                    <a:pt x="3397091" y="269081"/>
                    <a:pt x="3395186" y="275749"/>
                  </a:cubicBezTo>
                  <a:cubicBezTo>
                    <a:pt x="3395186" y="273844"/>
                    <a:pt x="3395186" y="270034"/>
                    <a:pt x="3395186" y="266224"/>
                  </a:cubicBezTo>
                  <a:close/>
                  <a:moveTo>
                    <a:pt x="3363754" y="252889"/>
                  </a:moveTo>
                  <a:cubicBezTo>
                    <a:pt x="3364706" y="256699"/>
                    <a:pt x="3365659" y="260509"/>
                    <a:pt x="3365659" y="264319"/>
                  </a:cubicBezTo>
                  <a:cubicBezTo>
                    <a:pt x="3364706" y="266224"/>
                    <a:pt x="3363754" y="267176"/>
                    <a:pt x="3363754" y="269081"/>
                  </a:cubicBezTo>
                  <a:cubicBezTo>
                    <a:pt x="3363754" y="262414"/>
                    <a:pt x="3363754" y="257651"/>
                    <a:pt x="3363754" y="252889"/>
                  </a:cubicBezTo>
                  <a:close/>
                  <a:moveTo>
                    <a:pt x="3321844" y="351949"/>
                  </a:moveTo>
                  <a:cubicBezTo>
                    <a:pt x="3321844" y="349091"/>
                    <a:pt x="3322796" y="345281"/>
                    <a:pt x="3322796" y="342424"/>
                  </a:cubicBezTo>
                  <a:cubicBezTo>
                    <a:pt x="3322796" y="344329"/>
                    <a:pt x="3323749" y="346234"/>
                    <a:pt x="3323749" y="347186"/>
                  </a:cubicBezTo>
                  <a:cubicBezTo>
                    <a:pt x="3323749" y="349091"/>
                    <a:pt x="3322796" y="350044"/>
                    <a:pt x="3321844" y="351949"/>
                  </a:cubicBezTo>
                  <a:close/>
                  <a:moveTo>
                    <a:pt x="3340894" y="273844"/>
                  </a:moveTo>
                  <a:cubicBezTo>
                    <a:pt x="3342799" y="282416"/>
                    <a:pt x="3345656" y="290036"/>
                    <a:pt x="3347561" y="298609"/>
                  </a:cubicBezTo>
                  <a:cubicBezTo>
                    <a:pt x="3346609" y="300514"/>
                    <a:pt x="3345656" y="302419"/>
                    <a:pt x="3344704" y="304324"/>
                  </a:cubicBezTo>
                  <a:cubicBezTo>
                    <a:pt x="3342799" y="299561"/>
                    <a:pt x="3340894" y="295751"/>
                    <a:pt x="3338989" y="290989"/>
                  </a:cubicBezTo>
                  <a:cubicBezTo>
                    <a:pt x="3338036" y="276701"/>
                    <a:pt x="3336131" y="263366"/>
                    <a:pt x="3335179" y="251936"/>
                  </a:cubicBezTo>
                  <a:cubicBezTo>
                    <a:pt x="3337084" y="259556"/>
                    <a:pt x="3338989" y="266224"/>
                    <a:pt x="3340894" y="273844"/>
                  </a:cubicBezTo>
                  <a:close/>
                  <a:moveTo>
                    <a:pt x="3330416" y="376714"/>
                  </a:moveTo>
                  <a:cubicBezTo>
                    <a:pt x="3330416" y="377666"/>
                    <a:pt x="3330416" y="378619"/>
                    <a:pt x="3331369" y="379571"/>
                  </a:cubicBezTo>
                  <a:cubicBezTo>
                    <a:pt x="3330416" y="380524"/>
                    <a:pt x="3330416" y="382429"/>
                    <a:pt x="3329464" y="384334"/>
                  </a:cubicBezTo>
                  <a:cubicBezTo>
                    <a:pt x="3329464" y="383381"/>
                    <a:pt x="3328511" y="382429"/>
                    <a:pt x="3328511" y="381476"/>
                  </a:cubicBezTo>
                  <a:cubicBezTo>
                    <a:pt x="3328511" y="379571"/>
                    <a:pt x="3329464" y="378619"/>
                    <a:pt x="3330416" y="376714"/>
                  </a:cubicBezTo>
                  <a:close/>
                  <a:moveTo>
                    <a:pt x="3329464" y="202406"/>
                  </a:moveTo>
                  <a:cubicBezTo>
                    <a:pt x="3329464" y="203359"/>
                    <a:pt x="3329464" y="205264"/>
                    <a:pt x="3329464" y="207169"/>
                  </a:cubicBezTo>
                  <a:cubicBezTo>
                    <a:pt x="3329464" y="206216"/>
                    <a:pt x="3329464" y="206216"/>
                    <a:pt x="3328511" y="205264"/>
                  </a:cubicBezTo>
                  <a:cubicBezTo>
                    <a:pt x="3329464" y="204311"/>
                    <a:pt x="3329464" y="203359"/>
                    <a:pt x="3329464" y="202406"/>
                  </a:cubicBezTo>
                  <a:close/>
                  <a:moveTo>
                    <a:pt x="3326606" y="302419"/>
                  </a:moveTo>
                  <a:cubicBezTo>
                    <a:pt x="3327559" y="305276"/>
                    <a:pt x="3328511" y="307181"/>
                    <a:pt x="3329464" y="310039"/>
                  </a:cubicBezTo>
                  <a:cubicBezTo>
                    <a:pt x="3329464" y="310991"/>
                    <a:pt x="3329464" y="310991"/>
                    <a:pt x="3329464" y="311944"/>
                  </a:cubicBezTo>
                  <a:cubicBezTo>
                    <a:pt x="3328511" y="310039"/>
                    <a:pt x="3327559" y="308134"/>
                    <a:pt x="3326606" y="306229"/>
                  </a:cubicBezTo>
                  <a:cubicBezTo>
                    <a:pt x="3326606" y="304324"/>
                    <a:pt x="3326606" y="303371"/>
                    <a:pt x="3326606" y="302419"/>
                  </a:cubicBezTo>
                  <a:close/>
                  <a:moveTo>
                    <a:pt x="3323749" y="227171"/>
                  </a:moveTo>
                  <a:cubicBezTo>
                    <a:pt x="3324701" y="224314"/>
                    <a:pt x="3324701" y="221456"/>
                    <a:pt x="3325654" y="219551"/>
                  </a:cubicBezTo>
                  <a:cubicBezTo>
                    <a:pt x="3325654" y="220504"/>
                    <a:pt x="3325654" y="220504"/>
                    <a:pt x="3325654" y="221456"/>
                  </a:cubicBezTo>
                  <a:cubicBezTo>
                    <a:pt x="3322796" y="232886"/>
                    <a:pt x="3320891" y="244316"/>
                    <a:pt x="3318034" y="256699"/>
                  </a:cubicBezTo>
                  <a:cubicBezTo>
                    <a:pt x="3318034" y="256699"/>
                    <a:pt x="3318034" y="255746"/>
                    <a:pt x="3317081" y="255746"/>
                  </a:cubicBezTo>
                  <a:cubicBezTo>
                    <a:pt x="3319939" y="245269"/>
                    <a:pt x="3321844" y="235744"/>
                    <a:pt x="3323749" y="227171"/>
                  </a:cubicBezTo>
                  <a:close/>
                  <a:moveTo>
                    <a:pt x="3315176" y="269081"/>
                  </a:moveTo>
                  <a:cubicBezTo>
                    <a:pt x="3315176" y="270034"/>
                    <a:pt x="3316129" y="270986"/>
                    <a:pt x="3316129" y="270986"/>
                  </a:cubicBezTo>
                  <a:cubicBezTo>
                    <a:pt x="3315176" y="274796"/>
                    <a:pt x="3315176" y="278606"/>
                    <a:pt x="3314224" y="282416"/>
                  </a:cubicBezTo>
                  <a:cubicBezTo>
                    <a:pt x="3314224" y="281464"/>
                    <a:pt x="3313271" y="280511"/>
                    <a:pt x="3313271" y="280511"/>
                  </a:cubicBezTo>
                  <a:cubicBezTo>
                    <a:pt x="3313271" y="276701"/>
                    <a:pt x="3314224" y="272891"/>
                    <a:pt x="3315176" y="269081"/>
                  </a:cubicBezTo>
                  <a:close/>
                  <a:moveTo>
                    <a:pt x="3305651" y="310991"/>
                  </a:moveTo>
                  <a:cubicBezTo>
                    <a:pt x="3306604" y="307181"/>
                    <a:pt x="3307556" y="302419"/>
                    <a:pt x="3308509" y="298609"/>
                  </a:cubicBezTo>
                  <a:cubicBezTo>
                    <a:pt x="3309461" y="299561"/>
                    <a:pt x="3309461" y="301466"/>
                    <a:pt x="3310414" y="302419"/>
                  </a:cubicBezTo>
                  <a:cubicBezTo>
                    <a:pt x="3309461" y="308134"/>
                    <a:pt x="3308509" y="314801"/>
                    <a:pt x="3307556" y="320516"/>
                  </a:cubicBezTo>
                  <a:cubicBezTo>
                    <a:pt x="3306604" y="318611"/>
                    <a:pt x="3305651" y="315754"/>
                    <a:pt x="3304699" y="313849"/>
                  </a:cubicBezTo>
                  <a:cubicBezTo>
                    <a:pt x="3305651" y="313849"/>
                    <a:pt x="3305651" y="312896"/>
                    <a:pt x="3305651" y="310991"/>
                  </a:cubicBezTo>
                  <a:close/>
                  <a:moveTo>
                    <a:pt x="3302794" y="327184"/>
                  </a:moveTo>
                  <a:cubicBezTo>
                    <a:pt x="3303746" y="330041"/>
                    <a:pt x="3303746" y="332899"/>
                    <a:pt x="3304699" y="335756"/>
                  </a:cubicBezTo>
                  <a:cubicBezTo>
                    <a:pt x="3303746" y="339566"/>
                    <a:pt x="3302794" y="344329"/>
                    <a:pt x="3300889" y="349091"/>
                  </a:cubicBezTo>
                  <a:cubicBezTo>
                    <a:pt x="3299936" y="350996"/>
                    <a:pt x="3299936" y="353854"/>
                    <a:pt x="3298984" y="355759"/>
                  </a:cubicBezTo>
                  <a:cubicBezTo>
                    <a:pt x="3298031" y="354806"/>
                    <a:pt x="3298031" y="352901"/>
                    <a:pt x="3297079" y="351949"/>
                  </a:cubicBezTo>
                  <a:cubicBezTo>
                    <a:pt x="3298984" y="343376"/>
                    <a:pt x="3300889" y="334804"/>
                    <a:pt x="3302794" y="327184"/>
                  </a:cubicBezTo>
                  <a:close/>
                  <a:moveTo>
                    <a:pt x="3279934" y="297656"/>
                  </a:moveTo>
                  <a:cubicBezTo>
                    <a:pt x="3279934" y="294799"/>
                    <a:pt x="3279934" y="291941"/>
                    <a:pt x="3280886" y="289084"/>
                  </a:cubicBezTo>
                  <a:cubicBezTo>
                    <a:pt x="3281839" y="280511"/>
                    <a:pt x="3282791" y="271939"/>
                    <a:pt x="3283744" y="263366"/>
                  </a:cubicBezTo>
                  <a:cubicBezTo>
                    <a:pt x="3283744" y="259556"/>
                    <a:pt x="3284696" y="255746"/>
                    <a:pt x="3284696" y="252889"/>
                  </a:cubicBezTo>
                  <a:cubicBezTo>
                    <a:pt x="3287554" y="258604"/>
                    <a:pt x="3290411" y="264319"/>
                    <a:pt x="3293269" y="270034"/>
                  </a:cubicBezTo>
                  <a:cubicBezTo>
                    <a:pt x="3292316" y="272891"/>
                    <a:pt x="3292316" y="274796"/>
                    <a:pt x="3291364" y="277654"/>
                  </a:cubicBezTo>
                  <a:cubicBezTo>
                    <a:pt x="3291364" y="279559"/>
                    <a:pt x="3290411" y="281464"/>
                    <a:pt x="3290411" y="283369"/>
                  </a:cubicBezTo>
                  <a:cubicBezTo>
                    <a:pt x="3289459" y="271939"/>
                    <a:pt x="3289459" y="264319"/>
                    <a:pt x="3289459" y="264319"/>
                  </a:cubicBezTo>
                  <a:cubicBezTo>
                    <a:pt x="3289459" y="264319"/>
                    <a:pt x="3285649" y="285274"/>
                    <a:pt x="3281839" y="317659"/>
                  </a:cubicBezTo>
                  <a:cubicBezTo>
                    <a:pt x="3281839" y="317659"/>
                    <a:pt x="3280886" y="317659"/>
                    <a:pt x="3280886" y="317659"/>
                  </a:cubicBezTo>
                  <a:cubicBezTo>
                    <a:pt x="3280886" y="317659"/>
                    <a:pt x="3280886" y="316706"/>
                    <a:pt x="3280886" y="316706"/>
                  </a:cubicBezTo>
                  <a:cubicBezTo>
                    <a:pt x="3280886" y="316706"/>
                    <a:pt x="3280886" y="315754"/>
                    <a:pt x="3279934" y="315754"/>
                  </a:cubicBezTo>
                  <a:cubicBezTo>
                    <a:pt x="3279934" y="314801"/>
                    <a:pt x="3278981" y="314801"/>
                    <a:pt x="3278981" y="313849"/>
                  </a:cubicBezTo>
                  <a:cubicBezTo>
                    <a:pt x="3278981" y="308134"/>
                    <a:pt x="3279934" y="302419"/>
                    <a:pt x="3279934" y="297656"/>
                  </a:cubicBezTo>
                  <a:close/>
                  <a:moveTo>
                    <a:pt x="3263741" y="295751"/>
                  </a:moveTo>
                  <a:cubicBezTo>
                    <a:pt x="3263741" y="294799"/>
                    <a:pt x="3263741" y="293846"/>
                    <a:pt x="3263741" y="293846"/>
                  </a:cubicBezTo>
                  <a:cubicBezTo>
                    <a:pt x="3263741" y="293846"/>
                    <a:pt x="3263741" y="294799"/>
                    <a:pt x="3263741" y="295751"/>
                  </a:cubicBezTo>
                  <a:cubicBezTo>
                    <a:pt x="3264694" y="295751"/>
                    <a:pt x="3264694" y="295751"/>
                    <a:pt x="3264694" y="296704"/>
                  </a:cubicBezTo>
                  <a:cubicBezTo>
                    <a:pt x="3263741" y="299561"/>
                    <a:pt x="3262789" y="303371"/>
                    <a:pt x="3262789" y="306229"/>
                  </a:cubicBezTo>
                  <a:cubicBezTo>
                    <a:pt x="3262789" y="302419"/>
                    <a:pt x="3263741" y="298609"/>
                    <a:pt x="3263741" y="295751"/>
                  </a:cubicBezTo>
                  <a:close/>
                  <a:moveTo>
                    <a:pt x="3232309" y="381476"/>
                  </a:moveTo>
                  <a:cubicBezTo>
                    <a:pt x="3232309" y="372904"/>
                    <a:pt x="3232309" y="365284"/>
                    <a:pt x="3232309" y="357664"/>
                  </a:cubicBezTo>
                  <a:cubicBezTo>
                    <a:pt x="3232309" y="357664"/>
                    <a:pt x="3232309" y="358616"/>
                    <a:pt x="3232309" y="358616"/>
                  </a:cubicBezTo>
                  <a:cubicBezTo>
                    <a:pt x="3232309" y="359569"/>
                    <a:pt x="3232309" y="360521"/>
                    <a:pt x="3233261" y="360521"/>
                  </a:cubicBezTo>
                  <a:cubicBezTo>
                    <a:pt x="3233261" y="367189"/>
                    <a:pt x="3233261" y="373856"/>
                    <a:pt x="3232309" y="381476"/>
                  </a:cubicBezTo>
                  <a:close/>
                  <a:moveTo>
                    <a:pt x="3239929" y="327184"/>
                  </a:moveTo>
                  <a:cubicBezTo>
                    <a:pt x="3240881" y="330994"/>
                    <a:pt x="3240881" y="335756"/>
                    <a:pt x="3241834" y="339566"/>
                  </a:cubicBezTo>
                  <a:cubicBezTo>
                    <a:pt x="3240881" y="337661"/>
                    <a:pt x="3239929" y="335756"/>
                    <a:pt x="3239929" y="333851"/>
                  </a:cubicBezTo>
                  <a:cubicBezTo>
                    <a:pt x="3239929" y="331946"/>
                    <a:pt x="3239929" y="330994"/>
                    <a:pt x="3239929" y="329089"/>
                  </a:cubicBezTo>
                  <a:cubicBezTo>
                    <a:pt x="3238976" y="328136"/>
                    <a:pt x="3239929" y="328136"/>
                    <a:pt x="3239929" y="327184"/>
                  </a:cubicBezTo>
                  <a:close/>
                  <a:moveTo>
                    <a:pt x="3234214" y="318611"/>
                  </a:moveTo>
                  <a:cubicBezTo>
                    <a:pt x="3235166" y="315754"/>
                    <a:pt x="3236119" y="312896"/>
                    <a:pt x="3237071" y="310039"/>
                  </a:cubicBezTo>
                  <a:cubicBezTo>
                    <a:pt x="3237071" y="311944"/>
                    <a:pt x="3238024" y="313849"/>
                    <a:pt x="3238024" y="314801"/>
                  </a:cubicBezTo>
                  <a:cubicBezTo>
                    <a:pt x="3238024" y="315754"/>
                    <a:pt x="3238024" y="315754"/>
                    <a:pt x="3238024" y="316706"/>
                  </a:cubicBezTo>
                  <a:cubicBezTo>
                    <a:pt x="3238024" y="316706"/>
                    <a:pt x="3238024" y="317659"/>
                    <a:pt x="3237071" y="317659"/>
                  </a:cubicBezTo>
                  <a:cubicBezTo>
                    <a:pt x="3237071" y="314801"/>
                    <a:pt x="3236119" y="311944"/>
                    <a:pt x="3237071" y="311944"/>
                  </a:cubicBezTo>
                  <a:cubicBezTo>
                    <a:pt x="3238024" y="311944"/>
                    <a:pt x="3237071" y="314801"/>
                    <a:pt x="3236119" y="319564"/>
                  </a:cubicBezTo>
                  <a:cubicBezTo>
                    <a:pt x="3235166" y="320516"/>
                    <a:pt x="3235166" y="321469"/>
                    <a:pt x="3234214" y="322421"/>
                  </a:cubicBezTo>
                  <a:cubicBezTo>
                    <a:pt x="3234214" y="321469"/>
                    <a:pt x="3233261" y="320516"/>
                    <a:pt x="3233261" y="319564"/>
                  </a:cubicBezTo>
                  <a:cubicBezTo>
                    <a:pt x="3234214" y="319564"/>
                    <a:pt x="3234214" y="319564"/>
                    <a:pt x="3234214" y="318611"/>
                  </a:cubicBezTo>
                  <a:close/>
                  <a:moveTo>
                    <a:pt x="3233261" y="286226"/>
                  </a:moveTo>
                  <a:cubicBezTo>
                    <a:pt x="3233261" y="287179"/>
                    <a:pt x="3233261" y="287179"/>
                    <a:pt x="3233261" y="288131"/>
                  </a:cubicBezTo>
                  <a:cubicBezTo>
                    <a:pt x="3233261" y="289084"/>
                    <a:pt x="3232309" y="289084"/>
                    <a:pt x="3232309" y="290036"/>
                  </a:cubicBezTo>
                  <a:cubicBezTo>
                    <a:pt x="3232309" y="287179"/>
                    <a:pt x="3232309" y="285274"/>
                    <a:pt x="3232309" y="282416"/>
                  </a:cubicBezTo>
                  <a:cubicBezTo>
                    <a:pt x="3232309" y="284321"/>
                    <a:pt x="3233261" y="285274"/>
                    <a:pt x="3233261" y="286226"/>
                  </a:cubicBezTo>
                  <a:close/>
                  <a:moveTo>
                    <a:pt x="3222784" y="285274"/>
                  </a:moveTo>
                  <a:cubicBezTo>
                    <a:pt x="3222784" y="281464"/>
                    <a:pt x="3222784" y="277654"/>
                    <a:pt x="3223736" y="273844"/>
                  </a:cubicBezTo>
                  <a:cubicBezTo>
                    <a:pt x="3224689" y="271939"/>
                    <a:pt x="3224689" y="270034"/>
                    <a:pt x="3224689" y="270034"/>
                  </a:cubicBezTo>
                  <a:cubicBezTo>
                    <a:pt x="3224689" y="270034"/>
                    <a:pt x="3224689" y="270034"/>
                    <a:pt x="3224689" y="270986"/>
                  </a:cubicBezTo>
                  <a:cubicBezTo>
                    <a:pt x="3225641" y="265271"/>
                    <a:pt x="3226594" y="259556"/>
                    <a:pt x="3227546" y="253841"/>
                  </a:cubicBezTo>
                  <a:cubicBezTo>
                    <a:pt x="3227546" y="253841"/>
                    <a:pt x="3227546" y="253841"/>
                    <a:pt x="3227546" y="253841"/>
                  </a:cubicBezTo>
                  <a:cubicBezTo>
                    <a:pt x="3226594" y="264319"/>
                    <a:pt x="3225641" y="277654"/>
                    <a:pt x="3223736" y="292894"/>
                  </a:cubicBezTo>
                  <a:cubicBezTo>
                    <a:pt x="3223736" y="292894"/>
                    <a:pt x="3223736" y="291941"/>
                    <a:pt x="3222784" y="291941"/>
                  </a:cubicBezTo>
                  <a:cubicBezTo>
                    <a:pt x="3222784" y="291941"/>
                    <a:pt x="3222784" y="291941"/>
                    <a:pt x="3222784" y="290989"/>
                  </a:cubicBezTo>
                  <a:cubicBezTo>
                    <a:pt x="3221831" y="289084"/>
                    <a:pt x="3221831" y="287179"/>
                    <a:pt x="3222784" y="285274"/>
                  </a:cubicBezTo>
                  <a:close/>
                  <a:moveTo>
                    <a:pt x="3217069" y="207169"/>
                  </a:moveTo>
                  <a:cubicBezTo>
                    <a:pt x="3218021" y="210979"/>
                    <a:pt x="3218974" y="214789"/>
                    <a:pt x="3219926" y="219551"/>
                  </a:cubicBezTo>
                  <a:cubicBezTo>
                    <a:pt x="3218021" y="225266"/>
                    <a:pt x="3217069" y="231934"/>
                    <a:pt x="3215164" y="238601"/>
                  </a:cubicBezTo>
                  <a:cubicBezTo>
                    <a:pt x="3215164" y="226219"/>
                    <a:pt x="3217069" y="215741"/>
                    <a:pt x="3217069" y="207169"/>
                  </a:cubicBezTo>
                  <a:close/>
                  <a:moveTo>
                    <a:pt x="3191351" y="249079"/>
                  </a:moveTo>
                  <a:cubicBezTo>
                    <a:pt x="3191351" y="242411"/>
                    <a:pt x="3192304" y="236696"/>
                    <a:pt x="3192304" y="232886"/>
                  </a:cubicBezTo>
                  <a:cubicBezTo>
                    <a:pt x="3193256" y="234791"/>
                    <a:pt x="3193256" y="235744"/>
                    <a:pt x="3194209" y="238601"/>
                  </a:cubicBezTo>
                  <a:cubicBezTo>
                    <a:pt x="3193256" y="247174"/>
                    <a:pt x="3192304" y="255746"/>
                    <a:pt x="3191351" y="265271"/>
                  </a:cubicBezTo>
                  <a:cubicBezTo>
                    <a:pt x="3191351" y="258604"/>
                    <a:pt x="3191351" y="253841"/>
                    <a:pt x="3191351" y="249079"/>
                  </a:cubicBezTo>
                  <a:close/>
                  <a:moveTo>
                    <a:pt x="3155156" y="313849"/>
                  </a:moveTo>
                  <a:cubicBezTo>
                    <a:pt x="3155156" y="315754"/>
                    <a:pt x="3156109" y="317659"/>
                    <a:pt x="3156109" y="320516"/>
                  </a:cubicBezTo>
                  <a:cubicBezTo>
                    <a:pt x="3156109" y="325279"/>
                    <a:pt x="3157061" y="330041"/>
                    <a:pt x="3158014" y="334804"/>
                  </a:cubicBezTo>
                  <a:cubicBezTo>
                    <a:pt x="3157061" y="341471"/>
                    <a:pt x="3155156" y="348139"/>
                    <a:pt x="3154204" y="354806"/>
                  </a:cubicBezTo>
                  <a:cubicBezTo>
                    <a:pt x="3153251" y="353854"/>
                    <a:pt x="3153251" y="352901"/>
                    <a:pt x="3152299" y="351949"/>
                  </a:cubicBezTo>
                  <a:cubicBezTo>
                    <a:pt x="3152299" y="350996"/>
                    <a:pt x="3152299" y="350044"/>
                    <a:pt x="3152299" y="350044"/>
                  </a:cubicBezTo>
                  <a:cubicBezTo>
                    <a:pt x="3152299" y="348139"/>
                    <a:pt x="3151346" y="347186"/>
                    <a:pt x="3151346" y="345281"/>
                  </a:cubicBezTo>
                  <a:cubicBezTo>
                    <a:pt x="3151346" y="345281"/>
                    <a:pt x="3151346" y="344329"/>
                    <a:pt x="3151346" y="344329"/>
                  </a:cubicBezTo>
                  <a:lnTo>
                    <a:pt x="3151346" y="338614"/>
                  </a:lnTo>
                  <a:cubicBezTo>
                    <a:pt x="3151346" y="329089"/>
                    <a:pt x="3153251" y="321469"/>
                    <a:pt x="3155156" y="313849"/>
                  </a:cubicBezTo>
                  <a:close/>
                  <a:moveTo>
                    <a:pt x="3139916" y="213836"/>
                  </a:moveTo>
                  <a:cubicBezTo>
                    <a:pt x="3140869" y="220504"/>
                    <a:pt x="3142774" y="228124"/>
                    <a:pt x="3143726" y="235744"/>
                  </a:cubicBezTo>
                  <a:cubicBezTo>
                    <a:pt x="3145631" y="246221"/>
                    <a:pt x="3147536" y="256699"/>
                    <a:pt x="3148489" y="267176"/>
                  </a:cubicBezTo>
                  <a:cubicBezTo>
                    <a:pt x="3146584" y="272891"/>
                    <a:pt x="3145631" y="278606"/>
                    <a:pt x="3143726" y="284321"/>
                  </a:cubicBezTo>
                  <a:cubicBezTo>
                    <a:pt x="3140869" y="251936"/>
                    <a:pt x="3138964" y="228124"/>
                    <a:pt x="3137059" y="216694"/>
                  </a:cubicBezTo>
                  <a:cubicBezTo>
                    <a:pt x="3138011" y="215741"/>
                    <a:pt x="3138964" y="214789"/>
                    <a:pt x="3139916" y="213836"/>
                  </a:cubicBezTo>
                  <a:close/>
                  <a:moveTo>
                    <a:pt x="3130391" y="337661"/>
                  </a:moveTo>
                  <a:cubicBezTo>
                    <a:pt x="3130391" y="336709"/>
                    <a:pt x="3130391" y="336709"/>
                    <a:pt x="3130391" y="335756"/>
                  </a:cubicBezTo>
                  <a:cubicBezTo>
                    <a:pt x="3130391" y="335756"/>
                    <a:pt x="3130391" y="335756"/>
                    <a:pt x="3130391" y="335756"/>
                  </a:cubicBezTo>
                  <a:cubicBezTo>
                    <a:pt x="3130391" y="336709"/>
                    <a:pt x="3130391" y="336709"/>
                    <a:pt x="3130391" y="337661"/>
                  </a:cubicBezTo>
                  <a:close/>
                  <a:moveTo>
                    <a:pt x="3130391" y="328136"/>
                  </a:moveTo>
                  <a:cubicBezTo>
                    <a:pt x="3130391" y="328136"/>
                    <a:pt x="3130391" y="327184"/>
                    <a:pt x="3130391" y="328136"/>
                  </a:cubicBezTo>
                  <a:cubicBezTo>
                    <a:pt x="3130391" y="327184"/>
                    <a:pt x="3130391" y="328136"/>
                    <a:pt x="3130391" y="328136"/>
                  </a:cubicBezTo>
                  <a:cubicBezTo>
                    <a:pt x="3130391" y="328136"/>
                    <a:pt x="3130391" y="328136"/>
                    <a:pt x="3130391" y="328136"/>
                  </a:cubicBezTo>
                  <a:close/>
                  <a:moveTo>
                    <a:pt x="3133249" y="276701"/>
                  </a:moveTo>
                  <a:cubicBezTo>
                    <a:pt x="3133249" y="276701"/>
                    <a:pt x="3133249" y="275749"/>
                    <a:pt x="3133249" y="276701"/>
                  </a:cubicBezTo>
                  <a:cubicBezTo>
                    <a:pt x="3131344" y="270034"/>
                    <a:pt x="3129439" y="264319"/>
                    <a:pt x="3128486" y="259556"/>
                  </a:cubicBezTo>
                  <a:cubicBezTo>
                    <a:pt x="3128486" y="254794"/>
                    <a:pt x="3128486" y="250031"/>
                    <a:pt x="3127534" y="246221"/>
                  </a:cubicBezTo>
                  <a:cubicBezTo>
                    <a:pt x="3131344" y="235744"/>
                    <a:pt x="3134201" y="228124"/>
                    <a:pt x="3135154" y="223361"/>
                  </a:cubicBezTo>
                  <a:cubicBezTo>
                    <a:pt x="3135154" y="235744"/>
                    <a:pt x="3134201" y="253841"/>
                    <a:pt x="3133249" y="276701"/>
                  </a:cubicBezTo>
                  <a:close/>
                  <a:moveTo>
                    <a:pt x="3130391" y="229076"/>
                  </a:moveTo>
                  <a:cubicBezTo>
                    <a:pt x="3132296" y="225266"/>
                    <a:pt x="3134201" y="222409"/>
                    <a:pt x="3136106" y="219551"/>
                  </a:cubicBezTo>
                  <a:cubicBezTo>
                    <a:pt x="3136106" y="220504"/>
                    <a:pt x="3136106" y="220504"/>
                    <a:pt x="3136106" y="221456"/>
                  </a:cubicBezTo>
                  <a:cubicBezTo>
                    <a:pt x="3134201" y="224314"/>
                    <a:pt x="3131344" y="229076"/>
                    <a:pt x="3127534" y="236696"/>
                  </a:cubicBezTo>
                  <a:cubicBezTo>
                    <a:pt x="3127534" y="235744"/>
                    <a:pt x="3127534" y="235744"/>
                    <a:pt x="3127534" y="234791"/>
                  </a:cubicBezTo>
                  <a:cubicBezTo>
                    <a:pt x="3128486" y="232886"/>
                    <a:pt x="3129439" y="230981"/>
                    <a:pt x="3130391" y="229076"/>
                  </a:cubicBezTo>
                  <a:close/>
                  <a:moveTo>
                    <a:pt x="3114199" y="290036"/>
                  </a:moveTo>
                  <a:cubicBezTo>
                    <a:pt x="3114199" y="289084"/>
                    <a:pt x="3113246" y="288131"/>
                    <a:pt x="3113246" y="287179"/>
                  </a:cubicBezTo>
                  <a:cubicBezTo>
                    <a:pt x="3113246" y="287179"/>
                    <a:pt x="3113246" y="287179"/>
                    <a:pt x="3113246" y="286226"/>
                  </a:cubicBezTo>
                  <a:cubicBezTo>
                    <a:pt x="3114199" y="284321"/>
                    <a:pt x="3114199" y="283369"/>
                    <a:pt x="3115151" y="281464"/>
                  </a:cubicBezTo>
                  <a:cubicBezTo>
                    <a:pt x="3114199" y="284321"/>
                    <a:pt x="3114199" y="287179"/>
                    <a:pt x="3114199" y="290036"/>
                  </a:cubicBezTo>
                  <a:close/>
                  <a:moveTo>
                    <a:pt x="3115151" y="257651"/>
                  </a:moveTo>
                  <a:cubicBezTo>
                    <a:pt x="3115151" y="256699"/>
                    <a:pt x="3116104" y="256699"/>
                    <a:pt x="3116104" y="255746"/>
                  </a:cubicBezTo>
                  <a:cubicBezTo>
                    <a:pt x="3116104" y="256699"/>
                    <a:pt x="3116104" y="257651"/>
                    <a:pt x="3115151" y="257651"/>
                  </a:cubicBezTo>
                  <a:cubicBezTo>
                    <a:pt x="3114199" y="261461"/>
                    <a:pt x="3111341" y="265271"/>
                    <a:pt x="3109436" y="270034"/>
                  </a:cubicBezTo>
                  <a:cubicBezTo>
                    <a:pt x="3111341" y="266224"/>
                    <a:pt x="3113246" y="261461"/>
                    <a:pt x="3115151" y="257651"/>
                  </a:cubicBezTo>
                  <a:close/>
                  <a:moveTo>
                    <a:pt x="3110389" y="292894"/>
                  </a:moveTo>
                  <a:cubicBezTo>
                    <a:pt x="3111341" y="297656"/>
                    <a:pt x="3112294" y="302419"/>
                    <a:pt x="3113246" y="309086"/>
                  </a:cubicBezTo>
                  <a:cubicBezTo>
                    <a:pt x="3113246" y="310039"/>
                    <a:pt x="3113246" y="310991"/>
                    <a:pt x="3114199" y="311944"/>
                  </a:cubicBezTo>
                  <a:cubicBezTo>
                    <a:pt x="3114199" y="314801"/>
                    <a:pt x="3114199" y="317659"/>
                    <a:pt x="3114199" y="321469"/>
                  </a:cubicBezTo>
                  <a:cubicBezTo>
                    <a:pt x="3114199" y="321469"/>
                    <a:pt x="3114199" y="320516"/>
                    <a:pt x="3114199" y="319564"/>
                  </a:cubicBezTo>
                  <a:cubicBezTo>
                    <a:pt x="3113246" y="315754"/>
                    <a:pt x="3112294" y="312896"/>
                    <a:pt x="3110389" y="309086"/>
                  </a:cubicBezTo>
                  <a:cubicBezTo>
                    <a:pt x="3110389" y="306229"/>
                    <a:pt x="3109436" y="303371"/>
                    <a:pt x="3109436" y="300514"/>
                  </a:cubicBezTo>
                  <a:cubicBezTo>
                    <a:pt x="3109436" y="300514"/>
                    <a:pt x="3109436" y="299561"/>
                    <a:pt x="3109436" y="299561"/>
                  </a:cubicBezTo>
                  <a:cubicBezTo>
                    <a:pt x="3108484" y="297656"/>
                    <a:pt x="3109436" y="295751"/>
                    <a:pt x="3110389" y="292894"/>
                  </a:cubicBezTo>
                  <a:close/>
                  <a:moveTo>
                    <a:pt x="3098006" y="350996"/>
                  </a:moveTo>
                  <a:cubicBezTo>
                    <a:pt x="3098006" y="350996"/>
                    <a:pt x="3098006" y="350996"/>
                    <a:pt x="3098006" y="350996"/>
                  </a:cubicBezTo>
                  <a:cubicBezTo>
                    <a:pt x="3098006" y="351949"/>
                    <a:pt x="3098006" y="352901"/>
                    <a:pt x="3098006" y="353854"/>
                  </a:cubicBezTo>
                  <a:cubicBezTo>
                    <a:pt x="3098006" y="353854"/>
                    <a:pt x="3098006" y="353854"/>
                    <a:pt x="3097054" y="354806"/>
                  </a:cubicBezTo>
                  <a:cubicBezTo>
                    <a:pt x="3097054" y="353854"/>
                    <a:pt x="3098006" y="351949"/>
                    <a:pt x="3098006" y="350996"/>
                  </a:cubicBezTo>
                  <a:close/>
                  <a:moveTo>
                    <a:pt x="3093244" y="377666"/>
                  </a:moveTo>
                  <a:cubicBezTo>
                    <a:pt x="3095149" y="372904"/>
                    <a:pt x="3097054" y="370046"/>
                    <a:pt x="3097054" y="370046"/>
                  </a:cubicBezTo>
                  <a:cubicBezTo>
                    <a:pt x="3097054" y="370046"/>
                    <a:pt x="3096101" y="371951"/>
                    <a:pt x="3094196" y="373856"/>
                  </a:cubicBezTo>
                  <a:cubicBezTo>
                    <a:pt x="3095149" y="368141"/>
                    <a:pt x="3096101" y="361474"/>
                    <a:pt x="3097054" y="355759"/>
                  </a:cubicBezTo>
                  <a:cubicBezTo>
                    <a:pt x="3097054" y="354806"/>
                    <a:pt x="3098006" y="354806"/>
                    <a:pt x="3098006" y="353854"/>
                  </a:cubicBezTo>
                  <a:cubicBezTo>
                    <a:pt x="3098006" y="359569"/>
                    <a:pt x="3098006" y="366236"/>
                    <a:pt x="3098006" y="371951"/>
                  </a:cubicBezTo>
                  <a:cubicBezTo>
                    <a:pt x="3098006" y="375761"/>
                    <a:pt x="3098006" y="379571"/>
                    <a:pt x="3098006" y="383381"/>
                  </a:cubicBezTo>
                  <a:lnTo>
                    <a:pt x="3095149" y="383381"/>
                  </a:lnTo>
                  <a:cubicBezTo>
                    <a:pt x="3095149" y="383381"/>
                    <a:pt x="3095149" y="383381"/>
                    <a:pt x="3095149" y="383381"/>
                  </a:cubicBezTo>
                  <a:cubicBezTo>
                    <a:pt x="3094196" y="381476"/>
                    <a:pt x="3094196" y="379571"/>
                    <a:pt x="3093244" y="378619"/>
                  </a:cubicBezTo>
                  <a:cubicBezTo>
                    <a:pt x="3093244" y="379571"/>
                    <a:pt x="3093244" y="378619"/>
                    <a:pt x="3093244" y="377666"/>
                  </a:cubicBezTo>
                  <a:close/>
                  <a:moveTo>
                    <a:pt x="3084671" y="293846"/>
                  </a:moveTo>
                  <a:cubicBezTo>
                    <a:pt x="3084671" y="288131"/>
                    <a:pt x="3085624" y="282416"/>
                    <a:pt x="3085624" y="276701"/>
                  </a:cubicBezTo>
                  <a:cubicBezTo>
                    <a:pt x="3085624" y="277654"/>
                    <a:pt x="3085624" y="277654"/>
                    <a:pt x="3085624" y="278606"/>
                  </a:cubicBezTo>
                  <a:cubicBezTo>
                    <a:pt x="3086576" y="281464"/>
                    <a:pt x="3087529" y="285274"/>
                    <a:pt x="3088481" y="289084"/>
                  </a:cubicBezTo>
                  <a:cubicBezTo>
                    <a:pt x="3087529" y="290036"/>
                    <a:pt x="3087529" y="290989"/>
                    <a:pt x="3086576" y="291941"/>
                  </a:cubicBezTo>
                  <a:cubicBezTo>
                    <a:pt x="3085624" y="292894"/>
                    <a:pt x="3084671" y="294799"/>
                    <a:pt x="3084671" y="296704"/>
                  </a:cubicBezTo>
                  <a:cubicBezTo>
                    <a:pt x="3084671" y="294799"/>
                    <a:pt x="3084671" y="294799"/>
                    <a:pt x="3084671" y="293846"/>
                  </a:cubicBezTo>
                  <a:close/>
                  <a:moveTo>
                    <a:pt x="3086576" y="348139"/>
                  </a:moveTo>
                  <a:cubicBezTo>
                    <a:pt x="3086576" y="349091"/>
                    <a:pt x="3086576" y="349091"/>
                    <a:pt x="3086576" y="350044"/>
                  </a:cubicBezTo>
                  <a:cubicBezTo>
                    <a:pt x="3085624" y="353854"/>
                    <a:pt x="3084671" y="357664"/>
                    <a:pt x="3083719" y="361474"/>
                  </a:cubicBezTo>
                  <a:cubicBezTo>
                    <a:pt x="3083719" y="360521"/>
                    <a:pt x="3083719" y="358616"/>
                    <a:pt x="3083719" y="357664"/>
                  </a:cubicBezTo>
                  <a:cubicBezTo>
                    <a:pt x="3084671" y="353854"/>
                    <a:pt x="3085624" y="350996"/>
                    <a:pt x="3086576" y="348139"/>
                  </a:cubicBezTo>
                  <a:close/>
                  <a:moveTo>
                    <a:pt x="3057049" y="235744"/>
                  </a:moveTo>
                  <a:cubicBezTo>
                    <a:pt x="3058001" y="227171"/>
                    <a:pt x="3058954" y="218599"/>
                    <a:pt x="3059906" y="210979"/>
                  </a:cubicBezTo>
                  <a:cubicBezTo>
                    <a:pt x="3060859" y="204311"/>
                    <a:pt x="3061811" y="197644"/>
                    <a:pt x="3062764" y="191929"/>
                  </a:cubicBezTo>
                  <a:cubicBezTo>
                    <a:pt x="3063716" y="195739"/>
                    <a:pt x="3065621" y="201454"/>
                    <a:pt x="3067526" y="209074"/>
                  </a:cubicBezTo>
                  <a:cubicBezTo>
                    <a:pt x="3067526" y="213836"/>
                    <a:pt x="3066574" y="217646"/>
                    <a:pt x="3066574" y="222409"/>
                  </a:cubicBezTo>
                  <a:cubicBezTo>
                    <a:pt x="3065621" y="231934"/>
                    <a:pt x="3064669" y="242411"/>
                    <a:pt x="3063716" y="253841"/>
                  </a:cubicBezTo>
                  <a:cubicBezTo>
                    <a:pt x="3062764" y="258604"/>
                    <a:pt x="3060859" y="263366"/>
                    <a:pt x="3059906" y="268129"/>
                  </a:cubicBezTo>
                  <a:cubicBezTo>
                    <a:pt x="3058954" y="262414"/>
                    <a:pt x="3058001" y="257651"/>
                    <a:pt x="3057049" y="252889"/>
                  </a:cubicBezTo>
                  <a:cubicBezTo>
                    <a:pt x="3057049" y="250984"/>
                    <a:pt x="3056096" y="250031"/>
                    <a:pt x="3056096" y="248126"/>
                  </a:cubicBezTo>
                  <a:cubicBezTo>
                    <a:pt x="3056096" y="244316"/>
                    <a:pt x="3056096" y="239554"/>
                    <a:pt x="3057049" y="235744"/>
                  </a:cubicBezTo>
                  <a:close/>
                  <a:moveTo>
                    <a:pt x="3002756" y="307181"/>
                  </a:moveTo>
                  <a:cubicBezTo>
                    <a:pt x="3002756" y="308134"/>
                    <a:pt x="3001804" y="309086"/>
                    <a:pt x="3001804" y="310039"/>
                  </a:cubicBezTo>
                  <a:cubicBezTo>
                    <a:pt x="3001804" y="308134"/>
                    <a:pt x="3002756" y="307181"/>
                    <a:pt x="3002756" y="305276"/>
                  </a:cubicBezTo>
                  <a:cubicBezTo>
                    <a:pt x="3004661" y="298609"/>
                    <a:pt x="3005614" y="292894"/>
                    <a:pt x="3006566" y="286226"/>
                  </a:cubicBezTo>
                  <a:cubicBezTo>
                    <a:pt x="3007519" y="287179"/>
                    <a:pt x="3007519" y="289084"/>
                    <a:pt x="3008471" y="290036"/>
                  </a:cubicBezTo>
                  <a:cubicBezTo>
                    <a:pt x="3006566" y="295751"/>
                    <a:pt x="3004661" y="301466"/>
                    <a:pt x="3002756" y="307181"/>
                  </a:cubicBezTo>
                  <a:close/>
                  <a:moveTo>
                    <a:pt x="3036094" y="249079"/>
                  </a:moveTo>
                  <a:cubicBezTo>
                    <a:pt x="3036094" y="254794"/>
                    <a:pt x="3036094" y="260509"/>
                    <a:pt x="3036094" y="266224"/>
                  </a:cubicBezTo>
                  <a:cubicBezTo>
                    <a:pt x="3035141" y="263366"/>
                    <a:pt x="3034189" y="260509"/>
                    <a:pt x="3033236" y="258604"/>
                  </a:cubicBezTo>
                  <a:cubicBezTo>
                    <a:pt x="3034189" y="255746"/>
                    <a:pt x="3035141" y="252889"/>
                    <a:pt x="3036094" y="249079"/>
                  </a:cubicBezTo>
                  <a:close/>
                  <a:moveTo>
                    <a:pt x="3030379" y="269081"/>
                  </a:moveTo>
                  <a:cubicBezTo>
                    <a:pt x="3030379" y="269081"/>
                    <a:pt x="3030379" y="270034"/>
                    <a:pt x="3030379" y="269081"/>
                  </a:cubicBezTo>
                  <a:cubicBezTo>
                    <a:pt x="3030379" y="270034"/>
                    <a:pt x="3030379" y="270034"/>
                    <a:pt x="3030379" y="269081"/>
                  </a:cubicBezTo>
                  <a:cubicBezTo>
                    <a:pt x="3030379" y="269081"/>
                    <a:pt x="3030379" y="269081"/>
                    <a:pt x="3030379" y="269081"/>
                  </a:cubicBezTo>
                  <a:close/>
                  <a:moveTo>
                    <a:pt x="3027521" y="353854"/>
                  </a:moveTo>
                  <a:cubicBezTo>
                    <a:pt x="3026569" y="356711"/>
                    <a:pt x="3024664" y="360521"/>
                    <a:pt x="3023711" y="364331"/>
                  </a:cubicBezTo>
                  <a:cubicBezTo>
                    <a:pt x="3021806" y="370046"/>
                    <a:pt x="3019901" y="376714"/>
                    <a:pt x="3017996" y="383381"/>
                  </a:cubicBezTo>
                  <a:cubicBezTo>
                    <a:pt x="3017996" y="384334"/>
                    <a:pt x="3017044" y="384334"/>
                    <a:pt x="3017044" y="385286"/>
                  </a:cubicBezTo>
                  <a:cubicBezTo>
                    <a:pt x="3016091" y="382429"/>
                    <a:pt x="3015139" y="379571"/>
                    <a:pt x="3015139" y="376714"/>
                  </a:cubicBezTo>
                  <a:cubicBezTo>
                    <a:pt x="3017044" y="372904"/>
                    <a:pt x="3018949" y="370046"/>
                    <a:pt x="3020854" y="366236"/>
                  </a:cubicBezTo>
                  <a:cubicBezTo>
                    <a:pt x="3023711" y="361474"/>
                    <a:pt x="3025616" y="357664"/>
                    <a:pt x="3028474" y="352901"/>
                  </a:cubicBezTo>
                  <a:cubicBezTo>
                    <a:pt x="3027521" y="352901"/>
                    <a:pt x="3027521" y="353854"/>
                    <a:pt x="3027521" y="353854"/>
                  </a:cubicBezTo>
                  <a:close/>
                  <a:moveTo>
                    <a:pt x="3021806" y="230029"/>
                  </a:moveTo>
                  <a:cubicBezTo>
                    <a:pt x="3022759" y="231934"/>
                    <a:pt x="3022759" y="235744"/>
                    <a:pt x="3024664" y="241459"/>
                  </a:cubicBezTo>
                  <a:cubicBezTo>
                    <a:pt x="3024664" y="241459"/>
                    <a:pt x="3024664" y="241459"/>
                    <a:pt x="3024664" y="241459"/>
                  </a:cubicBezTo>
                  <a:cubicBezTo>
                    <a:pt x="3022759" y="237649"/>
                    <a:pt x="3022759" y="233839"/>
                    <a:pt x="3021806" y="230029"/>
                  </a:cubicBezTo>
                  <a:cubicBezTo>
                    <a:pt x="3021806" y="230029"/>
                    <a:pt x="3021806" y="230029"/>
                    <a:pt x="3021806" y="230029"/>
                  </a:cubicBezTo>
                  <a:close/>
                  <a:moveTo>
                    <a:pt x="3020854" y="305276"/>
                  </a:moveTo>
                  <a:cubicBezTo>
                    <a:pt x="3020854" y="305276"/>
                    <a:pt x="3020854" y="305276"/>
                    <a:pt x="3020854" y="305276"/>
                  </a:cubicBezTo>
                  <a:cubicBezTo>
                    <a:pt x="3020854" y="306229"/>
                    <a:pt x="3020854" y="305276"/>
                    <a:pt x="3020854" y="305276"/>
                  </a:cubicBezTo>
                  <a:cubicBezTo>
                    <a:pt x="3020854" y="305276"/>
                    <a:pt x="3020854" y="305276"/>
                    <a:pt x="3020854" y="305276"/>
                  </a:cubicBezTo>
                  <a:close/>
                  <a:moveTo>
                    <a:pt x="3017996" y="317659"/>
                  </a:moveTo>
                  <a:cubicBezTo>
                    <a:pt x="3018949" y="321469"/>
                    <a:pt x="3020854" y="325279"/>
                    <a:pt x="3021806" y="329089"/>
                  </a:cubicBezTo>
                  <a:cubicBezTo>
                    <a:pt x="3022759" y="332899"/>
                    <a:pt x="3023711" y="336709"/>
                    <a:pt x="3025616" y="339566"/>
                  </a:cubicBezTo>
                  <a:cubicBezTo>
                    <a:pt x="3020854" y="345281"/>
                    <a:pt x="3016091" y="351949"/>
                    <a:pt x="3011329" y="359569"/>
                  </a:cubicBezTo>
                  <a:cubicBezTo>
                    <a:pt x="3011329" y="359569"/>
                    <a:pt x="3011329" y="359569"/>
                    <a:pt x="3011329" y="360521"/>
                  </a:cubicBezTo>
                  <a:cubicBezTo>
                    <a:pt x="3010376" y="357664"/>
                    <a:pt x="3009424" y="354806"/>
                    <a:pt x="3009424" y="351949"/>
                  </a:cubicBezTo>
                  <a:cubicBezTo>
                    <a:pt x="3011329" y="340519"/>
                    <a:pt x="3015139" y="329089"/>
                    <a:pt x="3017996" y="317659"/>
                  </a:cubicBezTo>
                  <a:close/>
                  <a:moveTo>
                    <a:pt x="3013234" y="257651"/>
                  </a:moveTo>
                  <a:cubicBezTo>
                    <a:pt x="3013234" y="258604"/>
                    <a:pt x="3013234" y="259556"/>
                    <a:pt x="3014186" y="261461"/>
                  </a:cubicBezTo>
                  <a:cubicBezTo>
                    <a:pt x="3014186" y="263366"/>
                    <a:pt x="3015139" y="266224"/>
                    <a:pt x="3015139" y="269081"/>
                  </a:cubicBezTo>
                  <a:cubicBezTo>
                    <a:pt x="3013234" y="273844"/>
                    <a:pt x="3012281" y="279559"/>
                    <a:pt x="3010376" y="284321"/>
                  </a:cubicBezTo>
                  <a:cubicBezTo>
                    <a:pt x="3010376" y="283369"/>
                    <a:pt x="3009424" y="283369"/>
                    <a:pt x="3009424" y="282416"/>
                  </a:cubicBezTo>
                  <a:cubicBezTo>
                    <a:pt x="3009424" y="281464"/>
                    <a:pt x="3008471" y="280511"/>
                    <a:pt x="3008471" y="279559"/>
                  </a:cubicBezTo>
                  <a:cubicBezTo>
                    <a:pt x="3008471" y="278606"/>
                    <a:pt x="3008471" y="277654"/>
                    <a:pt x="3009424" y="276701"/>
                  </a:cubicBezTo>
                  <a:cubicBezTo>
                    <a:pt x="3010376" y="270034"/>
                    <a:pt x="3011329" y="263366"/>
                    <a:pt x="3013234" y="257651"/>
                  </a:cubicBezTo>
                  <a:close/>
                  <a:moveTo>
                    <a:pt x="3008471" y="230029"/>
                  </a:moveTo>
                  <a:cubicBezTo>
                    <a:pt x="3009424" y="234791"/>
                    <a:pt x="3010376" y="239554"/>
                    <a:pt x="3010376" y="244316"/>
                  </a:cubicBezTo>
                  <a:cubicBezTo>
                    <a:pt x="3009424" y="246221"/>
                    <a:pt x="3008471" y="249079"/>
                    <a:pt x="3007519" y="250984"/>
                  </a:cubicBezTo>
                  <a:cubicBezTo>
                    <a:pt x="3005614" y="254794"/>
                    <a:pt x="3003709" y="259556"/>
                    <a:pt x="3001804" y="264319"/>
                  </a:cubicBezTo>
                  <a:cubicBezTo>
                    <a:pt x="3003709" y="251936"/>
                    <a:pt x="3005614" y="240506"/>
                    <a:pt x="3008471" y="230029"/>
                  </a:cubicBezTo>
                  <a:close/>
                  <a:moveTo>
                    <a:pt x="3003709" y="195739"/>
                  </a:moveTo>
                  <a:cubicBezTo>
                    <a:pt x="3003709" y="198596"/>
                    <a:pt x="3004661" y="202406"/>
                    <a:pt x="3004661" y="205264"/>
                  </a:cubicBezTo>
                  <a:cubicBezTo>
                    <a:pt x="3002756" y="210979"/>
                    <a:pt x="3000851" y="216694"/>
                    <a:pt x="2997994" y="223361"/>
                  </a:cubicBezTo>
                  <a:cubicBezTo>
                    <a:pt x="2993231" y="235744"/>
                    <a:pt x="2990374" y="248126"/>
                    <a:pt x="2986564" y="262414"/>
                  </a:cubicBezTo>
                  <a:cubicBezTo>
                    <a:pt x="2985611" y="265271"/>
                    <a:pt x="2985611" y="268129"/>
                    <a:pt x="2984659" y="270986"/>
                  </a:cubicBezTo>
                  <a:cubicBezTo>
                    <a:pt x="2984659" y="270986"/>
                    <a:pt x="2984659" y="270986"/>
                    <a:pt x="2984659" y="270986"/>
                  </a:cubicBezTo>
                  <a:cubicBezTo>
                    <a:pt x="2991326" y="243364"/>
                    <a:pt x="2997994" y="218599"/>
                    <a:pt x="3003709" y="195739"/>
                  </a:cubicBezTo>
                  <a:close/>
                  <a:moveTo>
                    <a:pt x="2974181" y="311944"/>
                  </a:moveTo>
                  <a:cubicBezTo>
                    <a:pt x="2976086" y="302419"/>
                    <a:pt x="2978944" y="292894"/>
                    <a:pt x="2980849" y="284321"/>
                  </a:cubicBezTo>
                  <a:cubicBezTo>
                    <a:pt x="2980849" y="284321"/>
                    <a:pt x="2980849" y="285274"/>
                    <a:pt x="2980849" y="285274"/>
                  </a:cubicBezTo>
                  <a:cubicBezTo>
                    <a:pt x="2978944" y="291941"/>
                    <a:pt x="2977991" y="299561"/>
                    <a:pt x="2976086" y="307181"/>
                  </a:cubicBezTo>
                  <a:cubicBezTo>
                    <a:pt x="2975134" y="313849"/>
                    <a:pt x="2973229" y="320516"/>
                    <a:pt x="2972276" y="327184"/>
                  </a:cubicBezTo>
                  <a:cubicBezTo>
                    <a:pt x="2971324" y="325279"/>
                    <a:pt x="2971324" y="324326"/>
                    <a:pt x="2970371" y="322421"/>
                  </a:cubicBezTo>
                  <a:cubicBezTo>
                    <a:pt x="2972276" y="318611"/>
                    <a:pt x="2973229" y="314801"/>
                    <a:pt x="2974181" y="311944"/>
                  </a:cubicBezTo>
                  <a:close/>
                  <a:moveTo>
                    <a:pt x="2964656" y="349091"/>
                  </a:moveTo>
                  <a:cubicBezTo>
                    <a:pt x="2965609" y="344329"/>
                    <a:pt x="2967514" y="339566"/>
                    <a:pt x="2968466" y="334804"/>
                  </a:cubicBezTo>
                  <a:cubicBezTo>
                    <a:pt x="2969419" y="337661"/>
                    <a:pt x="2970371" y="341471"/>
                    <a:pt x="2970371" y="344329"/>
                  </a:cubicBezTo>
                  <a:cubicBezTo>
                    <a:pt x="2970371" y="347186"/>
                    <a:pt x="2969419" y="350996"/>
                    <a:pt x="2969419" y="353854"/>
                  </a:cubicBezTo>
                  <a:cubicBezTo>
                    <a:pt x="2968466" y="361474"/>
                    <a:pt x="2967514" y="369094"/>
                    <a:pt x="2966561" y="377666"/>
                  </a:cubicBezTo>
                  <a:cubicBezTo>
                    <a:pt x="2965609" y="373856"/>
                    <a:pt x="2964656" y="369094"/>
                    <a:pt x="2963704" y="366236"/>
                  </a:cubicBezTo>
                  <a:cubicBezTo>
                    <a:pt x="2967514" y="350996"/>
                    <a:pt x="2969419" y="341471"/>
                    <a:pt x="2969419" y="341471"/>
                  </a:cubicBezTo>
                  <a:cubicBezTo>
                    <a:pt x="2969419" y="341471"/>
                    <a:pt x="2967514" y="344329"/>
                    <a:pt x="2964656" y="349091"/>
                  </a:cubicBezTo>
                  <a:close/>
                  <a:moveTo>
                    <a:pt x="2958941" y="383381"/>
                  </a:moveTo>
                  <a:cubicBezTo>
                    <a:pt x="2958941" y="383381"/>
                    <a:pt x="2958941" y="384334"/>
                    <a:pt x="2958941" y="383381"/>
                  </a:cubicBezTo>
                  <a:cubicBezTo>
                    <a:pt x="2958941" y="384334"/>
                    <a:pt x="2958941" y="384334"/>
                    <a:pt x="2958941" y="383381"/>
                  </a:cubicBezTo>
                  <a:cubicBezTo>
                    <a:pt x="2958941" y="384334"/>
                    <a:pt x="2958941" y="384334"/>
                    <a:pt x="2958941" y="383381"/>
                  </a:cubicBezTo>
                  <a:cubicBezTo>
                    <a:pt x="2958941" y="384334"/>
                    <a:pt x="2958941" y="383381"/>
                    <a:pt x="2958941" y="383381"/>
                  </a:cubicBezTo>
                  <a:close/>
                  <a:moveTo>
                    <a:pt x="2936081" y="284321"/>
                  </a:moveTo>
                  <a:cubicBezTo>
                    <a:pt x="2935129" y="280511"/>
                    <a:pt x="2935129" y="277654"/>
                    <a:pt x="2934176" y="273844"/>
                  </a:cubicBezTo>
                  <a:cubicBezTo>
                    <a:pt x="2935129" y="272891"/>
                    <a:pt x="2935129" y="271939"/>
                    <a:pt x="2936081" y="271939"/>
                  </a:cubicBezTo>
                  <a:cubicBezTo>
                    <a:pt x="2936081" y="276701"/>
                    <a:pt x="2936081" y="280511"/>
                    <a:pt x="2936081" y="284321"/>
                  </a:cubicBezTo>
                  <a:close/>
                  <a:moveTo>
                    <a:pt x="2936081" y="267176"/>
                  </a:moveTo>
                  <a:cubicBezTo>
                    <a:pt x="2936081" y="267176"/>
                    <a:pt x="2936081" y="267176"/>
                    <a:pt x="2936081" y="267176"/>
                  </a:cubicBezTo>
                  <a:cubicBezTo>
                    <a:pt x="2935129" y="268129"/>
                    <a:pt x="2935129" y="268129"/>
                    <a:pt x="2934176" y="269081"/>
                  </a:cubicBezTo>
                  <a:cubicBezTo>
                    <a:pt x="2935129" y="268129"/>
                    <a:pt x="2935129" y="266224"/>
                    <a:pt x="2936081" y="265271"/>
                  </a:cubicBezTo>
                  <a:cubicBezTo>
                    <a:pt x="2935129" y="265271"/>
                    <a:pt x="2936081" y="266224"/>
                    <a:pt x="2936081" y="267176"/>
                  </a:cubicBezTo>
                  <a:close/>
                  <a:moveTo>
                    <a:pt x="2929414" y="243364"/>
                  </a:moveTo>
                  <a:lnTo>
                    <a:pt x="2930366" y="243364"/>
                  </a:lnTo>
                  <a:lnTo>
                    <a:pt x="2933224" y="244316"/>
                  </a:lnTo>
                  <a:cubicBezTo>
                    <a:pt x="2933224" y="248126"/>
                    <a:pt x="2934176" y="251936"/>
                    <a:pt x="2934176" y="255746"/>
                  </a:cubicBezTo>
                  <a:cubicBezTo>
                    <a:pt x="2933224" y="257651"/>
                    <a:pt x="2932271" y="259556"/>
                    <a:pt x="2931319" y="261461"/>
                  </a:cubicBezTo>
                  <a:cubicBezTo>
                    <a:pt x="2930366" y="256699"/>
                    <a:pt x="2929414" y="251936"/>
                    <a:pt x="2927509" y="248126"/>
                  </a:cubicBezTo>
                  <a:cubicBezTo>
                    <a:pt x="2928461" y="246221"/>
                    <a:pt x="2929414" y="245269"/>
                    <a:pt x="2929414" y="243364"/>
                  </a:cubicBezTo>
                  <a:close/>
                  <a:moveTo>
                    <a:pt x="2917984" y="351949"/>
                  </a:moveTo>
                  <a:cubicBezTo>
                    <a:pt x="2917984" y="352901"/>
                    <a:pt x="2917984" y="352901"/>
                    <a:pt x="2918936" y="353854"/>
                  </a:cubicBezTo>
                  <a:cubicBezTo>
                    <a:pt x="2918936" y="356711"/>
                    <a:pt x="2919889" y="360521"/>
                    <a:pt x="2919889" y="363379"/>
                  </a:cubicBezTo>
                  <a:cubicBezTo>
                    <a:pt x="2920841" y="369094"/>
                    <a:pt x="2921794" y="374809"/>
                    <a:pt x="2922746" y="380524"/>
                  </a:cubicBezTo>
                  <a:cubicBezTo>
                    <a:pt x="2921794" y="380524"/>
                    <a:pt x="2921794" y="380524"/>
                    <a:pt x="2920841" y="380524"/>
                  </a:cubicBezTo>
                  <a:cubicBezTo>
                    <a:pt x="2918936" y="374809"/>
                    <a:pt x="2916079" y="368141"/>
                    <a:pt x="2913221" y="362426"/>
                  </a:cubicBezTo>
                  <a:cubicBezTo>
                    <a:pt x="2914174" y="358616"/>
                    <a:pt x="2916079" y="355759"/>
                    <a:pt x="2917984" y="351949"/>
                  </a:cubicBezTo>
                  <a:close/>
                  <a:moveTo>
                    <a:pt x="2904649" y="224314"/>
                  </a:moveTo>
                  <a:cubicBezTo>
                    <a:pt x="2904649" y="224314"/>
                    <a:pt x="2904649" y="224314"/>
                    <a:pt x="2904649" y="224314"/>
                  </a:cubicBezTo>
                  <a:cubicBezTo>
                    <a:pt x="2904649" y="228124"/>
                    <a:pt x="2903696" y="232886"/>
                    <a:pt x="2903696" y="237649"/>
                  </a:cubicBezTo>
                  <a:cubicBezTo>
                    <a:pt x="2903696" y="241459"/>
                    <a:pt x="2902744" y="245269"/>
                    <a:pt x="2902744" y="250031"/>
                  </a:cubicBezTo>
                  <a:cubicBezTo>
                    <a:pt x="2901791" y="245269"/>
                    <a:pt x="2901791" y="240506"/>
                    <a:pt x="2900839" y="235744"/>
                  </a:cubicBezTo>
                  <a:cubicBezTo>
                    <a:pt x="2901791" y="231934"/>
                    <a:pt x="2902744" y="228124"/>
                    <a:pt x="2904649" y="224314"/>
                  </a:cubicBezTo>
                  <a:close/>
                  <a:moveTo>
                    <a:pt x="2885599" y="294799"/>
                  </a:moveTo>
                  <a:cubicBezTo>
                    <a:pt x="2886551" y="290036"/>
                    <a:pt x="2887504" y="285274"/>
                    <a:pt x="2888456" y="280511"/>
                  </a:cubicBezTo>
                  <a:cubicBezTo>
                    <a:pt x="2888456" y="289084"/>
                    <a:pt x="2889409" y="298609"/>
                    <a:pt x="2889409" y="308134"/>
                  </a:cubicBezTo>
                  <a:cubicBezTo>
                    <a:pt x="2887504" y="304324"/>
                    <a:pt x="2886551" y="301466"/>
                    <a:pt x="2884646" y="297656"/>
                  </a:cubicBezTo>
                  <a:cubicBezTo>
                    <a:pt x="2884646" y="296704"/>
                    <a:pt x="2885599" y="295751"/>
                    <a:pt x="2885599" y="294799"/>
                  </a:cubicBezTo>
                  <a:close/>
                  <a:moveTo>
                    <a:pt x="2869406" y="301466"/>
                  </a:moveTo>
                  <a:cubicBezTo>
                    <a:pt x="2869406" y="302419"/>
                    <a:pt x="2869406" y="302419"/>
                    <a:pt x="2869406" y="301466"/>
                  </a:cubicBezTo>
                  <a:cubicBezTo>
                    <a:pt x="2869406" y="302419"/>
                    <a:pt x="2869406" y="302419"/>
                    <a:pt x="2869406" y="302419"/>
                  </a:cubicBezTo>
                  <a:cubicBezTo>
                    <a:pt x="2869406" y="303371"/>
                    <a:pt x="2868454" y="304324"/>
                    <a:pt x="2868454" y="305276"/>
                  </a:cubicBezTo>
                  <a:cubicBezTo>
                    <a:pt x="2864644" y="298609"/>
                    <a:pt x="2860834" y="290989"/>
                    <a:pt x="2856071" y="284321"/>
                  </a:cubicBezTo>
                  <a:cubicBezTo>
                    <a:pt x="2856071" y="283369"/>
                    <a:pt x="2855119" y="283369"/>
                    <a:pt x="2855119" y="282416"/>
                  </a:cubicBezTo>
                  <a:cubicBezTo>
                    <a:pt x="2856071" y="279559"/>
                    <a:pt x="2857024" y="276701"/>
                    <a:pt x="2857976" y="273844"/>
                  </a:cubicBezTo>
                  <a:cubicBezTo>
                    <a:pt x="2861786" y="283369"/>
                    <a:pt x="2865596" y="292894"/>
                    <a:pt x="2869406" y="301466"/>
                  </a:cubicBezTo>
                  <a:close/>
                  <a:moveTo>
                    <a:pt x="2851309" y="262414"/>
                  </a:moveTo>
                  <a:cubicBezTo>
                    <a:pt x="2851309" y="261461"/>
                    <a:pt x="2851309" y="260509"/>
                    <a:pt x="2851309" y="259556"/>
                  </a:cubicBezTo>
                  <a:cubicBezTo>
                    <a:pt x="2852261" y="262414"/>
                    <a:pt x="2853214" y="264319"/>
                    <a:pt x="2855119" y="267176"/>
                  </a:cubicBezTo>
                  <a:cubicBezTo>
                    <a:pt x="2855119" y="268129"/>
                    <a:pt x="2856071" y="268129"/>
                    <a:pt x="2856071" y="269081"/>
                  </a:cubicBezTo>
                  <a:cubicBezTo>
                    <a:pt x="2855119" y="270986"/>
                    <a:pt x="2853214" y="273844"/>
                    <a:pt x="2851309" y="276701"/>
                  </a:cubicBezTo>
                  <a:cubicBezTo>
                    <a:pt x="2851309" y="275749"/>
                    <a:pt x="2850356" y="275749"/>
                    <a:pt x="2850356" y="274796"/>
                  </a:cubicBezTo>
                  <a:cubicBezTo>
                    <a:pt x="2850356" y="270986"/>
                    <a:pt x="2851309" y="267176"/>
                    <a:pt x="2851309" y="262414"/>
                  </a:cubicBezTo>
                  <a:close/>
                  <a:moveTo>
                    <a:pt x="2848451" y="312896"/>
                  </a:moveTo>
                  <a:cubicBezTo>
                    <a:pt x="2848451" y="309086"/>
                    <a:pt x="2848451" y="306229"/>
                    <a:pt x="2848451" y="302419"/>
                  </a:cubicBezTo>
                  <a:cubicBezTo>
                    <a:pt x="2852261" y="310039"/>
                    <a:pt x="2857024" y="318611"/>
                    <a:pt x="2860834" y="327184"/>
                  </a:cubicBezTo>
                  <a:cubicBezTo>
                    <a:pt x="2858929" y="332899"/>
                    <a:pt x="2857024" y="338614"/>
                    <a:pt x="2856071" y="344329"/>
                  </a:cubicBezTo>
                  <a:cubicBezTo>
                    <a:pt x="2855119" y="348139"/>
                    <a:pt x="2854166" y="351949"/>
                    <a:pt x="2853214" y="355759"/>
                  </a:cubicBezTo>
                  <a:cubicBezTo>
                    <a:pt x="2852261" y="350996"/>
                    <a:pt x="2852261" y="346234"/>
                    <a:pt x="2851309" y="341471"/>
                  </a:cubicBezTo>
                  <a:cubicBezTo>
                    <a:pt x="2850356" y="332899"/>
                    <a:pt x="2849404" y="324326"/>
                    <a:pt x="2847499" y="316706"/>
                  </a:cubicBezTo>
                  <a:cubicBezTo>
                    <a:pt x="2848451" y="315754"/>
                    <a:pt x="2848451" y="313849"/>
                    <a:pt x="2848451" y="312896"/>
                  </a:cubicBezTo>
                  <a:close/>
                  <a:moveTo>
                    <a:pt x="2836069" y="226219"/>
                  </a:moveTo>
                  <a:cubicBezTo>
                    <a:pt x="2839879" y="234791"/>
                    <a:pt x="2843689" y="243364"/>
                    <a:pt x="2847499" y="251936"/>
                  </a:cubicBezTo>
                  <a:cubicBezTo>
                    <a:pt x="2846546" y="254794"/>
                    <a:pt x="2845594" y="257651"/>
                    <a:pt x="2844641" y="261461"/>
                  </a:cubicBezTo>
                  <a:cubicBezTo>
                    <a:pt x="2844641" y="262414"/>
                    <a:pt x="2843689" y="264319"/>
                    <a:pt x="2843689" y="266224"/>
                  </a:cubicBezTo>
                  <a:cubicBezTo>
                    <a:pt x="2841784" y="263366"/>
                    <a:pt x="2840831" y="261461"/>
                    <a:pt x="2838926" y="258604"/>
                  </a:cubicBezTo>
                  <a:cubicBezTo>
                    <a:pt x="2837974" y="249079"/>
                    <a:pt x="2836069" y="238601"/>
                    <a:pt x="2834164" y="229076"/>
                  </a:cubicBezTo>
                  <a:cubicBezTo>
                    <a:pt x="2836069" y="228124"/>
                    <a:pt x="2836069" y="227171"/>
                    <a:pt x="2836069" y="226219"/>
                  </a:cubicBezTo>
                  <a:close/>
                  <a:moveTo>
                    <a:pt x="2830354" y="305276"/>
                  </a:moveTo>
                  <a:cubicBezTo>
                    <a:pt x="2830354" y="308134"/>
                    <a:pt x="2830354" y="310039"/>
                    <a:pt x="2831306" y="312896"/>
                  </a:cubicBezTo>
                  <a:cubicBezTo>
                    <a:pt x="2831306" y="312896"/>
                    <a:pt x="2831306" y="312896"/>
                    <a:pt x="2831306" y="313849"/>
                  </a:cubicBezTo>
                  <a:cubicBezTo>
                    <a:pt x="2831306" y="311944"/>
                    <a:pt x="2831306" y="310039"/>
                    <a:pt x="2830354" y="308134"/>
                  </a:cubicBezTo>
                  <a:cubicBezTo>
                    <a:pt x="2830354" y="307181"/>
                    <a:pt x="2830354" y="306229"/>
                    <a:pt x="2830354" y="305276"/>
                  </a:cubicBezTo>
                  <a:close/>
                  <a:moveTo>
                    <a:pt x="2829401" y="292894"/>
                  </a:moveTo>
                  <a:cubicBezTo>
                    <a:pt x="2829401" y="294799"/>
                    <a:pt x="2829401" y="296704"/>
                    <a:pt x="2830354" y="299561"/>
                  </a:cubicBezTo>
                  <a:cubicBezTo>
                    <a:pt x="2830354" y="300514"/>
                    <a:pt x="2830354" y="300514"/>
                    <a:pt x="2829401" y="301466"/>
                  </a:cubicBezTo>
                  <a:cubicBezTo>
                    <a:pt x="2829401" y="300514"/>
                    <a:pt x="2829401" y="300514"/>
                    <a:pt x="2829401" y="299561"/>
                  </a:cubicBezTo>
                  <a:cubicBezTo>
                    <a:pt x="2828449" y="296704"/>
                    <a:pt x="2828449" y="294799"/>
                    <a:pt x="2829401" y="292894"/>
                  </a:cubicBezTo>
                  <a:close/>
                  <a:moveTo>
                    <a:pt x="2785586" y="268129"/>
                  </a:moveTo>
                  <a:cubicBezTo>
                    <a:pt x="2784634" y="269081"/>
                    <a:pt x="2783681" y="270034"/>
                    <a:pt x="2782729" y="271939"/>
                  </a:cubicBezTo>
                  <a:cubicBezTo>
                    <a:pt x="2782729" y="270986"/>
                    <a:pt x="2782729" y="270034"/>
                    <a:pt x="2782729" y="269081"/>
                  </a:cubicBezTo>
                  <a:cubicBezTo>
                    <a:pt x="2782729" y="268129"/>
                    <a:pt x="2782729" y="266224"/>
                    <a:pt x="2782729" y="265271"/>
                  </a:cubicBezTo>
                  <a:cubicBezTo>
                    <a:pt x="2783681" y="263366"/>
                    <a:pt x="2785586" y="260509"/>
                    <a:pt x="2786539" y="258604"/>
                  </a:cubicBezTo>
                  <a:cubicBezTo>
                    <a:pt x="2786539" y="259556"/>
                    <a:pt x="2786539" y="259556"/>
                    <a:pt x="2786539" y="260509"/>
                  </a:cubicBezTo>
                  <a:cubicBezTo>
                    <a:pt x="2785586" y="262414"/>
                    <a:pt x="2785586" y="265271"/>
                    <a:pt x="2785586" y="268129"/>
                  </a:cubicBezTo>
                  <a:close/>
                  <a:moveTo>
                    <a:pt x="2796064" y="268129"/>
                  </a:moveTo>
                  <a:cubicBezTo>
                    <a:pt x="2796064" y="267176"/>
                    <a:pt x="2796064" y="267176"/>
                    <a:pt x="2796064" y="268129"/>
                  </a:cubicBezTo>
                  <a:cubicBezTo>
                    <a:pt x="2797016" y="266224"/>
                    <a:pt x="2797969" y="264319"/>
                    <a:pt x="2798921" y="263366"/>
                  </a:cubicBezTo>
                  <a:cubicBezTo>
                    <a:pt x="2797969" y="264319"/>
                    <a:pt x="2797016" y="266224"/>
                    <a:pt x="2796064" y="268129"/>
                  </a:cubicBezTo>
                  <a:close/>
                  <a:moveTo>
                    <a:pt x="2803684" y="314801"/>
                  </a:moveTo>
                  <a:cubicBezTo>
                    <a:pt x="2803684" y="315754"/>
                    <a:pt x="2802731" y="317659"/>
                    <a:pt x="2802731" y="318611"/>
                  </a:cubicBezTo>
                  <a:cubicBezTo>
                    <a:pt x="2802731" y="320516"/>
                    <a:pt x="2801779" y="322421"/>
                    <a:pt x="2801779" y="325279"/>
                  </a:cubicBezTo>
                  <a:cubicBezTo>
                    <a:pt x="2800826" y="322421"/>
                    <a:pt x="2799874" y="320516"/>
                    <a:pt x="2798921" y="317659"/>
                  </a:cubicBezTo>
                  <a:cubicBezTo>
                    <a:pt x="2798921" y="316706"/>
                    <a:pt x="2798921" y="316706"/>
                    <a:pt x="2798921" y="315754"/>
                  </a:cubicBezTo>
                  <a:cubicBezTo>
                    <a:pt x="2798921" y="315754"/>
                    <a:pt x="2798921" y="315754"/>
                    <a:pt x="2798921" y="315754"/>
                  </a:cubicBezTo>
                  <a:cubicBezTo>
                    <a:pt x="2799874" y="311944"/>
                    <a:pt x="2800826" y="308134"/>
                    <a:pt x="2801779" y="304324"/>
                  </a:cubicBezTo>
                  <a:cubicBezTo>
                    <a:pt x="2802731" y="307181"/>
                    <a:pt x="2802731" y="310039"/>
                    <a:pt x="2803684" y="312896"/>
                  </a:cubicBezTo>
                  <a:cubicBezTo>
                    <a:pt x="2803684" y="313849"/>
                    <a:pt x="2803684" y="313849"/>
                    <a:pt x="2803684" y="314801"/>
                  </a:cubicBezTo>
                  <a:close/>
                  <a:moveTo>
                    <a:pt x="2810351" y="280511"/>
                  </a:moveTo>
                  <a:cubicBezTo>
                    <a:pt x="2808446" y="287179"/>
                    <a:pt x="2807494" y="294799"/>
                    <a:pt x="2805589" y="302419"/>
                  </a:cubicBezTo>
                  <a:cubicBezTo>
                    <a:pt x="2804636" y="301466"/>
                    <a:pt x="2804636" y="299561"/>
                    <a:pt x="2803684" y="298609"/>
                  </a:cubicBezTo>
                  <a:cubicBezTo>
                    <a:pt x="2803684" y="297656"/>
                    <a:pt x="2803684" y="297656"/>
                    <a:pt x="2802731" y="296704"/>
                  </a:cubicBezTo>
                  <a:cubicBezTo>
                    <a:pt x="2803684" y="292894"/>
                    <a:pt x="2804636" y="290036"/>
                    <a:pt x="2805589" y="287179"/>
                  </a:cubicBezTo>
                  <a:cubicBezTo>
                    <a:pt x="2806541" y="284321"/>
                    <a:pt x="2808446" y="280511"/>
                    <a:pt x="2809399" y="277654"/>
                  </a:cubicBezTo>
                  <a:cubicBezTo>
                    <a:pt x="2809399" y="276701"/>
                    <a:pt x="2810351" y="275749"/>
                    <a:pt x="2810351" y="275749"/>
                  </a:cubicBezTo>
                  <a:cubicBezTo>
                    <a:pt x="2811304" y="276701"/>
                    <a:pt x="2810351" y="278606"/>
                    <a:pt x="2810351" y="280511"/>
                  </a:cubicBezTo>
                  <a:close/>
                  <a:moveTo>
                    <a:pt x="2811304" y="276701"/>
                  </a:moveTo>
                  <a:cubicBezTo>
                    <a:pt x="2811304" y="275749"/>
                    <a:pt x="2811304" y="275749"/>
                    <a:pt x="2811304" y="274796"/>
                  </a:cubicBezTo>
                  <a:cubicBezTo>
                    <a:pt x="2812256" y="273844"/>
                    <a:pt x="2812256" y="271939"/>
                    <a:pt x="2813209" y="270986"/>
                  </a:cubicBezTo>
                  <a:cubicBezTo>
                    <a:pt x="2812256" y="272891"/>
                    <a:pt x="2812256" y="274796"/>
                    <a:pt x="2811304" y="276701"/>
                  </a:cubicBezTo>
                  <a:close/>
                  <a:moveTo>
                    <a:pt x="2812256" y="236696"/>
                  </a:moveTo>
                  <a:cubicBezTo>
                    <a:pt x="2810351" y="239554"/>
                    <a:pt x="2808446" y="243364"/>
                    <a:pt x="2806541" y="246221"/>
                  </a:cubicBezTo>
                  <a:cubicBezTo>
                    <a:pt x="2804636" y="248126"/>
                    <a:pt x="2802731" y="250031"/>
                    <a:pt x="2799874" y="251936"/>
                  </a:cubicBezTo>
                  <a:cubicBezTo>
                    <a:pt x="2797969" y="253841"/>
                    <a:pt x="2796064" y="255746"/>
                    <a:pt x="2794159" y="257651"/>
                  </a:cubicBezTo>
                  <a:cubicBezTo>
                    <a:pt x="2793206" y="252889"/>
                    <a:pt x="2792254" y="249079"/>
                    <a:pt x="2792254" y="245269"/>
                  </a:cubicBezTo>
                  <a:cubicBezTo>
                    <a:pt x="2793206" y="242411"/>
                    <a:pt x="2795111" y="240506"/>
                    <a:pt x="2796064" y="238601"/>
                  </a:cubicBezTo>
                  <a:cubicBezTo>
                    <a:pt x="2799874" y="231934"/>
                    <a:pt x="2802731" y="227171"/>
                    <a:pt x="2804636" y="224314"/>
                  </a:cubicBezTo>
                  <a:cubicBezTo>
                    <a:pt x="2807494" y="228124"/>
                    <a:pt x="2809399" y="232886"/>
                    <a:pt x="2812256" y="236696"/>
                  </a:cubicBezTo>
                  <a:close/>
                  <a:moveTo>
                    <a:pt x="2804636" y="223361"/>
                  </a:moveTo>
                  <a:cubicBezTo>
                    <a:pt x="2802731" y="225266"/>
                    <a:pt x="2798921" y="229076"/>
                    <a:pt x="2794159" y="235744"/>
                  </a:cubicBezTo>
                  <a:cubicBezTo>
                    <a:pt x="2793206" y="236696"/>
                    <a:pt x="2793206" y="237649"/>
                    <a:pt x="2792254" y="238601"/>
                  </a:cubicBezTo>
                  <a:cubicBezTo>
                    <a:pt x="2792254" y="238601"/>
                    <a:pt x="2792254" y="238601"/>
                    <a:pt x="2792254" y="238601"/>
                  </a:cubicBezTo>
                  <a:cubicBezTo>
                    <a:pt x="2794159" y="235744"/>
                    <a:pt x="2795111" y="232886"/>
                    <a:pt x="2796064" y="230981"/>
                  </a:cubicBezTo>
                  <a:cubicBezTo>
                    <a:pt x="2797969" y="226219"/>
                    <a:pt x="2800826" y="222409"/>
                    <a:pt x="2801779" y="219551"/>
                  </a:cubicBezTo>
                  <a:cubicBezTo>
                    <a:pt x="2802731" y="220504"/>
                    <a:pt x="2803684" y="222409"/>
                    <a:pt x="2804636" y="223361"/>
                  </a:cubicBezTo>
                  <a:close/>
                  <a:moveTo>
                    <a:pt x="2787491" y="196691"/>
                  </a:moveTo>
                  <a:cubicBezTo>
                    <a:pt x="2792254" y="203359"/>
                    <a:pt x="2796064" y="210026"/>
                    <a:pt x="2800826" y="217646"/>
                  </a:cubicBezTo>
                  <a:cubicBezTo>
                    <a:pt x="2798921" y="220504"/>
                    <a:pt x="2796064" y="224314"/>
                    <a:pt x="2792254" y="228124"/>
                  </a:cubicBezTo>
                  <a:cubicBezTo>
                    <a:pt x="2791301" y="229076"/>
                    <a:pt x="2790349" y="230029"/>
                    <a:pt x="2790349" y="230981"/>
                  </a:cubicBezTo>
                  <a:cubicBezTo>
                    <a:pt x="2789396" y="226219"/>
                    <a:pt x="2788444" y="222409"/>
                    <a:pt x="2787491" y="218599"/>
                  </a:cubicBezTo>
                  <a:cubicBezTo>
                    <a:pt x="2783681" y="205264"/>
                    <a:pt x="2781776" y="196691"/>
                    <a:pt x="2781776" y="196691"/>
                  </a:cubicBezTo>
                  <a:cubicBezTo>
                    <a:pt x="2781776" y="196691"/>
                    <a:pt x="2782729" y="204311"/>
                    <a:pt x="2783681" y="218599"/>
                  </a:cubicBezTo>
                  <a:cubicBezTo>
                    <a:pt x="2784634" y="224314"/>
                    <a:pt x="2784634" y="230981"/>
                    <a:pt x="2784634" y="237649"/>
                  </a:cubicBezTo>
                  <a:cubicBezTo>
                    <a:pt x="2783681" y="239554"/>
                    <a:pt x="2781776" y="241459"/>
                    <a:pt x="2780824" y="243364"/>
                  </a:cubicBezTo>
                  <a:cubicBezTo>
                    <a:pt x="2779871" y="227171"/>
                    <a:pt x="2779871" y="213836"/>
                    <a:pt x="2778919" y="204311"/>
                  </a:cubicBezTo>
                  <a:cubicBezTo>
                    <a:pt x="2777966" y="192881"/>
                    <a:pt x="2777966" y="186214"/>
                    <a:pt x="2777966" y="186214"/>
                  </a:cubicBezTo>
                  <a:cubicBezTo>
                    <a:pt x="2777966" y="186214"/>
                    <a:pt x="2777014" y="192881"/>
                    <a:pt x="2775109" y="204311"/>
                  </a:cubicBezTo>
                  <a:cubicBezTo>
                    <a:pt x="2775109" y="207169"/>
                    <a:pt x="2774156" y="210979"/>
                    <a:pt x="2774156" y="214789"/>
                  </a:cubicBezTo>
                  <a:cubicBezTo>
                    <a:pt x="2773204" y="206216"/>
                    <a:pt x="2772251" y="198596"/>
                    <a:pt x="2770346" y="190976"/>
                  </a:cubicBezTo>
                  <a:cubicBezTo>
                    <a:pt x="2770346" y="190024"/>
                    <a:pt x="2770346" y="190024"/>
                    <a:pt x="2770346" y="189071"/>
                  </a:cubicBezTo>
                  <a:cubicBezTo>
                    <a:pt x="2770346" y="188119"/>
                    <a:pt x="2770346" y="186214"/>
                    <a:pt x="2770346" y="185261"/>
                  </a:cubicBezTo>
                  <a:cubicBezTo>
                    <a:pt x="2769394" y="174784"/>
                    <a:pt x="2768441" y="168116"/>
                    <a:pt x="2768441" y="166211"/>
                  </a:cubicBezTo>
                  <a:cubicBezTo>
                    <a:pt x="2774156" y="174784"/>
                    <a:pt x="2779871" y="185261"/>
                    <a:pt x="2787491" y="196691"/>
                  </a:cubicBezTo>
                  <a:close/>
                  <a:moveTo>
                    <a:pt x="2767489" y="167164"/>
                  </a:moveTo>
                  <a:cubicBezTo>
                    <a:pt x="2767489" y="168116"/>
                    <a:pt x="2767489" y="169069"/>
                    <a:pt x="2767489" y="170974"/>
                  </a:cubicBezTo>
                  <a:cubicBezTo>
                    <a:pt x="2767489" y="169069"/>
                    <a:pt x="2767489" y="168116"/>
                    <a:pt x="2766536" y="166211"/>
                  </a:cubicBezTo>
                  <a:cubicBezTo>
                    <a:pt x="2767489" y="166211"/>
                    <a:pt x="2767489" y="166211"/>
                    <a:pt x="2767489" y="167164"/>
                  </a:cubicBezTo>
                  <a:close/>
                  <a:moveTo>
                    <a:pt x="2757964" y="342424"/>
                  </a:moveTo>
                  <a:cubicBezTo>
                    <a:pt x="2757011" y="340519"/>
                    <a:pt x="2756059" y="338614"/>
                    <a:pt x="2755106" y="336709"/>
                  </a:cubicBezTo>
                  <a:cubicBezTo>
                    <a:pt x="2756059" y="333851"/>
                    <a:pt x="2757964" y="331946"/>
                    <a:pt x="2758916" y="329089"/>
                  </a:cubicBezTo>
                  <a:cubicBezTo>
                    <a:pt x="2759869" y="330041"/>
                    <a:pt x="2759869" y="331946"/>
                    <a:pt x="2760821" y="332899"/>
                  </a:cubicBezTo>
                  <a:cubicBezTo>
                    <a:pt x="2759869" y="336709"/>
                    <a:pt x="2758916" y="339566"/>
                    <a:pt x="2757964" y="342424"/>
                  </a:cubicBezTo>
                  <a:close/>
                  <a:moveTo>
                    <a:pt x="2762726" y="327184"/>
                  </a:moveTo>
                  <a:cubicBezTo>
                    <a:pt x="2762726" y="328136"/>
                    <a:pt x="2761774" y="329089"/>
                    <a:pt x="2761774" y="330994"/>
                  </a:cubicBezTo>
                  <a:cubicBezTo>
                    <a:pt x="2760821" y="330041"/>
                    <a:pt x="2760821" y="329089"/>
                    <a:pt x="2759869" y="328136"/>
                  </a:cubicBezTo>
                  <a:cubicBezTo>
                    <a:pt x="2760821" y="327184"/>
                    <a:pt x="2760821" y="325279"/>
                    <a:pt x="2761774" y="324326"/>
                  </a:cubicBezTo>
                  <a:cubicBezTo>
                    <a:pt x="2762726" y="325279"/>
                    <a:pt x="2762726" y="326231"/>
                    <a:pt x="2762726" y="327184"/>
                  </a:cubicBezTo>
                  <a:cubicBezTo>
                    <a:pt x="2762726" y="327184"/>
                    <a:pt x="2762726" y="327184"/>
                    <a:pt x="2762726" y="327184"/>
                  </a:cubicBezTo>
                  <a:close/>
                  <a:moveTo>
                    <a:pt x="2762726" y="250031"/>
                  </a:moveTo>
                  <a:cubicBezTo>
                    <a:pt x="2762726" y="256699"/>
                    <a:pt x="2762726" y="263366"/>
                    <a:pt x="2762726" y="270034"/>
                  </a:cubicBezTo>
                  <a:cubicBezTo>
                    <a:pt x="2759869" y="273844"/>
                    <a:pt x="2757011" y="278606"/>
                    <a:pt x="2754154" y="282416"/>
                  </a:cubicBezTo>
                  <a:cubicBezTo>
                    <a:pt x="2754154" y="283369"/>
                    <a:pt x="2753201" y="283369"/>
                    <a:pt x="2753201" y="284321"/>
                  </a:cubicBezTo>
                  <a:cubicBezTo>
                    <a:pt x="2753201" y="283369"/>
                    <a:pt x="2752249" y="283369"/>
                    <a:pt x="2752249" y="282416"/>
                  </a:cubicBezTo>
                  <a:cubicBezTo>
                    <a:pt x="2752249" y="281464"/>
                    <a:pt x="2753201" y="280511"/>
                    <a:pt x="2753201" y="278606"/>
                  </a:cubicBezTo>
                  <a:cubicBezTo>
                    <a:pt x="2754154" y="274796"/>
                    <a:pt x="2755106" y="270986"/>
                    <a:pt x="2756059" y="267176"/>
                  </a:cubicBezTo>
                  <a:cubicBezTo>
                    <a:pt x="2757964" y="260509"/>
                    <a:pt x="2759869" y="255746"/>
                    <a:pt x="2761774" y="251936"/>
                  </a:cubicBezTo>
                  <a:cubicBezTo>
                    <a:pt x="2761774" y="251936"/>
                    <a:pt x="2761774" y="250031"/>
                    <a:pt x="2762726" y="250031"/>
                  </a:cubicBezTo>
                  <a:cubicBezTo>
                    <a:pt x="2762726" y="250031"/>
                    <a:pt x="2762726" y="250031"/>
                    <a:pt x="2762726" y="250031"/>
                  </a:cubicBezTo>
                  <a:close/>
                  <a:moveTo>
                    <a:pt x="2753201" y="250031"/>
                  </a:moveTo>
                  <a:cubicBezTo>
                    <a:pt x="2755106" y="242411"/>
                    <a:pt x="2756059" y="236696"/>
                    <a:pt x="2757011" y="230981"/>
                  </a:cubicBezTo>
                  <a:cubicBezTo>
                    <a:pt x="2758916" y="236696"/>
                    <a:pt x="2760821" y="242411"/>
                    <a:pt x="2762726" y="249079"/>
                  </a:cubicBezTo>
                  <a:cubicBezTo>
                    <a:pt x="2761774" y="250031"/>
                    <a:pt x="2761774" y="250984"/>
                    <a:pt x="2760821" y="252889"/>
                  </a:cubicBezTo>
                  <a:cubicBezTo>
                    <a:pt x="2758916" y="255746"/>
                    <a:pt x="2756059" y="260509"/>
                    <a:pt x="2752249" y="267176"/>
                  </a:cubicBezTo>
                  <a:cubicBezTo>
                    <a:pt x="2750344" y="270034"/>
                    <a:pt x="2749391" y="272891"/>
                    <a:pt x="2748439" y="275749"/>
                  </a:cubicBezTo>
                  <a:cubicBezTo>
                    <a:pt x="2748439" y="275749"/>
                    <a:pt x="2748439" y="274796"/>
                    <a:pt x="2747486" y="274796"/>
                  </a:cubicBezTo>
                  <a:cubicBezTo>
                    <a:pt x="2749391" y="265271"/>
                    <a:pt x="2751296" y="256699"/>
                    <a:pt x="2753201" y="250031"/>
                  </a:cubicBezTo>
                  <a:close/>
                  <a:moveTo>
                    <a:pt x="2749391" y="362426"/>
                  </a:moveTo>
                  <a:cubicBezTo>
                    <a:pt x="2748439" y="360521"/>
                    <a:pt x="2747486" y="359569"/>
                    <a:pt x="2746534" y="357664"/>
                  </a:cubicBezTo>
                  <a:cubicBezTo>
                    <a:pt x="2746534" y="356711"/>
                    <a:pt x="2746534" y="355759"/>
                    <a:pt x="2746534" y="354806"/>
                  </a:cubicBezTo>
                  <a:cubicBezTo>
                    <a:pt x="2747486" y="356711"/>
                    <a:pt x="2748439" y="359569"/>
                    <a:pt x="2749391" y="362426"/>
                  </a:cubicBezTo>
                  <a:close/>
                  <a:moveTo>
                    <a:pt x="2734151" y="258604"/>
                  </a:moveTo>
                  <a:cubicBezTo>
                    <a:pt x="2736056" y="262414"/>
                    <a:pt x="2737961" y="268129"/>
                    <a:pt x="2740819" y="273844"/>
                  </a:cubicBezTo>
                  <a:cubicBezTo>
                    <a:pt x="2738914" y="278606"/>
                    <a:pt x="2737009" y="284321"/>
                    <a:pt x="2735104" y="290036"/>
                  </a:cubicBezTo>
                  <a:cubicBezTo>
                    <a:pt x="2735104" y="288131"/>
                    <a:pt x="2734151" y="287179"/>
                    <a:pt x="2734151" y="287179"/>
                  </a:cubicBezTo>
                  <a:cubicBezTo>
                    <a:pt x="2734151" y="287179"/>
                    <a:pt x="2734151" y="289084"/>
                    <a:pt x="2734151" y="291941"/>
                  </a:cubicBezTo>
                  <a:cubicBezTo>
                    <a:pt x="2734151" y="291941"/>
                    <a:pt x="2734151" y="291941"/>
                    <a:pt x="2734151" y="291941"/>
                  </a:cubicBezTo>
                  <a:cubicBezTo>
                    <a:pt x="2733199" y="290989"/>
                    <a:pt x="2733199" y="290036"/>
                    <a:pt x="2732246" y="289084"/>
                  </a:cubicBezTo>
                  <a:cubicBezTo>
                    <a:pt x="2732246" y="288131"/>
                    <a:pt x="2731294" y="287179"/>
                    <a:pt x="2731294" y="286226"/>
                  </a:cubicBezTo>
                  <a:cubicBezTo>
                    <a:pt x="2733199" y="275749"/>
                    <a:pt x="2734151" y="266224"/>
                    <a:pt x="2734151" y="258604"/>
                  </a:cubicBezTo>
                  <a:close/>
                  <a:moveTo>
                    <a:pt x="2715101" y="290989"/>
                  </a:moveTo>
                  <a:cubicBezTo>
                    <a:pt x="2715101" y="284321"/>
                    <a:pt x="2715101" y="278606"/>
                    <a:pt x="2716054" y="273844"/>
                  </a:cubicBezTo>
                  <a:cubicBezTo>
                    <a:pt x="2717006" y="274796"/>
                    <a:pt x="2717006" y="276701"/>
                    <a:pt x="2717959" y="278606"/>
                  </a:cubicBezTo>
                  <a:cubicBezTo>
                    <a:pt x="2717006" y="287179"/>
                    <a:pt x="2717006" y="295751"/>
                    <a:pt x="2716054" y="304324"/>
                  </a:cubicBezTo>
                  <a:cubicBezTo>
                    <a:pt x="2716054" y="304324"/>
                    <a:pt x="2715101" y="303371"/>
                    <a:pt x="2715101" y="303371"/>
                  </a:cubicBezTo>
                  <a:cubicBezTo>
                    <a:pt x="2714149" y="298609"/>
                    <a:pt x="2715101" y="294799"/>
                    <a:pt x="2715101" y="290989"/>
                  </a:cubicBezTo>
                  <a:close/>
                  <a:moveTo>
                    <a:pt x="2705576" y="243364"/>
                  </a:moveTo>
                  <a:cubicBezTo>
                    <a:pt x="2705576" y="244316"/>
                    <a:pt x="2705576" y="246221"/>
                    <a:pt x="2704624" y="247174"/>
                  </a:cubicBezTo>
                  <a:lnTo>
                    <a:pt x="2703671" y="238601"/>
                  </a:lnTo>
                  <a:cubicBezTo>
                    <a:pt x="2704624" y="239554"/>
                    <a:pt x="2705576" y="241459"/>
                    <a:pt x="2705576" y="243364"/>
                  </a:cubicBezTo>
                  <a:close/>
                  <a:moveTo>
                    <a:pt x="2697956" y="312896"/>
                  </a:moveTo>
                  <a:cubicBezTo>
                    <a:pt x="2697956" y="312896"/>
                    <a:pt x="2697956" y="313849"/>
                    <a:pt x="2697956" y="313849"/>
                  </a:cubicBezTo>
                  <a:cubicBezTo>
                    <a:pt x="2697956" y="312896"/>
                    <a:pt x="2697956" y="311944"/>
                    <a:pt x="2697956" y="310991"/>
                  </a:cubicBezTo>
                  <a:lnTo>
                    <a:pt x="2697956" y="312896"/>
                  </a:lnTo>
                  <a:close/>
                  <a:moveTo>
                    <a:pt x="2664619" y="234791"/>
                  </a:moveTo>
                  <a:cubicBezTo>
                    <a:pt x="2665571" y="235744"/>
                    <a:pt x="2665571" y="237649"/>
                    <a:pt x="2666524" y="238601"/>
                  </a:cubicBezTo>
                  <a:cubicBezTo>
                    <a:pt x="2668429" y="253841"/>
                    <a:pt x="2670334" y="270034"/>
                    <a:pt x="2673191" y="287179"/>
                  </a:cubicBezTo>
                  <a:cubicBezTo>
                    <a:pt x="2672239" y="284321"/>
                    <a:pt x="2671286" y="282416"/>
                    <a:pt x="2670334" y="279559"/>
                  </a:cubicBezTo>
                  <a:cubicBezTo>
                    <a:pt x="2670334" y="279559"/>
                    <a:pt x="2670334" y="278606"/>
                    <a:pt x="2670334" y="278606"/>
                  </a:cubicBezTo>
                  <a:cubicBezTo>
                    <a:pt x="2670334" y="276701"/>
                    <a:pt x="2671286" y="276701"/>
                    <a:pt x="2671286" y="276701"/>
                  </a:cubicBezTo>
                  <a:cubicBezTo>
                    <a:pt x="2671286" y="276701"/>
                    <a:pt x="2671286" y="277654"/>
                    <a:pt x="2670334" y="278606"/>
                  </a:cubicBezTo>
                  <a:cubicBezTo>
                    <a:pt x="2669381" y="266224"/>
                    <a:pt x="2667476" y="255746"/>
                    <a:pt x="2664619" y="246221"/>
                  </a:cubicBezTo>
                  <a:cubicBezTo>
                    <a:pt x="2664619" y="244316"/>
                    <a:pt x="2663666" y="242411"/>
                    <a:pt x="2663666" y="240506"/>
                  </a:cubicBezTo>
                  <a:cubicBezTo>
                    <a:pt x="2663666" y="238601"/>
                    <a:pt x="2663666" y="236696"/>
                    <a:pt x="2664619" y="234791"/>
                  </a:cubicBezTo>
                  <a:close/>
                  <a:moveTo>
                    <a:pt x="2657951" y="339566"/>
                  </a:moveTo>
                  <a:cubicBezTo>
                    <a:pt x="2656999" y="338614"/>
                    <a:pt x="2656999" y="337661"/>
                    <a:pt x="2656046" y="336709"/>
                  </a:cubicBezTo>
                  <a:cubicBezTo>
                    <a:pt x="2656999" y="332899"/>
                    <a:pt x="2656999" y="329089"/>
                    <a:pt x="2657951" y="325279"/>
                  </a:cubicBezTo>
                  <a:cubicBezTo>
                    <a:pt x="2658904" y="330041"/>
                    <a:pt x="2657951" y="334804"/>
                    <a:pt x="2657951" y="339566"/>
                  </a:cubicBezTo>
                  <a:close/>
                  <a:moveTo>
                    <a:pt x="2654141" y="277654"/>
                  </a:moveTo>
                  <a:cubicBezTo>
                    <a:pt x="2656046" y="284321"/>
                    <a:pt x="2657951" y="291941"/>
                    <a:pt x="2659856" y="298609"/>
                  </a:cubicBezTo>
                  <a:cubicBezTo>
                    <a:pt x="2659856" y="298609"/>
                    <a:pt x="2659856" y="299561"/>
                    <a:pt x="2659856" y="299561"/>
                  </a:cubicBezTo>
                  <a:cubicBezTo>
                    <a:pt x="2657951" y="304324"/>
                    <a:pt x="2656046" y="310039"/>
                    <a:pt x="2653189" y="316706"/>
                  </a:cubicBezTo>
                  <a:cubicBezTo>
                    <a:pt x="2653189" y="317659"/>
                    <a:pt x="2652236" y="318611"/>
                    <a:pt x="2652236" y="319564"/>
                  </a:cubicBezTo>
                  <a:cubicBezTo>
                    <a:pt x="2651284" y="316706"/>
                    <a:pt x="2651284" y="313849"/>
                    <a:pt x="2650331" y="311944"/>
                  </a:cubicBezTo>
                  <a:cubicBezTo>
                    <a:pt x="2649379" y="308134"/>
                    <a:pt x="2648426" y="305276"/>
                    <a:pt x="2647474" y="301466"/>
                  </a:cubicBezTo>
                  <a:cubicBezTo>
                    <a:pt x="2649379" y="293846"/>
                    <a:pt x="2651284" y="286226"/>
                    <a:pt x="2654141" y="277654"/>
                  </a:cubicBezTo>
                  <a:close/>
                  <a:moveTo>
                    <a:pt x="2633186" y="283369"/>
                  </a:moveTo>
                  <a:cubicBezTo>
                    <a:pt x="2633186" y="284321"/>
                    <a:pt x="2633186" y="284321"/>
                    <a:pt x="2633186" y="285274"/>
                  </a:cubicBezTo>
                  <a:cubicBezTo>
                    <a:pt x="2633186" y="285274"/>
                    <a:pt x="2633186" y="286226"/>
                    <a:pt x="2633186" y="286226"/>
                  </a:cubicBezTo>
                  <a:cubicBezTo>
                    <a:pt x="2633186" y="287179"/>
                    <a:pt x="2632234" y="288131"/>
                    <a:pt x="2632234" y="290036"/>
                  </a:cubicBezTo>
                  <a:cubicBezTo>
                    <a:pt x="2633186" y="287179"/>
                    <a:pt x="2633186" y="285274"/>
                    <a:pt x="2633186" y="283369"/>
                  </a:cubicBezTo>
                  <a:close/>
                  <a:moveTo>
                    <a:pt x="2578894" y="242411"/>
                  </a:moveTo>
                  <a:cubicBezTo>
                    <a:pt x="2578894" y="242411"/>
                    <a:pt x="2578894" y="241459"/>
                    <a:pt x="2577941" y="241459"/>
                  </a:cubicBezTo>
                  <a:cubicBezTo>
                    <a:pt x="2578894" y="239554"/>
                    <a:pt x="2579846" y="237649"/>
                    <a:pt x="2580799" y="235744"/>
                  </a:cubicBezTo>
                  <a:cubicBezTo>
                    <a:pt x="2580799" y="235744"/>
                    <a:pt x="2580799" y="235744"/>
                    <a:pt x="2580799" y="235744"/>
                  </a:cubicBezTo>
                  <a:cubicBezTo>
                    <a:pt x="2580799" y="238601"/>
                    <a:pt x="2579846" y="240506"/>
                    <a:pt x="2578894" y="242411"/>
                  </a:cubicBezTo>
                  <a:close/>
                  <a:moveTo>
                    <a:pt x="2597944" y="275749"/>
                  </a:moveTo>
                  <a:cubicBezTo>
                    <a:pt x="2597944" y="275749"/>
                    <a:pt x="2597944" y="274796"/>
                    <a:pt x="2597944" y="274796"/>
                  </a:cubicBezTo>
                  <a:cubicBezTo>
                    <a:pt x="2597944" y="274796"/>
                    <a:pt x="2598896" y="275749"/>
                    <a:pt x="2597944" y="275749"/>
                  </a:cubicBezTo>
                  <a:cubicBezTo>
                    <a:pt x="2598896" y="275749"/>
                    <a:pt x="2597944" y="275749"/>
                    <a:pt x="2597944" y="275749"/>
                  </a:cubicBezTo>
                  <a:close/>
                  <a:moveTo>
                    <a:pt x="2616041" y="309086"/>
                  </a:moveTo>
                  <a:cubicBezTo>
                    <a:pt x="2615089" y="312896"/>
                    <a:pt x="2614136" y="315754"/>
                    <a:pt x="2613184" y="319564"/>
                  </a:cubicBezTo>
                  <a:cubicBezTo>
                    <a:pt x="2613184" y="318611"/>
                    <a:pt x="2613184" y="318611"/>
                    <a:pt x="2613184" y="318611"/>
                  </a:cubicBezTo>
                  <a:cubicBezTo>
                    <a:pt x="2613184" y="318611"/>
                    <a:pt x="2613184" y="319564"/>
                    <a:pt x="2613184" y="319564"/>
                  </a:cubicBezTo>
                  <a:cubicBezTo>
                    <a:pt x="2613184" y="319564"/>
                    <a:pt x="2613184" y="319564"/>
                    <a:pt x="2613184" y="319564"/>
                  </a:cubicBezTo>
                  <a:cubicBezTo>
                    <a:pt x="2609374" y="309086"/>
                    <a:pt x="2604611" y="298609"/>
                    <a:pt x="2600801" y="289084"/>
                  </a:cubicBezTo>
                  <a:cubicBezTo>
                    <a:pt x="2601754" y="287179"/>
                    <a:pt x="2602706" y="284321"/>
                    <a:pt x="2602706" y="282416"/>
                  </a:cubicBezTo>
                  <a:cubicBezTo>
                    <a:pt x="2605564" y="287179"/>
                    <a:pt x="2609374" y="292894"/>
                    <a:pt x="2612231" y="299561"/>
                  </a:cubicBezTo>
                  <a:cubicBezTo>
                    <a:pt x="2613184" y="302419"/>
                    <a:pt x="2615089" y="305276"/>
                    <a:pt x="2616041" y="308134"/>
                  </a:cubicBezTo>
                  <a:lnTo>
                    <a:pt x="2616041" y="309086"/>
                  </a:lnTo>
                  <a:lnTo>
                    <a:pt x="2616041" y="309086"/>
                  </a:lnTo>
                  <a:close/>
                  <a:moveTo>
                    <a:pt x="2604611" y="276701"/>
                  </a:moveTo>
                  <a:cubicBezTo>
                    <a:pt x="2605564" y="272891"/>
                    <a:pt x="2607469" y="270034"/>
                    <a:pt x="2608421" y="267176"/>
                  </a:cubicBezTo>
                  <a:cubicBezTo>
                    <a:pt x="2609374" y="271939"/>
                    <a:pt x="2612231" y="279559"/>
                    <a:pt x="2615089" y="290036"/>
                  </a:cubicBezTo>
                  <a:cubicBezTo>
                    <a:pt x="2611279" y="285274"/>
                    <a:pt x="2608421" y="280511"/>
                    <a:pt x="2604611" y="276701"/>
                  </a:cubicBezTo>
                  <a:close/>
                  <a:moveTo>
                    <a:pt x="2614136" y="276701"/>
                  </a:moveTo>
                  <a:cubicBezTo>
                    <a:pt x="2612231" y="271939"/>
                    <a:pt x="2610326" y="268129"/>
                    <a:pt x="2609374" y="266224"/>
                  </a:cubicBezTo>
                  <a:cubicBezTo>
                    <a:pt x="2610326" y="263366"/>
                    <a:pt x="2611279" y="260509"/>
                    <a:pt x="2612231" y="257651"/>
                  </a:cubicBezTo>
                  <a:cubicBezTo>
                    <a:pt x="2612231" y="263366"/>
                    <a:pt x="2613184" y="270034"/>
                    <a:pt x="2614136" y="276701"/>
                  </a:cubicBezTo>
                  <a:close/>
                  <a:moveTo>
                    <a:pt x="2606516" y="208121"/>
                  </a:moveTo>
                  <a:cubicBezTo>
                    <a:pt x="2607469" y="221456"/>
                    <a:pt x="2609374" y="235744"/>
                    <a:pt x="2611279" y="250984"/>
                  </a:cubicBezTo>
                  <a:cubicBezTo>
                    <a:pt x="2611279" y="250984"/>
                    <a:pt x="2611279" y="251936"/>
                    <a:pt x="2611279" y="251936"/>
                  </a:cubicBezTo>
                  <a:cubicBezTo>
                    <a:pt x="2608421" y="256699"/>
                    <a:pt x="2604611" y="263366"/>
                    <a:pt x="2600801" y="271939"/>
                  </a:cubicBezTo>
                  <a:cubicBezTo>
                    <a:pt x="2599849" y="270034"/>
                    <a:pt x="2598896" y="269081"/>
                    <a:pt x="2597944" y="268129"/>
                  </a:cubicBezTo>
                  <a:cubicBezTo>
                    <a:pt x="2596991" y="257651"/>
                    <a:pt x="2596039" y="247174"/>
                    <a:pt x="2595086" y="237649"/>
                  </a:cubicBezTo>
                  <a:cubicBezTo>
                    <a:pt x="2595086" y="234791"/>
                    <a:pt x="2594134" y="230981"/>
                    <a:pt x="2594134" y="228124"/>
                  </a:cubicBezTo>
                  <a:cubicBezTo>
                    <a:pt x="2598896" y="207169"/>
                    <a:pt x="2602706" y="190976"/>
                    <a:pt x="2605564" y="179546"/>
                  </a:cubicBezTo>
                  <a:cubicBezTo>
                    <a:pt x="2604611" y="188119"/>
                    <a:pt x="2605564" y="197644"/>
                    <a:pt x="2606516" y="208121"/>
                  </a:cubicBezTo>
                  <a:close/>
                  <a:moveTo>
                    <a:pt x="2586514" y="186214"/>
                  </a:moveTo>
                  <a:cubicBezTo>
                    <a:pt x="2591276" y="175736"/>
                    <a:pt x="2595086" y="167164"/>
                    <a:pt x="2598896" y="159544"/>
                  </a:cubicBezTo>
                  <a:cubicBezTo>
                    <a:pt x="2599849" y="157639"/>
                    <a:pt x="2600801" y="155734"/>
                    <a:pt x="2601754" y="153829"/>
                  </a:cubicBezTo>
                  <a:cubicBezTo>
                    <a:pt x="2602706" y="159544"/>
                    <a:pt x="2602706" y="166211"/>
                    <a:pt x="2603659" y="173831"/>
                  </a:cubicBezTo>
                  <a:cubicBezTo>
                    <a:pt x="2600801" y="182404"/>
                    <a:pt x="2596039" y="194786"/>
                    <a:pt x="2590324" y="210979"/>
                  </a:cubicBezTo>
                  <a:cubicBezTo>
                    <a:pt x="2589371" y="202406"/>
                    <a:pt x="2587466" y="194786"/>
                    <a:pt x="2586514" y="187166"/>
                  </a:cubicBezTo>
                  <a:cubicBezTo>
                    <a:pt x="2586514" y="187166"/>
                    <a:pt x="2586514" y="187166"/>
                    <a:pt x="2586514" y="186214"/>
                  </a:cubicBezTo>
                  <a:close/>
                  <a:moveTo>
                    <a:pt x="2584609" y="408146"/>
                  </a:moveTo>
                  <a:cubicBezTo>
                    <a:pt x="2584609" y="408146"/>
                    <a:pt x="2584609" y="409099"/>
                    <a:pt x="2584609" y="408146"/>
                  </a:cubicBezTo>
                  <a:cubicBezTo>
                    <a:pt x="2583656" y="403384"/>
                    <a:pt x="2582704" y="398621"/>
                    <a:pt x="2581751" y="393859"/>
                  </a:cubicBezTo>
                  <a:cubicBezTo>
                    <a:pt x="2582704" y="398621"/>
                    <a:pt x="2583656" y="403384"/>
                    <a:pt x="2584609" y="408146"/>
                  </a:cubicBezTo>
                  <a:close/>
                  <a:moveTo>
                    <a:pt x="2580799" y="199549"/>
                  </a:moveTo>
                  <a:cubicBezTo>
                    <a:pt x="2580799" y="208121"/>
                    <a:pt x="2581751" y="217646"/>
                    <a:pt x="2581751" y="228124"/>
                  </a:cubicBezTo>
                  <a:cubicBezTo>
                    <a:pt x="2580799" y="229076"/>
                    <a:pt x="2579846" y="230029"/>
                    <a:pt x="2578894" y="231934"/>
                  </a:cubicBezTo>
                  <a:cubicBezTo>
                    <a:pt x="2577941" y="232886"/>
                    <a:pt x="2576989" y="234791"/>
                    <a:pt x="2575084" y="236696"/>
                  </a:cubicBezTo>
                  <a:cubicBezTo>
                    <a:pt x="2574131" y="235744"/>
                    <a:pt x="2574131" y="234791"/>
                    <a:pt x="2573179" y="233839"/>
                  </a:cubicBezTo>
                  <a:cubicBezTo>
                    <a:pt x="2573179" y="231934"/>
                    <a:pt x="2573179" y="230981"/>
                    <a:pt x="2572226" y="229076"/>
                  </a:cubicBezTo>
                  <a:cubicBezTo>
                    <a:pt x="2572226" y="226219"/>
                    <a:pt x="2571274" y="222409"/>
                    <a:pt x="2571274" y="219551"/>
                  </a:cubicBezTo>
                  <a:cubicBezTo>
                    <a:pt x="2575084" y="211931"/>
                    <a:pt x="2577941" y="206216"/>
                    <a:pt x="2580799" y="199549"/>
                  </a:cubicBezTo>
                  <a:close/>
                  <a:moveTo>
                    <a:pt x="2569369" y="320516"/>
                  </a:moveTo>
                  <a:cubicBezTo>
                    <a:pt x="2569369" y="322421"/>
                    <a:pt x="2570321" y="325279"/>
                    <a:pt x="2570321" y="327184"/>
                  </a:cubicBezTo>
                  <a:cubicBezTo>
                    <a:pt x="2570321" y="328136"/>
                    <a:pt x="2570321" y="329089"/>
                    <a:pt x="2571274" y="330041"/>
                  </a:cubicBezTo>
                  <a:cubicBezTo>
                    <a:pt x="2568416" y="334804"/>
                    <a:pt x="2566511" y="339566"/>
                    <a:pt x="2563654" y="345281"/>
                  </a:cubicBezTo>
                  <a:cubicBezTo>
                    <a:pt x="2563654" y="344329"/>
                    <a:pt x="2562701" y="343376"/>
                    <a:pt x="2562701" y="342424"/>
                  </a:cubicBezTo>
                  <a:cubicBezTo>
                    <a:pt x="2565559" y="334804"/>
                    <a:pt x="2567464" y="328136"/>
                    <a:pt x="2569369" y="320516"/>
                  </a:cubicBezTo>
                  <a:close/>
                  <a:moveTo>
                    <a:pt x="2556034" y="262414"/>
                  </a:moveTo>
                  <a:cubicBezTo>
                    <a:pt x="2556986" y="258604"/>
                    <a:pt x="2558891" y="255746"/>
                    <a:pt x="2559844" y="251936"/>
                  </a:cubicBezTo>
                  <a:cubicBezTo>
                    <a:pt x="2559844" y="253841"/>
                    <a:pt x="2559844" y="255746"/>
                    <a:pt x="2560796" y="257651"/>
                  </a:cubicBezTo>
                  <a:cubicBezTo>
                    <a:pt x="2560796" y="258604"/>
                    <a:pt x="2559844" y="258604"/>
                    <a:pt x="2559844" y="259556"/>
                  </a:cubicBezTo>
                  <a:cubicBezTo>
                    <a:pt x="2557939" y="262414"/>
                    <a:pt x="2556034" y="266224"/>
                    <a:pt x="2554129" y="269081"/>
                  </a:cubicBezTo>
                  <a:cubicBezTo>
                    <a:pt x="2554129" y="266224"/>
                    <a:pt x="2555081" y="264319"/>
                    <a:pt x="2556034" y="262414"/>
                  </a:cubicBezTo>
                  <a:close/>
                  <a:moveTo>
                    <a:pt x="2561749" y="276701"/>
                  </a:moveTo>
                  <a:cubicBezTo>
                    <a:pt x="2561749" y="275749"/>
                    <a:pt x="2561749" y="275749"/>
                    <a:pt x="2562701" y="274796"/>
                  </a:cubicBezTo>
                  <a:cubicBezTo>
                    <a:pt x="2563654" y="278606"/>
                    <a:pt x="2563654" y="283369"/>
                    <a:pt x="2564606" y="287179"/>
                  </a:cubicBezTo>
                  <a:cubicBezTo>
                    <a:pt x="2562701" y="293846"/>
                    <a:pt x="2559844" y="301466"/>
                    <a:pt x="2557939" y="309086"/>
                  </a:cubicBezTo>
                  <a:cubicBezTo>
                    <a:pt x="2556986" y="310991"/>
                    <a:pt x="2556986" y="312896"/>
                    <a:pt x="2556034" y="313849"/>
                  </a:cubicBezTo>
                  <a:cubicBezTo>
                    <a:pt x="2555081" y="308134"/>
                    <a:pt x="2554129" y="302419"/>
                    <a:pt x="2553176" y="296704"/>
                  </a:cubicBezTo>
                  <a:cubicBezTo>
                    <a:pt x="2556034" y="290036"/>
                    <a:pt x="2558891" y="282416"/>
                    <a:pt x="2561749" y="276701"/>
                  </a:cubicBezTo>
                  <a:close/>
                  <a:moveTo>
                    <a:pt x="2538889" y="252889"/>
                  </a:moveTo>
                  <a:cubicBezTo>
                    <a:pt x="2539841" y="249079"/>
                    <a:pt x="2539841" y="245269"/>
                    <a:pt x="2540794" y="242411"/>
                  </a:cubicBezTo>
                  <a:cubicBezTo>
                    <a:pt x="2540794" y="241459"/>
                    <a:pt x="2541746" y="239554"/>
                    <a:pt x="2542699" y="238601"/>
                  </a:cubicBezTo>
                  <a:cubicBezTo>
                    <a:pt x="2543651" y="236696"/>
                    <a:pt x="2543651" y="234791"/>
                    <a:pt x="2544604" y="233839"/>
                  </a:cubicBezTo>
                  <a:cubicBezTo>
                    <a:pt x="2544604" y="237649"/>
                    <a:pt x="2543651" y="242411"/>
                    <a:pt x="2543651" y="248126"/>
                  </a:cubicBezTo>
                  <a:cubicBezTo>
                    <a:pt x="2543651" y="250984"/>
                    <a:pt x="2543651" y="253841"/>
                    <a:pt x="2542699" y="257651"/>
                  </a:cubicBezTo>
                  <a:cubicBezTo>
                    <a:pt x="2540794" y="261461"/>
                    <a:pt x="2539841" y="264319"/>
                    <a:pt x="2537936" y="268129"/>
                  </a:cubicBezTo>
                  <a:cubicBezTo>
                    <a:pt x="2537936" y="263366"/>
                    <a:pt x="2537936" y="257651"/>
                    <a:pt x="2538889" y="252889"/>
                  </a:cubicBezTo>
                  <a:close/>
                  <a:moveTo>
                    <a:pt x="2521744" y="475774"/>
                  </a:moveTo>
                  <a:cubicBezTo>
                    <a:pt x="2521744" y="478631"/>
                    <a:pt x="2522696" y="481489"/>
                    <a:pt x="2522696" y="484346"/>
                  </a:cubicBezTo>
                  <a:cubicBezTo>
                    <a:pt x="2521744" y="482441"/>
                    <a:pt x="2521744" y="481489"/>
                    <a:pt x="2520791" y="479584"/>
                  </a:cubicBezTo>
                  <a:cubicBezTo>
                    <a:pt x="2521744" y="478631"/>
                    <a:pt x="2521744" y="477679"/>
                    <a:pt x="2521744" y="475774"/>
                  </a:cubicBezTo>
                  <a:close/>
                  <a:moveTo>
                    <a:pt x="2514124" y="323374"/>
                  </a:moveTo>
                  <a:cubicBezTo>
                    <a:pt x="2514124" y="323374"/>
                    <a:pt x="2515076" y="323374"/>
                    <a:pt x="2514124" y="323374"/>
                  </a:cubicBezTo>
                  <a:cubicBezTo>
                    <a:pt x="2514124" y="325279"/>
                    <a:pt x="2513171" y="326231"/>
                    <a:pt x="2513171" y="328136"/>
                  </a:cubicBezTo>
                  <a:cubicBezTo>
                    <a:pt x="2513171" y="328136"/>
                    <a:pt x="2513171" y="328136"/>
                    <a:pt x="2513171" y="329089"/>
                  </a:cubicBezTo>
                  <a:cubicBezTo>
                    <a:pt x="2513171" y="326231"/>
                    <a:pt x="2514124" y="324326"/>
                    <a:pt x="2514124" y="323374"/>
                  </a:cubicBezTo>
                  <a:close/>
                  <a:moveTo>
                    <a:pt x="2509361" y="300514"/>
                  </a:moveTo>
                  <a:cubicBezTo>
                    <a:pt x="2509361" y="301466"/>
                    <a:pt x="2509361" y="301466"/>
                    <a:pt x="2508409" y="302419"/>
                  </a:cubicBezTo>
                  <a:cubicBezTo>
                    <a:pt x="2508409" y="302419"/>
                    <a:pt x="2508409" y="302419"/>
                    <a:pt x="2508409" y="302419"/>
                  </a:cubicBezTo>
                  <a:cubicBezTo>
                    <a:pt x="2508409" y="299561"/>
                    <a:pt x="2507456" y="297656"/>
                    <a:pt x="2507456" y="294799"/>
                  </a:cubicBezTo>
                  <a:cubicBezTo>
                    <a:pt x="2508409" y="296704"/>
                    <a:pt x="2509361" y="298609"/>
                    <a:pt x="2509361" y="300514"/>
                  </a:cubicBezTo>
                  <a:close/>
                  <a:moveTo>
                    <a:pt x="2496979" y="292894"/>
                  </a:moveTo>
                  <a:cubicBezTo>
                    <a:pt x="2497931" y="290989"/>
                    <a:pt x="2497931" y="290036"/>
                    <a:pt x="2497931" y="290036"/>
                  </a:cubicBezTo>
                  <a:cubicBezTo>
                    <a:pt x="2497931" y="290036"/>
                    <a:pt x="2497931" y="290989"/>
                    <a:pt x="2496979" y="290989"/>
                  </a:cubicBezTo>
                  <a:cubicBezTo>
                    <a:pt x="2496979" y="289084"/>
                    <a:pt x="2496979" y="286226"/>
                    <a:pt x="2497931" y="284321"/>
                  </a:cubicBezTo>
                  <a:cubicBezTo>
                    <a:pt x="2497931" y="278606"/>
                    <a:pt x="2498884" y="272891"/>
                    <a:pt x="2498884" y="269081"/>
                  </a:cubicBezTo>
                  <a:cubicBezTo>
                    <a:pt x="2498884" y="268129"/>
                    <a:pt x="2498884" y="267176"/>
                    <a:pt x="2498884" y="266224"/>
                  </a:cubicBezTo>
                  <a:cubicBezTo>
                    <a:pt x="2499836" y="270034"/>
                    <a:pt x="2500789" y="273844"/>
                    <a:pt x="2502694" y="277654"/>
                  </a:cubicBezTo>
                  <a:cubicBezTo>
                    <a:pt x="2502694" y="279559"/>
                    <a:pt x="2502694" y="281464"/>
                    <a:pt x="2502694" y="283369"/>
                  </a:cubicBezTo>
                  <a:cubicBezTo>
                    <a:pt x="2502694" y="288131"/>
                    <a:pt x="2501741" y="294799"/>
                    <a:pt x="2501741" y="302419"/>
                  </a:cubicBezTo>
                  <a:cubicBezTo>
                    <a:pt x="2501741" y="306229"/>
                    <a:pt x="2501741" y="310039"/>
                    <a:pt x="2501741" y="313849"/>
                  </a:cubicBezTo>
                  <a:cubicBezTo>
                    <a:pt x="2501741" y="317659"/>
                    <a:pt x="2500789" y="321469"/>
                    <a:pt x="2500789" y="325279"/>
                  </a:cubicBezTo>
                  <a:cubicBezTo>
                    <a:pt x="2500789" y="325279"/>
                    <a:pt x="2500789" y="326231"/>
                    <a:pt x="2500789" y="326231"/>
                  </a:cubicBezTo>
                  <a:cubicBezTo>
                    <a:pt x="2500789" y="322421"/>
                    <a:pt x="2499836" y="319564"/>
                    <a:pt x="2499836" y="315754"/>
                  </a:cubicBezTo>
                  <a:cubicBezTo>
                    <a:pt x="2499836" y="313849"/>
                    <a:pt x="2499836" y="311944"/>
                    <a:pt x="2499836" y="310039"/>
                  </a:cubicBezTo>
                  <a:cubicBezTo>
                    <a:pt x="2499836" y="305276"/>
                    <a:pt x="2500789" y="300514"/>
                    <a:pt x="2500789" y="297656"/>
                  </a:cubicBezTo>
                  <a:cubicBezTo>
                    <a:pt x="2500789" y="290989"/>
                    <a:pt x="2500789" y="286226"/>
                    <a:pt x="2500789" y="286226"/>
                  </a:cubicBezTo>
                  <a:cubicBezTo>
                    <a:pt x="2500789" y="286226"/>
                    <a:pt x="2498884" y="289084"/>
                    <a:pt x="2496979" y="292894"/>
                  </a:cubicBezTo>
                  <a:cubicBezTo>
                    <a:pt x="2496979" y="293846"/>
                    <a:pt x="2496979" y="293846"/>
                    <a:pt x="2496979" y="292894"/>
                  </a:cubicBezTo>
                  <a:close/>
                  <a:moveTo>
                    <a:pt x="2449354" y="334804"/>
                  </a:moveTo>
                  <a:cubicBezTo>
                    <a:pt x="2448401" y="332899"/>
                    <a:pt x="2448401" y="330041"/>
                    <a:pt x="2447449" y="328136"/>
                  </a:cubicBezTo>
                  <a:cubicBezTo>
                    <a:pt x="2448401" y="326231"/>
                    <a:pt x="2449354" y="323374"/>
                    <a:pt x="2450306" y="321469"/>
                  </a:cubicBezTo>
                  <a:cubicBezTo>
                    <a:pt x="2450306" y="321469"/>
                    <a:pt x="2450306" y="322421"/>
                    <a:pt x="2450306" y="322421"/>
                  </a:cubicBezTo>
                  <a:cubicBezTo>
                    <a:pt x="2450306" y="323374"/>
                    <a:pt x="2450306" y="323374"/>
                    <a:pt x="2451259" y="324326"/>
                  </a:cubicBezTo>
                  <a:cubicBezTo>
                    <a:pt x="2450306" y="327184"/>
                    <a:pt x="2449354" y="330994"/>
                    <a:pt x="2449354" y="334804"/>
                  </a:cubicBezTo>
                  <a:close/>
                  <a:moveTo>
                    <a:pt x="2450306" y="254794"/>
                  </a:moveTo>
                  <a:cubicBezTo>
                    <a:pt x="2450306" y="253841"/>
                    <a:pt x="2451259" y="252889"/>
                    <a:pt x="2451259" y="251936"/>
                  </a:cubicBezTo>
                  <a:cubicBezTo>
                    <a:pt x="2451259" y="251936"/>
                    <a:pt x="2451259" y="251936"/>
                    <a:pt x="2451259" y="250984"/>
                  </a:cubicBezTo>
                  <a:cubicBezTo>
                    <a:pt x="2451259" y="250984"/>
                    <a:pt x="2451259" y="251936"/>
                    <a:pt x="2451259" y="251936"/>
                  </a:cubicBezTo>
                  <a:cubicBezTo>
                    <a:pt x="2451259" y="252889"/>
                    <a:pt x="2451259" y="253841"/>
                    <a:pt x="2450306" y="254794"/>
                  </a:cubicBezTo>
                  <a:close/>
                  <a:moveTo>
                    <a:pt x="2452211" y="251936"/>
                  </a:moveTo>
                  <a:cubicBezTo>
                    <a:pt x="2452211" y="251936"/>
                    <a:pt x="2452211" y="250984"/>
                    <a:pt x="2451259" y="250984"/>
                  </a:cubicBezTo>
                  <a:cubicBezTo>
                    <a:pt x="2453164" y="246221"/>
                    <a:pt x="2454116" y="242411"/>
                    <a:pt x="2456021" y="238601"/>
                  </a:cubicBezTo>
                  <a:cubicBezTo>
                    <a:pt x="2457926" y="236696"/>
                    <a:pt x="2458879" y="233839"/>
                    <a:pt x="2460784" y="231934"/>
                  </a:cubicBezTo>
                  <a:cubicBezTo>
                    <a:pt x="2460784" y="232886"/>
                    <a:pt x="2459831" y="234791"/>
                    <a:pt x="2459831" y="235744"/>
                  </a:cubicBezTo>
                  <a:cubicBezTo>
                    <a:pt x="2458879" y="239554"/>
                    <a:pt x="2456974" y="243364"/>
                    <a:pt x="2456021" y="248126"/>
                  </a:cubicBezTo>
                  <a:cubicBezTo>
                    <a:pt x="2455069" y="248126"/>
                    <a:pt x="2454116" y="250031"/>
                    <a:pt x="2452211" y="251936"/>
                  </a:cubicBezTo>
                  <a:close/>
                  <a:moveTo>
                    <a:pt x="2457926" y="266224"/>
                  </a:moveTo>
                  <a:cubicBezTo>
                    <a:pt x="2457926" y="267176"/>
                    <a:pt x="2456974" y="267176"/>
                    <a:pt x="2456974" y="268129"/>
                  </a:cubicBezTo>
                  <a:cubicBezTo>
                    <a:pt x="2457926" y="267176"/>
                    <a:pt x="2457926" y="266224"/>
                    <a:pt x="2457926" y="266224"/>
                  </a:cubicBezTo>
                  <a:cubicBezTo>
                    <a:pt x="2457926" y="265271"/>
                    <a:pt x="2457926" y="266224"/>
                    <a:pt x="2457926" y="266224"/>
                  </a:cubicBezTo>
                  <a:close/>
                  <a:moveTo>
                    <a:pt x="2457926" y="374809"/>
                  </a:moveTo>
                  <a:cubicBezTo>
                    <a:pt x="2456974" y="371951"/>
                    <a:pt x="2456974" y="369094"/>
                    <a:pt x="2456021" y="367189"/>
                  </a:cubicBezTo>
                  <a:cubicBezTo>
                    <a:pt x="2456021" y="365284"/>
                    <a:pt x="2456021" y="364331"/>
                    <a:pt x="2456021" y="362426"/>
                  </a:cubicBezTo>
                  <a:cubicBezTo>
                    <a:pt x="2456021" y="355759"/>
                    <a:pt x="2456021" y="350044"/>
                    <a:pt x="2456021" y="344329"/>
                  </a:cubicBezTo>
                  <a:cubicBezTo>
                    <a:pt x="2456974" y="347186"/>
                    <a:pt x="2457926" y="350996"/>
                    <a:pt x="2458879" y="354806"/>
                  </a:cubicBezTo>
                  <a:cubicBezTo>
                    <a:pt x="2459831" y="361474"/>
                    <a:pt x="2458879" y="368141"/>
                    <a:pt x="2457926" y="374809"/>
                  </a:cubicBezTo>
                  <a:close/>
                  <a:moveTo>
                    <a:pt x="2456974" y="308134"/>
                  </a:moveTo>
                  <a:cubicBezTo>
                    <a:pt x="2456974" y="307181"/>
                    <a:pt x="2456974" y="306229"/>
                    <a:pt x="2456974" y="305276"/>
                  </a:cubicBezTo>
                  <a:cubicBezTo>
                    <a:pt x="2456974" y="304324"/>
                    <a:pt x="2457926" y="303371"/>
                    <a:pt x="2457926" y="302419"/>
                  </a:cubicBezTo>
                  <a:cubicBezTo>
                    <a:pt x="2458879" y="306229"/>
                    <a:pt x="2458879" y="310039"/>
                    <a:pt x="2459831" y="313849"/>
                  </a:cubicBezTo>
                  <a:cubicBezTo>
                    <a:pt x="2459831" y="314801"/>
                    <a:pt x="2459831" y="315754"/>
                    <a:pt x="2460784" y="317659"/>
                  </a:cubicBezTo>
                  <a:cubicBezTo>
                    <a:pt x="2458879" y="313849"/>
                    <a:pt x="2457926" y="310991"/>
                    <a:pt x="2456974" y="308134"/>
                  </a:cubicBezTo>
                  <a:close/>
                  <a:moveTo>
                    <a:pt x="2458879" y="290036"/>
                  </a:moveTo>
                  <a:cubicBezTo>
                    <a:pt x="2458879" y="289084"/>
                    <a:pt x="2459831" y="288131"/>
                    <a:pt x="2459831" y="287179"/>
                  </a:cubicBezTo>
                  <a:cubicBezTo>
                    <a:pt x="2460784" y="284321"/>
                    <a:pt x="2461736" y="280511"/>
                    <a:pt x="2463641" y="277654"/>
                  </a:cubicBezTo>
                  <a:cubicBezTo>
                    <a:pt x="2464594" y="278606"/>
                    <a:pt x="2464594" y="280511"/>
                    <a:pt x="2465546" y="281464"/>
                  </a:cubicBezTo>
                  <a:cubicBezTo>
                    <a:pt x="2463641" y="284321"/>
                    <a:pt x="2461736" y="287179"/>
                    <a:pt x="2458879" y="290036"/>
                  </a:cubicBezTo>
                  <a:close/>
                  <a:moveTo>
                    <a:pt x="2464594" y="305276"/>
                  </a:moveTo>
                  <a:cubicBezTo>
                    <a:pt x="2463641" y="301466"/>
                    <a:pt x="2462689" y="298609"/>
                    <a:pt x="2460784" y="295751"/>
                  </a:cubicBezTo>
                  <a:cubicBezTo>
                    <a:pt x="2460784" y="294799"/>
                    <a:pt x="2461736" y="293846"/>
                    <a:pt x="2462689" y="292894"/>
                  </a:cubicBezTo>
                  <a:cubicBezTo>
                    <a:pt x="2464594" y="290036"/>
                    <a:pt x="2465546" y="287179"/>
                    <a:pt x="2466499" y="285274"/>
                  </a:cubicBezTo>
                  <a:cubicBezTo>
                    <a:pt x="2465546" y="290989"/>
                    <a:pt x="2465546" y="297656"/>
                    <a:pt x="2464594" y="305276"/>
                  </a:cubicBezTo>
                  <a:close/>
                  <a:moveTo>
                    <a:pt x="2467451" y="274796"/>
                  </a:moveTo>
                  <a:cubicBezTo>
                    <a:pt x="2467451" y="273844"/>
                    <a:pt x="2466499" y="272891"/>
                    <a:pt x="2466499" y="272891"/>
                  </a:cubicBezTo>
                  <a:cubicBezTo>
                    <a:pt x="2467451" y="270986"/>
                    <a:pt x="2467451" y="270034"/>
                    <a:pt x="2468404" y="268129"/>
                  </a:cubicBezTo>
                  <a:cubicBezTo>
                    <a:pt x="2468404" y="270034"/>
                    <a:pt x="2467451" y="272891"/>
                    <a:pt x="2467451" y="274796"/>
                  </a:cubicBezTo>
                  <a:close/>
                  <a:moveTo>
                    <a:pt x="2471261" y="233839"/>
                  </a:moveTo>
                  <a:cubicBezTo>
                    <a:pt x="2471261" y="233839"/>
                    <a:pt x="2471261" y="237649"/>
                    <a:pt x="2470309" y="245269"/>
                  </a:cubicBezTo>
                  <a:cubicBezTo>
                    <a:pt x="2470309" y="245269"/>
                    <a:pt x="2470309" y="246221"/>
                    <a:pt x="2469356" y="246221"/>
                  </a:cubicBezTo>
                  <a:cubicBezTo>
                    <a:pt x="2466499" y="251936"/>
                    <a:pt x="2462689" y="256699"/>
                    <a:pt x="2459831" y="263366"/>
                  </a:cubicBezTo>
                  <a:cubicBezTo>
                    <a:pt x="2459831" y="262414"/>
                    <a:pt x="2458879" y="262414"/>
                    <a:pt x="2458879" y="261461"/>
                  </a:cubicBezTo>
                  <a:cubicBezTo>
                    <a:pt x="2459831" y="256699"/>
                    <a:pt x="2460784" y="250984"/>
                    <a:pt x="2461736" y="247174"/>
                  </a:cubicBezTo>
                  <a:cubicBezTo>
                    <a:pt x="2461736" y="246221"/>
                    <a:pt x="2462689" y="246221"/>
                    <a:pt x="2462689" y="245269"/>
                  </a:cubicBezTo>
                  <a:cubicBezTo>
                    <a:pt x="2466499" y="239554"/>
                    <a:pt x="2469356" y="234791"/>
                    <a:pt x="2472214" y="231934"/>
                  </a:cubicBezTo>
                  <a:cubicBezTo>
                    <a:pt x="2472214" y="231934"/>
                    <a:pt x="2472214" y="231934"/>
                    <a:pt x="2472214" y="231934"/>
                  </a:cubicBezTo>
                  <a:cubicBezTo>
                    <a:pt x="2472214" y="234791"/>
                    <a:pt x="2473166" y="237649"/>
                    <a:pt x="2473166" y="240506"/>
                  </a:cubicBezTo>
                  <a:cubicBezTo>
                    <a:pt x="2473166" y="241459"/>
                    <a:pt x="2472214" y="241459"/>
                    <a:pt x="2472214" y="242411"/>
                  </a:cubicBezTo>
                  <a:cubicBezTo>
                    <a:pt x="2472214" y="236696"/>
                    <a:pt x="2471261" y="233839"/>
                    <a:pt x="2471261" y="233839"/>
                  </a:cubicBezTo>
                  <a:close/>
                  <a:moveTo>
                    <a:pt x="2467451" y="211931"/>
                  </a:moveTo>
                  <a:cubicBezTo>
                    <a:pt x="2466499" y="212884"/>
                    <a:pt x="2466499" y="212884"/>
                    <a:pt x="2465546" y="213836"/>
                  </a:cubicBezTo>
                  <a:cubicBezTo>
                    <a:pt x="2465546" y="212884"/>
                    <a:pt x="2465546" y="212884"/>
                    <a:pt x="2466499" y="211931"/>
                  </a:cubicBezTo>
                  <a:cubicBezTo>
                    <a:pt x="2467451" y="210026"/>
                    <a:pt x="2467451" y="209074"/>
                    <a:pt x="2468404" y="208121"/>
                  </a:cubicBezTo>
                  <a:cubicBezTo>
                    <a:pt x="2468404" y="209074"/>
                    <a:pt x="2468404" y="210026"/>
                    <a:pt x="2468404" y="210979"/>
                  </a:cubicBezTo>
                  <a:cubicBezTo>
                    <a:pt x="2468404" y="210979"/>
                    <a:pt x="2468404" y="210979"/>
                    <a:pt x="2467451" y="211931"/>
                  </a:cubicBezTo>
                  <a:cubicBezTo>
                    <a:pt x="2468404" y="210979"/>
                    <a:pt x="2468404" y="210979"/>
                    <a:pt x="2467451" y="211931"/>
                  </a:cubicBezTo>
                  <a:cubicBezTo>
                    <a:pt x="2468404" y="210979"/>
                    <a:pt x="2467451" y="210979"/>
                    <a:pt x="2467451" y="211931"/>
                  </a:cubicBezTo>
                  <a:close/>
                  <a:moveTo>
                    <a:pt x="2470309" y="218599"/>
                  </a:moveTo>
                  <a:cubicBezTo>
                    <a:pt x="2471261" y="222409"/>
                    <a:pt x="2471261" y="226219"/>
                    <a:pt x="2472214" y="230029"/>
                  </a:cubicBezTo>
                  <a:cubicBezTo>
                    <a:pt x="2472214" y="230029"/>
                    <a:pt x="2472214" y="230029"/>
                    <a:pt x="2472214" y="230029"/>
                  </a:cubicBezTo>
                  <a:cubicBezTo>
                    <a:pt x="2470309" y="231934"/>
                    <a:pt x="2467451" y="234791"/>
                    <a:pt x="2463641" y="237649"/>
                  </a:cubicBezTo>
                  <a:cubicBezTo>
                    <a:pt x="2463641" y="236696"/>
                    <a:pt x="2463641" y="235744"/>
                    <a:pt x="2464594" y="234791"/>
                  </a:cubicBezTo>
                  <a:cubicBezTo>
                    <a:pt x="2465546" y="230981"/>
                    <a:pt x="2465546" y="227171"/>
                    <a:pt x="2466499" y="224314"/>
                  </a:cubicBezTo>
                  <a:cubicBezTo>
                    <a:pt x="2466499" y="224314"/>
                    <a:pt x="2466499" y="224314"/>
                    <a:pt x="2466499" y="224314"/>
                  </a:cubicBezTo>
                  <a:cubicBezTo>
                    <a:pt x="2467451" y="223361"/>
                    <a:pt x="2468404" y="220504"/>
                    <a:pt x="2470309" y="218599"/>
                  </a:cubicBezTo>
                  <a:close/>
                  <a:moveTo>
                    <a:pt x="2477929" y="223361"/>
                  </a:moveTo>
                  <a:cubicBezTo>
                    <a:pt x="2476976" y="219551"/>
                    <a:pt x="2476024" y="215741"/>
                    <a:pt x="2475071" y="212884"/>
                  </a:cubicBezTo>
                  <a:cubicBezTo>
                    <a:pt x="2476024" y="211931"/>
                    <a:pt x="2476976" y="210026"/>
                    <a:pt x="2477929" y="209074"/>
                  </a:cubicBezTo>
                  <a:cubicBezTo>
                    <a:pt x="2477929" y="211931"/>
                    <a:pt x="2477929" y="214789"/>
                    <a:pt x="2477929" y="217646"/>
                  </a:cubicBezTo>
                  <a:cubicBezTo>
                    <a:pt x="2477929" y="219551"/>
                    <a:pt x="2477929" y="221456"/>
                    <a:pt x="2477929" y="223361"/>
                  </a:cubicBezTo>
                  <a:close/>
                  <a:moveTo>
                    <a:pt x="2473166" y="206216"/>
                  </a:moveTo>
                  <a:cubicBezTo>
                    <a:pt x="2473166" y="205264"/>
                    <a:pt x="2472214" y="204311"/>
                    <a:pt x="2472214" y="203359"/>
                  </a:cubicBezTo>
                  <a:cubicBezTo>
                    <a:pt x="2472214" y="202406"/>
                    <a:pt x="2472214" y="202406"/>
                    <a:pt x="2471261" y="201454"/>
                  </a:cubicBezTo>
                  <a:cubicBezTo>
                    <a:pt x="2472214" y="199549"/>
                    <a:pt x="2473166" y="197644"/>
                    <a:pt x="2474119" y="195739"/>
                  </a:cubicBezTo>
                  <a:cubicBezTo>
                    <a:pt x="2475071" y="193834"/>
                    <a:pt x="2476976" y="190976"/>
                    <a:pt x="2477929" y="189071"/>
                  </a:cubicBezTo>
                  <a:cubicBezTo>
                    <a:pt x="2477929" y="192881"/>
                    <a:pt x="2477929" y="197644"/>
                    <a:pt x="2477929" y="201454"/>
                  </a:cubicBezTo>
                  <a:cubicBezTo>
                    <a:pt x="2476024" y="203359"/>
                    <a:pt x="2474119" y="205264"/>
                    <a:pt x="2473166" y="206216"/>
                  </a:cubicBezTo>
                  <a:close/>
                  <a:moveTo>
                    <a:pt x="2473166" y="255746"/>
                  </a:moveTo>
                  <a:cubicBezTo>
                    <a:pt x="2474119" y="254794"/>
                    <a:pt x="2474119" y="252889"/>
                    <a:pt x="2475071" y="251936"/>
                  </a:cubicBezTo>
                  <a:cubicBezTo>
                    <a:pt x="2476024" y="256699"/>
                    <a:pt x="2476024" y="261461"/>
                    <a:pt x="2476976" y="266224"/>
                  </a:cubicBezTo>
                  <a:cubicBezTo>
                    <a:pt x="2477929" y="274796"/>
                    <a:pt x="2478881" y="283369"/>
                    <a:pt x="2479834" y="292894"/>
                  </a:cubicBezTo>
                  <a:cubicBezTo>
                    <a:pt x="2479834" y="293846"/>
                    <a:pt x="2479834" y="295751"/>
                    <a:pt x="2479834" y="296704"/>
                  </a:cubicBezTo>
                  <a:cubicBezTo>
                    <a:pt x="2479834" y="296704"/>
                    <a:pt x="2479834" y="295751"/>
                    <a:pt x="2479834" y="295751"/>
                  </a:cubicBezTo>
                  <a:cubicBezTo>
                    <a:pt x="2477929" y="292894"/>
                    <a:pt x="2476976" y="290036"/>
                    <a:pt x="2475071" y="288131"/>
                  </a:cubicBezTo>
                  <a:cubicBezTo>
                    <a:pt x="2475071" y="275749"/>
                    <a:pt x="2474119" y="264319"/>
                    <a:pt x="2473166" y="255746"/>
                  </a:cubicBezTo>
                  <a:close/>
                  <a:moveTo>
                    <a:pt x="2481739" y="324326"/>
                  </a:moveTo>
                  <a:cubicBezTo>
                    <a:pt x="2481739" y="325279"/>
                    <a:pt x="2480786" y="325279"/>
                    <a:pt x="2480786" y="326231"/>
                  </a:cubicBezTo>
                  <a:cubicBezTo>
                    <a:pt x="2479834" y="330041"/>
                    <a:pt x="2477929" y="334804"/>
                    <a:pt x="2476024" y="340519"/>
                  </a:cubicBezTo>
                  <a:cubicBezTo>
                    <a:pt x="2476024" y="329089"/>
                    <a:pt x="2476024" y="317659"/>
                    <a:pt x="2476024" y="308134"/>
                  </a:cubicBezTo>
                  <a:cubicBezTo>
                    <a:pt x="2476024" y="308134"/>
                    <a:pt x="2476024" y="308134"/>
                    <a:pt x="2476024" y="308134"/>
                  </a:cubicBezTo>
                  <a:cubicBezTo>
                    <a:pt x="2476976" y="311944"/>
                    <a:pt x="2478881" y="314801"/>
                    <a:pt x="2479834" y="318611"/>
                  </a:cubicBezTo>
                  <a:cubicBezTo>
                    <a:pt x="2479834" y="319564"/>
                    <a:pt x="2480786" y="321469"/>
                    <a:pt x="2480786" y="322421"/>
                  </a:cubicBezTo>
                  <a:cubicBezTo>
                    <a:pt x="2480786" y="322421"/>
                    <a:pt x="2481739" y="323374"/>
                    <a:pt x="2481739" y="324326"/>
                  </a:cubicBezTo>
                  <a:cubicBezTo>
                    <a:pt x="2481739" y="324326"/>
                    <a:pt x="2481739" y="324326"/>
                    <a:pt x="2481739" y="324326"/>
                  </a:cubicBezTo>
                  <a:close/>
                  <a:moveTo>
                    <a:pt x="2436971" y="215741"/>
                  </a:moveTo>
                  <a:cubicBezTo>
                    <a:pt x="2440781" y="209074"/>
                    <a:pt x="2444591" y="202406"/>
                    <a:pt x="2447449" y="195739"/>
                  </a:cubicBezTo>
                  <a:cubicBezTo>
                    <a:pt x="2451259" y="190024"/>
                    <a:pt x="2454116" y="184309"/>
                    <a:pt x="2457926" y="178594"/>
                  </a:cubicBezTo>
                  <a:cubicBezTo>
                    <a:pt x="2464594" y="168116"/>
                    <a:pt x="2469356" y="157639"/>
                    <a:pt x="2475071" y="150971"/>
                  </a:cubicBezTo>
                  <a:cubicBezTo>
                    <a:pt x="2477929" y="146209"/>
                    <a:pt x="2480786" y="142399"/>
                    <a:pt x="2482691" y="138589"/>
                  </a:cubicBezTo>
                  <a:cubicBezTo>
                    <a:pt x="2481739" y="142399"/>
                    <a:pt x="2481739" y="148114"/>
                    <a:pt x="2480786" y="154781"/>
                  </a:cubicBezTo>
                  <a:cubicBezTo>
                    <a:pt x="2479834" y="162401"/>
                    <a:pt x="2479834" y="170974"/>
                    <a:pt x="2478881" y="181451"/>
                  </a:cubicBezTo>
                  <a:cubicBezTo>
                    <a:pt x="2476024" y="185261"/>
                    <a:pt x="2473166" y="189071"/>
                    <a:pt x="2470309" y="193834"/>
                  </a:cubicBezTo>
                  <a:cubicBezTo>
                    <a:pt x="2470309" y="193834"/>
                    <a:pt x="2470309" y="194786"/>
                    <a:pt x="2469356" y="194786"/>
                  </a:cubicBezTo>
                  <a:cubicBezTo>
                    <a:pt x="2466499" y="186214"/>
                    <a:pt x="2465546" y="181451"/>
                    <a:pt x="2465546" y="181451"/>
                  </a:cubicBezTo>
                  <a:cubicBezTo>
                    <a:pt x="2465546" y="181451"/>
                    <a:pt x="2466499" y="187166"/>
                    <a:pt x="2467451" y="197644"/>
                  </a:cubicBezTo>
                  <a:cubicBezTo>
                    <a:pt x="2465546" y="201454"/>
                    <a:pt x="2462689" y="205264"/>
                    <a:pt x="2460784" y="209074"/>
                  </a:cubicBezTo>
                  <a:cubicBezTo>
                    <a:pt x="2456021" y="216694"/>
                    <a:pt x="2452211" y="225266"/>
                    <a:pt x="2447449" y="234791"/>
                  </a:cubicBezTo>
                  <a:cubicBezTo>
                    <a:pt x="2443639" y="238601"/>
                    <a:pt x="2440781" y="243364"/>
                    <a:pt x="2436971" y="247174"/>
                  </a:cubicBezTo>
                  <a:cubicBezTo>
                    <a:pt x="2436971" y="248126"/>
                    <a:pt x="2436019" y="248126"/>
                    <a:pt x="2436019" y="249079"/>
                  </a:cubicBezTo>
                  <a:cubicBezTo>
                    <a:pt x="2436019" y="249079"/>
                    <a:pt x="2436019" y="249079"/>
                    <a:pt x="2436019" y="249079"/>
                  </a:cubicBezTo>
                  <a:cubicBezTo>
                    <a:pt x="2435066" y="240506"/>
                    <a:pt x="2434114" y="232886"/>
                    <a:pt x="2433161" y="225266"/>
                  </a:cubicBezTo>
                  <a:cubicBezTo>
                    <a:pt x="2433161" y="221456"/>
                    <a:pt x="2435066" y="218599"/>
                    <a:pt x="2436971" y="215741"/>
                  </a:cubicBezTo>
                  <a:close/>
                  <a:moveTo>
                    <a:pt x="2416016" y="313849"/>
                  </a:moveTo>
                  <a:cubicBezTo>
                    <a:pt x="2416016" y="313849"/>
                    <a:pt x="2416016" y="313849"/>
                    <a:pt x="2416016" y="313849"/>
                  </a:cubicBezTo>
                  <a:cubicBezTo>
                    <a:pt x="2415064" y="310039"/>
                    <a:pt x="2414111" y="307181"/>
                    <a:pt x="2413159" y="304324"/>
                  </a:cubicBezTo>
                  <a:cubicBezTo>
                    <a:pt x="2414111" y="303371"/>
                    <a:pt x="2414111" y="302419"/>
                    <a:pt x="2415064" y="301466"/>
                  </a:cubicBezTo>
                  <a:cubicBezTo>
                    <a:pt x="2415064" y="302419"/>
                    <a:pt x="2415064" y="302419"/>
                    <a:pt x="2415064" y="303371"/>
                  </a:cubicBezTo>
                  <a:cubicBezTo>
                    <a:pt x="2415064" y="306229"/>
                    <a:pt x="2416016" y="310039"/>
                    <a:pt x="2416016" y="313849"/>
                  </a:cubicBezTo>
                  <a:cubicBezTo>
                    <a:pt x="2416016" y="313849"/>
                    <a:pt x="2416016" y="313849"/>
                    <a:pt x="2416016" y="313849"/>
                  </a:cubicBezTo>
                  <a:close/>
                  <a:moveTo>
                    <a:pt x="2422684" y="288131"/>
                  </a:moveTo>
                  <a:cubicBezTo>
                    <a:pt x="2422684" y="290036"/>
                    <a:pt x="2422684" y="291941"/>
                    <a:pt x="2422684" y="293846"/>
                  </a:cubicBezTo>
                  <a:cubicBezTo>
                    <a:pt x="2421731" y="295751"/>
                    <a:pt x="2421731" y="297656"/>
                    <a:pt x="2420779" y="299561"/>
                  </a:cubicBezTo>
                  <a:cubicBezTo>
                    <a:pt x="2419826" y="297656"/>
                    <a:pt x="2419826" y="295751"/>
                    <a:pt x="2418874" y="293846"/>
                  </a:cubicBezTo>
                  <a:cubicBezTo>
                    <a:pt x="2419826" y="292894"/>
                    <a:pt x="2419826" y="291941"/>
                    <a:pt x="2420779" y="290989"/>
                  </a:cubicBezTo>
                  <a:cubicBezTo>
                    <a:pt x="2421731" y="290036"/>
                    <a:pt x="2421731" y="289084"/>
                    <a:pt x="2422684" y="288131"/>
                  </a:cubicBezTo>
                  <a:close/>
                  <a:moveTo>
                    <a:pt x="2414111" y="259556"/>
                  </a:moveTo>
                  <a:cubicBezTo>
                    <a:pt x="2416016" y="255746"/>
                    <a:pt x="2417921" y="251936"/>
                    <a:pt x="2419826" y="248126"/>
                  </a:cubicBezTo>
                  <a:cubicBezTo>
                    <a:pt x="2419826" y="253841"/>
                    <a:pt x="2420779" y="259556"/>
                    <a:pt x="2420779" y="266224"/>
                  </a:cubicBezTo>
                  <a:cubicBezTo>
                    <a:pt x="2417921" y="270034"/>
                    <a:pt x="2415064" y="273844"/>
                    <a:pt x="2412206" y="277654"/>
                  </a:cubicBezTo>
                  <a:cubicBezTo>
                    <a:pt x="2411254" y="276701"/>
                    <a:pt x="2411254" y="275749"/>
                    <a:pt x="2410301" y="273844"/>
                  </a:cubicBezTo>
                  <a:cubicBezTo>
                    <a:pt x="2409349" y="272891"/>
                    <a:pt x="2409349" y="271939"/>
                    <a:pt x="2408396" y="270986"/>
                  </a:cubicBezTo>
                  <a:cubicBezTo>
                    <a:pt x="2410301" y="268129"/>
                    <a:pt x="2412206" y="263366"/>
                    <a:pt x="2414111" y="259556"/>
                  </a:cubicBezTo>
                  <a:close/>
                  <a:moveTo>
                    <a:pt x="2406491" y="275749"/>
                  </a:moveTo>
                  <a:cubicBezTo>
                    <a:pt x="2406491" y="275749"/>
                    <a:pt x="2406491" y="275749"/>
                    <a:pt x="2406491" y="275749"/>
                  </a:cubicBezTo>
                  <a:cubicBezTo>
                    <a:pt x="2407444" y="277654"/>
                    <a:pt x="2408396" y="279559"/>
                    <a:pt x="2409349" y="282416"/>
                  </a:cubicBezTo>
                  <a:cubicBezTo>
                    <a:pt x="2408396" y="283369"/>
                    <a:pt x="2407444" y="285274"/>
                    <a:pt x="2406491" y="286226"/>
                  </a:cubicBezTo>
                  <a:cubicBezTo>
                    <a:pt x="2405539" y="284321"/>
                    <a:pt x="2405539" y="282416"/>
                    <a:pt x="2404586" y="280511"/>
                  </a:cubicBezTo>
                  <a:cubicBezTo>
                    <a:pt x="2405539" y="278606"/>
                    <a:pt x="2405539" y="276701"/>
                    <a:pt x="2406491" y="275749"/>
                  </a:cubicBezTo>
                  <a:close/>
                  <a:moveTo>
                    <a:pt x="2405539" y="317659"/>
                  </a:moveTo>
                  <a:cubicBezTo>
                    <a:pt x="2406491" y="321469"/>
                    <a:pt x="2407444" y="324326"/>
                    <a:pt x="2408396" y="328136"/>
                  </a:cubicBezTo>
                  <a:cubicBezTo>
                    <a:pt x="2408396" y="330041"/>
                    <a:pt x="2408396" y="331946"/>
                    <a:pt x="2408396" y="334804"/>
                  </a:cubicBezTo>
                  <a:cubicBezTo>
                    <a:pt x="2408396" y="333851"/>
                    <a:pt x="2407444" y="332899"/>
                    <a:pt x="2407444" y="332899"/>
                  </a:cubicBezTo>
                  <a:cubicBezTo>
                    <a:pt x="2407444" y="332899"/>
                    <a:pt x="2407444" y="335756"/>
                    <a:pt x="2407444" y="340519"/>
                  </a:cubicBezTo>
                  <a:cubicBezTo>
                    <a:pt x="2406491" y="344329"/>
                    <a:pt x="2405539" y="347186"/>
                    <a:pt x="2404586" y="350996"/>
                  </a:cubicBezTo>
                  <a:cubicBezTo>
                    <a:pt x="2403634" y="355759"/>
                    <a:pt x="2401729" y="359569"/>
                    <a:pt x="2400776" y="364331"/>
                  </a:cubicBezTo>
                  <a:cubicBezTo>
                    <a:pt x="2399824" y="357664"/>
                    <a:pt x="2398871" y="350044"/>
                    <a:pt x="2398871" y="343376"/>
                  </a:cubicBezTo>
                  <a:cubicBezTo>
                    <a:pt x="2398871" y="340519"/>
                    <a:pt x="2397919" y="336709"/>
                    <a:pt x="2397919" y="333851"/>
                  </a:cubicBezTo>
                  <a:cubicBezTo>
                    <a:pt x="2397919" y="332899"/>
                    <a:pt x="2397919" y="331946"/>
                    <a:pt x="2398871" y="330994"/>
                  </a:cubicBezTo>
                  <a:cubicBezTo>
                    <a:pt x="2399824" y="325279"/>
                    <a:pt x="2402681" y="321469"/>
                    <a:pt x="2405539" y="317659"/>
                  </a:cubicBezTo>
                  <a:close/>
                  <a:moveTo>
                    <a:pt x="2398871" y="291941"/>
                  </a:moveTo>
                  <a:cubicBezTo>
                    <a:pt x="2398871" y="292894"/>
                    <a:pt x="2399824" y="293846"/>
                    <a:pt x="2399824" y="295751"/>
                  </a:cubicBezTo>
                  <a:cubicBezTo>
                    <a:pt x="2397919" y="298609"/>
                    <a:pt x="2396014" y="300514"/>
                    <a:pt x="2394109" y="303371"/>
                  </a:cubicBezTo>
                  <a:cubicBezTo>
                    <a:pt x="2394109" y="303371"/>
                    <a:pt x="2394109" y="302419"/>
                    <a:pt x="2394109" y="302419"/>
                  </a:cubicBezTo>
                  <a:cubicBezTo>
                    <a:pt x="2396014" y="298609"/>
                    <a:pt x="2397919" y="295751"/>
                    <a:pt x="2398871" y="291941"/>
                  </a:cubicBezTo>
                  <a:close/>
                  <a:moveTo>
                    <a:pt x="2393156" y="267176"/>
                  </a:moveTo>
                  <a:cubicBezTo>
                    <a:pt x="2392204" y="268129"/>
                    <a:pt x="2392204" y="269081"/>
                    <a:pt x="2391251" y="270034"/>
                  </a:cubicBezTo>
                  <a:cubicBezTo>
                    <a:pt x="2390299" y="264319"/>
                    <a:pt x="2390299" y="259556"/>
                    <a:pt x="2389346" y="254794"/>
                  </a:cubicBezTo>
                  <a:cubicBezTo>
                    <a:pt x="2391251" y="258604"/>
                    <a:pt x="2392204" y="263366"/>
                    <a:pt x="2393156" y="267176"/>
                  </a:cubicBezTo>
                  <a:close/>
                  <a:moveTo>
                    <a:pt x="2351246" y="278606"/>
                  </a:moveTo>
                  <a:cubicBezTo>
                    <a:pt x="2351246" y="277654"/>
                    <a:pt x="2351246" y="277654"/>
                    <a:pt x="2351246" y="278606"/>
                  </a:cubicBezTo>
                  <a:lnTo>
                    <a:pt x="2351246" y="275749"/>
                  </a:lnTo>
                  <a:cubicBezTo>
                    <a:pt x="2351246" y="276701"/>
                    <a:pt x="2351246" y="277654"/>
                    <a:pt x="2351246" y="278606"/>
                  </a:cubicBezTo>
                  <a:close/>
                  <a:moveTo>
                    <a:pt x="2378869" y="295751"/>
                  </a:moveTo>
                  <a:cubicBezTo>
                    <a:pt x="2377916" y="298609"/>
                    <a:pt x="2376011" y="300514"/>
                    <a:pt x="2375059" y="303371"/>
                  </a:cubicBezTo>
                  <a:cubicBezTo>
                    <a:pt x="2375059" y="304324"/>
                    <a:pt x="2374106" y="304324"/>
                    <a:pt x="2374106" y="305276"/>
                  </a:cubicBezTo>
                  <a:cubicBezTo>
                    <a:pt x="2374106" y="305276"/>
                    <a:pt x="2374106" y="304324"/>
                    <a:pt x="2374106" y="304324"/>
                  </a:cubicBezTo>
                  <a:cubicBezTo>
                    <a:pt x="2376964" y="261461"/>
                    <a:pt x="2376011" y="231934"/>
                    <a:pt x="2376011" y="231934"/>
                  </a:cubicBezTo>
                  <a:cubicBezTo>
                    <a:pt x="2376011" y="231934"/>
                    <a:pt x="2372201" y="249079"/>
                    <a:pt x="2366486" y="277654"/>
                  </a:cubicBezTo>
                  <a:cubicBezTo>
                    <a:pt x="2365534" y="275749"/>
                    <a:pt x="2365534" y="273844"/>
                    <a:pt x="2364581" y="272891"/>
                  </a:cubicBezTo>
                  <a:cubicBezTo>
                    <a:pt x="2363629" y="270034"/>
                    <a:pt x="2362676" y="267176"/>
                    <a:pt x="2361724" y="264319"/>
                  </a:cubicBezTo>
                  <a:cubicBezTo>
                    <a:pt x="2361724" y="257651"/>
                    <a:pt x="2361724" y="250984"/>
                    <a:pt x="2361724" y="245269"/>
                  </a:cubicBezTo>
                  <a:lnTo>
                    <a:pt x="2365534" y="234791"/>
                  </a:lnTo>
                  <a:lnTo>
                    <a:pt x="2376011" y="211931"/>
                  </a:lnTo>
                  <a:cubicBezTo>
                    <a:pt x="2376011" y="221456"/>
                    <a:pt x="2376011" y="232886"/>
                    <a:pt x="2376011" y="244316"/>
                  </a:cubicBezTo>
                  <a:cubicBezTo>
                    <a:pt x="2376011" y="258604"/>
                    <a:pt x="2376011" y="274796"/>
                    <a:pt x="2376964" y="290989"/>
                  </a:cubicBezTo>
                  <a:cubicBezTo>
                    <a:pt x="2378869" y="292894"/>
                    <a:pt x="2378869" y="293846"/>
                    <a:pt x="2378869" y="295751"/>
                  </a:cubicBezTo>
                  <a:close/>
                  <a:moveTo>
                    <a:pt x="2362676" y="180499"/>
                  </a:moveTo>
                  <a:cubicBezTo>
                    <a:pt x="2364581" y="175736"/>
                    <a:pt x="2366486" y="170974"/>
                    <a:pt x="2368391" y="166211"/>
                  </a:cubicBezTo>
                  <a:cubicBezTo>
                    <a:pt x="2372201" y="157639"/>
                    <a:pt x="2375059" y="149066"/>
                    <a:pt x="2377916" y="140494"/>
                  </a:cubicBezTo>
                  <a:cubicBezTo>
                    <a:pt x="2377916" y="141446"/>
                    <a:pt x="2378869" y="142399"/>
                    <a:pt x="2378869" y="143351"/>
                  </a:cubicBezTo>
                  <a:cubicBezTo>
                    <a:pt x="2379821" y="146209"/>
                    <a:pt x="2379821" y="149066"/>
                    <a:pt x="2378869" y="152876"/>
                  </a:cubicBezTo>
                  <a:cubicBezTo>
                    <a:pt x="2377916" y="149066"/>
                    <a:pt x="2377916" y="147161"/>
                    <a:pt x="2377916" y="147161"/>
                  </a:cubicBezTo>
                  <a:cubicBezTo>
                    <a:pt x="2377916" y="147161"/>
                    <a:pt x="2377916" y="156686"/>
                    <a:pt x="2377916" y="173831"/>
                  </a:cubicBezTo>
                  <a:cubicBezTo>
                    <a:pt x="2377916" y="182404"/>
                    <a:pt x="2377916" y="191929"/>
                    <a:pt x="2377916" y="203359"/>
                  </a:cubicBezTo>
                  <a:cubicBezTo>
                    <a:pt x="2373154" y="210979"/>
                    <a:pt x="2368391" y="219551"/>
                    <a:pt x="2362676" y="227171"/>
                  </a:cubicBezTo>
                  <a:cubicBezTo>
                    <a:pt x="2361724" y="206216"/>
                    <a:pt x="2361724" y="190976"/>
                    <a:pt x="2360771" y="185261"/>
                  </a:cubicBezTo>
                  <a:cubicBezTo>
                    <a:pt x="2361724" y="183356"/>
                    <a:pt x="2361724" y="182404"/>
                    <a:pt x="2362676" y="180499"/>
                  </a:cubicBezTo>
                  <a:close/>
                  <a:moveTo>
                    <a:pt x="2340769" y="241459"/>
                  </a:moveTo>
                  <a:cubicBezTo>
                    <a:pt x="2341721" y="239554"/>
                    <a:pt x="2341721" y="237649"/>
                    <a:pt x="2342674" y="235744"/>
                  </a:cubicBezTo>
                  <a:cubicBezTo>
                    <a:pt x="2344579" y="230981"/>
                    <a:pt x="2345531" y="226219"/>
                    <a:pt x="2347436" y="221456"/>
                  </a:cubicBezTo>
                  <a:cubicBezTo>
                    <a:pt x="2352199" y="210026"/>
                    <a:pt x="2356009" y="198596"/>
                    <a:pt x="2359819" y="187166"/>
                  </a:cubicBezTo>
                  <a:cubicBezTo>
                    <a:pt x="2358866" y="194786"/>
                    <a:pt x="2356961" y="212884"/>
                    <a:pt x="2355056" y="236696"/>
                  </a:cubicBezTo>
                  <a:cubicBezTo>
                    <a:pt x="2354104" y="232886"/>
                    <a:pt x="2353151" y="230029"/>
                    <a:pt x="2353151" y="230029"/>
                  </a:cubicBezTo>
                  <a:cubicBezTo>
                    <a:pt x="2353151" y="230029"/>
                    <a:pt x="2354104" y="233839"/>
                    <a:pt x="2354104" y="241459"/>
                  </a:cubicBezTo>
                  <a:cubicBezTo>
                    <a:pt x="2351246" y="247174"/>
                    <a:pt x="2347436" y="253841"/>
                    <a:pt x="2344579" y="259556"/>
                  </a:cubicBezTo>
                  <a:cubicBezTo>
                    <a:pt x="2344579" y="259556"/>
                    <a:pt x="2344579" y="259556"/>
                    <a:pt x="2344579" y="259556"/>
                  </a:cubicBezTo>
                  <a:cubicBezTo>
                    <a:pt x="2342674" y="254794"/>
                    <a:pt x="2340769" y="250031"/>
                    <a:pt x="2339816" y="245269"/>
                  </a:cubicBezTo>
                  <a:lnTo>
                    <a:pt x="2340769" y="241459"/>
                  </a:lnTo>
                  <a:close/>
                  <a:moveTo>
                    <a:pt x="2344579" y="320516"/>
                  </a:moveTo>
                  <a:cubicBezTo>
                    <a:pt x="2342674" y="316706"/>
                    <a:pt x="2340769" y="313849"/>
                    <a:pt x="2339816" y="310991"/>
                  </a:cubicBezTo>
                  <a:lnTo>
                    <a:pt x="2339816" y="310039"/>
                  </a:lnTo>
                  <a:cubicBezTo>
                    <a:pt x="2341721" y="313849"/>
                    <a:pt x="2343626" y="317659"/>
                    <a:pt x="2344579" y="320516"/>
                  </a:cubicBezTo>
                  <a:close/>
                  <a:moveTo>
                    <a:pt x="2337911" y="317659"/>
                  </a:moveTo>
                  <a:cubicBezTo>
                    <a:pt x="2338864" y="320516"/>
                    <a:pt x="2339816" y="324326"/>
                    <a:pt x="2341721" y="327184"/>
                  </a:cubicBezTo>
                  <a:lnTo>
                    <a:pt x="2336959" y="321469"/>
                  </a:lnTo>
                  <a:lnTo>
                    <a:pt x="2337911" y="317659"/>
                  </a:lnTo>
                  <a:close/>
                  <a:moveTo>
                    <a:pt x="2332196" y="280511"/>
                  </a:moveTo>
                  <a:cubicBezTo>
                    <a:pt x="2332196" y="281464"/>
                    <a:pt x="2333149" y="282416"/>
                    <a:pt x="2333149" y="283369"/>
                  </a:cubicBezTo>
                  <a:cubicBezTo>
                    <a:pt x="2333149" y="282416"/>
                    <a:pt x="2332196" y="282416"/>
                    <a:pt x="2332196" y="281464"/>
                  </a:cubicBezTo>
                  <a:lnTo>
                    <a:pt x="2332196" y="280511"/>
                  </a:lnTo>
                  <a:close/>
                  <a:moveTo>
                    <a:pt x="2330291" y="289084"/>
                  </a:moveTo>
                  <a:cubicBezTo>
                    <a:pt x="2330291" y="290036"/>
                    <a:pt x="2331244" y="290989"/>
                    <a:pt x="2331244" y="290989"/>
                  </a:cubicBezTo>
                  <a:lnTo>
                    <a:pt x="2330291" y="292894"/>
                  </a:lnTo>
                  <a:cubicBezTo>
                    <a:pt x="2330291" y="291941"/>
                    <a:pt x="2329339" y="291941"/>
                    <a:pt x="2329339" y="290989"/>
                  </a:cubicBezTo>
                  <a:lnTo>
                    <a:pt x="2330291" y="289084"/>
                  </a:lnTo>
                  <a:close/>
                  <a:moveTo>
                    <a:pt x="2329339" y="293846"/>
                  </a:moveTo>
                  <a:lnTo>
                    <a:pt x="2329339" y="292894"/>
                  </a:lnTo>
                  <a:cubicBezTo>
                    <a:pt x="2329339" y="293846"/>
                    <a:pt x="2329339" y="293846"/>
                    <a:pt x="2330291" y="294799"/>
                  </a:cubicBezTo>
                  <a:lnTo>
                    <a:pt x="2328386" y="299561"/>
                  </a:lnTo>
                  <a:cubicBezTo>
                    <a:pt x="2328386" y="299561"/>
                    <a:pt x="2328386" y="299561"/>
                    <a:pt x="2328386" y="298609"/>
                  </a:cubicBezTo>
                  <a:lnTo>
                    <a:pt x="2329339" y="293846"/>
                  </a:lnTo>
                  <a:close/>
                  <a:moveTo>
                    <a:pt x="2313146" y="194786"/>
                  </a:moveTo>
                  <a:cubicBezTo>
                    <a:pt x="2314099" y="196691"/>
                    <a:pt x="2314099" y="199549"/>
                    <a:pt x="2315051" y="201454"/>
                  </a:cubicBezTo>
                  <a:cubicBezTo>
                    <a:pt x="2315051" y="202406"/>
                    <a:pt x="2316004" y="203359"/>
                    <a:pt x="2316004" y="205264"/>
                  </a:cubicBezTo>
                  <a:cubicBezTo>
                    <a:pt x="2315051" y="208121"/>
                    <a:pt x="2314099" y="211931"/>
                    <a:pt x="2314099" y="214789"/>
                  </a:cubicBezTo>
                  <a:cubicBezTo>
                    <a:pt x="2314099" y="214789"/>
                    <a:pt x="2314099" y="214789"/>
                    <a:pt x="2314099" y="214789"/>
                  </a:cubicBezTo>
                  <a:cubicBezTo>
                    <a:pt x="2313146" y="211931"/>
                    <a:pt x="2311241" y="210026"/>
                    <a:pt x="2310289" y="207169"/>
                  </a:cubicBezTo>
                  <a:cubicBezTo>
                    <a:pt x="2311241" y="202406"/>
                    <a:pt x="2312194" y="198596"/>
                    <a:pt x="2313146" y="194786"/>
                  </a:cubicBezTo>
                  <a:close/>
                  <a:moveTo>
                    <a:pt x="2304574" y="197644"/>
                  </a:moveTo>
                  <a:cubicBezTo>
                    <a:pt x="2304574" y="198596"/>
                    <a:pt x="2305526" y="199549"/>
                    <a:pt x="2305526" y="200501"/>
                  </a:cubicBezTo>
                  <a:cubicBezTo>
                    <a:pt x="2304574" y="202406"/>
                    <a:pt x="2304574" y="204311"/>
                    <a:pt x="2303621" y="205264"/>
                  </a:cubicBezTo>
                  <a:cubicBezTo>
                    <a:pt x="2304574" y="203359"/>
                    <a:pt x="2304574" y="200501"/>
                    <a:pt x="2304574" y="197644"/>
                  </a:cubicBezTo>
                  <a:close/>
                  <a:moveTo>
                    <a:pt x="2297906" y="272891"/>
                  </a:moveTo>
                  <a:cubicBezTo>
                    <a:pt x="2298859" y="267176"/>
                    <a:pt x="2298859" y="262414"/>
                    <a:pt x="2298859" y="256699"/>
                  </a:cubicBezTo>
                  <a:cubicBezTo>
                    <a:pt x="2298859" y="254794"/>
                    <a:pt x="2299811" y="252889"/>
                    <a:pt x="2299811" y="250984"/>
                  </a:cubicBezTo>
                  <a:cubicBezTo>
                    <a:pt x="2303621" y="236696"/>
                    <a:pt x="2306479" y="223361"/>
                    <a:pt x="2308384" y="211931"/>
                  </a:cubicBezTo>
                  <a:cubicBezTo>
                    <a:pt x="2308384" y="212884"/>
                    <a:pt x="2309336" y="214789"/>
                    <a:pt x="2309336" y="215741"/>
                  </a:cubicBezTo>
                  <a:cubicBezTo>
                    <a:pt x="2310289" y="217646"/>
                    <a:pt x="2310289" y="219551"/>
                    <a:pt x="2311241" y="221456"/>
                  </a:cubicBezTo>
                  <a:cubicBezTo>
                    <a:pt x="2311241" y="221456"/>
                    <a:pt x="2311241" y="221456"/>
                    <a:pt x="2311241" y="221456"/>
                  </a:cubicBezTo>
                  <a:cubicBezTo>
                    <a:pt x="2309336" y="231934"/>
                    <a:pt x="2306479" y="242411"/>
                    <a:pt x="2304574" y="253841"/>
                  </a:cubicBezTo>
                  <a:cubicBezTo>
                    <a:pt x="2302669" y="252889"/>
                    <a:pt x="2302669" y="251936"/>
                    <a:pt x="2302669" y="251936"/>
                  </a:cubicBezTo>
                  <a:cubicBezTo>
                    <a:pt x="2302669" y="251936"/>
                    <a:pt x="2303621" y="252889"/>
                    <a:pt x="2304574" y="253841"/>
                  </a:cubicBezTo>
                  <a:cubicBezTo>
                    <a:pt x="2302669" y="260509"/>
                    <a:pt x="2301716" y="268129"/>
                    <a:pt x="2299811" y="274796"/>
                  </a:cubicBezTo>
                  <a:cubicBezTo>
                    <a:pt x="2297906" y="283369"/>
                    <a:pt x="2296001" y="291941"/>
                    <a:pt x="2294096" y="300514"/>
                  </a:cubicBezTo>
                  <a:cubicBezTo>
                    <a:pt x="2296954" y="291941"/>
                    <a:pt x="2297906" y="282416"/>
                    <a:pt x="2297906" y="272891"/>
                  </a:cubicBezTo>
                  <a:close/>
                  <a:moveTo>
                    <a:pt x="2271236" y="369094"/>
                  </a:moveTo>
                  <a:cubicBezTo>
                    <a:pt x="2271236" y="371951"/>
                    <a:pt x="2271236" y="374809"/>
                    <a:pt x="2270284" y="376714"/>
                  </a:cubicBezTo>
                  <a:lnTo>
                    <a:pt x="2270284" y="376714"/>
                  </a:lnTo>
                  <a:cubicBezTo>
                    <a:pt x="2270284" y="375761"/>
                    <a:pt x="2270284" y="373856"/>
                    <a:pt x="2270284" y="372904"/>
                  </a:cubicBezTo>
                  <a:cubicBezTo>
                    <a:pt x="2270284" y="371951"/>
                    <a:pt x="2270284" y="370046"/>
                    <a:pt x="2271236" y="369094"/>
                  </a:cubicBezTo>
                  <a:close/>
                  <a:moveTo>
                    <a:pt x="2252186" y="297656"/>
                  </a:moveTo>
                  <a:cubicBezTo>
                    <a:pt x="2252186" y="302419"/>
                    <a:pt x="2251234" y="307181"/>
                    <a:pt x="2251234" y="311944"/>
                  </a:cubicBezTo>
                  <a:cubicBezTo>
                    <a:pt x="2251234" y="310991"/>
                    <a:pt x="2250281" y="310039"/>
                    <a:pt x="2250281" y="308134"/>
                  </a:cubicBezTo>
                  <a:cubicBezTo>
                    <a:pt x="2251234" y="305276"/>
                    <a:pt x="2252186" y="301466"/>
                    <a:pt x="2252186" y="297656"/>
                  </a:cubicBezTo>
                  <a:close/>
                  <a:moveTo>
                    <a:pt x="2215991" y="252889"/>
                  </a:moveTo>
                  <a:lnTo>
                    <a:pt x="2215991" y="256699"/>
                  </a:lnTo>
                  <a:cubicBezTo>
                    <a:pt x="2215991" y="256699"/>
                    <a:pt x="2215991" y="256699"/>
                    <a:pt x="2215991" y="256699"/>
                  </a:cubicBezTo>
                  <a:cubicBezTo>
                    <a:pt x="2215039" y="255746"/>
                    <a:pt x="2215991" y="254794"/>
                    <a:pt x="2215991" y="252889"/>
                  </a:cubicBezTo>
                  <a:close/>
                  <a:moveTo>
                    <a:pt x="2211229" y="281464"/>
                  </a:moveTo>
                  <a:cubicBezTo>
                    <a:pt x="2212181" y="273844"/>
                    <a:pt x="2213134" y="267176"/>
                    <a:pt x="2214086" y="260509"/>
                  </a:cubicBezTo>
                  <a:cubicBezTo>
                    <a:pt x="2214086" y="260509"/>
                    <a:pt x="2215039" y="261461"/>
                    <a:pt x="2215039" y="261461"/>
                  </a:cubicBezTo>
                  <a:lnTo>
                    <a:pt x="2215039" y="267176"/>
                  </a:lnTo>
                  <a:cubicBezTo>
                    <a:pt x="2214086" y="277654"/>
                    <a:pt x="2213134" y="289084"/>
                    <a:pt x="2212181" y="299561"/>
                  </a:cubicBezTo>
                  <a:cubicBezTo>
                    <a:pt x="2210276" y="302419"/>
                    <a:pt x="2208371" y="306229"/>
                    <a:pt x="2206466" y="309086"/>
                  </a:cubicBezTo>
                  <a:cubicBezTo>
                    <a:pt x="2208371" y="299561"/>
                    <a:pt x="2210276" y="290036"/>
                    <a:pt x="2211229" y="281464"/>
                  </a:cubicBezTo>
                  <a:close/>
                  <a:moveTo>
                    <a:pt x="2205514" y="337661"/>
                  </a:moveTo>
                  <a:cubicBezTo>
                    <a:pt x="2205514" y="338614"/>
                    <a:pt x="2204561" y="338614"/>
                    <a:pt x="2204561" y="339566"/>
                  </a:cubicBezTo>
                  <a:cubicBezTo>
                    <a:pt x="2204561" y="339566"/>
                    <a:pt x="2204561" y="339566"/>
                    <a:pt x="2204561" y="340519"/>
                  </a:cubicBezTo>
                  <a:cubicBezTo>
                    <a:pt x="2204561" y="339566"/>
                    <a:pt x="2204561" y="338614"/>
                    <a:pt x="2205514" y="337661"/>
                  </a:cubicBezTo>
                  <a:close/>
                  <a:moveTo>
                    <a:pt x="2183606" y="336709"/>
                  </a:moveTo>
                  <a:cubicBezTo>
                    <a:pt x="2183606" y="338614"/>
                    <a:pt x="2184559" y="341471"/>
                    <a:pt x="2185511" y="345281"/>
                  </a:cubicBezTo>
                  <a:cubicBezTo>
                    <a:pt x="2185511" y="347186"/>
                    <a:pt x="2184559" y="349091"/>
                    <a:pt x="2184559" y="350044"/>
                  </a:cubicBezTo>
                  <a:cubicBezTo>
                    <a:pt x="2184559" y="347186"/>
                    <a:pt x="2183606" y="343376"/>
                    <a:pt x="2183606" y="340519"/>
                  </a:cubicBezTo>
                  <a:cubicBezTo>
                    <a:pt x="2183606" y="339566"/>
                    <a:pt x="2183606" y="338614"/>
                    <a:pt x="2183606" y="337661"/>
                  </a:cubicBezTo>
                  <a:cubicBezTo>
                    <a:pt x="2182654" y="337661"/>
                    <a:pt x="2182654" y="337661"/>
                    <a:pt x="2183606" y="336709"/>
                  </a:cubicBezTo>
                  <a:close/>
                  <a:moveTo>
                    <a:pt x="2178844" y="345281"/>
                  </a:moveTo>
                  <a:cubicBezTo>
                    <a:pt x="2178844" y="349091"/>
                    <a:pt x="2178844" y="352901"/>
                    <a:pt x="2178844" y="357664"/>
                  </a:cubicBezTo>
                  <a:cubicBezTo>
                    <a:pt x="2177891" y="355759"/>
                    <a:pt x="2176939" y="352901"/>
                    <a:pt x="2175986" y="350996"/>
                  </a:cubicBezTo>
                  <a:cubicBezTo>
                    <a:pt x="2176939" y="348139"/>
                    <a:pt x="2177891" y="346234"/>
                    <a:pt x="2178844" y="345281"/>
                  </a:cubicBezTo>
                  <a:close/>
                  <a:moveTo>
                    <a:pt x="2150269" y="278606"/>
                  </a:moveTo>
                  <a:cubicBezTo>
                    <a:pt x="2155031" y="261461"/>
                    <a:pt x="2159794" y="246221"/>
                    <a:pt x="2162651" y="232886"/>
                  </a:cubicBezTo>
                  <a:cubicBezTo>
                    <a:pt x="2162651" y="233839"/>
                    <a:pt x="2162651" y="234791"/>
                    <a:pt x="2161699" y="235744"/>
                  </a:cubicBezTo>
                  <a:cubicBezTo>
                    <a:pt x="2160746" y="241459"/>
                    <a:pt x="2158841" y="248126"/>
                    <a:pt x="2157889" y="253841"/>
                  </a:cubicBezTo>
                  <a:cubicBezTo>
                    <a:pt x="2156936" y="260509"/>
                    <a:pt x="2155984" y="267176"/>
                    <a:pt x="2154079" y="274796"/>
                  </a:cubicBezTo>
                  <a:cubicBezTo>
                    <a:pt x="2153126" y="280511"/>
                    <a:pt x="2152174" y="287179"/>
                    <a:pt x="2151221" y="293846"/>
                  </a:cubicBezTo>
                  <a:cubicBezTo>
                    <a:pt x="2149316" y="290036"/>
                    <a:pt x="2148364" y="288131"/>
                    <a:pt x="2148364" y="288131"/>
                  </a:cubicBezTo>
                  <a:cubicBezTo>
                    <a:pt x="2148364" y="288131"/>
                    <a:pt x="2149316" y="290989"/>
                    <a:pt x="2150269" y="296704"/>
                  </a:cubicBezTo>
                  <a:cubicBezTo>
                    <a:pt x="2149316" y="302419"/>
                    <a:pt x="2148364" y="309086"/>
                    <a:pt x="2147411" y="314801"/>
                  </a:cubicBezTo>
                  <a:cubicBezTo>
                    <a:pt x="2143601" y="309086"/>
                    <a:pt x="2140744" y="305276"/>
                    <a:pt x="2140744" y="305276"/>
                  </a:cubicBezTo>
                  <a:cubicBezTo>
                    <a:pt x="2145506" y="296704"/>
                    <a:pt x="2147411" y="287179"/>
                    <a:pt x="2150269" y="278606"/>
                  </a:cubicBezTo>
                  <a:close/>
                  <a:moveTo>
                    <a:pt x="2142649" y="305276"/>
                  </a:moveTo>
                  <a:cubicBezTo>
                    <a:pt x="2142649" y="306229"/>
                    <a:pt x="2144554" y="310991"/>
                    <a:pt x="2148364" y="319564"/>
                  </a:cubicBezTo>
                  <a:cubicBezTo>
                    <a:pt x="2148364" y="319564"/>
                    <a:pt x="2148364" y="320516"/>
                    <a:pt x="2148364" y="320516"/>
                  </a:cubicBezTo>
                  <a:cubicBezTo>
                    <a:pt x="2148364" y="320516"/>
                    <a:pt x="2148364" y="321469"/>
                    <a:pt x="2148364" y="321469"/>
                  </a:cubicBezTo>
                  <a:cubicBezTo>
                    <a:pt x="2147411" y="328136"/>
                    <a:pt x="2146459" y="335756"/>
                    <a:pt x="2145506" y="343376"/>
                  </a:cubicBezTo>
                  <a:cubicBezTo>
                    <a:pt x="2143601" y="336709"/>
                    <a:pt x="2141696" y="330994"/>
                    <a:pt x="2139791" y="324326"/>
                  </a:cubicBezTo>
                  <a:cubicBezTo>
                    <a:pt x="2139791" y="323374"/>
                    <a:pt x="2138839" y="321469"/>
                    <a:pt x="2138839" y="320516"/>
                  </a:cubicBezTo>
                  <a:cubicBezTo>
                    <a:pt x="2138839" y="315754"/>
                    <a:pt x="2140744" y="310991"/>
                    <a:pt x="2142649" y="305276"/>
                  </a:cubicBezTo>
                  <a:close/>
                  <a:moveTo>
                    <a:pt x="2058829" y="353854"/>
                  </a:moveTo>
                  <a:cubicBezTo>
                    <a:pt x="2057876" y="357664"/>
                    <a:pt x="2056924" y="362426"/>
                    <a:pt x="2056924" y="366236"/>
                  </a:cubicBezTo>
                  <a:cubicBezTo>
                    <a:pt x="2056924" y="364331"/>
                    <a:pt x="2055971" y="363379"/>
                    <a:pt x="2055971" y="361474"/>
                  </a:cubicBezTo>
                  <a:cubicBezTo>
                    <a:pt x="2055019" y="358616"/>
                    <a:pt x="2055019" y="355759"/>
                    <a:pt x="2054066" y="352901"/>
                  </a:cubicBezTo>
                  <a:cubicBezTo>
                    <a:pt x="2054066" y="352901"/>
                    <a:pt x="2054066" y="352901"/>
                    <a:pt x="2054066" y="351949"/>
                  </a:cubicBezTo>
                  <a:cubicBezTo>
                    <a:pt x="2055971" y="347186"/>
                    <a:pt x="2057876" y="343376"/>
                    <a:pt x="2059781" y="338614"/>
                  </a:cubicBezTo>
                  <a:cubicBezTo>
                    <a:pt x="2059781" y="340519"/>
                    <a:pt x="2060734" y="341471"/>
                    <a:pt x="2060734" y="343376"/>
                  </a:cubicBezTo>
                  <a:cubicBezTo>
                    <a:pt x="2060734" y="347186"/>
                    <a:pt x="2059781" y="350044"/>
                    <a:pt x="2058829" y="353854"/>
                  </a:cubicBezTo>
                  <a:close/>
                  <a:moveTo>
                    <a:pt x="2081689" y="350044"/>
                  </a:moveTo>
                  <a:cubicBezTo>
                    <a:pt x="2080736" y="351949"/>
                    <a:pt x="2080736" y="352901"/>
                    <a:pt x="2079784" y="354806"/>
                  </a:cubicBezTo>
                  <a:cubicBezTo>
                    <a:pt x="2078831" y="351949"/>
                    <a:pt x="2078831" y="350044"/>
                    <a:pt x="2077879" y="347186"/>
                  </a:cubicBezTo>
                  <a:cubicBezTo>
                    <a:pt x="2077879" y="346234"/>
                    <a:pt x="2077879" y="345281"/>
                    <a:pt x="2077879" y="344329"/>
                  </a:cubicBezTo>
                  <a:cubicBezTo>
                    <a:pt x="2078831" y="345281"/>
                    <a:pt x="2079784" y="346234"/>
                    <a:pt x="2080736" y="348139"/>
                  </a:cubicBezTo>
                  <a:cubicBezTo>
                    <a:pt x="2080736" y="348139"/>
                    <a:pt x="2080736" y="349091"/>
                    <a:pt x="2081689" y="350044"/>
                  </a:cubicBezTo>
                  <a:cubicBezTo>
                    <a:pt x="2081689" y="350044"/>
                    <a:pt x="2081689" y="350044"/>
                    <a:pt x="2081689" y="350044"/>
                  </a:cubicBezTo>
                  <a:close/>
                  <a:moveTo>
                    <a:pt x="2081689" y="339566"/>
                  </a:moveTo>
                  <a:cubicBezTo>
                    <a:pt x="2081689" y="340519"/>
                    <a:pt x="2081689" y="341471"/>
                    <a:pt x="2081689" y="341471"/>
                  </a:cubicBezTo>
                  <a:cubicBezTo>
                    <a:pt x="2080736" y="340519"/>
                    <a:pt x="2079784" y="338614"/>
                    <a:pt x="2078831" y="337661"/>
                  </a:cubicBezTo>
                  <a:cubicBezTo>
                    <a:pt x="2078831" y="334804"/>
                    <a:pt x="2079784" y="331946"/>
                    <a:pt x="2079784" y="330041"/>
                  </a:cubicBezTo>
                  <a:cubicBezTo>
                    <a:pt x="2080736" y="332899"/>
                    <a:pt x="2081689" y="335756"/>
                    <a:pt x="2081689" y="339566"/>
                  </a:cubicBezTo>
                  <a:cubicBezTo>
                    <a:pt x="2081689" y="338614"/>
                    <a:pt x="2081689" y="338614"/>
                    <a:pt x="2081689" y="339566"/>
                  </a:cubicBezTo>
                  <a:close/>
                  <a:moveTo>
                    <a:pt x="2085499" y="290036"/>
                  </a:moveTo>
                  <a:cubicBezTo>
                    <a:pt x="2085499" y="295751"/>
                    <a:pt x="2084546" y="301466"/>
                    <a:pt x="2084546" y="307181"/>
                  </a:cubicBezTo>
                  <a:cubicBezTo>
                    <a:pt x="2084546" y="306229"/>
                    <a:pt x="2083594" y="305276"/>
                    <a:pt x="2083594" y="303371"/>
                  </a:cubicBezTo>
                  <a:cubicBezTo>
                    <a:pt x="2084546" y="292894"/>
                    <a:pt x="2085499" y="282416"/>
                    <a:pt x="2086451" y="273844"/>
                  </a:cubicBezTo>
                  <a:cubicBezTo>
                    <a:pt x="2086451" y="271939"/>
                    <a:pt x="2086451" y="269081"/>
                    <a:pt x="2087404" y="267176"/>
                  </a:cubicBezTo>
                  <a:cubicBezTo>
                    <a:pt x="2086451" y="274796"/>
                    <a:pt x="2085499" y="282416"/>
                    <a:pt x="2085499" y="290036"/>
                  </a:cubicBezTo>
                  <a:close/>
                  <a:moveTo>
                    <a:pt x="2089309" y="180499"/>
                  </a:moveTo>
                  <a:cubicBezTo>
                    <a:pt x="2089309" y="186214"/>
                    <a:pt x="2089309" y="192881"/>
                    <a:pt x="2089309" y="200501"/>
                  </a:cubicBezTo>
                  <a:cubicBezTo>
                    <a:pt x="2088356" y="197644"/>
                    <a:pt x="2086451" y="194786"/>
                    <a:pt x="2086451" y="192881"/>
                  </a:cubicBezTo>
                  <a:cubicBezTo>
                    <a:pt x="2087404" y="188119"/>
                    <a:pt x="2088356" y="184309"/>
                    <a:pt x="2089309" y="180499"/>
                  </a:cubicBezTo>
                  <a:close/>
                  <a:moveTo>
                    <a:pt x="2072164" y="241459"/>
                  </a:moveTo>
                  <a:cubicBezTo>
                    <a:pt x="2077879" y="223361"/>
                    <a:pt x="2082641" y="207169"/>
                    <a:pt x="2086451" y="193834"/>
                  </a:cubicBezTo>
                  <a:cubicBezTo>
                    <a:pt x="2087404" y="197644"/>
                    <a:pt x="2088356" y="201454"/>
                    <a:pt x="2090261" y="207169"/>
                  </a:cubicBezTo>
                  <a:cubicBezTo>
                    <a:pt x="2090261" y="207169"/>
                    <a:pt x="2090261" y="207169"/>
                    <a:pt x="2090261" y="208121"/>
                  </a:cubicBezTo>
                  <a:cubicBezTo>
                    <a:pt x="2087404" y="221456"/>
                    <a:pt x="2081689" y="244316"/>
                    <a:pt x="2075974" y="271939"/>
                  </a:cubicBezTo>
                  <a:cubicBezTo>
                    <a:pt x="2075021" y="274796"/>
                    <a:pt x="2075021" y="278606"/>
                    <a:pt x="2074069" y="282416"/>
                  </a:cubicBezTo>
                  <a:cubicBezTo>
                    <a:pt x="2072164" y="278606"/>
                    <a:pt x="2070259" y="274796"/>
                    <a:pt x="2068354" y="271939"/>
                  </a:cubicBezTo>
                  <a:cubicBezTo>
                    <a:pt x="2067401" y="270034"/>
                    <a:pt x="2066449" y="268129"/>
                    <a:pt x="2065496" y="266224"/>
                  </a:cubicBezTo>
                  <a:cubicBezTo>
                    <a:pt x="2067401" y="257651"/>
                    <a:pt x="2069306" y="249079"/>
                    <a:pt x="2072164" y="241459"/>
                  </a:cubicBezTo>
                  <a:close/>
                  <a:moveTo>
                    <a:pt x="2062639" y="270034"/>
                  </a:moveTo>
                  <a:cubicBezTo>
                    <a:pt x="2062639" y="270986"/>
                    <a:pt x="2063591" y="271939"/>
                    <a:pt x="2063591" y="272891"/>
                  </a:cubicBezTo>
                  <a:cubicBezTo>
                    <a:pt x="2065496" y="278606"/>
                    <a:pt x="2067401" y="285274"/>
                    <a:pt x="2069306" y="292894"/>
                  </a:cubicBezTo>
                  <a:cubicBezTo>
                    <a:pt x="2069306" y="293846"/>
                    <a:pt x="2069306" y="293846"/>
                    <a:pt x="2070259" y="294799"/>
                  </a:cubicBezTo>
                  <a:cubicBezTo>
                    <a:pt x="2069306" y="299561"/>
                    <a:pt x="2068354" y="305276"/>
                    <a:pt x="2067401" y="310039"/>
                  </a:cubicBezTo>
                  <a:cubicBezTo>
                    <a:pt x="2066449" y="308134"/>
                    <a:pt x="2066449" y="305276"/>
                    <a:pt x="2065496" y="303371"/>
                  </a:cubicBezTo>
                  <a:cubicBezTo>
                    <a:pt x="2063591" y="296704"/>
                    <a:pt x="2060734" y="290036"/>
                    <a:pt x="2058829" y="284321"/>
                  </a:cubicBezTo>
                  <a:cubicBezTo>
                    <a:pt x="2059781" y="279559"/>
                    <a:pt x="2061686" y="274796"/>
                    <a:pt x="2062639" y="270034"/>
                  </a:cubicBezTo>
                  <a:close/>
                  <a:moveTo>
                    <a:pt x="2053114" y="301466"/>
                  </a:moveTo>
                  <a:cubicBezTo>
                    <a:pt x="2053114" y="303371"/>
                    <a:pt x="2054066" y="304324"/>
                    <a:pt x="2054066" y="306229"/>
                  </a:cubicBezTo>
                  <a:cubicBezTo>
                    <a:pt x="2055019" y="310991"/>
                    <a:pt x="2055971" y="315754"/>
                    <a:pt x="2056924" y="320516"/>
                  </a:cubicBezTo>
                  <a:cubicBezTo>
                    <a:pt x="2056924" y="320516"/>
                    <a:pt x="2055971" y="320516"/>
                    <a:pt x="2055971" y="320516"/>
                  </a:cubicBezTo>
                  <a:cubicBezTo>
                    <a:pt x="2051209" y="318611"/>
                    <a:pt x="2049304" y="317659"/>
                    <a:pt x="2049304" y="317659"/>
                  </a:cubicBezTo>
                  <a:cubicBezTo>
                    <a:pt x="2049304" y="317659"/>
                    <a:pt x="2051209" y="319564"/>
                    <a:pt x="2055971" y="321469"/>
                  </a:cubicBezTo>
                  <a:cubicBezTo>
                    <a:pt x="2056924" y="321469"/>
                    <a:pt x="2056924" y="322421"/>
                    <a:pt x="2057876" y="322421"/>
                  </a:cubicBezTo>
                  <a:cubicBezTo>
                    <a:pt x="2058829" y="326231"/>
                    <a:pt x="2058829" y="329089"/>
                    <a:pt x="2059781" y="332899"/>
                  </a:cubicBezTo>
                  <a:cubicBezTo>
                    <a:pt x="2057876" y="335756"/>
                    <a:pt x="2055971" y="338614"/>
                    <a:pt x="2053114" y="342424"/>
                  </a:cubicBezTo>
                  <a:cubicBezTo>
                    <a:pt x="2052161" y="335756"/>
                    <a:pt x="2050256" y="328136"/>
                    <a:pt x="2049304" y="321469"/>
                  </a:cubicBezTo>
                  <a:cubicBezTo>
                    <a:pt x="2049304" y="319564"/>
                    <a:pt x="2049304" y="317659"/>
                    <a:pt x="2049304" y="315754"/>
                  </a:cubicBezTo>
                  <a:cubicBezTo>
                    <a:pt x="2050256" y="310991"/>
                    <a:pt x="2052161" y="305276"/>
                    <a:pt x="2053114" y="301466"/>
                  </a:cubicBezTo>
                  <a:close/>
                  <a:moveTo>
                    <a:pt x="2044541" y="260509"/>
                  </a:moveTo>
                  <a:cubicBezTo>
                    <a:pt x="2044541" y="260509"/>
                    <a:pt x="2044541" y="260509"/>
                    <a:pt x="2044541" y="260509"/>
                  </a:cubicBezTo>
                  <a:cubicBezTo>
                    <a:pt x="2044541" y="260509"/>
                    <a:pt x="2044541" y="259556"/>
                    <a:pt x="2044541" y="259556"/>
                  </a:cubicBezTo>
                  <a:cubicBezTo>
                    <a:pt x="2044541" y="259556"/>
                    <a:pt x="2044541" y="259556"/>
                    <a:pt x="2044541" y="260509"/>
                  </a:cubicBezTo>
                  <a:close/>
                  <a:moveTo>
                    <a:pt x="2019776" y="188119"/>
                  </a:moveTo>
                  <a:cubicBezTo>
                    <a:pt x="2019776" y="187166"/>
                    <a:pt x="2019776" y="186214"/>
                    <a:pt x="2019776" y="185261"/>
                  </a:cubicBezTo>
                  <a:cubicBezTo>
                    <a:pt x="2019776" y="182404"/>
                    <a:pt x="2020729" y="179546"/>
                    <a:pt x="2020729" y="177641"/>
                  </a:cubicBezTo>
                  <a:cubicBezTo>
                    <a:pt x="2020729" y="180499"/>
                    <a:pt x="2020729" y="184309"/>
                    <a:pt x="2020729" y="189071"/>
                  </a:cubicBezTo>
                  <a:cubicBezTo>
                    <a:pt x="2020729" y="197644"/>
                    <a:pt x="2021681" y="208121"/>
                    <a:pt x="2021681" y="220504"/>
                  </a:cubicBezTo>
                  <a:cubicBezTo>
                    <a:pt x="2021681" y="228124"/>
                    <a:pt x="2022634" y="235744"/>
                    <a:pt x="2023586" y="244316"/>
                  </a:cubicBezTo>
                  <a:cubicBezTo>
                    <a:pt x="2023586" y="245269"/>
                    <a:pt x="2022634" y="246221"/>
                    <a:pt x="2022634" y="247174"/>
                  </a:cubicBezTo>
                  <a:cubicBezTo>
                    <a:pt x="2020729" y="238601"/>
                    <a:pt x="2018824" y="230029"/>
                    <a:pt x="2016919" y="222409"/>
                  </a:cubicBezTo>
                  <a:cubicBezTo>
                    <a:pt x="2018824" y="209074"/>
                    <a:pt x="2018824" y="197644"/>
                    <a:pt x="2019776" y="188119"/>
                  </a:cubicBezTo>
                  <a:close/>
                  <a:moveTo>
                    <a:pt x="1999774" y="298609"/>
                  </a:moveTo>
                  <a:cubicBezTo>
                    <a:pt x="1999774" y="300514"/>
                    <a:pt x="1999774" y="302419"/>
                    <a:pt x="1999774" y="304324"/>
                  </a:cubicBezTo>
                  <a:cubicBezTo>
                    <a:pt x="1998821" y="306229"/>
                    <a:pt x="1998821" y="308134"/>
                    <a:pt x="1997869" y="310039"/>
                  </a:cubicBezTo>
                  <a:cubicBezTo>
                    <a:pt x="1998821" y="306229"/>
                    <a:pt x="1999774" y="302419"/>
                    <a:pt x="1999774" y="298609"/>
                  </a:cubicBezTo>
                  <a:close/>
                  <a:moveTo>
                    <a:pt x="1992154" y="349091"/>
                  </a:moveTo>
                  <a:cubicBezTo>
                    <a:pt x="1992154" y="351949"/>
                    <a:pt x="1992154" y="355759"/>
                    <a:pt x="1992154" y="359569"/>
                  </a:cubicBezTo>
                  <a:cubicBezTo>
                    <a:pt x="1992154" y="362426"/>
                    <a:pt x="1992154" y="366236"/>
                    <a:pt x="1992154" y="369094"/>
                  </a:cubicBezTo>
                  <a:cubicBezTo>
                    <a:pt x="1991201" y="370046"/>
                    <a:pt x="1990249" y="371951"/>
                    <a:pt x="1988344" y="373856"/>
                  </a:cubicBezTo>
                  <a:cubicBezTo>
                    <a:pt x="1990249" y="365284"/>
                    <a:pt x="1991201" y="356711"/>
                    <a:pt x="1992154" y="349091"/>
                  </a:cubicBezTo>
                  <a:close/>
                  <a:moveTo>
                    <a:pt x="1987391" y="381476"/>
                  </a:moveTo>
                  <a:cubicBezTo>
                    <a:pt x="1987391" y="381476"/>
                    <a:pt x="1987391" y="381476"/>
                    <a:pt x="1987391" y="381476"/>
                  </a:cubicBezTo>
                  <a:cubicBezTo>
                    <a:pt x="1989296" y="377666"/>
                    <a:pt x="1991201" y="374809"/>
                    <a:pt x="1992154" y="372904"/>
                  </a:cubicBezTo>
                  <a:cubicBezTo>
                    <a:pt x="1992154" y="374809"/>
                    <a:pt x="1992154" y="377666"/>
                    <a:pt x="1992154" y="379571"/>
                  </a:cubicBezTo>
                  <a:cubicBezTo>
                    <a:pt x="1992154" y="381476"/>
                    <a:pt x="1991201" y="384334"/>
                    <a:pt x="1991201" y="386239"/>
                  </a:cubicBezTo>
                  <a:cubicBezTo>
                    <a:pt x="1990249" y="391001"/>
                    <a:pt x="1989296" y="395764"/>
                    <a:pt x="1988344" y="400526"/>
                  </a:cubicBezTo>
                  <a:cubicBezTo>
                    <a:pt x="1988344" y="400526"/>
                    <a:pt x="1988344" y="399574"/>
                    <a:pt x="1988344" y="399574"/>
                  </a:cubicBezTo>
                  <a:cubicBezTo>
                    <a:pt x="1987391" y="397669"/>
                    <a:pt x="1986439" y="394811"/>
                    <a:pt x="1985486" y="392906"/>
                  </a:cubicBezTo>
                  <a:cubicBezTo>
                    <a:pt x="1986439" y="389096"/>
                    <a:pt x="1986439" y="385286"/>
                    <a:pt x="1987391" y="381476"/>
                  </a:cubicBezTo>
                  <a:close/>
                  <a:moveTo>
                    <a:pt x="1968341" y="290989"/>
                  </a:moveTo>
                  <a:cubicBezTo>
                    <a:pt x="1968341" y="292894"/>
                    <a:pt x="1968341" y="294799"/>
                    <a:pt x="1967389" y="297656"/>
                  </a:cubicBezTo>
                  <a:cubicBezTo>
                    <a:pt x="1967389" y="299561"/>
                    <a:pt x="1966436" y="302419"/>
                    <a:pt x="1966436" y="305276"/>
                  </a:cubicBezTo>
                  <a:cubicBezTo>
                    <a:pt x="1966436" y="309086"/>
                    <a:pt x="1965484" y="313849"/>
                    <a:pt x="1965484" y="318611"/>
                  </a:cubicBezTo>
                  <a:cubicBezTo>
                    <a:pt x="1965484" y="313849"/>
                    <a:pt x="1964531" y="309086"/>
                    <a:pt x="1964531" y="304324"/>
                  </a:cubicBezTo>
                  <a:cubicBezTo>
                    <a:pt x="1964531" y="303371"/>
                    <a:pt x="1964531" y="301466"/>
                    <a:pt x="1964531" y="300514"/>
                  </a:cubicBezTo>
                  <a:cubicBezTo>
                    <a:pt x="1965484" y="296704"/>
                    <a:pt x="1967389" y="293846"/>
                    <a:pt x="1968341" y="290989"/>
                  </a:cubicBezTo>
                  <a:close/>
                  <a:moveTo>
                    <a:pt x="1937861" y="310039"/>
                  </a:moveTo>
                  <a:cubicBezTo>
                    <a:pt x="1937861" y="307181"/>
                    <a:pt x="1937861" y="304324"/>
                    <a:pt x="1937861" y="302419"/>
                  </a:cubicBezTo>
                  <a:cubicBezTo>
                    <a:pt x="1937861" y="300514"/>
                    <a:pt x="1937861" y="297656"/>
                    <a:pt x="1937861" y="295751"/>
                  </a:cubicBezTo>
                  <a:cubicBezTo>
                    <a:pt x="1937861" y="299561"/>
                    <a:pt x="1938814" y="302419"/>
                    <a:pt x="1938814" y="306229"/>
                  </a:cubicBezTo>
                  <a:cubicBezTo>
                    <a:pt x="1938814" y="308134"/>
                    <a:pt x="1938814" y="309086"/>
                    <a:pt x="1937861" y="310039"/>
                  </a:cubicBezTo>
                  <a:close/>
                  <a:moveTo>
                    <a:pt x="1938814" y="272891"/>
                  </a:moveTo>
                  <a:cubicBezTo>
                    <a:pt x="1937861" y="270034"/>
                    <a:pt x="1937861" y="268129"/>
                    <a:pt x="1936909" y="266224"/>
                  </a:cubicBezTo>
                  <a:cubicBezTo>
                    <a:pt x="1936909" y="264319"/>
                    <a:pt x="1936909" y="262414"/>
                    <a:pt x="1936909" y="261461"/>
                  </a:cubicBezTo>
                  <a:cubicBezTo>
                    <a:pt x="1936909" y="256699"/>
                    <a:pt x="1936909" y="250984"/>
                    <a:pt x="1936909" y="246221"/>
                  </a:cubicBezTo>
                  <a:cubicBezTo>
                    <a:pt x="1936909" y="253841"/>
                    <a:pt x="1937861" y="263366"/>
                    <a:pt x="1938814" y="272891"/>
                  </a:cubicBezTo>
                  <a:close/>
                  <a:moveTo>
                    <a:pt x="1900714" y="338614"/>
                  </a:moveTo>
                  <a:cubicBezTo>
                    <a:pt x="1900714" y="336709"/>
                    <a:pt x="1900714" y="334804"/>
                    <a:pt x="1900714" y="333851"/>
                  </a:cubicBezTo>
                  <a:cubicBezTo>
                    <a:pt x="1901666" y="331946"/>
                    <a:pt x="1901666" y="330041"/>
                    <a:pt x="1902619" y="329089"/>
                  </a:cubicBezTo>
                  <a:cubicBezTo>
                    <a:pt x="1903571" y="328136"/>
                    <a:pt x="1904524" y="326231"/>
                    <a:pt x="1904524" y="325279"/>
                  </a:cubicBezTo>
                  <a:cubicBezTo>
                    <a:pt x="1902619" y="330041"/>
                    <a:pt x="1901666" y="333851"/>
                    <a:pt x="1900714" y="338614"/>
                  </a:cubicBezTo>
                  <a:close/>
                  <a:moveTo>
                    <a:pt x="1915954" y="436721"/>
                  </a:moveTo>
                  <a:cubicBezTo>
                    <a:pt x="1915954" y="435769"/>
                    <a:pt x="1915954" y="434816"/>
                    <a:pt x="1915954" y="433864"/>
                  </a:cubicBezTo>
                  <a:cubicBezTo>
                    <a:pt x="1915954" y="433864"/>
                    <a:pt x="1915954" y="434816"/>
                    <a:pt x="1916906" y="434816"/>
                  </a:cubicBezTo>
                  <a:cubicBezTo>
                    <a:pt x="1915954" y="435769"/>
                    <a:pt x="1915954" y="436721"/>
                    <a:pt x="1915954" y="436721"/>
                  </a:cubicBezTo>
                  <a:close/>
                  <a:moveTo>
                    <a:pt x="1920716" y="401479"/>
                  </a:moveTo>
                  <a:cubicBezTo>
                    <a:pt x="1920716" y="403384"/>
                    <a:pt x="1919764" y="405289"/>
                    <a:pt x="1919764" y="407194"/>
                  </a:cubicBezTo>
                  <a:cubicBezTo>
                    <a:pt x="1918811" y="406241"/>
                    <a:pt x="1918811" y="405289"/>
                    <a:pt x="1917859" y="404336"/>
                  </a:cubicBezTo>
                  <a:cubicBezTo>
                    <a:pt x="1918811" y="402431"/>
                    <a:pt x="1919764" y="400526"/>
                    <a:pt x="1919764" y="398621"/>
                  </a:cubicBezTo>
                  <a:cubicBezTo>
                    <a:pt x="1920716" y="399574"/>
                    <a:pt x="1920716" y="400526"/>
                    <a:pt x="1920716" y="401479"/>
                  </a:cubicBezTo>
                  <a:close/>
                  <a:moveTo>
                    <a:pt x="1917859" y="331946"/>
                  </a:moveTo>
                  <a:cubicBezTo>
                    <a:pt x="1918811" y="333851"/>
                    <a:pt x="1919764" y="335756"/>
                    <a:pt x="1919764" y="337661"/>
                  </a:cubicBezTo>
                  <a:cubicBezTo>
                    <a:pt x="1919764" y="337661"/>
                    <a:pt x="1919764" y="337661"/>
                    <a:pt x="1919764" y="337661"/>
                  </a:cubicBezTo>
                  <a:cubicBezTo>
                    <a:pt x="1919764" y="337661"/>
                    <a:pt x="1918811" y="338614"/>
                    <a:pt x="1918811" y="338614"/>
                  </a:cubicBezTo>
                  <a:cubicBezTo>
                    <a:pt x="1917859" y="339566"/>
                    <a:pt x="1916906" y="340519"/>
                    <a:pt x="1916906" y="342424"/>
                  </a:cubicBezTo>
                  <a:cubicBezTo>
                    <a:pt x="1916906" y="341471"/>
                    <a:pt x="1916906" y="341471"/>
                    <a:pt x="1916906" y="341471"/>
                  </a:cubicBezTo>
                  <a:cubicBezTo>
                    <a:pt x="1916906" y="341471"/>
                    <a:pt x="1916906" y="342424"/>
                    <a:pt x="1915954" y="344329"/>
                  </a:cubicBezTo>
                  <a:cubicBezTo>
                    <a:pt x="1915954" y="344329"/>
                    <a:pt x="1915001" y="345281"/>
                    <a:pt x="1915001" y="345281"/>
                  </a:cubicBezTo>
                  <a:cubicBezTo>
                    <a:pt x="1915954" y="340519"/>
                    <a:pt x="1916906" y="335756"/>
                    <a:pt x="1917859" y="331946"/>
                  </a:cubicBezTo>
                  <a:close/>
                  <a:moveTo>
                    <a:pt x="1919764" y="360521"/>
                  </a:moveTo>
                  <a:cubicBezTo>
                    <a:pt x="1919764" y="361474"/>
                    <a:pt x="1919764" y="362426"/>
                    <a:pt x="1919764" y="364331"/>
                  </a:cubicBezTo>
                  <a:cubicBezTo>
                    <a:pt x="1917859" y="367189"/>
                    <a:pt x="1916906" y="370999"/>
                    <a:pt x="1915001" y="373856"/>
                  </a:cubicBezTo>
                  <a:cubicBezTo>
                    <a:pt x="1913096" y="378619"/>
                    <a:pt x="1910239" y="383381"/>
                    <a:pt x="1908334" y="388144"/>
                  </a:cubicBezTo>
                  <a:cubicBezTo>
                    <a:pt x="1908334" y="388144"/>
                    <a:pt x="1907381" y="387191"/>
                    <a:pt x="1907381" y="387191"/>
                  </a:cubicBezTo>
                  <a:cubicBezTo>
                    <a:pt x="1907381" y="386239"/>
                    <a:pt x="1907381" y="386239"/>
                    <a:pt x="1907381" y="385286"/>
                  </a:cubicBezTo>
                  <a:cubicBezTo>
                    <a:pt x="1908334" y="383381"/>
                    <a:pt x="1909286" y="381476"/>
                    <a:pt x="1910239" y="380524"/>
                  </a:cubicBezTo>
                  <a:cubicBezTo>
                    <a:pt x="1913096" y="372904"/>
                    <a:pt x="1916906" y="366236"/>
                    <a:pt x="1919764" y="360521"/>
                  </a:cubicBezTo>
                  <a:close/>
                  <a:moveTo>
                    <a:pt x="1910239" y="299561"/>
                  </a:moveTo>
                  <a:cubicBezTo>
                    <a:pt x="1909286" y="301466"/>
                    <a:pt x="1909286" y="303371"/>
                    <a:pt x="1908334" y="305276"/>
                  </a:cubicBezTo>
                  <a:cubicBezTo>
                    <a:pt x="1908334" y="305276"/>
                    <a:pt x="1908334" y="305276"/>
                    <a:pt x="1908334" y="305276"/>
                  </a:cubicBezTo>
                  <a:cubicBezTo>
                    <a:pt x="1909286" y="302419"/>
                    <a:pt x="1910239" y="300514"/>
                    <a:pt x="1910239" y="299561"/>
                  </a:cubicBezTo>
                  <a:close/>
                  <a:moveTo>
                    <a:pt x="1906429" y="313849"/>
                  </a:moveTo>
                  <a:cubicBezTo>
                    <a:pt x="1907381" y="311944"/>
                    <a:pt x="1907381" y="310991"/>
                    <a:pt x="1908334" y="309086"/>
                  </a:cubicBezTo>
                  <a:cubicBezTo>
                    <a:pt x="1908334" y="309086"/>
                    <a:pt x="1908334" y="309086"/>
                    <a:pt x="1908334" y="310039"/>
                  </a:cubicBezTo>
                  <a:cubicBezTo>
                    <a:pt x="1907381" y="311944"/>
                    <a:pt x="1907381" y="313849"/>
                    <a:pt x="1906429" y="315754"/>
                  </a:cubicBezTo>
                  <a:cubicBezTo>
                    <a:pt x="1906429" y="315754"/>
                    <a:pt x="1905476" y="316706"/>
                    <a:pt x="1905476" y="316706"/>
                  </a:cubicBezTo>
                  <a:cubicBezTo>
                    <a:pt x="1905476" y="314801"/>
                    <a:pt x="1905476" y="314801"/>
                    <a:pt x="1906429" y="313849"/>
                  </a:cubicBezTo>
                  <a:close/>
                  <a:moveTo>
                    <a:pt x="1893094" y="259556"/>
                  </a:moveTo>
                  <a:cubicBezTo>
                    <a:pt x="1893094" y="258604"/>
                    <a:pt x="1894046" y="257651"/>
                    <a:pt x="1894046" y="256699"/>
                  </a:cubicBezTo>
                  <a:cubicBezTo>
                    <a:pt x="1894046" y="256699"/>
                    <a:pt x="1894999" y="256699"/>
                    <a:pt x="1894999" y="256699"/>
                  </a:cubicBezTo>
                  <a:cubicBezTo>
                    <a:pt x="1896904" y="257651"/>
                    <a:pt x="1897856" y="259556"/>
                    <a:pt x="1899761" y="260509"/>
                  </a:cubicBezTo>
                  <a:lnTo>
                    <a:pt x="1904524" y="275749"/>
                  </a:lnTo>
                  <a:cubicBezTo>
                    <a:pt x="1901666" y="283369"/>
                    <a:pt x="1898809" y="290036"/>
                    <a:pt x="1895951" y="297656"/>
                  </a:cubicBezTo>
                  <a:cubicBezTo>
                    <a:pt x="1894999" y="291941"/>
                    <a:pt x="1894999" y="286226"/>
                    <a:pt x="1894046" y="281464"/>
                  </a:cubicBezTo>
                  <a:cubicBezTo>
                    <a:pt x="1894046" y="277654"/>
                    <a:pt x="1893094" y="273844"/>
                    <a:pt x="1892141" y="270034"/>
                  </a:cubicBezTo>
                  <a:cubicBezTo>
                    <a:pt x="1892141" y="270986"/>
                    <a:pt x="1893094" y="271939"/>
                    <a:pt x="1893094" y="272891"/>
                  </a:cubicBezTo>
                  <a:cubicBezTo>
                    <a:pt x="1893094" y="269081"/>
                    <a:pt x="1892141" y="264319"/>
                    <a:pt x="1893094" y="259556"/>
                  </a:cubicBezTo>
                  <a:close/>
                  <a:moveTo>
                    <a:pt x="1841659" y="297656"/>
                  </a:moveTo>
                  <a:cubicBezTo>
                    <a:pt x="1841659" y="303371"/>
                    <a:pt x="1840706" y="308134"/>
                    <a:pt x="1840706" y="313849"/>
                  </a:cubicBezTo>
                  <a:cubicBezTo>
                    <a:pt x="1839754" y="307181"/>
                    <a:pt x="1839754" y="300514"/>
                    <a:pt x="1838801" y="294799"/>
                  </a:cubicBezTo>
                  <a:cubicBezTo>
                    <a:pt x="1838801" y="292894"/>
                    <a:pt x="1838801" y="291941"/>
                    <a:pt x="1838801" y="290989"/>
                  </a:cubicBezTo>
                  <a:cubicBezTo>
                    <a:pt x="1839754" y="292894"/>
                    <a:pt x="1840706" y="294799"/>
                    <a:pt x="1841659" y="297656"/>
                  </a:cubicBezTo>
                  <a:close/>
                  <a:moveTo>
                    <a:pt x="1822609" y="363379"/>
                  </a:moveTo>
                  <a:cubicBezTo>
                    <a:pt x="1823561" y="359569"/>
                    <a:pt x="1825466" y="356711"/>
                    <a:pt x="1826419" y="353854"/>
                  </a:cubicBezTo>
                  <a:cubicBezTo>
                    <a:pt x="1826419" y="357664"/>
                    <a:pt x="1826419" y="360521"/>
                    <a:pt x="1827371" y="364331"/>
                  </a:cubicBezTo>
                  <a:cubicBezTo>
                    <a:pt x="1826419" y="365284"/>
                    <a:pt x="1824514" y="367189"/>
                    <a:pt x="1823561" y="368141"/>
                  </a:cubicBezTo>
                  <a:cubicBezTo>
                    <a:pt x="1822609" y="366236"/>
                    <a:pt x="1822609" y="365284"/>
                    <a:pt x="1822609" y="363379"/>
                  </a:cubicBezTo>
                  <a:close/>
                  <a:moveTo>
                    <a:pt x="1828324" y="403384"/>
                  </a:moveTo>
                  <a:cubicBezTo>
                    <a:pt x="1828324" y="402431"/>
                    <a:pt x="1827371" y="401479"/>
                    <a:pt x="1827371" y="400526"/>
                  </a:cubicBezTo>
                  <a:cubicBezTo>
                    <a:pt x="1826419" y="393859"/>
                    <a:pt x="1825466" y="387191"/>
                    <a:pt x="1825466" y="381476"/>
                  </a:cubicBezTo>
                  <a:cubicBezTo>
                    <a:pt x="1826419" y="379571"/>
                    <a:pt x="1827371" y="378619"/>
                    <a:pt x="1828324" y="377666"/>
                  </a:cubicBezTo>
                  <a:cubicBezTo>
                    <a:pt x="1828324" y="385286"/>
                    <a:pt x="1828324" y="391954"/>
                    <a:pt x="1829276" y="399574"/>
                  </a:cubicBezTo>
                  <a:cubicBezTo>
                    <a:pt x="1828324" y="400526"/>
                    <a:pt x="1828324" y="402431"/>
                    <a:pt x="1828324" y="403384"/>
                  </a:cubicBezTo>
                  <a:close/>
                  <a:moveTo>
                    <a:pt x="1833086" y="339566"/>
                  </a:moveTo>
                  <a:cubicBezTo>
                    <a:pt x="1833086" y="339566"/>
                    <a:pt x="1833086" y="339566"/>
                    <a:pt x="1833086" y="339566"/>
                  </a:cubicBezTo>
                  <a:cubicBezTo>
                    <a:pt x="1833086" y="339566"/>
                    <a:pt x="1833086" y="340519"/>
                    <a:pt x="1833086" y="340519"/>
                  </a:cubicBezTo>
                  <a:cubicBezTo>
                    <a:pt x="1833086" y="340519"/>
                    <a:pt x="1833086" y="339566"/>
                    <a:pt x="1833086" y="339566"/>
                  </a:cubicBezTo>
                  <a:close/>
                  <a:moveTo>
                    <a:pt x="1824514" y="272891"/>
                  </a:moveTo>
                  <a:cubicBezTo>
                    <a:pt x="1824514" y="269081"/>
                    <a:pt x="1824514" y="266224"/>
                    <a:pt x="1824514" y="263366"/>
                  </a:cubicBezTo>
                  <a:cubicBezTo>
                    <a:pt x="1827371" y="269081"/>
                    <a:pt x="1831181" y="276701"/>
                    <a:pt x="1835944" y="285274"/>
                  </a:cubicBezTo>
                  <a:cubicBezTo>
                    <a:pt x="1835944" y="288131"/>
                    <a:pt x="1835944" y="290989"/>
                    <a:pt x="1834991" y="294799"/>
                  </a:cubicBezTo>
                  <a:cubicBezTo>
                    <a:pt x="1834991" y="302419"/>
                    <a:pt x="1834039" y="310991"/>
                    <a:pt x="1834039" y="320516"/>
                  </a:cubicBezTo>
                  <a:cubicBezTo>
                    <a:pt x="1834039" y="323374"/>
                    <a:pt x="1834039" y="327184"/>
                    <a:pt x="1834039" y="330994"/>
                  </a:cubicBezTo>
                  <a:cubicBezTo>
                    <a:pt x="1834039" y="330994"/>
                    <a:pt x="1833086" y="330994"/>
                    <a:pt x="1833086" y="331946"/>
                  </a:cubicBezTo>
                  <a:cubicBezTo>
                    <a:pt x="1833086" y="331946"/>
                    <a:pt x="1832134" y="332899"/>
                    <a:pt x="1832134" y="332899"/>
                  </a:cubicBezTo>
                  <a:cubicBezTo>
                    <a:pt x="1830229" y="326231"/>
                    <a:pt x="1829276" y="321469"/>
                    <a:pt x="1827371" y="316706"/>
                  </a:cubicBezTo>
                  <a:cubicBezTo>
                    <a:pt x="1825466" y="310991"/>
                    <a:pt x="1823561" y="306229"/>
                    <a:pt x="1822609" y="303371"/>
                  </a:cubicBezTo>
                  <a:cubicBezTo>
                    <a:pt x="1823561" y="292894"/>
                    <a:pt x="1823561" y="282416"/>
                    <a:pt x="1824514" y="272891"/>
                  </a:cubicBezTo>
                  <a:close/>
                  <a:moveTo>
                    <a:pt x="1822609" y="309086"/>
                  </a:moveTo>
                  <a:cubicBezTo>
                    <a:pt x="1822609" y="311944"/>
                    <a:pt x="1823561" y="314801"/>
                    <a:pt x="1823561" y="317659"/>
                  </a:cubicBezTo>
                  <a:cubicBezTo>
                    <a:pt x="1824514" y="323374"/>
                    <a:pt x="1824514" y="330994"/>
                    <a:pt x="1825466" y="338614"/>
                  </a:cubicBezTo>
                  <a:cubicBezTo>
                    <a:pt x="1825466" y="339566"/>
                    <a:pt x="1825466" y="340519"/>
                    <a:pt x="1825466" y="340519"/>
                  </a:cubicBezTo>
                  <a:cubicBezTo>
                    <a:pt x="1823561" y="342424"/>
                    <a:pt x="1822609" y="345281"/>
                    <a:pt x="1820704" y="348139"/>
                  </a:cubicBezTo>
                  <a:cubicBezTo>
                    <a:pt x="1820704" y="343376"/>
                    <a:pt x="1820704" y="337661"/>
                    <a:pt x="1820704" y="332899"/>
                  </a:cubicBezTo>
                  <a:cubicBezTo>
                    <a:pt x="1820704" y="332899"/>
                    <a:pt x="1820704" y="332899"/>
                    <a:pt x="1820704" y="331946"/>
                  </a:cubicBezTo>
                  <a:cubicBezTo>
                    <a:pt x="1821656" y="324326"/>
                    <a:pt x="1821656" y="316706"/>
                    <a:pt x="1822609" y="309086"/>
                  </a:cubicBezTo>
                  <a:close/>
                  <a:moveTo>
                    <a:pt x="1763554" y="411956"/>
                  </a:moveTo>
                  <a:cubicBezTo>
                    <a:pt x="1763554" y="410051"/>
                    <a:pt x="1762601" y="408146"/>
                    <a:pt x="1762601" y="406241"/>
                  </a:cubicBezTo>
                  <a:cubicBezTo>
                    <a:pt x="1762601" y="403384"/>
                    <a:pt x="1761649" y="400526"/>
                    <a:pt x="1761649" y="397669"/>
                  </a:cubicBezTo>
                  <a:cubicBezTo>
                    <a:pt x="1761649" y="397669"/>
                    <a:pt x="1761649" y="397669"/>
                    <a:pt x="1761649" y="397669"/>
                  </a:cubicBezTo>
                  <a:cubicBezTo>
                    <a:pt x="1762601" y="398621"/>
                    <a:pt x="1763554" y="399574"/>
                    <a:pt x="1764506" y="400526"/>
                  </a:cubicBezTo>
                  <a:cubicBezTo>
                    <a:pt x="1764506" y="404336"/>
                    <a:pt x="1764506" y="408146"/>
                    <a:pt x="1763554" y="411956"/>
                  </a:cubicBezTo>
                  <a:close/>
                  <a:moveTo>
                    <a:pt x="1766411" y="379571"/>
                  </a:moveTo>
                  <a:cubicBezTo>
                    <a:pt x="1766411" y="379571"/>
                    <a:pt x="1766411" y="379571"/>
                    <a:pt x="1766411" y="379571"/>
                  </a:cubicBezTo>
                  <a:cubicBezTo>
                    <a:pt x="1766411" y="378619"/>
                    <a:pt x="1766411" y="377666"/>
                    <a:pt x="1766411" y="377666"/>
                  </a:cubicBezTo>
                  <a:cubicBezTo>
                    <a:pt x="1766411" y="378619"/>
                    <a:pt x="1766411" y="379571"/>
                    <a:pt x="1766411" y="379571"/>
                  </a:cubicBezTo>
                  <a:close/>
                  <a:moveTo>
                    <a:pt x="1792129" y="251936"/>
                  </a:moveTo>
                  <a:lnTo>
                    <a:pt x="1802606" y="219551"/>
                  </a:lnTo>
                  <a:cubicBezTo>
                    <a:pt x="1802606" y="219551"/>
                    <a:pt x="1802606" y="219551"/>
                    <a:pt x="1802606" y="219551"/>
                  </a:cubicBezTo>
                  <a:cubicBezTo>
                    <a:pt x="1802606" y="237649"/>
                    <a:pt x="1801654" y="255746"/>
                    <a:pt x="1801654" y="274796"/>
                  </a:cubicBezTo>
                  <a:cubicBezTo>
                    <a:pt x="1801654" y="291941"/>
                    <a:pt x="1800701" y="309086"/>
                    <a:pt x="1800701" y="327184"/>
                  </a:cubicBezTo>
                  <a:cubicBezTo>
                    <a:pt x="1798796" y="321469"/>
                    <a:pt x="1796891" y="315754"/>
                    <a:pt x="1794034" y="310991"/>
                  </a:cubicBezTo>
                  <a:cubicBezTo>
                    <a:pt x="1792129" y="305276"/>
                    <a:pt x="1790224" y="299561"/>
                    <a:pt x="1788319" y="294799"/>
                  </a:cubicBezTo>
                  <a:cubicBezTo>
                    <a:pt x="1788319" y="293846"/>
                    <a:pt x="1787366" y="292894"/>
                    <a:pt x="1787366" y="292894"/>
                  </a:cubicBezTo>
                  <a:cubicBezTo>
                    <a:pt x="1787366" y="290989"/>
                    <a:pt x="1786414" y="289084"/>
                    <a:pt x="1786414" y="287179"/>
                  </a:cubicBezTo>
                  <a:cubicBezTo>
                    <a:pt x="1787366" y="284321"/>
                    <a:pt x="1788319" y="282416"/>
                    <a:pt x="1788319" y="279559"/>
                  </a:cubicBezTo>
                  <a:cubicBezTo>
                    <a:pt x="1788319" y="278606"/>
                    <a:pt x="1788319" y="277654"/>
                    <a:pt x="1787366" y="275749"/>
                  </a:cubicBezTo>
                  <a:cubicBezTo>
                    <a:pt x="1787366" y="274796"/>
                    <a:pt x="1785461" y="274796"/>
                    <a:pt x="1785461" y="274796"/>
                  </a:cubicBezTo>
                  <a:cubicBezTo>
                    <a:pt x="1785461" y="274796"/>
                    <a:pt x="1785461" y="274796"/>
                    <a:pt x="1785461" y="274796"/>
                  </a:cubicBezTo>
                  <a:lnTo>
                    <a:pt x="1792129" y="251936"/>
                  </a:lnTo>
                  <a:close/>
                  <a:moveTo>
                    <a:pt x="1785461" y="276701"/>
                  </a:moveTo>
                  <a:cubicBezTo>
                    <a:pt x="1785461" y="276701"/>
                    <a:pt x="1786414" y="277654"/>
                    <a:pt x="1786414" y="278606"/>
                  </a:cubicBezTo>
                  <a:cubicBezTo>
                    <a:pt x="1786414" y="279559"/>
                    <a:pt x="1786414" y="281464"/>
                    <a:pt x="1786414" y="282416"/>
                  </a:cubicBezTo>
                  <a:cubicBezTo>
                    <a:pt x="1785461" y="280511"/>
                    <a:pt x="1785461" y="278606"/>
                    <a:pt x="1785461" y="276701"/>
                  </a:cubicBezTo>
                  <a:cubicBezTo>
                    <a:pt x="1785461" y="276701"/>
                    <a:pt x="1785461" y="276701"/>
                    <a:pt x="1785461" y="276701"/>
                  </a:cubicBezTo>
                  <a:close/>
                  <a:moveTo>
                    <a:pt x="1776889" y="330994"/>
                  </a:moveTo>
                  <a:cubicBezTo>
                    <a:pt x="1779746" y="345281"/>
                    <a:pt x="1782604" y="360521"/>
                    <a:pt x="1785461" y="376714"/>
                  </a:cubicBezTo>
                  <a:cubicBezTo>
                    <a:pt x="1785461" y="379571"/>
                    <a:pt x="1786414" y="382429"/>
                    <a:pt x="1786414" y="385286"/>
                  </a:cubicBezTo>
                  <a:cubicBezTo>
                    <a:pt x="1785461" y="384334"/>
                    <a:pt x="1785461" y="383381"/>
                    <a:pt x="1784509" y="382429"/>
                  </a:cubicBezTo>
                  <a:cubicBezTo>
                    <a:pt x="1785461" y="377666"/>
                    <a:pt x="1785461" y="374809"/>
                    <a:pt x="1785461" y="374809"/>
                  </a:cubicBezTo>
                  <a:cubicBezTo>
                    <a:pt x="1785461" y="374809"/>
                    <a:pt x="1784509" y="376714"/>
                    <a:pt x="1783556" y="380524"/>
                  </a:cubicBezTo>
                  <a:cubicBezTo>
                    <a:pt x="1781651" y="376714"/>
                    <a:pt x="1778794" y="373856"/>
                    <a:pt x="1776889" y="370999"/>
                  </a:cubicBezTo>
                  <a:cubicBezTo>
                    <a:pt x="1776889" y="357664"/>
                    <a:pt x="1776889" y="346234"/>
                    <a:pt x="1776889" y="337661"/>
                  </a:cubicBezTo>
                  <a:cubicBezTo>
                    <a:pt x="1775936" y="334804"/>
                    <a:pt x="1775936" y="332899"/>
                    <a:pt x="1776889" y="330994"/>
                  </a:cubicBezTo>
                  <a:close/>
                  <a:moveTo>
                    <a:pt x="1755934" y="211931"/>
                  </a:moveTo>
                  <a:cubicBezTo>
                    <a:pt x="1756886" y="215741"/>
                    <a:pt x="1758791" y="223361"/>
                    <a:pt x="1761649" y="233839"/>
                  </a:cubicBezTo>
                  <a:cubicBezTo>
                    <a:pt x="1761649" y="234791"/>
                    <a:pt x="1762601" y="236696"/>
                    <a:pt x="1762601" y="238601"/>
                  </a:cubicBezTo>
                  <a:cubicBezTo>
                    <a:pt x="1761649" y="237649"/>
                    <a:pt x="1761649" y="235744"/>
                    <a:pt x="1760696" y="234791"/>
                  </a:cubicBezTo>
                  <a:cubicBezTo>
                    <a:pt x="1759744" y="232886"/>
                    <a:pt x="1759744" y="230981"/>
                    <a:pt x="1759744" y="230981"/>
                  </a:cubicBezTo>
                  <a:cubicBezTo>
                    <a:pt x="1759744" y="230981"/>
                    <a:pt x="1759744" y="231934"/>
                    <a:pt x="1759744" y="232886"/>
                  </a:cubicBezTo>
                  <a:cubicBezTo>
                    <a:pt x="1758791" y="230981"/>
                    <a:pt x="1757839" y="229076"/>
                    <a:pt x="1756886" y="227171"/>
                  </a:cubicBezTo>
                  <a:cubicBezTo>
                    <a:pt x="1755934" y="226219"/>
                    <a:pt x="1755934" y="225266"/>
                    <a:pt x="1754981" y="223361"/>
                  </a:cubicBezTo>
                  <a:cubicBezTo>
                    <a:pt x="1755934" y="219551"/>
                    <a:pt x="1755934" y="215741"/>
                    <a:pt x="1755934" y="211931"/>
                  </a:cubicBezTo>
                  <a:close/>
                  <a:moveTo>
                    <a:pt x="1754981" y="232886"/>
                  </a:moveTo>
                  <a:cubicBezTo>
                    <a:pt x="1754981" y="233839"/>
                    <a:pt x="1755934" y="234791"/>
                    <a:pt x="1755934" y="235744"/>
                  </a:cubicBezTo>
                  <a:cubicBezTo>
                    <a:pt x="1755934" y="236696"/>
                    <a:pt x="1754981" y="237649"/>
                    <a:pt x="1754981" y="240506"/>
                  </a:cubicBezTo>
                  <a:cubicBezTo>
                    <a:pt x="1754981" y="237649"/>
                    <a:pt x="1754981" y="234791"/>
                    <a:pt x="1754981" y="232886"/>
                  </a:cubicBezTo>
                  <a:close/>
                  <a:moveTo>
                    <a:pt x="1754029" y="281464"/>
                  </a:moveTo>
                  <a:cubicBezTo>
                    <a:pt x="1754029" y="270986"/>
                    <a:pt x="1754029" y="261461"/>
                    <a:pt x="1754981" y="252889"/>
                  </a:cubicBezTo>
                  <a:cubicBezTo>
                    <a:pt x="1755934" y="244316"/>
                    <a:pt x="1756886" y="238601"/>
                    <a:pt x="1756886" y="236696"/>
                  </a:cubicBezTo>
                  <a:cubicBezTo>
                    <a:pt x="1758791" y="242411"/>
                    <a:pt x="1761649" y="250031"/>
                    <a:pt x="1763554" y="256699"/>
                  </a:cubicBezTo>
                  <a:cubicBezTo>
                    <a:pt x="1764506" y="265271"/>
                    <a:pt x="1766411" y="274796"/>
                    <a:pt x="1768316" y="286226"/>
                  </a:cubicBezTo>
                  <a:cubicBezTo>
                    <a:pt x="1763554" y="298609"/>
                    <a:pt x="1758791" y="310991"/>
                    <a:pt x="1754981" y="322421"/>
                  </a:cubicBezTo>
                  <a:cubicBezTo>
                    <a:pt x="1754981" y="320516"/>
                    <a:pt x="1754981" y="318611"/>
                    <a:pt x="1754029" y="317659"/>
                  </a:cubicBezTo>
                  <a:cubicBezTo>
                    <a:pt x="1754029" y="317659"/>
                    <a:pt x="1754029" y="316706"/>
                    <a:pt x="1754029" y="316706"/>
                  </a:cubicBezTo>
                  <a:cubicBezTo>
                    <a:pt x="1754029" y="303371"/>
                    <a:pt x="1754029" y="291941"/>
                    <a:pt x="1754029" y="281464"/>
                  </a:cubicBezTo>
                  <a:close/>
                  <a:moveTo>
                    <a:pt x="1687354" y="295751"/>
                  </a:moveTo>
                  <a:cubicBezTo>
                    <a:pt x="1686401" y="302419"/>
                    <a:pt x="1685449" y="309086"/>
                    <a:pt x="1685449" y="314801"/>
                  </a:cubicBezTo>
                  <a:cubicBezTo>
                    <a:pt x="1685449" y="318611"/>
                    <a:pt x="1684496" y="321469"/>
                    <a:pt x="1684496" y="325279"/>
                  </a:cubicBezTo>
                  <a:cubicBezTo>
                    <a:pt x="1683544" y="320516"/>
                    <a:pt x="1682591" y="316706"/>
                    <a:pt x="1681639" y="311944"/>
                  </a:cubicBezTo>
                  <a:cubicBezTo>
                    <a:pt x="1681639" y="310039"/>
                    <a:pt x="1681639" y="309086"/>
                    <a:pt x="1681639" y="309086"/>
                  </a:cubicBezTo>
                  <a:cubicBezTo>
                    <a:pt x="1681639" y="309086"/>
                    <a:pt x="1681639" y="309086"/>
                    <a:pt x="1681639" y="310039"/>
                  </a:cubicBezTo>
                  <a:cubicBezTo>
                    <a:pt x="1681639" y="309086"/>
                    <a:pt x="1680686" y="307181"/>
                    <a:pt x="1680686" y="306229"/>
                  </a:cubicBezTo>
                  <a:cubicBezTo>
                    <a:pt x="1680686" y="305276"/>
                    <a:pt x="1680686" y="304324"/>
                    <a:pt x="1681639" y="303371"/>
                  </a:cubicBezTo>
                  <a:cubicBezTo>
                    <a:pt x="1682591" y="300514"/>
                    <a:pt x="1683544" y="297656"/>
                    <a:pt x="1684496" y="295751"/>
                  </a:cubicBezTo>
                  <a:cubicBezTo>
                    <a:pt x="1686401" y="290989"/>
                    <a:pt x="1687354" y="287179"/>
                    <a:pt x="1689259" y="282416"/>
                  </a:cubicBezTo>
                  <a:cubicBezTo>
                    <a:pt x="1687354" y="287179"/>
                    <a:pt x="1687354" y="291941"/>
                    <a:pt x="1687354" y="295751"/>
                  </a:cubicBezTo>
                  <a:close/>
                  <a:moveTo>
                    <a:pt x="1678781" y="276701"/>
                  </a:moveTo>
                  <a:cubicBezTo>
                    <a:pt x="1680686" y="266224"/>
                    <a:pt x="1682591" y="255746"/>
                    <a:pt x="1684496" y="245269"/>
                  </a:cubicBezTo>
                  <a:cubicBezTo>
                    <a:pt x="1685449" y="250031"/>
                    <a:pt x="1686401" y="254794"/>
                    <a:pt x="1686401" y="259556"/>
                  </a:cubicBezTo>
                  <a:cubicBezTo>
                    <a:pt x="1686401" y="262414"/>
                    <a:pt x="1686401" y="265271"/>
                    <a:pt x="1686401" y="268129"/>
                  </a:cubicBezTo>
                  <a:cubicBezTo>
                    <a:pt x="1686401" y="269081"/>
                    <a:pt x="1686401" y="270034"/>
                    <a:pt x="1686401" y="270986"/>
                  </a:cubicBezTo>
                  <a:cubicBezTo>
                    <a:pt x="1682591" y="276701"/>
                    <a:pt x="1679734" y="284321"/>
                    <a:pt x="1675924" y="292894"/>
                  </a:cubicBezTo>
                  <a:cubicBezTo>
                    <a:pt x="1675924" y="292894"/>
                    <a:pt x="1675924" y="291941"/>
                    <a:pt x="1675924" y="291941"/>
                  </a:cubicBezTo>
                  <a:cubicBezTo>
                    <a:pt x="1676876" y="287179"/>
                    <a:pt x="1677829" y="283369"/>
                    <a:pt x="1678781" y="278606"/>
                  </a:cubicBezTo>
                  <a:cubicBezTo>
                    <a:pt x="1679734" y="276701"/>
                    <a:pt x="1679734" y="275749"/>
                    <a:pt x="1679734" y="275749"/>
                  </a:cubicBezTo>
                  <a:cubicBezTo>
                    <a:pt x="1679734" y="275749"/>
                    <a:pt x="1679734" y="275749"/>
                    <a:pt x="1678781" y="276701"/>
                  </a:cubicBezTo>
                  <a:close/>
                  <a:moveTo>
                    <a:pt x="1677829" y="199549"/>
                  </a:moveTo>
                  <a:cubicBezTo>
                    <a:pt x="1677829" y="201454"/>
                    <a:pt x="1677829" y="202406"/>
                    <a:pt x="1678781" y="204311"/>
                  </a:cubicBezTo>
                  <a:cubicBezTo>
                    <a:pt x="1677829" y="207169"/>
                    <a:pt x="1676876" y="210979"/>
                    <a:pt x="1676876" y="213836"/>
                  </a:cubicBezTo>
                  <a:cubicBezTo>
                    <a:pt x="1676876" y="209074"/>
                    <a:pt x="1676876" y="204311"/>
                    <a:pt x="1677829" y="199549"/>
                  </a:cubicBezTo>
                  <a:close/>
                  <a:moveTo>
                    <a:pt x="1640681" y="226219"/>
                  </a:moveTo>
                  <a:cubicBezTo>
                    <a:pt x="1643539" y="233839"/>
                    <a:pt x="1646396" y="244316"/>
                    <a:pt x="1649254" y="254794"/>
                  </a:cubicBezTo>
                  <a:cubicBezTo>
                    <a:pt x="1651159" y="260509"/>
                    <a:pt x="1652111" y="267176"/>
                    <a:pt x="1654016" y="274796"/>
                  </a:cubicBezTo>
                  <a:cubicBezTo>
                    <a:pt x="1654016" y="276701"/>
                    <a:pt x="1653064" y="279559"/>
                    <a:pt x="1653064" y="281464"/>
                  </a:cubicBezTo>
                  <a:cubicBezTo>
                    <a:pt x="1653064" y="280511"/>
                    <a:pt x="1652111" y="279559"/>
                    <a:pt x="1652111" y="279559"/>
                  </a:cubicBezTo>
                  <a:cubicBezTo>
                    <a:pt x="1652111" y="279559"/>
                    <a:pt x="1652111" y="280511"/>
                    <a:pt x="1652111" y="282416"/>
                  </a:cubicBezTo>
                  <a:cubicBezTo>
                    <a:pt x="1651159" y="288131"/>
                    <a:pt x="1650206" y="293846"/>
                    <a:pt x="1649254" y="300514"/>
                  </a:cubicBezTo>
                  <a:cubicBezTo>
                    <a:pt x="1646396" y="293846"/>
                    <a:pt x="1644491" y="288131"/>
                    <a:pt x="1641634" y="281464"/>
                  </a:cubicBezTo>
                  <a:cubicBezTo>
                    <a:pt x="1642586" y="280511"/>
                    <a:pt x="1642586" y="280511"/>
                    <a:pt x="1643539" y="279559"/>
                  </a:cubicBezTo>
                  <a:cubicBezTo>
                    <a:pt x="1644491" y="278606"/>
                    <a:pt x="1646396" y="277654"/>
                    <a:pt x="1647349" y="277654"/>
                  </a:cubicBezTo>
                  <a:cubicBezTo>
                    <a:pt x="1651159" y="274796"/>
                    <a:pt x="1654016" y="273844"/>
                    <a:pt x="1654016" y="273844"/>
                  </a:cubicBezTo>
                  <a:cubicBezTo>
                    <a:pt x="1654016" y="273844"/>
                    <a:pt x="1652111" y="274796"/>
                    <a:pt x="1647349" y="276701"/>
                  </a:cubicBezTo>
                  <a:cubicBezTo>
                    <a:pt x="1646396" y="277654"/>
                    <a:pt x="1645444" y="277654"/>
                    <a:pt x="1643539" y="278606"/>
                  </a:cubicBezTo>
                  <a:cubicBezTo>
                    <a:pt x="1643539" y="278606"/>
                    <a:pt x="1642586" y="279559"/>
                    <a:pt x="1642586" y="279559"/>
                  </a:cubicBezTo>
                  <a:cubicBezTo>
                    <a:pt x="1642586" y="271939"/>
                    <a:pt x="1642586" y="263366"/>
                    <a:pt x="1642586" y="255746"/>
                  </a:cubicBezTo>
                  <a:cubicBezTo>
                    <a:pt x="1640681" y="246221"/>
                    <a:pt x="1640681" y="235744"/>
                    <a:pt x="1640681" y="226219"/>
                  </a:cubicBezTo>
                  <a:cubicBezTo>
                    <a:pt x="1639729" y="226219"/>
                    <a:pt x="1639729" y="226219"/>
                    <a:pt x="1640681" y="226219"/>
                  </a:cubicBezTo>
                  <a:close/>
                  <a:moveTo>
                    <a:pt x="1620679" y="348139"/>
                  </a:moveTo>
                  <a:cubicBezTo>
                    <a:pt x="1620679" y="349091"/>
                    <a:pt x="1620679" y="350044"/>
                    <a:pt x="1620679" y="351949"/>
                  </a:cubicBezTo>
                  <a:cubicBezTo>
                    <a:pt x="1620679" y="352901"/>
                    <a:pt x="1620679" y="353854"/>
                    <a:pt x="1620679" y="353854"/>
                  </a:cubicBezTo>
                  <a:cubicBezTo>
                    <a:pt x="1619726" y="354806"/>
                    <a:pt x="1619726" y="355759"/>
                    <a:pt x="1618774" y="356711"/>
                  </a:cubicBezTo>
                  <a:cubicBezTo>
                    <a:pt x="1619726" y="353854"/>
                    <a:pt x="1620679" y="350044"/>
                    <a:pt x="1620679" y="348139"/>
                  </a:cubicBezTo>
                  <a:close/>
                  <a:moveTo>
                    <a:pt x="1618774" y="311944"/>
                  </a:moveTo>
                  <a:cubicBezTo>
                    <a:pt x="1617821" y="312896"/>
                    <a:pt x="1617821" y="313849"/>
                    <a:pt x="1616869" y="315754"/>
                  </a:cubicBezTo>
                  <a:cubicBezTo>
                    <a:pt x="1613059" y="323374"/>
                    <a:pt x="1609249" y="332899"/>
                    <a:pt x="1605439" y="343376"/>
                  </a:cubicBezTo>
                  <a:cubicBezTo>
                    <a:pt x="1604486" y="345281"/>
                    <a:pt x="1603534" y="348139"/>
                    <a:pt x="1602581" y="350996"/>
                  </a:cubicBezTo>
                  <a:cubicBezTo>
                    <a:pt x="1602581" y="348139"/>
                    <a:pt x="1602581" y="345281"/>
                    <a:pt x="1602581" y="342424"/>
                  </a:cubicBezTo>
                  <a:cubicBezTo>
                    <a:pt x="1605439" y="334804"/>
                    <a:pt x="1609249" y="328136"/>
                    <a:pt x="1613059" y="321469"/>
                  </a:cubicBezTo>
                  <a:cubicBezTo>
                    <a:pt x="1614964" y="317659"/>
                    <a:pt x="1617821" y="313849"/>
                    <a:pt x="1619726" y="310039"/>
                  </a:cubicBezTo>
                  <a:cubicBezTo>
                    <a:pt x="1618774" y="310991"/>
                    <a:pt x="1618774" y="310991"/>
                    <a:pt x="1618774" y="311944"/>
                  </a:cubicBezTo>
                  <a:close/>
                  <a:moveTo>
                    <a:pt x="1610201" y="269081"/>
                  </a:moveTo>
                  <a:cubicBezTo>
                    <a:pt x="1612106" y="265271"/>
                    <a:pt x="1613059" y="261461"/>
                    <a:pt x="1614011" y="258604"/>
                  </a:cubicBezTo>
                  <a:cubicBezTo>
                    <a:pt x="1614964" y="256699"/>
                    <a:pt x="1615916" y="254794"/>
                    <a:pt x="1616869" y="252889"/>
                  </a:cubicBezTo>
                  <a:cubicBezTo>
                    <a:pt x="1616869" y="264319"/>
                    <a:pt x="1617821" y="277654"/>
                    <a:pt x="1617821" y="292894"/>
                  </a:cubicBezTo>
                  <a:cubicBezTo>
                    <a:pt x="1617821" y="292894"/>
                    <a:pt x="1617821" y="293846"/>
                    <a:pt x="1617821" y="293846"/>
                  </a:cubicBezTo>
                  <a:cubicBezTo>
                    <a:pt x="1616869" y="291941"/>
                    <a:pt x="1615916" y="290036"/>
                    <a:pt x="1614011" y="289084"/>
                  </a:cubicBezTo>
                  <a:cubicBezTo>
                    <a:pt x="1611154" y="284321"/>
                    <a:pt x="1608296" y="280511"/>
                    <a:pt x="1606391" y="277654"/>
                  </a:cubicBezTo>
                  <a:cubicBezTo>
                    <a:pt x="1608296" y="274796"/>
                    <a:pt x="1609249" y="271939"/>
                    <a:pt x="1610201" y="269081"/>
                  </a:cubicBezTo>
                  <a:close/>
                  <a:moveTo>
                    <a:pt x="1600676" y="297656"/>
                  </a:moveTo>
                  <a:cubicBezTo>
                    <a:pt x="1602581" y="290989"/>
                    <a:pt x="1604486" y="285274"/>
                    <a:pt x="1606391" y="279559"/>
                  </a:cubicBezTo>
                  <a:cubicBezTo>
                    <a:pt x="1607344" y="282416"/>
                    <a:pt x="1609249" y="286226"/>
                    <a:pt x="1611154" y="290989"/>
                  </a:cubicBezTo>
                  <a:cubicBezTo>
                    <a:pt x="1613059" y="294799"/>
                    <a:pt x="1614964" y="298609"/>
                    <a:pt x="1616869" y="303371"/>
                  </a:cubicBezTo>
                  <a:cubicBezTo>
                    <a:pt x="1613059" y="307181"/>
                    <a:pt x="1610201" y="312896"/>
                    <a:pt x="1606391" y="317659"/>
                  </a:cubicBezTo>
                  <a:cubicBezTo>
                    <a:pt x="1604486" y="320516"/>
                    <a:pt x="1602581" y="322421"/>
                    <a:pt x="1601629" y="325279"/>
                  </a:cubicBezTo>
                  <a:cubicBezTo>
                    <a:pt x="1601629" y="323374"/>
                    <a:pt x="1601629" y="321469"/>
                    <a:pt x="1600676" y="319564"/>
                  </a:cubicBezTo>
                  <a:cubicBezTo>
                    <a:pt x="1600676" y="314801"/>
                    <a:pt x="1599724" y="310039"/>
                    <a:pt x="1599724" y="305276"/>
                  </a:cubicBezTo>
                  <a:cubicBezTo>
                    <a:pt x="1599724" y="302419"/>
                    <a:pt x="1600676" y="300514"/>
                    <a:pt x="1600676" y="297656"/>
                  </a:cubicBezTo>
                  <a:close/>
                  <a:moveTo>
                    <a:pt x="1567339" y="315754"/>
                  </a:moveTo>
                  <a:cubicBezTo>
                    <a:pt x="1567339" y="320516"/>
                    <a:pt x="1568291" y="325279"/>
                    <a:pt x="1568291" y="330041"/>
                  </a:cubicBezTo>
                  <a:cubicBezTo>
                    <a:pt x="1567339" y="326231"/>
                    <a:pt x="1567339" y="323374"/>
                    <a:pt x="1566386" y="320516"/>
                  </a:cubicBezTo>
                  <a:cubicBezTo>
                    <a:pt x="1567339" y="319564"/>
                    <a:pt x="1567339" y="317659"/>
                    <a:pt x="1567339" y="315754"/>
                  </a:cubicBezTo>
                  <a:close/>
                  <a:moveTo>
                    <a:pt x="1547336" y="265271"/>
                  </a:moveTo>
                  <a:cubicBezTo>
                    <a:pt x="1547336" y="269081"/>
                    <a:pt x="1546384" y="271939"/>
                    <a:pt x="1546384" y="275749"/>
                  </a:cubicBezTo>
                  <a:cubicBezTo>
                    <a:pt x="1546384" y="274796"/>
                    <a:pt x="1545431" y="273844"/>
                    <a:pt x="1545431" y="272891"/>
                  </a:cubicBezTo>
                  <a:cubicBezTo>
                    <a:pt x="1546384" y="270986"/>
                    <a:pt x="1546384" y="268129"/>
                    <a:pt x="1547336" y="265271"/>
                  </a:cubicBezTo>
                  <a:close/>
                  <a:moveTo>
                    <a:pt x="1541621" y="286226"/>
                  </a:moveTo>
                  <a:cubicBezTo>
                    <a:pt x="1542574" y="289084"/>
                    <a:pt x="1543526" y="290989"/>
                    <a:pt x="1543526" y="293846"/>
                  </a:cubicBezTo>
                  <a:cubicBezTo>
                    <a:pt x="1543526" y="295751"/>
                    <a:pt x="1542574" y="298609"/>
                    <a:pt x="1542574" y="301466"/>
                  </a:cubicBezTo>
                  <a:cubicBezTo>
                    <a:pt x="1541621" y="298609"/>
                    <a:pt x="1540669" y="294799"/>
                    <a:pt x="1539716" y="291941"/>
                  </a:cubicBezTo>
                  <a:cubicBezTo>
                    <a:pt x="1540669" y="289084"/>
                    <a:pt x="1541621" y="288131"/>
                    <a:pt x="1541621" y="286226"/>
                  </a:cubicBezTo>
                  <a:close/>
                  <a:moveTo>
                    <a:pt x="1537811" y="271939"/>
                  </a:moveTo>
                  <a:cubicBezTo>
                    <a:pt x="1537811" y="273844"/>
                    <a:pt x="1538764" y="274796"/>
                    <a:pt x="1538764" y="276701"/>
                  </a:cubicBezTo>
                  <a:cubicBezTo>
                    <a:pt x="1537811" y="277654"/>
                    <a:pt x="1537811" y="278606"/>
                    <a:pt x="1536859" y="280511"/>
                  </a:cubicBezTo>
                  <a:cubicBezTo>
                    <a:pt x="1537811" y="276701"/>
                    <a:pt x="1537811" y="273844"/>
                    <a:pt x="1537811" y="271939"/>
                  </a:cubicBezTo>
                  <a:close/>
                  <a:moveTo>
                    <a:pt x="1533049" y="338614"/>
                  </a:moveTo>
                  <a:cubicBezTo>
                    <a:pt x="1533049" y="337661"/>
                    <a:pt x="1533049" y="336709"/>
                    <a:pt x="1533049" y="335756"/>
                  </a:cubicBezTo>
                  <a:cubicBezTo>
                    <a:pt x="1534001" y="340519"/>
                    <a:pt x="1534954" y="345281"/>
                    <a:pt x="1535906" y="350044"/>
                  </a:cubicBezTo>
                  <a:cubicBezTo>
                    <a:pt x="1536859" y="352901"/>
                    <a:pt x="1536859" y="354806"/>
                    <a:pt x="1536859" y="357664"/>
                  </a:cubicBezTo>
                  <a:cubicBezTo>
                    <a:pt x="1536859" y="359569"/>
                    <a:pt x="1536859" y="360521"/>
                    <a:pt x="1536859" y="362426"/>
                  </a:cubicBezTo>
                  <a:cubicBezTo>
                    <a:pt x="1536859" y="362426"/>
                    <a:pt x="1536859" y="362426"/>
                    <a:pt x="1536859" y="362426"/>
                  </a:cubicBezTo>
                  <a:cubicBezTo>
                    <a:pt x="1534954" y="356711"/>
                    <a:pt x="1533049" y="351949"/>
                    <a:pt x="1532096" y="346234"/>
                  </a:cubicBezTo>
                  <a:cubicBezTo>
                    <a:pt x="1533049" y="343376"/>
                    <a:pt x="1533049" y="341471"/>
                    <a:pt x="1533049" y="338614"/>
                  </a:cubicBezTo>
                  <a:close/>
                  <a:moveTo>
                    <a:pt x="1519714" y="270986"/>
                  </a:moveTo>
                  <a:cubicBezTo>
                    <a:pt x="1521619" y="279559"/>
                    <a:pt x="1523524" y="288131"/>
                    <a:pt x="1525429" y="297656"/>
                  </a:cubicBezTo>
                  <a:cubicBezTo>
                    <a:pt x="1525429" y="298609"/>
                    <a:pt x="1525429" y="299561"/>
                    <a:pt x="1524476" y="301466"/>
                  </a:cubicBezTo>
                  <a:cubicBezTo>
                    <a:pt x="1523524" y="306229"/>
                    <a:pt x="1522571" y="310991"/>
                    <a:pt x="1521619" y="315754"/>
                  </a:cubicBezTo>
                  <a:cubicBezTo>
                    <a:pt x="1520666" y="313849"/>
                    <a:pt x="1520666" y="311944"/>
                    <a:pt x="1519714" y="310991"/>
                  </a:cubicBezTo>
                  <a:cubicBezTo>
                    <a:pt x="1519714" y="295751"/>
                    <a:pt x="1518761" y="281464"/>
                    <a:pt x="1517809" y="268129"/>
                  </a:cubicBezTo>
                  <a:cubicBezTo>
                    <a:pt x="1519714" y="268129"/>
                    <a:pt x="1519714" y="269081"/>
                    <a:pt x="1519714" y="270986"/>
                  </a:cubicBezTo>
                  <a:close/>
                  <a:moveTo>
                    <a:pt x="1503521" y="302419"/>
                  </a:moveTo>
                  <a:cubicBezTo>
                    <a:pt x="1503521" y="306229"/>
                    <a:pt x="1503521" y="310039"/>
                    <a:pt x="1502569" y="313849"/>
                  </a:cubicBezTo>
                  <a:cubicBezTo>
                    <a:pt x="1502569" y="318611"/>
                    <a:pt x="1502569" y="324326"/>
                    <a:pt x="1502569" y="330041"/>
                  </a:cubicBezTo>
                  <a:cubicBezTo>
                    <a:pt x="1502569" y="330041"/>
                    <a:pt x="1502569" y="330041"/>
                    <a:pt x="1501616" y="329089"/>
                  </a:cubicBezTo>
                  <a:cubicBezTo>
                    <a:pt x="1500664" y="323374"/>
                    <a:pt x="1498759" y="317659"/>
                    <a:pt x="1497806" y="311944"/>
                  </a:cubicBezTo>
                  <a:cubicBezTo>
                    <a:pt x="1500664" y="309086"/>
                    <a:pt x="1502569" y="306229"/>
                    <a:pt x="1503521" y="302419"/>
                  </a:cubicBezTo>
                  <a:close/>
                  <a:moveTo>
                    <a:pt x="1477804" y="272891"/>
                  </a:moveTo>
                  <a:cubicBezTo>
                    <a:pt x="1477804" y="273844"/>
                    <a:pt x="1477804" y="273844"/>
                    <a:pt x="1477804" y="272891"/>
                  </a:cubicBezTo>
                  <a:cubicBezTo>
                    <a:pt x="1477804" y="275749"/>
                    <a:pt x="1477804" y="278606"/>
                    <a:pt x="1477804" y="282416"/>
                  </a:cubicBezTo>
                  <a:cubicBezTo>
                    <a:pt x="1477804" y="286226"/>
                    <a:pt x="1476851" y="290989"/>
                    <a:pt x="1476851" y="294799"/>
                  </a:cubicBezTo>
                  <a:cubicBezTo>
                    <a:pt x="1476851" y="294799"/>
                    <a:pt x="1476851" y="295751"/>
                    <a:pt x="1475899" y="295751"/>
                  </a:cubicBezTo>
                  <a:cubicBezTo>
                    <a:pt x="1475899" y="290989"/>
                    <a:pt x="1474946" y="286226"/>
                    <a:pt x="1474946" y="282416"/>
                  </a:cubicBezTo>
                  <a:cubicBezTo>
                    <a:pt x="1475899" y="279559"/>
                    <a:pt x="1476851" y="276701"/>
                    <a:pt x="1477804" y="272891"/>
                  </a:cubicBezTo>
                  <a:close/>
                  <a:moveTo>
                    <a:pt x="1461611" y="326231"/>
                  </a:moveTo>
                  <a:cubicBezTo>
                    <a:pt x="1461611" y="327184"/>
                    <a:pt x="1461611" y="327184"/>
                    <a:pt x="1461611" y="328136"/>
                  </a:cubicBezTo>
                  <a:cubicBezTo>
                    <a:pt x="1461611" y="329089"/>
                    <a:pt x="1460659" y="329089"/>
                    <a:pt x="1460659" y="330041"/>
                  </a:cubicBezTo>
                  <a:cubicBezTo>
                    <a:pt x="1460659" y="330041"/>
                    <a:pt x="1460659" y="330041"/>
                    <a:pt x="1460659" y="329089"/>
                  </a:cubicBezTo>
                  <a:cubicBezTo>
                    <a:pt x="1460659" y="328136"/>
                    <a:pt x="1460659" y="327184"/>
                    <a:pt x="1461611" y="326231"/>
                  </a:cubicBezTo>
                  <a:close/>
                  <a:moveTo>
                    <a:pt x="1457801" y="309086"/>
                  </a:moveTo>
                  <a:cubicBezTo>
                    <a:pt x="1456849" y="310039"/>
                    <a:pt x="1456849" y="310039"/>
                    <a:pt x="1457801" y="309086"/>
                  </a:cubicBezTo>
                  <a:cubicBezTo>
                    <a:pt x="1456849" y="307181"/>
                    <a:pt x="1456849" y="305276"/>
                    <a:pt x="1455896" y="302419"/>
                  </a:cubicBezTo>
                  <a:cubicBezTo>
                    <a:pt x="1455896" y="305276"/>
                    <a:pt x="1456849" y="307181"/>
                    <a:pt x="1457801" y="309086"/>
                  </a:cubicBezTo>
                  <a:close/>
                  <a:moveTo>
                    <a:pt x="1442561" y="328136"/>
                  </a:moveTo>
                  <a:cubicBezTo>
                    <a:pt x="1442561" y="324326"/>
                    <a:pt x="1442561" y="321469"/>
                    <a:pt x="1442561" y="318611"/>
                  </a:cubicBezTo>
                  <a:cubicBezTo>
                    <a:pt x="1443514" y="323374"/>
                    <a:pt x="1443514" y="329089"/>
                    <a:pt x="1444466" y="333851"/>
                  </a:cubicBezTo>
                  <a:cubicBezTo>
                    <a:pt x="1443514" y="332899"/>
                    <a:pt x="1443514" y="330994"/>
                    <a:pt x="1442561" y="330041"/>
                  </a:cubicBezTo>
                  <a:cubicBezTo>
                    <a:pt x="1442561" y="330041"/>
                    <a:pt x="1442561" y="329089"/>
                    <a:pt x="1442561" y="328136"/>
                  </a:cubicBezTo>
                  <a:close/>
                  <a:moveTo>
                    <a:pt x="1415891" y="281464"/>
                  </a:moveTo>
                  <a:cubicBezTo>
                    <a:pt x="1415891" y="284321"/>
                    <a:pt x="1415891" y="286226"/>
                    <a:pt x="1415891" y="289084"/>
                  </a:cubicBezTo>
                  <a:cubicBezTo>
                    <a:pt x="1415891" y="289084"/>
                    <a:pt x="1415891" y="289084"/>
                    <a:pt x="1415891" y="289084"/>
                  </a:cubicBezTo>
                  <a:cubicBezTo>
                    <a:pt x="1414939" y="288131"/>
                    <a:pt x="1413986" y="287179"/>
                    <a:pt x="1413034" y="286226"/>
                  </a:cubicBezTo>
                  <a:cubicBezTo>
                    <a:pt x="1414939" y="284321"/>
                    <a:pt x="1415891" y="282416"/>
                    <a:pt x="1415891" y="281464"/>
                  </a:cubicBezTo>
                  <a:close/>
                  <a:moveTo>
                    <a:pt x="1412081" y="290036"/>
                  </a:moveTo>
                  <a:cubicBezTo>
                    <a:pt x="1413034" y="290989"/>
                    <a:pt x="1413034" y="291941"/>
                    <a:pt x="1413986" y="292894"/>
                  </a:cubicBezTo>
                  <a:cubicBezTo>
                    <a:pt x="1414939" y="293846"/>
                    <a:pt x="1414939" y="294799"/>
                    <a:pt x="1415891" y="295751"/>
                  </a:cubicBezTo>
                  <a:cubicBezTo>
                    <a:pt x="1415891" y="297656"/>
                    <a:pt x="1415891" y="299561"/>
                    <a:pt x="1415891" y="300514"/>
                  </a:cubicBezTo>
                  <a:cubicBezTo>
                    <a:pt x="1413986" y="296704"/>
                    <a:pt x="1413034" y="293846"/>
                    <a:pt x="1412081" y="290036"/>
                  </a:cubicBezTo>
                  <a:cubicBezTo>
                    <a:pt x="1412081" y="290036"/>
                    <a:pt x="1412081" y="290036"/>
                    <a:pt x="1412081" y="290036"/>
                  </a:cubicBezTo>
                  <a:close/>
                  <a:moveTo>
                    <a:pt x="1383506" y="364331"/>
                  </a:moveTo>
                  <a:cubicBezTo>
                    <a:pt x="1383506" y="362426"/>
                    <a:pt x="1383506" y="360521"/>
                    <a:pt x="1382554" y="358616"/>
                  </a:cubicBezTo>
                  <a:cubicBezTo>
                    <a:pt x="1382554" y="358616"/>
                    <a:pt x="1382554" y="357664"/>
                    <a:pt x="1382554" y="357664"/>
                  </a:cubicBezTo>
                  <a:cubicBezTo>
                    <a:pt x="1382554" y="358616"/>
                    <a:pt x="1383506" y="360521"/>
                    <a:pt x="1383506" y="362426"/>
                  </a:cubicBezTo>
                  <a:cubicBezTo>
                    <a:pt x="1384459" y="363379"/>
                    <a:pt x="1384459" y="363379"/>
                    <a:pt x="1383506" y="364331"/>
                  </a:cubicBezTo>
                  <a:close/>
                  <a:moveTo>
                    <a:pt x="1386364" y="298609"/>
                  </a:moveTo>
                  <a:cubicBezTo>
                    <a:pt x="1386364" y="298609"/>
                    <a:pt x="1386364" y="298609"/>
                    <a:pt x="1386364" y="298609"/>
                  </a:cubicBezTo>
                  <a:cubicBezTo>
                    <a:pt x="1385411" y="296704"/>
                    <a:pt x="1385411" y="295751"/>
                    <a:pt x="1384459" y="293846"/>
                  </a:cubicBezTo>
                  <a:cubicBezTo>
                    <a:pt x="1385411" y="292894"/>
                    <a:pt x="1385411" y="291941"/>
                    <a:pt x="1386364" y="290989"/>
                  </a:cubicBezTo>
                  <a:cubicBezTo>
                    <a:pt x="1388269" y="289084"/>
                    <a:pt x="1389221" y="287179"/>
                    <a:pt x="1391126" y="286226"/>
                  </a:cubicBezTo>
                  <a:cubicBezTo>
                    <a:pt x="1389221" y="290036"/>
                    <a:pt x="1387316" y="293846"/>
                    <a:pt x="1386364" y="298609"/>
                  </a:cubicBezTo>
                  <a:close/>
                  <a:moveTo>
                    <a:pt x="1383506" y="287179"/>
                  </a:moveTo>
                  <a:cubicBezTo>
                    <a:pt x="1383506" y="287179"/>
                    <a:pt x="1382554" y="288131"/>
                    <a:pt x="1382554" y="288131"/>
                  </a:cubicBezTo>
                  <a:cubicBezTo>
                    <a:pt x="1380649" y="283369"/>
                    <a:pt x="1378744" y="278606"/>
                    <a:pt x="1376839" y="274796"/>
                  </a:cubicBezTo>
                  <a:cubicBezTo>
                    <a:pt x="1379696" y="262414"/>
                    <a:pt x="1382554" y="251936"/>
                    <a:pt x="1384459" y="242411"/>
                  </a:cubicBezTo>
                  <a:cubicBezTo>
                    <a:pt x="1385411" y="250031"/>
                    <a:pt x="1387316" y="263366"/>
                    <a:pt x="1390174" y="281464"/>
                  </a:cubicBezTo>
                  <a:cubicBezTo>
                    <a:pt x="1388269" y="283369"/>
                    <a:pt x="1386364" y="285274"/>
                    <a:pt x="1383506" y="287179"/>
                  </a:cubicBezTo>
                  <a:close/>
                  <a:moveTo>
                    <a:pt x="1391126" y="310991"/>
                  </a:moveTo>
                  <a:cubicBezTo>
                    <a:pt x="1392079" y="307181"/>
                    <a:pt x="1392079" y="303371"/>
                    <a:pt x="1393031" y="299561"/>
                  </a:cubicBezTo>
                  <a:cubicBezTo>
                    <a:pt x="1393031" y="299561"/>
                    <a:pt x="1393031" y="298609"/>
                    <a:pt x="1393031" y="298609"/>
                  </a:cubicBezTo>
                  <a:cubicBezTo>
                    <a:pt x="1393031" y="300514"/>
                    <a:pt x="1393984" y="303371"/>
                    <a:pt x="1393984" y="305276"/>
                  </a:cubicBezTo>
                  <a:cubicBezTo>
                    <a:pt x="1393984" y="308134"/>
                    <a:pt x="1392079" y="309086"/>
                    <a:pt x="1391126" y="310991"/>
                  </a:cubicBezTo>
                  <a:close/>
                  <a:moveTo>
                    <a:pt x="1397794" y="278606"/>
                  </a:moveTo>
                  <a:cubicBezTo>
                    <a:pt x="1397794" y="278606"/>
                    <a:pt x="1397794" y="278606"/>
                    <a:pt x="1397794" y="278606"/>
                  </a:cubicBezTo>
                  <a:cubicBezTo>
                    <a:pt x="1397794" y="278606"/>
                    <a:pt x="1397794" y="279559"/>
                    <a:pt x="1397794" y="279559"/>
                  </a:cubicBezTo>
                  <a:cubicBezTo>
                    <a:pt x="1397794" y="279559"/>
                    <a:pt x="1397794" y="279559"/>
                    <a:pt x="1397794" y="278606"/>
                  </a:cubicBezTo>
                  <a:cubicBezTo>
                    <a:pt x="1397794" y="278606"/>
                    <a:pt x="1397794" y="278606"/>
                    <a:pt x="1397794" y="278606"/>
                  </a:cubicBezTo>
                  <a:close/>
                  <a:moveTo>
                    <a:pt x="1397794" y="322421"/>
                  </a:moveTo>
                  <a:cubicBezTo>
                    <a:pt x="1398746" y="325279"/>
                    <a:pt x="1398746" y="328136"/>
                    <a:pt x="1399699" y="331946"/>
                  </a:cubicBezTo>
                  <a:cubicBezTo>
                    <a:pt x="1399699" y="332899"/>
                    <a:pt x="1399699" y="332899"/>
                    <a:pt x="1399699" y="333851"/>
                  </a:cubicBezTo>
                  <a:cubicBezTo>
                    <a:pt x="1398746" y="330994"/>
                    <a:pt x="1397794" y="328136"/>
                    <a:pt x="1396841" y="326231"/>
                  </a:cubicBezTo>
                  <a:cubicBezTo>
                    <a:pt x="1396841" y="324326"/>
                    <a:pt x="1396841" y="323374"/>
                    <a:pt x="1397794" y="322421"/>
                  </a:cubicBezTo>
                  <a:close/>
                  <a:moveTo>
                    <a:pt x="1387316" y="231934"/>
                  </a:moveTo>
                  <a:cubicBezTo>
                    <a:pt x="1389221" y="242411"/>
                    <a:pt x="1392079" y="255746"/>
                    <a:pt x="1395889" y="270986"/>
                  </a:cubicBezTo>
                  <a:cubicBezTo>
                    <a:pt x="1395889" y="271939"/>
                    <a:pt x="1395889" y="271939"/>
                    <a:pt x="1394936" y="272891"/>
                  </a:cubicBezTo>
                  <a:cubicBezTo>
                    <a:pt x="1390174" y="257651"/>
                    <a:pt x="1386364" y="246221"/>
                    <a:pt x="1384459" y="240506"/>
                  </a:cubicBezTo>
                  <a:cubicBezTo>
                    <a:pt x="1386364" y="237649"/>
                    <a:pt x="1387316" y="234791"/>
                    <a:pt x="1387316" y="231934"/>
                  </a:cubicBezTo>
                  <a:close/>
                  <a:moveTo>
                    <a:pt x="1380649" y="232886"/>
                  </a:moveTo>
                  <a:cubicBezTo>
                    <a:pt x="1382554" y="230029"/>
                    <a:pt x="1384459" y="227171"/>
                    <a:pt x="1386364" y="225266"/>
                  </a:cubicBezTo>
                  <a:cubicBezTo>
                    <a:pt x="1386364" y="225266"/>
                    <a:pt x="1386364" y="225266"/>
                    <a:pt x="1386364" y="225266"/>
                  </a:cubicBezTo>
                  <a:cubicBezTo>
                    <a:pt x="1382554" y="234791"/>
                    <a:pt x="1377791" y="247174"/>
                    <a:pt x="1372076" y="262414"/>
                  </a:cubicBezTo>
                  <a:cubicBezTo>
                    <a:pt x="1371124" y="260509"/>
                    <a:pt x="1371124" y="259556"/>
                    <a:pt x="1370171" y="257651"/>
                  </a:cubicBezTo>
                  <a:cubicBezTo>
                    <a:pt x="1369219" y="256699"/>
                    <a:pt x="1369219" y="255746"/>
                    <a:pt x="1369219" y="253841"/>
                  </a:cubicBezTo>
                  <a:cubicBezTo>
                    <a:pt x="1373029" y="245269"/>
                    <a:pt x="1376839" y="238601"/>
                    <a:pt x="1380649" y="232886"/>
                  </a:cubicBezTo>
                  <a:close/>
                  <a:moveTo>
                    <a:pt x="1356836" y="300514"/>
                  </a:moveTo>
                  <a:cubicBezTo>
                    <a:pt x="1356836" y="301466"/>
                    <a:pt x="1356836" y="301466"/>
                    <a:pt x="1356836" y="302419"/>
                  </a:cubicBezTo>
                  <a:cubicBezTo>
                    <a:pt x="1356836" y="303371"/>
                    <a:pt x="1356836" y="303371"/>
                    <a:pt x="1355884" y="304324"/>
                  </a:cubicBezTo>
                  <a:cubicBezTo>
                    <a:pt x="1355884" y="302419"/>
                    <a:pt x="1355884" y="301466"/>
                    <a:pt x="1355884" y="299561"/>
                  </a:cubicBezTo>
                  <a:cubicBezTo>
                    <a:pt x="1355884" y="299561"/>
                    <a:pt x="1356836" y="299561"/>
                    <a:pt x="1356836" y="300514"/>
                  </a:cubicBezTo>
                  <a:close/>
                  <a:moveTo>
                    <a:pt x="1339691" y="325279"/>
                  </a:moveTo>
                  <a:cubicBezTo>
                    <a:pt x="1339691" y="325279"/>
                    <a:pt x="1339691" y="324326"/>
                    <a:pt x="1339691" y="324326"/>
                  </a:cubicBezTo>
                  <a:cubicBezTo>
                    <a:pt x="1340644" y="322421"/>
                    <a:pt x="1341596" y="319564"/>
                    <a:pt x="1341596" y="317659"/>
                  </a:cubicBezTo>
                  <a:cubicBezTo>
                    <a:pt x="1341596" y="317659"/>
                    <a:pt x="1341596" y="317659"/>
                    <a:pt x="1341596" y="317659"/>
                  </a:cubicBezTo>
                  <a:cubicBezTo>
                    <a:pt x="1341596" y="322421"/>
                    <a:pt x="1341596" y="326231"/>
                    <a:pt x="1341596" y="330994"/>
                  </a:cubicBezTo>
                  <a:cubicBezTo>
                    <a:pt x="1341596" y="328136"/>
                    <a:pt x="1340644" y="326231"/>
                    <a:pt x="1339691" y="325279"/>
                  </a:cubicBezTo>
                  <a:close/>
                  <a:moveTo>
                    <a:pt x="1340644" y="226219"/>
                  </a:moveTo>
                  <a:cubicBezTo>
                    <a:pt x="1340644" y="225266"/>
                    <a:pt x="1340644" y="225266"/>
                    <a:pt x="1340644" y="226219"/>
                  </a:cubicBezTo>
                  <a:cubicBezTo>
                    <a:pt x="1341596" y="229076"/>
                    <a:pt x="1343501" y="232886"/>
                    <a:pt x="1344454" y="237649"/>
                  </a:cubicBezTo>
                  <a:cubicBezTo>
                    <a:pt x="1344454" y="239554"/>
                    <a:pt x="1344454" y="240506"/>
                    <a:pt x="1344454" y="242411"/>
                  </a:cubicBezTo>
                  <a:cubicBezTo>
                    <a:pt x="1344454" y="249079"/>
                    <a:pt x="1343501" y="256699"/>
                    <a:pt x="1343501" y="264319"/>
                  </a:cubicBezTo>
                  <a:cubicBezTo>
                    <a:pt x="1343501" y="267176"/>
                    <a:pt x="1343501" y="270034"/>
                    <a:pt x="1343501" y="272891"/>
                  </a:cubicBezTo>
                  <a:cubicBezTo>
                    <a:pt x="1341596" y="271939"/>
                    <a:pt x="1340644" y="270034"/>
                    <a:pt x="1339691" y="269081"/>
                  </a:cubicBezTo>
                  <a:cubicBezTo>
                    <a:pt x="1338739" y="252889"/>
                    <a:pt x="1339691" y="238601"/>
                    <a:pt x="1340644" y="226219"/>
                  </a:cubicBezTo>
                  <a:close/>
                  <a:moveTo>
                    <a:pt x="1337786" y="295751"/>
                  </a:moveTo>
                  <a:cubicBezTo>
                    <a:pt x="1337786" y="288131"/>
                    <a:pt x="1338739" y="279559"/>
                    <a:pt x="1338739" y="271939"/>
                  </a:cubicBezTo>
                  <a:cubicBezTo>
                    <a:pt x="1339691" y="272891"/>
                    <a:pt x="1341596" y="274796"/>
                    <a:pt x="1342549" y="276701"/>
                  </a:cubicBezTo>
                  <a:cubicBezTo>
                    <a:pt x="1342549" y="276701"/>
                    <a:pt x="1342549" y="276701"/>
                    <a:pt x="1342549" y="276701"/>
                  </a:cubicBezTo>
                  <a:cubicBezTo>
                    <a:pt x="1342549" y="279559"/>
                    <a:pt x="1342549" y="283369"/>
                    <a:pt x="1342549" y="286226"/>
                  </a:cubicBezTo>
                  <a:cubicBezTo>
                    <a:pt x="1340644" y="290036"/>
                    <a:pt x="1338739" y="292894"/>
                    <a:pt x="1337786" y="295751"/>
                  </a:cubicBezTo>
                  <a:cubicBezTo>
                    <a:pt x="1337786" y="296704"/>
                    <a:pt x="1337786" y="296704"/>
                    <a:pt x="1337786" y="296704"/>
                  </a:cubicBezTo>
                  <a:cubicBezTo>
                    <a:pt x="1337786" y="296704"/>
                    <a:pt x="1337786" y="295751"/>
                    <a:pt x="1337786" y="295751"/>
                  </a:cubicBezTo>
                  <a:close/>
                  <a:moveTo>
                    <a:pt x="1314926" y="320516"/>
                  </a:moveTo>
                  <a:cubicBezTo>
                    <a:pt x="1314926" y="320516"/>
                    <a:pt x="1314926" y="320516"/>
                    <a:pt x="1314926" y="320516"/>
                  </a:cubicBezTo>
                  <a:cubicBezTo>
                    <a:pt x="1314926" y="320516"/>
                    <a:pt x="1314926" y="320516"/>
                    <a:pt x="1314926" y="320516"/>
                  </a:cubicBezTo>
                  <a:cubicBezTo>
                    <a:pt x="1314926" y="320516"/>
                    <a:pt x="1314926" y="320516"/>
                    <a:pt x="1314926" y="320516"/>
                  </a:cubicBezTo>
                  <a:close/>
                  <a:moveTo>
                    <a:pt x="1311116" y="312896"/>
                  </a:moveTo>
                  <a:cubicBezTo>
                    <a:pt x="1311116" y="312896"/>
                    <a:pt x="1312069" y="313849"/>
                    <a:pt x="1311116" y="312896"/>
                  </a:cubicBezTo>
                  <a:cubicBezTo>
                    <a:pt x="1311116" y="313849"/>
                    <a:pt x="1311116" y="313849"/>
                    <a:pt x="1311116" y="314801"/>
                  </a:cubicBezTo>
                  <a:cubicBezTo>
                    <a:pt x="1311116" y="314801"/>
                    <a:pt x="1311116" y="314801"/>
                    <a:pt x="1311116" y="314801"/>
                  </a:cubicBezTo>
                  <a:cubicBezTo>
                    <a:pt x="1311116" y="313849"/>
                    <a:pt x="1311116" y="313849"/>
                    <a:pt x="1311116" y="312896"/>
                  </a:cubicBezTo>
                  <a:close/>
                  <a:moveTo>
                    <a:pt x="1242536" y="344329"/>
                  </a:moveTo>
                  <a:cubicBezTo>
                    <a:pt x="1241584" y="341471"/>
                    <a:pt x="1239679" y="339566"/>
                    <a:pt x="1238726" y="336709"/>
                  </a:cubicBezTo>
                  <a:cubicBezTo>
                    <a:pt x="1238726" y="328136"/>
                    <a:pt x="1238726" y="318611"/>
                    <a:pt x="1238726" y="310991"/>
                  </a:cubicBezTo>
                  <a:cubicBezTo>
                    <a:pt x="1238726" y="309086"/>
                    <a:pt x="1238726" y="308134"/>
                    <a:pt x="1238726" y="307181"/>
                  </a:cubicBezTo>
                  <a:cubicBezTo>
                    <a:pt x="1240631" y="317659"/>
                    <a:pt x="1241584" y="328136"/>
                    <a:pt x="1244441" y="339566"/>
                  </a:cubicBezTo>
                  <a:cubicBezTo>
                    <a:pt x="1244441" y="339566"/>
                    <a:pt x="1244441" y="340519"/>
                    <a:pt x="1244441" y="340519"/>
                  </a:cubicBezTo>
                  <a:cubicBezTo>
                    <a:pt x="1243489" y="341471"/>
                    <a:pt x="1242536" y="343376"/>
                    <a:pt x="1242536" y="344329"/>
                  </a:cubicBezTo>
                  <a:close/>
                  <a:moveTo>
                    <a:pt x="1279684" y="290989"/>
                  </a:moveTo>
                  <a:cubicBezTo>
                    <a:pt x="1279684" y="289084"/>
                    <a:pt x="1279684" y="286226"/>
                    <a:pt x="1279684" y="284321"/>
                  </a:cubicBezTo>
                  <a:cubicBezTo>
                    <a:pt x="1280636" y="285274"/>
                    <a:pt x="1280636" y="286226"/>
                    <a:pt x="1281589" y="287179"/>
                  </a:cubicBezTo>
                  <a:cubicBezTo>
                    <a:pt x="1280636" y="289084"/>
                    <a:pt x="1279684" y="290036"/>
                    <a:pt x="1279684" y="290989"/>
                  </a:cubicBezTo>
                  <a:close/>
                  <a:moveTo>
                    <a:pt x="1298734" y="332899"/>
                  </a:moveTo>
                  <a:cubicBezTo>
                    <a:pt x="1298734" y="332899"/>
                    <a:pt x="1298734" y="332899"/>
                    <a:pt x="1298734" y="332899"/>
                  </a:cubicBezTo>
                  <a:cubicBezTo>
                    <a:pt x="1298734" y="331946"/>
                    <a:pt x="1298734" y="331946"/>
                    <a:pt x="1298734" y="330994"/>
                  </a:cubicBezTo>
                  <a:cubicBezTo>
                    <a:pt x="1298734" y="331946"/>
                    <a:pt x="1298734" y="332899"/>
                    <a:pt x="1298734" y="332899"/>
                  </a:cubicBezTo>
                  <a:close/>
                  <a:moveTo>
                    <a:pt x="1295876" y="278606"/>
                  </a:moveTo>
                  <a:cubicBezTo>
                    <a:pt x="1298734" y="285274"/>
                    <a:pt x="1301591" y="291941"/>
                    <a:pt x="1305401" y="299561"/>
                  </a:cubicBezTo>
                  <a:cubicBezTo>
                    <a:pt x="1305401" y="299561"/>
                    <a:pt x="1305401" y="299561"/>
                    <a:pt x="1305401" y="300514"/>
                  </a:cubicBezTo>
                  <a:cubicBezTo>
                    <a:pt x="1305401" y="301466"/>
                    <a:pt x="1305401" y="302419"/>
                    <a:pt x="1304449" y="303371"/>
                  </a:cubicBezTo>
                  <a:cubicBezTo>
                    <a:pt x="1303496" y="300514"/>
                    <a:pt x="1301591" y="298609"/>
                    <a:pt x="1300639" y="295751"/>
                  </a:cubicBezTo>
                  <a:cubicBezTo>
                    <a:pt x="1298734" y="291941"/>
                    <a:pt x="1296829" y="288131"/>
                    <a:pt x="1293971" y="284321"/>
                  </a:cubicBezTo>
                  <a:cubicBezTo>
                    <a:pt x="1294924" y="282416"/>
                    <a:pt x="1295876" y="280511"/>
                    <a:pt x="1295876" y="278606"/>
                  </a:cubicBezTo>
                  <a:close/>
                  <a:moveTo>
                    <a:pt x="1299686" y="328136"/>
                  </a:moveTo>
                  <a:cubicBezTo>
                    <a:pt x="1299686" y="329089"/>
                    <a:pt x="1299686" y="329089"/>
                    <a:pt x="1299686" y="330041"/>
                  </a:cubicBezTo>
                  <a:cubicBezTo>
                    <a:pt x="1299686" y="330041"/>
                    <a:pt x="1298734" y="330994"/>
                    <a:pt x="1298734" y="331946"/>
                  </a:cubicBezTo>
                  <a:cubicBezTo>
                    <a:pt x="1296829" y="329089"/>
                    <a:pt x="1294924" y="326231"/>
                    <a:pt x="1293019" y="324326"/>
                  </a:cubicBezTo>
                  <a:cubicBezTo>
                    <a:pt x="1292066" y="322421"/>
                    <a:pt x="1290161" y="320516"/>
                    <a:pt x="1289209" y="318611"/>
                  </a:cubicBezTo>
                  <a:cubicBezTo>
                    <a:pt x="1289209" y="318611"/>
                    <a:pt x="1289209" y="318611"/>
                    <a:pt x="1289209" y="318611"/>
                  </a:cubicBezTo>
                  <a:cubicBezTo>
                    <a:pt x="1289209" y="314801"/>
                    <a:pt x="1289209" y="311944"/>
                    <a:pt x="1289209" y="309086"/>
                  </a:cubicBezTo>
                  <a:cubicBezTo>
                    <a:pt x="1289209" y="308134"/>
                    <a:pt x="1290161" y="306229"/>
                    <a:pt x="1290161" y="305276"/>
                  </a:cubicBezTo>
                  <a:cubicBezTo>
                    <a:pt x="1293019" y="311944"/>
                    <a:pt x="1296829" y="319564"/>
                    <a:pt x="1299686" y="328136"/>
                  </a:cubicBezTo>
                  <a:close/>
                  <a:moveTo>
                    <a:pt x="1289209" y="263366"/>
                  </a:moveTo>
                  <a:cubicBezTo>
                    <a:pt x="1288256" y="265271"/>
                    <a:pt x="1288256" y="266224"/>
                    <a:pt x="1287304" y="268129"/>
                  </a:cubicBezTo>
                  <a:cubicBezTo>
                    <a:pt x="1287304" y="265271"/>
                    <a:pt x="1287304" y="262414"/>
                    <a:pt x="1287304" y="259556"/>
                  </a:cubicBezTo>
                  <a:cubicBezTo>
                    <a:pt x="1287304" y="260509"/>
                    <a:pt x="1288256" y="262414"/>
                    <a:pt x="1289209" y="263366"/>
                  </a:cubicBezTo>
                  <a:close/>
                  <a:moveTo>
                    <a:pt x="1276826" y="238601"/>
                  </a:moveTo>
                  <a:cubicBezTo>
                    <a:pt x="1277779" y="239554"/>
                    <a:pt x="1277779" y="240506"/>
                    <a:pt x="1278731" y="242411"/>
                  </a:cubicBezTo>
                  <a:cubicBezTo>
                    <a:pt x="1280636" y="246221"/>
                    <a:pt x="1283494" y="251936"/>
                    <a:pt x="1286351" y="257651"/>
                  </a:cubicBezTo>
                  <a:cubicBezTo>
                    <a:pt x="1286351" y="260509"/>
                    <a:pt x="1285399" y="263366"/>
                    <a:pt x="1285399" y="267176"/>
                  </a:cubicBezTo>
                  <a:cubicBezTo>
                    <a:pt x="1282541" y="263366"/>
                    <a:pt x="1280636" y="259556"/>
                    <a:pt x="1277779" y="255746"/>
                  </a:cubicBezTo>
                  <a:cubicBezTo>
                    <a:pt x="1277779" y="250031"/>
                    <a:pt x="1276826" y="245269"/>
                    <a:pt x="1276826" y="242411"/>
                  </a:cubicBezTo>
                  <a:cubicBezTo>
                    <a:pt x="1276826" y="241459"/>
                    <a:pt x="1276826" y="239554"/>
                    <a:pt x="1276826" y="238601"/>
                  </a:cubicBezTo>
                  <a:close/>
                  <a:moveTo>
                    <a:pt x="1273016" y="271939"/>
                  </a:moveTo>
                  <a:cubicBezTo>
                    <a:pt x="1273016" y="271939"/>
                    <a:pt x="1273969" y="272891"/>
                    <a:pt x="1273969" y="272891"/>
                  </a:cubicBezTo>
                  <a:cubicBezTo>
                    <a:pt x="1273969" y="278606"/>
                    <a:pt x="1273016" y="284321"/>
                    <a:pt x="1273016" y="291941"/>
                  </a:cubicBezTo>
                  <a:cubicBezTo>
                    <a:pt x="1272064" y="290989"/>
                    <a:pt x="1272064" y="289084"/>
                    <a:pt x="1271111" y="288131"/>
                  </a:cubicBezTo>
                  <a:cubicBezTo>
                    <a:pt x="1271111" y="282416"/>
                    <a:pt x="1272064" y="276701"/>
                    <a:pt x="1273016" y="271939"/>
                  </a:cubicBezTo>
                  <a:close/>
                  <a:moveTo>
                    <a:pt x="1240631" y="229076"/>
                  </a:moveTo>
                  <a:cubicBezTo>
                    <a:pt x="1241584" y="226219"/>
                    <a:pt x="1243489" y="223361"/>
                    <a:pt x="1244441" y="220504"/>
                  </a:cubicBezTo>
                  <a:cubicBezTo>
                    <a:pt x="1247299" y="226219"/>
                    <a:pt x="1251109" y="230981"/>
                    <a:pt x="1253966" y="237649"/>
                  </a:cubicBezTo>
                  <a:cubicBezTo>
                    <a:pt x="1257776" y="244316"/>
                    <a:pt x="1260634" y="250031"/>
                    <a:pt x="1264444" y="257651"/>
                  </a:cubicBezTo>
                  <a:cubicBezTo>
                    <a:pt x="1265396" y="259556"/>
                    <a:pt x="1267301" y="262414"/>
                    <a:pt x="1268254" y="264319"/>
                  </a:cubicBezTo>
                  <a:cubicBezTo>
                    <a:pt x="1266349" y="270986"/>
                    <a:pt x="1264444" y="277654"/>
                    <a:pt x="1262539" y="286226"/>
                  </a:cubicBezTo>
                  <a:cubicBezTo>
                    <a:pt x="1259681" y="283369"/>
                    <a:pt x="1257776" y="280511"/>
                    <a:pt x="1254919" y="277654"/>
                  </a:cubicBezTo>
                  <a:cubicBezTo>
                    <a:pt x="1250156" y="268129"/>
                    <a:pt x="1246346" y="259556"/>
                    <a:pt x="1241584" y="251936"/>
                  </a:cubicBezTo>
                  <a:cubicBezTo>
                    <a:pt x="1239679" y="249079"/>
                    <a:pt x="1237774" y="246221"/>
                    <a:pt x="1235869" y="243364"/>
                  </a:cubicBezTo>
                  <a:cubicBezTo>
                    <a:pt x="1235869" y="243364"/>
                    <a:pt x="1235869" y="242411"/>
                    <a:pt x="1235869" y="242411"/>
                  </a:cubicBezTo>
                  <a:cubicBezTo>
                    <a:pt x="1237774" y="236696"/>
                    <a:pt x="1239679" y="232886"/>
                    <a:pt x="1240631" y="229076"/>
                  </a:cubicBezTo>
                  <a:close/>
                  <a:moveTo>
                    <a:pt x="1228249" y="304324"/>
                  </a:moveTo>
                  <a:cubicBezTo>
                    <a:pt x="1228249" y="298609"/>
                    <a:pt x="1227296" y="292894"/>
                    <a:pt x="1227296" y="288131"/>
                  </a:cubicBezTo>
                  <a:lnTo>
                    <a:pt x="1227296" y="281464"/>
                  </a:lnTo>
                  <a:cubicBezTo>
                    <a:pt x="1227296" y="280511"/>
                    <a:pt x="1228249" y="280511"/>
                    <a:pt x="1228249" y="279559"/>
                  </a:cubicBezTo>
                  <a:cubicBezTo>
                    <a:pt x="1228249" y="279559"/>
                    <a:pt x="1228249" y="278606"/>
                    <a:pt x="1228249" y="278606"/>
                  </a:cubicBezTo>
                  <a:cubicBezTo>
                    <a:pt x="1228249" y="278606"/>
                    <a:pt x="1229201" y="279559"/>
                    <a:pt x="1229201" y="279559"/>
                  </a:cubicBezTo>
                  <a:cubicBezTo>
                    <a:pt x="1230154" y="280511"/>
                    <a:pt x="1230154" y="282416"/>
                    <a:pt x="1231106" y="284321"/>
                  </a:cubicBezTo>
                  <a:cubicBezTo>
                    <a:pt x="1230154" y="290036"/>
                    <a:pt x="1229201" y="296704"/>
                    <a:pt x="1228249" y="304324"/>
                  </a:cubicBezTo>
                  <a:close/>
                  <a:moveTo>
                    <a:pt x="1232059" y="280511"/>
                  </a:moveTo>
                  <a:cubicBezTo>
                    <a:pt x="1232059" y="279559"/>
                    <a:pt x="1232059" y="279559"/>
                    <a:pt x="1232059" y="278606"/>
                  </a:cubicBezTo>
                  <a:cubicBezTo>
                    <a:pt x="1232059" y="277654"/>
                    <a:pt x="1231106" y="276701"/>
                    <a:pt x="1230154" y="275749"/>
                  </a:cubicBezTo>
                  <a:cubicBezTo>
                    <a:pt x="1229201" y="275749"/>
                    <a:pt x="1228249" y="274796"/>
                    <a:pt x="1227296" y="275749"/>
                  </a:cubicBezTo>
                  <a:cubicBezTo>
                    <a:pt x="1227296" y="275749"/>
                    <a:pt x="1227296" y="275749"/>
                    <a:pt x="1226344" y="275749"/>
                  </a:cubicBezTo>
                  <a:lnTo>
                    <a:pt x="1226344" y="269081"/>
                  </a:lnTo>
                  <a:cubicBezTo>
                    <a:pt x="1227296" y="270034"/>
                    <a:pt x="1228249" y="270986"/>
                    <a:pt x="1230154" y="272891"/>
                  </a:cubicBezTo>
                  <a:cubicBezTo>
                    <a:pt x="1231106" y="273844"/>
                    <a:pt x="1232059" y="274796"/>
                    <a:pt x="1233011" y="276701"/>
                  </a:cubicBezTo>
                  <a:cubicBezTo>
                    <a:pt x="1232059" y="278606"/>
                    <a:pt x="1232059" y="279559"/>
                    <a:pt x="1232059" y="280511"/>
                  </a:cubicBezTo>
                  <a:close/>
                  <a:moveTo>
                    <a:pt x="1230154" y="221456"/>
                  </a:moveTo>
                  <a:cubicBezTo>
                    <a:pt x="1232059" y="225266"/>
                    <a:pt x="1233011" y="229076"/>
                    <a:pt x="1233964" y="233839"/>
                  </a:cubicBezTo>
                  <a:cubicBezTo>
                    <a:pt x="1233964" y="233839"/>
                    <a:pt x="1233964" y="233839"/>
                    <a:pt x="1233964" y="233839"/>
                  </a:cubicBezTo>
                  <a:cubicBezTo>
                    <a:pt x="1233964" y="232886"/>
                    <a:pt x="1233011" y="230981"/>
                    <a:pt x="1233011" y="230029"/>
                  </a:cubicBezTo>
                  <a:cubicBezTo>
                    <a:pt x="1231106" y="226219"/>
                    <a:pt x="1230154" y="223361"/>
                    <a:pt x="1230154" y="221456"/>
                  </a:cubicBezTo>
                  <a:cubicBezTo>
                    <a:pt x="1229201" y="220504"/>
                    <a:pt x="1229201" y="220504"/>
                    <a:pt x="1230154" y="221456"/>
                  </a:cubicBezTo>
                  <a:close/>
                  <a:moveTo>
                    <a:pt x="1229201" y="257651"/>
                  </a:moveTo>
                  <a:cubicBezTo>
                    <a:pt x="1229201" y="257651"/>
                    <a:pt x="1229201" y="257651"/>
                    <a:pt x="1229201" y="257651"/>
                  </a:cubicBezTo>
                  <a:cubicBezTo>
                    <a:pt x="1229201" y="258604"/>
                    <a:pt x="1230154" y="258604"/>
                    <a:pt x="1230154" y="259556"/>
                  </a:cubicBezTo>
                  <a:cubicBezTo>
                    <a:pt x="1230154" y="260509"/>
                    <a:pt x="1230154" y="261461"/>
                    <a:pt x="1230154" y="262414"/>
                  </a:cubicBezTo>
                  <a:cubicBezTo>
                    <a:pt x="1231106" y="266224"/>
                    <a:pt x="1231106" y="270986"/>
                    <a:pt x="1232059" y="274796"/>
                  </a:cubicBezTo>
                  <a:cubicBezTo>
                    <a:pt x="1232059" y="274796"/>
                    <a:pt x="1232059" y="274796"/>
                    <a:pt x="1232059" y="274796"/>
                  </a:cubicBezTo>
                  <a:cubicBezTo>
                    <a:pt x="1231106" y="273844"/>
                    <a:pt x="1230154" y="272891"/>
                    <a:pt x="1229201" y="272891"/>
                  </a:cubicBezTo>
                  <a:cubicBezTo>
                    <a:pt x="1227296" y="270986"/>
                    <a:pt x="1225391" y="270034"/>
                    <a:pt x="1225391" y="269081"/>
                  </a:cubicBezTo>
                  <a:lnTo>
                    <a:pt x="1225391" y="265271"/>
                  </a:lnTo>
                  <a:cubicBezTo>
                    <a:pt x="1227296" y="263366"/>
                    <a:pt x="1228249" y="260509"/>
                    <a:pt x="1229201" y="257651"/>
                  </a:cubicBezTo>
                  <a:close/>
                  <a:moveTo>
                    <a:pt x="1226344" y="235744"/>
                  </a:moveTo>
                  <a:cubicBezTo>
                    <a:pt x="1227296" y="238601"/>
                    <a:pt x="1227296" y="241459"/>
                    <a:pt x="1228249" y="244316"/>
                  </a:cubicBezTo>
                  <a:cubicBezTo>
                    <a:pt x="1228249" y="245269"/>
                    <a:pt x="1227296" y="246221"/>
                    <a:pt x="1227296" y="246221"/>
                  </a:cubicBezTo>
                  <a:cubicBezTo>
                    <a:pt x="1226344" y="245269"/>
                    <a:pt x="1226344" y="245269"/>
                    <a:pt x="1225391" y="244316"/>
                  </a:cubicBezTo>
                  <a:lnTo>
                    <a:pt x="1225391" y="231934"/>
                  </a:lnTo>
                  <a:cubicBezTo>
                    <a:pt x="1225391" y="233839"/>
                    <a:pt x="1225391" y="234791"/>
                    <a:pt x="1226344" y="235744"/>
                  </a:cubicBezTo>
                  <a:close/>
                  <a:moveTo>
                    <a:pt x="1197769" y="293846"/>
                  </a:moveTo>
                  <a:cubicBezTo>
                    <a:pt x="1197769" y="292894"/>
                    <a:pt x="1198721" y="290989"/>
                    <a:pt x="1198721" y="290036"/>
                  </a:cubicBezTo>
                  <a:cubicBezTo>
                    <a:pt x="1198721" y="290989"/>
                    <a:pt x="1198721" y="290989"/>
                    <a:pt x="1198721" y="291941"/>
                  </a:cubicBezTo>
                  <a:cubicBezTo>
                    <a:pt x="1198721" y="293846"/>
                    <a:pt x="1199674" y="296704"/>
                    <a:pt x="1199674" y="299561"/>
                  </a:cubicBezTo>
                  <a:cubicBezTo>
                    <a:pt x="1198721" y="301466"/>
                    <a:pt x="1197769" y="304324"/>
                    <a:pt x="1196816" y="307181"/>
                  </a:cubicBezTo>
                  <a:cubicBezTo>
                    <a:pt x="1195864" y="304324"/>
                    <a:pt x="1195864" y="301466"/>
                    <a:pt x="1194911" y="299561"/>
                  </a:cubicBezTo>
                  <a:cubicBezTo>
                    <a:pt x="1195864" y="297656"/>
                    <a:pt x="1196816" y="295751"/>
                    <a:pt x="1197769" y="293846"/>
                  </a:cubicBezTo>
                  <a:close/>
                  <a:moveTo>
                    <a:pt x="1196816" y="459581"/>
                  </a:moveTo>
                  <a:lnTo>
                    <a:pt x="1196816" y="459581"/>
                  </a:lnTo>
                  <a:cubicBezTo>
                    <a:pt x="1195864" y="458629"/>
                    <a:pt x="1195864" y="457676"/>
                    <a:pt x="1195864" y="455771"/>
                  </a:cubicBezTo>
                  <a:cubicBezTo>
                    <a:pt x="1195864" y="456724"/>
                    <a:pt x="1195864" y="457676"/>
                    <a:pt x="1196816" y="459581"/>
                  </a:cubicBezTo>
                  <a:close/>
                  <a:moveTo>
                    <a:pt x="1190149" y="324326"/>
                  </a:moveTo>
                  <a:cubicBezTo>
                    <a:pt x="1190149" y="325279"/>
                    <a:pt x="1190149" y="325279"/>
                    <a:pt x="1190149" y="324326"/>
                  </a:cubicBezTo>
                  <a:cubicBezTo>
                    <a:pt x="1190149" y="323374"/>
                    <a:pt x="1190149" y="321469"/>
                    <a:pt x="1189196" y="320516"/>
                  </a:cubicBezTo>
                  <a:cubicBezTo>
                    <a:pt x="1190149" y="322421"/>
                    <a:pt x="1190149" y="323374"/>
                    <a:pt x="1190149" y="324326"/>
                  </a:cubicBezTo>
                  <a:close/>
                  <a:moveTo>
                    <a:pt x="1170146" y="270986"/>
                  </a:moveTo>
                  <a:cubicBezTo>
                    <a:pt x="1170146" y="270034"/>
                    <a:pt x="1170146" y="269081"/>
                    <a:pt x="1170146" y="268129"/>
                  </a:cubicBezTo>
                  <a:cubicBezTo>
                    <a:pt x="1170146" y="267176"/>
                    <a:pt x="1170146" y="265271"/>
                    <a:pt x="1170146" y="264319"/>
                  </a:cubicBezTo>
                  <a:cubicBezTo>
                    <a:pt x="1171099" y="253841"/>
                    <a:pt x="1172051" y="244316"/>
                    <a:pt x="1172051" y="235744"/>
                  </a:cubicBezTo>
                  <a:cubicBezTo>
                    <a:pt x="1173004" y="238601"/>
                    <a:pt x="1173956" y="241459"/>
                    <a:pt x="1174909" y="245269"/>
                  </a:cubicBezTo>
                  <a:cubicBezTo>
                    <a:pt x="1174909" y="249079"/>
                    <a:pt x="1175861" y="253841"/>
                    <a:pt x="1176814" y="260509"/>
                  </a:cubicBezTo>
                  <a:cubicBezTo>
                    <a:pt x="1177766" y="267176"/>
                    <a:pt x="1177766" y="275749"/>
                    <a:pt x="1177766" y="285274"/>
                  </a:cubicBezTo>
                  <a:cubicBezTo>
                    <a:pt x="1178719" y="291941"/>
                    <a:pt x="1177766" y="300514"/>
                    <a:pt x="1177766" y="308134"/>
                  </a:cubicBezTo>
                  <a:cubicBezTo>
                    <a:pt x="1177766" y="307181"/>
                    <a:pt x="1176814" y="306229"/>
                    <a:pt x="1176814" y="305276"/>
                  </a:cubicBezTo>
                  <a:cubicBezTo>
                    <a:pt x="1173956" y="298609"/>
                    <a:pt x="1171099" y="292894"/>
                    <a:pt x="1168241" y="287179"/>
                  </a:cubicBezTo>
                  <a:cubicBezTo>
                    <a:pt x="1169194" y="282416"/>
                    <a:pt x="1170146" y="275749"/>
                    <a:pt x="1170146" y="270986"/>
                  </a:cubicBezTo>
                  <a:close/>
                  <a:moveTo>
                    <a:pt x="1170146" y="309086"/>
                  </a:moveTo>
                  <a:cubicBezTo>
                    <a:pt x="1171099" y="312896"/>
                    <a:pt x="1173004" y="317659"/>
                    <a:pt x="1173956" y="321469"/>
                  </a:cubicBezTo>
                  <a:cubicBezTo>
                    <a:pt x="1173004" y="323374"/>
                    <a:pt x="1173004" y="325279"/>
                    <a:pt x="1172051" y="327184"/>
                  </a:cubicBezTo>
                  <a:cubicBezTo>
                    <a:pt x="1171099" y="325279"/>
                    <a:pt x="1171099" y="324326"/>
                    <a:pt x="1170146" y="322421"/>
                  </a:cubicBezTo>
                  <a:cubicBezTo>
                    <a:pt x="1170146" y="321469"/>
                    <a:pt x="1170146" y="319564"/>
                    <a:pt x="1170146" y="318611"/>
                  </a:cubicBezTo>
                  <a:cubicBezTo>
                    <a:pt x="1169194" y="313849"/>
                    <a:pt x="1169194" y="308134"/>
                    <a:pt x="1168241" y="303371"/>
                  </a:cubicBezTo>
                  <a:cubicBezTo>
                    <a:pt x="1168241" y="305276"/>
                    <a:pt x="1169194" y="307181"/>
                    <a:pt x="1170146" y="309086"/>
                  </a:cubicBezTo>
                  <a:close/>
                  <a:moveTo>
                    <a:pt x="1164431" y="236696"/>
                  </a:moveTo>
                  <a:cubicBezTo>
                    <a:pt x="1163479" y="242411"/>
                    <a:pt x="1162526" y="248126"/>
                    <a:pt x="1161574" y="253841"/>
                  </a:cubicBezTo>
                  <a:cubicBezTo>
                    <a:pt x="1161574" y="252889"/>
                    <a:pt x="1161574" y="252889"/>
                    <a:pt x="1161574" y="251936"/>
                  </a:cubicBezTo>
                  <a:cubicBezTo>
                    <a:pt x="1161574" y="251936"/>
                    <a:pt x="1161574" y="250984"/>
                    <a:pt x="1161574" y="250984"/>
                  </a:cubicBezTo>
                  <a:cubicBezTo>
                    <a:pt x="1162526" y="245269"/>
                    <a:pt x="1163479" y="240506"/>
                    <a:pt x="1164431" y="236696"/>
                  </a:cubicBezTo>
                  <a:close/>
                  <a:moveTo>
                    <a:pt x="1140619" y="290036"/>
                  </a:moveTo>
                  <a:cubicBezTo>
                    <a:pt x="1140619" y="290989"/>
                    <a:pt x="1139666" y="290989"/>
                    <a:pt x="1139666" y="291941"/>
                  </a:cubicBezTo>
                  <a:cubicBezTo>
                    <a:pt x="1138714" y="289084"/>
                    <a:pt x="1138714" y="286226"/>
                    <a:pt x="1137761" y="283369"/>
                  </a:cubicBezTo>
                  <a:cubicBezTo>
                    <a:pt x="1138714" y="286226"/>
                    <a:pt x="1139666" y="288131"/>
                    <a:pt x="1140619" y="290036"/>
                  </a:cubicBezTo>
                  <a:close/>
                  <a:moveTo>
                    <a:pt x="1114901" y="339566"/>
                  </a:moveTo>
                  <a:cubicBezTo>
                    <a:pt x="1115854" y="331946"/>
                    <a:pt x="1116806" y="323374"/>
                    <a:pt x="1117759" y="315754"/>
                  </a:cubicBezTo>
                  <a:cubicBezTo>
                    <a:pt x="1118711" y="318611"/>
                    <a:pt x="1118711" y="321469"/>
                    <a:pt x="1119664" y="325279"/>
                  </a:cubicBezTo>
                  <a:cubicBezTo>
                    <a:pt x="1120616" y="328136"/>
                    <a:pt x="1120616" y="331946"/>
                    <a:pt x="1121569" y="334804"/>
                  </a:cubicBezTo>
                  <a:cubicBezTo>
                    <a:pt x="1121569" y="336709"/>
                    <a:pt x="1120616" y="338614"/>
                    <a:pt x="1120616" y="341471"/>
                  </a:cubicBezTo>
                  <a:cubicBezTo>
                    <a:pt x="1120616" y="341471"/>
                    <a:pt x="1120616" y="341471"/>
                    <a:pt x="1120616" y="342424"/>
                  </a:cubicBezTo>
                  <a:cubicBezTo>
                    <a:pt x="1119664" y="344329"/>
                    <a:pt x="1118711" y="346234"/>
                    <a:pt x="1118711" y="348139"/>
                  </a:cubicBezTo>
                  <a:cubicBezTo>
                    <a:pt x="1117759" y="345281"/>
                    <a:pt x="1115854" y="343376"/>
                    <a:pt x="1114901" y="341471"/>
                  </a:cubicBezTo>
                  <a:cubicBezTo>
                    <a:pt x="1114901" y="340519"/>
                    <a:pt x="1114901" y="339566"/>
                    <a:pt x="1114901" y="339566"/>
                  </a:cubicBezTo>
                  <a:close/>
                  <a:moveTo>
                    <a:pt x="1111091" y="219551"/>
                  </a:moveTo>
                  <a:cubicBezTo>
                    <a:pt x="1111091" y="220504"/>
                    <a:pt x="1112044" y="221456"/>
                    <a:pt x="1112044" y="222409"/>
                  </a:cubicBezTo>
                  <a:cubicBezTo>
                    <a:pt x="1112044" y="225266"/>
                    <a:pt x="1112996" y="228124"/>
                    <a:pt x="1112996" y="230029"/>
                  </a:cubicBezTo>
                  <a:cubicBezTo>
                    <a:pt x="1112996" y="230029"/>
                    <a:pt x="1112996" y="230029"/>
                    <a:pt x="1112996" y="230029"/>
                  </a:cubicBezTo>
                  <a:cubicBezTo>
                    <a:pt x="1112996" y="226219"/>
                    <a:pt x="1112044" y="223361"/>
                    <a:pt x="1111091" y="219551"/>
                  </a:cubicBezTo>
                  <a:cubicBezTo>
                    <a:pt x="1111091" y="220504"/>
                    <a:pt x="1111091" y="219551"/>
                    <a:pt x="1111091" y="219551"/>
                  </a:cubicBezTo>
                  <a:close/>
                  <a:moveTo>
                    <a:pt x="1110139" y="217646"/>
                  </a:moveTo>
                  <a:cubicBezTo>
                    <a:pt x="1110139" y="217646"/>
                    <a:pt x="1110139" y="217646"/>
                    <a:pt x="1110139" y="217646"/>
                  </a:cubicBezTo>
                  <a:cubicBezTo>
                    <a:pt x="1110139" y="217646"/>
                    <a:pt x="1109186" y="216694"/>
                    <a:pt x="1109186" y="215741"/>
                  </a:cubicBezTo>
                  <a:cubicBezTo>
                    <a:pt x="1110139" y="216694"/>
                    <a:pt x="1110139" y="216694"/>
                    <a:pt x="1110139" y="217646"/>
                  </a:cubicBezTo>
                  <a:close/>
                  <a:moveTo>
                    <a:pt x="1101566" y="236696"/>
                  </a:moveTo>
                  <a:cubicBezTo>
                    <a:pt x="1104424" y="248126"/>
                    <a:pt x="1107281" y="262414"/>
                    <a:pt x="1111091" y="278606"/>
                  </a:cubicBezTo>
                  <a:cubicBezTo>
                    <a:pt x="1110139" y="283369"/>
                    <a:pt x="1109186" y="289084"/>
                    <a:pt x="1109186" y="293846"/>
                  </a:cubicBezTo>
                  <a:cubicBezTo>
                    <a:pt x="1108234" y="298609"/>
                    <a:pt x="1107281" y="304324"/>
                    <a:pt x="1106329" y="309086"/>
                  </a:cubicBezTo>
                  <a:cubicBezTo>
                    <a:pt x="1106329" y="309086"/>
                    <a:pt x="1106329" y="309086"/>
                    <a:pt x="1106329" y="308134"/>
                  </a:cubicBezTo>
                  <a:cubicBezTo>
                    <a:pt x="1105376" y="300514"/>
                    <a:pt x="1105376" y="295751"/>
                    <a:pt x="1105376" y="295751"/>
                  </a:cubicBezTo>
                  <a:cubicBezTo>
                    <a:pt x="1105376" y="295751"/>
                    <a:pt x="1105376" y="297656"/>
                    <a:pt x="1105376" y="300514"/>
                  </a:cubicBezTo>
                  <a:cubicBezTo>
                    <a:pt x="1103471" y="290989"/>
                    <a:pt x="1101566" y="282416"/>
                    <a:pt x="1099661" y="272891"/>
                  </a:cubicBezTo>
                  <a:cubicBezTo>
                    <a:pt x="1097756" y="265271"/>
                    <a:pt x="1096804" y="256699"/>
                    <a:pt x="1094899" y="249079"/>
                  </a:cubicBezTo>
                  <a:cubicBezTo>
                    <a:pt x="1096804" y="244316"/>
                    <a:pt x="1098709" y="240506"/>
                    <a:pt x="1101566" y="236696"/>
                  </a:cubicBezTo>
                  <a:close/>
                  <a:moveTo>
                    <a:pt x="1027271" y="325279"/>
                  </a:moveTo>
                  <a:cubicBezTo>
                    <a:pt x="1028224" y="319564"/>
                    <a:pt x="1029176" y="314801"/>
                    <a:pt x="1030129" y="310991"/>
                  </a:cubicBezTo>
                  <a:cubicBezTo>
                    <a:pt x="1031081" y="306229"/>
                    <a:pt x="1032986" y="301466"/>
                    <a:pt x="1034891" y="297656"/>
                  </a:cubicBezTo>
                  <a:cubicBezTo>
                    <a:pt x="1035844" y="293846"/>
                    <a:pt x="1037749" y="290989"/>
                    <a:pt x="1039654" y="288131"/>
                  </a:cubicBezTo>
                  <a:cubicBezTo>
                    <a:pt x="1040606" y="291941"/>
                    <a:pt x="1041559" y="295751"/>
                    <a:pt x="1042511" y="299561"/>
                  </a:cubicBezTo>
                  <a:cubicBezTo>
                    <a:pt x="1041559" y="301466"/>
                    <a:pt x="1040606" y="303371"/>
                    <a:pt x="1039654" y="305276"/>
                  </a:cubicBezTo>
                  <a:cubicBezTo>
                    <a:pt x="1034891" y="313849"/>
                    <a:pt x="1031081" y="322421"/>
                    <a:pt x="1028224" y="330994"/>
                  </a:cubicBezTo>
                  <a:cubicBezTo>
                    <a:pt x="1028224" y="329089"/>
                    <a:pt x="1028224" y="327184"/>
                    <a:pt x="1027271" y="325279"/>
                  </a:cubicBezTo>
                  <a:close/>
                  <a:moveTo>
                    <a:pt x="1040606" y="374809"/>
                  </a:moveTo>
                  <a:cubicBezTo>
                    <a:pt x="1040606" y="373856"/>
                    <a:pt x="1039654" y="371951"/>
                    <a:pt x="1039654" y="370999"/>
                  </a:cubicBezTo>
                  <a:cubicBezTo>
                    <a:pt x="1041559" y="366236"/>
                    <a:pt x="1043464" y="360521"/>
                    <a:pt x="1045369" y="355759"/>
                  </a:cubicBezTo>
                  <a:cubicBezTo>
                    <a:pt x="1046321" y="358616"/>
                    <a:pt x="1047274" y="361474"/>
                    <a:pt x="1047274" y="364331"/>
                  </a:cubicBezTo>
                  <a:cubicBezTo>
                    <a:pt x="1047274" y="371951"/>
                    <a:pt x="1047274" y="378619"/>
                    <a:pt x="1048226" y="386239"/>
                  </a:cubicBezTo>
                  <a:cubicBezTo>
                    <a:pt x="1046321" y="385286"/>
                    <a:pt x="1045369" y="384334"/>
                    <a:pt x="1044416" y="384334"/>
                  </a:cubicBezTo>
                  <a:cubicBezTo>
                    <a:pt x="1042511" y="381476"/>
                    <a:pt x="1041559" y="377666"/>
                    <a:pt x="1040606" y="374809"/>
                  </a:cubicBezTo>
                  <a:close/>
                  <a:moveTo>
                    <a:pt x="1046321" y="389096"/>
                  </a:moveTo>
                  <a:cubicBezTo>
                    <a:pt x="1047274" y="390049"/>
                    <a:pt x="1047274" y="390049"/>
                    <a:pt x="1048226" y="391001"/>
                  </a:cubicBezTo>
                  <a:cubicBezTo>
                    <a:pt x="1048226" y="391954"/>
                    <a:pt x="1048226" y="391954"/>
                    <a:pt x="1048226" y="392906"/>
                  </a:cubicBezTo>
                  <a:cubicBezTo>
                    <a:pt x="1047274" y="391954"/>
                    <a:pt x="1046321" y="390049"/>
                    <a:pt x="1046321" y="389096"/>
                  </a:cubicBezTo>
                  <a:close/>
                  <a:moveTo>
                    <a:pt x="1056799" y="292894"/>
                  </a:moveTo>
                  <a:cubicBezTo>
                    <a:pt x="1057751" y="289084"/>
                    <a:pt x="1059656" y="286226"/>
                    <a:pt x="1061561" y="282416"/>
                  </a:cubicBezTo>
                  <a:cubicBezTo>
                    <a:pt x="1063466" y="278606"/>
                    <a:pt x="1064419" y="274796"/>
                    <a:pt x="1066324" y="271939"/>
                  </a:cubicBezTo>
                  <a:cubicBezTo>
                    <a:pt x="1066324" y="272891"/>
                    <a:pt x="1066324" y="272891"/>
                    <a:pt x="1066324" y="273844"/>
                  </a:cubicBezTo>
                  <a:cubicBezTo>
                    <a:pt x="1066324" y="275749"/>
                    <a:pt x="1067276" y="276701"/>
                    <a:pt x="1067276" y="278606"/>
                  </a:cubicBezTo>
                  <a:cubicBezTo>
                    <a:pt x="1066324" y="280511"/>
                    <a:pt x="1064419" y="282416"/>
                    <a:pt x="1063466" y="285274"/>
                  </a:cubicBezTo>
                  <a:cubicBezTo>
                    <a:pt x="1061561" y="288131"/>
                    <a:pt x="1059656" y="291941"/>
                    <a:pt x="1057751" y="295751"/>
                  </a:cubicBezTo>
                  <a:cubicBezTo>
                    <a:pt x="1057751" y="294799"/>
                    <a:pt x="1056799" y="293846"/>
                    <a:pt x="1056799" y="292894"/>
                  </a:cubicBezTo>
                  <a:close/>
                  <a:moveTo>
                    <a:pt x="1059656" y="360521"/>
                  </a:moveTo>
                  <a:cubicBezTo>
                    <a:pt x="1059656" y="360521"/>
                    <a:pt x="1059656" y="359569"/>
                    <a:pt x="1059656" y="360521"/>
                  </a:cubicBezTo>
                  <a:cubicBezTo>
                    <a:pt x="1059656" y="359569"/>
                    <a:pt x="1059656" y="360521"/>
                    <a:pt x="1059656" y="360521"/>
                  </a:cubicBezTo>
                  <a:cubicBezTo>
                    <a:pt x="1059656" y="360521"/>
                    <a:pt x="1059656" y="360521"/>
                    <a:pt x="1059656" y="360521"/>
                  </a:cubicBezTo>
                  <a:close/>
                  <a:moveTo>
                    <a:pt x="1064419" y="383381"/>
                  </a:moveTo>
                  <a:cubicBezTo>
                    <a:pt x="1063466" y="381476"/>
                    <a:pt x="1063466" y="380524"/>
                    <a:pt x="1062514" y="379571"/>
                  </a:cubicBezTo>
                  <a:cubicBezTo>
                    <a:pt x="1062514" y="377666"/>
                    <a:pt x="1062514" y="376714"/>
                    <a:pt x="1063466" y="374809"/>
                  </a:cubicBezTo>
                  <a:cubicBezTo>
                    <a:pt x="1063466" y="375761"/>
                    <a:pt x="1064419" y="377666"/>
                    <a:pt x="1064419" y="378619"/>
                  </a:cubicBezTo>
                  <a:cubicBezTo>
                    <a:pt x="1064419" y="379571"/>
                    <a:pt x="1064419" y="379571"/>
                    <a:pt x="1064419" y="380524"/>
                  </a:cubicBezTo>
                  <a:cubicBezTo>
                    <a:pt x="1064419" y="382429"/>
                    <a:pt x="1065371" y="384334"/>
                    <a:pt x="1065371" y="386239"/>
                  </a:cubicBezTo>
                  <a:cubicBezTo>
                    <a:pt x="1065371" y="385286"/>
                    <a:pt x="1065371" y="384334"/>
                    <a:pt x="1064419" y="383381"/>
                  </a:cubicBezTo>
                  <a:close/>
                  <a:moveTo>
                    <a:pt x="1069181" y="330994"/>
                  </a:moveTo>
                  <a:cubicBezTo>
                    <a:pt x="1067276" y="325279"/>
                    <a:pt x="1065371" y="318611"/>
                    <a:pt x="1063466" y="312896"/>
                  </a:cubicBezTo>
                  <a:cubicBezTo>
                    <a:pt x="1065371" y="309086"/>
                    <a:pt x="1067276" y="304324"/>
                    <a:pt x="1069181" y="300514"/>
                  </a:cubicBezTo>
                  <a:cubicBezTo>
                    <a:pt x="1070134" y="308134"/>
                    <a:pt x="1069181" y="316706"/>
                    <a:pt x="1070134" y="326231"/>
                  </a:cubicBezTo>
                  <a:cubicBezTo>
                    <a:pt x="1069181" y="328136"/>
                    <a:pt x="1069181" y="329089"/>
                    <a:pt x="1069181" y="330994"/>
                  </a:cubicBezTo>
                  <a:close/>
                  <a:moveTo>
                    <a:pt x="1077754" y="262414"/>
                  </a:moveTo>
                  <a:cubicBezTo>
                    <a:pt x="1076801" y="263366"/>
                    <a:pt x="1076801" y="264319"/>
                    <a:pt x="1075849" y="264319"/>
                  </a:cubicBezTo>
                  <a:cubicBezTo>
                    <a:pt x="1074896" y="261461"/>
                    <a:pt x="1074896" y="259556"/>
                    <a:pt x="1073944" y="256699"/>
                  </a:cubicBezTo>
                  <a:lnTo>
                    <a:pt x="1074896" y="256699"/>
                  </a:lnTo>
                  <a:lnTo>
                    <a:pt x="1075849" y="256699"/>
                  </a:lnTo>
                  <a:cubicBezTo>
                    <a:pt x="1076801" y="259556"/>
                    <a:pt x="1077754" y="260509"/>
                    <a:pt x="1077754" y="262414"/>
                  </a:cubicBezTo>
                  <a:close/>
                  <a:moveTo>
                    <a:pt x="1045369" y="175736"/>
                  </a:moveTo>
                  <a:cubicBezTo>
                    <a:pt x="1048226" y="168116"/>
                    <a:pt x="1052036" y="160496"/>
                    <a:pt x="1054894" y="153829"/>
                  </a:cubicBezTo>
                  <a:cubicBezTo>
                    <a:pt x="1054894" y="154781"/>
                    <a:pt x="1054894" y="154781"/>
                    <a:pt x="1055846" y="155734"/>
                  </a:cubicBezTo>
                  <a:cubicBezTo>
                    <a:pt x="1056799" y="160496"/>
                    <a:pt x="1058704" y="166211"/>
                    <a:pt x="1059656" y="171926"/>
                  </a:cubicBezTo>
                  <a:cubicBezTo>
                    <a:pt x="1061561" y="178594"/>
                    <a:pt x="1063466" y="186214"/>
                    <a:pt x="1064419" y="193834"/>
                  </a:cubicBezTo>
                  <a:cubicBezTo>
                    <a:pt x="1066324" y="201454"/>
                    <a:pt x="1067276" y="208121"/>
                    <a:pt x="1069181" y="215741"/>
                  </a:cubicBezTo>
                  <a:cubicBezTo>
                    <a:pt x="1072039" y="228124"/>
                    <a:pt x="1073944" y="241459"/>
                    <a:pt x="1076801" y="253841"/>
                  </a:cubicBezTo>
                  <a:cubicBezTo>
                    <a:pt x="1075849" y="253841"/>
                    <a:pt x="1074896" y="252889"/>
                    <a:pt x="1074896" y="252889"/>
                  </a:cubicBezTo>
                  <a:cubicBezTo>
                    <a:pt x="1070134" y="230981"/>
                    <a:pt x="1067276" y="216694"/>
                    <a:pt x="1067276" y="216694"/>
                  </a:cubicBezTo>
                  <a:cubicBezTo>
                    <a:pt x="1067276" y="216694"/>
                    <a:pt x="1067276" y="232886"/>
                    <a:pt x="1068229" y="257651"/>
                  </a:cubicBezTo>
                  <a:cubicBezTo>
                    <a:pt x="1068229" y="258604"/>
                    <a:pt x="1067276" y="258604"/>
                    <a:pt x="1067276" y="259556"/>
                  </a:cubicBezTo>
                  <a:cubicBezTo>
                    <a:pt x="1065371" y="255746"/>
                    <a:pt x="1065371" y="252889"/>
                    <a:pt x="1065371" y="252889"/>
                  </a:cubicBezTo>
                  <a:cubicBezTo>
                    <a:pt x="1065371" y="252889"/>
                    <a:pt x="1065371" y="255746"/>
                    <a:pt x="1066324" y="261461"/>
                  </a:cubicBezTo>
                  <a:cubicBezTo>
                    <a:pt x="1062514" y="267176"/>
                    <a:pt x="1058704" y="272891"/>
                    <a:pt x="1055846" y="278606"/>
                  </a:cubicBezTo>
                  <a:cubicBezTo>
                    <a:pt x="1055846" y="279559"/>
                    <a:pt x="1054894" y="279559"/>
                    <a:pt x="1054894" y="280511"/>
                  </a:cubicBezTo>
                  <a:cubicBezTo>
                    <a:pt x="1054894" y="279559"/>
                    <a:pt x="1053941" y="278606"/>
                    <a:pt x="1053941" y="277654"/>
                  </a:cubicBezTo>
                  <a:cubicBezTo>
                    <a:pt x="1050131" y="266224"/>
                    <a:pt x="1046321" y="254794"/>
                    <a:pt x="1043464" y="245269"/>
                  </a:cubicBezTo>
                  <a:cubicBezTo>
                    <a:pt x="1040606" y="235744"/>
                    <a:pt x="1037749" y="227171"/>
                    <a:pt x="1035844" y="220504"/>
                  </a:cubicBezTo>
                  <a:cubicBezTo>
                    <a:pt x="1033939" y="215741"/>
                    <a:pt x="1032986" y="211931"/>
                    <a:pt x="1032034" y="209074"/>
                  </a:cubicBezTo>
                  <a:cubicBezTo>
                    <a:pt x="1034891" y="196691"/>
                    <a:pt x="1040606" y="186214"/>
                    <a:pt x="1045369" y="175736"/>
                  </a:cubicBezTo>
                  <a:close/>
                  <a:moveTo>
                    <a:pt x="1019651" y="267176"/>
                  </a:moveTo>
                  <a:cubicBezTo>
                    <a:pt x="1020604" y="251936"/>
                    <a:pt x="1022509" y="236696"/>
                    <a:pt x="1023461" y="221456"/>
                  </a:cubicBezTo>
                  <a:cubicBezTo>
                    <a:pt x="1023461" y="220504"/>
                    <a:pt x="1024414" y="219551"/>
                    <a:pt x="1024414" y="218599"/>
                  </a:cubicBezTo>
                  <a:cubicBezTo>
                    <a:pt x="1026319" y="229076"/>
                    <a:pt x="1028224" y="241459"/>
                    <a:pt x="1032034" y="253841"/>
                  </a:cubicBezTo>
                  <a:cubicBezTo>
                    <a:pt x="1033939" y="263366"/>
                    <a:pt x="1036796" y="272891"/>
                    <a:pt x="1038701" y="283369"/>
                  </a:cubicBezTo>
                  <a:cubicBezTo>
                    <a:pt x="1038701" y="283369"/>
                    <a:pt x="1038701" y="284321"/>
                    <a:pt x="1037749" y="284321"/>
                  </a:cubicBezTo>
                  <a:cubicBezTo>
                    <a:pt x="1035844" y="287179"/>
                    <a:pt x="1032986" y="290036"/>
                    <a:pt x="1031081" y="294799"/>
                  </a:cubicBezTo>
                  <a:cubicBezTo>
                    <a:pt x="1029176" y="298609"/>
                    <a:pt x="1027271" y="302419"/>
                    <a:pt x="1025366" y="306229"/>
                  </a:cubicBezTo>
                  <a:cubicBezTo>
                    <a:pt x="1024414" y="297656"/>
                    <a:pt x="1024414" y="290036"/>
                    <a:pt x="1023461" y="284321"/>
                  </a:cubicBezTo>
                  <a:cubicBezTo>
                    <a:pt x="1022509" y="274796"/>
                    <a:pt x="1022509" y="269081"/>
                    <a:pt x="1022509" y="269081"/>
                  </a:cubicBezTo>
                  <a:cubicBezTo>
                    <a:pt x="1022509" y="269081"/>
                    <a:pt x="1021556" y="274796"/>
                    <a:pt x="1019651" y="284321"/>
                  </a:cubicBezTo>
                  <a:cubicBezTo>
                    <a:pt x="1018699" y="291941"/>
                    <a:pt x="1016794" y="302419"/>
                    <a:pt x="1015841" y="314801"/>
                  </a:cubicBezTo>
                  <a:cubicBezTo>
                    <a:pt x="1015841" y="314801"/>
                    <a:pt x="1015841" y="315754"/>
                    <a:pt x="1015841" y="315754"/>
                  </a:cubicBezTo>
                  <a:cubicBezTo>
                    <a:pt x="1015841" y="315754"/>
                    <a:pt x="1015841" y="315754"/>
                    <a:pt x="1015841" y="315754"/>
                  </a:cubicBezTo>
                  <a:cubicBezTo>
                    <a:pt x="1020604" y="276701"/>
                    <a:pt x="1022509" y="251936"/>
                    <a:pt x="1022509" y="251936"/>
                  </a:cubicBezTo>
                  <a:cubicBezTo>
                    <a:pt x="1022509" y="251936"/>
                    <a:pt x="1021556" y="257651"/>
                    <a:pt x="1019651" y="267176"/>
                  </a:cubicBezTo>
                  <a:close/>
                  <a:moveTo>
                    <a:pt x="1011079" y="364331"/>
                  </a:moveTo>
                  <a:cubicBezTo>
                    <a:pt x="1011079" y="361474"/>
                    <a:pt x="1012031" y="358616"/>
                    <a:pt x="1012031" y="355759"/>
                  </a:cubicBezTo>
                  <a:cubicBezTo>
                    <a:pt x="1012984" y="350996"/>
                    <a:pt x="1012984" y="347186"/>
                    <a:pt x="1013936" y="342424"/>
                  </a:cubicBezTo>
                  <a:cubicBezTo>
                    <a:pt x="1013936" y="342424"/>
                    <a:pt x="1013936" y="342424"/>
                    <a:pt x="1013936" y="342424"/>
                  </a:cubicBezTo>
                  <a:cubicBezTo>
                    <a:pt x="1012984" y="349091"/>
                    <a:pt x="1012984" y="356711"/>
                    <a:pt x="1012031" y="364331"/>
                  </a:cubicBezTo>
                  <a:cubicBezTo>
                    <a:pt x="1012031" y="365284"/>
                    <a:pt x="1011079" y="365284"/>
                    <a:pt x="1011079" y="366236"/>
                  </a:cubicBezTo>
                  <a:cubicBezTo>
                    <a:pt x="1011079" y="366236"/>
                    <a:pt x="1011079" y="366236"/>
                    <a:pt x="1011079" y="366236"/>
                  </a:cubicBezTo>
                  <a:cubicBezTo>
                    <a:pt x="1011079" y="366236"/>
                    <a:pt x="1011079" y="365284"/>
                    <a:pt x="1011079" y="364331"/>
                  </a:cubicBezTo>
                  <a:close/>
                  <a:moveTo>
                    <a:pt x="1004411" y="257651"/>
                  </a:moveTo>
                  <a:cubicBezTo>
                    <a:pt x="1003459" y="265271"/>
                    <a:pt x="1002506" y="273844"/>
                    <a:pt x="1001554" y="281464"/>
                  </a:cubicBezTo>
                  <a:cubicBezTo>
                    <a:pt x="999649" y="277654"/>
                    <a:pt x="997744" y="273844"/>
                    <a:pt x="996791" y="271939"/>
                  </a:cubicBezTo>
                  <a:cubicBezTo>
                    <a:pt x="999649" y="268129"/>
                    <a:pt x="1001554" y="262414"/>
                    <a:pt x="1004411" y="257651"/>
                  </a:cubicBezTo>
                  <a:close/>
                  <a:moveTo>
                    <a:pt x="991076" y="283369"/>
                  </a:moveTo>
                  <a:cubicBezTo>
                    <a:pt x="992981" y="280511"/>
                    <a:pt x="994886" y="276701"/>
                    <a:pt x="995839" y="273844"/>
                  </a:cubicBezTo>
                  <a:cubicBezTo>
                    <a:pt x="996791" y="277654"/>
                    <a:pt x="997744" y="283369"/>
                    <a:pt x="999649" y="291941"/>
                  </a:cubicBezTo>
                  <a:cubicBezTo>
                    <a:pt x="998696" y="303371"/>
                    <a:pt x="996791" y="314801"/>
                    <a:pt x="995839" y="326231"/>
                  </a:cubicBezTo>
                  <a:cubicBezTo>
                    <a:pt x="994886" y="328136"/>
                    <a:pt x="994886" y="329089"/>
                    <a:pt x="993934" y="330994"/>
                  </a:cubicBezTo>
                  <a:cubicBezTo>
                    <a:pt x="992981" y="324326"/>
                    <a:pt x="992981" y="320516"/>
                    <a:pt x="992981" y="320516"/>
                  </a:cubicBezTo>
                  <a:cubicBezTo>
                    <a:pt x="992981" y="320516"/>
                    <a:pt x="992029" y="327184"/>
                    <a:pt x="991076" y="338614"/>
                  </a:cubicBezTo>
                  <a:cubicBezTo>
                    <a:pt x="991076" y="339566"/>
                    <a:pt x="990124" y="340519"/>
                    <a:pt x="990124" y="341471"/>
                  </a:cubicBezTo>
                  <a:cubicBezTo>
                    <a:pt x="987266" y="349091"/>
                    <a:pt x="984409" y="356711"/>
                    <a:pt x="981551" y="365284"/>
                  </a:cubicBezTo>
                  <a:cubicBezTo>
                    <a:pt x="981551" y="364331"/>
                    <a:pt x="981551" y="363379"/>
                    <a:pt x="980599" y="363379"/>
                  </a:cubicBezTo>
                  <a:cubicBezTo>
                    <a:pt x="979646" y="351949"/>
                    <a:pt x="978694" y="341471"/>
                    <a:pt x="977741" y="331946"/>
                  </a:cubicBezTo>
                  <a:cubicBezTo>
                    <a:pt x="976789" y="325279"/>
                    <a:pt x="976789" y="318611"/>
                    <a:pt x="975836" y="311944"/>
                  </a:cubicBezTo>
                  <a:cubicBezTo>
                    <a:pt x="980599" y="301466"/>
                    <a:pt x="986314" y="291941"/>
                    <a:pt x="991076" y="283369"/>
                  </a:cubicBezTo>
                  <a:close/>
                  <a:moveTo>
                    <a:pt x="960596" y="298609"/>
                  </a:moveTo>
                  <a:cubicBezTo>
                    <a:pt x="963454" y="291941"/>
                    <a:pt x="965359" y="286226"/>
                    <a:pt x="968216" y="280511"/>
                  </a:cubicBezTo>
                  <a:cubicBezTo>
                    <a:pt x="968216" y="284321"/>
                    <a:pt x="967264" y="289084"/>
                    <a:pt x="967264" y="294799"/>
                  </a:cubicBezTo>
                  <a:cubicBezTo>
                    <a:pt x="965359" y="297656"/>
                    <a:pt x="963454" y="301466"/>
                    <a:pt x="961549" y="304324"/>
                  </a:cubicBezTo>
                  <a:cubicBezTo>
                    <a:pt x="961549" y="304324"/>
                    <a:pt x="961549" y="304324"/>
                    <a:pt x="961549" y="303371"/>
                  </a:cubicBezTo>
                  <a:cubicBezTo>
                    <a:pt x="961549" y="302419"/>
                    <a:pt x="960596" y="302419"/>
                    <a:pt x="960596" y="301466"/>
                  </a:cubicBezTo>
                  <a:cubicBezTo>
                    <a:pt x="960596" y="299561"/>
                    <a:pt x="960596" y="299561"/>
                    <a:pt x="960596" y="298609"/>
                  </a:cubicBezTo>
                  <a:close/>
                  <a:moveTo>
                    <a:pt x="939641" y="258604"/>
                  </a:moveTo>
                  <a:cubicBezTo>
                    <a:pt x="939641" y="258604"/>
                    <a:pt x="939641" y="258604"/>
                    <a:pt x="939641" y="258604"/>
                  </a:cubicBezTo>
                  <a:cubicBezTo>
                    <a:pt x="941546" y="253841"/>
                    <a:pt x="942499" y="250031"/>
                    <a:pt x="943451" y="246221"/>
                  </a:cubicBezTo>
                  <a:cubicBezTo>
                    <a:pt x="943451" y="248126"/>
                    <a:pt x="943451" y="250031"/>
                    <a:pt x="943451" y="251936"/>
                  </a:cubicBezTo>
                  <a:cubicBezTo>
                    <a:pt x="942499" y="253841"/>
                    <a:pt x="941546" y="256699"/>
                    <a:pt x="939641" y="258604"/>
                  </a:cubicBezTo>
                  <a:lnTo>
                    <a:pt x="939641" y="258604"/>
                  </a:lnTo>
                  <a:close/>
                  <a:moveTo>
                    <a:pt x="944404" y="280511"/>
                  </a:moveTo>
                  <a:lnTo>
                    <a:pt x="943451" y="273844"/>
                  </a:lnTo>
                  <a:cubicBezTo>
                    <a:pt x="943451" y="272891"/>
                    <a:pt x="944404" y="271939"/>
                    <a:pt x="944404" y="270986"/>
                  </a:cubicBezTo>
                  <a:cubicBezTo>
                    <a:pt x="944404" y="270986"/>
                    <a:pt x="944404" y="271939"/>
                    <a:pt x="944404" y="271939"/>
                  </a:cubicBezTo>
                  <a:cubicBezTo>
                    <a:pt x="944404" y="272891"/>
                    <a:pt x="944404" y="274796"/>
                    <a:pt x="944404" y="275749"/>
                  </a:cubicBezTo>
                  <a:cubicBezTo>
                    <a:pt x="945356" y="277654"/>
                    <a:pt x="945356" y="279559"/>
                    <a:pt x="944404" y="280511"/>
                  </a:cubicBezTo>
                  <a:close/>
                  <a:moveTo>
                    <a:pt x="944404" y="270986"/>
                  </a:moveTo>
                  <a:cubicBezTo>
                    <a:pt x="944404" y="270986"/>
                    <a:pt x="944404" y="270986"/>
                    <a:pt x="944404" y="270986"/>
                  </a:cubicBezTo>
                  <a:cubicBezTo>
                    <a:pt x="945356" y="270986"/>
                    <a:pt x="945356" y="270986"/>
                    <a:pt x="944404" y="270986"/>
                  </a:cubicBezTo>
                  <a:cubicBezTo>
                    <a:pt x="945356" y="270986"/>
                    <a:pt x="944404" y="270986"/>
                    <a:pt x="944404" y="270986"/>
                  </a:cubicBezTo>
                  <a:close/>
                  <a:moveTo>
                    <a:pt x="933926" y="227171"/>
                  </a:moveTo>
                  <a:cubicBezTo>
                    <a:pt x="946309" y="185261"/>
                    <a:pt x="954881" y="153829"/>
                    <a:pt x="958691" y="138589"/>
                  </a:cubicBezTo>
                  <a:cubicBezTo>
                    <a:pt x="958691" y="141446"/>
                    <a:pt x="958691" y="143351"/>
                    <a:pt x="958691" y="146209"/>
                  </a:cubicBezTo>
                  <a:cubicBezTo>
                    <a:pt x="957739" y="159544"/>
                    <a:pt x="956786" y="179546"/>
                    <a:pt x="953929" y="203359"/>
                  </a:cubicBezTo>
                  <a:cubicBezTo>
                    <a:pt x="952976" y="215741"/>
                    <a:pt x="951071" y="228124"/>
                    <a:pt x="950119" y="242411"/>
                  </a:cubicBezTo>
                  <a:cubicBezTo>
                    <a:pt x="949166" y="243364"/>
                    <a:pt x="948214" y="245269"/>
                    <a:pt x="948214" y="246221"/>
                  </a:cubicBezTo>
                  <a:cubicBezTo>
                    <a:pt x="947261" y="244316"/>
                    <a:pt x="947261" y="241459"/>
                    <a:pt x="947261" y="240506"/>
                  </a:cubicBezTo>
                  <a:cubicBezTo>
                    <a:pt x="948214" y="235744"/>
                    <a:pt x="949166" y="233839"/>
                    <a:pt x="949166" y="233839"/>
                  </a:cubicBezTo>
                  <a:cubicBezTo>
                    <a:pt x="949166" y="233839"/>
                    <a:pt x="948214" y="235744"/>
                    <a:pt x="946309" y="238601"/>
                  </a:cubicBezTo>
                  <a:cubicBezTo>
                    <a:pt x="945356" y="232886"/>
                    <a:pt x="944404" y="230029"/>
                    <a:pt x="944404" y="230029"/>
                  </a:cubicBezTo>
                  <a:cubicBezTo>
                    <a:pt x="944404" y="230029"/>
                    <a:pt x="944404" y="233839"/>
                    <a:pt x="944404" y="241459"/>
                  </a:cubicBezTo>
                  <a:cubicBezTo>
                    <a:pt x="943451" y="244316"/>
                    <a:pt x="941546" y="248126"/>
                    <a:pt x="939641" y="251936"/>
                  </a:cubicBezTo>
                  <a:lnTo>
                    <a:pt x="938689" y="248126"/>
                  </a:lnTo>
                  <a:lnTo>
                    <a:pt x="936784" y="241459"/>
                  </a:lnTo>
                  <a:cubicBezTo>
                    <a:pt x="941546" y="226219"/>
                    <a:pt x="943451" y="217646"/>
                    <a:pt x="943451" y="217646"/>
                  </a:cubicBezTo>
                  <a:cubicBezTo>
                    <a:pt x="943451" y="217646"/>
                    <a:pt x="940594" y="224314"/>
                    <a:pt x="934879" y="235744"/>
                  </a:cubicBezTo>
                  <a:lnTo>
                    <a:pt x="932974" y="230029"/>
                  </a:lnTo>
                  <a:cubicBezTo>
                    <a:pt x="932974" y="230029"/>
                    <a:pt x="932974" y="228124"/>
                    <a:pt x="933926" y="227171"/>
                  </a:cubicBezTo>
                  <a:close/>
                  <a:moveTo>
                    <a:pt x="921544" y="452914"/>
                  </a:moveTo>
                  <a:cubicBezTo>
                    <a:pt x="921544" y="452914"/>
                    <a:pt x="920591" y="451961"/>
                    <a:pt x="920591" y="451961"/>
                  </a:cubicBezTo>
                  <a:cubicBezTo>
                    <a:pt x="920591" y="447199"/>
                    <a:pt x="920591" y="443389"/>
                    <a:pt x="919639" y="438626"/>
                  </a:cubicBezTo>
                  <a:cubicBezTo>
                    <a:pt x="920591" y="443389"/>
                    <a:pt x="921544" y="448151"/>
                    <a:pt x="921544" y="452914"/>
                  </a:cubicBezTo>
                  <a:close/>
                  <a:moveTo>
                    <a:pt x="912019" y="210979"/>
                  </a:moveTo>
                  <a:lnTo>
                    <a:pt x="915829" y="227171"/>
                  </a:lnTo>
                  <a:cubicBezTo>
                    <a:pt x="915829" y="228124"/>
                    <a:pt x="915829" y="229076"/>
                    <a:pt x="914876" y="230029"/>
                  </a:cubicBezTo>
                  <a:cubicBezTo>
                    <a:pt x="913924" y="231934"/>
                    <a:pt x="913924" y="234791"/>
                    <a:pt x="912971" y="236696"/>
                  </a:cubicBezTo>
                  <a:cubicBezTo>
                    <a:pt x="912971" y="235744"/>
                    <a:pt x="912019" y="233839"/>
                    <a:pt x="912019" y="232886"/>
                  </a:cubicBezTo>
                  <a:cubicBezTo>
                    <a:pt x="912019" y="231934"/>
                    <a:pt x="912019" y="230029"/>
                    <a:pt x="912019" y="228124"/>
                  </a:cubicBezTo>
                  <a:cubicBezTo>
                    <a:pt x="912019" y="222409"/>
                    <a:pt x="911066" y="216694"/>
                    <a:pt x="911066" y="210979"/>
                  </a:cubicBezTo>
                  <a:cubicBezTo>
                    <a:pt x="911066" y="209074"/>
                    <a:pt x="911066" y="206216"/>
                    <a:pt x="911066" y="204311"/>
                  </a:cubicBezTo>
                  <a:lnTo>
                    <a:pt x="912019" y="210979"/>
                  </a:lnTo>
                  <a:close/>
                  <a:moveTo>
                    <a:pt x="833914" y="333851"/>
                  </a:moveTo>
                  <a:cubicBezTo>
                    <a:pt x="833914" y="332899"/>
                    <a:pt x="833914" y="332899"/>
                    <a:pt x="834866" y="331946"/>
                  </a:cubicBezTo>
                  <a:cubicBezTo>
                    <a:pt x="834866" y="333851"/>
                    <a:pt x="834866" y="335756"/>
                    <a:pt x="834866" y="337661"/>
                  </a:cubicBezTo>
                  <a:cubicBezTo>
                    <a:pt x="834866" y="336709"/>
                    <a:pt x="833914" y="334804"/>
                    <a:pt x="833914" y="333851"/>
                  </a:cubicBezTo>
                  <a:close/>
                  <a:moveTo>
                    <a:pt x="847249" y="304324"/>
                  </a:moveTo>
                  <a:cubicBezTo>
                    <a:pt x="847249" y="303371"/>
                    <a:pt x="847249" y="302419"/>
                    <a:pt x="846296" y="301466"/>
                  </a:cubicBezTo>
                  <a:cubicBezTo>
                    <a:pt x="846296" y="300514"/>
                    <a:pt x="846296" y="300514"/>
                    <a:pt x="846296" y="299561"/>
                  </a:cubicBezTo>
                  <a:cubicBezTo>
                    <a:pt x="848201" y="294799"/>
                    <a:pt x="849154" y="290989"/>
                    <a:pt x="851059" y="286226"/>
                  </a:cubicBezTo>
                  <a:cubicBezTo>
                    <a:pt x="850106" y="292894"/>
                    <a:pt x="848201" y="298609"/>
                    <a:pt x="847249" y="304324"/>
                  </a:cubicBezTo>
                  <a:close/>
                  <a:moveTo>
                    <a:pt x="880586" y="300514"/>
                  </a:moveTo>
                  <a:cubicBezTo>
                    <a:pt x="878681" y="306229"/>
                    <a:pt x="877729" y="312896"/>
                    <a:pt x="876776" y="319564"/>
                  </a:cubicBezTo>
                  <a:cubicBezTo>
                    <a:pt x="874871" y="326231"/>
                    <a:pt x="873919" y="334804"/>
                    <a:pt x="872966" y="343376"/>
                  </a:cubicBezTo>
                  <a:cubicBezTo>
                    <a:pt x="872014" y="346234"/>
                    <a:pt x="870109" y="348139"/>
                    <a:pt x="869156" y="350996"/>
                  </a:cubicBezTo>
                  <a:cubicBezTo>
                    <a:pt x="869156" y="350996"/>
                    <a:pt x="868204" y="350044"/>
                    <a:pt x="868204" y="349091"/>
                  </a:cubicBezTo>
                  <a:cubicBezTo>
                    <a:pt x="868204" y="349091"/>
                    <a:pt x="868204" y="348139"/>
                    <a:pt x="867251" y="348139"/>
                  </a:cubicBezTo>
                  <a:cubicBezTo>
                    <a:pt x="867251" y="344329"/>
                    <a:pt x="867251" y="339566"/>
                    <a:pt x="867251" y="335756"/>
                  </a:cubicBezTo>
                  <a:cubicBezTo>
                    <a:pt x="867251" y="323374"/>
                    <a:pt x="867251" y="311944"/>
                    <a:pt x="866299" y="301466"/>
                  </a:cubicBezTo>
                  <a:cubicBezTo>
                    <a:pt x="866299" y="290989"/>
                    <a:pt x="864394" y="281464"/>
                    <a:pt x="863441" y="272891"/>
                  </a:cubicBezTo>
                  <a:cubicBezTo>
                    <a:pt x="862489" y="267176"/>
                    <a:pt x="862489" y="262414"/>
                    <a:pt x="861536" y="257651"/>
                  </a:cubicBezTo>
                  <a:cubicBezTo>
                    <a:pt x="861536" y="256699"/>
                    <a:pt x="861536" y="256699"/>
                    <a:pt x="862489" y="255746"/>
                  </a:cubicBezTo>
                  <a:cubicBezTo>
                    <a:pt x="862489" y="255746"/>
                    <a:pt x="862489" y="255746"/>
                    <a:pt x="862489" y="255746"/>
                  </a:cubicBezTo>
                  <a:cubicBezTo>
                    <a:pt x="867251" y="265271"/>
                    <a:pt x="871061" y="274796"/>
                    <a:pt x="876776" y="286226"/>
                  </a:cubicBezTo>
                  <a:cubicBezTo>
                    <a:pt x="878681" y="290036"/>
                    <a:pt x="880586" y="293846"/>
                    <a:pt x="881539" y="296704"/>
                  </a:cubicBezTo>
                  <a:cubicBezTo>
                    <a:pt x="881539" y="298609"/>
                    <a:pt x="881539" y="299561"/>
                    <a:pt x="880586" y="300514"/>
                  </a:cubicBezTo>
                  <a:close/>
                  <a:moveTo>
                    <a:pt x="885349" y="318611"/>
                  </a:moveTo>
                  <a:cubicBezTo>
                    <a:pt x="885349" y="318611"/>
                    <a:pt x="885349" y="319564"/>
                    <a:pt x="884396" y="319564"/>
                  </a:cubicBezTo>
                  <a:cubicBezTo>
                    <a:pt x="884396" y="319564"/>
                    <a:pt x="884396" y="320516"/>
                    <a:pt x="883444" y="320516"/>
                  </a:cubicBezTo>
                  <a:cubicBezTo>
                    <a:pt x="883444" y="313849"/>
                    <a:pt x="883444" y="308134"/>
                    <a:pt x="884396" y="303371"/>
                  </a:cubicBezTo>
                  <a:cubicBezTo>
                    <a:pt x="885349" y="305276"/>
                    <a:pt x="886301" y="308134"/>
                    <a:pt x="887254" y="310039"/>
                  </a:cubicBezTo>
                  <a:cubicBezTo>
                    <a:pt x="887254" y="312896"/>
                    <a:pt x="886301" y="315754"/>
                    <a:pt x="885349" y="318611"/>
                  </a:cubicBezTo>
                  <a:close/>
                  <a:moveTo>
                    <a:pt x="900589" y="246221"/>
                  </a:moveTo>
                  <a:cubicBezTo>
                    <a:pt x="900589" y="247174"/>
                    <a:pt x="899636" y="247174"/>
                    <a:pt x="900589" y="246221"/>
                  </a:cubicBezTo>
                  <a:cubicBezTo>
                    <a:pt x="899636" y="239554"/>
                    <a:pt x="898684" y="234791"/>
                    <a:pt x="898684" y="234791"/>
                  </a:cubicBezTo>
                  <a:cubicBezTo>
                    <a:pt x="898684" y="234791"/>
                    <a:pt x="898684" y="241459"/>
                    <a:pt x="897731" y="252889"/>
                  </a:cubicBezTo>
                  <a:cubicBezTo>
                    <a:pt x="897731" y="252889"/>
                    <a:pt x="897731" y="252889"/>
                    <a:pt x="897731" y="253841"/>
                  </a:cubicBezTo>
                  <a:cubicBezTo>
                    <a:pt x="895826" y="251936"/>
                    <a:pt x="894874" y="250031"/>
                    <a:pt x="894874" y="250031"/>
                  </a:cubicBezTo>
                  <a:cubicBezTo>
                    <a:pt x="894874" y="250031"/>
                    <a:pt x="895826" y="251936"/>
                    <a:pt x="897731" y="254794"/>
                  </a:cubicBezTo>
                  <a:cubicBezTo>
                    <a:pt x="897731" y="255746"/>
                    <a:pt x="897731" y="256699"/>
                    <a:pt x="897731" y="257651"/>
                  </a:cubicBezTo>
                  <a:cubicBezTo>
                    <a:pt x="897731" y="259556"/>
                    <a:pt x="897731" y="262414"/>
                    <a:pt x="896779" y="264319"/>
                  </a:cubicBezTo>
                  <a:cubicBezTo>
                    <a:pt x="896779" y="264319"/>
                    <a:pt x="896779" y="264319"/>
                    <a:pt x="896779" y="264319"/>
                  </a:cubicBezTo>
                  <a:cubicBezTo>
                    <a:pt x="896779" y="264319"/>
                    <a:pt x="896779" y="264319"/>
                    <a:pt x="896779" y="264319"/>
                  </a:cubicBezTo>
                  <a:cubicBezTo>
                    <a:pt x="896779" y="264319"/>
                    <a:pt x="896779" y="265271"/>
                    <a:pt x="896779" y="265271"/>
                  </a:cubicBezTo>
                  <a:cubicBezTo>
                    <a:pt x="896779" y="267176"/>
                    <a:pt x="896779" y="269081"/>
                    <a:pt x="896779" y="270986"/>
                  </a:cubicBezTo>
                  <a:cubicBezTo>
                    <a:pt x="896779" y="271939"/>
                    <a:pt x="896779" y="271939"/>
                    <a:pt x="896779" y="272891"/>
                  </a:cubicBezTo>
                  <a:cubicBezTo>
                    <a:pt x="896779" y="276701"/>
                    <a:pt x="895826" y="280511"/>
                    <a:pt x="895826" y="285274"/>
                  </a:cubicBezTo>
                  <a:cubicBezTo>
                    <a:pt x="895826" y="286226"/>
                    <a:pt x="895826" y="286226"/>
                    <a:pt x="895826" y="287179"/>
                  </a:cubicBezTo>
                  <a:cubicBezTo>
                    <a:pt x="893921" y="284321"/>
                    <a:pt x="892969" y="281464"/>
                    <a:pt x="891064" y="279559"/>
                  </a:cubicBezTo>
                  <a:cubicBezTo>
                    <a:pt x="885349" y="269081"/>
                    <a:pt x="879634" y="259556"/>
                    <a:pt x="873919" y="250984"/>
                  </a:cubicBezTo>
                  <a:cubicBezTo>
                    <a:pt x="872014" y="248126"/>
                    <a:pt x="871061" y="245269"/>
                    <a:pt x="869156" y="243364"/>
                  </a:cubicBezTo>
                  <a:cubicBezTo>
                    <a:pt x="869156" y="243364"/>
                    <a:pt x="869156" y="243364"/>
                    <a:pt x="869156" y="242411"/>
                  </a:cubicBezTo>
                  <a:cubicBezTo>
                    <a:pt x="872966" y="232886"/>
                    <a:pt x="875824" y="223361"/>
                    <a:pt x="878681" y="215741"/>
                  </a:cubicBezTo>
                  <a:cubicBezTo>
                    <a:pt x="881539" y="210979"/>
                    <a:pt x="884396" y="205264"/>
                    <a:pt x="887254" y="200501"/>
                  </a:cubicBezTo>
                  <a:lnTo>
                    <a:pt x="895826" y="223361"/>
                  </a:lnTo>
                  <a:lnTo>
                    <a:pt x="901541" y="240506"/>
                  </a:lnTo>
                  <a:cubicBezTo>
                    <a:pt x="900589" y="242411"/>
                    <a:pt x="900589" y="244316"/>
                    <a:pt x="900589" y="246221"/>
                  </a:cubicBezTo>
                  <a:close/>
                  <a:moveTo>
                    <a:pt x="891064" y="190976"/>
                  </a:moveTo>
                  <a:cubicBezTo>
                    <a:pt x="892016" y="190024"/>
                    <a:pt x="892969" y="188119"/>
                    <a:pt x="892969" y="187166"/>
                  </a:cubicBezTo>
                  <a:cubicBezTo>
                    <a:pt x="892969" y="189071"/>
                    <a:pt x="894874" y="194786"/>
                    <a:pt x="896779" y="202406"/>
                  </a:cubicBezTo>
                  <a:cubicBezTo>
                    <a:pt x="895826" y="199549"/>
                    <a:pt x="893921" y="195739"/>
                    <a:pt x="891064" y="190976"/>
                  </a:cubicBezTo>
                  <a:close/>
                  <a:moveTo>
                    <a:pt x="904399" y="181451"/>
                  </a:moveTo>
                  <a:cubicBezTo>
                    <a:pt x="904399" y="182404"/>
                    <a:pt x="904399" y="182404"/>
                    <a:pt x="904399" y="183356"/>
                  </a:cubicBezTo>
                  <a:cubicBezTo>
                    <a:pt x="904399" y="190976"/>
                    <a:pt x="903446" y="200501"/>
                    <a:pt x="903446" y="210979"/>
                  </a:cubicBezTo>
                  <a:cubicBezTo>
                    <a:pt x="903446" y="210979"/>
                    <a:pt x="903446" y="210026"/>
                    <a:pt x="903446" y="210026"/>
                  </a:cubicBezTo>
                  <a:cubicBezTo>
                    <a:pt x="898684" y="197644"/>
                    <a:pt x="894874" y="190024"/>
                    <a:pt x="894874" y="188119"/>
                  </a:cubicBezTo>
                  <a:cubicBezTo>
                    <a:pt x="897731" y="183356"/>
                    <a:pt x="900589" y="178594"/>
                    <a:pt x="903446" y="173831"/>
                  </a:cubicBezTo>
                  <a:lnTo>
                    <a:pt x="904399" y="181451"/>
                  </a:lnTo>
                  <a:close/>
                  <a:moveTo>
                    <a:pt x="888206" y="137636"/>
                  </a:moveTo>
                  <a:cubicBezTo>
                    <a:pt x="889159" y="135731"/>
                    <a:pt x="890111" y="134779"/>
                    <a:pt x="890111" y="132874"/>
                  </a:cubicBezTo>
                  <a:lnTo>
                    <a:pt x="898684" y="161449"/>
                  </a:lnTo>
                  <a:cubicBezTo>
                    <a:pt x="896779" y="163354"/>
                    <a:pt x="894874" y="166211"/>
                    <a:pt x="893921" y="168116"/>
                  </a:cubicBezTo>
                  <a:cubicBezTo>
                    <a:pt x="891064" y="171926"/>
                    <a:pt x="888206" y="175736"/>
                    <a:pt x="885349" y="180499"/>
                  </a:cubicBezTo>
                  <a:cubicBezTo>
                    <a:pt x="881539" y="174784"/>
                    <a:pt x="878681" y="169069"/>
                    <a:pt x="874871" y="163354"/>
                  </a:cubicBezTo>
                  <a:cubicBezTo>
                    <a:pt x="879634" y="154781"/>
                    <a:pt x="883444" y="146209"/>
                    <a:pt x="888206" y="137636"/>
                  </a:cubicBezTo>
                  <a:close/>
                  <a:moveTo>
                    <a:pt x="872966" y="169069"/>
                  </a:moveTo>
                  <a:lnTo>
                    <a:pt x="881539" y="188119"/>
                  </a:lnTo>
                  <a:cubicBezTo>
                    <a:pt x="880586" y="189071"/>
                    <a:pt x="879634" y="190976"/>
                    <a:pt x="878681" y="191929"/>
                  </a:cubicBezTo>
                  <a:cubicBezTo>
                    <a:pt x="871061" y="202406"/>
                    <a:pt x="864394" y="213836"/>
                    <a:pt x="856774" y="226219"/>
                  </a:cubicBezTo>
                  <a:cubicBezTo>
                    <a:pt x="854869" y="223361"/>
                    <a:pt x="852964" y="220504"/>
                    <a:pt x="851059" y="217646"/>
                  </a:cubicBezTo>
                  <a:cubicBezTo>
                    <a:pt x="858679" y="199549"/>
                    <a:pt x="865346" y="183356"/>
                    <a:pt x="872966" y="169069"/>
                  </a:cubicBezTo>
                  <a:close/>
                  <a:moveTo>
                    <a:pt x="847249" y="225266"/>
                  </a:moveTo>
                  <a:cubicBezTo>
                    <a:pt x="847249" y="224314"/>
                    <a:pt x="848201" y="223361"/>
                    <a:pt x="848201" y="223361"/>
                  </a:cubicBezTo>
                  <a:cubicBezTo>
                    <a:pt x="849154" y="226219"/>
                    <a:pt x="851059" y="229076"/>
                    <a:pt x="852011" y="232886"/>
                  </a:cubicBezTo>
                  <a:cubicBezTo>
                    <a:pt x="850106" y="236696"/>
                    <a:pt x="848201" y="239554"/>
                    <a:pt x="845344" y="243364"/>
                  </a:cubicBezTo>
                  <a:cubicBezTo>
                    <a:pt x="842486" y="248126"/>
                    <a:pt x="839629" y="252889"/>
                    <a:pt x="837724" y="256699"/>
                  </a:cubicBezTo>
                  <a:cubicBezTo>
                    <a:pt x="837724" y="254794"/>
                    <a:pt x="836771" y="252889"/>
                    <a:pt x="836771" y="250984"/>
                  </a:cubicBezTo>
                  <a:cubicBezTo>
                    <a:pt x="839629" y="242411"/>
                    <a:pt x="843439" y="233839"/>
                    <a:pt x="847249" y="225266"/>
                  </a:cubicBezTo>
                  <a:close/>
                  <a:moveTo>
                    <a:pt x="835819" y="195739"/>
                  </a:moveTo>
                  <a:cubicBezTo>
                    <a:pt x="835819" y="194786"/>
                    <a:pt x="835819" y="194786"/>
                    <a:pt x="835819" y="195739"/>
                  </a:cubicBezTo>
                  <a:cubicBezTo>
                    <a:pt x="836771" y="196691"/>
                    <a:pt x="838676" y="200501"/>
                    <a:pt x="840581" y="206216"/>
                  </a:cubicBezTo>
                  <a:cubicBezTo>
                    <a:pt x="838676" y="210979"/>
                    <a:pt x="835819" y="214789"/>
                    <a:pt x="833914" y="219551"/>
                  </a:cubicBezTo>
                  <a:cubicBezTo>
                    <a:pt x="833914" y="220504"/>
                    <a:pt x="832961" y="220504"/>
                    <a:pt x="832961" y="221456"/>
                  </a:cubicBezTo>
                  <a:cubicBezTo>
                    <a:pt x="833914" y="211931"/>
                    <a:pt x="834866" y="203359"/>
                    <a:pt x="835819" y="195739"/>
                  </a:cubicBezTo>
                  <a:close/>
                  <a:moveTo>
                    <a:pt x="826294" y="274796"/>
                  </a:moveTo>
                  <a:cubicBezTo>
                    <a:pt x="827246" y="273844"/>
                    <a:pt x="827246" y="271939"/>
                    <a:pt x="828199" y="270986"/>
                  </a:cubicBezTo>
                  <a:cubicBezTo>
                    <a:pt x="828199" y="271939"/>
                    <a:pt x="828199" y="272891"/>
                    <a:pt x="828199" y="272891"/>
                  </a:cubicBezTo>
                  <a:cubicBezTo>
                    <a:pt x="827246" y="273844"/>
                    <a:pt x="826294" y="275749"/>
                    <a:pt x="826294" y="276701"/>
                  </a:cubicBezTo>
                  <a:cubicBezTo>
                    <a:pt x="826294" y="275749"/>
                    <a:pt x="826294" y="274796"/>
                    <a:pt x="826294" y="274796"/>
                  </a:cubicBezTo>
                  <a:close/>
                  <a:moveTo>
                    <a:pt x="812006" y="448151"/>
                  </a:moveTo>
                  <a:cubicBezTo>
                    <a:pt x="812006" y="448151"/>
                    <a:pt x="812006" y="448151"/>
                    <a:pt x="812006" y="448151"/>
                  </a:cubicBezTo>
                  <a:cubicBezTo>
                    <a:pt x="812006" y="448151"/>
                    <a:pt x="812006" y="448151"/>
                    <a:pt x="812006" y="448151"/>
                  </a:cubicBezTo>
                  <a:cubicBezTo>
                    <a:pt x="812006" y="448151"/>
                    <a:pt x="812006" y="448151"/>
                    <a:pt x="812006" y="448151"/>
                  </a:cubicBezTo>
                  <a:close/>
                  <a:moveTo>
                    <a:pt x="785336" y="330041"/>
                  </a:moveTo>
                  <a:cubicBezTo>
                    <a:pt x="784384" y="329089"/>
                    <a:pt x="783431" y="327184"/>
                    <a:pt x="782479" y="325279"/>
                  </a:cubicBezTo>
                  <a:cubicBezTo>
                    <a:pt x="782479" y="321469"/>
                    <a:pt x="782479" y="318611"/>
                    <a:pt x="782479" y="315754"/>
                  </a:cubicBezTo>
                  <a:cubicBezTo>
                    <a:pt x="783431" y="319564"/>
                    <a:pt x="785336" y="322421"/>
                    <a:pt x="786289" y="326231"/>
                  </a:cubicBezTo>
                  <a:cubicBezTo>
                    <a:pt x="786289" y="328136"/>
                    <a:pt x="785336" y="329089"/>
                    <a:pt x="785336" y="330041"/>
                  </a:cubicBezTo>
                  <a:close/>
                  <a:moveTo>
                    <a:pt x="797719" y="271939"/>
                  </a:moveTo>
                  <a:cubicBezTo>
                    <a:pt x="799624" y="276701"/>
                    <a:pt x="801529" y="281464"/>
                    <a:pt x="803434" y="286226"/>
                  </a:cubicBezTo>
                  <a:cubicBezTo>
                    <a:pt x="803434" y="287179"/>
                    <a:pt x="802481" y="288131"/>
                    <a:pt x="802481" y="288131"/>
                  </a:cubicBezTo>
                  <a:cubicBezTo>
                    <a:pt x="799624" y="295751"/>
                    <a:pt x="796766" y="302419"/>
                    <a:pt x="792956" y="310039"/>
                  </a:cubicBezTo>
                  <a:cubicBezTo>
                    <a:pt x="792956" y="310039"/>
                    <a:pt x="792956" y="310039"/>
                    <a:pt x="792956" y="309086"/>
                  </a:cubicBezTo>
                  <a:cubicBezTo>
                    <a:pt x="791051" y="305276"/>
                    <a:pt x="789146" y="300514"/>
                    <a:pt x="787241" y="296704"/>
                  </a:cubicBezTo>
                  <a:cubicBezTo>
                    <a:pt x="790099" y="285274"/>
                    <a:pt x="792956" y="274796"/>
                    <a:pt x="795814" y="266224"/>
                  </a:cubicBezTo>
                  <a:cubicBezTo>
                    <a:pt x="796766" y="269081"/>
                    <a:pt x="796766" y="270034"/>
                    <a:pt x="797719" y="271939"/>
                  </a:cubicBezTo>
                  <a:close/>
                  <a:moveTo>
                    <a:pt x="790099" y="253841"/>
                  </a:moveTo>
                  <a:cubicBezTo>
                    <a:pt x="791051" y="255746"/>
                    <a:pt x="792004" y="258604"/>
                    <a:pt x="793909" y="261461"/>
                  </a:cubicBezTo>
                  <a:cubicBezTo>
                    <a:pt x="793909" y="261461"/>
                    <a:pt x="793909" y="261461"/>
                    <a:pt x="793909" y="262414"/>
                  </a:cubicBezTo>
                  <a:cubicBezTo>
                    <a:pt x="791051" y="269081"/>
                    <a:pt x="788194" y="276701"/>
                    <a:pt x="784384" y="286226"/>
                  </a:cubicBezTo>
                  <a:cubicBezTo>
                    <a:pt x="784384" y="282416"/>
                    <a:pt x="784384" y="277654"/>
                    <a:pt x="785336" y="273844"/>
                  </a:cubicBezTo>
                  <a:cubicBezTo>
                    <a:pt x="786289" y="267176"/>
                    <a:pt x="788194" y="260509"/>
                    <a:pt x="790099" y="253841"/>
                  </a:cubicBezTo>
                  <a:close/>
                  <a:moveTo>
                    <a:pt x="773906" y="236696"/>
                  </a:moveTo>
                  <a:cubicBezTo>
                    <a:pt x="774859" y="229076"/>
                    <a:pt x="775811" y="221456"/>
                    <a:pt x="776764" y="213836"/>
                  </a:cubicBezTo>
                  <a:cubicBezTo>
                    <a:pt x="778669" y="218599"/>
                    <a:pt x="781526" y="223361"/>
                    <a:pt x="783431" y="229076"/>
                  </a:cubicBezTo>
                  <a:cubicBezTo>
                    <a:pt x="782479" y="230981"/>
                    <a:pt x="781526" y="233839"/>
                    <a:pt x="780574" y="235744"/>
                  </a:cubicBezTo>
                  <a:cubicBezTo>
                    <a:pt x="778669" y="233839"/>
                    <a:pt x="777716" y="231934"/>
                    <a:pt x="777716" y="231934"/>
                  </a:cubicBezTo>
                  <a:cubicBezTo>
                    <a:pt x="777716" y="231934"/>
                    <a:pt x="778669" y="233839"/>
                    <a:pt x="780574" y="236696"/>
                  </a:cubicBezTo>
                  <a:cubicBezTo>
                    <a:pt x="778669" y="242411"/>
                    <a:pt x="775811" y="249079"/>
                    <a:pt x="773906" y="255746"/>
                  </a:cubicBezTo>
                  <a:cubicBezTo>
                    <a:pt x="773906" y="249079"/>
                    <a:pt x="773906" y="242411"/>
                    <a:pt x="773906" y="236696"/>
                  </a:cubicBezTo>
                  <a:close/>
                  <a:moveTo>
                    <a:pt x="724376" y="219551"/>
                  </a:moveTo>
                  <a:cubicBezTo>
                    <a:pt x="725329" y="212884"/>
                    <a:pt x="726281" y="207169"/>
                    <a:pt x="726281" y="203359"/>
                  </a:cubicBezTo>
                  <a:cubicBezTo>
                    <a:pt x="726281" y="210026"/>
                    <a:pt x="726281" y="218599"/>
                    <a:pt x="726281" y="229076"/>
                  </a:cubicBezTo>
                  <a:cubicBezTo>
                    <a:pt x="725329" y="226219"/>
                    <a:pt x="724376" y="224314"/>
                    <a:pt x="723424" y="223361"/>
                  </a:cubicBezTo>
                  <a:cubicBezTo>
                    <a:pt x="723424" y="222409"/>
                    <a:pt x="723424" y="220504"/>
                    <a:pt x="724376" y="219551"/>
                  </a:cubicBezTo>
                  <a:close/>
                  <a:moveTo>
                    <a:pt x="723424" y="224314"/>
                  </a:moveTo>
                  <a:cubicBezTo>
                    <a:pt x="723424" y="226219"/>
                    <a:pt x="724376" y="230029"/>
                    <a:pt x="724376" y="235744"/>
                  </a:cubicBezTo>
                  <a:cubicBezTo>
                    <a:pt x="725329" y="239554"/>
                    <a:pt x="725329" y="245269"/>
                    <a:pt x="726281" y="250984"/>
                  </a:cubicBezTo>
                  <a:cubicBezTo>
                    <a:pt x="726281" y="250984"/>
                    <a:pt x="726281" y="250984"/>
                    <a:pt x="726281" y="251936"/>
                  </a:cubicBezTo>
                  <a:cubicBezTo>
                    <a:pt x="726281" y="259556"/>
                    <a:pt x="726281" y="268129"/>
                    <a:pt x="727234" y="276701"/>
                  </a:cubicBezTo>
                  <a:cubicBezTo>
                    <a:pt x="727234" y="280511"/>
                    <a:pt x="727234" y="284321"/>
                    <a:pt x="727234" y="288131"/>
                  </a:cubicBezTo>
                  <a:cubicBezTo>
                    <a:pt x="726281" y="286226"/>
                    <a:pt x="726281" y="285274"/>
                    <a:pt x="725329" y="284321"/>
                  </a:cubicBezTo>
                  <a:cubicBezTo>
                    <a:pt x="722471" y="275749"/>
                    <a:pt x="720566" y="268129"/>
                    <a:pt x="717709" y="260509"/>
                  </a:cubicBezTo>
                  <a:cubicBezTo>
                    <a:pt x="719614" y="246221"/>
                    <a:pt x="721519" y="233839"/>
                    <a:pt x="723424" y="224314"/>
                  </a:cubicBezTo>
                  <a:close/>
                  <a:moveTo>
                    <a:pt x="710089" y="308134"/>
                  </a:moveTo>
                  <a:cubicBezTo>
                    <a:pt x="710089" y="311944"/>
                    <a:pt x="711041" y="315754"/>
                    <a:pt x="711041" y="320516"/>
                  </a:cubicBezTo>
                  <a:cubicBezTo>
                    <a:pt x="712946" y="336709"/>
                    <a:pt x="714851" y="354806"/>
                    <a:pt x="717709" y="373856"/>
                  </a:cubicBezTo>
                  <a:cubicBezTo>
                    <a:pt x="715804" y="378619"/>
                    <a:pt x="712946" y="384334"/>
                    <a:pt x="711041" y="389096"/>
                  </a:cubicBezTo>
                  <a:cubicBezTo>
                    <a:pt x="710089" y="387191"/>
                    <a:pt x="710089" y="385286"/>
                    <a:pt x="709136" y="383381"/>
                  </a:cubicBezTo>
                  <a:cubicBezTo>
                    <a:pt x="710089" y="379571"/>
                    <a:pt x="710089" y="375761"/>
                    <a:pt x="711041" y="372904"/>
                  </a:cubicBezTo>
                  <a:cubicBezTo>
                    <a:pt x="712946" y="359569"/>
                    <a:pt x="713899" y="352901"/>
                    <a:pt x="713899" y="352901"/>
                  </a:cubicBezTo>
                  <a:cubicBezTo>
                    <a:pt x="713899" y="352901"/>
                    <a:pt x="711994" y="360521"/>
                    <a:pt x="707231" y="372904"/>
                  </a:cubicBezTo>
                  <a:cubicBezTo>
                    <a:pt x="707231" y="373856"/>
                    <a:pt x="706279" y="374809"/>
                    <a:pt x="706279" y="374809"/>
                  </a:cubicBezTo>
                  <a:cubicBezTo>
                    <a:pt x="704374" y="369094"/>
                    <a:pt x="702469" y="363379"/>
                    <a:pt x="701516" y="357664"/>
                  </a:cubicBezTo>
                  <a:cubicBezTo>
                    <a:pt x="701516" y="357664"/>
                    <a:pt x="701516" y="357664"/>
                    <a:pt x="701516" y="357664"/>
                  </a:cubicBezTo>
                  <a:cubicBezTo>
                    <a:pt x="704374" y="339566"/>
                    <a:pt x="707231" y="323374"/>
                    <a:pt x="710089" y="308134"/>
                  </a:cubicBezTo>
                  <a:close/>
                  <a:moveTo>
                    <a:pt x="676751" y="253841"/>
                  </a:moveTo>
                  <a:cubicBezTo>
                    <a:pt x="676751" y="250984"/>
                    <a:pt x="676751" y="249079"/>
                    <a:pt x="676751" y="246221"/>
                  </a:cubicBezTo>
                  <a:cubicBezTo>
                    <a:pt x="677704" y="237649"/>
                    <a:pt x="678656" y="229076"/>
                    <a:pt x="679609" y="220504"/>
                  </a:cubicBezTo>
                  <a:cubicBezTo>
                    <a:pt x="680561" y="206216"/>
                    <a:pt x="681514" y="192881"/>
                    <a:pt x="682466" y="181451"/>
                  </a:cubicBezTo>
                  <a:cubicBezTo>
                    <a:pt x="682466" y="180499"/>
                    <a:pt x="682466" y="179546"/>
                    <a:pt x="682466" y="178594"/>
                  </a:cubicBezTo>
                  <a:cubicBezTo>
                    <a:pt x="687229" y="193834"/>
                    <a:pt x="691039" y="211931"/>
                    <a:pt x="696754" y="231934"/>
                  </a:cubicBezTo>
                  <a:cubicBezTo>
                    <a:pt x="699611" y="243364"/>
                    <a:pt x="702469" y="254794"/>
                    <a:pt x="705326" y="267176"/>
                  </a:cubicBezTo>
                  <a:cubicBezTo>
                    <a:pt x="704374" y="269081"/>
                    <a:pt x="704374" y="271939"/>
                    <a:pt x="703421" y="273844"/>
                  </a:cubicBezTo>
                  <a:cubicBezTo>
                    <a:pt x="700564" y="284321"/>
                    <a:pt x="697706" y="295751"/>
                    <a:pt x="694849" y="307181"/>
                  </a:cubicBezTo>
                  <a:cubicBezTo>
                    <a:pt x="693896" y="309086"/>
                    <a:pt x="693896" y="311944"/>
                    <a:pt x="692944" y="313849"/>
                  </a:cubicBezTo>
                  <a:cubicBezTo>
                    <a:pt x="691991" y="316706"/>
                    <a:pt x="691039" y="319564"/>
                    <a:pt x="690086" y="322421"/>
                  </a:cubicBezTo>
                  <a:cubicBezTo>
                    <a:pt x="684371" y="305276"/>
                    <a:pt x="679609" y="290036"/>
                    <a:pt x="673894" y="274796"/>
                  </a:cubicBezTo>
                  <a:cubicBezTo>
                    <a:pt x="675799" y="268129"/>
                    <a:pt x="676751" y="260509"/>
                    <a:pt x="676751" y="253841"/>
                  </a:cubicBezTo>
                  <a:close/>
                  <a:moveTo>
                    <a:pt x="668179" y="331946"/>
                  </a:moveTo>
                  <a:cubicBezTo>
                    <a:pt x="668179" y="330994"/>
                    <a:pt x="668179" y="330994"/>
                    <a:pt x="668179" y="330041"/>
                  </a:cubicBezTo>
                  <a:cubicBezTo>
                    <a:pt x="668179" y="331946"/>
                    <a:pt x="669131" y="332899"/>
                    <a:pt x="669131" y="334804"/>
                  </a:cubicBezTo>
                  <a:cubicBezTo>
                    <a:pt x="670084" y="338614"/>
                    <a:pt x="671036" y="342424"/>
                    <a:pt x="671989" y="346234"/>
                  </a:cubicBezTo>
                  <a:cubicBezTo>
                    <a:pt x="672941" y="350044"/>
                    <a:pt x="673894" y="354806"/>
                    <a:pt x="674846" y="359569"/>
                  </a:cubicBezTo>
                  <a:cubicBezTo>
                    <a:pt x="675799" y="363379"/>
                    <a:pt x="676751" y="367189"/>
                    <a:pt x="676751" y="370999"/>
                  </a:cubicBezTo>
                  <a:cubicBezTo>
                    <a:pt x="676751" y="371951"/>
                    <a:pt x="675799" y="372904"/>
                    <a:pt x="675799" y="373856"/>
                  </a:cubicBezTo>
                  <a:cubicBezTo>
                    <a:pt x="675799" y="374809"/>
                    <a:pt x="674846" y="375761"/>
                    <a:pt x="674846" y="377666"/>
                  </a:cubicBezTo>
                  <a:cubicBezTo>
                    <a:pt x="672941" y="374809"/>
                    <a:pt x="671989" y="370999"/>
                    <a:pt x="670084" y="368141"/>
                  </a:cubicBezTo>
                  <a:cubicBezTo>
                    <a:pt x="668179" y="364331"/>
                    <a:pt x="666274" y="361474"/>
                    <a:pt x="664369" y="358616"/>
                  </a:cubicBezTo>
                  <a:cubicBezTo>
                    <a:pt x="665321" y="349091"/>
                    <a:pt x="667226" y="340519"/>
                    <a:pt x="668179" y="331946"/>
                  </a:cubicBezTo>
                  <a:close/>
                  <a:moveTo>
                    <a:pt x="656749" y="266224"/>
                  </a:moveTo>
                  <a:cubicBezTo>
                    <a:pt x="656749" y="266224"/>
                    <a:pt x="656749" y="267176"/>
                    <a:pt x="656749" y="267176"/>
                  </a:cubicBezTo>
                  <a:cubicBezTo>
                    <a:pt x="656749" y="268129"/>
                    <a:pt x="656749" y="269081"/>
                    <a:pt x="656749" y="269081"/>
                  </a:cubicBezTo>
                  <a:cubicBezTo>
                    <a:pt x="656749" y="268129"/>
                    <a:pt x="656749" y="267176"/>
                    <a:pt x="656749" y="266224"/>
                  </a:cubicBezTo>
                  <a:close/>
                  <a:moveTo>
                    <a:pt x="608171" y="318611"/>
                  </a:moveTo>
                  <a:cubicBezTo>
                    <a:pt x="609124" y="305276"/>
                    <a:pt x="611029" y="291941"/>
                    <a:pt x="611981" y="279559"/>
                  </a:cubicBezTo>
                  <a:cubicBezTo>
                    <a:pt x="612934" y="282416"/>
                    <a:pt x="612934" y="285274"/>
                    <a:pt x="613886" y="288131"/>
                  </a:cubicBezTo>
                  <a:cubicBezTo>
                    <a:pt x="614839" y="301466"/>
                    <a:pt x="615791" y="314801"/>
                    <a:pt x="615791" y="327184"/>
                  </a:cubicBezTo>
                  <a:cubicBezTo>
                    <a:pt x="615791" y="329089"/>
                    <a:pt x="615791" y="330041"/>
                    <a:pt x="615791" y="331946"/>
                  </a:cubicBezTo>
                  <a:cubicBezTo>
                    <a:pt x="615791" y="333851"/>
                    <a:pt x="615791" y="335756"/>
                    <a:pt x="615791" y="337661"/>
                  </a:cubicBezTo>
                  <a:cubicBezTo>
                    <a:pt x="614839" y="336709"/>
                    <a:pt x="613886" y="334804"/>
                    <a:pt x="613886" y="333851"/>
                  </a:cubicBezTo>
                  <a:cubicBezTo>
                    <a:pt x="611981" y="330041"/>
                    <a:pt x="609124" y="325279"/>
                    <a:pt x="607219" y="321469"/>
                  </a:cubicBezTo>
                  <a:cubicBezTo>
                    <a:pt x="608171" y="320516"/>
                    <a:pt x="608171" y="319564"/>
                    <a:pt x="608171" y="318611"/>
                  </a:cubicBezTo>
                  <a:close/>
                  <a:moveTo>
                    <a:pt x="606266" y="341471"/>
                  </a:moveTo>
                  <a:cubicBezTo>
                    <a:pt x="609124" y="349091"/>
                    <a:pt x="612934" y="356711"/>
                    <a:pt x="615791" y="364331"/>
                  </a:cubicBezTo>
                  <a:cubicBezTo>
                    <a:pt x="615791" y="364331"/>
                    <a:pt x="615791" y="365284"/>
                    <a:pt x="615791" y="365284"/>
                  </a:cubicBezTo>
                  <a:cubicBezTo>
                    <a:pt x="614839" y="368141"/>
                    <a:pt x="612934" y="371951"/>
                    <a:pt x="611029" y="375761"/>
                  </a:cubicBezTo>
                  <a:cubicBezTo>
                    <a:pt x="610076" y="371951"/>
                    <a:pt x="609124" y="367189"/>
                    <a:pt x="608171" y="363379"/>
                  </a:cubicBezTo>
                  <a:cubicBezTo>
                    <a:pt x="607219" y="358616"/>
                    <a:pt x="606266" y="354806"/>
                    <a:pt x="605314" y="350996"/>
                  </a:cubicBezTo>
                  <a:cubicBezTo>
                    <a:pt x="605314" y="348139"/>
                    <a:pt x="605314" y="344329"/>
                    <a:pt x="606266" y="341471"/>
                  </a:cubicBezTo>
                  <a:close/>
                  <a:moveTo>
                    <a:pt x="606266" y="424339"/>
                  </a:moveTo>
                  <a:cubicBezTo>
                    <a:pt x="607219" y="427196"/>
                    <a:pt x="608171" y="430054"/>
                    <a:pt x="609124" y="433864"/>
                  </a:cubicBezTo>
                  <a:cubicBezTo>
                    <a:pt x="608171" y="434816"/>
                    <a:pt x="608171" y="435769"/>
                    <a:pt x="607219" y="436721"/>
                  </a:cubicBezTo>
                  <a:lnTo>
                    <a:pt x="601504" y="435769"/>
                  </a:lnTo>
                  <a:cubicBezTo>
                    <a:pt x="604361" y="432911"/>
                    <a:pt x="605314" y="428149"/>
                    <a:pt x="606266" y="424339"/>
                  </a:cubicBezTo>
                  <a:close/>
                  <a:moveTo>
                    <a:pt x="599599" y="401479"/>
                  </a:moveTo>
                  <a:cubicBezTo>
                    <a:pt x="599599" y="402431"/>
                    <a:pt x="599599" y="402431"/>
                    <a:pt x="599599" y="401479"/>
                  </a:cubicBezTo>
                  <a:cubicBezTo>
                    <a:pt x="599599" y="402431"/>
                    <a:pt x="599599" y="403384"/>
                    <a:pt x="599599" y="403384"/>
                  </a:cubicBezTo>
                  <a:cubicBezTo>
                    <a:pt x="599599" y="403384"/>
                    <a:pt x="599599" y="402431"/>
                    <a:pt x="599599" y="401479"/>
                  </a:cubicBezTo>
                  <a:close/>
                  <a:moveTo>
                    <a:pt x="587216" y="300514"/>
                  </a:moveTo>
                  <a:cubicBezTo>
                    <a:pt x="588169" y="303371"/>
                    <a:pt x="590074" y="307181"/>
                    <a:pt x="591979" y="310039"/>
                  </a:cubicBezTo>
                  <a:cubicBezTo>
                    <a:pt x="591979" y="311944"/>
                    <a:pt x="591026" y="314801"/>
                    <a:pt x="591026" y="316706"/>
                  </a:cubicBezTo>
                  <a:cubicBezTo>
                    <a:pt x="591026" y="316706"/>
                    <a:pt x="591026" y="316706"/>
                    <a:pt x="591026" y="316706"/>
                  </a:cubicBezTo>
                  <a:cubicBezTo>
                    <a:pt x="591026" y="317659"/>
                    <a:pt x="590074" y="318611"/>
                    <a:pt x="590074" y="319564"/>
                  </a:cubicBezTo>
                  <a:cubicBezTo>
                    <a:pt x="589121" y="316706"/>
                    <a:pt x="588169" y="313849"/>
                    <a:pt x="587216" y="311944"/>
                  </a:cubicBezTo>
                  <a:cubicBezTo>
                    <a:pt x="587216" y="308134"/>
                    <a:pt x="587216" y="303371"/>
                    <a:pt x="586264" y="299561"/>
                  </a:cubicBezTo>
                  <a:cubicBezTo>
                    <a:pt x="586264" y="299561"/>
                    <a:pt x="586264" y="299561"/>
                    <a:pt x="587216" y="300514"/>
                  </a:cubicBezTo>
                  <a:close/>
                  <a:moveTo>
                    <a:pt x="553879" y="257651"/>
                  </a:moveTo>
                  <a:cubicBezTo>
                    <a:pt x="554831" y="249079"/>
                    <a:pt x="554831" y="241459"/>
                    <a:pt x="555784" y="233839"/>
                  </a:cubicBezTo>
                  <a:cubicBezTo>
                    <a:pt x="556736" y="238601"/>
                    <a:pt x="557689" y="243364"/>
                    <a:pt x="558641" y="249079"/>
                  </a:cubicBezTo>
                  <a:cubicBezTo>
                    <a:pt x="557689" y="247174"/>
                    <a:pt x="556736" y="247174"/>
                    <a:pt x="556736" y="247174"/>
                  </a:cubicBezTo>
                  <a:cubicBezTo>
                    <a:pt x="556736" y="247174"/>
                    <a:pt x="557689" y="248126"/>
                    <a:pt x="558641" y="250984"/>
                  </a:cubicBezTo>
                  <a:cubicBezTo>
                    <a:pt x="561499" y="264319"/>
                    <a:pt x="565309" y="280511"/>
                    <a:pt x="570071" y="297656"/>
                  </a:cubicBezTo>
                  <a:cubicBezTo>
                    <a:pt x="570071" y="299561"/>
                    <a:pt x="571024" y="301466"/>
                    <a:pt x="571976" y="303371"/>
                  </a:cubicBezTo>
                  <a:cubicBezTo>
                    <a:pt x="571024" y="306229"/>
                    <a:pt x="570071" y="310039"/>
                    <a:pt x="569119" y="312896"/>
                  </a:cubicBezTo>
                  <a:cubicBezTo>
                    <a:pt x="567214" y="307181"/>
                    <a:pt x="566261" y="301466"/>
                    <a:pt x="564356" y="295751"/>
                  </a:cubicBezTo>
                  <a:cubicBezTo>
                    <a:pt x="560546" y="285274"/>
                    <a:pt x="557689" y="274796"/>
                    <a:pt x="553879" y="266224"/>
                  </a:cubicBezTo>
                  <a:cubicBezTo>
                    <a:pt x="553879" y="263366"/>
                    <a:pt x="553879" y="260509"/>
                    <a:pt x="553879" y="257651"/>
                  </a:cubicBezTo>
                  <a:close/>
                  <a:moveTo>
                    <a:pt x="551974" y="295751"/>
                  </a:moveTo>
                  <a:cubicBezTo>
                    <a:pt x="551974" y="294799"/>
                    <a:pt x="551974" y="294799"/>
                    <a:pt x="551974" y="295751"/>
                  </a:cubicBezTo>
                  <a:cubicBezTo>
                    <a:pt x="551974" y="295751"/>
                    <a:pt x="552926" y="297656"/>
                    <a:pt x="552926" y="298609"/>
                  </a:cubicBezTo>
                  <a:cubicBezTo>
                    <a:pt x="554831" y="304324"/>
                    <a:pt x="555784" y="310991"/>
                    <a:pt x="556736" y="317659"/>
                  </a:cubicBezTo>
                  <a:cubicBezTo>
                    <a:pt x="556736" y="318611"/>
                    <a:pt x="556736" y="319564"/>
                    <a:pt x="557689" y="321469"/>
                  </a:cubicBezTo>
                  <a:cubicBezTo>
                    <a:pt x="557689" y="321469"/>
                    <a:pt x="557689" y="321469"/>
                    <a:pt x="557689" y="322421"/>
                  </a:cubicBezTo>
                  <a:cubicBezTo>
                    <a:pt x="557689" y="323374"/>
                    <a:pt x="557689" y="324326"/>
                    <a:pt x="557689" y="326231"/>
                  </a:cubicBezTo>
                  <a:cubicBezTo>
                    <a:pt x="555784" y="319564"/>
                    <a:pt x="553879" y="312896"/>
                    <a:pt x="552926" y="306229"/>
                  </a:cubicBezTo>
                  <a:cubicBezTo>
                    <a:pt x="551974" y="301466"/>
                    <a:pt x="551974" y="298609"/>
                    <a:pt x="551974" y="295751"/>
                  </a:cubicBezTo>
                  <a:close/>
                  <a:moveTo>
                    <a:pt x="529114" y="290036"/>
                  </a:moveTo>
                  <a:cubicBezTo>
                    <a:pt x="529114" y="290036"/>
                    <a:pt x="529114" y="290989"/>
                    <a:pt x="529114" y="290036"/>
                  </a:cubicBezTo>
                  <a:cubicBezTo>
                    <a:pt x="529114" y="290989"/>
                    <a:pt x="529114" y="290989"/>
                    <a:pt x="529114" y="290036"/>
                  </a:cubicBezTo>
                  <a:cubicBezTo>
                    <a:pt x="529114" y="290989"/>
                    <a:pt x="529114" y="290036"/>
                    <a:pt x="529114" y="290036"/>
                  </a:cubicBezTo>
                  <a:close/>
                  <a:moveTo>
                    <a:pt x="522446" y="336709"/>
                  </a:moveTo>
                  <a:cubicBezTo>
                    <a:pt x="522446" y="333851"/>
                    <a:pt x="523399" y="331946"/>
                    <a:pt x="523399" y="329089"/>
                  </a:cubicBezTo>
                  <a:cubicBezTo>
                    <a:pt x="524351" y="331946"/>
                    <a:pt x="525304" y="333851"/>
                    <a:pt x="526256" y="336709"/>
                  </a:cubicBezTo>
                  <a:cubicBezTo>
                    <a:pt x="528161" y="341471"/>
                    <a:pt x="530066" y="346234"/>
                    <a:pt x="531019" y="350996"/>
                  </a:cubicBezTo>
                  <a:cubicBezTo>
                    <a:pt x="531019" y="358616"/>
                    <a:pt x="531019" y="366236"/>
                    <a:pt x="531971" y="374809"/>
                  </a:cubicBezTo>
                  <a:cubicBezTo>
                    <a:pt x="531971" y="384334"/>
                    <a:pt x="532924" y="393859"/>
                    <a:pt x="533876" y="403384"/>
                  </a:cubicBezTo>
                  <a:cubicBezTo>
                    <a:pt x="530066" y="397669"/>
                    <a:pt x="528161" y="394811"/>
                    <a:pt x="528161" y="394811"/>
                  </a:cubicBezTo>
                  <a:cubicBezTo>
                    <a:pt x="528161" y="394811"/>
                    <a:pt x="530066" y="400526"/>
                    <a:pt x="532924" y="410051"/>
                  </a:cubicBezTo>
                  <a:cubicBezTo>
                    <a:pt x="533876" y="411956"/>
                    <a:pt x="534829" y="414814"/>
                    <a:pt x="534829" y="417671"/>
                  </a:cubicBezTo>
                  <a:cubicBezTo>
                    <a:pt x="534829" y="421481"/>
                    <a:pt x="535781" y="426244"/>
                    <a:pt x="535781" y="430054"/>
                  </a:cubicBezTo>
                  <a:lnTo>
                    <a:pt x="523399" y="428149"/>
                  </a:lnTo>
                  <a:cubicBezTo>
                    <a:pt x="523399" y="428149"/>
                    <a:pt x="522446" y="427196"/>
                    <a:pt x="522446" y="427196"/>
                  </a:cubicBezTo>
                  <a:cubicBezTo>
                    <a:pt x="522446" y="426244"/>
                    <a:pt x="522446" y="424339"/>
                    <a:pt x="522446" y="423386"/>
                  </a:cubicBezTo>
                  <a:cubicBezTo>
                    <a:pt x="525304" y="414814"/>
                    <a:pt x="527209" y="410051"/>
                    <a:pt x="527209" y="410051"/>
                  </a:cubicBezTo>
                  <a:cubicBezTo>
                    <a:pt x="527209" y="410051"/>
                    <a:pt x="525304" y="412909"/>
                    <a:pt x="522446" y="418624"/>
                  </a:cubicBezTo>
                  <a:cubicBezTo>
                    <a:pt x="522446" y="413861"/>
                    <a:pt x="521494" y="409099"/>
                    <a:pt x="521494" y="405289"/>
                  </a:cubicBezTo>
                  <a:cubicBezTo>
                    <a:pt x="520541" y="392906"/>
                    <a:pt x="518636" y="380524"/>
                    <a:pt x="517684" y="369094"/>
                  </a:cubicBezTo>
                  <a:cubicBezTo>
                    <a:pt x="519589" y="356711"/>
                    <a:pt x="520541" y="347186"/>
                    <a:pt x="522446" y="336709"/>
                  </a:cubicBezTo>
                  <a:close/>
                  <a:moveTo>
                    <a:pt x="512921" y="271939"/>
                  </a:moveTo>
                  <a:cubicBezTo>
                    <a:pt x="511969" y="276701"/>
                    <a:pt x="511016" y="281464"/>
                    <a:pt x="509111" y="287179"/>
                  </a:cubicBezTo>
                  <a:cubicBezTo>
                    <a:pt x="509111" y="287179"/>
                    <a:pt x="509111" y="287179"/>
                    <a:pt x="509111" y="288131"/>
                  </a:cubicBezTo>
                  <a:cubicBezTo>
                    <a:pt x="508159" y="284321"/>
                    <a:pt x="508159" y="279559"/>
                    <a:pt x="507206" y="275749"/>
                  </a:cubicBezTo>
                  <a:cubicBezTo>
                    <a:pt x="507206" y="270986"/>
                    <a:pt x="508159" y="267176"/>
                    <a:pt x="508159" y="262414"/>
                  </a:cubicBezTo>
                  <a:lnTo>
                    <a:pt x="509111" y="262414"/>
                  </a:lnTo>
                  <a:cubicBezTo>
                    <a:pt x="511016" y="265271"/>
                    <a:pt x="511969" y="268129"/>
                    <a:pt x="512921" y="271939"/>
                  </a:cubicBezTo>
                  <a:close/>
                  <a:moveTo>
                    <a:pt x="497681" y="207169"/>
                  </a:moveTo>
                  <a:cubicBezTo>
                    <a:pt x="500539" y="217646"/>
                    <a:pt x="503396" y="230981"/>
                    <a:pt x="506254" y="245269"/>
                  </a:cubicBezTo>
                  <a:cubicBezTo>
                    <a:pt x="507206" y="249079"/>
                    <a:pt x="508159" y="252889"/>
                    <a:pt x="509111" y="256699"/>
                  </a:cubicBezTo>
                  <a:cubicBezTo>
                    <a:pt x="508159" y="256699"/>
                    <a:pt x="507206" y="256699"/>
                    <a:pt x="506254" y="256699"/>
                  </a:cubicBezTo>
                  <a:lnTo>
                    <a:pt x="505301" y="256699"/>
                  </a:lnTo>
                  <a:cubicBezTo>
                    <a:pt x="505301" y="256699"/>
                    <a:pt x="505301" y="256699"/>
                    <a:pt x="505301" y="256699"/>
                  </a:cubicBezTo>
                  <a:cubicBezTo>
                    <a:pt x="502444" y="238601"/>
                    <a:pt x="499586" y="220504"/>
                    <a:pt x="497681" y="207169"/>
                  </a:cubicBezTo>
                  <a:cubicBezTo>
                    <a:pt x="496729" y="207169"/>
                    <a:pt x="496729" y="207169"/>
                    <a:pt x="497681" y="207169"/>
                  </a:cubicBezTo>
                  <a:close/>
                  <a:moveTo>
                    <a:pt x="487204" y="419576"/>
                  </a:moveTo>
                  <a:cubicBezTo>
                    <a:pt x="487204" y="420529"/>
                    <a:pt x="486251" y="421481"/>
                    <a:pt x="486251" y="422434"/>
                  </a:cubicBezTo>
                  <a:lnTo>
                    <a:pt x="483394" y="422434"/>
                  </a:lnTo>
                  <a:cubicBezTo>
                    <a:pt x="483394" y="421481"/>
                    <a:pt x="483394" y="419576"/>
                    <a:pt x="483394" y="418624"/>
                  </a:cubicBezTo>
                  <a:cubicBezTo>
                    <a:pt x="483394" y="412909"/>
                    <a:pt x="482441" y="407194"/>
                    <a:pt x="481489" y="401479"/>
                  </a:cubicBezTo>
                  <a:cubicBezTo>
                    <a:pt x="483394" y="407194"/>
                    <a:pt x="485299" y="413861"/>
                    <a:pt x="487204" y="419576"/>
                  </a:cubicBezTo>
                  <a:close/>
                  <a:moveTo>
                    <a:pt x="437674" y="390049"/>
                  </a:moveTo>
                  <a:cubicBezTo>
                    <a:pt x="437674" y="390049"/>
                    <a:pt x="437674" y="390049"/>
                    <a:pt x="437674" y="390049"/>
                  </a:cubicBezTo>
                  <a:cubicBezTo>
                    <a:pt x="437674" y="389096"/>
                    <a:pt x="437674" y="389096"/>
                    <a:pt x="437674" y="388144"/>
                  </a:cubicBezTo>
                  <a:cubicBezTo>
                    <a:pt x="437674" y="388144"/>
                    <a:pt x="437674" y="388144"/>
                    <a:pt x="437674" y="388144"/>
                  </a:cubicBezTo>
                  <a:cubicBezTo>
                    <a:pt x="437674" y="389096"/>
                    <a:pt x="437674" y="390049"/>
                    <a:pt x="437674" y="390049"/>
                  </a:cubicBezTo>
                  <a:cubicBezTo>
                    <a:pt x="437674" y="391001"/>
                    <a:pt x="437674" y="390049"/>
                    <a:pt x="437674" y="390049"/>
                  </a:cubicBezTo>
                  <a:close/>
                  <a:moveTo>
                    <a:pt x="448151" y="362426"/>
                  </a:moveTo>
                  <a:cubicBezTo>
                    <a:pt x="447199" y="360521"/>
                    <a:pt x="446246" y="358616"/>
                    <a:pt x="446246" y="356711"/>
                  </a:cubicBezTo>
                  <a:cubicBezTo>
                    <a:pt x="447199" y="353854"/>
                    <a:pt x="448151" y="350044"/>
                    <a:pt x="449104" y="347186"/>
                  </a:cubicBezTo>
                  <a:cubicBezTo>
                    <a:pt x="448151" y="351949"/>
                    <a:pt x="448151" y="357664"/>
                    <a:pt x="448151" y="362426"/>
                  </a:cubicBezTo>
                  <a:close/>
                  <a:moveTo>
                    <a:pt x="436721" y="227171"/>
                  </a:moveTo>
                  <a:cubicBezTo>
                    <a:pt x="437674" y="233839"/>
                    <a:pt x="439579" y="239554"/>
                    <a:pt x="440531" y="246221"/>
                  </a:cubicBezTo>
                  <a:cubicBezTo>
                    <a:pt x="438626" y="242411"/>
                    <a:pt x="436721" y="238601"/>
                    <a:pt x="434816" y="234791"/>
                  </a:cubicBezTo>
                  <a:cubicBezTo>
                    <a:pt x="435769" y="231934"/>
                    <a:pt x="435769" y="230029"/>
                    <a:pt x="436721" y="227171"/>
                  </a:cubicBezTo>
                  <a:close/>
                  <a:moveTo>
                    <a:pt x="428149" y="280511"/>
                  </a:moveTo>
                  <a:cubicBezTo>
                    <a:pt x="430054" y="270986"/>
                    <a:pt x="431006" y="262414"/>
                    <a:pt x="431959" y="253841"/>
                  </a:cubicBezTo>
                  <a:cubicBezTo>
                    <a:pt x="431959" y="255746"/>
                    <a:pt x="432911" y="256699"/>
                    <a:pt x="432911" y="258604"/>
                  </a:cubicBezTo>
                  <a:cubicBezTo>
                    <a:pt x="434816" y="266224"/>
                    <a:pt x="436721" y="274796"/>
                    <a:pt x="438626" y="284321"/>
                  </a:cubicBezTo>
                  <a:cubicBezTo>
                    <a:pt x="438626" y="286226"/>
                    <a:pt x="439579" y="288131"/>
                    <a:pt x="439579" y="290036"/>
                  </a:cubicBezTo>
                  <a:cubicBezTo>
                    <a:pt x="434816" y="284321"/>
                    <a:pt x="432911" y="281464"/>
                    <a:pt x="432911" y="281464"/>
                  </a:cubicBezTo>
                  <a:cubicBezTo>
                    <a:pt x="432911" y="281464"/>
                    <a:pt x="435769" y="287179"/>
                    <a:pt x="439579" y="295751"/>
                  </a:cubicBezTo>
                  <a:cubicBezTo>
                    <a:pt x="440531" y="296704"/>
                    <a:pt x="440531" y="298609"/>
                    <a:pt x="441484" y="299561"/>
                  </a:cubicBezTo>
                  <a:cubicBezTo>
                    <a:pt x="442436" y="303371"/>
                    <a:pt x="443389" y="308134"/>
                    <a:pt x="443389" y="312896"/>
                  </a:cubicBezTo>
                  <a:cubicBezTo>
                    <a:pt x="444341" y="317659"/>
                    <a:pt x="445294" y="323374"/>
                    <a:pt x="446246" y="328136"/>
                  </a:cubicBezTo>
                  <a:cubicBezTo>
                    <a:pt x="446246" y="330994"/>
                    <a:pt x="447199" y="332899"/>
                    <a:pt x="447199" y="335756"/>
                  </a:cubicBezTo>
                  <a:cubicBezTo>
                    <a:pt x="446246" y="337661"/>
                    <a:pt x="445294" y="339566"/>
                    <a:pt x="445294" y="341471"/>
                  </a:cubicBezTo>
                  <a:cubicBezTo>
                    <a:pt x="444341" y="344329"/>
                    <a:pt x="443389" y="346234"/>
                    <a:pt x="442436" y="349091"/>
                  </a:cubicBezTo>
                  <a:cubicBezTo>
                    <a:pt x="439579" y="342424"/>
                    <a:pt x="437674" y="336709"/>
                    <a:pt x="434816" y="331946"/>
                  </a:cubicBezTo>
                  <a:cubicBezTo>
                    <a:pt x="434816" y="322421"/>
                    <a:pt x="434816" y="317659"/>
                    <a:pt x="434816" y="317659"/>
                  </a:cubicBezTo>
                  <a:cubicBezTo>
                    <a:pt x="434816" y="317659"/>
                    <a:pt x="433864" y="321469"/>
                    <a:pt x="432911" y="328136"/>
                  </a:cubicBezTo>
                  <a:cubicBezTo>
                    <a:pt x="430054" y="319564"/>
                    <a:pt x="426244" y="310991"/>
                    <a:pt x="423386" y="303371"/>
                  </a:cubicBezTo>
                  <a:cubicBezTo>
                    <a:pt x="426244" y="295751"/>
                    <a:pt x="427196" y="288131"/>
                    <a:pt x="428149" y="280511"/>
                  </a:cubicBezTo>
                  <a:close/>
                  <a:moveTo>
                    <a:pt x="418624" y="345281"/>
                  </a:moveTo>
                  <a:cubicBezTo>
                    <a:pt x="419576" y="337661"/>
                    <a:pt x="420529" y="330041"/>
                    <a:pt x="422434" y="322421"/>
                  </a:cubicBezTo>
                  <a:cubicBezTo>
                    <a:pt x="424339" y="328136"/>
                    <a:pt x="425291" y="333851"/>
                    <a:pt x="427196" y="339566"/>
                  </a:cubicBezTo>
                  <a:cubicBezTo>
                    <a:pt x="428149" y="343376"/>
                    <a:pt x="429101" y="347186"/>
                    <a:pt x="430054" y="350996"/>
                  </a:cubicBezTo>
                  <a:cubicBezTo>
                    <a:pt x="429101" y="354806"/>
                    <a:pt x="429101" y="358616"/>
                    <a:pt x="428149" y="362426"/>
                  </a:cubicBezTo>
                  <a:cubicBezTo>
                    <a:pt x="427196" y="360521"/>
                    <a:pt x="426244" y="358616"/>
                    <a:pt x="426244" y="356711"/>
                  </a:cubicBezTo>
                  <a:cubicBezTo>
                    <a:pt x="423386" y="349091"/>
                    <a:pt x="420529" y="344329"/>
                    <a:pt x="420529" y="344329"/>
                  </a:cubicBezTo>
                  <a:cubicBezTo>
                    <a:pt x="420529" y="344329"/>
                    <a:pt x="420529" y="349091"/>
                    <a:pt x="422434" y="357664"/>
                  </a:cubicBezTo>
                  <a:cubicBezTo>
                    <a:pt x="423386" y="361474"/>
                    <a:pt x="423386" y="367189"/>
                    <a:pt x="424339" y="372904"/>
                  </a:cubicBezTo>
                  <a:cubicBezTo>
                    <a:pt x="424339" y="374809"/>
                    <a:pt x="425291" y="375761"/>
                    <a:pt x="425291" y="377666"/>
                  </a:cubicBezTo>
                  <a:cubicBezTo>
                    <a:pt x="425291" y="376714"/>
                    <a:pt x="424339" y="375761"/>
                    <a:pt x="424339" y="375761"/>
                  </a:cubicBezTo>
                  <a:cubicBezTo>
                    <a:pt x="424339" y="375761"/>
                    <a:pt x="424339" y="374809"/>
                    <a:pt x="424339" y="374809"/>
                  </a:cubicBezTo>
                  <a:cubicBezTo>
                    <a:pt x="422434" y="367189"/>
                    <a:pt x="420529" y="359569"/>
                    <a:pt x="418624" y="351949"/>
                  </a:cubicBezTo>
                  <a:cubicBezTo>
                    <a:pt x="417671" y="349091"/>
                    <a:pt x="418624" y="347186"/>
                    <a:pt x="418624" y="345281"/>
                  </a:cubicBezTo>
                  <a:close/>
                  <a:moveTo>
                    <a:pt x="406241" y="261461"/>
                  </a:moveTo>
                  <a:cubicBezTo>
                    <a:pt x="408146" y="267176"/>
                    <a:pt x="410051" y="275749"/>
                    <a:pt x="411956" y="285274"/>
                  </a:cubicBezTo>
                  <a:cubicBezTo>
                    <a:pt x="410051" y="292894"/>
                    <a:pt x="409099" y="301466"/>
                    <a:pt x="407194" y="310039"/>
                  </a:cubicBezTo>
                  <a:cubicBezTo>
                    <a:pt x="406241" y="307181"/>
                    <a:pt x="406241" y="304324"/>
                    <a:pt x="405289" y="302419"/>
                  </a:cubicBezTo>
                  <a:cubicBezTo>
                    <a:pt x="406241" y="288131"/>
                    <a:pt x="406241" y="273844"/>
                    <a:pt x="406241" y="261461"/>
                  </a:cubicBezTo>
                  <a:close/>
                  <a:moveTo>
                    <a:pt x="382429" y="290036"/>
                  </a:moveTo>
                  <a:cubicBezTo>
                    <a:pt x="382429" y="290989"/>
                    <a:pt x="382429" y="292894"/>
                    <a:pt x="381476" y="293846"/>
                  </a:cubicBezTo>
                  <a:cubicBezTo>
                    <a:pt x="381476" y="290989"/>
                    <a:pt x="381476" y="288131"/>
                    <a:pt x="381476" y="285274"/>
                  </a:cubicBezTo>
                  <a:cubicBezTo>
                    <a:pt x="381476" y="287179"/>
                    <a:pt x="382429" y="288131"/>
                    <a:pt x="382429" y="290036"/>
                  </a:cubicBezTo>
                  <a:close/>
                  <a:moveTo>
                    <a:pt x="361474" y="394811"/>
                  </a:moveTo>
                  <a:cubicBezTo>
                    <a:pt x="361474" y="397669"/>
                    <a:pt x="361474" y="401479"/>
                    <a:pt x="361474" y="404336"/>
                  </a:cubicBezTo>
                  <a:cubicBezTo>
                    <a:pt x="361474" y="405289"/>
                    <a:pt x="361474" y="406241"/>
                    <a:pt x="361474" y="407194"/>
                  </a:cubicBezTo>
                  <a:cubicBezTo>
                    <a:pt x="359569" y="399574"/>
                    <a:pt x="357664" y="391001"/>
                    <a:pt x="354806" y="383381"/>
                  </a:cubicBezTo>
                  <a:cubicBezTo>
                    <a:pt x="354806" y="383381"/>
                    <a:pt x="354806" y="383381"/>
                    <a:pt x="354806" y="382429"/>
                  </a:cubicBezTo>
                  <a:cubicBezTo>
                    <a:pt x="353854" y="379571"/>
                    <a:pt x="353854" y="376714"/>
                    <a:pt x="352901" y="373856"/>
                  </a:cubicBezTo>
                  <a:cubicBezTo>
                    <a:pt x="355759" y="381476"/>
                    <a:pt x="358616" y="388144"/>
                    <a:pt x="361474" y="394811"/>
                  </a:cubicBezTo>
                  <a:close/>
                  <a:moveTo>
                    <a:pt x="347186" y="307181"/>
                  </a:moveTo>
                  <a:cubicBezTo>
                    <a:pt x="348139" y="309086"/>
                    <a:pt x="348139" y="310039"/>
                    <a:pt x="349091" y="311944"/>
                  </a:cubicBezTo>
                  <a:cubicBezTo>
                    <a:pt x="348139" y="310991"/>
                    <a:pt x="348139" y="310039"/>
                    <a:pt x="347186" y="309086"/>
                  </a:cubicBezTo>
                  <a:cubicBezTo>
                    <a:pt x="346234" y="309086"/>
                    <a:pt x="346234" y="308134"/>
                    <a:pt x="347186" y="307181"/>
                  </a:cubicBezTo>
                  <a:close/>
                  <a:moveTo>
                    <a:pt x="347186" y="429101"/>
                  </a:moveTo>
                  <a:cubicBezTo>
                    <a:pt x="347186" y="430054"/>
                    <a:pt x="348139" y="431959"/>
                    <a:pt x="348139" y="432911"/>
                  </a:cubicBezTo>
                  <a:lnTo>
                    <a:pt x="346234" y="432911"/>
                  </a:lnTo>
                  <a:cubicBezTo>
                    <a:pt x="346234" y="431006"/>
                    <a:pt x="346234" y="430054"/>
                    <a:pt x="347186" y="429101"/>
                  </a:cubicBezTo>
                  <a:close/>
                  <a:moveTo>
                    <a:pt x="310991" y="439579"/>
                  </a:moveTo>
                  <a:cubicBezTo>
                    <a:pt x="310991" y="434816"/>
                    <a:pt x="310991" y="429101"/>
                    <a:pt x="311944" y="424339"/>
                  </a:cubicBezTo>
                  <a:cubicBezTo>
                    <a:pt x="313849" y="429101"/>
                    <a:pt x="315754" y="433864"/>
                    <a:pt x="317659" y="438626"/>
                  </a:cubicBezTo>
                  <a:lnTo>
                    <a:pt x="310991" y="439579"/>
                  </a:lnTo>
                  <a:close/>
                  <a:moveTo>
                    <a:pt x="302419" y="230981"/>
                  </a:moveTo>
                  <a:cubicBezTo>
                    <a:pt x="303371" y="232886"/>
                    <a:pt x="303371" y="235744"/>
                    <a:pt x="304324" y="237649"/>
                  </a:cubicBezTo>
                  <a:cubicBezTo>
                    <a:pt x="305276" y="242411"/>
                    <a:pt x="306229" y="247174"/>
                    <a:pt x="307181" y="252889"/>
                  </a:cubicBezTo>
                  <a:cubicBezTo>
                    <a:pt x="303371" y="247174"/>
                    <a:pt x="300514" y="244316"/>
                    <a:pt x="300514" y="244316"/>
                  </a:cubicBezTo>
                  <a:cubicBezTo>
                    <a:pt x="300514" y="238601"/>
                    <a:pt x="301466" y="234791"/>
                    <a:pt x="302419" y="230981"/>
                  </a:cubicBezTo>
                  <a:close/>
                  <a:moveTo>
                    <a:pt x="295751" y="269081"/>
                  </a:moveTo>
                  <a:cubicBezTo>
                    <a:pt x="296704" y="264319"/>
                    <a:pt x="297656" y="262414"/>
                    <a:pt x="297656" y="262414"/>
                  </a:cubicBezTo>
                  <a:cubicBezTo>
                    <a:pt x="297656" y="262414"/>
                    <a:pt x="296704" y="263366"/>
                    <a:pt x="295751" y="265271"/>
                  </a:cubicBezTo>
                  <a:cubicBezTo>
                    <a:pt x="296704" y="260509"/>
                    <a:pt x="296704" y="256699"/>
                    <a:pt x="297656" y="251936"/>
                  </a:cubicBezTo>
                  <a:cubicBezTo>
                    <a:pt x="298609" y="249079"/>
                    <a:pt x="298609" y="246221"/>
                    <a:pt x="299561" y="243364"/>
                  </a:cubicBezTo>
                  <a:cubicBezTo>
                    <a:pt x="299561" y="244316"/>
                    <a:pt x="300514" y="245269"/>
                    <a:pt x="301466" y="247174"/>
                  </a:cubicBezTo>
                  <a:cubicBezTo>
                    <a:pt x="304324" y="254794"/>
                    <a:pt x="307181" y="262414"/>
                    <a:pt x="310039" y="270986"/>
                  </a:cubicBezTo>
                  <a:cubicBezTo>
                    <a:pt x="312896" y="285274"/>
                    <a:pt x="315754" y="298609"/>
                    <a:pt x="319564" y="312896"/>
                  </a:cubicBezTo>
                  <a:cubicBezTo>
                    <a:pt x="322421" y="328136"/>
                    <a:pt x="326231" y="343376"/>
                    <a:pt x="330041" y="358616"/>
                  </a:cubicBezTo>
                  <a:cubicBezTo>
                    <a:pt x="330041" y="359569"/>
                    <a:pt x="330041" y="360521"/>
                    <a:pt x="330041" y="362426"/>
                  </a:cubicBezTo>
                  <a:cubicBezTo>
                    <a:pt x="329089" y="375761"/>
                    <a:pt x="328136" y="390049"/>
                    <a:pt x="327184" y="404336"/>
                  </a:cubicBezTo>
                  <a:cubicBezTo>
                    <a:pt x="327184" y="404336"/>
                    <a:pt x="327184" y="404336"/>
                    <a:pt x="327184" y="404336"/>
                  </a:cubicBezTo>
                  <a:cubicBezTo>
                    <a:pt x="325279" y="400526"/>
                    <a:pt x="323374" y="396716"/>
                    <a:pt x="321469" y="392906"/>
                  </a:cubicBezTo>
                  <a:cubicBezTo>
                    <a:pt x="317659" y="382429"/>
                    <a:pt x="313849" y="371951"/>
                    <a:pt x="310991" y="362426"/>
                  </a:cubicBezTo>
                  <a:cubicBezTo>
                    <a:pt x="306229" y="347186"/>
                    <a:pt x="301466" y="332899"/>
                    <a:pt x="296704" y="318611"/>
                  </a:cubicBezTo>
                  <a:cubicBezTo>
                    <a:pt x="294799" y="312896"/>
                    <a:pt x="293846" y="308134"/>
                    <a:pt x="291941" y="302419"/>
                  </a:cubicBezTo>
                  <a:cubicBezTo>
                    <a:pt x="292894" y="290989"/>
                    <a:pt x="294799" y="279559"/>
                    <a:pt x="295751" y="269081"/>
                  </a:cubicBezTo>
                  <a:close/>
                  <a:moveTo>
                    <a:pt x="283369" y="378619"/>
                  </a:moveTo>
                  <a:cubicBezTo>
                    <a:pt x="283369" y="373856"/>
                    <a:pt x="284321" y="369094"/>
                    <a:pt x="284321" y="365284"/>
                  </a:cubicBezTo>
                  <a:cubicBezTo>
                    <a:pt x="284321" y="364331"/>
                    <a:pt x="284321" y="363379"/>
                    <a:pt x="285274" y="363379"/>
                  </a:cubicBezTo>
                  <a:cubicBezTo>
                    <a:pt x="289084" y="370999"/>
                    <a:pt x="291941" y="378619"/>
                    <a:pt x="295751" y="387191"/>
                  </a:cubicBezTo>
                  <a:cubicBezTo>
                    <a:pt x="297656" y="391954"/>
                    <a:pt x="300514" y="395764"/>
                    <a:pt x="302419" y="400526"/>
                  </a:cubicBezTo>
                  <a:cubicBezTo>
                    <a:pt x="302419" y="401479"/>
                    <a:pt x="303371" y="403384"/>
                    <a:pt x="303371" y="404336"/>
                  </a:cubicBezTo>
                  <a:cubicBezTo>
                    <a:pt x="302419" y="407194"/>
                    <a:pt x="302419" y="410051"/>
                    <a:pt x="301466" y="412909"/>
                  </a:cubicBezTo>
                  <a:cubicBezTo>
                    <a:pt x="299561" y="422434"/>
                    <a:pt x="297656" y="432911"/>
                    <a:pt x="295751" y="442436"/>
                  </a:cubicBezTo>
                  <a:lnTo>
                    <a:pt x="283369" y="444341"/>
                  </a:lnTo>
                  <a:cubicBezTo>
                    <a:pt x="282416" y="441484"/>
                    <a:pt x="282416" y="438626"/>
                    <a:pt x="281464" y="435769"/>
                  </a:cubicBezTo>
                  <a:cubicBezTo>
                    <a:pt x="281464" y="425291"/>
                    <a:pt x="281464" y="415766"/>
                    <a:pt x="281464" y="407194"/>
                  </a:cubicBezTo>
                  <a:cubicBezTo>
                    <a:pt x="281464" y="397669"/>
                    <a:pt x="282416" y="388144"/>
                    <a:pt x="283369" y="378619"/>
                  </a:cubicBezTo>
                  <a:close/>
                  <a:moveTo>
                    <a:pt x="237649" y="415766"/>
                  </a:moveTo>
                  <a:cubicBezTo>
                    <a:pt x="234791" y="409099"/>
                    <a:pt x="230981" y="402431"/>
                    <a:pt x="228124" y="395764"/>
                  </a:cubicBezTo>
                  <a:cubicBezTo>
                    <a:pt x="228124" y="391954"/>
                    <a:pt x="229076" y="387191"/>
                    <a:pt x="229076" y="383381"/>
                  </a:cubicBezTo>
                  <a:cubicBezTo>
                    <a:pt x="232886" y="391001"/>
                    <a:pt x="235744" y="398621"/>
                    <a:pt x="239554" y="406241"/>
                  </a:cubicBezTo>
                  <a:cubicBezTo>
                    <a:pt x="239554" y="410051"/>
                    <a:pt x="238601" y="412909"/>
                    <a:pt x="237649" y="415766"/>
                  </a:cubicBezTo>
                  <a:close/>
                  <a:moveTo>
                    <a:pt x="247174" y="431006"/>
                  </a:moveTo>
                  <a:cubicBezTo>
                    <a:pt x="247174" y="429101"/>
                    <a:pt x="247174" y="427196"/>
                    <a:pt x="248126" y="425291"/>
                  </a:cubicBezTo>
                  <a:cubicBezTo>
                    <a:pt x="248126" y="425291"/>
                    <a:pt x="248126" y="425291"/>
                    <a:pt x="248126" y="425291"/>
                  </a:cubicBezTo>
                  <a:cubicBezTo>
                    <a:pt x="248126" y="427196"/>
                    <a:pt x="247174" y="429101"/>
                    <a:pt x="247174" y="431006"/>
                  </a:cubicBezTo>
                  <a:close/>
                  <a:moveTo>
                    <a:pt x="264319" y="204311"/>
                  </a:moveTo>
                  <a:cubicBezTo>
                    <a:pt x="267176" y="195739"/>
                    <a:pt x="269081" y="189071"/>
                    <a:pt x="270986" y="185261"/>
                  </a:cubicBezTo>
                  <a:cubicBezTo>
                    <a:pt x="269081" y="194786"/>
                    <a:pt x="268129" y="204311"/>
                    <a:pt x="267176" y="214789"/>
                  </a:cubicBezTo>
                  <a:cubicBezTo>
                    <a:pt x="267176" y="212884"/>
                    <a:pt x="266224" y="211931"/>
                    <a:pt x="266224" y="210026"/>
                  </a:cubicBezTo>
                  <a:cubicBezTo>
                    <a:pt x="264319" y="207169"/>
                    <a:pt x="264319" y="206216"/>
                    <a:pt x="264319" y="204311"/>
                  </a:cubicBezTo>
                  <a:cubicBezTo>
                    <a:pt x="264319" y="204311"/>
                    <a:pt x="264319" y="204311"/>
                    <a:pt x="264319" y="204311"/>
                  </a:cubicBezTo>
                  <a:close/>
                  <a:moveTo>
                    <a:pt x="254794" y="235744"/>
                  </a:moveTo>
                  <a:cubicBezTo>
                    <a:pt x="256699" y="230029"/>
                    <a:pt x="257651" y="225266"/>
                    <a:pt x="258604" y="220504"/>
                  </a:cubicBezTo>
                  <a:cubicBezTo>
                    <a:pt x="259556" y="227171"/>
                    <a:pt x="260509" y="234791"/>
                    <a:pt x="261461" y="242411"/>
                  </a:cubicBezTo>
                  <a:cubicBezTo>
                    <a:pt x="261461" y="243364"/>
                    <a:pt x="261461" y="244316"/>
                    <a:pt x="262414" y="245269"/>
                  </a:cubicBezTo>
                  <a:cubicBezTo>
                    <a:pt x="261461" y="253841"/>
                    <a:pt x="260509" y="261461"/>
                    <a:pt x="260509" y="270034"/>
                  </a:cubicBezTo>
                  <a:cubicBezTo>
                    <a:pt x="259556" y="268129"/>
                    <a:pt x="258604" y="266224"/>
                    <a:pt x="257651" y="264319"/>
                  </a:cubicBezTo>
                  <a:cubicBezTo>
                    <a:pt x="254794" y="258604"/>
                    <a:pt x="252889" y="253841"/>
                    <a:pt x="250984" y="249079"/>
                  </a:cubicBezTo>
                  <a:cubicBezTo>
                    <a:pt x="252889" y="245269"/>
                    <a:pt x="253841" y="239554"/>
                    <a:pt x="254794" y="235744"/>
                  </a:cubicBezTo>
                  <a:close/>
                  <a:moveTo>
                    <a:pt x="245269" y="276701"/>
                  </a:moveTo>
                  <a:cubicBezTo>
                    <a:pt x="246221" y="270986"/>
                    <a:pt x="248126" y="265271"/>
                    <a:pt x="249079" y="260509"/>
                  </a:cubicBezTo>
                  <a:cubicBezTo>
                    <a:pt x="250031" y="262414"/>
                    <a:pt x="250031" y="265271"/>
                    <a:pt x="250984" y="268129"/>
                  </a:cubicBezTo>
                  <a:cubicBezTo>
                    <a:pt x="252889" y="275749"/>
                    <a:pt x="255746" y="284321"/>
                    <a:pt x="258604" y="292894"/>
                  </a:cubicBezTo>
                  <a:cubicBezTo>
                    <a:pt x="258604" y="293846"/>
                    <a:pt x="259556" y="294799"/>
                    <a:pt x="259556" y="294799"/>
                  </a:cubicBezTo>
                  <a:cubicBezTo>
                    <a:pt x="259556" y="295751"/>
                    <a:pt x="259556" y="296704"/>
                    <a:pt x="259556" y="297656"/>
                  </a:cubicBezTo>
                  <a:cubicBezTo>
                    <a:pt x="258604" y="310039"/>
                    <a:pt x="258604" y="321469"/>
                    <a:pt x="257651" y="333851"/>
                  </a:cubicBezTo>
                  <a:cubicBezTo>
                    <a:pt x="255746" y="325279"/>
                    <a:pt x="253841" y="317659"/>
                    <a:pt x="250984" y="309086"/>
                  </a:cubicBezTo>
                  <a:cubicBezTo>
                    <a:pt x="252889" y="304324"/>
                    <a:pt x="253841" y="301466"/>
                    <a:pt x="253841" y="301466"/>
                  </a:cubicBezTo>
                  <a:cubicBezTo>
                    <a:pt x="253841" y="301466"/>
                    <a:pt x="252889" y="303371"/>
                    <a:pt x="250984" y="307181"/>
                  </a:cubicBezTo>
                  <a:cubicBezTo>
                    <a:pt x="249079" y="299561"/>
                    <a:pt x="247174" y="291941"/>
                    <a:pt x="244316" y="284321"/>
                  </a:cubicBezTo>
                  <a:cubicBezTo>
                    <a:pt x="244316" y="281464"/>
                    <a:pt x="245269" y="279559"/>
                    <a:pt x="245269" y="276701"/>
                  </a:cubicBezTo>
                  <a:close/>
                  <a:moveTo>
                    <a:pt x="236696" y="325279"/>
                  </a:moveTo>
                  <a:cubicBezTo>
                    <a:pt x="236696" y="324326"/>
                    <a:pt x="236696" y="323374"/>
                    <a:pt x="237649" y="322421"/>
                  </a:cubicBezTo>
                  <a:cubicBezTo>
                    <a:pt x="237649" y="324326"/>
                    <a:pt x="238601" y="327184"/>
                    <a:pt x="238601" y="329089"/>
                  </a:cubicBezTo>
                  <a:cubicBezTo>
                    <a:pt x="237649" y="330994"/>
                    <a:pt x="236696" y="332899"/>
                    <a:pt x="235744" y="335756"/>
                  </a:cubicBezTo>
                  <a:cubicBezTo>
                    <a:pt x="235744" y="332899"/>
                    <a:pt x="235744" y="329089"/>
                    <a:pt x="236696" y="325279"/>
                  </a:cubicBezTo>
                  <a:close/>
                  <a:moveTo>
                    <a:pt x="234791" y="353854"/>
                  </a:moveTo>
                  <a:cubicBezTo>
                    <a:pt x="236696" y="348139"/>
                    <a:pt x="238601" y="342424"/>
                    <a:pt x="240506" y="337661"/>
                  </a:cubicBezTo>
                  <a:cubicBezTo>
                    <a:pt x="240506" y="339566"/>
                    <a:pt x="241459" y="340519"/>
                    <a:pt x="241459" y="342424"/>
                  </a:cubicBezTo>
                  <a:cubicBezTo>
                    <a:pt x="243364" y="352901"/>
                    <a:pt x="246221" y="362426"/>
                    <a:pt x="248126" y="372904"/>
                  </a:cubicBezTo>
                  <a:cubicBezTo>
                    <a:pt x="248126" y="374809"/>
                    <a:pt x="247174" y="376714"/>
                    <a:pt x="247174" y="378619"/>
                  </a:cubicBezTo>
                  <a:cubicBezTo>
                    <a:pt x="245269" y="375761"/>
                    <a:pt x="243364" y="371951"/>
                    <a:pt x="242411" y="369094"/>
                  </a:cubicBezTo>
                  <a:cubicBezTo>
                    <a:pt x="239554" y="364331"/>
                    <a:pt x="236696" y="359569"/>
                    <a:pt x="234791" y="353854"/>
                  </a:cubicBezTo>
                  <a:cubicBezTo>
                    <a:pt x="234791" y="354806"/>
                    <a:pt x="234791" y="353854"/>
                    <a:pt x="234791" y="353854"/>
                  </a:cubicBezTo>
                  <a:close/>
                  <a:moveTo>
                    <a:pt x="222409" y="297656"/>
                  </a:moveTo>
                  <a:cubicBezTo>
                    <a:pt x="224314" y="290036"/>
                    <a:pt x="226219" y="283369"/>
                    <a:pt x="227171" y="278606"/>
                  </a:cubicBezTo>
                  <a:cubicBezTo>
                    <a:pt x="227171" y="280511"/>
                    <a:pt x="228124" y="282416"/>
                    <a:pt x="228124" y="284321"/>
                  </a:cubicBezTo>
                  <a:cubicBezTo>
                    <a:pt x="229076" y="286226"/>
                    <a:pt x="229076" y="288131"/>
                    <a:pt x="230029" y="290989"/>
                  </a:cubicBezTo>
                  <a:cubicBezTo>
                    <a:pt x="227171" y="301466"/>
                    <a:pt x="225266" y="312896"/>
                    <a:pt x="222409" y="324326"/>
                  </a:cubicBezTo>
                  <a:cubicBezTo>
                    <a:pt x="222409" y="326231"/>
                    <a:pt x="221456" y="328136"/>
                    <a:pt x="221456" y="330041"/>
                  </a:cubicBezTo>
                  <a:cubicBezTo>
                    <a:pt x="221456" y="330041"/>
                    <a:pt x="221456" y="329089"/>
                    <a:pt x="220504" y="329089"/>
                  </a:cubicBezTo>
                  <a:cubicBezTo>
                    <a:pt x="219551" y="323374"/>
                    <a:pt x="219551" y="317659"/>
                    <a:pt x="218599" y="312896"/>
                  </a:cubicBezTo>
                  <a:cubicBezTo>
                    <a:pt x="220504" y="306229"/>
                    <a:pt x="221456" y="301466"/>
                    <a:pt x="222409" y="297656"/>
                  </a:cubicBezTo>
                  <a:close/>
                  <a:moveTo>
                    <a:pt x="169069" y="411956"/>
                  </a:moveTo>
                  <a:cubicBezTo>
                    <a:pt x="169069" y="411956"/>
                    <a:pt x="169069" y="412909"/>
                    <a:pt x="169069" y="412909"/>
                  </a:cubicBezTo>
                  <a:cubicBezTo>
                    <a:pt x="168116" y="407194"/>
                    <a:pt x="167164" y="401479"/>
                    <a:pt x="165259" y="396716"/>
                  </a:cubicBezTo>
                  <a:cubicBezTo>
                    <a:pt x="165259" y="389096"/>
                    <a:pt x="164306" y="382429"/>
                    <a:pt x="164306" y="375761"/>
                  </a:cubicBezTo>
                  <a:cubicBezTo>
                    <a:pt x="163354" y="365284"/>
                    <a:pt x="162401" y="354806"/>
                    <a:pt x="161449" y="345281"/>
                  </a:cubicBezTo>
                  <a:cubicBezTo>
                    <a:pt x="160496" y="336709"/>
                    <a:pt x="159544" y="329089"/>
                    <a:pt x="158591" y="321469"/>
                  </a:cubicBezTo>
                  <a:cubicBezTo>
                    <a:pt x="158591" y="322421"/>
                    <a:pt x="159544" y="322421"/>
                    <a:pt x="159544" y="323374"/>
                  </a:cubicBezTo>
                  <a:cubicBezTo>
                    <a:pt x="160496" y="325279"/>
                    <a:pt x="161449" y="326231"/>
                    <a:pt x="162401" y="328136"/>
                  </a:cubicBezTo>
                  <a:cubicBezTo>
                    <a:pt x="163354" y="342424"/>
                    <a:pt x="165259" y="359569"/>
                    <a:pt x="167164" y="376714"/>
                  </a:cubicBezTo>
                  <a:cubicBezTo>
                    <a:pt x="168116" y="385286"/>
                    <a:pt x="169069" y="393859"/>
                    <a:pt x="170021" y="402431"/>
                  </a:cubicBezTo>
                  <a:cubicBezTo>
                    <a:pt x="170021" y="405289"/>
                    <a:pt x="169069" y="408146"/>
                    <a:pt x="169069" y="411956"/>
                  </a:cubicBezTo>
                  <a:close/>
                  <a:moveTo>
                    <a:pt x="209074" y="350044"/>
                  </a:moveTo>
                  <a:cubicBezTo>
                    <a:pt x="209074" y="352901"/>
                    <a:pt x="209074" y="356711"/>
                    <a:pt x="209074" y="359569"/>
                  </a:cubicBezTo>
                  <a:cubicBezTo>
                    <a:pt x="208121" y="358616"/>
                    <a:pt x="208121" y="357664"/>
                    <a:pt x="207169" y="356711"/>
                  </a:cubicBezTo>
                  <a:cubicBezTo>
                    <a:pt x="208121" y="354806"/>
                    <a:pt x="209074" y="351949"/>
                    <a:pt x="209074" y="350044"/>
                  </a:cubicBezTo>
                  <a:close/>
                  <a:moveTo>
                    <a:pt x="170974" y="259556"/>
                  </a:moveTo>
                  <a:cubicBezTo>
                    <a:pt x="173831" y="264319"/>
                    <a:pt x="175736" y="270034"/>
                    <a:pt x="178594" y="274796"/>
                  </a:cubicBezTo>
                  <a:cubicBezTo>
                    <a:pt x="181451" y="280511"/>
                    <a:pt x="184309" y="286226"/>
                    <a:pt x="187166" y="291941"/>
                  </a:cubicBezTo>
                  <a:cubicBezTo>
                    <a:pt x="192881" y="304324"/>
                    <a:pt x="198596" y="316706"/>
                    <a:pt x="205264" y="330041"/>
                  </a:cubicBezTo>
                  <a:cubicBezTo>
                    <a:pt x="203359" y="333851"/>
                    <a:pt x="202406" y="338614"/>
                    <a:pt x="200501" y="343376"/>
                  </a:cubicBezTo>
                  <a:cubicBezTo>
                    <a:pt x="200501" y="343376"/>
                    <a:pt x="200501" y="342424"/>
                    <a:pt x="199549" y="342424"/>
                  </a:cubicBezTo>
                  <a:cubicBezTo>
                    <a:pt x="193834" y="330994"/>
                    <a:pt x="187166" y="320516"/>
                    <a:pt x="180499" y="310039"/>
                  </a:cubicBezTo>
                  <a:cubicBezTo>
                    <a:pt x="178594" y="301466"/>
                    <a:pt x="176689" y="296704"/>
                    <a:pt x="176689" y="296704"/>
                  </a:cubicBezTo>
                  <a:cubicBezTo>
                    <a:pt x="176689" y="296704"/>
                    <a:pt x="176689" y="299561"/>
                    <a:pt x="176689" y="305276"/>
                  </a:cubicBezTo>
                  <a:cubicBezTo>
                    <a:pt x="175736" y="303371"/>
                    <a:pt x="174784" y="301466"/>
                    <a:pt x="172879" y="299561"/>
                  </a:cubicBezTo>
                  <a:cubicBezTo>
                    <a:pt x="172879" y="299561"/>
                    <a:pt x="171926" y="298609"/>
                    <a:pt x="171926" y="298609"/>
                  </a:cubicBezTo>
                  <a:cubicBezTo>
                    <a:pt x="170974" y="291941"/>
                    <a:pt x="169069" y="285274"/>
                    <a:pt x="168116" y="279559"/>
                  </a:cubicBezTo>
                  <a:cubicBezTo>
                    <a:pt x="164306" y="262414"/>
                    <a:pt x="161449" y="247174"/>
                    <a:pt x="158591" y="235744"/>
                  </a:cubicBezTo>
                  <a:cubicBezTo>
                    <a:pt x="163354" y="243364"/>
                    <a:pt x="167164" y="250984"/>
                    <a:pt x="170974" y="259556"/>
                  </a:cubicBezTo>
                  <a:close/>
                  <a:moveTo>
                    <a:pt x="161449" y="307181"/>
                  </a:moveTo>
                  <a:cubicBezTo>
                    <a:pt x="159544" y="305276"/>
                    <a:pt x="157639" y="303371"/>
                    <a:pt x="156686" y="301466"/>
                  </a:cubicBezTo>
                  <a:cubicBezTo>
                    <a:pt x="156686" y="300514"/>
                    <a:pt x="156686" y="298609"/>
                    <a:pt x="155734" y="297656"/>
                  </a:cubicBezTo>
                  <a:cubicBezTo>
                    <a:pt x="156686" y="300514"/>
                    <a:pt x="158591" y="304324"/>
                    <a:pt x="161449" y="307181"/>
                  </a:cubicBezTo>
                  <a:close/>
                  <a:moveTo>
                    <a:pt x="130969" y="280511"/>
                  </a:moveTo>
                  <a:cubicBezTo>
                    <a:pt x="131921" y="281464"/>
                    <a:pt x="132874" y="282416"/>
                    <a:pt x="133826" y="284321"/>
                  </a:cubicBezTo>
                  <a:cubicBezTo>
                    <a:pt x="137636" y="289084"/>
                    <a:pt x="141446" y="294799"/>
                    <a:pt x="145256" y="301466"/>
                  </a:cubicBezTo>
                  <a:cubicBezTo>
                    <a:pt x="147161" y="304324"/>
                    <a:pt x="149066" y="307181"/>
                    <a:pt x="150971" y="310039"/>
                  </a:cubicBezTo>
                  <a:cubicBezTo>
                    <a:pt x="150971" y="318611"/>
                    <a:pt x="150019" y="329089"/>
                    <a:pt x="150019" y="341471"/>
                  </a:cubicBezTo>
                  <a:cubicBezTo>
                    <a:pt x="150019" y="341471"/>
                    <a:pt x="150019" y="340519"/>
                    <a:pt x="149066" y="339566"/>
                  </a:cubicBezTo>
                  <a:cubicBezTo>
                    <a:pt x="148114" y="335756"/>
                    <a:pt x="146209" y="331946"/>
                    <a:pt x="145256" y="328136"/>
                  </a:cubicBezTo>
                  <a:cubicBezTo>
                    <a:pt x="144304" y="324326"/>
                    <a:pt x="142399" y="321469"/>
                    <a:pt x="140494" y="317659"/>
                  </a:cubicBezTo>
                  <a:cubicBezTo>
                    <a:pt x="137636" y="310991"/>
                    <a:pt x="134779" y="306229"/>
                    <a:pt x="132874" y="301466"/>
                  </a:cubicBezTo>
                  <a:cubicBezTo>
                    <a:pt x="130969" y="296704"/>
                    <a:pt x="129064" y="292894"/>
                    <a:pt x="127159" y="290989"/>
                  </a:cubicBezTo>
                  <a:cubicBezTo>
                    <a:pt x="129064" y="287179"/>
                    <a:pt x="130016" y="283369"/>
                    <a:pt x="130969" y="280511"/>
                  </a:cubicBezTo>
                  <a:close/>
                  <a:moveTo>
                    <a:pt x="121444" y="318611"/>
                  </a:moveTo>
                  <a:cubicBezTo>
                    <a:pt x="123349" y="309086"/>
                    <a:pt x="124301" y="301466"/>
                    <a:pt x="127159" y="294799"/>
                  </a:cubicBezTo>
                  <a:cubicBezTo>
                    <a:pt x="127159" y="294799"/>
                    <a:pt x="127159" y="294799"/>
                    <a:pt x="127159" y="293846"/>
                  </a:cubicBezTo>
                  <a:cubicBezTo>
                    <a:pt x="128111" y="296704"/>
                    <a:pt x="128111" y="299561"/>
                    <a:pt x="129064" y="303371"/>
                  </a:cubicBezTo>
                  <a:cubicBezTo>
                    <a:pt x="130016" y="308134"/>
                    <a:pt x="131921" y="313849"/>
                    <a:pt x="133826" y="320516"/>
                  </a:cubicBezTo>
                  <a:cubicBezTo>
                    <a:pt x="135731" y="327184"/>
                    <a:pt x="137636" y="334804"/>
                    <a:pt x="138589" y="342424"/>
                  </a:cubicBezTo>
                  <a:cubicBezTo>
                    <a:pt x="140494" y="350996"/>
                    <a:pt x="141446" y="359569"/>
                    <a:pt x="143351" y="369094"/>
                  </a:cubicBezTo>
                  <a:cubicBezTo>
                    <a:pt x="145256" y="378619"/>
                    <a:pt x="146209" y="388144"/>
                    <a:pt x="148114" y="398621"/>
                  </a:cubicBezTo>
                  <a:cubicBezTo>
                    <a:pt x="148114" y="399574"/>
                    <a:pt x="148114" y="401479"/>
                    <a:pt x="149066" y="403384"/>
                  </a:cubicBezTo>
                  <a:cubicBezTo>
                    <a:pt x="149066" y="406241"/>
                    <a:pt x="149066" y="408146"/>
                    <a:pt x="149066" y="411004"/>
                  </a:cubicBezTo>
                  <a:cubicBezTo>
                    <a:pt x="149066" y="412909"/>
                    <a:pt x="149066" y="414814"/>
                    <a:pt x="149066" y="416719"/>
                  </a:cubicBezTo>
                  <a:cubicBezTo>
                    <a:pt x="145256" y="407194"/>
                    <a:pt x="142399" y="397669"/>
                    <a:pt x="138589" y="388144"/>
                  </a:cubicBezTo>
                  <a:cubicBezTo>
                    <a:pt x="135731" y="379571"/>
                    <a:pt x="132874" y="371951"/>
                    <a:pt x="129064" y="363379"/>
                  </a:cubicBezTo>
                  <a:cubicBezTo>
                    <a:pt x="130969" y="360521"/>
                    <a:pt x="131921" y="358616"/>
                    <a:pt x="131921" y="358616"/>
                  </a:cubicBezTo>
                  <a:cubicBezTo>
                    <a:pt x="131921" y="358616"/>
                    <a:pt x="130969" y="359569"/>
                    <a:pt x="129064" y="361474"/>
                  </a:cubicBezTo>
                  <a:cubicBezTo>
                    <a:pt x="127159" y="357664"/>
                    <a:pt x="126206" y="353854"/>
                    <a:pt x="124301" y="350044"/>
                  </a:cubicBezTo>
                  <a:cubicBezTo>
                    <a:pt x="124301" y="348139"/>
                    <a:pt x="125254" y="346234"/>
                    <a:pt x="125254" y="344329"/>
                  </a:cubicBezTo>
                  <a:cubicBezTo>
                    <a:pt x="128111" y="333851"/>
                    <a:pt x="129064" y="328136"/>
                    <a:pt x="129064" y="328136"/>
                  </a:cubicBezTo>
                  <a:cubicBezTo>
                    <a:pt x="129064" y="328136"/>
                    <a:pt x="126206" y="333851"/>
                    <a:pt x="121444" y="343376"/>
                  </a:cubicBezTo>
                  <a:cubicBezTo>
                    <a:pt x="121444" y="343376"/>
                    <a:pt x="121444" y="343376"/>
                    <a:pt x="121444" y="343376"/>
                  </a:cubicBezTo>
                  <a:cubicBezTo>
                    <a:pt x="121444" y="342424"/>
                    <a:pt x="121444" y="342424"/>
                    <a:pt x="120491" y="341471"/>
                  </a:cubicBezTo>
                  <a:cubicBezTo>
                    <a:pt x="119539" y="339566"/>
                    <a:pt x="118586" y="337661"/>
                    <a:pt x="117634" y="334804"/>
                  </a:cubicBezTo>
                  <a:cubicBezTo>
                    <a:pt x="119539" y="329089"/>
                    <a:pt x="120491" y="323374"/>
                    <a:pt x="121444" y="318611"/>
                  </a:cubicBezTo>
                  <a:close/>
                  <a:moveTo>
                    <a:pt x="116681" y="393859"/>
                  </a:moveTo>
                  <a:cubicBezTo>
                    <a:pt x="120491" y="402431"/>
                    <a:pt x="123349" y="411004"/>
                    <a:pt x="127159" y="419576"/>
                  </a:cubicBezTo>
                  <a:lnTo>
                    <a:pt x="113824" y="414814"/>
                  </a:lnTo>
                  <a:cubicBezTo>
                    <a:pt x="115729" y="408146"/>
                    <a:pt x="115729" y="400526"/>
                    <a:pt x="116681" y="393859"/>
                  </a:cubicBezTo>
                  <a:close/>
                  <a:moveTo>
                    <a:pt x="91916" y="341471"/>
                  </a:moveTo>
                  <a:cubicBezTo>
                    <a:pt x="91916" y="339566"/>
                    <a:pt x="92869" y="337661"/>
                    <a:pt x="92869" y="335756"/>
                  </a:cubicBezTo>
                  <a:cubicBezTo>
                    <a:pt x="93821" y="337661"/>
                    <a:pt x="93821" y="338614"/>
                    <a:pt x="94774" y="340519"/>
                  </a:cubicBezTo>
                  <a:cubicBezTo>
                    <a:pt x="97631" y="346234"/>
                    <a:pt x="99536" y="351949"/>
                    <a:pt x="102394" y="358616"/>
                  </a:cubicBezTo>
                  <a:cubicBezTo>
                    <a:pt x="100489" y="367189"/>
                    <a:pt x="98584" y="374809"/>
                    <a:pt x="96679" y="384334"/>
                  </a:cubicBezTo>
                  <a:cubicBezTo>
                    <a:pt x="95726" y="389096"/>
                    <a:pt x="94774" y="393859"/>
                    <a:pt x="94774" y="399574"/>
                  </a:cubicBezTo>
                  <a:cubicBezTo>
                    <a:pt x="94774" y="399574"/>
                    <a:pt x="93821" y="400526"/>
                    <a:pt x="93821" y="400526"/>
                  </a:cubicBezTo>
                  <a:cubicBezTo>
                    <a:pt x="92869" y="401479"/>
                    <a:pt x="91916" y="403384"/>
                    <a:pt x="90964" y="404336"/>
                  </a:cubicBezTo>
                  <a:cubicBezTo>
                    <a:pt x="90011" y="396716"/>
                    <a:pt x="89059" y="390049"/>
                    <a:pt x="88106" y="382429"/>
                  </a:cubicBezTo>
                  <a:cubicBezTo>
                    <a:pt x="87154" y="376714"/>
                    <a:pt x="86201" y="370999"/>
                    <a:pt x="85249" y="365284"/>
                  </a:cubicBezTo>
                  <a:cubicBezTo>
                    <a:pt x="87154" y="356711"/>
                    <a:pt x="89059" y="348139"/>
                    <a:pt x="91916" y="341471"/>
                  </a:cubicBezTo>
                  <a:close/>
                  <a:moveTo>
                    <a:pt x="72866" y="407194"/>
                  </a:moveTo>
                  <a:cubicBezTo>
                    <a:pt x="72866" y="408146"/>
                    <a:pt x="72866" y="408146"/>
                    <a:pt x="72866" y="409099"/>
                  </a:cubicBezTo>
                  <a:cubicBezTo>
                    <a:pt x="72866" y="409099"/>
                    <a:pt x="72866" y="409099"/>
                    <a:pt x="71914" y="409099"/>
                  </a:cubicBezTo>
                  <a:cubicBezTo>
                    <a:pt x="71914" y="408146"/>
                    <a:pt x="72866" y="408146"/>
                    <a:pt x="72866" y="407194"/>
                  </a:cubicBezTo>
                  <a:close/>
                </a:path>
              </a:pathLst>
            </a:custGeom>
            <a:solidFill>
              <a:schemeClr val="accent1"/>
            </a:solidFill>
            <a:ln w="9525" cap="flat">
              <a:noFill/>
              <a:prstDash val="solid"/>
              <a:miter/>
            </a:ln>
          </p:spPr>
          <p:txBody>
            <a:bodyPr rtlCol="0" anchor="ctr"/>
            <a:lstStyle/>
            <a:p>
              <a:pPr marL="0" marR="0" lvl="0" indent="0" algn="l" defTabSz="91351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black"/>
                </a:solidFill>
                <a:effectLst/>
                <a:uLnTx/>
                <a:uFillTx/>
                <a:latin typeface="Arial"/>
                <a:ea typeface="Arial Unicode MS"/>
                <a:cs typeface="+mn-cs"/>
              </a:endParaRPr>
            </a:p>
          </p:txBody>
        </p:sp>
      </p:grpSp>
    </p:spTree>
    <p:extLst>
      <p:ext uri="{BB962C8B-B14F-4D97-AF65-F5344CB8AC3E}">
        <p14:creationId xmlns:p14="http://schemas.microsoft.com/office/powerpoint/2010/main" val="282539132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and Vertical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337000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4713DF-5F0F-4743-9E07-777DF8792DC1}"/>
              </a:ext>
            </a:extLst>
          </p:cNvPr>
          <p:cNvSpPr>
            <a:spLocks noGrp="1"/>
          </p:cNvSpPr>
          <p:nvPr>
            <p:ph type="title"/>
          </p:nvPr>
        </p:nvSpPr>
        <p:spPr>
          <a:xfrm>
            <a:off x="838201" y="365129"/>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4015017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1219170"/>
            <a:fld id="{FCDC3EC3-F503-4593-87FA-632892E2ED25}" type="datetimeFigureOut">
              <a:rPr lang="en-US" smtClean="0">
                <a:solidFill>
                  <a:prstClr val="black">
                    <a:tint val="75000"/>
                  </a:prstClr>
                </a:solidFill>
              </a:rPr>
              <a:pPr defTabSz="1219170"/>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21917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219170"/>
            <a:fld id="{BA3D8712-1930-4307-AAF2-C718ECB8B04A}" type="slidenum">
              <a:rPr lang="en-US" smtClean="0">
                <a:solidFill>
                  <a:prstClr val="black">
                    <a:tint val="75000"/>
                  </a:prstClr>
                </a:solidFill>
              </a:rPr>
              <a:pPr defTabSz="1219170"/>
              <a:t>‹#›</a:t>
            </a:fld>
            <a:endParaRPr lang="en-US">
              <a:solidFill>
                <a:prstClr val="black">
                  <a:tint val="75000"/>
                </a:prstClr>
              </a:solidFill>
            </a:endParaRPr>
          </a:p>
        </p:txBody>
      </p:sp>
    </p:spTree>
    <p:extLst>
      <p:ext uri="{BB962C8B-B14F-4D97-AF65-F5344CB8AC3E}">
        <p14:creationId xmlns:p14="http://schemas.microsoft.com/office/powerpoint/2010/main" val="368485497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3_Custom Layout">
    <p:bg>
      <p:bgPr>
        <a:solidFill>
          <a:schemeClr val="bg1">
            <a:alpha val="66000"/>
          </a:schemeClr>
        </a:solidFill>
        <a:effectLst/>
      </p:bgPr>
    </p:bg>
    <p:spTree>
      <p:nvGrpSpPr>
        <p:cNvPr id="1" name=""/>
        <p:cNvGrpSpPr/>
        <p:nvPr/>
      </p:nvGrpSpPr>
      <p:grpSpPr>
        <a:xfrm>
          <a:off x="0" y="0"/>
          <a:ext cx="0" cy="0"/>
          <a:chOff x="0" y="0"/>
          <a:chExt cx="0" cy="0"/>
        </a:xfrm>
      </p:grpSpPr>
      <p:pic>
        <p:nvPicPr>
          <p:cNvPr id="6" name="Picture 5" descr="A truck parked on the side of a road&#10;&#10;Description generated with high confidence">
            <a:extLst>
              <a:ext uri="{FF2B5EF4-FFF2-40B4-BE49-F238E27FC236}">
                <a16:creationId xmlns:a16="http://schemas.microsoft.com/office/drawing/2014/main" id="{A0DABE20-88FE-405F-8B2B-004B30F12F1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378" t="-128" r="5018" b="12435"/>
          <a:stretch/>
        </p:blipFill>
        <p:spPr>
          <a:xfrm>
            <a:off x="3" y="1084229"/>
            <a:ext cx="12192000" cy="4840020"/>
          </a:xfrm>
          <a:prstGeom prst="rect">
            <a:avLst/>
          </a:prstGeom>
        </p:spPr>
      </p:pic>
      <p:sp>
        <p:nvSpPr>
          <p:cNvPr id="7" name="Rectangle 6">
            <a:extLst>
              <a:ext uri="{FF2B5EF4-FFF2-40B4-BE49-F238E27FC236}">
                <a16:creationId xmlns:a16="http://schemas.microsoft.com/office/drawing/2014/main" id="{2C9E0808-8906-4E45-A3AD-2FBE1C73752F}"/>
              </a:ext>
            </a:extLst>
          </p:cNvPr>
          <p:cNvSpPr/>
          <p:nvPr userDrawn="1"/>
        </p:nvSpPr>
        <p:spPr>
          <a:xfrm>
            <a:off x="3" y="0"/>
            <a:ext cx="12192000" cy="6858000"/>
          </a:xfrm>
          <a:prstGeom prst="rect">
            <a:avLst/>
          </a:prstGeom>
          <a:solidFill>
            <a:schemeClr val="bg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926"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3090511"/>
      </p:ext>
    </p:extLst>
  </p:cSld>
  <p:clrMapOvr>
    <a:overrideClrMapping bg1="lt1" tx1="dk1" bg2="lt2" tx2="dk2" accent1="accent1" accent2="accent2" accent3="accent3" accent4="accent4" accent5="accent5" accent6="accent6" hlink="hlink" folHlink="folHlink"/>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_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562711" y="1508400"/>
            <a:ext cx="11068061" cy="4590000"/>
          </a:xfrm>
          <a:prstGeom prst="rect">
            <a:avLst/>
          </a:prstGeom>
        </p:spPr>
        <p:txBody>
          <a:bodyPr lIns="0" tIns="0" rIns="0" bIns="0"/>
          <a:lstStyle>
            <a:lvl1pPr marL="0" indent="-172878">
              <a:buClr>
                <a:schemeClr val="tx2"/>
              </a:buClr>
              <a:buFont typeface="Arial" pitchFamily="34" charset="0"/>
              <a:buChar char="•"/>
              <a:tabLst/>
              <a:defRPr b="0"/>
            </a:lvl1pPr>
            <a:lvl2pPr marL="628069" indent="-228387">
              <a:buFont typeface="Arial" pitchFamily="34" charset="0"/>
              <a:buChar char="–"/>
              <a:defRPr/>
            </a:lvl2pPr>
            <a:lvl3pPr marL="1073746" indent="-228387">
              <a:defRPr/>
            </a:lvl3pPr>
            <a:lvl4pPr marL="1543907" indent="-228387">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255950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209826" y="1195952"/>
            <a:ext cx="11630487" cy="5112000"/>
          </a:xfrm>
          <a:prstGeom prst="rect">
            <a:avLst/>
          </a:prstGeom>
        </p:spPr>
        <p:txBody>
          <a:bodyPr lIns="97740" tIns="48870" rIns="97740" bIns="48870"/>
          <a:lstStyle>
            <a:lvl1pPr marL="152577" indent="-152577">
              <a:lnSpc>
                <a:spcPct val="114000"/>
              </a:lnSpc>
              <a:spcBef>
                <a:spcPts val="641"/>
              </a:spcBef>
              <a:buFont typeface="Arial" pitchFamily="34" charset="0"/>
              <a:buChar char="•"/>
              <a:defRPr sz="1600">
                <a:solidFill>
                  <a:schemeClr val="bg2"/>
                </a:solidFill>
              </a:defRPr>
            </a:lvl1pPr>
            <a:lvl2pPr>
              <a:lnSpc>
                <a:spcPct val="114000"/>
              </a:lnSpc>
              <a:spcBef>
                <a:spcPts val="641"/>
              </a:spcBef>
              <a:buFont typeface="Arial" pitchFamily="34" charset="0"/>
              <a:buChar char="•"/>
              <a:defRPr sz="1500">
                <a:solidFill>
                  <a:schemeClr val="bg2"/>
                </a:solidFill>
              </a:defRPr>
            </a:lvl2pPr>
            <a:lvl3pPr>
              <a:lnSpc>
                <a:spcPct val="114000"/>
              </a:lnSpc>
              <a:spcBef>
                <a:spcPts val="641"/>
              </a:spcBef>
              <a:buFont typeface="Arial" pitchFamily="34" charset="0"/>
              <a:buChar char="•"/>
              <a:defRPr sz="1400">
                <a:solidFill>
                  <a:schemeClr val="bg2"/>
                </a:solidFill>
              </a:defRPr>
            </a:lvl3pPr>
            <a:lvl4pPr>
              <a:lnSpc>
                <a:spcPct val="114000"/>
              </a:lnSpc>
              <a:spcBef>
                <a:spcPts val="641"/>
              </a:spcBef>
              <a:buFont typeface="Arial" pitchFamily="34" charset="0"/>
              <a:buChar char="•"/>
              <a:defRPr sz="1500">
                <a:solidFill>
                  <a:schemeClr val="bg2"/>
                </a:solidFill>
              </a:defRPr>
            </a:lvl4pPr>
            <a:lvl5pPr>
              <a:lnSpc>
                <a:spcPct val="114000"/>
              </a:lnSpc>
              <a:spcBef>
                <a:spcPts val="641"/>
              </a:spcBef>
              <a:buFont typeface="Arial" pitchFamily="34" charset="0"/>
              <a:buChar char="•"/>
              <a:defRPr>
                <a:solidFill>
                  <a:schemeClr val="bg2"/>
                </a:solidFill>
              </a:defRPr>
            </a:lvl5pPr>
          </a:lstStyle>
          <a:p>
            <a:pPr lvl="0"/>
            <a:r>
              <a:rPr lang="de-DE"/>
              <a:t>Textmasterformat bearbeiten</a:t>
            </a:r>
          </a:p>
          <a:p>
            <a:pPr lvl="1"/>
            <a:r>
              <a:rPr lang="de-DE"/>
              <a:t>Zweite Ebene</a:t>
            </a:r>
          </a:p>
        </p:txBody>
      </p:sp>
      <p:sp>
        <p:nvSpPr>
          <p:cNvPr id="5" name="Rectangle 2"/>
          <p:cNvSpPr>
            <a:spLocks noGrp="1" noChangeArrowheads="1"/>
          </p:cNvSpPr>
          <p:nvPr>
            <p:ph type="title"/>
          </p:nvPr>
        </p:nvSpPr>
        <p:spPr>
          <a:xfrm>
            <a:off x="222699" y="419526"/>
            <a:ext cx="9226612" cy="584727"/>
          </a:xfrm>
          <a:prstGeom prst="rect">
            <a:avLst/>
          </a:prstGeom>
        </p:spPr>
        <p:txBody>
          <a:bodyPr lIns="97740" tIns="48870" rIns="97740" bIns="48870"/>
          <a:lstStyle>
            <a:lvl1pPr marL="0" marR="0" indent="0" algn="l" defTabSz="956155" rtl="0" eaLnBrk="1" fontAlgn="base" latinLnBrk="0" hangingPunct="1">
              <a:lnSpc>
                <a:spcPct val="100000"/>
              </a:lnSpc>
              <a:spcBef>
                <a:spcPct val="0"/>
              </a:spcBef>
              <a:spcAft>
                <a:spcPct val="0"/>
              </a:spcAft>
              <a:buClrTx/>
              <a:buSzTx/>
              <a:buFontTx/>
              <a:buNone/>
              <a:tabLst/>
              <a:defRPr>
                <a:solidFill>
                  <a:schemeClr val="tx1"/>
                </a:solidFill>
              </a:defRPr>
            </a:lvl1pPr>
          </a:lstStyle>
          <a:p>
            <a:pPr eaLnBrk="1" hangingPunct="1"/>
            <a:r>
              <a:rPr lang="de-DE">
                <a:solidFill>
                  <a:srgbClr val="646864"/>
                </a:solidFill>
                <a:latin typeface="Calibri" pitchFamily="34" charset="0"/>
              </a:rPr>
              <a:t>Titelmasterformat durch Klicken bearbeiten</a:t>
            </a:r>
            <a:endParaRPr lang="de-DE" dirty="0">
              <a:solidFill>
                <a:srgbClr val="646864"/>
              </a:solidFill>
              <a:latin typeface="Calibri" pitchFamily="34" charset="0"/>
            </a:endParaRPr>
          </a:p>
        </p:txBody>
      </p:sp>
    </p:spTree>
    <p:extLst>
      <p:ext uri="{BB962C8B-B14F-4D97-AF65-F5344CB8AC3E}">
        <p14:creationId xmlns:p14="http://schemas.microsoft.com/office/powerpoint/2010/main" val="368676146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04619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20" y="1593"/>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p:cNvPicPr/>
                      <p:nvPr/>
                    </p:nvPicPr>
                    <p:blipFill>
                      <a:blip r:embed="rId4"/>
                      <a:stretch>
                        <a:fillRect/>
                      </a:stretch>
                    </p:blipFill>
                    <p:spPr>
                      <a:xfrm>
                        <a:off x="2120" y="1593"/>
                        <a:ext cx="2116"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
        <p:nvSpPr>
          <p:cNvPr id="5" name="Slide Number Placeholder 1"/>
          <p:cNvSpPr>
            <a:spLocks noGrp="1"/>
          </p:cNvSpPr>
          <p:nvPr>
            <p:ph type="sldNum" sz="quarter" idx="4"/>
          </p:nvPr>
        </p:nvSpPr>
        <p:spPr>
          <a:xfrm>
            <a:off x="203200" y="6498568"/>
            <a:ext cx="508000" cy="365124"/>
          </a:xfrm>
          <a:prstGeom prst="rect">
            <a:avLst/>
          </a:prstGeom>
        </p:spPr>
        <p:txBody>
          <a:bodyPr vert="horz" lIns="90566" tIns="45271" rIns="90566" bIns="45271" rtlCol="0" anchor="ctr"/>
          <a:lstStyle>
            <a:lvl1pPr algn="r">
              <a:defRPr sz="1200">
                <a:solidFill>
                  <a:schemeClr val="tx1"/>
                </a:solidFill>
              </a:defRPr>
            </a:lvl1pPr>
          </a:lstStyle>
          <a:p>
            <a:pPr defTabSz="905164">
              <a:defRPr/>
            </a:pPr>
            <a:fld id="{7422662C-4EA5-40CB-AF95-82CA1EC35BEA}" type="slidenum">
              <a:rPr lang="en-US" smtClean="0">
                <a:solidFill>
                  <a:srgbClr val="000000"/>
                </a:solidFill>
                <a:latin typeface="Arial"/>
              </a:rPr>
              <a:pPr defTabSz="905164">
                <a:defRPr/>
              </a:pPr>
              <a:t>‹#›</a:t>
            </a:fld>
            <a:endParaRPr lang="en-US" dirty="0">
              <a:solidFill>
                <a:srgbClr val="000000"/>
              </a:solidFill>
              <a:latin typeface="Arial"/>
            </a:endParaRPr>
          </a:p>
        </p:txBody>
      </p:sp>
    </p:spTree>
    <p:extLst>
      <p:ext uri="{BB962C8B-B14F-4D97-AF65-F5344CB8AC3E}">
        <p14:creationId xmlns:p14="http://schemas.microsoft.com/office/powerpoint/2010/main" val="360519432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209823" y="1195952"/>
            <a:ext cx="11630486" cy="5112000"/>
          </a:xfrm>
          <a:prstGeom prst="rect">
            <a:avLst/>
          </a:prstGeom>
        </p:spPr>
        <p:txBody>
          <a:bodyPr lIns="97740" tIns="48870" rIns="97740" bIns="48870"/>
          <a:lstStyle>
            <a:lvl1pPr marL="152627" indent="-152627">
              <a:lnSpc>
                <a:spcPct val="114000"/>
              </a:lnSpc>
              <a:spcBef>
                <a:spcPts val="641"/>
              </a:spcBef>
              <a:buFont typeface="Arial" pitchFamily="34" charset="0"/>
              <a:buChar char="•"/>
              <a:defRPr sz="1600">
                <a:solidFill>
                  <a:schemeClr val="bg2"/>
                </a:solidFill>
              </a:defRPr>
            </a:lvl1pPr>
            <a:lvl2pPr>
              <a:lnSpc>
                <a:spcPct val="114000"/>
              </a:lnSpc>
              <a:spcBef>
                <a:spcPts val="641"/>
              </a:spcBef>
              <a:buFont typeface="Arial" pitchFamily="34" charset="0"/>
              <a:buChar char="•"/>
              <a:defRPr sz="1500">
                <a:solidFill>
                  <a:schemeClr val="bg2"/>
                </a:solidFill>
              </a:defRPr>
            </a:lvl2pPr>
            <a:lvl3pPr>
              <a:lnSpc>
                <a:spcPct val="114000"/>
              </a:lnSpc>
              <a:spcBef>
                <a:spcPts val="641"/>
              </a:spcBef>
              <a:buFont typeface="Arial" pitchFamily="34" charset="0"/>
              <a:buChar char="•"/>
              <a:defRPr sz="1400">
                <a:solidFill>
                  <a:schemeClr val="bg2"/>
                </a:solidFill>
              </a:defRPr>
            </a:lvl3pPr>
            <a:lvl4pPr>
              <a:lnSpc>
                <a:spcPct val="114000"/>
              </a:lnSpc>
              <a:spcBef>
                <a:spcPts val="641"/>
              </a:spcBef>
              <a:buFont typeface="Arial" pitchFamily="34" charset="0"/>
              <a:buChar char="•"/>
              <a:defRPr sz="1500">
                <a:solidFill>
                  <a:schemeClr val="bg2"/>
                </a:solidFill>
              </a:defRPr>
            </a:lvl4pPr>
            <a:lvl5pPr>
              <a:lnSpc>
                <a:spcPct val="114000"/>
              </a:lnSpc>
              <a:spcBef>
                <a:spcPts val="641"/>
              </a:spcBef>
              <a:buFont typeface="Arial" pitchFamily="34" charset="0"/>
              <a:buChar char="•"/>
              <a:defRPr>
                <a:solidFill>
                  <a:schemeClr val="bg2"/>
                </a:solidFill>
              </a:defRPr>
            </a:lvl5pPr>
          </a:lstStyle>
          <a:p>
            <a:pPr lvl="0"/>
            <a:r>
              <a:rPr lang="de-DE"/>
              <a:t>Textmasterformat bearbeiten</a:t>
            </a:r>
          </a:p>
          <a:p>
            <a:pPr lvl="1"/>
            <a:r>
              <a:rPr lang="de-DE"/>
              <a:t>Zweite Ebene</a:t>
            </a:r>
          </a:p>
        </p:txBody>
      </p:sp>
      <p:sp>
        <p:nvSpPr>
          <p:cNvPr id="5" name="Rectangle 2"/>
          <p:cNvSpPr>
            <a:spLocks noGrp="1" noChangeArrowheads="1"/>
          </p:cNvSpPr>
          <p:nvPr>
            <p:ph type="title"/>
          </p:nvPr>
        </p:nvSpPr>
        <p:spPr>
          <a:xfrm>
            <a:off x="222698" y="419522"/>
            <a:ext cx="9226612" cy="584727"/>
          </a:xfrm>
          <a:prstGeom prst="rect">
            <a:avLst/>
          </a:prstGeom>
        </p:spPr>
        <p:txBody>
          <a:bodyPr lIns="97740" tIns="48870" rIns="97740" bIns="48870"/>
          <a:lstStyle>
            <a:lvl1pPr marL="0" marR="0" indent="0" algn="l" defTabSz="956466" rtl="0" eaLnBrk="1" fontAlgn="base" latinLnBrk="0" hangingPunct="1">
              <a:lnSpc>
                <a:spcPct val="100000"/>
              </a:lnSpc>
              <a:spcBef>
                <a:spcPct val="0"/>
              </a:spcBef>
              <a:spcAft>
                <a:spcPct val="0"/>
              </a:spcAft>
              <a:buClrTx/>
              <a:buSzTx/>
              <a:buFontTx/>
              <a:buNone/>
              <a:tabLst/>
              <a:defRPr>
                <a:solidFill>
                  <a:schemeClr val="tx1"/>
                </a:solidFill>
              </a:defRPr>
            </a:lvl1pPr>
          </a:lstStyle>
          <a:p>
            <a:pPr eaLnBrk="1" hangingPunct="1"/>
            <a:r>
              <a:rPr lang="de-DE">
                <a:solidFill>
                  <a:srgbClr val="646864"/>
                </a:solidFill>
                <a:latin typeface="Calibri" pitchFamily="34" charset="0"/>
              </a:rPr>
              <a:t>Titelmasterformat durch Klicken bearbeiten</a:t>
            </a:r>
            <a:endParaRPr lang="de-DE" dirty="0">
              <a:solidFill>
                <a:srgbClr val="646864"/>
              </a:solidFill>
              <a:latin typeface="Calibri" pitchFamily="34" charset="0"/>
            </a:endParaRPr>
          </a:p>
        </p:txBody>
      </p:sp>
    </p:spTree>
    <p:extLst>
      <p:ext uri="{BB962C8B-B14F-4D97-AF65-F5344CB8AC3E}">
        <p14:creationId xmlns:p14="http://schemas.microsoft.com/office/powerpoint/2010/main" val="201957122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21" y="1595"/>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p:cNvPicPr/>
                      <p:nvPr/>
                    </p:nvPicPr>
                    <p:blipFill>
                      <a:blip r:embed="rId4"/>
                      <a:stretch>
                        <a:fillRect/>
                      </a:stretch>
                    </p:blipFill>
                    <p:spPr>
                      <a:xfrm>
                        <a:off x="2121" y="1595"/>
                        <a:ext cx="2116"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
        <p:nvSpPr>
          <p:cNvPr id="5" name="Slide Number Placeholder 1"/>
          <p:cNvSpPr>
            <a:spLocks noGrp="1"/>
          </p:cNvSpPr>
          <p:nvPr>
            <p:ph type="sldNum" sz="quarter" idx="4"/>
          </p:nvPr>
        </p:nvSpPr>
        <p:spPr>
          <a:xfrm>
            <a:off x="203200" y="6498568"/>
            <a:ext cx="508000" cy="365124"/>
          </a:xfrm>
          <a:prstGeom prst="rect">
            <a:avLst/>
          </a:prstGeom>
        </p:spPr>
        <p:txBody>
          <a:bodyPr vert="horz" lIns="90566" tIns="45271" rIns="90566" bIns="45271" rtlCol="0" anchor="ctr"/>
          <a:lstStyle>
            <a:lvl1pPr algn="r">
              <a:defRPr sz="1200">
                <a:solidFill>
                  <a:schemeClr val="tx1"/>
                </a:solidFill>
              </a:defRPr>
            </a:lvl1pPr>
          </a:lstStyle>
          <a:p>
            <a:pPr defTabSz="904892">
              <a:defRPr/>
            </a:pPr>
            <a:fld id="{7422662C-4EA5-40CB-AF95-82CA1EC35BEA}" type="slidenum">
              <a:rPr lang="en-US" smtClean="0">
                <a:solidFill>
                  <a:srgbClr val="000000"/>
                </a:solidFill>
                <a:latin typeface="Arial"/>
              </a:rPr>
              <a:pPr defTabSz="904892">
                <a:defRPr/>
              </a:pPr>
              <a:t>‹#›</a:t>
            </a:fld>
            <a:endParaRPr lang="en-US" dirty="0">
              <a:solidFill>
                <a:srgbClr val="000000"/>
              </a:solidFill>
              <a:latin typeface="Arial"/>
            </a:endParaRPr>
          </a:p>
        </p:txBody>
      </p:sp>
    </p:spTree>
    <p:extLst>
      <p:ext uri="{BB962C8B-B14F-4D97-AF65-F5344CB8AC3E}">
        <p14:creationId xmlns:p14="http://schemas.microsoft.com/office/powerpoint/2010/main" val="420471750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4_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562711" y="1508400"/>
            <a:ext cx="11068061" cy="4590000"/>
          </a:xfrm>
          <a:prstGeom prst="rect">
            <a:avLst/>
          </a:prstGeom>
        </p:spPr>
        <p:txBody>
          <a:bodyPr lIns="0" tIns="0" rIns="0" bIns="0"/>
          <a:lstStyle>
            <a:lvl1pPr marL="0" indent="-172882">
              <a:buClr>
                <a:schemeClr val="tx2"/>
              </a:buClr>
              <a:buFont typeface="Arial" pitchFamily="34" charset="0"/>
              <a:buChar char="•"/>
              <a:tabLst/>
              <a:defRPr b="0"/>
            </a:lvl1pPr>
            <a:lvl2pPr marL="628084" indent="-228393">
              <a:buFont typeface="Arial" pitchFamily="34" charset="0"/>
              <a:buChar char="–"/>
              <a:defRPr/>
            </a:lvl2pPr>
            <a:lvl3pPr marL="1073772" indent="-228393">
              <a:defRPr/>
            </a:lvl3pPr>
            <a:lvl4pPr marL="1543946" indent="-228393">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447156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9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209823" y="1195952"/>
            <a:ext cx="11630486" cy="5112000"/>
          </a:xfrm>
          <a:prstGeom prst="rect">
            <a:avLst/>
          </a:prstGeom>
        </p:spPr>
        <p:txBody>
          <a:bodyPr lIns="97740" tIns="48870" rIns="97740" bIns="48870"/>
          <a:lstStyle>
            <a:lvl1pPr marL="152581" indent="-152581">
              <a:lnSpc>
                <a:spcPct val="114000"/>
              </a:lnSpc>
              <a:spcBef>
                <a:spcPts val="641"/>
              </a:spcBef>
              <a:buFont typeface="Arial" pitchFamily="34" charset="0"/>
              <a:buChar char="•"/>
              <a:defRPr sz="1600">
                <a:solidFill>
                  <a:schemeClr val="bg2"/>
                </a:solidFill>
              </a:defRPr>
            </a:lvl1pPr>
            <a:lvl2pPr>
              <a:lnSpc>
                <a:spcPct val="114000"/>
              </a:lnSpc>
              <a:spcBef>
                <a:spcPts val="641"/>
              </a:spcBef>
              <a:buFont typeface="Arial" pitchFamily="34" charset="0"/>
              <a:buChar char="•"/>
              <a:defRPr sz="1500">
                <a:solidFill>
                  <a:schemeClr val="bg2"/>
                </a:solidFill>
              </a:defRPr>
            </a:lvl2pPr>
            <a:lvl3pPr>
              <a:lnSpc>
                <a:spcPct val="114000"/>
              </a:lnSpc>
              <a:spcBef>
                <a:spcPts val="641"/>
              </a:spcBef>
              <a:buFont typeface="Arial" pitchFamily="34" charset="0"/>
              <a:buChar char="•"/>
              <a:defRPr sz="1400">
                <a:solidFill>
                  <a:schemeClr val="bg2"/>
                </a:solidFill>
              </a:defRPr>
            </a:lvl3pPr>
            <a:lvl4pPr>
              <a:lnSpc>
                <a:spcPct val="114000"/>
              </a:lnSpc>
              <a:spcBef>
                <a:spcPts val="641"/>
              </a:spcBef>
              <a:buFont typeface="Arial" pitchFamily="34" charset="0"/>
              <a:buChar char="•"/>
              <a:defRPr sz="1500">
                <a:solidFill>
                  <a:schemeClr val="bg2"/>
                </a:solidFill>
              </a:defRPr>
            </a:lvl4pPr>
            <a:lvl5pPr>
              <a:lnSpc>
                <a:spcPct val="114000"/>
              </a:lnSpc>
              <a:spcBef>
                <a:spcPts val="641"/>
              </a:spcBef>
              <a:buFont typeface="Arial" pitchFamily="34" charset="0"/>
              <a:buChar char="•"/>
              <a:defRPr>
                <a:solidFill>
                  <a:schemeClr val="bg2"/>
                </a:solidFill>
              </a:defRPr>
            </a:lvl5pPr>
          </a:lstStyle>
          <a:p>
            <a:pPr lvl="0"/>
            <a:r>
              <a:rPr lang="de-DE"/>
              <a:t>Textmasterformat bearbeiten</a:t>
            </a:r>
          </a:p>
          <a:p>
            <a:pPr lvl="1"/>
            <a:r>
              <a:rPr lang="de-DE"/>
              <a:t>Zweite Ebene</a:t>
            </a:r>
          </a:p>
        </p:txBody>
      </p:sp>
      <p:sp>
        <p:nvSpPr>
          <p:cNvPr id="5" name="Rectangle 2"/>
          <p:cNvSpPr>
            <a:spLocks noGrp="1" noChangeArrowheads="1"/>
          </p:cNvSpPr>
          <p:nvPr>
            <p:ph type="title"/>
          </p:nvPr>
        </p:nvSpPr>
        <p:spPr>
          <a:xfrm>
            <a:off x="222698" y="419524"/>
            <a:ext cx="9226612" cy="584727"/>
          </a:xfrm>
          <a:prstGeom prst="rect">
            <a:avLst/>
          </a:prstGeom>
        </p:spPr>
        <p:txBody>
          <a:bodyPr lIns="97740" tIns="48870" rIns="97740" bIns="48870"/>
          <a:lstStyle>
            <a:lvl1pPr marL="0" marR="0" indent="0" algn="l" defTabSz="956179" rtl="0" eaLnBrk="1" fontAlgn="base" latinLnBrk="0" hangingPunct="1">
              <a:lnSpc>
                <a:spcPct val="100000"/>
              </a:lnSpc>
              <a:spcBef>
                <a:spcPct val="0"/>
              </a:spcBef>
              <a:spcAft>
                <a:spcPct val="0"/>
              </a:spcAft>
              <a:buClrTx/>
              <a:buSzTx/>
              <a:buFontTx/>
              <a:buNone/>
              <a:tabLst/>
              <a:defRPr>
                <a:solidFill>
                  <a:schemeClr val="tx1"/>
                </a:solidFill>
              </a:defRPr>
            </a:lvl1pPr>
          </a:lstStyle>
          <a:p>
            <a:pPr eaLnBrk="1" hangingPunct="1"/>
            <a:r>
              <a:rPr lang="de-DE">
                <a:solidFill>
                  <a:srgbClr val="646864"/>
                </a:solidFill>
                <a:latin typeface="Calibri" pitchFamily="34" charset="0"/>
              </a:rPr>
              <a:t>Titelmasterformat durch Klicken bearbeiten</a:t>
            </a:r>
            <a:endParaRPr lang="de-DE" dirty="0">
              <a:solidFill>
                <a:srgbClr val="646864"/>
              </a:solidFill>
              <a:latin typeface="Calibri" pitchFamily="34" charset="0"/>
            </a:endParaRPr>
          </a:p>
        </p:txBody>
      </p:sp>
    </p:spTree>
    <p:extLst>
      <p:ext uri="{BB962C8B-B14F-4D97-AF65-F5344CB8AC3E}">
        <p14:creationId xmlns:p14="http://schemas.microsoft.com/office/powerpoint/2010/main" val="86886919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2_After Sales Support layou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9DA8F52-0771-4588-AEEA-7F7085F7673C}"/>
              </a:ext>
            </a:extLst>
          </p:cNvPr>
          <p:cNvSpPr/>
          <p:nvPr userDrawn="1"/>
        </p:nvSpPr>
        <p:spPr>
          <a:xfrm>
            <a:off x="-584" y="-13063"/>
            <a:ext cx="11273246" cy="774929"/>
          </a:xfrm>
          <a:prstGeom prst="rect">
            <a:avLst/>
          </a:prstGeom>
          <a:solidFill>
            <a:srgbClr val="1261A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IN" sz="1798" b="1"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8" name="Freeform: Shape 7">
            <a:extLst>
              <a:ext uri="{FF2B5EF4-FFF2-40B4-BE49-F238E27FC236}">
                <a16:creationId xmlns:a16="http://schemas.microsoft.com/office/drawing/2014/main" id="{D33C9E77-DFEA-493D-9B89-9C2E9E096699}"/>
              </a:ext>
            </a:extLst>
          </p:cNvPr>
          <p:cNvSpPr/>
          <p:nvPr userDrawn="1"/>
        </p:nvSpPr>
        <p:spPr>
          <a:xfrm flipH="1">
            <a:off x="12411" y="151"/>
            <a:ext cx="11260250" cy="758952"/>
          </a:xfrm>
          <a:custGeom>
            <a:avLst/>
            <a:gdLst>
              <a:gd name="connsiteX0" fmla="*/ 11390945 w 11390945"/>
              <a:gd name="connsiteY0" fmla="*/ 0 h 758952"/>
              <a:gd name="connsiteX1" fmla="*/ 7889446 w 11390945"/>
              <a:gd name="connsiteY1" fmla="*/ 0 h 758952"/>
              <a:gd name="connsiteX2" fmla="*/ 7733998 w 11390945"/>
              <a:gd name="connsiteY2" fmla="*/ 0 h 758952"/>
              <a:gd name="connsiteX3" fmla="*/ 0 w 11390945"/>
              <a:gd name="connsiteY3" fmla="*/ 0 h 758952"/>
              <a:gd name="connsiteX4" fmla="*/ 379476 w 11390945"/>
              <a:gd name="connsiteY4" fmla="*/ 379476 h 758952"/>
              <a:gd name="connsiteX5" fmla="*/ 0 w 11390945"/>
              <a:gd name="connsiteY5" fmla="*/ 758952 h 758952"/>
              <a:gd name="connsiteX6" fmla="*/ 7733998 w 11390945"/>
              <a:gd name="connsiteY6" fmla="*/ 758952 h 758952"/>
              <a:gd name="connsiteX7" fmla="*/ 7889446 w 11390945"/>
              <a:gd name="connsiteY7" fmla="*/ 758952 h 758952"/>
              <a:gd name="connsiteX8" fmla="*/ 11390945 w 11390945"/>
              <a:gd name="connsiteY8" fmla="*/ 758952 h 758952"/>
              <a:gd name="connsiteX9" fmla="*/ 11011469 w 11390945"/>
              <a:gd name="connsiteY9" fmla="*/ 379476 h 758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90945" h="758952">
                <a:moveTo>
                  <a:pt x="11390945" y="0"/>
                </a:moveTo>
                <a:lnTo>
                  <a:pt x="7889446" y="0"/>
                </a:lnTo>
                <a:lnTo>
                  <a:pt x="7733998" y="0"/>
                </a:lnTo>
                <a:lnTo>
                  <a:pt x="0" y="0"/>
                </a:lnTo>
                <a:lnTo>
                  <a:pt x="379476" y="379476"/>
                </a:lnTo>
                <a:lnTo>
                  <a:pt x="0" y="758952"/>
                </a:lnTo>
                <a:lnTo>
                  <a:pt x="7733998" y="758952"/>
                </a:lnTo>
                <a:lnTo>
                  <a:pt x="7889446" y="758952"/>
                </a:lnTo>
                <a:lnTo>
                  <a:pt x="11390945" y="758952"/>
                </a:lnTo>
                <a:lnTo>
                  <a:pt x="11011469" y="379476"/>
                </a:lnTo>
                <a:close/>
              </a:path>
            </a:pathLst>
          </a:custGeom>
          <a:solidFill>
            <a:srgbClr val="3895D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IN" sz="1798" b="0" i="0" u="none" strike="noStrike" kern="1200" cap="none" spc="0" normalizeH="0" baseline="0" noProof="0">
              <a:ln>
                <a:noFill/>
              </a:ln>
              <a:solidFill>
                <a:prstClr val="white"/>
              </a:solidFill>
              <a:effectLst/>
              <a:uLnTx/>
              <a:uFillTx/>
              <a:latin typeface="Century Gothic"/>
              <a:ea typeface="+mn-ea"/>
              <a:cs typeface="+mn-cs"/>
            </a:endParaRPr>
          </a:p>
        </p:txBody>
      </p:sp>
      <p:sp>
        <p:nvSpPr>
          <p:cNvPr id="17" name="Freeform: Shape 16">
            <a:extLst>
              <a:ext uri="{FF2B5EF4-FFF2-40B4-BE49-F238E27FC236}">
                <a16:creationId xmlns:a16="http://schemas.microsoft.com/office/drawing/2014/main" id="{67FD834C-461A-4BDB-9494-C23106E218F3}"/>
              </a:ext>
            </a:extLst>
          </p:cNvPr>
          <p:cNvSpPr/>
          <p:nvPr userDrawn="1"/>
        </p:nvSpPr>
        <p:spPr>
          <a:xfrm flipH="1">
            <a:off x="143106" y="585"/>
            <a:ext cx="12048895" cy="758952"/>
          </a:xfrm>
          <a:custGeom>
            <a:avLst/>
            <a:gdLst>
              <a:gd name="connsiteX0" fmla="*/ 9348131 w 9348131"/>
              <a:gd name="connsiteY0" fmla="*/ 0 h 758952"/>
              <a:gd name="connsiteX1" fmla="*/ 5971152 w 9348131"/>
              <a:gd name="connsiteY1" fmla="*/ 0 h 758952"/>
              <a:gd name="connsiteX2" fmla="*/ 5821232 w 9348131"/>
              <a:gd name="connsiteY2" fmla="*/ 0 h 758952"/>
              <a:gd name="connsiteX3" fmla="*/ 0 w 9348131"/>
              <a:gd name="connsiteY3" fmla="*/ 0 h 758952"/>
              <a:gd name="connsiteX4" fmla="*/ 0 w 9348131"/>
              <a:gd name="connsiteY4" fmla="*/ 758952 h 758952"/>
              <a:gd name="connsiteX5" fmla="*/ 5821232 w 9348131"/>
              <a:gd name="connsiteY5" fmla="*/ 758952 h 758952"/>
              <a:gd name="connsiteX6" fmla="*/ 5971152 w 9348131"/>
              <a:gd name="connsiteY6" fmla="*/ 758952 h 758952"/>
              <a:gd name="connsiteX7" fmla="*/ 9348131 w 9348131"/>
              <a:gd name="connsiteY7" fmla="*/ 758952 h 758952"/>
              <a:gd name="connsiteX8" fmla="*/ 8982150 w 9348131"/>
              <a:gd name="connsiteY8" fmla="*/ 379476 h 758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48131" h="758952">
                <a:moveTo>
                  <a:pt x="9348131" y="0"/>
                </a:moveTo>
                <a:lnTo>
                  <a:pt x="5971152" y="0"/>
                </a:lnTo>
                <a:lnTo>
                  <a:pt x="5821232" y="0"/>
                </a:lnTo>
                <a:lnTo>
                  <a:pt x="0" y="0"/>
                </a:lnTo>
                <a:lnTo>
                  <a:pt x="0" y="758952"/>
                </a:lnTo>
                <a:lnTo>
                  <a:pt x="5821232" y="758952"/>
                </a:lnTo>
                <a:lnTo>
                  <a:pt x="5971152" y="758952"/>
                </a:lnTo>
                <a:lnTo>
                  <a:pt x="9348131" y="758952"/>
                </a:lnTo>
                <a:lnTo>
                  <a:pt x="8982150" y="379476"/>
                </a:lnTo>
                <a:close/>
              </a:path>
            </a:pathLst>
          </a:custGeom>
          <a:solidFill>
            <a:srgbClr val="21BDE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IN" sz="1798" b="0" i="0" u="none" strike="noStrike" kern="1200" cap="none" spc="0" normalizeH="0" baseline="0" noProof="0">
              <a:ln>
                <a:noFill/>
              </a:ln>
              <a:solidFill>
                <a:prstClr val="white"/>
              </a:solidFill>
              <a:effectLst/>
              <a:uLnTx/>
              <a:uFillTx/>
              <a:latin typeface="Century Gothic"/>
              <a:ea typeface="+mn-ea"/>
              <a:cs typeface="+mn-cs"/>
            </a:endParaRPr>
          </a:p>
        </p:txBody>
      </p:sp>
      <p:sp>
        <p:nvSpPr>
          <p:cNvPr id="18" name="Text Placeholder 12">
            <a:extLst>
              <a:ext uri="{FF2B5EF4-FFF2-40B4-BE49-F238E27FC236}">
                <a16:creationId xmlns:a16="http://schemas.microsoft.com/office/drawing/2014/main" id="{CC41413E-78FD-4605-BB10-39040B3C9209}"/>
              </a:ext>
            </a:extLst>
          </p:cNvPr>
          <p:cNvSpPr>
            <a:spLocks noGrp="1"/>
          </p:cNvSpPr>
          <p:nvPr>
            <p:ph type="body" sz="quarter" idx="10"/>
          </p:nvPr>
        </p:nvSpPr>
        <p:spPr>
          <a:xfrm>
            <a:off x="511405" y="-13063"/>
            <a:ext cx="11129554" cy="761866"/>
          </a:xfrm>
        </p:spPr>
        <p:txBody>
          <a:bodyPr anchor="ctr">
            <a:normAutofit/>
          </a:bodyPr>
          <a:lstStyle>
            <a:lvl1pPr marL="0" indent="0">
              <a:buNone/>
              <a:defRPr sz="3198" b="1">
                <a:solidFill>
                  <a:schemeClr val="bg1"/>
                </a:solidFill>
                <a:latin typeface="Century Gothic" panose="020B0502020202020204" pitchFamily="34" charset="0"/>
              </a:defRPr>
            </a:lvl1pPr>
          </a:lstStyle>
          <a:p>
            <a:pPr lvl="0"/>
            <a:endParaRPr lang="en-IN" dirty="0"/>
          </a:p>
        </p:txBody>
      </p:sp>
      <p:pic>
        <p:nvPicPr>
          <p:cNvPr id="7" name="Picture 6">
            <a:extLst>
              <a:ext uri="{FF2B5EF4-FFF2-40B4-BE49-F238E27FC236}">
                <a16:creationId xmlns:a16="http://schemas.microsoft.com/office/drawing/2014/main" id="{68F43D8A-97BF-4795-A6E9-F3831848F1D1}"/>
              </a:ext>
            </a:extLst>
          </p:cNvPr>
          <p:cNvPicPr>
            <a:picLocks noChangeAspect="1"/>
          </p:cNvPicPr>
          <p:nvPr userDrawn="1"/>
        </p:nvPicPr>
        <p:blipFill>
          <a:blip r:embed="rId2">
            <a:biLevel thresh="25000"/>
            <a:extLst>
              <a:ext uri="{28A0092B-C50C-407E-A947-70E740481C1C}">
                <a14:useLocalDpi xmlns:a14="http://schemas.microsoft.com/office/drawing/2010/main"/>
              </a:ext>
            </a:extLst>
          </a:blip>
          <a:stretch>
            <a:fillRect/>
          </a:stretch>
        </p:blipFill>
        <p:spPr>
          <a:xfrm>
            <a:off x="11458843" y="67846"/>
            <a:ext cx="625622" cy="613110"/>
          </a:xfrm>
          <a:prstGeom prst="rect">
            <a:avLst/>
          </a:prstGeom>
        </p:spPr>
      </p:pic>
    </p:spTree>
    <p:extLst>
      <p:ext uri="{BB962C8B-B14F-4D97-AF65-F5344CB8AC3E}">
        <p14:creationId xmlns:p14="http://schemas.microsoft.com/office/powerpoint/2010/main" val="35160596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normAutofit/>
          </a:bodyPr>
          <a:lstStyle>
            <a:lvl1pPr>
              <a:defRPr sz="3467"/>
            </a:lvl1pPr>
            <a:lvl2pPr>
              <a:defRPr sz="2667"/>
            </a:lvl2pPr>
            <a:lvl3pPr>
              <a:defRPr sz="2400"/>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pPr defTabSz="1219170"/>
            <a:fld id="{FCDC3EC3-F503-4593-87FA-632892E2ED25}" type="datetimeFigureOut">
              <a:rPr lang="en-US" smtClean="0">
                <a:solidFill>
                  <a:prstClr val="black">
                    <a:tint val="75000"/>
                  </a:prstClr>
                </a:solidFill>
              </a:rPr>
              <a:pPr defTabSz="1219170"/>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21917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219170"/>
            <a:fld id="{BA3D8712-1930-4307-AAF2-C718ECB8B04A}" type="slidenum">
              <a:rPr lang="en-US" smtClean="0">
                <a:solidFill>
                  <a:prstClr val="black">
                    <a:tint val="75000"/>
                  </a:prstClr>
                </a:solidFill>
              </a:rPr>
              <a:pPr defTabSz="1219170"/>
              <a:t>‹#›</a:t>
            </a:fld>
            <a:endParaRPr lang="en-US">
              <a:solidFill>
                <a:prstClr val="black">
                  <a:tint val="75000"/>
                </a:prstClr>
              </a:solidFill>
            </a:endParaRPr>
          </a:p>
        </p:txBody>
      </p:sp>
    </p:spTree>
    <p:extLst>
      <p:ext uri="{BB962C8B-B14F-4D97-AF65-F5344CB8AC3E}">
        <p14:creationId xmlns:p14="http://schemas.microsoft.com/office/powerpoint/2010/main" val="357660433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246811"/>
            <a:ext cx="9144000" cy="727575"/>
          </a:xfrm>
          <a:prstGeom prst="rect">
            <a:avLst/>
          </a:prstGeom>
        </p:spPr>
        <p:txBody>
          <a:bodyPr anchor="b"/>
          <a:lstStyle>
            <a:lvl1pPr algn="ctr">
              <a:defRPr sz="4399"/>
            </a:lvl1pPr>
          </a:lstStyle>
          <a:p>
            <a:r>
              <a:rPr lang="en-US"/>
              <a:t>Click to edit Master title style</a:t>
            </a:r>
            <a:endParaRPr lang="en-IN" dirty="0"/>
          </a:p>
        </p:txBody>
      </p:sp>
      <p:sp>
        <p:nvSpPr>
          <p:cNvPr id="3" name="Subtitle 2"/>
          <p:cNvSpPr>
            <a:spLocks noGrp="1"/>
          </p:cNvSpPr>
          <p:nvPr>
            <p:ph type="subTitle" idx="1"/>
          </p:nvPr>
        </p:nvSpPr>
        <p:spPr>
          <a:xfrm>
            <a:off x="1524000" y="3602041"/>
            <a:ext cx="9144000" cy="525825"/>
          </a:xfrm>
          <a:prstGeom prst="rect">
            <a:avLst/>
          </a:prstGeom>
        </p:spPr>
        <p:txBody>
          <a:bodyPr/>
          <a:lstStyle>
            <a:lvl1pPr marL="0" indent="0" algn="ctr">
              <a:buNone/>
              <a:defRPr sz="2399"/>
            </a:lvl1pPr>
            <a:lvl2pPr marL="457051" indent="0" algn="ctr">
              <a:buNone/>
              <a:defRPr sz="1999"/>
            </a:lvl2pPr>
            <a:lvl3pPr marL="914104" indent="0" algn="ctr">
              <a:buNone/>
              <a:defRPr sz="1799"/>
            </a:lvl3pPr>
            <a:lvl4pPr marL="1371155" indent="0" algn="ctr">
              <a:buNone/>
              <a:defRPr sz="1600"/>
            </a:lvl4pPr>
            <a:lvl5pPr marL="1828205"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Click to edit Master subtitle style</a:t>
            </a:r>
            <a:endParaRPr lang="en-IN" dirty="0"/>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fld id="{83CDDF50-2691-4A96-A320-FAE26882475A}" type="datetimeFigureOut">
              <a:rPr kumimoji="0" lang="en-IN" sz="1799"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104" rtl="0" eaLnBrk="1" fontAlgn="auto" latinLnBrk="0" hangingPunct="1">
                <a:lnSpc>
                  <a:spcPct val="100000"/>
                </a:lnSpc>
                <a:spcBef>
                  <a:spcPts val="0"/>
                </a:spcBef>
                <a:spcAft>
                  <a:spcPts val="0"/>
                </a:spcAft>
                <a:buClrTx/>
                <a:buSzTx/>
                <a:buFontTx/>
                <a:buNone/>
                <a:tabLst/>
                <a:defRPr/>
              </a:pPr>
              <a:t>01-12-2022</a:t>
            </a:fld>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marL="0" marR="0" lvl="0" indent="0" algn="r" defTabSz="914104" rtl="0" eaLnBrk="1" fontAlgn="auto" latinLnBrk="0" hangingPunct="1">
              <a:lnSpc>
                <a:spcPct val="100000"/>
              </a:lnSpc>
              <a:spcBef>
                <a:spcPts val="0"/>
              </a:spcBef>
              <a:spcAft>
                <a:spcPts val="0"/>
              </a:spcAft>
              <a:buClrTx/>
              <a:buSzTx/>
              <a:buFontTx/>
              <a:buNone/>
              <a:tabLst/>
              <a:defRPr/>
            </a:pPr>
            <a:fld id="{E74C42B1-5A19-486C-A487-15095F4D7BCC}"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104"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701018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31076" y="6363518"/>
            <a:ext cx="27432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fld id="{83CDDF50-2691-4A96-A320-FAE26882475A}" type="datetimeFigureOut">
              <a:rPr kumimoji="0" lang="en-IN" sz="1799"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104" rtl="0" eaLnBrk="1" fontAlgn="auto" latinLnBrk="0" hangingPunct="1">
                <a:lnSpc>
                  <a:spcPct val="100000"/>
                </a:lnSpc>
                <a:spcBef>
                  <a:spcPts val="0"/>
                </a:spcBef>
                <a:spcAft>
                  <a:spcPts val="0"/>
                </a:spcAft>
                <a:buClrTx/>
                <a:buSzTx/>
                <a:buFontTx/>
                <a:buNone/>
                <a:tabLst/>
                <a:defRPr/>
              </a:pPr>
              <a:t>01-12-2022</a:t>
            </a:fld>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a:xfrm>
            <a:off x="8739051" y="6354718"/>
            <a:ext cx="2743200" cy="365125"/>
          </a:xfrm>
          <a:prstGeom prst="rect">
            <a:avLst/>
          </a:prstGeom>
        </p:spPr>
        <p:txBody>
          <a:bodyPr/>
          <a:lstStyle/>
          <a:p>
            <a:pPr marL="0" marR="0" lvl="0" indent="0" algn="r" defTabSz="914104" rtl="0" eaLnBrk="1" fontAlgn="auto" latinLnBrk="0" hangingPunct="1">
              <a:lnSpc>
                <a:spcPct val="100000"/>
              </a:lnSpc>
              <a:spcBef>
                <a:spcPts val="0"/>
              </a:spcBef>
              <a:spcAft>
                <a:spcPts val="0"/>
              </a:spcAft>
              <a:buClrTx/>
              <a:buSzTx/>
              <a:buFontTx/>
              <a:buNone/>
              <a:tabLst/>
              <a:defRPr/>
            </a:pPr>
            <a:fld id="{E74C42B1-5A19-486C-A487-15095F4D7BCC}"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104"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
        <p:nvSpPr>
          <p:cNvPr id="8" name="Rectangle 3"/>
          <p:cNvSpPr>
            <a:spLocks noGrp="1" noChangeArrowheads="1"/>
          </p:cNvSpPr>
          <p:nvPr>
            <p:ph idx="1"/>
          </p:nvPr>
        </p:nvSpPr>
        <p:spPr bwMode="auto">
          <a:xfrm>
            <a:off x="431075" y="1371601"/>
            <a:ext cx="11051176" cy="4950817"/>
          </a:xfrm>
          <a:prstGeom prst="rect">
            <a:avLst/>
          </a:prstGeom>
          <a:noFill/>
          <a:ln w="9525">
            <a:noFill/>
            <a:miter lim="800000"/>
          </a:ln>
        </p:spPr>
        <p:txBody>
          <a:bodyPr vert="horz" wrap="square" lIns="91429" tIns="45715" rIns="91429" bIns="45715" numCol="1" anchor="t" anchorCtr="0" compatLnSpc="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319800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49" y="1709741"/>
            <a:ext cx="10515600" cy="2852737"/>
          </a:xfrm>
          <a:prstGeom prst="rect">
            <a:avLst/>
          </a:prstGeom>
        </p:spPr>
        <p:txBody>
          <a:bodyPr anchor="ctr"/>
          <a:lstStyle>
            <a:lvl1pPr algn="ctr">
              <a:defRPr sz="4399"/>
            </a:lvl1pPr>
          </a:lstStyle>
          <a:p>
            <a:r>
              <a:rPr lang="en-US"/>
              <a:t>Click to edit Master title style</a:t>
            </a:r>
            <a:endParaRPr lang="en-IN" dirty="0"/>
          </a:p>
        </p:txBody>
      </p:sp>
      <p:sp>
        <p:nvSpPr>
          <p:cNvPr id="3" name="Text Placeholder 2"/>
          <p:cNvSpPr>
            <a:spLocks noGrp="1"/>
          </p:cNvSpPr>
          <p:nvPr>
            <p:ph type="body" idx="1"/>
          </p:nvPr>
        </p:nvSpPr>
        <p:spPr>
          <a:xfrm>
            <a:off x="831849" y="4589465"/>
            <a:ext cx="10515600" cy="1500187"/>
          </a:xfrm>
          <a:prstGeom prst="rect">
            <a:avLst/>
          </a:prstGeom>
        </p:spPr>
        <p:txBody>
          <a:bodyPr anchor="ctr"/>
          <a:lstStyle>
            <a:lvl1pPr marL="0" indent="0" algn="ctr">
              <a:buNone/>
              <a:defRPr sz="2399">
                <a:solidFill>
                  <a:schemeClr val="tx1">
                    <a:tint val="75000"/>
                  </a:schemeClr>
                </a:solidFill>
              </a:defRPr>
            </a:lvl1pPr>
            <a:lvl2pPr marL="457051" indent="0">
              <a:buNone/>
              <a:defRPr sz="1999">
                <a:solidFill>
                  <a:schemeClr val="tx1">
                    <a:tint val="75000"/>
                  </a:schemeClr>
                </a:solidFill>
              </a:defRPr>
            </a:lvl2pPr>
            <a:lvl3pPr marL="914104" indent="0">
              <a:buNone/>
              <a:defRPr sz="1799">
                <a:solidFill>
                  <a:schemeClr val="tx1">
                    <a:tint val="75000"/>
                  </a:schemeClr>
                </a:solidFill>
              </a:defRPr>
            </a:lvl3pPr>
            <a:lvl4pPr marL="1371155" indent="0">
              <a:buNone/>
              <a:defRPr sz="1600">
                <a:solidFill>
                  <a:schemeClr val="tx1">
                    <a:tint val="75000"/>
                  </a:schemeClr>
                </a:solidFill>
              </a:defRPr>
            </a:lvl4pPr>
            <a:lvl5pPr marL="1828205" indent="0">
              <a:buNone/>
              <a:defRPr sz="1600">
                <a:solidFill>
                  <a:schemeClr val="tx1">
                    <a:tint val="75000"/>
                  </a:schemeClr>
                </a:solidFill>
              </a:defRPr>
            </a:lvl5pPr>
            <a:lvl6pPr marL="2285258" indent="0">
              <a:buNone/>
              <a:defRPr sz="1600">
                <a:solidFill>
                  <a:schemeClr val="tx1">
                    <a:tint val="75000"/>
                  </a:schemeClr>
                </a:solidFill>
              </a:defRPr>
            </a:lvl6pPr>
            <a:lvl7pPr marL="2742309" indent="0">
              <a:buNone/>
              <a:defRPr sz="1600">
                <a:solidFill>
                  <a:schemeClr val="tx1">
                    <a:tint val="75000"/>
                  </a:schemeClr>
                </a:solidFill>
              </a:defRPr>
            </a:lvl7pPr>
            <a:lvl8pPr marL="3199360" indent="0">
              <a:buNone/>
              <a:defRPr sz="1600">
                <a:solidFill>
                  <a:schemeClr val="tx1">
                    <a:tint val="75000"/>
                  </a:schemeClr>
                </a:solidFill>
              </a:defRPr>
            </a:lvl8pPr>
            <a:lvl9pPr marL="3656411"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fld id="{83CDDF50-2691-4A96-A320-FAE26882475A}" type="datetimeFigureOut">
              <a:rPr kumimoji="0" lang="en-IN" sz="1799"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104" rtl="0" eaLnBrk="1" fontAlgn="auto" latinLnBrk="0" hangingPunct="1">
                <a:lnSpc>
                  <a:spcPct val="100000"/>
                </a:lnSpc>
                <a:spcBef>
                  <a:spcPts val="0"/>
                </a:spcBef>
                <a:spcAft>
                  <a:spcPts val="0"/>
                </a:spcAft>
                <a:buClrTx/>
                <a:buSzTx/>
                <a:buFontTx/>
                <a:buNone/>
                <a:tabLst/>
                <a:defRPr/>
              </a:pPr>
              <a:t>01-12-2022</a:t>
            </a:fld>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marL="0" marR="0" lvl="0" indent="0" algn="r" defTabSz="914104" rtl="0" eaLnBrk="1" fontAlgn="auto" latinLnBrk="0" hangingPunct="1">
              <a:lnSpc>
                <a:spcPct val="100000"/>
              </a:lnSpc>
              <a:spcBef>
                <a:spcPts val="0"/>
              </a:spcBef>
              <a:spcAft>
                <a:spcPts val="0"/>
              </a:spcAft>
              <a:buClrTx/>
              <a:buSzTx/>
              <a:buFontTx/>
              <a:buNone/>
              <a:tabLst/>
              <a:defRPr/>
            </a:pPr>
            <a:fld id="{E74C42B1-5A19-486C-A487-15095F4D7BCC}"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104"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6802396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81001" y="1348669"/>
            <a:ext cx="5418911" cy="4817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199" y="1348670"/>
            <a:ext cx="5638803" cy="48169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a:xfrm>
            <a:off x="381000" y="6356352"/>
            <a:ext cx="27432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fld id="{83CDDF50-2691-4A96-A320-FAE26882475A}" type="datetimeFigureOut">
              <a:rPr kumimoji="0" lang="en-IN" sz="1799"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104" rtl="0" eaLnBrk="1" fontAlgn="auto" latinLnBrk="0" hangingPunct="1">
                <a:lnSpc>
                  <a:spcPct val="100000"/>
                </a:lnSpc>
                <a:spcBef>
                  <a:spcPts val="0"/>
                </a:spcBef>
                <a:spcAft>
                  <a:spcPts val="0"/>
                </a:spcAft>
                <a:buClrTx/>
                <a:buSzTx/>
                <a:buFontTx/>
                <a:buNone/>
                <a:tabLst/>
                <a:defRPr/>
              </a:pPr>
              <a:t>01-12-2022</a:t>
            </a:fld>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2"/>
          </p:nvPr>
        </p:nvSpPr>
        <p:spPr>
          <a:xfrm>
            <a:off x="9067800" y="6356352"/>
            <a:ext cx="2743200" cy="365125"/>
          </a:xfrm>
          <a:prstGeom prst="rect">
            <a:avLst/>
          </a:prstGeom>
        </p:spPr>
        <p:txBody>
          <a:bodyPr/>
          <a:lstStyle/>
          <a:p>
            <a:pPr marL="0" marR="0" lvl="0" indent="0" algn="r" defTabSz="914104" rtl="0" eaLnBrk="1" fontAlgn="auto" latinLnBrk="0" hangingPunct="1">
              <a:lnSpc>
                <a:spcPct val="100000"/>
              </a:lnSpc>
              <a:spcBef>
                <a:spcPts val="0"/>
              </a:spcBef>
              <a:spcAft>
                <a:spcPts val="0"/>
              </a:spcAft>
              <a:buClrTx/>
              <a:buSzTx/>
              <a:buFontTx/>
              <a:buNone/>
              <a:tabLst/>
              <a:defRPr/>
            </a:pPr>
            <a:fld id="{E74C42B1-5A19-486C-A487-15095F4D7BCC}"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104"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Tree>
    <p:extLst>
      <p:ext uri="{BB962C8B-B14F-4D97-AF65-F5344CB8AC3E}">
        <p14:creationId xmlns:p14="http://schemas.microsoft.com/office/powerpoint/2010/main" val="17159547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1001" y="1295334"/>
            <a:ext cx="5418911" cy="368911"/>
          </a:xfrm>
          <a:prstGeom prst="rect">
            <a:avLst/>
          </a:prstGeom>
        </p:spPr>
        <p:txBody>
          <a:bodyPr anchor="b"/>
          <a:lstStyle>
            <a:lvl1pPr marL="0" indent="0">
              <a:buNone/>
              <a:defRPr sz="2399" b="1"/>
            </a:lvl1pPr>
            <a:lvl2pPr marL="457051" indent="0">
              <a:buNone/>
              <a:defRPr sz="1999" b="1"/>
            </a:lvl2pPr>
            <a:lvl3pPr marL="914104" indent="0">
              <a:buNone/>
              <a:defRPr sz="1799" b="1"/>
            </a:lvl3pPr>
            <a:lvl4pPr marL="1371155" indent="0">
              <a:buNone/>
              <a:defRPr sz="1600" b="1"/>
            </a:lvl4pPr>
            <a:lvl5pPr marL="1828205" indent="0">
              <a:buNone/>
              <a:defRPr sz="1600" b="1"/>
            </a:lvl5pPr>
            <a:lvl6pPr marL="2285258" indent="0">
              <a:buNone/>
              <a:defRPr sz="1600" b="1"/>
            </a:lvl6pPr>
            <a:lvl7pPr marL="2742309" indent="0">
              <a:buNone/>
              <a:defRPr sz="1600" b="1"/>
            </a:lvl7pPr>
            <a:lvl8pPr marL="3199360" indent="0">
              <a:buNone/>
              <a:defRPr sz="1600" b="1"/>
            </a:lvl8pPr>
            <a:lvl9pPr marL="3656411" indent="0">
              <a:buNone/>
              <a:defRPr sz="1600" b="1"/>
            </a:lvl9pPr>
          </a:lstStyle>
          <a:p>
            <a:pPr lvl="0"/>
            <a:r>
              <a:rPr lang="en-US"/>
              <a:t>Edit Master text styles</a:t>
            </a:r>
          </a:p>
        </p:txBody>
      </p:sp>
      <p:sp>
        <p:nvSpPr>
          <p:cNvPr id="5" name="Text Placeholder 4"/>
          <p:cNvSpPr>
            <a:spLocks noGrp="1"/>
          </p:cNvSpPr>
          <p:nvPr>
            <p:ph type="body" sz="quarter" idx="3"/>
          </p:nvPr>
        </p:nvSpPr>
        <p:spPr>
          <a:xfrm>
            <a:off x="6172200" y="1330578"/>
            <a:ext cx="5638800" cy="368911"/>
          </a:xfrm>
          <a:prstGeom prst="rect">
            <a:avLst/>
          </a:prstGeom>
        </p:spPr>
        <p:txBody>
          <a:bodyPr anchor="b"/>
          <a:lstStyle>
            <a:lvl1pPr marL="0" indent="0">
              <a:buNone/>
              <a:defRPr sz="2399" b="1"/>
            </a:lvl1pPr>
            <a:lvl2pPr marL="457051" indent="0">
              <a:buNone/>
              <a:defRPr sz="1999" b="1"/>
            </a:lvl2pPr>
            <a:lvl3pPr marL="914104" indent="0">
              <a:buNone/>
              <a:defRPr sz="1799" b="1"/>
            </a:lvl3pPr>
            <a:lvl4pPr marL="1371155" indent="0">
              <a:buNone/>
              <a:defRPr sz="1600" b="1"/>
            </a:lvl4pPr>
            <a:lvl5pPr marL="1828205" indent="0">
              <a:buNone/>
              <a:defRPr sz="1600" b="1"/>
            </a:lvl5pPr>
            <a:lvl6pPr marL="2285258" indent="0">
              <a:buNone/>
              <a:defRPr sz="1600" b="1"/>
            </a:lvl6pPr>
            <a:lvl7pPr marL="2742309" indent="0">
              <a:buNone/>
              <a:defRPr sz="1600" b="1"/>
            </a:lvl7pPr>
            <a:lvl8pPr marL="3199360" indent="0">
              <a:buNone/>
              <a:defRPr sz="1600" b="1"/>
            </a:lvl8pPr>
            <a:lvl9pPr marL="3656411" indent="0">
              <a:buNone/>
              <a:defRPr sz="1600" b="1"/>
            </a:lvl9pPr>
          </a:lstStyle>
          <a:p>
            <a:pPr lvl="0"/>
            <a:r>
              <a:rPr lang="en-US"/>
              <a:t>Edit Master text styles</a:t>
            </a:r>
          </a:p>
        </p:txBody>
      </p:sp>
      <p:sp>
        <p:nvSpPr>
          <p:cNvPr id="10"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
        <p:nvSpPr>
          <p:cNvPr id="11" name="Content Placeholder 2"/>
          <p:cNvSpPr>
            <a:spLocks noGrp="1"/>
          </p:cNvSpPr>
          <p:nvPr>
            <p:ph sz="half" idx="10"/>
          </p:nvPr>
        </p:nvSpPr>
        <p:spPr>
          <a:xfrm>
            <a:off x="381001" y="1854926"/>
            <a:ext cx="5418911" cy="431074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2" name="Content Placeholder 3"/>
          <p:cNvSpPr>
            <a:spLocks noGrp="1"/>
          </p:cNvSpPr>
          <p:nvPr>
            <p:ph sz="half" idx="2"/>
          </p:nvPr>
        </p:nvSpPr>
        <p:spPr>
          <a:xfrm>
            <a:off x="6172199" y="1854926"/>
            <a:ext cx="5638803" cy="431074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3" name="Date Placeholder 4"/>
          <p:cNvSpPr>
            <a:spLocks noGrp="1"/>
          </p:cNvSpPr>
          <p:nvPr>
            <p:ph type="dt" sz="half" idx="11"/>
          </p:nvPr>
        </p:nvSpPr>
        <p:spPr>
          <a:xfrm>
            <a:off x="381000" y="6356352"/>
            <a:ext cx="27432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fld id="{83CDDF50-2691-4A96-A320-FAE26882475A}" type="datetimeFigureOut">
              <a:rPr kumimoji="0" lang="en-IN" sz="1799"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104" rtl="0" eaLnBrk="1" fontAlgn="auto" latinLnBrk="0" hangingPunct="1">
                <a:lnSpc>
                  <a:spcPct val="100000"/>
                </a:lnSpc>
                <a:spcBef>
                  <a:spcPts val="0"/>
                </a:spcBef>
                <a:spcAft>
                  <a:spcPts val="0"/>
                </a:spcAft>
                <a:buClrTx/>
                <a:buSzTx/>
                <a:buFontTx/>
                <a:buNone/>
                <a:tabLst/>
                <a:defRPr/>
              </a:pPr>
              <a:t>01-12-2022</a:t>
            </a:fld>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14" name="Footer Placeholder 5"/>
          <p:cNvSpPr>
            <a:spLocks noGrp="1"/>
          </p:cNvSpPr>
          <p:nvPr>
            <p:ph type="ftr" sz="quarter" idx="12"/>
          </p:nvPr>
        </p:nvSpPr>
        <p:spPr>
          <a:xfrm>
            <a:off x="4038600" y="6356352"/>
            <a:ext cx="41148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15" name="Slide Number Placeholder 6"/>
          <p:cNvSpPr>
            <a:spLocks noGrp="1"/>
          </p:cNvSpPr>
          <p:nvPr>
            <p:ph type="sldNum" sz="quarter" idx="13"/>
          </p:nvPr>
        </p:nvSpPr>
        <p:spPr>
          <a:xfrm>
            <a:off x="9067800" y="6356352"/>
            <a:ext cx="2743200" cy="365125"/>
          </a:xfrm>
          <a:prstGeom prst="rect">
            <a:avLst/>
          </a:prstGeom>
        </p:spPr>
        <p:txBody>
          <a:bodyPr/>
          <a:lstStyle/>
          <a:p>
            <a:pPr marL="0" marR="0" lvl="0" indent="0" algn="r" defTabSz="914104" rtl="0" eaLnBrk="1" fontAlgn="auto" latinLnBrk="0" hangingPunct="1">
              <a:lnSpc>
                <a:spcPct val="100000"/>
              </a:lnSpc>
              <a:spcBef>
                <a:spcPts val="0"/>
              </a:spcBef>
              <a:spcAft>
                <a:spcPts val="0"/>
              </a:spcAft>
              <a:buClrTx/>
              <a:buSzTx/>
              <a:buFontTx/>
              <a:buNone/>
              <a:tabLst/>
              <a:defRPr/>
            </a:pPr>
            <a:fld id="{E74C42B1-5A19-486C-A487-15095F4D7BCC}"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104"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5810082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
        <p:nvSpPr>
          <p:cNvPr id="11" name="Date Placeholder 4"/>
          <p:cNvSpPr>
            <a:spLocks noGrp="1"/>
          </p:cNvSpPr>
          <p:nvPr>
            <p:ph type="dt" sz="half" idx="11"/>
          </p:nvPr>
        </p:nvSpPr>
        <p:spPr>
          <a:xfrm>
            <a:off x="381000" y="6356352"/>
            <a:ext cx="27432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fld id="{83CDDF50-2691-4A96-A320-FAE26882475A}" type="datetimeFigureOut">
              <a:rPr kumimoji="0" lang="en-IN" sz="1799"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104" rtl="0" eaLnBrk="1" fontAlgn="auto" latinLnBrk="0" hangingPunct="1">
                <a:lnSpc>
                  <a:spcPct val="100000"/>
                </a:lnSpc>
                <a:spcBef>
                  <a:spcPts val="0"/>
                </a:spcBef>
                <a:spcAft>
                  <a:spcPts val="0"/>
                </a:spcAft>
                <a:buClrTx/>
                <a:buSzTx/>
                <a:buFontTx/>
                <a:buNone/>
                <a:tabLst/>
                <a:defRPr/>
              </a:pPr>
              <a:t>01-12-2022</a:t>
            </a:fld>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12" name="Footer Placeholder 5"/>
          <p:cNvSpPr>
            <a:spLocks noGrp="1"/>
          </p:cNvSpPr>
          <p:nvPr>
            <p:ph type="ftr" sz="quarter" idx="12"/>
          </p:nvPr>
        </p:nvSpPr>
        <p:spPr>
          <a:xfrm>
            <a:off x="4038600" y="6356352"/>
            <a:ext cx="41148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13" name="Slide Number Placeholder 6"/>
          <p:cNvSpPr>
            <a:spLocks noGrp="1"/>
          </p:cNvSpPr>
          <p:nvPr>
            <p:ph type="sldNum" sz="quarter" idx="13"/>
          </p:nvPr>
        </p:nvSpPr>
        <p:spPr>
          <a:xfrm>
            <a:off x="9067800" y="6356352"/>
            <a:ext cx="2743200" cy="365125"/>
          </a:xfrm>
          <a:prstGeom prst="rect">
            <a:avLst/>
          </a:prstGeom>
        </p:spPr>
        <p:txBody>
          <a:bodyPr/>
          <a:lstStyle/>
          <a:p>
            <a:pPr marL="0" marR="0" lvl="0" indent="0" algn="r" defTabSz="914104" rtl="0" eaLnBrk="1" fontAlgn="auto" latinLnBrk="0" hangingPunct="1">
              <a:lnSpc>
                <a:spcPct val="100000"/>
              </a:lnSpc>
              <a:spcBef>
                <a:spcPts val="0"/>
              </a:spcBef>
              <a:spcAft>
                <a:spcPts val="0"/>
              </a:spcAft>
              <a:buClrTx/>
              <a:buSzTx/>
              <a:buFontTx/>
              <a:buNone/>
              <a:tabLst/>
              <a:defRPr/>
            </a:pPr>
            <a:fld id="{E74C42B1-5A19-486C-A487-15095F4D7BCC}"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104"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124969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36564" y="1423851"/>
            <a:ext cx="4932272" cy="638675"/>
          </a:xfrm>
          <a:prstGeom prst="rect">
            <a:avLst/>
          </a:prstGeom>
        </p:spPr>
        <p:txBody>
          <a:bodyPr anchor="b"/>
          <a:lstStyle>
            <a:lvl1pPr>
              <a:defRPr sz="2799"/>
            </a:lvl1pPr>
          </a:lstStyle>
          <a:p>
            <a:r>
              <a:rPr lang="en-US"/>
              <a:t>Click to edit Master title style</a:t>
            </a:r>
            <a:endParaRPr lang="en-IN" dirty="0"/>
          </a:p>
        </p:txBody>
      </p:sp>
      <p:sp>
        <p:nvSpPr>
          <p:cNvPr id="3" name="Content Placeholder 2"/>
          <p:cNvSpPr>
            <a:spLocks noGrp="1"/>
          </p:cNvSpPr>
          <p:nvPr>
            <p:ph idx="1"/>
          </p:nvPr>
        </p:nvSpPr>
        <p:spPr>
          <a:xfrm>
            <a:off x="5786846" y="1423853"/>
            <a:ext cx="5968591" cy="4794068"/>
          </a:xfrm>
          <a:prstGeom prst="rect">
            <a:avLst/>
          </a:prstGeo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4" name="Text Placeholder 3"/>
          <p:cNvSpPr>
            <a:spLocks noGrp="1"/>
          </p:cNvSpPr>
          <p:nvPr>
            <p:ph type="body" sz="half" idx="2"/>
          </p:nvPr>
        </p:nvSpPr>
        <p:spPr>
          <a:xfrm>
            <a:off x="436564" y="2049463"/>
            <a:ext cx="4932272" cy="4106007"/>
          </a:xfrm>
          <a:prstGeom prst="rect">
            <a:avLst/>
          </a:prstGeom>
        </p:spPr>
        <p:txBody>
          <a:bodyPr/>
          <a:lstStyle>
            <a:lvl1pPr marL="0" indent="0">
              <a:buNone/>
              <a:defRPr sz="1799"/>
            </a:lvl1pPr>
            <a:lvl2pPr marL="457051" indent="0">
              <a:buNone/>
              <a:defRPr sz="1400"/>
            </a:lvl2pPr>
            <a:lvl3pPr marL="914104" indent="0">
              <a:buNone/>
              <a:defRPr sz="1200"/>
            </a:lvl3pPr>
            <a:lvl4pPr marL="1371155" indent="0">
              <a:buNone/>
              <a:defRPr sz="1000"/>
            </a:lvl4pPr>
            <a:lvl5pPr marL="1828205" indent="0">
              <a:buNone/>
              <a:defRPr sz="1000"/>
            </a:lvl5pPr>
            <a:lvl6pPr marL="2285258" indent="0">
              <a:buNone/>
              <a:defRPr sz="1000"/>
            </a:lvl6pPr>
            <a:lvl7pPr marL="2742309" indent="0">
              <a:buNone/>
              <a:defRPr sz="1000"/>
            </a:lvl7pPr>
            <a:lvl8pPr marL="3199360" indent="0">
              <a:buNone/>
              <a:defRPr sz="1000"/>
            </a:lvl8pPr>
            <a:lvl9pPr marL="3656411" indent="0">
              <a:buNone/>
              <a:defRPr sz="1000"/>
            </a:lvl9pPr>
          </a:lstStyle>
          <a:p>
            <a:pPr lvl="0"/>
            <a:r>
              <a:rPr lang="en-US"/>
              <a:t>Edit Master text styles</a:t>
            </a:r>
          </a:p>
        </p:txBody>
      </p:sp>
      <p:sp>
        <p:nvSpPr>
          <p:cNvPr id="8" name="Date Placeholder 4"/>
          <p:cNvSpPr>
            <a:spLocks noGrp="1"/>
          </p:cNvSpPr>
          <p:nvPr>
            <p:ph type="dt" sz="half" idx="11"/>
          </p:nvPr>
        </p:nvSpPr>
        <p:spPr>
          <a:xfrm>
            <a:off x="381000" y="6356352"/>
            <a:ext cx="27432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fld id="{83CDDF50-2691-4A96-A320-FAE26882475A}" type="datetimeFigureOut">
              <a:rPr kumimoji="0" lang="en-IN" sz="1799"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104" rtl="0" eaLnBrk="1" fontAlgn="auto" latinLnBrk="0" hangingPunct="1">
                <a:lnSpc>
                  <a:spcPct val="100000"/>
                </a:lnSpc>
                <a:spcBef>
                  <a:spcPts val="0"/>
                </a:spcBef>
                <a:spcAft>
                  <a:spcPts val="0"/>
                </a:spcAft>
                <a:buClrTx/>
                <a:buSzTx/>
                <a:buFontTx/>
                <a:buNone/>
                <a:tabLst/>
                <a:defRPr/>
              </a:pPr>
              <a:t>01-12-2022</a:t>
            </a:fld>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9" name="Footer Placeholder 5"/>
          <p:cNvSpPr>
            <a:spLocks noGrp="1"/>
          </p:cNvSpPr>
          <p:nvPr>
            <p:ph type="ftr" sz="quarter" idx="12"/>
          </p:nvPr>
        </p:nvSpPr>
        <p:spPr>
          <a:xfrm>
            <a:off x="4038600" y="6356352"/>
            <a:ext cx="41148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10" name="Slide Number Placeholder 6"/>
          <p:cNvSpPr>
            <a:spLocks noGrp="1"/>
          </p:cNvSpPr>
          <p:nvPr>
            <p:ph type="sldNum" sz="quarter" idx="13"/>
          </p:nvPr>
        </p:nvSpPr>
        <p:spPr>
          <a:xfrm>
            <a:off x="9012236" y="6364152"/>
            <a:ext cx="2743200" cy="365125"/>
          </a:xfrm>
          <a:prstGeom prst="rect">
            <a:avLst/>
          </a:prstGeom>
        </p:spPr>
        <p:txBody>
          <a:bodyPr/>
          <a:lstStyle/>
          <a:p>
            <a:pPr marL="0" marR="0" lvl="0" indent="0" algn="r" defTabSz="914104" rtl="0" eaLnBrk="1" fontAlgn="auto" latinLnBrk="0" hangingPunct="1">
              <a:lnSpc>
                <a:spcPct val="100000"/>
              </a:lnSpc>
              <a:spcBef>
                <a:spcPts val="0"/>
              </a:spcBef>
              <a:spcAft>
                <a:spcPts val="0"/>
              </a:spcAft>
              <a:buClrTx/>
              <a:buSzTx/>
              <a:buFontTx/>
              <a:buNone/>
              <a:tabLst/>
              <a:defRPr/>
            </a:pPr>
            <a:fld id="{E74C42B1-5A19-486C-A487-15095F4D7BCC}"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104"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
        <p:nvSpPr>
          <p:cNvPr id="11" name="Rectangle 2"/>
          <p:cNvSpPr txBox="1">
            <a:spLocks noChangeArrowheads="1"/>
          </p:cNvSpPr>
          <p:nvPr/>
        </p:nvSpPr>
        <p:spPr bwMode="auto">
          <a:xfrm>
            <a:off x="457201" y="171451"/>
            <a:ext cx="7823200" cy="520876"/>
          </a:xfrm>
          <a:prstGeom prst="rect">
            <a:avLst/>
          </a:prstGeom>
          <a:noFill/>
          <a:ln w="9525">
            <a:noFill/>
            <a:miter lim="800000"/>
          </a:ln>
        </p:spPr>
        <p:txBody>
          <a:bodyPr vert="horz" wrap="square" lIns="91405" tIns="45703" rIns="91405" bIns="45703" numCol="1" anchor="ctr" anchorCtr="0" compatLnSpc="1"/>
          <a:lstStyle>
            <a:lvl1pPr algn="l" defTabSz="914400" rtl="0" eaLnBrk="1" latinLnBrk="0" hangingPunct="1">
              <a:lnSpc>
                <a:spcPct val="90000"/>
              </a:lnSpc>
              <a:spcBef>
                <a:spcPct val="0"/>
              </a:spcBef>
              <a:buNone/>
              <a:defRPr sz="3600" kern="1200">
                <a:solidFill>
                  <a:schemeClr val="tx1"/>
                </a:solidFill>
                <a:latin typeface="+mn-lt"/>
                <a:ea typeface="+mj-ea"/>
                <a:cs typeface="+mj-cs"/>
              </a:defRPr>
            </a:lvl1pPr>
          </a:lstStyle>
          <a:p>
            <a:pPr marL="0" marR="0" lvl="0" indent="0" algn="l" defTabSz="914104" rtl="0" eaLnBrk="1" fontAlgn="auto" latinLnBrk="0" hangingPunct="1">
              <a:lnSpc>
                <a:spcPct val="90000"/>
              </a:lnSpc>
              <a:spcBef>
                <a:spcPct val="0"/>
              </a:spcBef>
              <a:spcAft>
                <a:spcPts val="0"/>
              </a:spcAft>
              <a:buClrTx/>
              <a:buSzTx/>
              <a:buFontTx/>
              <a:buNone/>
              <a:tabLst/>
              <a:defRPr/>
            </a:pPr>
            <a:r>
              <a:rPr kumimoji="0" lang="en-US" sz="3599" b="0" i="0" u="none" strike="noStrike" kern="1200" cap="none" spc="0" normalizeH="0" baseline="0" noProof="0" dirty="0">
                <a:ln>
                  <a:noFill/>
                </a:ln>
                <a:solidFill>
                  <a:prstClr val="black"/>
                </a:solidFill>
                <a:effectLst/>
                <a:uLnTx/>
                <a:uFillTx/>
                <a:latin typeface="Calibri"/>
                <a:ea typeface="+mj-ea"/>
                <a:cs typeface="+mj-cs"/>
              </a:rPr>
              <a:t>Click to edit Master title</a:t>
            </a:r>
          </a:p>
        </p:txBody>
      </p:sp>
    </p:spTree>
    <p:extLst>
      <p:ext uri="{BB962C8B-B14F-4D97-AF65-F5344CB8AC3E}">
        <p14:creationId xmlns:p14="http://schemas.microsoft.com/office/powerpoint/2010/main" val="78729990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905216" rtl="0" eaLnBrk="1" fontAlgn="auto" latinLnBrk="0" hangingPunct="1">
              <a:lnSpc>
                <a:spcPct val="100000"/>
              </a:lnSpc>
              <a:spcBef>
                <a:spcPts val="0"/>
              </a:spcBef>
              <a:spcAft>
                <a:spcPts val="0"/>
              </a:spcAft>
              <a:buClrTx/>
              <a:buSzTx/>
              <a:buFontTx/>
              <a:buNone/>
              <a:tabLst/>
              <a:defRPr/>
            </a:pPr>
            <a:fld id="{7422662C-4EA5-40CB-AF95-82CA1EC35BEA}" type="slidenum">
              <a:rPr kumimoji="0" lang="en-US" sz="12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05216"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60234779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562710" y="1508400"/>
            <a:ext cx="11068061" cy="4590000"/>
          </a:xfrm>
          <a:prstGeom prst="rect">
            <a:avLst/>
          </a:prstGeom>
        </p:spPr>
        <p:txBody>
          <a:bodyPr lIns="0" tIns="0" rIns="0" bIns="0"/>
          <a:lstStyle>
            <a:lvl1pPr marL="0" indent="-172982">
              <a:buClr>
                <a:schemeClr val="tx2"/>
              </a:buClr>
              <a:buFont typeface="Arial" pitchFamily="34" charset="0"/>
              <a:buChar char="•"/>
              <a:tabLst/>
              <a:defRPr b="0"/>
            </a:lvl1pPr>
            <a:lvl2pPr marL="628446" indent="-228525">
              <a:buFont typeface="Arial" pitchFamily="34" charset="0"/>
              <a:buChar char="–"/>
              <a:defRPr/>
            </a:lvl2pPr>
            <a:lvl3pPr marL="1074389" indent="-228525">
              <a:defRPr/>
            </a:lvl3pPr>
            <a:lvl4pPr marL="1544833" indent="-228525">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814177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80429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Top Corners Snipped 6"/>
          <p:cNvSpPr/>
          <p:nvPr userDrawn="1"/>
        </p:nvSpPr>
        <p:spPr>
          <a:xfrm rot="10800000">
            <a:off x="609596" y="-3"/>
            <a:ext cx="9144003" cy="1027521"/>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1" name="Content Placeholder 10"/>
          <p:cNvSpPr>
            <a:spLocks noGrp="1"/>
          </p:cNvSpPr>
          <p:nvPr>
            <p:ph sz="quarter" idx="11"/>
          </p:nvPr>
        </p:nvSpPr>
        <p:spPr>
          <a:xfrm>
            <a:off x="711201" y="-6932"/>
            <a:ext cx="9042399" cy="1034451"/>
          </a:xfrm>
        </p:spPr>
        <p:txBody>
          <a:bodyPr anchor="ctr">
            <a:normAutofit/>
          </a:bodyPr>
          <a:lstStyle>
            <a:lvl1pPr marL="0" indent="0">
              <a:buNone/>
              <a:defRPr sz="4267" b="0" i="0">
                <a:latin typeface="Century Gothic" panose="020B0502020202020204" pitchFamily="34" charset="0"/>
              </a:defRPr>
            </a:lvl1pPr>
          </a:lstStyle>
          <a:p>
            <a:pPr lvl="0"/>
            <a:endParaRPr lang="en-US" dirty="0"/>
          </a:p>
        </p:txBody>
      </p:sp>
    </p:spTree>
    <p:extLst>
      <p:ext uri="{BB962C8B-B14F-4D97-AF65-F5344CB8AC3E}">
        <p14:creationId xmlns:p14="http://schemas.microsoft.com/office/powerpoint/2010/main" val="10658579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over slide layout">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97C212F7-184D-4A49-A276-228D2606CDAA}"/>
              </a:ext>
            </a:extLst>
          </p:cNvPr>
          <p:cNvSpPr/>
          <p:nvPr userDrawn="1"/>
        </p:nvSpPr>
        <p:spPr>
          <a:xfrm rot="2710283">
            <a:off x="3230158" y="-3604333"/>
            <a:ext cx="5188207" cy="13481605"/>
          </a:xfrm>
          <a:custGeom>
            <a:avLst/>
            <a:gdLst>
              <a:gd name="connsiteX0" fmla="*/ 4872276 w 5188206"/>
              <a:gd name="connsiteY0" fmla="*/ 0 h 13481605"/>
              <a:gd name="connsiteX1" fmla="*/ 5188206 w 5188206"/>
              <a:gd name="connsiteY1" fmla="*/ 314046 h 13481605"/>
              <a:gd name="connsiteX2" fmla="*/ 5188206 w 5188206"/>
              <a:gd name="connsiteY2" fmla="*/ 9409991 h 13481605"/>
              <a:gd name="connsiteX3" fmla="*/ 1140878 w 5188206"/>
              <a:gd name="connsiteY3" fmla="*/ 13481605 h 13481605"/>
              <a:gd name="connsiteX4" fmla="*/ 0 w 5188206"/>
              <a:gd name="connsiteY4" fmla="*/ 12347532 h 13481605"/>
              <a:gd name="connsiteX5" fmla="*/ 1 w 5188206"/>
              <a:gd name="connsiteY5" fmla="*/ 4901511 h 1348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8206" h="13481605">
                <a:moveTo>
                  <a:pt x="4872276" y="0"/>
                </a:moveTo>
                <a:lnTo>
                  <a:pt x="5188206" y="314046"/>
                </a:lnTo>
                <a:lnTo>
                  <a:pt x="5188206" y="9409991"/>
                </a:lnTo>
                <a:lnTo>
                  <a:pt x="1140878" y="13481605"/>
                </a:lnTo>
                <a:lnTo>
                  <a:pt x="0" y="12347532"/>
                </a:lnTo>
                <a:lnTo>
                  <a:pt x="1" y="4901511"/>
                </a:lnTo>
                <a:close/>
              </a:path>
            </a:pathLst>
          </a:custGeom>
          <a:solidFill>
            <a:schemeClr val="accent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pic>
        <p:nvPicPr>
          <p:cNvPr id="2" name="Picture 1">
            <a:extLst>
              <a:ext uri="{FF2B5EF4-FFF2-40B4-BE49-F238E27FC236}">
                <a16:creationId xmlns:a16="http://schemas.microsoft.com/office/drawing/2014/main" id="{206C027D-380B-4189-ADCD-4C61FF036C00}"/>
              </a:ext>
            </a:extLst>
          </p:cNvPr>
          <p:cNvPicPr>
            <a:picLocks noChangeAspect="1"/>
          </p:cNvPicPr>
          <p:nvPr userDrawn="1"/>
        </p:nvPicPr>
        <p:blipFill rotWithShape="1">
          <a:blip r:embed="rId2">
            <a:alphaModFix amt="29000"/>
            <a:extLst>
              <a:ext uri="{28A0092B-C50C-407E-A947-70E740481C1C}">
                <a14:useLocalDpi xmlns:a14="http://schemas.microsoft.com/office/drawing/2010/main" val="0"/>
              </a:ext>
            </a:extLst>
          </a:blip>
          <a:srcRect l="25587" t="29014" r="22468" b="1915"/>
          <a:stretch/>
        </p:blipFill>
        <p:spPr>
          <a:xfrm>
            <a:off x="7291763" y="1"/>
            <a:ext cx="4900239" cy="6858000"/>
          </a:xfrm>
          <a:prstGeom prst="rect">
            <a:avLst/>
          </a:prstGeom>
        </p:spPr>
      </p:pic>
      <p:pic>
        <p:nvPicPr>
          <p:cNvPr id="3" name="Picture 2">
            <a:extLst>
              <a:ext uri="{FF2B5EF4-FFF2-40B4-BE49-F238E27FC236}">
                <a16:creationId xmlns:a16="http://schemas.microsoft.com/office/drawing/2014/main" id="{CA200259-84FB-42E8-BC41-9E22E38BFFB8}"/>
              </a:ext>
            </a:extLst>
          </p:cNvPr>
          <p:cNvPicPr>
            <a:picLocks noChangeAspect="1"/>
          </p:cNvPicPr>
          <p:nvPr userDrawn="1"/>
        </p:nvPicPr>
        <p:blipFill rotWithShape="1">
          <a:blip r:embed="rId2">
            <a:alphaModFix amt="29000"/>
            <a:extLst>
              <a:ext uri="{28A0092B-C50C-407E-A947-70E740481C1C}">
                <a14:useLocalDpi xmlns:a14="http://schemas.microsoft.com/office/drawing/2010/main" val="0"/>
              </a:ext>
            </a:extLst>
          </a:blip>
          <a:srcRect l="59969" t="27510"/>
          <a:stretch/>
        </p:blipFill>
        <p:spPr>
          <a:xfrm>
            <a:off x="-147" y="0"/>
            <a:ext cx="3611440" cy="6904883"/>
          </a:xfrm>
          <a:prstGeom prst="rect">
            <a:avLst/>
          </a:prstGeom>
        </p:spPr>
      </p:pic>
      <p:sp>
        <p:nvSpPr>
          <p:cNvPr id="4" name="Freeform: Shape 3">
            <a:extLst>
              <a:ext uri="{FF2B5EF4-FFF2-40B4-BE49-F238E27FC236}">
                <a16:creationId xmlns:a16="http://schemas.microsoft.com/office/drawing/2014/main" id="{0363273D-08D0-4F61-9C43-8F313C85A4FB}"/>
              </a:ext>
            </a:extLst>
          </p:cNvPr>
          <p:cNvSpPr/>
          <p:nvPr userDrawn="1"/>
        </p:nvSpPr>
        <p:spPr>
          <a:xfrm rot="18917560">
            <a:off x="6757340" y="5310245"/>
            <a:ext cx="2184923" cy="719635"/>
          </a:xfrm>
          <a:custGeom>
            <a:avLst/>
            <a:gdLst>
              <a:gd name="connsiteX0" fmla="*/ 212221 w 2598991"/>
              <a:gd name="connsiteY0" fmla="*/ 705872 h 856013"/>
              <a:gd name="connsiteX1" fmla="*/ 212221 w 2598991"/>
              <a:gd name="connsiteY1" fmla="*/ 705873 h 856013"/>
              <a:gd name="connsiteX2" fmla="*/ 212221 w 2598991"/>
              <a:gd name="connsiteY2" fmla="*/ 705873 h 856013"/>
              <a:gd name="connsiteX3" fmla="*/ 0 w 2598991"/>
              <a:gd name="connsiteY3" fmla="*/ 150139 h 856013"/>
              <a:gd name="connsiteX4" fmla="*/ 0 w 2598991"/>
              <a:gd name="connsiteY4" fmla="*/ 150139 h 856013"/>
              <a:gd name="connsiteX5" fmla="*/ 0 w 2598991"/>
              <a:gd name="connsiteY5" fmla="*/ 150140 h 856013"/>
              <a:gd name="connsiteX6" fmla="*/ 150140 w 2598991"/>
              <a:gd name="connsiteY6" fmla="*/ 0 h 856013"/>
              <a:gd name="connsiteX7" fmla="*/ 1824103 w 2598991"/>
              <a:gd name="connsiteY7" fmla="*/ 0 h 856013"/>
              <a:gd name="connsiteX8" fmla="*/ 1974243 w 2598991"/>
              <a:gd name="connsiteY8" fmla="*/ 150140 h 856013"/>
              <a:gd name="connsiteX9" fmla="*/ 1974242 w 2598991"/>
              <a:gd name="connsiteY9" fmla="*/ 150140 h 856013"/>
              <a:gd name="connsiteX10" fmla="*/ 1930267 w 2598991"/>
              <a:gd name="connsiteY10" fmla="*/ 256305 h 856013"/>
              <a:gd name="connsiteX11" fmla="*/ 1894334 w 2598991"/>
              <a:gd name="connsiteY11" fmla="*/ 280532 h 856013"/>
              <a:gd name="connsiteX12" fmla="*/ 2457031 w 2598991"/>
              <a:gd name="connsiteY12" fmla="*/ 280532 h 856013"/>
              <a:gd name="connsiteX13" fmla="*/ 2598991 w 2598991"/>
              <a:gd name="connsiteY13" fmla="*/ 422492 h 856013"/>
              <a:gd name="connsiteX14" fmla="*/ 2598990 w 2598991"/>
              <a:gd name="connsiteY14" fmla="*/ 422492 h 856013"/>
              <a:gd name="connsiteX15" fmla="*/ 2457030 w 2598991"/>
              <a:gd name="connsiteY15" fmla="*/ 564452 h 856013"/>
              <a:gd name="connsiteX16" fmla="*/ 2079510 w 2598991"/>
              <a:gd name="connsiteY16" fmla="*/ 564452 h 856013"/>
              <a:gd name="connsiteX17" fmla="*/ 2094765 w 2598991"/>
              <a:gd name="connsiteY17" fmla="*/ 567532 h 856013"/>
              <a:gd name="connsiteX18" fmla="*/ 2186464 w 2598991"/>
              <a:gd name="connsiteY18" fmla="*/ 705873 h 856013"/>
              <a:gd name="connsiteX19" fmla="*/ 2186463 w 2598991"/>
              <a:gd name="connsiteY19" fmla="*/ 705873 h 856013"/>
              <a:gd name="connsiteX20" fmla="*/ 2036323 w 2598991"/>
              <a:gd name="connsiteY20" fmla="*/ 856013 h 856013"/>
              <a:gd name="connsiteX21" fmla="*/ 362361 w 2598991"/>
              <a:gd name="connsiteY21" fmla="*/ 856012 h 856013"/>
              <a:gd name="connsiteX22" fmla="*/ 224020 w 2598991"/>
              <a:gd name="connsiteY22" fmla="*/ 764313 h 856013"/>
              <a:gd name="connsiteX23" fmla="*/ 212221 w 2598991"/>
              <a:gd name="connsiteY23" fmla="*/ 705873 h 856013"/>
              <a:gd name="connsiteX24" fmla="*/ 224020 w 2598991"/>
              <a:gd name="connsiteY24" fmla="*/ 647432 h 856013"/>
              <a:gd name="connsiteX25" fmla="*/ 362361 w 2598991"/>
              <a:gd name="connsiteY25" fmla="*/ 555733 h 856013"/>
              <a:gd name="connsiteX26" fmla="*/ 469765 w 2598991"/>
              <a:gd name="connsiteY26" fmla="*/ 555733 h 856013"/>
              <a:gd name="connsiteX27" fmla="*/ 480117 w 2598991"/>
              <a:gd name="connsiteY27" fmla="*/ 553643 h 856013"/>
              <a:gd name="connsiteX28" fmla="*/ 566820 w 2598991"/>
              <a:gd name="connsiteY28" fmla="*/ 422839 h 856013"/>
              <a:gd name="connsiteX29" fmla="*/ 566821 w 2598991"/>
              <a:gd name="connsiteY29" fmla="*/ 422839 h 856013"/>
              <a:gd name="connsiteX30" fmla="*/ 515161 w 2598991"/>
              <a:gd name="connsiteY30" fmla="*/ 313296 h 856013"/>
              <a:gd name="connsiteX31" fmla="*/ 493706 w 2598991"/>
              <a:gd name="connsiteY31" fmla="*/ 300279 h 856013"/>
              <a:gd name="connsiteX32" fmla="*/ 150140 w 2598991"/>
              <a:gd name="connsiteY32" fmla="*/ 300279 h 856013"/>
              <a:gd name="connsiteX33" fmla="*/ 11799 w 2598991"/>
              <a:gd name="connsiteY33" fmla="*/ 208580 h 856013"/>
              <a:gd name="connsiteX34" fmla="*/ 0 w 2598991"/>
              <a:gd name="connsiteY34" fmla="*/ 150139 h 856013"/>
              <a:gd name="connsiteX35" fmla="*/ 11799 w 2598991"/>
              <a:gd name="connsiteY35" fmla="*/ 91699 h 856013"/>
              <a:gd name="connsiteX36" fmla="*/ 150140 w 2598991"/>
              <a:gd name="connsiteY36" fmla="*/ 0 h 85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98991" h="856013">
                <a:moveTo>
                  <a:pt x="212221" y="705872"/>
                </a:moveTo>
                <a:lnTo>
                  <a:pt x="212221" y="705873"/>
                </a:lnTo>
                <a:lnTo>
                  <a:pt x="212221" y="705873"/>
                </a:lnTo>
                <a:close/>
                <a:moveTo>
                  <a:pt x="0" y="150139"/>
                </a:moveTo>
                <a:lnTo>
                  <a:pt x="0" y="150139"/>
                </a:lnTo>
                <a:lnTo>
                  <a:pt x="0" y="150140"/>
                </a:lnTo>
                <a:close/>
                <a:moveTo>
                  <a:pt x="150140" y="0"/>
                </a:moveTo>
                <a:lnTo>
                  <a:pt x="1824103" y="0"/>
                </a:lnTo>
                <a:cubicBezTo>
                  <a:pt x="1907023" y="0"/>
                  <a:pt x="1974243" y="67220"/>
                  <a:pt x="1974243" y="150140"/>
                </a:cubicBezTo>
                <a:lnTo>
                  <a:pt x="1974242" y="150140"/>
                </a:lnTo>
                <a:cubicBezTo>
                  <a:pt x="1974242" y="191600"/>
                  <a:pt x="1957437" y="229135"/>
                  <a:pt x="1930267" y="256305"/>
                </a:cubicBezTo>
                <a:lnTo>
                  <a:pt x="1894334" y="280532"/>
                </a:lnTo>
                <a:lnTo>
                  <a:pt x="2457031" y="280532"/>
                </a:lnTo>
                <a:cubicBezTo>
                  <a:pt x="2535433" y="280532"/>
                  <a:pt x="2598991" y="344090"/>
                  <a:pt x="2598991" y="422492"/>
                </a:cubicBezTo>
                <a:lnTo>
                  <a:pt x="2598990" y="422492"/>
                </a:lnTo>
                <a:cubicBezTo>
                  <a:pt x="2598990" y="500894"/>
                  <a:pt x="2535432" y="564452"/>
                  <a:pt x="2457030" y="564452"/>
                </a:cubicBezTo>
                <a:lnTo>
                  <a:pt x="2079510" y="564452"/>
                </a:lnTo>
                <a:lnTo>
                  <a:pt x="2094765" y="567532"/>
                </a:lnTo>
                <a:cubicBezTo>
                  <a:pt x="2148653" y="590324"/>
                  <a:pt x="2186464" y="643683"/>
                  <a:pt x="2186464" y="705873"/>
                </a:cubicBezTo>
                <a:lnTo>
                  <a:pt x="2186463" y="705873"/>
                </a:lnTo>
                <a:cubicBezTo>
                  <a:pt x="2186463" y="788793"/>
                  <a:pt x="2119243" y="856013"/>
                  <a:pt x="2036323" y="856013"/>
                </a:cubicBezTo>
                <a:lnTo>
                  <a:pt x="362361" y="856012"/>
                </a:lnTo>
                <a:cubicBezTo>
                  <a:pt x="300171" y="856012"/>
                  <a:pt x="246812" y="818201"/>
                  <a:pt x="224020" y="764313"/>
                </a:cubicBezTo>
                <a:lnTo>
                  <a:pt x="212221" y="705873"/>
                </a:lnTo>
                <a:lnTo>
                  <a:pt x="224020" y="647432"/>
                </a:lnTo>
                <a:cubicBezTo>
                  <a:pt x="246812" y="593544"/>
                  <a:pt x="300171" y="555733"/>
                  <a:pt x="362361" y="555733"/>
                </a:cubicBezTo>
                <a:lnTo>
                  <a:pt x="469765" y="555733"/>
                </a:lnTo>
                <a:lnTo>
                  <a:pt x="480117" y="553643"/>
                </a:lnTo>
                <a:cubicBezTo>
                  <a:pt x="531069" y="532092"/>
                  <a:pt x="566820" y="481641"/>
                  <a:pt x="566820" y="422839"/>
                </a:cubicBezTo>
                <a:lnTo>
                  <a:pt x="566821" y="422839"/>
                </a:lnTo>
                <a:cubicBezTo>
                  <a:pt x="566821" y="378738"/>
                  <a:pt x="546711" y="339334"/>
                  <a:pt x="515161" y="313296"/>
                </a:cubicBezTo>
                <a:lnTo>
                  <a:pt x="493706" y="300279"/>
                </a:lnTo>
                <a:lnTo>
                  <a:pt x="150140" y="300279"/>
                </a:lnTo>
                <a:cubicBezTo>
                  <a:pt x="87950" y="300279"/>
                  <a:pt x="34591" y="262468"/>
                  <a:pt x="11799" y="208580"/>
                </a:cubicBezTo>
                <a:lnTo>
                  <a:pt x="0" y="150139"/>
                </a:lnTo>
                <a:lnTo>
                  <a:pt x="11799" y="91699"/>
                </a:lnTo>
                <a:cubicBezTo>
                  <a:pt x="34591" y="37811"/>
                  <a:pt x="87950" y="0"/>
                  <a:pt x="150140" y="0"/>
                </a:cubicBezTo>
                <a:close/>
              </a:path>
            </a:pathLst>
          </a:custGeom>
          <a:solidFill>
            <a:schemeClr val="accent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5" name="Freeform: Shape 4">
            <a:extLst>
              <a:ext uri="{FF2B5EF4-FFF2-40B4-BE49-F238E27FC236}">
                <a16:creationId xmlns:a16="http://schemas.microsoft.com/office/drawing/2014/main" id="{8F144AE0-43B5-4072-B84A-2621F7237F1E}"/>
              </a:ext>
            </a:extLst>
          </p:cNvPr>
          <p:cNvSpPr/>
          <p:nvPr userDrawn="1"/>
        </p:nvSpPr>
        <p:spPr>
          <a:xfrm rot="18917560">
            <a:off x="2315319" y="657620"/>
            <a:ext cx="2184923" cy="719635"/>
          </a:xfrm>
          <a:custGeom>
            <a:avLst/>
            <a:gdLst>
              <a:gd name="connsiteX0" fmla="*/ 212221 w 2598991"/>
              <a:gd name="connsiteY0" fmla="*/ 705872 h 856013"/>
              <a:gd name="connsiteX1" fmla="*/ 212221 w 2598991"/>
              <a:gd name="connsiteY1" fmla="*/ 705873 h 856013"/>
              <a:gd name="connsiteX2" fmla="*/ 212221 w 2598991"/>
              <a:gd name="connsiteY2" fmla="*/ 705873 h 856013"/>
              <a:gd name="connsiteX3" fmla="*/ 0 w 2598991"/>
              <a:gd name="connsiteY3" fmla="*/ 150139 h 856013"/>
              <a:gd name="connsiteX4" fmla="*/ 0 w 2598991"/>
              <a:gd name="connsiteY4" fmla="*/ 150139 h 856013"/>
              <a:gd name="connsiteX5" fmla="*/ 0 w 2598991"/>
              <a:gd name="connsiteY5" fmla="*/ 150140 h 856013"/>
              <a:gd name="connsiteX6" fmla="*/ 150140 w 2598991"/>
              <a:gd name="connsiteY6" fmla="*/ 0 h 856013"/>
              <a:gd name="connsiteX7" fmla="*/ 1824103 w 2598991"/>
              <a:gd name="connsiteY7" fmla="*/ 0 h 856013"/>
              <a:gd name="connsiteX8" fmla="*/ 1974243 w 2598991"/>
              <a:gd name="connsiteY8" fmla="*/ 150140 h 856013"/>
              <a:gd name="connsiteX9" fmla="*/ 1974242 w 2598991"/>
              <a:gd name="connsiteY9" fmla="*/ 150140 h 856013"/>
              <a:gd name="connsiteX10" fmla="*/ 1930267 w 2598991"/>
              <a:gd name="connsiteY10" fmla="*/ 256305 h 856013"/>
              <a:gd name="connsiteX11" fmla="*/ 1894334 w 2598991"/>
              <a:gd name="connsiteY11" fmla="*/ 280532 h 856013"/>
              <a:gd name="connsiteX12" fmla="*/ 2457031 w 2598991"/>
              <a:gd name="connsiteY12" fmla="*/ 280532 h 856013"/>
              <a:gd name="connsiteX13" fmla="*/ 2598991 w 2598991"/>
              <a:gd name="connsiteY13" fmla="*/ 422492 h 856013"/>
              <a:gd name="connsiteX14" fmla="*/ 2598990 w 2598991"/>
              <a:gd name="connsiteY14" fmla="*/ 422492 h 856013"/>
              <a:gd name="connsiteX15" fmla="*/ 2457030 w 2598991"/>
              <a:gd name="connsiteY15" fmla="*/ 564452 h 856013"/>
              <a:gd name="connsiteX16" fmla="*/ 2079510 w 2598991"/>
              <a:gd name="connsiteY16" fmla="*/ 564452 h 856013"/>
              <a:gd name="connsiteX17" fmla="*/ 2094765 w 2598991"/>
              <a:gd name="connsiteY17" fmla="*/ 567532 h 856013"/>
              <a:gd name="connsiteX18" fmla="*/ 2186464 w 2598991"/>
              <a:gd name="connsiteY18" fmla="*/ 705873 h 856013"/>
              <a:gd name="connsiteX19" fmla="*/ 2186463 w 2598991"/>
              <a:gd name="connsiteY19" fmla="*/ 705873 h 856013"/>
              <a:gd name="connsiteX20" fmla="*/ 2036323 w 2598991"/>
              <a:gd name="connsiteY20" fmla="*/ 856013 h 856013"/>
              <a:gd name="connsiteX21" fmla="*/ 362361 w 2598991"/>
              <a:gd name="connsiteY21" fmla="*/ 856012 h 856013"/>
              <a:gd name="connsiteX22" fmla="*/ 224020 w 2598991"/>
              <a:gd name="connsiteY22" fmla="*/ 764313 h 856013"/>
              <a:gd name="connsiteX23" fmla="*/ 212221 w 2598991"/>
              <a:gd name="connsiteY23" fmla="*/ 705873 h 856013"/>
              <a:gd name="connsiteX24" fmla="*/ 224020 w 2598991"/>
              <a:gd name="connsiteY24" fmla="*/ 647432 h 856013"/>
              <a:gd name="connsiteX25" fmla="*/ 362361 w 2598991"/>
              <a:gd name="connsiteY25" fmla="*/ 555733 h 856013"/>
              <a:gd name="connsiteX26" fmla="*/ 469765 w 2598991"/>
              <a:gd name="connsiteY26" fmla="*/ 555733 h 856013"/>
              <a:gd name="connsiteX27" fmla="*/ 480117 w 2598991"/>
              <a:gd name="connsiteY27" fmla="*/ 553643 h 856013"/>
              <a:gd name="connsiteX28" fmla="*/ 566820 w 2598991"/>
              <a:gd name="connsiteY28" fmla="*/ 422839 h 856013"/>
              <a:gd name="connsiteX29" fmla="*/ 566821 w 2598991"/>
              <a:gd name="connsiteY29" fmla="*/ 422839 h 856013"/>
              <a:gd name="connsiteX30" fmla="*/ 515161 w 2598991"/>
              <a:gd name="connsiteY30" fmla="*/ 313296 h 856013"/>
              <a:gd name="connsiteX31" fmla="*/ 493706 w 2598991"/>
              <a:gd name="connsiteY31" fmla="*/ 300279 h 856013"/>
              <a:gd name="connsiteX32" fmla="*/ 150140 w 2598991"/>
              <a:gd name="connsiteY32" fmla="*/ 300279 h 856013"/>
              <a:gd name="connsiteX33" fmla="*/ 11799 w 2598991"/>
              <a:gd name="connsiteY33" fmla="*/ 208580 h 856013"/>
              <a:gd name="connsiteX34" fmla="*/ 0 w 2598991"/>
              <a:gd name="connsiteY34" fmla="*/ 150139 h 856013"/>
              <a:gd name="connsiteX35" fmla="*/ 11799 w 2598991"/>
              <a:gd name="connsiteY35" fmla="*/ 91699 h 856013"/>
              <a:gd name="connsiteX36" fmla="*/ 150140 w 2598991"/>
              <a:gd name="connsiteY36" fmla="*/ 0 h 85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98991" h="856013">
                <a:moveTo>
                  <a:pt x="212221" y="705872"/>
                </a:moveTo>
                <a:lnTo>
                  <a:pt x="212221" y="705873"/>
                </a:lnTo>
                <a:lnTo>
                  <a:pt x="212221" y="705873"/>
                </a:lnTo>
                <a:close/>
                <a:moveTo>
                  <a:pt x="0" y="150139"/>
                </a:moveTo>
                <a:lnTo>
                  <a:pt x="0" y="150139"/>
                </a:lnTo>
                <a:lnTo>
                  <a:pt x="0" y="150140"/>
                </a:lnTo>
                <a:close/>
                <a:moveTo>
                  <a:pt x="150140" y="0"/>
                </a:moveTo>
                <a:lnTo>
                  <a:pt x="1824103" y="0"/>
                </a:lnTo>
                <a:cubicBezTo>
                  <a:pt x="1907023" y="0"/>
                  <a:pt x="1974243" y="67220"/>
                  <a:pt x="1974243" y="150140"/>
                </a:cubicBezTo>
                <a:lnTo>
                  <a:pt x="1974242" y="150140"/>
                </a:lnTo>
                <a:cubicBezTo>
                  <a:pt x="1974242" y="191600"/>
                  <a:pt x="1957437" y="229135"/>
                  <a:pt x="1930267" y="256305"/>
                </a:cubicBezTo>
                <a:lnTo>
                  <a:pt x="1894334" y="280532"/>
                </a:lnTo>
                <a:lnTo>
                  <a:pt x="2457031" y="280532"/>
                </a:lnTo>
                <a:cubicBezTo>
                  <a:pt x="2535433" y="280532"/>
                  <a:pt x="2598991" y="344090"/>
                  <a:pt x="2598991" y="422492"/>
                </a:cubicBezTo>
                <a:lnTo>
                  <a:pt x="2598990" y="422492"/>
                </a:lnTo>
                <a:cubicBezTo>
                  <a:pt x="2598990" y="500894"/>
                  <a:pt x="2535432" y="564452"/>
                  <a:pt x="2457030" y="564452"/>
                </a:cubicBezTo>
                <a:lnTo>
                  <a:pt x="2079510" y="564452"/>
                </a:lnTo>
                <a:lnTo>
                  <a:pt x="2094765" y="567532"/>
                </a:lnTo>
                <a:cubicBezTo>
                  <a:pt x="2148653" y="590324"/>
                  <a:pt x="2186464" y="643683"/>
                  <a:pt x="2186464" y="705873"/>
                </a:cubicBezTo>
                <a:lnTo>
                  <a:pt x="2186463" y="705873"/>
                </a:lnTo>
                <a:cubicBezTo>
                  <a:pt x="2186463" y="788793"/>
                  <a:pt x="2119243" y="856013"/>
                  <a:pt x="2036323" y="856013"/>
                </a:cubicBezTo>
                <a:lnTo>
                  <a:pt x="362361" y="856012"/>
                </a:lnTo>
                <a:cubicBezTo>
                  <a:pt x="300171" y="856012"/>
                  <a:pt x="246812" y="818201"/>
                  <a:pt x="224020" y="764313"/>
                </a:cubicBezTo>
                <a:lnTo>
                  <a:pt x="212221" y="705873"/>
                </a:lnTo>
                <a:lnTo>
                  <a:pt x="224020" y="647432"/>
                </a:lnTo>
                <a:cubicBezTo>
                  <a:pt x="246812" y="593544"/>
                  <a:pt x="300171" y="555733"/>
                  <a:pt x="362361" y="555733"/>
                </a:cubicBezTo>
                <a:lnTo>
                  <a:pt x="469765" y="555733"/>
                </a:lnTo>
                <a:lnTo>
                  <a:pt x="480117" y="553643"/>
                </a:lnTo>
                <a:cubicBezTo>
                  <a:pt x="531069" y="532092"/>
                  <a:pt x="566820" y="481641"/>
                  <a:pt x="566820" y="422839"/>
                </a:cubicBezTo>
                <a:lnTo>
                  <a:pt x="566821" y="422839"/>
                </a:lnTo>
                <a:cubicBezTo>
                  <a:pt x="566821" y="378738"/>
                  <a:pt x="546711" y="339334"/>
                  <a:pt x="515161" y="313296"/>
                </a:cubicBezTo>
                <a:lnTo>
                  <a:pt x="493706" y="300279"/>
                </a:lnTo>
                <a:lnTo>
                  <a:pt x="150140" y="300279"/>
                </a:lnTo>
                <a:cubicBezTo>
                  <a:pt x="87950" y="300279"/>
                  <a:pt x="34591" y="262468"/>
                  <a:pt x="11799" y="208580"/>
                </a:cubicBezTo>
                <a:lnTo>
                  <a:pt x="0" y="150139"/>
                </a:lnTo>
                <a:lnTo>
                  <a:pt x="11799" y="91699"/>
                </a:lnTo>
                <a:cubicBezTo>
                  <a:pt x="34591" y="37811"/>
                  <a:pt x="87950" y="0"/>
                  <a:pt x="150140" y="0"/>
                </a:cubicBezTo>
                <a:close/>
              </a:path>
            </a:pathLst>
          </a:custGeom>
          <a:solidFill>
            <a:schemeClr val="accent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6" name="Rectangle: Rounded Corners 5">
            <a:extLst>
              <a:ext uri="{FF2B5EF4-FFF2-40B4-BE49-F238E27FC236}">
                <a16:creationId xmlns:a16="http://schemas.microsoft.com/office/drawing/2014/main" id="{4F73E14A-31CD-46CC-9655-417F344E964D}"/>
              </a:ext>
            </a:extLst>
          </p:cNvPr>
          <p:cNvSpPr/>
          <p:nvPr userDrawn="1"/>
        </p:nvSpPr>
        <p:spPr>
          <a:xfrm rot="18900000">
            <a:off x="3249097" y="3545174"/>
            <a:ext cx="898779" cy="18823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7" name="Rectangle: Rounded Corners 6">
            <a:extLst>
              <a:ext uri="{FF2B5EF4-FFF2-40B4-BE49-F238E27FC236}">
                <a16:creationId xmlns:a16="http://schemas.microsoft.com/office/drawing/2014/main" id="{7B359B05-6AC3-460B-AADD-EF4FE88E5E15}"/>
              </a:ext>
            </a:extLst>
          </p:cNvPr>
          <p:cNvSpPr/>
          <p:nvPr userDrawn="1"/>
        </p:nvSpPr>
        <p:spPr>
          <a:xfrm rot="18900000">
            <a:off x="3933048" y="3402148"/>
            <a:ext cx="471088" cy="9866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8" name="Cross 7">
            <a:extLst>
              <a:ext uri="{FF2B5EF4-FFF2-40B4-BE49-F238E27FC236}">
                <a16:creationId xmlns:a16="http://schemas.microsoft.com/office/drawing/2014/main" id="{01AE4C7D-0581-4EF7-B01A-57774F1B5217}"/>
              </a:ext>
            </a:extLst>
          </p:cNvPr>
          <p:cNvSpPr/>
          <p:nvPr userDrawn="1"/>
        </p:nvSpPr>
        <p:spPr>
          <a:xfrm>
            <a:off x="8690531" y="3132960"/>
            <a:ext cx="296040" cy="296040"/>
          </a:xfrm>
          <a:prstGeom prst="plus">
            <a:avLst>
              <a:gd name="adj" fmla="val 437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9" name="Cross 8">
            <a:extLst>
              <a:ext uri="{FF2B5EF4-FFF2-40B4-BE49-F238E27FC236}">
                <a16:creationId xmlns:a16="http://schemas.microsoft.com/office/drawing/2014/main" id="{E15BDB5E-8F00-405C-BB7A-30DEF75B5163}"/>
              </a:ext>
            </a:extLst>
          </p:cNvPr>
          <p:cNvSpPr/>
          <p:nvPr userDrawn="1"/>
        </p:nvSpPr>
        <p:spPr>
          <a:xfrm rot="1642289">
            <a:off x="1982541" y="4138539"/>
            <a:ext cx="296040" cy="296040"/>
          </a:xfrm>
          <a:prstGeom prst="plus">
            <a:avLst>
              <a:gd name="adj" fmla="val 437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0" name="Isosceles Triangle 9">
            <a:extLst>
              <a:ext uri="{FF2B5EF4-FFF2-40B4-BE49-F238E27FC236}">
                <a16:creationId xmlns:a16="http://schemas.microsoft.com/office/drawing/2014/main" id="{DEAC9489-BCB7-4E3A-A896-B35B3A48F178}"/>
              </a:ext>
            </a:extLst>
          </p:cNvPr>
          <p:cNvSpPr/>
          <p:nvPr userDrawn="1"/>
        </p:nvSpPr>
        <p:spPr>
          <a:xfrm rot="12056913">
            <a:off x="5363427" y="5089804"/>
            <a:ext cx="251203" cy="216553"/>
          </a:xfrm>
          <a:prstGeom prst="triangl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1" name="Isosceles Triangle 10">
            <a:extLst>
              <a:ext uri="{FF2B5EF4-FFF2-40B4-BE49-F238E27FC236}">
                <a16:creationId xmlns:a16="http://schemas.microsoft.com/office/drawing/2014/main" id="{6B27FEF4-8DD6-4FAC-9895-F6E35C1DA54A}"/>
              </a:ext>
            </a:extLst>
          </p:cNvPr>
          <p:cNvSpPr/>
          <p:nvPr userDrawn="1"/>
        </p:nvSpPr>
        <p:spPr>
          <a:xfrm rot="12056913">
            <a:off x="8103105" y="591385"/>
            <a:ext cx="251203" cy="216553"/>
          </a:xfrm>
          <a:prstGeom prst="triangl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2" name="Oval 11">
            <a:extLst>
              <a:ext uri="{FF2B5EF4-FFF2-40B4-BE49-F238E27FC236}">
                <a16:creationId xmlns:a16="http://schemas.microsoft.com/office/drawing/2014/main" id="{14D70D1D-AA00-4B06-A452-6DFDE7FFF4E9}"/>
              </a:ext>
            </a:extLst>
          </p:cNvPr>
          <p:cNvSpPr/>
          <p:nvPr userDrawn="1"/>
        </p:nvSpPr>
        <p:spPr>
          <a:xfrm>
            <a:off x="3621419" y="2170599"/>
            <a:ext cx="213463" cy="213463"/>
          </a:xfrm>
          <a:prstGeom prst="ellips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3" name="Oval 12">
            <a:extLst>
              <a:ext uri="{FF2B5EF4-FFF2-40B4-BE49-F238E27FC236}">
                <a16:creationId xmlns:a16="http://schemas.microsoft.com/office/drawing/2014/main" id="{85D1B683-76F6-46BE-9D4C-38ADA1B32309}"/>
              </a:ext>
            </a:extLst>
          </p:cNvPr>
          <p:cNvSpPr/>
          <p:nvPr userDrawn="1"/>
        </p:nvSpPr>
        <p:spPr>
          <a:xfrm>
            <a:off x="10794551" y="1222469"/>
            <a:ext cx="213463" cy="213463"/>
          </a:xfrm>
          <a:prstGeom prst="ellips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5" name="Rectangle: Rounded Corners 14">
            <a:extLst>
              <a:ext uri="{FF2B5EF4-FFF2-40B4-BE49-F238E27FC236}">
                <a16:creationId xmlns:a16="http://schemas.microsoft.com/office/drawing/2014/main" id="{0B4C9FD5-DF32-4DAC-8E2E-373DFB75D439}"/>
              </a:ext>
            </a:extLst>
          </p:cNvPr>
          <p:cNvSpPr/>
          <p:nvPr userDrawn="1"/>
        </p:nvSpPr>
        <p:spPr>
          <a:xfrm rot="18900000">
            <a:off x="7806765" y="2002512"/>
            <a:ext cx="898779" cy="18823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6" name="Rectangle: Rounded Corners 15">
            <a:extLst>
              <a:ext uri="{FF2B5EF4-FFF2-40B4-BE49-F238E27FC236}">
                <a16:creationId xmlns:a16="http://schemas.microsoft.com/office/drawing/2014/main" id="{94E87BE3-6EEF-461A-BBF4-750890F3D4AF}"/>
              </a:ext>
            </a:extLst>
          </p:cNvPr>
          <p:cNvSpPr/>
          <p:nvPr userDrawn="1"/>
        </p:nvSpPr>
        <p:spPr>
          <a:xfrm rot="18900000">
            <a:off x="8490717" y="1859485"/>
            <a:ext cx="471088" cy="9866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Tree>
    <p:extLst>
      <p:ext uri="{BB962C8B-B14F-4D97-AF65-F5344CB8AC3E}">
        <p14:creationId xmlns:p14="http://schemas.microsoft.com/office/powerpoint/2010/main" val="225870878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1" y="287261"/>
            <a:ext cx="12192000" cy="724247"/>
          </a:xfrm>
          <a:prstGeom prst="rect">
            <a:avLst/>
          </a:prstGeom>
        </p:spPr>
        <p:txBody>
          <a:bodyPr anchor="ctr"/>
          <a:lstStyle>
            <a:lvl1pPr marL="0" indent="0" algn="ctr">
              <a:buNone/>
              <a:defRPr sz="5397" b="0" baseline="0">
                <a:solidFill>
                  <a:schemeClr val="tx1">
                    <a:lumMod val="85000"/>
                    <a:lumOff val="15000"/>
                  </a:schemeClr>
                </a:solidFill>
                <a:latin typeface="+mj-lt"/>
                <a:cs typeface="Arial" pitchFamily="34" charset="0"/>
              </a:defRPr>
            </a:lvl1pPr>
          </a:lstStyle>
          <a:p>
            <a:pPr lvl="0"/>
            <a:r>
              <a:rPr lang="en-US" altLang="ko-KR" dirty="0"/>
              <a:t>BASIC LAYOUT</a:t>
            </a:r>
          </a:p>
        </p:txBody>
      </p:sp>
      <p:grpSp>
        <p:nvGrpSpPr>
          <p:cNvPr id="6" name="Group 5">
            <a:extLst>
              <a:ext uri="{FF2B5EF4-FFF2-40B4-BE49-F238E27FC236}">
                <a16:creationId xmlns:a16="http://schemas.microsoft.com/office/drawing/2014/main" id="{39E32B89-F037-40D0-AF12-764A7C2FA486}"/>
              </a:ext>
            </a:extLst>
          </p:cNvPr>
          <p:cNvGrpSpPr/>
          <p:nvPr userDrawn="1"/>
        </p:nvGrpSpPr>
        <p:grpSpPr>
          <a:xfrm>
            <a:off x="-9524" y="6378431"/>
            <a:ext cx="12280605" cy="489096"/>
            <a:chOff x="-10633" y="6411432"/>
            <a:chExt cx="11109042" cy="446567"/>
          </a:xfrm>
        </p:grpSpPr>
        <p:sp>
          <p:nvSpPr>
            <p:cNvPr id="7" name="Graphic 41">
              <a:extLst>
                <a:ext uri="{FF2B5EF4-FFF2-40B4-BE49-F238E27FC236}">
                  <a16:creationId xmlns:a16="http://schemas.microsoft.com/office/drawing/2014/main" id="{3BC4C72F-286E-4B83-A4A4-AD0BA626627E}"/>
                </a:ext>
              </a:extLst>
            </p:cNvPr>
            <p:cNvSpPr/>
            <p:nvPr userDrawn="1"/>
          </p:nvSpPr>
          <p:spPr>
            <a:xfrm>
              <a:off x="-10633" y="6411432"/>
              <a:ext cx="5608465" cy="446567"/>
            </a:xfrm>
            <a:custGeom>
              <a:avLst/>
              <a:gdLst>
                <a:gd name="connsiteX0" fmla="*/ 7144 w 6400800"/>
                <a:gd name="connsiteY0" fmla="*/ 511016 h 514350"/>
                <a:gd name="connsiteX1" fmla="*/ 6354604 w 6400800"/>
                <a:gd name="connsiteY1" fmla="*/ 511016 h 514350"/>
                <a:gd name="connsiteX2" fmla="*/ 6354604 w 6400800"/>
                <a:gd name="connsiteY2" fmla="*/ 409099 h 514350"/>
                <a:gd name="connsiteX3" fmla="*/ 6327934 w 6400800"/>
                <a:gd name="connsiteY3" fmla="*/ 415766 h 514350"/>
                <a:gd name="connsiteX4" fmla="*/ 6327934 w 6400800"/>
                <a:gd name="connsiteY4" fmla="*/ 404336 h 514350"/>
                <a:gd name="connsiteX5" fmla="*/ 6328887 w 6400800"/>
                <a:gd name="connsiteY5" fmla="*/ 383381 h 514350"/>
                <a:gd name="connsiteX6" fmla="*/ 6329839 w 6400800"/>
                <a:gd name="connsiteY6" fmla="*/ 365284 h 514350"/>
                <a:gd name="connsiteX7" fmla="*/ 6324124 w 6400800"/>
                <a:gd name="connsiteY7" fmla="*/ 383381 h 514350"/>
                <a:gd name="connsiteX8" fmla="*/ 6319362 w 6400800"/>
                <a:gd name="connsiteY8" fmla="*/ 404336 h 514350"/>
                <a:gd name="connsiteX9" fmla="*/ 6316504 w 6400800"/>
                <a:gd name="connsiteY9" fmla="*/ 419576 h 514350"/>
                <a:gd name="connsiteX10" fmla="*/ 6303169 w 6400800"/>
                <a:gd name="connsiteY10" fmla="*/ 423386 h 514350"/>
                <a:gd name="connsiteX11" fmla="*/ 6304121 w 6400800"/>
                <a:gd name="connsiteY11" fmla="*/ 405289 h 514350"/>
                <a:gd name="connsiteX12" fmla="*/ 6319362 w 6400800"/>
                <a:gd name="connsiteY12" fmla="*/ 358616 h 514350"/>
                <a:gd name="connsiteX13" fmla="*/ 6322219 w 6400800"/>
                <a:gd name="connsiteY13" fmla="*/ 349091 h 514350"/>
                <a:gd name="connsiteX14" fmla="*/ 6334601 w 6400800"/>
                <a:gd name="connsiteY14" fmla="*/ 312896 h 514350"/>
                <a:gd name="connsiteX15" fmla="*/ 6349842 w 6400800"/>
                <a:gd name="connsiteY15" fmla="*/ 269081 h 514350"/>
                <a:gd name="connsiteX16" fmla="*/ 6363176 w 6400800"/>
                <a:gd name="connsiteY16" fmla="*/ 228124 h 514350"/>
                <a:gd name="connsiteX17" fmla="*/ 6375559 w 6400800"/>
                <a:gd name="connsiteY17" fmla="*/ 190976 h 514350"/>
                <a:gd name="connsiteX18" fmla="*/ 6393656 w 6400800"/>
                <a:gd name="connsiteY18" fmla="*/ 134779 h 514350"/>
                <a:gd name="connsiteX19" fmla="*/ 6400324 w 6400800"/>
                <a:gd name="connsiteY19" fmla="*/ 113824 h 514350"/>
                <a:gd name="connsiteX20" fmla="*/ 6389846 w 6400800"/>
                <a:gd name="connsiteY20" fmla="*/ 133826 h 514350"/>
                <a:gd name="connsiteX21" fmla="*/ 6380321 w 6400800"/>
                <a:gd name="connsiteY21" fmla="*/ 153829 h 514350"/>
                <a:gd name="connsiteX22" fmla="*/ 6392704 w 6400800"/>
                <a:gd name="connsiteY22" fmla="*/ 110966 h 514350"/>
                <a:gd name="connsiteX23" fmla="*/ 6399371 w 6400800"/>
                <a:gd name="connsiteY23" fmla="*/ 87154 h 514350"/>
                <a:gd name="connsiteX24" fmla="*/ 6388894 w 6400800"/>
                <a:gd name="connsiteY24" fmla="*/ 109061 h 514350"/>
                <a:gd name="connsiteX25" fmla="*/ 6377464 w 6400800"/>
                <a:gd name="connsiteY25" fmla="*/ 134779 h 514350"/>
                <a:gd name="connsiteX26" fmla="*/ 6364129 w 6400800"/>
                <a:gd name="connsiteY26" fmla="*/ 168116 h 514350"/>
                <a:gd name="connsiteX27" fmla="*/ 6332696 w 6400800"/>
                <a:gd name="connsiteY27" fmla="*/ 253841 h 514350"/>
                <a:gd name="connsiteX28" fmla="*/ 6316504 w 6400800"/>
                <a:gd name="connsiteY28" fmla="*/ 302419 h 514350"/>
                <a:gd name="connsiteX29" fmla="*/ 6314599 w 6400800"/>
                <a:gd name="connsiteY29" fmla="*/ 308134 h 514350"/>
                <a:gd name="connsiteX30" fmla="*/ 6317456 w 6400800"/>
                <a:gd name="connsiteY30" fmla="*/ 287179 h 514350"/>
                <a:gd name="connsiteX31" fmla="*/ 6319362 w 6400800"/>
                <a:gd name="connsiteY31" fmla="*/ 267176 h 514350"/>
                <a:gd name="connsiteX32" fmla="*/ 6320314 w 6400800"/>
                <a:gd name="connsiteY32" fmla="*/ 250031 h 514350"/>
                <a:gd name="connsiteX33" fmla="*/ 6314599 w 6400800"/>
                <a:gd name="connsiteY33" fmla="*/ 266224 h 514350"/>
                <a:gd name="connsiteX34" fmla="*/ 6302217 w 6400800"/>
                <a:gd name="connsiteY34" fmla="*/ 310039 h 514350"/>
                <a:gd name="connsiteX35" fmla="*/ 6293644 w 6400800"/>
                <a:gd name="connsiteY35" fmla="*/ 339566 h 514350"/>
                <a:gd name="connsiteX36" fmla="*/ 6286976 w 6400800"/>
                <a:gd name="connsiteY36" fmla="*/ 362426 h 514350"/>
                <a:gd name="connsiteX37" fmla="*/ 6284119 w 6400800"/>
                <a:gd name="connsiteY37" fmla="*/ 335756 h 514350"/>
                <a:gd name="connsiteX38" fmla="*/ 6288881 w 6400800"/>
                <a:gd name="connsiteY38" fmla="*/ 318611 h 514350"/>
                <a:gd name="connsiteX39" fmla="*/ 6302217 w 6400800"/>
                <a:gd name="connsiteY39" fmla="*/ 274796 h 514350"/>
                <a:gd name="connsiteX40" fmla="*/ 6307931 w 6400800"/>
                <a:gd name="connsiteY40" fmla="*/ 255746 h 514350"/>
                <a:gd name="connsiteX41" fmla="*/ 6313646 w 6400800"/>
                <a:gd name="connsiteY41" fmla="*/ 238601 h 514350"/>
                <a:gd name="connsiteX42" fmla="*/ 6323171 w 6400800"/>
                <a:gd name="connsiteY42" fmla="*/ 210026 h 514350"/>
                <a:gd name="connsiteX43" fmla="*/ 6330792 w 6400800"/>
                <a:gd name="connsiteY43" fmla="*/ 185261 h 514350"/>
                <a:gd name="connsiteX44" fmla="*/ 6319362 w 6400800"/>
                <a:gd name="connsiteY44" fmla="*/ 208121 h 514350"/>
                <a:gd name="connsiteX45" fmla="*/ 6306026 w 6400800"/>
                <a:gd name="connsiteY45" fmla="*/ 234791 h 514350"/>
                <a:gd name="connsiteX46" fmla="*/ 6298406 w 6400800"/>
                <a:gd name="connsiteY46" fmla="*/ 250984 h 514350"/>
                <a:gd name="connsiteX47" fmla="*/ 6290787 w 6400800"/>
                <a:gd name="connsiteY47" fmla="*/ 270034 h 514350"/>
                <a:gd name="connsiteX48" fmla="*/ 6278404 w 6400800"/>
                <a:gd name="connsiteY48" fmla="*/ 301466 h 514350"/>
                <a:gd name="connsiteX49" fmla="*/ 6277451 w 6400800"/>
                <a:gd name="connsiteY49" fmla="*/ 292894 h 514350"/>
                <a:gd name="connsiteX50" fmla="*/ 6276499 w 6400800"/>
                <a:gd name="connsiteY50" fmla="*/ 306229 h 514350"/>
                <a:gd name="connsiteX51" fmla="*/ 6273642 w 6400800"/>
                <a:gd name="connsiteY51" fmla="*/ 312896 h 514350"/>
                <a:gd name="connsiteX52" fmla="*/ 6269831 w 6400800"/>
                <a:gd name="connsiteY52" fmla="*/ 322421 h 514350"/>
                <a:gd name="connsiteX53" fmla="*/ 6273642 w 6400800"/>
                <a:gd name="connsiteY53" fmla="*/ 300514 h 514350"/>
                <a:gd name="connsiteX54" fmla="*/ 6283167 w 6400800"/>
                <a:gd name="connsiteY54" fmla="*/ 252889 h 514350"/>
                <a:gd name="connsiteX55" fmla="*/ 6287929 w 6400800"/>
                <a:gd name="connsiteY55" fmla="*/ 231934 h 514350"/>
                <a:gd name="connsiteX56" fmla="*/ 6292692 w 6400800"/>
                <a:gd name="connsiteY56" fmla="*/ 212884 h 514350"/>
                <a:gd name="connsiteX57" fmla="*/ 6300312 w 6400800"/>
                <a:gd name="connsiteY57" fmla="*/ 181451 h 514350"/>
                <a:gd name="connsiteX58" fmla="*/ 6306026 w 6400800"/>
                <a:gd name="connsiteY58" fmla="*/ 153829 h 514350"/>
                <a:gd name="connsiteX59" fmla="*/ 6296501 w 6400800"/>
                <a:gd name="connsiteY59" fmla="*/ 180499 h 514350"/>
                <a:gd name="connsiteX60" fmla="*/ 6286024 w 6400800"/>
                <a:gd name="connsiteY60" fmla="*/ 210979 h 514350"/>
                <a:gd name="connsiteX61" fmla="*/ 6279356 w 6400800"/>
                <a:gd name="connsiteY61" fmla="*/ 230029 h 514350"/>
                <a:gd name="connsiteX62" fmla="*/ 6273642 w 6400800"/>
                <a:gd name="connsiteY62" fmla="*/ 250984 h 514350"/>
                <a:gd name="connsiteX63" fmla="*/ 6260306 w 6400800"/>
                <a:gd name="connsiteY63" fmla="*/ 298609 h 514350"/>
                <a:gd name="connsiteX64" fmla="*/ 6246971 w 6400800"/>
                <a:gd name="connsiteY64" fmla="*/ 351949 h 514350"/>
                <a:gd name="connsiteX65" fmla="*/ 6236494 w 6400800"/>
                <a:gd name="connsiteY65" fmla="*/ 396716 h 514350"/>
                <a:gd name="connsiteX66" fmla="*/ 6235542 w 6400800"/>
                <a:gd name="connsiteY66" fmla="*/ 394811 h 514350"/>
                <a:gd name="connsiteX67" fmla="*/ 6234589 w 6400800"/>
                <a:gd name="connsiteY67" fmla="*/ 370046 h 514350"/>
                <a:gd name="connsiteX68" fmla="*/ 6230779 w 6400800"/>
                <a:gd name="connsiteY68" fmla="*/ 389096 h 514350"/>
                <a:gd name="connsiteX69" fmla="*/ 6227921 w 6400800"/>
                <a:gd name="connsiteY69" fmla="*/ 384334 h 514350"/>
                <a:gd name="connsiteX70" fmla="*/ 6216492 w 6400800"/>
                <a:gd name="connsiteY70" fmla="*/ 367189 h 514350"/>
                <a:gd name="connsiteX71" fmla="*/ 6223159 w 6400800"/>
                <a:gd name="connsiteY71" fmla="*/ 348139 h 514350"/>
                <a:gd name="connsiteX72" fmla="*/ 6236494 w 6400800"/>
                <a:gd name="connsiteY72" fmla="*/ 310991 h 514350"/>
                <a:gd name="connsiteX73" fmla="*/ 6247924 w 6400800"/>
                <a:gd name="connsiteY73" fmla="*/ 279559 h 514350"/>
                <a:gd name="connsiteX74" fmla="*/ 6256496 w 6400800"/>
                <a:gd name="connsiteY74" fmla="*/ 254794 h 514350"/>
                <a:gd name="connsiteX75" fmla="*/ 6264117 w 6400800"/>
                <a:gd name="connsiteY75" fmla="*/ 233839 h 514350"/>
                <a:gd name="connsiteX76" fmla="*/ 6252687 w 6400800"/>
                <a:gd name="connsiteY76" fmla="*/ 253841 h 514350"/>
                <a:gd name="connsiteX77" fmla="*/ 6240304 w 6400800"/>
                <a:gd name="connsiteY77" fmla="*/ 276701 h 514350"/>
                <a:gd name="connsiteX78" fmla="*/ 6225064 w 6400800"/>
                <a:gd name="connsiteY78" fmla="*/ 307181 h 514350"/>
                <a:gd name="connsiteX79" fmla="*/ 6208871 w 6400800"/>
                <a:gd name="connsiteY79" fmla="*/ 343376 h 514350"/>
                <a:gd name="connsiteX80" fmla="*/ 6205062 w 6400800"/>
                <a:gd name="connsiteY80" fmla="*/ 351949 h 514350"/>
                <a:gd name="connsiteX81" fmla="*/ 6204109 w 6400800"/>
                <a:gd name="connsiteY81" fmla="*/ 350996 h 514350"/>
                <a:gd name="connsiteX82" fmla="*/ 6210776 w 6400800"/>
                <a:gd name="connsiteY82" fmla="*/ 320516 h 514350"/>
                <a:gd name="connsiteX83" fmla="*/ 6222206 w 6400800"/>
                <a:gd name="connsiteY83" fmla="*/ 268129 h 514350"/>
                <a:gd name="connsiteX84" fmla="*/ 6226017 w 6400800"/>
                <a:gd name="connsiteY84" fmla="*/ 248126 h 514350"/>
                <a:gd name="connsiteX85" fmla="*/ 6218396 w 6400800"/>
                <a:gd name="connsiteY85" fmla="*/ 267176 h 514350"/>
                <a:gd name="connsiteX86" fmla="*/ 6209824 w 6400800"/>
                <a:gd name="connsiteY86" fmla="*/ 289084 h 514350"/>
                <a:gd name="connsiteX87" fmla="*/ 6199346 w 6400800"/>
                <a:gd name="connsiteY87" fmla="*/ 317659 h 514350"/>
                <a:gd name="connsiteX88" fmla="*/ 6193631 w 6400800"/>
                <a:gd name="connsiteY88" fmla="*/ 335756 h 514350"/>
                <a:gd name="connsiteX89" fmla="*/ 6184106 w 6400800"/>
                <a:gd name="connsiteY89" fmla="*/ 322421 h 514350"/>
                <a:gd name="connsiteX90" fmla="*/ 6181249 w 6400800"/>
                <a:gd name="connsiteY90" fmla="*/ 318611 h 514350"/>
                <a:gd name="connsiteX91" fmla="*/ 6184106 w 6400800"/>
                <a:gd name="connsiteY91" fmla="*/ 302419 h 514350"/>
                <a:gd name="connsiteX92" fmla="*/ 6189821 w 6400800"/>
                <a:gd name="connsiteY92" fmla="*/ 274796 h 514350"/>
                <a:gd name="connsiteX93" fmla="*/ 6195537 w 6400800"/>
                <a:gd name="connsiteY93" fmla="*/ 250984 h 514350"/>
                <a:gd name="connsiteX94" fmla="*/ 6186012 w 6400800"/>
                <a:gd name="connsiteY94" fmla="*/ 273844 h 514350"/>
                <a:gd name="connsiteX95" fmla="*/ 6176487 w 6400800"/>
                <a:gd name="connsiteY95" fmla="*/ 300514 h 514350"/>
                <a:gd name="connsiteX96" fmla="*/ 6173629 w 6400800"/>
                <a:gd name="connsiteY96" fmla="*/ 309086 h 514350"/>
                <a:gd name="connsiteX97" fmla="*/ 6172676 w 6400800"/>
                <a:gd name="connsiteY97" fmla="*/ 308134 h 514350"/>
                <a:gd name="connsiteX98" fmla="*/ 6174581 w 6400800"/>
                <a:gd name="connsiteY98" fmla="*/ 294799 h 514350"/>
                <a:gd name="connsiteX99" fmla="*/ 6180296 w 6400800"/>
                <a:gd name="connsiteY99" fmla="*/ 263366 h 514350"/>
                <a:gd name="connsiteX100" fmla="*/ 6185059 w 6400800"/>
                <a:gd name="connsiteY100" fmla="*/ 236696 h 514350"/>
                <a:gd name="connsiteX101" fmla="*/ 6188869 w 6400800"/>
                <a:gd name="connsiteY101" fmla="*/ 215741 h 514350"/>
                <a:gd name="connsiteX102" fmla="*/ 6192679 w 6400800"/>
                <a:gd name="connsiteY102" fmla="*/ 197644 h 514350"/>
                <a:gd name="connsiteX103" fmla="*/ 6185059 w 6400800"/>
                <a:gd name="connsiteY103" fmla="*/ 214789 h 514350"/>
                <a:gd name="connsiteX104" fmla="*/ 6168867 w 6400800"/>
                <a:gd name="connsiteY104" fmla="*/ 260509 h 514350"/>
                <a:gd name="connsiteX105" fmla="*/ 6163151 w 6400800"/>
                <a:gd name="connsiteY105" fmla="*/ 280511 h 514350"/>
                <a:gd name="connsiteX106" fmla="*/ 6159342 w 6400800"/>
                <a:gd name="connsiteY106" fmla="*/ 253841 h 514350"/>
                <a:gd name="connsiteX107" fmla="*/ 6154579 w 6400800"/>
                <a:gd name="connsiteY107" fmla="*/ 225266 h 514350"/>
                <a:gd name="connsiteX108" fmla="*/ 6156484 w 6400800"/>
                <a:gd name="connsiteY108" fmla="*/ 285274 h 514350"/>
                <a:gd name="connsiteX109" fmla="*/ 6143149 w 6400800"/>
                <a:gd name="connsiteY109" fmla="*/ 268129 h 514350"/>
                <a:gd name="connsiteX110" fmla="*/ 6143149 w 6400800"/>
                <a:gd name="connsiteY110" fmla="*/ 267176 h 514350"/>
                <a:gd name="connsiteX111" fmla="*/ 6146006 w 6400800"/>
                <a:gd name="connsiteY111" fmla="*/ 256699 h 514350"/>
                <a:gd name="connsiteX112" fmla="*/ 6161246 w 6400800"/>
                <a:gd name="connsiteY112" fmla="*/ 178594 h 514350"/>
                <a:gd name="connsiteX113" fmla="*/ 6152674 w 6400800"/>
                <a:gd name="connsiteY113" fmla="*/ 200501 h 514350"/>
                <a:gd name="connsiteX114" fmla="*/ 6152674 w 6400800"/>
                <a:gd name="connsiteY114" fmla="*/ 197644 h 514350"/>
                <a:gd name="connsiteX115" fmla="*/ 6156484 w 6400800"/>
                <a:gd name="connsiteY115" fmla="*/ 172879 h 514350"/>
                <a:gd name="connsiteX116" fmla="*/ 6160294 w 6400800"/>
                <a:gd name="connsiteY116" fmla="*/ 150971 h 514350"/>
                <a:gd name="connsiteX117" fmla="*/ 6152674 w 6400800"/>
                <a:gd name="connsiteY117" fmla="*/ 171926 h 514350"/>
                <a:gd name="connsiteX118" fmla="*/ 6145054 w 6400800"/>
                <a:gd name="connsiteY118" fmla="*/ 196691 h 514350"/>
                <a:gd name="connsiteX119" fmla="*/ 6138387 w 6400800"/>
                <a:gd name="connsiteY119" fmla="*/ 220504 h 514350"/>
                <a:gd name="connsiteX120" fmla="*/ 6135529 w 6400800"/>
                <a:gd name="connsiteY120" fmla="*/ 202406 h 514350"/>
                <a:gd name="connsiteX121" fmla="*/ 6134576 w 6400800"/>
                <a:gd name="connsiteY121" fmla="*/ 221456 h 514350"/>
                <a:gd name="connsiteX122" fmla="*/ 6132671 w 6400800"/>
                <a:gd name="connsiteY122" fmla="*/ 242411 h 514350"/>
                <a:gd name="connsiteX123" fmla="*/ 6131719 w 6400800"/>
                <a:gd name="connsiteY123" fmla="*/ 249079 h 514350"/>
                <a:gd name="connsiteX124" fmla="*/ 6130767 w 6400800"/>
                <a:gd name="connsiteY124" fmla="*/ 253841 h 514350"/>
                <a:gd name="connsiteX125" fmla="*/ 6129814 w 6400800"/>
                <a:gd name="connsiteY125" fmla="*/ 251936 h 514350"/>
                <a:gd name="connsiteX126" fmla="*/ 6130767 w 6400800"/>
                <a:gd name="connsiteY126" fmla="*/ 254794 h 514350"/>
                <a:gd name="connsiteX127" fmla="*/ 6129814 w 6400800"/>
                <a:gd name="connsiteY127" fmla="*/ 261461 h 514350"/>
                <a:gd name="connsiteX128" fmla="*/ 6129814 w 6400800"/>
                <a:gd name="connsiteY128" fmla="*/ 243364 h 514350"/>
                <a:gd name="connsiteX129" fmla="*/ 6126004 w 6400800"/>
                <a:gd name="connsiteY129" fmla="*/ 274796 h 514350"/>
                <a:gd name="connsiteX130" fmla="*/ 6125051 w 6400800"/>
                <a:gd name="connsiteY130" fmla="*/ 281464 h 514350"/>
                <a:gd name="connsiteX131" fmla="*/ 6122194 w 6400800"/>
                <a:gd name="connsiteY131" fmla="*/ 267176 h 514350"/>
                <a:gd name="connsiteX132" fmla="*/ 6117431 w 6400800"/>
                <a:gd name="connsiteY132" fmla="*/ 243364 h 514350"/>
                <a:gd name="connsiteX133" fmla="*/ 6118384 w 6400800"/>
                <a:gd name="connsiteY133" fmla="*/ 267176 h 514350"/>
                <a:gd name="connsiteX134" fmla="*/ 6119337 w 6400800"/>
                <a:gd name="connsiteY134" fmla="*/ 300514 h 514350"/>
                <a:gd name="connsiteX135" fmla="*/ 6114574 w 6400800"/>
                <a:gd name="connsiteY135" fmla="*/ 317659 h 514350"/>
                <a:gd name="connsiteX136" fmla="*/ 6114574 w 6400800"/>
                <a:gd name="connsiteY136" fmla="*/ 307181 h 514350"/>
                <a:gd name="connsiteX137" fmla="*/ 6112669 w 6400800"/>
                <a:gd name="connsiteY137" fmla="*/ 286226 h 514350"/>
                <a:gd name="connsiteX138" fmla="*/ 6109812 w 6400800"/>
                <a:gd name="connsiteY138" fmla="*/ 270986 h 514350"/>
                <a:gd name="connsiteX139" fmla="*/ 6105049 w 6400800"/>
                <a:gd name="connsiteY139" fmla="*/ 258604 h 514350"/>
                <a:gd name="connsiteX140" fmla="*/ 6106001 w 6400800"/>
                <a:gd name="connsiteY140" fmla="*/ 272891 h 514350"/>
                <a:gd name="connsiteX141" fmla="*/ 6106001 w 6400800"/>
                <a:gd name="connsiteY141" fmla="*/ 282416 h 514350"/>
                <a:gd name="connsiteX142" fmla="*/ 6104096 w 6400800"/>
                <a:gd name="connsiteY142" fmla="*/ 273844 h 514350"/>
                <a:gd name="connsiteX143" fmla="*/ 6102192 w 6400800"/>
                <a:gd name="connsiteY143" fmla="*/ 268129 h 514350"/>
                <a:gd name="connsiteX144" fmla="*/ 6101239 w 6400800"/>
                <a:gd name="connsiteY144" fmla="*/ 253841 h 514350"/>
                <a:gd name="connsiteX145" fmla="*/ 6103144 w 6400800"/>
                <a:gd name="connsiteY145" fmla="*/ 247174 h 514350"/>
                <a:gd name="connsiteX146" fmla="*/ 6107906 w 6400800"/>
                <a:gd name="connsiteY146" fmla="*/ 225266 h 514350"/>
                <a:gd name="connsiteX147" fmla="*/ 6111717 w 6400800"/>
                <a:gd name="connsiteY147" fmla="*/ 205264 h 514350"/>
                <a:gd name="connsiteX148" fmla="*/ 6104096 w 6400800"/>
                <a:gd name="connsiteY148" fmla="*/ 223361 h 514350"/>
                <a:gd name="connsiteX149" fmla="*/ 6099334 w 6400800"/>
                <a:gd name="connsiteY149" fmla="*/ 234791 h 514350"/>
                <a:gd name="connsiteX150" fmla="*/ 6096476 w 6400800"/>
                <a:gd name="connsiteY150" fmla="*/ 206216 h 514350"/>
                <a:gd name="connsiteX151" fmla="*/ 6097429 w 6400800"/>
                <a:gd name="connsiteY151" fmla="*/ 199549 h 514350"/>
                <a:gd name="connsiteX152" fmla="*/ 6101239 w 6400800"/>
                <a:gd name="connsiteY152" fmla="*/ 177641 h 514350"/>
                <a:gd name="connsiteX153" fmla="*/ 6104096 w 6400800"/>
                <a:gd name="connsiteY153" fmla="*/ 157639 h 514350"/>
                <a:gd name="connsiteX154" fmla="*/ 6107906 w 6400800"/>
                <a:gd name="connsiteY154" fmla="*/ 124301 h 514350"/>
                <a:gd name="connsiteX155" fmla="*/ 6110764 w 6400800"/>
                <a:gd name="connsiteY155" fmla="*/ 95726 h 514350"/>
                <a:gd name="connsiteX156" fmla="*/ 6104096 w 6400800"/>
                <a:gd name="connsiteY156" fmla="*/ 124301 h 514350"/>
                <a:gd name="connsiteX157" fmla="*/ 6096476 w 6400800"/>
                <a:gd name="connsiteY157" fmla="*/ 156686 h 514350"/>
                <a:gd name="connsiteX158" fmla="*/ 6091714 w 6400800"/>
                <a:gd name="connsiteY158" fmla="*/ 176689 h 514350"/>
                <a:gd name="connsiteX159" fmla="*/ 6085999 w 6400800"/>
                <a:gd name="connsiteY159" fmla="*/ 198596 h 514350"/>
                <a:gd name="connsiteX160" fmla="*/ 6081237 w 6400800"/>
                <a:gd name="connsiteY160" fmla="*/ 214789 h 514350"/>
                <a:gd name="connsiteX161" fmla="*/ 6074569 w 6400800"/>
                <a:gd name="connsiteY161" fmla="*/ 201454 h 514350"/>
                <a:gd name="connsiteX162" fmla="*/ 6079331 w 6400800"/>
                <a:gd name="connsiteY162" fmla="*/ 219551 h 514350"/>
                <a:gd name="connsiteX163" fmla="*/ 6073617 w 6400800"/>
                <a:gd name="connsiteY163" fmla="*/ 230029 h 514350"/>
                <a:gd name="connsiteX164" fmla="*/ 6069806 w 6400800"/>
                <a:gd name="connsiteY164" fmla="*/ 237649 h 514350"/>
                <a:gd name="connsiteX165" fmla="*/ 6069806 w 6400800"/>
                <a:gd name="connsiteY165" fmla="*/ 228124 h 514350"/>
                <a:gd name="connsiteX166" fmla="*/ 6069806 w 6400800"/>
                <a:gd name="connsiteY166" fmla="*/ 205264 h 514350"/>
                <a:gd name="connsiteX167" fmla="*/ 6065996 w 6400800"/>
                <a:gd name="connsiteY167" fmla="*/ 228124 h 514350"/>
                <a:gd name="connsiteX168" fmla="*/ 6061234 w 6400800"/>
                <a:gd name="connsiteY168" fmla="*/ 253841 h 514350"/>
                <a:gd name="connsiteX169" fmla="*/ 6059329 w 6400800"/>
                <a:gd name="connsiteY169" fmla="*/ 263366 h 514350"/>
                <a:gd name="connsiteX170" fmla="*/ 6057424 w 6400800"/>
                <a:gd name="connsiteY170" fmla="*/ 268129 h 514350"/>
                <a:gd name="connsiteX171" fmla="*/ 6048851 w 6400800"/>
                <a:gd name="connsiteY171" fmla="*/ 294799 h 514350"/>
                <a:gd name="connsiteX172" fmla="*/ 6041231 w 6400800"/>
                <a:gd name="connsiteY172" fmla="*/ 324326 h 514350"/>
                <a:gd name="connsiteX173" fmla="*/ 6041231 w 6400800"/>
                <a:gd name="connsiteY173" fmla="*/ 325279 h 514350"/>
                <a:gd name="connsiteX174" fmla="*/ 6033612 w 6400800"/>
                <a:gd name="connsiteY174" fmla="*/ 306229 h 514350"/>
                <a:gd name="connsiteX175" fmla="*/ 6029801 w 6400800"/>
                <a:gd name="connsiteY175" fmla="*/ 296704 h 514350"/>
                <a:gd name="connsiteX176" fmla="*/ 6029801 w 6400800"/>
                <a:gd name="connsiteY176" fmla="*/ 295751 h 514350"/>
                <a:gd name="connsiteX177" fmla="*/ 6031706 w 6400800"/>
                <a:gd name="connsiteY177" fmla="*/ 281464 h 514350"/>
                <a:gd name="connsiteX178" fmla="*/ 6033612 w 6400800"/>
                <a:gd name="connsiteY178" fmla="*/ 269081 h 514350"/>
                <a:gd name="connsiteX179" fmla="*/ 6027896 w 6400800"/>
                <a:gd name="connsiteY179" fmla="*/ 280511 h 514350"/>
                <a:gd name="connsiteX180" fmla="*/ 6025039 w 6400800"/>
                <a:gd name="connsiteY180" fmla="*/ 286226 h 514350"/>
                <a:gd name="connsiteX181" fmla="*/ 6020276 w 6400800"/>
                <a:gd name="connsiteY181" fmla="*/ 272891 h 514350"/>
                <a:gd name="connsiteX182" fmla="*/ 6008846 w 6400800"/>
                <a:gd name="connsiteY182" fmla="*/ 244316 h 514350"/>
                <a:gd name="connsiteX183" fmla="*/ 6016467 w 6400800"/>
                <a:gd name="connsiteY183" fmla="*/ 273844 h 514350"/>
                <a:gd name="connsiteX184" fmla="*/ 6022181 w 6400800"/>
                <a:gd name="connsiteY184" fmla="*/ 293846 h 514350"/>
                <a:gd name="connsiteX185" fmla="*/ 6019324 w 6400800"/>
                <a:gd name="connsiteY185" fmla="*/ 302419 h 514350"/>
                <a:gd name="connsiteX186" fmla="*/ 6016467 w 6400800"/>
                <a:gd name="connsiteY186" fmla="*/ 311944 h 514350"/>
                <a:gd name="connsiteX187" fmla="*/ 6010751 w 6400800"/>
                <a:gd name="connsiteY187" fmla="*/ 333851 h 514350"/>
                <a:gd name="connsiteX188" fmla="*/ 6010751 w 6400800"/>
                <a:gd name="connsiteY188" fmla="*/ 334804 h 514350"/>
                <a:gd name="connsiteX189" fmla="*/ 6003131 w 6400800"/>
                <a:gd name="connsiteY189" fmla="*/ 320516 h 514350"/>
                <a:gd name="connsiteX190" fmla="*/ 5996464 w 6400800"/>
                <a:gd name="connsiteY190" fmla="*/ 308134 h 514350"/>
                <a:gd name="connsiteX191" fmla="*/ 5999321 w 6400800"/>
                <a:gd name="connsiteY191" fmla="*/ 302419 h 514350"/>
                <a:gd name="connsiteX192" fmla="*/ 6007894 w 6400800"/>
                <a:gd name="connsiteY192" fmla="*/ 283369 h 514350"/>
                <a:gd name="connsiteX193" fmla="*/ 6014562 w 6400800"/>
                <a:gd name="connsiteY193" fmla="*/ 267176 h 514350"/>
                <a:gd name="connsiteX194" fmla="*/ 6004084 w 6400800"/>
                <a:gd name="connsiteY194" fmla="*/ 281464 h 514350"/>
                <a:gd name="connsiteX195" fmla="*/ 5993606 w 6400800"/>
                <a:gd name="connsiteY195" fmla="*/ 297656 h 514350"/>
                <a:gd name="connsiteX196" fmla="*/ 5989796 w 6400800"/>
                <a:gd name="connsiteY196" fmla="*/ 273844 h 514350"/>
                <a:gd name="connsiteX197" fmla="*/ 5991701 w 6400800"/>
                <a:gd name="connsiteY197" fmla="*/ 250984 h 514350"/>
                <a:gd name="connsiteX198" fmla="*/ 5997417 w 6400800"/>
                <a:gd name="connsiteY198" fmla="*/ 212884 h 514350"/>
                <a:gd name="connsiteX199" fmla="*/ 6003131 w 6400800"/>
                <a:gd name="connsiteY199" fmla="*/ 179546 h 514350"/>
                <a:gd name="connsiteX200" fmla="*/ 5993606 w 6400800"/>
                <a:gd name="connsiteY200" fmla="*/ 211931 h 514350"/>
                <a:gd name="connsiteX201" fmla="*/ 5985034 w 6400800"/>
                <a:gd name="connsiteY201" fmla="*/ 248126 h 514350"/>
                <a:gd name="connsiteX202" fmla="*/ 5974556 w 6400800"/>
                <a:gd name="connsiteY202" fmla="*/ 206216 h 514350"/>
                <a:gd name="connsiteX203" fmla="*/ 5974556 w 6400800"/>
                <a:gd name="connsiteY203" fmla="*/ 206216 h 514350"/>
                <a:gd name="connsiteX204" fmla="*/ 5977414 w 6400800"/>
                <a:gd name="connsiteY204" fmla="*/ 178594 h 514350"/>
                <a:gd name="connsiteX205" fmla="*/ 5979319 w 6400800"/>
                <a:gd name="connsiteY205" fmla="*/ 153829 h 514350"/>
                <a:gd name="connsiteX206" fmla="*/ 5973604 w 6400800"/>
                <a:gd name="connsiteY206" fmla="*/ 177641 h 514350"/>
                <a:gd name="connsiteX207" fmla="*/ 5969794 w 6400800"/>
                <a:gd name="connsiteY207" fmla="*/ 191929 h 514350"/>
                <a:gd name="connsiteX208" fmla="*/ 5959317 w 6400800"/>
                <a:gd name="connsiteY208" fmla="*/ 160496 h 514350"/>
                <a:gd name="connsiteX209" fmla="*/ 5946934 w 6400800"/>
                <a:gd name="connsiteY209" fmla="*/ 130016 h 514350"/>
                <a:gd name="connsiteX210" fmla="*/ 5934551 w 6400800"/>
                <a:gd name="connsiteY210" fmla="*/ 104299 h 514350"/>
                <a:gd name="connsiteX211" fmla="*/ 5943124 w 6400800"/>
                <a:gd name="connsiteY211" fmla="*/ 131921 h 514350"/>
                <a:gd name="connsiteX212" fmla="*/ 5951696 w 6400800"/>
                <a:gd name="connsiteY212" fmla="*/ 163354 h 514350"/>
                <a:gd name="connsiteX213" fmla="*/ 5961221 w 6400800"/>
                <a:gd name="connsiteY213" fmla="*/ 204311 h 514350"/>
                <a:gd name="connsiteX214" fmla="*/ 5964079 w 6400800"/>
                <a:gd name="connsiteY214" fmla="*/ 216694 h 514350"/>
                <a:gd name="connsiteX215" fmla="*/ 5962174 w 6400800"/>
                <a:gd name="connsiteY215" fmla="*/ 222409 h 514350"/>
                <a:gd name="connsiteX216" fmla="*/ 5958364 w 6400800"/>
                <a:gd name="connsiteY216" fmla="*/ 235744 h 514350"/>
                <a:gd name="connsiteX217" fmla="*/ 5956459 w 6400800"/>
                <a:gd name="connsiteY217" fmla="*/ 232886 h 514350"/>
                <a:gd name="connsiteX218" fmla="*/ 5956459 w 6400800"/>
                <a:gd name="connsiteY218" fmla="*/ 231934 h 514350"/>
                <a:gd name="connsiteX219" fmla="*/ 5956459 w 6400800"/>
                <a:gd name="connsiteY219" fmla="*/ 232886 h 514350"/>
                <a:gd name="connsiteX220" fmla="*/ 5938362 w 6400800"/>
                <a:gd name="connsiteY220" fmla="*/ 199549 h 514350"/>
                <a:gd name="connsiteX221" fmla="*/ 5927884 w 6400800"/>
                <a:gd name="connsiteY221" fmla="*/ 180499 h 514350"/>
                <a:gd name="connsiteX222" fmla="*/ 5953601 w 6400800"/>
                <a:gd name="connsiteY222" fmla="*/ 250984 h 514350"/>
                <a:gd name="connsiteX223" fmla="*/ 5952649 w 6400800"/>
                <a:gd name="connsiteY223" fmla="*/ 255746 h 514350"/>
                <a:gd name="connsiteX224" fmla="*/ 5945029 w 6400800"/>
                <a:gd name="connsiteY224" fmla="*/ 282416 h 514350"/>
                <a:gd name="connsiteX225" fmla="*/ 5944076 w 6400800"/>
                <a:gd name="connsiteY225" fmla="*/ 285274 h 514350"/>
                <a:gd name="connsiteX226" fmla="*/ 5940267 w 6400800"/>
                <a:gd name="connsiteY226" fmla="*/ 271939 h 514350"/>
                <a:gd name="connsiteX227" fmla="*/ 5928837 w 6400800"/>
                <a:gd name="connsiteY227" fmla="*/ 237649 h 514350"/>
                <a:gd name="connsiteX228" fmla="*/ 5922169 w 6400800"/>
                <a:gd name="connsiteY228" fmla="*/ 220504 h 514350"/>
                <a:gd name="connsiteX229" fmla="*/ 5923121 w 6400800"/>
                <a:gd name="connsiteY229" fmla="*/ 216694 h 514350"/>
                <a:gd name="connsiteX230" fmla="*/ 5921217 w 6400800"/>
                <a:gd name="connsiteY230" fmla="*/ 219551 h 514350"/>
                <a:gd name="connsiteX231" fmla="*/ 5917406 w 6400800"/>
                <a:gd name="connsiteY231" fmla="*/ 211931 h 514350"/>
                <a:gd name="connsiteX232" fmla="*/ 5908834 w 6400800"/>
                <a:gd name="connsiteY232" fmla="*/ 194786 h 514350"/>
                <a:gd name="connsiteX233" fmla="*/ 5907881 w 6400800"/>
                <a:gd name="connsiteY233" fmla="*/ 183356 h 514350"/>
                <a:gd name="connsiteX234" fmla="*/ 5905024 w 6400800"/>
                <a:gd name="connsiteY234" fmla="*/ 159544 h 514350"/>
                <a:gd name="connsiteX235" fmla="*/ 5904071 w 6400800"/>
                <a:gd name="connsiteY235" fmla="*/ 184309 h 514350"/>
                <a:gd name="connsiteX236" fmla="*/ 5903119 w 6400800"/>
                <a:gd name="connsiteY236" fmla="*/ 211931 h 514350"/>
                <a:gd name="connsiteX237" fmla="*/ 5902167 w 6400800"/>
                <a:gd name="connsiteY237" fmla="*/ 229076 h 514350"/>
                <a:gd name="connsiteX238" fmla="*/ 5902167 w 6400800"/>
                <a:gd name="connsiteY238" fmla="*/ 248126 h 514350"/>
                <a:gd name="connsiteX239" fmla="*/ 5903119 w 6400800"/>
                <a:gd name="connsiteY239" fmla="*/ 270034 h 514350"/>
                <a:gd name="connsiteX240" fmla="*/ 5900262 w 6400800"/>
                <a:gd name="connsiteY240" fmla="*/ 285274 h 514350"/>
                <a:gd name="connsiteX241" fmla="*/ 5899309 w 6400800"/>
                <a:gd name="connsiteY241" fmla="*/ 282416 h 514350"/>
                <a:gd name="connsiteX242" fmla="*/ 5895499 w 6400800"/>
                <a:gd name="connsiteY242" fmla="*/ 263366 h 514350"/>
                <a:gd name="connsiteX243" fmla="*/ 5891689 w 6400800"/>
                <a:gd name="connsiteY243" fmla="*/ 248126 h 514350"/>
                <a:gd name="connsiteX244" fmla="*/ 5891689 w 6400800"/>
                <a:gd name="connsiteY244" fmla="*/ 245269 h 514350"/>
                <a:gd name="connsiteX245" fmla="*/ 5890737 w 6400800"/>
                <a:gd name="connsiteY245" fmla="*/ 247174 h 514350"/>
                <a:gd name="connsiteX246" fmla="*/ 5890737 w 6400800"/>
                <a:gd name="connsiteY246" fmla="*/ 247174 h 514350"/>
                <a:gd name="connsiteX247" fmla="*/ 5890737 w 6400800"/>
                <a:gd name="connsiteY247" fmla="*/ 248126 h 514350"/>
                <a:gd name="connsiteX248" fmla="*/ 5881212 w 6400800"/>
                <a:gd name="connsiteY248" fmla="*/ 275749 h 514350"/>
                <a:gd name="connsiteX249" fmla="*/ 5878354 w 6400800"/>
                <a:gd name="connsiteY249" fmla="*/ 262414 h 514350"/>
                <a:gd name="connsiteX250" fmla="*/ 5874544 w 6400800"/>
                <a:gd name="connsiteY250" fmla="*/ 240506 h 514350"/>
                <a:gd name="connsiteX251" fmla="*/ 5874544 w 6400800"/>
                <a:gd name="connsiteY251" fmla="*/ 262414 h 514350"/>
                <a:gd name="connsiteX252" fmla="*/ 5875496 w 6400800"/>
                <a:gd name="connsiteY252" fmla="*/ 290989 h 514350"/>
                <a:gd name="connsiteX253" fmla="*/ 5873592 w 6400800"/>
                <a:gd name="connsiteY253" fmla="*/ 298609 h 514350"/>
                <a:gd name="connsiteX254" fmla="*/ 5870734 w 6400800"/>
                <a:gd name="connsiteY254" fmla="*/ 271939 h 514350"/>
                <a:gd name="connsiteX255" fmla="*/ 5867876 w 6400800"/>
                <a:gd name="connsiteY255" fmla="*/ 292894 h 514350"/>
                <a:gd name="connsiteX256" fmla="*/ 5866924 w 6400800"/>
                <a:gd name="connsiteY256" fmla="*/ 269081 h 514350"/>
                <a:gd name="connsiteX257" fmla="*/ 5865971 w 6400800"/>
                <a:gd name="connsiteY257" fmla="*/ 243364 h 514350"/>
                <a:gd name="connsiteX258" fmla="*/ 5873592 w 6400800"/>
                <a:gd name="connsiteY258" fmla="*/ 225266 h 514350"/>
                <a:gd name="connsiteX259" fmla="*/ 5865971 w 6400800"/>
                <a:gd name="connsiteY259" fmla="*/ 237649 h 514350"/>
                <a:gd name="connsiteX260" fmla="*/ 5865971 w 6400800"/>
                <a:gd name="connsiteY260" fmla="*/ 230029 h 514350"/>
                <a:gd name="connsiteX261" fmla="*/ 5865019 w 6400800"/>
                <a:gd name="connsiteY261" fmla="*/ 194786 h 514350"/>
                <a:gd name="connsiteX262" fmla="*/ 5863114 w 6400800"/>
                <a:gd name="connsiteY262" fmla="*/ 141446 h 514350"/>
                <a:gd name="connsiteX263" fmla="*/ 5862162 w 6400800"/>
                <a:gd name="connsiteY263" fmla="*/ 121444 h 514350"/>
                <a:gd name="connsiteX264" fmla="*/ 5859304 w 6400800"/>
                <a:gd name="connsiteY264" fmla="*/ 141446 h 514350"/>
                <a:gd name="connsiteX265" fmla="*/ 5856446 w 6400800"/>
                <a:gd name="connsiteY265" fmla="*/ 161449 h 514350"/>
                <a:gd name="connsiteX266" fmla="*/ 5853589 w 6400800"/>
                <a:gd name="connsiteY266" fmla="*/ 120491 h 514350"/>
                <a:gd name="connsiteX267" fmla="*/ 5851684 w 6400800"/>
                <a:gd name="connsiteY267" fmla="*/ 98584 h 514350"/>
                <a:gd name="connsiteX268" fmla="*/ 5849779 w 6400800"/>
                <a:gd name="connsiteY268" fmla="*/ 120491 h 514350"/>
                <a:gd name="connsiteX269" fmla="*/ 5847874 w 6400800"/>
                <a:gd name="connsiteY269" fmla="*/ 146209 h 514350"/>
                <a:gd name="connsiteX270" fmla="*/ 5846921 w 6400800"/>
                <a:gd name="connsiteY270" fmla="*/ 179546 h 514350"/>
                <a:gd name="connsiteX271" fmla="*/ 5846921 w 6400800"/>
                <a:gd name="connsiteY271" fmla="*/ 262414 h 514350"/>
                <a:gd name="connsiteX272" fmla="*/ 5846921 w 6400800"/>
                <a:gd name="connsiteY272" fmla="*/ 269081 h 514350"/>
                <a:gd name="connsiteX273" fmla="*/ 5843112 w 6400800"/>
                <a:gd name="connsiteY273" fmla="*/ 274796 h 514350"/>
                <a:gd name="connsiteX274" fmla="*/ 5840254 w 6400800"/>
                <a:gd name="connsiteY274" fmla="*/ 261461 h 514350"/>
                <a:gd name="connsiteX275" fmla="*/ 5841206 w 6400800"/>
                <a:gd name="connsiteY275" fmla="*/ 242411 h 514350"/>
                <a:gd name="connsiteX276" fmla="*/ 5841206 w 6400800"/>
                <a:gd name="connsiteY276" fmla="*/ 223361 h 514350"/>
                <a:gd name="connsiteX277" fmla="*/ 5837396 w 6400800"/>
                <a:gd name="connsiteY277" fmla="*/ 242411 h 514350"/>
                <a:gd name="connsiteX278" fmla="*/ 5836444 w 6400800"/>
                <a:gd name="connsiteY278" fmla="*/ 245269 h 514350"/>
                <a:gd name="connsiteX279" fmla="*/ 5829776 w 6400800"/>
                <a:gd name="connsiteY279" fmla="*/ 215741 h 514350"/>
                <a:gd name="connsiteX280" fmla="*/ 5824062 w 6400800"/>
                <a:gd name="connsiteY280" fmla="*/ 189071 h 514350"/>
                <a:gd name="connsiteX281" fmla="*/ 5825967 w 6400800"/>
                <a:gd name="connsiteY281" fmla="*/ 215741 h 514350"/>
                <a:gd name="connsiteX282" fmla="*/ 5828824 w 6400800"/>
                <a:gd name="connsiteY282" fmla="*/ 246221 h 514350"/>
                <a:gd name="connsiteX283" fmla="*/ 5831681 w 6400800"/>
                <a:gd name="connsiteY283" fmla="*/ 268129 h 514350"/>
                <a:gd name="connsiteX284" fmla="*/ 5826919 w 6400800"/>
                <a:gd name="connsiteY284" fmla="*/ 276701 h 514350"/>
                <a:gd name="connsiteX285" fmla="*/ 5825967 w 6400800"/>
                <a:gd name="connsiteY285" fmla="*/ 270986 h 514350"/>
                <a:gd name="connsiteX286" fmla="*/ 5822156 w 6400800"/>
                <a:gd name="connsiteY286" fmla="*/ 250031 h 514350"/>
                <a:gd name="connsiteX287" fmla="*/ 5818346 w 6400800"/>
                <a:gd name="connsiteY287" fmla="*/ 231934 h 514350"/>
                <a:gd name="connsiteX288" fmla="*/ 5818346 w 6400800"/>
                <a:gd name="connsiteY288" fmla="*/ 250031 h 514350"/>
                <a:gd name="connsiteX289" fmla="*/ 5818346 w 6400800"/>
                <a:gd name="connsiteY289" fmla="*/ 270986 h 514350"/>
                <a:gd name="connsiteX290" fmla="*/ 5812631 w 6400800"/>
                <a:gd name="connsiteY290" fmla="*/ 262414 h 514350"/>
                <a:gd name="connsiteX291" fmla="*/ 5812631 w 6400800"/>
                <a:gd name="connsiteY291" fmla="*/ 246221 h 514350"/>
                <a:gd name="connsiteX292" fmla="*/ 5814537 w 6400800"/>
                <a:gd name="connsiteY292" fmla="*/ 220504 h 514350"/>
                <a:gd name="connsiteX293" fmla="*/ 5816442 w 6400800"/>
                <a:gd name="connsiteY293" fmla="*/ 221456 h 514350"/>
                <a:gd name="connsiteX294" fmla="*/ 5819299 w 6400800"/>
                <a:gd name="connsiteY294" fmla="*/ 224314 h 514350"/>
                <a:gd name="connsiteX295" fmla="*/ 5822156 w 6400800"/>
                <a:gd name="connsiteY295" fmla="*/ 231934 h 514350"/>
                <a:gd name="connsiteX296" fmla="*/ 5821204 w 6400800"/>
                <a:gd name="connsiteY296" fmla="*/ 223361 h 514350"/>
                <a:gd name="connsiteX297" fmla="*/ 5818346 w 6400800"/>
                <a:gd name="connsiteY297" fmla="*/ 219551 h 514350"/>
                <a:gd name="connsiteX298" fmla="*/ 5813584 w 6400800"/>
                <a:gd name="connsiteY298" fmla="*/ 217646 h 514350"/>
                <a:gd name="connsiteX299" fmla="*/ 5811679 w 6400800"/>
                <a:gd name="connsiteY299" fmla="*/ 217646 h 514350"/>
                <a:gd name="connsiteX300" fmla="*/ 5811679 w 6400800"/>
                <a:gd name="connsiteY300" fmla="*/ 219551 h 514350"/>
                <a:gd name="connsiteX301" fmla="*/ 5805012 w 6400800"/>
                <a:gd name="connsiteY301" fmla="*/ 246221 h 514350"/>
                <a:gd name="connsiteX302" fmla="*/ 5803106 w 6400800"/>
                <a:gd name="connsiteY302" fmla="*/ 256699 h 514350"/>
                <a:gd name="connsiteX303" fmla="*/ 5796439 w 6400800"/>
                <a:gd name="connsiteY303" fmla="*/ 264319 h 514350"/>
                <a:gd name="connsiteX304" fmla="*/ 5795487 w 6400800"/>
                <a:gd name="connsiteY304" fmla="*/ 253841 h 514350"/>
                <a:gd name="connsiteX305" fmla="*/ 5794534 w 6400800"/>
                <a:gd name="connsiteY305" fmla="*/ 248126 h 514350"/>
                <a:gd name="connsiteX306" fmla="*/ 5794534 w 6400800"/>
                <a:gd name="connsiteY306" fmla="*/ 253841 h 514350"/>
                <a:gd name="connsiteX307" fmla="*/ 5793581 w 6400800"/>
                <a:gd name="connsiteY307" fmla="*/ 268129 h 514350"/>
                <a:gd name="connsiteX308" fmla="*/ 5791676 w 6400800"/>
                <a:gd name="connsiteY308" fmla="*/ 270034 h 514350"/>
                <a:gd name="connsiteX309" fmla="*/ 5791676 w 6400800"/>
                <a:gd name="connsiteY309" fmla="*/ 270034 h 514350"/>
                <a:gd name="connsiteX310" fmla="*/ 5787867 w 6400800"/>
                <a:gd name="connsiteY310" fmla="*/ 239554 h 514350"/>
                <a:gd name="connsiteX311" fmla="*/ 5793581 w 6400800"/>
                <a:gd name="connsiteY311" fmla="*/ 224314 h 514350"/>
                <a:gd name="connsiteX312" fmla="*/ 5786914 w 6400800"/>
                <a:gd name="connsiteY312" fmla="*/ 234791 h 514350"/>
                <a:gd name="connsiteX313" fmla="*/ 5785009 w 6400800"/>
                <a:gd name="connsiteY313" fmla="*/ 205264 h 514350"/>
                <a:gd name="connsiteX314" fmla="*/ 5795487 w 6400800"/>
                <a:gd name="connsiteY314" fmla="*/ 183356 h 514350"/>
                <a:gd name="connsiteX315" fmla="*/ 5795487 w 6400800"/>
                <a:gd name="connsiteY315" fmla="*/ 184309 h 514350"/>
                <a:gd name="connsiteX316" fmla="*/ 5795487 w 6400800"/>
                <a:gd name="connsiteY316" fmla="*/ 183356 h 514350"/>
                <a:gd name="connsiteX317" fmla="*/ 5797392 w 6400800"/>
                <a:gd name="connsiteY317" fmla="*/ 178594 h 514350"/>
                <a:gd name="connsiteX318" fmla="*/ 5812631 w 6400800"/>
                <a:gd name="connsiteY318" fmla="*/ 145256 h 514350"/>
                <a:gd name="connsiteX319" fmla="*/ 5825967 w 6400800"/>
                <a:gd name="connsiteY319" fmla="*/ 115729 h 514350"/>
                <a:gd name="connsiteX320" fmla="*/ 5809774 w 6400800"/>
                <a:gd name="connsiteY320" fmla="*/ 143351 h 514350"/>
                <a:gd name="connsiteX321" fmla="*/ 5791676 w 6400800"/>
                <a:gd name="connsiteY321" fmla="*/ 173831 h 514350"/>
                <a:gd name="connsiteX322" fmla="*/ 5788819 w 6400800"/>
                <a:gd name="connsiteY322" fmla="*/ 170974 h 514350"/>
                <a:gd name="connsiteX323" fmla="*/ 5783104 w 6400800"/>
                <a:gd name="connsiteY323" fmla="*/ 169069 h 514350"/>
                <a:gd name="connsiteX324" fmla="*/ 5781199 w 6400800"/>
                <a:gd name="connsiteY324" fmla="*/ 169069 h 514350"/>
                <a:gd name="connsiteX325" fmla="*/ 5781199 w 6400800"/>
                <a:gd name="connsiteY325" fmla="*/ 170974 h 514350"/>
                <a:gd name="connsiteX326" fmla="*/ 5777389 w 6400800"/>
                <a:gd name="connsiteY326" fmla="*/ 197644 h 514350"/>
                <a:gd name="connsiteX327" fmla="*/ 5766912 w 6400800"/>
                <a:gd name="connsiteY327" fmla="*/ 217646 h 514350"/>
                <a:gd name="connsiteX328" fmla="*/ 5752624 w 6400800"/>
                <a:gd name="connsiteY328" fmla="*/ 244316 h 514350"/>
                <a:gd name="connsiteX329" fmla="*/ 5751671 w 6400800"/>
                <a:gd name="connsiteY329" fmla="*/ 233839 h 514350"/>
                <a:gd name="connsiteX330" fmla="*/ 5749767 w 6400800"/>
                <a:gd name="connsiteY330" fmla="*/ 216694 h 514350"/>
                <a:gd name="connsiteX331" fmla="*/ 5757387 w 6400800"/>
                <a:gd name="connsiteY331" fmla="*/ 190024 h 514350"/>
                <a:gd name="connsiteX332" fmla="*/ 5749767 w 6400800"/>
                <a:gd name="connsiteY332" fmla="*/ 210979 h 514350"/>
                <a:gd name="connsiteX333" fmla="*/ 5748814 w 6400800"/>
                <a:gd name="connsiteY333" fmla="*/ 204311 h 514350"/>
                <a:gd name="connsiteX334" fmla="*/ 5745004 w 6400800"/>
                <a:gd name="connsiteY334" fmla="*/ 178594 h 514350"/>
                <a:gd name="connsiteX335" fmla="*/ 5745004 w 6400800"/>
                <a:gd name="connsiteY335" fmla="*/ 204311 h 514350"/>
                <a:gd name="connsiteX336" fmla="*/ 5745004 w 6400800"/>
                <a:gd name="connsiteY336" fmla="*/ 222409 h 514350"/>
                <a:gd name="connsiteX337" fmla="*/ 5744051 w 6400800"/>
                <a:gd name="connsiteY337" fmla="*/ 225266 h 514350"/>
                <a:gd name="connsiteX338" fmla="*/ 5731669 w 6400800"/>
                <a:gd name="connsiteY338" fmla="*/ 259556 h 514350"/>
                <a:gd name="connsiteX339" fmla="*/ 5731669 w 6400800"/>
                <a:gd name="connsiteY339" fmla="*/ 258604 h 514350"/>
                <a:gd name="connsiteX340" fmla="*/ 5734526 w 6400800"/>
                <a:gd name="connsiteY340" fmla="*/ 238601 h 514350"/>
                <a:gd name="connsiteX341" fmla="*/ 5727859 w 6400800"/>
                <a:gd name="connsiteY341" fmla="*/ 258604 h 514350"/>
                <a:gd name="connsiteX342" fmla="*/ 5725954 w 6400800"/>
                <a:gd name="connsiteY342" fmla="*/ 264319 h 514350"/>
                <a:gd name="connsiteX343" fmla="*/ 5725954 w 6400800"/>
                <a:gd name="connsiteY343" fmla="*/ 263366 h 514350"/>
                <a:gd name="connsiteX344" fmla="*/ 5725954 w 6400800"/>
                <a:gd name="connsiteY344" fmla="*/ 262414 h 514350"/>
                <a:gd name="connsiteX345" fmla="*/ 5726906 w 6400800"/>
                <a:gd name="connsiteY345" fmla="*/ 256699 h 514350"/>
                <a:gd name="connsiteX346" fmla="*/ 5729764 w 6400800"/>
                <a:gd name="connsiteY346" fmla="*/ 242411 h 514350"/>
                <a:gd name="connsiteX347" fmla="*/ 5732621 w 6400800"/>
                <a:gd name="connsiteY347" fmla="*/ 230029 h 514350"/>
                <a:gd name="connsiteX348" fmla="*/ 5737384 w 6400800"/>
                <a:gd name="connsiteY348" fmla="*/ 210026 h 514350"/>
                <a:gd name="connsiteX349" fmla="*/ 5741194 w 6400800"/>
                <a:gd name="connsiteY349" fmla="*/ 191929 h 514350"/>
                <a:gd name="connsiteX350" fmla="*/ 5739289 w 6400800"/>
                <a:gd name="connsiteY350" fmla="*/ 196691 h 514350"/>
                <a:gd name="connsiteX351" fmla="*/ 5740242 w 6400800"/>
                <a:gd name="connsiteY351" fmla="*/ 190024 h 514350"/>
                <a:gd name="connsiteX352" fmla="*/ 5731669 w 6400800"/>
                <a:gd name="connsiteY352" fmla="*/ 211931 h 514350"/>
                <a:gd name="connsiteX353" fmla="*/ 5726906 w 6400800"/>
                <a:gd name="connsiteY353" fmla="*/ 224314 h 514350"/>
                <a:gd name="connsiteX354" fmla="*/ 5725001 w 6400800"/>
                <a:gd name="connsiteY354" fmla="*/ 228124 h 514350"/>
                <a:gd name="connsiteX355" fmla="*/ 5720239 w 6400800"/>
                <a:gd name="connsiteY355" fmla="*/ 240506 h 514350"/>
                <a:gd name="connsiteX356" fmla="*/ 5717381 w 6400800"/>
                <a:gd name="connsiteY356" fmla="*/ 250031 h 514350"/>
                <a:gd name="connsiteX357" fmla="*/ 5715476 w 6400800"/>
                <a:gd name="connsiteY357" fmla="*/ 254794 h 514350"/>
                <a:gd name="connsiteX358" fmla="*/ 5709762 w 6400800"/>
                <a:gd name="connsiteY358" fmla="*/ 272891 h 514350"/>
                <a:gd name="connsiteX359" fmla="*/ 5704046 w 6400800"/>
                <a:gd name="connsiteY359" fmla="*/ 290989 h 514350"/>
                <a:gd name="connsiteX360" fmla="*/ 5696426 w 6400800"/>
                <a:gd name="connsiteY360" fmla="*/ 275749 h 514350"/>
                <a:gd name="connsiteX361" fmla="*/ 5695474 w 6400800"/>
                <a:gd name="connsiteY361" fmla="*/ 269081 h 514350"/>
                <a:gd name="connsiteX362" fmla="*/ 5695474 w 6400800"/>
                <a:gd name="connsiteY362" fmla="*/ 272891 h 514350"/>
                <a:gd name="connsiteX363" fmla="*/ 5688806 w 6400800"/>
                <a:gd name="connsiteY363" fmla="*/ 259556 h 514350"/>
                <a:gd name="connsiteX364" fmla="*/ 5680234 w 6400800"/>
                <a:gd name="connsiteY364" fmla="*/ 243364 h 514350"/>
                <a:gd name="connsiteX365" fmla="*/ 5684996 w 6400800"/>
                <a:gd name="connsiteY365" fmla="*/ 260509 h 514350"/>
                <a:gd name="connsiteX366" fmla="*/ 5694521 w 6400800"/>
                <a:gd name="connsiteY366" fmla="*/ 292894 h 514350"/>
                <a:gd name="connsiteX367" fmla="*/ 5694521 w 6400800"/>
                <a:gd name="connsiteY367" fmla="*/ 309086 h 514350"/>
                <a:gd name="connsiteX368" fmla="*/ 5694521 w 6400800"/>
                <a:gd name="connsiteY368" fmla="*/ 323374 h 514350"/>
                <a:gd name="connsiteX369" fmla="*/ 5691664 w 6400800"/>
                <a:gd name="connsiteY369" fmla="*/ 331946 h 514350"/>
                <a:gd name="connsiteX370" fmla="*/ 5689759 w 6400800"/>
                <a:gd name="connsiteY370" fmla="*/ 329089 h 514350"/>
                <a:gd name="connsiteX371" fmla="*/ 5689759 w 6400800"/>
                <a:gd name="connsiteY371" fmla="*/ 320516 h 514350"/>
                <a:gd name="connsiteX372" fmla="*/ 5687854 w 6400800"/>
                <a:gd name="connsiteY372" fmla="*/ 286226 h 514350"/>
                <a:gd name="connsiteX373" fmla="*/ 5684996 w 6400800"/>
                <a:gd name="connsiteY373" fmla="*/ 319564 h 514350"/>
                <a:gd name="connsiteX374" fmla="*/ 5681187 w 6400800"/>
                <a:gd name="connsiteY374" fmla="*/ 312896 h 514350"/>
                <a:gd name="connsiteX375" fmla="*/ 5675471 w 6400800"/>
                <a:gd name="connsiteY375" fmla="*/ 273844 h 514350"/>
                <a:gd name="connsiteX376" fmla="*/ 5672614 w 6400800"/>
                <a:gd name="connsiteY376" fmla="*/ 253841 h 514350"/>
                <a:gd name="connsiteX377" fmla="*/ 5670709 w 6400800"/>
                <a:gd name="connsiteY377" fmla="*/ 235744 h 514350"/>
                <a:gd name="connsiteX378" fmla="*/ 5667851 w 6400800"/>
                <a:gd name="connsiteY378" fmla="*/ 207169 h 514350"/>
                <a:gd name="connsiteX379" fmla="*/ 5665946 w 6400800"/>
                <a:gd name="connsiteY379" fmla="*/ 188119 h 514350"/>
                <a:gd name="connsiteX380" fmla="*/ 5666899 w 6400800"/>
                <a:gd name="connsiteY380" fmla="*/ 183356 h 514350"/>
                <a:gd name="connsiteX381" fmla="*/ 5665946 w 6400800"/>
                <a:gd name="connsiteY381" fmla="*/ 186214 h 514350"/>
                <a:gd name="connsiteX382" fmla="*/ 5664994 w 6400800"/>
                <a:gd name="connsiteY382" fmla="*/ 181451 h 514350"/>
                <a:gd name="connsiteX383" fmla="*/ 5664994 w 6400800"/>
                <a:gd name="connsiteY383" fmla="*/ 188119 h 514350"/>
                <a:gd name="connsiteX384" fmla="*/ 5654517 w 6400800"/>
                <a:gd name="connsiteY384" fmla="*/ 211931 h 514350"/>
                <a:gd name="connsiteX385" fmla="*/ 5653564 w 6400800"/>
                <a:gd name="connsiteY385" fmla="*/ 205264 h 514350"/>
                <a:gd name="connsiteX386" fmla="*/ 5652612 w 6400800"/>
                <a:gd name="connsiteY386" fmla="*/ 189071 h 514350"/>
                <a:gd name="connsiteX387" fmla="*/ 5657374 w 6400800"/>
                <a:gd name="connsiteY387" fmla="*/ 179546 h 514350"/>
                <a:gd name="connsiteX388" fmla="*/ 5652612 w 6400800"/>
                <a:gd name="connsiteY388" fmla="*/ 187166 h 514350"/>
                <a:gd name="connsiteX389" fmla="*/ 5652612 w 6400800"/>
                <a:gd name="connsiteY389" fmla="*/ 185261 h 514350"/>
                <a:gd name="connsiteX390" fmla="*/ 5651659 w 6400800"/>
                <a:gd name="connsiteY390" fmla="*/ 167164 h 514350"/>
                <a:gd name="connsiteX391" fmla="*/ 5649754 w 6400800"/>
                <a:gd name="connsiteY391" fmla="*/ 179546 h 514350"/>
                <a:gd name="connsiteX392" fmla="*/ 5649754 w 6400800"/>
                <a:gd name="connsiteY392" fmla="*/ 178594 h 514350"/>
                <a:gd name="connsiteX393" fmla="*/ 5647849 w 6400800"/>
                <a:gd name="connsiteY393" fmla="*/ 159544 h 514350"/>
                <a:gd name="connsiteX394" fmla="*/ 5646896 w 6400800"/>
                <a:gd name="connsiteY394" fmla="*/ 142399 h 514350"/>
                <a:gd name="connsiteX395" fmla="*/ 5645944 w 6400800"/>
                <a:gd name="connsiteY395" fmla="*/ 114776 h 514350"/>
                <a:gd name="connsiteX396" fmla="*/ 5644992 w 6400800"/>
                <a:gd name="connsiteY396" fmla="*/ 90011 h 514350"/>
                <a:gd name="connsiteX397" fmla="*/ 5641181 w 6400800"/>
                <a:gd name="connsiteY397" fmla="*/ 113824 h 514350"/>
                <a:gd name="connsiteX398" fmla="*/ 5639276 w 6400800"/>
                <a:gd name="connsiteY398" fmla="*/ 141446 h 514350"/>
                <a:gd name="connsiteX399" fmla="*/ 5638324 w 6400800"/>
                <a:gd name="connsiteY399" fmla="*/ 158591 h 514350"/>
                <a:gd name="connsiteX400" fmla="*/ 5638324 w 6400800"/>
                <a:gd name="connsiteY400" fmla="*/ 177641 h 514350"/>
                <a:gd name="connsiteX401" fmla="*/ 5639276 w 6400800"/>
                <a:gd name="connsiteY401" fmla="*/ 205264 h 514350"/>
                <a:gd name="connsiteX402" fmla="*/ 5637371 w 6400800"/>
                <a:gd name="connsiteY402" fmla="*/ 208121 h 514350"/>
                <a:gd name="connsiteX403" fmla="*/ 5636419 w 6400800"/>
                <a:gd name="connsiteY403" fmla="*/ 209074 h 514350"/>
                <a:gd name="connsiteX404" fmla="*/ 5636419 w 6400800"/>
                <a:gd name="connsiteY404" fmla="*/ 208121 h 514350"/>
                <a:gd name="connsiteX405" fmla="*/ 5636419 w 6400800"/>
                <a:gd name="connsiteY405" fmla="*/ 209074 h 514350"/>
                <a:gd name="connsiteX406" fmla="*/ 5631656 w 6400800"/>
                <a:gd name="connsiteY406" fmla="*/ 215741 h 514350"/>
                <a:gd name="connsiteX407" fmla="*/ 5626894 w 6400800"/>
                <a:gd name="connsiteY407" fmla="*/ 192881 h 514350"/>
                <a:gd name="connsiteX408" fmla="*/ 5626894 w 6400800"/>
                <a:gd name="connsiteY408" fmla="*/ 222409 h 514350"/>
                <a:gd name="connsiteX409" fmla="*/ 5626894 w 6400800"/>
                <a:gd name="connsiteY409" fmla="*/ 223361 h 514350"/>
                <a:gd name="connsiteX410" fmla="*/ 5618321 w 6400800"/>
                <a:gd name="connsiteY410" fmla="*/ 211931 h 514350"/>
                <a:gd name="connsiteX411" fmla="*/ 5593556 w 6400800"/>
                <a:gd name="connsiteY411" fmla="*/ 181451 h 514350"/>
                <a:gd name="connsiteX412" fmla="*/ 5570696 w 6400800"/>
                <a:gd name="connsiteY412" fmla="*/ 155734 h 514350"/>
                <a:gd name="connsiteX413" fmla="*/ 5590699 w 6400800"/>
                <a:gd name="connsiteY413" fmla="*/ 184309 h 514350"/>
                <a:gd name="connsiteX414" fmla="*/ 5612606 w 6400800"/>
                <a:gd name="connsiteY414" fmla="*/ 217646 h 514350"/>
                <a:gd name="connsiteX415" fmla="*/ 5616417 w 6400800"/>
                <a:gd name="connsiteY415" fmla="*/ 223361 h 514350"/>
                <a:gd name="connsiteX416" fmla="*/ 5620226 w 6400800"/>
                <a:gd name="connsiteY416" fmla="*/ 233839 h 514350"/>
                <a:gd name="connsiteX417" fmla="*/ 5620226 w 6400800"/>
                <a:gd name="connsiteY417" fmla="*/ 234791 h 514350"/>
                <a:gd name="connsiteX418" fmla="*/ 5616417 w 6400800"/>
                <a:gd name="connsiteY418" fmla="*/ 241459 h 514350"/>
                <a:gd name="connsiteX419" fmla="*/ 5616417 w 6400800"/>
                <a:gd name="connsiteY419" fmla="*/ 240506 h 514350"/>
                <a:gd name="connsiteX420" fmla="*/ 5616417 w 6400800"/>
                <a:gd name="connsiteY420" fmla="*/ 241459 h 514350"/>
                <a:gd name="connsiteX421" fmla="*/ 5614512 w 6400800"/>
                <a:gd name="connsiteY421" fmla="*/ 245269 h 514350"/>
                <a:gd name="connsiteX422" fmla="*/ 5594509 w 6400800"/>
                <a:gd name="connsiteY422" fmla="*/ 280511 h 514350"/>
                <a:gd name="connsiteX423" fmla="*/ 5594509 w 6400800"/>
                <a:gd name="connsiteY423" fmla="*/ 275749 h 514350"/>
                <a:gd name="connsiteX424" fmla="*/ 5594509 w 6400800"/>
                <a:gd name="connsiteY424" fmla="*/ 268129 h 514350"/>
                <a:gd name="connsiteX425" fmla="*/ 5596414 w 6400800"/>
                <a:gd name="connsiteY425" fmla="*/ 256699 h 514350"/>
                <a:gd name="connsiteX426" fmla="*/ 5594509 w 6400800"/>
                <a:gd name="connsiteY426" fmla="*/ 263366 h 514350"/>
                <a:gd name="connsiteX427" fmla="*/ 5594509 w 6400800"/>
                <a:gd name="connsiteY427" fmla="*/ 262414 h 514350"/>
                <a:gd name="connsiteX428" fmla="*/ 5592604 w 6400800"/>
                <a:gd name="connsiteY428" fmla="*/ 250031 h 514350"/>
                <a:gd name="connsiteX429" fmla="*/ 5590699 w 6400800"/>
                <a:gd name="connsiteY429" fmla="*/ 232886 h 514350"/>
                <a:gd name="connsiteX430" fmla="*/ 5596414 w 6400800"/>
                <a:gd name="connsiteY430" fmla="*/ 217646 h 514350"/>
                <a:gd name="connsiteX431" fmla="*/ 5589746 w 6400800"/>
                <a:gd name="connsiteY431" fmla="*/ 230029 h 514350"/>
                <a:gd name="connsiteX432" fmla="*/ 5589746 w 6400800"/>
                <a:gd name="connsiteY432" fmla="*/ 230029 h 514350"/>
                <a:gd name="connsiteX433" fmla="*/ 5586889 w 6400800"/>
                <a:gd name="connsiteY433" fmla="*/ 211931 h 514350"/>
                <a:gd name="connsiteX434" fmla="*/ 5585937 w 6400800"/>
                <a:gd name="connsiteY434" fmla="*/ 230029 h 514350"/>
                <a:gd name="connsiteX435" fmla="*/ 5585937 w 6400800"/>
                <a:gd name="connsiteY435" fmla="*/ 230981 h 514350"/>
                <a:gd name="connsiteX436" fmla="*/ 5583079 w 6400800"/>
                <a:gd name="connsiteY436" fmla="*/ 213836 h 514350"/>
                <a:gd name="connsiteX437" fmla="*/ 5583079 w 6400800"/>
                <a:gd name="connsiteY437" fmla="*/ 242411 h 514350"/>
                <a:gd name="connsiteX438" fmla="*/ 5581174 w 6400800"/>
                <a:gd name="connsiteY438" fmla="*/ 246221 h 514350"/>
                <a:gd name="connsiteX439" fmla="*/ 5579269 w 6400800"/>
                <a:gd name="connsiteY439" fmla="*/ 250031 h 514350"/>
                <a:gd name="connsiteX440" fmla="*/ 5571649 w 6400800"/>
                <a:gd name="connsiteY440" fmla="*/ 209074 h 514350"/>
                <a:gd name="connsiteX441" fmla="*/ 5567839 w 6400800"/>
                <a:gd name="connsiteY441" fmla="*/ 189071 h 514350"/>
                <a:gd name="connsiteX442" fmla="*/ 5563076 w 6400800"/>
                <a:gd name="connsiteY442" fmla="*/ 170974 h 514350"/>
                <a:gd name="connsiteX443" fmla="*/ 5555456 w 6400800"/>
                <a:gd name="connsiteY443" fmla="*/ 141446 h 514350"/>
                <a:gd name="connsiteX444" fmla="*/ 5548789 w 6400800"/>
                <a:gd name="connsiteY444" fmla="*/ 115729 h 514350"/>
                <a:gd name="connsiteX445" fmla="*/ 5551646 w 6400800"/>
                <a:gd name="connsiteY445" fmla="*/ 142399 h 514350"/>
                <a:gd name="connsiteX446" fmla="*/ 5555456 w 6400800"/>
                <a:gd name="connsiteY446" fmla="*/ 172879 h 514350"/>
                <a:gd name="connsiteX447" fmla="*/ 5558314 w 6400800"/>
                <a:gd name="connsiteY447" fmla="*/ 190976 h 514350"/>
                <a:gd name="connsiteX448" fmla="*/ 5560219 w 6400800"/>
                <a:gd name="connsiteY448" fmla="*/ 211931 h 514350"/>
                <a:gd name="connsiteX449" fmla="*/ 5564981 w 6400800"/>
                <a:gd name="connsiteY449" fmla="*/ 257651 h 514350"/>
                <a:gd name="connsiteX450" fmla="*/ 5565934 w 6400800"/>
                <a:gd name="connsiteY450" fmla="*/ 274796 h 514350"/>
                <a:gd name="connsiteX451" fmla="*/ 5564029 w 6400800"/>
                <a:gd name="connsiteY451" fmla="*/ 278606 h 514350"/>
                <a:gd name="connsiteX452" fmla="*/ 5561171 w 6400800"/>
                <a:gd name="connsiteY452" fmla="*/ 284321 h 514350"/>
                <a:gd name="connsiteX453" fmla="*/ 5549742 w 6400800"/>
                <a:gd name="connsiteY453" fmla="*/ 264319 h 514350"/>
                <a:gd name="connsiteX454" fmla="*/ 5548789 w 6400800"/>
                <a:gd name="connsiteY454" fmla="*/ 261461 h 514350"/>
                <a:gd name="connsiteX455" fmla="*/ 5544026 w 6400800"/>
                <a:gd name="connsiteY455" fmla="*/ 247174 h 514350"/>
                <a:gd name="connsiteX456" fmla="*/ 5547837 w 6400800"/>
                <a:gd name="connsiteY456" fmla="*/ 228124 h 514350"/>
                <a:gd name="connsiteX457" fmla="*/ 5542121 w 6400800"/>
                <a:gd name="connsiteY457" fmla="*/ 241459 h 514350"/>
                <a:gd name="connsiteX458" fmla="*/ 5541169 w 6400800"/>
                <a:gd name="connsiteY458" fmla="*/ 238601 h 514350"/>
                <a:gd name="connsiteX459" fmla="*/ 5538312 w 6400800"/>
                <a:gd name="connsiteY459" fmla="*/ 230029 h 514350"/>
                <a:gd name="connsiteX460" fmla="*/ 5551646 w 6400800"/>
                <a:gd name="connsiteY460" fmla="*/ 167164 h 514350"/>
                <a:gd name="connsiteX461" fmla="*/ 5528787 w 6400800"/>
                <a:gd name="connsiteY461" fmla="*/ 225266 h 514350"/>
                <a:gd name="connsiteX462" fmla="*/ 5524976 w 6400800"/>
                <a:gd name="connsiteY462" fmla="*/ 217646 h 514350"/>
                <a:gd name="connsiteX463" fmla="*/ 5524024 w 6400800"/>
                <a:gd name="connsiteY463" fmla="*/ 207169 h 514350"/>
                <a:gd name="connsiteX464" fmla="*/ 5521167 w 6400800"/>
                <a:gd name="connsiteY464" fmla="*/ 185261 h 514350"/>
                <a:gd name="connsiteX465" fmla="*/ 5520214 w 6400800"/>
                <a:gd name="connsiteY465" fmla="*/ 207169 h 514350"/>
                <a:gd name="connsiteX466" fmla="*/ 5520214 w 6400800"/>
                <a:gd name="connsiteY466" fmla="*/ 232886 h 514350"/>
                <a:gd name="connsiteX467" fmla="*/ 5520214 w 6400800"/>
                <a:gd name="connsiteY467" fmla="*/ 248126 h 514350"/>
                <a:gd name="connsiteX468" fmla="*/ 5520214 w 6400800"/>
                <a:gd name="connsiteY468" fmla="*/ 250984 h 514350"/>
                <a:gd name="connsiteX469" fmla="*/ 5505926 w 6400800"/>
                <a:gd name="connsiteY469" fmla="*/ 291941 h 514350"/>
                <a:gd name="connsiteX470" fmla="*/ 5503069 w 6400800"/>
                <a:gd name="connsiteY470" fmla="*/ 300514 h 514350"/>
                <a:gd name="connsiteX471" fmla="*/ 5498306 w 6400800"/>
                <a:gd name="connsiteY471" fmla="*/ 290989 h 514350"/>
                <a:gd name="connsiteX472" fmla="*/ 5498306 w 6400800"/>
                <a:gd name="connsiteY472" fmla="*/ 285274 h 514350"/>
                <a:gd name="connsiteX473" fmla="*/ 5499259 w 6400800"/>
                <a:gd name="connsiteY473" fmla="*/ 269081 h 514350"/>
                <a:gd name="connsiteX474" fmla="*/ 5494496 w 6400800"/>
                <a:gd name="connsiteY474" fmla="*/ 284321 h 514350"/>
                <a:gd name="connsiteX475" fmla="*/ 5481162 w 6400800"/>
                <a:gd name="connsiteY475" fmla="*/ 257651 h 514350"/>
                <a:gd name="connsiteX476" fmla="*/ 5483067 w 6400800"/>
                <a:gd name="connsiteY476" fmla="*/ 251936 h 514350"/>
                <a:gd name="connsiteX477" fmla="*/ 5492592 w 6400800"/>
                <a:gd name="connsiteY477" fmla="*/ 224314 h 514350"/>
                <a:gd name="connsiteX478" fmla="*/ 5500212 w 6400800"/>
                <a:gd name="connsiteY478" fmla="*/ 200501 h 514350"/>
                <a:gd name="connsiteX479" fmla="*/ 5493544 w 6400800"/>
                <a:gd name="connsiteY479" fmla="*/ 212884 h 514350"/>
                <a:gd name="connsiteX480" fmla="*/ 5502117 w 6400800"/>
                <a:gd name="connsiteY480" fmla="*/ 188119 h 514350"/>
                <a:gd name="connsiteX481" fmla="*/ 5511642 w 6400800"/>
                <a:gd name="connsiteY481" fmla="*/ 160496 h 514350"/>
                <a:gd name="connsiteX482" fmla="*/ 5498306 w 6400800"/>
                <a:gd name="connsiteY482" fmla="*/ 186214 h 514350"/>
                <a:gd name="connsiteX483" fmla="*/ 5484019 w 6400800"/>
                <a:gd name="connsiteY483" fmla="*/ 215741 h 514350"/>
                <a:gd name="connsiteX484" fmla="*/ 5475446 w 6400800"/>
                <a:gd name="connsiteY484" fmla="*/ 233839 h 514350"/>
                <a:gd name="connsiteX485" fmla="*/ 5472589 w 6400800"/>
                <a:gd name="connsiteY485" fmla="*/ 241459 h 514350"/>
                <a:gd name="connsiteX486" fmla="*/ 5461159 w 6400800"/>
                <a:gd name="connsiteY486" fmla="*/ 221456 h 514350"/>
                <a:gd name="connsiteX487" fmla="*/ 5469731 w 6400800"/>
                <a:gd name="connsiteY487" fmla="*/ 248126 h 514350"/>
                <a:gd name="connsiteX488" fmla="*/ 5466874 w 6400800"/>
                <a:gd name="connsiteY488" fmla="*/ 254794 h 514350"/>
                <a:gd name="connsiteX489" fmla="*/ 5465921 w 6400800"/>
                <a:gd name="connsiteY489" fmla="*/ 257651 h 514350"/>
                <a:gd name="connsiteX490" fmla="*/ 5464969 w 6400800"/>
                <a:gd name="connsiteY490" fmla="*/ 256699 h 514350"/>
                <a:gd name="connsiteX491" fmla="*/ 5455444 w 6400800"/>
                <a:gd name="connsiteY491" fmla="*/ 246221 h 514350"/>
                <a:gd name="connsiteX492" fmla="*/ 5452587 w 6400800"/>
                <a:gd name="connsiteY492" fmla="*/ 230029 h 514350"/>
                <a:gd name="connsiteX493" fmla="*/ 5448776 w 6400800"/>
                <a:gd name="connsiteY493" fmla="*/ 214789 h 514350"/>
                <a:gd name="connsiteX494" fmla="*/ 5442109 w 6400800"/>
                <a:gd name="connsiteY494" fmla="*/ 190024 h 514350"/>
                <a:gd name="connsiteX495" fmla="*/ 5442109 w 6400800"/>
                <a:gd name="connsiteY495" fmla="*/ 190024 h 514350"/>
                <a:gd name="connsiteX496" fmla="*/ 5442109 w 6400800"/>
                <a:gd name="connsiteY496" fmla="*/ 180499 h 514350"/>
                <a:gd name="connsiteX497" fmla="*/ 5441156 w 6400800"/>
                <a:gd name="connsiteY497" fmla="*/ 186214 h 514350"/>
                <a:gd name="connsiteX498" fmla="*/ 5436394 w 6400800"/>
                <a:gd name="connsiteY498" fmla="*/ 169069 h 514350"/>
                <a:gd name="connsiteX499" fmla="*/ 5438299 w 6400800"/>
                <a:gd name="connsiteY499" fmla="*/ 190976 h 514350"/>
                <a:gd name="connsiteX500" fmla="*/ 5439251 w 6400800"/>
                <a:gd name="connsiteY500" fmla="*/ 195739 h 514350"/>
                <a:gd name="connsiteX501" fmla="*/ 5433537 w 6400800"/>
                <a:gd name="connsiteY501" fmla="*/ 225266 h 514350"/>
                <a:gd name="connsiteX502" fmla="*/ 5429726 w 6400800"/>
                <a:gd name="connsiteY502" fmla="*/ 221456 h 514350"/>
                <a:gd name="connsiteX503" fmla="*/ 5433537 w 6400800"/>
                <a:gd name="connsiteY503" fmla="*/ 225266 h 514350"/>
                <a:gd name="connsiteX504" fmla="*/ 5430679 w 6400800"/>
                <a:gd name="connsiteY504" fmla="*/ 240506 h 514350"/>
                <a:gd name="connsiteX505" fmla="*/ 5428774 w 6400800"/>
                <a:gd name="connsiteY505" fmla="*/ 228124 h 514350"/>
                <a:gd name="connsiteX506" fmla="*/ 5428774 w 6400800"/>
                <a:gd name="connsiteY506" fmla="*/ 242411 h 514350"/>
                <a:gd name="connsiteX507" fmla="*/ 5424012 w 6400800"/>
                <a:gd name="connsiteY507" fmla="*/ 222409 h 514350"/>
                <a:gd name="connsiteX508" fmla="*/ 5419249 w 6400800"/>
                <a:gd name="connsiteY508" fmla="*/ 200501 h 514350"/>
                <a:gd name="connsiteX509" fmla="*/ 5420201 w 6400800"/>
                <a:gd name="connsiteY509" fmla="*/ 223361 h 514350"/>
                <a:gd name="connsiteX510" fmla="*/ 5424964 w 6400800"/>
                <a:gd name="connsiteY510" fmla="*/ 274796 h 514350"/>
                <a:gd name="connsiteX511" fmla="*/ 5420201 w 6400800"/>
                <a:gd name="connsiteY511" fmla="*/ 299561 h 514350"/>
                <a:gd name="connsiteX512" fmla="*/ 5418296 w 6400800"/>
                <a:gd name="connsiteY512" fmla="*/ 305276 h 514350"/>
                <a:gd name="connsiteX513" fmla="*/ 5415439 w 6400800"/>
                <a:gd name="connsiteY513" fmla="*/ 298609 h 514350"/>
                <a:gd name="connsiteX514" fmla="*/ 5417344 w 6400800"/>
                <a:gd name="connsiteY514" fmla="*/ 291941 h 514350"/>
                <a:gd name="connsiteX515" fmla="*/ 5414487 w 6400800"/>
                <a:gd name="connsiteY515" fmla="*/ 296704 h 514350"/>
                <a:gd name="connsiteX516" fmla="*/ 5414487 w 6400800"/>
                <a:gd name="connsiteY516" fmla="*/ 295751 h 514350"/>
                <a:gd name="connsiteX517" fmla="*/ 5411629 w 6400800"/>
                <a:gd name="connsiteY517" fmla="*/ 287179 h 514350"/>
                <a:gd name="connsiteX518" fmla="*/ 5414487 w 6400800"/>
                <a:gd name="connsiteY518" fmla="*/ 268129 h 514350"/>
                <a:gd name="connsiteX519" fmla="*/ 5409724 w 6400800"/>
                <a:gd name="connsiteY519" fmla="*/ 282416 h 514350"/>
                <a:gd name="connsiteX520" fmla="*/ 5404009 w 6400800"/>
                <a:gd name="connsiteY520" fmla="*/ 267176 h 514350"/>
                <a:gd name="connsiteX521" fmla="*/ 5399246 w 6400800"/>
                <a:gd name="connsiteY521" fmla="*/ 253841 h 514350"/>
                <a:gd name="connsiteX522" fmla="*/ 5400199 w 6400800"/>
                <a:gd name="connsiteY522" fmla="*/ 232886 h 514350"/>
                <a:gd name="connsiteX523" fmla="*/ 5396389 w 6400800"/>
                <a:gd name="connsiteY523" fmla="*/ 247174 h 514350"/>
                <a:gd name="connsiteX524" fmla="*/ 5395437 w 6400800"/>
                <a:gd name="connsiteY524" fmla="*/ 244316 h 514350"/>
                <a:gd name="connsiteX525" fmla="*/ 5387817 w 6400800"/>
                <a:gd name="connsiteY525" fmla="*/ 224314 h 514350"/>
                <a:gd name="connsiteX526" fmla="*/ 5391626 w 6400800"/>
                <a:gd name="connsiteY526" fmla="*/ 245269 h 514350"/>
                <a:gd name="connsiteX527" fmla="*/ 5394484 w 6400800"/>
                <a:gd name="connsiteY527" fmla="*/ 257651 h 514350"/>
                <a:gd name="connsiteX528" fmla="*/ 5384959 w 6400800"/>
                <a:gd name="connsiteY528" fmla="*/ 300514 h 514350"/>
                <a:gd name="connsiteX529" fmla="*/ 5384006 w 6400800"/>
                <a:gd name="connsiteY529" fmla="*/ 297656 h 514350"/>
                <a:gd name="connsiteX530" fmla="*/ 5382101 w 6400800"/>
                <a:gd name="connsiteY530" fmla="*/ 283369 h 514350"/>
                <a:gd name="connsiteX531" fmla="*/ 5382101 w 6400800"/>
                <a:gd name="connsiteY531" fmla="*/ 287179 h 514350"/>
                <a:gd name="connsiteX532" fmla="*/ 5380196 w 6400800"/>
                <a:gd name="connsiteY532" fmla="*/ 276701 h 514350"/>
                <a:gd name="connsiteX533" fmla="*/ 5379244 w 6400800"/>
                <a:gd name="connsiteY533" fmla="*/ 272891 h 514350"/>
                <a:gd name="connsiteX534" fmla="*/ 5380196 w 6400800"/>
                <a:gd name="connsiteY534" fmla="*/ 269081 h 514350"/>
                <a:gd name="connsiteX535" fmla="*/ 5379244 w 6400800"/>
                <a:gd name="connsiteY535" fmla="*/ 271939 h 514350"/>
                <a:gd name="connsiteX536" fmla="*/ 5372576 w 6400800"/>
                <a:gd name="connsiteY536" fmla="*/ 241459 h 514350"/>
                <a:gd name="connsiteX537" fmla="*/ 5373529 w 6400800"/>
                <a:gd name="connsiteY537" fmla="*/ 232886 h 514350"/>
                <a:gd name="connsiteX538" fmla="*/ 5378292 w 6400800"/>
                <a:gd name="connsiteY538" fmla="*/ 190024 h 514350"/>
                <a:gd name="connsiteX539" fmla="*/ 5384006 w 6400800"/>
                <a:gd name="connsiteY539" fmla="*/ 153829 h 514350"/>
                <a:gd name="connsiteX540" fmla="*/ 5386864 w 6400800"/>
                <a:gd name="connsiteY540" fmla="*/ 138589 h 514350"/>
                <a:gd name="connsiteX541" fmla="*/ 5389721 w 6400800"/>
                <a:gd name="connsiteY541" fmla="*/ 126206 h 514350"/>
                <a:gd name="connsiteX542" fmla="*/ 5394484 w 6400800"/>
                <a:gd name="connsiteY542" fmla="*/ 102394 h 514350"/>
                <a:gd name="connsiteX543" fmla="*/ 5385912 w 6400800"/>
                <a:gd name="connsiteY543" fmla="*/ 125254 h 514350"/>
                <a:gd name="connsiteX544" fmla="*/ 5381149 w 6400800"/>
                <a:gd name="connsiteY544" fmla="*/ 137636 h 514350"/>
                <a:gd name="connsiteX545" fmla="*/ 5376387 w 6400800"/>
                <a:gd name="connsiteY545" fmla="*/ 151924 h 514350"/>
                <a:gd name="connsiteX546" fmla="*/ 5366862 w 6400800"/>
                <a:gd name="connsiteY546" fmla="*/ 188119 h 514350"/>
                <a:gd name="connsiteX547" fmla="*/ 5363051 w 6400800"/>
                <a:gd name="connsiteY547" fmla="*/ 205264 h 514350"/>
                <a:gd name="connsiteX548" fmla="*/ 5360194 w 6400800"/>
                <a:gd name="connsiteY548" fmla="*/ 196691 h 514350"/>
                <a:gd name="connsiteX549" fmla="*/ 5361146 w 6400800"/>
                <a:gd name="connsiteY549" fmla="*/ 210979 h 514350"/>
                <a:gd name="connsiteX550" fmla="*/ 5357337 w 6400800"/>
                <a:gd name="connsiteY550" fmla="*/ 230981 h 514350"/>
                <a:gd name="connsiteX551" fmla="*/ 5355431 w 6400800"/>
                <a:gd name="connsiteY551" fmla="*/ 245269 h 514350"/>
                <a:gd name="connsiteX552" fmla="*/ 5354479 w 6400800"/>
                <a:gd name="connsiteY552" fmla="*/ 235744 h 514350"/>
                <a:gd name="connsiteX553" fmla="*/ 5354479 w 6400800"/>
                <a:gd name="connsiteY553" fmla="*/ 230029 h 514350"/>
                <a:gd name="connsiteX554" fmla="*/ 5355431 w 6400800"/>
                <a:gd name="connsiteY554" fmla="*/ 210979 h 514350"/>
                <a:gd name="connsiteX555" fmla="*/ 5352574 w 6400800"/>
                <a:gd name="connsiteY555" fmla="*/ 222409 h 514350"/>
                <a:gd name="connsiteX556" fmla="*/ 5347812 w 6400800"/>
                <a:gd name="connsiteY556" fmla="*/ 190024 h 514350"/>
                <a:gd name="connsiteX557" fmla="*/ 5347812 w 6400800"/>
                <a:gd name="connsiteY557" fmla="*/ 179546 h 514350"/>
                <a:gd name="connsiteX558" fmla="*/ 5347812 w 6400800"/>
                <a:gd name="connsiteY558" fmla="*/ 160496 h 514350"/>
                <a:gd name="connsiteX559" fmla="*/ 5344954 w 6400800"/>
                <a:gd name="connsiteY559" fmla="*/ 173831 h 514350"/>
                <a:gd name="connsiteX560" fmla="*/ 5341144 w 6400800"/>
                <a:gd name="connsiteY560" fmla="*/ 150019 h 514350"/>
                <a:gd name="connsiteX561" fmla="*/ 5342096 w 6400800"/>
                <a:gd name="connsiteY561" fmla="*/ 177641 h 514350"/>
                <a:gd name="connsiteX562" fmla="*/ 5342096 w 6400800"/>
                <a:gd name="connsiteY562" fmla="*/ 187166 h 514350"/>
                <a:gd name="connsiteX563" fmla="*/ 5340192 w 6400800"/>
                <a:gd name="connsiteY563" fmla="*/ 200501 h 514350"/>
                <a:gd name="connsiteX564" fmla="*/ 5337334 w 6400800"/>
                <a:gd name="connsiteY564" fmla="*/ 229076 h 514350"/>
                <a:gd name="connsiteX565" fmla="*/ 5336381 w 6400800"/>
                <a:gd name="connsiteY565" fmla="*/ 263366 h 514350"/>
                <a:gd name="connsiteX566" fmla="*/ 5336381 w 6400800"/>
                <a:gd name="connsiteY566" fmla="*/ 282416 h 514350"/>
                <a:gd name="connsiteX567" fmla="*/ 5336381 w 6400800"/>
                <a:gd name="connsiteY567" fmla="*/ 282416 h 514350"/>
                <a:gd name="connsiteX568" fmla="*/ 5333524 w 6400800"/>
                <a:gd name="connsiteY568" fmla="*/ 293846 h 514350"/>
                <a:gd name="connsiteX569" fmla="*/ 5332571 w 6400800"/>
                <a:gd name="connsiteY569" fmla="*/ 291941 h 514350"/>
                <a:gd name="connsiteX570" fmla="*/ 5327809 w 6400800"/>
                <a:gd name="connsiteY570" fmla="*/ 278606 h 514350"/>
                <a:gd name="connsiteX571" fmla="*/ 5319237 w 6400800"/>
                <a:gd name="connsiteY571" fmla="*/ 252889 h 514350"/>
                <a:gd name="connsiteX572" fmla="*/ 5310664 w 6400800"/>
                <a:gd name="connsiteY572" fmla="*/ 230029 h 514350"/>
                <a:gd name="connsiteX573" fmla="*/ 5315426 w 6400800"/>
                <a:gd name="connsiteY573" fmla="*/ 253841 h 514350"/>
                <a:gd name="connsiteX574" fmla="*/ 5318284 w 6400800"/>
                <a:gd name="connsiteY574" fmla="*/ 267176 h 514350"/>
                <a:gd name="connsiteX575" fmla="*/ 5315426 w 6400800"/>
                <a:gd name="connsiteY575" fmla="*/ 263366 h 514350"/>
                <a:gd name="connsiteX576" fmla="*/ 5320189 w 6400800"/>
                <a:gd name="connsiteY576" fmla="*/ 276701 h 514350"/>
                <a:gd name="connsiteX577" fmla="*/ 5321142 w 6400800"/>
                <a:gd name="connsiteY577" fmla="*/ 281464 h 514350"/>
                <a:gd name="connsiteX578" fmla="*/ 5324951 w 6400800"/>
                <a:gd name="connsiteY578" fmla="*/ 297656 h 514350"/>
                <a:gd name="connsiteX579" fmla="*/ 5326856 w 6400800"/>
                <a:gd name="connsiteY579" fmla="*/ 306229 h 514350"/>
                <a:gd name="connsiteX580" fmla="*/ 5316379 w 6400800"/>
                <a:gd name="connsiteY580" fmla="*/ 322421 h 514350"/>
                <a:gd name="connsiteX581" fmla="*/ 5306854 w 6400800"/>
                <a:gd name="connsiteY581" fmla="*/ 338614 h 514350"/>
                <a:gd name="connsiteX582" fmla="*/ 5298281 w 6400800"/>
                <a:gd name="connsiteY582" fmla="*/ 354806 h 514350"/>
                <a:gd name="connsiteX583" fmla="*/ 5298281 w 6400800"/>
                <a:gd name="connsiteY583" fmla="*/ 344329 h 514350"/>
                <a:gd name="connsiteX584" fmla="*/ 5301139 w 6400800"/>
                <a:gd name="connsiteY584" fmla="*/ 318611 h 514350"/>
                <a:gd name="connsiteX585" fmla="*/ 5305901 w 6400800"/>
                <a:gd name="connsiteY585" fmla="*/ 291941 h 514350"/>
                <a:gd name="connsiteX586" fmla="*/ 5311617 w 6400800"/>
                <a:gd name="connsiteY586" fmla="*/ 269081 h 514350"/>
                <a:gd name="connsiteX587" fmla="*/ 5302092 w 6400800"/>
                <a:gd name="connsiteY587" fmla="*/ 290989 h 514350"/>
                <a:gd name="connsiteX588" fmla="*/ 5299234 w 6400800"/>
                <a:gd name="connsiteY588" fmla="*/ 298609 h 514350"/>
                <a:gd name="connsiteX589" fmla="*/ 5299234 w 6400800"/>
                <a:gd name="connsiteY589" fmla="*/ 263366 h 514350"/>
                <a:gd name="connsiteX590" fmla="*/ 5290662 w 6400800"/>
                <a:gd name="connsiteY590" fmla="*/ 317659 h 514350"/>
                <a:gd name="connsiteX591" fmla="*/ 5289709 w 6400800"/>
                <a:gd name="connsiteY591" fmla="*/ 312896 h 514350"/>
                <a:gd name="connsiteX592" fmla="*/ 5284946 w 6400800"/>
                <a:gd name="connsiteY592" fmla="*/ 295751 h 514350"/>
                <a:gd name="connsiteX593" fmla="*/ 5284946 w 6400800"/>
                <a:gd name="connsiteY593" fmla="*/ 295751 h 514350"/>
                <a:gd name="connsiteX594" fmla="*/ 5284946 w 6400800"/>
                <a:gd name="connsiteY594" fmla="*/ 295751 h 514350"/>
                <a:gd name="connsiteX595" fmla="*/ 5282089 w 6400800"/>
                <a:gd name="connsiteY595" fmla="*/ 284321 h 514350"/>
                <a:gd name="connsiteX596" fmla="*/ 5281137 w 6400800"/>
                <a:gd name="connsiteY596" fmla="*/ 282416 h 514350"/>
                <a:gd name="connsiteX597" fmla="*/ 5288756 w 6400800"/>
                <a:gd name="connsiteY597" fmla="*/ 252889 h 514350"/>
                <a:gd name="connsiteX598" fmla="*/ 5279231 w 6400800"/>
                <a:gd name="connsiteY598" fmla="*/ 273844 h 514350"/>
                <a:gd name="connsiteX599" fmla="*/ 5275421 w 6400800"/>
                <a:gd name="connsiteY599" fmla="*/ 262414 h 514350"/>
                <a:gd name="connsiteX600" fmla="*/ 5268754 w 6400800"/>
                <a:gd name="connsiteY600" fmla="*/ 243364 h 514350"/>
                <a:gd name="connsiteX601" fmla="*/ 5271612 w 6400800"/>
                <a:gd name="connsiteY601" fmla="*/ 262414 h 514350"/>
                <a:gd name="connsiteX602" fmla="*/ 5274469 w 6400800"/>
                <a:gd name="connsiteY602" fmla="*/ 283369 h 514350"/>
                <a:gd name="connsiteX603" fmla="*/ 5263039 w 6400800"/>
                <a:gd name="connsiteY603" fmla="*/ 310039 h 514350"/>
                <a:gd name="connsiteX604" fmla="*/ 5263039 w 6400800"/>
                <a:gd name="connsiteY604" fmla="*/ 302419 h 514350"/>
                <a:gd name="connsiteX605" fmla="*/ 5260181 w 6400800"/>
                <a:gd name="connsiteY605" fmla="*/ 310039 h 514350"/>
                <a:gd name="connsiteX606" fmla="*/ 5260181 w 6400800"/>
                <a:gd name="connsiteY606" fmla="*/ 309086 h 514350"/>
                <a:gd name="connsiteX607" fmla="*/ 5261134 w 6400800"/>
                <a:gd name="connsiteY607" fmla="*/ 301466 h 514350"/>
                <a:gd name="connsiteX608" fmla="*/ 5262087 w 6400800"/>
                <a:gd name="connsiteY608" fmla="*/ 284321 h 514350"/>
                <a:gd name="connsiteX609" fmla="*/ 5263039 w 6400800"/>
                <a:gd name="connsiteY609" fmla="*/ 269081 h 514350"/>
                <a:gd name="connsiteX610" fmla="*/ 5258276 w 6400800"/>
                <a:gd name="connsiteY610" fmla="*/ 283369 h 514350"/>
                <a:gd name="connsiteX611" fmla="*/ 5257324 w 6400800"/>
                <a:gd name="connsiteY611" fmla="*/ 287179 h 514350"/>
                <a:gd name="connsiteX612" fmla="*/ 5255419 w 6400800"/>
                <a:gd name="connsiteY612" fmla="*/ 273844 h 514350"/>
                <a:gd name="connsiteX613" fmla="*/ 5255419 w 6400800"/>
                <a:gd name="connsiteY613" fmla="*/ 271939 h 514350"/>
                <a:gd name="connsiteX614" fmla="*/ 5255419 w 6400800"/>
                <a:gd name="connsiteY614" fmla="*/ 270986 h 514350"/>
                <a:gd name="connsiteX615" fmla="*/ 5256371 w 6400800"/>
                <a:gd name="connsiteY615" fmla="*/ 266224 h 514350"/>
                <a:gd name="connsiteX616" fmla="*/ 5255419 w 6400800"/>
                <a:gd name="connsiteY616" fmla="*/ 268129 h 514350"/>
                <a:gd name="connsiteX617" fmla="*/ 5258276 w 6400800"/>
                <a:gd name="connsiteY617" fmla="*/ 232886 h 514350"/>
                <a:gd name="connsiteX618" fmla="*/ 5263039 w 6400800"/>
                <a:gd name="connsiteY618" fmla="*/ 158591 h 514350"/>
                <a:gd name="connsiteX619" fmla="*/ 5252562 w 6400800"/>
                <a:gd name="connsiteY619" fmla="*/ 204311 h 514350"/>
                <a:gd name="connsiteX620" fmla="*/ 5255419 w 6400800"/>
                <a:gd name="connsiteY620" fmla="*/ 173831 h 514350"/>
                <a:gd name="connsiteX621" fmla="*/ 5258276 w 6400800"/>
                <a:gd name="connsiteY621" fmla="*/ 140494 h 514350"/>
                <a:gd name="connsiteX622" fmla="*/ 5260181 w 6400800"/>
                <a:gd name="connsiteY622" fmla="*/ 110966 h 514350"/>
                <a:gd name="connsiteX623" fmla="*/ 5254467 w 6400800"/>
                <a:gd name="connsiteY623" fmla="*/ 139541 h 514350"/>
                <a:gd name="connsiteX624" fmla="*/ 5247799 w 6400800"/>
                <a:gd name="connsiteY624" fmla="*/ 172879 h 514350"/>
                <a:gd name="connsiteX625" fmla="*/ 5243989 w 6400800"/>
                <a:gd name="connsiteY625" fmla="*/ 192881 h 514350"/>
                <a:gd name="connsiteX626" fmla="*/ 5243037 w 6400800"/>
                <a:gd name="connsiteY626" fmla="*/ 201454 h 514350"/>
                <a:gd name="connsiteX627" fmla="*/ 5241131 w 6400800"/>
                <a:gd name="connsiteY627" fmla="*/ 194786 h 514350"/>
                <a:gd name="connsiteX628" fmla="*/ 5241131 w 6400800"/>
                <a:gd name="connsiteY628" fmla="*/ 209074 h 514350"/>
                <a:gd name="connsiteX629" fmla="*/ 5240179 w 6400800"/>
                <a:gd name="connsiteY629" fmla="*/ 215741 h 514350"/>
                <a:gd name="connsiteX630" fmla="*/ 5235417 w 6400800"/>
                <a:gd name="connsiteY630" fmla="*/ 246221 h 514350"/>
                <a:gd name="connsiteX631" fmla="*/ 5230654 w 6400800"/>
                <a:gd name="connsiteY631" fmla="*/ 252889 h 514350"/>
                <a:gd name="connsiteX632" fmla="*/ 5222081 w 6400800"/>
                <a:gd name="connsiteY632" fmla="*/ 266224 h 514350"/>
                <a:gd name="connsiteX633" fmla="*/ 5215414 w 6400800"/>
                <a:gd name="connsiteY633" fmla="*/ 279559 h 514350"/>
                <a:gd name="connsiteX634" fmla="*/ 5215414 w 6400800"/>
                <a:gd name="connsiteY634" fmla="*/ 278606 h 514350"/>
                <a:gd name="connsiteX635" fmla="*/ 5216367 w 6400800"/>
                <a:gd name="connsiteY635" fmla="*/ 275749 h 514350"/>
                <a:gd name="connsiteX636" fmla="*/ 5215414 w 6400800"/>
                <a:gd name="connsiteY636" fmla="*/ 277654 h 514350"/>
                <a:gd name="connsiteX637" fmla="*/ 5211604 w 6400800"/>
                <a:gd name="connsiteY637" fmla="*/ 249079 h 514350"/>
                <a:gd name="connsiteX638" fmla="*/ 5208746 w 6400800"/>
                <a:gd name="connsiteY638" fmla="*/ 224314 h 514350"/>
                <a:gd name="connsiteX639" fmla="*/ 5205889 w 6400800"/>
                <a:gd name="connsiteY639" fmla="*/ 202406 h 514350"/>
                <a:gd name="connsiteX640" fmla="*/ 5204937 w 6400800"/>
                <a:gd name="connsiteY640" fmla="*/ 224314 h 514350"/>
                <a:gd name="connsiteX641" fmla="*/ 5204937 w 6400800"/>
                <a:gd name="connsiteY641" fmla="*/ 249079 h 514350"/>
                <a:gd name="connsiteX642" fmla="*/ 5204937 w 6400800"/>
                <a:gd name="connsiteY642" fmla="*/ 264319 h 514350"/>
                <a:gd name="connsiteX643" fmla="*/ 5205889 w 6400800"/>
                <a:gd name="connsiteY643" fmla="*/ 281464 h 514350"/>
                <a:gd name="connsiteX644" fmla="*/ 5205889 w 6400800"/>
                <a:gd name="connsiteY644" fmla="*/ 289084 h 514350"/>
                <a:gd name="connsiteX645" fmla="*/ 5203984 w 6400800"/>
                <a:gd name="connsiteY645" fmla="*/ 286226 h 514350"/>
                <a:gd name="connsiteX646" fmla="*/ 5205889 w 6400800"/>
                <a:gd name="connsiteY646" fmla="*/ 290989 h 514350"/>
                <a:gd name="connsiteX647" fmla="*/ 5205889 w 6400800"/>
                <a:gd name="connsiteY647" fmla="*/ 291941 h 514350"/>
                <a:gd name="connsiteX648" fmla="*/ 5203984 w 6400800"/>
                <a:gd name="connsiteY648" fmla="*/ 287179 h 514350"/>
                <a:gd name="connsiteX649" fmla="*/ 5203984 w 6400800"/>
                <a:gd name="connsiteY649" fmla="*/ 287179 h 514350"/>
                <a:gd name="connsiteX650" fmla="*/ 5203984 w 6400800"/>
                <a:gd name="connsiteY650" fmla="*/ 287179 h 514350"/>
                <a:gd name="connsiteX651" fmla="*/ 5199221 w 6400800"/>
                <a:gd name="connsiteY651" fmla="*/ 278606 h 514350"/>
                <a:gd name="connsiteX652" fmla="*/ 5202079 w 6400800"/>
                <a:gd name="connsiteY652" fmla="*/ 290989 h 514350"/>
                <a:gd name="connsiteX653" fmla="*/ 5198269 w 6400800"/>
                <a:gd name="connsiteY653" fmla="*/ 300514 h 514350"/>
                <a:gd name="connsiteX654" fmla="*/ 5195412 w 6400800"/>
                <a:gd name="connsiteY654" fmla="*/ 295751 h 514350"/>
                <a:gd name="connsiteX655" fmla="*/ 5191601 w 6400800"/>
                <a:gd name="connsiteY655" fmla="*/ 263366 h 514350"/>
                <a:gd name="connsiteX656" fmla="*/ 5184934 w 6400800"/>
                <a:gd name="connsiteY656" fmla="*/ 190024 h 514350"/>
                <a:gd name="connsiteX657" fmla="*/ 5183981 w 6400800"/>
                <a:gd name="connsiteY657" fmla="*/ 169069 h 514350"/>
                <a:gd name="connsiteX658" fmla="*/ 5183981 w 6400800"/>
                <a:gd name="connsiteY658" fmla="*/ 161449 h 514350"/>
                <a:gd name="connsiteX659" fmla="*/ 5183029 w 6400800"/>
                <a:gd name="connsiteY659" fmla="*/ 169069 h 514350"/>
                <a:gd name="connsiteX660" fmla="*/ 5181124 w 6400800"/>
                <a:gd name="connsiteY660" fmla="*/ 190024 h 514350"/>
                <a:gd name="connsiteX661" fmla="*/ 5180171 w 6400800"/>
                <a:gd name="connsiteY661" fmla="*/ 211931 h 514350"/>
                <a:gd name="connsiteX662" fmla="*/ 5177314 w 6400800"/>
                <a:gd name="connsiteY662" fmla="*/ 215741 h 514350"/>
                <a:gd name="connsiteX663" fmla="*/ 5165884 w 6400800"/>
                <a:gd name="connsiteY663" fmla="*/ 231934 h 514350"/>
                <a:gd name="connsiteX664" fmla="*/ 5163979 w 6400800"/>
                <a:gd name="connsiteY664" fmla="*/ 235744 h 514350"/>
                <a:gd name="connsiteX665" fmla="*/ 5161121 w 6400800"/>
                <a:gd name="connsiteY665" fmla="*/ 230029 h 514350"/>
                <a:gd name="connsiteX666" fmla="*/ 5161121 w 6400800"/>
                <a:gd name="connsiteY666" fmla="*/ 229076 h 514350"/>
                <a:gd name="connsiteX667" fmla="*/ 5163026 w 6400800"/>
                <a:gd name="connsiteY667" fmla="*/ 213836 h 514350"/>
                <a:gd name="connsiteX668" fmla="*/ 5163979 w 6400800"/>
                <a:gd name="connsiteY668" fmla="*/ 208121 h 514350"/>
                <a:gd name="connsiteX669" fmla="*/ 5158264 w 6400800"/>
                <a:gd name="connsiteY669" fmla="*/ 224314 h 514350"/>
                <a:gd name="connsiteX670" fmla="*/ 5156359 w 6400800"/>
                <a:gd name="connsiteY670" fmla="*/ 220504 h 514350"/>
                <a:gd name="connsiteX671" fmla="*/ 5147787 w 6400800"/>
                <a:gd name="connsiteY671" fmla="*/ 205264 h 514350"/>
                <a:gd name="connsiteX672" fmla="*/ 5144929 w 6400800"/>
                <a:gd name="connsiteY672" fmla="*/ 178594 h 514350"/>
                <a:gd name="connsiteX673" fmla="*/ 5141119 w 6400800"/>
                <a:gd name="connsiteY673" fmla="*/ 149066 h 514350"/>
                <a:gd name="connsiteX674" fmla="*/ 5141119 w 6400800"/>
                <a:gd name="connsiteY674" fmla="*/ 178594 h 514350"/>
                <a:gd name="connsiteX675" fmla="*/ 5141119 w 6400800"/>
                <a:gd name="connsiteY675" fmla="*/ 255746 h 514350"/>
                <a:gd name="connsiteX676" fmla="*/ 5141119 w 6400800"/>
                <a:gd name="connsiteY676" fmla="*/ 258604 h 514350"/>
                <a:gd name="connsiteX677" fmla="*/ 5139214 w 6400800"/>
                <a:gd name="connsiteY677" fmla="*/ 260509 h 514350"/>
                <a:gd name="connsiteX678" fmla="*/ 5134451 w 6400800"/>
                <a:gd name="connsiteY678" fmla="*/ 265271 h 514350"/>
                <a:gd name="connsiteX679" fmla="*/ 5128737 w 6400800"/>
                <a:gd name="connsiteY679" fmla="*/ 184309 h 514350"/>
                <a:gd name="connsiteX680" fmla="*/ 5124926 w 6400800"/>
                <a:gd name="connsiteY680" fmla="*/ 236696 h 514350"/>
                <a:gd name="connsiteX681" fmla="*/ 5119212 w 6400800"/>
                <a:gd name="connsiteY681" fmla="*/ 219551 h 514350"/>
                <a:gd name="connsiteX682" fmla="*/ 5123974 w 6400800"/>
                <a:gd name="connsiteY682" fmla="*/ 249079 h 514350"/>
                <a:gd name="connsiteX683" fmla="*/ 5123021 w 6400800"/>
                <a:gd name="connsiteY683" fmla="*/ 258604 h 514350"/>
                <a:gd name="connsiteX684" fmla="*/ 5120164 w 6400800"/>
                <a:gd name="connsiteY684" fmla="*/ 279559 h 514350"/>
                <a:gd name="connsiteX685" fmla="*/ 5116354 w 6400800"/>
                <a:gd name="connsiteY685" fmla="*/ 285274 h 514350"/>
                <a:gd name="connsiteX686" fmla="*/ 5106829 w 6400800"/>
                <a:gd name="connsiteY686" fmla="*/ 298609 h 514350"/>
                <a:gd name="connsiteX687" fmla="*/ 5103971 w 6400800"/>
                <a:gd name="connsiteY687" fmla="*/ 303371 h 514350"/>
                <a:gd name="connsiteX688" fmla="*/ 5085874 w 6400800"/>
                <a:gd name="connsiteY688" fmla="*/ 261461 h 514350"/>
                <a:gd name="connsiteX689" fmla="*/ 5086826 w 6400800"/>
                <a:gd name="connsiteY689" fmla="*/ 261461 h 514350"/>
                <a:gd name="connsiteX690" fmla="*/ 5091589 w 6400800"/>
                <a:gd name="connsiteY690" fmla="*/ 260509 h 514350"/>
                <a:gd name="connsiteX691" fmla="*/ 5086826 w 6400800"/>
                <a:gd name="connsiteY691" fmla="*/ 260509 h 514350"/>
                <a:gd name="connsiteX692" fmla="*/ 5085874 w 6400800"/>
                <a:gd name="connsiteY692" fmla="*/ 260509 h 514350"/>
                <a:gd name="connsiteX693" fmla="*/ 5071587 w 6400800"/>
                <a:gd name="connsiteY693" fmla="*/ 230029 h 514350"/>
                <a:gd name="connsiteX694" fmla="*/ 5071587 w 6400800"/>
                <a:gd name="connsiteY694" fmla="*/ 222409 h 514350"/>
                <a:gd name="connsiteX695" fmla="*/ 5069681 w 6400800"/>
                <a:gd name="connsiteY695" fmla="*/ 227171 h 514350"/>
                <a:gd name="connsiteX696" fmla="*/ 5062062 w 6400800"/>
                <a:gd name="connsiteY696" fmla="*/ 192881 h 514350"/>
                <a:gd name="connsiteX697" fmla="*/ 5058251 w 6400800"/>
                <a:gd name="connsiteY697" fmla="*/ 174784 h 514350"/>
                <a:gd name="connsiteX698" fmla="*/ 5055394 w 6400800"/>
                <a:gd name="connsiteY698" fmla="*/ 159544 h 514350"/>
                <a:gd name="connsiteX699" fmla="*/ 5049679 w 6400800"/>
                <a:gd name="connsiteY699" fmla="*/ 130016 h 514350"/>
                <a:gd name="connsiteX700" fmla="*/ 5050631 w 6400800"/>
                <a:gd name="connsiteY700" fmla="*/ 159544 h 514350"/>
                <a:gd name="connsiteX701" fmla="*/ 5051584 w 6400800"/>
                <a:gd name="connsiteY701" fmla="*/ 174784 h 514350"/>
                <a:gd name="connsiteX702" fmla="*/ 5053489 w 6400800"/>
                <a:gd name="connsiteY702" fmla="*/ 192881 h 514350"/>
                <a:gd name="connsiteX703" fmla="*/ 5059204 w 6400800"/>
                <a:gd name="connsiteY703" fmla="*/ 236696 h 514350"/>
                <a:gd name="connsiteX704" fmla="*/ 5061109 w 6400800"/>
                <a:gd name="connsiteY704" fmla="*/ 249079 h 514350"/>
                <a:gd name="connsiteX705" fmla="*/ 5055394 w 6400800"/>
                <a:gd name="connsiteY705" fmla="*/ 270034 h 514350"/>
                <a:gd name="connsiteX706" fmla="*/ 5052537 w 6400800"/>
                <a:gd name="connsiteY706" fmla="*/ 271939 h 514350"/>
                <a:gd name="connsiteX707" fmla="*/ 5052537 w 6400800"/>
                <a:gd name="connsiteY707" fmla="*/ 271939 h 514350"/>
                <a:gd name="connsiteX708" fmla="*/ 5051584 w 6400800"/>
                <a:gd name="connsiteY708" fmla="*/ 267176 h 514350"/>
                <a:gd name="connsiteX709" fmla="*/ 5051584 w 6400800"/>
                <a:gd name="connsiteY709" fmla="*/ 269081 h 514350"/>
                <a:gd name="connsiteX710" fmla="*/ 5048726 w 6400800"/>
                <a:gd name="connsiteY710" fmla="*/ 261461 h 514350"/>
                <a:gd name="connsiteX711" fmla="*/ 5048726 w 6400800"/>
                <a:gd name="connsiteY711" fmla="*/ 261461 h 514350"/>
                <a:gd name="connsiteX712" fmla="*/ 5050631 w 6400800"/>
                <a:gd name="connsiteY712" fmla="*/ 252889 h 514350"/>
                <a:gd name="connsiteX713" fmla="*/ 5047774 w 6400800"/>
                <a:gd name="connsiteY713" fmla="*/ 259556 h 514350"/>
                <a:gd name="connsiteX714" fmla="*/ 5039201 w 6400800"/>
                <a:gd name="connsiteY714" fmla="*/ 236696 h 514350"/>
                <a:gd name="connsiteX715" fmla="*/ 5031581 w 6400800"/>
                <a:gd name="connsiteY715" fmla="*/ 214789 h 514350"/>
                <a:gd name="connsiteX716" fmla="*/ 5035392 w 6400800"/>
                <a:gd name="connsiteY716" fmla="*/ 237649 h 514350"/>
                <a:gd name="connsiteX717" fmla="*/ 5039201 w 6400800"/>
                <a:gd name="connsiteY717" fmla="*/ 256699 h 514350"/>
                <a:gd name="connsiteX718" fmla="*/ 5034439 w 6400800"/>
                <a:gd name="connsiteY718" fmla="*/ 265271 h 514350"/>
                <a:gd name="connsiteX719" fmla="*/ 5034439 w 6400800"/>
                <a:gd name="connsiteY719" fmla="*/ 262414 h 514350"/>
                <a:gd name="connsiteX720" fmla="*/ 5030629 w 6400800"/>
                <a:gd name="connsiteY720" fmla="*/ 241459 h 514350"/>
                <a:gd name="connsiteX721" fmla="*/ 5026819 w 6400800"/>
                <a:gd name="connsiteY721" fmla="*/ 223361 h 514350"/>
                <a:gd name="connsiteX722" fmla="*/ 5025867 w 6400800"/>
                <a:gd name="connsiteY722" fmla="*/ 242411 h 514350"/>
                <a:gd name="connsiteX723" fmla="*/ 5025867 w 6400800"/>
                <a:gd name="connsiteY723" fmla="*/ 263366 h 514350"/>
                <a:gd name="connsiteX724" fmla="*/ 5025867 w 6400800"/>
                <a:gd name="connsiteY724" fmla="*/ 276701 h 514350"/>
                <a:gd name="connsiteX725" fmla="*/ 5025867 w 6400800"/>
                <a:gd name="connsiteY725" fmla="*/ 281464 h 514350"/>
                <a:gd name="connsiteX726" fmla="*/ 5010626 w 6400800"/>
                <a:gd name="connsiteY726" fmla="*/ 263366 h 514350"/>
                <a:gd name="connsiteX727" fmla="*/ 4995387 w 6400800"/>
                <a:gd name="connsiteY727" fmla="*/ 248126 h 514350"/>
                <a:gd name="connsiteX728" fmla="*/ 4997292 w 6400800"/>
                <a:gd name="connsiteY728" fmla="*/ 243364 h 514350"/>
                <a:gd name="connsiteX729" fmla="*/ 4994434 w 6400800"/>
                <a:gd name="connsiteY729" fmla="*/ 248126 h 514350"/>
                <a:gd name="connsiteX730" fmla="*/ 4992529 w 6400800"/>
                <a:gd name="connsiteY730" fmla="*/ 246221 h 514350"/>
                <a:gd name="connsiteX731" fmla="*/ 4994434 w 6400800"/>
                <a:gd name="connsiteY731" fmla="*/ 190024 h 514350"/>
                <a:gd name="connsiteX732" fmla="*/ 4983004 w 6400800"/>
                <a:gd name="connsiteY732" fmla="*/ 240506 h 514350"/>
                <a:gd name="connsiteX733" fmla="*/ 4981099 w 6400800"/>
                <a:gd name="connsiteY733" fmla="*/ 238601 h 514350"/>
                <a:gd name="connsiteX734" fmla="*/ 4959192 w 6400800"/>
                <a:gd name="connsiteY734" fmla="*/ 219551 h 514350"/>
                <a:gd name="connsiteX735" fmla="*/ 4978242 w 6400800"/>
                <a:gd name="connsiteY735" fmla="*/ 241459 h 514350"/>
                <a:gd name="connsiteX736" fmla="*/ 4982051 w 6400800"/>
                <a:gd name="connsiteY736" fmla="*/ 246221 h 514350"/>
                <a:gd name="connsiteX737" fmla="*/ 4982051 w 6400800"/>
                <a:gd name="connsiteY737" fmla="*/ 248126 h 514350"/>
                <a:gd name="connsiteX738" fmla="*/ 4976337 w 6400800"/>
                <a:gd name="connsiteY738" fmla="*/ 279559 h 514350"/>
                <a:gd name="connsiteX739" fmla="*/ 4969669 w 6400800"/>
                <a:gd name="connsiteY739" fmla="*/ 290989 h 514350"/>
                <a:gd name="connsiteX740" fmla="*/ 4960144 w 6400800"/>
                <a:gd name="connsiteY740" fmla="*/ 265271 h 514350"/>
                <a:gd name="connsiteX741" fmla="*/ 4960144 w 6400800"/>
                <a:gd name="connsiteY741" fmla="*/ 264319 h 514350"/>
                <a:gd name="connsiteX742" fmla="*/ 4959192 w 6400800"/>
                <a:gd name="connsiteY742" fmla="*/ 237649 h 514350"/>
                <a:gd name="connsiteX743" fmla="*/ 4958239 w 6400800"/>
                <a:gd name="connsiteY743" fmla="*/ 214789 h 514350"/>
                <a:gd name="connsiteX744" fmla="*/ 4968717 w 6400800"/>
                <a:gd name="connsiteY744" fmla="*/ 164306 h 514350"/>
                <a:gd name="connsiteX745" fmla="*/ 4974431 w 6400800"/>
                <a:gd name="connsiteY745" fmla="*/ 134779 h 514350"/>
                <a:gd name="connsiteX746" fmla="*/ 4964906 w 6400800"/>
                <a:gd name="connsiteY746" fmla="*/ 163354 h 514350"/>
                <a:gd name="connsiteX747" fmla="*/ 4955381 w 6400800"/>
                <a:gd name="connsiteY747" fmla="*/ 191929 h 514350"/>
                <a:gd name="connsiteX748" fmla="*/ 4955381 w 6400800"/>
                <a:gd name="connsiteY748" fmla="*/ 176689 h 514350"/>
                <a:gd name="connsiteX749" fmla="*/ 4952524 w 6400800"/>
                <a:gd name="connsiteY749" fmla="*/ 202406 h 514350"/>
                <a:gd name="connsiteX750" fmla="*/ 4952524 w 6400800"/>
                <a:gd name="connsiteY750" fmla="*/ 203359 h 514350"/>
                <a:gd name="connsiteX751" fmla="*/ 4944904 w 6400800"/>
                <a:gd name="connsiteY751" fmla="*/ 227171 h 514350"/>
                <a:gd name="connsiteX752" fmla="*/ 4944904 w 6400800"/>
                <a:gd name="connsiteY752" fmla="*/ 226219 h 514350"/>
                <a:gd name="connsiteX753" fmla="*/ 4936331 w 6400800"/>
                <a:gd name="connsiteY753" fmla="*/ 199549 h 514350"/>
                <a:gd name="connsiteX754" fmla="*/ 4942046 w 6400800"/>
                <a:gd name="connsiteY754" fmla="*/ 236696 h 514350"/>
                <a:gd name="connsiteX755" fmla="*/ 4941094 w 6400800"/>
                <a:gd name="connsiteY755" fmla="*/ 239554 h 514350"/>
                <a:gd name="connsiteX756" fmla="*/ 4922996 w 6400800"/>
                <a:gd name="connsiteY756" fmla="*/ 292894 h 514350"/>
                <a:gd name="connsiteX757" fmla="*/ 4922996 w 6400800"/>
                <a:gd name="connsiteY757" fmla="*/ 289084 h 514350"/>
                <a:gd name="connsiteX758" fmla="*/ 4920139 w 6400800"/>
                <a:gd name="connsiteY758" fmla="*/ 269081 h 514350"/>
                <a:gd name="connsiteX759" fmla="*/ 4919187 w 6400800"/>
                <a:gd name="connsiteY759" fmla="*/ 290036 h 514350"/>
                <a:gd name="connsiteX760" fmla="*/ 4919187 w 6400800"/>
                <a:gd name="connsiteY760" fmla="*/ 296704 h 514350"/>
                <a:gd name="connsiteX761" fmla="*/ 4917281 w 6400800"/>
                <a:gd name="connsiteY761" fmla="*/ 289084 h 514350"/>
                <a:gd name="connsiteX762" fmla="*/ 4911567 w 6400800"/>
                <a:gd name="connsiteY762" fmla="*/ 266224 h 514350"/>
                <a:gd name="connsiteX763" fmla="*/ 4904899 w 6400800"/>
                <a:gd name="connsiteY763" fmla="*/ 246221 h 514350"/>
                <a:gd name="connsiteX764" fmla="*/ 4907756 w 6400800"/>
                <a:gd name="connsiteY764" fmla="*/ 267176 h 514350"/>
                <a:gd name="connsiteX765" fmla="*/ 4909662 w 6400800"/>
                <a:gd name="connsiteY765" fmla="*/ 290989 h 514350"/>
                <a:gd name="connsiteX766" fmla="*/ 4911567 w 6400800"/>
                <a:gd name="connsiteY766" fmla="*/ 321469 h 514350"/>
                <a:gd name="connsiteX767" fmla="*/ 4908709 w 6400800"/>
                <a:gd name="connsiteY767" fmla="*/ 327184 h 514350"/>
                <a:gd name="connsiteX768" fmla="*/ 4902042 w 6400800"/>
                <a:gd name="connsiteY768" fmla="*/ 313849 h 514350"/>
                <a:gd name="connsiteX769" fmla="*/ 4894421 w 6400800"/>
                <a:gd name="connsiteY769" fmla="*/ 298609 h 514350"/>
                <a:gd name="connsiteX770" fmla="*/ 4892517 w 6400800"/>
                <a:gd name="connsiteY770" fmla="*/ 285274 h 514350"/>
                <a:gd name="connsiteX771" fmla="*/ 4891564 w 6400800"/>
                <a:gd name="connsiteY771" fmla="*/ 293846 h 514350"/>
                <a:gd name="connsiteX772" fmla="*/ 4888706 w 6400800"/>
                <a:gd name="connsiteY772" fmla="*/ 289084 h 514350"/>
                <a:gd name="connsiteX773" fmla="*/ 4891564 w 6400800"/>
                <a:gd name="connsiteY773" fmla="*/ 295751 h 514350"/>
                <a:gd name="connsiteX774" fmla="*/ 4887754 w 6400800"/>
                <a:gd name="connsiteY774" fmla="*/ 348139 h 514350"/>
                <a:gd name="connsiteX775" fmla="*/ 4887754 w 6400800"/>
                <a:gd name="connsiteY775" fmla="*/ 357664 h 514350"/>
                <a:gd name="connsiteX776" fmla="*/ 4882991 w 6400800"/>
                <a:gd name="connsiteY776" fmla="*/ 350996 h 514350"/>
                <a:gd name="connsiteX777" fmla="*/ 4882039 w 6400800"/>
                <a:gd name="connsiteY777" fmla="*/ 338614 h 514350"/>
                <a:gd name="connsiteX778" fmla="*/ 4882039 w 6400800"/>
                <a:gd name="connsiteY778" fmla="*/ 337661 h 514350"/>
                <a:gd name="connsiteX779" fmla="*/ 4883944 w 6400800"/>
                <a:gd name="connsiteY779" fmla="*/ 327184 h 514350"/>
                <a:gd name="connsiteX780" fmla="*/ 4885849 w 6400800"/>
                <a:gd name="connsiteY780" fmla="*/ 319564 h 514350"/>
                <a:gd name="connsiteX781" fmla="*/ 4887754 w 6400800"/>
                <a:gd name="connsiteY781" fmla="*/ 312896 h 514350"/>
                <a:gd name="connsiteX782" fmla="*/ 4884896 w 6400800"/>
                <a:gd name="connsiteY782" fmla="*/ 318611 h 514350"/>
                <a:gd name="connsiteX783" fmla="*/ 4882039 w 6400800"/>
                <a:gd name="connsiteY783" fmla="*/ 326231 h 514350"/>
                <a:gd name="connsiteX784" fmla="*/ 4882039 w 6400800"/>
                <a:gd name="connsiteY784" fmla="*/ 328136 h 514350"/>
                <a:gd name="connsiteX785" fmla="*/ 4882039 w 6400800"/>
                <a:gd name="connsiteY785" fmla="*/ 326231 h 514350"/>
                <a:gd name="connsiteX786" fmla="*/ 4877276 w 6400800"/>
                <a:gd name="connsiteY786" fmla="*/ 288131 h 514350"/>
                <a:gd name="connsiteX787" fmla="*/ 4873466 w 6400800"/>
                <a:gd name="connsiteY787" fmla="*/ 263366 h 514350"/>
                <a:gd name="connsiteX788" fmla="*/ 4878229 w 6400800"/>
                <a:gd name="connsiteY788" fmla="*/ 238601 h 514350"/>
                <a:gd name="connsiteX789" fmla="*/ 4882039 w 6400800"/>
                <a:gd name="connsiteY789" fmla="*/ 211931 h 514350"/>
                <a:gd name="connsiteX790" fmla="*/ 4874419 w 6400800"/>
                <a:gd name="connsiteY790" fmla="*/ 237649 h 514350"/>
                <a:gd name="connsiteX791" fmla="*/ 4870609 w 6400800"/>
                <a:gd name="connsiteY791" fmla="*/ 249079 h 514350"/>
                <a:gd name="connsiteX792" fmla="*/ 4866799 w 6400800"/>
                <a:gd name="connsiteY792" fmla="*/ 231934 h 514350"/>
                <a:gd name="connsiteX793" fmla="*/ 4862037 w 6400800"/>
                <a:gd name="connsiteY793" fmla="*/ 210979 h 514350"/>
                <a:gd name="connsiteX794" fmla="*/ 4862989 w 6400800"/>
                <a:gd name="connsiteY794" fmla="*/ 232886 h 514350"/>
                <a:gd name="connsiteX795" fmla="*/ 4863941 w 6400800"/>
                <a:gd name="connsiteY795" fmla="*/ 248126 h 514350"/>
                <a:gd name="connsiteX796" fmla="*/ 4863941 w 6400800"/>
                <a:gd name="connsiteY796" fmla="*/ 261461 h 514350"/>
                <a:gd name="connsiteX797" fmla="*/ 4860131 w 6400800"/>
                <a:gd name="connsiteY797" fmla="*/ 264319 h 514350"/>
                <a:gd name="connsiteX798" fmla="*/ 4843939 w 6400800"/>
                <a:gd name="connsiteY798" fmla="*/ 281464 h 514350"/>
                <a:gd name="connsiteX799" fmla="*/ 4841081 w 6400800"/>
                <a:gd name="connsiteY799" fmla="*/ 270986 h 514350"/>
                <a:gd name="connsiteX800" fmla="*/ 4842987 w 6400800"/>
                <a:gd name="connsiteY800" fmla="*/ 266224 h 514350"/>
                <a:gd name="connsiteX801" fmla="*/ 4841081 w 6400800"/>
                <a:gd name="connsiteY801" fmla="*/ 269081 h 514350"/>
                <a:gd name="connsiteX802" fmla="*/ 4840129 w 6400800"/>
                <a:gd name="connsiteY802" fmla="*/ 262414 h 514350"/>
                <a:gd name="connsiteX803" fmla="*/ 4840129 w 6400800"/>
                <a:gd name="connsiteY803" fmla="*/ 270034 h 514350"/>
                <a:gd name="connsiteX804" fmla="*/ 4833462 w 6400800"/>
                <a:gd name="connsiteY804" fmla="*/ 278606 h 514350"/>
                <a:gd name="connsiteX805" fmla="*/ 4822984 w 6400800"/>
                <a:gd name="connsiteY805" fmla="*/ 294799 h 514350"/>
                <a:gd name="connsiteX806" fmla="*/ 4816316 w 6400800"/>
                <a:gd name="connsiteY806" fmla="*/ 304324 h 514350"/>
                <a:gd name="connsiteX807" fmla="*/ 4809649 w 6400800"/>
                <a:gd name="connsiteY807" fmla="*/ 315754 h 514350"/>
                <a:gd name="connsiteX808" fmla="*/ 4807744 w 6400800"/>
                <a:gd name="connsiteY808" fmla="*/ 318611 h 514350"/>
                <a:gd name="connsiteX809" fmla="*/ 4807744 w 6400800"/>
                <a:gd name="connsiteY809" fmla="*/ 304324 h 514350"/>
                <a:gd name="connsiteX810" fmla="*/ 4803934 w 6400800"/>
                <a:gd name="connsiteY810" fmla="*/ 327184 h 514350"/>
                <a:gd name="connsiteX811" fmla="*/ 4795362 w 6400800"/>
                <a:gd name="connsiteY811" fmla="*/ 342424 h 514350"/>
                <a:gd name="connsiteX812" fmla="*/ 4795362 w 6400800"/>
                <a:gd name="connsiteY812" fmla="*/ 324326 h 514350"/>
                <a:gd name="connsiteX813" fmla="*/ 4795362 w 6400800"/>
                <a:gd name="connsiteY813" fmla="*/ 311944 h 514350"/>
                <a:gd name="connsiteX814" fmla="*/ 4796314 w 6400800"/>
                <a:gd name="connsiteY814" fmla="*/ 302419 h 514350"/>
                <a:gd name="connsiteX815" fmla="*/ 4797266 w 6400800"/>
                <a:gd name="connsiteY815" fmla="*/ 297656 h 514350"/>
                <a:gd name="connsiteX816" fmla="*/ 4803934 w 6400800"/>
                <a:gd name="connsiteY816" fmla="*/ 264319 h 514350"/>
                <a:gd name="connsiteX817" fmla="*/ 4815364 w 6400800"/>
                <a:gd name="connsiteY817" fmla="*/ 192881 h 514350"/>
                <a:gd name="connsiteX818" fmla="*/ 4792504 w 6400800"/>
                <a:gd name="connsiteY818" fmla="*/ 262414 h 514350"/>
                <a:gd name="connsiteX819" fmla="*/ 4790599 w 6400800"/>
                <a:gd name="connsiteY819" fmla="*/ 268129 h 514350"/>
                <a:gd name="connsiteX820" fmla="*/ 4788694 w 6400800"/>
                <a:gd name="connsiteY820" fmla="*/ 250031 h 514350"/>
                <a:gd name="connsiteX821" fmla="*/ 4787741 w 6400800"/>
                <a:gd name="connsiteY821" fmla="*/ 270986 h 514350"/>
                <a:gd name="connsiteX822" fmla="*/ 4787741 w 6400800"/>
                <a:gd name="connsiteY822" fmla="*/ 281464 h 514350"/>
                <a:gd name="connsiteX823" fmla="*/ 4782979 w 6400800"/>
                <a:gd name="connsiteY823" fmla="*/ 299561 h 514350"/>
                <a:gd name="connsiteX824" fmla="*/ 4782979 w 6400800"/>
                <a:gd name="connsiteY824" fmla="*/ 293846 h 514350"/>
                <a:gd name="connsiteX825" fmla="*/ 4784884 w 6400800"/>
                <a:gd name="connsiteY825" fmla="*/ 263366 h 514350"/>
                <a:gd name="connsiteX826" fmla="*/ 4786789 w 6400800"/>
                <a:gd name="connsiteY826" fmla="*/ 239554 h 514350"/>
                <a:gd name="connsiteX827" fmla="*/ 4789647 w 6400800"/>
                <a:gd name="connsiteY827" fmla="*/ 218599 h 514350"/>
                <a:gd name="connsiteX828" fmla="*/ 4782979 w 6400800"/>
                <a:gd name="connsiteY828" fmla="*/ 238601 h 514350"/>
                <a:gd name="connsiteX829" fmla="*/ 4777264 w 6400800"/>
                <a:gd name="connsiteY829" fmla="*/ 262414 h 514350"/>
                <a:gd name="connsiteX830" fmla="*/ 4776312 w 6400800"/>
                <a:gd name="connsiteY830" fmla="*/ 269081 h 514350"/>
                <a:gd name="connsiteX831" fmla="*/ 4773454 w 6400800"/>
                <a:gd name="connsiteY831" fmla="*/ 251936 h 514350"/>
                <a:gd name="connsiteX832" fmla="*/ 4773454 w 6400800"/>
                <a:gd name="connsiteY832" fmla="*/ 284321 h 514350"/>
                <a:gd name="connsiteX833" fmla="*/ 4771549 w 6400800"/>
                <a:gd name="connsiteY833" fmla="*/ 293846 h 514350"/>
                <a:gd name="connsiteX834" fmla="*/ 4771549 w 6400800"/>
                <a:gd name="connsiteY834" fmla="*/ 295751 h 514350"/>
                <a:gd name="connsiteX835" fmla="*/ 4767739 w 6400800"/>
                <a:gd name="connsiteY835" fmla="*/ 260509 h 514350"/>
                <a:gd name="connsiteX836" fmla="*/ 4764881 w 6400800"/>
                <a:gd name="connsiteY836" fmla="*/ 297656 h 514350"/>
                <a:gd name="connsiteX837" fmla="*/ 4755356 w 6400800"/>
                <a:gd name="connsiteY837" fmla="*/ 276701 h 514350"/>
                <a:gd name="connsiteX838" fmla="*/ 4750594 w 6400800"/>
                <a:gd name="connsiteY838" fmla="*/ 270034 h 514350"/>
                <a:gd name="connsiteX839" fmla="*/ 4758214 w 6400800"/>
                <a:gd name="connsiteY839" fmla="*/ 243364 h 514350"/>
                <a:gd name="connsiteX840" fmla="*/ 4780122 w 6400800"/>
                <a:gd name="connsiteY840" fmla="*/ 161449 h 514350"/>
                <a:gd name="connsiteX841" fmla="*/ 4787741 w 6400800"/>
                <a:gd name="connsiteY841" fmla="*/ 130016 h 514350"/>
                <a:gd name="connsiteX842" fmla="*/ 4776312 w 6400800"/>
                <a:gd name="connsiteY842" fmla="*/ 160496 h 514350"/>
                <a:gd name="connsiteX843" fmla="*/ 4747737 w 6400800"/>
                <a:gd name="connsiteY843" fmla="*/ 240506 h 514350"/>
                <a:gd name="connsiteX844" fmla="*/ 4742022 w 6400800"/>
                <a:gd name="connsiteY844" fmla="*/ 257651 h 514350"/>
                <a:gd name="connsiteX845" fmla="*/ 4742022 w 6400800"/>
                <a:gd name="connsiteY845" fmla="*/ 257651 h 514350"/>
                <a:gd name="connsiteX846" fmla="*/ 4727734 w 6400800"/>
                <a:gd name="connsiteY846" fmla="*/ 244316 h 514350"/>
                <a:gd name="connsiteX847" fmla="*/ 4721066 w 6400800"/>
                <a:gd name="connsiteY847" fmla="*/ 240506 h 514350"/>
                <a:gd name="connsiteX848" fmla="*/ 4716304 w 6400800"/>
                <a:gd name="connsiteY848" fmla="*/ 238601 h 514350"/>
                <a:gd name="connsiteX849" fmla="*/ 4712494 w 6400800"/>
                <a:gd name="connsiteY849" fmla="*/ 237649 h 514350"/>
                <a:gd name="connsiteX850" fmla="*/ 4716304 w 6400800"/>
                <a:gd name="connsiteY850" fmla="*/ 239554 h 514350"/>
                <a:gd name="connsiteX851" fmla="*/ 4725829 w 6400800"/>
                <a:gd name="connsiteY851" fmla="*/ 246221 h 514350"/>
                <a:gd name="connsiteX852" fmla="*/ 4736306 w 6400800"/>
                <a:gd name="connsiteY852" fmla="*/ 260509 h 514350"/>
                <a:gd name="connsiteX853" fmla="*/ 4739164 w 6400800"/>
                <a:gd name="connsiteY853" fmla="*/ 266224 h 514350"/>
                <a:gd name="connsiteX854" fmla="*/ 4729639 w 6400800"/>
                <a:gd name="connsiteY854" fmla="*/ 293846 h 514350"/>
                <a:gd name="connsiteX855" fmla="*/ 4728687 w 6400800"/>
                <a:gd name="connsiteY855" fmla="*/ 295751 h 514350"/>
                <a:gd name="connsiteX856" fmla="*/ 4728687 w 6400800"/>
                <a:gd name="connsiteY856" fmla="*/ 294799 h 514350"/>
                <a:gd name="connsiteX857" fmla="*/ 4728687 w 6400800"/>
                <a:gd name="connsiteY857" fmla="*/ 290989 h 514350"/>
                <a:gd name="connsiteX858" fmla="*/ 4727734 w 6400800"/>
                <a:gd name="connsiteY858" fmla="*/ 293846 h 514350"/>
                <a:gd name="connsiteX859" fmla="*/ 4717256 w 6400800"/>
                <a:gd name="connsiteY859" fmla="*/ 270986 h 514350"/>
                <a:gd name="connsiteX860" fmla="*/ 4714399 w 6400800"/>
                <a:gd name="connsiteY860" fmla="*/ 265271 h 514350"/>
                <a:gd name="connsiteX861" fmla="*/ 4716304 w 6400800"/>
                <a:gd name="connsiteY861" fmla="*/ 252889 h 514350"/>
                <a:gd name="connsiteX862" fmla="*/ 4713447 w 6400800"/>
                <a:gd name="connsiteY862" fmla="*/ 262414 h 514350"/>
                <a:gd name="connsiteX863" fmla="*/ 4706779 w 6400800"/>
                <a:gd name="connsiteY863" fmla="*/ 248126 h 514350"/>
                <a:gd name="connsiteX864" fmla="*/ 4712494 w 6400800"/>
                <a:gd name="connsiteY864" fmla="*/ 267176 h 514350"/>
                <a:gd name="connsiteX865" fmla="*/ 4708684 w 6400800"/>
                <a:gd name="connsiteY865" fmla="*/ 277654 h 514350"/>
                <a:gd name="connsiteX866" fmla="*/ 4694397 w 6400800"/>
                <a:gd name="connsiteY866" fmla="*/ 236696 h 514350"/>
                <a:gd name="connsiteX867" fmla="*/ 4702969 w 6400800"/>
                <a:gd name="connsiteY867" fmla="*/ 293846 h 514350"/>
                <a:gd name="connsiteX868" fmla="*/ 4691539 w 6400800"/>
                <a:gd name="connsiteY868" fmla="*/ 331946 h 514350"/>
                <a:gd name="connsiteX869" fmla="*/ 4690587 w 6400800"/>
                <a:gd name="connsiteY869" fmla="*/ 329089 h 514350"/>
                <a:gd name="connsiteX870" fmla="*/ 4682966 w 6400800"/>
                <a:gd name="connsiteY870" fmla="*/ 313849 h 514350"/>
                <a:gd name="connsiteX871" fmla="*/ 4684872 w 6400800"/>
                <a:gd name="connsiteY871" fmla="*/ 322421 h 514350"/>
                <a:gd name="connsiteX872" fmla="*/ 4684872 w 6400800"/>
                <a:gd name="connsiteY872" fmla="*/ 322421 h 514350"/>
                <a:gd name="connsiteX873" fmla="*/ 4671537 w 6400800"/>
                <a:gd name="connsiteY873" fmla="*/ 304324 h 514350"/>
                <a:gd name="connsiteX874" fmla="*/ 4682014 w 6400800"/>
                <a:gd name="connsiteY874" fmla="*/ 324326 h 514350"/>
                <a:gd name="connsiteX875" fmla="*/ 4688681 w 6400800"/>
                <a:gd name="connsiteY875" fmla="*/ 337661 h 514350"/>
                <a:gd name="connsiteX876" fmla="*/ 4689634 w 6400800"/>
                <a:gd name="connsiteY876" fmla="*/ 340519 h 514350"/>
                <a:gd name="connsiteX877" fmla="*/ 4682966 w 6400800"/>
                <a:gd name="connsiteY877" fmla="*/ 366236 h 514350"/>
                <a:gd name="connsiteX878" fmla="*/ 4678204 w 6400800"/>
                <a:gd name="connsiteY878" fmla="*/ 359569 h 514350"/>
                <a:gd name="connsiteX879" fmla="*/ 4669631 w 6400800"/>
                <a:gd name="connsiteY879" fmla="*/ 349091 h 514350"/>
                <a:gd name="connsiteX880" fmla="*/ 4668679 w 6400800"/>
                <a:gd name="connsiteY880" fmla="*/ 348139 h 514350"/>
                <a:gd name="connsiteX881" fmla="*/ 4669631 w 6400800"/>
                <a:gd name="connsiteY881" fmla="*/ 330994 h 514350"/>
                <a:gd name="connsiteX882" fmla="*/ 4669631 w 6400800"/>
                <a:gd name="connsiteY882" fmla="*/ 310991 h 514350"/>
                <a:gd name="connsiteX883" fmla="*/ 4669631 w 6400800"/>
                <a:gd name="connsiteY883" fmla="*/ 313849 h 514350"/>
                <a:gd name="connsiteX884" fmla="*/ 4670584 w 6400800"/>
                <a:gd name="connsiteY884" fmla="*/ 301466 h 514350"/>
                <a:gd name="connsiteX885" fmla="*/ 4670584 w 6400800"/>
                <a:gd name="connsiteY885" fmla="*/ 287179 h 514350"/>
                <a:gd name="connsiteX886" fmla="*/ 4675347 w 6400800"/>
                <a:gd name="connsiteY886" fmla="*/ 274796 h 514350"/>
                <a:gd name="connsiteX887" fmla="*/ 4689634 w 6400800"/>
                <a:gd name="connsiteY887" fmla="*/ 250984 h 514350"/>
                <a:gd name="connsiteX888" fmla="*/ 4681062 w 6400800"/>
                <a:gd name="connsiteY888" fmla="*/ 262414 h 514350"/>
                <a:gd name="connsiteX889" fmla="*/ 4686776 w 6400800"/>
                <a:gd name="connsiteY889" fmla="*/ 248126 h 514350"/>
                <a:gd name="connsiteX890" fmla="*/ 4675347 w 6400800"/>
                <a:gd name="connsiteY890" fmla="*/ 265271 h 514350"/>
                <a:gd name="connsiteX891" fmla="*/ 4670584 w 6400800"/>
                <a:gd name="connsiteY891" fmla="*/ 272891 h 514350"/>
                <a:gd name="connsiteX892" fmla="*/ 4670584 w 6400800"/>
                <a:gd name="connsiteY892" fmla="*/ 268129 h 514350"/>
                <a:gd name="connsiteX893" fmla="*/ 4668679 w 6400800"/>
                <a:gd name="connsiteY893" fmla="*/ 250984 h 514350"/>
                <a:gd name="connsiteX894" fmla="*/ 4669631 w 6400800"/>
                <a:gd name="connsiteY894" fmla="*/ 247174 h 514350"/>
                <a:gd name="connsiteX895" fmla="*/ 4671537 w 6400800"/>
                <a:gd name="connsiteY895" fmla="*/ 222409 h 514350"/>
                <a:gd name="connsiteX896" fmla="*/ 4670584 w 6400800"/>
                <a:gd name="connsiteY896" fmla="*/ 229076 h 514350"/>
                <a:gd name="connsiteX897" fmla="*/ 4666774 w 6400800"/>
                <a:gd name="connsiteY897" fmla="*/ 242411 h 514350"/>
                <a:gd name="connsiteX898" fmla="*/ 4666774 w 6400800"/>
                <a:gd name="connsiteY898" fmla="*/ 241459 h 514350"/>
                <a:gd name="connsiteX899" fmla="*/ 4666774 w 6400800"/>
                <a:gd name="connsiteY899" fmla="*/ 241459 h 514350"/>
                <a:gd name="connsiteX900" fmla="*/ 4666774 w 6400800"/>
                <a:gd name="connsiteY900" fmla="*/ 241459 h 514350"/>
                <a:gd name="connsiteX901" fmla="*/ 4662012 w 6400800"/>
                <a:gd name="connsiteY901" fmla="*/ 228124 h 514350"/>
                <a:gd name="connsiteX902" fmla="*/ 4660106 w 6400800"/>
                <a:gd name="connsiteY902" fmla="*/ 222409 h 514350"/>
                <a:gd name="connsiteX903" fmla="*/ 4661059 w 6400800"/>
                <a:gd name="connsiteY903" fmla="*/ 228124 h 514350"/>
                <a:gd name="connsiteX904" fmla="*/ 4662964 w 6400800"/>
                <a:gd name="connsiteY904" fmla="*/ 244316 h 514350"/>
                <a:gd name="connsiteX905" fmla="*/ 4662964 w 6400800"/>
                <a:gd name="connsiteY905" fmla="*/ 246221 h 514350"/>
                <a:gd name="connsiteX906" fmla="*/ 4662964 w 6400800"/>
                <a:gd name="connsiteY906" fmla="*/ 246221 h 514350"/>
                <a:gd name="connsiteX907" fmla="*/ 4654391 w 6400800"/>
                <a:gd name="connsiteY907" fmla="*/ 262414 h 514350"/>
                <a:gd name="connsiteX908" fmla="*/ 4650581 w 6400800"/>
                <a:gd name="connsiteY908" fmla="*/ 271939 h 514350"/>
                <a:gd name="connsiteX909" fmla="*/ 4646772 w 6400800"/>
                <a:gd name="connsiteY909" fmla="*/ 261461 h 514350"/>
                <a:gd name="connsiteX910" fmla="*/ 4645819 w 6400800"/>
                <a:gd name="connsiteY910" fmla="*/ 259556 h 514350"/>
                <a:gd name="connsiteX911" fmla="*/ 4646772 w 6400800"/>
                <a:gd name="connsiteY911" fmla="*/ 253841 h 514350"/>
                <a:gd name="connsiteX912" fmla="*/ 4653439 w 6400800"/>
                <a:gd name="connsiteY912" fmla="*/ 227171 h 514350"/>
                <a:gd name="connsiteX913" fmla="*/ 4660106 w 6400800"/>
                <a:gd name="connsiteY913" fmla="*/ 204311 h 514350"/>
                <a:gd name="connsiteX914" fmla="*/ 4650581 w 6400800"/>
                <a:gd name="connsiteY914" fmla="*/ 226219 h 514350"/>
                <a:gd name="connsiteX915" fmla="*/ 4641056 w 6400800"/>
                <a:gd name="connsiteY915" fmla="*/ 251936 h 514350"/>
                <a:gd name="connsiteX916" fmla="*/ 4636294 w 6400800"/>
                <a:gd name="connsiteY916" fmla="*/ 267176 h 514350"/>
                <a:gd name="connsiteX917" fmla="*/ 4636294 w 6400800"/>
                <a:gd name="connsiteY917" fmla="*/ 259556 h 514350"/>
                <a:gd name="connsiteX918" fmla="*/ 4638199 w 6400800"/>
                <a:gd name="connsiteY918" fmla="*/ 242411 h 514350"/>
                <a:gd name="connsiteX919" fmla="*/ 4639151 w 6400800"/>
                <a:gd name="connsiteY919" fmla="*/ 235744 h 514350"/>
                <a:gd name="connsiteX920" fmla="*/ 4637247 w 6400800"/>
                <a:gd name="connsiteY920" fmla="*/ 241459 h 514350"/>
                <a:gd name="connsiteX921" fmla="*/ 4632484 w 6400800"/>
                <a:gd name="connsiteY921" fmla="*/ 258604 h 514350"/>
                <a:gd name="connsiteX922" fmla="*/ 4632484 w 6400800"/>
                <a:gd name="connsiteY922" fmla="*/ 258604 h 514350"/>
                <a:gd name="connsiteX923" fmla="*/ 4631531 w 6400800"/>
                <a:gd name="connsiteY923" fmla="*/ 254794 h 514350"/>
                <a:gd name="connsiteX924" fmla="*/ 4632484 w 6400800"/>
                <a:gd name="connsiteY924" fmla="*/ 259556 h 514350"/>
                <a:gd name="connsiteX925" fmla="*/ 4628674 w 6400800"/>
                <a:gd name="connsiteY925" fmla="*/ 285274 h 514350"/>
                <a:gd name="connsiteX926" fmla="*/ 4628674 w 6400800"/>
                <a:gd name="connsiteY926" fmla="*/ 293846 h 514350"/>
                <a:gd name="connsiteX927" fmla="*/ 4625816 w 6400800"/>
                <a:gd name="connsiteY927" fmla="*/ 303371 h 514350"/>
                <a:gd name="connsiteX928" fmla="*/ 4610576 w 6400800"/>
                <a:gd name="connsiteY928" fmla="*/ 293846 h 514350"/>
                <a:gd name="connsiteX929" fmla="*/ 4604862 w 6400800"/>
                <a:gd name="connsiteY929" fmla="*/ 290989 h 514350"/>
                <a:gd name="connsiteX930" fmla="*/ 4610576 w 6400800"/>
                <a:gd name="connsiteY930" fmla="*/ 294799 h 514350"/>
                <a:gd name="connsiteX931" fmla="*/ 4624864 w 6400800"/>
                <a:gd name="connsiteY931" fmla="*/ 307181 h 514350"/>
                <a:gd name="connsiteX932" fmla="*/ 4625816 w 6400800"/>
                <a:gd name="connsiteY932" fmla="*/ 308134 h 514350"/>
                <a:gd name="connsiteX933" fmla="*/ 4622006 w 6400800"/>
                <a:gd name="connsiteY933" fmla="*/ 325279 h 514350"/>
                <a:gd name="connsiteX934" fmla="*/ 4619149 w 6400800"/>
                <a:gd name="connsiteY934" fmla="*/ 343376 h 514350"/>
                <a:gd name="connsiteX935" fmla="*/ 4607719 w 6400800"/>
                <a:gd name="connsiteY935" fmla="*/ 306229 h 514350"/>
                <a:gd name="connsiteX936" fmla="*/ 4602956 w 6400800"/>
                <a:gd name="connsiteY936" fmla="*/ 290989 h 514350"/>
                <a:gd name="connsiteX937" fmla="*/ 4601051 w 6400800"/>
                <a:gd name="connsiteY937" fmla="*/ 269081 h 514350"/>
                <a:gd name="connsiteX938" fmla="*/ 4599147 w 6400800"/>
                <a:gd name="connsiteY938" fmla="*/ 248126 h 514350"/>
                <a:gd name="connsiteX939" fmla="*/ 4597241 w 6400800"/>
                <a:gd name="connsiteY939" fmla="*/ 269081 h 514350"/>
                <a:gd name="connsiteX940" fmla="*/ 4597241 w 6400800"/>
                <a:gd name="connsiteY940" fmla="*/ 271939 h 514350"/>
                <a:gd name="connsiteX941" fmla="*/ 4589622 w 6400800"/>
                <a:gd name="connsiteY941" fmla="*/ 250031 h 514350"/>
                <a:gd name="connsiteX942" fmla="*/ 4589622 w 6400800"/>
                <a:gd name="connsiteY942" fmla="*/ 240506 h 514350"/>
                <a:gd name="connsiteX943" fmla="*/ 4590574 w 6400800"/>
                <a:gd name="connsiteY943" fmla="*/ 197644 h 514350"/>
                <a:gd name="connsiteX944" fmla="*/ 4590574 w 6400800"/>
                <a:gd name="connsiteY944" fmla="*/ 109061 h 514350"/>
                <a:gd name="connsiteX945" fmla="*/ 4579144 w 6400800"/>
                <a:gd name="connsiteY945" fmla="*/ 197644 h 514350"/>
                <a:gd name="connsiteX946" fmla="*/ 4574381 w 6400800"/>
                <a:gd name="connsiteY946" fmla="*/ 240506 h 514350"/>
                <a:gd name="connsiteX947" fmla="*/ 4573429 w 6400800"/>
                <a:gd name="connsiteY947" fmla="*/ 256699 h 514350"/>
                <a:gd name="connsiteX948" fmla="*/ 4572476 w 6400800"/>
                <a:gd name="connsiteY948" fmla="*/ 257651 h 514350"/>
                <a:gd name="connsiteX949" fmla="*/ 4563904 w 6400800"/>
                <a:gd name="connsiteY949" fmla="*/ 265271 h 514350"/>
                <a:gd name="connsiteX950" fmla="*/ 4563904 w 6400800"/>
                <a:gd name="connsiteY950" fmla="*/ 264319 h 514350"/>
                <a:gd name="connsiteX951" fmla="*/ 4559141 w 6400800"/>
                <a:gd name="connsiteY951" fmla="*/ 255746 h 514350"/>
                <a:gd name="connsiteX952" fmla="*/ 4560094 w 6400800"/>
                <a:gd name="connsiteY952" fmla="*/ 249079 h 514350"/>
                <a:gd name="connsiteX953" fmla="*/ 4576287 w 6400800"/>
                <a:gd name="connsiteY953" fmla="*/ 159544 h 514350"/>
                <a:gd name="connsiteX954" fmla="*/ 4550569 w 6400800"/>
                <a:gd name="connsiteY954" fmla="*/ 243364 h 514350"/>
                <a:gd name="connsiteX955" fmla="*/ 4550569 w 6400800"/>
                <a:gd name="connsiteY955" fmla="*/ 243364 h 514350"/>
                <a:gd name="connsiteX956" fmla="*/ 4550569 w 6400800"/>
                <a:gd name="connsiteY956" fmla="*/ 243364 h 514350"/>
                <a:gd name="connsiteX957" fmla="*/ 4549616 w 6400800"/>
                <a:gd name="connsiteY957" fmla="*/ 246221 h 514350"/>
                <a:gd name="connsiteX958" fmla="*/ 4548664 w 6400800"/>
                <a:gd name="connsiteY958" fmla="*/ 248126 h 514350"/>
                <a:gd name="connsiteX959" fmla="*/ 4548664 w 6400800"/>
                <a:gd name="connsiteY959" fmla="*/ 248126 h 514350"/>
                <a:gd name="connsiteX960" fmla="*/ 4548664 w 6400800"/>
                <a:gd name="connsiteY960" fmla="*/ 248126 h 514350"/>
                <a:gd name="connsiteX961" fmla="*/ 4536281 w 6400800"/>
                <a:gd name="connsiteY961" fmla="*/ 292894 h 514350"/>
                <a:gd name="connsiteX962" fmla="*/ 4531519 w 6400800"/>
                <a:gd name="connsiteY962" fmla="*/ 241459 h 514350"/>
                <a:gd name="connsiteX963" fmla="*/ 4525804 w 6400800"/>
                <a:gd name="connsiteY963" fmla="*/ 303371 h 514350"/>
                <a:gd name="connsiteX964" fmla="*/ 4525804 w 6400800"/>
                <a:gd name="connsiteY964" fmla="*/ 309086 h 514350"/>
                <a:gd name="connsiteX965" fmla="*/ 4524851 w 6400800"/>
                <a:gd name="connsiteY965" fmla="*/ 308134 h 514350"/>
                <a:gd name="connsiteX966" fmla="*/ 4525804 w 6400800"/>
                <a:gd name="connsiteY966" fmla="*/ 310039 h 514350"/>
                <a:gd name="connsiteX967" fmla="*/ 4523899 w 6400800"/>
                <a:gd name="connsiteY967" fmla="*/ 333851 h 514350"/>
                <a:gd name="connsiteX968" fmla="*/ 4523899 w 6400800"/>
                <a:gd name="connsiteY968" fmla="*/ 337661 h 514350"/>
                <a:gd name="connsiteX969" fmla="*/ 4522947 w 6400800"/>
                <a:gd name="connsiteY969" fmla="*/ 339566 h 514350"/>
                <a:gd name="connsiteX970" fmla="*/ 4517231 w 6400800"/>
                <a:gd name="connsiteY970" fmla="*/ 322421 h 514350"/>
                <a:gd name="connsiteX971" fmla="*/ 4514374 w 6400800"/>
                <a:gd name="connsiteY971" fmla="*/ 301466 h 514350"/>
                <a:gd name="connsiteX972" fmla="*/ 4517231 w 6400800"/>
                <a:gd name="connsiteY972" fmla="*/ 297656 h 514350"/>
                <a:gd name="connsiteX973" fmla="*/ 4521041 w 6400800"/>
                <a:gd name="connsiteY973" fmla="*/ 291941 h 514350"/>
                <a:gd name="connsiteX974" fmla="*/ 4516279 w 6400800"/>
                <a:gd name="connsiteY974" fmla="*/ 297656 h 514350"/>
                <a:gd name="connsiteX975" fmla="*/ 4514374 w 6400800"/>
                <a:gd name="connsiteY975" fmla="*/ 300514 h 514350"/>
                <a:gd name="connsiteX976" fmla="*/ 4514374 w 6400800"/>
                <a:gd name="connsiteY976" fmla="*/ 298609 h 514350"/>
                <a:gd name="connsiteX977" fmla="*/ 4517231 w 6400800"/>
                <a:gd name="connsiteY977" fmla="*/ 293846 h 514350"/>
                <a:gd name="connsiteX978" fmla="*/ 4520089 w 6400800"/>
                <a:gd name="connsiteY978" fmla="*/ 288131 h 514350"/>
                <a:gd name="connsiteX979" fmla="*/ 4516279 w 6400800"/>
                <a:gd name="connsiteY979" fmla="*/ 292894 h 514350"/>
                <a:gd name="connsiteX980" fmla="*/ 4514374 w 6400800"/>
                <a:gd name="connsiteY980" fmla="*/ 295751 h 514350"/>
                <a:gd name="connsiteX981" fmla="*/ 4512469 w 6400800"/>
                <a:gd name="connsiteY981" fmla="*/ 281464 h 514350"/>
                <a:gd name="connsiteX982" fmla="*/ 4511516 w 6400800"/>
                <a:gd name="connsiteY982" fmla="*/ 268129 h 514350"/>
                <a:gd name="connsiteX983" fmla="*/ 4510564 w 6400800"/>
                <a:gd name="connsiteY983" fmla="*/ 272891 h 514350"/>
                <a:gd name="connsiteX984" fmla="*/ 4506754 w 6400800"/>
                <a:gd name="connsiteY984" fmla="*/ 250984 h 514350"/>
                <a:gd name="connsiteX985" fmla="*/ 4506754 w 6400800"/>
                <a:gd name="connsiteY985" fmla="*/ 292894 h 514350"/>
                <a:gd name="connsiteX986" fmla="*/ 4501991 w 6400800"/>
                <a:gd name="connsiteY986" fmla="*/ 282416 h 514350"/>
                <a:gd name="connsiteX987" fmla="*/ 4494372 w 6400800"/>
                <a:gd name="connsiteY987" fmla="*/ 267176 h 514350"/>
                <a:gd name="connsiteX988" fmla="*/ 4486751 w 6400800"/>
                <a:gd name="connsiteY988" fmla="*/ 254794 h 514350"/>
                <a:gd name="connsiteX989" fmla="*/ 4480084 w 6400800"/>
                <a:gd name="connsiteY989" fmla="*/ 245269 h 514350"/>
                <a:gd name="connsiteX990" fmla="*/ 4474369 w 6400800"/>
                <a:gd name="connsiteY990" fmla="*/ 238601 h 514350"/>
                <a:gd name="connsiteX991" fmla="*/ 4469606 w 6400800"/>
                <a:gd name="connsiteY991" fmla="*/ 233839 h 514350"/>
                <a:gd name="connsiteX992" fmla="*/ 4471512 w 6400800"/>
                <a:gd name="connsiteY992" fmla="*/ 225266 h 514350"/>
                <a:gd name="connsiteX993" fmla="*/ 4477226 w 6400800"/>
                <a:gd name="connsiteY993" fmla="*/ 198596 h 514350"/>
                <a:gd name="connsiteX994" fmla="*/ 4481037 w 6400800"/>
                <a:gd name="connsiteY994" fmla="*/ 175736 h 514350"/>
                <a:gd name="connsiteX995" fmla="*/ 4473416 w 6400800"/>
                <a:gd name="connsiteY995" fmla="*/ 197644 h 514350"/>
                <a:gd name="connsiteX996" fmla="*/ 4463891 w 6400800"/>
                <a:gd name="connsiteY996" fmla="*/ 222409 h 514350"/>
                <a:gd name="connsiteX997" fmla="*/ 4455319 w 6400800"/>
                <a:gd name="connsiteY997" fmla="*/ 244316 h 514350"/>
                <a:gd name="connsiteX998" fmla="*/ 4453414 w 6400800"/>
                <a:gd name="connsiteY998" fmla="*/ 237649 h 514350"/>
                <a:gd name="connsiteX999" fmla="*/ 4454366 w 6400800"/>
                <a:gd name="connsiteY999" fmla="*/ 247174 h 514350"/>
                <a:gd name="connsiteX1000" fmla="*/ 4451509 w 6400800"/>
                <a:gd name="connsiteY1000" fmla="*/ 253841 h 514350"/>
                <a:gd name="connsiteX1001" fmla="*/ 4436269 w 6400800"/>
                <a:gd name="connsiteY1001" fmla="*/ 289084 h 514350"/>
                <a:gd name="connsiteX1002" fmla="*/ 4435316 w 6400800"/>
                <a:gd name="connsiteY1002" fmla="*/ 287179 h 514350"/>
                <a:gd name="connsiteX1003" fmla="*/ 4438174 w 6400800"/>
                <a:gd name="connsiteY1003" fmla="*/ 274796 h 514350"/>
                <a:gd name="connsiteX1004" fmla="*/ 4444841 w 6400800"/>
                <a:gd name="connsiteY1004" fmla="*/ 247174 h 514350"/>
                <a:gd name="connsiteX1005" fmla="*/ 4454366 w 6400800"/>
                <a:gd name="connsiteY1005" fmla="*/ 195739 h 514350"/>
                <a:gd name="connsiteX1006" fmla="*/ 4460081 w 6400800"/>
                <a:gd name="connsiteY1006" fmla="*/ 151924 h 514350"/>
                <a:gd name="connsiteX1007" fmla="*/ 4461987 w 6400800"/>
                <a:gd name="connsiteY1007" fmla="*/ 133826 h 514350"/>
                <a:gd name="connsiteX1008" fmla="*/ 4462939 w 6400800"/>
                <a:gd name="connsiteY1008" fmla="*/ 118586 h 514350"/>
                <a:gd name="connsiteX1009" fmla="*/ 4463891 w 6400800"/>
                <a:gd name="connsiteY1009" fmla="*/ 89059 h 514350"/>
                <a:gd name="connsiteX1010" fmla="*/ 4458176 w 6400800"/>
                <a:gd name="connsiteY1010" fmla="*/ 118586 h 514350"/>
                <a:gd name="connsiteX1011" fmla="*/ 4455319 w 6400800"/>
                <a:gd name="connsiteY1011" fmla="*/ 133826 h 514350"/>
                <a:gd name="connsiteX1012" fmla="*/ 4451509 w 6400800"/>
                <a:gd name="connsiteY1012" fmla="*/ 151924 h 514350"/>
                <a:gd name="connsiteX1013" fmla="*/ 4441984 w 6400800"/>
                <a:gd name="connsiteY1013" fmla="*/ 194786 h 514350"/>
                <a:gd name="connsiteX1014" fmla="*/ 4428649 w 6400800"/>
                <a:gd name="connsiteY1014" fmla="*/ 245269 h 514350"/>
                <a:gd name="connsiteX1015" fmla="*/ 4421981 w 6400800"/>
                <a:gd name="connsiteY1015" fmla="*/ 269081 h 514350"/>
                <a:gd name="connsiteX1016" fmla="*/ 4414362 w 6400800"/>
                <a:gd name="connsiteY1016" fmla="*/ 258604 h 514350"/>
                <a:gd name="connsiteX1017" fmla="*/ 4394359 w 6400800"/>
                <a:gd name="connsiteY1017" fmla="*/ 230029 h 514350"/>
                <a:gd name="connsiteX1018" fmla="*/ 4387691 w 6400800"/>
                <a:gd name="connsiteY1018" fmla="*/ 221456 h 514350"/>
                <a:gd name="connsiteX1019" fmla="*/ 4395312 w 6400800"/>
                <a:gd name="connsiteY1019" fmla="*/ 180499 h 514350"/>
                <a:gd name="connsiteX1020" fmla="*/ 4382929 w 6400800"/>
                <a:gd name="connsiteY1020" fmla="*/ 215741 h 514350"/>
                <a:gd name="connsiteX1021" fmla="*/ 4375309 w 6400800"/>
                <a:gd name="connsiteY1021" fmla="*/ 206216 h 514350"/>
                <a:gd name="connsiteX1022" fmla="*/ 4381976 w 6400800"/>
                <a:gd name="connsiteY1022" fmla="*/ 218599 h 514350"/>
                <a:gd name="connsiteX1023" fmla="*/ 4369594 w 6400800"/>
                <a:gd name="connsiteY1023" fmla="*/ 259556 h 514350"/>
                <a:gd name="connsiteX1024" fmla="*/ 4368641 w 6400800"/>
                <a:gd name="connsiteY1024" fmla="*/ 241459 h 514350"/>
                <a:gd name="connsiteX1025" fmla="*/ 4366737 w 6400800"/>
                <a:gd name="connsiteY1025" fmla="*/ 263366 h 514350"/>
                <a:gd name="connsiteX1026" fmla="*/ 4365784 w 6400800"/>
                <a:gd name="connsiteY1026" fmla="*/ 274796 h 514350"/>
                <a:gd name="connsiteX1027" fmla="*/ 4362926 w 6400800"/>
                <a:gd name="connsiteY1027" fmla="*/ 285274 h 514350"/>
                <a:gd name="connsiteX1028" fmla="*/ 4362926 w 6400800"/>
                <a:gd name="connsiteY1028" fmla="*/ 282416 h 514350"/>
                <a:gd name="connsiteX1029" fmla="*/ 4361022 w 6400800"/>
                <a:gd name="connsiteY1029" fmla="*/ 261461 h 514350"/>
                <a:gd name="connsiteX1030" fmla="*/ 4359116 w 6400800"/>
                <a:gd name="connsiteY1030" fmla="*/ 283369 h 514350"/>
                <a:gd name="connsiteX1031" fmla="*/ 4359116 w 6400800"/>
                <a:gd name="connsiteY1031" fmla="*/ 290989 h 514350"/>
                <a:gd name="connsiteX1032" fmla="*/ 4357212 w 6400800"/>
                <a:gd name="connsiteY1032" fmla="*/ 295751 h 514350"/>
                <a:gd name="connsiteX1033" fmla="*/ 4351497 w 6400800"/>
                <a:gd name="connsiteY1033" fmla="*/ 284321 h 514350"/>
                <a:gd name="connsiteX1034" fmla="*/ 4351497 w 6400800"/>
                <a:gd name="connsiteY1034" fmla="*/ 257651 h 514350"/>
                <a:gd name="connsiteX1035" fmla="*/ 4351497 w 6400800"/>
                <a:gd name="connsiteY1035" fmla="*/ 238601 h 514350"/>
                <a:gd name="connsiteX1036" fmla="*/ 4349591 w 6400800"/>
                <a:gd name="connsiteY1036" fmla="*/ 221456 h 514350"/>
                <a:gd name="connsiteX1037" fmla="*/ 4345781 w 6400800"/>
                <a:gd name="connsiteY1037" fmla="*/ 194786 h 514350"/>
                <a:gd name="connsiteX1038" fmla="*/ 4342924 w 6400800"/>
                <a:gd name="connsiteY1038" fmla="*/ 170974 h 514350"/>
                <a:gd name="connsiteX1039" fmla="*/ 4341972 w 6400800"/>
                <a:gd name="connsiteY1039" fmla="*/ 194786 h 514350"/>
                <a:gd name="connsiteX1040" fmla="*/ 4341972 w 6400800"/>
                <a:gd name="connsiteY1040" fmla="*/ 217646 h 514350"/>
                <a:gd name="connsiteX1041" fmla="*/ 4340066 w 6400800"/>
                <a:gd name="connsiteY1041" fmla="*/ 205264 h 514350"/>
                <a:gd name="connsiteX1042" fmla="*/ 4339114 w 6400800"/>
                <a:gd name="connsiteY1042" fmla="*/ 226219 h 514350"/>
                <a:gd name="connsiteX1043" fmla="*/ 4338162 w 6400800"/>
                <a:gd name="connsiteY1043" fmla="*/ 250031 h 514350"/>
                <a:gd name="connsiteX1044" fmla="*/ 4338162 w 6400800"/>
                <a:gd name="connsiteY1044" fmla="*/ 252889 h 514350"/>
                <a:gd name="connsiteX1045" fmla="*/ 4337209 w 6400800"/>
                <a:gd name="connsiteY1045" fmla="*/ 250984 h 514350"/>
                <a:gd name="connsiteX1046" fmla="*/ 4318159 w 6400800"/>
                <a:gd name="connsiteY1046" fmla="*/ 196691 h 514350"/>
                <a:gd name="connsiteX1047" fmla="*/ 4289584 w 6400800"/>
                <a:gd name="connsiteY1047" fmla="*/ 116681 h 514350"/>
                <a:gd name="connsiteX1048" fmla="*/ 4278154 w 6400800"/>
                <a:gd name="connsiteY1048" fmla="*/ 86201 h 514350"/>
                <a:gd name="connsiteX1049" fmla="*/ 4285774 w 6400800"/>
                <a:gd name="connsiteY1049" fmla="*/ 117634 h 514350"/>
                <a:gd name="connsiteX1050" fmla="*/ 4307681 w 6400800"/>
                <a:gd name="connsiteY1050" fmla="*/ 199549 h 514350"/>
                <a:gd name="connsiteX1051" fmla="*/ 4334351 w 6400800"/>
                <a:gd name="connsiteY1051" fmla="*/ 295751 h 514350"/>
                <a:gd name="connsiteX1052" fmla="*/ 4334351 w 6400800"/>
                <a:gd name="connsiteY1052" fmla="*/ 296704 h 514350"/>
                <a:gd name="connsiteX1053" fmla="*/ 4334351 w 6400800"/>
                <a:gd name="connsiteY1053" fmla="*/ 294799 h 514350"/>
                <a:gd name="connsiteX1054" fmla="*/ 4334351 w 6400800"/>
                <a:gd name="connsiteY1054" fmla="*/ 301466 h 514350"/>
                <a:gd name="connsiteX1055" fmla="*/ 4333399 w 6400800"/>
                <a:gd name="connsiteY1055" fmla="*/ 315754 h 514350"/>
                <a:gd name="connsiteX1056" fmla="*/ 4329589 w 6400800"/>
                <a:gd name="connsiteY1056" fmla="*/ 344329 h 514350"/>
                <a:gd name="connsiteX1057" fmla="*/ 4328637 w 6400800"/>
                <a:gd name="connsiteY1057" fmla="*/ 343376 h 514350"/>
                <a:gd name="connsiteX1058" fmla="*/ 4326731 w 6400800"/>
                <a:gd name="connsiteY1058" fmla="*/ 340519 h 514350"/>
                <a:gd name="connsiteX1059" fmla="*/ 4325779 w 6400800"/>
                <a:gd name="connsiteY1059" fmla="*/ 333851 h 514350"/>
                <a:gd name="connsiteX1060" fmla="*/ 4315301 w 6400800"/>
                <a:gd name="connsiteY1060" fmla="*/ 267176 h 514350"/>
                <a:gd name="connsiteX1061" fmla="*/ 4301966 w 6400800"/>
                <a:gd name="connsiteY1061" fmla="*/ 202406 h 514350"/>
                <a:gd name="connsiteX1062" fmla="*/ 4303872 w 6400800"/>
                <a:gd name="connsiteY1062" fmla="*/ 268129 h 514350"/>
                <a:gd name="connsiteX1063" fmla="*/ 4303872 w 6400800"/>
                <a:gd name="connsiteY1063" fmla="*/ 274796 h 514350"/>
                <a:gd name="connsiteX1064" fmla="*/ 4301966 w 6400800"/>
                <a:gd name="connsiteY1064" fmla="*/ 290036 h 514350"/>
                <a:gd name="connsiteX1065" fmla="*/ 4300062 w 6400800"/>
                <a:gd name="connsiteY1065" fmla="*/ 300514 h 514350"/>
                <a:gd name="connsiteX1066" fmla="*/ 4288631 w 6400800"/>
                <a:gd name="connsiteY1066" fmla="*/ 286226 h 514350"/>
                <a:gd name="connsiteX1067" fmla="*/ 4299109 w 6400800"/>
                <a:gd name="connsiteY1067" fmla="*/ 305276 h 514350"/>
                <a:gd name="connsiteX1068" fmla="*/ 4296251 w 6400800"/>
                <a:gd name="connsiteY1068" fmla="*/ 323374 h 514350"/>
                <a:gd name="connsiteX1069" fmla="*/ 4292441 w 6400800"/>
                <a:gd name="connsiteY1069" fmla="*/ 346234 h 514350"/>
                <a:gd name="connsiteX1070" fmla="*/ 4290537 w 6400800"/>
                <a:gd name="connsiteY1070" fmla="*/ 343376 h 514350"/>
                <a:gd name="connsiteX1071" fmla="*/ 4288631 w 6400800"/>
                <a:gd name="connsiteY1071" fmla="*/ 308134 h 514350"/>
                <a:gd name="connsiteX1072" fmla="*/ 4281964 w 6400800"/>
                <a:gd name="connsiteY1072" fmla="*/ 231934 h 514350"/>
                <a:gd name="connsiteX1073" fmla="*/ 4277201 w 6400800"/>
                <a:gd name="connsiteY1073" fmla="*/ 309086 h 514350"/>
                <a:gd name="connsiteX1074" fmla="*/ 4277201 w 6400800"/>
                <a:gd name="connsiteY1074" fmla="*/ 318611 h 514350"/>
                <a:gd name="connsiteX1075" fmla="*/ 4273391 w 6400800"/>
                <a:gd name="connsiteY1075" fmla="*/ 310039 h 514350"/>
                <a:gd name="connsiteX1076" fmla="*/ 4272439 w 6400800"/>
                <a:gd name="connsiteY1076" fmla="*/ 303371 h 514350"/>
                <a:gd name="connsiteX1077" fmla="*/ 4270534 w 6400800"/>
                <a:gd name="connsiteY1077" fmla="*/ 273844 h 514350"/>
                <a:gd name="connsiteX1078" fmla="*/ 4269581 w 6400800"/>
                <a:gd name="connsiteY1078" fmla="*/ 260509 h 514350"/>
                <a:gd name="connsiteX1079" fmla="*/ 4269581 w 6400800"/>
                <a:gd name="connsiteY1079" fmla="*/ 255746 h 514350"/>
                <a:gd name="connsiteX1080" fmla="*/ 4270534 w 6400800"/>
                <a:gd name="connsiteY1080" fmla="*/ 234791 h 514350"/>
                <a:gd name="connsiteX1081" fmla="*/ 4273391 w 6400800"/>
                <a:gd name="connsiteY1081" fmla="*/ 155734 h 514350"/>
                <a:gd name="connsiteX1082" fmla="*/ 4259104 w 6400800"/>
                <a:gd name="connsiteY1082" fmla="*/ 233839 h 514350"/>
                <a:gd name="connsiteX1083" fmla="*/ 4253389 w 6400800"/>
                <a:gd name="connsiteY1083" fmla="*/ 271939 h 514350"/>
                <a:gd name="connsiteX1084" fmla="*/ 4252437 w 6400800"/>
                <a:gd name="connsiteY1084" fmla="*/ 270034 h 514350"/>
                <a:gd name="connsiteX1085" fmla="*/ 4253389 w 6400800"/>
                <a:gd name="connsiteY1085" fmla="*/ 262414 h 514350"/>
                <a:gd name="connsiteX1086" fmla="*/ 4255294 w 6400800"/>
                <a:gd name="connsiteY1086" fmla="*/ 240506 h 514350"/>
                <a:gd name="connsiteX1087" fmla="*/ 4249579 w 6400800"/>
                <a:gd name="connsiteY1087" fmla="*/ 262414 h 514350"/>
                <a:gd name="connsiteX1088" fmla="*/ 4248626 w 6400800"/>
                <a:gd name="connsiteY1088" fmla="*/ 264319 h 514350"/>
                <a:gd name="connsiteX1089" fmla="*/ 4246722 w 6400800"/>
                <a:gd name="connsiteY1089" fmla="*/ 261461 h 514350"/>
                <a:gd name="connsiteX1090" fmla="*/ 4244816 w 6400800"/>
                <a:gd name="connsiteY1090" fmla="*/ 257651 h 514350"/>
                <a:gd name="connsiteX1091" fmla="*/ 4244816 w 6400800"/>
                <a:gd name="connsiteY1091" fmla="*/ 251936 h 514350"/>
                <a:gd name="connsiteX1092" fmla="*/ 4243864 w 6400800"/>
                <a:gd name="connsiteY1092" fmla="*/ 256699 h 514350"/>
                <a:gd name="connsiteX1093" fmla="*/ 4240054 w 6400800"/>
                <a:gd name="connsiteY1093" fmla="*/ 251936 h 514350"/>
                <a:gd name="connsiteX1094" fmla="*/ 4229576 w 6400800"/>
                <a:gd name="connsiteY1094" fmla="*/ 235744 h 514350"/>
                <a:gd name="connsiteX1095" fmla="*/ 4220051 w 6400800"/>
                <a:gd name="connsiteY1095" fmla="*/ 222409 h 514350"/>
                <a:gd name="connsiteX1096" fmla="*/ 4226719 w 6400800"/>
                <a:gd name="connsiteY1096" fmla="*/ 237649 h 514350"/>
                <a:gd name="connsiteX1097" fmla="*/ 4234339 w 6400800"/>
                <a:gd name="connsiteY1097" fmla="*/ 254794 h 514350"/>
                <a:gd name="connsiteX1098" fmla="*/ 4236244 w 6400800"/>
                <a:gd name="connsiteY1098" fmla="*/ 258604 h 514350"/>
                <a:gd name="connsiteX1099" fmla="*/ 4231481 w 6400800"/>
                <a:gd name="connsiteY1099" fmla="*/ 251936 h 514350"/>
                <a:gd name="connsiteX1100" fmla="*/ 4220051 w 6400800"/>
                <a:gd name="connsiteY1100" fmla="*/ 237649 h 514350"/>
                <a:gd name="connsiteX1101" fmla="*/ 4202906 w 6400800"/>
                <a:gd name="connsiteY1101" fmla="*/ 219551 h 514350"/>
                <a:gd name="connsiteX1102" fmla="*/ 4196239 w 6400800"/>
                <a:gd name="connsiteY1102" fmla="*/ 213836 h 514350"/>
                <a:gd name="connsiteX1103" fmla="*/ 4201954 w 6400800"/>
                <a:gd name="connsiteY1103" fmla="*/ 220504 h 514350"/>
                <a:gd name="connsiteX1104" fmla="*/ 4216241 w 6400800"/>
                <a:gd name="connsiteY1104" fmla="*/ 240506 h 514350"/>
                <a:gd name="connsiteX1105" fmla="*/ 4225766 w 6400800"/>
                <a:gd name="connsiteY1105" fmla="*/ 255746 h 514350"/>
                <a:gd name="connsiteX1106" fmla="*/ 4235291 w 6400800"/>
                <a:gd name="connsiteY1106" fmla="*/ 273844 h 514350"/>
                <a:gd name="connsiteX1107" fmla="*/ 4235291 w 6400800"/>
                <a:gd name="connsiteY1107" fmla="*/ 274796 h 514350"/>
                <a:gd name="connsiteX1108" fmla="*/ 4235291 w 6400800"/>
                <a:gd name="connsiteY1108" fmla="*/ 282416 h 514350"/>
                <a:gd name="connsiteX1109" fmla="*/ 4234339 w 6400800"/>
                <a:gd name="connsiteY1109" fmla="*/ 281464 h 514350"/>
                <a:gd name="connsiteX1110" fmla="*/ 4229576 w 6400800"/>
                <a:gd name="connsiteY1110" fmla="*/ 276701 h 514350"/>
                <a:gd name="connsiteX1111" fmla="*/ 4233387 w 6400800"/>
                <a:gd name="connsiteY1111" fmla="*/ 282416 h 514350"/>
                <a:gd name="connsiteX1112" fmla="*/ 4235291 w 6400800"/>
                <a:gd name="connsiteY1112" fmla="*/ 284321 h 514350"/>
                <a:gd name="connsiteX1113" fmla="*/ 4235291 w 6400800"/>
                <a:gd name="connsiteY1113" fmla="*/ 285274 h 514350"/>
                <a:gd name="connsiteX1114" fmla="*/ 4229576 w 6400800"/>
                <a:gd name="connsiteY1114" fmla="*/ 310039 h 514350"/>
                <a:gd name="connsiteX1115" fmla="*/ 4222909 w 6400800"/>
                <a:gd name="connsiteY1115" fmla="*/ 295751 h 514350"/>
                <a:gd name="connsiteX1116" fmla="*/ 4228624 w 6400800"/>
                <a:gd name="connsiteY1116" fmla="*/ 316706 h 514350"/>
                <a:gd name="connsiteX1117" fmla="*/ 4226719 w 6400800"/>
                <a:gd name="connsiteY1117" fmla="*/ 327184 h 514350"/>
                <a:gd name="connsiteX1118" fmla="*/ 4223862 w 6400800"/>
                <a:gd name="connsiteY1118" fmla="*/ 341471 h 514350"/>
                <a:gd name="connsiteX1119" fmla="*/ 4222909 w 6400800"/>
                <a:gd name="connsiteY1119" fmla="*/ 334804 h 514350"/>
                <a:gd name="connsiteX1120" fmla="*/ 4219099 w 6400800"/>
                <a:gd name="connsiteY1120" fmla="*/ 311944 h 514350"/>
                <a:gd name="connsiteX1121" fmla="*/ 4219099 w 6400800"/>
                <a:gd name="connsiteY1121" fmla="*/ 331946 h 514350"/>
                <a:gd name="connsiteX1122" fmla="*/ 4217194 w 6400800"/>
                <a:gd name="connsiteY1122" fmla="*/ 322421 h 514350"/>
                <a:gd name="connsiteX1123" fmla="*/ 4198144 w 6400800"/>
                <a:gd name="connsiteY1123" fmla="*/ 240506 h 514350"/>
                <a:gd name="connsiteX1124" fmla="*/ 4205764 w 6400800"/>
                <a:gd name="connsiteY1124" fmla="*/ 323374 h 514350"/>
                <a:gd name="connsiteX1125" fmla="*/ 4210526 w 6400800"/>
                <a:gd name="connsiteY1125" fmla="*/ 364331 h 514350"/>
                <a:gd name="connsiteX1126" fmla="*/ 4210526 w 6400800"/>
                <a:gd name="connsiteY1126" fmla="*/ 363379 h 514350"/>
                <a:gd name="connsiteX1127" fmla="*/ 4206716 w 6400800"/>
                <a:gd name="connsiteY1127" fmla="*/ 350044 h 514350"/>
                <a:gd name="connsiteX1128" fmla="*/ 4202906 w 6400800"/>
                <a:gd name="connsiteY1128" fmla="*/ 338614 h 514350"/>
                <a:gd name="connsiteX1129" fmla="*/ 4202906 w 6400800"/>
                <a:gd name="connsiteY1129" fmla="*/ 350996 h 514350"/>
                <a:gd name="connsiteX1130" fmla="*/ 4202906 w 6400800"/>
                <a:gd name="connsiteY1130" fmla="*/ 365284 h 514350"/>
                <a:gd name="connsiteX1131" fmla="*/ 4202906 w 6400800"/>
                <a:gd name="connsiteY1131" fmla="*/ 373856 h 514350"/>
                <a:gd name="connsiteX1132" fmla="*/ 4202906 w 6400800"/>
                <a:gd name="connsiteY1132" fmla="*/ 380524 h 514350"/>
                <a:gd name="connsiteX1133" fmla="*/ 4201954 w 6400800"/>
                <a:gd name="connsiteY1133" fmla="*/ 378619 h 514350"/>
                <a:gd name="connsiteX1134" fmla="*/ 4201001 w 6400800"/>
                <a:gd name="connsiteY1134" fmla="*/ 361474 h 514350"/>
                <a:gd name="connsiteX1135" fmla="*/ 4196239 w 6400800"/>
                <a:gd name="connsiteY1135" fmla="*/ 290989 h 514350"/>
                <a:gd name="connsiteX1136" fmla="*/ 4191476 w 6400800"/>
                <a:gd name="connsiteY1136" fmla="*/ 343376 h 514350"/>
                <a:gd name="connsiteX1137" fmla="*/ 4188619 w 6400800"/>
                <a:gd name="connsiteY1137" fmla="*/ 335756 h 514350"/>
                <a:gd name="connsiteX1138" fmla="*/ 4181951 w 6400800"/>
                <a:gd name="connsiteY1138" fmla="*/ 319564 h 514350"/>
                <a:gd name="connsiteX1139" fmla="*/ 4180999 w 6400800"/>
                <a:gd name="connsiteY1139" fmla="*/ 316706 h 514350"/>
                <a:gd name="connsiteX1140" fmla="*/ 4180999 w 6400800"/>
                <a:gd name="connsiteY1140" fmla="*/ 256699 h 514350"/>
                <a:gd name="connsiteX1141" fmla="*/ 4180999 w 6400800"/>
                <a:gd name="connsiteY1141" fmla="*/ 230029 h 514350"/>
                <a:gd name="connsiteX1142" fmla="*/ 4177189 w 6400800"/>
                <a:gd name="connsiteY1142" fmla="*/ 256699 h 514350"/>
                <a:gd name="connsiteX1143" fmla="*/ 4175284 w 6400800"/>
                <a:gd name="connsiteY1143" fmla="*/ 270034 h 514350"/>
                <a:gd name="connsiteX1144" fmla="*/ 4174331 w 6400800"/>
                <a:gd name="connsiteY1144" fmla="*/ 251936 h 514350"/>
                <a:gd name="connsiteX1145" fmla="*/ 4168616 w 6400800"/>
                <a:gd name="connsiteY1145" fmla="*/ 176689 h 514350"/>
                <a:gd name="connsiteX1146" fmla="*/ 4162901 w 6400800"/>
                <a:gd name="connsiteY1146" fmla="*/ 251936 h 514350"/>
                <a:gd name="connsiteX1147" fmla="*/ 4160996 w 6400800"/>
                <a:gd name="connsiteY1147" fmla="*/ 287179 h 514350"/>
                <a:gd name="connsiteX1148" fmla="*/ 4154329 w 6400800"/>
                <a:gd name="connsiteY1148" fmla="*/ 303371 h 514350"/>
                <a:gd name="connsiteX1149" fmla="*/ 4146709 w 6400800"/>
                <a:gd name="connsiteY1149" fmla="*/ 280511 h 514350"/>
                <a:gd name="connsiteX1150" fmla="*/ 4140041 w 6400800"/>
                <a:gd name="connsiteY1150" fmla="*/ 246221 h 514350"/>
                <a:gd name="connsiteX1151" fmla="*/ 4133374 w 6400800"/>
                <a:gd name="connsiteY1151" fmla="*/ 224314 h 514350"/>
                <a:gd name="connsiteX1152" fmla="*/ 4134326 w 6400800"/>
                <a:gd name="connsiteY1152" fmla="*/ 230029 h 514350"/>
                <a:gd name="connsiteX1153" fmla="*/ 4136231 w 6400800"/>
                <a:gd name="connsiteY1153" fmla="*/ 247174 h 514350"/>
                <a:gd name="connsiteX1154" fmla="*/ 4136231 w 6400800"/>
                <a:gd name="connsiteY1154" fmla="*/ 250031 h 514350"/>
                <a:gd name="connsiteX1155" fmla="*/ 4118134 w 6400800"/>
                <a:gd name="connsiteY1155" fmla="*/ 197644 h 514350"/>
                <a:gd name="connsiteX1156" fmla="*/ 4093369 w 6400800"/>
                <a:gd name="connsiteY1156" fmla="*/ 121444 h 514350"/>
                <a:gd name="connsiteX1157" fmla="*/ 4083844 w 6400800"/>
                <a:gd name="connsiteY1157" fmla="*/ 92869 h 514350"/>
                <a:gd name="connsiteX1158" fmla="*/ 4089559 w 6400800"/>
                <a:gd name="connsiteY1158" fmla="*/ 122396 h 514350"/>
                <a:gd name="connsiteX1159" fmla="*/ 4106704 w 6400800"/>
                <a:gd name="connsiteY1159" fmla="*/ 200501 h 514350"/>
                <a:gd name="connsiteX1160" fmla="*/ 4119086 w 6400800"/>
                <a:gd name="connsiteY1160" fmla="*/ 248126 h 514350"/>
                <a:gd name="connsiteX1161" fmla="*/ 4117181 w 6400800"/>
                <a:gd name="connsiteY1161" fmla="*/ 262414 h 514350"/>
                <a:gd name="connsiteX1162" fmla="*/ 4114324 w 6400800"/>
                <a:gd name="connsiteY1162" fmla="*/ 290036 h 514350"/>
                <a:gd name="connsiteX1163" fmla="*/ 4110514 w 6400800"/>
                <a:gd name="connsiteY1163" fmla="*/ 284321 h 514350"/>
                <a:gd name="connsiteX1164" fmla="*/ 4114324 w 6400800"/>
                <a:gd name="connsiteY1164" fmla="*/ 269081 h 514350"/>
                <a:gd name="connsiteX1165" fmla="*/ 4108609 w 6400800"/>
                <a:gd name="connsiteY1165" fmla="*/ 282416 h 514350"/>
                <a:gd name="connsiteX1166" fmla="*/ 4102894 w 6400800"/>
                <a:gd name="connsiteY1166" fmla="*/ 273844 h 514350"/>
                <a:gd name="connsiteX1167" fmla="*/ 4096226 w 6400800"/>
                <a:gd name="connsiteY1167" fmla="*/ 263366 h 514350"/>
                <a:gd name="connsiteX1168" fmla="*/ 4097179 w 6400800"/>
                <a:gd name="connsiteY1168" fmla="*/ 262414 h 514350"/>
                <a:gd name="connsiteX1169" fmla="*/ 4096226 w 6400800"/>
                <a:gd name="connsiteY1169" fmla="*/ 263366 h 514350"/>
                <a:gd name="connsiteX1170" fmla="*/ 4090511 w 6400800"/>
                <a:gd name="connsiteY1170" fmla="*/ 253841 h 514350"/>
                <a:gd name="connsiteX1171" fmla="*/ 4090511 w 6400800"/>
                <a:gd name="connsiteY1171" fmla="*/ 252889 h 514350"/>
                <a:gd name="connsiteX1172" fmla="*/ 4090511 w 6400800"/>
                <a:gd name="connsiteY1172" fmla="*/ 238601 h 514350"/>
                <a:gd name="connsiteX1173" fmla="*/ 4090511 w 6400800"/>
                <a:gd name="connsiteY1173" fmla="*/ 215741 h 514350"/>
                <a:gd name="connsiteX1174" fmla="*/ 4089559 w 6400800"/>
                <a:gd name="connsiteY1174" fmla="*/ 195739 h 514350"/>
                <a:gd name="connsiteX1175" fmla="*/ 4086701 w 6400800"/>
                <a:gd name="connsiteY1175" fmla="*/ 214789 h 514350"/>
                <a:gd name="connsiteX1176" fmla="*/ 4083844 w 6400800"/>
                <a:gd name="connsiteY1176" fmla="*/ 236696 h 514350"/>
                <a:gd name="connsiteX1177" fmla="*/ 4083844 w 6400800"/>
                <a:gd name="connsiteY1177" fmla="*/ 239554 h 514350"/>
                <a:gd name="connsiteX1178" fmla="*/ 4081939 w 6400800"/>
                <a:gd name="connsiteY1178" fmla="*/ 236696 h 514350"/>
                <a:gd name="connsiteX1179" fmla="*/ 4081939 w 6400800"/>
                <a:gd name="connsiteY1179" fmla="*/ 234791 h 514350"/>
                <a:gd name="connsiteX1180" fmla="*/ 4081939 w 6400800"/>
                <a:gd name="connsiteY1180" fmla="*/ 210026 h 514350"/>
                <a:gd name="connsiteX1181" fmla="*/ 4081939 w 6400800"/>
                <a:gd name="connsiteY1181" fmla="*/ 188119 h 514350"/>
                <a:gd name="connsiteX1182" fmla="*/ 4078129 w 6400800"/>
                <a:gd name="connsiteY1182" fmla="*/ 210026 h 514350"/>
                <a:gd name="connsiteX1183" fmla="*/ 4075271 w 6400800"/>
                <a:gd name="connsiteY1183" fmla="*/ 227171 h 514350"/>
                <a:gd name="connsiteX1184" fmla="*/ 4059079 w 6400800"/>
                <a:gd name="connsiteY1184" fmla="*/ 202406 h 514350"/>
                <a:gd name="connsiteX1185" fmla="*/ 4073366 w 6400800"/>
                <a:gd name="connsiteY1185" fmla="*/ 236696 h 514350"/>
                <a:gd name="connsiteX1186" fmla="*/ 4071461 w 6400800"/>
                <a:gd name="connsiteY1186" fmla="*/ 250984 h 514350"/>
                <a:gd name="connsiteX1187" fmla="*/ 4067651 w 6400800"/>
                <a:gd name="connsiteY1187" fmla="*/ 268129 h 514350"/>
                <a:gd name="connsiteX1188" fmla="*/ 4064794 w 6400800"/>
                <a:gd name="connsiteY1188" fmla="*/ 279559 h 514350"/>
                <a:gd name="connsiteX1189" fmla="*/ 4061936 w 6400800"/>
                <a:gd name="connsiteY1189" fmla="*/ 253841 h 514350"/>
                <a:gd name="connsiteX1190" fmla="*/ 4054316 w 6400800"/>
                <a:gd name="connsiteY1190" fmla="*/ 207169 h 514350"/>
                <a:gd name="connsiteX1191" fmla="*/ 4050506 w 6400800"/>
                <a:gd name="connsiteY1191" fmla="*/ 186214 h 514350"/>
                <a:gd name="connsiteX1192" fmla="*/ 4046696 w 6400800"/>
                <a:gd name="connsiteY1192" fmla="*/ 168116 h 514350"/>
                <a:gd name="connsiteX1193" fmla="*/ 4040029 w 6400800"/>
                <a:gd name="connsiteY1193" fmla="*/ 137636 h 514350"/>
                <a:gd name="connsiteX1194" fmla="*/ 4034314 w 6400800"/>
                <a:gd name="connsiteY1194" fmla="*/ 111919 h 514350"/>
                <a:gd name="connsiteX1195" fmla="*/ 4036219 w 6400800"/>
                <a:gd name="connsiteY1195" fmla="*/ 138589 h 514350"/>
                <a:gd name="connsiteX1196" fmla="*/ 4039076 w 6400800"/>
                <a:gd name="connsiteY1196" fmla="*/ 169069 h 514350"/>
                <a:gd name="connsiteX1197" fmla="*/ 4042886 w 6400800"/>
                <a:gd name="connsiteY1197" fmla="*/ 208121 h 514350"/>
                <a:gd name="connsiteX1198" fmla="*/ 4044791 w 6400800"/>
                <a:gd name="connsiteY1198" fmla="*/ 238601 h 514350"/>
                <a:gd name="connsiteX1199" fmla="*/ 4031456 w 6400800"/>
                <a:gd name="connsiteY1199" fmla="*/ 170021 h 514350"/>
                <a:gd name="connsiteX1200" fmla="*/ 4036219 w 6400800"/>
                <a:gd name="connsiteY1200" fmla="*/ 252889 h 514350"/>
                <a:gd name="connsiteX1201" fmla="*/ 4037171 w 6400800"/>
                <a:gd name="connsiteY1201" fmla="*/ 264319 h 514350"/>
                <a:gd name="connsiteX1202" fmla="*/ 4035266 w 6400800"/>
                <a:gd name="connsiteY1202" fmla="*/ 271939 h 514350"/>
                <a:gd name="connsiteX1203" fmla="*/ 4030504 w 6400800"/>
                <a:gd name="connsiteY1203" fmla="*/ 266224 h 514350"/>
                <a:gd name="connsiteX1204" fmla="*/ 4023836 w 6400800"/>
                <a:gd name="connsiteY1204" fmla="*/ 258604 h 514350"/>
                <a:gd name="connsiteX1205" fmla="*/ 4009549 w 6400800"/>
                <a:gd name="connsiteY1205" fmla="*/ 229076 h 514350"/>
                <a:gd name="connsiteX1206" fmla="*/ 3996214 w 6400800"/>
                <a:gd name="connsiteY1206" fmla="*/ 203359 h 514350"/>
                <a:gd name="connsiteX1207" fmla="*/ 4005739 w 6400800"/>
                <a:gd name="connsiteY1207" fmla="*/ 230981 h 514350"/>
                <a:gd name="connsiteX1208" fmla="*/ 4014311 w 6400800"/>
                <a:gd name="connsiteY1208" fmla="*/ 255746 h 514350"/>
                <a:gd name="connsiteX1209" fmla="*/ 4007644 w 6400800"/>
                <a:gd name="connsiteY1209" fmla="*/ 243364 h 514350"/>
                <a:gd name="connsiteX1210" fmla="*/ 4015264 w 6400800"/>
                <a:gd name="connsiteY1210" fmla="*/ 267176 h 514350"/>
                <a:gd name="connsiteX1211" fmla="*/ 4024789 w 6400800"/>
                <a:gd name="connsiteY1211" fmla="*/ 294799 h 514350"/>
                <a:gd name="connsiteX1212" fmla="*/ 4026694 w 6400800"/>
                <a:gd name="connsiteY1212" fmla="*/ 301466 h 514350"/>
                <a:gd name="connsiteX1213" fmla="*/ 4017169 w 6400800"/>
                <a:gd name="connsiteY1213" fmla="*/ 329089 h 514350"/>
                <a:gd name="connsiteX1214" fmla="*/ 4016216 w 6400800"/>
                <a:gd name="connsiteY1214" fmla="*/ 328136 h 514350"/>
                <a:gd name="connsiteX1215" fmla="*/ 4005739 w 6400800"/>
                <a:gd name="connsiteY1215" fmla="*/ 320516 h 514350"/>
                <a:gd name="connsiteX1216" fmla="*/ 4005739 w 6400800"/>
                <a:gd name="connsiteY1216" fmla="*/ 318611 h 514350"/>
                <a:gd name="connsiteX1217" fmla="*/ 4004786 w 6400800"/>
                <a:gd name="connsiteY1217" fmla="*/ 310991 h 514350"/>
                <a:gd name="connsiteX1218" fmla="*/ 4002881 w 6400800"/>
                <a:gd name="connsiteY1218" fmla="*/ 269081 h 514350"/>
                <a:gd name="connsiteX1219" fmla="*/ 4000024 w 6400800"/>
                <a:gd name="connsiteY1219" fmla="*/ 284321 h 514350"/>
                <a:gd name="connsiteX1220" fmla="*/ 3993356 w 6400800"/>
                <a:gd name="connsiteY1220" fmla="*/ 248126 h 514350"/>
                <a:gd name="connsiteX1221" fmla="*/ 3993356 w 6400800"/>
                <a:gd name="connsiteY1221" fmla="*/ 286226 h 514350"/>
                <a:gd name="connsiteX1222" fmla="*/ 3992404 w 6400800"/>
                <a:gd name="connsiteY1222" fmla="*/ 286226 h 514350"/>
                <a:gd name="connsiteX1223" fmla="*/ 3990499 w 6400800"/>
                <a:gd name="connsiteY1223" fmla="*/ 287179 h 514350"/>
                <a:gd name="connsiteX1224" fmla="*/ 3985736 w 6400800"/>
                <a:gd name="connsiteY1224" fmla="*/ 292894 h 514350"/>
                <a:gd name="connsiteX1225" fmla="*/ 3985736 w 6400800"/>
                <a:gd name="connsiteY1225" fmla="*/ 292894 h 514350"/>
                <a:gd name="connsiteX1226" fmla="*/ 3985736 w 6400800"/>
                <a:gd name="connsiteY1226" fmla="*/ 293846 h 514350"/>
                <a:gd name="connsiteX1227" fmla="*/ 3983831 w 6400800"/>
                <a:gd name="connsiteY1227" fmla="*/ 313849 h 514350"/>
                <a:gd name="connsiteX1228" fmla="*/ 3978116 w 6400800"/>
                <a:gd name="connsiteY1228" fmla="*/ 303371 h 514350"/>
                <a:gd name="connsiteX1229" fmla="*/ 3987641 w 6400800"/>
                <a:gd name="connsiteY1229" fmla="*/ 272891 h 514350"/>
                <a:gd name="connsiteX1230" fmla="*/ 3976211 w 6400800"/>
                <a:gd name="connsiteY1230" fmla="*/ 298609 h 514350"/>
                <a:gd name="connsiteX1231" fmla="*/ 3973354 w 6400800"/>
                <a:gd name="connsiteY1231" fmla="*/ 293846 h 514350"/>
                <a:gd name="connsiteX1232" fmla="*/ 3973354 w 6400800"/>
                <a:gd name="connsiteY1232" fmla="*/ 288131 h 514350"/>
                <a:gd name="connsiteX1233" fmla="*/ 3973354 w 6400800"/>
                <a:gd name="connsiteY1233" fmla="*/ 287179 h 514350"/>
                <a:gd name="connsiteX1234" fmla="*/ 3977164 w 6400800"/>
                <a:gd name="connsiteY1234" fmla="*/ 278606 h 514350"/>
                <a:gd name="connsiteX1235" fmla="*/ 3980974 w 6400800"/>
                <a:gd name="connsiteY1235" fmla="*/ 270986 h 514350"/>
                <a:gd name="connsiteX1236" fmla="*/ 3976211 w 6400800"/>
                <a:gd name="connsiteY1236" fmla="*/ 277654 h 514350"/>
                <a:gd name="connsiteX1237" fmla="*/ 3973354 w 6400800"/>
                <a:gd name="connsiteY1237" fmla="*/ 282416 h 514350"/>
                <a:gd name="connsiteX1238" fmla="*/ 3974306 w 6400800"/>
                <a:gd name="connsiteY1238" fmla="*/ 254794 h 514350"/>
                <a:gd name="connsiteX1239" fmla="*/ 3975259 w 6400800"/>
                <a:gd name="connsiteY1239" fmla="*/ 230029 h 514350"/>
                <a:gd name="connsiteX1240" fmla="*/ 3970496 w 6400800"/>
                <a:gd name="connsiteY1240" fmla="*/ 254794 h 514350"/>
                <a:gd name="connsiteX1241" fmla="*/ 3965734 w 6400800"/>
                <a:gd name="connsiteY1241" fmla="*/ 281464 h 514350"/>
                <a:gd name="connsiteX1242" fmla="*/ 3961924 w 6400800"/>
                <a:gd name="connsiteY1242" fmla="*/ 274796 h 514350"/>
                <a:gd name="connsiteX1243" fmla="*/ 3962876 w 6400800"/>
                <a:gd name="connsiteY1243" fmla="*/ 269081 h 514350"/>
                <a:gd name="connsiteX1244" fmla="*/ 3966686 w 6400800"/>
                <a:gd name="connsiteY1244" fmla="*/ 245269 h 514350"/>
                <a:gd name="connsiteX1245" fmla="*/ 3959066 w 6400800"/>
                <a:gd name="connsiteY1245" fmla="*/ 268129 h 514350"/>
                <a:gd name="connsiteX1246" fmla="*/ 3959066 w 6400800"/>
                <a:gd name="connsiteY1246" fmla="*/ 269081 h 514350"/>
                <a:gd name="connsiteX1247" fmla="*/ 3958114 w 6400800"/>
                <a:gd name="connsiteY1247" fmla="*/ 267176 h 514350"/>
                <a:gd name="connsiteX1248" fmla="*/ 3958114 w 6400800"/>
                <a:gd name="connsiteY1248" fmla="*/ 269081 h 514350"/>
                <a:gd name="connsiteX1249" fmla="*/ 3955256 w 6400800"/>
                <a:gd name="connsiteY1249" fmla="*/ 264319 h 514350"/>
                <a:gd name="connsiteX1250" fmla="*/ 3954304 w 6400800"/>
                <a:gd name="connsiteY1250" fmla="*/ 247174 h 514350"/>
                <a:gd name="connsiteX1251" fmla="*/ 3951446 w 6400800"/>
                <a:gd name="connsiteY1251" fmla="*/ 214789 h 514350"/>
                <a:gd name="connsiteX1252" fmla="*/ 3947636 w 6400800"/>
                <a:gd name="connsiteY1252" fmla="*/ 190024 h 514350"/>
                <a:gd name="connsiteX1253" fmla="*/ 3943826 w 6400800"/>
                <a:gd name="connsiteY1253" fmla="*/ 169069 h 514350"/>
                <a:gd name="connsiteX1254" fmla="*/ 3943826 w 6400800"/>
                <a:gd name="connsiteY1254" fmla="*/ 190024 h 514350"/>
                <a:gd name="connsiteX1255" fmla="*/ 3943826 w 6400800"/>
                <a:gd name="connsiteY1255" fmla="*/ 214789 h 514350"/>
                <a:gd name="connsiteX1256" fmla="*/ 3943826 w 6400800"/>
                <a:gd name="connsiteY1256" fmla="*/ 225266 h 514350"/>
                <a:gd name="connsiteX1257" fmla="*/ 3940969 w 6400800"/>
                <a:gd name="connsiteY1257" fmla="*/ 215741 h 514350"/>
                <a:gd name="connsiteX1258" fmla="*/ 3939064 w 6400800"/>
                <a:gd name="connsiteY1258" fmla="*/ 207169 h 514350"/>
                <a:gd name="connsiteX1259" fmla="*/ 3940016 w 6400800"/>
                <a:gd name="connsiteY1259" fmla="*/ 205264 h 514350"/>
                <a:gd name="connsiteX1260" fmla="*/ 3939064 w 6400800"/>
                <a:gd name="connsiteY1260" fmla="*/ 206216 h 514350"/>
                <a:gd name="connsiteX1261" fmla="*/ 3936206 w 6400800"/>
                <a:gd name="connsiteY1261" fmla="*/ 197644 h 514350"/>
                <a:gd name="connsiteX1262" fmla="*/ 3937159 w 6400800"/>
                <a:gd name="connsiteY1262" fmla="*/ 208121 h 514350"/>
                <a:gd name="connsiteX1263" fmla="*/ 3929539 w 6400800"/>
                <a:gd name="connsiteY1263" fmla="*/ 216694 h 514350"/>
                <a:gd name="connsiteX1264" fmla="*/ 3925729 w 6400800"/>
                <a:gd name="connsiteY1264" fmla="*/ 197644 h 514350"/>
                <a:gd name="connsiteX1265" fmla="*/ 3916204 w 6400800"/>
                <a:gd name="connsiteY1265" fmla="*/ 158591 h 514350"/>
                <a:gd name="connsiteX1266" fmla="*/ 3912394 w 6400800"/>
                <a:gd name="connsiteY1266" fmla="*/ 144304 h 514350"/>
                <a:gd name="connsiteX1267" fmla="*/ 3915251 w 6400800"/>
                <a:gd name="connsiteY1267" fmla="*/ 139541 h 514350"/>
                <a:gd name="connsiteX1268" fmla="*/ 3935254 w 6400800"/>
                <a:gd name="connsiteY1268" fmla="*/ 110966 h 514350"/>
                <a:gd name="connsiteX1269" fmla="*/ 3912394 w 6400800"/>
                <a:gd name="connsiteY1269" fmla="*/ 136684 h 514350"/>
                <a:gd name="connsiteX1270" fmla="*/ 3910489 w 6400800"/>
                <a:gd name="connsiteY1270" fmla="*/ 138589 h 514350"/>
                <a:gd name="connsiteX1271" fmla="*/ 3906679 w 6400800"/>
                <a:gd name="connsiteY1271" fmla="*/ 128111 h 514350"/>
                <a:gd name="connsiteX1272" fmla="*/ 3898106 w 6400800"/>
                <a:gd name="connsiteY1272" fmla="*/ 102394 h 514350"/>
                <a:gd name="connsiteX1273" fmla="*/ 3902869 w 6400800"/>
                <a:gd name="connsiteY1273" fmla="*/ 129064 h 514350"/>
                <a:gd name="connsiteX1274" fmla="*/ 3905726 w 6400800"/>
                <a:gd name="connsiteY1274" fmla="*/ 143351 h 514350"/>
                <a:gd name="connsiteX1275" fmla="*/ 3905726 w 6400800"/>
                <a:gd name="connsiteY1275" fmla="*/ 143351 h 514350"/>
                <a:gd name="connsiteX1276" fmla="*/ 3887629 w 6400800"/>
                <a:gd name="connsiteY1276" fmla="*/ 167164 h 514350"/>
                <a:gd name="connsiteX1277" fmla="*/ 3866674 w 6400800"/>
                <a:gd name="connsiteY1277" fmla="*/ 195739 h 514350"/>
                <a:gd name="connsiteX1278" fmla="*/ 3862864 w 6400800"/>
                <a:gd name="connsiteY1278" fmla="*/ 182404 h 514350"/>
                <a:gd name="connsiteX1279" fmla="*/ 3854291 w 6400800"/>
                <a:gd name="connsiteY1279" fmla="*/ 155734 h 514350"/>
                <a:gd name="connsiteX1280" fmla="*/ 3859054 w 6400800"/>
                <a:gd name="connsiteY1280" fmla="*/ 183356 h 514350"/>
                <a:gd name="connsiteX1281" fmla="*/ 3862864 w 6400800"/>
                <a:gd name="connsiteY1281" fmla="*/ 202406 h 514350"/>
                <a:gd name="connsiteX1282" fmla="*/ 3858101 w 6400800"/>
                <a:gd name="connsiteY1282" fmla="*/ 209074 h 514350"/>
                <a:gd name="connsiteX1283" fmla="*/ 3853339 w 6400800"/>
                <a:gd name="connsiteY1283" fmla="*/ 216694 h 514350"/>
                <a:gd name="connsiteX1284" fmla="*/ 3849529 w 6400800"/>
                <a:gd name="connsiteY1284" fmla="*/ 195739 h 514350"/>
                <a:gd name="connsiteX1285" fmla="*/ 3852386 w 6400800"/>
                <a:gd name="connsiteY1285" fmla="*/ 178594 h 514350"/>
                <a:gd name="connsiteX1286" fmla="*/ 3855244 w 6400800"/>
                <a:gd name="connsiteY1286" fmla="*/ 158591 h 514350"/>
                <a:gd name="connsiteX1287" fmla="*/ 3848576 w 6400800"/>
                <a:gd name="connsiteY1287" fmla="*/ 177641 h 514350"/>
                <a:gd name="connsiteX1288" fmla="*/ 3841909 w 6400800"/>
                <a:gd name="connsiteY1288" fmla="*/ 199549 h 514350"/>
                <a:gd name="connsiteX1289" fmla="*/ 3838099 w 6400800"/>
                <a:gd name="connsiteY1289" fmla="*/ 212884 h 514350"/>
                <a:gd name="connsiteX1290" fmla="*/ 3835241 w 6400800"/>
                <a:gd name="connsiteY1290" fmla="*/ 225266 h 514350"/>
                <a:gd name="connsiteX1291" fmla="*/ 3834289 w 6400800"/>
                <a:gd name="connsiteY1291" fmla="*/ 222409 h 514350"/>
                <a:gd name="connsiteX1292" fmla="*/ 3825716 w 6400800"/>
                <a:gd name="connsiteY1292" fmla="*/ 209074 h 514350"/>
                <a:gd name="connsiteX1293" fmla="*/ 3809524 w 6400800"/>
                <a:gd name="connsiteY1293" fmla="*/ 184309 h 514350"/>
                <a:gd name="connsiteX1294" fmla="*/ 3821906 w 6400800"/>
                <a:gd name="connsiteY1294" fmla="*/ 210979 h 514350"/>
                <a:gd name="connsiteX1295" fmla="*/ 3828574 w 6400800"/>
                <a:gd name="connsiteY1295" fmla="*/ 224314 h 514350"/>
                <a:gd name="connsiteX1296" fmla="*/ 3832384 w 6400800"/>
                <a:gd name="connsiteY1296" fmla="*/ 234791 h 514350"/>
                <a:gd name="connsiteX1297" fmla="*/ 3828574 w 6400800"/>
                <a:gd name="connsiteY1297" fmla="*/ 254794 h 514350"/>
                <a:gd name="connsiteX1298" fmla="*/ 3825716 w 6400800"/>
                <a:gd name="connsiteY1298" fmla="*/ 259556 h 514350"/>
                <a:gd name="connsiteX1299" fmla="*/ 3820954 w 6400800"/>
                <a:gd name="connsiteY1299" fmla="*/ 269081 h 514350"/>
                <a:gd name="connsiteX1300" fmla="*/ 3820001 w 6400800"/>
                <a:gd name="connsiteY1300" fmla="*/ 267176 h 514350"/>
                <a:gd name="connsiteX1301" fmla="*/ 3804761 w 6400800"/>
                <a:gd name="connsiteY1301" fmla="*/ 249079 h 514350"/>
                <a:gd name="connsiteX1302" fmla="*/ 3817144 w 6400800"/>
                <a:gd name="connsiteY1302" fmla="*/ 270034 h 514350"/>
                <a:gd name="connsiteX1303" fmla="*/ 3819049 w 6400800"/>
                <a:gd name="connsiteY1303" fmla="*/ 272891 h 514350"/>
                <a:gd name="connsiteX1304" fmla="*/ 3806666 w 6400800"/>
                <a:gd name="connsiteY1304" fmla="*/ 294799 h 514350"/>
                <a:gd name="connsiteX1305" fmla="*/ 3806666 w 6400800"/>
                <a:gd name="connsiteY1305" fmla="*/ 294799 h 514350"/>
                <a:gd name="connsiteX1306" fmla="*/ 3803809 w 6400800"/>
                <a:gd name="connsiteY1306" fmla="*/ 290989 h 514350"/>
                <a:gd name="connsiteX1307" fmla="*/ 3802856 w 6400800"/>
                <a:gd name="connsiteY1307" fmla="*/ 287179 h 514350"/>
                <a:gd name="connsiteX1308" fmla="*/ 3799999 w 6400800"/>
                <a:gd name="connsiteY1308" fmla="*/ 276701 h 514350"/>
                <a:gd name="connsiteX1309" fmla="*/ 3795236 w 6400800"/>
                <a:gd name="connsiteY1309" fmla="*/ 260509 h 514350"/>
                <a:gd name="connsiteX1310" fmla="*/ 3790474 w 6400800"/>
                <a:gd name="connsiteY1310" fmla="*/ 246221 h 514350"/>
                <a:gd name="connsiteX1311" fmla="*/ 3791426 w 6400800"/>
                <a:gd name="connsiteY1311" fmla="*/ 260509 h 514350"/>
                <a:gd name="connsiteX1312" fmla="*/ 3792379 w 6400800"/>
                <a:gd name="connsiteY1312" fmla="*/ 273844 h 514350"/>
                <a:gd name="connsiteX1313" fmla="*/ 3787616 w 6400800"/>
                <a:gd name="connsiteY1313" fmla="*/ 268129 h 514350"/>
                <a:gd name="connsiteX1314" fmla="*/ 3777139 w 6400800"/>
                <a:gd name="connsiteY1314" fmla="*/ 255746 h 514350"/>
                <a:gd name="connsiteX1315" fmla="*/ 3773329 w 6400800"/>
                <a:gd name="connsiteY1315" fmla="*/ 246221 h 514350"/>
                <a:gd name="connsiteX1316" fmla="*/ 3764756 w 6400800"/>
                <a:gd name="connsiteY1316" fmla="*/ 224314 h 514350"/>
                <a:gd name="connsiteX1317" fmla="*/ 3769519 w 6400800"/>
                <a:gd name="connsiteY1317" fmla="*/ 247174 h 514350"/>
                <a:gd name="connsiteX1318" fmla="*/ 3776186 w 6400800"/>
                <a:gd name="connsiteY1318" fmla="*/ 273844 h 514350"/>
                <a:gd name="connsiteX1319" fmla="*/ 3781901 w 6400800"/>
                <a:gd name="connsiteY1319" fmla="*/ 299561 h 514350"/>
                <a:gd name="connsiteX1320" fmla="*/ 3760946 w 6400800"/>
                <a:gd name="connsiteY1320" fmla="*/ 234791 h 514350"/>
                <a:gd name="connsiteX1321" fmla="*/ 3755231 w 6400800"/>
                <a:gd name="connsiteY1321" fmla="*/ 218599 h 514350"/>
                <a:gd name="connsiteX1322" fmla="*/ 3759041 w 6400800"/>
                <a:gd name="connsiteY1322" fmla="*/ 211931 h 514350"/>
                <a:gd name="connsiteX1323" fmla="*/ 3754279 w 6400800"/>
                <a:gd name="connsiteY1323" fmla="*/ 217646 h 514350"/>
                <a:gd name="connsiteX1324" fmla="*/ 3750469 w 6400800"/>
                <a:gd name="connsiteY1324" fmla="*/ 208121 h 514350"/>
                <a:gd name="connsiteX1325" fmla="*/ 3752374 w 6400800"/>
                <a:gd name="connsiteY1325" fmla="*/ 197644 h 514350"/>
                <a:gd name="connsiteX1326" fmla="*/ 3748564 w 6400800"/>
                <a:gd name="connsiteY1326" fmla="*/ 205264 h 514350"/>
                <a:gd name="connsiteX1327" fmla="*/ 3734276 w 6400800"/>
                <a:gd name="connsiteY1327" fmla="*/ 167164 h 514350"/>
                <a:gd name="connsiteX1328" fmla="*/ 3742849 w 6400800"/>
                <a:gd name="connsiteY1328" fmla="*/ 217646 h 514350"/>
                <a:gd name="connsiteX1329" fmla="*/ 3736181 w 6400800"/>
                <a:gd name="connsiteY1329" fmla="*/ 236696 h 514350"/>
                <a:gd name="connsiteX1330" fmla="*/ 3735229 w 6400800"/>
                <a:gd name="connsiteY1330" fmla="*/ 238601 h 514350"/>
                <a:gd name="connsiteX1331" fmla="*/ 3730466 w 6400800"/>
                <a:gd name="connsiteY1331" fmla="*/ 245269 h 514350"/>
                <a:gd name="connsiteX1332" fmla="*/ 3726656 w 6400800"/>
                <a:gd name="connsiteY1332" fmla="*/ 236696 h 514350"/>
                <a:gd name="connsiteX1333" fmla="*/ 3726656 w 6400800"/>
                <a:gd name="connsiteY1333" fmla="*/ 232886 h 514350"/>
                <a:gd name="connsiteX1334" fmla="*/ 3725704 w 6400800"/>
                <a:gd name="connsiteY1334" fmla="*/ 214789 h 514350"/>
                <a:gd name="connsiteX1335" fmla="*/ 3722846 w 6400800"/>
                <a:gd name="connsiteY1335" fmla="*/ 230029 h 514350"/>
                <a:gd name="connsiteX1336" fmla="*/ 3721894 w 6400800"/>
                <a:gd name="connsiteY1336" fmla="*/ 229076 h 514350"/>
                <a:gd name="connsiteX1337" fmla="*/ 3721894 w 6400800"/>
                <a:gd name="connsiteY1337" fmla="*/ 229076 h 514350"/>
                <a:gd name="connsiteX1338" fmla="*/ 3725704 w 6400800"/>
                <a:gd name="connsiteY1338" fmla="*/ 190976 h 514350"/>
                <a:gd name="connsiteX1339" fmla="*/ 3727609 w 6400800"/>
                <a:gd name="connsiteY1339" fmla="*/ 172879 h 514350"/>
                <a:gd name="connsiteX1340" fmla="*/ 3730466 w 6400800"/>
                <a:gd name="connsiteY1340" fmla="*/ 155734 h 514350"/>
                <a:gd name="connsiteX1341" fmla="*/ 3734276 w 6400800"/>
                <a:gd name="connsiteY1341" fmla="*/ 128111 h 514350"/>
                <a:gd name="connsiteX1342" fmla="*/ 3737134 w 6400800"/>
                <a:gd name="connsiteY1342" fmla="*/ 104299 h 514350"/>
                <a:gd name="connsiteX1343" fmla="*/ 3730466 w 6400800"/>
                <a:gd name="connsiteY1343" fmla="*/ 127159 h 514350"/>
                <a:gd name="connsiteX1344" fmla="*/ 3722846 w 6400800"/>
                <a:gd name="connsiteY1344" fmla="*/ 153829 h 514350"/>
                <a:gd name="connsiteX1345" fmla="*/ 3718084 w 6400800"/>
                <a:gd name="connsiteY1345" fmla="*/ 170021 h 514350"/>
                <a:gd name="connsiteX1346" fmla="*/ 3714274 w 6400800"/>
                <a:gd name="connsiteY1346" fmla="*/ 188119 h 514350"/>
                <a:gd name="connsiteX1347" fmla="*/ 3710464 w 6400800"/>
                <a:gd name="connsiteY1347" fmla="*/ 208121 h 514350"/>
                <a:gd name="connsiteX1348" fmla="*/ 3710464 w 6400800"/>
                <a:gd name="connsiteY1348" fmla="*/ 207169 h 514350"/>
                <a:gd name="connsiteX1349" fmla="*/ 3691414 w 6400800"/>
                <a:gd name="connsiteY1349" fmla="*/ 174784 h 514350"/>
                <a:gd name="connsiteX1350" fmla="*/ 3677126 w 6400800"/>
                <a:gd name="connsiteY1350" fmla="*/ 150971 h 514350"/>
                <a:gd name="connsiteX1351" fmla="*/ 3678079 w 6400800"/>
                <a:gd name="connsiteY1351" fmla="*/ 137636 h 514350"/>
                <a:gd name="connsiteX1352" fmla="*/ 3675221 w 6400800"/>
                <a:gd name="connsiteY1352" fmla="*/ 149066 h 514350"/>
                <a:gd name="connsiteX1353" fmla="*/ 3674269 w 6400800"/>
                <a:gd name="connsiteY1353" fmla="*/ 147161 h 514350"/>
                <a:gd name="connsiteX1354" fmla="*/ 3675221 w 6400800"/>
                <a:gd name="connsiteY1354" fmla="*/ 150019 h 514350"/>
                <a:gd name="connsiteX1355" fmla="*/ 3672364 w 6400800"/>
                <a:gd name="connsiteY1355" fmla="*/ 164306 h 514350"/>
                <a:gd name="connsiteX1356" fmla="*/ 3665696 w 6400800"/>
                <a:gd name="connsiteY1356" fmla="*/ 194786 h 514350"/>
                <a:gd name="connsiteX1357" fmla="*/ 3662839 w 6400800"/>
                <a:gd name="connsiteY1357" fmla="*/ 209074 h 514350"/>
                <a:gd name="connsiteX1358" fmla="*/ 3661886 w 6400800"/>
                <a:gd name="connsiteY1358" fmla="*/ 210026 h 514350"/>
                <a:gd name="connsiteX1359" fmla="*/ 3658076 w 6400800"/>
                <a:gd name="connsiteY1359" fmla="*/ 216694 h 514350"/>
                <a:gd name="connsiteX1360" fmla="*/ 3658076 w 6400800"/>
                <a:gd name="connsiteY1360" fmla="*/ 174784 h 514350"/>
                <a:gd name="connsiteX1361" fmla="*/ 3645694 w 6400800"/>
                <a:gd name="connsiteY1361" fmla="*/ 239554 h 514350"/>
                <a:gd name="connsiteX1362" fmla="*/ 3644741 w 6400800"/>
                <a:gd name="connsiteY1362" fmla="*/ 246221 h 514350"/>
                <a:gd name="connsiteX1363" fmla="*/ 3643789 w 6400800"/>
                <a:gd name="connsiteY1363" fmla="*/ 249079 h 514350"/>
                <a:gd name="connsiteX1364" fmla="*/ 3640931 w 6400800"/>
                <a:gd name="connsiteY1364" fmla="*/ 259556 h 514350"/>
                <a:gd name="connsiteX1365" fmla="*/ 3633311 w 6400800"/>
                <a:gd name="connsiteY1365" fmla="*/ 243364 h 514350"/>
                <a:gd name="connsiteX1366" fmla="*/ 3639979 w 6400800"/>
                <a:gd name="connsiteY1366" fmla="*/ 265271 h 514350"/>
                <a:gd name="connsiteX1367" fmla="*/ 3637121 w 6400800"/>
                <a:gd name="connsiteY1367" fmla="*/ 275749 h 514350"/>
                <a:gd name="connsiteX1368" fmla="*/ 3627596 w 6400800"/>
                <a:gd name="connsiteY1368" fmla="*/ 261461 h 514350"/>
                <a:gd name="connsiteX1369" fmla="*/ 3635216 w 6400800"/>
                <a:gd name="connsiteY1369" fmla="*/ 280511 h 514350"/>
                <a:gd name="connsiteX1370" fmla="*/ 3635216 w 6400800"/>
                <a:gd name="connsiteY1370" fmla="*/ 281464 h 514350"/>
                <a:gd name="connsiteX1371" fmla="*/ 3630454 w 6400800"/>
                <a:gd name="connsiteY1371" fmla="*/ 309086 h 514350"/>
                <a:gd name="connsiteX1372" fmla="*/ 3627596 w 6400800"/>
                <a:gd name="connsiteY1372" fmla="*/ 332899 h 514350"/>
                <a:gd name="connsiteX1373" fmla="*/ 3620929 w 6400800"/>
                <a:gd name="connsiteY1373" fmla="*/ 312896 h 514350"/>
                <a:gd name="connsiteX1374" fmla="*/ 3620929 w 6400800"/>
                <a:gd name="connsiteY1374" fmla="*/ 309086 h 514350"/>
                <a:gd name="connsiteX1375" fmla="*/ 3619976 w 6400800"/>
                <a:gd name="connsiteY1375" fmla="*/ 310991 h 514350"/>
                <a:gd name="connsiteX1376" fmla="*/ 3619024 w 6400800"/>
                <a:gd name="connsiteY1376" fmla="*/ 308134 h 514350"/>
                <a:gd name="connsiteX1377" fmla="*/ 3622834 w 6400800"/>
                <a:gd name="connsiteY1377" fmla="*/ 272891 h 514350"/>
                <a:gd name="connsiteX1378" fmla="*/ 3626644 w 6400800"/>
                <a:gd name="connsiteY1378" fmla="*/ 221456 h 514350"/>
                <a:gd name="connsiteX1379" fmla="*/ 3630454 w 6400800"/>
                <a:gd name="connsiteY1379" fmla="*/ 211931 h 514350"/>
                <a:gd name="connsiteX1380" fmla="*/ 3626644 w 6400800"/>
                <a:gd name="connsiteY1380" fmla="*/ 216694 h 514350"/>
                <a:gd name="connsiteX1381" fmla="*/ 3626644 w 6400800"/>
                <a:gd name="connsiteY1381" fmla="*/ 214789 h 514350"/>
                <a:gd name="connsiteX1382" fmla="*/ 3626644 w 6400800"/>
                <a:gd name="connsiteY1382" fmla="*/ 192881 h 514350"/>
                <a:gd name="connsiteX1383" fmla="*/ 3622834 w 6400800"/>
                <a:gd name="connsiteY1383" fmla="*/ 214789 h 514350"/>
                <a:gd name="connsiteX1384" fmla="*/ 3620929 w 6400800"/>
                <a:gd name="connsiteY1384" fmla="*/ 226219 h 514350"/>
                <a:gd name="connsiteX1385" fmla="*/ 3620929 w 6400800"/>
                <a:gd name="connsiteY1385" fmla="*/ 227171 h 514350"/>
                <a:gd name="connsiteX1386" fmla="*/ 3609499 w 6400800"/>
                <a:gd name="connsiteY1386" fmla="*/ 243364 h 514350"/>
                <a:gd name="connsiteX1387" fmla="*/ 3603784 w 6400800"/>
                <a:gd name="connsiteY1387" fmla="*/ 251936 h 514350"/>
                <a:gd name="connsiteX1388" fmla="*/ 3613309 w 6400800"/>
                <a:gd name="connsiteY1388" fmla="*/ 225266 h 514350"/>
                <a:gd name="connsiteX1389" fmla="*/ 3619024 w 6400800"/>
                <a:gd name="connsiteY1389" fmla="*/ 208121 h 514350"/>
                <a:gd name="connsiteX1390" fmla="*/ 3624739 w 6400800"/>
                <a:gd name="connsiteY1390" fmla="*/ 192881 h 514350"/>
                <a:gd name="connsiteX1391" fmla="*/ 3634264 w 6400800"/>
                <a:gd name="connsiteY1391" fmla="*/ 168116 h 514350"/>
                <a:gd name="connsiteX1392" fmla="*/ 3642836 w 6400800"/>
                <a:gd name="connsiteY1392" fmla="*/ 146209 h 514350"/>
                <a:gd name="connsiteX1393" fmla="*/ 3631406 w 6400800"/>
                <a:gd name="connsiteY1393" fmla="*/ 166211 h 514350"/>
                <a:gd name="connsiteX1394" fmla="*/ 3618071 w 6400800"/>
                <a:gd name="connsiteY1394" fmla="*/ 189071 h 514350"/>
                <a:gd name="connsiteX1395" fmla="*/ 3610451 w 6400800"/>
                <a:gd name="connsiteY1395" fmla="*/ 203359 h 514350"/>
                <a:gd name="connsiteX1396" fmla="*/ 3602831 w 6400800"/>
                <a:gd name="connsiteY1396" fmla="*/ 219551 h 514350"/>
                <a:gd name="connsiteX1397" fmla="*/ 3588544 w 6400800"/>
                <a:gd name="connsiteY1397" fmla="*/ 250031 h 514350"/>
                <a:gd name="connsiteX1398" fmla="*/ 3588544 w 6400800"/>
                <a:gd name="connsiteY1398" fmla="*/ 242411 h 514350"/>
                <a:gd name="connsiteX1399" fmla="*/ 3585686 w 6400800"/>
                <a:gd name="connsiteY1399" fmla="*/ 256699 h 514350"/>
                <a:gd name="connsiteX1400" fmla="*/ 3585686 w 6400800"/>
                <a:gd name="connsiteY1400" fmla="*/ 257651 h 514350"/>
                <a:gd name="connsiteX1401" fmla="*/ 3579971 w 6400800"/>
                <a:gd name="connsiteY1401" fmla="*/ 270986 h 514350"/>
                <a:gd name="connsiteX1402" fmla="*/ 3573304 w 6400800"/>
                <a:gd name="connsiteY1402" fmla="*/ 282416 h 514350"/>
                <a:gd name="connsiteX1403" fmla="*/ 3568541 w 6400800"/>
                <a:gd name="connsiteY1403" fmla="*/ 263366 h 514350"/>
                <a:gd name="connsiteX1404" fmla="*/ 3564731 w 6400800"/>
                <a:gd name="connsiteY1404" fmla="*/ 248126 h 514350"/>
                <a:gd name="connsiteX1405" fmla="*/ 3564731 w 6400800"/>
                <a:gd name="connsiteY1405" fmla="*/ 248126 h 514350"/>
                <a:gd name="connsiteX1406" fmla="*/ 3562826 w 6400800"/>
                <a:gd name="connsiteY1406" fmla="*/ 237649 h 514350"/>
                <a:gd name="connsiteX1407" fmla="*/ 3561874 w 6400800"/>
                <a:gd name="connsiteY1407" fmla="*/ 233839 h 514350"/>
                <a:gd name="connsiteX1408" fmla="*/ 3566636 w 6400800"/>
                <a:gd name="connsiteY1408" fmla="*/ 227171 h 514350"/>
                <a:gd name="connsiteX1409" fmla="*/ 3561874 w 6400800"/>
                <a:gd name="connsiteY1409" fmla="*/ 230981 h 514350"/>
                <a:gd name="connsiteX1410" fmla="*/ 3559016 w 6400800"/>
                <a:gd name="connsiteY1410" fmla="*/ 218599 h 514350"/>
                <a:gd name="connsiteX1411" fmla="*/ 3559016 w 6400800"/>
                <a:gd name="connsiteY1411" fmla="*/ 231934 h 514350"/>
                <a:gd name="connsiteX1412" fmla="*/ 3554254 w 6400800"/>
                <a:gd name="connsiteY1412" fmla="*/ 220504 h 514350"/>
                <a:gd name="connsiteX1413" fmla="*/ 3569494 w 6400800"/>
                <a:gd name="connsiteY1413" fmla="*/ 197644 h 514350"/>
                <a:gd name="connsiteX1414" fmla="*/ 3585686 w 6400800"/>
                <a:gd name="connsiteY1414" fmla="*/ 174784 h 514350"/>
                <a:gd name="connsiteX1415" fmla="*/ 3600926 w 6400800"/>
                <a:gd name="connsiteY1415" fmla="*/ 154781 h 514350"/>
                <a:gd name="connsiteX1416" fmla="*/ 3582829 w 6400800"/>
                <a:gd name="connsiteY1416" fmla="*/ 171926 h 514350"/>
                <a:gd name="connsiteX1417" fmla="*/ 3562826 w 6400800"/>
                <a:gd name="connsiteY1417" fmla="*/ 192881 h 514350"/>
                <a:gd name="connsiteX1418" fmla="*/ 3549491 w 6400800"/>
                <a:gd name="connsiteY1418" fmla="*/ 209074 h 514350"/>
                <a:gd name="connsiteX1419" fmla="*/ 3542824 w 6400800"/>
                <a:gd name="connsiteY1419" fmla="*/ 193834 h 514350"/>
                <a:gd name="connsiteX1420" fmla="*/ 3546634 w 6400800"/>
                <a:gd name="connsiteY1420" fmla="*/ 212884 h 514350"/>
                <a:gd name="connsiteX1421" fmla="*/ 3539966 w 6400800"/>
                <a:gd name="connsiteY1421" fmla="*/ 222409 h 514350"/>
                <a:gd name="connsiteX1422" fmla="*/ 3539014 w 6400800"/>
                <a:gd name="connsiteY1422" fmla="*/ 223361 h 514350"/>
                <a:gd name="connsiteX1423" fmla="*/ 3539014 w 6400800"/>
                <a:gd name="connsiteY1423" fmla="*/ 210979 h 514350"/>
                <a:gd name="connsiteX1424" fmla="*/ 3539014 w 6400800"/>
                <a:gd name="connsiteY1424" fmla="*/ 184309 h 514350"/>
                <a:gd name="connsiteX1425" fmla="*/ 3539014 w 6400800"/>
                <a:gd name="connsiteY1425" fmla="*/ 173831 h 514350"/>
                <a:gd name="connsiteX1426" fmla="*/ 3540919 w 6400800"/>
                <a:gd name="connsiteY1426" fmla="*/ 170021 h 514350"/>
                <a:gd name="connsiteX1427" fmla="*/ 3539014 w 6400800"/>
                <a:gd name="connsiteY1427" fmla="*/ 172879 h 514350"/>
                <a:gd name="connsiteX1428" fmla="*/ 3539014 w 6400800"/>
                <a:gd name="connsiteY1428" fmla="*/ 162401 h 514350"/>
                <a:gd name="connsiteX1429" fmla="*/ 3537109 w 6400800"/>
                <a:gd name="connsiteY1429" fmla="*/ 176689 h 514350"/>
                <a:gd name="connsiteX1430" fmla="*/ 3527584 w 6400800"/>
                <a:gd name="connsiteY1430" fmla="*/ 190976 h 514350"/>
                <a:gd name="connsiteX1431" fmla="*/ 3511391 w 6400800"/>
                <a:gd name="connsiteY1431" fmla="*/ 214789 h 514350"/>
                <a:gd name="connsiteX1432" fmla="*/ 3510439 w 6400800"/>
                <a:gd name="connsiteY1432" fmla="*/ 215741 h 514350"/>
                <a:gd name="connsiteX1433" fmla="*/ 3508534 w 6400800"/>
                <a:gd name="connsiteY1433" fmla="*/ 201454 h 514350"/>
                <a:gd name="connsiteX1434" fmla="*/ 3505676 w 6400800"/>
                <a:gd name="connsiteY1434" fmla="*/ 180499 h 514350"/>
                <a:gd name="connsiteX1435" fmla="*/ 3504724 w 6400800"/>
                <a:gd name="connsiteY1435" fmla="*/ 202406 h 514350"/>
                <a:gd name="connsiteX1436" fmla="*/ 3503771 w 6400800"/>
                <a:gd name="connsiteY1436" fmla="*/ 226219 h 514350"/>
                <a:gd name="connsiteX1437" fmla="*/ 3500914 w 6400800"/>
                <a:gd name="connsiteY1437" fmla="*/ 230981 h 514350"/>
                <a:gd name="connsiteX1438" fmla="*/ 3491389 w 6400800"/>
                <a:gd name="connsiteY1438" fmla="*/ 247174 h 514350"/>
                <a:gd name="connsiteX1439" fmla="*/ 3483769 w 6400800"/>
                <a:gd name="connsiteY1439" fmla="*/ 230029 h 514350"/>
                <a:gd name="connsiteX1440" fmla="*/ 3469481 w 6400800"/>
                <a:gd name="connsiteY1440" fmla="*/ 200501 h 514350"/>
                <a:gd name="connsiteX1441" fmla="*/ 3471386 w 6400800"/>
                <a:gd name="connsiteY1441" fmla="*/ 190976 h 514350"/>
                <a:gd name="connsiteX1442" fmla="*/ 3477101 w 6400800"/>
                <a:gd name="connsiteY1442" fmla="*/ 167164 h 514350"/>
                <a:gd name="connsiteX1443" fmla="*/ 3482816 w 6400800"/>
                <a:gd name="connsiteY1443" fmla="*/ 146209 h 514350"/>
                <a:gd name="connsiteX1444" fmla="*/ 3492341 w 6400800"/>
                <a:gd name="connsiteY1444" fmla="*/ 111919 h 514350"/>
                <a:gd name="connsiteX1445" fmla="*/ 3499961 w 6400800"/>
                <a:gd name="connsiteY1445" fmla="*/ 82391 h 514350"/>
                <a:gd name="connsiteX1446" fmla="*/ 3488531 w 6400800"/>
                <a:gd name="connsiteY1446" fmla="*/ 110966 h 514350"/>
                <a:gd name="connsiteX1447" fmla="*/ 3476149 w 6400800"/>
                <a:gd name="connsiteY1447" fmla="*/ 144304 h 514350"/>
                <a:gd name="connsiteX1448" fmla="*/ 3468529 w 6400800"/>
                <a:gd name="connsiteY1448" fmla="*/ 164306 h 514350"/>
                <a:gd name="connsiteX1449" fmla="*/ 3461861 w 6400800"/>
                <a:gd name="connsiteY1449" fmla="*/ 185261 h 514350"/>
                <a:gd name="connsiteX1450" fmla="*/ 3452336 w 6400800"/>
                <a:gd name="connsiteY1450" fmla="*/ 168116 h 514350"/>
                <a:gd name="connsiteX1451" fmla="*/ 3460909 w 6400800"/>
                <a:gd name="connsiteY1451" fmla="*/ 189071 h 514350"/>
                <a:gd name="connsiteX1452" fmla="*/ 3450431 w 6400800"/>
                <a:gd name="connsiteY1452" fmla="*/ 225266 h 514350"/>
                <a:gd name="connsiteX1453" fmla="*/ 3441859 w 6400800"/>
                <a:gd name="connsiteY1453" fmla="*/ 210026 h 514350"/>
                <a:gd name="connsiteX1454" fmla="*/ 3442811 w 6400800"/>
                <a:gd name="connsiteY1454" fmla="*/ 208121 h 514350"/>
                <a:gd name="connsiteX1455" fmla="*/ 3445669 w 6400800"/>
                <a:gd name="connsiteY1455" fmla="*/ 190976 h 514350"/>
                <a:gd name="connsiteX1456" fmla="*/ 3439001 w 6400800"/>
                <a:gd name="connsiteY1456" fmla="*/ 205264 h 514350"/>
                <a:gd name="connsiteX1457" fmla="*/ 3439001 w 6400800"/>
                <a:gd name="connsiteY1457" fmla="*/ 205264 h 514350"/>
                <a:gd name="connsiteX1458" fmla="*/ 3438049 w 6400800"/>
                <a:gd name="connsiteY1458" fmla="*/ 165259 h 514350"/>
                <a:gd name="connsiteX1459" fmla="*/ 3437096 w 6400800"/>
                <a:gd name="connsiteY1459" fmla="*/ 135731 h 514350"/>
                <a:gd name="connsiteX1460" fmla="*/ 3435191 w 6400800"/>
                <a:gd name="connsiteY1460" fmla="*/ 112871 h 514350"/>
                <a:gd name="connsiteX1461" fmla="*/ 3433286 w 6400800"/>
                <a:gd name="connsiteY1461" fmla="*/ 92869 h 514350"/>
                <a:gd name="connsiteX1462" fmla="*/ 3431381 w 6400800"/>
                <a:gd name="connsiteY1462" fmla="*/ 112871 h 514350"/>
                <a:gd name="connsiteX1463" fmla="*/ 3428524 w 6400800"/>
                <a:gd name="connsiteY1463" fmla="*/ 149066 h 514350"/>
                <a:gd name="connsiteX1464" fmla="*/ 3428524 w 6400800"/>
                <a:gd name="connsiteY1464" fmla="*/ 150019 h 514350"/>
                <a:gd name="connsiteX1465" fmla="*/ 3426619 w 6400800"/>
                <a:gd name="connsiteY1465" fmla="*/ 131921 h 514350"/>
                <a:gd name="connsiteX1466" fmla="*/ 3423761 w 6400800"/>
                <a:gd name="connsiteY1466" fmla="*/ 113824 h 514350"/>
                <a:gd name="connsiteX1467" fmla="*/ 3422809 w 6400800"/>
                <a:gd name="connsiteY1467" fmla="*/ 131921 h 514350"/>
                <a:gd name="connsiteX1468" fmla="*/ 3420904 w 6400800"/>
                <a:gd name="connsiteY1468" fmla="*/ 174784 h 514350"/>
                <a:gd name="connsiteX1469" fmla="*/ 3412331 w 6400800"/>
                <a:gd name="connsiteY1469" fmla="*/ 162401 h 514350"/>
                <a:gd name="connsiteX1470" fmla="*/ 3398044 w 6400800"/>
                <a:gd name="connsiteY1470" fmla="*/ 141446 h 514350"/>
                <a:gd name="connsiteX1471" fmla="*/ 3401854 w 6400800"/>
                <a:gd name="connsiteY1471" fmla="*/ 123349 h 514350"/>
                <a:gd name="connsiteX1472" fmla="*/ 3396139 w 6400800"/>
                <a:gd name="connsiteY1472" fmla="*/ 139541 h 514350"/>
                <a:gd name="connsiteX1473" fmla="*/ 3391376 w 6400800"/>
                <a:gd name="connsiteY1473" fmla="*/ 132874 h 514350"/>
                <a:gd name="connsiteX1474" fmla="*/ 3395186 w 6400800"/>
                <a:gd name="connsiteY1474" fmla="*/ 139541 h 514350"/>
                <a:gd name="connsiteX1475" fmla="*/ 3395186 w 6400800"/>
                <a:gd name="connsiteY1475" fmla="*/ 141446 h 514350"/>
                <a:gd name="connsiteX1476" fmla="*/ 3382804 w 6400800"/>
                <a:gd name="connsiteY1476" fmla="*/ 177641 h 514350"/>
                <a:gd name="connsiteX1477" fmla="*/ 3382804 w 6400800"/>
                <a:gd name="connsiteY1477" fmla="*/ 172879 h 514350"/>
                <a:gd name="connsiteX1478" fmla="*/ 3381851 w 6400800"/>
                <a:gd name="connsiteY1478" fmla="*/ 150971 h 514350"/>
                <a:gd name="connsiteX1479" fmla="*/ 3378994 w 6400800"/>
                <a:gd name="connsiteY1479" fmla="*/ 172879 h 514350"/>
                <a:gd name="connsiteX1480" fmla="*/ 3376136 w 6400800"/>
                <a:gd name="connsiteY1480" fmla="*/ 197644 h 514350"/>
                <a:gd name="connsiteX1481" fmla="*/ 3365659 w 6400800"/>
                <a:gd name="connsiteY1481" fmla="*/ 234791 h 514350"/>
                <a:gd name="connsiteX1482" fmla="*/ 3358991 w 6400800"/>
                <a:gd name="connsiteY1482" fmla="*/ 253841 h 514350"/>
                <a:gd name="connsiteX1483" fmla="*/ 3358039 w 6400800"/>
                <a:gd name="connsiteY1483" fmla="*/ 257651 h 514350"/>
                <a:gd name="connsiteX1484" fmla="*/ 3351371 w 6400800"/>
                <a:gd name="connsiteY1484" fmla="*/ 239554 h 514350"/>
                <a:gd name="connsiteX1485" fmla="*/ 3351371 w 6400800"/>
                <a:gd name="connsiteY1485" fmla="*/ 237649 h 514350"/>
                <a:gd name="connsiteX1486" fmla="*/ 3351371 w 6400800"/>
                <a:gd name="connsiteY1486" fmla="*/ 238601 h 514350"/>
                <a:gd name="connsiteX1487" fmla="*/ 3344704 w 6400800"/>
                <a:gd name="connsiteY1487" fmla="*/ 221456 h 514350"/>
                <a:gd name="connsiteX1488" fmla="*/ 3349466 w 6400800"/>
                <a:gd name="connsiteY1488" fmla="*/ 248126 h 514350"/>
                <a:gd name="connsiteX1489" fmla="*/ 3347561 w 6400800"/>
                <a:gd name="connsiteY1489" fmla="*/ 265271 h 514350"/>
                <a:gd name="connsiteX1490" fmla="*/ 3345656 w 6400800"/>
                <a:gd name="connsiteY1490" fmla="*/ 283369 h 514350"/>
                <a:gd name="connsiteX1491" fmla="*/ 3343751 w 6400800"/>
                <a:gd name="connsiteY1491" fmla="*/ 287179 h 514350"/>
                <a:gd name="connsiteX1492" fmla="*/ 3339941 w 6400800"/>
                <a:gd name="connsiteY1492" fmla="*/ 274796 h 514350"/>
                <a:gd name="connsiteX1493" fmla="*/ 3325654 w 6400800"/>
                <a:gd name="connsiteY1493" fmla="*/ 231934 h 514350"/>
                <a:gd name="connsiteX1494" fmla="*/ 3328511 w 6400800"/>
                <a:gd name="connsiteY1494" fmla="*/ 216694 h 514350"/>
                <a:gd name="connsiteX1495" fmla="*/ 3338036 w 6400800"/>
                <a:gd name="connsiteY1495" fmla="*/ 170974 h 514350"/>
                <a:gd name="connsiteX1496" fmla="*/ 3346609 w 6400800"/>
                <a:gd name="connsiteY1496" fmla="*/ 136684 h 514350"/>
                <a:gd name="connsiteX1497" fmla="*/ 3355181 w 6400800"/>
                <a:gd name="connsiteY1497" fmla="*/ 106204 h 514350"/>
                <a:gd name="connsiteX1498" fmla="*/ 3342799 w 6400800"/>
                <a:gd name="connsiteY1498" fmla="*/ 134779 h 514350"/>
                <a:gd name="connsiteX1499" fmla="*/ 3330416 w 6400800"/>
                <a:gd name="connsiteY1499" fmla="*/ 169069 h 514350"/>
                <a:gd name="connsiteX1500" fmla="*/ 3318986 w 6400800"/>
                <a:gd name="connsiteY1500" fmla="*/ 208121 h 514350"/>
                <a:gd name="connsiteX1501" fmla="*/ 3318986 w 6400800"/>
                <a:gd name="connsiteY1501" fmla="*/ 203359 h 514350"/>
                <a:gd name="connsiteX1502" fmla="*/ 3320891 w 6400800"/>
                <a:gd name="connsiteY1502" fmla="*/ 195739 h 514350"/>
                <a:gd name="connsiteX1503" fmla="*/ 3327559 w 6400800"/>
                <a:gd name="connsiteY1503" fmla="*/ 170021 h 514350"/>
                <a:gd name="connsiteX1504" fmla="*/ 3332321 w 6400800"/>
                <a:gd name="connsiteY1504" fmla="*/ 147161 h 514350"/>
                <a:gd name="connsiteX1505" fmla="*/ 3323749 w 6400800"/>
                <a:gd name="connsiteY1505" fmla="*/ 169069 h 514350"/>
                <a:gd name="connsiteX1506" fmla="*/ 3322796 w 6400800"/>
                <a:gd name="connsiteY1506" fmla="*/ 171926 h 514350"/>
                <a:gd name="connsiteX1507" fmla="*/ 3323749 w 6400800"/>
                <a:gd name="connsiteY1507" fmla="*/ 165259 h 514350"/>
                <a:gd name="connsiteX1508" fmla="*/ 3328511 w 6400800"/>
                <a:gd name="connsiteY1508" fmla="*/ 147161 h 514350"/>
                <a:gd name="connsiteX1509" fmla="*/ 3336131 w 6400800"/>
                <a:gd name="connsiteY1509" fmla="*/ 116681 h 514350"/>
                <a:gd name="connsiteX1510" fmla="*/ 3341846 w 6400800"/>
                <a:gd name="connsiteY1510" fmla="*/ 90011 h 514350"/>
                <a:gd name="connsiteX1511" fmla="*/ 3332321 w 6400800"/>
                <a:gd name="connsiteY1511" fmla="*/ 114776 h 514350"/>
                <a:gd name="connsiteX1512" fmla="*/ 3321844 w 6400800"/>
                <a:gd name="connsiteY1512" fmla="*/ 143351 h 514350"/>
                <a:gd name="connsiteX1513" fmla="*/ 3315176 w 6400800"/>
                <a:gd name="connsiteY1513" fmla="*/ 161449 h 514350"/>
                <a:gd name="connsiteX1514" fmla="*/ 3308509 w 6400800"/>
                <a:gd name="connsiteY1514" fmla="*/ 181451 h 514350"/>
                <a:gd name="connsiteX1515" fmla="*/ 3308509 w 6400800"/>
                <a:gd name="connsiteY1515" fmla="*/ 181451 h 514350"/>
                <a:gd name="connsiteX1516" fmla="*/ 3306604 w 6400800"/>
                <a:gd name="connsiteY1516" fmla="*/ 176689 h 514350"/>
                <a:gd name="connsiteX1517" fmla="*/ 3292316 w 6400800"/>
                <a:gd name="connsiteY1517" fmla="*/ 140494 h 514350"/>
                <a:gd name="connsiteX1518" fmla="*/ 3305651 w 6400800"/>
                <a:gd name="connsiteY1518" fmla="*/ 189071 h 514350"/>
                <a:gd name="connsiteX1519" fmla="*/ 3294221 w 6400800"/>
                <a:gd name="connsiteY1519" fmla="*/ 227171 h 514350"/>
                <a:gd name="connsiteX1520" fmla="*/ 3293269 w 6400800"/>
                <a:gd name="connsiteY1520" fmla="*/ 230981 h 514350"/>
                <a:gd name="connsiteX1521" fmla="*/ 3292316 w 6400800"/>
                <a:gd name="connsiteY1521" fmla="*/ 229076 h 514350"/>
                <a:gd name="connsiteX1522" fmla="*/ 3277076 w 6400800"/>
                <a:gd name="connsiteY1522" fmla="*/ 197644 h 514350"/>
                <a:gd name="connsiteX1523" fmla="*/ 3291364 w 6400800"/>
                <a:gd name="connsiteY1523" fmla="*/ 237649 h 514350"/>
                <a:gd name="connsiteX1524" fmla="*/ 3285649 w 6400800"/>
                <a:gd name="connsiteY1524" fmla="*/ 257651 h 514350"/>
                <a:gd name="connsiteX1525" fmla="*/ 3277076 w 6400800"/>
                <a:gd name="connsiteY1525" fmla="*/ 246221 h 514350"/>
                <a:gd name="connsiteX1526" fmla="*/ 3274219 w 6400800"/>
                <a:gd name="connsiteY1526" fmla="*/ 242411 h 514350"/>
                <a:gd name="connsiteX1527" fmla="*/ 3277076 w 6400800"/>
                <a:gd name="connsiteY1527" fmla="*/ 199549 h 514350"/>
                <a:gd name="connsiteX1528" fmla="*/ 3272314 w 6400800"/>
                <a:gd name="connsiteY1528" fmla="*/ 217646 h 514350"/>
                <a:gd name="connsiteX1529" fmla="*/ 3268504 w 6400800"/>
                <a:gd name="connsiteY1529" fmla="*/ 234791 h 514350"/>
                <a:gd name="connsiteX1530" fmla="*/ 3258979 w 6400800"/>
                <a:gd name="connsiteY1530" fmla="*/ 223361 h 514350"/>
                <a:gd name="connsiteX1531" fmla="*/ 3241834 w 6400800"/>
                <a:gd name="connsiteY1531" fmla="*/ 203359 h 514350"/>
                <a:gd name="connsiteX1532" fmla="*/ 3256121 w 6400800"/>
                <a:gd name="connsiteY1532" fmla="*/ 226219 h 514350"/>
                <a:gd name="connsiteX1533" fmla="*/ 3266599 w 6400800"/>
                <a:gd name="connsiteY1533" fmla="*/ 243364 h 514350"/>
                <a:gd name="connsiteX1534" fmla="*/ 3260884 w 6400800"/>
                <a:gd name="connsiteY1534" fmla="*/ 265271 h 514350"/>
                <a:gd name="connsiteX1535" fmla="*/ 3256121 w 6400800"/>
                <a:gd name="connsiteY1535" fmla="*/ 288131 h 514350"/>
                <a:gd name="connsiteX1536" fmla="*/ 3256121 w 6400800"/>
                <a:gd name="connsiteY1536" fmla="*/ 287179 h 514350"/>
                <a:gd name="connsiteX1537" fmla="*/ 3256121 w 6400800"/>
                <a:gd name="connsiteY1537" fmla="*/ 289084 h 514350"/>
                <a:gd name="connsiteX1538" fmla="*/ 3255169 w 6400800"/>
                <a:gd name="connsiteY1538" fmla="*/ 293846 h 514350"/>
                <a:gd name="connsiteX1539" fmla="*/ 3253264 w 6400800"/>
                <a:gd name="connsiteY1539" fmla="*/ 290036 h 514350"/>
                <a:gd name="connsiteX1540" fmla="*/ 3254216 w 6400800"/>
                <a:gd name="connsiteY1540" fmla="*/ 280511 h 514350"/>
                <a:gd name="connsiteX1541" fmla="*/ 3252311 w 6400800"/>
                <a:gd name="connsiteY1541" fmla="*/ 287179 h 514350"/>
                <a:gd name="connsiteX1542" fmla="*/ 3246596 w 6400800"/>
                <a:gd name="connsiteY1542" fmla="*/ 276701 h 514350"/>
                <a:gd name="connsiteX1543" fmla="*/ 3251359 w 6400800"/>
                <a:gd name="connsiteY1543" fmla="*/ 290989 h 514350"/>
                <a:gd name="connsiteX1544" fmla="*/ 3249454 w 6400800"/>
                <a:gd name="connsiteY1544" fmla="*/ 298609 h 514350"/>
                <a:gd name="connsiteX1545" fmla="*/ 3247549 w 6400800"/>
                <a:gd name="connsiteY1545" fmla="*/ 304324 h 514350"/>
                <a:gd name="connsiteX1546" fmla="*/ 3246596 w 6400800"/>
                <a:gd name="connsiteY1546" fmla="*/ 301466 h 514350"/>
                <a:gd name="connsiteX1547" fmla="*/ 3246596 w 6400800"/>
                <a:gd name="connsiteY1547" fmla="*/ 306229 h 514350"/>
                <a:gd name="connsiteX1548" fmla="*/ 3243739 w 6400800"/>
                <a:gd name="connsiteY1548" fmla="*/ 317659 h 514350"/>
                <a:gd name="connsiteX1549" fmla="*/ 3239929 w 6400800"/>
                <a:gd name="connsiteY1549" fmla="*/ 304324 h 514350"/>
                <a:gd name="connsiteX1550" fmla="*/ 3242786 w 6400800"/>
                <a:gd name="connsiteY1550" fmla="*/ 296704 h 514350"/>
                <a:gd name="connsiteX1551" fmla="*/ 3238976 w 6400800"/>
                <a:gd name="connsiteY1551" fmla="*/ 302419 h 514350"/>
                <a:gd name="connsiteX1552" fmla="*/ 3236119 w 6400800"/>
                <a:gd name="connsiteY1552" fmla="*/ 293846 h 514350"/>
                <a:gd name="connsiteX1553" fmla="*/ 3235166 w 6400800"/>
                <a:gd name="connsiteY1553" fmla="*/ 290036 h 514350"/>
                <a:gd name="connsiteX1554" fmla="*/ 3241834 w 6400800"/>
                <a:gd name="connsiteY1554" fmla="*/ 273844 h 514350"/>
                <a:gd name="connsiteX1555" fmla="*/ 3249454 w 6400800"/>
                <a:gd name="connsiteY1555" fmla="*/ 256699 h 514350"/>
                <a:gd name="connsiteX1556" fmla="*/ 3256121 w 6400800"/>
                <a:gd name="connsiteY1556" fmla="*/ 242411 h 514350"/>
                <a:gd name="connsiteX1557" fmla="*/ 3245644 w 6400800"/>
                <a:gd name="connsiteY1557" fmla="*/ 254794 h 514350"/>
                <a:gd name="connsiteX1558" fmla="*/ 3235166 w 6400800"/>
                <a:gd name="connsiteY1558" fmla="*/ 270034 h 514350"/>
                <a:gd name="connsiteX1559" fmla="*/ 3230404 w 6400800"/>
                <a:gd name="connsiteY1559" fmla="*/ 276701 h 514350"/>
                <a:gd name="connsiteX1560" fmla="*/ 3229451 w 6400800"/>
                <a:gd name="connsiteY1560" fmla="*/ 272891 h 514350"/>
                <a:gd name="connsiteX1561" fmla="*/ 3222784 w 6400800"/>
                <a:gd name="connsiteY1561" fmla="*/ 253841 h 514350"/>
                <a:gd name="connsiteX1562" fmla="*/ 3218021 w 6400800"/>
                <a:gd name="connsiteY1562" fmla="*/ 241459 h 514350"/>
                <a:gd name="connsiteX1563" fmla="*/ 3218021 w 6400800"/>
                <a:gd name="connsiteY1563" fmla="*/ 236696 h 514350"/>
                <a:gd name="connsiteX1564" fmla="*/ 3222784 w 6400800"/>
                <a:gd name="connsiteY1564" fmla="*/ 206216 h 514350"/>
                <a:gd name="connsiteX1565" fmla="*/ 3229451 w 6400800"/>
                <a:gd name="connsiteY1565" fmla="*/ 166211 h 514350"/>
                <a:gd name="connsiteX1566" fmla="*/ 3235166 w 6400800"/>
                <a:gd name="connsiteY1566" fmla="*/ 135731 h 514350"/>
                <a:gd name="connsiteX1567" fmla="*/ 3239929 w 6400800"/>
                <a:gd name="connsiteY1567" fmla="*/ 109061 h 514350"/>
                <a:gd name="connsiteX1568" fmla="*/ 3231356 w 6400800"/>
                <a:gd name="connsiteY1568" fmla="*/ 134779 h 514350"/>
                <a:gd name="connsiteX1569" fmla="*/ 3212306 w 6400800"/>
                <a:gd name="connsiteY1569" fmla="*/ 204311 h 514350"/>
                <a:gd name="connsiteX1570" fmla="*/ 3209449 w 6400800"/>
                <a:gd name="connsiteY1570" fmla="*/ 215741 h 514350"/>
                <a:gd name="connsiteX1571" fmla="*/ 3204686 w 6400800"/>
                <a:gd name="connsiteY1571" fmla="*/ 204311 h 514350"/>
                <a:gd name="connsiteX1572" fmla="*/ 3203734 w 6400800"/>
                <a:gd name="connsiteY1572" fmla="*/ 175736 h 514350"/>
                <a:gd name="connsiteX1573" fmla="*/ 3200876 w 6400800"/>
                <a:gd name="connsiteY1573" fmla="*/ 206216 h 514350"/>
                <a:gd name="connsiteX1574" fmla="*/ 3196114 w 6400800"/>
                <a:gd name="connsiteY1574" fmla="*/ 240506 h 514350"/>
                <a:gd name="connsiteX1575" fmla="*/ 3195161 w 6400800"/>
                <a:gd name="connsiteY1575" fmla="*/ 243364 h 514350"/>
                <a:gd name="connsiteX1576" fmla="*/ 3196114 w 6400800"/>
                <a:gd name="connsiteY1576" fmla="*/ 217646 h 514350"/>
                <a:gd name="connsiteX1577" fmla="*/ 3198019 w 6400800"/>
                <a:gd name="connsiteY1577" fmla="*/ 180499 h 514350"/>
                <a:gd name="connsiteX1578" fmla="*/ 3199924 w 6400800"/>
                <a:gd name="connsiteY1578" fmla="*/ 151924 h 514350"/>
                <a:gd name="connsiteX1579" fmla="*/ 3200876 w 6400800"/>
                <a:gd name="connsiteY1579" fmla="*/ 127159 h 514350"/>
                <a:gd name="connsiteX1580" fmla="*/ 3195161 w 6400800"/>
                <a:gd name="connsiteY1580" fmla="*/ 151924 h 514350"/>
                <a:gd name="connsiteX1581" fmla="*/ 3184684 w 6400800"/>
                <a:gd name="connsiteY1581" fmla="*/ 217646 h 514350"/>
                <a:gd name="connsiteX1582" fmla="*/ 3181826 w 6400800"/>
                <a:gd name="connsiteY1582" fmla="*/ 235744 h 514350"/>
                <a:gd name="connsiteX1583" fmla="*/ 3179921 w 6400800"/>
                <a:gd name="connsiteY1583" fmla="*/ 231934 h 514350"/>
                <a:gd name="connsiteX1584" fmla="*/ 3179921 w 6400800"/>
                <a:gd name="connsiteY1584" fmla="*/ 224314 h 514350"/>
                <a:gd name="connsiteX1585" fmla="*/ 3178969 w 6400800"/>
                <a:gd name="connsiteY1585" fmla="*/ 230029 h 514350"/>
                <a:gd name="connsiteX1586" fmla="*/ 3177064 w 6400800"/>
                <a:gd name="connsiteY1586" fmla="*/ 227171 h 514350"/>
                <a:gd name="connsiteX1587" fmla="*/ 3178016 w 6400800"/>
                <a:gd name="connsiteY1587" fmla="*/ 231934 h 514350"/>
                <a:gd name="connsiteX1588" fmla="*/ 3174206 w 6400800"/>
                <a:gd name="connsiteY1588" fmla="*/ 250984 h 514350"/>
                <a:gd name="connsiteX1589" fmla="*/ 3170396 w 6400800"/>
                <a:gd name="connsiteY1589" fmla="*/ 277654 h 514350"/>
                <a:gd name="connsiteX1590" fmla="*/ 3169444 w 6400800"/>
                <a:gd name="connsiteY1590" fmla="*/ 275749 h 514350"/>
                <a:gd name="connsiteX1591" fmla="*/ 3163729 w 6400800"/>
                <a:gd name="connsiteY1591" fmla="*/ 215741 h 514350"/>
                <a:gd name="connsiteX1592" fmla="*/ 3162776 w 6400800"/>
                <a:gd name="connsiteY1592" fmla="*/ 207169 h 514350"/>
                <a:gd name="connsiteX1593" fmla="*/ 3163729 w 6400800"/>
                <a:gd name="connsiteY1593" fmla="*/ 203359 h 514350"/>
                <a:gd name="connsiteX1594" fmla="*/ 3174206 w 6400800"/>
                <a:gd name="connsiteY1594" fmla="*/ 132874 h 514350"/>
                <a:gd name="connsiteX1595" fmla="*/ 3178016 w 6400800"/>
                <a:gd name="connsiteY1595" fmla="*/ 106204 h 514350"/>
                <a:gd name="connsiteX1596" fmla="*/ 3170396 w 6400800"/>
                <a:gd name="connsiteY1596" fmla="*/ 131921 h 514350"/>
                <a:gd name="connsiteX1597" fmla="*/ 3158014 w 6400800"/>
                <a:gd name="connsiteY1597" fmla="*/ 177641 h 514350"/>
                <a:gd name="connsiteX1598" fmla="*/ 3154204 w 6400800"/>
                <a:gd name="connsiteY1598" fmla="*/ 159544 h 514350"/>
                <a:gd name="connsiteX1599" fmla="*/ 3149441 w 6400800"/>
                <a:gd name="connsiteY1599" fmla="*/ 134779 h 514350"/>
                <a:gd name="connsiteX1600" fmla="*/ 3143726 w 6400800"/>
                <a:gd name="connsiteY1600" fmla="*/ 112871 h 514350"/>
                <a:gd name="connsiteX1601" fmla="*/ 3133249 w 6400800"/>
                <a:gd name="connsiteY1601" fmla="*/ 77629 h 514350"/>
                <a:gd name="connsiteX1602" fmla="*/ 3122771 w 6400800"/>
                <a:gd name="connsiteY1602" fmla="*/ 47149 h 514350"/>
                <a:gd name="connsiteX1603" fmla="*/ 3129439 w 6400800"/>
                <a:gd name="connsiteY1603" fmla="*/ 78581 h 514350"/>
                <a:gd name="connsiteX1604" fmla="*/ 3136106 w 6400800"/>
                <a:gd name="connsiteY1604" fmla="*/ 114776 h 514350"/>
                <a:gd name="connsiteX1605" fmla="*/ 3139916 w 6400800"/>
                <a:gd name="connsiteY1605" fmla="*/ 136684 h 514350"/>
                <a:gd name="connsiteX1606" fmla="*/ 3142774 w 6400800"/>
                <a:gd name="connsiteY1606" fmla="*/ 161449 h 514350"/>
                <a:gd name="connsiteX1607" fmla="*/ 3147536 w 6400800"/>
                <a:gd name="connsiteY1607" fmla="*/ 213836 h 514350"/>
                <a:gd name="connsiteX1608" fmla="*/ 3146584 w 6400800"/>
                <a:gd name="connsiteY1608" fmla="*/ 217646 h 514350"/>
                <a:gd name="connsiteX1609" fmla="*/ 3143726 w 6400800"/>
                <a:gd name="connsiteY1609" fmla="*/ 210026 h 514350"/>
                <a:gd name="connsiteX1610" fmla="*/ 3138964 w 6400800"/>
                <a:gd name="connsiteY1610" fmla="*/ 196691 h 514350"/>
                <a:gd name="connsiteX1611" fmla="*/ 3134201 w 6400800"/>
                <a:gd name="connsiteY1611" fmla="*/ 179546 h 514350"/>
                <a:gd name="connsiteX1612" fmla="*/ 3126581 w 6400800"/>
                <a:gd name="connsiteY1612" fmla="*/ 155734 h 514350"/>
                <a:gd name="connsiteX1613" fmla="*/ 3129439 w 6400800"/>
                <a:gd name="connsiteY1613" fmla="*/ 172879 h 514350"/>
                <a:gd name="connsiteX1614" fmla="*/ 3118961 w 6400800"/>
                <a:gd name="connsiteY1614" fmla="*/ 150019 h 514350"/>
                <a:gd name="connsiteX1615" fmla="*/ 3112294 w 6400800"/>
                <a:gd name="connsiteY1615" fmla="*/ 136684 h 514350"/>
                <a:gd name="connsiteX1616" fmla="*/ 3102769 w 6400800"/>
                <a:gd name="connsiteY1616" fmla="*/ 113824 h 514350"/>
                <a:gd name="connsiteX1617" fmla="*/ 3090386 w 6400800"/>
                <a:gd name="connsiteY1617" fmla="*/ 87154 h 514350"/>
                <a:gd name="connsiteX1618" fmla="*/ 3099911 w 6400800"/>
                <a:gd name="connsiteY1618" fmla="*/ 114776 h 514350"/>
                <a:gd name="connsiteX1619" fmla="*/ 3109436 w 6400800"/>
                <a:gd name="connsiteY1619" fmla="*/ 146209 h 514350"/>
                <a:gd name="connsiteX1620" fmla="*/ 3115151 w 6400800"/>
                <a:gd name="connsiteY1620" fmla="*/ 167164 h 514350"/>
                <a:gd name="connsiteX1621" fmla="*/ 3109436 w 6400800"/>
                <a:gd name="connsiteY1621" fmla="*/ 155734 h 514350"/>
                <a:gd name="connsiteX1622" fmla="*/ 3116104 w 6400800"/>
                <a:gd name="connsiteY1622" fmla="*/ 176689 h 514350"/>
                <a:gd name="connsiteX1623" fmla="*/ 3121819 w 6400800"/>
                <a:gd name="connsiteY1623" fmla="*/ 194786 h 514350"/>
                <a:gd name="connsiteX1624" fmla="*/ 3125629 w 6400800"/>
                <a:gd name="connsiteY1624" fmla="*/ 213836 h 514350"/>
                <a:gd name="connsiteX1625" fmla="*/ 3123724 w 6400800"/>
                <a:gd name="connsiteY1625" fmla="*/ 215741 h 514350"/>
                <a:gd name="connsiteX1626" fmla="*/ 3122771 w 6400800"/>
                <a:gd name="connsiteY1626" fmla="*/ 210979 h 514350"/>
                <a:gd name="connsiteX1627" fmla="*/ 3122771 w 6400800"/>
                <a:gd name="connsiteY1627" fmla="*/ 216694 h 514350"/>
                <a:gd name="connsiteX1628" fmla="*/ 3113246 w 6400800"/>
                <a:gd name="connsiteY1628" fmla="*/ 228124 h 514350"/>
                <a:gd name="connsiteX1629" fmla="*/ 3113246 w 6400800"/>
                <a:gd name="connsiteY1629" fmla="*/ 228124 h 514350"/>
                <a:gd name="connsiteX1630" fmla="*/ 3110389 w 6400800"/>
                <a:gd name="connsiteY1630" fmla="*/ 191929 h 514350"/>
                <a:gd name="connsiteX1631" fmla="*/ 3108484 w 6400800"/>
                <a:gd name="connsiteY1631" fmla="*/ 171926 h 514350"/>
                <a:gd name="connsiteX1632" fmla="*/ 3106579 w 6400800"/>
                <a:gd name="connsiteY1632" fmla="*/ 192881 h 514350"/>
                <a:gd name="connsiteX1633" fmla="*/ 3104674 w 6400800"/>
                <a:gd name="connsiteY1633" fmla="*/ 228124 h 514350"/>
                <a:gd name="connsiteX1634" fmla="*/ 3104674 w 6400800"/>
                <a:gd name="connsiteY1634" fmla="*/ 227171 h 514350"/>
                <a:gd name="connsiteX1635" fmla="*/ 3097054 w 6400800"/>
                <a:gd name="connsiteY1635" fmla="*/ 208121 h 514350"/>
                <a:gd name="connsiteX1636" fmla="*/ 3100864 w 6400800"/>
                <a:gd name="connsiteY1636" fmla="*/ 228124 h 514350"/>
                <a:gd name="connsiteX1637" fmla="*/ 3103721 w 6400800"/>
                <a:gd name="connsiteY1637" fmla="*/ 244316 h 514350"/>
                <a:gd name="connsiteX1638" fmla="*/ 3096101 w 6400800"/>
                <a:gd name="connsiteY1638" fmla="*/ 255746 h 514350"/>
                <a:gd name="connsiteX1639" fmla="*/ 3087529 w 6400800"/>
                <a:gd name="connsiteY1639" fmla="*/ 270034 h 514350"/>
                <a:gd name="connsiteX1640" fmla="*/ 3082766 w 6400800"/>
                <a:gd name="connsiteY1640" fmla="*/ 252889 h 514350"/>
                <a:gd name="connsiteX1641" fmla="*/ 3077051 w 6400800"/>
                <a:gd name="connsiteY1641" fmla="*/ 233839 h 514350"/>
                <a:gd name="connsiteX1642" fmla="*/ 3078956 w 6400800"/>
                <a:gd name="connsiteY1642" fmla="*/ 252889 h 514350"/>
                <a:gd name="connsiteX1643" fmla="*/ 3079909 w 6400800"/>
                <a:gd name="connsiteY1643" fmla="*/ 264319 h 514350"/>
                <a:gd name="connsiteX1644" fmla="*/ 3077051 w 6400800"/>
                <a:gd name="connsiteY1644" fmla="*/ 255746 h 514350"/>
                <a:gd name="connsiteX1645" fmla="*/ 3074194 w 6400800"/>
                <a:gd name="connsiteY1645" fmla="*/ 248126 h 514350"/>
                <a:gd name="connsiteX1646" fmla="*/ 3074194 w 6400800"/>
                <a:gd name="connsiteY1646" fmla="*/ 242411 h 514350"/>
                <a:gd name="connsiteX1647" fmla="*/ 3075146 w 6400800"/>
                <a:gd name="connsiteY1647" fmla="*/ 229076 h 514350"/>
                <a:gd name="connsiteX1648" fmla="*/ 3077051 w 6400800"/>
                <a:gd name="connsiteY1648" fmla="*/ 220504 h 514350"/>
                <a:gd name="connsiteX1649" fmla="*/ 3086576 w 6400800"/>
                <a:gd name="connsiteY1649" fmla="*/ 189071 h 514350"/>
                <a:gd name="connsiteX1650" fmla="*/ 3096101 w 6400800"/>
                <a:gd name="connsiteY1650" fmla="*/ 161449 h 514350"/>
                <a:gd name="connsiteX1651" fmla="*/ 3083719 w 6400800"/>
                <a:gd name="connsiteY1651" fmla="*/ 188119 h 514350"/>
                <a:gd name="connsiteX1652" fmla="*/ 3071336 w 6400800"/>
                <a:gd name="connsiteY1652" fmla="*/ 218599 h 514350"/>
                <a:gd name="connsiteX1653" fmla="*/ 3068479 w 6400800"/>
                <a:gd name="connsiteY1653" fmla="*/ 224314 h 514350"/>
                <a:gd name="connsiteX1654" fmla="*/ 3068479 w 6400800"/>
                <a:gd name="connsiteY1654" fmla="*/ 216694 h 514350"/>
                <a:gd name="connsiteX1655" fmla="*/ 3069431 w 6400800"/>
                <a:gd name="connsiteY1655" fmla="*/ 209074 h 514350"/>
                <a:gd name="connsiteX1656" fmla="*/ 3072289 w 6400800"/>
                <a:gd name="connsiteY1656" fmla="*/ 181451 h 514350"/>
                <a:gd name="connsiteX1657" fmla="*/ 3073241 w 6400800"/>
                <a:gd name="connsiteY1657" fmla="*/ 157639 h 514350"/>
                <a:gd name="connsiteX1658" fmla="*/ 3067526 w 6400800"/>
                <a:gd name="connsiteY1658" fmla="*/ 180499 h 514350"/>
                <a:gd name="connsiteX1659" fmla="*/ 3066574 w 6400800"/>
                <a:gd name="connsiteY1659" fmla="*/ 183356 h 514350"/>
                <a:gd name="connsiteX1660" fmla="*/ 3064669 w 6400800"/>
                <a:gd name="connsiteY1660" fmla="*/ 148114 h 514350"/>
                <a:gd name="connsiteX1661" fmla="*/ 3064669 w 6400800"/>
                <a:gd name="connsiteY1661" fmla="*/ 145256 h 514350"/>
                <a:gd name="connsiteX1662" fmla="*/ 3064669 w 6400800"/>
                <a:gd name="connsiteY1662" fmla="*/ 146209 h 514350"/>
                <a:gd name="connsiteX1663" fmla="*/ 3063716 w 6400800"/>
                <a:gd name="connsiteY1663" fmla="*/ 131921 h 514350"/>
                <a:gd name="connsiteX1664" fmla="*/ 3058954 w 6400800"/>
                <a:gd name="connsiteY1664" fmla="*/ 174784 h 514350"/>
                <a:gd name="connsiteX1665" fmla="*/ 3056096 w 6400800"/>
                <a:gd name="connsiteY1665" fmla="*/ 190976 h 514350"/>
                <a:gd name="connsiteX1666" fmla="*/ 3054191 w 6400800"/>
                <a:gd name="connsiteY1666" fmla="*/ 201454 h 514350"/>
                <a:gd name="connsiteX1667" fmla="*/ 3049429 w 6400800"/>
                <a:gd name="connsiteY1667" fmla="*/ 189071 h 514350"/>
                <a:gd name="connsiteX1668" fmla="*/ 3049429 w 6400800"/>
                <a:gd name="connsiteY1668" fmla="*/ 188119 h 514350"/>
                <a:gd name="connsiteX1669" fmla="*/ 3056096 w 6400800"/>
                <a:gd name="connsiteY1669" fmla="*/ 151924 h 514350"/>
                <a:gd name="connsiteX1670" fmla="*/ 3062764 w 6400800"/>
                <a:gd name="connsiteY1670" fmla="*/ 120491 h 514350"/>
                <a:gd name="connsiteX1671" fmla="*/ 3052286 w 6400800"/>
                <a:gd name="connsiteY1671" fmla="*/ 150971 h 514350"/>
                <a:gd name="connsiteX1672" fmla="*/ 3041809 w 6400800"/>
                <a:gd name="connsiteY1672" fmla="*/ 186214 h 514350"/>
                <a:gd name="connsiteX1673" fmla="*/ 3036094 w 6400800"/>
                <a:gd name="connsiteY1673" fmla="*/ 208121 h 514350"/>
                <a:gd name="connsiteX1674" fmla="*/ 3034189 w 6400800"/>
                <a:gd name="connsiteY1674" fmla="*/ 215741 h 514350"/>
                <a:gd name="connsiteX1675" fmla="*/ 3032284 w 6400800"/>
                <a:gd name="connsiteY1675" fmla="*/ 205264 h 514350"/>
                <a:gd name="connsiteX1676" fmla="*/ 3048476 w 6400800"/>
                <a:gd name="connsiteY1676" fmla="*/ 148114 h 514350"/>
                <a:gd name="connsiteX1677" fmla="*/ 3057049 w 6400800"/>
                <a:gd name="connsiteY1677" fmla="*/ 123349 h 514350"/>
                <a:gd name="connsiteX1678" fmla="*/ 3054191 w 6400800"/>
                <a:gd name="connsiteY1678" fmla="*/ 129064 h 514350"/>
                <a:gd name="connsiteX1679" fmla="*/ 3045619 w 6400800"/>
                <a:gd name="connsiteY1679" fmla="*/ 146209 h 514350"/>
                <a:gd name="connsiteX1680" fmla="*/ 3029426 w 6400800"/>
                <a:gd name="connsiteY1680" fmla="*/ 184309 h 514350"/>
                <a:gd name="connsiteX1681" fmla="*/ 3029426 w 6400800"/>
                <a:gd name="connsiteY1681" fmla="*/ 167164 h 514350"/>
                <a:gd name="connsiteX1682" fmla="*/ 3030379 w 6400800"/>
                <a:gd name="connsiteY1682" fmla="*/ 140494 h 514350"/>
                <a:gd name="connsiteX1683" fmla="*/ 3025616 w 6400800"/>
                <a:gd name="connsiteY1683" fmla="*/ 166211 h 514350"/>
                <a:gd name="connsiteX1684" fmla="*/ 3022759 w 6400800"/>
                <a:gd name="connsiteY1684" fmla="*/ 196691 h 514350"/>
                <a:gd name="connsiteX1685" fmla="*/ 3022759 w 6400800"/>
                <a:gd name="connsiteY1685" fmla="*/ 202406 h 514350"/>
                <a:gd name="connsiteX1686" fmla="*/ 3019901 w 6400800"/>
                <a:gd name="connsiteY1686" fmla="*/ 210979 h 514350"/>
                <a:gd name="connsiteX1687" fmla="*/ 3011329 w 6400800"/>
                <a:gd name="connsiteY1687" fmla="*/ 234791 h 514350"/>
                <a:gd name="connsiteX1688" fmla="*/ 3007519 w 6400800"/>
                <a:gd name="connsiteY1688" fmla="*/ 226219 h 514350"/>
                <a:gd name="connsiteX1689" fmla="*/ 3011329 w 6400800"/>
                <a:gd name="connsiteY1689" fmla="*/ 215741 h 514350"/>
                <a:gd name="connsiteX1690" fmla="*/ 3006566 w 6400800"/>
                <a:gd name="connsiteY1690" fmla="*/ 222409 h 514350"/>
                <a:gd name="connsiteX1691" fmla="*/ 3001804 w 6400800"/>
                <a:gd name="connsiteY1691" fmla="*/ 202406 h 514350"/>
                <a:gd name="connsiteX1692" fmla="*/ 3000851 w 6400800"/>
                <a:gd name="connsiteY1692" fmla="*/ 197644 h 514350"/>
                <a:gd name="connsiteX1693" fmla="*/ 3003709 w 6400800"/>
                <a:gd name="connsiteY1693" fmla="*/ 189071 h 514350"/>
                <a:gd name="connsiteX1694" fmla="*/ 3011329 w 6400800"/>
                <a:gd name="connsiteY1694" fmla="*/ 164306 h 514350"/>
                <a:gd name="connsiteX1695" fmla="*/ 3018949 w 6400800"/>
                <a:gd name="connsiteY1695" fmla="*/ 142399 h 514350"/>
                <a:gd name="connsiteX1696" fmla="*/ 3007519 w 6400800"/>
                <a:gd name="connsiteY1696" fmla="*/ 162401 h 514350"/>
                <a:gd name="connsiteX1697" fmla="*/ 2997994 w 6400800"/>
                <a:gd name="connsiteY1697" fmla="*/ 182404 h 514350"/>
                <a:gd name="connsiteX1698" fmla="*/ 2995136 w 6400800"/>
                <a:gd name="connsiteY1698" fmla="*/ 169069 h 514350"/>
                <a:gd name="connsiteX1699" fmla="*/ 3014186 w 6400800"/>
                <a:gd name="connsiteY1699" fmla="*/ 100489 h 514350"/>
                <a:gd name="connsiteX1700" fmla="*/ 3021806 w 6400800"/>
                <a:gd name="connsiteY1700" fmla="*/ 76676 h 514350"/>
                <a:gd name="connsiteX1701" fmla="*/ 3024664 w 6400800"/>
                <a:gd name="connsiteY1701" fmla="*/ 68104 h 514350"/>
                <a:gd name="connsiteX1702" fmla="*/ 3020854 w 6400800"/>
                <a:gd name="connsiteY1702" fmla="*/ 75724 h 514350"/>
                <a:gd name="connsiteX1703" fmla="*/ 3010376 w 6400800"/>
                <a:gd name="connsiteY1703" fmla="*/ 98584 h 514350"/>
                <a:gd name="connsiteX1704" fmla="*/ 2996089 w 6400800"/>
                <a:gd name="connsiteY1704" fmla="*/ 134779 h 514350"/>
                <a:gd name="connsiteX1705" fmla="*/ 2991326 w 6400800"/>
                <a:gd name="connsiteY1705" fmla="*/ 148114 h 514350"/>
                <a:gd name="connsiteX1706" fmla="*/ 2987516 w 6400800"/>
                <a:gd name="connsiteY1706" fmla="*/ 122396 h 514350"/>
                <a:gd name="connsiteX1707" fmla="*/ 2984659 w 6400800"/>
                <a:gd name="connsiteY1707" fmla="*/ 91916 h 514350"/>
                <a:gd name="connsiteX1708" fmla="*/ 2983706 w 6400800"/>
                <a:gd name="connsiteY1708" fmla="*/ 122396 h 514350"/>
                <a:gd name="connsiteX1709" fmla="*/ 2985611 w 6400800"/>
                <a:gd name="connsiteY1709" fmla="*/ 157639 h 514350"/>
                <a:gd name="connsiteX1710" fmla="*/ 2985611 w 6400800"/>
                <a:gd name="connsiteY1710" fmla="*/ 163354 h 514350"/>
                <a:gd name="connsiteX1711" fmla="*/ 2978944 w 6400800"/>
                <a:gd name="connsiteY1711" fmla="*/ 182404 h 514350"/>
                <a:gd name="connsiteX1712" fmla="*/ 2960846 w 6400800"/>
                <a:gd name="connsiteY1712" fmla="*/ 238601 h 514350"/>
                <a:gd name="connsiteX1713" fmla="*/ 2959894 w 6400800"/>
                <a:gd name="connsiteY1713" fmla="*/ 234791 h 514350"/>
                <a:gd name="connsiteX1714" fmla="*/ 2960846 w 6400800"/>
                <a:gd name="connsiteY1714" fmla="*/ 239554 h 514350"/>
                <a:gd name="connsiteX1715" fmla="*/ 2950369 w 6400800"/>
                <a:gd name="connsiteY1715" fmla="*/ 274796 h 514350"/>
                <a:gd name="connsiteX1716" fmla="*/ 2952274 w 6400800"/>
                <a:gd name="connsiteY1716" fmla="*/ 264319 h 514350"/>
                <a:gd name="connsiteX1717" fmla="*/ 2944654 w 6400800"/>
                <a:gd name="connsiteY1717" fmla="*/ 284321 h 514350"/>
                <a:gd name="connsiteX1718" fmla="*/ 2944654 w 6400800"/>
                <a:gd name="connsiteY1718" fmla="*/ 283369 h 514350"/>
                <a:gd name="connsiteX1719" fmla="*/ 2945606 w 6400800"/>
                <a:gd name="connsiteY1719" fmla="*/ 277654 h 514350"/>
                <a:gd name="connsiteX1720" fmla="*/ 2949416 w 6400800"/>
                <a:gd name="connsiteY1720" fmla="*/ 238601 h 514350"/>
                <a:gd name="connsiteX1721" fmla="*/ 2951321 w 6400800"/>
                <a:gd name="connsiteY1721" fmla="*/ 221456 h 514350"/>
                <a:gd name="connsiteX1722" fmla="*/ 2953226 w 6400800"/>
                <a:gd name="connsiteY1722" fmla="*/ 205264 h 514350"/>
                <a:gd name="connsiteX1723" fmla="*/ 2956084 w 6400800"/>
                <a:gd name="connsiteY1723" fmla="*/ 179546 h 514350"/>
                <a:gd name="connsiteX1724" fmla="*/ 2958941 w 6400800"/>
                <a:gd name="connsiteY1724" fmla="*/ 156686 h 514350"/>
                <a:gd name="connsiteX1725" fmla="*/ 2952274 w 6400800"/>
                <a:gd name="connsiteY1725" fmla="*/ 178594 h 514350"/>
                <a:gd name="connsiteX1726" fmla="*/ 2945606 w 6400800"/>
                <a:gd name="connsiteY1726" fmla="*/ 203359 h 514350"/>
                <a:gd name="connsiteX1727" fmla="*/ 2941796 w 6400800"/>
                <a:gd name="connsiteY1727" fmla="*/ 218599 h 514350"/>
                <a:gd name="connsiteX1728" fmla="*/ 2937986 w 6400800"/>
                <a:gd name="connsiteY1728" fmla="*/ 235744 h 514350"/>
                <a:gd name="connsiteX1729" fmla="*/ 2931319 w 6400800"/>
                <a:gd name="connsiteY1729" fmla="*/ 270034 h 514350"/>
                <a:gd name="connsiteX1730" fmla="*/ 2929414 w 6400800"/>
                <a:gd name="connsiteY1730" fmla="*/ 260509 h 514350"/>
                <a:gd name="connsiteX1731" fmla="*/ 2928461 w 6400800"/>
                <a:gd name="connsiteY1731" fmla="*/ 256699 h 514350"/>
                <a:gd name="connsiteX1732" fmla="*/ 2931319 w 6400800"/>
                <a:gd name="connsiteY1732" fmla="*/ 251936 h 514350"/>
                <a:gd name="connsiteX1733" fmla="*/ 2927509 w 6400800"/>
                <a:gd name="connsiteY1733" fmla="*/ 254794 h 514350"/>
                <a:gd name="connsiteX1734" fmla="*/ 2925604 w 6400800"/>
                <a:gd name="connsiteY1734" fmla="*/ 247174 h 514350"/>
                <a:gd name="connsiteX1735" fmla="*/ 2931319 w 6400800"/>
                <a:gd name="connsiteY1735" fmla="*/ 231934 h 514350"/>
                <a:gd name="connsiteX1736" fmla="*/ 2924651 w 6400800"/>
                <a:gd name="connsiteY1736" fmla="*/ 243364 h 514350"/>
                <a:gd name="connsiteX1737" fmla="*/ 2922746 w 6400800"/>
                <a:gd name="connsiteY1737" fmla="*/ 237649 h 514350"/>
                <a:gd name="connsiteX1738" fmla="*/ 2922746 w 6400800"/>
                <a:gd name="connsiteY1738" fmla="*/ 236696 h 514350"/>
                <a:gd name="connsiteX1739" fmla="*/ 2921794 w 6400800"/>
                <a:gd name="connsiteY1739" fmla="*/ 236696 h 514350"/>
                <a:gd name="connsiteX1740" fmla="*/ 2916079 w 6400800"/>
                <a:gd name="connsiteY1740" fmla="*/ 236696 h 514350"/>
                <a:gd name="connsiteX1741" fmla="*/ 2916079 w 6400800"/>
                <a:gd name="connsiteY1741" fmla="*/ 236696 h 514350"/>
                <a:gd name="connsiteX1742" fmla="*/ 2935129 w 6400800"/>
                <a:gd name="connsiteY1742" fmla="*/ 176689 h 514350"/>
                <a:gd name="connsiteX1743" fmla="*/ 2909411 w 6400800"/>
                <a:gd name="connsiteY1743" fmla="*/ 230029 h 514350"/>
                <a:gd name="connsiteX1744" fmla="*/ 2902744 w 6400800"/>
                <a:gd name="connsiteY1744" fmla="*/ 211931 h 514350"/>
                <a:gd name="connsiteX1745" fmla="*/ 2900839 w 6400800"/>
                <a:gd name="connsiteY1745" fmla="*/ 195739 h 514350"/>
                <a:gd name="connsiteX1746" fmla="*/ 2897981 w 6400800"/>
                <a:gd name="connsiteY1746" fmla="*/ 173831 h 514350"/>
                <a:gd name="connsiteX1747" fmla="*/ 2896076 w 6400800"/>
                <a:gd name="connsiteY1747" fmla="*/ 153829 h 514350"/>
                <a:gd name="connsiteX1748" fmla="*/ 2893219 w 6400800"/>
                <a:gd name="connsiteY1748" fmla="*/ 121444 h 514350"/>
                <a:gd name="connsiteX1749" fmla="*/ 2890361 w 6400800"/>
                <a:gd name="connsiteY1749" fmla="*/ 93821 h 514350"/>
                <a:gd name="connsiteX1750" fmla="*/ 2889409 w 6400800"/>
                <a:gd name="connsiteY1750" fmla="*/ 121444 h 514350"/>
                <a:gd name="connsiteX1751" fmla="*/ 2889409 w 6400800"/>
                <a:gd name="connsiteY1751" fmla="*/ 153829 h 514350"/>
                <a:gd name="connsiteX1752" fmla="*/ 2889409 w 6400800"/>
                <a:gd name="connsiteY1752" fmla="*/ 173831 h 514350"/>
                <a:gd name="connsiteX1753" fmla="*/ 2890361 w 6400800"/>
                <a:gd name="connsiteY1753" fmla="*/ 195739 h 514350"/>
                <a:gd name="connsiteX1754" fmla="*/ 2891314 w 6400800"/>
                <a:gd name="connsiteY1754" fmla="*/ 211931 h 514350"/>
                <a:gd name="connsiteX1755" fmla="*/ 2887504 w 6400800"/>
                <a:gd name="connsiteY1755" fmla="*/ 217646 h 514350"/>
                <a:gd name="connsiteX1756" fmla="*/ 2885599 w 6400800"/>
                <a:gd name="connsiteY1756" fmla="*/ 221456 h 514350"/>
                <a:gd name="connsiteX1757" fmla="*/ 2880836 w 6400800"/>
                <a:gd name="connsiteY1757" fmla="*/ 195739 h 514350"/>
                <a:gd name="connsiteX1758" fmla="*/ 2874169 w 6400800"/>
                <a:gd name="connsiteY1758" fmla="*/ 166211 h 514350"/>
                <a:gd name="connsiteX1759" fmla="*/ 2867501 w 6400800"/>
                <a:gd name="connsiteY1759" fmla="*/ 144304 h 514350"/>
                <a:gd name="connsiteX1760" fmla="*/ 2860834 w 6400800"/>
                <a:gd name="connsiteY1760" fmla="*/ 125254 h 514350"/>
                <a:gd name="connsiteX1761" fmla="*/ 2863691 w 6400800"/>
                <a:gd name="connsiteY1761" fmla="*/ 145256 h 514350"/>
                <a:gd name="connsiteX1762" fmla="*/ 2866549 w 6400800"/>
                <a:gd name="connsiteY1762" fmla="*/ 168116 h 514350"/>
                <a:gd name="connsiteX1763" fmla="*/ 2869406 w 6400800"/>
                <a:gd name="connsiteY1763" fmla="*/ 197644 h 514350"/>
                <a:gd name="connsiteX1764" fmla="*/ 2872264 w 6400800"/>
                <a:gd name="connsiteY1764" fmla="*/ 232886 h 514350"/>
                <a:gd name="connsiteX1765" fmla="*/ 2873216 w 6400800"/>
                <a:gd name="connsiteY1765" fmla="*/ 247174 h 514350"/>
                <a:gd name="connsiteX1766" fmla="*/ 2864644 w 6400800"/>
                <a:gd name="connsiteY1766" fmla="*/ 270034 h 514350"/>
                <a:gd name="connsiteX1767" fmla="*/ 2863691 w 6400800"/>
                <a:gd name="connsiteY1767" fmla="*/ 274796 h 514350"/>
                <a:gd name="connsiteX1768" fmla="*/ 2855119 w 6400800"/>
                <a:gd name="connsiteY1768" fmla="*/ 257651 h 514350"/>
                <a:gd name="connsiteX1769" fmla="*/ 2841784 w 6400800"/>
                <a:gd name="connsiteY1769" fmla="*/ 230029 h 514350"/>
                <a:gd name="connsiteX1770" fmla="*/ 2855119 w 6400800"/>
                <a:gd name="connsiteY1770" fmla="*/ 226219 h 514350"/>
                <a:gd name="connsiteX1771" fmla="*/ 2853214 w 6400800"/>
                <a:gd name="connsiteY1771" fmla="*/ 231934 h 514350"/>
                <a:gd name="connsiteX1772" fmla="*/ 2840831 w 6400800"/>
                <a:gd name="connsiteY1772" fmla="*/ 209074 h 514350"/>
                <a:gd name="connsiteX1773" fmla="*/ 2866549 w 6400800"/>
                <a:gd name="connsiteY1773" fmla="*/ 150971 h 514350"/>
                <a:gd name="connsiteX1774" fmla="*/ 2835116 w 6400800"/>
                <a:gd name="connsiteY1774" fmla="*/ 198596 h 514350"/>
                <a:gd name="connsiteX1775" fmla="*/ 2829401 w 6400800"/>
                <a:gd name="connsiteY1775" fmla="*/ 188119 h 514350"/>
                <a:gd name="connsiteX1776" fmla="*/ 2820829 w 6400800"/>
                <a:gd name="connsiteY1776" fmla="*/ 132874 h 514350"/>
                <a:gd name="connsiteX1777" fmla="*/ 2821781 w 6400800"/>
                <a:gd name="connsiteY1777" fmla="*/ 173831 h 514350"/>
                <a:gd name="connsiteX1778" fmla="*/ 2807494 w 6400800"/>
                <a:gd name="connsiteY1778" fmla="*/ 151924 h 514350"/>
                <a:gd name="connsiteX1779" fmla="*/ 2782729 w 6400800"/>
                <a:gd name="connsiteY1779" fmla="*/ 115729 h 514350"/>
                <a:gd name="connsiteX1780" fmla="*/ 2759869 w 6400800"/>
                <a:gd name="connsiteY1780" fmla="*/ 85249 h 514350"/>
                <a:gd name="connsiteX1781" fmla="*/ 2778919 w 6400800"/>
                <a:gd name="connsiteY1781" fmla="*/ 118586 h 514350"/>
                <a:gd name="connsiteX1782" fmla="*/ 2799874 w 6400800"/>
                <a:gd name="connsiteY1782" fmla="*/ 156686 h 514350"/>
                <a:gd name="connsiteX1783" fmla="*/ 2812256 w 6400800"/>
                <a:gd name="connsiteY1783" fmla="*/ 180499 h 514350"/>
                <a:gd name="connsiteX1784" fmla="*/ 2820829 w 6400800"/>
                <a:gd name="connsiteY1784" fmla="*/ 197644 h 514350"/>
                <a:gd name="connsiteX1785" fmla="*/ 2820829 w 6400800"/>
                <a:gd name="connsiteY1785" fmla="*/ 204311 h 514350"/>
                <a:gd name="connsiteX1786" fmla="*/ 2821781 w 6400800"/>
                <a:gd name="connsiteY1786" fmla="*/ 218599 h 514350"/>
                <a:gd name="connsiteX1787" fmla="*/ 2817019 w 6400800"/>
                <a:gd name="connsiteY1787" fmla="*/ 227171 h 514350"/>
                <a:gd name="connsiteX1788" fmla="*/ 2806541 w 6400800"/>
                <a:gd name="connsiteY1788" fmla="*/ 211931 h 514350"/>
                <a:gd name="connsiteX1789" fmla="*/ 2805589 w 6400800"/>
                <a:gd name="connsiteY1789" fmla="*/ 210026 h 514350"/>
                <a:gd name="connsiteX1790" fmla="*/ 2806541 w 6400800"/>
                <a:gd name="connsiteY1790" fmla="*/ 208121 h 514350"/>
                <a:gd name="connsiteX1791" fmla="*/ 2805589 w 6400800"/>
                <a:gd name="connsiteY1791" fmla="*/ 209074 h 514350"/>
                <a:gd name="connsiteX1792" fmla="*/ 2792254 w 6400800"/>
                <a:gd name="connsiteY1792" fmla="*/ 191929 h 514350"/>
                <a:gd name="connsiteX1793" fmla="*/ 2767489 w 6400800"/>
                <a:gd name="connsiteY1793" fmla="*/ 161449 h 514350"/>
                <a:gd name="connsiteX1794" fmla="*/ 2765584 w 6400800"/>
                <a:gd name="connsiteY1794" fmla="*/ 158591 h 514350"/>
                <a:gd name="connsiteX1795" fmla="*/ 2765584 w 6400800"/>
                <a:gd name="connsiteY1795" fmla="*/ 155734 h 514350"/>
                <a:gd name="connsiteX1796" fmla="*/ 2762726 w 6400800"/>
                <a:gd name="connsiteY1796" fmla="*/ 128111 h 514350"/>
                <a:gd name="connsiteX1797" fmla="*/ 2759869 w 6400800"/>
                <a:gd name="connsiteY1797" fmla="*/ 103346 h 514350"/>
                <a:gd name="connsiteX1798" fmla="*/ 2758916 w 6400800"/>
                <a:gd name="connsiteY1798" fmla="*/ 128111 h 514350"/>
                <a:gd name="connsiteX1799" fmla="*/ 2758916 w 6400800"/>
                <a:gd name="connsiteY1799" fmla="*/ 150019 h 514350"/>
                <a:gd name="connsiteX1800" fmla="*/ 2745581 w 6400800"/>
                <a:gd name="connsiteY1800" fmla="*/ 135731 h 514350"/>
                <a:gd name="connsiteX1801" fmla="*/ 2758916 w 6400800"/>
                <a:gd name="connsiteY1801" fmla="*/ 153829 h 514350"/>
                <a:gd name="connsiteX1802" fmla="*/ 2758916 w 6400800"/>
                <a:gd name="connsiteY1802" fmla="*/ 155734 h 514350"/>
                <a:gd name="connsiteX1803" fmla="*/ 2758916 w 6400800"/>
                <a:gd name="connsiteY1803" fmla="*/ 172879 h 514350"/>
                <a:gd name="connsiteX1804" fmla="*/ 2759869 w 6400800"/>
                <a:gd name="connsiteY1804" fmla="*/ 191929 h 514350"/>
                <a:gd name="connsiteX1805" fmla="*/ 2761774 w 6400800"/>
                <a:gd name="connsiteY1805" fmla="*/ 219551 h 514350"/>
                <a:gd name="connsiteX1806" fmla="*/ 2760821 w 6400800"/>
                <a:gd name="connsiteY1806" fmla="*/ 217646 h 514350"/>
                <a:gd name="connsiteX1807" fmla="*/ 2760821 w 6400800"/>
                <a:gd name="connsiteY1807" fmla="*/ 216694 h 514350"/>
                <a:gd name="connsiteX1808" fmla="*/ 2760821 w 6400800"/>
                <a:gd name="connsiteY1808" fmla="*/ 217646 h 514350"/>
                <a:gd name="connsiteX1809" fmla="*/ 2741771 w 6400800"/>
                <a:gd name="connsiteY1809" fmla="*/ 172879 h 514350"/>
                <a:gd name="connsiteX1810" fmla="*/ 2757011 w 6400800"/>
                <a:gd name="connsiteY1810" fmla="*/ 228124 h 514350"/>
                <a:gd name="connsiteX1811" fmla="*/ 2743676 w 6400800"/>
                <a:gd name="connsiteY1811" fmla="*/ 268129 h 514350"/>
                <a:gd name="connsiteX1812" fmla="*/ 2736056 w 6400800"/>
                <a:gd name="connsiteY1812" fmla="*/ 254794 h 514350"/>
                <a:gd name="connsiteX1813" fmla="*/ 2737009 w 6400800"/>
                <a:gd name="connsiteY1813" fmla="*/ 232886 h 514350"/>
                <a:gd name="connsiteX1814" fmla="*/ 2732246 w 6400800"/>
                <a:gd name="connsiteY1814" fmla="*/ 249079 h 514350"/>
                <a:gd name="connsiteX1815" fmla="*/ 2730341 w 6400800"/>
                <a:gd name="connsiteY1815" fmla="*/ 246221 h 514350"/>
                <a:gd name="connsiteX1816" fmla="*/ 2731294 w 6400800"/>
                <a:gd name="connsiteY1816" fmla="*/ 250031 h 514350"/>
                <a:gd name="connsiteX1817" fmla="*/ 2729389 w 6400800"/>
                <a:gd name="connsiteY1817" fmla="*/ 258604 h 514350"/>
                <a:gd name="connsiteX1818" fmla="*/ 2729389 w 6400800"/>
                <a:gd name="connsiteY1818" fmla="*/ 247174 h 514350"/>
                <a:gd name="connsiteX1819" fmla="*/ 2731294 w 6400800"/>
                <a:gd name="connsiteY1819" fmla="*/ 218599 h 514350"/>
                <a:gd name="connsiteX1820" fmla="*/ 2733199 w 6400800"/>
                <a:gd name="connsiteY1820" fmla="*/ 219551 h 514350"/>
                <a:gd name="connsiteX1821" fmla="*/ 2736056 w 6400800"/>
                <a:gd name="connsiteY1821" fmla="*/ 222409 h 514350"/>
                <a:gd name="connsiteX1822" fmla="*/ 2738914 w 6400800"/>
                <a:gd name="connsiteY1822" fmla="*/ 230981 h 514350"/>
                <a:gd name="connsiteX1823" fmla="*/ 2737961 w 6400800"/>
                <a:gd name="connsiteY1823" fmla="*/ 222409 h 514350"/>
                <a:gd name="connsiteX1824" fmla="*/ 2735104 w 6400800"/>
                <a:gd name="connsiteY1824" fmla="*/ 218599 h 514350"/>
                <a:gd name="connsiteX1825" fmla="*/ 2730341 w 6400800"/>
                <a:gd name="connsiteY1825" fmla="*/ 216694 h 514350"/>
                <a:gd name="connsiteX1826" fmla="*/ 2728436 w 6400800"/>
                <a:gd name="connsiteY1826" fmla="*/ 216694 h 514350"/>
                <a:gd name="connsiteX1827" fmla="*/ 2728436 w 6400800"/>
                <a:gd name="connsiteY1827" fmla="*/ 218599 h 514350"/>
                <a:gd name="connsiteX1828" fmla="*/ 2721769 w 6400800"/>
                <a:gd name="connsiteY1828" fmla="*/ 248126 h 514350"/>
                <a:gd name="connsiteX1829" fmla="*/ 2719864 w 6400800"/>
                <a:gd name="connsiteY1829" fmla="*/ 260509 h 514350"/>
                <a:gd name="connsiteX1830" fmla="*/ 2717006 w 6400800"/>
                <a:gd name="connsiteY1830" fmla="*/ 254794 h 514350"/>
                <a:gd name="connsiteX1831" fmla="*/ 2717006 w 6400800"/>
                <a:gd name="connsiteY1831" fmla="*/ 253841 h 514350"/>
                <a:gd name="connsiteX1832" fmla="*/ 2718911 w 6400800"/>
                <a:gd name="connsiteY1832" fmla="*/ 238601 h 514350"/>
                <a:gd name="connsiteX1833" fmla="*/ 2716054 w 6400800"/>
                <a:gd name="connsiteY1833" fmla="*/ 247174 h 514350"/>
                <a:gd name="connsiteX1834" fmla="*/ 2716054 w 6400800"/>
                <a:gd name="connsiteY1834" fmla="*/ 176689 h 514350"/>
                <a:gd name="connsiteX1835" fmla="*/ 2713196 w 6400800"/>
                <a:gd name="connsiteY1835" fmla="*/ 198596 h 514350"/>
                <a:gd name="connsiteX1836" fmla="*/ 2709386 w 6400800"/>
                <a:gd name="connsiteY1836" fmla="*/ 230029 h 514350"/>
                <a:gd name="connsiteX1837" fmla="*/ 2704624 w 6400800"/>
                <a:gd name="connsiteY1837" fmla="*/ 218599 h 514350"/>
                <a:gd name="connsiteX1838" fmla="*/ 2703671 w 6400800"/>
                <a:gd name="connsiteY1838" fmla="*/ 199549 h 514350"/>
                <a:gd name="connsiteX1839" fmla="*/ 2703671 w 6400800"/>
                <a:gd name="connsiteY1839" fmla="*/ 163354 h 514350"/>
                <a:gd name="connsiteX1840" fmla="*/ 2706529 w 6400800"/>
                <a:gd name="connsiteY1840" fmla="*/ 164306 h 514350"/>
                <a:gd name="connsiteX1841" fmla="*/ 2710339 w 6400800"/>
                <a:gd name="connsiteY1841" fmla="*/ 167164 h 514350"/>
                <a:gd name="connsiteX1842" fmla="*/ 2714149 w 6400800"/>
                <a:gd name="connsiteY1842" fmla="*/ 176689 h 514350"/>
                <a:gd name="connsiteX1843" fmla="*/ 2712244 w 6400800"/>
                <a:gd name="connsiteY1843" fmla="*/ 166211 h 514350"/>
                <a:gd name="connsiteX1844" fmla="*/ 2708434 w 6400800"/>
                <a:gd name="connsiteY1844" fmla="*/ 161449 h 514350"/>
                <a:gd name="connsiteX1845" fmla="*/ 2702719 w 6400800"/>
                <a:gd name="connsiteY1845" fmla="*/ 159544 h 514350"/>
                <a:gd name="connsiteX1846" fmla="*/ 2700814 w 6400800"/>
                <a:gd name="connsiteY1846" fmla="*/ 159544 h 514350"/>
                <a:gd name="connsiteX1847" fmla="*/ 2700814 w 6400800"/>
                <a:gd name="connsiteY1847" fmla="*/ 161449 h 514350"/>
                <a:gd name="connsiteX1848" fmla="*/ 2697004 w 6400800"/>
                <a:gd name="connsiteY1848" fmla="*/ 193834 h 514350"/>
                <a:gd name="connsiteX1849" fmla="*/ 2693194 w 6400800"/>
                <a:gd name="connsiteY1849" fmla="*/ 181451 h 514350"/>
                <a:gd name="connsiteX1850" fmla="*/ 2697004 w 6400800"/>
                <a:gd name="connsiteY1850" fmla="*/ 198596 h 514350"/>
                <a:gd name="connsiteX1851" fmla="*/ 2697004 w 6400800"/>
                <a:gd name="connsiteY1851" fmla="*/ 198596 h 514350"/>
                <a:gd name="connsiteX1852" fmla="*/ 2696051 w 6400800"/>
                <a:gd name="connsiteY1852" fmla="*/ 236696 h 514350"/>
                <a:gd name="connsiteX1853" fmla="*/ 2697004 w 6400800"/>
                <a:gd name="connsiteY1853" fmla="*/ 262414 h 514350"/>
                <a:gd name="connsiteX1854" fmla="*/ 2697004 w 6400800"/>
                <a:gd name="connsiteY1854" fmla="*/ 263366 h 514350"/>
                <a:gd name="connsiteX1855" fmla="*/ 2696051 w 6400800"/>
                <a:gd name="connsiteY1855" fmla="*/ 265271 h 514350"/>
                <a:gd name="connsiteX1856" fmla="*/ 2694146 w 6400800"/>
                <a:gd name="connsiteY1856" fmla="*/ 261461 h 514350"/>
                <a:gd name="connsiteX1857" fmla="*/ 2685574 w 6400800"/>
                <a:gd name="connsiteY1857" fmla="*/ 246221 h 514350"/>
                <a:gd name="connsiteX1858" fmla="*/ 2677954 w 6400800"/>
                <a:gd name="connsiteY1858" fmla="*/ 210979 h 514350"/>
                <a:gd name="connsiteX1859" fmla="*/ 2676049 w 6400800"/>
                <a:gd name="connsiteY1859" fmla="*/ 200501 h 514350"/>
                <a:gd name="connsiteX1860" fmla="*/ 2681764 w 6400800"/>
                <a:gd name="connsiteY1860" fmla="*/ 173831 h 514350"/>
                <a:gd name="connsiteX1861" fmla="*/ 2687479 w 6400800"/>
                <a:gd name="connsiteY1861" fmla="*/ 144304 h 514350"/>
                <a:gd name="connsiteX1862" fmla="*/ 2691289 w 6400800"/>
                <a:gd name="connsiteY1862" fmla="*/ 118586 h 514350"/>
                <a:gd name="connsiteX1863" fmla="*/ 2683669 w 6400800"/>
                <a:gd name="connsiteY1863" fmla="*/ 143351 h 514350"/>
                <a:gd name="connsiteX1864" fmla="*/ 2677954 w 6400800"/>
                <a:gd name="connsiteY1864" fmla="*/ 162401 h 514350"/>
                <a:gd name="connsiteX1865" fmla="*/ 2673191 w 6400800"/>
                <a:gd name="connsiteY1865" fmla="*/ 176689 h 514350"/>
                <a:gd name="connsiteX1866" fmla="*/ 2673191 w 6400800"/>
                <a:gd name="connsiteY1866" fmla="*/ 177641 h 514350"/>
                <a:gd name="connsiteX1867" fmla="*/ 2672239 w 6400800"/>
                <a:gd name="connsiteY1867" fmla="*/ 173831 h 514350"/>
                <a:gd name="connsiteX1868" fmla="*/ 2666524 w 6400800"/>
                <a:gd name="connsiteY1868" fmla="*/ 146209 h 514350"/>
                <a:gd name="connsiteX1869" fmla="*/ 2661761 w 6400800"/>
                <a:gd name="connsiteY1869" fmla="*/ 121444 h 514350"/>
                <a:gd name="connsiteX1870" fmla="*/ 2662714 w 6400800"/>
                <a:gd name="connsiteY1870" fmla="*/ 146209 h 514350"/>
                <a:gd name="connsiteX1871" fmla="*/ 2666524 w 6400800"/>
                <a:gd name="connsiteY1871" fmla="*/ 196691 h 514350"/>
                <a:gd name="connsiteX1872" fmla="*/ 2665571 w 6400800"/>
                <a:gd name="connsiteY1872" fmla="*/ 200501 h 514350"/>
                <a:gd name="connsiteX1873" fmla="*/ 2664619 w 6400800"/>
                <a:gd name="connsiteY1873" fmla="*/ 204311 h 514350"/>
                <a:gd name="connsiteX1874" fmla="*/ 2649379 w 6400800"/>
                <a:gd name="connsiteY1874" fmla="*/ 174784 h 514350"/>
                <a:gd name="connsiteX1875" fmla="*/ 2634139 w 6400800"/>
                <a:gd name="connsiteY1875" fmla="*/ 141446 h 514350"/>
                <a:gd name="connsiteX1876" fmla="*/ 2646521 w 6400800"/>
                <a:gd name="connsiteY1876" fmla="*/ 176689 h 514350"/>
                <a:gd name="connsiteX1877" fmla="*/ 2661761 w 6400800"/>
                <a:gd name="connsiteY1877" fmla="*/ 214789 h 514350"/>
                <a:gd name="connsiteX1878" fmla="*/ 2660809 w 6400800"/>
                <a:gd name="connsiteY1878" fmla="*/ 216694 h 514350"/>
                <a:gd name="connsiteX1879" fmla="*/ 2652236 w 6400800"/>
                <a:gd name="connsiteY1879" fmla="*/ 201454 h 514350"/>
                <a:gd name="connsiteX1880" fmla="*/ 2648426 w 6400800"/>
                <a:gd name="connsiteY1880" fmla="*/ 196691 h 514350"/>
                <a:gd name="connsiteX1881" fmla="*/ 2651284 w 6400800"/>
                <a:gd name="connsiteY1881" fmla="*/ 202406 h 514350"/>
                <a:gd name="connsiteX1882" fmla="*/ 2657951 w 6400800"/>
                <a:gd name="connsiteY1882" fmla="*/ 218599 h 514350"/>
                <a:gd name="connsiteX1883" fmla="*/ 2658904 w 6400800"/>
                <a:gd name="connsiteY1883" fmla="*/ 223361 h 514350"/>
                <a:gd name="connsiteX1884" fmla="*/ 2657951 w 6400800"/>
                <a:gd name="connsiteY1884" fmla="*/ 226219 h 514350"/>
                <a:gd name="connsiteX1885" fmla="*/ 2647474 w 6400800"/>
                <a:gd name="connsiteY1885" fmla="*/ 193834 h 514350"/>
                <a:gd name="connsiteX1886" fmla="*/ 2638901 w 6400800"/>
                <a:gd name="connsiteY1886" fmla="*/ 169069 h 514350"/>
                <a:gd name="connsiteX1887" fmla="*/ 2631281 w 6400800"/>
                <a:gd name="connsiteY1887" fmla="*/ 147161 h 514350"/>
                <a:gd name="connsiteX1888" fmla="*/ 2635091 w 6400800"/>
                <a:gd name="connsiteY1888" fmla="*/ 170021 h 514350"/>
                <a:gd name="connsiteX1889" fmla="*/ 2647474 w 6400800"/>
                <a:gd name="connsiteY1889" fmla="*/ 230029 h 514350"/>
                <a:gd name="connsiteX1890" fmla="*/ 2651284 w 6400800"/>
                <a:gd name="connsiteY1890" fmla="*/ 247174 h 514350"/>
                <a:gd name="connsiteX1891" fmla="*/ 2642711 w 6400800"/>
                <a:gd name="connsiteY1891" fmla="*/ 273844 h 514350"/>
                <a:gd name="connsiteX1892" fmla="*/ 2640806 w 6400800"/>
                <a:gd name="connsiteY1892" fmla="*/ 270034 h 514350"/>
                <a:gd name="connsiteX1893" fmla="*/ 2639854 w 6400800"/>
                <a:gd name="connsiteY1893" fmla="*/ 268129 h 514350"/>
                <a:gd name="connsiteX1894" fmla="*/ 2643664 w 6400800"/>
                <a:gd name="connsiteY1894" fmla="*/ 220504 h 514350"/>
                <a:gd name="connsiteX1895" fmla="*/ 2636996 w 6400800"/>
                <a:gd name="connsiteY1895" fmla="*/ 247174 h 514350"/>
                <a:gd name="connsiteX1896" fmla="*/ 2636044 w 6400800"/>
                <a:gd name="connsiteY1896" fmla="*/ 204311 h 514350"/>
                <a:gd name="connsiteX1897" fmla="*/ 2630329 w 6400800"/>
                <a:gd name="connsiteY1897" fmla="*/ 240506 h 514350"/>
                <a:gd name="connsiteX1898" fmla="*/ 2623661 w 6400800"/>
                <a:gd name="connsiteY1898" fmla="*/ 206216 h 514350"/>
                <a:gd name="connsiteX1899" fmla="*/ 2610326 w 6400800"/>
                <a:gd name="connsiteY1899" fmla="*/ 147161 h 514350"/>
                <a:gd name="connsiteX1900" fmla="*/ 2615089 w 6400800"/>
                <a:gd name="connsiteY1900" fmla="*/ 137636 h 514350"/>
                <a:gd name="connsiteX1901" fmla="*/ 2610326 w 6400800"/>
                <a:gd name="connsiteY1901" fmla="*/ 145256 h 514350"/>
                <a:gd name="connsiteX1902" fmla="*/ 2609374 w 6400800"/>
                <a:gd name="connsiteY1902" fmla="*/ 143351 h 514350"/>
                <a:gd name="connsiteX1903" fmla="*/ 2603659 w 6400800"/>
                <a:gd name="connsiteY1903" fmla="*/ 119539 h 514350"/>
                <a:gd name="connsiteX1904" fmla="*/ 2605564 w 6400800"/>
                <a:gd name="connsiteY1904" fmla="*/ 144304 h 514350"/>
                <a:gd name="connsiteX1905" fmla="*/ 2606516 w 6400800"/>
                <a:gd name="connsiteY1905" fmla="*/ 150971 h 514350"/>
                <a:gd name="connsiteX1906" fmla="*/ 2600801 w 6400800"/>
                <a:gd name="connsiteY1906" fmla="*/ 158591 h 514350"/>
                <a:gd name="connsiteX1907" fmla="*/ 2589371 w 6400800"/>
                <a:gd name="connsiteY1907" fmla="*/ 175736 h 514350"/>
                <a:gd name="connsiteX1908" fmla="*/ 2588419 w 6400800"/>
                <a:gd name="connsiteY1908" fmla="*/ 171926 h 514350"/>
                <a:gd name="connsiteX1909" fmla="*/ 2583656 w 6400800"/>
                <a:gd name="connsiteY1909" fmla="*/ 147161 h 514350"/>
                <a:gd name="connsiteX1910" fmla="*/ 2584609 w 6400800"/>
                <a:gd name="connsiteY1910" fmla="*/ 171926 h 514350"/>
                <a:gd name="connsiteX1911" fmla="*/ 2585561 w 6400800"/>
                <a:gd name="connsiteY1911" fmla="*/ 182404 h 514350"/>
                <a:gd name="connsiteX1912" fmla="*/ 2585561 w 6400800"/>
                <a:gd name="connsiteY1912" fmla="*/ 182404 h 514350"/>
                <a:gd name="connsiteX1913" fmla="*/ 2576036 w 6400800"/>
                <a:gd name="connsiteY1913" fmla="*/ 198596 h 514350"/>
                <a:gd name="connsiteX1914" fmla="*/ 2574131 w 6400800"/>
                <a:gd name="connsiteY1914" fmla="*/ 177641 h 514350"/>
                <a:gd name="connsiteX1915" fmla="*/ 2573179 w 6400800"/>
                <a:gd name="connsiteY1915" fmla="*/ 157639 h 514350"/>
                <a:gd name="connsiteX1916" fmla="*/ 2571274 w 6400800"/>
                <a:gd name="connsiteY1916" fmla="*/ 170974 h 514350"/>
                <a:gd name="connsiteX1917" fmla="*/ 2571274 w 6400800"/>
                <a:gd name="connsiteY1917" fmla="*/ 170021 h 514350"/>
                <a:gd name="connsiteX1918" fmla="*/ 2569369 w 6400800"/>
                <a:gd name="connsiteY1918" fmla="*/ 149066 h 514350"/>
                <a:gd name="connsiteX1919" fmla="*/ 2568416 w 6400800"/>
                <a:gd name="connsiteY1919" fmla="*/ 130016 h 514350"/>
                <a:gd name="connsiteX1920" fmla="*/ 2567464 w 6400800"/>
                <a:gd name="connsiteY1920" fmla="*/ 99536 h 514350"/>
                <a:gd name="connsiteX1921" fmla="*/ 2566511 w 6400800"/>
                <a:gd name="connsiteY1921" fmla="*/ 72866 h 514350"/>
                <a:gd name="connsiteX1922" fmla="*/ 2562701 w 6400800"/>
                <a:gd name="connsiteY1922" fmla="*/ 99536 h 514350"/>
                <a:gd name="connsiteX1923" fmla="*/ 2560796 w 6400800"/>
                <a:gd name="connsiteY1923" fmla="*/ 130016 h 514350"/>
                <a:gd name="connsiteX1924" fmla="*/ 2559844 w 6400800"/>
                <a:gd name="connsiteY1924" fmla="*/ 149066 h 514350"/>
                <a:gd name="connsiteX1925" fmla="*/ 2559844 w 6400800"/>
                <a:gd name="connsiteY1925" fmla="*/ 170021 h 514350"/>
                <a:gd name="connsiteX1926" fmla="*/ 2560796 w 6400800"/>
                <a:gd name="connsiteY1926" fmla="*/ 195739 h 514350"/>
                <a:gd name="connsiteX1927" fmla="*/ 2558891 w 6400800"/>
                <a:gd name="connsiteY1927" fmla="*/ 191929 h 514350"/>
                <a:gd name="connsiteX1928" fmla="*/ 2561749 w 6400800"/>
                <a:gd name="connsiteY1928" fmla="*/ 200501 h 514350"/>
                <a:gd name="connsiteX1929" fmla="*/ 2562701 w 6400800"/>
                <a:gd name="connsiteY1929" fmla="*/ 217646 h 514350"/>
                <a:gd name="connsiteX1930" fmla="*/ 2562701 w 6400800"/>
                <a:gd name="connsiteY1930" fmla="*/ 223361 h 514350"/>
                <a:gd name="connsiteX1931" fmla="*/ 2551271 w 6400800"/>
                <a:gd name="connsiteY1931" fmla="*/ 247174 h 514350"/>
                <a:gd name="connsiteX1932" fmla="*/ 2549366 w 6400800"/>
                <a:gd name="connsiteY1932" fmla="*/ 230029 h 514350"/>
                <a:gd name="connsiteX1933" fmla="*/ 2555081 w 6400800"/>
                <a:gd name="connsiteY1933" fmla="*/ 212884 h 514350"/>
                <a:gd name="connsiteX1934" fmla="*/ 2546509 w 6400800"/>
                <a:gd name="connsiteY1934" fmla="*/ 228124 h 514350"/>
                <a:gd name="connsiteX1935" fmla="*/ 2547461 w 6400800"/>
                <a:gd name="connsiteY1935" fmla="*/ 222409 h 514350"/>
                <a:gd name="connsiteX1936" fmla="*/ 2553176 w 6400800"/>
                <a:gd name="connsiteY1936" fmla="*/ 196691 h 514350"/>
                <a:gd name="connsiteX1937" fmla="*/ 2543651 w 6400800"/>
                <a:gd name="connsiteY1937" fmla="*/ 221456 h 514350"/>
                <a:gd name="connsiteX1938" fmla="*/ 2536984 w 6400800"/>
                <a:gd name="connsiteY1938" fmla="*/ 246221 h 514350"/>
                <a:gd name="connsiteX1939" fmla="*/ 2536984 w 6400800"/>
                <a:gd name="connsiteY1939" fmla="*/ 244316 h 514350"/>
                <a:gd name="connsiteX1940" fmla="*/ 2534126 w 6400800"/>
                <a:gd name="connsiteY1940" fmla="*/ 221456 h 514350"/>
                <a:gd name="connsiteX1941" fmla="*/ 2533174 w 6400800"/>
                <a:gd name="connsiteY1941" fmla="*/ 244316 h 514350"/>
                <a:gd name="connsiteX1942" fmla="*/ 2533174 w 6400800"/>
                <a:gd name="connsiteY1942" fmla="*/ 250984 h 514350"/>
                <a:gd name="connsiteX1943" fmla="*/ 2532221 w 6400800"/>
                <a:gd name="connsiteY1943" fmla="*/ 245269 h 514350"/>
                <a:gd name="connsiteX1944" fmla="*/ 2524601 w 6400800"/>
                <a:gd name="connsiteY1944" fmla="*/ 213836 h 514350"/>
                <a:gd name="connsiteX1945" fmla="*/ 2517934 w 6400800"/>
                <a:gd name="connsiteY1945" fmla="*/ 190024 h 514350"/>
                <a:gd name="connsiteX1946" fmla="*/ 2511266 w 6400800"/>
                <a:gd name="connsiteY1946" fmla="*/ 169069 h 514350"/>
                <a:gd name="connsiteX1947" fmla="*/ 2514124 w 6400800"/>
                <a:gd name="connsiteY1947" fmla="*/ 190976 h 514350"/>
                <a:gd name="connsiteX1948" fmla="*/ 2516981 w 6400800"/>
                <a:gd name="connsiteY1948" fmla="*/ 215741 h 514350"/>
                <a:gd name="connsiteX1949" fmla="*/ 2520791 w 6400800"/>
                <a:gd name="connsiteY1949" fmla="*/ 248126 h 514350"/>
                <a:gd name="connsiteX1950" fmla="*/ 2523649 w 6400800"/>
                <a:gd name="connsiteY1950" fmla="*/ 277654 h 514350"/>
                <a:gd name="connsiteX1951" fmla="*/ 2521744 w 6400800"/>
                <a:gd name="connsiteY1951" fmla="*/ 282416 h 514350"/>
                <a:gd name="connsiteX1952" fmla="*/ 2516981 w 6400800"/>
                <a:gd name="connsiteY1952" fmla="*/ 263366 h 514350"/>
                <a:gd name="connsiteX1953" fmla="*/ 2511266 w 6400800"/>
                <a:gd name="connsiteY1953" fmla="*/ 243364 h 514350"/>
                <a:gd name="connsiteX1954" fmla="*/ 2513171 w 6400800"/>
                <a:gd name="connsiteY1954" fmla="*/ 264319 h 514350"/>
                <a:gd name="connsiteX1955" fmla="*/ 2514124 w 6400800"/>
                <a:gd name="connsiteY1955" fmla="*/ 277654 h 514350"/>
                <a:gd name="connsiteX1956" fmla="*/ 2504599 w 6400800"/>
                <a:gd name="connsiteY1956" fmla="*/ 256699 h 514350"/>
                <a:gd name="connsiteX1957" fmla="*/ 2504599 w 6400800"/>
                <a:gd name="connsiteY1957" fmla="*/ 253841 h 514350"/>
                <a:gd name="connsiteX1958" fmla="*/ 2503646 w 6400800"/>
                <a:gd name="connsiteY1958" fmla="*/ 255746 h 514350"/>
                <a:gd name="connsiteX1959" fmla="*/ 2497931 w 6400800"/>
                <a:gd name="connsiteY1959" fmla="*/ 243364 h 514350"/>
                <a:gd name="connsiteX1960" fmla="*/ 2502694 w 6400800"/>
                <a:gd name="connsiteY1960" fmla="*/ 259556 h 514350"/>
                <a:gd name="connsiteX1961" fmla="*/ 2499836 w 6400800"/>
                <a:gd name="connsiteY1961" fmla="*/ 267176 h 514350"/>
                <a:gd name="connsiteX1962" fmla="*/ 2498884 w 6400800"/>
                <a:gd name="connsiteY1962" fmla="*/ 270034 h 514350"/>
                <a:gd name="connsiteX1963" fmla="*/ 2494121 w 6400800"/>
                <a:gd name="connsiteY1963" fmla="*/ 223361 h 514350"/>
                <a:gd name="connsiteX1964" fmla="*/ 2496026 w 6400800"/>
                <a:gd name="connsiteY1964" fmla="*/ 220504 h 514350"/>
                <a:gd name="connsiteX1965" fmla="*/ 2506504 w 6400800"/>
                <a:gd name="connsiteY1965" fmla="*/ 203359 h 514350"/>
                <a:gd name="connsiteX1966" fmla="*/ 2510314 w 6400800"/>
                <a:gd name="connsiteY1966" fmla="*/ 197644 h 514350"/>
                <a:gd name="connsiteX1967" fmla="*/ 2505551 w 6400800"/>
                <a:gd name="connsiteY1967" fmla="*/ 203359 h 514350"/>
                <a:gd name="connsiteX1968" fmla="*/ 2493169 w 6400800"/>
                <a:gd name="connsiteY1968" fmla="*/ 217646 h 514350"/>
                <a:gd name="connsiteX1969" fmla="*/ 2493169 w 6400800"/>
                <a:gd name="connsiteY1969" fmla="*/ 216694 h 514350"/>
                <a:gd name="connsiteX1970" fmla="*/ 2491264 w 6400800"/>
                <a:gd name="connsiteY1970" fmla="*/ 196691 h 514350"/>
                <a:gd name="connsiteX1971" fmla="*/ 2501741 w 6400800"/>
                <a:gd name="connsiteY1971" fmla="*/ 183356 h 514350"/>
                <a:gd name="connsiteX1972" fmla="*/ 2490311 w 6400800"/>
                <a:gd name="connsiteY1972" fmla="*/ 192881 h 514350"/>
                <a:gd name="connsiteX1973" fmla="*/ 2489359 w 6400800"/>
                <a:gd name="connsiteY1973" fmla="*/ 176689 h 514350"/>
                <a:gd name="connsiteX1974" fmla="*/ 2497931 w 6400800"/>
                <a:gd name="connsiteY1974" fmla="*/ 165259 h 514350"/>
                <a:gd name="connsiteX1975" fmla="*/ 2502694 w 6400800"/>
                <a:gd name="connsiteY1975" fmla="*/ 159544 h 514350"/>
                <a:gd name="connsiteX1976" fmla="*/ 2496979 w 6400800"/>
                <a:gd name="connsiteY1976" fmla="*/ 164306 h 514350"/>
                <a:gd name="connsiteX1977" fmla="*/ 2489359 w 6400800"/>
                <a:gd name="connsiteY1977" fmla="*/ 171926 h 514350"/>
                <a:gd name="connsiteX1978" fmla="*/ 2488406 w 6400800"/>
                <a:gd name="connsiteY1978" fmla="*/ 153829 h 514350"/>
                <a:gd name="connsiteX1979" fmla="*/ 2487454 w 6400800"/>
                <a:gd name="connsiteY1979" fmla="*/ 135731 h 514350"/>
                <a:gd name="connsiteX1980" fmla="*/ 2494121 w 6400800"/>
                <a:gd name="connsiteY1980" fmla="*/ 125254 h 514350"/>
                <a:gd name="connsiteX1981" fmla="*/ 2487454 w 6400800"/>
                <a:gd name="connsiteY1981" fmla="*/ 132874 h 514350"/>
                <a:gd name="connsiteX1982" fmla="*/ 2487454 w 6400800"/>
                <a:gd name="connsiteY1982" fmla="*/ 129064 h 514350"/>
                <a:gd name="connsiteX1983" fmla="*/ 2486501 w 6400800"/>
                <a:gd name="connsiteY1983" fmla="*/ 132874 h 514350"/>
                <a:gd name="connsiteX1984" fmla="*/ 2475071 w 6400800"/>
                <a:gd name="connsiteY1984" fmla="*/ 146209 h 514350"/>
                <a:gd name="connsiteX1985" fmla="*/ 2455069 w 6400800"/>
                <a:gd name="connsiteY1985" fmla="*/ 171926 h 514350"/>
                <a:gd name="connsiteX1986" fmla="*/ 2442686 w 6400800"/>
                <a:gd name="connsiteY1986" fmla="*/ 188119 h 514350"/>
                <a:gd name="connsiteX1987" fmla="*/ 2433161 w 6400800"/>
                <a:gd name="connsiteY1987" fmla="*/ 203359 h 514350"/>
                <a:gd name="connsiteX1988" fmla="*/ 2432209 w 6400800"/>
                <a:gd name="connsiteY1988" fmla="*/ 191929 h 514350"/>
                <a:gd name="connsiteX1989" fmla="*/ 2425541 w 6400800"/>
                <a:gd name="connsiteY1989" fmla="*/ 110966 h 514350"/>
                <a:gd name="connsiteX1990" fmla="*/ 2424589 w 6400800"/>
                <a:gd name="connsiteY1990" fmla="*/ 88106 h 514350"/>
                <a:gd name="connsiteX1991" fmla="*/ 2424589 w 6400800"/>
                <a:gd name="connsiteY1991" fmla="*/ 80486 h 514350"/>
                <a:gd name="connsiteX1992" fmla="*/ 2423636 w 6400800"/>
                <a:gd name="connsiteY1992" fmla="*/ 88106 h 514350"/>
                <a:gd name="connsiteX1993" fmla="*/ 2421731 w 6400800"/>
                <a:gd name="connsiteY1993" fmla="*/ 110966 h 514350"/>
                <a:gd name="connsiteX1994" fmla="*/ 2420779 w 6400800"/>
                <a:gd name="connsiteY1994" fmla="*/ 146209 h 514350"/>
                <a:gd name="connsiteX1995" fmla="*/ 2421731 w 6400800"/>
                <a:gd name="connsiteY1995" fmla="*/ 191929 h 514350"/>
                <a:gd name="connsiteX1996" fmla="*/ 2422684 w 6400800"/>
                <a:gd name="connsiteY1996" fmla="*/ 220504 h 514350"/>
                <a:gd name="connsiteX1997" fmla="*/ 2405539 w 6400800"/>
                <a:gd name="connsiteY1997" fmla="*/ 250031 h 514350"/>
                <a:gd name="connsiteX1998" fmla="*/ 2401729 w 6400800"/>
                <a:gd name="connsiteY1998" fmla="*/ 256699 h 514350"/>
                <a:gd name="connsiteX1999" fmla="*/ 2400776 w 6400800"/>
                <a:gd name="connsiteY1999" fmla="*/ 255746 h 514350"/>
                <a:gd name="connsiteX2000" fmla="*/ 2392204 w 6400800"/>
                <a:gd name="connsiteY2000" fmla="*/ 233839 h 514350"/>
                <a:gd name="connsiteX2001" fmla="*/ 2385536 w 6400800"/>
                <a:gd name="connsiteY2001" fmla="*/ 170974 h 514350"/>
                <a:gd name="connsiteX2002" fmla="*/ 2382679 w 6400800"/>
                <a:gd name="connsiteY2002" fmla="*/ 150971 h 514350"/>
                <a:gd name="connsiteX2003" fmla="*/ 2384584 w 6400800"/>
                <a:gd name="connsiteY2003" fmla="*/ 140494 h 514350"/>
                <a:gd name="connsiteX2004" fmla="*/ 2382679 w 6400800"/>
                <a:gd name="connsiteY2004" fmla="*/ 135731 h 514350"/>
                <a:gd name="connsiteX2005" fmla="*/ 2390299 w 6400800"/>
                <a:gd name="connsiteY2005" fmla="*/ 114776 h 514350"/>
                <a:gd name="connsiteX2006" fmla="*/ 2427446 w 6400800"/>
                <a:gd name="connsiteY2006" fmla="*/ 12859 h 514350"/>
                <a:gd name="connsiteX2007" fmla="*/ 2380774 w 6400800"/>
                <a:gd name="connsiteY2007" fmla="*/ 110014 h 514350"/>
                <a:gd name="connsiteX2008" fmla="*/ 2358866 w 6400800"/>
                <a:gd name="connsiteY2008" fmla="*/ 157639 h 514350"/>
                <a:gd name="connsiteX2009" fmla="*/ 2355056 w 6400800"/>
                <a:gd name="connsiteY2009" fmla="*/ 166211 h 514350"/>
                <a:gd name="connsiteX2010" fmla="*/ 2357914 w 6400800"/>
                <a:gd name="connsiteY2010" fmla="*/ 155734 h 514350"/>
                <a:gd name="connsiteX2011" fmla="*/ 2362676 w 6400800"/>
                <a:gd name="connsiteY2011" fmla="*/ 132874 h 514350"/>
                <a:gd name="connsiteX2012" fmla="*/ 2354104 w 6400800"/>
                <a:gd name="connsiteY2012" fmla="*/ 154781 h 514350"/>
                <a:gd name="connsiteX2013" fmla="*/ 2344579 w 6400800"/>
                <a:gd name="connsiteY2013" fmla="*/ 179546 h 514350"/>
                <a:gd name="connsiteX2014" fmla="*/ 2334101 w 6400800"/>
                <a:gd name="connsiteY2014" fmla="*/ 211931 h 514350"/>
                <a:gd name="connsiteX2015" fmla="*/ 2334101 w 6400800"/>
                <a:gd name="connsiteY2015" fmla="*/ 211931 h 514350"/>
                <a:gd name="connsiteX2016" fmla="*/ 2340769 w 6400800"/>
                <a:gd name="connsiteY2016" fmla="*/ 171926 h 514350"/>
                <a:gd name="connsiteX2017" fmla="*/ 2347436 w 6400800"/>
                <a:gd name="connsiteY2017" fmla="*/ 130969 h 514350"/>
                <a:gd name="connsiteX2018" fmla="*/ 2354104 w 6400800"/>
                <a:gd name="connsiteY2018" fmla="*/ 99536 h 514350"/>
                <a:gd name="connsiteX2019" fmla="*/ 2358866 w 6400800"/>
                <a:gd name="connsiteY2019" fmla="*/ 71914 h 514350"/>
                <a:gd name="connsiteX2020" fmla="*/ 2350294 w 6400800"/>
                <a:gd name="connsiteY2020" fmla="*/ 98584 h 514350"/>
                <a:gd name="connsiteX2021" fmla="*/ 2340769 w 6400800"/>
                <a:gd name="connsiteY2021" fmla="*/ 129064 h 514350"/>
                <a:gd name="connsiteX2022" fmla="*/ 2330291 w 6400800"/>
                <a:gd name="connsiteY2022" fmla="*/ 170021 h 514350"/>
                <a:gd name="connsiteX2023" fmla="*/ 2324576 w 6400800"/>
                <a:gd name="connsiteY2023" fmla="*/ 193834 h 514350"/>
                <a:gd name="connsiteX2024" fmla="*/ 2320766 w 6400800"/>
                <a:gd name="connsiteY2024" fmla="*/ 185261 h 514350"/>
                <a:gd name="connsiteX2025" fmla="*/ 2326481 w 6400800"/>
                <a:gd name="connsiteY2025" fmla="*/ 157639 h 514350"/>
                <a:gd name="connsiteX2026" fmla="*/ 2318861 w 6400800"/>
                <a:gd name="connsiteY2026" fmla="*/ 179546 h 514350"/>
                <a:gd name="connsiteX2027" fmla="*/ 2315051 w 6400800"/>
                <a:gd name="connsiteY2027" fmla="*/ 170974 h 514350"/>
                <a:gd name="connsiteX2028" fmla="*/ 2317909 w 6400800"/>
                <a:gd name="connsiteY2028" fmla="*/ 181451 h 514350"/>
                <a:gd name="connsiteX2029" fmla="*/ 2313146 w 6400800"/>
                <a:gd name="connsiteY2029" fmla="*/ 193834 h 514350"/>
                <a:gd name="connsiteX2030" fmla="*/ 2311241 w 6400800"/>
                <a:gd name="connsiteY2030" fmla="*/ 190976 h 514350"/>
                <a:gd name="connsiteX2031" fmla="*/ 2314099 w 6400800"/>
                <a:gd name="connsiteY2031" fmla="*/ 141446 h 514350"/>
                <a:gd name="connsiteX2032" fmla="*/ 2298859 w 6400800"/>
                <a:gd name="connsiteY2032" fmla="*/ 202406 h 514350"/>
                <a:gd name="connsiteX2033" fmla="*/ 2292191 w 6400800"/>
                <a:gd name="connsiteY2033" fmla="*/ 231934 h 514350"/>
                <a:gd name="connsiteX2034" fmla="*/ 2289334 w 6400800"/>
                <a:gd name="connsiteY2034" fmla="*/ 250031 h 514350"/>
                <a:gd name="connsiteX2035" fmla="*/ 2285524 w 6400800"/>
                <a:gd name="connsiteY2035" fmla="*/ 259556 h 514350"/>
                <a:gd name="connsiteX2036" fmla="*/ 2275999 w 6400800"/>
                <a:gd name="connsiteY2036" fmla="*/ 287179 h 514350"/>
                <a:gd name="connsiteX2037" fmla="*/ 2275999 w 6400800"/>
                <a:gd name="connsiteY2037" fmla="*/ 288131 h 514350"/>
                <a:gd name="connsiteX2038" fmla="*/ 2275999 w 6400800"/>
                <a:gd name="connsiteY2038" fmla="*/ 282416 h 514350"/>
                <a:gd name="connsiteX2039" fmla="*/ 2276951 w 6400800"/>
                <a:gd name="connsiteY2039" fmla="*/ 265271 h 514350"/>
                <a:gd name="connsiteX2040" fmla="*/ 2272189 w 6400800"/>
                <a:gd name="connsiteY2040" fmla="*/ 281464 h 514350"/>
                <a:gd name="connsiteX2041" fmla="*/ 2269331 w 6400800"/>
                <a:gd name="connsiteY2041" fmla="*/ 290989 h 514350"/>
                <a:gd name="connsiteX2042" fmla="*/ 2269331 w 6400800"/>
                <a:gd name="connsiteY2042" fmla="*/ 290989 h 514350"/>
                <a:gd name="connsiteX2043" fmla="*/ 2269331 w 6400800"/>
                <a:gd name="connsiteY2043" fmla="*/ 261461 h 514350"/>
                <a:gd name="connsiteX2044" fmla="*/ 2270284 w 6400800"/>
                <a:gd name="connsiteY2044" fmla="*/ 238601 h 514350"/>
                <a:gd name="connsiteX2045" fmla="*/ 2272189 w 6400800"/>
                <a:gd name="connsiteY2045" fmla="*/ 225266 h 514350"/>
                <a:gd name="connsiteX2046" fmla="*/ 2275999 w 6400800"/>
                <a:gd name="connsiteY2046" fmla="*/ 210979 h 514350"/>
                <a:gd name="connsiteX2047" fmla="*/ 2266474 w 6400800"/>
                <a:gd name="connsiteY2047" fmla="*/ 232886 h 514350"/>
                <a:gd name="connsiteX2048" fmla="*/ 2267426 w 6400800"/>
                <a:gd name="connsiteY2048" fmla="*/ 228124 h 514350"/>
                <a:gd name="connsiteX2049" fmla="*/ 2263616 w 6400800"/>
                <a:gd name="connsiteY2049" fmla="*/ 235744 h 514350"/>
                <a:gd name="connsiteX2050" fmla="*/ 2265521 w 6400800"/>
                <a:gd name="connsiteY2050" fmla="*/ 220504 h 514350"/>
                <a:gd name="connsiteX2051" fmla="*/ 2256949 w 6400800"/>
                <a:gd name="connsiteY2051" fmla="*/ 247174 h 514350"/>
                <a:gd name="connsiteX2052" fmla="*/ 2252186 w 6400800"/>
                <a:gd name="connsiteY2052" fmla="*/ 258604 h 514350"/>
                <a:gd name="connsiteX2053" fmla="*/ 2250281 w 6400800"/>
                <a:gd name="connsiteY2053" fmla="*/ 262414 h 514350"/>
                <a:gd name="connsiteX2054" fmla="*/ 2255044 w 6400800"/>
                <a:gd name="connsiteY2054" fmla="*/ 243364 h 514350"/>
                <a:gd name="connsiteX2055" fmla="*/ 2267426 w 6400800"/>
                <a:gd name="connsiteY2055" fmla="*/ 178594 h 514350"/>
                <a:gd name="connsiteX2056" fmla="*/ 2270284 w 6400800"/>
                <a:gd name="connsiteY2056" fmla="*/ 153829 h 514350"/>
                <a:gd name="connsiteX2057" fmla="*/ 2262664 w 6400800"/>
                <a:gd name="connsiteY2057" fmla="*/ 177641 h 514350"/>
                <a:gd name="connsiteX2058" fmla="*/ 2254091 w 6400800"/>
                <a:gd name="connsiteY2058" fmla="*/ 205264 h 514350"/>
                <a:gd name="connsiteX2059" fmla="*/ 2246471 w 6400800"/>
                <a:gd name="connsiteY2059" fmla="*/ 230981 h 514350"/>
                <a:gd name="connsiteX2060" fmla="*/ 2241709 w 6400800"/>
                <a:gd name="connsiteY2060" fmla="*/ 244316 h 514350"/>
                <a:gd name="connsiteX2061" fmla="*/ 2239804 w 6400800"/>
                <a:gd name="connsiteY2061" fmla="*/ 233839 h 514350"/>
                <a:gd name="connsiteX2062" fmla="*/ 2233136 w 6400800"/>
                <a:gd name="connsiteY2062" fmla="*/ 205264 h 514350"/>
                <a:gd name="connsiteX2063" fmla="*/ 2237899 w 6400800"/>
                <a:gd name="connsiteY2063" fmla="*/ 255746 h 514350"/>
                <a:gd name="connsiteX2064" fmla="*/ 2234089 w 6400800"/>
                <a:gd name="connsiteY2064" fmla="*/ 269081 h 514350"/>
                <a:gd name="connsiteX2065" fmla="*/ 2233136 w 6400800"/>
                <a:gd name="connsiteY2065" fmla="*/ 270034 h 514350"/>
                <a:gd name="connsiteX2066" fmla="*/ 2233136 w 6400800"/>
                <a:gd name="connsiteY2066" fmla="*/ 263366 h 514350"/>
                <a:gd name="connsiteX2067" fmla="*/ 2231231 w 6400800"/>
                <a:gd name="connsiteY2067" fmla="*/ 234791 h 514350"/>
                <a:gd name="connsiteX2068" fmla="*/ 2228374 w 6400800"/>
                <a:gd name="connsiteY2068" fmla="*/ 207169 h 514350"/>
                <a:gd name="connsiteX2069" fmla="*/ 2230279 w 6400800"/>
                <a:gd name="connsiteY2069" fmla="*/ 193834 h 514350"/>
                <a:gd name="connsiteX2070" fmla="*/ 2226469 w 6400800"/>
                <a:gd name="connsiteY2070" fmla="*/ 204311 h 514350"/>
                <a:gd name="connsiteX2071" fmla="*/ 2222659 w 6400800"/>
                <a:gd name="connsiteY2071" fmla="*/ 200501 h 514350"/>
                <a:gd name="connsiteX2072" fmla="*/ 2220754 w 6400800"/>
                <a:gd name="connsiteY2072" fmla="*/ 199549 h 514350"/>
                <a:gd name="connsiteX2073" fmla="*/ 2217896 w 6400800"/>
                <a:gd name="connsiteY2073" fmla="*/ 199549 h 514350"/>
                <a:gd name="connsiteX2074" fmla="*/ 2215039 w 6400800"/>
                <a:gd name="connsiteY2074" fmla="*/ 202406 h 514350"/>
                <a:gd name="connsiteX2075" fmla="*/ 2213134 w 6400800"/>
                <a:gd name="connsiteY2075" fmla="*/ 214789 h 514350"/>
                <a:gd name="connsiteX2076" fmla="*/ 2217896 w 6400800"/>
                <a:gd name="connsiteY2076" fmla="*/ 203359 h 514350"/>
                <a:gd name="connsiteX2077" fmla="*/ 2219801 w 6400800"/>
                <a:gd name="connsiteY2077" fmla="*/ 201454 h 514350"/>
                <a:gd name="connsiteX2078" fmla="*/ 2220754 w 6400800"/>
                <a:gd name="connsiteY2078" fmla="*/ 202406 h 514350"/>
                <a:gd name="connsiteX2079" fmla="*/ 2223611 w 6400800"/>
                <a:gd name="connsiteY2079" fmla="*/ 207169 h 514350"/>
                <a:gd name="connsiteX2080" fmla="*/ 2223611 w 6400800"/>
                <a:gd name="connsiteY2080" fmla="*/ 215741 h 514350"/>
                <a:gd name="connsiteX2081" fmla="*/ 2223611 w 6400800"/>
                <a:gd name="connsiteY2081" fmla="*/ 215741 h 514350"/>
                <a:gd name="connsiteX2082" fmla="*/ 2215991 w 6400800"/>
                <a:gd name="connsiteY2082" fmla="*/ 241459 h 514350"/>
                <a:gd name="connsiteX2083" fmla="*/ 2206466 w 6400800"/>
                <a:gd name="connsiteY2083" fmla="*/ 274796 h 514350"/>
                <a:gd name="connsiteX2084" fmla="*/ 2196941 w 6400800"/>
                <a:gd name="connsiteY2084" fmla="*/ 313849 h 514350"/>
                <a:gd name="connsiteX2085" fmla="*/ 2195989 w 6400800"/>
                <a:gd name="connsiteY2085" fmla="*/ 305276 h 514350"/>
                <a:gd name="connsiteX2086" fmla="*/ 2195036 w 6400800"/>
                <a:gd name="connsiteY2086" fmla="*/ 317659 h 514350"/>
                <a:gd name="connsiteX2087" fmla="*/ 2193131 w 6400800"/>
                <a:gd name="connsiteY2087" fmla="*/ 314801 h 514350"/>
                <a:gd name="connsiteX2088" fmla="*/ 2195036 w 6400800"/>
                <a:gd name="connsiteY2088" fmla="*/ 318611 h 514350"/>
                <a:gd name="connsiteX2089" fmla="*/ 2195036 w 6400800"/>
                <a:gd name="connsiteY2089" fmla="*/ 323374 h 514350"/>
                <a:gd name="connsiteX2090" fmla="*/ 2192179 w 6400800"/>
                <a:gd name="connsiteY2090" fmla="*/ 334804 h 514350"/>
                <a:gd name="connsiteX2091" fmla="*/ 2190274 w 6400800"/>
                <a:gd name="connsiteY2091" fmla="*/ 330994 h 514350"/>
                <a:gd name="connsiteX2092" fmla="*/ 2191226 w 6400800"/>
                <a:gd name="connsiteY2092" fmla="*/ 330041 h 514350"/>
                <a:gd name="connsiteX2093" fmla="*/ 2190274 w 6400800"/>
                <a:gd name="connsiteY2093" fmla="*/ 330994 h 514350"/>
                <a:gd name="connsiteX2094" fmla="*/ 2188369 w 6400800"/>
                <a:gd name="connsiteY2094" fmla="*/ 326231 h 514350"/>
                <a:gd name="connsiteX2095" fmla="*/ 2189321 w 6400800"/>
                <a:gd name="connsiteY2095" fmla="*/ 331946 h 514350"/>
                <a:gd name="connsiteX2096" fmla="*/ 2188369 w 6400800"/>
                <a:gd name="connsiteY2096" fmla="*/ 332899 h 514350"/>
                <a:gd name="connsiteX2097" fmla="*/ 2185511 w 6400800"/>
                <a:gd name="connsiteY2097" fmla="*/ 315754 h 514350"/>
                <a:gd name="connsiteX2098" fmla="*/ 2184559 w 6400800"/>
                <a:gd name="connsiteY2098" fmla="*/ 336709 h 514350"/>
                <a:gd name="connsiteX2099" fmla="*/ 2184559 w 6400800"/>
                <a:gd name="connsiteY2099" fmla="*/ 337661 h 514350"/>
                <a:gd name="connsiteX2100" fmla="*/ 2179796 w 6400800"/>
                <a:gd name="connsiteY2100" fmla="*/ 343376 h 514350"/>
                <a:gd name="connsiteX2101" fmla="*/ 2178844 w 6400800"/>
                <a:gd name="connsiteY2101" fmla="*/ 340519 h 514350"/>
                <a:gd name="connsiteX2102" fmla="*/ 2192179 w 6400800"/>
                <a:gd name="connsiteY2102" fmla="*/ 283369 h 514350"/>
                <a:gd name="connsiteX2103" fmla="*/ 2212181 w 6400800"/>
                <a:gd name="connsiteY2103" fmla="*/ 190024 h 514350"/>
                <a:gd name="connsiteX2104" fmla="*/ 2183606 w 6400800"/>
                <a:gd name="connsiteY2104" fmla="*/ 272891 h 514350"/>
                <a:gd name="connsiteX2105" fmla="*/ 2187416 w 6400800"/>
                <a:gd name="connsiteY2105" fmla="*/ 253841 h 514350"/>
                <a:gd name="connsiteX2106" fmla="*/ 2192179 w 6400800"/>
                <a:gd name="connsiteY2106" fmla="*/ 231934 h 514350"/>
                <a:gd name="connsiteX2107" fmla="*/ 2196941 w 6400800"/>
                <a:gd name="connsiteY2107" fmla="*/ 210026 h 514350"/>
                <a:gd name="connsiteX2108" fmla="*/ 2200751 w 6400800"/>
                <a:gd name="connsiteY2108" fmla="*/ 193834 h 514350"/>
                <a:gd name="connsiteX2109" fmla="*/ 2204561 w 6400800"/>
                <a:gd name="connsiteY2109" fmla="*/ 179546 h 514350"/>
                <a:gd name="connsiteX2110" fmla="*/ 2211229 w 6400800"/>
                <a:gd name="connsiteY2110" fmla="*/ 155734 h 514350"/>
                <a:gd name="connsiteX2111" fmla="*/ 2217896 w 6400800"/>
                <a:gd name="connsiteY2111" fmla="*/ 134779 h 514350"/>
                <a:gd name="connsiteX2112" fmla="*/ 2211229 w 6400800"/>
                <a:gd name="connsiteY2112" fmla="*/ 148114 h 514350"/>
                <a:gd name="connsiteX2113" fmla="*/ 2211229 w 6400800"/>
                <a:gd name="connsiteY2113" fmla="*/ 147161 h 514350"/>
                <a:gd name="connsiteX2114" fmla="*/ 2216944 w 6400800"/>
                <a:gd name="connsiteY2114" fmla="*/ 125254 h 514350"/>
                <a:gd name="connsiteX2115" fmla="*/ 2222659 w 6400800"/>
                <a:gd name="connsiteY2115" fmla="*/ 105251 h 514350"/>
                <a:gd name="connsiteX2116" fmla="*/ 2233136 w 6400800"/>
                <a:gd name="connsiteY2116" fmla="*/ 72866 h 514350"/>
                <a:gd name="connsiteX2117" fmla="*/ 2242661 w 6400800"/>
                <a:gd name="connsiteY2117" fmla="*/ 45244 h 514350"/>
                <a:gd name="connsiteX2118" fmla="*/ 2229326 w 6400800"/>
                <a:gd name="connsiteY2118" fmla="*/ 71914 h 514350"/>
                <a:gd name="connsiteX2119" fmla="*/ 2215991 w 6400800"/>
                <a:gd name="connsiteY2119" fmla="*/ 103346 h 514350"/>
                <a:gd name="connsiteX2120" fmla="*/ 2208371 w 6400800"/>
                <a:gd name="connsiteY2120" fmla="*/ 122396 h 514350"/>
                <a:gd name="connsiteX2121" fmla="*/ 2200751 w 6400800"/>
                <a:gd name="connsiteY2121" fmla="*/ 144304 h 514350"/>
                <a:gd name="connsiteX2122" fmla="*/ 2184559 w 6400800"/>
                <a:gd name="connsiteY2122" fmla="*/ 193834 h 514350"/>
                <a:gd name="connsiteX2123" fmla="*/ 2175034 w 6400800"/>
                <a:gd name="connsiteY2123" fmla="*/ 228124 h 514350"/>
                <a:gd name="connsiteX2124" fmla="*/ 2177891 w 6400800"/>
                <a:gd name="connsiteY2124" fmla="*/ 203359 h 514350"/>
                <a:gd name="connsiteX2125" fmla="*/ 2178844 w 6400800"/>
                <a:gd name="connsiteY2125" fmla="*/ 190024 h 514350"/>
                <a:gd name="connsiteX2126" fmla="*/ 2180749 w 6400800"/>
                <a:gd name="connsiteY2126" fmla="*/ 184309 h 514350"/>
                <a:gd name="connsiteX2127" fmla="*/ 2179796 w 6400800"/>
                <a:gd name="connsiteY2127" fmla="*/ 187166 h 514350"/>
                <a:gd name="connsiteX2128" fmla="*/ 2180749 w 6400800"/>
                <a:gd name="connsiteY2128" fmla="*/ 176689 h 514350"/>
                <a:gd name="connsiteX2129" fmla="*/ 2175986 w 6400800"/>
                <a:gd name="connsiteY2129" fmla="*/ 194786 h 514350"/>
                <a:gd name="connsiteX2130" fmla="*/ 2170271 w 6400800"/>
                <a:gd name="connsiteY2130" fmla="*/ 208121 h 514350"/>
                <a:gd name="connsiteX2131" fmla="*/ 2144554 w 6400800"/>
                <a:gd name="connsiteY2131" fmla="*/ 271939 h 514350"/>
                <a:gd name="connsiteX2132" fmla="*/ 2135029 w 6400800"/>
                <a:gd name="connsiteY2132" fmla="*/ 296704 h 514350"/>
                <a:gd name="connsiteX2133" fmla="*/ 2135029 w 6400800"/>
                <a:gd name="connsiteY2133" fmla="*/ 295751 h 514350"/>
                <a:gd name="connsiteX2134" fmla="*/ 2129314 w 6400800"/>
                <a:gd name="connsiteY2134" fmla="*/ 282416 h 514350"/>
                <a:gd name="connsiteX2135" fmla="*/ 2137886 w 6400800"/>
                <a:gd name="connsiteY2135" fmla="*/ 231934 h 514350"/>
                <a:gd name="connsiteX2136" fmla="*/ 2141696 w 6400800"/>
                <a:gd name="connsiteY2136" fmla="*/ 210026 h 514350"/>
                <a:gd name="connsiteX2137" fmla="*/ 2134076 w 6400800"/>
                <a:gd name="connsiteY2137" fmla="*/ 230981 h 514350"/>
                <a:gd name="connsiteX2138" fmla="*/ 2123599 w 6400800"/>
                <a:gd name="connsiteY2138" fmla="*/ 263366 h 514350"/>
                <a:gd name="connsiteX2139" fmla="*/ 2122646 w 6400800"/>
                <a:gd name="connsiteY2139" fmla="*/ 253841 h 514350"/>
                <a:gd name="connsiteX2140" fmla="*/ 2117884 w 6400800"/>
                <a:gd name="connsiteY2140" fmla="*/ 211931 h 514350"/>
                <a:gd name="connsiteX2141" fmla="*/ 2112169 w 6400800"/>
                <a:gd name="connsiteY2141" fmla="*/ 176689 h 514350"/>
                <a:gd name="connsiteX2142" fmla="*/ 2107406 w 6400800"/>
                <a:gd name="connsiteY2142" fmla="*/ 150019 h 514350"/>
                <a:gd name="connsiteX2143" fmla="*/ 2102644 w 6400800"/>
                <a:gd name="connsiteY2143" fmla="*/ 127159 h 514350"/>
                <a:gd name="connsiteX2144" fmla="*/ 2103596 w 6400800"/>
                <a:gd name="connsiteY2144" fmla="*/ 150971 h 514350"/>
                <a:gd name="connsiteX2145" fmla="*/ 2104549 w 6400800"/>
                <a:gd name="connsiteY2145" fmla="*/ 168116 h 514350"/>
                <a:gd name="connsiteX2146" fmla="*/ 2104549 w 6400800"/>
                <a:gd name="connsiteY2146" fmla="*/ 183356 h 514350"/>
                <a:gd name="connsiteX2147" fmla="*/ 2105501 w 6400800"/>
                <a:gd name="connsiteY2147" fmla="*/ 207169 h 514350"/>
                <a:gd name="connsiteX2148" fmla="*/ 2106454 w 6400800"/>
                <a:gd name="connsiteY2148" fmla="*/ 225266 h 514350"/>
                <a:gd name="connsiteX2149" fmla="*/ 2104549 w 6400800"/>
                <a:gd name="connsiteY2149" fmla="*/ 221456 h 514350"/>
                <a:gd name="connsiteX2150" fmla="*/ 2104549 w 6400800"/>
                <a:gd name="connsiteY2150" fmla="*/ 221456 h 514350"/>
                <a:gd name="connsiteX2151" fmla="*/ 2104549 w 6400800"/>
                <a:gd name="connsiteY2151" fmla="*/ 221456 h 514350"/>
                <a:gd name="connsiteX2152" fmla="*/ 2102644 w 6400800"/>
                <a:gd name="connsiteY2152" fmla="*/ 215741 h 514350"/>
                <a:gd name="connsiteX2153" fmla="*/ 2101691 w 6400800"/>
                <a:gd name="connsiteY2153" fmla="*/ 205264 h 514350"/>
                <a:gd name="connsiteX2154" fmla="*/ 2098834 w 6400800"/>
                <a:gd name="connsiteY2154" fmla="*/ 176689 h 514350"/>
                <a:gd name="connsiteX2155" fmla="*/ 2097881 w 6400800"/>
                <a:gd name="connsiteY2155" fmla="*/ 168116 h 514350"/>
                <a:gd name="connsiteX2156" fmla="*/ 2102644 w 6400800"/>
                <a:gd name="connsiteY2156" fmla="*/ 149066 h 514350"/>
                <a:gd name="connsiteX2157" fmla="*/ 2096929 w 6400800"/>
                <a:gd name="connsiteY2157" fmla="*/ 162401 h 514350"/>
                <a:gd name="connsiteX2158" fmla="*/ 2095024 w 6400800"/>
                <a:gd name="connsiteY2158" fmla="*/ 151924 h 514350"/>
                <a:gd name="connsiteX2159" fmla="*/ 2095024 w 6400800"/>
                <a:gd name="connsiteY2159" fmla="*/ 167164 h 514350"/>
                <a:gd name="connsiteX2160" fmla="*/ 2066449 w 6400800"/>
                <a:gd name="connsiteY2160" fmla="*/ 235744 h 514350"/>
                <a:gd name="connsiteX2161" fmla="*/ 2056924 w 6400800"/>
                <a:gd name="connsiteY2161" fmla="*/ 259556 h 514350"/>
                <a:gd name="connsiteX2162" fmla="*/ 2063591 w 6400800"/>
                <a:gd name="connsiteY2162" fmla="*/ 219551 h 514350"/>
                <a:gd name="connsiteX2163" fmla="*/ 2052161 w 6400800"/>
                <a:gd name="connsiteY2163" fmla="*/ 252889 h 514350"/>
                <a:gd name="connsiteX2164" fmla="*/ 2050256 w 6400800"/>
                <a:gd name="connsiteY2164" fmla="*/ 248126 h 514350"/>
                <a:gd name="connsiteX2165" fmla="*/ 2050256 w 6400800"/>
                <a:gd name="connsiteY2165" fmla="*/ 233839 h 514350"/>
                <a:gd name="connsiteX2166" fmla="*/ 2048351 w 6400800"/>
                <a:gd name="connsiteY2166" fmla="*/ 244316 h 514350"/>
                <a:gd name="connsiteX2167" fmla="*/ 2046446 w 6400800"/>
                <a:gd name="connsiteY2167" fmla="*/ 240506 h 514350"/>
                <a:gd name="connsiteX2168" fmla="*/ 2047399 w 6400800"/>
                <a:gd name="connsiteY2168" fmla="*/ 247174 h 514350"/>
                <a:gd name="connsiteX2169" fmla="*/ 2044541 w 6400800"/>
                <a:gd name="connsiteY2169" fmla="*/ 266224 h 514350"/>
                <a:gd name="connsiteX2170" fmla="*/ 2043589 w 6400800"/>
                <a:gd name="connsiteY2170" fmla="*/ 259556 h 514350"/>
                <a:gd name="connsiteX2171" fmla="*/ 2041684 w 6400800"/>
                <a:gd name="connsiteY2171" fmla="*/ 249079 h 514350"/>
                <a:gd name="connsiteX2172" fmla="*/ 2048351 w 6400800"/>
                <a:gd name="connsiteY2172" fmla="*/ 184309 h 514350"/>
                <a:gd name="connsiteX2173" fmla="*/ 2039779 w 6400800"/>
                <a:gd name="connsiteY2173" fmla="*/ 216694 h 514350"/>
                <a:gd name="connsiteX2174" fmla="*/ 2036921 w 6400800"/>
                <a:gd name="connsiteY2174" fmla="*/ 223361 h 514350"/>
                <a:gd name="connsiteX2175" fmla="*/ 2035969 w 6400800"/>
                <a:gd name="connsiteY2175" fmla="*/ 218599 h 514350"/>
                <a:gd name="connsiteX2176" fmla="*/ 2031206 w 6400800"/>
                <a:gd name="connsiteY2176" fmla="*/ 187166 h 514350"/>
                <a:gd name="connsiteX2177" fmla="*/ 2028349 w 6400800"/>
                <a:gd name="connsiteY2177" fmla="*/ 169069 h 514350"/>
                <a:gd name="connsiteX2178" fmla="*/ 2031206 w 6400800"/>
                <a:gd name="connsiteY2178" fmla="*/ 147161 h 514350"/>
                <a:gd name="connsiteX2179" fmla="*/ 2028349 w 6400800"/>
                <a:gd name="connsiteY2179" fmla="*/ 157639 h 514350"/>
                <a:gd name="connsiteX2180" fmla="*/ 2030254 w 6400800"/>
                <a:gd name="connsiteY2180" fmla="*/ 138589 h 514350"/>
                <a:gd name="connsiteX2181" fmla="*/ 2023586 w 6400800"/>
                <a:gd name="connsiteY2181" fmla="*/ 160496 h 514350"/>
                <a:gd name="connsiteX2182" fmla="*/ 2017871 w 6400800"/>
                <a:gd name="connsiteY2182" fmla="*/ 186214 h 514350"/>
                <a:gd name="connsiteX2183" fmla="*/ 2016919 w 6400800"/>
                <a:gd name="connsiteY2183" fmla="*/ 191929 h 514350"/>
                <a:gd name="connsiteX2184" fmla="*/ 2016919 w 6400800"/>
                <a:gd name="connsiteY2184" fmla="*/ 190976 h 514350"/>
                <a:gd name="connsiteX2185" fmla="*/ 2019776 w 6400800"/>
                <a:gd name="connsiteY2185" fmla="*/ 158591 h 514350"/>
                <a:gd name="connsiteX2186" fmla="*/ 2015014 w 6400800"/>
                <a:gd name="connsiteY2186" fmla="*/ 178594 h 514350"/>
                <a:gd name="connsiteX2187" fmla="*/ 2014061 w 6400800"/>
                <a:gd name="connsiteY2187" fmla="*/ 174784 h 514350"/>
                <a:gd name="connsiteX2188" fmla="*/ 2014061 w 6400800"/>
                <a:gd name="connsiteY2188" fmla="*/ 177641 h 514350"/>
                <a:gd name="connsiteX2189" fmla="*/ 2011204 w 6400800"/>
                <a:gd name="connsiteY2189" fmla="*/ 163354 h 514350"/>
                <a:gd name="connsiteX2190" fmla="*/ 2003584 w 6400800"/>
                <a:gd name="connsiteY2190" fmla="*/ 125254 h 514350"/>
                <a:gd name="connsiteX2191" fmla="*/ 1996916 w 6400800"/>
                <a:gd name="connsiteY2191" fmla="*/ 91916 h 514350"/>
                <a:gd name="connsiteX2192" fmla="*/ 1999774 w 6400800"/>
                <a:gd name="connsiteY2192" fmla="*/ 125254 h 514350"/>
                <a:gd name="connsiteX2193" fmla="*/ 2003584 w 6400800"/>
                <a:gd name="connsiteY2193" fmla="*/ 164306 h 514350"/>
                <a:gd name="connsiteX2194" fmla="*/ 2008346 w 6400800"/>
                <a:gd name="connsiteY2194" fmla="*/ 203359 h 514350"/>
                <a:gd name="connsiteX2195" fmla="*/ 1999774 w 6400800"/>
                <a:gd name="connsiteY2195" fmla="*/ 240506 h 514350"/>
                <a:gd name="connsiteX2196" fmla="*/ 1984534 w 6400800"/>
                <a:gd name="connsiteY2196" fmla="*/ 314801 h 514350"/>
                <a:gd name="connsiteX2197" fmla="*/ 1984534 w 6400800"/>
                <a:gd name="connsiteY2197" fmla="*/ 283369 h 514350"/>
                <a:gd name="connsiteX2198" fmla="*/ 1984534 w 6400800"/>
                <a:gd name="connsiteY2198" fmla="*/ 267176 h 514350"/>
                <a:gd name="connsiteX2199" fmla="*/ 1986439 w 6400800"/>
                <a:gd name="connsiteY2199" fmla="*/ 263366 h 514350"/>
                <a:gd name="connsiteX2200" fmla="*/ 1984534 w 6400800"/>
                <a:gd name="connsiteY2200" fmla="*/ 265271 h 514350"/>
                <a:gd name="connsiteX2201" fmla="*/ 1985486 w 6400800"/>
                <a:gd name="connsiteY2201" fmla="*/ 243364 h 514350"/>
                <a:gd name="connsiteX2202" fmla="*/ 1987391 w 6400800"/>
                <a:gd name="connsiteY2202" fmla="*/ 212884 h 514350"/>
                <a:gd name="connsiteX2203" fmla="*/ 1989296 w 6400800"/>
                <a:gd name="connsiteY2203" fmla="*/ 186214 h 514350"/>
                <a:gd name="connsiteX2204" fmla="*/ 1983581 w 6400800"/>
                <a:gd name="connsiteY2204" fmla="*/ 211931 h 514350"/>
                <a:gd name="connsiteX2205" fmla="*/ 1978819 w 6400800"/>
                <a:gd name="connsiteY2205" fmla="*/ 242411 h 514350"/>
                <a:gd name="connsiteX2206" fmla="*/ 1974056 w 6400800"/>
                <a:gd name="connsiteY2206" fmla="*/ 281464 h 514350"/>
                <a:gd name="connsiteX2207" fmla="*/ 1973104 w 6400800"/>
                <a:gd name="connsiteY2207" fmla="*/ 282416 h 514350"/>
                <a:gd name="connsiteX2208" fmla="*/ 1968341 w 6400800"/>
                <a:gd name="connsiteY2208" fmla="*/ 289084 h 514350"/>
                <a:gd name="connsiteX2209" fmla="*/ 1968341 w 6400800"/>
                <a:gd name="connsiteY2209" fmla="*/ 283369 h 514350"/>
                <a:gd name="connsiteX2210" fmla="*/ 1973104 w 6400800"/>
                <a:gd name="connsiteY2210" fmla="*/ 274796 h 514350"/>
                <a:gd name="connsiteX2211" fmla="*/ 1968341 w 6400800"/>
                <a:gd name="connsiteY2211" fmla="*/ 280511 h 514350"/>
                <a:gd name="connsiteX2212" fmla="*/ 1973104 w 6400800"/>
                <a:gd name="connsiteY2212" fmla="*/ 224314 h 514350"/>
                <a:gd name="connsiteX2213" fmla="*/ 1976914 w 6400800"/>
                <a:gd name="connsiteY2213" fmla="*/ 187166 h 514350"/>
                <a:gd name="connsiteX2214" fmla="*/ 1967389 w 6400800"/>
                <a:gd name="connsiteY2214" fmla="*/ 218599 h 514350"/>
                <a:gd name="connsiteX2215" fmla="*/ 1967389 w 6400800"/>
                <a:gd name="connsiteY2215" fmla="*/ 216694 h 514350"/>
                <a:gd name="connsiteX2216" fmla="*/ 1966436 w 6400800"/>
                <a:gd name="connsiteY2216" fmla="*/ 220504 h 514350"/>
                <a:gd name="connsiteX2217" fmla="*/ 1957864 w 6400800"/>
                <a:gd name="connsiteY2217" fmla="*/ 250031 h 514350"/>
                <a:gd name="connsiteX2218" fmla="*/ 1952149 w 6400800"/>
                <a:gd name="connsiteY2218" fmla="*/ 271939 h 514350"/>
                <a:gd name="connsiteX2219" fmla="*/ 1941671 w 6400800"/>
                <a:gd name="connsiteY2219" fmla="*/ 221456 h 514350"/>
                <a:gd name="connsiteX2220" fmla="*/ 1942624 w 6400800"/>
                <a:gd name="connsiteY2220" fmla="*/ 213836 h 514350"/>
                <a:gd name="connsiteX2221" fmla="*/ 1952149 w 6400800"/>
                <a:gd name="connsiteY2221" fmla="*/ 186214 h 514350"/>
                <a:gd name="connsiteX2222" fmla="*/ 1962626 w 6400800"/>
                <a:gd name="connsiteY2222" fmla="*/ 157639 h 514350"/>
                <a:gd name="connsiteX2223" fmla="*/ 1948339 w 6400800"/>
                <a:gd name="connsiteY2223" fmla="*/ 185261 h 514350"/>
                <a:gd name="connsiteX2224" fmla="*/ 1945481 w 6400800"/>
                <a:gd name="connsiteY2224" fmla="*/ 190976 h 514350"/>
                <a:gd name="connsiteX2225" fmla="*/ 1945481 w 6400800"/>
                <a:gd name="connsiteY2225" fmla="*/ 189071 h 514350"/>
                <a:gd name="connsiteX2226" fmla="*/ 1944529 w 6400800"/>
                <a:gd name="connsiteY2226" fmla="*/ 192881 h 514350"/>
                <a:gd name="connsiteX2227" fmla="*/ 1938814 w 6400800"/>
                <a:gd name="connsiteY2227" fmla="*/ 205264 h 514350"/>
                <a:gd name="connsiteX2228" fmla="*/ 1935004 w 6400800"/>
                <a:gd name="connsiteY2228" fmla="*/ 148114 h 514350"/>
                <a:gd name="connsiteX2229" fmla="*/ 1928336 w 6400800"/>
                <a:gd name="connsiteY2229" fmla="*/ 224314 h 514350"/>
                <a:gd name="connsiteX2230" fmla="*/ 1928336 w 6400800"/>
                <a:gd name="connsiteY2230" fmla="*/ 229076 h 514350"/>
                <a:gd name="connsiteX2231" fmla="*/ 1924526 w 6400800"/>
                <a:gd name="connsiteY2231" fmla="*/ 236696 h 514350"/>
                <a:gd name="connsiteX2232" fmla="*/ 1915001 w 6400800"/>
                <a:gd name="connsiteY2232" fmla="*/ 258604 h 514350"/>
                <a:gd name="connsiteX2233" fmla="*/ 1911191 w 6400800"/>
                <a:gd name="connsiteY2233" fmla="*/ 268129 h 514350"/>
                <a:gd name="connsiteX2234" fmla="*/ 1907381 w 6400800"/>
                <a:gd name="connsiteY2234" fmla="*/ 259556 h 514350"/>
                <a:gd name="connsiteX2235" fmla="*/ 1907381 w 6400800"/>
                <a:gd name="connsiteY2235" fmla="*/ 258604 h 514350"/>
                <a:gd name="connsiteX2236" fmla="*/ 1907381 w 6400800"/>
                <a:gd name="connsiteY2236" fmla="*/ 258604 h 514350"/>
                <a:gd name="connsiteX2237" fmla="*/ 1900714 w 6400800"/>
                <a:gd name="connsiteY2237" fmla="*/ 253841 h 514350"/>
                <a:gd name="connsiteX2238" fmla="*/ 1897856 w 6400800"/>
                <a:gd name="connsiteY2238" fmla="*/ 252889 h 514350"/>
                <a:gd name="connsiteX2239" fmla="*/ 1896904 w 6400800"/>
                <a:gd name="connsiteY2239" fmla="*/ 252889 h 514350"/>
                <a:gd name="connsiteX2240" fmla="*/ 1896904 w 6400800"/>
                <a:gd name="connsiteY2240" fmla="*/ 250984 h 514350"/>
                <a:gd name="connsiteX2241" fmla="*/ 1897856 w 6400800"/>
                <a:gd name="connsiteY2241" fmla="*/ 246221 h 514350"/>
                <a:gd name="connsiteX2242" fmla="*/ 1902619 w 6400800"/>
                <a:gd name="connsiteY2242" fmla="*/ 230029 h 514350"/>
                <a:gd name="connsiteX2243" fmla="*/ 1903571 w 6400800"/>
                <a:gd name="connsiteY2243" fmla="*/ 226219 h 514350"/>
                <a:gd name="connsiteX2244" fmla="*/ 1902619 w 6400800"/>
                <a:gd name="connsiteY2244" fmla="*/ 227171 h 514350"/>
                <a:gd name="connsiteX2245" fmla="*/ 1906429 w 6400800"/>
                <a:gd name="connsiteY2245" fmla="*/ 214789 h 514350"/>
                <a:gd name="connsiteX2246" fmla="*/ 1915001 w 6400800"/>
                <a:gd name="connsiteY2246" fmla="*/ 190976 h 514350"/>
                <a:gd name="connsiteX2247" fmla="*/ 1922621 w 6400800"/>
                <a:gd name="connsiteY2247" fmla="*/ 170021 h 514350"/>
                <a:gd name="connsiteX2248" fmla="*/ 1911191 w 6400800"/>
                <a:gd name="connsiteY2248" fmla="*/ 189071 h 514350"/>
                <a:gd name="connsiteX2249" fmla="*/ 1899761 w 6400800"/>
                <a:gd name="connsiteY2249" fmla="*/ 211931 h 514350"/>
                <a:gd name="connsiteX2250" fmla="*/ 1893094 w 6400800"/>
                <a:gd name="connsiteY2250" fmla="*/ 226219 h 514350"/>
                <a:gd name="connsiteX2251" fmla="*/ 1889284 w 6400800"/>
                <a:gd name="connsiteY2251" fmla="*/ 235744 h 514350"/>
                <a:gd name="connsiteX2252" fmla="*/ 1888331 w 6400800"/>
                <a:gd name="connsiteY2252" fmla="*/ 232886 h 514350"/>
                <a:gd name="connsiteX2253" fmla="*/ 1889284 w 6400800"/>
                <a:gd name="connsiteY2253" fmla="*/ 216694 h 514350"/>
                <a:gd name="connsiteX2254" fmla="*/ 1891189 w 6400800"/>
                <a:gd name="connsiteY2254" fmla="*/ 200501 h 514350"/>
                <a:gd name="connsiteX2255" fmla="*/ 1894046 w 6400800"/>
                <a:gd name="connsiteY2255" fmla="*/ 187166 h 514350"/>
                <a:gd name="connsiteX2256" fmla="*/ 1899761 w 6400800"/>
                <a:gd name="connsiteY2256" fmla="*/ 169069 h 514350"/>
                <a:gd name="connsiteX2257" fmla="*/ 1902619 w 6400800"/>
                <a:gd name="connsiteY2257" fmla="*/ 162401 h 514350"/>
                <a:gd name="connsiteX2258" fmla="*/ 1898809 w 6400800"/>
                <a:gd name="connsiteY2258" fmla="*/ 168116 h 514350"/>
                <a:gd name="connsiteX2259" fmla="*/ 1890236 w 6400800"/>
                <a:gd name="connsiteY2259" fmla="*/ 186214 h 514350"/>
                <a:gd name="connsiteX2260" fmla="*/ 1885474 w 6400800"/>
                <a:gd name="connsiteY2260" fmla="*/ 199549 h 514350"/>
                <a:gd name="connsiteX2261" fmla="*/ 1882616 w 6400800"/>
                <a:gd name="connsiteY2261" fmla="*/ 213836 h 514350"/>
                <a:gd name="connsiteX2262" fmla="*/ 1882616 w 6400800"/>
                <a:gd name="connsiteY2262" fmla="*/ 210026 h 514350"/>
                <a:gd name="connsiteX2263" fmla="*/ 1878806 w 6400800"/>
                <a:gd name="connsiteY2263" fmla="*/ 228124 h 514350"/>
                <a:gd name="connsiteX2264" fmla="*/ 1874996 w 6400800"/>
                <a:gd name="connsiteY2264" fmla="*/ 243364 h 514350"/>
                <a:gd name="connsiteX2265" fmla="*/ 1874996 w 6400800"/>
                <a:gd name="connsiteY2265" fmla="*/ 237649 h 514350"/>
                <a:gd name="connsiteX2266" fmla="*/ 1872139 w 6400800"/>
                <a:gd name="connsiteY2266" fmla="*/ 255746 h 514350"/>
                <a:gd name="connsiteX2267" fmla="*/ 1868329 w 6400800"/>
                <a:gd name="connsiteY2267" fmla="*/ 270986 h 514350"/>
                <a:gd name="connsiteX2268" fmla="*/ 1869281 w 6400800"/>
                <a:gd name="connsiteY2268" fmla="*/ 259556 h 514350"/>
                <a:gd name="connsiteX2269" fmla="*/ 1874996 w 6400800"/>
                <a:gd name="connsiteY2269" fmla="*/ 213836 h 514350"/>
                <a:gd name="connsiteX2270" fmla="*/ 1877854 w 6400800"/>
                <a:gd name="connsiteY2270" fmla="*/ 193834 h 514350"/>
                <a:gd name="connsiteX2271" fmla="*/ 1881664 w 6400800"/>
                <a:gd name="connsiteY2271" fmla="*/ 175736 h 514350"/>
                <a:gd name="connsiteX2272" fmla="*/ 1888331 w 6400800"/>
                <a:gd name="connsiteY2272" fmla="*/ 146209 h 514350"/>
                <a:gd name="connsiteX2273" fmla="*/ 1894999 w 6400800"/>
                <a:gd name="connsiteY2273" fmla="*/ 120491 h 514350"/>
                <a:gd name="connsiteX2274" fmla="*/ 1885474 w 6400800"/>
                <a:gd name="connsiteY2274" fmla="*/ 144304 h 514350"/>
                <a:gd name="connsiteX2275" fmla="*/ 1875949 w 6400800"/>
                <a:gd name="connsiteY2275" fmla="*/ 172879 h 514350"/>
                <a:gd name="connsiteX2276" fmla="*/ 1870234 w 6400800"/>
                <a:gd name="connsiteY2276" fmla="*/ 190976 h 514350"/>
                <a:gd name="connsiteX2277" fmla="*/ 1865471 w 6400800"/>
                <a:gd name="connsiteY2277" fmla="*/ 210979 h 514350"/>
                <a:gd name="connsiteX2278" fmla="*/ 1858804 w 6400800"/>
                <a:gd name="connsiteY2278" fmla="*/ 238601 h 514350"/>
                <a:gd name="connsiteX2279" fmla="*/ 1856899 w 6400800"/>
                <a:gd name="connsiteY2279" fmla="*/ 194786 h 514350"/>
                <a:gd name="connsiteX2280" fmla="*/ 1854994 w 6400800"/>
                <a:gd name="connsiteY2280" fmla="*/ 172879 h 514350"/>
                <a:gd name="connsiteX2281" fmla="*/ 1853089 w 6400800"/>
                <a:gd name="connsiteY2281" fmla="*/ 194786 h 514350"/>
                <a:gd name="connsiteX2282" fmla="*/ 1848326 w 6400800"/>
                <a:gd name="connsiteY2282" fmla="*/ 250984 h 514350"/>
                <a:gd name="connsiteX2283" fmla="*/ 1845469 w 6400800"/>
                <a:gd name="connsiteY2283" fmla="*/ 282416 h 514350"/>
                <a:gd name="connsiteX2284" fmla="*/ 1839754 w 6400800"/>
                <a:gd name="connsiteY2284" fmla="*/ 273844 h 514350"/>
                <a:gd name="connsiteX2285" fmla="*/ 1838801 w 6400800"/>
                <a:gd name="connsiteY2285" fmla="*/ 269081 h 514350"/>
                <a:gd name="connsiteX2286" fmla="*/ 1838801 w 6400800"/>
                <a:gd name="connsiteY2286" fmla="*/ 272891 h 514350"/>
                <a:gd name="connsiteX2287" fmla="*/ 1827371 w 6400800"/>
                <a:gd name="connsiteY2287" fmla="*/ 256699 h 514350"/>
                <a:gd name="connsiteX2288" fmla="*/ 1828324 w 6400800"/>
                <a:gd name="connsiteY2288" fmla="*/ 190976 h 514350"/>
                <a:gd name="connsiteX2289" fmla="*/ 1822609 w 6400800"/>
                <a:gd name="connsiteY2289" fmla="*/ 222409 h 514350"/>
                <a:gd name="connsiteX2290" fmla="*/ 1822609 w 6400800"/>
                <a:gd name="connsiteY2290" fmla="*/ 214789 h 514350"/>
                <a:gd name="connsiteX2291" fmla="*/ 1822609 w 6400800"/>
                <a:gd name="connsiteY2291" fmla="*/ 161449 h 514350"/>
                <a:gd name="connsiteX2292" fmla="*/ 1823561 w 6400800"/>
                <a:gd name="connsiteY2292" fmla="*/ 113824 h 514350"/>
                <a:gd name="connsiteX2293" fmla="*/ 1823561 w 6400800"/>
                <a:gd name="connsiteY2293" fmla="*/ 15716 h 514350"/>
                <a:gd name="connsiteX2294" fmla="*/ 1812131 w 6400800"/>
                <a:gd name="connsiteY2294" fmla="*/ 112871 h 514350"/>
                <a:gd name="connsiteX2295" fmla="*/ 1807369 w 6400800"/>
                <a:gd name="connsiteY2295" fmla="*/ 160496 h 514350"/>
                <a:gd name="connsiteX2296" fmla="*/ 1805464 w 6400800"/>
                <a:gd name="connsiteY2296" fmla="*/ 209074 h 514350"/>
                <a:gd name="connsiteX2297" fmla="*/ 1801654 w 6400800"/>
                <a:gd name="connsiteY2297" fmla="*/ 211931 h 514350"/>
                <a:gd name="connsiteX2298" fmla="*/ 1801654 w 6400800"/>
                <a:gd name="connsiteY2298" fmla="*/ 211931 h 514350"/>
                <a:gd name="connsiteX2299" fmla="*/ 1801654 w 6400800"/>
                <a:gd name="connsiteY2299" fmla="*/ 212884 h 514350"/>
                <a:gd name="connsiteX2300" fmla="*/ 1790224 w 6400800"/>
                <a:gd name="connsiteY2300" fmla="*/ 237649 h 514350"/>
                <a:gd name="connsiteX2301" fmla="*/ 1790224 w 6400800"/>
                <a:gd name="connsiteY2301" fmla="*/ 207169 h 514350"/>
                <a:gd name="connsiteX2302" fmla="*/ 1786414 w 6400800"/>
                <a:gd name="connsiteY2302" fmla="*/ 239554 h 514350"/>
                <a:gd name="connsiteX2303" fmla="*/ 1784509 w 6400800"/>
                <a:gd name="connsiteY2303" fmla="*/ 250984 h 514350"/>
                <a:gd name="connsiteX2304" fmla="*/ 1783556 w 6400800"/>
                <a:gd name="connsiteY2304" fmla="*/ 252889 h 514350"/>
                <a:gd name="connsiteX2305" fmla="*/ 1776889 w 6400800"/>
                <a:gd name="connsiteY2305" fmla="*/ 226219 h 514350"/>
                <a:gd name="connsiteX2306" fmla="*/ 1777841 w 6400800"/>
                <a:gd name="connsiteY2306" fmla="*/ 253841 h 514350"/>
                <a:gd name="connsiteX2307" fmla="*/ 1768316 w 6400800"/>
                <a:gd name="connsiteY2307" fmla="*/ 230029 h 514350"/>
                <a:gd name="connsiteX2308" fmla="*/ 1759744 w 6400800"/>
                <a:gd name="connsiteY2308" fmla="*/ 209074 h 514350"/>
                <a:gd name="connsiteX2309" fmla="*/ 1759744 w 6400800"/>
                <a:gd name="connsiteY2309" fmla="*/ 208121 h 514350"/>
                <a:gd name="connsiteX2310" fmla="*/ 1761649 w 6400800"/>
                <a:gd name="connsiteY2310" fmla="*/ 198596 h 514350"/>
                <a:gd name="connsiteX2311" fmla="*/ 1759744 w 6400800"/>
                <a:gd name="connsiteY2311" fmla="*/ 203359 h 514350"/>
                <a:gd name="connsiteX2312" fmla="*/ 1759744 w 6400800"/>
                <a:gd name="connsiteY2312" fmla="*/ 195739 h 514350"/>
                <a:gd name="connsiteX2313" fmla="*/ 1761649 w 6400800"/>
                <a:gd name="connsiteY2313" fmla="*/ 171926 h 514350"/>
                <a:gd name="connsiteX2314" fmla="*/ 1762601 w 6400800"/>
                <a:gd name="connsiteY2314" fmla="*/ 151924 h 514350"/>
                <a:gd name="connsiteX2315" fmla="*/ 1756886 w 6400800"/>
                <a:gd name="connsiteY2315" fmla="*/ 171926 h 514350"/>
                <a:gd name="connsiteX2316" fmla="*/ 1749266 w 6400800"/>
                <a:gd name="connsiteY2316" fmla="*/ 205264 h 514350"/>
                <a:gd name="connsiteX2317" fmla="*/ 1745456 w 6400800"/>
                <a:gd name="connsiteY2317" fmla="*/ 197644 h 514350"/>
                <a:gd name="connsiteX2318" fmla="*/ 1749266 w 6400800"/>
                <a:gd name="connsiteY2318" fmla="*/ 208121 h 514350"/>
                <a:gd name="connsiteX2319" fmla="*/ 1746409 w 6400800"/>
                <a:gd name="connsiteY2319" fmla="*/ 225266 h 514350"/>
                <a:gd name="connsiteX2320" fmla="*/ 1746409 w 6400800"/>
                <a:gd name="connsiteY2320" fmla="*/ 228124 h 514350"/>
                <a:gd name="connsiteX2321" fmla="*/ 1737836 w 6400800"/>
                <a:gd name="connsiteY2321" fmla="*/ 171926 h 514350"/>
                <a:gd name="connsiteX2322" fmla="*/ 1738789 w 6400800"/>
                <a:gd name="connsiteY2322" fmla="*/ 252889 h 514350"/>
                <a:gd name="connsiteX2323" fmla="*/ 1736884 w 6400800"/>
                <a:gd name="connsiteY2323" fmla="*/ 256699 h 514350"/>
                <a:gd name="connsiteX2324" fmla="*/ 1735931 w 6400800"/>
                <a:gd name="connsiteY2324" fmla="*/ 252889 h 514350"/>
                <a:gd name="connsiteX2325" fmla="*/ 1735931 w 6400800"/>
                <a:gd name="connsiteY2325" fmla="*/ 257651 h 514350"/>
                <a:gd name="connsiteX2326" fmla="*/ 1733074 w 6400800"/>
                <a:gd name="connsiteY2326" fmla="*/ 264319 h 514350"/>
                <a:gd name="connsiteX2327" fmla="*/ 1727359 w 6400800"/>
                <a:gd name="connsiteY2327" fmla="*/ 283369 h 514350"/>
                <a:gd name="connsiteX2328" fmla="*/ 1722596 w 6400800"/>
                <a:gd name="connsiteY2328" fmla="*/ 299561 h 514350"/>
                <a:gd name="connsiteX2329" fmla="*/ 1718786 w 6400800"/>
                <a:gd name="connsiteY2329" fmla="*/ 267176 h 514350"/>
                <a:gd name="connsiteX2330" fmla="*/ 1716881 w 6400800"/>
                <a:gd name="connsiteY2330" fmla="*/ 317659 h 514350"/>
                <a:gd name="connsiteX2331" fmla="*/ 1716881 w 6400800"/>
                <a:gd name="connsiteY2331" fmla="*/ 318611 h 514350"/>
                <a:gd name="connsiteX2332" fmla="*/ 1714976 w 6400800"/>
                <a:gd name="connsiteY2332" fmla="*/ 316706 h 514350"/>
                <a:gd name="connsiteX2333" fmla="*/ 1707356 w 6400800"/>
                <a:gd name="connsiteY2333" fmla="*/ 288131 h 514350"/>
                <a:gd name="connsiteX2334" fmla="*/ 1709261 w 6400800"/>
                <a:gd name="connsiteY2334" fmla="*/ 237649 h 514350"/>
                <a:gd name="connsiteX2335" fmla="*/ 1710214 w 6400800"/>
                <a:gd name="connsiteY2335" fmla="*/ 163354 h 514350"/>
                <a:gd name="connsiteX2336" fmla="*/ 1698784 w 6400800"/>
                <a:gd name="connsiteY2336" fmla="*/ 229076 h 514350"/>
                <a:gd name="connsiteX2337" fmla="*/ 1694021 w 6400800"/>
                <a:gd name="connsiteY2337" fmla="*/ 203359 h 514350"/>
                <a:gd name="connsiteX2338" fmla="*/ 1699736 w 6400800"/>
                <a:gd name="connsiteY2338" fmla="*/ 170021 h 514350"/>
                <a:gd name="connsiteX2339" fmla="*/ 1706404 w 6400800"/>
                <a:gd name="connsiteY2339" fmla="*/ 119539 h 514350"/>
                <a:gd name="connsiteX2340" fmla="*/ 1710214 w 6400800"/>
                <a:gd name="connsiteY2340" fmla="*/ 80486 h 514350"/>
                <a:gd name="connsiteX2341" fmla="*/ 1713071 w 6400800"/>
                <a:gd name="connsiteY2341" fmla="*/ 47149 h 514350"/>
                <a:gd name="connsiteX2342" fmla="*/ 1706404 w 6400800"/>
                <a:gd name="connsiteY2342" fmla="*/ 80486 h 514350"/>
                <a:gd name="connsiteX2343" fmla="*/ 1698784 w 6400800"/>
                <a:gd name="connsiteY2343" fmla="*/ 118586 h 514350"/>
                <a:gd name="connsiteX2344" fmla="*/ 1688306 w 6400800"/>
                <a:gd name="connsiteY2344" fmla="*/ 168116 h 514350"/>
                <a:gd name="connsiteX2345" fmla="*/ 1687354 w 6400800"/>
                <a:gd name="connsiteY2345" fmla="*/ 171926 h 514350"/>
                <a:gd name="connsiteX2346" fmla="*/ 1684496 w 6400800"/>
                <a:gd name="connsiteY2346" fmla="*/ 160496 h 514350"/>
                <a:gd name="connsiteX2347" fmla="*/ 1685449 w 6400800"/>
                <a:gd name="connsiteY2347" fmla="*/ 179546 h 514350"/>
                <a:gd name="connsiteX2348" fmla="*/ 1681639 w 6400800"/>
                <a:gd name="connsiteY2348" fmla="*/ 197644 h 514350"/>
                <a:gd name="connsiteX2349" fmla="*/ 1680686 w 6400800"/>
                <a:gd name="connsiteY2349" fmla="*/ 192881 h 514350"/>
                <a:gd name="connsiteX2350" fmla="*/ 1681639 w 6400800"/>
                <a:gd name="connsiteY2350" fmla="*/ 174784 h 514350"/>
                <a:gd name="connsiteX2351" fmla="*/ 1682591 w 6400800"/>
                <a:gd name="connsiteY2351" fmla="*/ 143351 h 514350"/>
                <a:gd name="connsiteX2352" fmla="*/ 1683544 w 6400800"/>
                <a:gd name="connsiteY2352" fmla="*/ 115729 h 514350"/>
                <a:gd name="connsiteX2353" fmla="*/ 1678781 w 6400800"/>
                <a:gd name="connsiteY2353" fmla="*/ 143351 h 514350"/>
                <a:gd name="connsiteX2354" fmla="*/ 1674019 w 6400800"/>
                <a:gd name="connsiteY2354" fmla="*/ 174784 h 514350"/>
                <a:gd name="connsiteX2355" fmla="*/ 1666399 w 6400800"/>
                <a:gd name="connsiteY2355" fmla="*/ 215741 h 514350"/>
                <a:gd name="connsiteX2356" fmla="*/ 1663541 w 6400800"/>
                <a:gd name="connsiteY2356" fmla="*/ 231934 h 514350"/>
                <a:gd name="connsiteX2357" fmla="*/ 1661636 w 6400800"/>
                <a:gd name="connsiteY2357" fmla="*/ 225266 h 514350"/>
                <a:gd name="connsiteX2358" fmla="*/ 1662589 w 6400800"/>
                <a:gd name="connsiteY2358" fmla="*/ 236696 h 514350"/>
                <a:gd name="connsiteX2359" fmla="*/ 1659731 w 6400800"/>
                <a:gd name="connsiteY2359" fmla="*/ 253841 h 514350"/>
                <a:gd name="connsiteX2360" fmla="*/ 1658779 w 6400800"/>
                <a:gd name="connsiteY2360" fmla="*/ 251936 h 514350"/>
                <a:gd name="connsiteX2361" fmla="*/ 1646396 w 6400800"/>
                <a:gd name="connsiteY2361" fmla="*/ 223361 h 514350"/>
                <a:gd name="connsiteX2362" fmla="*/ 1642586 w 6400800"/>
                <a:gd name="connsiteY2362" fmla="*/ 215741 h 514350"/>
                <a:gd name="connsiteX2363" fmla="*/ 1642586 w 6400800"/>
                <a:gd name="connsiteY2363" fmla="*/ 202406 h 514350"/>
                <a:gd name="connsiteX2364" fmla="*/ 1640681 w 6400800"/>
                <a:gd name="connsiteY2364" fmla="*/ 154781 h 514350"/>
                <a:gd name="connsiteX2365" fmla="*/ 1635919 w 6400800"/>
                <a:gd name="connsiteY2365" fmla="*/ 111919 h 514350"/>
                <a:gd name="connsiteX2366" fmla="*/ 1624489 w 6400800"/>
                <a:gd name="connsiteY2366" fmla="*/ 23336 h 514350"/>
                <a:gd name="connsiteX2367" fmla="*/ 1624489 w 6400800"/>
                <a:gd name="connsiteY2367" fmla="*/ 111919 h 514350"/>
                <a:gd name="connsiteX2368" fmla="*/ 1625441 w 6400800"/>
                <a:gd name="connsiteY2368" fmla="*/ 154781 h 514350"/>
                <a:gd name="connsiteX2369" fmla="*/ 1625441 w 6400800"/>
                <a:gd name="connsiteY2369" fmla="*/ 202406 h 514350"/>
                <a:gd name="connsiteX2370" fmla="*/ 1625441 w 6400800"/>
                <a:gd name="connsiteY2370" fmla="*/ 225266 h 514350"/>
                <a:gd name="connsiteX2371" fmla="*/ 1625441 w 6400800"/>
                <a:gd name="connsiteY2371" fmla="*/ 230981 h 514350"/>
                <a:gd name="connsiteX2372" fmla="*/ 1623536 w 6400800"/>
                <a:gd name="connsiteY2372" fmla="*/ 227171 h 514350"/>
                <a:gd name="connsiteX2373" fmla="*/ 1619726 w 6400800"/>
                <a:gd name="connsiteY2373" fmla="*/ 203359 h 514350"/>
                <a:gd name="connsiteX2374" fmla="*/ 1619726 w 6400800"/>
                <a:gd name="connsiteY2374" fmla="*/ 217646 h 514350"/>
                <a:gd name="connsiteX2375" fmla="*/ 1608296 w 6400800"/>
                <a:gd name="connsiteY2375" fmla="*/ 190976 h 514350"/>
                <a:gd name="connsiteX2376" fmla="*/ 1619726 w 6400800"/>
                <a:gd name="connsiteY2376" fmla="*/ 233839 h 514350"/>
                <a:gd name="connsiteX2377" fmla="*/ 1619726 w 6400800"/>
                <a:gd name="connsiteY2377" fmla="*/ 242411 h 514350"/>
                <a:gd name="connsiteX2378" fmla="*/ 1613059 w 6400800"/>
                <a:gd name="connsiteY2378" fmla="*/ 233839 h 514350"/>
                <a:gd name="connsiteX2379" fmla="*/ 1619726 w 6400800"/>
                <a:gd name="connsiteY2379" fmla="*/ 247174 h 514350"/>
                <a:gd name="connsiteX2380" fmla="*/ 1610201 w 6400800"/>
                <a:gd name="connsiteY2380" fmla="*/ 264319 h 514350"/>
                <a:gd name="connsiteX2381" fmla="*/ 1607344 w 6400800"/>
                <a:gd name="connsiteY2381" fmla="*/ 270034 h 514350"/>
                <a:gd name="connsiteX2382" fmla="*/ 1606391 w 6400800"/>
                <a:gd name="connsiteY2382" fmla="*/ 269081 h 514350"/>
                <a:gd name="connsiteX2383" fmla="*/ 1607344 w 6400800"/>
                <a:gd name="connsiteY2383" fmla="*/ 270034 h 514350"/>
                <a:gd name="connsiteX2384" fmla="*/ 1601629 w 6400800"/>
                <a:gd name="connsiteY2384" fmla="*/ 282416 h 514350"/>
                <a:gd name="connsiteX2385" fmla="*/ 1600676 w 6400800"/>
                <a:gd name="connsiteY2385" fmla="*/ 269081 h 514350"/>
                <a:gd name="connsiteX2386" fmla="*/ 1595914 w 6400800"/>
                <a:gd name="connsiteY2386" fmla="*/ 207169 h 514350"/>
                <a:gd name="connsiteX2387" fmla="*/ 1594009 w 6400800"/>
                <a:gd name="connsiteY2387" fmla="*/ 183356 h 514350"/>
                <a:gd name="connsiteX2388" fmla="*/ 1592104 w 6400800"/>
                <a:gd name="connsiteY2388" fmla="*/ 207169 h 514350"/>
                <a:gd name="connsiteX2389" fmla="*/ 1591151 w 6400800"/>
                <a:gd name="connsiteY2389" fmla="*/ 227171 h 514350"/>
                <a:gd name="connsiteX2390" fmla="*/ 1583531 w 6400800"/>
                <a:gd name="connsiteY2390" fmla="*/ 197644 h 514350"/>
                <a:gd name="connsiteX2391" fmla="*/ 1578769 w 6400800"/>
                <a:gd name="connsiteY2391" fmla="*/ 179546 h 514350"/>
                <a:gd name="connsiteX2392" fmla="*/ 1573054 w 6400800"/>
                <a:gd name="connsiteY2392" fmla="*/ 163354 h 514350"/>
                <a:gd name="connsiteX2393" fmla="*/ 1563529 w 6400800"/>
                <a:gd name="connsiteY2393" fmla="*/ 137636 h 514350"/>
                <a:gd name="connsiteX2394" fmla="*/ 1554004 w 6400800"/>
                <a:gd name="connsiteY2394" fmla="*/ 115729 h 514350"/>
                <a:gd name="connsiteX2395" fmla="*/ 1560671 w 6400800"/>
                <a:gd name="connsiteY2395" fmla="*/ 138589 h 514350"/>
                <a:gd name="connsiteX2396" fmla="*/ 1567339 w 6400800"/>
                <a:gd name="connsiteY2396" fmla="*/ 165259 h 514350"/>
                <a:gd name="connsiteX2397" fmla="*/ 1571149 w 6400800"/>
                <a:gd name="connsiteY2397" fmla="*/ 181451 h 514350"/>
                <a:gd name="connsiteX2398" fmla="*/ 1574006 w 6400800"/>
                <a:gd name="connsiteY2398" fmla="*/ 199549 h 514350"/>
                <a:gd name="connsiteX2399" fmla="*/ 1579721 w 6400800"/>
                <a:gd name="connsiteY2399" fmla="*/ 240506 h 514350"/>
                <a:gd name="connsiteX2400" fmla="*/ 1584484 w 6400800"/>
                <a:gd name="connsiteY2400" fmla="*/ 283369 h 514350"/>
                <a:gd name="connsiteX2401" fmla="*/ 1576864 w 6400800"/>
                <a:gd name="connsiteY2401" fmla="*/ 258604 h 514350"/>
                <a:gd name="connsiteX2402" fmla="*/ 1573054 w 6400800"/>
                <a:gd name="connsiteY2402" fmla="*/ 249079 h 514350"/>
                <a:gd name="connsiteX2403" fmla="*/ 1573054 w 6400800"/>
                <a:gd name="connsiteY2403" fmla="*/ 247174 h 514350"/>
                <a:gd name="connsiteX2404" fmla="*/ 1572101 w 6400800"/>
                <a:gd name="connsiteY2404" fmla="*/ 234791 h 514350"/>
                <a:gd name="connsiteX2405" fmla="*/ 1567339 w 6400800"/>
                <a:gd name="connsiteY2405" fmla="*/ 198596 h 514350"/>
                <a:gd name="connsiteX2406" fmla="*/ 1563529 w 6400800"/>
                <a:gd name="connsiteY2406" fmla="*/ 184309 h 514350"/>
                <a:gd name="connsiteX2407" fmla="*/ 1558766 w 6400800"/>
                <a:gd name="connsiteY2407" fmla="*/ 171926 h 514350"/>
                <a:gd name="connsiteX2408" fmla="*/ 1550194 w 6400800"/>
                <a:gd name="connsiteY2408" fmla="*/ 155734 h 514350"/>
                <a:gd name="connsiteX2409" fmla="*/ 1546384 w 6400800"/>
                <a:gd name="connsiteY2409" fmla="*/ 150019 h 514350"/>
                <a:gd name="connsiteX2410" fmla="*/ 1549241 w 6400800"/>
                <a:gd name="connsiteY2410" fmla="*/ 155734 h 514350"/>
                <a:gd name="connsiteX2411" fmla="*/ 1554956 w 6400800"/>
                <a:gd name="connsiteY2411" fmla="*/ 171926 h 514350"/>
                <a:gd name="connsiteX2412" fmla="*/ 1557814 w 6400800"/>
                <a:gd name="connsiteY2412" fmla="*/ 184309 h 514350"/>
                <a:gd name="connsiteX2413" fmla="*/ 1559719 w 6400800"/>
                <a:gd name="connsiteY2413" fmla="*/ 198596 h 514350"/>
                <a:gd name="connsiteX2414" fmla="*/ 1560671 w 6400800"/>
                <a:gd name="connsiteY2414" fmla="*/ 213836 h 514350"/>
                <a:gd name="connsiteX2415" fmla="*/ 1559719 w 6400800"/>
                <a:gd name="connsiteY2415" fmla="*/ 216694 h 514350"/>
                <a:gd name="connsiteX2416" fmla="*/ 1555909 w 6400800"/>
                <a:gd name="connsiteY2416" fmla="*/ 208121 h 514350"/>
                <a:gd name="connsiteX2417" fmla="*/ 1549241 w 6400800"/>
                <a:gd name="connsiteY2417" fmla="*/ 194786 h 514350"/>
                <a:gd name="connsiteX2418" fmla="*/ 1537811 w 6400800"/>
                <a:gd name="connsiteY2418" fmla="*/ 173831 h 514350"/>
                <a:gd name="connsiteX2419" fmla="*/ 1526381 w 6400800"/>
                <a:gd name="connsiteY2419" fmla="*/ 156686 h 514350"/>
                <a:gd name="connsiteX2420" fmla="*/ 1534001 w 6400800"/>
                <a:gd name="connsiteY2420" fmla="*/ 175736 h 514350"/>
                <a:gd name="connsiteX2421" fmla="*/ 1542574 w 6400800"/>
                <a:gd name="connsiteY2421" fmla="*/ 197644 h 514350"/>
                <a:gd name="connsiteX2422" fmla="*/ 1546384 w 6400800"/>
                <a:gd name="connsiteY2422" fmla="*/ 209074 h 514350"/>
                <a:gd name="connsiteX2423" fmla="*/ 1545431 w 6400800"/>
                <a:gd name="connsiteY2423" fmla="*/ 208121 h 514350"/>
                <a:gd name="connsiteX2424" fmla="*/ 1546384 w 6400800"/>
                <a:gd name="connsiteY2424" fmla="*/ 210979 h 514350"/>
                <a:gd name="connsiteX2425" fmla="*/ 1551146 w 6400800"/>
                <a:gd name="connsiteY2425" fmla="*/ 226219 h 514350"/>
                <a:gd name="connsiteX2426" fmla="*/ 1552099 w 6400800"/>
                <a:gd name="connsiteY2426" fmla="*/ 230981 h 514350"/>
                <a:gd name="connsiteX2427" fmla="*/ 1553051 w 6400800"/>
                <a:gd name="connsiteY2427" fmla="*/ 235744 h 514350"/>
                <a:gd name="connsiteX2428" fmla="*/ 1554004 w 6400800"/>
                <a:gd name="connsiteY2428" fmla="*/ 241459 h 514350"/>
                <a:gd name="connsiteX2429" fmla="*/ 1554004 w 6400800"/>
                <a:gd name="connsiteY2429" fmla="*/ 244316 h 514350"/>
                <a:gd name="connsiteX2430" fmla="*/ 1553051 w 6400800"/>
                <a:gd name="connsiteY2430" fmla="*/ 250031 h 514350"/>
                <a:gd name="connsiteX2431" fmla="*/ 1547336 w 6400800"/>
                <a:gd name="connsiteY2431" fmla="*/ 263366 h 514350"/>
                <a:gd name="connsiteX2432" fmla="*/ 1542574 w 6400800"/>
                <a:gd name="connsiteY2432" fmla="*/ 251936 h 514350"/>
                <a:gd name="connsiteX2433" fmla="*/ 1542574 w 6400800"/>
                <a:gd name="connsiteY2433" fmla="*/ 243364 h 514350"/>
                <a:gd name="connsiteX2434" fmla="*/ 1542574 w 6400800"/>
                <a:gd name="connsiteY2434" fmla="*/ 222409 h 514350"/>
                <a:gd name="connsiteX2435" fmla="*/ 1538764 w 6400800"/>
                <a:gd name="connsiteY2435" fmla="*/ 243364 h 514350"/>
                <a:gd name="connsiteX2436" fmla="*/ 1538764 w 6400800"/>
                <a:gd name="connsiteY2436" fmla="*/ 243364 h 514350"/>
                <a:gd name="connsiteX2437" fmla="*/ 1531144 w 6400800"/>
                <a:gd name="connsiteY2437" fmla="*/ 226219 h 514350"/>
                <a:gd name="connsiteX2438" fmla="*/ 1537811 w 6400800"/>
                <a:gd name="connsiteY2438" fmla="*/ 250031 h 514350"/>
                <a:gd name="connsiteX2439" fmla="*/ 1536859 w 6400800"/>
                <a:gd name="connsiteY2439" fmla="*/ 258604 h 514350"/>
                <a:gd name="connsiteX2440" fmla="*/ 1531144 w 6400800"/>
                <a:gd name="connsiteY2440" fmla="*/ 239554 h 514350"/>
                <a:gd name="connsiteX2441" fmla="*/ 1525429 w 6400800"/>
                <a:gd name="connsiteY2441" fmla="*/ 220504 h 514350"/>
                <a:gd name="connsiteX2442" fmla="*/ 1521619 w 6400800"/>
                <a:gd name="connsiteY2442" fmla="*/ 211931 h 514350"/>
                <a:gd name="connsiteX2443" fmla="*/ 1515904 w 6400800"/>
                <a:gd name="connsiteY2443" fmla="*/ 150019 h 514350"/>
                <a:gd name="connsiteX2444" fmla="*/ 1513046 w 6400800"/>
                <a:gd name="connsiteY2444" fmla="*/ 192881 h 514350"/>
                <a:gd name="connsiteX2445" fmla="*/ 1506379 w 6400800"/>
                <a:gd name="connsiteY2445" fmla="*/ 177641 h 514350"/>
                <a:gd name="connsiteX2446" fmla="*/ 1495901 w 6400800"/>
                <a:gd name="connsiteY2446" fmla="*/ 154781 h 514350"/>
                <a:gd name="connsiteX2447" fmla="*/ 1502569 w 6400800"/>
                <a:gd name="connsiteY2447" fmla="*/ 178594 h 514350"/>
                <a:gd name="connsiteX2448" fmla="*/ 1505426 w 6400800"/>
                <a:gd name="connsiteY2448" fmla="*/ 190024 h 514350"/>
                <a:gd name="connsiteX2449" fmla="*/ 1504474 w 6400800"/>
                <a:gd name="connsiteY2449" fmla="*/ 189071 h 514350"/>
                <a:gd name="connsiteX2450" fmla="*/ 1510189 w 6400800"/>
                <a:gd name="connsiteY2450" fmla="*/ 210026 h 514350"/>
                <a:gd name="connsiteX2451" fmla="*/ 1511141 w 6400800"/>
                <a:gd name="connsiteY2451" fmla="*/ 213836 h 514350"/>
                <a:gd name="connsiteX2452" fmla="*/ 1510189 w 6400800"/>
                <a:gd name="connsiteY2452" fmla="*/ 233839 h 514350"/>
                <a:gd name="connsiteX2453" fmla="*/ 1509236 w 6400800"/>
                <a:gd name="connsiteY2453" fmla="*/ 258604 h 514350"/>
                <a:gd name="connsiteX2454" fmla="*/ 1498759 w 6400800"/>
                <a:gd name="connsiteY2454" fmla="*/ 230981 h 514350"/>
                <a:gd name="connsiteX2455" fmla="*/ 1508284 w 6400800"/>
                <a:gd name="connsiteY2455" fmla="*/ 275749 h 514350"/>
                <a:gd name="connsiteX2456" fmla="*/ 1507331 w 6400800"/>
                <a:gd name="connsiteY2456" fmla="*/ 288131 h 514350"/>
                <a:gd name="connsiteX2457" fmla="*/ 1504474 w 6400800"/>
                <a:gd name="connsiteY2457" fmla="*/ 292894 h 514350"/>
                <a:gd name="connsiteX2458" fmla="*/ 1500664 w 6400800"/>
                <a:gd name="connsiteY2458" fmla="*/ 298609 h 514350"/>
                <a:gd name="connsiteX2459" fmla="*/ 1493044 w 6400800"/>
                <a:gd name="connsiteY2459" fmla="*/ 266224 h 514350"/>
                <a:gd name="connsiteX2460" fmla="*/ 1497806 w 6400800"/>
                <a:gd name="connsiteY2460" fmla="*/ 246221 h 514350"/>
                <a:gd name="connsiteX2461" fmla="*/ 1491139 w 6400800"/>
                <a:gd name="connsiteY2461" fmla="*/ 260509 h 514350"/>
                <a:gd name="connsiteX2462" fmla="*/ 1491139 w 6400800"/>
                <a:gd name="connsiteY2462" fmla="*/ 259556 h 514350"/>
                <a:gd name="connsiteX2463" fmla="*/ 1490186 w 6400800"/>
                <a:gd name="connsiteY2463" fmla="*/ 244316 h 514350"/>
                <a:gd name="connsiteX2464" fmla="*/ 1489234 w 6400800"/>
                <a:gd name="connsiteY2464" fmla="*/ 238601 h 514350"/>
                <a:gd name="connsiteX2465" fmla="*/ 1489234 w 6400800"/>
                <a:gd name="connsiteY2465" fmla="*/ 237649 h 514350"/>
                <a:gd name="connsiteX2466" fmla="*/ 1489234 w 6400800"/>
                <a:gd name="connsiteY2466" fmla="*/ 238601 h 514350"/>
                <a:gd name="connsiteX2467" fmla="*/ 1486376 w 6400800"/>
                <a:gd name="connsiteY2467" fmla="*/ 219551 h 514350"/>
                <a:gd name="connsiteX2468" fmla="*/ 1482566 w 6400800"/>
                <a:gd name="connsiteY2468" fmla="*/ 198596 h 514350"/>
                <a:gd name="connsiteX2469" fmla="*/ 1482566 w 6400800"/>
                <a:gd name="connsiteY2469" fmla="*/ 220504 h 514350"/>
                <a:gd name="connsiteX2470" fmla="*/ 1482566 w 6400800"/>
                <a:gd name="connsiteY2470" fmla="*/ 228124 h 514350"/>
                <a:gd name="connsiteX2471" fmla="*/ 1473041 w 6400800"/>
                <a:gd name="connsiteY2471" fmla="*/ 193834 h 514350"/>
                <a:gd name="connsiteX2472" fmla="*/ 1479709 w 6400800"/>
                <a:gd name="connsiteY2472" fmla="*/ 259556 h 514350"/>
                <a:gd name="connsiteX2473" fmla="*/ 1478756 w 6400800"/>
                <a:gd name="connsiteY2473" fmla="*/ 262414 h 514350"/>
                <a:gd name="connsiteX2474" fmla="*/ 1476851 w 6400800"/>
                <a:gd name="connsiteY2474" fmla="*/ 266224 h 514350"/>
                <a:gd name="connsiteX2475" fmla="*/ 1475899 w 6400800"/>
                <a:gd name="connsiteY2475" fmla="*/ 257651 h 514350"/>
                <a:gd name="connsiteX2476" fmla="*/ 1471136 w 6400800"/>
                <a:gd name="connsiteY2476" fmla="*/ 221456 h 514350"/>
                <a:gd name="connsiteX2477" fmla="*/ 1466374 w 6400800"/>
                <a:gd name="connsiteY2477" fmla="*/ 193834 h 514350"/>
                <a:gd name="connsiteX2478" fmla="*/ 1460659 w 6400800"/>
                <a:gd name="connsiteY2478" fmla="*/ 170021 h 514350"/>
                <a:gd name="connsiteX2479" fmla="*/ 1462564 w 6400800"/>
                <a:gd name="connsiteY2479" fmla="*/ 193834 h 514350"/>
                <a:gd name="connsiteX2480" fmla="*/ 1464469 w 6400800"/>
                <a:gd name="connsiteY2480" fmla="*/ 221456 h 514350"/>
                <a:gd name="connsiteX2481" fmla="*/ 1465421 w 6400800"/>
                <a:gd name="connsiteY2481" fmla="*/ 257651 h 514350"/>
                <a:gd name="connsiteX2482" fmla="*/ 1465421 w 6400800"/>
                <a:gd name="connsiteY2482" fmla="*/ 275749 h 514350"/>
                <a:gd name="connsiteX2483" fmla="*/ 1455896 w 6400800"/>
                <a:gd name="connsiteY2483" fmla="*/ 246221 h 514350"/>
                <a:gd name="connsiteX2484" fmla="*/ 1447324 w 6400800"/>
                <a:gd name="connsiteY2484" fmla="*/ 218599 h 514350"/>
                <a:gd name="connsiteX2485" fmla="*/ 1439704 w 6400800"/>
                <a:gd name="connsiteY2485" fmla="*/ 194786 h 514350"/>
                <a:gd name="connsiteX2486" fmla="*/ 1442561 w 6400800"/>
                <a:gd name="connsiteY2486" fmla="*/ 215741 h 514350"/>
                <a:gd name="connsiteX2487" fmla="*/ 1435894 w 6400800"/>
                <a:gd name="connsiteY2487" fmla="*/ 185261 h 514350"/>
                <a:gd name="connsiteX2488" fmla="*/ 1435894 w 6400800"/>
                <a:gd name="connsiteY2488" fmla="*/ 159544 h 514350"/>
                <a:gd name="connsiteX2489" fmla="*/ 1433036 w 6400800"/>
                <a:gd name="connsiteY2489" fmla="*/ 173831 h 514350"/>
                <a:gd name="connsiteX2490" fmla="*/ 1430179 w 6400800"/>
                <a:gd name="connsiteY2490" fmla="*/ 160496 h 514350"/>
                <a:gd name="connsiteX2491" fmla="*/ 1430179 w 6400800"/>
                <a:gd name="connsiteY2491" fmla="*/ 166211 h 514350"/>
                <a:gd name="connsiteX2492" fmla="*/ 1425416 w 6400800"/>
                <a:gd name="connsiteY2492" fmla="*/ 147161 h 514350"/>
                <a:gd name="connsiteX2493" fmla="*/ 1418749 w 6400800"/>
                <a:gd name="connsiteY2493" fmla="*/ 127159 h 514350"/>
                <a:gd name="connsiteX2494" fmla="*/ 1421606 w 6400800"/>
                <a:gd name="connsiteY2494" fmla="*/ 148114 h 514350"/>
                <a:gd name="connsiteX2495" fmla="*/ 1423511 w 6400800"/>
                <a:gd name="connsiteY2495" fmla="*/ 171926 h 514350"/>
                <a:gd name="connsiteX2496" fmla="*/ 1425416 w 6400800"/>
                <a:gd name="connsiteY2496" fmla="*/ 202406 h 514350"/>
                <a:gd name="connsiteX2497" fmla="*/ 1426369 w 6400800"/>
                <a:gd name="connsiteY2497" fmla="*/ 218599 h 514350"/>
                <a:gd name="connsiteX2498" fmla="*/ 1424464 w 6400800"/>
                <a:gd name="connsiteY2498" fmla="*/ 235744 h 514350"/>
                <a:gd name="connsiteX2499" fmla="*/ 1421606 w 6400800"/>
                <a:gd name="connsiteY2499" fmla="*/ 226219 h 514350"/>
                <a:gd name="connsiteX2500" fmla="*/ 1415891 w 6400800"/>
                <a:gd name="connsiteY2500" fmla="*/ 210026 h 514350"/>
                <a:gd name="connsiteX2501" fmla="*/ 1410176 w 6400800"/>
                <a:gd name="connsiteY2501" fmla="*/ 195739 h 514350"/>
                <a:gd name="connsiteX2502" fmla="*/ 1412081 w 6400800"/>
                <a:gd name="connsiteY2502" fmla="*/ 210979 h 514350"/>
                <a:gd name="connsiteX2503" fmla="*/ 1414939 w 6400800"/>
                <a:gd name="connsiteY2503" fmla="*/ 228124 h 514350"/>
                <a:gd name="connsiteX2504" fmla="*/ 1416844 w 6400800"/>
                <a:gd name="connsiteY2504" fmla="*/ 250031 h 514350"/>
                <a:gd name="connsiteX2505" fmla="*/ 1418749 w 6400800"/>
                <a:gd name="connsiteY2505" fmla="*/ 268129 h 514350"/>
                <a:gd name="connsiteX2506" fmla="*/ 1413034 w 6400800"/>
                <a:gd name="connsiteY2506" fmla="*/ 277654 h 514350"/>
                <a:gd name="connsiteX2507" fmla="*/ 1411129 w 6400800"/>
                <a:gd name="connsiteY2507" fmla="*/ 271939 h 514350"/>
                <a:gd name="connsiteX2508" fmla="*/ 1401604 w 6400800"/>
                <a:gd name="connsiteY2508" fmla="*/ 215741 h 514350"/>
                <a:gd name="connsiteX2509" fmla="*/ 1400651 w 6400800"/>
                <a:gd name="connsiteY2509" fmla="*/ 243364 h 514350"/>
                <a:gd name="connsiteX2510" fmla="*/ 1392079 w 6400800"/>
                <a:gd name="connsiteY2510" fmla="*/ 219551 h 514350"/>
                <a:gd name="connsiteX2511" fmla="*/ 1393031 w 6400800"/>
                <a:gd name="connsiteY2511" fmla="*/ 213836 h 514350"/>
                <a:gd name="connsiteX2512" fmla="*/ 1395889 w 6400800"/>
                <a:gd name="connsiteY2512" fmla="*/ 210979 h 514350"/>
                <a:gd name="connsiteX2513" fmla="*/ 1400651 w 6400800"/>
                <a:gd name="connsiteY2513" fmla="*/ 205264 h 514350"/>
                <a:gd name="connsiteX2514" fmla="*/ 1394936 w 6400800"/>
                <a:gd name="connsiteY2514" fmla="*/ 210026 h 514350"/>
                <a:gd name="connsiteX2515" fmla="*/ 1393031 w 6400800"/>
                <a:gd name="connsiteY2515" fmla="*/ 210979 h 514350"/>
                <a:gd name="connsiteX2516" fmla="*/ 1394936 w 6400800"/>
                <a:gd name="connsiteY2516" fmla="*/ 202406 h 514350"/>
                <a:gd name="connsiteX2517" fmla="*/ 1391126 w 6400800"/>
                <a:gd name="connsiteY2517" fmla="*/ 212884 h 514350"/>
                <a:gd name="connsiteX2518" fmla="*/ 1390174 w 6400800"/>
                <a:gd name="connsiteY2518" fmla="*/ 213836 h 514350"/>
                <a:gd name="connsiteX2519" fmla="*/ 1384459 w 6400800"/>
                <a:gd name="connsiteY2519" fmla="*/ 199549 h 514350"/>
                <a:gd name="connsiteX2520" fmla="*/ 1387316 w 6400800"/>
                <a:gd name="connsiteY2520" fmla="*/ 215741 h 514350"/>
                <a:gd name="connsiteX2521" fmla="*/ 1378744 w 6400800"/>
                <a:gd name="connsiteY2521" fmla="*/ 224314 h 514350"/>
                <a:gd name="connsiteX2522" fmla="*/ 1367314 w 6400800"/>
                <a:gd name="connsiteY2522" fmla="*/ 240506 h 514350"/>
                <a:gd name="connsiteX2523" fmla="*/ 1354931 w 6400800"/>
                <a:gd name="connsiteY2523" fmla="*/ 209074 h 514350"/>
                <a:gd name="connsiteX2524" fmla="*/ 1354931 w 6400800"/>
                <a:gd name="connsiteY2524" fmla="*/ 185261 h 514350"/>
                <a:gd name="connsiteX2525" fmla="*/ 1354931 w 6400800"/>
                <a:gd name="connsiteY2525" fmla="*/ 157639 h 514350"/>
                <a:gd name="connsiteX2526" fmla="*/ 1351121 w 6400800"/>
                <a:gd name="connsiteY2526" fmla="*/ 185261 h 514350"/>
                <a:gd name="connsiteX2527" fmla="*/ 1349216 w 6400800"/>
                <a:gd name="connsiteY2527" fmla="*/ 197644 h 514350"/>
                <a:gd name="connsiteX2528" fmla="*/ 1343501 w 6400800"/>
                <a:gd name="connsiteY2528" fmla="*/ 186214 h 514350"/>
                <a:gd name="connsiteX2529" fmla="*/ 1344454 w 6400800"/>
                <a:gd name="connsiteY2529" fmla="*/ 171926 h 514350"/>
                <a:gd name="connsiteX2530" fmla="*/ 1344454 w 6400800"/>
                <a:gd name="connsiteY2530" fmla="*/ 157639 h 514350"/>
                <a:gd name="connsiteX2531" fmla="*/ 1345406 w 6400800"/>
                <a:gd name="connsiteY2531" fmla="*/ 142399 h 514350"/>
                <a:gd name="connsiteX2532" fmla="*/ 1346359 w 6400800"/>
                <a:gd name="connsiteY2532" fmla="*/ 120491 h 514350"/>
                <a:gd name="connsiteX2533" fmla="*/ 1341596 w 6400800"/>
                <a:gd name="connsiteY2533" fmla="*/ 141446 h 514350"/>
                <a:gd name="connsiteX2534" fmla="*/ 1336834 w 6400800"/>
                <a:gd name="connsiteY2534" fmla="*/ 166211 h 514350"/>
                <a:gd name="connsiteX2535" fmla="*/ 1335881 w 6400800"/>
                <a:gd name="connsiteY2535" fmla="*/ 169069 h 514350"/>
                <a:gd name="connsiteX2536" fmla="*/ 1327309 w 6400800"/>
                <a:gd name="connsiteY2536" fmla="*/ 150971 h 514350"/>
                <a:gd name="connsiteX2537" fmla="*/ 1280636 w 6400800"/>
                <a:gd name="connsiteY2537" fmla="*/ 53816 h 514350"/>
                <a:gd name="connsiteX2538" fmla="*/ 1317784 w 6400800"/>
                <a:gd name="connsiteY2538" fmla="*/ 155734 h 514350"/>
                <a:gd name="connsiteX2539" fmla="*/ 1332071 w 6400800"/>
                <a:gd name="connsiteY2539" fmla="*/ 193834 h 514350"/>
                <a:gd name="connsiteX2540" fmla="*/ 1331119 w 6400800"/>
                <a:gd name="connsiteY2540" fmla="*/ 197644 h 514350"/>
                <a:gd name="connsiteX2541" fmla="*/ 1326356 w 6400800"/>
                <a:gd name="connsiteY2541" fmla="*/ 235744 h 514350"/>
                <a:gd name="connsiteX2542" fmla="*/ 1321594 w 6400800"/>
                <a:gd name="connsiteY2542" fmla="*/ 277654 h 514350"/>
                <a:gd name="connsiteX2543" fmla="*/ 1319689 w 6400800"/>
                <a:gd name="connsiteY2543" fmla="*/ 293846 h 514350"/>
                <a:gd name="connsiteX2544" fmla="*/ 1317784 w 6400800"/>
                <a:gd name="connsiteY2544" fmla="*/ 290989 h 514350"/>
                <a:gd name="connsiteX2545" fmla="*/ 1317784 w 6400800"/>
                <a:gd name="connsiteY2545" fmla="*/ 289084 h 514350"/>
                <a:gd name="connsiteX2546" fmla="*/ 1316831 w 6400800"/>
                <a:gd name="connsiteY2546" fmla="*/ 290989 h 514350"/>
                <a:gd name="connsiteX2547" fmla="*/ 1315879 w 6400800"/>
                <a:gd name="connsiteY2547" fmla="*/ 288131 h 514350"/>
                <a:gd name="connsiteX2548" fmla="*/ 1313974 w 6400800"/>
                <a:gd name="connsiteY2548" fmla="*/ 285274 h 514350"/>
                <a:gd name="connsiteX2549" fmla="*/ 1316831 w 6400800"/>
                <a:gd name="connsiteY2549" fmla="*/ 244316 h 514350"/>
                <a:gd name="connsiteX2550" fmla="*/ 1309211 w 6400800"/>
                <a:gd name="connsiteY2550" fmla="*/ 277654 h 514350"/>
                <a:gd name="connsiteX2551" fmla="*/ 1298734 w 6400800"/>
                <a:gd name="connsiteY2551" fmla="*/ 260509 h 514350"/>
                <a:gd name="connsiteX2552" fmla="*/ 1313974 w 6400800"/>
                <a:gd name="connsiteY2552" fmla="*/ 199549 h 514350"/>
                <a:gd name="connsiteX2553" fmla="*/ 1319689 w 6400800"/>
                <a:gd name="connsiteY2553" fmla="*/ 172879 h 514350"/>
                <a:gd name="connsiteX2554" fmla="*/ 1291114 w 6400800"/>
                <a:gd name="connsiteY2554" fmla="*/ 249079 h 514350"/>
                <a:gd name="connsiteX2555" fmla="*/ 1281589 w 6400800"/>
                <a:gd name="connsiteY2555" fmla="*/ 234791 h 514350"/>
                <a:gd name="connsiteX2556" fmla="*/ 1267301 w 6400800"/>
                <a:gd name="connsiteY2556" fmla="*/ 215741 h 514350"/>
                <a:gd name="connsiteX2557" fmla="*/ 1275874 w 6400800"/>
                <a:gd name="connsiteY2557" fmla="*/ 232886 h 514350"/>
                <a:gd name="connsiteX2558" fmla="*/ 1272064 w 6400800"/>
                <a:gd name="connsiteY2558" fmla="*/ 243364 h 514350"/>
                <a:gd name="connsiteX2559" fmla="*/ 1261586 w 6400800"/>
                <a:gd name="connsiteY2559" fmla="*/ 227171 h 514350"/>
                <a:gd name="connsiteX2560" fmla="*/ 1249204 w 6400800"/>
                <a:gd name="connsiteY2560" fmla="*/ 210979 h 514350"/>
                <a:gd name="connsiteX2561" fmla="*/ 1247299 w 6400800"/>
                <a:gd name="connsiteY2561" fmla="*/ 208121 h 514350"/>
                <a:gd name="connsiteX2562" fmla="*/ 1251109 w 6400800"/>
                <a:gd name="connsiteY2562" fmla="*/ 199549 h 514350"/>
                <a:gd name="connsiteX2563" fmla="*/ 1246346 w 6400800"/>
                <a:gd name="connsiteY2563" fmla="*/ 206216 h 514350"/>
                <a:gd name="connsiteX2564" fmla="*/ 1229201 w 6400800"/>
                <a:gd name="connsiteY2564" fmla="*/ 184309 h 514350"/>
                <a:gd name="connsiteX2565" fmla="*/ 1211104 w 6400800"/>
                <a:gd name="connsiteY2565" fmla="*/ 162401 h 514350"/>
                <a:gd name="connsiteX2566" fmla="*/ 1226344 w 6400800"/>
                <a:gd name="connsiteY2566" fmla="*/ 186214 h 514350"/>
                <a:gd name="connsiteX2567" fmla="*/ 1242536 w 6400800"/>
                <a:gd name="connsiteY2567" fmla="*/ 211931 h 514350"/>
                <a:gd name="connsiteX2568" fmla="*/ 1236821 w 6400800"/>
                <a:gd name="connsiteY2568" fmla="*/ 220504 h 514350"/>
                <a:gd name="connsiteX2569" fmla="*/ 1233011 w 6400800"/>
                <a:gd name="connsiteY2569" fmla="*/ 226219 h 514350"/>
                <a:gd name="connsiteX2570" fmla="*/ 1231106 w 6400800"/>
                <a:gd name="connsiteY2570" fmla="*/ 212884 h 514350"/>
                <a:gd name="connsiteX2571" fmla="*/ 1228249 w 6400800"/>
                <a:gd name="connsiteY2571" fmla="*/ 209074 h 514350"/>
                <a:gd name="connsiteX2572" fmla="*/ 1226344 w 6400800"/>
                <a:gd name="connsiteY2572" fmla="*/ 209074 h 514350"/>
                <a:gd name="connsiteX2573" fmla="*/ 1223486 w 6400800"/>
                <a:gd name="connsiteY2573" fmla="*/ 199549 h 514350"/>
                <a:gd name="connsiteX2574" fmla="*/ 1215866 w 6400800"/>
                <a:gd name="connsiteY2574" fmla="*/ 179546 h 514350"/>
                <a:gd name="connsiteX2575" fmla="*/ 1219676 w 6400800"/>
                <a:gd name="connsiteY2575" fmla="*/ 200501 h 514350"/>
                <a:gd name="connsiteX2576" fmla="*/ 1221581 w 6400800"/>
                <a:gd name="connsiteY2576" fmla="*/ 211931 h 514350"/>
                <a:gd name="connsiteX2577" fmla="*/ 1220629 w 6400800"/>
                <a:gd name="connsiteY2577" fmla="*/ 213836 h 514350"/>
                <a:gd name="connsiteX2578" fmla="*/ 1207294 w 6400800"/>
                <a:gd name="connsiteY2578" fmla="*/ 200501 h 514350"/>
                <a:gd name="connsiteX2579" fmla="*/ 1201579 w 6400800"/>
                <a:gd name="connsiteY2579" fmla="*/ 195739 h 514350"/>
                <a:gd name="connsiteX2580" fmla="*/ 1206341 w 6400800"/>
                <a:gd name="connsiteY2580" fmla="*/ 201454 h 514350"/>
                <a:gd name="connsiteX2581" fmla="*/ 1217771 w 6400800"/>
                <a:gd name="connsiteY2581" fmla="*/ 217646 h 514350"/>
                <a:gd name="connsiteX2582" fmla="*/ 1217771 w 6400800"/>
                <a:gd name="connsiteY2582" fmla="*/ 217646 h 514350"/>
                <a:gd name="connsiteX2583" fmla="*/ 1216819 w 6400800"/>
                <a:gd name="connsiteY2583" fmla="*/ 231934 h 514350"/>
                <a:gd name="connsiteX2584" fmla="*/ 1202531 w 6400800"/>
                <a:gd name="connsiteY2584" fmla="*/ 219551 h 514350"/>
                <a:gd name="connsiteX2585" fmla="*/ 1215866 w 6400800"/>
                <a:gd name="connsiteY2585" fmla="*/ 236696 h 514350"/>
                <a:gd name="connsiteX2586" fmla="*/ 1214914 w 6400800"/>
                <a:gd name="connsiteY2586" fmla="*/ 249079 h 514350"/>
                <a:gd name="connsiteX2587" fmla="*/ 1214914 w 6400800"/>
                <a:gd name="connsiteY2587" fmla="*/ 255746 h 514350"/>
                <a:gd name="connsiteX2588" fmla="*/ 1213961 w 6400800"/>
                <a:gd name="connsiteY2588" fmla="*/ 250984 h 514350"/>
                <a:gd name="connsiteX2589" fmla="*/ 1213961 w 6400800"/>
                <a:gd name="connsiteY2589" fmla="*/ 250031 h 514350"/>
                <a:gd name="connsiteX2590" fmla="*/ 1214914 w 6400800"/>
                <a:gd name="connsiteY2590" fmla="*/ 249079 h 514350"/>
                <a:gd name="connsiteX2591" fmla="*/ 1213961 w 6400800"/>
                <a:gd name="connsiteY2591" fmla="*/ 250031 h 514350"/>
                <a:gd name="connsiteX2592" fmla="*/ 1207294 w 6400800"/>
                <a:gd name="connsiteY2592" fmla="*/ 229076 h 514350"/>
                <a:gd name="connsiteX2593" fmla="*/ 1200626 w 6400800"/>
                <a:gd name="connsiteY2593" fmla="*/ 212884 h 514350"/>
                <a:gd name="connsiteX2594" fmla="*/ 1193959 w 6400800"/>
                <a:gd name="connsiteY2594" fmla="*/ 198596 h 514350"/>
                <a:gd name="connsiteX2595" fmla="*/ 1196816 w 6400800"/>
                <a:gd name="connsiteY2595" fmla="*/ 213836 h 514350"/>
                <a:gd name="connsiteX2596" fmla="*/ 1200626 w 6400800"/>
                <a:gd name="connsiteY2596" fmla="*/ 230981 h 514350"/>
                <a:gd name="connsiteX2597" fmla="*/ 1204436 w 6400800"/>
                <a:gd name="connsiteY2597" fmla="*/ 252889 h 514350"/>
                <a:gd name="connsiteX2598" fmla="*/ 1205389 w 6400800"/>
                <a:gd name="connsiteY2598" fmla="*/ 258604 h 514350"/>
                <a:gd name="connsiteX2599" fmla="*/ 1196816 w 6400800"/>
                <a:gd name="connsiteY2599" fmla="*/ 239554 h 514350"/>
                <a:gd name="connsiteX2600" fmla="*/ 1189196 w 6400800"/>
                <a:gd name="connsiteY2600" fmla="*/ 224314 h 514350"/>
                <a:gd name="connsiteX2601" fmla="*/ 1181576 w 6400800"/>
                <a:gd name="connsiteY2601" fmla="*/ 211931 h 514350"/>
                <a:gd name="connsiteX2602" fmla="*/ 1185386 w 6400800"/>
                <a:gd name="connsiteY2602" fmla="*/ 225266 h 514350"/>
                <a:gd name="connsiteX2603" fmla="*/ 1190149 w 6400800"/>
                <a:gd name="connsiteY2603" fmla="*/ 241459 h 514350"/>
                <a:gd name="connsiteX2604" fmla="*/ 1194911 w 6400800"/>
                <a:gd name="connsiteY2604" fmla="*/ 262414 h 514350"/>
                <a:gd name="connsiteX2605" fmla="*/ 1197769 w 6400800"/>
                <a:gd name="connsiteY2605" fmla="*/ 276701 h 514350"/>
                <a:gd name="connsiteX2606" fmla="*/ 1193959 w 6400800"/>
                <a:gd name="connsiteY2606" fmla="*/ 284321 h 514350"/>
                <a:gd name="connsiteX2607" fmla="*/ 1193959 w 6400800"/>
                <a:gd name="connsiteY2607" fmla="*/ 283369 h 514350"/>
                <a:gd name="connsiteX2608" fmla="*/ 1193006 w 6400800"/>
                <a:gd name="connsiteY2608" fmla="*/ 279559 h 514350"/>
                <a:gd name="connsiteX2609" fmla="*/ 1193959 w 6400800"/>
                <a:gd name="connsiteY2609" fmla="*/ 276701 h 514350"/>
                <a:gd name="connsiteX2610" fmla="*/ 1193006 w 6400800"/>
                <a:gd name="connsiteY2610" fmla="*/ 278606 h 514350"/>
                <a:gd name="connsiteX2611" fmla="*/ 1184434 w 6400800"/>
                <a:gd name="connsiteY2611" fmla="*/ 250984 h 514350"/>
                <a:gd name="connsiteX2612" fmla="*/ 1174909 w 6400800"/>
                <a:gd name="connsiteY2612" fmla="*/ 227171 h 514350"/>
                <a:gd name="connsiteX2613" fmla="*/ 1174909 w 6400800"/>
                <a:gd name="connsiteY2613" fmla="*/ 223361 h 514350"/>
                <a:gd name="connsiteX2614" fmla="*/ 1175861 w 6400800"/>
                <a:gd name="connsiteY2614" fmla="*/ 196691 h 514350"/>
                <a:gd name="connsiteX2615" fmla="*/ 1174909 w 6400800"/>
                <a:gd name="connsiteY2615" fmla="*/ 173831 h 514350"/>
                <a:gd name="connsiteX2616" fmla="*/ 1172051 w 6400800"/>
                <a:gd name="connsiteY2616" fmla="*/ 196691 h 514350"/>
                <a:gd name="connsiteX2617" fmla="*/ 1168241 w 6400800"/>
                <a:gd name="connsiteY2617" fmla="*/ 223361 h 514350"/>
                <a:gd name="connsiteX2618" fmla="*/ 1168241 w 6400800"/>
                <a:gd name="connsiteY2618" fmla="*/ 226219 h 514350"/>
                <a:gd name="connsiteX2619" fmla="*/ 1162526 w 6400800"/>
                <a:gd name="connsiteY2619" fmla="*/ 238601 h 514350"/>
                <a:gd name="connsiteX2620" fmla="*/ 1158716 w 6400800"/>
                <a:gd name="connsiteY2620" fmla="*/ 215741 h 514350"/>
                <a:gd name="connsiteX2621" fmla="*/ 1152049 w 6400800"/>
                <a:gd name="connsiteY2621" fmla="*/ 189071 h 514350"/>
                <a:gd name="connsiteX2622" fmla="*/ 1136809 w 6400800"/>
                <a:gd name="connsiteY2622" fmla="*/ 133826 h 514350"/>
                <a:gd name="connsiteX2623" fmla="*/ 1140619 w 6400800"/>
                <a:gd name="connsiteY2623" fmla="*/ 190024 h 514350"/>
                <a:gd name="connsiteX2624" fmla="*/ 1143476 w 6400800"/>
                <a:gd name="connsiteY2624" fmla="*/ 217646 h 514350"/>
                <a:gd name="connsiteX2625" fmla="*/ 1146334 w 6400800"/>
                <a:gd name="connsiteY2625" fmla="*/ 248126 h 514350"/>
                <a:gd name="connsiteX2626" fmla="*/ 1147286 w 6400800"/>
                <a:gd name="connsiteY2626" fmla="*/ 261461 h 514350"/>
                <a:gd name="connsiteX2627" fmla="*/ 1147286 w 6400800"/>
                <a:gd name="connsiteY2627" fmla="*/ 261461 h 514350"/>
                <a:gd name="connsiteX2628" fmla="*/ 1147286 w 6400800"/>
                <a:gd name="connsiteY2628" fmla="*/ 258604 h 514350"/>
                <a:gd name="connsiteX2629" fmla="*/ 1147286 w 6400800"/>
                <a:gd name="connsiteY2629" fmla="*/ 260509 h 514350"/>
                <a:gd name="connsiteX2630" fmla="*/ 1143476 w 6400800"/>
                <a:gd name="connsiteY2630" fmla="*/ 251936 h 514350"/>
                <a:gd name="connsiteX2631" fmla="*/ 1141571 w 6400800"/>
                <a:gd name="connsiteY2631" fmla="*/ 249079 h 514350"/>
                <a:gd name="connsiteX2632" fmla="*/ 1141571 w 6400800"/>
                <a:gd name="connsiteY2632" fmla="*/ 237649 h 514350"/>
                <a:gd name="connsiteX2633" fmla="*/ 1139666 w 6400800"/>
                <a:gd name="connsiteY2633" fmla="*/ 246221 h 514350"/>
                <a:gd name="connsiteX2634" fmla="*/ 1132046 w 6400800"/>
                <a:gd name="connsiteY2634" fmla="*/ 231934 h 514350"/>
                <a:gd name="connsiteX2635" fmla="*/ 1132046 w 6400800"/>
                <a:gd name="connsiteY2635" fmla="*/ 230981 h 514350"/>
                <a:gd name="connsiteX2636" fmla="*/ 1120616 w 6400800"/>
                <a:gd name="connsiteY2636" fmla="*/ 177641 h 514350"/>
                <a:gd name="connsiteX2637" fmla="*/ 1110139 w 6400800"/>
                <a:gd name="connsiteY2637" fmla="*/ 132874 h 514350"/>
                <a:gd name="connsiteX2638" fmla="*/ 1100614 w 6400800"/>
                <a:gd name="connsiteY2638" fmla="*/ 98584 h 514350"/>
                <a:gd name="connsiteX2639" fmla="*/ 1092041 w 6400800"/>
                <a:gd name="connsiteY2639" fmla="*/ 69056 h 514350"/>
                <a:gd name="connsiteX2640" fmla="*/ 1096804 w 6400800"/>
                <a:gd name="connsiteY2640" fmla="*/ 99536 h 514350"/>
                <a:gd name="connsiteX2641" fmla="*/ 1103471 w 6400800"/>
                <a:gd name="connsiteY2641" fmla="*/ 134779 h 514350"/>
                <a:gd name="connsiteX2642" fmla="*/ 1110139 w 6400800"/>
                <a:gd name="connsiteY2642" fmla="*/ 180499 h 514350"/>
                <a:gd name="connsiteX2643" fmla="*/ 1112996 w 6400800"/>
                <a:gd name="connsiteY2643" fmla="*/ 199549 h 514350"/>
                <a:gd name="connsiteX2644" fmla="*/ 1110139 w 6400800"/>
                <a:gd name="connsiteY2644" fmla="*/ 194786 h 514350"/>
                <a:gd name="connsiteX2645" fmla="*/ 1106329 w 6400800"/>
                <a:gd name="connsiteY2645" fmla="*/ 190024 h 514350"/>
                <a:gd name="connsiteX2646" fmla="*/ 1105376 w 6400800"/>
                <a:gd name="connsiteY2646" fmla="*/ 188119 h 514350"/>
                <a:gd name="connsiteX2647" fmla="*/ 1095851 w 6400800"/>
                <a:gd name="connsiteY2647" fmla="*/ 160496 h 514350"/>
                <a:gd name="connsiteX2648" fmla="*/ 1087279 w 6400800"/>
                <a:gd name="connsiteY2648" fmla="*/ 136684 h 514350"/>
                <a:gd name="connsiteX2649" fmla="*/ 1092041 w 6400800"/>
                <a:gd name="connsiteY2649" fmla="*/ 161449 h 514350"/>
                <a:gd name="connsiteX2650" fmla="*/ 1098709 w 6400800"/>
                <a:gd name="connsiteY2650" fmla="*/ 190024 h 514350"/>
                <a:gd name="connsiteX2651" fmla="*/ 1103471 w 6400800"/>
                <a:gd name="connsiteY2651" fmla="*/ 215741 h 514350"/>
                <a:gd name="connsiteX2652" fmla="*/ 1097756 w 6400800"/>
                <a:gd name="connsiteY2652" fmla="*/ 200501 h 514350"/>
                <a:gd name="connsiteX2653" fmla="*/ 1102519 w 6400800"/>
                <a:gd name="connsiteY2653" fmla="*/ 224314 h 514350"/>
                <a:gd name="connsiteX2654" fmla="*/ 1094899 w 6400800"/>
                <a:gd name="connsiteY2654" fmla="*/ 233839 h 514350"/>
                <a:gd name="connsiteX2655" fmla="*/ 1089184 w 6400800"/>
                <a:gd name="connsiteY2655" fmla="*/ 209074 h 514350"/>
                <a:gd name="connsiteX2656" fmla="*/ 1084421 w 6400800"/>
                <a:gd name="connsiteY2656" fmla="*/ 166211 h 514350"/>
                <a:gd name="connsiteX2657" fmla="*/ 1083469 w 6400800"/>
                <a:gd name="connsiteY2657" fmla="*/ 184309 h 514350"/>
                <a:gd name="connsiteX2658" fmla="*/ 1073944 w 6400800"/>
                <a:gd name="connsiteY2658" fmla="*/ 149066 h 514350"/>
                <a:gd name="connsiteX2659" fmla="*/ 1066324 w 6400800"/>
                <a:gd name="connsiteY2659" fmla="*/ 123349 h 514350"/>
                <a:gd name="connsiteX2660" fmla="*/ 1075849 w 6400800"/>
                <a:gd name="connsiteY2660" fmla="*/ 94774 h 514350"/>
                <a:gd name="connsiteX2661" fmla="*/ 1064419 w 6400800"/>
                <a:gd name="connsiteY2661" fmla="*/ 119539 h 514350"/>
                <a:gd name="connsiteX2662" fmla="*/ 1057751 w 6400800"/>
                <a:gd name="connsiteY2662" fmla="*/ 100489 h 514350"/>
                <a:gd name="connsiteX2663" fmla="*/ 1050131 w 6400800"/>
                <a:gd name="connsiteY2663" fmla="*/ 78581 h 514350"/>
                <a:gd name="connsiteX2664" fmla="*/ 1042511 w 6400800"/>
                <a:gd name="connsiteY2664" fmla="*/ 59531 h 514350"/>
                <a:gd name="connsiteX2665" fmla="*/ 1029176 w 6400800"/>
                <a:gd name="connsiteY2665" fmla="*/ 28099 h 514350"/>
                <a:gd name="connsiteX2666" fmla="*/ 1012984 w 6400800"/>
                <a:gd name="connsiteY2666" fmla="*/ 7144 h 514350"/>
                <a:gd name="connsiteX2667" fmla="*/ 1022509 w 6400800"/>
                <a:gd name="connsiteY2667" fmla="*/ 34766 h 514350"/>
                <a:gd name="connsiteX2668" fmla="*/ 1032986 w 6400800"/>
                <a:gd name="connsiteY2668" fmla="*/ 67151 h 514350"/>
                <a:gd name="connsiteX2669" fmla="*/ 1038701 w 6400800"/>
                <a:gd name="connsiteY2669" fmla="*/ 87154 h 514350"/>
                <a:gd name="connsiteX2670" fmla="*/ 1044416 w 6400800"/>
                <a:gd name="connsiteY2670" fmla="*/ 109061 h 514350"/>
                <a:gd name="connsiteX2671" fmla="*/ 1044416 w 6400800"/>
                <a:gd name="connsiteY2671" fmla="*/ 110014 h 514350"/>
                <a:gd name="connsiteX2672" fmla="*/ 1037749 w 6400800"/>
                <a:gd name="connsiteY2672" fmla="*/ 96679 h 514350"/>
                <a:gd name="connsiteX2673" fmla="*/ 1044416 w 6400800"/>
                <a:gd name="connsiteY2673" fmla="*/ 117634 h 514350"/>
                <a:gd name="connsiteX2674" fmla="*/ 1051084 w 6400800"/>
                <a:gd name="connsiteY2674" fmla="*/ 141446 h 514350"/>
                <a:gd name="connsiteX2675" fmla="*/ 1052036 w 6400800"/>
                <a:gd name="connsiteY2675" fmla="*/ 146209 h 514350"/>
                <a:gd name="connsiteX2676" fmla="*/ 1037749 w 6400800"/>
                <a:gd name="connsiteY2676" fmla="*/ 172879 h 514350"/>
                <a:gd name="connsiteX2677" fmla="*/ 1024414 w 6400800"/>
                <a:gd name="connsiteY2677" fmla="*/ 195739 h 514350"/>
                <a:gd name="connsiteX2678" fmla="*/ 1023461 w 6400800"/>
                <a:gd name="connsiteY2678" fmla="*/ 192881 h 514350"/>
                <a:gd name="connsiteX2679" fmla="*/ 1023461 w 6400800"/>
                <a:gd name="connsiteY2679" fmla="*/ 184309 h 514350"/>
                <a:gd name="connsiteX2680" fmla="*/ 1024414 w 6400800"/>
                <a:gd name="connsiteY2680" fmla="*/ 142399 h 514350"/>
                <a:gd name="connsiteX2681" fmla="*/ 1023461 w 6400800"/>
                <a:gd name="connsiteY2681" fmla="*/ 110014 h 514350"/>
                <a:gd name="connsiteX2682" fmla="*/ 1021556 w 6400800"/>
                <a:gd name="connsiteY2682" fmla="*/ 89059 h 514350"/>
                <a:gd name="connsiteX2683" fmla="*/ 1020604 w 6400800"/>
                <a:gd name="connsiteY2683" fmla="*/ 81439 h 514350"/>
                <a:gd name="connsiteX2684" fmla="*/ 1020604 w 6400800"/>
                <a:gd name="connsiteY2684" fmla="*/ 89059 h 514350"/>
                <a:gd name="connsiteX2685" fmla="*/ 1019651 w 6400800"/>
                <a:gd name="connsiteY2685" fmla="*/ 110014 h 514350"/>
                <a:gd name="connsiteX2686" fmla="*/ 1014889 w 6400800"/>
                <a:gd name="connsiteY2686" fmla="*/ 165259 h 514350"/>
                <a:gd name="connsiteX2687" fmla="*/ 1013936 w 6400800"/>
                <a:gd name="connsiteY2687" fmla="*/ 161449 h 514350"/>
                <a:gd name="connsiteX2688" fmla="*/ 1014889 w 6400800"/>
                <a:gd name="connsiteY2688" fmla="*/ 168116 h 514350"/>
                <a:gd name="connsiteX2689" fmla="*/ 1012984 w 6400800"/>
                <a:gd name="connsiteY2689" fmla="*/ 183356 h 514350"/>
                <a:gd name="connsiteX2690" fmla="*/ 1007269 w 6400800"/>
                <a:gd name="connsiteY2690" fmla="*/ 224314 h 514350"/>
                <a:gd name="connsiteX2691" fmla="*/ 972026 w 6400800"/>
                <a:gd name="connsiteY2691" fmla="*/ 283369 h 514350"/>
                <a:gd name="connsiteX2692" fmla="*/ 971074 w 6400800"/>
                <a:gd name="connsiteY2692" fmla="*/ 269081 h 514350"/>
                <a:gd name="connsiteX2693" fmla="*/ 977741 w 6400800"/>
                <a:gd name="connsiteY2693" fmla="*/ 251936 h 514350"/>
                <a:gd name="connsiteX2694" fmla="*/ 992981 w 6400800"/>
                <a:gd name="connsiteY2694" fmla="*/ 206216 h 514350"/>
                <a:gd name="connsiteX2695" fmla="*/ 1002506 w 6400800"/>
                <a:gd name="connsiteY2695" fmla="*/ 170974 h 514350"/>
                <a:gd name="connsiteX2696" fmla="*/ 1009174 w 6400800"/>
                <a:gd name="connsiteY2696" fmla="*/ 139541 h 514350"/>
                <a:gd name="connsiteX2697" fmla="*/ 998696 w 6400800"/>
                <a:gd name="connsiteY2697" fmla="*/ 170021 h 514350"/>
                <a:gd name="connsiteX2698" fmla="*/ 985361 w 6400800"/>
                <a:gd name="connsiteY2698" fmla="*/ 204311 h 514350"/>
                <a:gd name="connsiteX2699" fmla="*/ 966311 w 6400800"/>
                <a:gd name="connsiteY2699" fmla="*/ 248126 h 514350"/>
                <a:gd name="connsiteX2700" fmla="*/ 960596 w 6400800"/>
                <a:gd name="connsiteY2700" fmla="*/ 260509 h 514350"/>
                <a:gd name="connsiteX2701" fmla="*/ 961549 w 6400800"/>
                <a:gd name="connsiteY2701" fmla="*/ 225266 h 514350"/>
                <a:gd name="connsiteX2702" fmla="*/ 969169 w 6400800"/>
                <a:gd name="connsiteY2702" fmla="*/ 206216 h 514350"/>
                <a:gd name="connsiteX2703" fmla="*/ 961549 w 6400800"/>
                <a:gd name="connsiteY2703" fmla="*/ 218599 h 514350"/>
                <a:gd name="connsiteX2704" fmla="*/ 961549 w 6400800"/>
                <a:gd name="connsiteY2704" fmla="*/ 206216 h 514350"/>
                <a:gd name="connsiteX2705" fmla="*/ 958691 w 6400800"/>
                <a:gd name="connsiteY2705" fmla="*/ 149066 h 514350"/>
                <a:gd name="connsiteX2706" fmla="*/ 956786 w 6400800"/>
                <a:gd name="connsiteY2706" fmla="*/ 134779 h 514350"/>
                <a:gd name="connsiteX2707" fmla="*/ 957739 w 6400800"/>
                <a:gd name="connsiteY2707" fmla="*/ 131921 h 514350"/>
                <a:gd name="connsiteX2708" fmla="*/ 956786 w 6400800"/>
                <a:gd name="connsiteY2708" fmla="*/ 133826 h 514350"/>
                <a:gd name="connsiteX2709" fmla="*/ 956786 w 6400800"/>
                <a:gd name="connsiteY2709" fmla="*/ 132874 h 514350"/>
                <a:gd name="connsiteX2710" fmla="*/ 955834 w 6400800"/>
                <a:gd name="connsiteY2710" fmla="*/ 127159 h 514350"/>
                <a:gd name="connsiteX2711" fmla="*/ 955834 w 6400800"/>
                <a:gd name="connsiteY2711" fmla="*/ 136684 h 514350"/>
                <a:gd name="connsiteX2712" fmla="*/ 927259 w 6400800"/>
                <a:gd name="connsiteY2712" fmla="*/ 206216 h 514350"/>
                <a:gd name="connsiteX2713" fmla="*/ 927259 w 6400800"/>
                <a:gd name="connsiteY2713" fmla="*/ 205264 h 514350"/>
                <a:gd name="connsiteX2714" fmla="*/ 930116 w 6400800"/>
                <a:gd name="connsiteY2714" fmla="*/ 183356 h 514350"/>
                <a:gd name="connsiteX2715" fmla="*/ 932974 w 6400800"/>
                <a:gd name="connsiteY2715" fmla="*/ 164306 h 514350"/>
                <a:gd name="connsiteX2716" fmla="*/ 926306 w 6400800"/>
                <a:gd name="connsiteY2716" fmla="*/ 183356 h 514350"/>
                <a:gd name="connsiteX2717" fmla="*/ 920591 w 6400800"/>
                <a:gd name="connsiteY2717" fmla="*/ 203359 h 514350"/>
                <a:gd name="connsiteX2718" fmla="*/ 910114 w 6400800"/>
                <a:gd name="connsiteY2718" fmla="*/ 171926 h 514350"/>
                <a:gd name="connsiteX2719" fmla="*/ 907256 w 6400800"/>
                <a:gd name="connsiteY2719" fmla="*/ 164306 h 514350"/>
                <a:gd name="connsiteX2720" fmla="*/ 912019 w 6400800"/>
                <a:gd name="connsiteY2720" fmla="*/ 157639 h 514350"/>
                <a:gd name="connsiteX2721" fmla="*/ 933926 w 6400800"/>
                <a:gd name="connsiteY2721" fmla="*/ 124301 h 514350"/>
                <a:gd name="connsiteX2722" fmla="*/ 953929 w 6400800"/>
                <a:gd name="connsiteY2722" fmla="*/ 95726 h 514350"/>
                <a:gd name="connsiteX2723" fmla="*/ 931069 w 6400800"/>
                <a:gd name="connsiteY2723" fmla="*/ 121444 h 514350"/>
                <a:gd name="connsiteX2724" fmla="*/ 906304 w 6400800"/>
                <a:gd name="connsiteY2724" fmla="*/ 151924 h 514350"/>
                <a:gd name="connsiteX2725" fmla="*/ 904399 w 6400800"/>
                <a:gd name="connsiteY2725" fmla="*/ 154781 h 514350"/>
                <a:gd name="connsiteX2726" fmla="*/ 894874 w 6400800"/>
                <a:gd name="connsiteY2726" fmla="*/ 131921 h 514350"/>
                <a:gd name="connsiteX2727" fmla="*/ 892016 w 6400800"/>
                <a:gd name="connsiteY2727" fmla="*/ 126206 h 514350"/>
                <a:gd name="connsiteX2728" fmla="*/ 897731 w 6400800"/>
                <a:gd name="connsiteY2728" fmla="*/ 115729 h 514350"/>
                <a:gd name="connsiteX2729" fmla="*/ 918686 w 6400800"/>
                <a:gd name="connsiteY2729" fmla="*/ 77629 h 514350"/>
                <a:gd name="connsiteX2730" fmla="*/ 937736 w 6400800"/>
                <a:gd name="connsiteY2730" fmla="*/ 44291 h 514350"/>
                <a:gd name="connsiteX2731" fmla="*/ 914876 w 6400800"/>
                <a:gd name="connsiteY2731" fmla="*/ 74771 h 514350"/>
                <a:gd name="connsiteX2732" fmla="*/ 890111 w 6400800"/>
                <a:gd name="connsiteY2732" fmla="*/ 110966 h 514350"/>
                <a:gd name="connsiteX2733" fmla="*/ 886301 w 6400800"/>
                <a:gd name="connsiteY2733" fmla="*/ 116681 h 514350"/>
                <a:gd name="connsiteX2734" fmla="*/ 874871 w 6400800"/>
                <a:gd name="connsiteY2734" fmla="*/ 92869 h 514350"/>
                <a:gd name="connsiteX2735" fmla="*/ 873919 w 6400800"/>
                <a:gd name="connsiteY2735" fmla="*/ 90964 h 514350"/>
                <a:gd name="connsiteX2736" fmla="*/ 872966 w 6400800"/>
                <a:gd name="connsiteY2736" fmla="*/ 91916 h 514350"/>
                <a:gd name="connsiteX2737" fmla="*/ 868204 w 6400800"/>
                <a:gd name="connsiteY2737" fmla="*/ 95726 h 514350"/>
                <a:gd name="connsiteX2738" fmla="*/ 866299 w 6400800"/>
                <a:gd name="connsiteY2738" fmla="*/ 101441 h 514350"/>
                <a:gd name="connsiteX2739" fmla="*/ 868204 w 6400800"/>
                <a:gd name="connsiteY2739" fmla="*/ 113824 h 514350"/>
                <a:gd name="connsiteX2740" fmla="*/ 868204 w 6400800"/>
                <a:gd name="connsiteY2740" fmla="*/ 102394 h 514350"/>
                <a:gd name="connsiteX2741" fmla="*/ 870109 w 6400800"/>
                <a:gd name="connsiteY2741" fmla="*/ 97631 h 514350"/>
                <a:gd name="connsiteX2742" fmla="*/ 872966 w 6400800"/>
                <a:gd name="connsiteY2742" fmla="*/ 95726 h 514350"/>
                <a:gd name="connsiteX2743" fmla="*/ 882491 w 6400800"/>
                <a:gd name="connsiteY2743" fmla="*/ 122396 h 514350"/>
                <a:gd name="connsiteX2744" fmla="*/ 875824 w 6400800"/>
                <a:gd name="connsiteY2744" fmla="*/ 132874 h 514350"/>
                <a:gd name="connsiteX2745" fmla="*/ 860584 w 6400800"/>
                <a:gd name="connsiteY2745" fmla="*/ 159544 h 514350"/>
                <a:gd name="connsiteX2746" fmla="*/ 837724 w 6400800"/>
                <a:gd name="connsiteY2746" fmla="*/ 203359 h 514350"/>
                <a:gd name="connsiteX2747" fmla="*/ 832009 w 6400800"/>
                <a:gd name="connsiteY2747" fmla="*/ 194786 h 514350"/>
                <a:gd name="connsiteX2748" fmla="*/ 838676 w 6400800"/>
                <a:gd name="connsiteY2748" fmla="*/ 137636 h 514350"/>
                <a:gd name="connsiteX2749" fmla="*/ 840581 w 6400800"/>
                <a:gd name="connsiteY2749" fmla="*/ 115729 h 514350"/>
                <a:gd name="connsiteX2750" fmla="*/ 834866 w 6400800"/>
                <a:gd name="connsiteY2750" fmla="*/ 137636 h 514350"/>
                <a:gd name="connsiteX2751" fmla="*/ 820579 w 6400800"/>
                <a:gd name="connsiteY2751" fmla="*/ 194786 h 514350"/>
                <a:gd name="connsiteX2752" fmla="*/ 818674 w 6400800"/>
                <a:gd name="connsiteY2752" fmla="*/ 204311 h 514350"/>
                <a:gd name="connsiteX2753" fmla="*/ 815816 w 6400800"/>
                <a:gd name="connsiteY2753" fmla="*/ 197644 h 514350"/>
                <a:gd name="connsiteX2754" fmla="*/ 807244 w 6400800"/>
                <a:gd name="connsiteY2754" fmla="*/ 174784 h 514350"/>
                <a:gd name="connsiteX2755" fmla="*/ 812006 w 6400800"/>
                <a:gd name="connsiteY2755" fmla="*/ 198596 h 514350"/>
                <a:gd name="connsiteX2756" fmla="*/ 814864 w 6400800"/>
                <a:gd name="connsiteY2756" fmla="*/ 210979 h 514350"/>
                <a:gd name="connsiteX2757" fmla="*/ 815816 w 6400800"/>
                <a:gd name="connsiteY2757" fmla="*/ 216694 h 514350"/>
                <a:gd name="connsiteX2758" fmla="*/ 811054 w 6400800"/>
                <a:gd name="connsiteY2758" fmla="*/ 239554 h 514350"/>
                <a:gd name="connsiteX2759" fmla="*/ 808196 w 6400800"/>
                <a:gd name="connsiteY2759" fmla="*/ 219551 h 514350"/>
                <a:gd name="connsiteX2760" fmla="*/ 807244 w 6400800"/>
                <a:gd name="connsiteY2760" fmla="*/ 264319 h 514350"/>
                <a:gd name="connsiteX2761" fmla="*/ 807244 w 6400800"/>
                <a:gd name="connsiteY2761" fmla="*/ 266224 h 514350"/>
                <a:gd name="connsiteX2762" fmla="*/ 798671 w 6400800"/>
                <a:gd name="connsiteY2762" fmla="*/ 246221 h 514350"/>
                <a:gd name="connsiteX2763" fmla="*/ 800576 w 6400800"/>
                <a:gd name="connsiteY2763" fmla="*/ 239554 h 514350"/>
                <a:gd name="connsiteX2764" fmla="*/ 797719 w 6400800"/>
                <a:gd name="connsiteY2764" fmla="*/ 245269 h 514350"/>
                <a:gd name="connsiteX2765" fmla="*/ 796766 w 6400800"/>
                <a:gd name="connsiteY2765" fmla="*/ 242411 h 514350"/>
                <a:gd name="connsiteX2766" fmla="*/ 792956 w 6400800"/>
                <a:gd name="connsiteY2766" fmla="*/ 233839 h 514350"/>
                <a:gd name="connsiteX2767" fmla="*/ 796766 w 6400800"/>
                <a:gd name="connsiteY2767" fmla="*/ 218599 h 514350"/>
                <a:gd name="connsiteX2768" fmla="*/ 809149 w 6400800"/>
                <a:gd name="connsiteY2768" fmla="*/ 164306 h 514350"/>
                <a:gd name="connsiteX2769" fmla="*/ 812959 w 6400800"/>
                <a:gd name="connsiteY2769" fmla="*/ 143351 h 514350"/>
                <a:gd name="connsiteX2770" fmla="*/ 805339 w 6400800"/>
                <a:gd name="connsiteY2770" fmla="*/ 163354 h 514350"/>
                <a:gd name="connsiteX2771" fmla="*/ 796766 w 6400800"/>
                <a:gd name="connsiteY2771" fmla="*/ 186214 h 514350"/>
                <a:gd name="connsiteX2772" fmla="*/ 785336 w 6400800"/>
                <a:gd name="connsiteY2772" fmla="*/ 215741 h 514350"/>
                <a:gd name="connsiteX2773" fmla="*/ 784384 w 6400800"/>
                <a:gd name="connsiteY2773" fmla="*/ 218599 h 514350"/>
                <a:gd name="connsiteX2774" fmla="*/ 776764 w 6400800"/>
                <a:gd name="connsiteY2774" fmla="*/ 205264 h 514350"/>
                <a:gd name="connsiteX2775" fmla="*/ 774859 w 6400800"/>
                <a:gd name="connsiteY2775" fmla="*/ 202406 h 514350"/>
                <a:gd name="connsiteX2776" fmla="*/ 774859 w 6400800"/>
                <a:gd name="connsiteY2776" fmla="*/ 201454 h 514350"/>
                <a:gd name="connsiteX2777" fmla="*/ 780574 w 6400800"/>
                <a:gd name="connsiteY2777" fmla="*/ 142399 h 514350"/>
                <a:gd name="connsiteX2778" fmla="*/ 781526 w 6400800"/>
                <a:gd name="connsiteY2778" fmla="*/ 119539 h 514350"/>
                <a:gd name="connsiteX2779" fmla="*/ 776764 w 6400800"/>
                <a:gd name="connsiteY2779" fmla="*/ 141446 h 514350"/>
                <a:gd name="connsiteX2780" fmla="*/ 771049 w 6400800"/>
                <a:gd name="connsiteY2780" fmla="*/ 167164 h 514350"/>
                <a:gd name="connsiteX2781" fmla="*/ 766286 w 6400800"/>
                <a:gd name="connsiteY2781" fmla="*/ 189071 h 514350"/>
                <a:gd name="connsiteX2782" fmla="*/ 758666 w 6400800"/>
                <a:gd name="connsiteY2782" fmla="*/ 178594 h 514350"/>
                <a:gd name="connsiteX2783" fmla="*/ 745331 w 6400800"/>
                <a:gd name="connsiteY2783" fmla="*/ 163354 h 514350"/>
                <a:gd name="connsiteX2784" fmla="*/ 740569 w 6400800"/>
                <a:gd name="connsiteY2784" fmla="*/ 157639 h 514350"/>
                <a:gd name="connsiteX2785" fmla="*/ 744379 w 6400800"/>
                <a:gd name="connsiteY2785" fmla="*/ 163354 h 514350"/>
                <a:gd name="connsiteX2786" fmla="*/ 754856 w 6400800"/>
                <a:gd name="connsiteY2786" fmla="*/ 180499 h 514350"/>
                <a:gd name="connsiteX2787" fmla="*/ 763429 w 6400800"/>
                <a:gd name="connsiteY2787" fmla="*/ 196691 h 514350"/>
                <a:gd name="connsiteX2788" fmla="*/ 762476 w 6400800"/>
                <a:gd name="connsiteY2788" fmla="*/ 199549 h 514350"/>
                <a:gd name="connsiteX2789" fmla="*/ 753904 w 6400800"/>
                <a:gd name="connsiteY2789" fmla="*/ 238601 h 514350"/>
                <a:gd name="connsiteX2790" fmla="*/ 747236 w 6400800"/>
                <a:gd name="connsiteY2790" fmla="*/ 224314 h 514350"/>
                <a:gd name="connsiteX2791" fmla="*/ 752951 w 6400800"/>
                <a:gd name="connsiteY2791" fmla="*/ 241459 h 514350"/>
                <a:gd name="connsiteX2792" fmla="*/ 751046 w 6400800"/>
                <a:gd name="connsiteY2792" fmla="*/ 243364 h 514350"/>
                <a:gd name="connsiteX2793" fmla="*/ 749141 w 6400800"/>
                <a:gd name="connsiteY2793" fmla="*/ 252889 h 514350"/>
                <a:gd name="connsiteX2794" fmla="*/ 752951 w 6400800"/>
                <a:gd name="connsiteY2794" fmla="*/ 244316 h 514350"/>
                <a:gd name="connsiteX2795" fmla="*/ 752951 w 6400800"/>
                <a:gd name="connsiteY2795" fmla="*/ 244316 h 514350"/>
                <a:gd name="connsiteX2796" fmla="*/ 744379 w 6400800"/>
                <a:gd name="connsiteY2796" fmla="*/ 282416 h 514350"/>
                <a:gd name="connsiteX2797" fmla="*/ 741521 w 6400800"/>
                <a:gd name="connsiteY2797" fmla="*/ 296704 h 514350"/>
                <a:gd name="connsiteX2798" fmla="*/ 738664 w 6400800"/>
                <a:gd name="connsiteY2798" fmla="*/ 306229 h 514350"/>
                <a:gd name="connsiteX2799" fmla="*/ 738664 w 6400800"/>
                <a:gd name="connsiteY2799" fmla="*/ 306229 h 514350"/>
                <a:gd name="connsiteX2800" fmla="*/ 737711 w 6400800"/>
                <a:gd name="connsiteY2800" fmla="*/ 293846 h 514350"/>
                <a:gd name="connsiteX2801" fmla="*/ 733901 w 6400800"/>
                <a:gd name="connsiteY2801" fmla="*/ 270034 h 514350"/>
                <a:gd name="connsiteX2802" fmla="*/ 731996 w 6400800"/>
                <a:gd name="connsiteY2802" fmla="*/ 259556 h 514350"/>
                <a:gd name="connsiteX2803" fmla="*/ 731044 w 6400800"/>
                <a:gd name="connsiteY2803" fmla="*/ 257651 h 514350"/>
                <a:gd name="connsiteX2804" fmla="*/ 725329 w 6400800"/>
                <a:gd name="connsiteY2804" fmla="*/ 210979 h 514350"/>
                <a:gd name="connsiteX2805" fmla="*/ 722471 w 6400800"/>
                <a:gd name="connsiteY2805" fmla="*/ 186214 h 514350"/>
                <a:gd name="connsiteX2806" fmla="*/ 722471 w 6400800"/>
                <a:gd name="connsiteY2806" fmla="*/ 199549 h 514350"/>
                <a:gd name="connsiteX2807" fmla="*/ 709136 w 6400800"/>
                <a:gd name="connsiteY2807" fmla="*/ 243364 h 514350"/>
                <a:gd name="connsiteX2808" fmla="*/ 704374 w 6400800"/>
                <a:gd name="connsiteY2808" fmla="*/ 229076 h 514350"/>
                <a:gd name="connsiteX2809" fmla="*/ 687229 w 6400800"/>
                <a:gd name="connsiteY2809" fmla="*/ 181451 h 514350"/>
                <a:gd name="connsiteX2810" fmla="*/ 679609 w 6400800"/>
                <a:gd name="connsiteY2810" fmla="*/ 161449 h 514350"/>
                <a:gd name="connsiteX2811" fmla="*/ 679609 w 6400800"/>
                <a:gd name="connsiteY2811" fmla="*/ 148114 h 514350"/>
                <a:gd name="connsiteX2812" fmla="*/ 679609 w 6400800"/>
                <a:gd name="connsiteY2812" fmla="*/ 122396 h 514350"/>
                <a:gd name="connsiteX2813" fmla="*/ 678656 w 6400800"/>
                <a:gd name="connsiteY2813" fmla="*/ 100489 h 514350"/>
                <a:gd name="connsiteX2814" fmla="*/ 675799 w 6400800"/>
                <a:gd name="connsiteY2814" fmla="*/ 122396 h 514350"/>
                <a:gd name="connsiteX2815" fmla="*/ 672941 w 6400800"/>
                <a:gd name="connsiteY2815" fmla="*/ 144304 h 514350"/>
                <a:gd name="connsiteX2816" fmla="*/ 663416 w 6400800"/>
                <a:gd name="connsiteY2816" fmla="*/ 122396 h 514350"/>
                <a:gd name="connsiteX2817" fmla="*/ 659606 w 6400800"/>
                <a:gd name="connsiteY2817" fmla="*/ 114776 h 514350"/>
                <a:gd name="connsiteX2818" fmla="*/ 662464 w 6400800"/>
                <a:gd name="connsiteY2818" fmla="*/ 123349 h 514350"/>
                <a:gd name="connsiteX2819" fmla="*/ 670084 w 6400800"/>
                <a:gd name="connsiteY2819" fmla="*/ 147161 h 514350"/>
                <a:gd name="connsiteX2820" fmla="*/ 671989 w 6400800"/>
                <a:gd name="connsiteY2820" fmla="*/ 153829 h 514350"/>
                <a:gd name="connsiteX2821" fmla="*/ 671036 w 6400800"/>
                <a:gd name="connsiteY2821" fmla="*/ 164306 h 514350"/>
                <a:gd name="connsiteX2822" fmla="*/ 668179 w 6400800"/>
                <a:gd name="connsiteY2822" fmla="*/ 181451 h 514350"/>
                <a:gd name="connsiteX2823" fmla="*/ 662464 w 6400800"/>
                <a:gd name="connsiteY2823" fmla="*/ 219551 h 514350"/>
                <a:gd name="connsiteX2824" fmla="*/ 658654 w 6400800"/>
                <a:gd name="connsiteY2824" fmla="*/ 239554 h 514350"/>
                <a:gd name="connsiteX2825" fmla="*/ 655796 w 6400800"/>
                <a:gd name="connsiteY2825" fmla="*/ 231934 h 514350"/>
                <a:gd name="connsiteX2826" fmla="*/ 657701 w 6400800"/>
                <a:gd name="connsiteY2826" fmla="*/ 210026 h 514350"/>
                <a:gd name="connsiteX2827" fmla="*/ 653891 w 6400800"/>
                <a:gd name="connsiteY2827" fmla="*/ 226219 h 514350"/>
                <a:gd name="connsiteX2828" fmla="*/ 638651 w 6400800"/>
                <a:gd name="connsiteY2828" fmla="*/ 191929 h 514350"/>
                <a:gd name="connsiteX2829" fmla="*/ 630079 w 6400800"/>
                <a:gd name="connsiteY2829" fmla="*/ 174784 h 514350"/>
                <a:gd name="connsiteX2830" fmla="*/ 627221 w 6400800"/>
                <a:gd name="connsiteY2830" fmla="*/ 169069 h 514350"/>
                <a:gd name="connsiteX2831" fmla="*/ 635794 w 6400800"/>
                <a:gd name="connsiteY2831" fmla="*/ 193834 h 514350"/>
                <a:gd name="connsiteX2832" fmla="*/ 649129 w 6400800"/>
                <a:gd name="connsiteY2832" fmla="*/ 240506 h 514350"/>
                <a:gd name="connsiteX2833" fmla="*/ 650081 w 6400800"/>
                <a:gd name="connsiteY2833" fmla="*/ 244316 h 514350"/>
                <a:gd name="connsiteX2834" fmla="*/ 647224 w 6400800"/>
                <a:gd name="connsiteY2834" fmla="*/ 262414 h 514350"/>
                <a:gd name="connsiteX2835" fmla="*/ 644366 w 6400800"/>
                <a:gd name="connsiteY2835" fmla="*/ 279559 h 514350"/>
                <a:gd name="connsiteX2836" fmla="*/ 642461 w 6400800"/>
                <a:gd name="connsiteY2836" fmla="*/ 298609 h 514350"/>
                <a:gd name="connsiteX2837" fmla="*/ 642461 w 6400800"/>
                <a:gd name="connsiteY2837" fmla="*/ 298609 h 514350"/>
                <a:gd name="connsiteX2838" fmla="*/ 642461 w 6400800"/>
                <a:gd name="connsiteY2838" fmla="*/ 294799 h 514350"/>
                <a:gd name="connsiteX2839" fmla="*/ 641509 w 6400800"/>
                <a:gd name="connsiteY2839" fmla="*/ 315754 h 514350"/>
                <a:gd name="connsiteX2840" fmla="*/ 641509 w 6400800"/>
                <a:gd name="connsiteY2840" fmla="*/ 317659 h 514350"/>
                <a:gd name="connsiteX2841" fmla="*/ 639604 w 6400800"/>
                <a:gd name="connsiteY2841" fmla="*/ 309086 h 514350"/>
                <a:gd name="connsiteX2842" fmla="*/ 640556 w 6400800"/>
                <a:gd name="connsiteY2842" fmla="*/ 304324 h 514350"/>
                <a:gd name="connsiteX2843" fmla="*/ 638651 w 6400800"/>
                <a:gd name="connsiteY2843" fmla="*/ 307181 h 514350"/>
                <a:gd name="connsiteX2844" fmla="*/ 632936 w 6400800"/>
                <a:gd name="connsiteY2844" fmla="*/ 284321 h 514350"/>
                <a:gd name="connsiteX2845" fmla="*/ 624364 w 6400800"/>
                <a:gd name="connsiteY2845" fmla="*/ 250031 h 514350"/>
                <a:gd name="connsiteX2846" fmla="*/ 617696 w 6400800"/>
                <a:gd name="connsiteY2846" fmla="*/ 223361 h 514350"/>
                <a:gd name="connsiteX2847" fmla="*/ 614839 w 6400800"/>
                <a:gd name="connsiteY2847" fmla="*/ 210979 h 514350"/>
                <a:gd name="connsiteX2848" fmla="*/ 615791 w 6400800"/>
                <a:gd name="connsiteY2848" fmla="*/ 190024 h 514350"/>
                <a:gd name="connsiteX2849" fmla="*/ 617696 w 6400800"/>
                <a:gd name="connsiteY2849" fmla="*/ 126206 h 514350"/>
                <a:gd name="connsiteX2850" fmla="*/ 607219 w 6400800"/>
                <a:gd name="connsiteY2850" fmla="*/ 187166 h 514350"/>
                <a:gd name="connsiteX2851" fmla="*/ 606266 w 6400800"/>
                <a:gd name="connsiteY2851" fmla="*/ 184309 h 514350"/>
                <a:gd name="connsiteX2852" fmla="*/ 606266 w 6400800"/>
                <a:gd name="connsiteY2852" fmla="*/ 189071 h 514350"/>
                <a:gd name="connsiteX2853" fmla="*/ 601504 w 6400800"/>
                <a:gd name="connsiteY2853" fmla="*/ 215741 h 514350"/>
                <a:gd name="connsiteX2854" fmla="*/ 599599 w 6400800"/>
                <a:gd name="connsiteY2854" fmla="*/ 210979 h 514350"/>
                <a:gd name="connsiteX2855" fmla="*/ 591026 w 6400800"/>
                <a:gd name="connsiteY2855" fmla="*/ 191929 h 514350"/>
                <a:gd name="connsiteX2856" fmla="*/ 595789 w 6400800"/>
                <a:gd name="connsiteY2856" fmla="*/ 212884 h 514350"/>
                <a:gd name="connsiteX2857" fmla="*/ 599599 w 6400800"/>
                <a:gd name="connsiteY2857" fmla="*/ 230029 h 514350"/>
                <a:gd name="connsiteX2858" fmla="*/ 595789 w 6400800"/>
                <a:gd name="connsiteY2858" fmla="*/ 251936 h 514350"/>
                <a:gd name="connsiteX2859" fmla="*/ 589121 w 6400800"/>
                <a:gd name="connsiteY2859" fmla="*/ 294799 h 514350"/>
                <a:gd name="connsiteX2860" fmla="*/ 582454 w 6400800"/>
                <a:gd name="connsiteY2860" fmla="*/ 284321 h 514350"/>
                <a:gd name="connsiteX2861" fmla="*/ 585311 w 6400800"/>
                <a:gd name="connsiteY2861" fmla="*/ 265271 h 514350"/>
                <a:gd name="connsiteX2862" fmla="*/ 588169 w 6400800"/>
                <a:gd name="connsiteY2862" fmla="*/ 244316 h 514350"/>
                <a:gd name="connsiteX2863" fmla="*/ 591026 w 6400800"/>
                <a:gd name="connsiteY2863" fmla="*/ 225266 h 514350"/>
                <a:gd name="connsiteX2864" fmla="*/ 584359 w 6400800"/>
                <a:gd name="connsiteY2864" fmla="*/ 243364 h 514350"/>
                <a:gd name="connsiteX2865" fmla="*/ 579596 w 6400800"/>
                <a:gd name="connsiteY2865" fmla="*/ 258604 h 514350"/>
                <a:gd name="connsiteX2866" fmla="*/ 577691 w 6400800"/>
                <a:gd name="connsiteY2866" fmla="*/ 231934 h 514350"/>
                <a:gd name="connsiteX2867" fmla="*/ 575786 w 6400800"/>
                <a:gd name="connsiteY2867" fmla="*/ 210979 h 514350"/>
                <a:gd name="connsiteX2868" fmla="*/ 573881 w 6400800"/>
                <a:gd name="connsiteY2868" fmla="*/ 230981 h 514350"/>
                <a:gd name="connsiteX2869" fmla="*/ 571024 w 6400800"/>
                <a:gd name="connsiteY2869" fmla="*/ 267176 h 514350"/>
                <a:gd name="connsiteX2870" fmla="*/ 571024 w 6400800"/>
                <a:gd name="connsiteY2870" fmla="*/ 267176 h 514350"/>
                <a:gd name="connsiteX2871" fmla="*/ 567214 w 6400800"/>
                <a:gd name="connsiteY2871" fmla="*/ 262414 h 514350"/>
                <a:gd name="connsiteX2872" fmla="*/ 552926 w 6400800"/>
                <a:gd name="connsiteY2872" fmla="*/ 219551 h 514350"/>
                <a:gd name="connsiteX2873" fmla="*/ 552926 w 6400800"/>
                <a:gd name="connsiteY2873" fmla="*/ 218599 h 514350"/>
                <a:gd name="connsiteX2874" fmla="*/ 555784 w 6400800"/>
                <a:gd name="connsiteY2874" fmla="*/ 189071 h 514350"/>
                <a:gd name="connsiteX2875" fmla="*/ 558641 w 6400800"/>
                <a:gd name="connsiteY2875" fmla="*/ 162401 h 514350"/>
                <a:gd name="connsiteX2876" fmla="*/ 561499 w 6400800"/>
                <a:gd name="connsiteY2876" fmla="*/ 141446 h 514350"/>
                <a:gd name="connsiteX2877" fmla="*/ 564356 w 6400800"/>
                <a:gd name="connsiteY2877" fmla="*/ 123349 h 514350"/>
                <a:gd name="connsiteX2878" fmla="*/ 557689 w 6400800"/>
                <a:gd name="connsiteY2878" fmla="*/ 140494 h 514350"/>
                <a:gd name="connsiteX2879" fmla="*/ 551021 w 6400800"/>
                <a:gd name="connsiteY2879" fmla="*/ 160496 h 514350"/>
                <a:gd name="connsiteX2880" fmla="*/ 544354 w 6400800"/>
                <a:gd name="connsiteY2880" fmla="*/ 187166 h 514350"/>
                <a:gd name="connsiteX2881" fmla="*/ 537686 w 6400800"/>
                <a:gd name="connsiteY2881" fmla="*/ 218599 h 514350"/>
                <a:gd name="connsiteX2882" fmla="*/ 535781 w 6400800"/>
                <a:gd name="connsiteY2882" fmla="*/ 231934 h 514350"/>
                <a:gd name="connsiteX2883" fmla="*/ 534829 w 6400800"/>
                <a:gd name="connsiteY2883" fmla="*/ 220504 h 514350"/>
                <a:gd name="connsiteX2884" fmla="*/ 532924 w 6400800"/>
                <a:gd name="connsiteY2884" fmla="*/ 205264 h 514350"/>
                <a:gd name="connsiteX2885" fmla="*/ 533876 w 6400800"/>
                <a:gd name="connsiteY2885" fmla="*/ 186214 h 514350"/>
                <a:gd name="connsiteX2886" fmla="*/ 534829 w 6400800"/>
                <a:gd name="connsiteY2886" fmla="*/ 166211 h 514350"/>
                <a:gd name="connsiteX2887" fmla="*/ 534829 w 6400800"/>
                <a:gd name="connsiteY2887" fmla="*/ 148114 h 514350"/>
                <a:gd name="connsiteX2888" fmla="*/ 534829 w 6400800"/>
                <a:gd name="connsiteY2888" fmla="*/ 118586 h 514350"/>
                <a:gd name="connsiteX2889" fmla="*/ 533876 w 6400800"/>
                <a:gd name="connsiteY2889" fmla="*/ 92869 h 514350"/>
                <a:gd name="connsiteX2890" fmla="*/ 531019 w 6400800"/>
                <a:gd name="connsiteY2890" fmla="*/ 118586 h 514350"/>
                <a:gd name="connsiteX2891" fmla="*/ 528161 w 6400800"/>
                <a:gd name="connsiteY2891" fmla="*/ 147161 h 514350"/>
                <a:gd name="connsiteX2892" fmla="*/ 526256 w 6400800"/>
                <a:gd name="connsiteY2892" fmla="*/ 165259 h 514350"/>
                <a:gd name="connsiteX2893" fmla="*/ 523399 w 6400800"/>
                <a:gd name="connsiteY2893" fmla="*/ 185261 h 514350"/>
                <a:gd name="connsiteX2894" fmla="*/ 521494 w 6400800"/>
                <a:gd name="connsiteY2894" fmla="*/ 197644 h 514350"/>
                <a:gd name="connsiteX2895" fmla="*/ 513874 w 6400800"/>
                <a:gd name="connsiteY2895" fmla="*/ 170021 h 514350"/>
                <a:gd name="connsiteX2896" fmla="*/ 506254 w 6400800"/>
                <a:gd name="connsiteY2896" fmla="*/ 144304 h 514350"/>
                <a:gd name="connsiteX2897" fmla="*/ 510064 w 6400800"/>
                <a:gd name="connsiteY2897" fmla="*/ 170974 h 514350"/>
                <a:gd name="connsiteX2898" fmla="*/ 517684 w 6400800"/>
                <a:gd name="connsiteY2898" fmla="*/ 222409 h 514350"/>
                <a:gd name="connsiteX2899" fmla="*/ 516731 w 6400800"/>
                <a:gd name="connsiteY2899" fmla="*/ 230029 h 514350"/>
                <a:gd name="connsiteX2900" fmla="*/ 512921 w 6400800"/>
                <a:gd name="connsiteY2900" fmla="*/ 251936 h 514350"/>
                <a:gd name="connsiteX2901" fmla="*/ 487204 w 6400800"/>
                <a:gd name="connsiteY2901" fmla="*/ 172879 h 514350"/>
                <a:gd name="connsiteX2902" fmla="*/ 485299 w 6400800"/>
                <a:gd name="connsiteY2902" fmla="*/ 164306 h 514350"/>
                <a:gd name="connsiteX2903" fmla="*/ 486251 w 6400800"/>
                <a:gd name="connsiteY2903" fmla="*/ 189071 h 514350"/>
                <a:gd name="connsiteX2904" fmla="*/ 488156 w 6400800"/>
                <a:gd name="connsiteY2904" fmla="*/ 217646 h 514350"/>
                <a:gd name="connsiteX2905" fmla="*/ 489109 w 6400800"/>
                <a:gd name="connsiteY2905" fmla="*/ 238601 h 514350"/>
                <a:gd name="connsiteX2906" fmla="*/ 486251 w 6400800"/>
                <a:gd name="connsiteY2906" fmla="*/ 223361 h 514350"/>
                <a:gd name="connsiteX2907" fmla="*/ 482441 w 6400800"/>
                <a:gd name="connsiteY2907" fmla="*/ 207169 h 514350"/>
                <a:gd name="connsiteX2908" fmla="*/ 478631 w 6400800"/>
                <a:gd name="connsiteY2908" fmla="*/ 192881 h 514350"/>
                <a:gd name="connsiteX2909" fmla="*/ 471964 w 6400800"/>
                <a:gd name="connsiteY2909" fmla="*/ 170021 h 514350"/>
                <a:gd name="connsiteX2910" fmla="*/ 465296 w 6400800"/>
                <a:gd name="connsiteY2910" fmla="*/ 150019 h 514350"/>
                <a:gd name="connsiteX2911" fmla="*/ 468154 w 6400800"/>
                <a:gd name="connsiteY2911" fmla="*/ 170021 h 514350"/>
                <a:gd name="connsiteX2912" fmla="*/ 471011 w 6400800"/>
                <a:gd name="connsiteY2912" fmla="*/ 193834 h 514350"/>
                <a:gd name="connsiteX2913" fmla="*/ 472916 w 6400800"/>
                <a:gd name="connsiteY2913" fmla="*/ 208121 h 514350"/>
                <a:gd name="connsiteX2914" fmla="*/ 474821 w 6400800"/>
                <a:gd name="connsiteY2914" fmla="*/ 224314 h 514350"/>
                <a:gd name="connsiteX2915" fmla="*/ 478631 w 6400800"/>
                <a:gd name="connsiteY2915" fmla="*/ 255746 h 514350"/>
                <a:gd name="connsiteX2916" fmla="*/ 474821 w 6400800"/>
                <a:gd name="connsiteY2916" fmla="*/ 240506 h 514350"/>
                <a:gd name="connsiteX2917" fmla="*/ 455771 w 6400800"/>
                <a:gd name="connsiteY2917" fmla="*/ 170974 h 514350"/>
                <a:gd name="connsiteX2918" fmla="*/ 447199 w 6400800"/>
                <a:gd name="connsiteY2918" fmla="*/ 145256 h 514350"/>
                <a:gd name="connsiteX2919" fmla="*/ 451961 w 6400800"/>
                <a:gd name="connsiteY2919" fmla="*/ 171926 h 514350"/>
                <a:gd name="connsiteX2920" fmla="*/ 457676 w 6400800"/>
                <a:gd name="connsiteY2920" fmla="*/ 202406 h 514350"/>
                <a:gd name="connsiteX2921" fmla="*/ 464344 w 6400800"/>
                <a:gd name="connsiteY2921" fmla="*/ 242411 h 514350"/>
                <a:gd name="connsiteX2922" fmla="*/ 471011 w 6400800"/>
                <a:gd name="connsiteY2922" fmla="*/ 282416 h 514350"/>
                <a:gd name="connsiteX2923" fmla="*/ 467201 w 6400800"/>
                <a:gd name="connsiteY2923" fmla="*/ 272891 h 514350"/>
                <a:gd name="connsiteX2924" fmla="*/ 459581 w 6400800"/>
                <a:gd name="connsiteY2924" fmla="*/ 255746 h 514350"/>
                <a:gd name="connsiteX2925" fmla="*/ 463391 w 6400800"/>
                <a:gd name="connsiteY2925" fmla="*/ 273844 h 514350"/>
                <a:gd name="connsiteX2926" fmla="*/ 468154 w 6400800"/>
                <a:gd name="connsiteY2926" fmla="*/ 293846 h 514350"/>
                <a:gd name="connsiteX2927" fmla="*/ 471011 w 6400800"/>
                <a:gd name="connsiteY2927" fmla="*/ 306229 h 514350"/>
                <a:gd name="connsiteX2928" fmla="*/ 473869 w 6400800"/>
                <a:gd name="connsiteY2928" fmla="*/ 320516 h 514350"/>
                <a:gd name="connsiteX2929" fmla="*/ 479584 w 6400800"/>
                <a:gd name="connsiteY2929" fmla="*/ 351949 h 514350"/>
                <a:gd name="connsiteX2930" fmla="*/ 479584 w 6400800"/>
                <a:gd name="connsiteY2930" fmla="*/ 353854 h 514350"/>
                <a:gd name="connsiteX2931" fmla="*/ 478631 w 6400800"/>
                <a:gd name="connsiteY2931" fmla="*/ 351949 h 514350"/>
                <a:gd name="connsiteX2932" fmla="*/ 471964 w 6400800"/>
                <a:gd name="connsiteY2932" fmla="*/ 338614 h 514350"/>
                <a:gd name="connsiteX2933" fmla="*/ 470059 w 6400800"/>
                <a:gd name="connsiteY2933" fmla="*/ 324326 h 514350"/>
                <a:gd name="connsiteX2934" fmla="*/ 462439 w 6400800"/>
                <a:gd name="connsiteY2934" fmla="*/ 280511 h 514350"/>
                <a:gd name="connsiteX2935" fmla="*/ 452914 w 6400800"/>
                <a:gd name="connsiteY2935" fmla="*/ 240506 h 514350"/>
                <a:gd name="connsiteX2936" fmla="*/ 441484 w 6400800"/>
                <a:gd name="connsiteY2936" fmla="*/ 205264 h 514350"/>
                <a:gd name="connsiteX2937" fmla="*/ 437674 w 6400800"/>
                <a:gd name="connsiteY2937" fmla="*/ 194786 h 514350"/>
                <a:gd name="connsiteX2938" fmla="*/ 440531 w 6400800"/>
                <a:gd name="connsiteY2938" fmla="*/ 167164 h 514350"/>
                <a:gd name="connsiteX2939" fmla="*/ 442436 w 6400800"/>
                <a:gd name="connsiteY2939" fmla="*/ 128111 h 514350"/>
                <a:gd name="connsiteX2940" fmla="*/ 441484 w 6400800"/>
                <a:gd name="connsiteY2940" fmla="*/ 94774 h 514350"/>
                <a:gd name="connsiteX2941" fmla="*/ 438626 w 6400800"/>
                <a:gd name="connsiteY2941" fmla="*/ 128111 h 514350"/>
                <a:gd name="connsiteX2942" fmla="*/ 433864 w 6400800"/>
                <a:gd name="connsiteY2942" fmla="*/ 166211 h 514350"/>
                <a:gd name="connsiteX2943" fmla="*/ 431959 w 6400800"/>
                <a:gd name="connsiteY2943" fmla="*/ 178594 h 514350"/>
                <a:gd name="connsiteX2944" fmla="*/ 431006 w 6400800"/>
                <a:gd name="connsiteY2944" fmla="*/ 175736 h 514350"/>
                <a:gd name="connsiteX2945" fmla="*/ 419576 w 6400800"/>
                <a:gd name="connsiteY2945" fmla="*/ 153829 h 514350"/>
                <a:gd name="connsiteX2946" fmla="*/ 408146 w 6400800"/>
                <a:gd name="connsiteY2946" fmla="*/ 135731 h 514350"/>
                <a:gd name="connsiteX2947" fmla="*/ 415766 w 6400800"/>
                <a:gd name="connsiteY2947" fmla="*/ 155734 h 514350"/>
                <a:gd name="connsiteX2948" fmla="*/ 423386 w 6400800"/>
                <a:gd name="connsiteY2948" fmla="*/ 178594 h 514350"/>
                <a:gd name="connsiteX2949" fmla="*/ 428149 w 6400800"/>
                <a:gd name="connsiteY2949" fmla="*/ 195739 h 514350"/>
                <a:gd name="connsiteX2950" fmla="*/ 424339 w 6400800"/>
                <a:gd name="connsiteY2950" fmla="*/ 214789 h 514350"/>
                <a:gd name="connsiteX2951" fmla="*/ 424339 w 6400800"/>
                <a:gd name="connsiteY2951" fmla="*/ 214789 h 514350"/>
                <a:gd name="connsiteX2952" fmla="*/ 415766 w 6400800"/>
                <a:gd name="connsiteY2952" fmla="*/ 202406 h 514350"/>
                <a:gd name="connsiteX2953" fmla="*/ 421481 w 6400800"/>
                <a:gd name="connsiteY2953" fmla="*/ 216694 h 514350"/>
                <a:gd name="connsiteX2954" fmla="*/ 423386 w 6400800"/>
                <a:gd name="connsiteY2954" fmla="*/ 223361 h 514350"/>
                <a:gd name="connsiteX2955" fmla="*/ 412909 w 6400800"/>
                <a:gd name="connsiteY2955" fmla="*/ 272891 h 514350"/>
                <a:gd name="connsiteX2956" fmla="*/ 405289 w 6400800"/>
                <a:gd name="connsiteY2956" fmla="*/ 253841 h 514350"/>
                <a:gd name="connsiteX2957" fmla="*/ 405289 w 6400800"/>
                <a:gd name="connsiteY2957" fmla="*/ 253841 h 514350"/>
                <a:gd name="connsiteX2958" fmla="*/ 404336 w 6400800"/>
                <a:gd name="connsiteY2958" fmla="*/ 210026 h 514350"/>
                <a:gd name="connsiteX2959" fmla="*/ 401479 w 6400800"/>
                <a:gd name="connsiteY2959" fmla="*/ 176689 h 514350"/>
                <a:gd name="connsiteX2960" fmla="*/ 396716 w 6400800"/>
                <a:gd name="connsiteY2960" fmla="*/ 148114 h 514350"/>
                <a:gd name="connsiteX2961" fmla="*/ 397669 w 6400800"/>
                <a:gd name="connsiteY2961" fmla="*/ 177641 h 514350"/>
                <a:gd name="connsiteX2962" fmla="*/ 396716 w 6400800"/>
                <a:gd name="connsiteY2962" fmla="*/ 206216 h 514350"/>
                <a:gd name="connsiteX2963" fmla="*/ 389096 w 6400800"/>
                <a:gd name="connsiteY2963" fmla="*/ 244316 h 514350"/>
                <a:gd name="connsiteX2964" fmla="*/ 381476 w 6400800"/>
                <a:gd name="connsiteY2964" fmla="*/ 219551 h 514350"/>
                <a:gd name="connsiteX2965" fmla="*/ 374809 w 6400800"/>
                <a:gd name="connsiteY2965" fmla="*/ 199549 h 514350"/>
                <a:gd name="connsiteX2966" fmla="*/ 372904 w 6400800"/>
                <a:gd name="connsiteY2966" fmla="*/ 194786 h 514350"/>
                <a:gd name="connsiteX2967" fmla="*/ 372904 w 6400800"/>
                <a:gd name="connsiteY2967" fmla="*/ 190976 h 514350"/>
                <a:gd name="connsiteX2968" fmla="*/ 370046 w 6400800"/>
                <a:gd name="connsiteY2968" fmla="*/ 177641 h 514350"/>
                <a:gd name="connsiteX2969" fmla="*/ 366236 w 6400800"/>
                <a:gd name="connsiteY2969" fmla="*/ 155734 h 514350"/>
                <a:gd name="connsiteX2970" fmla="*/ 364331 w 6400800"/>
                <a:gd name="connsiteY2970" fmla="*/ 148114 h 514350"/>
                <a:gd name="connsiteX2971" fmla="*/ 363379 w 6400800"/>
                <a:gd name="connsiteY2971" fmla="*/ 135731 h 514350"/>
                <a:gd name="connsiteX2972" fmla="*/ 363379 w 6400800"/>
                <a:gd name="connsiteY2972" fmla="*/ 140494 h 514350"/>
                <a:gd name="connsiteX2973" fmla="*/ 362426 w 6400800"/>
                <a:gd name="connsiteY2973" fmla="*/ 136684 h 514350"/>
                <a:gd name="connsiteX2974" fmla="*/ 362426 w 6400800"/>
                <a:gd name="connsiteY2974" fmla="*/ 151924 h 514350"/>
                <a:gd name="connsiteX2975" fmla="*/ 361474 w 6400800"/>
                <a:gd name="connsiteY2975" fmla="*/ 163354 h 514350"/>
                <a:gd name="connsiteX2976" fmla="*/ 357664 w 6400800"/>
                <a:gd name="connsiteY2976" fmla="*/ 151924 h 514350"/>
                <a:gd name="connsiteX2977" fmla="*/ 348139 w 6400800"/>
                <a:gd name="connsiteY2977" fmla="*/ 127159 h 514350"/>
                <a:gd name="connsiteX2978" fmla="*/ 353854 w 6400800"/>
                <a:gd name="connsiteY2978" fmla="*/ 153829 h 514350"/>
                <a:gd name="connsiteX2979" fmla="*/ 361474 w 6400800"/>
                <a:gd name="connsiteY2979" fmla="*/ 183356 h 514350"/>
                <a:gd name="connsiteX2980" fmla="*/ 361474 w 6400800"/>
                <a:gd name="connsiteY2980" fmla="*/ 192881 h 514350"/>
                <a:gd name="connsiteX2981" fmla="*/ 357664 w 6400800"/>
                <a:gd name="connsiteY2981" fmla="*/ 184309 h 514350"/>
                <a:gd name="connsiteX2982" fmla="*/ 360521 w 6400800"/>
                <a:gd name="connsiteY2982" fmla="*/ 198596 h 514350"/>
                <a:gd name="connsiteX2983" fmla="*/ 359569 w 6400800"/>
                <a:gd name="connsiteY2983" fmla="*/ 221456 h 514350"/>
                <a:gd name="connsiteX2984" fmla="*/ 355759 w 6400800"/>
                <a:gd name="connsiteY2984" fmla="*/ 208121 h 514350"/>
                <a:gd name="connsiteX2985" fmla="*/ 350996 w 6400800"/>
                <a:gd name="connsiteY2985" fmla="*/ 193834 h 514350"/>
                <a:gd name="connsiteX2986" fmla="*/ 351949 w 6400800"/>
                <a:gd name="connsiteY2986" fmla="*/ 208121 h 514350"/>
                <a:gd name="connsiteX2987" fmla="*/ 352901 w 6400800"/>
                <a:gd name="connsiteY2987" fmla="*/ 224314 h 514350"/>
                <a:gd name="connsiteX2988" fmla="*/ 353854 w 6400800"/>
                <a:gd name="connsiteY2988" fmla="*/ 246221 h 514350"/>
                <a:gd name="connsiteX2989" fmla="*/ 354806 w 6400800"/>
                <a:gd name="connsiteY2989" fmla="*/ 270986 h 514350"/>
                <a:gd name="connsiteX2990" fmla="*/ 355759 w 6400800"/>
                <a:gd name="connsiteY2990" fmla="*/ 299561 h 514350"/>
                <a:gd name="connsiteX2991" fmla="*/ 356711 w 6400800"/>
                <a:gd name="connsiteY2991" fmla="*/ 316706 h 514350"/>
                <a:gd name="connsiteX2992" fmla="*/ 346234 w 6400800"/>
                <a:gd name="connsiteY2992" fmla="*/ 298609 h 514350"/>
                <a:gd name="connsiteX2993" fmla="*/ 345281 w 6400800"/>
                <a:gd name="connsiteY2993" fmla="*/ 296704 h 514350"/>
                <a:gd name="connsiteX2994" fmla="*/ 345281 w 6400800"/>
                <a:gd name="connsiteY2994" fmla="*/ 291941 h 514350"/>
                <a:gd name="connsiteX2995" fmla="*/ 348139 w 6400800"/>
                <a:gd name="connsiteY2995" fmla="*/ 267176 h 514350"/>
                <a:gd name="connsiteX2996" fmla="*/ 350044 w 6400800"/>
                <a:gd name="connsiteY2996" fmla="*/ 246221 h 514350"/>
                <a:gd name="connsiteX2997" fmla="*/ 344329 w 6400800"/>
                <a:gd name="connsiteY2997" fmla="*/ 267176 h 514350"/>
                <a:gd name="connsiteX2998" fmla="*/ 339566 w 6400800"/>
                <a:gd name="connsiteY2998" fmla="*/ 287179 h 514350"/>
                <a:gd name="connsiteX2999" fmla="*/ 339566 w 6400800"/>
                <a:gd name="connsiteY2999" fmla="*/ 287179 h 514350"/>
                <a:gd name="connsiteX3000" fmla="*/ 339566 w 6400800"/>
                <a:gd name="connsiteY3000" fmla="*/ 288131 h 514350"/>
                <a:gd name="connsiteX3001" fmla="*/ 338614 w 6400800"/>
                <a:gd name="connsiteY3001" fmla="*/ 291941 h 514350"/>
                <a:gd name="connsiteX3002" fmla="*/ 337661 w 6400800"/>
                <a:gd name="connsiteY3002" fmla="*/ 297656 h 514350"/>
                <a:gd name="connsiteX3003" fmla="*/ 324326 w 6400800"/>
                <a:gd name="connsiteY3003" fmla="*/ 277654 h 514350"/>
                <a:gd name="connsiteX3004" fmla="*/ 310991 w 6400800"/>
                <a:gd name="connsiteY3004" fmla="*/ 233839 h 514350"/>
                <a:gd name="connsiteX3005" fmla="*/ 303371 w 6400800"/>
                <a:gd name="connsiteY3005" fmla="*/ 211931 h 514350"/>
                <a:gd name="connsiteX3006" fmla="*/ 306229 w 6400800"/>
                <a:gd name="connsiteY3006" fmla="*/ 196691 h 514350"/>
                <a:gd name="connsiteX3007" fmla="*/ 316706 w 6400800"/>
                <a:gd name="connsiteY3007" fmla="*/ 150971 h 514350"/>
                <a:gd name="connsiteX3008" fmla="*/ 326231 w 6400800"/>
                <a:gd name="connsiteY3008" fmla="*/ 115729 h 514350"/>
                <a:gd name="connsiteX3009" fmla="*/ 335756 w 6400800"/>
                <a:gd name="connsiteY3009" fmla="*/ 85249 h 514350"/>
                <a:gd name="connsiteX3010" fmla="*/ 323374 w 6400800"/>
                <a:gd name="connsiteY3010" fmla="*/ 113824 h 514350"/>
                <a:gd name="connsiteX3011" fmla="*/ 310991 w 6400800"/>
                <a:gd name="connsiteY3011" fmla="*/ 148114 h 514350"/>
                <a:gd name="connsiteX3012" fmla="*/ 303371 w 6400800"/>
                <a:gd name="connsiteY3012" fmla="*/ 169069 h 514350"/>
                <a:gd name="connsiteX3013" fmla="*/ 297656 w 6400800"/>
                <a:gd name="connsiteY3013" fmla="*/ 190024 h 514350"/>
                <a:gd name="connsiteX3014" fmla="*/ 287179 w 6400800"/>
                <a:gd name="connsiteY3014" fmla="*/ 159544 h 514350"/>
                <a:gd name="connsiteX3015" fmla="*/ 294799 w 6400800"/>
                <a:gd name="connsiteY3015" fmla="*/ 198596 h 514350"/>
                <a:gd name="connsiteX3016" fmla="*/ 283369 w 6400800"/>
                <a:gd name="connsiteY3016" fmla="*/ 247174 h 514350"/>
                <a:gd name="connsiteX3017" fmla="*/ 279559 w 6400800"/>
                <a:gd name="connsiteY3017" fmla="*/ 264319 h 514350"/>
                <a:gd name="connsiteX3018" fmla="*/ 276701 w 6400800"/>
                <a:gd name="connsiteY3018" fmla="*/ 253841 h 514350"/>
                <a:gd name="connsiteX3019" fmla="*/ 278606 w 6400800"/>
                <a:gd name="connsiteY3019" fmla="*/ 227171 h 514350"/>
                <a:gd name="connsiteX3020" fmla="*/ 284321 w 6400800"/>
                <a:gd name="connsiteY3020" fmla="*/ 166211 h 514350"/>
                <a:gd name="connsiteX3021" fmla="*/ 287179 w 6400800"/>
                <a:gd name="connsiteY3021" fmla="*/ 139541 h 514350"/>
                <a:gd name="connsiteX3022" fmla="*/ 290989 w 6400800"/>
                <a:gd name="connsiteY3022" fmla="*/ 115729 h 514350"/>
                <a:gd name="connsiteX3023" fmla="*/ 297656 w 6400800"/>
                <a:gd name="connsiteY3023" fmla="*/ 76676 h 514350"/>
                <a:gd name="connsiteX3024" fmla="*/ 304324 w 6400800"/>
                <a:gd name="connsiteY3024" fmla="*/ 42386 h 514350"/>
                <a:gd name="connsiteX3025" fmla="*/ 293846 w 6400800"/>
                <a:gd name="connsiteY3025" fmla="*/ 75724 h 514350"/>
                <a:gd name="connsiteX3026" fmla="*/ 283369 w 6400800"/>
                <a:gd name="connsiteY3026" fmla="*/ 114776 h 514350"/>
                <a:gd name="connsiteX3027" fmla="*/ 277654 w 6400800"/>
                <a:gd name="connsiteY3027" fmla="*/ 138589 h 514350"/>
                <a:gd name="connsiteX3028" fmla="*/ 272891 w 6400800"/>
                <a:gd name="connsiteY3028" fmla="*/ 165259 h 514350"/>
                <a:gd name="connsiteX3029" fmla="*/ 270034 w 6400800"/>
                <a:gd name="connsiteY3029" fmla="*/ 178594 h 514350"/>
                <a:gd name="connsiteX3030" fmla="*/ 261461 w 6400800"/>
                <a:gd name="connsiteY3030" fmla="*/ 196691 h 514350"/>
                <a:gd name="connsiteX3031" fmla="*/ 258604 w 6400800"/>
                <a:gd name="connsiteY3031" fmla="*/ 183356 h 514350"/>
                <a:gd name="connsiteX3032" fmla="*/ 253841 w 6400800"/>
                <a:gd name="connsiteY3032" fmla="*/ 161449 h 514350"/>
                <a:gd name="connsiteX3033" fmla="*/ 254794 w 6400800"/>
                <a:gd name="connsiteY3033" fmla="*/ 183356 h 514350"/>
                <a:gd name="connsiteX3034" fmla="*/ 256699 w 6400800"/>
                <a:gd name="connsiteY3034" fmla="*/ 207169 h 514350"/>
                <a:gd name="connsiteX3035" fmla="*/ 247174 w 6400800"/>
                <a:gd name="connsiteY3035" fmla="*/ 231934 h 514350"/>
                <a:gd name="connsiteX3036" fmla="*/ 245269 w 6400800"/>
                <a:gd name="connsiteY3036" fmla="*/ 236696 h 514350"/>
                <a:gd name="connsiteX3037" fmla="*/ 242411 w 6400800"/>
                <a:gd name="connsiteY3037" fmla="*/ 230029 h 514350"/>
                <a:gd name="connsiteX3038" fmla="*/ 244316 w 6400800"/>
                <a:gd name="connsiteY3038" fmla="*/ 240506 h 514350"/>
                <a:gd name="connsiteX3039" fmla="*/ 236696 w 6400800"/>
                <a:gd name="connsiteY3039" fmla="*/ 262414 h 514350"/>
                <a:gd name="connsiteX3040" fmla="*/ 226219 w 6400800"/>
                <a:gd name="connsiteY3040" fmla="*/ 227171 h 514350"/>
                <a:gd name="connsiteX3041" fmla="*/ 218599 w 6400800"/>
                <a:gd name="connsiteY3041" fmla="*/ 204311 h 514350"/>
                <a:gd name="connsiteX3042" fmla="*/ 210979 w 6400800"/>
                <a:gd name="connsiteY3042" fmla="*/ 184309 h 514350"/>
                <a:gd name="connsiteX3043" fmla="*/ 198596 w 6400800"/>
                <a:gd name="connsiteY3043" fmla="*/ 150971 h 514350"/>
                <a:gd name="connsiteX3044" fmla="*/ 187166 w 6400800"/>
                <a:gd name="connsiteY3044" fmla="*/ 122396 h 514350"/>
                <a:gd name="connsiteX3045" fmla="*/ 194786 w 6400800"/>
                <a:gd name="connsiteY3045" fmla="*/ 151924 h 514350"/>
                <a:gd name="connsiteX3046" fmla="*/ 204311 w 6400800"/>
                <a:gd name="connsiteY3046" fmla="*/ 186214 h 514350"/>
                <a:gd name="connsiteX3047" fmla="*/ 210026 w 6400800"/>
                <a:gd name="connsiteY3047" fmla="*/ 207169 h 514350"/>
                <a:gd name="connsiteX3048" fmla="*/ 215741 w 6400800"/>
                <a:gd name="connsiteY3048" fmla="*/ 230981 h 514350"/>
                <a:gd name="connsiteX3049" fmla="*/ 226219 w 6400800"/>
                <a:gd name="connsiteY3049" fmla="*/ 275749 h 514350"/>
                <a:gd name="connsiteX3050" fmla="*/ 218599 w 6400800"/>
                <a:gd name="connsiteY3050" fmla="*/ 295751 h 514350"/>
                <a:gd name="connsiteX3051" fmla="*/ 217646 w 6400800"/>
                <a:gd name="connsiteY3051" fmla="*/ 298609 h 514350"/>
                <a:gd name="connsiteX3052" fmla="*/ 214789 w 6400800"/>
                <a:gd name="connsiteY3052" fmla="*/ 266224 h 514350"/>
                <a:gd name="connsiteX3053" fmla="*/ 212884 w 6400800"/>
                <a:gd name="connsiteY3053" fmla="*/ 241459 h 514350"/>
                <a:gd name="connsiteX3054" fmla="*/ 210979 w 6400800"/>
                <a:gd name="connsiteY3054" fmla="*/ 266224 h 514350"/>
                <a:gd name="connsiteX3055" fmla="*/ 209074 w 6400800"/>
                <a:gd name="connsiteY3055" fmla="*/ 309086 h 514350"/>
                <a:gd name="connsiteX3056" fmla="*/ 196691 w 6400800"/>
                <a:gd name="connsiteY3056" fmla="*/ 287179 h 514350"/>
                <a:gd name="connsiteX3057" fmla="*/ 187166 w 6400800"/>
                <a:gd name="connsiteY3057" fmla="*/ 270034 h 514350"/>
                <a:gd name="connsiteX3058" fmla="*/ 177641 w 6400800"/>
                <a:gd name="connsiteY3058" fmla="*/ 255746 h 514350"/>
                <a:gd name="connsiteX3059" fmla="*/ 161449 w 6400800"/>
                <a:gd name="connsiteY3059" fmla="*/ 231934 h 514350"/>
                <a:gd name="connsiteX3060" fmla="*/ 156686 w 6400800"/>
                <a:gd name="connsiteY3060" fmla="*/ 225266 h 514350"/>
                <a:gd name="connsiteX3061" fmla="*/ 152876 w 6400800"/>
                <a:gd name="connsiteY3061" fmla="*/ 209074 h 514350"/>
                <a:gd name="connsiteX3062" fmla="*/ 152876 w 6400800"/>
                <a:gd name="connsiteY3062" fmla="*/ 219551 h 514350"/>
                <a:gd name="connsiteX3063" fmla="*/ 146209 w 6400800"/>
                <a:gd name="connsiteY3063" fmla="*/ 210979 h 514350"/>
                <a:gd name="connsiteX3064" fmla="*/ 152876 w 6400800"/>
                <a:gd name="connsiteY3064" fmla="*/ 224314 h 514350"/>
                <a:gd name="connsiteX3065" fmla="*/ 156686 w 6400800"/>
                <a:gd name="connsiteY3065" fmla="*/ 275749 h 514350"/>
                <a:gd name="connsiteX3066" fmla="*/ 148114 w 6400800"/>
                <a:gd name="connsiteY3066" fmla="*/ 263366 h 514350"/>
                <a:gd name="connsiteX3067" fmla="*/ 124301 w 6400800"/>
                <a:gd name="connsiteY3067" fmla="*/ 233839 h 514350"/>
                <a:gd name="connsiteX3068" fmla="*/ 104299 w 6400800"/>
                <a:gd name="connsiteY3068" fmla="*/ 212884 h 514350"/>
                <a:gd name="connsiteX3069" fmla="*/ 88106 w 6400800"/>
                <a:gd name="connsiteY3069" fmla="*/ 197644 h 514350"/>
                <a:gd name="connsiteX3070" fmla="*/ 103346 w 6400800"/>
                <a:gd name="connsiteY3070" fmla="*/ 217646 h 514350"/>
                <a:gd name="connsiteX3071" fmla="*/ 119539 w 6400800"/>
                <a:gd name="connsiteY3071" fmla="*/ 240506 h 514350"/>
                <a:gd name="connsiteX3072" fmla="*/ 139541 w 6400800"/>
                <a:gd name="connsiteY3072" fmla="*/ 271939 h 514350"/>
                <a:gd name="connsiteX3073" fmla="*/ 151924 w 6400800"/>
                <a:gd name="connsiteY3073" fmla="*/ 292894 h 514350"/>
                <a:gd name="connsiteX3074" fmla="*/ 151924 w 6400800"/>
                <a:gd name="connsiteY3074" fmla="*/ 297656 h 514350"/>
                <a:gd name="connsiteX3075" fmla="*/ 150971 w 6400800"/>
                <a:gd name="connsiteY3075" fmla="*/ 296704 h 514350"/>
                <a:gd name="connsiteX3076" fmla="*/ 136684 w 6400800"/>
                <a:gd name="connsiteY3076" fmla="*/ 282416 h 514350"/>
                <a:gd name="connsiteX3077" fmla="*/ 131921 w 6400800"/>
                <a:gd name="connsiteY3077" fmla="*/ 278606 h 514350"/>
                <a:gd name="connsiteX3078" fmla="*/ 132874 w 6400800"/>
                <a:gd name="connsiteY3078" fmla="*/ 274796 h 514350"/>
                <a:gd name="connsiteX3079" fmla="*/ 130969 w 6400800"/>
                <a:gd name="connsiteY3079" fmla="*/ 278606 h 514350"/>
                <a:gd name="connsiteX3080" fmla="*/ 122396 w 6400800"/>
                <a:gd name="connsiteY3080" fmla="*/ 270986 h 514350"/>
                <a:gd name="connsiteX3081" fmla="*/ 130016 w 6400800"/>
                <a:gd name="connsiteY3081" fmla="*/ 280511 h 514350"/>
                <a:gd name="connsiteX3082" fmla="*/ 123349 w 6400800"/>
                <a:gd name="connsiteY3082" fmla="*/ 293846 h 514350"/>
                <a:gd name="connsiteX3083" fmla="*/ 114776 w 6400800"/>
                <a:gd name="connsiteY3083" fmla="*/ 316706 h 514350"/>
                <a:gd name="connsiteX3084" fmla="*/ 112871 w 6400800"/>
                <a:gd name="connsiteY3084" fmla="*/ 321469 h 514350"/>
                <a:gd name="connsiteX3085" fmla="*/ 103346 w 6400800"/>
                <a:gd name="connsiteY3085" fmla="*/ 299561 h 514350"/>
                <a:gd name="connsiteX3086" fmla="*/ 86201 w 6400800"/>
                <a:gd name="connsiteY3086" fmla="*/ 262414 h 514350"/>
                <a:gd name="connsiteX3087" fmla="*/ 78581 w 6400800"/>
                <a:gd name="connsiteY3087" fmla="*/ 245269 h 514350"/>
                <a:gd name="connsiteX3088" fmla="*/ 70961 w 6400800"/>
                <a:gd name="connsiteY3088" fmla="*/ 230981 h 514350"/>
                <a:gd name="connsiteX3089" fmla="*/ 57626 w 6400800"/>
                <a:gd name="connsiteY3089" fmla="*/ 208121 h 514350"/>
                <a:gd name="connsiteX3090" fmla="*/ 46196 w 6400800"/>
                <a:gd name="connsiteY3090" fmla="*/ 188119 h 514350"/>
                <a:gd name="connsiteX3091" fmla="*/ 54769 w 6400800"/>
                <a:gd name="connsiteY3091" fmla="*/ 210026 h 514350"/>
                <a:gd name="connsiteX3092" fmla="*/ 64294 w 6400800"/>
                <a:gd name="connsiteY3092" fmla="*/ 234791 h 514350"/>
                <a:gd name="connsiteX3093" fmla="*/ 70009 w 6400800"/>
                <a:gd name="connsiteY3093" fmla="*/ 250031 h 514350"/>
                <a:gd name="connsiteX3094" fmla="*/ 75724 w 6400800"/>
                <a:gd name="connsiteY3094" fmla="*/ 266224 h 514350"/>
                <a:gd name="connsiteX3095" fmla="*/ 85249 w 6400800"/>
                <a:gd name="connsiteY3095" fmla="*/ 292894 h 514350"/>
                <a:gd name="connsiteX3096" fmla="*/ 79534 w 6400800"/>
                <a:gd name="connsiteY3096" fmla="*/ 284321 h 514350"/>
                <a:gd name="connsiteX3097" fmla="*/ 68104 w 6400800"/>
                <a:gd name="connsiteY3097" fmla="*/ 268129 h 514350"/>
                <a:gd name="connsiteX3098" fmla="*/ 57626 w 6400800"/>
                <a:gd name="connsiteY3098" fmla="*/ 253841 h 514350"/>
                <a:gd name="connsiteX3099" fmla="*/ 64294 w 6400800"/>
                <a:gd name="connsiteY3099" fmla="*/ 270034 h 514350"/>
                <a:gd name="connsiteX3100" fmla="*/ 71914 w 6400800"/>
                <a:gd name="connsiteY3100" fmla="*/ 288131 h 514350"/>
                <a:gd name="connsiteX3101" fmla="*/ 83344 w 6400800"/>
                <a:gd name="connsiteY3101" fmla="*/ 311944 h 514350"/>
                <a:gd name="connsiteX3102" fmla="*/ 90964 w 6400800"/>
                <a:gd name="connsiteY3102" fmla="*/ 330994 h 514350"/>
                <a:gd name="connsiteX3103" fmla="*/ 87154 w 6400800"/>
                <a:gd name="connsiteY3103" fmla="*/ 339566 h 514350"/>
                <a:gd name="connsiteX3104" fmla="*/ 81439 w 6400800"/>
                <a:gd name="connsiteY3104" fmla="*/ 352901 h 514350"/>
                <a:gd name="connsiteX3105" fmla="*/ 78581 w 6400800"/>
                <a:gd name="connsiteY3105" fmla="*/ 339566 h 514350"/>
                <a:gd name="connsiteX3106" fmla="*/ 70009 w 6400800"/>
                <a:gd name="connsiteY3106" fmla="*/ 301466 h 514350"/>
                <a:gd name="connsiteX3107" fmla="*/ 61436 w 6400800"/>
                <a:gd name="connsiteY3107" fmla="*/ 269081 h 514350"/>
                <a:gd name="connsiteX3108" fmla="*/ 53816 w 6400800"/>
                <a:gd name="connsiteY3108" fmla="*/ 244316 h 514350"/>
                <a:gd name="connsiteX3109" fmla="*/ 46196 w 6400800"/>
                <a:gd name="connsiteY3109" fmla="*/ 223361 h 514350"/>
                <a:gd name="connsiteX3110" fmla="*/ 50006 w 6400800"/>
                <a:gd name="connsiteY3110" fmla="*/ 245269 h 514350"/>
                <a:gd name="connsiteX3111" fmla="*/ 53816 w 6400800"/>
                <a:gd name="connsiteY3111" fmla="*/ 270034 h 514350"/>
                <a:gd name="connsiteX3112" fmla="*/ 58579 w 6400800"/>
                <a:gd name="connsiteY3112" fmla="*/ 302419 h 514350"/>
                <a:gd name="connsiteX3113" fmla="*/ 64294 w 6400800"/>
                <a:gd name="connsiteY3113" fmla="*/ 340519 h 514350"/>
                <a:gd name="connsiteX3114" fmla="*/ 69056 w 6400800"/>
                <a:gd name="connsiteY3114" fmla="*/ 381476 h 514350"/>
                <a:gd name="connsiteX3115" fmla="*/ 67151 w 6400800"/>
                <a:gd name="connsiteY3115" fmla="*/ 385286 h 514350"/>
                <a:gd name="connsiteX3116" fmla="*/ 60484 w 6400800"/>
                <a:gd name="connsiteY3116" fmla="*/ 405289 h 514350"/>
                <a:gd name="connsiteX3117" fmla="*/ 59531 w 6400800"/>
                <a:gd name="connsiteY3117" fmla="*/ 407194 h 514350"/>
                <a:gd name="connsiteX3118" fmla="*/ 56674 w 6400800"/>
                <a:gd name="connsiteY3118" fmla="*/ 407194 h 514350"/>
                <a:gd name="connsiteX3119" fmla="*/ 54769 w 6400800"/>
                <a:gd name="connsiteY3119" fmla="*/ 399574 h 514350"/>
                <a:gd name="connsiteX3120" fmla="*/ 46196 w 6400800"/>
                <a:gd name="connsiteY3120" fmla="*/ 364331 h 514350"/>
                <a:gd name="connsiteX3121" fmla="*/ 37624 w 6400800"/>
                <a:gd name="connsiteY3121" fmla="*/ 332899 h 514350"/>
                <a:gd name="connsiteX3122" fmla="*/ 21431 w 6400800"/>
                <a:gd name="connsiteY3122" fmla="*/ 287179 h 514350"/>
                <a:gd name="connsiteX3123" fmla="*/ 13811 w 6400800"/>
                <a:gd name="connsiteY3123" fmla="*/ 270034 h 514350"/>
                <a:gd name="connsiteX3124" fmla="*/ 17621 w 6400800"/>
                <a:gd name="connsiteY3124" fmla="*/ 288131 h 514350"/>
                <a:gd name="connsiteX3125" fmla="*/ 21431 w 6400800"/>
                <a:gd name="connsiteY3125" fmla="*/ 309086 h 514350"/>
                <a:gd name="connsiteX3126" fmla="*/ 26194 w 6400800"/>
                <a:gd name="connsiteY3126" fmla="*/ 335756 h 514350"/>
                <a:gd name="connsiteX3127" fmla="*/ 31909 w 6400800"/>
                <a:gd name="connsiteY3127" fmla="*/ 367189 h 514350"/>
                <a:gd name="connsiteX3128" fmla="*/ 39529 w 6400800"/>
                <a:gd name="connsiteY3128" fmla="*/ 402431 h 514350"/>
                <a:gd name="connsiteX3129" fmla="*/ 39529 w 6400800"/>
                <a:gd name="connsiteY3129" fmla="*/ 404336 h 514350"/>
                <a:gd name="connsiteX3130" fmla="*/ 7144 w 6400800"/>
                <a:gd name="connsiteY3130" fmla="*/ 399574 h 514350"/>
                <a:gd name="connsiteX3131" fmla="*/ 7144 w 6400800"/>
                <a:gd name="connsiteY3131" fmla="*/ 511016 h 514350"/>
                <a:gd name="connsiteX3132" fmla="*/ 6277451 w 6400800"/>
                <a:gd name="connsiteY3132" fmla="*/ 364331 h 514350"/>
                <a:gd name="connsiteX3133" fmla="*/ 6279356 w 6400800"/>
                <a:gd name="connsiteY3133" fmla="*/ 357664 h 514350"/>
                <a:gd name="connsiteX3134" fmla="*/ 6279356 w 6400800"/>
                <a:gd name="connsiteY3134" fmla="*/ 361474 h 514350"/>
                <a:gd name="connsiteX3135" fmla="*/ 6277451 w 6400800"/>
                <a:gd name="connsiteY3135" fmla="*/ 399574 h 514350"/>
                <a:gd name="connsiteX3136" fmla="*/ 6267926 w 6400800"/>
                <a:gd name="connsiteY3136" fmla="*/ 430054 h 514350"/>
                <a:gd name="connsiteX3137" fmla="*/ 6266021 w 6400800"/>
                <a:gd name="connsiteY3137" fmla="*/ 430054 h 514350"/>
                <a:gd name="connsiteX3138" fmla="*/ 6260306 w 6400800"/>
                <a:gd name="connsiteY3138" fmla="*/ 421481 h 514350"/>
                <a:gd name="connsiteX3139" fmla="*/ 6277451 w 6400800"/>
                <a:gd name="connsiteY3139" fmla="*/ 364331 h 514350"/>
                <a:gd name="connsiteX3140" fmla="*/ 6211729 w 6400800"/>
                <a:gd name="connsiteY3140" fmla="*/ 425291 h 514350"/>
                <a:gd name="connsiteX3141" fmla="*/ 6212681 w 6400800"/>
                <a:gd name="connsiteY3141" fmla="*/ 398621 h 514350"/>
                <a:gd name="connsiteX3142" fmla="*/ 6213634 w 6400800"/>
                <a:gd name="connsiteY3142" fmla="*/ 390049 h 514350"/>
                <a:gd name="connsiteX3143" fmla="*/ 6216492 w 6400800"/>
                <a:gd name="connsiteY3143" fmla="*/ 393859 h 514350"/>
                <a:gd name="connsiteX3144" fmla="*/ 6227921 w 6400800"/>
                <a:gd name="connsiteY3144" fmla="*/ 408146 h 514350"/>
                <a:gd name="connsiteX3145" fmla="*/ 6225064 w 6400800"/>
                <a:gd name="connsiteY3145" fmla="*/ 412909 h 514350"/>
                <a:gd name="connsiteX3146" fmla="*/ 6221254 w 6400800"/>
                <a:gd name="connsiteY3146" fmla="*/ 420529 h 514350"/>
                <a:gd name="connsiteX3147" fmla="*/ 6218396 w 6400800"/>
                <a:gd name="connsiteY3147" fmla="*/ 429101 h 514350"/>
                <a:gd name="connsiteX3148" fmla="*/ 6217444 w 6400800"/>
                <a:gd name="connsiteY3148" fmla="*/ 431006 h 514350"/>
                <a:gd name="connsiteX3149" fmla="*/ 6217444 w 6400800"/>
                <a:gd name="connsiteY3149" fmla="*/ 429101 h 514350"/>
                <a:gd name="connsiteX3150" fmla="*/ 6215539 w 6400800"/>
                <a:gd name="connsiteY3150" fmla="*/ 413861 h 514350"/>
                <a:gd name="connsiteX3151" fmla="*/ 6213634 w 6400800"/>
                <a:gd name="connsiteY3151" fmla="*/ 429101 h 514350"/>
                <a:gd name="connsiteX3152" fmla="*/ 6211729 w 6400800"/>
                <a:gd name="connsiteY3152" fmla="*/ 441484 h 514350"/>
                <a:gd name="connsiteX3153" fmla="*/ 6211729 w 6400800"/>
                <a:gd name="connsiteY3153" fmla="*/ 425291 h 514350"/>
                <a:gd name="connsiteX3154" fmla="*/ 6183154 w 6400800"/>
                <a:gd name="connsiteY3154" fmla="*/ 343376 h 514350"/>
                <a:gd name="connsiteX3155" fmla="*/ 6187917 w 6400800"/>
                <a:gd name="connsiteY3155" fmla="*/ 350996 h 514350"/>
                <a:gd name="connsiteX3156" fmla="*/ 6191726 w 6400800"/>
                <a:gd name="connsiteY3156" fmla="*/ 356711 h 514350"/>
                <a:gd name="connsiteX3157" fmla="*/ 6183154 w 6400800"/>
                <a:gd name="connsiteY3157" fmla="*/ 388144 h 514350"/>
                <a:gd name="connsiteX3158" fmla="*/ 6182201 w 6400800"/>
                <a:gd name="connsiteY3158" fmla="*/ 391954 h 514350"/>
                <a:gd name="connsiteX3159" fmla="*/ 6181249 w 6400800"/>
                <a:gd name="connsiteY3159" fmla="*/ 375761 h 514350"/>
                <a:gd name="connsiteX3160" fmla="*/ 6181249 w 6400800"/>
                <a:gd name="connsiteY3160" fmla="*/ 372904 h 514350"/>
                <a:gd name="connsiteX3161" fmla="*/ 6183154 w 6400800"/>
                <a:gd name="connsiteY3161" fmla="*/ 343376 h 514350"/>
                <a:gd name="connsiteX3162" fmla="*/ 6144101 w 6400800"/>
                <a:gd name="connsiteY3162" fmla="*/ 308134 h 514350"/>
                <a:gd name="connsiteX3163" fmla="*/ 6147912 w 6400800"/>
                <a:gd name="connsiteY3163" fmla="*/ 276701 h 514350"/>
                <a:gd name="connsiteX3164" fmla="*/ 6153626 w 6400800"/>
                <a:gd name="connsiteY3164" fmla="*/ 289084 h 514350"/>
                <a:gd name="connsiteX3165" fmla="*/ 6161246 w 6400800"/>
                <a:gd name="connsiteY3165" fmla="*/ 305276 h 514350"/>
                <a:gd name="connsiteX3166" fmla="*/ 6157437 w 6400800"/>
                <a:gd name="connsiteY3166" fmla="*/ 319564 h 514350"/>
                <a:gd name="connsiteX3167" fmla="*/ 6152674 w 6400800"/>
                <a:gd name="connsiteY3167" fmla="*/ 342424 h 514350"/>
                <a:gd name="connsiteX3168" fmla="*/ 6150769 w 6400800"/>
                <a:gd name="connsiteY3168" fmla="*/ 356711 h 514350"/>
                <a:gd name="connsiteX3169" fmla="*/ 6149817 w 6400800"/>
                <a:gd name="connsiteY3169" fmla="*/ 360521 h 514350"/>
                <a:gd name="connsiteX3170" fmla="*/ 6148864 w 6400800"/>
                <a:gd name="connsiteY3170" fmla="*/ 365284 h 514350"/>
                <a:gd name="connsiteX3171" fmla="*/ 6146006 w 6400800"/>
                <a:gd name="connsiteY3171" fmla="*/ 360521 h 514350"/>
                <a:gd name="connsiteX3172" fmla="*/ 6147912 w 6400800"/>
                <a:gd name="connsiteY3172" fmla="*/ 368141 h 514350"/>
                <a:gd name="connsiteX3173" fmla="*/ 6145054 w 6400800"/>
                <a:gd name="connsiteY3173" fmla="*/ 389096 h 514350"/>
                <a:gd name="connsiteX3174" fmla="*/ 6144101 w 6400800"/>
                <a:gd name="connsiteY3174" fmla="*/ 386239 h 514350"/>
                <a:gd name="connsiteX3175" fmla="*/ 6143149 w 6400800"/>
                <a:gd name="connsiteY3175" fmla="*/ 384334 h 514350"/>
                <a:gd name="connsiteX3176" fmla="*/ 6142196 w 6400800"/>
                <a:gd name="connsiteY3176" fmla="*/ 369094 h 514350"/>
                <a:gd name="connsiteX3177" fmla="*/ 6139339 w 6400800"/>
                <a:gd name="connsiteY3177" fmla="*/ 343376 h 514350"/>
                <a:gd name="connsiteX3178" fmla="*/ 6144101 w 6400800"/>
                <a:gd name="connsiteY3178" fmla="*/ 308134 h 514350"/>
                <a:gd name="connsiteX3179" fmla="*/ 6095524 w 6400800"/>
                <a:gd name="connsiteY3179" fmla="*/ 384334 h 514350"/>
                <a:gd name="connsiteX3180" fmla="*/ 6088856 w 6400800"/>
                <a:gd name="connsiteY3180" fmla="*/ 412909 h 514350"/>
                <a:gd name="connsiteX3181" fmla="*/ 6083142 w 6400800"/>
                <a:gd name="connsiteY3181" fmla="*/ 435769 h 514350"/>
                <a:gd name="connsiteX3182" fmla="*/ 6076474 w 6400800"/>
                <a:gd name="connsiteY3182" fmla="*/ 411956 h 514350"/>
                <a:gd name="connsiteX3183" fmla="*/ 6079331 w 6400800"/>
                <a:gd name="connsiteY3183" fmla="*/ 391001 h 514350"/>
                <a:gd name="connsiteX3184" fmla="*/ 6084094 w 6400800"/>
                <a:gd name="connsiteY3184" fmla="*/ 368141 h 514350"/>
                <a:gd name="connsiteX3185" fmla="*/ 6088856 w 6400800"/>
                <a:gd name="connsiteY3185" fmla="*/ 347186 h 514350"/>
                <a:gd name="connsiteX3186" fmla="*/ 6091714 w 6400800"/>
                <a:gd name="connsiteY3186" fmla="*/ 348139 h 514350"/>
                <a:gd name="connsiteX3187" fmla="*/ 6095524 w 6400800"/>
                <a:gd name="connsiteY3187" fmla="*/ 350996 h 514350"/>
                <a:gd name="connsiteX3188" fmla="*/ 6100287 w 6400800"/>
                <a:gd name="connsiteY3188" fmla="*/ 359569 h 514350"/>
                <a:gd name="connsiteX3189" fmla="*/ 6095524 w 6400800"/>
                <a:gd name="connsiteY3189" fmla="*/ 384334 h 514350"/>
                <a:gd name="connsiteX3190" fmla="*/ 6102192 w 6400800"/>
                <a:gd name="connsiteY3190" fmla="*/ 206216 h 514350"/>
                <a:gd name="connsiteX3191" fmla="*/ 6101239 w 6400800"/>
                <a:gd name="connsiteY3191" fmla="*/ 235744 h 514350"/>
                <a:gd name="connsiteX3192" fmla="*/ 6101239 w 6400800"/>
                <a:gd name="connsiteY3192" fmla="*/ 241459 h 514350"/>
                <a:gd name="connsiteX3193" fmla="*/ 6101239 w 6400800"/>
                <a:gd name="connsiteY3193" fmla="*/ 242411 h 514350"/>
                <a:gd name="connsiteX3194" fmla="*/ 6101239 w 6400800"/>
                <a:gd name="connsiteY3194" fmla="*/ 242411 h 514350"/>
                <a:gd name="connsiteX3195" fmla="*/ 6100287 w 6400800"/>
                <a:gd name="connsiteY3195" fmla="*/ 239554 h 514350"/>
                <a:gd name="connsiteX3196" fmla="*/ 6097429 w 6400800"/>
                <a:gd name="connsiteY3196" fmla="*/ 230981 h 514350"/>
                <a:gd name="connsiteX3197" fmla="*/ 6102192 w 6400800"/>
                <a:gd name="connsiteY3197" fmla="*/ 206216 h 514350"/>
                <a:gd name="connsiteX3198" fmla="*/ 6100287 w 6400800"/>
                <a:gd name="connsiteY3198" fmla="*/ 284321 h 514350"/>
                <a:gd name="connsiteX3199" fmla="*/ 6098381 w 6400800"/>
                <a:gd name="connsiteY3199" fmla="*/ 279559 h 514350"/>
                <a:gd name="connsiteX3200" fmla="*/ 6099334 w 6400800"/>
                <a:gd name="connsiteY3200" fmla="*/ 277654 h 514350"/>
                <a:gd name="connsiteX3201" fmla="*/ 6100287 w 6400800"/>
                <a:gd name="connsiteY3201" fmla="*/ 284321 h 514350"/>
                <a:gd name="connsiteX3202" fmla="*/ 6093619 w 6400800"/>
                <a:gd name="connsiteY3202" fmla="*/ 247174 h 514350"/>
                <a:gd name="connsiteX3203" fmla="*/ 6095524 w 6400800"/>
                <a:gd name="connsiteY3203" fmla="*/ 255746 h 514350"/>
                <a:gd name="connsiteX3204" fmla="*/ 6091714 w 6400800"/>
                <a:gd name="connsiteY3204" fmla="*/ 264319 h 514350"/>
                <a:gd name="connsiteX3205" fmla="*/ 6090762 w 6400800"/>
                <a:gd name="connsiteY3205" fmla="*/ 262414 h 514350"/>
                <a:gd name="connsiteX3206" fmla="*/ 6093619 w 6400800"/>
                <a:gd name="connsiteY3206" fmla="*/ 247174 h 514350"/>
                <a:gd name="connsiteX3207" fmla="*/ 6088856 w 6400800"/>
                <a:gd name="connsiteY3207" fmla="*/ 269081 h 514350"/>
                <a:gd name="connsiteX3208" fmla="*/ 6088856 w 6400800"/>
                <a:gd name="connsiteY3208" fmla="*/ 270034 h 514350"/>
                <a:gd name="connsiteX3209" fmla="*/ 6088856 w 6400800"/>
                <a:gd name="connsiteY3209" fmla="*/ 270034 h 514350"/>
                <a:gd name="connsiteX3210" fmla="*/ 6087904 w 6400800"/>
                <a:gd name="connsiteY3210" fmla="*/ 272891 h 514350"/>
                <a:gd name="connsiteX3211" fmla="*/ 6088856 w 6400800"/>
                <a:gd name="connsiteY3211" fmla="*/ 269081 h 514350"/>
                <a:gd name="connsiteX3212" fmla="*/ 6067901 w 6400800"/>
                <a:gd name="connsiteY3212" fmla="*/ 369094 h 514350"/>
                <a:gd name="connsiteX3213" fmla="*/ 6080284 w 6400800"/>
                <a:gd name="connsiteY3213" fmla="*/ 339566 h 514350"/>
                <a:gd name="connsiteX3214" fmla="*/ 6085046 w 6400800"/>
                <a:gd name="connsiteY3214" fmla="*/ 326231 h 514350"/>
                <a:gd name="connsiteX3215" fmla="*/ 6088856 w 6400800"/>
                <a:gd name="connsiteY3215" fmla="*/ 313849 h 514350"/>
                <a:gd name="connsiteX3216" fmla="*/ 6093619 w 6400800"/>
                <a:gd name="connsiteY3216" fmla="*/ 293846 h 514350"/>
                <a:gd name="connsiteX3217" fmla="*/ 6093619 w 6400800"/>
                <a:gd name="connsiteY3217" fmla="*/ 293846 h 514350"/>
                <a:gd name="connsiteX3218" fmla="*/ 6096476 w 6400800"/>
                <a:gd name="connsiteY3218" fmla="*/ 310991 h 514350"/>
                <a:gd name="connsiteX3219" fmla="*/ 6100287 w 6400800"/>
                <a:gd name="connsiteY3219" fmla="*/ 339566 h 514350"/>
                <a:gd name="connsiteX3220" fmla="*/ 6101239 w 6400800"/>
                <a:gd name="connsiteY3220" fmla="*/ 355759 h 514350"/>
                <a:gd name="connsiteX3221" fmla="*/ 6101239 w 6400800"/>
                <a:gd name="connsiteY3221" fmla="*/ 355759 h 514350"/>
                <a:gd name="connsiteX3222" fmla="*/ 6100287 w 6400800"/>
                <a:gd name="connsiteY3222" fmla="*/ 359569 h 514350"/>
                <a:gd name="connsiteX3223" fmla="*/ 6097429 w 6400800"/>
                <a:gd name="connsiteY3223" fmla="*/ 350044 h 514350"/>
                <a:gd name="connsiteX3224" fmla="*/ 6093619 w 6400800"/>
                <a:gd name="connsiteY3224" fmla="*/ 345281 h 514350"/>
                <a:gd name="connsiteX3225" fmla="*/ 6087904 w 6400800"/>
                <a:gd name="connsiteY3225" fmla="*/ 342424 h 514350"/>
                <a:gd name="connsiteX3226" fmla="*/ 6085999 w 6400800"/>
                <a:gd name="connsiteY3226" fmla="*/ 341471 h 514350"/>
                <a:gd name="connsiteX3227" fmla="*/ 6085046 w 6400800"/>
                <a:gd name="connsiteY3227" fmla="*/ 343376 h 514350"/>
                <a:gd name="connsiteX3228" fmla="*/ 6076474 w 6400800"/>
                <a:gd name="connsiteY3228" fmla="*/ 365284 h 514350"/>
                <a:gd name="connsiteX3229" fmla="*/ 6069806 w 6400800"/>
                <a:gd name="connsiteY3229" fmla="*/ 384334 h 514350"/>
                <a:gd name="connsiteX3230" fmla="*/ 6065996 w 6400800"/>
                <a:gd name="connsiteY3230" fmla="*/ 372904 h 514350"/>
                <a:gd name="connsiteX3231" fmla="*/ 6067901 w 6400800"/>
                <a:gd name="connsiteY3231" fmla="*/ 369094 h 514350"/>
                <a:gd name="connsiteX3232" fmla="*/ 6035517 w 6400800"/>
                <a:gd name="connsiteY3232" fmla="*/ 310039 h 514350"/>
                <a:gd name="connsiteX3233" fmla="*/ 6035517 w 6400800"/>
                <a:gd name="connsiteY3233" fmla="*/ 308134 h 514350"/>
                <a:gd name="connsiteX3234" fmla="*/ 6040279 w 6400800"/>
                <a:gd name="connsiteY3234" fmla="*/ 324326 h 514350"/>
                <a:gd name="connsiteX3235" fmla="*/ 6044089 w 6400800"/>
                <a:gd name="connsiteY3235" fmla="*/ 338614 h 514350"/>
                <a:gd name="connsiteX3236" fmla="*/ 6038374 w 6400800"/>
                <a:gd name="connsiteY3236" fmla="*/ 355759 h 514350"/>
                <a:gd name="connsiteX3237" fmla="*/ 6033612 w 6400800"/>
                <a:gd name="connsiteY3237" fmla="*/ 330041 h 514350"/>
                <a:gd name="connsiteX3238" fmla="*/ 6035517 w 6400800"/>
                <a:gd name="connsiteY3238" fmla="*/ 310039 h 514350"/>
                <a:gd name="connsiteX3239" fmla="*/ 6012656 w 6400800"/>
                <a:gd name="connsiteY3239" fmla="*/ 361474 h 514350"/>
                <a:gd name="connsiteX3240" fmla="*/ 6012656 w 6400800"/>
                <a:gd name="connsiteY3240" fmla="*/ 363379 h 514350"/>
                <a:gd name="connsiteX3241" fmla="*/ 6012656 w 6400800"/>
                <a:gd name="connsiteY3241" fmla="*/ 359569 h 514350"/>
                <a:gd name="connsiteX3242" fmla="*/ 6012656 w 6400800"/>
                <a:gd name="connsiteY3242" fmla="*/ 361474 h 514350"/>
                <a:gd name="connsiteX3243" fmla="*/ 6007894 w 6400800"/>
                <a:gd name="connsiteY3243" fmla="*/ 351949 h 514350"/>
                <a:gd name="connsiteX3244" fmla="*/ 6007894 w 6400800"/>
                <a:gd name="connsiteY3244" fmla="*/ 352901 h 514350"/>
                <a:gd name="connsiteX3245" fmla="*/ 6007894 w 6400800"/>
                <a:gd name="connsiteY3245" fmla="*/ 351949 h 514350"/>
                <a:gd name="connsiteX3246" fmla="*/ 6007894 w 6400800"/>
                <a:gd name="connsiteY3246" fmla="*/ 351949 h 514350"/>
                <a:gd name="connsiteX3247" fmla="*/ 5976462 w 6400800"/>
                <a:gd name="connsiteY3247" fmla="*/ 410051 h 514350"/>
                <a:gd name="connsiteX3248" fmla="*/ 5973604 w 6400800"/>
                <a:gd name="connsiteY3248" fmla="*/ 402431 h 514350"/>
                <a:gd name="connsiteX3249" fmla="*/ 5972651 w 6400800"/>
                <a:gd name="connsiteY3249" fmla="*/ 398621 h 514350"/>
                <a:gd name="connsiteX3250" fmla="*/ 5971699 w 6400800"/>
                <a:gd name="connsiteY3250" fmla="*/ 391001 h 514350"/>
                <a:gd name="connsiteX3251" fmla="*/ 5973604 w 6400800"/>
                <a:gd name="connsiteY3251" fmla="*/ 386239 h 514350"/>
                <a:gd name="connsiteX3252" fmla="*/ 5977414 w 6400800"/>
                <a:gd name="connsiteY3252" fmla="*/ 374809 h 514350"/>
                <a:gd name="connsiteX3253" fmla="*/ 5976462 w 6400800"/>
                <a:gd name="connsiteY3253" fmla="*/ 410051 h 514350"/>
                <a:gd name="connsiteX3254" fmla="*/ 5976462 w 6400800"/>
                <a:gd name="connsiteY3254" fmla="*/ 239554 h 514350"/>
                <a:gd name="connsiteX3255" fmla="*/ 5978367 w 6400800"/>
                <a:gd name="connsiteY3255" fmla="*/ 250031 h 514350"/>
                <a:gd name="connsiteX3256" fmla="*/ 5979319 w 6400800"/>
                <a:gd name="connsiteY3256" fmla="*/ 256699 h 514350"/>
                <a:gd name="connsiteX3257" fmla="*/ 5974556 w 6400800"/>
                <a:gd name="connsiteY3257" fmla="*/ 248126 h 514350"/>
                <a:gd name="connsiteX3258" fmla="*/ 5976462 w 6400800"/>
                <a:gd name="connsiteY3258" fmla="*/ 239554 h 514350"/>
                <a:gd name="connsiteX3259" fmla="*/ 5965984 w 6400800"/>
                <a:gd name="connsiteY3259" fmla="*/ 291941 h 514350"/>
                <a:gd name="connsiteX3260" fmla="*/ 5966937 w 6400800"/>
                <a:gd name="connsiteY3260" fmla="*/ 286226 h 514350"/>
                <a:gd name="connsiteX3261" fmla="*/ 5967889 w 6400800"/>
                <a:gd name="connsiteY3261" fmla="*/ 282416 h 514350"/>
                <a:gd name="connsiteX3262" fmla="*/ 5970746 w 6400800"/>
                <a:gd name="connsiteY3262" fmla="*/ 269081 h 514350"/>
                <a:gd name="connsiteX3263" fmla="*/ 5983129 w 6400800"/>
                <a:gd name="connsiteY3263" fmla="*/ 298609 h 514350"/>
                <a:gd name="connsiteX3264" fmla="*/ 5980271 w 6400800"/>
                <a:gd name="connsiteY3264" fmla="*/ 330994 h 514350"/>
                <a:gd name="connsiteX3265" fmla="*/ 5979319 w 6400800"/>
                <a:gd name="connsiteY3265" fmla="*/ 331946 h 514350"/>
                <a:gd name="connsiteX3266" fmla="*/ 5976462 w 6400800"/>
                <a:gd name="connsiteY3266" fmla="*/ 328136 h 514350"/>
                <a:gd name="connsiteX3267" fmla="*/ 5979319 w 6400800"/>
                <a:gd name="connsiteY3267" fmla="*/ 332899 h 514350"/>
                <a:gd name="connsiteX3268" fmla="*/ 5972651 w 6400800"/>
                <a:gd name="connsiteY3268" fmla="*/ 346234 h 514350"/>
                <a:gd name="connsiteX3269" fmla="*/ 5967889 w 6400800"/>
                <a:gd name="connsiteY3269" fmla="*/ 355759 h 514350"/>
                <a:gd name="connsiteX3270" fmla="*/ 5967889 w 6400800"/>
                <a:gd name="connsiteY3270" fmla="*/ 355759 h 514350"/>
                <a:gd name="connsiteX3271" fmla="*/ 5966937 w 6400800"/>
                <a:gd name="connsiteY3271" fmla="*/ 351949 h 514350"/>
                <a:gd name="connsiteX3272" fmla="*/ 5965031 w 6400800"/>
                <a:gd name="connsiteY3272" fmla="*/ 333851 h 514350"/>
                <a:gd name="connsiteX3273" fmla="*/ 5963126 w 6400800"/>
                <a:gd name="connsiteY3273" fmla="*/ 299561 h 514350"/>
                <a:gd name="connsiteX3274" fmla="*/ 5965984 w 6400800"/>
                <a:gd name="connsiteY3274" fmla="*/ 291941 h 514350"/>
                <a:gd name="connsiteX3275" fmla="*/ 5952649 w 6400800"/>
                <a:gd name="connsiteY3275" fmla="*/ 385286 h 514350"/>
                <a:gd name="connsiteX3276" fmla="*/ 5952649 w 6400800"/>
                <a:gd name="connsiteY3276" fmla="*/ 385286 h 514350"/>
                <a:gd name="connsiteX3277" fmla="*/ 5952649 w 6400800"/>
                <a:gd name="connsiteY3277" fmla="*/ 385286 h 514350"/>
                <a:gd name="connsiteX3278" fmla="*/ 5952649 w 6400800"/>
                <a:gd name="connsiteY3278" fmla="*/ 385286 h 514350"/>
                <a:gd name="connsiteX3279" fmla="*/ 5934551 w 6400800"/>
                <a:gd name="connsiteY3279" fmla="*/ 339566 h 514350"/>
                <a:gd name="connsiteX3280" fmla="*/ 5933599 w 6400800"/>
                <a:gd name="connsiteY3280" fmla="*/ 332899 h 514350"/>
                <a:gd name="connsiteX3281" fmla="*/ 5933599 w 6400800"/>
                <a:gd name="connsiteY3281" fmla="*/ 330994 h 514350"/>
                <a:gd name="connsiteX3282" fmla="*/ 5935504 w 6400800"/>
                <a:gd name="connsiteY3282" fmla="*/ 336709 h 514350"/>
                <a:gd name="connsiteX3283" fmla="*/ 5934551 w 6400800"/>
                <a:gd name="connsiteY3283" fmla="*/ 339566 h 514350"/>
                <a:gd name="connsiteX3284" fmla="*/ 5948839 w 6400800"/>
                <a:gd name="connsiteY3284" fmla="*/ 371951 h 514350"/>
                <a:gd name="connsiteX3285" fmla="*/ 5945981 w 6400800"/>
                <a:gd name="connsiteY3285" fmla="*/ 382429 h 514350"/>
                <a:gd name="connsiteX3286" fmla="*/ 5943124 w 6400800"/>
                <a:gd name="connsiteY3286" fmla="*/ 392906 h 514350"/>
                <a:gd name="connsiteX3287" fmla="*/ 5943124 w 6400800"/>
                <a:gd name="connsiteY3287" fmla="*/ 378619 h 514350"/>
                <a:gd name="connsiteX3288" fmla="*/ 5943124 w 6400800"/>
                <a:gd name="connsiteY3288" fmla="*/ 378619 h 514350"/>
                <a:gd name="connsiteX3289" fmla="*/ 5946934 w 6400800"/>
                <a:gd name="connsiteY3289" fmla="*/ 365284 h 514350"/>
                <a:gd name="connsiteX3290" fmla="*/ 5948839 w 6400800"/>
                <a:gd name="connsiteY3290" fmla="*/ 371951 h 514350"/>
                <a:gd name="connsiteX3291" fmla="*/ 5930742 w 6400800"/>
                <a:gd name="connsiteY3291" fmla="*/ 234791 h 514350"/>
                <a:gd name="connsiteX3292" fmla="*/ 5938362 w 6400800"/>
                <a:gd name="connsiteY3292" fmla="*/ 269081 h 514350"/>
                <a:gd name="connsiteX3293" fmla="*/ 5945029 w 6400800"/>
                <a:gd name="connsiteY3293" fmla="*/ 307181 h 514350"/>
                <a:gd name="connsiteX3294" fmla="*/ 5940267 w 6400800"/>
                <a:gd name="connsiteY3294" fmla="*/ 323374 h 514350"/>
                <a:gd name="connsiteX3295" fmla="*/ 5940267 w 6400800"/>
                <a:gd name="connsiteY3295" fmla="*/ 324326 h 514350"/>
                <a:gd name="connsiteX3296" fmla="*/ 5931694 w 6400800"/>
                <a:gd name="connsiteY3296" fmla="*/ 307181 h 514350"/>
                <a:gd name="connsiteX3297" fmla="*/ 5928837 w 6400800"/>
                <a:gd name="connsiteY3297" fmla="*/ 284321 h 514350"/>
                <a:gd name="connsiteX3298" fmla="*/ 5926931 w 6400800"/>
                <a:gd name="connsiteY3298" fmla="*/ 266224 h 514350"/>
                <a:gd name="connsiteX3299" fmla="*/ 5929789 w 6400800"/>
                <a:gd name="connsiteY3299" fmla="*/ 259556 h 514350"/>
                <a:gd name="connsiteX3300" fmla="*/ 5926931 w 6400800"/>
                <a:gd name="connsiteY3300" fmla="*/ 264319 h 514350"/>
                <a:gd name="connsiteX3301" fmla="*/ 5925026 w 6400800"/>
                <a:gd name="connsiteY3301" fmla="*/ 245269 h 514350"/>
                <a:gd name="connsiteX3302" fmla="*/ 5926931 w 6400800"/>
                <a:gd name="connsiteY3302" fmla="*/ 233839 h 514350"/>
                <a:gd name="connsiteX3303" fmla="*/ 5928837 w 6400800"/>
                <a:gd name="connsiteY3303" fmla="*/ 226219 h 514350"/>
                <a:gd name="connsiteX3304" fmla="*/ 5930742 w 6400800"/>
                <a:gd name="connsiteY3304" fmla="*/ 234791 h 514350"/>
                <a:gd name="connsiteX3305" fmla="*/ 5923121 w 6400800"/>
                <a:gd name="connsiteY3305" fmla="*/ 209074 h 514350"/>
                <a:gd name="connsiteX3306" fmla="*/ 5926931 w 6400800"/>
                <a:gd name="connsiteY3306" fmla="*/ 222409 h 514350"/>
                <a:gd name="connsiteX3307" fmla="*/ 5922169 w 6400800"/>
                <a:gd name="connsiteY3307" fmla="*/ 232886 h 514350"/>
                <a:gd name="connsiteX3308" fmla="*/ 5919312 w 6400800"/>
                <a:gd name="connsiteY3308" fmla="*/ 206216 h 514350"/>
                <a:gd name="connsiteX3309" fmla="*/ 5918359 w 6400800"/>
                <a:gd name="connsiteY3309" fmla="*/ 193834 h 514350"/>
                <a:gd name="connsiteX3310" fmla="*/ 5923121 w 6400800"/>
                <a:gd name="connsiteY3310" fmla="*/ 209074 h 514350"/>
                <a:gd name="connsiteX3311" fmla="*/ 5901214 w 6400800"/>
                <a:gd name="connsiteY3311" fmla="*/ 244316 h 514350"/>
                <a:gd name="connsiteX3312" fmla="*/ 5901214 w 6400800"/>
                <a:gd name="connsiteY3312" fmla="*/ 258604 h 514350"/>
                <a:gd name="connsiteX3313" fmla="*/ 5902167 w 6400800"/>
                <a:gd name="connsiteY3313" fmla="*/ 278606 h 514350"/>
                <a:gd name="connsiteX3314" fmla="*/ 5904071 w 6400800"/>
                <a:gd name="connsiteY3314" fmla="*/ 302419 h 514350"/>
                <a:gd name="connsiteX3315" fmla="*/ 5900262 w 6400800"/>
                <a:gd name="connsiteY3315" fmla="*/ 310039 h 514350"/>
                <a:gd name="connsiteX3316" fmla="*/ 5895499 w 6400800"/>
                <a:gd name="connsiteY3316" fmla="*/ 284321 h 514350"/>
                <a:gd name="connsiteX3317" fmla="*/ 5901214 w 6400800"/>
                <a:gd name="connsiteY3317" fmla="*/ 244316 h 514350"/>
                <a:gd name="connsiteX3318" fmla="*/ 5903119 w 6400800"/>
                <a:gd name="connsiteY3318" fmla="*/ 324326 h 514350"/>
                <a:gd name="connsiteX3319" fmla="*/ 5903119 w 6400800"/>
                <a:gd name="connsiteY3319" fmla="*/ 328136 h 514350"/>
                <a:gd name="connsiteX3320" fmla="*/ 5902167 w 6400800"/>
                <a:gd name="connsiteY3320" fmla="*/ 325279 h 514350"/>
                <a:gd name="connsiteX3321" fmla="*/ 5903119 w 6400800"/>
                <a:gd name="connsiteY3321" fmla="*/ 324326 h 514350"/>
                <a:gd name="connsiteX3322" fmla="*/ 5892642 w 6400800"/>
                <a:gd name="connsiteY3322" fmla="*/ 348139 h 514350"/>
                <a:gd name="connsiteX3323" fmla="*/ 5893594 w 6400800"/>
                <a:gd name="connsiteY3323" fmla="*/ 352901 h 514350"/>
                <a:gd name="connsiteX3324" fmla="*/ 5893594 w 6400800"/>
                <a:gd name="connsiteY3324" fmla="*/ 355759 h 514350"/>
                <a:gd name="connsiteX3325" fmla="*/ 5891689 w 6400800"/>
                <a:gd name="connsiteY3325" fmla="*/ 350996 h 514350"/>
                <a:gd name="connsiteX3326" fmla="*/ 5892642 w 6400800"/>
                <a:gd name="connsiteY3326" fmla="*/ 348139 h 514350"/>
                <a:gd name="connsiteX3327" fmla="*/ 5893594 w 6400800"/>
                <a:gd name="connsiteY3327" fmla="*/ 373856 h 514350"/>
                <a:gd name="connsiteX3328" fmla="*/ 5898356 w 6400800"/>
                <a:gd name="connsiteY3328" fmla="*/ 391954 h 514350"/>
                <a:gd name="connsiteX3329" fmla="*/ 5902167 w 6400800"/>
                <a:gd name="connsiteY3329" fmla="*/ 408146 h 514350"/>
                <a:gd name="connsiteX3330" fmla="*/ 5904071 w 6400800"/>
                <a:gd name="connsiteY3330" fmla="*/ 417671 h 514350"/>
                <a:gd name="connsiteX3331" fmla="*/ 5904071 w 6400800"/>
                <a:gd name="connsiteY3331" fmla="*/ 417671 h 514350"/>
                <a:gd name="connsiteX3332" fmla="*/ 5890737 w 6400800"/>
                <a:gd name="connsiteY3332" fmla="*/ 387191 h 514350"/>
                <a:gd name="connsiteX3333" fmla="*/ 5888831 w 6400800"/>
                <a:gd name="connsiteY3333" fmla="*/ 383381 h 514350"/>
                <a:gd name="connsiteX3334" fmla="*/ 5887879 w 6400800"/>
                <a:gd name="connsiteY3334" fmla="*/ 357664 h 514350"/>
                <a:gd name="connsiteX3335" fmla="*/ 5888831 w 6400800"/>
                <a:gd name="connsiteY3335" fmla="*/ 356711 h 514350"/>
                <a:gd name="connsiteX3336" fmla="*/ 5893594 w 6400800"/>
                <a:gd name="connsiteY3336" fmla="*/ 373856 h 514350"/>
                <a:gd name="connsiteX3337" fmla="*/ 5886926 w 6400800"/>
                <a:gd name="connsiteY3337" fmla="*/ 321469 h 514350"/>
                <a:gd name="connsiteX3338" fmla="*/ 5888831 w 6400800"/>
                <a:gd name="connsiteY3338" fmla="*/ 311944 h 514350"/>
                <a:gd name="connsiteX3339" fmla="*/ 5888831 w 6400800"/>
                <a:gd name="connsiteY3339" fmla="*/ 314801 h 514350"/>
                <a:gd name="connsiteX3340" fmla="*/ 5889784 w 6400800"/>
                <a:gd name="connsiteY3340" fmla="*/ 326231 h 514350"/>
                <a:gd name="connsiteX3341" fmla="*/ 5885974 w 6400800"/>
                <a:gd name="connsiteY3341" fmla="*/ 332899 h 514350"/>
                <a:gd name="connsiteX3342" fmla="*/ 5885974 w 6400800"/>
                <a:gd name="connsiteY3342" fmla="*/ 325279 h 514350"/>
                <a:gd name="connsiteX3343" fmla="*/ 5886926 w 6400800"/>
                <a:gd name="connsiteY3343" fmla="*/ 321469 h 514350"/>
                <a:gd name="connsiteX3344" fmla="*/ 5858351 w 6400800"/>
                <a:gd name="connsiteY3344" fmla="*/ 279559 h 514350"/>
                <a:gd name="connsiteX3345" fmla="*/ 5858351 w 6400800"/>
                <a:gd name="connsiteY3345" fmla="*/ 284321 h 514350"/>
                <a:gd name="connsiteX3346" fmla="*/ 5858351 w 6400800"/>
                <a:gd name="connsiteY3346" fmla="*/ 285274 h 514350"/>
                <a:gd name="connsiteX3347" fmla="*/ 5857399 w 6400800"/>
                <a:gd name="connsiteY3347" fmla="*/ 281464 h 514350"/>
                <a:gd name="connsiteX3348" fmla="*/ 5858351 w 6400800"/>
                <a:gd name="connsiteY3348" fmla="*/ 279559 h 514350"/>
                <a:gd name="connsiteX3349" fmla="*/ 5841206 w 6400800"/>
                <a:gd name="connsiteY3349" fmla="*/ 264319 h 514350"/>
                <a:gd name="connsiteX3350" fmla="*/ 5840254 w 6400800"/>
                <a:gd name="connsiteY3350" fmla="*/ 270034 h 514350"/>
                <a:gd name="connsiteX3351" fmla="*/ 5839301 w 6400800"/>
                <a:gd name="connsiteY3351" fmla="*/ 277654 h 514350"/>
                <a:gd name="connsiteX3352" fmla="*/ 5838349 w 6400800"/>
                <a:gd name="connsiteY3352" fmla="*/ 271939 h 514350"/>
                <a:gd name="connsiteX3353" fmla="*/ 5841206 w 6400800"/>
                <a:gd name="connsiteY3353" fmla="*/ 264319 h 514350"/>
                <a:gd name="connsiteX3354" fmla="*/ 5828824 w 6400800"/>
                <a:gd name="connsiteY3354" fmla="*/ 305276 h 514350"/>
                <a:gd name="connsiteX3355" fmla="*/ 5826919 w 6400800"/>
                <a:gd name="connsiteY3355" fmla="*/ 308134 h 514350"/>
                <a:gd name="connsiteX3356" fmla="*/ 5826919 w 6400800"/>
                <a:gd name="connsiteY3356" fmla="*/ 306229 h 514350"/>
                <a:gd name="connsiteX3357" fmla="*/ 5829776 w 6400800"/>
                <a:gd name="connsiteY3357" fmla="*/ 299561 h 514350"/>
                <a:gd name="connsiteX3358" fmla="*/ 5828824 w 6400800"/>
                <a:gd name="connsiteY3358" fmla="*/ 305276 h 514350"/>
                <a:gd name="connsiteX3359" fmla="*/ 5823109 w 6400800"/>
                <a:gd name="connsiteY3359" fmla="*/ 259556 h 514350"/>
                <a:gd name="connsiteX3360" fmla="*/ 5827871 w 6400800"/>
                <a:gd name="connsiteY3360" fmla="*/ 270986 h 514350"/>
                <a:gd name="connsiteX3361" fmla="*/ 5828824 w 6400800"/>
                <a:gd name="connsiteY3361" fmla="*/ 273844 h 514350"/>
                <a:gd name="connsiteX3362" fmla="*/ 5828824 w 6400800"/>
                <a:gd name="connsiteY3362" fmla="*/ 286226 h 514350"/>
                <a:gd name="connsiteX3363" fmla="*/ 5824062 w 6400800"/>
                <a:gd name="connsiteY3363" fmla="*/ 295751 h 514350"/>
                <a:gd name="connsiteX3364" fmla="*/ 5824062 w 6400800"/>
                <a:gd name="connsiteY3364" fmla="*/ 294799 h 514350"/>
                <a:gd name="connsiteX3365" fmla="*/ 5823109 w 6400800"/>
                <a:gd name="connsiteY3365" fmla="*/ 267176 h 514350"/>
                <a:gd name="connsiteX3366" fmla="*/ 5823109 w 6400800"/>
                <a:gd name="connsiteY3366" fmla="*/ 259556 h 514350"/>
                <a:gd name="connsiteX3367" fmla="*/ 5813584 w 6400800"/>
                <a:gd name="connsiteY3367" fmla="*/ 252889 h 514350"/>
                <a:gd name="connsiteX3368" fmla="*/ 5812631 w 6400800"/>
                <a:gd name="connsiteY3368" fmla="*/ 258604 h 514350"/>
                <a:gd name="connsiteX3369" fmla="*/ 5811679 w 6400800"/>
                <a:gd name="connsiteY3369" fmla="*/ 255746 h 514350"/>
                <a:gd name="connsiteX3370" fmla="*/ 5811679 w 6400800"/>
                <a:gd name="connsiteY3370" fmla="*/ 262414 h 514350"/>
                <a:gd name="connsiteX3371" fmla="*/ 5810726 w 6400800"/>
                <a:gd name="connsiteY3371" fmla="*/ 267176 h 514350"/>
                <a:gd name="connsiteX3372" fmla="*/ 5808821 w 6400800"/>
                <a:gd name="connsiteY3372" fmla="*/ 294799 h 514350"/>
                <a:gd name="connsiteX3373" fmla="*/ 5808821 w 6400800"/>
                <a:gd name="connsiteY3373" fmla="*/ 304324 h 514350"/>
                <a:gd name="connsiteX3374" fmla="*/ 5807869 w 6400800"/>
                <a:gd name="connsiteY3374" fmla="*/ 300514 h 514350"/>
                <a:gd name="connsiteX3375" fmla="*/ 5806917 w 6400800"/>
                <a:gd name="connsiteY3375" fmla="*/ 264319 h 514350"/>
                <a:gd name="connsiteX3376" fmla="*/ 5806917 w 6400800"/>
                <a:gd name="connsiteY3376" fmla="*/ 262414 h 514350"/>
                <a:gd name="connsiteX3377" fmla="*/ 5813584 w 6400800"/>
                <a:gd name="connsiteY3377" fmla="*/ 252889 h 514350"/>
                <a:gd name="connsiteX3378" fmla="*/ 5804059 w 6400800"/>
                <a:gd name="connsiteY3378" fmla="*/ 268129 h 514350"/>
                <a:gd name="connsiteX3379" fmla="*/ 5804059 w 6400800"/>
                <a:gd name="connsiteY3379" fmla="*/ 269081 h 514350"/>
                <a:gd name="connsiteX3380" fmla="*/ 5804059 w 6400800"/>
                <a:gd name="connsiteY3380" fmla="*/ 268129 h 514350"/>
                <a:gd name="connsiteX3381" fmla="*/ 5804059 w 6400800"/>
                <a:gd name="connsiteY3381" fmla="*/ 268129 h 514350"/>
                <a:gd name="connsiteX3382" fmla="*/ 5799296 w 6400800"/>
                <a:gd name="connsiteY3382" fmla="*/ 164306 h 514350"/>
                <a:gd name="connsiteX3383" fmla="*/ 5802154 w 6400800"/>
                <a:gd name="connsiteY3383" fmla="*/ 166211 h 514350"/>
                <a:gd name="connsiteX3384" fmla="*/ 5796439 w 6400800"/>
                <a:gd name="connsiteY3384" fmla="*/ 176689 h 514350"/>
                <a:gd name="connsiteX3385" fmla="*/ 5796439 w 6400800"/>
                <a:gd name="connsiteY3385" fmla="*/ 163354 h 514350"/>
                <a:gd name="connsiteX3386" fmla="*/ 5799296 w 6400800"/>
                <a:gd name="connsiteY3386" fmla="*/ 164306 h 514350"/>
                <a:gd name="connsiteX3387" fmla="*/ 5770721 w 6400800"/>
                <a:gd name="connsiteY3387" fmla="*/ 386239 h 514350"/>
                <a:gd name="connsiteX3388" fmla="*/ 5770721 w 6400800"/>
                <a:gd name="connsiteY3388" fmla="*/ 383381 h 514350"/>
                <a:gd name="connsiteX3389" fmla="*/ 5770721 w 6400800"/>
                <a:gd name="connsiteY3389" fmla="*/ 382429 h 514350"/>
                <a:gd name="connsiteX3390" fmla="*/ 5771674 w 6400800"/>
                <a:gd name="connsiteY3390" fmla="*/ 387191 h 514350"/>
                <a:gd name="connsiteX3391" fmla="*/ 5770721 w 6400800"/>
                <a:gd name="connsiteY3391" fmla="*/ 386239 h 514350"/>
                <a:gd name="connsiteX3392" fmla="*/ 5782151 w 6400800"/>
                <a:gd name="connsiteY3392" fmla="*/ 253841 h 514350"/>
                <a:gd name="connsiteX3393" fmla="*/ 5780246 w 6400800"/>
                <a:gd name="connsiteY3393" fmla="*/ 258604 h 514350"/>
                <a:gd name="connsiteX3394" fmla="*/ 5777389 w 6400800"/>
                <a:gd name="connsiteY3394" fmla="*/ 267176 h 514350"/>
                <a:gd name="connsiteX3395" fmla="*/ 5773579 w 6400800"/>
                <a:gd name="connsiteY3395" fmla="*/ 275749 h 514350"/>
                <a:gd name="connsiteX3396" fmla="*/ 5772626 w 6400800"/>
                <a:gd name="connsiteY3396" fmla="*/ 273844 h 514350"/>
                <a:gd name="connsiteX3397" fmla="*/ 5771674 w 6400800"/>
                <a:gd name="connsiteY3397" fmla="*/ 272891 h 514350"/>
                <a:gd name="connsiteX3398" fmla="*/ 5783104 w 6400800"/>
                <a:gd name="connsiteY3398" fmla="*/ 241459 h 514350"/>
                <a:gd name="connsiteX3399" fmla="*/ 5782151 w 6400800"/>
                <a:gd name="connsiteY3399" fmla="*/ 253841 h 514350"/>
                <a:gd name="connsiteX3400" fmla="*/ 5785962 w 6400800"/>
                <a:gd name="connsiteY3400" fmla="*/ 221456 h 514350"/>
                <a:gd name="connsiteX3401" fmla="*/ 5784056 w 6400800"/>
                <a:gd name="connsiteY3401" fmla="*/ 239554 h 514350"/>
                <a:gd name="connsiteX3402" fmla="*/ 5784056 w 6400800"/>
                <a:gd name="connsiteY3402" fmla="*/ 240506 h 514350"/>
                <a:gd name="connsiteX3403" fmla="*/ 5770721 w 6400800"/>
                <a:gd name="connsiteY3403" fmla="*/ 267176 h 514350"/>
                <a:gd name="connsiteX3404" fmla="*/ 5769769 w 6400800"/>
                <a:gd name="connsiteY3404" fmla="*/ 261461 h 514350"/>
                <a:gd name="connsiteX3405" fmla="*/ 5769769 w 6400800"/>
                <a:gd name="connsiteY3405" fmla="*/ 258604 h 514350"/>
                <a:gd name="connsiteX3406" fmla="*/ 5785962 w 6400800"/>
                <a:gd name="connsiteY3406" fmla="*/ 221456 h 514350"/>
                <a:gd name="connsiteX3407" fmla="*/ 5754529 w 6400800"/>
                <a:gd name="connsiteY3407" fmla="*/ 333851 h 514350"/>
                <a:gd name="connsiteX3408" fmla="*/ 5746909 w 6400800"/>
                <a:gd name="connsiteY3408" fmla="*/ 348139 h 514350"/>
                <a:gd name="connsiteX3409" fmla="*/ 5745956 w 6400800"/>
                <a:gd name="connsiteY3409" fmla="*/ 346234 h 514350"/>
                <a:gd name="connsiteX3410" fmla="*/ 5754529 w 6400800"/>
                <a:gd name="connsiteY3410" fmla="*/ 322421 h 514350"/>
                <a:gd name="connsiteX3411" fmla="*/ 5754529 w 6400800"/>
                <a:gd name="connsiteY3411" fmla="*/ 333851 h 514350"/>
                <a:gd name="connsiteX3412" fmla="*/ 5754529 w 6400800"/>
                <a:gd name="connsiteY3412" fmla="*/ 333851 h 514350"/>
                <a:gd name="connsiteX3413" fmla="*/ 5762149 w 6400800"/>
                <a:gd name="connsiteY3413" fmla="*/ 302419 h 514350"/>
                <a:gd name="connsiteX3414" fmla="*/ 5762149 w 6400800"/>
                <a:gd name="connsiteY3414" fmla="*/ 302419 h 514350"/>
                <a:gd name="connsiteX3415" fmla="*/ 5762149 w 6400800"/>
                <a:gd name="connsiteY3415" fmla="*/ 302419 h 514350"/>
                <a:gd name="connsiteX3416" fmla="*/ 5762149 w 6400800"/>
                <a:gd name="connsiteY3416" fmla="*/ 302419 h 514350"/>
                <a:gd name="connsiteX3417" fmla="*/ 5761196 w 6400800"/>
                <a:gd name="connsiteY3417" fmla="*/ 304324 h 514350"/>
                <a:gd name="connsiteX3418" fmla="*/ 5762149 w 6400800"/>
                <a:gd name="connsiteY3418" fmla="*/ 305276 h 514350"/>
                <a:gd name="connsiteX3419" fmla="*/ 5762149 w 6400800"/>
                <a:gd name="connsiteY3419" fmla="*/ 308134 h 514350"/>
                <a:gd name="connsiteX3420" fmla="*/ 5762149 w 6400800"/>
                <a:gd name="connsiteY3420" fmla="*/ 310039 h 514350"/>
                <a:gd name="connsiteX3421" fmla="*/ 5759292 w 6400800"/>
                <a:gd name="connsiteY3421" fmla="*/ 320516 h 514350"/>
                <a:gd name="connsiteX3422" fmla="*/ 5757387 w 6400800"/>
                <a:gd name="connsiteY3422" fmla="*/ 328136 h 514350"/>
                <a:gd name="connsiteX3423" fmla="*/ 5755481 w 6400800"/>
                <a:gd name="connsiteY3423" fmla="*/ 320516 h 514350"/>
                <a:gd name="connsiteX3424" fmla="*/ 5761196 w 6400800"/>
                <a:gd name="connsiteY3424" fmla="*/ 304324 h 514350"/>
                <a:gd name="connsiteX3425" fmla="*/ 5760244 w 6400800"/>
                <a:gd name="connsiteY3425" fmla="*/ 289084 h 514350"/>
                <a:gd name="connsiteX3426" fmla="*/ 5759292 w 6400800"/>
                <a:gd name="connsiteY3426" fmla="*/ 290989 h 514350"/>
                <a:gd name="connsiteX3427" fmla="*/ 5751671 w 6400800"/>
                <a:gd name="connsiteY3427" fmla="*/ 301466 h 514350"/>
                <a:gd name="connsiteX3428" fmla="*/ 5748814 w 6400800"/>
                <a:gd name="connsiteY3428" fmla="*/ 305276 h 514350"/>
                <a:gd name="connsiteX3429" fmla="*/ 5759292 w 6400800"/>
                <a:gd name="connsiteY3429" fmla="*/ 280511 h 514350"/>
                <a:gd name="connsiteX3430" fmla="*/ 5760244 w 6400800"/>
                <a:gd name="connsiteY3430" fmla="*/ 289084 h 514350"/>
                <a:gd name="connsiteX3431" fmla="*/ 5756434 w 6400800"/>
                <a:gd name="connsiteY3431" fmla="*/ 227171 h 514350"/>
                <a:gd name="connsiteX3432" fmla="*/ 5756434 w 6400800"/>
                <a:gd name="connsiteY3432" fmla="*/ 243364 h 514350"/>
                <a:gd name="connsiteX3433" fmla="*/ 5757387 w 6400800"/>
                <a:gd name="connsiteY3433" fmla="*/ 250984 h 514350"/>
                <a:gd name="connsiteX3434" fmla="*/ 5753576 w 6400800"/>
                <a:gd name="connsiteY3434" fmla="*/ 259556 h 514350"/>
                <a:gd name="connsiteX3435" fmla="*/ 5741194 w 6400800"/>
                <a:gd name="connsiteY3435" fmla="*/ 285274 h 514350"/>
                <a:gd name="connsiteX3436" fmla="*/ 5756434 w 6400800"/>
                <a:gd name="connsiteY3436" fmla="*/ 227171 h 514350"/>
                <a:gd name="connsiteX3437" fmla="*/ 5676424 w 6400800"/>
                <a:gd name="connsiteY3437" fmla="*/ 184309 h 514350"/>
                <a:gd name="connsiteX3438" fmla="*/ 5676424 w 6400800"/>
                <a:gd name="connsiteY3438" fmla="*/ 198596 h 514350"/>
                <a:gd name="connsiteX3439" fmla="*/ 5676424 w 6400800"/>
                <a:gd name="connsiteY3439" fmla="*/ 228124 h 514350"/>
                <a:gd name="connsiteX3440" fmla="*/ 5676424 w 6400800"/>
                <a:gd name="connsiteY3440" fmla="*/ 246221 h 514350"/>
                <a:gd name="connsiteX3441" fmla="*/ 5677376 w 6400800"/>
                <a:gd name="connsiteY3441" fmla="*/ 266224 h 514350"/>
                <a:gd name="connsiteX3442" fmla="*/ 5678329 w 6400800"/>
                <a:gd name="connsiteY3442" fmla="*/ 276701 h 514350"/>
                <a:gd name="connsiteX3443" fmla="*/ 5678329 w 6400800"/>
                <a:gd name="connsiteY3443" fmla="*/ 276701 h 514350"/>
                <a:gd name="connsiteX3444" fmla="*/ 5675471 w 6400800"/>
                <a:gd name="connsiteY3444" fmla="*/ 259556 h 514350"/>
                <a:gd name="connsiteX3445" fmla="*/ 5672614 w 6400800"/>
                <a:gd name="connsiteY3445" fmla="*/ 242411 h 514350"/>
                <a:gd name="connsiteX3446" fmla="*/ 5669756 w 6400800"/>
                <a:gd name="connsiteY3446" fmla="*/ 223361 h 514350"/>
                <a:gd name="connsiteX3447" fmla="*/ 5668804 w 6400800"/>
                <a:gd name="connsiteY3447" fmla="*/ 216694 h 514350"/>
                <a:gd name="connsiteX3448" fmla="*/ 5676424 w 6400800"/>
                <a:gd name="connsiteY3448" fmla="*/ 184309 h 514350"/>
                <a:gd name="connsiteX3449" fmla="*/ 5652612 w 6400800"/>
                <a:gd name="connsiteY3449" fmla="*/ 263366 h 514350"/>
                <a:gd name="connsiteX3450" fmla="*/ 5653564 w 6400800"/>
                <a:gd name="connsiteY3450" fmla="*/ 261461 h 514350"/>
                <a:gd name="connsiteX3451" fmla="*/ 5655469 w 6400800"/>
                <a:gd name="connsiteY3451" fmla="*/ 264319 h 514350"/>
                <a:gd name="connsiteX3452" fmla="*/ 5655469 w 6400800"/>
                <a:gd name="connsiteY3452" fmla="*/ 268129 h 514350"/>
                <a:gd name="connsiteX3453" fmla="*/ 5657374 w 6400800"/>
                <a:gd name="connsiteY3453" fmla="*/ 286226 h 514350"/>
                <a:gd name="connsiteX3454" fmla="*/ 5652612 w 6400800"/>
                <a:gd name="connsiteY3454" fmla="*/ 269081 h 514350"/>
                <a:gd name="connsiteX3455" fmla="*/ 5651659 w 6400800"/>
                <a:gd name="connsiteY3455" fmla="*/ 267176 h 514350"/>
                <a:gd name="connsiteX3456" fmla="*/ 5652612 w 6400800"/>
                <a:gd name="connsiteY3456" fmla="*/ 263366 h 514350"/>
                <a:gd name="connsiteX3457" fmla="*/ 5650706 w 6400800"/>
                <a:gd name="connsiteY3457" fmla="*/ 205264 h 514350"/>
                <a:gd name="connsiteX3458" fmla="*/ 5651659 w 6400800"/>
                <a:gd name="connsiteY3458" fmla="*/ 212884 h 514350"/>
                <a:gd name="connsiteX3459" fmla="*/ 5649754 w 6400800"/>
                <a:gd name="connsiteY3459" fmla="*/ 207169 h 514350"/>
                <a:gd name="connsiteX3460" fmla="*/ 5650706 w 6400800"/>
                <a:gd name="connsiteY3460" fmla="*/ 205264 h 514350"/>
                <a:gd name="connsiteX3461" fmla="*/ 5647849 w 6400800"/>
                <a:gd name="connsiteY3461" fmla="*/ 209074 h 514350"/>
                <a:gd name="connsiteX3462" fmla="*/ 5649754 w 6400800"/>
                <a:gd name="connsiteY3462" fmla="*/ 219551 h 514350"/>
                <a:gd name="connsiteX3463" fmla="*/ 5651659 w 6400800"/>
                <a:gd name="connsiteY3463" fmla="*/ 235744 h 514350"/>
                <a:gd name="connsiteX3464" fmla="*/ 5651659 w 6400800"/>
                <a:gd name="connsiteY3464" fmla="*/ 236696 h 514350"/>
                <a:gd name="connsiteX3465" fmla="*/ 5645944 w 6400800"/>
                <a:gd name="connsiteY3465" fmla="*/ 228124 h 514350"/>
                <a:gd name="connsiteX3466" fmla="*/ 5644039 w 6400800"/>
                <a:gd name="connsiteY3466" fmla="*/ 216694 h 514350"/>
                <a:gd name="connsiteX3467" fmla="*/ 5647849 w 6400800"/>
                <a:gd name="connsiteY3467" fmla="*/ 209074 h 514350"/>
                <a:gd name="connsiteX3468" fmla="*/ 5642134 w 6400800"/>
                <a:gd name="connsiteY3468" fmla="*/ 370046 h 514350"/>
                <a:gd name="connsiteX3469" fmla="*/ 5643087 w 6400800"/>
                <a:gd name="connsiteY3469" fmla="*/ 377666 h 514350"/>
                <a:gd name="connsiteX3470" fmla="*/ 5641181 w 6400800"/>
                <a:gd name="connsiteY3470" fmla="*/ 385286 h 514350"/>
                <a:gd name="connsiteX3471" fmla="*/ 5642134 w 6400800"/>
                <a:gd name="connsiteY3471" fmla="*/ 370046 h 514350"/>
                <a:gd name="connsiteX3472" fmla="*/ 5624037 w 6400800"/>
                <a:gd name="connsiteY3472" fmla="*/ 272891 h 514350"/>
                <a:gd name="connsiteX3473" fmla="*/ 5625942 w 6400800"/>
                <a:gd name="connsiteY3473" fmla="*/ 258604 h 514350"/>
                <a:gd name="connsiteX3474" fmla="*/ 5625942 w 6400800"/>
                <a:gd name="connsiteY3474" fmla="*/ 254794 h 514350"/>
                <a:gd name="connsiteX3475" fmla="*/ 5632609 w 6400800"/>
                <a:gd name="connsiteY3475" fmla="*/ 241459 h 514350"/>
                <a:gd name="connsiteX3476" fmla="*/ 5634514 w 6400800"/>
                <a:gd name="connsiteY3476" fmla="*/ 236696 h 514350"/>
                <a:gd name="connsiteX3477" fmla="*/ 5637371 w 6400800"/>
                <a:gd name="connsiteY3477" fmla="*/ 245269 h 514350"/>
                <a:gd name="connsiteX3478" fmla="*/ 5640229 w 6400800"/>
                <a:gd name="connsiteY3478" fmla="*/ 259556 h 514350"/>
                <a:gd name="connsiteX3479" fmla="*/ 5640229 w 6400800"/>
                <a:gd name="connsiteY3479" fmla="*/ 266224 h 514350"/>
                <a:gd name="connsiteX3480" fmla="*/ 5631656 w 6400800"/>
                <a:gd name="connsiteY3480" fmla="*/ 288131 h 514350"/>
                <a:gd name="connsiteX3481" fmla="*/ 5624037 w 6400800"/>
                <a:gd name="connsiteY3481" fmla="*/ 277654 h 514350"/>
                <a:gd name="connsiteX3482" fmla="*/ 5624037 w 6400800"/>
                <a:gd name="connsiteY3482" fmla="*/ 272891 h 514350"/>
                <a:gd name="connsiteX3483" fmla="*/ 5623084 w 6400800"/>
                <a:gd name="connsiteY3483" fmla="*/ 289084 h 514350"/>
                <a:gd name="connsiteX3484" fmla="*/ 5623084 w 6400800"/>
                <a:gd name="connsiteY3484" fmla="*/ 287179 h 514350"/>
                <a:gd name="connsiteX3485" fmla="*/ 5624989 w 6400800"/>
                <a:gd name="connsiteY3485" fmla="*/ 290989 h 514350"/>
                <a:gd name="connsiteX3486" fmla="*/ 5626894 w 6400800"/>
                <a:gd name="connsiteY3486" fmla="*/ 298609 h 514350"/>
                <a:gd name="connsiteX3487" fmla="*/ 5625942 w 6400800"/>
                <a:gd name="connsiteY3487" fmla="*/ 300514 h 514350"/>
                <a:gd name="connsiteX3488" fmla="*/ 5625942 w 6400800"/>
                <a:gd name="connsiteY3488" fmla="*/ 300514 h 514350"/>
                <a:gd name="connsiteX3489" fmla="*/ 5622131 w 6400800"/>
                <a:gd name="connsiteY3489" fmla="*/ 295751 h 514350"/>
                <a:gd name="connsiteX3490" fmla="*/ 5623084 w 6400800"/>
                <a:gd name="connsiteY3490" fmla="*/ 289084 h 514350"/>
                <a:gd name="connsiteX3491" fmla="*/ 5621179 w 6400800"/>
                <a:gd name="connsiteY3491" fmla="*/ 310991 h 514350"/>
                <a:gd name="connsiteX3492" fmla="*/ 5621179 w 6400800"/>
                <a:gd name="connsiteY3492" fmla="*/ 310991 h 514350"/>
                <a:gd name="connsiteX3493" fmla="*/ 5621179 w 6400800"/>
                <a:gd name="connsiteY3493" fmla="*/ 310991 h 514350"/>
                <a:gd name="connsiteX3494" fmla="*/ 5621179 w 6400800"/>
                <a:gd name="connsiteY3494" fmla="*/ 310991 h 514350"/>
                <a:gd name="connsiteX3495" fmla="*/ 5618321 w 6400800"/>
                <a:gd name="connsiteY3495" fmla="*/ 270034 h 514350"/>
                <a:gd name="connsiteX3496" fmla="*/ 5618321 w 6400800"/>
                <a:gd name="connsiteY3496" fmla="*/ 270034 h 514350"/>
                <a:gd name="connsiteX3497" fmla="*/ 5618321 w 6400800"/>
                <a:gd name="connsiteY3497" fmla="*/ 270034 h 514350"/>
                <a:gd name="connsiteX3498" fmla="*/ 5618321 w 6400800"/>
                <a:gd name="connsiteY3498" fmla="*/ 270034 h 514350"/>
                <a:gd name="connsiteX3499" fmla="*/ 5617369 w 6400800"/>
                <a:gd name="connsiteY3499" fmla="*/ 272891 h 514350"/>
                <a:gd name="connsiteX3500" fmla="*/ 5618321 w 6400800"/>
                <a:gd name="connsiteY3500" fmla="*/ 273844 h 514350"/>
                <a:gd name="connsiteX3501" fmla="*/ 5616417 w 6400800"/>
                <a:gd name="connsiteY3501" fmla="*/ 286226 h 514350"/>
                <a:gd name="connsiteX3502" fmla="*/ 5613559 w 6400800"/>
                <a:gd name="connsiteY3502" fmla="*/ 282416 h 514350"/>
                <a:gd name="connsiteX3503" fmla="*/ 5617369 w 6400800"/>
                <a:gd name="connsiteY3503" fmla="*/ 272891 h 514350"/>
                <a:gd name="connsiteX3504" fmla="*/ 5608796 w 6400800"/>
                <a:gd name="connsiteY3504" fmla="*/ 290989 h 514350"/>
                <a:gd name="connsiteX3505" fmla="*/ 5608796 w 6400800"/>
                <a:gd name="connsiteY3505" fmla="*/ 290989 h 514350"/>
                <a:gd name="connsiteX3506" fmla="*/ 5611654 w 6400800"/>
                <a:gd name="connsiteY3506" fmla="*/ 294799 h 514350"/>
                <a:gd name="connsiteX3507" fmla="*/ 5613559 w 6400800"/>
                <a:gd name="connsiteY3507" fmla="*/ 297656 h 514350"/>
                <a:gd name="connsiteX3508" fmla="*/ 5611654 w 6400800"/>
                <a:gd name="connsiteY3508" fmla="*/ 310991 h 514350"/>
                <a:gd name="connsiteX3509" fmla="*/ 5608796 w 6400800"/>
                <a:gd name="connsiteY3509" fmla="*/ 292894 h 514350"/>
                <a:gd name="connsiteX3510" fmla="*/ 5608796 w 6400800"/>
                <a:gd name="connsiteY3510" fmla="*/ 290989 h 514350"/>
                <a:gd name="connsiteX3511" fmla="*/ 5594509 w 6400800"/>
                <a:gd name="connsiteY3511" fmla="*/ 241459 h 514350"/>
                <a:gd name="connsiteX3512" fmla="*/ 5595462 w 6400800"/>
                <a:gd name="connsiteY3512" fmla="*/ 258604 h 514350"/>
                <a:gd name="connsiteX3513" fmla="*/ 5595462 w 6400800"/>
                <a:gd name="connsiteY3513" fmla="*/ 259556 h 514350"/>
                <a:gd name="connsiteX3514" fmla="*/ 5595462 w 6400800"/>
                <a:gd name="connsiteY3514" fmla="*/ 261461 h 514350"/>
                <a:gd name="connsiteX3515" fmla="*/ 5593556 w 6400800"/>
                <a:gd name="connsiteY3515" fmla="*/ 259556 h 514350"/>
                <a:gd name="connsiteX3516" fmla="*/ 5592604 w 6400800"/>
                <a:gd name="connsiteY3516" fmla="*/ 250031 h 514350"/>
                <a:gd name="connsiteX3517" fmla="*/ 5594509 w 6400800"/>
                <a:gd name="connsiteY3517" fmla="*/ 241459 h 514350"/>
                <a:gd name="connsiteX3518" fmla="*/ 5578317 w 6400800"/>
                <a:gd name="connsiteY3518" fmla="*/ 284321 h 514350"/>
                <a:gd name="connsiteX3519" fmla="*/ 5578317 w 6400800"/>
                <a:gd name="connsiteY3519" fmla="*/ 286226 h 514350"/>
                <a:gd name="connsiteX3520" fmla="*/ 5577364 w 6400800"/>
                <a:gd name="connsiteY3520" fmla="*/ 285274 h 514350"/>
                <a:gd name="connsiteX3521" fmla="*/ 5578317 w 6400800"/>
                <a:gd name="connsiteY3521" fmla="*/ 284321 h 514350"/>
                <a:gd name="connsiteX3522" fmla="*/ 5573554 w 6400800"/>
                <a:gd name="connsiteY3522" fmla="*/ 299561 h 514350"/>
                <a:gd name="connsiteX3523" fmla="*/ 5576412 w 6400800"/>
                <a:gd name="connsiteY3523" fmla="*/ 305276 h 514350"/>
                <a:gd name="connsiteX3524" fmla="*/ 5577364 w 6400800"/>
                <a:gd name="connsiteY3524" fmla="*/ 307181 h 514350"/>
                <a:gd name="connsiteX3525" fmla="*/ 5576412 w 6400800"/>
                <a:gd name="connsiteY3525" fmla="*/ 325279 h 514350"/>
                <a:gd name="connsiteX3526" fmla="*/ 5576412 w 6400800"/>
                <a:gd name="connsiteY3526" fmla="*/ 328136 h 514350"/>
                <a:gd name="connsiteX3527" fmla="*/ 5575459 w 6400800"/>
                <a:gd name="connsiteY3527" fmla="*/ 319564 h 514350"/>
                <a:gd name="connsiteX3528" fmla="*/ 5573554 w 6400800"/>
                <a:gd name="connsiteY3528" fmla="*/ 303371 h 514350"/>
                <a:gd name="connsiteX3529" fmla="*/ 5573554 w 6400800"/>
                <a:gd name="connsiteY3529" fmla="*/ 299561 h 514350"/>
                <a:gd name="connsiteX3530" fmla="*/ 5550694 w 6400800"/>
                <a:gd name="connsiteY3530" fmla="*/ 308134 h 514350"/>
                <a:gd name="connsiteX3531" fmla="*/ 5549742 w 6400800"/>
                <a:gd name="connsiteY3531" fmla="*/ 301466 h 514350"/>
                <a:gd name="connsiteX3532" fmla="*/ 5551646 w 6400800"/>
                <a:gd name="connsiteY3532" fmla="*/ 294799 h 514350"/>
                <a:gd name="connsiteX3533" fmla="*/ 5552599 w 6400800"/>
                <a:gd name="connsiteY3533" fmla="*/ 291941 h 514350"/>
                <a:gd name="connsiteX3534" fmla="*/ 5554504 w 6400800"/>
                <a:gd name="connsiteY3534" fmla="*/ 302419 h 514350"/>
                <a:gd name="connsiteX3535" fmla="*/ 5552599 w 6400800"/>
                <a:gd name="connsiteY3535" fmla="*/ 306229 h 514350"/>
                <a:gd name="connsiteX3536" fmla="*/ 5550694 w 6400800"/>
                <a:gd name="connsiteY3536" fmla="*/ 308134 h 514350"/>
                <a:gd name="connsiteX3537" fmla="*/ 5557362 w 6400800"/>
                <a:gd name="connsiteY3537" fmla="*/ 313849 h 514350"/>
                <a:gd name="connsiteX3538" fmla="*/ 5557362 w 6400800"/>
                <a:gd name="connsiteY3538" fmla="*/ 313849 h 514350"/>
                <a:gd name="connsiteX3539" fmla="*/ 5553551 w 6400800"/>
                <a:gd name="connsiteY3539" fmla="*/ 318611 h 514350"/>
                <a:gd name="connsiteX3540" fmla="*/ 5556409 w 6400800"/>
                <a:gd name="connsiteY3540" fmla="*/ 310039 h 514350"/>
                <a:gd name="connsiteX3541" fmla="*/ 5557362 w 6400800"/>
                <a:gd name="connsiteY3541" fmla="*/ 313849 h 514350"/>
                <a:gd name="connsiteX3542" fmla="*/ 5557362 w 6400800"/>
                <a:gd name="connsiteY3542" fmla="*/ 313849 h 514350"/>
                <a:gd name="connsiteX3543" fmla="*/ 5561171 w 6400800"/>
                <a:gd name="connsiteY3543" fmla="*/ 359569 h 514350"/>
                <a:gd name="connsiteX3544" fmla="*/ 5561171 w 6400800"/>
                <a:gd name="connsiteY3544" fmla="*/ 361474 h 514350"/>
                <a:gd name="connsiteX3545" fmla="*/ 5560219 w 6400800"/>
                <a:gd name="connsiteY3545" fmla="*/ 360521 h 514350"/>
                <a:gd name="connsiteX3546" fmla="*/ 5558314 w 6400800"/>
                <a:gd name="connsiteY3546" fmla="*/ 350996 h 514350"/>
                <a:gd name="connsiteX3547" fmla="*/ 5560219 w 6400800"/>
                <a:gd name="connsiteY3547" fmla="*/ 342424 h 514350"/>
                <a:gd name="connsiteX3548" fmla="*/ 5561171 w 6400800"/>
                <a:gd name="connsiteY3548" fmla="*/ 359569 h 514350"/>
                <a:gd name="connsiteX3549" fmla="*/ 5559267 w 6400800"/>
                <a:gd name="connsiteY3549" fmla="*/ 303371 h 514350"/>
                <a:gd name="connsiteX3550" fmla="*/ 5559267 w 6400800"/>
                <a:gd name="connsiteY3550" fmla="*/ 303371 h 514350"/>
                <a:gd name="connsiteX3551" fmla="*/ 5559267 w 6400800"/>
                <a:gd name="connsiteY3551" fmla="*/ 303371 h 514350"/>
                <a:gd name="connsiteX3552" fmla="*/ 5559267 w 6400800"/>
                <a:gd name="connsiteY3552" fmla="*/ 303371 h 514350"/>
                <a:gd name="connsiteX3553" fmla="*/ 5557362 w 6400800"/>
                <a:gd name="connsiteY3553" fmla="*/ 277654 h 514350"/>
                <a:gd name="connsiteX3554" fmla="*/ 5558314 w 6400800"/>
                <a:gd name="connsiteY3554" fmla="*/ 283369 h 514350"/>
                <a:gd name="connsiteX3555" fmla="*/ 5559267 w 6400800"/>
                <a:gd name="connsiteY3555" fmla="*/ 293846 h 514350"/>
                <a:gd name="connsiteX3556" fmla="*/ 5557362 w 6400800"/>
                <a:gd name="connsiteY3556" fmla="*/ 296704 h 514350"/>
                <a:gd name="connsiteX3557" fmla="*/ 5554504 w 6400800"/>
                <a:gd name="connsiteY3557" fmla="*/ 287179 h 514350"/>
                <a:gd name="connsiteX3558" fmla="*/ 5557362 w 6400800"/>
                <a:gd name="connsiteY3558" fmla="*/ 277654 h 514350"/>
                <a:gd name="connsiteX3559" fmla="*/ 5553551 w 6400800"/>
                <a:gd name="connsiteY3559" fmla="*/ 252889 h 514350"/>
                <a:gd name="connsiteX3560" fmla="*/ 5553551 w 6400800"/>
                <a:gd name="connsiteY3560" fmla="*/ 252889 h 514350"/>
                <a:gd name="connsiteX3561" fmla="*/ 5553551 w 6400800"/>
                <a:gd name="connsiteY3561" fmla="*/ 253841 h 514350"/>
                <a:gd name="connsiteX3562" fmla="*/ 5555456 w 6400800"/>
                <a:gd name="connsiteY3562" fmla="*/ 268129 h 514350"/>
                <a:gd name="connsiteX3563" fmla="*/ 5555456 w 6400800"/>
                <a:gd name="connsiteY3563" fmla="*/ 270986 h 514350"/>
                <a:gd name="connsiteX3564" fmla="*/ 5552599 w 6400800"/>
                <a:gd name="connsiteY3564" fmla="*/ 275749 h 514350"/>
                <a:gd name="connsiteX3565" fmla="*/ 5549742 w 6400800"/>
                <a:gd name="connsiteY3565" fmla="*/ 280511 h 514350"/>
                <a:gd name="connsiteX3566" fmla="*/ 5549742 w 6400800"/>
                <a:gd name="connsiteY3566" fmla="*/ 280511 h 514350"/>
                <a:gd name="connsiteX3567" fmla="*/ 5549742 w 6400800"/>
                <a:gd name="connsiteY3567" fmla="*/ 280511 h 514350"/>
                <a:gd name="connsiteX3568" fmla="*/ 5545931 w 6400800"/>
                <a:gd name="connsiteY3568" fmla="*/ 286226 h 514350"/>
                <a:gd name="connsiteX3569" fmla="*/ 5544979 w 6400800"/>
                <a:gd name="connsiteY3569" fmla="*/ 281464 h 514350"/>
                <a:gd name="connsiteX3570" fmla="*/ 5546884 w 6400800"/>
                <a:gd name="connsiteY3570" fmla="*/ 275749 h 514350"/>
                <a:gd name="connsiteX3571" fmla="*/ 5549742 w 6400800"/>
                <a:gd name="connsiteY3571" fmla="*/ 261461 h 514350"/>
                <a:gd name="connsiteX3572" fmla="*/ 5553551 w 6400800"/>
                <a:gd name="connsiteY3572" fmla="*/ 252889 h 514350"/>
                <a:gd name="connsiteX3573" fmla="*/ 5548789 w 6400800"/>
                <a:gd name="connsiteY3573" fmla="*/ 226219 h 514350"/>
                <a:gd name="connsiteX3574" fmla="*/ 5549742 w 6400800"/>
                <a:gd name="connsiteY3574" fmla="*/ 230029 h 514350"/>
                <a:gd name="connsiteX3575" fmla="*/ 5550694 w 6400800"/>
                <a:gd name="connsiteY3575" fmla="*/ 234791 h 514350"/>
                <a:gd name="connsiteX3576" fmla="*/ 5547837 w 6400800"/>
                <a:gd name="connsiteY3576" fmla="*/ 230029 h 514350"/>
                <a:gd name="connsiteX3577" fmla="*/ 5548789 w 6400800"/>
                <a:gd name="connsiteY3577" fmla="*/ 226219 h 514350"/>
                <a:gd name="connsiteX3578" fmla="*/ 5546884 w 6400800"/>
                <a:gd name="connsiteY3578" fmla="*/ 235744 h 514350"/>
                <a:gd name="connsiteX3579" fmla="*/ 5550694 w 6400800"/>
                <a:gd name="connsiteY3579" fmla="*/ 244316 h 514350"/>
                <a:gd name="connsiteX3580" fmla="*/ 5544979 w 6400800"/>
                <a:gd name="connsiteY3580" fmla="*/ 259556 h 514350"/>
                <a:gd name="connsiteX3581" fmla="*/ 5544026 w 6400800"/>
                <a:gd name="connsiteY3581" fmla="*/ 262414 h 514350"/>
                <a:gd name="connsiteX3582" fmla="*/ 5543074 w 6400800"/>
                <a:gd name="connsiteY3582" fmla="*/ 257651 h 514350"/>
                <a:gd name="connsiteX3583" fmla="*/ 5542121 w 6400800"/>
                <a:gd name="connsiteY3583" fmla="*/ 254794 h 514350"/>
                <a:gd name="connsiteX3584" fmla="*/ 5546884 w 6400800"/>
                <a:gd name="connsiteY3584" fmla="*/ 235744 h 514350"/>
                <a:gd name="connsiteX3585" fmla="*/ 5540217 w 6400800"/>
                <a:gd name="connsiteY3585" fmla="*/ 218599 h 514350"/>
                <a:gd name="connsiteX3586" fmla="*/ 5539264 w 6400800"/>
                <a:gd name="connsiteY3586" fmla="*/ 220504 h 514350"/>
                <a:gd name="connsiteX3587" fmla="*/ 5538312 w 6400800"/>
                <a:gd name="connsiteY3587" fmla="*/ 223361 h 514350"/>
                <a:gd name="connsiteX3588" fmla="*/ 5536406 w 6400800"/>
                <a:gd name="connsiteY3588" fmla="*/ 210026 h 514350"/>
                <a:gd name="connsiteX3589" fmla="*/ 5540217 w 6400800"/>
                <a:gd name="connsiteY3589" fmla="*/ 218599 h 514350"/>
                <a:gd name="connsiteX3590" fmla="*/ 5507831 w 6400800"/>
                <a:gd name="connsiteY3590" fmla="*/ 312896 h 514350"/>
                <a:gd name="connsiteX3591" fmla="*/ 5507831 w 6400800"/>
                <a:gd name="connsiteY3591" fmla="*/ 312896 h 514350"/>
                <a:gd name="connsiteX3592" fmla="*/ 5507831 w 6400800"/>
                <a:gd name="connsiteY3592" fmla="*/ 313849 h 514350"/>
                <a:gd name="connsiteX3593" fmla="*/ 5507831 w 6400800"/>
                <a:gd name="connsiteY3593" fmla="*/ 312896 h 514350"/>
                <a:gd name="connsiteX3594" fmla="*/ 5481162 w 6400800"/>
                <a:gd name="connsiteY3594" fmla="*/ 326231 h 514350"/>
                <a:gd name="connsiteX3595" fmla="*/ 5480209 w 6400800"/>
                <a:gd name="connsiteY3595" fmla="*/ 330994 h 514350"/>
                <a:gd name="connsiteX3596" fmla="*/ 5479256 w 6400800"/>
                <a:gd name="connsiteY3596" fmla="*/ 324326 h 514350"/>
                <a:gd name="connsiteX3597" fmla="*/ 5479256 w 6400800"/>
                <a:gd name="connsiteY3597" fmla="*/ 322421 h 514350"/>
                <a:gd name="connsiteX3598" fmla="*/ 5478304 w 6400800"/>
                <a:gd name="connsiteY3598" fmla="*/ 311944 h 514350"/>
                <a:gd name="connsiteX3599" fmla="*/ 5482114 w 6400800"/>
                <a:gd name="connsiteY3599" fmla="*/ 325279 h 514350"/>
                <a:gd name="connsiteX3600" fmla="*/ 5481162 w 6400800"/>
                <a:gd name="connsiteY3600" fmla="*/ 326231 h 514350"/>
                <a:gd name="connsiteX3601" fmla="*/ 5493544 w 6400800"/>
                <a:gd name="connsiteY3601" fmla="*/ 339566 h 514350"/>
                <a:gd name="connsiteX3602" fmla="*/ 5493544 w 6400800"/>
                <a:gd name="connsiteY3602" fmla="*/ 339566 h 514350"/>
                <a:gd name="connsiteX3603" fmla="*/ 5493544 w 6400800"/>
                <a:gd name="connsiteY3603" fmla="*/ 339566 h 514350"/>
                <a:gd name="connsiteX3604" fmla="*/ 5493544 w 6400800"/>
                <a:gd name="connsiteY3604" fmla="*/ 339566 h 514350"/>
                <a:gd name="connsiteX3605" fmla="*/ 5488781 w 6400800"/>
                <a:gd name="connsiteY3605" fmla="*/ 261461 h 514350"/>
                <a:gd name="connsiteX3606" fmla="*/ 5488781 w 6400800"/>
                <a:gd name="connsiteY3606" fmla="*/ 261461 h 514350"/>
                <a:gd name="connsiteX3607" fmla="*/ 5490687 w 6400800"/>
                <a:gd name="connsiteY3607" fmla="*/ 267176 h 514350"/>
                <a:gd name="connsiteX3608" fmla="*/ 5487829 w 6400800"/>
                <a:gd name="connsiteY3608" fmla="*/ 264319 h 514350"/>
                <a:gd name="connsiteX3609" fmla="*/ 5488781 w 6400800"/>
                <a:gd name="connsiteY3609" fmla="*/ 261461 h 514350"/>
                <a:gd name="connsiteX3610" fmla="*/ 5483067 w 6400800"/>
                <a:gd name="connsiteY3610" fmla="*/ 280511 h 514350"/>
                <a:gd name="connsiteX3611" fmla="*/ 5484971 w 6400800"/>
                <a:gd name="connsiteY3611" fmla="*/ 272891 h 514350"/>
                <a:gd name="connsiteX3612" fmla="*/ 5496401 w 6400800"/>
                <a:gd name="connsiteY3612" fmla="*/ 291941 h 514350"/>
                <a:gd name="connsiteX3613" fmla="*/ 5500212 w 6400800"/>
                <a:gd name="connsiteY3613" fmla="*/ 297656 h 514350"/>
                <a:gd name="connsiteX3614" fmla="*/ 5497354 w 6400800"/>
                <a:gd name="connsiteY3614" fmla="*/ 307181 h 514350"/>
                <a:gd name="connsiteX3615" fmla="*/ 5496401 w 6400800"/>
                <a:gd name="connsiteY3615" fmla="*/ 310991 h 514350"/>
                <a:gd name="connsiteX3616" fmla="*/ 5493544 w 6400800"/>
                <a:gd name="connsiteY3616" fmla="*/ 307181 h 514350"/>
                <a:gd name="connsiteX3617" fmla="*/ 5495449 w 6400800"/>
                <a:gd name="connsiteY3617" fmla="*/ 311944 h 514350"/>
                <a:gd name="connsiteX3618" fmla="*/ 5494496 w 6400800"/>
                <a:gd name="connsiteY3618" fmla="*/ 319564 h 514350"/>
                <a:gd name="connsiteX3619" fmla="*/ 5492592 w 6400800"/>
                <a:gd name="connsiteY3619" fmla="*/ 330041 h 514350"/>
                <a:gd name="connsiteX3620" fmla="*/ 5488781 w 6400800"/>
                <a:gd name="connsiteY3620" fmla="*/ 333851 h 514350"/>
                <a:gd name="connsiteX3621" fmla="*/ 5485924 w 6400800"/>
                <a:gd name="connsiteY3621" fmla="*/ 327184 h 514350"/>
                <a:gd name="connsiteX3622" fmla="*/ 5487829 w 6400800"/>
                <a:gd name="connsiteY3622" fmla="*/ 312896 h 514350"/>
                <a:gd name="connsiteX3623" fmla="*/ 5489734 w 6400800"/>
                <a:gd name="connsiteY3623" fmla="*/ 299561 h 514350"/>
                <a:gd name="connsiteX3624" fmla="*/ 5484019 w 6400800"/>
                <a:gd name="connsiteY3624" fmla="*/ 311944 h 514350"/>
                <a:gd name="connsiteX3625" fmla="*/ 5483067 w 6400800"/>
                <a:gd name="connsiteY3625" fmla="*/ 313849 h 514350"/>
                <a:gd name="connsiteX3626" fmla="*/ 5483067 w 6400800"/>
                <a:gd name="connsiteY3626" fmla="*/ 312896 h 514350"/>
                <a:gd name="connsiteX3627" fmla="*/ 5478304 w 6400800"/>
                <a:gd name="connsiteY3627" fmla="*/ 292894 h 514350"/>
                <a:gd name="connsiteX3628" fmla="*/ 5479256 w 6400800"/>
                <a:gd name="connsiteY3628" fmla="*/ 309086 h 514350"/>
                <a:gd name="connsiteX3629" fmla="*/ 5479256 w 6400800"/>
                <a:gd name="connsiteY3629" fmla="*/ 308134 h 514350"/>
                <a:gd name="connsiteX3630" fmla="*/ 5476399 w 6400800"/>
                <a:gd name="connsiteY3630" fmla="*/ 300514 h 514350"/>
                <a:gd name="connsiteX3631" fmla="*/ 5483067 w 6400800"/>
                <a:gd name="connsiteY3631" fmla="*/ 280511 h 514350"/>
                <a:gd name="connsiteX3632" fmla="*/ 5472589 w 6400800"/>
                <a:gd name="connsiteY3632" fmla="*/ 254794 h 514350"/>
                <a:gd name="connsiteX3633" fmla="*/ 5475446 w 6400800"/>
                <a:gd name="connsiteY3633" fmla="*/ 258604 h 514350"/>
                <a:gd name="connsiteX3634" fmla="*/ 5471637 w 6400800"/>
                <a:gd name="connsiteY3634" fmla="*/ 268129 h 514350"/>
                <a:gd name="connsiteX3635" fmla="*/ 5468779 w 6400800"/>
                <a:gd name="connsiteY3635" fmla="*/ 249079 h 514350"/>
                <a:gd name="connsiteX3636" fmla="*/ 5472589 w 6400800"/>
                <a:gd name="connsiteY3636" fmla="*/ 254794 h 514350"/>
                <a:gd name="connsiteX3637" fmla="*/ 5452587 w 6400800"/>
                <a:gd name="connsiteY3637" fmla="*/ 208121 h 514350"/>
                <a:gd name="connsiteX3638" fmla="*/ 5452587 w 6400800"/>
                <a:gd name="connsiteY3638" fmla="*/ 210026 h 514350"/>
                <a:gd name="connsiteX3639" fmla="*/ 5454492 w 6400800"/>
                <a:gd name="connsiteY3639" fmla="*/ 225266 h 514350"/>
                <a:gd name="connsiteX3640" fmla="*/ 5454492 w 6400800"/>
                <a:gd name="connsiteY3640" fmla="*/ 228124 h 514350"/>
                <a:gd name="connsiteX3641" fmla="*/ 5450681 w 6400800"/>
                <a:gd name="connsiteY3641" fmla="*/ 225266 h 514350"/>
                <a:gd name="connsiteX3642" fmla="*/ 5452587 w 6400800"/>
                <a:gd name="connsiteY3642" fmla="*/ 208121 h 514350"/>
                <a:gd name="connsiteX3643" fmla="*/ 5449729 w 6400800"/>
                <a:gd name="connsiteY3643" fmla="*/ 250031 h 514350"/>
                <a:gd name="connsiteX3644" fmla="*/ 5451634 w 6400800"/>
                <a:gd name="connsiteY3644" fmla="*/ 228124 h 514350"/>
                <a:gd name="connsiteX3645" fmla="*/ 5453539 w 6400800"/>
                <a:gd name="connsiteY3645" fmla="*/ 230029 h 514350"/>
                <a:gd name="connsiteX3646" fmla="*/ 5455444 w 6400800"/>
                <a:gd name="connsiteY3646" fmla="*/ 232886 h 514350"/>
                <a:gd name="connsiteX3647" fmla="*/ 5456396 w 6400800"/>
                <a:gd name="connsiteY3647" fmla="*/ 243364 h 514350"/>
                <a:gd name="connsiteX3648" fmla="*/ 5459254 w 6400800"/>
                <a:gd name="connsiteY3648" fmla="*/ 282416 h 514350"/>
                <a:gd name="connsiteX3649" fmla="*/ 5460206 w 6400800"/>
                <a:gd name="connsiteY3649" fmla="*/ 299561 h 514350"/>
                <a:gd name="connsiteX3650" fmla="*/ 5455444 w 6400800"/>
                <a:gd name="connsiteY3650" fmla="*/ 313849 h 514350"/>
                <a:gd name="connsiteX3651" fmla="*/ 5447824 w 6400800"/>
                <a:gd name="connsiteY3651" fmla="*/ 280511 h 514350"/>
                <a:gd name="connsiteX3652" fmla="*/ 5446871 w 6400800"/>
                <a:gd name="connsiteY3652" fmla="*/ 276701 h 514350"/>
                <a:gd name="connsiteX3653" fmla="*/ 5449729 w 6400800"/>
                <a:gd name="connsiteY3653" fmla="*/ 250031 h 514350"/>
                <a:gd name="connsiteX3654" fmla="*/ 5443062 w 6400800"/>
                <a:gd name="connsiteY3654" fmla="*/ 327184 h 514350"/>
                <a:gd name="connsiteX3655" fmla="*/ 5445919 w 6400800"/>
                <a:gd name="connsiteY3655" fmla="*/ 343376 h 514350"/>
                <a:gd name="connsiteX3656" fmla="*/ 5443062 w 6400800"/>
                <a:gd name="connsiteY3656" fmla="*/ 334804 h 514350"/>
                <a:gd name="connsiteX3657" fmla="*/ 5443062 w 6400800"/>
                <a:gd name="connsiteY3657" fmla="*/ 327184 h 514350"/>
                <a:gd name="connsiteX3658" fmla="*/ 5417344 w 6400800"/>
                <a:gd name="connsiteY3658" fmla="*/ 318611 h 514350"/>
                <a:gd name="connsiteX3659" fmla="*/ 5419249 w 6400800"/>
                <a:gd name="connsiteY3659" fmla="*/ 312896 h 514350"/>
                <a:gd name="connsiteX3660" fmla="*/ 5421154 w 6400800"/>
                <a:gd name="connsiteY3660" fmla="*/ 320516 h 514350"/>
                <a:gd name="connsiteX3661" fmla="*/ 5421154 w 6400800"/>
                <a:gd name="connsiteY3661" fmla="*/ 321469 h 514350"/>
                <a:gd name="connsiteX3662" fmla="*/ 5421154 w 6400800"/>
                <a:gd name="connsiteY3662" fmla="*/ 320516 h 514350"/>
                <a:gd name="connsiteX3663" fmla="*/ 5421154 w 6400800"/>
                <a:gd name="connsiteY3663" fmla="*/ 322421 h 514350"/>
                <a:gd name="connsiteX3664" fmla="*/ 5418296 w 6400800"/>
                <a:gd name="connsiteY3664" fmla="*/ 331946 h 514350"/>
                <a:gd name="connsiteX3665" fmla="*/ 5417344 w 6400800"/>
                <a:gd name="connsiteY3665" fmla="*/ 329089 h 514350"/>
                <a:gd name="connsiteX3666" fmla="*/ 5417344 w 6400800"/>
                <a:gd name="connsiteY3666" fmla="*/ 318611 h 514350"/>
                <a:gd name="connsiteX3667" fmla="*/ 5416392 w 6400800"/>
                <a:gd name="connsiteY3667" fmla="*/ 334804 h 514350"/>
                <a:gd name="connsiteX3668" fmla="*/ 5417344 w 6400800"/>
                <a:gd name="connsiteY3668" fmla="*/ 335756 h 514350"/>
                <a:gd name="connsiteX3669" fmla="*/ 5416392 w 6400800"/>
                <a:gd name="connsiteY3669" fmla="*/ 337661 h 514350"/>
                <a:gd name="connsiteX3670" fmla="*/ 5416392 w 6400800"/>
                <a:gd name="connsiteY3670" fmla="*/ 334804 h 514350"/>
                <a:gd name="connsiteX3671" fmla="*/ 5405914 w 6400800"/>
                <a:gd name="connsiteY3671" fmla="*/ 325279 h 514350"/>
                <a:gd name="connsiteX3672" fmla="*/ 5407819 w 6400800"/>
                <a:gd name="connsiteY3672" fmla="*/ 271939 h 514350"/>
                <a:gd name="connsiteX3673" fmla="*/ 5407819 w 6400800"/>
                <a:gd name="connsiteY3673" fmla="*/ 267176 h 514350"/>
                <a:gd name="connsiteX3674" fmla="*/ 5414487 w 6400800"/>
                <a:gd name="connsiteY3674" fmla="*/ 292894 h 514350"/>
                <a:gd name="connsiteX3675" fmla="*/ 5414487 w 6400800"/>
                <a:gd name="connsiteY3675" fmla="*/ 293846 h 514350"/>
                <a:gd name="connsiteX3676" fmla="*/ 5411629 w 6400800"/>
                <a:gd name="connsiteY3676" fmla="*/ 303371 h 514350"/>
                <a:gd name="connsiteX3677" fmla="*/ 5404962 w 6400800"/>
                <a:gd name="connsiteY3677" fmla="*/ 331946 h 514350"/>
                <a:gd name="connsiteX3678" fmla="*/ 5404962 w 6400800"/>
                <a:gd name="connsiteY3678" fmla="*/ 332899 h 514350"/>
                <a:gd name="connsiteX3679" fmla="*/ 5405914 w 6400800"/>
                <a:gd name="connsiteY3679" fmla="*/ 325279 h 514350"/>
                <a:gd name="connsiteX3680" fmla="*/ 5384006 w 6400800"/>
                <a:gd name="connsiteY3680" fmla="*/ 310991 h 514350"/>
                <a:gd name="connsiteX3681" fmla="*/ 5386864 w 6400800"/>
                <a:gd name="connsiteY3681" fmla="*/ 334804 h 514350"/>
                <a:gd name="connsiteX3682" fmla="*/ 5384959 w 6400800"/>
                <a:gd name="connsiteY3682" fmla="*/ 341471 h 514350"/>
                <a:gd name="connsiteX3683" fmla="*/ 5382101 w 6400800"/>
                <a:gd name="connsiteY3683" fmla="*/ 325279 h 514350"/>
                <a:gd name="connsiteX3684" fmla="*/ 5378292 w 6400800"/>
                <a:gd name="connsiteY3684" fmla="*/ 305276 h 514350"/>
                <a:gd name="connsiteX3685" fmla="*/ 5381149 w 6400800"/>
                <a:gd name="connsiteY3685" fmla="*/ 294799 h 514350"/>
                <a:gd name="connsiteX3686" fmla="*/ 5384006 w 6400800"/>
                <a:gd name="connsiteY3686" fmla="*/ 310991 h 514350"/>
                <a:gd name="connsiteX3687" fmla="*/ 5379244 w 6400800"/>
                <a:gd name="connsiteY3687" fmla="*/ 274796 h 514350"/>
                <a:gd name="connsiteX3688" fmla="*/ 5379244 w 6400800"/>
                <a:gd name="connsiteY3688" fmla="*/ 271939 h 514350"/>
                <a:gd name="connsiteX3689" fmla="*/ 5381149 w 6400800"/>
                <a:gd name="connsiteY3689" fmla="*/ 284321 h 514350"/>
                <a:gd name="connsiteX3690" fmla="*/ 5380196 w 6400800"/>
                <a:gd name="connsiteY3690" fmla="*/ 285274 h 514350"/>
                <a:gd name="connsiteX3691" fmla="*/ 5378292 w 6400800"/>
                <a:gd name="connsiteY3691" fmla="*/ 290036 h 514350"/>
                <a:gd name="connsiteX3692" fmla="*/ 5379244 w 6400800"/>
                <a:gd name="connsiteY3692" fmla="*/ 274796 h 514350"/>
                <a:gd name="connsiteX3693" fmla="*/ 5332571 w 6400800"/>
                <a:gd name="connsiteY3693" fmla="*/ 321469 h 514350"/>
                <a:gd name="connsiteX3694" fmla="*/ 5338287 w 6400800"/>
                <a:gd name="connsiteY3694" fmla="*/ 309086 h 514350"/>
                <a:gd name="connsiteX3695" fmla="*/ 5338287 w 6400800"/>
                <a:gd name="connsiteY3695" fmla="*/ 310039 h 514350"/>
                <a:gd name="connsiteX3696" fmla="*/ 5326856 w 6400800"/>
                <a:gd name="connsiteY3696" fmla="*/ 351949 h 514350"/>
                <a:gd name="connsiteX3697" fmla="*/ 5323999 w 6400800"/>
                <a:gd name="connsiteY3697" fmla="*/ 336709 h 514350"/>
                <a:gd name="connsiteX3698" fmla="*/ 5332571 w 6400800"/>
                <a:gd name="connsiteY3698" fmla="*/ 321469 h 514350"/>
                <a:gd name="connsiteX3699" fmla="*/ 5319237 w 6400800"/>
                <a:gd name="connsiteY3699" fmla="*/ 350996 h 514350"/>
                <a:gd name="connsiteX3700" fmla="*/ 5323046 w 6400800"/>
                <a:gd name="connsiteY3700" fmla="*/ 342424 h 514350"/>
                <a:gd name="connsiteX3701" fmla="*/ 5322094 w 6400800"/>
                <a:gd name="connsiteY3701" fmla="*/ 371951 h 514350"/>
                <a:gd name="connsiteX3702" fmla="*/ 5319237 w 6400800"/>
                <a:gd name="connsiteY3702" fmla="*/ 362426 h 514350"/>
                <a:gd name="connsiteX3703" fmla="*/ 5319237 w 6400800"/>
                <a:gd name="connsiteY3703" fmla="*/ 350996 h 514350"/>
                <a:gd name="connsiteX3704" fmla="*/ 5316379 w 6400800"/>
                <a:gd name="connsiteY3704" fmla="*/ 392906 h 514350"/>
                <a:gd name="connsiteX3705" fmla="*/ 5317331 w 6400800"/>
                <a:gd name="connsiteY3705" fmla="*/ 382429 h 514350"/>
                <a:gd name="connsiteX3706" fmla="*/ 5318284 w 6400800"/>
                <a:gd name="connsiteY3706" fmla="*/ 390049 h 514350"/>
                <a:gd name="connsiteX3707" fmla="*/ 5315426 w 6400800"/>
                <a:gd name="connsiteY3707" fmla="*/ 399574 h 514350"/>
                <a:gd name="connsiteX3708" fmla="*/ 5316379 w 6400800"/>
                <a:gd name="connsiteY3708" fmla="*/ 392906 h 514350"/>
                <a:gd name="connsiteX3709" fmla="*/ 5285899 w 6400800"/>
                <a:gd name="connsiteY3709" fmla="*/ 293846 h 514350"/>
                <a:gd name="connsiteX3710" fmla="*/ 5286851 w 6400800"/>
                <a:gd name="connsiteY3710" fmla="*/ 298609 h 514350"/>
                <a:gd name="connsiteX3711" fmla="*/ 5283994 w 6400800"/>
                <a:gd name="connsiteY3711" fmla="*/ 302419 h 514350"/>
                <a:gd name="connsiteX3712" fmla="*/ 5285899 w 6400800"/>
                <a:gd name="connsiteY3712" fmla="*/ 293846 h 514350"/>
                <a:gd name="connsiteX3713" fmla="*/ 5279231 w 6400800"/>
                <a:gd name="connsiteY3713" fmla="*/ 319564 h 514350"/>
                <a:gd name="connsiteX3714" fmla="*/ 5282089 w 6400800"/>
                <a:gd name="connsiteY3714" fmla="*/ 311944 h 514350"/>
                <a:gd name="connsiteX3715" fmla="*/ 5287804 w 6400800"/>
                <a:gd name="connsiteY3715" fmla="*/ 302419 h 514350"/>
                <a:gd name="connsiteX3716" fmla="*/ 5288756 w 6400800"/>
                <a:gd name="connsiteY3716" fmla="*/ 309086 h 514350"/>
                <a:gd name="connsiteX3717" fmla="*/ 5292567 w 6400800"/>
                <a:gd name="connsiteY3717" fmla="*/ 340519 h 514350"/>
                <a:gd name="connsiteX3718" fmla="*/ 5287804 w 6400800"/>
                <a:gd name="connsiteY3718" fmla="*/ 363379 h 514350"/>
                <a:gd name="connsiteX3719" fmla="*/ 5287804 w 6400800"/>
                <a:gd name="connsiteY3719" fmla="*/ 351949 h 514350"/>
                <a:gd name="connsiteX3720" fmla="*/ 5287804 w 6400800"/>
                <a:gd name="connsiteY3720" fmla="*/ 335756 h 514350"/>
                <a:gd name="connsiteX3721" fmla="*/ 5283994 w 6400800"/>
                <a:gd name="connsiteY3721" fmla="*/ 350996 h 514350"/>
                <a:gd name="connsiteX3722" fmla="*/ 5280184 w 6400800"/>
                <a:gd name="connsiteY3722" fmla="*/ 369094 h 514350"/>
                <a:gd name="connsiteX3723" fmla="*/ 5280184 w 6400800"/>
                <a:gd name="connsiteY3723" fmla="*/ 370046 h 514350"/>
                <a:gd name="connsiteX3724" fmla="*/ 5277326 w 6400800"/>
                <a:gd name="connsiteY3724" fmla="*/ 350044 h 514350"/>
                <a:gd name="connsiteX3725" fmla="*/ 5275421 w 6400800"/>
                <a:gd name="connsiteY3725" fmla="*/ 335756 h 514350"/>
                <a:gd name="connsiteX3726" fmla="*/ 5279231 w 6400800"/>
                <a:gd name="connsiteY3726" fmla="*/ 319564 h 514350"/>
                <a:gd name="connsiteX3727" fmla="*/ 5236369 w 6400800"/>
                <a:gd name="connsiteY3727" fmla="*/ 318611 h 514350"/>
                <a:gd name="connsiteX3728" fmla="*/ 5235417 w 6400800"/>
                <a:gd name="connsiteY3728" fmla="*/ 320516 h 514350"/>
                <a:gd name="connsiteX3729" fmla="*/ 5230654 w 6400800"/>
                <a:gd name="connsiteY3729" fmla="*/ 311944 h 514350"/>
                <a:gd name="connsiteX3730" fmla="*/ 5230654 w 6400800"/>
                <a:gd name="connsiteY3730" fmla="*/ 310991 h 514350"/>
                <a:gd name="connsiteX3731" fmla="*/ 5239226 w 6400800"/>
                <a:gd name="connsiteY3731" fmla="*/ 295751 h 514350"/>
                <a:gd name="connsiteX3732" fmla="*/ 5236369 w 6400800"/>
                <a:gd name="connsiteY3732" fmla="*/ 318611 h 514350"/>
                <a:gd name="connsiteX3733" fmla="*/ 5230654 w 6400800"/>
                <a:gd name="connsiteY3733" fmla="*/ 281464 h 514350"/>
                <a:gd name="connsiteX3734" fmla="*/ 5237321 w 6400800"/>
                <a:gd name="connsiteY3734" fmla="*/ 265271 h 514350"/>
                <a:gd name="connsiteX3735" fmla="*/ 5243989 w 6400800"/>
                <a:gd name="connsiteY3735" fmla="*/ 251936 h 514350"/>
                <a:gd name="connsiteX3736" fmla="*/ 5242084 w 6400800"/>
                <a:gd name="connsiteY3736" fmla="*/ 264319 h 514350"/>
                <a:gd name="connsiteX3737" fmla="*/ 5240179 w 6400800"/>
                <a:gd name="connsiteY3737" fmla="*/ 283369 h 514350"/>
                <a:gd name="connsiteX3738" fmla="*/ 5228749 w 6400800"/>
                <a:gd name="connsiteY3738" fmla="*/ 299561 h 514350"/>
                <a:gd name="connsiteX3739" fmla="*/ 5227796 w 6400800"/>
                <a:gd name="connsiteY3739" fmla="*/ 290036 h 514350"/>
                <a:gd name="connsiteX3740" fmla="*/ 5230654 w 6400800"/>
                <a:gd name="connsiteY3740" fmla="*/ 281464 h 514350"/>
                <a:gd name="connsiteX3741" fmla="*/ 5211604 w 6400800"/>
                <a:gd name="connsiteY3741" fmla="*/ 344329 h 514350"/>
                <a:gd name="connsiteX3742" fmla="*/ 5213509 w 6400800"/>
                <a:gd name="connsiteY3742" fmla="*/ 341471 h 514350"/>
                <a:gd name="connsiteX3743" fmla="*/ 5213509 w 6400800"/>
                <a:gd name="connsiteY3743" fmla="*/ 341471 h 514350"/>
                <a:gd name="connsiteX3744" fmla="*/ 5213509 w 6400800"/>
                <a:gd name="connsiteY3744" fmla="*/ 342424 h 514350"/>
                <a:gd name="connsiteX3745" fmla="*/ 5211604 w 6400800"/>
                <a:gd name="connsiteY3745" fmla="*/ 344329 h 514350"/>
                <a:gd name="connsiteX3746" fmla="*/ 5211604 w 6400800"/>
                <a:gd name="connsiteY3746" fmla="*/ 344329 h 514350"/>
                <a:gd name="connsiteX3747" fmla="*/ 5214462 w 6400800"/>
                <a:gd name="connsiteY3747" fmla="*/ 343376 h 514350"/>
                <a:gd name="connsiteX3748" fmla="*/ 5216367 w 6400800"/>
                <a:gd name="connsiteY3748" fmla="*/ 348139 h 514350"/>
                <a:gd name="connsiteX3749" fmla="*/ 5213509 w 6400800"/>
                <a:gd name="connsiteY3749" fmla="*/ 352901 h 514350"/>
                <a:gd name="connsiteX3750" fmla="*/ 5212556 w 6400800"/>
                <a:gd name="connsiteY3750" fmla="*/ 350996 h 514350"/>
                <a:gd name="connsiteX3751" fmla="*/ 5212556 w 6400800"/>
                <a:gd name="connsiteY3751" fmla="*/ 349091 h 514350"/>
                <a:gd name="connsiteX3752" fmla="*/ 5214462 w 6400800"/>
                <a:gd name="connsiteY3752" fmla="*/ 343376 h 514350"/>
                <a:gd name="connsiteX3753" fmla="*/ 5214462 w 6400800"/>
                <a:gd name="connsiteY3753" fmla="*/ 343376 h 514350"/>
                <a:gd name="connsiteX3754" fmla="*/ 5211604 w 6400800"/>
                <a:gd name="connsiteY3754" fmla="*/ 290989 h 514350"/>
                <a:gd name="connsiteX3755" fmla="*/ 5211604 w 6400800"/>
                <a:gd name="connsiteY3755" fmla="*/ 290989 h 514350"/>
                <a:gd name="connsiteX3756" fmla="*/ 5213509 w 6400800"/>
                <a:gd name="connsiteY3756" fmla="*/ 296704 h 514350"/>
                <a:gd name="connsiteX3757" fmla="*/ 5210651 w 6400800"/>
                <a:gd name="connsiteY3757" fmla="*/ 302419 h 514350"/>
                <a:gd name="connsiteX3758" fmla="*/ 5211604 w 6400800"/>
                <a:gd name="connsiteY3758" fmla="*/ 290989 h 514350"/>
                <a:gd name="connsiteX3759" fmla="*/ 5189696 w 6400800"/>
                <a:gd name="connsiteY3759" fmla="*/ 260509 h 514350"/>
                <a:gd name="connsiteX3760" fmla="*/ 5189696 w 6400800"/>
                <a:gd name="connsiteY3760" fmla="*/ 264319 h 514350"/>
                <a:gd name="connsiteX3761" fmla="*/ 5186839 w 6400800"/>
                <a:gd name="connsiteY3761" fmla="*/ 258604 h 514350"/>
                <a:gd name="connsiteX3762" fmla="*/ 5187792 w 6400800"/>
                <a:gd name="connsiteY3762" fmla="*/ 257651 h 514350"/>
                <a:gd name="connsiteX3763" fmla="*/ 5189696 w 6400800"/>
                <a:gd name="connsiteY3763" fmla="*/ 253841 h 514350"/>
                <a:gd name="connsiteX3764" fmla="*/ 5189696 w 6400800"/>
                <a:gd name="connsiteY3764" fmla="*/ 260509 h 514350"/>
                <a:gd name="connsiteX3765" fmla="*/ 5178267 w 6400800"/>
                <a:gd name="connsiteY3765" fmla="*/ 230981 h 514350"/>
                <a:gd name="connsiteX3766" fmla="*/ 5186839 w 6400800"/>
                <a:gd name="connsiteY3766" fmla="*/ 213836 h 514350"/>
                <a:gd name="connsiteX3767" fmla="*/ 5188744 w 6400800"/>
                <a:gd name="connsiteY3767" fmla="*/ 210026 h 514350"/>
                <a:gd name="connsiteX3768" fmla="*/ 5188744 w 6400800"/>
                <a:gd name="connsiteY3768" fmla="*/ 219551 h 514350"/>
                <a:gd name="connsiteX3769" fmla="*/ 5188744 w 6400800"/>
                <a:gd name="connsiteY3769" fmla="*/ 254794 h 514350"/>
                <a:gd name="connsiteX3770" fmla="*/ 5185887 w 6400800"/>
                <a:gd name="connsiteY3770" fmla="*/ 258604 h 514350"/>
                <a:gd name="connsiteX3771" fmla="*/ 5185887 w 6400800"/>
                <a:gd name="connsiteY3771" fmla="*/ 258604 h 514350"/>
                <a:gd name="connsiteX3772" fmla="*/ 5178267 w 6400800"/>
                <a:gd name="connsiteY3772" fmla="*/ 243364 h 514350"/>
                <a:gd name="connsiteX3773" fmla="*/ 5175409 w 6400800"/>
                <a:gd name="connsiteY3773" fmla="*/ 238601 h 514350"/>
                <a:gd name="connsiteX3774" fmla="*/ 5178267 w 6400800"/>
                <a:gd name="connsiteY3774" fmla="*/ 230981 h 514350"/>
                <a:gd name="connsiteX3775" fmla="*/ 5168742 w 6400800"/>
                <a:gd name="connsiteY3775" fmla="*/ 238601 h 514350"/>
                <a:gd name="connsiteX3776" fmla="*/ 5168742 w 6400800"/>
                <a:gd name="connsiteY3776" fmla="*/ 238601 h 514350"/>
                <a:gd name="connsiteX3777" fmla="*/ 5168742 w 6400800"/>
                <a:gd name="connsiteY3777" fmla="*/ 238601 h 514350"/>
                <a:gd name="connsiteX3778" fmla="*/ 5168742 w 6400800"/>
                <a:gd name="connsiteY3778" fmla="*/ 238601 h 514350"/>
                <a:gd name="connsiteX3779" fmla="*/ 5166837 w 6400800"/>
                <a:gd name="connsiteY3779" fmla="*/ 280511 h 514350"/>
                <a:gd name="connsiteX3780" fmla="*/ 5167789 w 6400800"/>
                <a:gd name="connsiteY3780" fmla="*/ 259556 h 514350"/>
                <a:gd name="connsiteX3781" fmla="*/ 5167789 w 6400800"/>
                <a:gd name="connsiteY3781" fmla="*/ 259556 h 514350"/>
                <a:gd name="connsiteX3782" fmla="*/ 5171599 w 6400800"/>
                <a:gd name="connsiteY3782" fmla="*/ 248126 h 514350"/>
                <a:gd name="connsiteX3783" fmla="*/ 5177314 w 6400800"/>
                <a:gd name="connsiteY3783" fmla="*/ 263366 h 514350"/>
                <a:gd name="connsiteX3784" fmla="*/ 5179219 w 6400800"/>
                <a:gd name="connsiteY3784" fmla="*/ 267176 h 514350"/>
                <a:gd name="connsiteX3785" fmla="*/ 5176362 w 6400800"/>
                <a:gd name="connsiteY3785" fmla="*/ 271939 h 514350"/>
                <a:gd name="connsiteX3786" fmla="*/ 5166837 w 6400800"/>
                <a:gd name="connsiteY3786" fmla="*/ 287179 h 514350"/>
                <a:gd name="connsiteX3787" fmla="*/ 5166837 w 6400800"/>
                <a:gd name="connsiteY3787" fmla="*/ 280511 h 514350"/>
                <a:gd name="connsiteX3788" fmla="*/ 5166837 w 6400800"/>
                <a:gd name="connsiteY3788" fmla="*/ 307181 h 514350"/>
                <a:gd name="connsiteX3789" fmla="*/ 5170646 w 6400800"/>
                <a:gd name="connsiteY3789" fmla="*/ 296704 h 514350"/>
                <a:gd name="connsiteX3790" fmla="*/ 5171599 w 6400800"/>
                <a:gd name="connsiteY3790" fmla="*/ 293846 h 514350"/>
                <a:gd name="connsiteX3791" fmla="*/ 5176362 w 6400800"/>
                <a:gd name="connsiteY3791" fmla="*/ 289084 h 514350"/>
                <a:gd name="connsiteX3792" fmla="*/ 5181124 w 6400800"/>
                <a:gd name="connsiteY3792" fmla="*/ 284321 h 514350"/>
                <a:gd name="connsiteX3793" fmla="*/ 5175409 w 6400800"/>
                <a:gd name="connsiteY3793" fmla="*/ 288131 h 514350"/>
                <a:gd name="connsiteX3794" fmla="*/ 5172551 w 6400800"/>
                <a:gd name="connsiteY3794" fmla="*/ 290036 h 514350"/>
                <a:gd name="connsiteX3795" fmla="*/ 5179219 w 6400800"/>
                <a:gd name="connsiteY3795" fmla="*/ 272891 h 514350"/>
                <a:gd name="connsiteX3796" fmla="*/ 5180171 w 6400800"/>
                <a:gd name="connsiteY3796" fmla="*/ 270034 h 514350"/>
                <a:gd name="connsiteX3797" fmla="*/ 5184934 w 6400800"/>
                <a:gd name="connsiteY3797" fmla="*/ 280511 h 514350"/>
                <a:gd name="connsiteX3798" fmla="*/ 5190649 w 6400800"/>
                <a:gd name="connsiteY3798" fmla="*/ 292894 h 514350"/>
                <a:gd name="connsiteX3799" fmla="*/ 5190649 w 6400800"/>
                <a:gd name="connsiteY3799" fmla="*/ 298609 h 514350"/>
                <a:gd name="connsiteX3800" fmla="*/ 5192554 w 6400800"/>
                <a:gd name="connsiteY3800" fmla="*/ 330041 h 514350"/>
                <a:gd name="connsiteX3801" fmla="*/ 5192554 w 6400800"/>
                <a:gd name="connsiteY3801" fmla="*/ 335756 h 514350"/>
                <a:gd name="connsiteX3802" fmla="*/ 5192554 w 6400800"/>
                <a:gd name="connsiteY3802" fmla="*/ 336709 h 514350"/>
                <a:gd name="connsiteX3803" fmla="*/ 5191601 w 6400800"/>
                <a:gd name="connsiteY3803" fmla="*/ 338614 h 514350"/>
                <a:gd name="connsiteX3804" fmla="*/ 5187792 w 6400800"/>
                <a:gd name="connsiteY3804" fmla="*/ 348139 h 514350"/>
                <a:gd name="connsiteX3805" fmla="*/ 5183981 w 6400800"/>
                <a:gd name="connsiteY3805" fmla="*/ 309086 h 514350"/>
                <a:gd name="connsiteX3806" fmla="*/ 5177314 w 6400800"/>
                <a:gd name="connsiteY3806" fmla="*/ 348139 h 514350"/>
                <a:gd name="connsiteX3807" fmla="*/ 5176362 w 6400800"/>
                <a:gd name="connsiteY3807" fmla="*/ 354806 h 514350"/>
                <a:gd name="connsiteX3808" fmla="*/ 5174456 w 6400800"/>
                <a:gd name="connsiteY3808" fmla="*/ 349091 h 514350"/>
                <a:gd name="connsiteX3809" fmla="*/ 5171599 w 6400800"/>
                <a:gd name="connsiteY3809" fmla="*/ 341471 h 514350"/>
                <a:gd name="connsiteX3810" fmla="*/ 5173504 w 6400800"/>
                <a:gd name="connsiteY3810" fmla="*/ 328136 h 514350"/>
                <a:gd name="connsiteX3811" fmla="*/ 5169694 w 6400800"/>
                <a:gd name="connsiteY3811" fmla="*/ 338614 h 514350"/>
                <a:gd name="connsiteX3812" fmla="*/ 5167789 w 6400800"/>
                <a:gd name="connsiteY3812" fmla="*/ 334804 h 514350"/>
                <a:gd name="connsiteX3813" fmla="*/ 5165884 w 6400800"/>
                <a:gd name="connsiteY3813" fmla="*/ 312896 h 514350"/>
                <a:gd name="connsiteX3814" fmla="*/ 5166837 w 6400800"/>
                <a:gd name="connsiteY3814" fmla="*/ 307181 h 514350"/>
                <a:gd name="connsiteX3815" fmla="*/ 5161121 w 6400800"/>
                <a:gd name="connsiteY3815" fmla="*/ 218599 h 514350"/>
                <a:gd name="connsiteX3816" fmla="*/ 5164931 w 6400800"/>
                <a:gd name="connsiteY3816" fmla="*/ 229076 h 514350"/>
                <a:gd name="connsiteX3817" fmla="*/ 5161121 w 6400800"/>
                <a:gd name="connsiteY3817" fmla="*/ 248126 h 514350"/>
                <a:gd name="connsiteX3818" fmla="*/ 5157312 w 6400800"/>
                <a:gd name="connsiteY3818" fmla="*/ 206216 h 514350"/>
                <a:gd name="connsiteX3819" fmla="*/ 5161121 w 6400800"/>
                <a:gd name="connsiteY3819" fmla="*/ 218599 h 514350"/>
                <a:gd name="connsiteX3820" fmla="*/ 5148739 w 6400800"/>
                <a:gd name="connsiteY3820" fmla="*/ 256699 h 514350"/>
                <a:gd name="connsiteX3821" fmla="*/ 5149692 w 6400800"/>
                <a:gd name="connsiteY3821" fmla="*/ 255746 h 514350"/>
                <a:gd name="connsiteX3822" fmla="*/ 5149692 w 6400800"/>
                <a:gd name="connsiteY3822" fmla="*/ 283369 h 514350"/>
                <a:gd name="connsiteX3823" fmla="*/ 5149692 w 6400800"/>
                <a:gd name="connsiteY3823" fmla="*/ 284321 h 514350"/>
                <a:gd name="connsiteX3824" fmla="*/ 5143024 w 6400800"/>
                <a:gd name="connsiteY3824" fmla="*/ 263366 h 514350"/>
                <a:gd name="connsiteX3825" fmla="*/ 5148739 w 6400800"/>
                <a:gd name="connsiteY3825" fmla="*/ 256699 h 514350"/>
                <a:gd name="connsiteX3826" fmla="*/ 5087779 w 6400800"/>
                <a:gd name="connsiteY3826" fmla="*/ 317659 h 514350"/>
                <a:gd name="connsiteX3827" fmla="*/ 5087779 w 6400800"/>
                <a:gd name="connsiteY3827" fmla="*/ 315754 h 514350"/>
                <a:gd name="connsiteX3828" fmla="*/ 5087779 w 6400800"/>
                <a:gd name="connsiteY3828" fmla="*/ 317659 h 514350"/>
                <a:gd name="connsiteX3829" fmla="*/ 5087779 w 6400800"/>
                <a:gd name="connsiteY3829" fmla="*/ 317659 h 514350"/>
                <a:gd name="connsiteX3830" fmla="*/ 5122069 w 6400800"/>
                <a:gd name="connsiteY3830" fmla="*/ 298609 h 514350"/>
                <a:gd name="connsiteX3831" fmla="*/ 5128737 w 6400800"/>
                <a:gd name="connsiteY3831" fmla="*/ 287179 h 514350"/>
                <a:gd name="connsiteX3832" fmla="*/ 5124926 w 6400800"/>
                <a:gd name="connsiteY3832" fmla="*/ 327184 h 514350"/>
                <a:gd name="connsiteX3833" fmla="*/ 5121117 w 6400800"/>
                <a:gd name="connsiteY3833" fmla="*/ 318611 h 514350"/>
                <a:gd name="connsiteX3834" fmla="*/ 5117306 w 6400800"/>
                <a:gd name="connsiteY3834" fmla="*/ 308134 h 514350"/>
                <a:gd name="connsiteX3835" fmla="*/ 5122069 w 6400800"/>
                <a:gd name="connsiteY3835" fmla="*/ 298609 h 514350"/>
                <a:gd name="connsiteX3836" fmla="*/ 5110639 w 6400800"/>
                <a:gd name="connsiteY3836" fmla="*/ 321469 h 514350"/>
                <a:gd name="connsiteX3837" fmla="*/ 5110639 w 6400800"/>
                <a:gd name="connsiteY3837" fmla="*/ 321469 h 514350"/>
                <a:gd name="connsiteX3838" fmla="*/ 5118259 w 6400800"/>
                <a:gd name="connsiteY3838" fmla="*/ 344329 h 514350"/>
                <a:gd name="connsiteX3839" fmla="*/ 5116354 w 6400800"/>
                <a:gd name="connsiteY3839" fmla="*/ 347186 h 514350"/>
                <a:gd name="connsiteX3840" fmla="*/ 5114449 w 6400800"/>
                <a:gd name="connsiteY3840" fmla="*/ 349091 h 514350"/>
                <a:gd name="connsiteX3841" fmla="*/ 5110639 w 6400800"/>
                <a:gd name="connsiteY3841" fmla="*/ 335756 h 514350"/>
                <a:gd name="connsiteX3842" fmla="*/ 5107781 w 6400800"/>
                <a:gd name="connsiteY3842" fmla="*/ 327184 h 514350"/>
                <a:gd name="connsiteX3843" fmla="*/ 5110639 w 6400800"/>
                <a:gd name="connsiteY3843" fmla="*/ 321469 h 514350"/>
                <a:gd name="connsiteX3844" fmla="*/ 5105876 w 6400800"/>
                <a:gd name="connsiteY3844" fmla="*/ 308134 h 514350"/>
                <a:gd name="connsiteX3845" fmla="*/ 5103019 w 6400800"/>
                <a:gd name="connsiteY3845" fmla="*/ 311944 h 514350"/>
                <a:gd name="connsiteX3846" fmla="*/ 5101114 w 6400800"/>
                <a:gd name="connsiteY3846" fmla="*/ 306229 h 514350"/>
                <a:gd name="connsiteX3847" fmla="*/ 5101114 w 6400800"/>
                <a:gd name="connsiteY3847" fmla="*/ 304324 h 514350"/>
                <a:gd name="connsiteX3848" fmla="*/ 5101114 w 6400800"/>
                <a:gd name="connsiteY3848" fmla="*/ 305276 h 514350"/>
                <a:gd name="connsiteX3849" fmla="*/ 5096351 w 6400800"/>
                <a:gd name="connsiteY3849" fmla="*/ 288131 h 514350"/>
                <a:gd name="connsiteX3850" fmla="*/ 5097304 w 6400800"/>
                <a:gd name="connsiteY3850" fmla="*/ 281464 h 514350"/>
                <a:gd name="connsiteX3851" fmla="*/ 5105876 w 6400800"/>
                <a:gd name="connsiteY3851" fmla="*/ 308134 h 514350"/>
                <a:gd name="connsiteX3852" fmla="*/ 5097304 w 6400800"/>
                <a:gd name="connsiteY3852" fmla="*/ 282416 h 514350"/>
                <a:gd name="connsiteX3853" fmla="*/ 5095399 w 6400800"/>
                <a:gd name="connsiteY3853" fmla="*/ 286226 h 514350"/>
                <a:gd name="connsiteX3854" fmla="*/ 5093494 w 6400800"/>
                <a:gd name="connsiteY3854" fmla="*/ 279559 h 514350"/>
                <a:gd name="connsiteX3855" fmla="*/ 5087779 w 6400800"/>
                <a:gd name="connsiteY3855" fmla="*/ 258604 h 514350"/>
                <a:gd name="connsiteX3856" fmla="*/ 5089684 w 6400800"/>
                <a:gd name="connsiteY3856" fmla="*/ 257651 h 514350"/>
                <a:gd name="connsiteX3857" fmla="*/ 5097304 w 6400800"/>
                <a:gd name="connsiteY3857" fmla="*/ 282416 h 514350"/>
                <a:gd name="connsiteX3858" fmla="*/ 5080159 w 6400800"/>
                <a:gd name="connsiteY3858" fmla="*/ 224314 h 514350"/>
                <a:gd name="connsiteX3859" fmla="*/ 5089684 w 6400800"/>
                <a:gd name="connsiteY3859" fmla="*/ 254794 h 514350"/>
                <a:gd name="connsiteX3860" fmla="*/ 5087779 w 6400800"/>
                <a:gd name="connsiteY3860" fmla="*/ 254794 h 514350"/>
                <a:gd name="connsiteX3861" fmla="*/ 5081112 w 6400800"/>
                <a:gd name="connsiteY3861" fmla="*/ 228124 h 514350"/>
                <a:gd name="connsiteX3862" fmla="*/ 5080159 w 6400800"/>
                <a:gd name="connsiteY3862" fmla="*/ 224314 h 514350"/>
                <a:gd name="connsiteX3863" fmla="*/ 5080159 w 6400800"/>
                <a:gd name="connsiteY3863" fmla="*/ 224314 h 514350"/>
                <a:gd name="connsiteX3864" fmla="*/ 5076349 w 6400800"/>
                <a:gd name="connsiteY3864" fmla="*/ 272891 h 514350"/>
                <a:gd name="connsiteX3865" fmla="*/ 5076349 w 6400800"/>
                <a:gd name="connsiteY3865" fmla="*/ 268129 h 514350"/>
                <a:gd name="connsiteX3866" fmla="*/ 5079206 w 6400800"/>
                <a:gd name="connsiteY3866" fmla="*/ 283369 h 514350"/>
                <a:gd name="connsiteX3867" fmla="*/ 5083017 w 6400800"/>
                <a:gd name="connsiteY3867" fmla="*/ 301466 h 514350"/>
                <a:gd name="connsiteX3868" fmla="*/ 5083017 w 6400800"/>
                <a:gd name="connsiteY3868" fmla="*/ 304324 h 514350"/>
                <a:gd name="connsiteX3869" fmla="*/ 5082064 w 6400800"/>
                <a:gd name="connsiteY3869" fmla="*/ 311944 h 514350"/>
                <a:gd name="connsiteX3870" fmla="*/ 5073492 w 6400800"/>
                <a:gd name="connsiteY3870" fmla="*/ 292894 h 514350"/>
                <a:gd name="connsiteX3871" fmla="*/ 5076349 w 6400800"/>
                <a:gd name="connsiteY3871" fmla="*/ 272891 h 514350"/>
                <a:gd name="connsiteX3872" fmla="*/ 5066824 w 6400800"/>
                <a:gd name="connsiteY3872" fmla="*/ 377666 h 514350"/>
                <a:gd name="connsiteX3873" fmla="*/ 5066824 w 6400800"/>
                <a:gd name="connsiteY3873" fmla="*/ 380524 h 514350"/>
                <a:gd name="connsiteX3874" fmla="*/ 5066824 w 6400800"/>
                <a:gd name="connsiteY3874" fmla="*/ 383381 h 514350"/>
                <a:gd name="connsiteX3875" fmla="*/ 5065871 w 6400800"/>
                <a:gd name="connsiteY3875" fmla="*/ 384334 h 514350"/>
                <a:gd name="connsiteX3876" fmla="*/ 5064919 w 6400800"/>
                <a:gd name="connsiteY3876" fmla="*/ 381476 h 514350"/>
                <a:gd name="connsiteX3877" fmla="*/ 5066824 w 6400800"/>
                <a:gd name="connsiteY3877" fmla="*/ 377666 h 514350"/>
                <a:gd name="connsiteX3878" fmla="*/ 5057299 w 6400800"/>
                <a:gd name="connsiteY3878" fmla="*/ 303371 h 514350"/>
                <a:gd name="connsiteX3879" fmla="*/ 5051584 w 6400800"/>
                <a:gd name="connsiteY3879" fmla="*/ 294799 h 514350"/>
                <a:gd name="connsiteX3880" fmla="*/ 5052537 w 6400800"/>
                <a:gd name="connsiteY3880" fmla="*/ 290989 h 514350"/>
                <a:gd name="connsiteX3881" fmla="*/ 5055394 w 6400800"/>
                <a:gd name="connsiteY3881" fmla="*/ 287179 h 514350"/>
                <a:gd name="connsiteX3882" fmla="*/ 5057299 w 6400800"/>
                <a:gd name="connsiteY3882" fmla="*/ 303371 h 514350"/>
                <a:gd name="connsiteX3883" fmla="*/ 5050631 w 6400800"/>
                <a:gd name="connsiteY3883" fmla="*/ 252889 h 514350"/>
                <a:gd name="connsiteX3884" fmla="*/ 5052537 w 6400800"/>
                <a:gd name="connsiteY3884" fmla="*/ 258604 h 514350"/>
                <a:gd name="connsiteX3885" fmla="*/ 5053489 w 6400800"/>
                <a:gd name="connsiteY3885" fmla="*/ 260509 h 514350"/>
                <a:gd name="connsiteX3886" fmla="*/ 5054442 w 6400800"/>
                <a:gd name="connsiteY3886" fmla="*/ 268129 h 514350"/>
                <a:gd name="connsiteX3887" fmla="*/ 5052537 w 6400800"/>
                <a:gd name="connsiteY3887" fmla="*/ 273844 h 514350"/>
                <a:gd name="connsiteX3888" fmla="*/ 5051584 w 6400800"/>
                <a:gd name="connsiteY3888" fmla="*/ 276701 h 514350"/>
                <a:gd name="connsiteX3889" fmla="*/ 5048726 w 6400800"/>
                <a:gd name="connsiteY3889" fmla="*/ 279559 h 514350"/>
                <a:gd name="connsiteX3890" fmla="*/ 5048726 w 6400800"/>
                <a:gd name="connsiteY3890" fmla="*/ 278606 h 514350"/>
                <a:gd name="connsiteX3891" fmla="*/ 5048726 w 6400800"/>
                <a:gd name="connsiteY3891" fmla="*/ 274796 h 514350"/>
                <a:gd name="connsiteX3892" fmla="*/ 5049679 w 6400800"/>
                <a:gd name="connsiteY3892" fmla="*/ 268129 h 514350"/>
                <a:gd name="connsiteX3893" fmla="*/ 5050631 w 6400800"/>
                <a:gd name="connsiteY3893" fmla="*/ 262414 h 514350"/>
                <a:gd name="connsiteX3894" fmla="*/ 5048726 w 6400800"/>
                <a:gd name="connsiteY3894" fmla="*/ 268129 h 514350"/>
                <a:gd name="connsiteX3895" fmla="*/ 5048726 w 6400800"/>
                <a:gd name="connsiteY3895" fmla="*/ 269081 h 514350"/>
                <a:gd name="connsiteX3896" fmla="*/ 5048726 w 6400800"/>
                <a:gd name="connsiteY3896" fmla="*/ 266224 h 514350"/>
                <a:gd name="connsiteX3897" fmla="*/ 5050631 w 6400800"/>
                <a:gd name="connsiteY3897" fmla="*/ 252889 h 514350"/>
                <a:gd name="connsiteX3898" fmla="*/ 5020151 w 6400800"/>
                <a:gd name="connsiteY3898" fmla="*/ 390049 h 514350"/>
                <a:gd name="connsiteX3899" fmla="*/ 5014437 w 6400800"/>
                <a:gd name="connsiteY3899" fmla="*/ 376714 h 514350"/>
                <a:gd name="connsiteX3900" fmla="*/ 5014437 w 6400800"/>
                <a:gd name="connsiteY3900" fmla="*/ 375761 h 514350"/>
                <a:gd name="connsiteX3901" fmla="*/ 5022056 w 6400800"/>
                <a:gd name="connsiteY3901" fmla="*/ 347186 h 514350"/>
                <a:gd name="connsiteX3902" fmla="*/ 5022056 w 6400800"/>
                <a:gd name="connsiteY3902" fmla="*/ 348139 h 514350"/>
                <a:gd name="connsiteX3903" fmla="*/ 5022056 w 6400800"/>
                <a:gd name="connsiteY3903" fmla="*/ 363379 h 514350"/>
                <a:gd name="connsiteX3904" fmla="*/ 5023009 w 6400800"/>
                <a:gd name="connsiteY3904" fmla="*/ 379571 h 514350"/>
                <a:gd name="connsiteX3905" fmla="*/ 5023962 w 6400800"/>
                <a:gd name="connsiteY3905" fmla="*/ 386239 h 514350"/>
                <a:gd name="connsiteX3906" fmla="*/ 5020151 w 6400800"/>
                <a:gd name="connsiteY3906" fmla="*/ 390049 h 514350"/>
                <a:gd name="connsiteX3907" fmla="*/ 5024914 w 6400800"/>
                <a:gd name="connsiteY3907" fmla="*/ 400526 h 514350"/>
                <a:gd name="connsiteX3908" fmla="*/ 5024914 w 6400800"/>
                <a:gd name="connsiteY3908" fmla="*/ 400526 h 514350"/>
                <a:gd name="connsiteX3909" fmla="*/ 5024914 w 6400800"/>
                <a:gd name="connsiteY3909" fmla="*/ 400526 h 514350"/>
                <a:gd name="connsiteX3910" fmla="*/ 5024914 w 6400800"/>
                <a:gd name="connsiteY3910" fmla="*/ 400526 h 514350"/>
                <a:gd name="connsiteX3911" fmla="*/ 5035392 w 6400800"/>
                <a:gd name="connsiteY3911" fmla="*/ 314801 h 514350"/>
                <a:gd name="connsiteX3912" fmla="*/ 5035392 w 6400800"/>
                <a:gd name="connsiteY3912" fmla="*/ 317659 h 514350"/>
                <a:gd name="connsiteX3913" fmla="*/ 5031581 w 6400800"/>
                <a:gd name="connsiteY3913" fmla="*/ 353854 h 514350"/>
                <a:gd name="connsiteX3914" fmla="*/ 5031581 w 6400800"/>
                <a:gd name="connsiteY3914" fmla="*/ 353854 h 514350"/>
                <a:gd name="connsiteX3915" fmla="*/ 5031581 w 6400800"/>
                <a:gd name="connsiteY3915" fmla="*/ 354806 h 514350"/>
                <a:gd name="connsiteX3916" fmla="*/ 5030629 w 6400800"/>
                <a:gd name="connsiteY3916" fmla="*/ 347186 h 514350"/>
                <a:gd name="connsiteX3917" fmla="*/ 5027771 w 6400800"/>
                <a:gd name="connsiteY3917" fmla="*/ 329089 h 514350"/>
                <a:gd name="connsiteX3918" fmla="*/ 5028724 w 6400800"/>
                <a:gd name="connsiteY3918" fmla="*/ 325279 h 514350"/>
                <a:gd name="connsiteX3919" fmla="*/ 5032534 w 6400800"/>
                <a:gd name="connsiteY3919" fmla="*/ 319564 h 514350"/>
                <a:gd name="connsiteX3920" fmla="*/ 5035392 w 6400800"/>
                <a:gd name="connsiteY3920" fmla="*/ 314801 h 514350"/>
                <a:gd name="connsiteX3921" fmla="*/ 5006817 w 6400800"/>
                <a:gd name="connsiteY3921" fmla="*/ 242411 h 514350"/>
                <a:gd name="connsiteX3922" fmla="*/ 5019199 w 6400800"/>
                <a:gd name="connsiteY3922" fmla="*/ 259556 h 514350"/>
                <a:gd name="connsiteX3923" fmla="*/ 5025867 w 6400800"/>
                <a:gd name="connsiteY3923" fmla="*/ 270034 h 514350"/>
                <a:gd name="connsiteX3924" fmla="*/ 5021104 w 6400800"/>
                <a:gd name="connsiteY3924" fmla="*/ 263366 h 514350"/>
                <a:gd name="connsiteX3925" fmla="*/ 5014437 w 6400800"/>
                <a:gd name="connsiteY3925" fmla="*/ 255746 h 514350"/>
                <a:gd name="connsiteX3926" fmla="*/ 5004912 w 6400800"/>
                <a:gd name="connsiteY3926" fmla="*/ 245269 h 514350"/>
                <a:gd name="connsiteX3927" fmla="*/ 5006817 w 6400800"/>
                <a:gd name="connsiteY3927" fmla="*/ 242411 h 514350"/>
                <a:gd name="connsiteX3928" fmla="*/ 5004912 w 6400800"/>
                <a:gd name="connsiteY3928" fmla="*/ 242411 h 514350"/>
                <a:gd name="connsiteX3929" fmla="*/ 5004912 w 6400800"/>
                <a:gd name="connsiteY3929" fmla="*/ 238601 h 514350"/>
                <a:gd name="connsiteX3930" fmla="*/ 5006817 w 6400800"/>
                <a:gd name="connsiteY3930" fmla="*/ 241459 h 514350"/>
                <a:gd name="connsiteX3931" fmla="*/ 5004912 w 6400800"/>
                <a:gd name="connsiteY3931" fmla="*/ 244316 h 514350"/>
                <a:gd name="connsiteX3932" fmla="*/ 5004912 w 6400800"/>
                <a:gd name="connsiteY3932" fmla="*/ 243364 h 514350"/>
                <a:gd name="connsiteX3933" fmla="*/ 5004912 w 6400800"/>
                <a:gd name="connsiteY3933" fmla="*/ 242411 h 514350"/>
                <a:gd name="connsiteX3934" fmla="*/ 4999196 w 6400800"/>
                <a:gd name="connsiteY3934" fmla="*/ 303371 h 514350"/>
                <a:gd name="connsiteX3935" fmla="*/ 5003006 w 6400800"/>
                <a:gd name="connsiteY3935" fmla="*/ 252889 h 514350"/>
                <a:gd name="connsiteX3936" fmla="*/ 5008721 w 6400800"/>
                <a:gd name="connsiteY3936" fmla="*/ 260509 h 514350"/>
                <a:gd name="connsiteX3937" fmla="*/ 5014437 w 6400800"/>
                <a:gd name="connsiteY3937" fmla="*/ 268129 h 514350"/>
                <a:gd name="connsiteX3938" fmla="*/ 5020151 w 6400800"/>
                <a:gd name="connsiteY3938" fmla="*/ 276701 h 514350"/>
                <a:gd name="connsiteX3939" fmla="*/ 5029676 w 6400800"/>
                <a:gd name="connsiteY3939" fmla="*/ 292894 h 514350"/>
                <a:gd name="connsiteX3940" fmla="*/ 5029676 w 6400800"/>
                <a:gd name="connsiteY3940" fmla="*/ 293846 h 514350"/>
                <a:gd name="connsiteX3941" fmla="*/ 5025867 w 6400800"/>
                <a:gd name="connsiteY3941" fmla="*/ 302419 h 514350"/>
                <a:gd name="connsiteX3942" fmla="*/ 5023009 w 6400800"/>
                <a:gd name="connsiteY3942" fmla="*/ 305276 h 514350"/>
                <a:gd name="connsiteX3943" fmla="*/ 5022056 w 6400800"/>
                <a:gd name="connsiteY3943" fmla="*/ 301466 h 514350"/>
                <a:gd name="connsiteX3944" fmla="*/ 5022056 w 6400800"/>
                <a:gd name="connsiteY3944" fmla="*/ 306229 h 514350"/>
                <a:gd name="connsiteX3945" fmla="*/ 5019199 w 6400800"/>
                <a:gd name="connsiteY3945" fmla="*/ 309086 h 514350"/>
                <a:gd name="connsiteX3946" fmla="*/ 5012531 w 6400800"/>
                <a:gd name="connsiteY3946" fmla="*/ 318611 h 514350"/>
                <a:gd name="connsiteX3947" fmla="*/ 5013484 w 6400800"/>
                <a:gd name="connsiteY3947" fmla="*/ 311944 h 514350"/>
                <a:gd name="connsiteX3948" fmla="*/ 5017294 w 6400800"/>
                <a:gd name="connsiteY3948" fmla="*/ 294799 h 514350"/>
                <a:gd name="connsiteX3949" fmla="*/ 5020151 w 6400800"/>
                <a:gd name="connsiteY3949" fmla="*/ 279559 h 514350"/>
                <a:gd name="connsiteX3950" fmla="*/ 5013484 w 6400800"/>
                <a:gd name="connsiteY3950" fmla="*/ 293846 h 514350"/>
                <a:gd name="connsiteX3951" fmla="*/ 5006817 w 6400800"/>
                <a:gd name="connsiteY3951" fmla="*/ 310039 h 514350"/>
                <a:gd name="connsiteX3952" fmla="*/ 4999196 w 6400800"/>
                <a:gd name="connsiteY3952" fmla="*/ 331946 h 514350"/>
                <a:gd name="connsiteX3953" fmla="*/ 4999196 w 6400800"/>
                <a:gd name="connsiteY3953" fmla="*/ 332899 h 514350"/>
                <a:gd name="connsiteX3954" fmla="*/ 4997292 w 6400800"/>
                <a:gd name="connsiteY3954" fmla="*/ 327184 h 514350"/>
                <a:gd name="connsiteX3955" fmla="*/ 4999196 w 6400800"/>
                <a:gd name="connsiteY3955" fmla="*/ 303371 h 514350"/>
                <a:gd name="connsiteX3956" fmla="*/ 4968717 w 6400800"/>
                <a:gd name="connsiteY3956" fmla="*/ 208121 h 514350"/>
                <a:gd name="connsiteX3957" fmla="*/ 4967764 w 6400800"/>
                <a:gd name="connsiteY3957" fmla="*/ 212884 h 514350"/>
                <a:gd name="connsiteX3958" fmla="*/ 4966812 w 6400800"/>
                <a:gd name="connsiteY3958" fmla="*/ 217646 h 514350"/>
                <a:gd name="connsiteX3959" fmla="*/ 4966812 w 6400800"/>
                <a:gd name="connsiteY3959" fmla="*/ 215741 h 514350"/>
                <a:gd name="connsiteX3960" fmla="*/ 4968717 w 6400800"/>
                <a:gd name="connsiteY3960" fmla="*/ 208121 h 514350"/>
                <a:gd name="connsiteX3961" fmla="*/ 4960144 w 6400800"/>
                <a:gd name="connsiteY3961" fmla="*/ 364331 h 514350"/>
                <a:gd name="connsiteX3962" fmla="*/ 4961096 w 6400800"/>
                <a:gd name="connsiteY3962" fmla="*/ 381476 h 514350"/>
                <a:gd name="connsiteX3963" fmla="*/ 4958239 w 6400800"/>
                <a:gd name="connsiteY3963" fmla="*/ 391001 h 514350"/>
                <a:gd name="connsiteX3964" fmla="*/ 4957287 w 6400800"/>
                <a:gd name="connsiteY3964" fmla="*/ 386239 h 514350"/>
                <a:gd name="connsiteX3965" fmla="*/ 4957287 w 6400800"/>
                <a:gd name="connsiteY3965" fmla="*/ 380524 h 514350"/>
                <a:gd name="connsiteX3966" fmla="*/ 4956334 w 6400800"/>
                <a:gd name="connsiteY3966" fmla="*/ 356711 h 514350"/>
                <a:gd name="connsiteX3967" fmla="*/ 4956334 w 6400800"/>
                <a:gd name="connsiteY3967" fmla="*/ 351949 h 514350"/>
                <a:gd name="connsiteX3968" fmla="*/ 4958239 w 6400800"/>
                <a:gd name="connsiteY3968" fmla="*/ 348139 h 514350"/>
                <a:gd name="connsiteX3969" fmla="*/ 4960144 w 6400800"/>
                <a:gd name="connsiteY3969" fmla="*/ 364331 h 514350"/>
                <a:gd name="connsiteX3970" fmla="*/ 4957287 w 6400800"/>
                <a:gd name="connsiteY3970" fmla="*/ 256699 h 514350"/>
                <a:gd name="connsiteX3971" fmla="*/ 4957287 w 6400800"/>
                <a:gd name="connsiteY3971" fmla="*/ 258604 h 514350"/>
                <a:gd name="connsiteX3972" fmla="*/ 4957287 w 6400800"/>
                <a:gd name="connsiteY3972" fmla="*/ 259556 h 514350"/>
                <a:gd name="connsiteX3973" fmla="*/ 4955381 w 6400800"/>
                <a:gd name="connsiteY3973" fmla="*/ 267176 h 514350"/>
                <a:gd name="connsiteX3974" fmla="*/ 4954429 w 6400800"/>
                <a:gd name="connsiteY3974" fmla="*/ 265271 h 514350"/>
                <a:gd name="connsiteX3975" fmla="*/ 4957287 w 6400800"/>
                <a:gd name="connsiteY3975" fmla="*/ 256699 h 514350"/>
                <a:gd name="connsiteX3976" fmla="*/ 4954429 w 6400800"/>
                <a:gd name="connsiteY3976" fmla="*/ 268129 h 514350"/>
                <a:gd name="connsiteX3977" fmla="*/ 4955381 w 6400800"/>
                <a:gd name="connsiteY3977" fmla="*/ 270986 h 514350"/>
                <a:gd name="connsiteX3978" fmla="*/ 4951571 w 6400800"/>
                <a:gd name="connsiteY3978" fmla="*/ 290036 h 514350"/>
                <a:gd name="connsiteX3979" fmla="*/ 4944904 w 6400800"/>
                <a:gd name="connsiteY3979" fmla="*/ 316706 h 514350"/>
                <a:gd name="connsiteX3980" fmla="*/ 4943951 w 6400800"/>
                <a:gd name="connsiteY3980" fmla="*/ 310991 h 514350"/>
                <a:gd name="connsiteX3981" fmla="*/ 4943951 w 6400800"/>
                <a:gd name="connsiteY3981" fmla="*/ 320516 h 514350"/>
                <a:gd name="connsiteX3982" fmla="*/ 4940142 w 6400800"/>
                <a:gd name="connsiteY3982" fmla="*/ 336709 h 514350"/>
                <a:gd name="connsiteX3983" fmla="*/ 4940142 w 6400800"/>
                <a:gd name="connsiteY3983" fmla="*/ 335756 h 514350"/>
                <a:gd name="connsiteX3984" fmla="*/ 4938237 w 6400800"/>
                <a:gd name="connsiteY3984" fmla="*/ 325279 h 514350"/>
                <a:gd name="connsiteX3985" fmla="*/ 4954429 w 6400800"/>
                <a:gd name="connsiteY3985" fmla="*/ 268129 h 514350"/>
                <a:gd name="connsiteX3986" fmla="*/ 4922044 w 6400800"/>
                <a:gd name="connsiteY3986" fmla="*/ 378619 h 514350"/>
                <a:gd name="connsiteX3987" fmla="*/ 4922044 w 6400800"/>
                <a:gd name="connsiteY3987" fmla="*/ 378619 h 514350"/>
                <a:gd name="connsiteX3988" fmla="*/ 4922044 w 6400800"/>
                <a:gd name="connsiteY3988" fmla="*/ 378619 h 514350"/>
                <a:gd name="connsiteX3989" fmla="*/ 4922044 w 6400800"/>
                <a:gd name="connsiteY3989" fmla="*/ 378619 h 514350"/>
                <a:gd name="connsiteX3990" fmla="*/ 4908709 w 6400800"/>
                <a:gd name="connsiteY3990" fmla="*/ 307181 h 514350"/>
                <a:gd name="connsiteX3991" fmla="*/ 4915376 w 6400800"/>
                <a:gd name="connsiteY3991" fmla="*/ 326231 h 514350"/>
                <a:gd name="connsiteX3992" fmla="*/ 4909662 w 6400800"/>
                <a:gd name="connsiteY3992" fmla="*/ 338614 h 514350"/>
                <a:gd name="connsiteX3993" fmla="*/ 4906804 w 6400800"/>
                <a:gd name="connsiteY3993" fmla="*/ 308134 h 514350"/>
                <a:gd name="connsiteX3994" fmla="*/ 4906804 w 6400800"/>
                <a:gd name="connsiteY3994" fmla="*/ 305276 h 514350"/>
                <a:gd name="connsiteX3995" fmla="*/ 4905851 w 6400800"/>
                <a:gd name="connsiteY3995" fmla="*/ 307181 h 514350"/>
                <a:gd name="connsiteX3996" fmla="*/ 4904899 w 6400800"/>
                <a:gd name="connsiteY3996" fmla="*/ 297656 h 514350"/>
                <a:gd name="connsiteX3997" fmla="*/ 4908709 w 6400800"/>
                <a:gd name="connsiteY3997" fmla="*/ 307181 h 514350"/>
                <a:gd name="connsiteX3998" fmla="*/ 4897279 w 6400800"/>
                <a:gd name="connsiteY3998" fmla="*/ 351949 h 514350"/>
                <a:gd name="connsiteX3999" fmla="*/ 4896326 w 6400800"/>
                <a:gd name="connsiteY3999" fmla="*/ 365284 h 514350"/>
                <a:gd name="connsiteX4000" fmla="*/ 4895374 w 6400800"/>
                <a:gd name="connsiteY4000" fmla="*/ 368141 h 514350"/>
                <a:gd name="connsiteX4001" fmla="*/ 4894421 w 6400800"/>
                <a:gd name="connsiteY4001" fmla="*/ 357664 h 514350"/>
                <a:gd name="connsiteX4002" fmla="*/ 4892517 w 6400800"/>
                <a:gd name="connsiteY4002" fmla="*/ 341471 h 514350"/>
                <a:gd name="connsiteX4003" fmla="*/ 4897279 w 6400800"/>
                <a:gd name="connsiteY4003" fmla="*/ 351949 h 514350"/>
                <a:gd name="connsiteX4004" fmla="*/ 4822984 w 6400800"/>
                <a:gd name="connsiteY4004" fmla="*/ 387191 h 514350"/>
                <a:gd name="connsiteX4005" fmla="*/ 4822984 w 6400800"/>
                <a:gd name="connsiteY4005" fmla="*/ 385286 h 514350"/>
                <a:gd name="connsiteX4006" fmla="*/ 4822984 w 6400800"/>
                <a:gd name="connsiteY4006" fmla="*/ 387191 h 514350"/>
                <a:gd name="connsiteX4007" fmla="*/ 4822984 w 6400800"/>
                <a:gd name="connsiteY4007" fmla="*/ 387191 h 514350"/>
                <a:gd name="connsiteX4008" fmla="*/ 4842987 w 6400800"/>
                <a:gd name="connsiteY4008" fmla="*/ 338614 h 514350"/>
                <a:gd name="connsiteX4009" fmla="*/ 4842987 w 6400800"/>
                <a:gd name="connsiteY4009" fmla="*/ 356711 h 514350"/>
                <a:gd name="connsiteX4010" fmla="*/ 4842987 w 6400800"/>
                <a:gd name="connsiteY4010" fmla="*/ 360521 h 514350"/>
                <a:gd name="connsiteX4011" fmla="*/ 4840129 w 6400800"/>
                <a:gd name="connsiteY4011" fmla="*/ 382429 h 514350"/>
                <a:gd name="connsiteX4012" fmla="*/ 4838224 w 6400800"/>
                <a:gd name="connsiteY4012" fmla="*/ 390049 h 514350"/>
                <a:gd name="connsiteX4013" fmla="*/ 4826794 w 6400800"/>
                <a:gd name="connsiteY4013" fmla="*/ 387191 h 514350"/>
                <a:gd name="connsiteX4014" fmla="*/ 4824889 w 6400800"/>
                <a:gd name="connsiteY4014" fmla="*/ 379571 h 514350"/>
                <a:gd name="connsiteX4015" fmla="*/ 4827747 w 6400800"/>
                <a:gd name="connsiteY4015" fmla="*/ 370999 h 514350"/>
                <a:gd name="connsiteX4016" fmla="*/ 4838224 w 6400800"/>
                <a:gd name="connsiteY4016" fmla="*/ 346234 h 514350"/>
                <a:gd name="connsiteX4017" fmla="*/ 4843939 w 6400800"/>
                <a:gd name="connsiteY4017" fmla="*/ 336709 h 514350"/>
                <a:gd name="connsiteX4018" fmla="*/ 4842987 w 6400800"/>
                <a:gd name="connsiteY4018" fmla="*/ 338614 h 514350"/>
                <a:gd name="connsiteX4019" fmla="*/ 4842987 w 6400800"/>
                <a:gd name="connsiteY4019" fmla="*/ 338614 h 514350"/>
                <a:gd name="connsiteX4020" fmla="*/ 4843939 w 6400800"/>
                <a:gd name="connsiteY4020" fmla="*/ 329089 h 514350"/>
                <a:gd name="connsiteX4021" fmla="*/ 4843939 w 6400800"/>
                <a:gd name="connsiteY4021" fmla="*/ 329089 h 514350"/>
                <a:gd name="connsiteX4022" fmla="*/ 4836319 w 6400800"/>
                <a:gd name="connsiteY4022" fmla="*/ 318611 h 514350"/>
                <a:gd name="connsiteX4023" fmla="*/ 4836319 w 6400800"/>
                <a:gd name="connsiteY4023" fmla="*/ 318611 h 514350"/>
                <a:gd name="connsiteX4024" fmla="*/ 4839176 w 6400800"/>
                <a:gd name="connsiteY4024" fmla="*/ 314801 h 514350"/>
                <a:gd name="connsiteX4025" fmla="*/ 4842987 w 6400800"/>
                <a:gd name="connsiteY4025" fmla="*/ 321469 h 514350"/>
                <a:gd name="connsiteX4026" fmla="*/ 4843939 w 6400800"/>
                <a:gd name="connsiteY4026" fmla="*/ 323374 h 514350"/>
                <a:gd name="connsiteX4027" fmla="*/ 4843939 w 6400800"/>
                <a:gd name="connsiteY4027" fmla="*/ 329089 h 514350"/>
                <a:gd name="connsiteX4028" fmla="*/ 4845844 w 6400800"/>
                <a:gd name="connsiteY4028" fmla="*/ 296704 h 514350"/>
                <a:gd name="connsiteX4029" fmla="*/ 4844891 w 6400800"/>
                <a:gd name="connsiteY4029" fmla="*/ 316706 h 514350"/>
                <a:gd name="connsiteX4030" fmla="*/ 4840129 w 6400800"/>
                <a:gd name="connsiteY4030" fmla="*/ 310039 h 514350"/>
                <a:gd name="connsiteX4031" fmla="*/ 4837272 w 6400800"/>
                <a:gd name="connsiteY4031" fmla="*/ 306229 h 514350"/>
                <a:gd name="connsiteX4032" fmla="*/ 4845844 w 6400800"/>
                <a:gd name="connsiteY4032" fmla="*/ 290989 h 514350"/>
                <a:gd name="connsiteX4033" fmla="*/ 4847749 w 6400800"/>
                <a:gd name="connsiteY4033" fmla="*/ 288131 h 514350"/>
                <a:gd name="connsiteX4034" fmla="*/ 4845844 w 6400800"/>
                <a:gd name="connsiteY4034" fmla="*/ 296704 h 514350"/>
                <a:gd name="connsiteX4035" fmla="*/ 4869656 w 6400800"/>
                <a:gd name="connsiteY4035" fmla="*/ 325279 h 514350"/>
                <a:gd name="connsiteX4036" fmla="*/ 4869656 w 6400800"/>
                <a:gd name="connsiteY4036" fmla="*/ 327184 h 514350"/>
                <a:gd name="connsiteX4037" fmla="*/ 4869656 w 6400800"/>
                <a:gd name="connsiteY4037" fmla="*/ 325279 h 514350"/>
                <a:gd name="connsiteX4038" fmla="*/ 4869656 w 6400800"/>
                <a:gd name="connsiteY4038" fmla="*/ 318611 h 514350"/>
                <a:gd name="connsiteX4039" fmla="*/ 4869656 w 6400800"/>
                <a:gd name="connsiteY4039" fmla="*/ 325279 h 514350"/>
                <a:gd name="connsiteX4040" fmla="*/ 4854416 w 6400800"/>
                <a:gd name="connsiteY4040" fmla="*/ 276701 h 514350"/>
                <a:gd name="connsiteX4041" fmla="*/ 4868704 w 6400800"/>
                <a:gd name="connsiteY4041" fmla="*/ 256699 h 514350"/>
                <a:gd name="connsiteX4042" fmla="*/ 4871562 w 6400800"/>
                <a:gd name="connsiteY4042" fmla="*/ 252889 h 514350"/>
                <a:gd name="connsiteX4043" fmla="*/ 4871562 w 6400800"/>
                <a:gd name="connsiteY4043" fmla="*/ 259556 h 514350"/>
                <a:gd name="connsiteX4044" fmla="*/ 4861084 w 6400800"/>
                <a:gd name="connsiteY4044" fmla="*/ 296704 h 514350"/>
                <a:gd name="connsiteX4045" fmla="*/ 4860131 w 6400800"/>
                <a:gd name="connsiteY4045" fmla="*/ 300514 h 514350"/>
                <a:gd name="connsiteX4046" fmla="*/ 4853464 w 6400800"/>
                <a:gd name="connsiteY4046" fmla="*/ 278606 h 514350"/>
                <a:gd name="connsiteX4047" fmla="*/ 4854416 w 6400800"/>
                <a:gd name="connsiteY4047" fmla="*/ 276701 h 514350"/>
                <a:gd name="connsiteX4048" fmla="*/ 4854416 w 6400800"/>
                <a:gd name="connsiteY4048" fmla="*/ 276701 h 514350"/>
                <a:gd name="connsiteX4049" fmla="*/ 4850606 w 6400800"/>
                <a:gd name="connsiteY4049" fmla="*/ 281464 h 514350"/>
                <a:gd name="connsiteX4050" fmla="*/ 4857274 w 6400800"/>
                <a:gd name="connsiteY4050" fmla="*/ 316706 h 514350"/>
                <a:gd name="connsiteX4051" fmla="*/ 4854416 w 6400800"/>
                <a:gd name="connsiteY4051" fmla="*/ 330041 h 514350"/>
                <a:gd name="connsiteX4052" fmla="*/ 4852512 w 6400800"/>
                <a:gd name="connsiteY4052" fmla="*/ 326231 h 514350"/>
                <a:gd name="connsiteX4053" fmla="*/ 4852512 w 6400800"/>
                <a:gd name="connsiteY4053" fmla="*/ 322421 h 514350"/>
                <a:gd name="connsiteX4054" fmla="*/ 4850606 w 6400800"/>
                <a:gd name="connsiteY4054" fmla="*/ 295751 h 514350"/>
                <a:gd name="connsiteX4055" fmla="*/ 4849654 w 6400800"/>
                <a:gd name="connsiteY4055" fmla="*/ 284321 h 514350"/>
                <a:gd name="connsiteX4056" fmla="*/ 4850606 w 6400800"/>
                <a:gd name="connsiteY4056" fmla="*/ 281464 h 514350"/>
                <a:gd name="connsiteX4057" fmla="*/ 4838224 w 6400800"/>
                <a:gd name="connsiteY4057" fmla="*/ 290036 h 514350"/>
                <a:gd name="connsiteX4058" fmla="*/ 4845844 w 6400800"/>
                <a:gd name="connsiteY4058" fmla="*/ 272891 h 514350"/>
                <a:gd name="connsiteX4059" fmla="*/ 4848701 w 6400800"/>
                <a:gd name="connsiteY4059" fmla="*/ 265271 h 514350"/>
                <a:gd name="connsiteX4060" fmla="*/ 4849654 w 6400800"/>
                <a:gd name="connsiteY4060" fmla="*/ 275749 h 514350"/>
                <a:gd name="connsiteX4061" fmla="*/ 4847749 w 6400800"/>
                <a:gd name="connsiteY4061" fmla="*/ 277654 h 514350"/>
                <a:gd name="connsiteX4062" fmla="*/ 4847749 w 6400800"/>
                <a:gd name="connsiteY4062" fmla="*/ 273844 h 514350"/>
                <a:gd name="connsiteX4063" fmla="*/ 4847749 w 6400800"/>
                <a:gd name="connsiteY4063" fmla="*/ 278606 h 514350"/>
                <a:gd name="connsiteX4064" fmla="*/ 4841081 w 6400800"/>
                <a:gd name="connsiteY4064" fmla="*/ 288131 h 514350"/>
                <a:gd name="connsiteX4065" fmla="*/ 4836319 w 6400800"/>
                <a:gd name="connsiteY4065" fmla="*/ 294799 h 514350"/>
                <a:gd name="connsiteX4066" fmla="*/ 4838224 w 6400800"/>
                <a:gd name="connsiteY4066" fmla="*/ 290036 h 514350"/>
                <a:gd name="connsiteX4067" fmla="*/ 4835366 w 6400800"/>
                <a:gd name="connsiteY4067" fmla="*/ 309086 h 514350"/>
                <a:gd name="connsiteX4068" fmla="*/ 4836319 w 6400800"/>
                <a:gd name="connsiteY4068" fmla="*/ 308134 h 514350"/>
                <a:gd name="connsiteX4069" fmla="*/ 4838224 w 6400800"/>
                <a:gd name="connsiteY4069" fmla="*/ 311944 h 514350"/>
                <a:gd name="connsiteX4070" fmla="*/ 4839176 w 6400800"/>
                <a:gd name="connsiteY4070" fmla="*/ 313849 h 514350"/>
                <a:gd name="connsiteX4071" fmla="*/ 4835366 w 6400800"/>
                <a:gd name="connsiteY4071" fmla="*/ 317659 h 514350"/>
                <a:gd name="connsiteX4072" fmla="*/ 4835366 w 6400800"/>
                <a:gd name="connsiteY4072" fmla="*/ 317659 h 514350"/>
                <a:gd name="connsiteX4073" fmla="*/ 4834414 w 6400800"/>
                <a:gd name="connsiteY4073" fmla="*/ 316706 h 514350"/>
                <a:gd name="connsiteX4074" fmla="*/ 4832509 w 6400800"/>
                <a:gd name="connsiteY4074" fmla="*/ 314801 h 514350"/>
                <a:gd name="connsiteX4075" fmla="*/ 4835366 w 6400800"/>
                <a:gd name="connsiteY4075" fmla="*/ 309086 h 514350"/>
                <a:gd name="connsiteX4076" fmla="*/ 4830604 w 6400800"/>
                <a:gd name="connsiteY4076" fmla="*/ 319564 h 514350"/>
                <a:gd name="connsiteX4077" fmla="*/ 4832509 w 6400800"/>
                <a:gd name="connsiteY4077" fmla="*/ 314801 h 514350"/>
                <a:gd name="connsiteX4078" fmla="*/ 4833462 w 6400800"/>
                <a:gd name="connsiteY4078" fmla="*/ 316706 h 514350"/>
                <a:gd name="connsiteX4079" fmla="*/ 4834414 w 6400800"/>
                <a:gd name="connsiteY4079" fmla="*/ 318611 h 514350"/>
                <a:gd name="connsiteX4080" fmla="*/ 4828699 w 6400800"/>
                <a:gd name="connsiteY4080" fmla="*/ 324326 h 514350"/>
                <a:gd name="connsiteX4081" fmla="*/ 4830604 w 6400800"/>
                <a:gd name="connsiteY4081" fmla="*/ 319564 h 514350"/>
                <a:gd name="connsiteX4082" fmla="*/ 4817269 w 6400800"/>
                <a:gd name="connsiteY4082" fmla="*/ 364331 h 514350"/>
                <a:gd name="connsiteX4083" fmla="*/ 4817269 w 6400800"/>
                <a:gd name="connsiteY4083" fmla="*/ 356711 h 514350"/>
                <a:gd name="connsiteX4084" fmla="*/ 4824889 w 6400800"/>
                <a:gd name="connsiteY4084" fmla="*/ 335756 h 514350"/>
                <a:gd name="connsiteX4085" fmla="*/ 4825841 w 6400800"/>
                <a:gd name="connsiteY4085" fmla="*/ 334804 h 514350"/>
                <a:gd name="connsiteX4086" fmla="*/ 4835366 w 6400800"/>
                <a:gd name="connsiteY4086" fmla="*/ 319564 h 514350"/>
                <a:gd name="connsiteX4087" fmla="*/ 4837272 w 6400800"/>
                <a:gd name="connsiteY4087" fmla="*/ 322421 h 514350"/>
                <a:gd name="connsiteX4088" fmla="*/ 4841081 w 6400800"/>
                <a:gd name="connsiteY4088" fmla="*/ 330994 h 514350"/>
                <a:gd name="connsiteX4089" fmla="*/ 4842987 w 6400800"/>
                <a:gd name="connsiteY4089" fmla="*/ 335756 h 514350"/>
                <a:gd name="connsiteX4090" fmla="*/ 4835366 w 6400800"/>
                <a:gd name="connsiteY4090" fmla="*/ 345281 h 514350"/>
                <a:gd name="connsiteX4091" fmla="*/ 4822984 w 6400800"/>
                <a:gd name="connsiteY4091" fmla="*/ 366236 h 514350"/>
                <a:gd name="connsiteX4092" fmla="*/ 4820126 w 6400800"/>
                <a:gd name="connsiteY4092" fmla="*/ 369094 h 514350"/>
                <a:gd name="connsiteX4093" fmla="*/ 4817269 w 6400800"/>
                <a:gd name="connsiteY4093" fmla="*/ 371951 h 514350"/>
                <a:gd name="connsiteX4094" fmla="*/ 4817269 w 6400800"/>
                <a:gd name="connsiteY4094" fmla="*/ 364331 h 514350"/>
                <a:gd name="connsiteX4095" fmla="*/ 4816316 w 6400800"/>
                <a:gd name="connsiteY4095" fmla="*/ 376714 h 514350"/>
                <a:gd name="connsiteX4096" fmla="*/ 4820126 w 6400800"/>
                <a:gd name="connsiteY4096" fmla="*/ 370046 h 514350"/>
                <a:gd name="connsiteX4097" fmla="*/ 4820126 w 6400800"/>
                <a:gd name="connsiteY4097" fmla="*/ 370046 h 514350"/>
                <a:gd name="connsiteX4098" fmla="*/ 4820126 w 6400800"/>
                <a:gd name="connsiteY4098" fmla="*/ 370046 h 514350"/>
                <a:gd name="connsiteX4099" fmla="*/ 4816316 w 6400800"/>
                <a:gd name="connsiteY4099" fmla="*/ 378619 h 514350"/>
                <a:gd name="connsiteX4100" fmla="*/ 4816316 w 6400800"/>
                <a:gd name="connsiteY4100" fmla="*/ 376714 h 514350"/>
                <a:gd name="connsiteX4101" fmla="*/ 4762024 w 6400800"/>
                <a:gd name="connsiteY4101" fmla="*/ 305276 h 514350"/>
                <a:gd name="connsiteX4102" fmla="*/ 4763929 w 6400800"/>
                <a:gd name="connsiteY4102" fmla="*/ 322421 h 514350"/>
                <a:gd name="connsiteX4103" fmla="*/ 4760119 w 6400800"/>
                <a:gd name="connsiteY4103" fmla="*/ 309086 h 514350"/>
                <a:gd name="connsiteX4104" fmla="*/ 4762024 w 6400800"/>
                <a:gd name="connsiteY4104" fmla="*/ 300514 h 514350"/>
                <a:gd name="connsiteX4105" fmla="*/ 4762024 w 6400800"/>
                <a:gd name="connsiteY4105" fmla="*/ 305276 h 514350"/>
                <a:gd name="connsiteX4106" fmla="*/ 4755356 w 6400800"/>
                <a:gd name="connsiteY4106" fmla="*/ 279559 h 514350"/>
                <a:gd name="connsiteX4107" fmla="*/ 4760119 w 6400800"/>
                <a:gd name="connsiteY4107" fmla="*/ 294799 h 514350"/>
                <a:gd name="connsiteX4108" fmla="*/ 4761072 w 6400800"/>
                <a:gd name="connsiteY4108" fmla="*/ 297656 h 514350"/>
                <a:gd name="connsiteX4109" fmla="*/ 4758214 w 6400800"/>
                <a:gd name="connsiteY4109" fmla="*/ 304324 h 514350"/>
                <a:gd name="connsiteX4110" fmla="*/ 4754404 w 6400800"/>
                <a:gd name="connsiteY4110" fmla="*/ 292894 h 514350"/>
                <a:gd name="connsiteX4111" fmla="*/ 4755356 w 6400800"/>
                <a:gd name="connsiteY4111" fmla="*/ 279559 h 514350"/>
                <a:gd name="connsiteX4112" fmla="*/ 4759166 w 6400800"/>
                <a:gd name="connsiteY4112" fmla="*/ 342424 h 514350"/>
                <a:gd name="connsiteX4113" fmla="*/ 4755356 w 6400800"/>
                <a:gd name="connsiteY4113" fmla="*/ 331946 h 514350"/>
                <a:gd name="connsiteX4114" fmla="*/ 4756309 w 6400800"/>
                <a:gd name="connsiteY4114" fmla="*/ 326231 h 514350"/>
                <a:gd name="connsiteX4115" fmla="*/ 4759166 w 6400800"/>
                <a:gd name="connsiteY4115" fmla="*/ 342424 h 514350"/>
                <a:gd name="connsiteX4116" fmla="*/ 4753451 w 6400800"/>
                <a:gd name="connsiteY4116" fmla="*/ 312896 h 514350"/>
                <a:gd name="connsiteX4117" fmla="*/ 4754404 w 6400800"/>
                <a:gd name="connsiteY4117" fmla="*/ 315754 h 514350"/>
                <a:gd name="connsiteX4118" fmla="*/ 4753451 w 6400800"/>
                <a:gd name="connsiteY4118" fmla="*/ 317659 h 514350"/>
                <a:gd name="connsiteX4119" fmla="*/ 4753451 w 6400800"/>
                <a:gd name="connsiteY4119" fmla="*/ 312896 h 514350"/>
                <a:gd name="connsiteX4120" fmla="*/ 4755356 w 6400800"/>
                <a:gd name="connsiteY4120" fmla="*/ 373856 h 514350"/>
                <a:gd name="connsiteX4121" fmla="*/ 4756309 w 6400800"/>
                <a:gd name="connsiteY4121" fmla="*/ 375761 h 514350"/>
                <a:gd name="connsiteX4122" fmla="*/ 4754404 w 6400800"/>
                <a:gd name="connsiteY4122" fmla="*/ 379571 h 514350"/>
                <a:gd name="connsiteX4123" fmla="*/ 4752499 w 6400800"/>
                <a:gd name="connsiteY4123" fmla="*/ 379571 h 514350"/>
                <a:gd name="connsiteX4124" fmla="*/ 4755356 w 6400800"/>
                <a:gd name="connsiteY4124" fmla="*/ 373856 h 514350"/>
                <a:gd name="connsiteX4125" fmla="*/ 4748689 w 6400800"/>
                <a:gd name="connsiteY4125" fmla="*/ 291941 h 514350"/>
                <a:gd name="connsiteX4126" fmla="*/ 4746784 w 6400800"/>
                <a:gd name="connsiteY4126" fmla="*/ 303371 h 514350"/>
                <a:gd name="connsiteX4127" fmla="*/ 4746784 w 6400800"/>
                <a:gd name="connsiteY4127" fmla="*/ 303371 h 514350"/>
                <a:gd name="connsiteX4128" fmla="*/ 4746784 w 6400800"/>
                <a:gd name="connsiteY4128" fmla="*/ 299561 h 514350"/>
                <a:gd name="connsiteX4129" fmla="*/ 4748689 w 6400800"/>
                <a:gd name="connsiteY4129" fmla="*/ 291941 h 514350"/>
                <a:gd name="connsiteX4130" fmla="*/ 4738212 w 6400800"/>
                <a:gd name="connsiteY4130" fmla="*/ 327184 h 514350"/>
                <a:gd name="connsiteX4131" fmla="*/ 4737259 w 6400800"/>
                <a:gd name="connsiteY4131" fmla="*/ 341471 h 514350"/>
                <a:gd name="connsiteX4132" fmla="*/ 4736306 w 6400800"/>
                <a:gd name="connsiteY4132" fmla="*/ 336709 h 514350"/>
                <a:gd name="connsiteX4133" fmla="*/ 4738212 w 6400800"/>
                <a:gd name="connsiteY4133" fmla="*/ 327184 h 514350"/>
                <a:gd name="connsiteX4134" fmla="*/ 4720114 w 6400800"/>
                <a:gd name="connsiteY4134" fmla="*/ 261461 h 514350"/>
                <a:gd name="connsiteX4135" fmla="*/ 4720114 w 6400800"/>
                <a:gd name="connsiteY4135" fmla="*/ 261461 h 514350"/>
                <a:gd name="connsiteX4136" fmla="*/ 4729639 w 6400800"/>
                <a:gd name="connsiteY4136" fmla="*/ 290989 h 514350"/>
                <a:gd name="connsiteX4137" fmla="*/ 4731544 w 6400800"/>
                <a:gd name="connsiteY4137" fmla="*/ 296704 h 514350"/>
                <a:gd name="connsiteX4138" fmla="*/ 4727734 w 6400800"/>
                <a:gd name="connsiteY4138" fmla="*/ 308134 h 514350"/>
                <a:gd name="connsiteX4139" fmla="*/ 4723924 w 6400800"/>
                <a:gd name="connsiteY4139" fmla="*/ 295751 h 514350"/>
                <a:gd name="connsiteX4140" fmla="*/ 4718209 w 6400800"/>
                <a:gd name="connsiteY4140" fmla="*/ 276701 h 514350"/>
                <a:gd name="connsiteX4141" fmla="*/ 4720114 w 6400800"/>
                <a:gd name="connsiteY4141" fmla="*/ 261461 h 514350"/>
                <a:gd name="connsiteX4142" fmla="*/ 4709637 w 6400800"/>
                <a:gd name="connsiteY4142" fmla="*/ 324326 h 514350"/>
                <a:gd name="connsiteX4143" fmla="*/ 4713447 w 6400800"/>
                <a:gd name="connsiteY4143" fmla="*/ 301466 h 514350"/>
                <a:gd name="connsiteX4144" fmla="*/ 4719162 w 6400800"/>
                <a:gd name="connsiteY4144" fmla="*/ 331946 h 514350"/>
                <a:gd name="connsiteX4145" fmla="*/ 4715351 w 6400800"/>
                <a:gd name="connsiteY4145" fmla="*/ 343376 h 514350"/>
                <a:gd name="connsiteX4146" fmla="*/ 4715351 w 6400800"/>
                <a:gd name="connsiteY4146" fmla="*/ 343376 h 514350"/>
                <a:gd name="connsiteX4147" fmla="*/ 4707731 w 6400800"/>
                <a:gd name="connsiteY4147" fmla="*/ 332899 h 514350"/>
                <a:gd name="connsiteX4148" fmla="*/ 4709637 w 6400800"/>
                <a:gd name="connsiteY4148" fmla="*/ 324326 h 514350"/>
                <a:gd name="connsiteX4149" fmla="*/ 4703922 w 6400800"/>
                <a:gd name="connsiteY4149" fmla="*/ 355759 h 514350"/>
                <a:gd name="connsiteX4150" fmla="*/ 4705826 w 6400800"/>
                <a:gd name="connsiteY4150" fmla="*/ 360521 h 514350"/>
                <a:gd name="connsiteX4151" fmla="*/ 4708684 w 6400800"/>
                <a:gd name="connsiteY4151" fmla="*/ 369094 h 514350"/>
                <a:gd name="connsiteX4152" fmla="*/ 4704874 w 6400800"/>
                <a:gd name="connsiteY4152" fmla="*/ 377666 h 514350"/>
                <a:gd name="connsiteX4153" fmla="*/ 4704874 w 6400800"/>
                <a:gd name="connsiteY4153" fmla="*/ 376714 h 514350"/>
                <a:gd name="connsiteX4154" fmla="*/ 4702016 w 6400800"/>
                <a:gd name="connsiteY4154" fmla="*/ 371951 h 514350"/>
                <a:gd name="connsiteX4155" fmla="*/ 4703922 w 6400800"/>
                <a:gd name="connsiteY4155" fmla="*/ 355759 h 514350"/>
                <a:gd name="connsiteX4156" fmla="*/ 4682966 w 6400800"/>
                <a:gd name="connsiteY4156" fmla="*/ 380524 h 514350"/>
                <a:gd name="connsiteX4157" fmla="*/ 4680109 w 6400800"/>
                <a:gd name="connsiteY4157" fmla="*/ 392906 h 514350"/>
                <a:gd name="connsiteX4158" fmla="*/ 4676299 w 6400800"/>
                <a:gd name="connsiteY4158" fmla="*/ 393859 h 514350"/>
                <a:gd name="connsiteX4159" fmla="*/ 4675347 w 6400800"/>
                <a:gd name="connsiteY4159" fmla="*/ 388144 h 514350"/>
                <a:gd name="connsiteX4160" fmla="*/ 4682966 w 6400800"/>
                <a:gd name="connsiteY4160" fmla="*/ 378619 h 514350"/>
                <a:gd name="connsiteX4161" fmla="*/ 4682966 w 6400800"/>
                <a:gd name="connsiteY4161" fmla="*/ 380524 h 514350"/>
                <a:gd name="connsiteX4162" fmla="*/ 4672489 w 6400800"/>
                <a:gd name="connsiteY4162" fmla="*/ 361474 h 514350"/>
                <a:gd name="connsiteX4163" fmla="*/ 4679156 w 6400800"/>
                <a:gd name="connsiteY4163" fmla="*/ 373856 h 514350"/>
                <a:gd name="connsiteX4164" fmla="*/ 4672489 w 6400800"/>
                <a:gd name="connsiteY4164" fmla="*/ 379571 h 514350"/>
                <a:gd name="connsiteX4165" fmla="*/ 4671537 w 6400800"/>
                <a:gd name="connsiteY4165" fmla="*/ 376714 h 514350"/>
                <a:gd name="connsiteX4166" fmla="*/ 4670584 w 6400800"/>
                <a:gd name="connsiteY4166" fmla="*/ 370999 h 514350"/>
                <a:gd name="connsiteX4167" fmla="*/ 4672489 w 6400800"/>
                <a:gd name="connsiteY4167" fmla="*/ 361474 h 514350"/>
                <a:gd name="connsiteX4168" fmla="*/ 4661059 w 6400800"/>
                <a:gd name="connsiteY4168" fmla="*/ 265271 h 514350"/>
                <a:gd name="connsiteX4169" fmla="*/ 4663916 w 6400800"/>
                <a:gd name="connsiteY4169" fmla="*/ 252889 h 514350"/>
                <a:gd name="connsiteX4170" fmla="*/ 4669631 w 6400800"/>
                <a:gd name="connsiteY4170" fmla="*/ 237649 h 514350"/>
                <a:gd name="connsiteX4171" fmla="*/ 4669631 w 6400800"/>
                <a:gd name="connsiteY4171" fmla="*/ 242411 h 514350"/>
                <a:gd name="connsiteX4172" fmla="*/ 4661059 w 6400800"/>
                <a:gd name="connsiteY4172" fmla="*/ 269081 h 514350"/>
                <a:gd name="connsiteX4173" fmla="*/ 4661059 w 6400800"/>
                <a:gd name="connsiteY4173" fmla="*/ 265271 h 514350"/>
                <a:gd name="connsiteX4174" fmla="*/ 4645819 w 6400800"/>
                <a:gd name="connsiteY4174" fmla="*/ 278606 h 514350"/>
                <a:gd name="connsiteX4175" fmla="*/ 4648676 w 6400800"/>
                <a:gd name="connsiteY4175" fmla="*/ 260509 h 514350"/>
                <a:gd name="connsiteX4176" fmla="*/ 4650581 w 6400800"/>
                <a:gd name="connsiteY4176" fmla="*/ 250984 h 514350"/>
                <a:gd name="connsiteX4177" fmla="*/ 4650581 w 6400800"/>
                <a:gd name="connsiteY4177" fmla="*/ 251936 h 514350"/>
                <a:gd name="connsiteX4178" fmla="*/ 4652487 w 6400800"/>
                <a:gd name="connsiteY4178" fmla="*/ 265271 h 514350"/>
                <a:gd name="connsiteX4179" fmla="*/ 4652487 w 6400800"/>
                <a:gd name="connsiteY4179" fmla="*/ 270034 h 514350"/>
                <a:gd name="connsiteX4180" fmla="*/ 4650581 w 6400800"/>
                <a:gd name="connsiteY4180" fmla="*/ 278606 h 514350"/>
                <a:gd name="connsiteX4181" fmla="*/ 4648676 w 6400800"/>
                <a:gd name="connsiteY4181" fmla="*/ 290989 h 514350"/>
                <a:gd name="connsiteX4182" fmla="*/ 4645819 w 6400800"/>
                <a:gd name="connsiteY4182" fmla="*/ 278606 h 514350"/>
                <a:gd name="connsiteX4183" fmla="*/ 4645819 w 6400800"/>
                <a:gd name="connsiteY4183" fmla="*/ 278606 h 514350"/>
                <a:gd name="connsiteX4184" fmla="*/ 4642962 w 6400800"/>
                <a:gd name="connsiteY4184" fmla="*/ 293846 h 514350"/>
                <a:gd name="connsiteX4185" fmla="*/ 4644866 w 6400800"/>
                <a:gd name="connsiteY4185" fmla="*/ 302419 h 514350"/>
                <a:gd name="connsiteX4186" fmla="*/ 4645819 w 6400800"/>
                <a:gd name="connsiteY4186" fmla="*/ 309086 h 514350"/>
                <a:gd name="connsiteX4187" fmla="*/ 4645819 w 6400800"/>
                <a:gd name="connsiteY4187" fmla="*/ 309086 h 514350"/>
                <a:gd name="connsiteX4188" fmla="*/ 4642962 w 6400800"/>
                <a:gd name="connsiteY4188" fmla="*/ 306229 h 514350"/>
                <a:gd name="connsiteX4189" fmla="*/ 4642009 w 6400800"/>
                <a:gd name="connsiteY4189" fmla="*/ 299561 h 514350"/>
                <a:gd name="connsiteX4190" fmla="*/ 4642962 w 6400800"/>
                <a:gd name="connsiteY4190" fmla="*/ 293846 h 514350"/>
                <a:gd name="connsiteX4191" fmla="*/ 4595337 w 6400800"/>
                <a:gd name="connsiteY4191" fmla="*/ 280511 h 514350"/>
                <a:gd name="connsiteX4192" fmla="*/ 4598194 w 6400800"/>
                <a:gd name="connsiteY4192" fmla="*/ 293846 h 514350"/>
                <a:gd name="connsiteX4193" fmla="*/ 4598194 w 6400800"/>
                <a:gd name="connsiteY4193" fmla="*/ 300514 h 514350"/>
                <a:gd name="connsiteX4194" fmla="*/ 4598194 w 6400800"/>
                <a:gd name="connsiteY4194" fmla="*/ 311944 h 514350"/>
                <a:gd name="connsiteX4195" fmla="*/ 4596289 w 6400800"/>
                <a:gd name="connsiteY4195" fmla="*/ 319564 h 514350"/>
                <a:gd name="connsiteX4196" fmla="*/ 4593431 w 6400800"/>
                <a:gd name="connsiteY4196" fmla="*/ 311944 h 514350"/>
                <a:gd name="connsiteX4197" fmla="*/ 4593431 w 6400800"/>
                <a:gd name="connsiteY4197" fmla="*/ 305276 h 514350"/>
                <a:gd name="connsiteX4198" fmla="*/ 4593431 w 6400800"/>
                <a:gd name="connsiteY4198" fmla="*/ 286226 h 514350"/>
                <a:gd name="connsiteX4199" fmla="*/ 4595337 w 6400800"/>
                <a:gd name="connsiteY4199" fmla="*/ 280511 h 514350"/>
                <a:gd name="connsiteX4200" fmla="*/ 4595337 w 6400800"/>
                <a:gd name="connsiteY4200" fmla="*/ 280511 h 514350"/>
                <a:gd name="connsiteX4201" fmla="*/ 4595337 w 6400800"/>
                <a:gd name="connsiteY4201" fmla="*/ 277654 h 514350"/>
                <a:gd name="connsiteX4202" fmla="*/ 4593431 w 6400800"/>
                <a:gd name="connsiteY4202" fmla="*/ 279559 h 514350"/>
                <a:gd name="connsiteX4203" fmla="*/ 4592479 w 6400800"/>
                <a:gd name="connsiteY4203" fmla="*/ 280511 h 514350"/>
                <a:gd name="connsiteX4204" fmla="*/ 4592479 w 6400800"/>
                <a:gd name="connsiteY4204" fmla="*/ 263366 h 514350"/>
                <a:gd name="connsiteX4205" fmla="*/ 4595337 w 6400800"/>
                <a:gd name="connsiteY4205" fmla="*/ 277654 h 514350"/>
                <a:gd name="connsiteX4206" fmla="*/ 4576287 w 6400800"/>
                <a:gd name="connsiteY4206" fmla="*/ 253841 h 514350"/>
                <a:gd name="connsiteX4207" fmla="*/ 4575334 w 6400800"/>
                <a:gd name="connsiteY4207" fmla="*/ 273844 h 514350"/>
                <a:gd name="connsiteX4208" fmla="*/ 4569619 w 6400800"/>
                <a:gd name="connsiteY4208" fmla="*/ 262414 h 514350"/>
                <a:gd name="connsiteX4209" fmla="*/ 4576287 w 6400800"/>
                <a:gd name="connsiteY4209" fmla="*/ 253841 h 514350"/>
                <a:gd name="connsiteX4210" fmla="*/ 4566762 w 6400800"/>
                <a:gd name="connsiteY4210" fmla="*/ 268129 h 514350"/>
                <a:gd name="connsiteX4211" fmla="*/ 4566762 w 6400800"/>
                <a:gd name="connsiteY4211" fmla="*/ 268129 h 514350"/>
                <a:gd name="connsiteX4212" fmla="*/ 4571524 w 6400800"/>
                <a:gd name="connsiteY4212" fmla="*/ 284321 h 514350"/>
                <a:gd name="connsiteX4213" fmla="*/ 4574381 w 6400800"/>
                <a:gd name="connsiteY4213" fmla="*/ 296704 h 514350"/>
                <a:gd name="connsiteX4214" fmla="*/ 4574381 w 6400800"/>
                <a:gd name="connsiteY4214" fmla="*/ 301466 h 514350"/>
                <a:gd name="connsiteX4215" fmla="*/ 4568666 w 6400800"/>
                <a:gd name="connsiteY4215" fmla="*/ 289084 h 514350"/>
                <a:gd name="connsiteX4216" fmla="*/ 4574381 w 6400800"/>
                <a:gd name="connsiteY4216" fmla="*/ 309086 h 514350"/>
                <a:gd name="connsiteX4217" fmla="*/ 4571524 w 6400800"/>
                <a:gd name="connsiteY4217" fmla="*/ 314801 h 514350"/>
                <a:gd name="connsiteX4218" fmla="*/ 4571524 w 6400800"/>
                <a:gd name="connsiteY4218" fmla="*/ 315754 h 514350"/>
                <a:gd name="connsiteX4219" fmla="*/ 4564856 w 6400800"/>
                <a:gd name="connsiteY4219" fmla="*/ 271939 h 514350"/>
                <a:gd name="connsiteX4220" fmla="*/ 4566762 w 6400800"/>
                <a:gd name="connsiteY4220" fmla="*/ 268129 h 514350"/>
                <a:gd name="connsiteX4221" fmla="*/ 4560094 w 6400800"/>
                <a:gd name="connsiteY4221" fmla="*/ 254794 h 514350"/>
                <a:gd name="connsiteX4222" fmla="*/ 4562951 w 6400800"/>
                <a:gd name="connsiteY4222" fmla="*/ 260509 h 514350"/>
                <a:gd name="connsiteX4223" fmla="*/ 4561047 w 6400800"/>
                <a:gd name="connsiteY4223" fmla="*/ 263366 h 514350"/>
                <a:gd name="connsiteX4224" fmla="*/ 4557237 w 6400800"/>
                <a:gd name="connsiteY4224" fmla="*/ 268129 h 514350"/>
                <a:gd name="connsiteX4225" fmla="*/ 4560094 w 6400800"/>
                <a:gd name="connsiteY4225" fmla="*/ 254794 h 514350"/>
                <a:gd name="connsiteX4226" fmla="*/ 4548664 w 6400800"/>
                <a:gd name="connsiteY4226" fmla="*/ 317659 h 514350"/>
                <a:gd name="connsiteX4227" fmla="*/ 4557237 w 6400800"/>
                <a:gd name="connsiteY4227" fmla="*/ 290036 h 514350"/>
                <a:gd name="connsiteX4228" fmla="*/ 4562951 w 6400800"/>
                <a:gd name="connsiteY4228" fmla="*/ 275749 h 514350"/>
                <a:gd name="connsiteX4229" fmla="*/ 4560094 w 6400800"/>
                <a:gd name="connsiteY4229" fmla="*/ 318611 h 514350"/>
                <a:gd name="connsiteX4230" fmla="*/ 4555331 w 6400800"/>
                <a:gd name="connsiteY4230" fmla="*/ 310991 h 514350"/>
                <a:gd name="connsiteX4231" fmla="*/ 4560094 w 6400800"/>
                <a:gd name="connsiteY4231" fmla="*/ 321469 h 514350"/>
                <a:gd name="connsiteX4232" fmla="*/ 4560094 w 6400800"/>
                <a:gd name="connsiteY4232" fmla="*/ 321469 h 514350"/>
                <a:gd name="connsiteX4233" fmla="*/ 4559141 w 6400800"/>
                <a:gd name="connsiteY4233" fmla="*/ 342424 h 514350"/>
                <a:gd name="connsiteX4234" fmla="*/ 4555331 w 6400800"/>
                <a:gd name="connsiteY4234" fmla="*/ 352901 h 514350"/>
                <a:gd name="connsiteX4235" fmla="*/ 4552474 w 6400800"/>
                <a:gd name="connsiteY4235" fmla="*/ 361474 h 514350"/>
                <a:gd name="connsiteX4236" fmla="*/ 4547712 w 6400800"/>
                <a:gd name="connsiteY4236" fmla="*/ 343376 h 514350"/>
                <a:gd name="connsiteX4237" fmla="*/ 4547712 w 6400800"/>
                <a:gd name="connsiteY4237" fmla="*/ 328136 h 514350"/>
                <a:gd name="connsiteX4238" fmla="*/ 4545806 w 6400800"/>
                <a:gd name="connsiteY4238" fmla="*/ 338614 h 514350"/>
                <a:gd name="connsiteX4239" fmla="*/ 4545806 w 6400800"/>
                <a:gd name="connsiteY4239" fmla="*/ 337661 h 514350"/>
                <a:gd name="connsiteX4240" fmla="*/ 4544854 w 6400800"/>
                <a:gd name="connsiteY4240" fmla="*/ 335756 h 514350"/>
                <a:gd name="connsiteX4241" fmla="*/ 4548664 w 6400800"/>
                <a:gd name="connsiteY4241" fmla="*/ 317659 h 514350"/>
                <a:gd name="connsiteX4242" fmla="*/ 4457224 w 6400800"/>
                <a:gd name="connsiteY4242" fmla="*/ 306229 h 514350"/>
                <a:gd name="connsiteX4243" fmla="*/ 4457224 w 6400800"/>
                <a:gd name="connsiteY4243" fmla="*/ 306229 h 514350"/>
                <a:gd name="connsiteX4244" fmla="*/ 4457224 w 6400800"/>
                <a:gd name="connsiteY4244" fmla="*/ 304324 h 514350"/>
                <a:gd name="connsiteX4245" fmla="*/ 4457224 w 6400800"/>
                <a:gd name="connsiteY4245" fmla="*/ 306229 h 514350"/>
                <a:gd name="connsiteX4246" fmla="*/ 4478179 w 6400800"/>
                <a:gd name="connsiteY4246" fmla="*/ 359569 h 514350"/>
                <a:gd name="connsiteX4247" fmla="*/ 4476274 w 6400800"/>
                <a:gd name="connsiteY4247" fmla="*/ 339566 h 514350"/>
                <a:gd name="connsiteX4248" fmla="*/ 4476274 w 6400800"/>
                <a:gd name="connsiteY4248" fmla="*/ 336709 h 514350"/>
                <a:gd name="connsiteX4249" fmla="*/ 4483894 w 6400800"/>
                <a:gd name="connsiteY4249" fmla="*/ 347186 h 514350"/>
                <a:gd name="connsiteX4250" fmla="*/ 4478179 w 6400800"/>
                <a:gd name="connsiteY4250" fmla="*/ 359569 h 514350"/>
                <a:gd name="connsiteX4251" fmla="*/ 4497229 w 6400800"/>
                <a:gd name="connsiteY4251" fmla="*/ 371951 h 514350"/>
                <a:gd name="connsiteX4252" fmla="*/ 4497229 w 6400800"/>
                <a:gd name="connsiteY4252" fmla="*/ 367189 h 514350"/>
                <a:gd name="connsiteX4253" fmla="*/ 4498181 w 6400800"/>
                <a:gd name="connsiteY4253" fmla="*/ 370046 h 514350"/>
                <a:gd name="connsiteX4254" fmla="*/ 4497229 w 6400800"/>
                <a:gd name="connsiteY4254" fmla="*/ 371951 h 514350"/>
                <a:gd name="connsiteX4255" fmla="*/ 4504849 w 6400800"/>
                <a:gd name="connsiteY4255" fmla="*/ 322421 h 514350"/>
                <a:gd name="connsiteX4256" fmla="*/ 4504849 w 6400800"/>
                <a:gd name="connsiteY4256" fmla="*/ 330994 h 514350"/>
                <a:gd name="connsiteX4257" fmla="*/ 4501991 w 6400800"/>
                <a:gd name="connsiteY4257" fmla="*/ 341471 h 514350"/>
                <a:gd name="connsiteX4258" fmla="*/ 4501039 w 6400800"/>
                <a:gd name="connsiteY4258" fmla="*/ 348139 h 514350"/>
                <a:gd name="connsiteX4259" fmla="*/ 4499134 w 6400800"/>
                <a:gd name="connsiteY4259" fmla="*/ 345281 h 514350"/>
                <a:gd name="connsiteX4260" fmla="*/ 4498181 w 6400800"/>
                <a:gd name="connsiteY4260" fmla="*/ 342424 h 514350"/>
                <a:gd name="connsiteX4261" fmla="*/ 4501991 w 6400800"/>
                <a:gd name="connsiteY4261" fmla="*/ 326231 h 514350"/>
                <a:gd name="connsiteX4262" fmla="*/ 4506754 w 6400800"/>
                <a:gd name="connsiteY4262" fmla="*/ 310991 h 514350"/>
                <a:gd name="connsiteX4263" fmla="*/ 4504849 w 6400800"/>
                <a:gd name="connsiteY4263" fmla="*/ 322421 h 514350"/>
                <a:gd name="connsiteX4264" fmla="*/ 4462939 w 6400800"/>
                <a:gd name="connsiteY4264" fmla="*/ 250984 h 514350"/>
                <a:gd name="connsiteX4265" fmla="*/ 4470559 w 6400800"/>
                <a:gd name="connsiteY4265" fmla="*/ 226219 h 514350"/>
                <a:gd name="connsiteX4266" fmla="*/ 4474369 w 6400800"/>
                <a:gd name="connsiteY4266" fmla="*/ 231934 h 514350"/>
                <a:gd name="connsiteX4267" fmla="*/ 4479131 w 6400800"/>
                <a:gd name="connsiteY4267" fmla="*/ 238601 h 514350"/>
                <a:gd name="connsiteX4268" fmla="*/ 4483894 w 6400800"/>
                <a:gd name="connsiteY4268" fmla="*/ 248126 h 514350"/>
                <a:gd name="connsiteX4269" fmla="*/ 4489609 w 6400800"/>
                <a:gd name="connsiteY4269" fmla="*/ 260509 h 514350"/>
                <a:gd name="connsiteX4270" fmla="*/ 4495324 w 6400800"/>
                <a:gd name="connsiteY4270" fmla="*/ 275749 h 514350"/>
                <a:gd name="connsiteX4271" fmla="*/ 4501039 w 6400800"/>
                <a:gd name="connsiteY4271" fmla="*/ 293846 h 514350"/>
                <a:gd name="connsiteX4272" fmla="*/ 4503897 w 6400800"/>
                <a:gd name="connsiteY4272" fmla="*/ 303371 h 514350"/>
                <a:gd name="connsiteX4273" fmla="*/ 4497229 w 6400800"/>
                <a:gd name="connsiteY4273" fmla="*/ 317659 h 514350"/>
                <a:gd name="connsiteX4274" fmla="*/ 4493419 w 6400800"/>
                <a:gd name="connsiteY4274" fmla="*/ 326231 h 514350"/>
                <a:gd name="connsiteX4275" fmla="*/ 4488656 w 6400800"/>
                <a:gd name="connsiteY4275" fmla="*/ 280511 h 514350"/>
                <a:gd name="connsiteX4276" fmla="*/ 4487704 w 6400800"/>
                <a:gd name="connsiteY4276" fmla="*/ 319564 h 514350"/>
                <a:gd name="connsiteX4277" fmla="*/ 4483894 w 6400800"/>
                <a:gd name="connsiteY4277" fmla="*/ 311944 h 514350"/>
                <a:gd name="connsiteX4278" fmla="*/ 4473416 w 6400800"/>
                <a:gd name="connsiteY4278" fmla="*/ 289084 h 514350"/>
                <a:gd name="connsiteX4279" fmla="*/ 4481037 w 6400800"/>
                <a:gd name="connsiteY4279" fmla="*/ 312896 h 514350"/>
                <a:gd name="connsiteX4280" fmla="*/ 4486751 w 6400800"/>
                <a:gd name="connsiteY4280" fmla="*/ 330041 h 514350"/>
                <a:gd name="connsiteX4281" fmla="*/ 4484847 w 6400800"/>
                <a:gd name="connsiteY4281" fmla="*/ 328136 h 514350"/>
                <a:gd name="connsiteX4282" fmla="*/ 4475322 w 6400800"/>
                <a:gd name="connsiteY4282" fmla="*/ 318611 h 514350"/>
                <a:gd name="connsiteX4283" fmla="*/ 4473416 w 6400800"/>
                <a:gd name="connsiteY4283" fmla="*/ 304324 h 514350"/>
                <a:gd name="connsiteX4284" fmla="*/ 4468654 w 6400800"/>
                <a:gd name="connsiteY4284" fmla="*/ 278606 h 514350"/>
                <a:gd name="connsiteX4285" fmla="*/ 4477226 w 6400800"/>
                <a:gd name="connsiteY4285" fmla="*/ 256699 h 514350"/>
                <a:gd name="connsiteX4286" fmla="*/ 4466749 w 6400800"/>
                <a:gd name="connsiteY4286" fmla="*/ 273844 h 514350"/>
                <a:gd name="connsiteX4287" fmla="*/ 4462939 w 6400800"/>
                <a:gd name="connsiteY4287" fmla="*/ 258604 h 514350"/>
                <a:gd name="connsiteX4288" fmla="*/ 4462939 w 6400800"/>
                <a:gd name="connsiteY4288" fmla="*/ 256699 h 514350"/>
                <a:gd name="connsiteX4289" fmla="*/ 4462939 w 6400800"/>
                <a:gd name="connsiteY4289" fmla="*/ 250984 h 514350"/>
                <a:gd name="connsiteX4290" fmla="*/ 4461034 w 6400800"/>
                <a:gd name="connsiteY4290" fmla="*/ 255746 h 514350"/>
                <a:gd name="connsiteX4291" fmla="*/ 4461034 w 6400800"/>
                <a:gd name="connsiteY4291" fmla="*/ 255746 h 514350"/>
                <a:gd name="connsiteX4292" fmla="*/ 4461034 w 6400800"/>
                <a:gd name="connsiteY4292" fmla="*/ 255746 h 514350"/>
                <a:gd name="connsiteX4293" fmla="*/ 4461034 w 6400800"/>
                <a:gd name="connsiteY4293" fmla="*/ 255746 h 514350"/>
                <a:gd name="connsiteX4294" fmla="*/ 4455319 w 6400800"/>
                <a:gd name="connsiteY4294" fmla="*/ 274796 h 514350"/>
                <a:gd name="connsiteX4295" fmla="*/ 4457224 w 6400800"/>
                <a:gd name="connsiteY4295" fmla="*/ 268129 h 514350"/>
                <a:gd name="connsiteX4296" fmla="*/ 4457224 w 6400800"/>
                <a:gd name="connsiteY4296" fmla="*/ 273844 h 514350"/>
                <a:gd name="connsiteX4297" fmla="*/ 4458176 w 6400800"/>
                <a:gd name="connsiteY4297" fmla="*/ 284321 h 514350"/>
                <a:gd name="connsiteX4298" fmla="*/ 4454366 w 6400800"/>
                <a:gd name="connsiteY4298" fmla="*/ 292894 h 514350"/>
                <a:gd name="connsiteX4299" fmla="*/ 4455319 w 6400800"/>
                <a:gd name="connsiteY4299" fmla="*/ 274796 h 514350"/>
                <a:gd name="connsiteX4300" fmla="*/ 4449604 w 6400800"/>
                <a:gd name="connsiteY4300" fmla="*/ 361474 h 514350"/>
                <a:gd name="connsiteX4301" fmla="*/ 4451509 w 6400800"/>
                <a:gd name="connsiteY4301" fmla="*/ 339566 h 514350"/>
                <a:gd name="connsiteX4302" fmla="*/ 4453414 w 6400800"/>
                <a:gd name="connsiteY4302" fmla="*/ 343376 h 514350"/>
                <a:gd name="connsiteX4303" fmla="*/ 4453414 w 6400800"/>
                <a:gd name="connsiteY4303" fmla="*/ 344329 h 514350"/>
                <a:gd name="connsiteX4304" fmla="*/ 4453414 w 6400800"/>
                <a:gd name="connsiteY4304" fmla="*/ 344329 h 514350"/>
                <a:gd name="connsiteX4305" fmla="*/ 4451509 w 6400800"/>
                <a:gd name="connsiteY4305" fmla="*/ 366236 h 514350"/>
                <a:gd name="connsiteX4306" fmla="*/ 4448651 w 6400800"/>
                <a:gd name="connsiteY4306" fmla="*/ 388144 h 514350"/>
                <a:gd name="connsiteX4307" fmla="*/ 4446747 w 6400800"/>
                <a:gd name="connsiteY4307" fmla="*/ 386239 h 514350"/>
                <a:gd name="connsiteX4308" fmla="*/ 4449604 w 6400800"/>
                <a:gd name="connsiteY4308" fmla="*/ 361474 h 514350"/>
                <a:gd name="connsiteX4309" fmla="*/ 4386739 w 6400800"/>
                <a:gd name="connsiteY4309" fmla="*/ 331946 h 514350"/>
                <a:gd name="connsiteX4310" fmla="*/ 4390549 w 6400800"/>
                <a:gd name="connsiteY4310" fmla="*/ 335756 h 514350"/>
                <a:gd name="connsiteX4311" fmla="*/ 4390549 w 6400800"/>
                <a:gd name="connsiteY4311" fmla="*/ 342424 h 514350"/>
                <a:gd name="connsiteX4312" fmla="*/ 4386739 w 6400800"/>
                <a:gd name="connsiteY4312" fmla="*/ 347186 h 514350"/>
                <a:gd name="connsiteX4313" fmla="*/ 4386739 w 6400800"/>
                <a:gd name="connsiteY4313" fmla="*/ 331946 h 514350"/>
                <a:gd name="connsiteX4314" fmla="*/ 4389597 w 6400800"/>
                <a:gd name="connsiteY4314" fmla="*/ 376714 h 514350"/>
                <a:gd name="connsiteX4315" fmla="*/ 4388644 w 6400800"/>
                <a:gd name="connsiteY4315" fmla="*/ 375761 h 514350"/>
                <a:gd name="connsiteX4316" fmla="*/ 4387691 w 6400800"/>
                <a:gd name="connsiteY4316" fmla="*/ 370046 h 514350"/>
                <a:gd name="connsiteX4317" fmla="*/ 4387691 w 6400800"/>
                <a:gd name="connsiteY4317" fmla="*/ 360521 h 514350"/>
                <a:gd name="connsiteX4318" fmla="*/ 4387691 w 6400800"/>
                <a:gd name="connsiteY4318" fmla="*/ 351949 h 514350"/>
                <a:gd name="connsiteX4319" fmla="*/ 4391501 w 6400800"/>
                <a:gd name="connsiteY4319" fmla="*/ 345281 h 514350"/>
                <a:gd name="connsiteX4320" fmla="*/ 4391501 w 6400800"/>
                <a:gd name="connsiteY4320" fmla="*/ 349091 h 514350"/>
                <a:gd name="connsiteX4321" fmla="*/ 4392454 w 6400800"/>
                <a:gd name="connsiteY4321" fmla="*/ 370046 h 514350"/>
                <a:gd name="connsiteX4322" fmla="*/ 4389597 w 6400800"/>
                <a:gd name="connsiteY4322" fmla="*/ 376714 h 514350"/>
                <a:gd name="connsiteX4323" fmla="*/ 4424839 w 6400800"/>
                <a:gd name="connsiteY4323" fmla="*/ 351949 h 514350"/>
                <a:gd name="connsiteX4324" fmla="*/ 4424839 w 6400800"/>
                <a:gd name="connsiteY4324" fmla="*/ 354806 h 514350"/>
                <a:gd name="connsiteX4325" fmla="*/ 4422934 w 6400800"/>
                <a:gd name="connsiteY4325" fmla="*/ 356711 h 514350"/>
                <a:gd name="connsiteX4326" fmla="*/ 4424839 w 6400800"/>
                <a:gd name="connsiteY4326" fmla="*/ 351949 h 514350"/>
                <a:gd name="connsiteX4327" fmla="*/ 4415314 w 6400800"/>
                <a:gd name="connsiteY4327" fmla="*/ 411004 h 514350"/>
                <a:gd name="connsiteX4328" fmla="*/ 4415314 w 6400800"/>
                <a:gd name="connsiteY4328" fmla="*/ 411956 h 514350"/>
                <a:gd name="connsiteX4329" fmla="*/ 4412456 w 6400800"/>
                <a:gd name="connsiteY4329" fmla="*/ 409099 h 514350"/>
                <a:gd name="connsiteX4330" fmla="*/ 4411504 w 6400800"/>
                <a:gd name="connsiteY4330" fmla="*/ 385286 h 514350"/>
                <a:gd name="connsiteX4331" fmla="*/ 4420076 w 6400800"/>
                <a:gd name="connsiteY4331" fmla="*/ 372904 h 514350"/>
                <a:gd name="connsiteX4332" fmla="*/ 4421029 w 6400800"/>
                <a:gd name="connsiteY4332" fmla="*/ 374809 h 514350"/>
                <a:gd name="connsiteX4333" fmla="*/ 4415314 w 6400800"/>
                <a:gd name="connsiteY4333" fmla="*/ 411004 h 514350"/>
                <a:gd name="connsiteX4334" fmla="*/ 4410551 w 6400800"/>
                <a:gd name="connsiteY4334" fmla="*/ 254794 h 514350"/>
                <a:gd name="connsiteX4335" fmla="*/ 4421029 w 6400800"/>
                <a:gd name="connsiteY4335" fmla="*/ 273844 h 514350"/>
                <a:gd name="connsiteX4336" fmla="*/ 4415314 w 6400800"/>
                <a:gd name="connsiteY4336" fmla="*/ 293846 h 514350"/>
                <a:gd name="connsiteX4337" fmla="*/ 4408647 w 6400800"/>
                <a:gd name="connsiteY4337" fmla="*/ 316706 h 514350"/>
                <a:gd name="connsiteX4338" fmla="*/ 4406741 w 6400800"/>
                <a:gd name="connsiteY4338" fmla="*/ 297656 h 514350"/>
                <a:gd name="connsiteX4339" fmla="*/ 4402931 w 6400800"/>
                <a:gd name="connsiteY4339" fmla="*/ 331946 h 514350"/>
                <a:gd name="connsiteX4340" fmla="*/ 4401026 w 6400800"/>
                <a:gd name="connsiteY4340" fmla="*/ 337661 h 514350"/>
                <a:gd name="connsiteX4341" fmla="*/ 4400074 w 6400800"/>
                <a:gd name="connsiteY4341" fmla="*/ 336709 h 514350"/>
                <a:gd name="connsiteX4342" fmla="*/ 4388644 w 6400800"/>
                <a:gd name="connsiteY4342" fmla="*/ 270034 h 514350"/>
                <a:gd name="connsiteX4343" fmla="*/ 4389597 w 6400800"/>
                <a:gd name="connsiteY4343" fmla="*/ 328136 h 514350"/>
                <a:gd name="connsiteX4344" fmla="*/ 4386739 w 6400800"/>
                <a:gd name="connsiteY4344" fmla="*/ 325279 h 514350"/>
                <a:gd name="connsiteX4345" fmla="*/ 4386739 w 6400800"/>
                <a:gd name="connsiteY4345" fmla="*/ 323374 h 514350"/>
                <a:gd name="connsiteX4346" fmla="*/ 4387691 w 6400800"/>
                <a:gd name="connsiteY4346" fmla="*/ 290989 h 514350"/>
                <a:gd name="connsiteX4347" fmla="*/ 4389597 w 6400800"/>
                <a:gd name="connsiteY4347" fmla="*/ 263366 h 514350"/>
                <a:gd name="connsiteX4348" fmla="*/ 4391501 w 6400800"/>
                <a:gd name="connsiteY4348" fmla="*/ 242411 h 514350"/>
                <a:gd name="connsiteX4349" fmla="*/ 4393406 w 6400800"/>
                <a:gd name="connsiteY4349" fmla="*/ 225266 h 514350"/>
                <a:gd name="connsiteX4350" fmla="*/ 4410551 w 6400800"/>
                <a:gd name="connsiteY4350" fmla="*/ 254794 h 514350"/>
                <a:gd name="connsiteX4351" fmla="*/ 4389597 w 6400800"/>
                <a:gd name="connsiteY4351" fmla="*/ 217646 h 514350"/>
                <a:gd name="connsiteX4352" fmla="*/ 4393406 w 6400800"/>
                <a:gd name="connsiteY4352" fmla="*/ 224314 h 514350"/>
                <a:gd name="connsiteX4353" fmla="*/ 4387691 w 6400800"/>
                <a:gd name="connsiteY4353" fmla="*/ 240506 h 514350"/>
                <a:gd name="connsiteX4354" fmla="*/ 4381976 w 6400800"/>
                <a:gd name="connsiteY4354" fmla="*/ 260509 h 514350"/>
                <a:gd name="connsiteX4355" fmla="*/ 4381976 w 6400800"/>
                <a:gd name="connsiteY4355" fmla="*/ 256699 h 514350"/>
                <a:gd name="connsiteX4356" fmla="*/ 4389597 w 6400800"/>
                <a:gd name="connsiteY4356" fmla="*/ 217646 h 514350"/>
                <a:gd name="connsiteX4357" fmla="*/ 4374356 w 6400800"/>
                <a:gd name="connsiteY4357" fmla="*/ 291941 h 514350"/>
                <a:gd name="connsiteX4358" fmla="*/ 4374356 w 6400800"/>
                <a:gd name="connsiteY4358" fmla="*/ 292894 h 514350"/>
                <a:gd name="connsiteX4359" fmla="*/ 4374356 w 6400800"/>
                <a:gd name="connsiteY4359" fmla="*/ 291941 h 514350"/>
                <a:gd name="connsiteX4360" fmla="*/ 4374356 w 6400800"/>
                <a:gd name="connsiteY4360" fmla="*/ 291941 h 514350"/>
                <a:gd name="connsiteX4361" fmla="*/ 4360069 w 6400800"/>
                <a:gd name="connsiteY4361" fmla="*/ 282416 h 514350"/>
                <a:gd name="connsiteX4362" fmla="*/ 4360069 w 6400800"/>
                <a:gd name="connsiteY4362" fmla="*/ 290036 h 514350"/>
                <a:gd name="connsiteX4363" fmla="*/ 4359116 w 6400800"/>
                <a:gd name="connsiteY4363" fmla="*/ 288131 h 514350"/>
                <a:gd name="connsiteX4364" fmla="*/ 4360069 w 6400800"/>
                <a:gd name="connsiteY4364" fmla="*/ 282416 h 514350"/>
                <a:gd name="connsiteX4365" fmla="*/ 4313397 w 6400800"/>
                <a:gd name="connsiteY4365" fmla="*/ 387191 h 514350"/>
                <a:gd name="connsiteX4366" fmla="*/ 4311491 w 6400800"/>
                <a:gd name="connsiteY4366" fmla="*/ 391001 h 514350"/>
                <a:gd name="connsiteX4367" fmla="*/ 4313397 w 6400800"/>
                <a:gd name="connsiteY4367" fmla="*/ 387191 h 514350"/>
                <a:gd name="connsiteX4368" fmla="*/ 4313397 w 6400800"/>
                <a:gd name="connsiteY4368" fmla="*/ 387191 h 514350"/>
                <a:gd name="connsiteX4369" fmla="*/ 4311491 w 6400800"/>
                <a:gd name="connsiteY4369" fmla="*/ 351949 h 514350"/>
                <a:gd name="connsiteX4370" fmla="*/ 4312444 w 6400800"/>
                <a:gd name="connsiteY4370" fmla="*/ 365284 h 514350"/>
                <a:gd name="connsiteX4371" fmla="*/ 4311491 w 6400800"/>
                <a:gd name="connsiteY4371" fmla="*/ 363379 h 514350"/>
                <a:gd name="connsiteX4372" fmla="*/ 4311491 w 6400800"/>
                <a:gd name="connsiteY4372" fmla="*/ 351949 h 514350"/>
                <a:gd name="connsiteX4373" fmla="*/ 4247674 w 6400800"/>
                <a:gd name="connsiteY4373" fmla="*/ 313849 h 514350"/>
                <a:gd name="connsiteX4374" fmla="*/ 4247674 w 6400800"/>
                <a:gd name="connsiteY4374" fmla="*/ 311944 h 514350"/>
                <a:gd name="connsiteX4375" fmla="*/ 4247674 w 6400800"/>
                <a:gd name="connsiteY4375" fmla="*/ 313849 h 514350"/>
                <a:gd name="connsiteX4376" fmla="*/ 4246722 w 6400800"/>
                <a:gd name="connsiteY4376" fmla="*/ 324326 h 514350"/>
                <a:gd name="connsiteX4377" fmla="*/ 4246722 w 6400800"/>
                <a:gd name="connsiteY4377" fmla="*/ 322421 h 514350"/>
                <a:gd name="connsiteX4378" fmla="*/ 4247674 w 6400800"/>
                <a:gd name="connsiteY4378" fmla="*/ 313849 h 514350"/>
                <a:gd name="connsiteX4379" fmla="*/ 4181951 w 6400800"/>
                <a:gd name="connsiteY4379" fmla="*/ 367189 h 514350"/>
                <a:gd name="connsiteX4380" fmla="*/ 4182904 w 6400800"/>
                <a:gd name="connsiteY4380" fmla="*/ 324326 h 514350"/>
                <a:gd name="connsiteX4381" fmla="*/ 4183856 w 6400800"/>
                <a:gd name="connsiteY4381" fmla="*/ 330041 h 514350"/>
                <a:gd name="connsiteX4382" fmla="*/ 4185761 w 6400800"/>
                <a:gd name="connsiteY4382" fmla="*/ 340519 h 514350"/>
                <a:gd name="connsiteX4383" fmla="*/ 4185761 w 6400800"/>
                <a:gd name="connsiteY4383" fmla="*/ 342424 h 514350"/>
                <a:gd name="connsiteX4384" fmla="*/ 4183856 w 6400800"/>
                <a:gd name="connsiteY4384" fmla="*/ 338614 h 514350"/>
                <a:gd name="connsiteX4385" fmla="*/ 4187666 w 6400800"/>
                <a:gd name="connsiteY4385" fmla="*/ 357664 h 514350"/>
                <a:gd name="connsiteX4386" fmla="*/ 4189571 w 6400800"/>
                <a:gd name="connsiteY4386" fmla="*/ 365284 h 514350"/>
                <a:gd name="connsiteX4387" fmla="*/ 4191476 w 6400800"/>
                <a:gd name="connsiteY4387" fmla="*/ 373856 h 514350"/>
                <a:gd name="connsiteX4388" fmla="*/ 4190524 w 6400800"/>
                <a:gd name="connsiteY4388" fmla="*/ 386239 h 514350"/>
                <a:gd name="connsiteX4389" fmla="*/ 4190524 w 6400800"/>
                <a:gd name="connsiteY4389" fmla="*/ 391954 h 514350"/>
                <a:gd name="connsiteX4390" fmla="*/ 4181951 w 6400800"/>
                <a:gd name="connsiteY4390" fmla="*/ 367189 h 514350"/>
                <a:gd name="connsiteX4391" fmla="*/ 4181951 w 6400800"/>
                <a:gd name="connsiteY4391" fmla="*/ 367189 h 514350"/>
                <a:gd name="connsiteX4392" fmla="*/ 4161949 w 6400800"/>
                <a:gd name="connsiteY4392" fmla="*/ 401479 h 514350"/>
                <a:gd name="connsiteX4393" fmla="*/ 4161949 w 6400800"/>
                <a:gd name="connsiteY4393" fmla="*/ 399574 h 514350"/>
                <a:gd name="connsiteX4394" fmla="*/ 4161949 w 6400800"/>
                <a:gd name="connsiteY4394" fmla="*/ 399574 h 514350"/>
                <a:gd name="connsiteX4395" fmla="*/ 4161949 w 6400800"/>
                <a:gd name="connsiteY4395" fmla="*/ 401479 h 514350"/>
                <a:gd name="connsiteX4396" fmla="*/ 4160044 w 6400800"/>
                <a:gd name="connsiteY4396" fmla="*/ 306229 h 514350"/>
                <a:gd name="connsiteX4397" fmla="*/ 4160996 w 6400800"/>
                <a:gd name="connsiteY4397" fmla="*/ 292894 h 514350"/>
                <a:gd name="connsiteX4398" fmla="*/ 4163854 w 6400800"/>
                <a:gd name="connsiteY4398" fmla="*/ 282416 h 514350"/>
                <a:gd name="connsiteX4399" fmla="*/ 4162901 w 6400800"/>
                <a:gd name="connsiteY4399" fmla="*/ 313849 h 514350"/>
                <a:gd name="connsiteX4400" fmla="*/ 4160044 w 6400800"/>
                <a:gd name="connsiteY4400" fmla="*/ 306229 h 514350"/>
                <a:gd name="connsiteX4401" fmla="*/ 4160044 w 6400800"/>
                <a:gd name="connsiteY4401" fmla="*/ 306229 h 514350"/>
                <a:gd name="connsiteX4402" fmla="*/ 4128611 w 6400800"/>
                <a:gd name="connsiteY4402" fmla="*/ 354806 h 514350"/>
                <a:gd name="connsiteX4403" fmla="*/ 4127659 w 6400800"/>
                <a:gd name="connsiteY4403" fmla="*/ 343376 h 514350"/>
                <a:gd name="connsiteX4404" fmla="*/ 4128611 w 6400800"/>
                <a:gd name="connsiteY4404" fmla="*/ 350044 h 514350"/>
                <a:gd name="connsiteX4405" fmla="*/ 4130516 w 6400800"/>
                <a:gd name="connsiteY4405" fmla="*/ 365284 h 514350"/>
                <a:gd name="connsiteX4406" fmla="*/ 4128611 w 6400800"/>
                <a:gd name="connsiteY4406" fmla="*/ 354806 h 514350"/>
                <a:gd name="connsiteX4407" fmla="*/ 4124801 w 6400800"/>
                <a:gd name="connsiteY4407" fmla="*/ 255746 h 514350"/>
                <a:gd name="connsiteX4408" fmla="*/ 4124801 w 6400800"/>
                <a:gd name="connsiteY4408" fmla="*/ 248126 h 514350"/>
                <a:gd name="connsiteX4409" fmla="*/ 4140041 w 6400800"/>
                <a:gd name="connsiteY4409" fmla="*/ 303371 h 514350"/>
                <a:gd name="connsiteX4410" fmla="*/ 4140994 w 6400800"/>
                <a:gd name="connsiteY4410" fmla="*/ 307181 h 514350"/>
                <a:gd name="connsiteX4411" fmla="*/ 4140994 w 6400800"/>
                <a:gd name="connsiteY4411" fmla="*/ 321469 h 514350"/>
                <a:gd name="connsiteX4412" fmla="*/ 4133374 w 6400800"/>
                <a:gd name="connsiteY4412" fmla="*/ 305276 h 514350"/>
                <a:gd name="connsiteX4413" fmla="*/ 4135279 w 6400800"/>
                <a:gd name="connsiteY4413" fmla="*/ 312896 h 514350"/>
                <a:gd name="connsiteX4414" fmla="*/ 4127659 w 6400800"/>
                <a:gd name="connsiteY4414" fmla="*/ 300514 h 514350"/>
                <a:gd name="connsiteX4415" fmla="*/ 4123849 w 6400800"/>
                <a:gd name="connsiteY4415" fmla="*/ 284321 h 514350"/>
                <a:gd name="connsiteX4416" fmla="*/ 4124801 w 6400800"/>
                <a:gd name="connsiteY4416" fmla="*/ 255746 h 514350"/>
                <a:gd name="connsiteX4417" fmla="*/ 4095274 w 6400800"/>
                <a:gd name="connsiteY4417" fmla="*/ 395764 h 514350"/>
                <a:gd name="connsiteX4418" fmla="*/ 4095274 w 6400800"/>
                <a:gd name="connsiteY4418" fmla="*/ 395764 h 514350"/>
                <a:gd name="connsiteX4419" fmla="*/ 4095274 w 6400800"/>
                <a:gd name="connsiteY4419" fmla="*/ 394811 h 514350"/>
                <a:gd name="connsiteX4420" fmla="*/ 4095274 w 6400800"/>
                <a:gd name="connsiteY4420" fmla="*/ 395764 h 514350"/>
                <a:gd name="connsiteX4421" fmla="*/ 4093369 w 6400800"/>
                <a:gd name="connsiteY4421" fmla="*/ 386239 h 514350"/>
                <a:gd name="connsiteX4422" fmla="*/ 4093369 w 6400800"/>
                <a:gd name="connsiteY4422" fmla="*/ 376714 h 514350"/>
                <a:gd name="connsiteX4423" fmla="*/ 4096226 w 6400800"/>
                <a:gd name="connsiteY4423" fmla="*/ 382429 h 514350"/>
                <a:gd name="connsiteX4424" fmla="*/ 4093369 w 6400800"/>
                <a:gd name="connsiteY4424" fmla="*/ 386239 h 514350"/>
                <a:gd name="connsiteX4425" fmla="*/ 4097179 w 6400800"/>
                <a:gd name="connsiteY4425" fmla="*/ 342424 h 514350"/>
                <a:gd name="connsiteX4426" fmla="*/ 4099084 w 6400800"/>
                <a:gd name="connsiteY4426" fmla="*/ 334804 h 514350"/>
                <a:gd name="connsiteX4427" fmla="*/ 4099084 w 6400800"/>
                <a:gd name="connsiteY4427" fmla="*/ 337661 h 514350"/>
                <a:gd name="connsiteX4428" fmla="*/ 4097179 w 6400800"/>
                <a:gd name="connsiteY4428" fmla="*/ 342424 h 514350"/>
                <a:gd name="connsiteX4429" fmla="*/ 4100989 w 6400800"/>
                <a:gd name="connsiteY4429" fmla="*/ 353854 h 514350"/>
                <a:gd name="connsiteX4430" fmla="*/ 4100989 w 6400800"/>
                <a:gd name="connsiteY4430" fmla="*/ 351949 h 514350"/>
                <a:gd name="connsiteX4431" fmla="*/ 4100989 w 6400800"/>
                <a:gd name="connsiteY4431" fmla="*/ 351949 h 514350"/>
                <a:gd name="connsiteX4432" fmla="*/ 4100989 w 6400800"/>
                <a:gd name="connsiteY4432" fmla="*/ 353854 h 514350"/>
                <a:gd name="connsiteX4433" fmla="*/ 4100989 w 6400800"/>
                <a:gd name="connsiteY4433" fmla="*/ 353854 h 514350"/>
                <a:gd name="connsiteX4434" fmla="*/ 4115276 w 6400800"/>
                <a:gd name="connsiteY4434" fmla="*/ 322421 h 514350"/>
                <a:gd name="connsiteX4435" fmla="*/ 4114324 w 6400800"/>
                <a:gd name="connsiteY4435" fmla="*/ 350996 h 514350"/>
                <a:gd name="connsiteX4436" fmla="*/ 4111466 w 6400800"/>
                <a:gd name="connsiteY4436" fmla="*/ 327184 h 514350"/>
                <a:gd name="connsiteX4437" fmla="*/ 4108609 w 6400800"/>
                <a:gd name="connsiteY4437" fmla="*/ 342424 h 514350"/>
                <a:gd name="connsiteX4438" fmla="*/ 4107656 w 6400800"/>
                <a:gd name="connsiteY4438" fmla="*/ 341471 h 514350"/>
                <a:gd name="connsiteX4439" fmla="*/ 4106704 w 6400800"/>
                <a:gd name="connsiteY4439" fmla="*/ 336709 h 514350"/>
                <a:gd name="connsiteX4440" fmla="*/ 4113371 w 6400800"/>
                <a:gd name="connsiteY4440" fmla="*/ 322421 h 514350"/>
                <a:gd name="connsiteX4441" fmla="*/ 4115276 w 6400800"/>
                <a:gd name="connsiteY4441" fmla="*/ 318611 h 514350"/>
                <a:gd name="connsiteX4442" fmla="*/ 4115276 w 6400800"/>
                <a:gd name="connsiteY4442" fmla="*/ 322421 h 514350"/>
                <a:gd name="connsiteX4443" fmla="*/ 4109561 w 6400800"/>
                <a:gd name="connsiteY4443" fmla="*/ 295751 h 514350"/>
                <a:gd name="connsiteX4444" fmla="*/ 4116229 w 6400800"/>
                <a:gd name="connsiteY4444" fmla="*/ 308134 h 514350"/>
                <a:gd name="connsiteX4445" fmla="*/ 4116229 w 6400800"/>
                <a:gd name="connsiteY4445" fmla="*/ 311944 h 514350"/>
                <a:gd name="connsiteX4446" fmla="*/ 4110514 w 6400800"/>
                <a:gd name="connsiteY4446" fmla="*/ 320516 h 514350"/>
                <a:gd name="connsiteX4447" fmla="*/ 4104799 w 6400800"/>
                <a:gd name="connsiteY4447" fmla="*/ 329089 h 514350"/>
                <a:gd name="connsiteX4448" fmla="*/ 4102894 w 6400800"/>
                <a:gd name="connsiteY4448" fmla="*/ 322421 h 514350"/>
                <a:gd name="connsiteX4449" fmla="*/ 4109561 w 6400800"/>
                <a:gd name="connsiteY4449" fmla="*/ 295751 h 514350"/>
                <a:gd name="connsiteX4450" fmla="*/ 4092416 w 6400800"/>
                <a:gd name="connsiteY4450" fmla="*/ 294799 h 514350"/>
                <a:gd name="connsiteX4451" fmla="*/ 4094321 w 6400800"/>
                <a:gd name="connsiteY4451" fmla="*/ 265271 h 514350"/>
                <a:gd name="connsiteX4452" fmla="*/ 4098131 w 6400800"/>
                <a:gd name="connsiteY4452" fmla="*/ 272891 h 514350"/>
                <a:gd name="connsiteX4453" fmla="*/ 4106704 w 6400800"/>
                <a:gd name="connsiteY4453" fmla="*/ 290989 h 514350"/>
                <a:gd name="connsiteX4454" fmla="*/ 4098131 w 6400800"/>
                <a:gd name="connsiteY4454" fmla="*/ 311944 h 514350"/>
                <a:gd name="connsiteX4455" fmla="*/ 4096226 w 6400800"/>
                <a:gd name="connsiteY4455" fmla="*/ 306229 h 514350"/>
                <a:gd name="connsiteX4456" fmla="*/ 4097179 w 6400800"/>
                <a:gd name="connsiteY4456" fmla="*/ 315754 h 514350"/>
                <a:gd name="connsiteX4457" fmla="*/ 4092416 w 6400800"/>
                <a:gd name="connsiteY4457" fmla="*/ 329089 h 514350"/>
                <a:gd name="connsiteX4458" fmla="*/ 4091464 w 6400800"/>
                <a:gd name="connsiteY4458" fmla="*/ 325279 h 514350"/>
                <a:gd name="connsiteX4459" fmla="*/ 4090511 w 6400800"/>
                <a:gd name="connsiteY4459" fmla="*/ 321469 h 514350"/>
                <a:gd name="connsiteX4460" fmla="*/ 4092416 w 6400800"/>
                <a:gd name="connsiteY4460" fmla="*/ 294799 h 514350"/>
                <a:gd name="connsiteX4461" fmla="*/ 4085749 w 6400800"/>
                <a:gd name="connsiteY4461" fmla="*/ 244316 h 514350"/>
                <a:gd name="connsiteX4462" fmla="*/ 4085749 w 6400800"/>
                <a:gd name="connsiteY4462" fmla="*/ 244316 h 514350"/>
                <a:gd name="connsiteX4463" fmla="*/ 4084796 w 6400800"/>
                <a:gd name="connsiteY4463" fmla="*/ 250031 h 514350"/>
                <a:gd name="connsiteX4464" fmla="*/ 4085749 w 6400800"/>
                <a:gd name="connsiteY4464" fmla="*/ 244316 h 514350"/>
                <a:gd name="connsiteX4465" fmla="*/ 4043839 w 6400800"/>
                <a:gd name="connsiteY4465" fmla="*/ 279559 h 514350"/>
                <a:gd name="connsiteX4466" fmla="*/ 4043839 w 6400800"/>
                <a:gd name="connsiteY4466" fmla="*/ 279559 h 514350"/>
                <a:gd name="connsiteX4467" fmla="*/ 4044791 w 6400800"/>
                <a:gd name="connsiteY4467" fmla="*/ 283369 h 514350"/>
                <a:gd name="connsiteX4468" fmla="*/ 4043839 w 6400800"/>
                <a:gd name="connsiteY4468" fmla="*/ 281464 h 514350"/>
                <a:gd name="connsiteX4469" fmla="*/ 4044791 w 6400800"/>
                <a:gd name="connsiteY4469" fmla="*/ 286226 h 514350"/>
                <a:gd name="connsiteX4470" fmla="*/ 4044791 w 6400800"/>
                <a:gd name="connsiteY4470" fmla="*/ 290036 h 514350"/>
                <a:gd name="connsiteX4471" fmla="*/ 4042886 w 6400800"/>
                <a:gd name="connsiteY4471" fmla="*/ 284321 h 514350"/>
                <a:gd name="connsiteX4472" fmla="*/ 4043839 w 6400800"/>
                <a:gd name="connsiteY4472" fmla="*/ 279559 h 514350"/>
                <a:gd name="connsiteX4473" fmla="*/ 4044791 w 6400800"/>
                <a:gd name="connsiteY4473" fmla="*/ 333851 h 514350"/>
                <a:gd name="connsiteX4474" fmla="*/ 4044791 w 6400800"/>
                <a:gd name="connsiteY4474" fmla="*/ 333851 h 514350"/>
                <a:gd name="connsiteX4475" fmla="*/ 4044791 w 6400800"/>
                <a:gd name="connsiteY4475" fmla="*/ 339566 h 514350"/>
                <a:gd name="connsiteX4476" fmla="*/ 4042886 w 6400800"/>
                <a:gd name="connsiteY4476" fmla="*/ 337661 h 514350"/>
                <a:gd name="connsiteX4477" fmla="*/ 4044791 w 6400800"/>
                <a:gd name="connsiteY4477" fmla="*/ 333851 h 514350"/>
                <a:gd name="connsiteX4478" fmla="*/ 4039076 w 6400800"/>
                <a:gd name="connsiteY4478" fmla="*/ 271939 h 514350"/>
                <a:gd name="connsiteX4479" fmla="*/ 4039076 w 6400800"/>
                <a:gd name="connsiteY4479" fmla="*/ 273844 h 514350"/>
                <a:gd name="connsiteX4480" fmla="*/ 4038124 w 6400800"/>
                <a:gd name="connsiteY4480" fmla="*/ 270034 h 514350"/>
                <a:gd name="connsiteX4481" fmla="*/ 4036219 w 6400800"/>
                <a:gd name="connsiteY4481" fmla="*/ 265271 h 514350"/>
                <a:gd name="connsiteX4482" fmla="*/ 4039076 w 6400800"/>
                <a:gd name="connsiteY4482" fmla="*/ 271939 h 514350"/>
                <a:gd name="connsiteX4483" fmla="*/ 4033361 w 6400800"/>
                <a:gd name="connsiteY4483" fmla="*/ 358616 h 514350"/>
                <a:gd name="connsiteX4484" fmla="*/ 4034314 w 6400800"/>
                <a:gd name="connsiteY4484" fmla="*/ 351949 h 514350"/>
                <a:gd name="connsiteX4485" fmla="*/ 4038124 w 6400800"/>
                <a:gd name="connsiteY4485" fmla="*/ 345281 h 514350"/>
                <a:gd name="connsiteX4486" fmla="*/ 4043839 w 6400800"/>
                <a:gd name="connsiteY4486" fmla="*/ 351949 h 514350"/>
                <a:gd name="connsiteX4487" fmla="*/ 4040981 w 6400800"/>
                <a:gd name="connsiteY4487" fmla="*/ 391954 h 514350"/>
                <a:gd name="connsiteX4488" fmla="*/ 4035266 w 6400800"/>
                <a:gd name="connsiteY4488" fmla="*/ 413861 h 514350"/>
                <a:gd name="connsiteX4489" fmla="*/ 4029551 w 6400800"/>
                <a:gd name="connsiteY4489" fmla="*/ 395764 h 514350"/>
                <a:gd name="connsiteX4490" fmla="*/ 4027646 w 6400800"/>
                <a:gd name="connsiteY4490" fmla="*/ 388144 h 514350"/>
                <a:gd name="connsiteX4491" fmla="*/ 4033361 w 6400800"/>
                <a:gd name="connsiteY4491" fmla="*/ 358616 h 514350"/>
                <a:gd name="connsiteX4492" fmla="*/ 4020026 w 6400800"/>
                <a:gd name="connsiteY4492" fmla="*/ 324326 h 514350"/>
                <a:gd name="connsiteX4493" fmla="*/ 4021931 w 6400800"/>
                <a:gd name="connsiteY4493" fmla="*/ 326231 h 514350"/>
                <a:gd name="connsiteX4494" fmla="*/ 4019074 w 6400800"/>
                <a:gd name="connsiteY4494" fmla="*/ 334804 h 514350"/>
                <a:gd name="connsiteX4495" fmla="*/ 4017169 w 6400800"/>
                <a:gd name="connsiteY4495" fmla="*/ 341471 h 514350"/>
                <a:gd name="connsiteX4496" fmla="*/ 4016216 w 6400800"/>
                <a:gd name="connsiteY4496" fmla="*/ 342424 h 514350"/>
                <a:gd name="connsiteX4497" fmla="*/ 4015264 w 6400800"/>
                <a:gd name="connsiteY4497" fmla="*/ 344329 h 514350"/>
                <a:gd name="connsiteX4498" fmla="*/ 4011454 w 6400800"/>
                <a:gd name="connsiteY4498" fmla="*/ 315754 h 514350"/>
                <a:gd name="connsiteX4499" fmla="*/ 4020026 w 6400800"/>
                <a:gd name="connsiteY4499" fmla="*/ 324326 h 514350"/>
                <a:gd name="connsiteX4500" fmla="*/ 3999071 w 6400800"/>
                <a:gd name="connsiteY4500" fmla="*/ 282416 h 514350"/>
                <a:gd name="connsiteX4501" fmla="*/ 3999071 w 6400800"/>
                <a:gd name="connsiteY4501" fmla="*/ 282416 h 514350"/>
                <a:gd name="connsiteX4502" fmla="*/ 4000024 w 6400800"/>
                <a:gd name="connsiteY4502" fmla="*/ 310991 h 514350"/>
                <a:gd name="connsiteX4503" fmla="*/ 4000024 w 6400800"/>
                <a:gd name="connsiteY4503" fmla="*/ 316706 h 514350"/>
                <a:gd name="connsiteX4504" fmla="*/ 3999071 w 6400800"/>
                <a:gd name="connsiteY4504" fmla="*/ 325279 h 514350"/>
                <a:gd name="connsiteX4505" fmla="*/ 3999071 w 6400800"/>
                <a:gd name="connsiteY4505" fmla="*/ 327184 h 514350"/>
                <a:gd name="connsiteX4506" fmla="*/ 3998119 w 6400800"/>
                <a:gd name="connsiteY4506" fmla="*/ 324326 h 514350"/>
                <a:gd name="connsiteX4507" fmla="*/ 3997166 w 6400800"/>
                <a:gd name="connsiteY4507" fmla="*/ 314801 h 514350"/>
                <a:gd name="connsiteX4508" fmla="*/ 3996214 w 6400800"/>
                <a:gd name="connsiteY4508" fmla="*/ 286226 h 514350"/>
                <a:gd name="connsiteX4509" fmla="*/ 3999071 w 6400800"/>
                <a:gd name="connsiteY4509" fmla="*/ 282416 h 514350"/>
                <a:gd name="connsiteX4510" fmla="*/ 3983831 w 6400800"/>
                <a:gd name="connsiteY4510" fmla="*/ 405289 h 514350"/>
                <a:gd name="connsiteX4511" fmla="*/ 3980021 w 6400800"/>
                <a:gd name="connsiteY4511" fmla="*/ 412909 h 514350"/>
                <a:gd name="connsiteX4512" fmla="*/ 3980021 w 6400800"/>
                <a:gd name="connsiteY4512" fmla="*/ 412909 h 514350"/>
                <a:gd name="connsiteX4513" fmla="*/ 3982879 w 6400800"/>
                <a:gd name="connsiteY4513" fmla="*/ 402431 h 514350"/>
                <a:gd name="connsiteX4514" fmla="*/ 3983831 w 6400800"/>
                <a:gd name="connsiteY4514" fmla="*/ 405289 h 514350"/>
                <a:gd name="connsiteX4515" fmla="*/ 3980974 w 6400800"/>
                <a:gd name="connsiteY4515" fmla="*/ 395764 h 514350"/>
                <a:gd name="connsiteX4516" fmla="*/ 3982879 w 6400800"/>
                <a:gd name="connsiteY4516" fmla="*/ 401479 h 514350"/>
                <a:gd name="connsiteX4517" fmla="*/ 3979069 w 6400800"/>
                <a:gd name="connsiteY4517" fmla="*/ 407194 h 514350"/>
                <a:gd name="connsiteX4518" fmla="*/ 3979069 w 6400800"/>
                <a:gd name="connsiteY4518" fmla="*/ 406241 h 514350"/>
                <a:gd name="connsiteX4519" fmla="*/ 3980974 w 6400800"/>
                <a:gd name="connsiteY4519" fmla="*/ 395764 h 514350"/>
                <a:gd name="connsiteX4520" fmla="*/ 3976211 w 6400800"/>
                <a:gd name="connsiteY4520" fmla="*/ 378619 h 514350"/>
                <a:gd name="connsiteX4521" fmla="*/ 3976211 w 6400800"/>
                <a:gd name="connsiteY4521" fmla="*/ 378619 h 514350"/>
                <a:gd name="connsiteX4522" fmla="*/ 3976211 w 6400800"/>
                <a:gd name="connsiteY4522" fmla="*/ 380524 h 514350"/>
                <a:gd name="connsiteX4523" fmla="*/ 3976211 w 6400800"/>
                <a:gd name="connsiteY4523" fmla="*/ 378619 h 514350"/>
                <a:gd name="connsiteX4524" fmla="*/ 3948589 w 6400800"/>
                <a:gd name="connsiteY4524" fmla="*/ 255746 h 514350"/>
                <a:gd name="connsiteX4525" fmla="*/ 3946684 w 6400800"/>
                <a:gd name="connsiteY4525" fmla="*/ 277654 h 514350"/>
                <a:gd name="connsiteX4526" fmla="*/ 3945731 w 6400800"/>
                <a:gd name="connsiteY4526" fmla="*/ 285274 h 514350"/>
                <a:gd name="connsiteX4527" fmla="*/ 3943826 w 6400800"/>
                <a:gd name="connsiteY4527" fmla="*/ 266224 h 514350"/>
                <a:gd name="connsiteX4528" fmla="*/ 3940016 w 6400800"/>
                <a:gd name="connsiteY4528" fmla="*/ 240506 h 514350"/>
                <a:gd name="connsiteX4529" fmla="*/ 3940016 w 6400800"/>
                <a:gd name="connsiteY4529" fmla="*/ 239554 h 514350"/>
                <a:gd name="connsiteX4530" fmla="*/ 3940016 w 6400800"/>
                <a:gd name="connsiteY4530" fmla="*/ 236696 h 514350"/>
                <a:gd name="connsiteX4531" fmla="*/ 3942874 w 6400800"/>
                <a:gd name="connsiteY4531" fmla="*/ 240506 h 514350"/>
                <a:gd name="connsiteX4532" fmla="*/ 3947636 w 6400800"/>
                <a:gd name="connsiteY4532" fmla="*/ 248126 h 514350"/>
                <a:gd name="connsiteX4533" fmla="*/ 3948589 w 6400800"/>
                <a:gd name="connsiteY4533" fmla="*/ 255746 h 514350"/>
                <a:gd name="connsiteX4534" fmla="*/ 3943826 w 6400800"/>
                <a:gd name="connsiteY4534" fmla="*/ 205264 h 514350"/>
                <a:gd name="connsiteX4535" fmla="*/ 3943826 w 6400800"/>
                <a:gd name="connsiteY4535" fmla="*/ 210979 h 514350"/>
                <a:gd name="connsiteX4536" fmla="*/ 3945731 w 6400800"/>
                <a:gd name="connsiteY4536" fmla="*/ 230981 h 514350"/>
                <a:gd name="connsiteX4537" fmla="*/ 3946684 w 6400800"/>
                <a:gd name="connsiteY4537" fmla="*/ 236696 h 514350"/>
                <a:gd name="connsiteX4538" fmla="*/ 3939064 w 6400800"/>
                <a:gd name="connsiteY4538" fmla="*/ 228124 h 514350"/>
                <a:gd name="connsiteX4539" fmla="*/ 3937159 w 6400800"/>
                <a:gd name="connsiteY4539" fmla="*/ 215741 h 514350"/>
                <a:gd name="connsiteX4540" fmla="*/ 3943826 w 6400800"/>
                <a:gd name="connsiteY4540" fmla="*/ 205264 h 514350"/>
                <a:gd name="connsiteX4541" fmla="*/ 3866674 w 6400800"/>
                <a:gd name="connsiteY4541" fmla="*/ 369094 h 514350"/>
                <a:gd name="connsiteX4542" fmla="*/ 3867626 w 6400800"/>
                <a:gd name="connsiteY4542" fmla="*/ 368141 h 514350"/>
                <a:gd name="connsiteX4543" fmla="*/ 3867626 w 6400800"/>
                <a:gd name="connsiteY4543" fmla="*/ 370999 h 514350"/>
                <a:gd name="connsiteX4544" fmla="*/ 3866674 w 6400800"/>
                <a:gd name="connsiteY4544" fmla="*/ 369094 h 514350"/>
                <a:gd name="connsiteX4545" fmla="*/ 3886676 w 6400800"/>
                <a:gd name="connsiteY4545" fmla="*/ 354806 h 514350"/>
                <a:gd name="connsiteX4546" fmla="*/ 3882866 w 6400800"/>
                <a:gd name="connsiteY4546" fmla="*/ 348139 h 514350"/>
                <a:gd name="connsiteX4547" fmla="*/ 3881914 w 6400800"/>
                <a:gd name="connsiteY4547" fmla="*/ 338614 h 514350"/>
                <a:gd name="connsiteX4548" fmla="*/ 3886676 w 6400800"/>
                <a:gd name="connsiteY4548" fmla="*/ 354806 h 514350"/>
                <a:gd name="connsiteX4549" fmla="*/ 3887629 w 6400800"/>
                <a:gd name="connsiteY4549" fmla="*/ 356711 h 514350"/>
                <a:gd name="connsiteX4550" fmla="*/ 3886676 w 6400800"/>
                <a:gd name="connsiteY4550" fmla="*/ 354806 h 514350"/>
                <a:gd name="connsiteX4551" fmla="*/ 3897154 w 6400800"/>
                <a:gd name="connsiteY4551" fmla="*/ 278606 h 514350"/>
                <a:gd name="connsiteX4552" fmla="*/ 3901916 w 6400800"/>
                <a:gd name="connsiteY4552" fmla="*/ 270986 h 514350"/>
                <a:gd name="connsiteX4553" fmla="*/ 3901916 w 6400800"/>
                <a:gd name="connsiteY4553" fmla="*/ 270986 h 514350"/>
                <a:gd name="connsiteX4554" fmla="*/ 3897154 w 6400800"/>
                <a:gd name="connsiteY4554" fmla="*/ 278606 h 514350"/>
                <a:gd name="connsiteX4555" fmla="*/ 3897154 w 6400800"/>
                <a:gd name="connsiteY4555" fmla="*/ 278606 h 514350"/>
                <a:gd name="connsiteX4556" fmla="*/ 3900011 w 6400800"/>
                <a:gd name="connsiteY4556" fmla="*/ 291941 h 514350"/>
                <a:gd name="connsiteX4557" fmla="*/ 3901916 w 6400800"/>
                <a:gd name="connsiteY4557" fmla="*/ 288131 h 514350"/>
                <a:gd name="connsiteX4558" fmla="*/ 3902869 w 6400800"/>
                <a:gd name="connsiteY4558" fmla="*/ 286226 h 514350"/>
                <a:gd name="connsiteX4559" fmla="*/ 3903821 w 6400800"/>
                <a:gd name="connsiteY4559" fmla="*/ 297656 h 514350"/>
                <a:gd name="connsiteX4560" fmla="*/ 3902869 w 6400800"/>
                <a:gd name="connsiteY4560" fmla="*/ 301466 h 514350"/>
                <a:gd name="connsiteX4561" fmla="*/ 3901916 w 6400800"/>
                <a:gd name="connsiteY4561" fmla="*/ 298609 h 514350"/>
                <a:gd name="connsiteX4562" fmla="*/ 3900011 w 6400800"/>
                <a:gd name="connsiteY4562" fmla="*/ 291941 h 514350"/>
                <a:gd name="connsiteX4563" fmla="*/ 3903821 w 6400800"/>
                <a:gd name="connsiteY4563" fmla="*/ 431006 h 514350"/>
                <a:gd name="connsiteX4564" fmla="*/ 3902869 w 6400800"/>
                <a:gd name="connsiteY4564" fmla="*/ 431959 h 514350"/>
                <a:gd name="connsiteX4565" fmla="*/ 3901916 w 6400800"/>
                <a:gd name="connsiteY4565" fmla="*/ 431959 h 514350"/>
                <a:gd name="connsiteX4566" fmla="*/ 3903821 w 6400800"/>
                <a:gd name="connsiteY4566" fmla="*/ 426244 h 514350"/>
                <a:gd name="connsiteX4567" fmla="*/ 3904774 w 6400800"/>
                <a:gd name="connsiteY4567" fmla="*/ 428149 h 514350"/>
                <a:gd name="connsiteX4568" fmla="*/ 3903821 w 6400800"/>
                <a:gd name="connsiteY4568" fmla="*/ 431006 h 514350"/>
                <a:gd name="connsiteX4569" fmla="*/ 3925729 w 6400800"/>
                <a:gd name="connsiteY4569" fmla="*/ 309086 h 514350"/>
                <a:gd name="connsiteX4570" fmla="*/ 3922871 w 6400800"/>
                <a:gd name="connsiteY4570" fmla="*/ 297656 h 514350"/>
                <a:gd name="connsiteX4571" fmla="*/ 3923824 w 6400800"/>
                <a:gd name="connsiteY4571" fmla="*/ 308134 h 514350"/>
                <a:gd name="connsiteX4572" fmla="*/ 3919061 w 6400800"/>
                <a:gd name="connsiteY4572" fmla="*/ 291941 h 514350"/>
                <a:gd name="connsiteX4573" fmla="*/ 3922871 w 6400800"/>
                <a:gd name="connsiteY4573" fmla="*/ 317659 h 514350"/>
                <a:gd name="connsiteX4574" fmla="*/ 3923824 w 6400800"/>
                <a:gd name="connsiteY4574" fmla="*/ 325279 h 514350"/>
                <a:gd name="connsiteX4575" fmla="*/ 3921919 w 6400800"/>
                <a:gd name="connsiteY4575" fmla="*/ 334804 h 514350"/>
                <a:gd name="connsiteX4576" fmla="*/ 3921919 w 6400800"/>
                <a:gd name="connsiteY4576" fmla="*/ 335756 h 514350"/>
                <a:gd name="connsiteX4577" fmla="*/ 3920966 w 6400800"/>
                <a:gd name="connsiteY4577" fmla="*/ 330041 h 514350"/>
                <a:gd name="connsiteX4578" fmla="*/ 3915251 w 6400800"/>
                <a:gd name="connsiteY4578" fmla="*/ 301466 h 514350"/>
                <a:gd name="connsiteX4579" fmla="*/ 3911441 w 6400800"/>
                <a:gd name="connsiteY4579" fmla="*/ 281464 h 514350"/>
                <a:gd name="connsiteX4580" fmla="*/ 3912394 w 6400800"/>
                <a:gd name="connsiteY4580" fmla="*/ 264319 h 514350"/>
                <a:gd name="connsiteX4581" fmla="*/ 3912394 w 6400800"/>
                <a:gd name="connsiteY4581" fmla="*/ 263366 h 514350"/>
                <a:gd name="connsiteX4582" fmla="*/ 3919061 w 6400800"/>
                <a:gd name="connsiteY4582" fmla="*/ 270986 h 514350"/>
                <a:gd name="connsiteX4583" fmla="*/ 3923824 w 6400800"/>
                <a:gd name="connsiteY4583" fmla="*/ 277654 h 514350"/>
                <a:gd name="connsiteX4584" fmla="*/ 3924776 w 6400800"/>
                <a:gd name="connsiteY4584" fmla="*/ 284321 h 514350"/>
                <a:gd name="connsiteX4585" fmla="*/ 3921919 w 6400800"/>
                <a:gd name="connsiteY4585" fmla="*/ 277654 h 514350"/>
                <a:gd name="connsiteX4586" fmla="*/ 3926681 w 6400800"/>
                <a:gd name="connsiteY4586" fmla="*/ 296704 h 514350"/>
                <a:gd name="connsiteX4587" fmla="*/ 3927634 w 6400800"/>
                <a:gd name="connsiteY4587" fmla="*/ 304324 h 514350"/>
                <a:gd name="connsiteX4588" fmla="*/ 3927634 w 6400800"/>
                <a:gd name="connsiteY4588" fmla="*/ 305276 h 514350"/>
                <a:gd name="connsiteX4589" fmla="*/ 3925729 w 6400800"/>
                <a:gd name="connsiteY4589" fmla="*/ 309086 h 514350"/>
                <a:gd name="connsiteX4590" fmla="*/ 3929539 w 6400800"/>
                <a:gd name="connsiteY4590" fmla="*/ 287179 h 514350"/>
                <a:gd name="connsiteX4591" fmla="*/ 3928586 w 6400800"/>
                <a:gd name="connsiteY4591" fmla="*/ 292894 h 514350"/>
                <a:gd name="connsiteX4592" fmla="*/ 3927634 w 6400800"/>
                <a:gd name="connsiteY4592" fmla="*/ 290036 h 514350"/>
                <a:gd name="connsiteX4593" fmla="*/ 3923824 w 6400800"/>
                <a:gd name="connsiteY4593" fmla="*/ 275749 h 514350"/>
                <a:gd name="connsiteX4594" fmla="*/ 3927634 w 6400800"/>
                <a:gd name="connsiteY4594" fmla="*/ 281464 h 514350"/>
                <a:gd name="connsiteX4595" fmla="*/ 3929539 w 6400800"/>
                <a:gd name="connsiteY4595" fmla="*/ 284321 h 514350"/>
                <a:gd name="connsiteX4596" fmla="*/ 3929539 w 6400800"/>
                <a:gd name="connsiteY4596" fmla="*/ 287179 h 514350"/>
                <a:gd name="connsiteX4597" fmla="*/ 3926681 w 6400800"/>
                <a:gd name="connsiteY4597" fmla="*/ 242411 h 514350"/>
                <a:gd name="connsiteX4598" fmla="*/ 3928586 w 6400800"/>
                <a:gd name="connsiteY4598" fmla="*/ 270986 h 514350"/>
                <a:gd name="connsiteX4599" fmla="*/ 3921919 w 6400800"/>
                <a:gd name="connsiteY4599" fmla="*/ 265271 h 514350"/>
                <a:gd name="connsiteX4600" fmla="*/ 3913346 w 6400800"/>
                <a:gd name="connsiteY4600" fmla="*/ 257651 h 514350"/>
                <a:gd name="connsiteX4601" fmla="*/ 3917156 w 6400800"/>
                <a:gd name="connsiteY4601" fmla="*/ 246221 h 514350"/>
                <a:gd name="connsiteX4602" fmla="*/ 3925729 w 6400800"/>
                <a:gd name="connsiteY4602" fmla="*/ 232886 h 514350"/>
                <a:gd name="connsiteX4603" fmla="*/ 3926681 w 6400800"/>
                <a:gd name="connsiteY4603" fmla="*/ 242411 h 514350"/>
                <a:gd name="connsiteX4604" fmla="*/ 3900964 w 6400800"/>
                <a:gd name="connsiteY4604" fmla="*/ 168116 h 514350"/>
                <a:gd name="connsiteX4605" fmla="*/ 3914299 w 6400800"/>
                <a:gd name="connsiteY4605" fmla="*/ 147161 h 514350"/>
                <a:gd name="connsiteX4606" fmla="*/ 3915251 w 6400800"/>
                <a:gd name="connsiteY4606" fmla="*/ 156686 h 514350"/>
                <a:gd name="connsiteX4607" fmla="*/ 3920966 w 6400800"/>
                <a:gd name="connsiteY4607" fmla="*/ 196691 h 514350"/>
                <a:gd name="connsiteX4608" fmla="*/ 3922871 w 6400800"/>
                <a:gd name="connsiteY4608" fmla="*/ 213836 h 514350"/>
                <a:gd name="connsiteX4609" fmla="*/ 3920014 w 6400800"/>
                <a:gd name="connsiteY4609" fmla="*/ 210979 h 514350"/>
                <a:gd name="connsiteX4610" fmla="*/ 3923824 w 6400800"/>
                <a:gd name="connsiteY4610" fmla="*/ 214789 h 514350"/>
                <a:gd name="connsiteX4611" fmla="*/ 3924776 w 6400800"/>
                <a:gd name="connsiteY4611" fmla="*/ 226219 h 514350"/>
                <a:gd name="connsiteX4612" fmla="*/ 3906679 w 6400800"/>
                <a:gd name="connsiteY4612" fmla="*/ 249079 h 514350"/>
                <a:gd name="connsiteX4613" fmla="*/ 3904774 w 6400800"/>
                <a:gd name="connsiteY4613" fmla="*/ 251936 h 514350"/>
                <a:gd name="connsiteX4614" fmla="*/ 3902869 w 6400800"/>
                <a:gd name="connsiteY4614" fmla="*/ 250984 h 514350"/>
                <a:gd name="connsiteX4615" fmla="*/ 3900964 w 6400800"/>
                <a:gd name="connsiteY4615" fmla="*/ 242411 h 514350"/>
                <a:gd name="connsiteX4616" fmla="*/ 3900964 w 6400800"/>
                <a:gd name="connsiteY4616" fmla="*/ 249079 h 514350"/>
                <a:gd name="connsiteX4617" fmla="*/ 3897154 w 6400800"/>
                <a:gd name="connsiteY4617" fmla="*/ 247174 h 514350"/>
                <a:gd name="connsiteX4618" fmla="*/ 3891439 w 6400800"/>
                <a:gd name="connsiteY4618" fmla="*/ 243364 h 514350"/>
                <a:gd name="connsiteX4619" fmla="*/ 3896201 w 6400800"/>
                <a:gd name="connsiteY4619" fmla="*/ 248126 h 514350"/>
                <a:gd name="connsiteX4620" fmla="*/ 3900964 w 6400800"/>
                <a:gd name="connsiteY4620" fmla="*/ 251936 h 514350"/>
                <a:gd name="connsiteX4621" fmla="*/ 3900964 w 6400800"/>
                <a:gd name="connsiteY4621" fmla="*/ 256699 h 514350"/>
                <a:gd name="connsiteX4622" fmla="*/ 3894296 w 6400800"/>
                <a:gd name="connsiteY4622" fmla="*/ 266224 h 514350"/>
                <a:gd name="connsiteX4623" fmla="*/ 3890486 w 6400800"/>
                <a:gd name="connsiteY4623" fmla="*/ 250984 h 514350"/>
                <a:gd name="connsiteX4624" fmla="*/ 3880009 w 6400800"/>
                <a:gd name="connsiteY4624" fmla="*/ 210026 h 514350"/>
                <a:gd name="connsiteX4625" fmla="*/ 3879056 w 6400800"/>
                <a:gd name="connsiteY4625" fmla="*/ 206216 h 514350"/>
                <a:gd name="connsiteX4626" fmla="*/ 3900964 w 6400800"/>
                <a:gd name="connsiteY4626" fmla="*/ 168116 h 514350"/>
                <a:gd name="connsiteX4627" fmla="*/ 3873341 w 6400800"/>
                <a:gd name="connsiteY4627" fmla="*/ 214789 h 514350"/>
                <a:gd name="connsiteX4628" fmla="*/ 3879056 w 6400800"/>
                <a:gd name="connsiteY4628" fmla="*/ 251936 h 514350"/>
                <a:gd name="connsiteX4629" fmla="*/ 3883819 w 6400800"/>
                <a:gd name="connsiteY4629" fmla="*/ 280511 h 514350"/>
                <a:gd name="connsiteX4630" fmla="*/ 3882866 w 6400800"/>
                <a:gd name="connsiteY4630" fmla="*/ 282416 h 514350"/>
                <a:gd name="connsiteX4631" fmla="*/ 3875246 w 6400800"/>
                <a:gd name="connsiteY4631" fmla="*/ 259556 h 514350"/>
                <a:gd name="connsiteX4632" fmla="*/ 3865721 w 6400800"/>
                <a:gd name="connsiteY4632" fmla="*/ 234791 h 514350"/>
                <a:gd name="connsiteX4633" fmla="*/ 3864769 w 6400800"/>
                <a:gd name="connsiteY4633" fmla="*/ 231934 h 514350"/>
                <a:gd name="connsiteX4634" fmla="*/ 3873341 w 6400800"/>
                <a:gd name="connsiteY4634" fmla="*/ 214789 h 514350"/>
                <a:gd name="connsiteX4635" fmla="*/ 3864769 w 6400800"/>
                <a:gd name="connsiteY4635" fmla="*/ 341471 h 514350"/>
                <a:gd name="connsiteX4636" fmla="*/ 3862864 w 6400800"/>
                <a:gd name="connsiteY4636" fmla="*/ 345281 h 514350"/>
                <a:gd name="connsiteX4637" fmla="*/ 3864769 w 6400800"/>
                <a:gd name="connsiteY4637" fmla="*/ 341471 h 514350"/>
                <a:gd name="connsiteX4638" fmla="*/ 3864769 w 6400800"/>
                <a:gd name="connsiteY4638" fmla="*/ 341471 h 514350"/>
                <a:gd name="connsiteX4639" fmla="*/ 3854291 w 6400800"/>
                <a:gd name="connsiteY4639" fmla="*/ 211931 h 514350"/>
                <a:gd name="connsiteX4640" fmla="*/ 3856196 w 6400800"/>
                <a:gd name="connsiteY4640" fmla="*/ 201454 h 514350"/>
                <a:gd name="connsiteX4641" fmla="*/ 3857149 w 6400800"/>
                <a:gd name="connsiteY4641" fmla="*/ 220504 h 514350"/>
                <a:gd name="connsiteX4642" fmla="*/ 3854291 w 6400800"/>
                <a:gd name="connsiteY4642" fmla="*/ 226219 h 514350"/>
                <a:gd name="connsiteX4643" fmla="*/ 3854291 w 6400800"/>
                <a:gd name="connsiteY4643" fmla="*/ 211931 h 514350"/>
                <a:gd name="connsiteX4644" fmla="*/ 3849529 w 6400800"/>
                <a:gd name="connsiteY4644" fmla="*/ 262414 h 514350"/>
                <a:gd name="connsiteX4645" fmla="*/ 3849529 w 6400800"/>
                <a:gd name="connsiteY4645" fmla="*/ 257651 h 514350"/>
                <a:gd name="connsiteX4646" fmla="*/ 3850481 w 6400800"/>
                <a:gd name="connsiteY4646" fmla="*/ 256699 h 514350"/>
                <a:gd name="connsiteX4647" fmla="*/ 3859054 w 6400800"/>
                <a:gd name="connsiteY4647" fmla="*/ 278606 h 514350"/>
                <a:gd name="connsiteX4648" fmla="*/ 3860006 w 6400800"/>
                <a:gd name="connsiteY4648" fmla="*/ 280511 h 514350"/>
                <a:gd name="connsiteX4649" fmla="*/ 3862864 w 6400800"/>
                <a:gd name="connsiteY4649" fmla="*/ 313849 h 514350"/>
                <a:gd name="connsiteX4650" fmla="*/ 3862864 w 6400800"/>
                <a:gd name="connsiteY4650" fmla="*/ 313849 h 514350"/>
                <a:gd name="connsiteX4651" fmla="*/ 3847624 w 6400800"/>
                <a:gd name="connsiteY4651" fmla="*/ 291941 h 514350"/>
                <a:gd name="connsiteX4652" fmla="*/ 3849529 w 6400800"/>
                <a:gd name="connsiteY4652" fmla="*/ 262414 h 514350"/>
                <a:gd name="connsiteX4653" fmla="*/ 3846671 w 6400800"/>
                <a:gd name="connsiteY4653" fmla="*/ 308134 h 514350"/>
                <a:gd name="connsiteX4654" fmla="*/ 3855244 w 6400800"/>
                <a:gd name="connsiteY4654" fmla="*/ 323374 h 514350"/>
                <a:gd name="connsiteX4655" fmla="*/ 3856196 w 6400800"/>
                <a:gd name="connsiteY4655" fmla="*/ 325279 h 514350"/>
                <a:gd name="connsiteX4656" fmla="*/ 3855244 w 6400800"/>
                <a:gd name="connsiteY4656" fmla="*/ 327184 h 514350"/>
                <a:gd name="connsiteX4657" fmla="*/ 3849529 w 6400800"/>
                <a:gd name="connsiteY4657" fmla="*/ 336709 h 514350"/>
                <a:gd name="connsiteX4658" fmla="*/ 3845719 w 6400800"/>
                <a:gd name="connsiteY4658" fmla="*/ 330041 h 514350"/>
                <a:gd name="connsiteX4659" fmla="*/ 3846671 w 6400800"/>
                <a:gd name="connsiteY4659" fmla="*/ 308134 h 514350"/>
                <a:gd name="connsiteX4660" fmla="*/ 3843814 w 6400800"/>
                <a:gd name="connsiteY4660" fmla="*/ 415766 h 514350"/>
                <a:gd name="connsiteX4661" fmla="*/ 3846671 w 6400800"/>
                <a:gd name="connsiteY4661" fmla="*/ 410051 h 514350"/>
                <a:gd name="connsiteX4662" fmla="*/ 3847624 w 6400800"/>
                <a:gd name="connsiteY4662" fmla="*/ 416719 h 514350"/>
                <a:gd name="connsiteX4663" fmla="*/ 3847624 w 6400800"/>
                <a:gd name="connsiteY4663" fmla="*/ 419576 h 514350"/>
                <a:gd name="connsiteX4664" fmla="*/ 3846671 w 6400800"/>
                <a:gd name="connsiteY4664" fmla="*/ 422434 h 514350"/>
                <a:gd name="connsiteX4665" fmla="*/ 3844766 w 6400800"/>
                <a:gd name="connsiteY4665" fmla="*/ 426244 h 514350"/>
                <a:gd name="connsiteX4666" fmla="*/ 3842861 w 6400800"/>
                <a:gd name="connsiteY4666" fmla="*/ 426244 h 514350"/>
                <a:gd name="connsiteX4667" fmla="*/ 3843814 w 6400800"/>
                <a:gd name="connsiteY4667" fmla="*/ 415766 h 514350"/>
                <a:gd name="connsiteX4668" fmla="*/ 3830479 w 6400800"/>
                <a:gd name="connsiteY4668" fmla="*/ 297656 h 514350"/>
                <a:gd name="connsiteX4669" fmla="*/ 3830479 w 6400800"/>
                <a:gd name="connsiteY4669" fmla="*/ 299561 h 514350"/>
                <a:gd name="connsiteX4670" fmla="*/ 3830479 w 6400800"/>
                <a:gd name="connsiteY4670" fmla="*/ 301466 h 514350"/>
                <a:gd name="connsiteX4671" fmla="*/ 3829526 w 6400800"/>
                <a:gd name="connsiteY4671" fmla="*/ 307181 h 514350"/>
                <a:gd name="connsiteX4672" fmla="*/ 3827621 w 6400800"/>
                <a:gd name="connsiteY4672" fmla="*/ 304324 h 514350"/>
                <a:gd name="connsiteX4673" fmla="*/ 3830479 w 6400800"/>
                <a:gd name="connsiteY4673" fmla="*/ 297656 h 514350"/>
                <a:gd name="connsiteX4674" fmla="*/ 3826669 w 6400800"/>
                <a:gd name="connsiteY4674" fmla="*/ 305276 h 514350"/>
                <a:gd name="connsiteX4675" fmla="*/ 3828574 w 6400800"/>
                <a:gd name="connsiteY4675" fmla="*/ 310039 h 514350"/>
                <a:gd name="connsiteX4676" fmla="*/ 3827621 w 6400800"/>
                <a:gd name="connsiteY4676" fmla="*/ 314801 h 514350"/>
                <a:gd name="connsiteX4677" fmla="*/ 3823811 w 6400800"/>
                <a:gd name="connsiteY4677" fmla="*/ 309086 h 514350"/>
                <a:gd name="connsiteX4678" fmla="*/ 3826669 w 6400800"/>
                <a:gd name="connsiteY4678" fmla="*/ 305276 h 514350"/>
                <a:gd name="connsiteX4679" fmla="*/ 3820001 w 6400800"/>
                <a:gd name="connsiteY4679" fmla="*/ 319564 h 514350"/>
                <a:gd name="connsiteX4680" fmla="*/ 3826669 w 6400800"/>
                <a:gd name="connsiteY4680" fmla="*/ 332899 h 514350"/>
                <a:gd name="connsiteX4681" fmla="*/ 3827621 w 6400800"/>
                <a:gd name="connsiteY4681" fmla="*/ 333851 h 514350"/>
                <a:gd name="connsiteX4682" fmla="*/ 3826669 w 6400800"/>
                <a:gd name="connsiteY4682" fmla="*/ 343376 h 514350"/>
                <a:gd name="connsiteX4683" fmla="*/ 3824764 w 6400800"/>
                <a:gd name="connsiteY4683" fmla="*/ 377666 h 514350"/>
                <a:gd name="connsiteX4684" fmla="*/ 3820954 w 6400800"/>
                <a:gd name="connsiteY4684" fmla="*/ 364331 h 514350"/>
                <a:gd name="connsiteX4685" fmla="*/ 3820001 w 6400800"/>
                <a:gd name="connsiteY4685" fmla="*/ 352901 h 514350"/>
                <a:gd name="connsiteX4686" fmla="*/ 3818096 w 6400800"/>
                <a:gd name="connsiteY4686" fmla="*/ 336709 h 514350"/>
                <a:gd name="connsiteX4687" fmla="*/ 3821906 w 6400800"/>
                <a:gd name="connsiteY4687" fmla="*/ 332899 h 514350"/>
                <a:gd name="connsiteX4688" fmla="*/ 3818096 w 6400800"/>
                <a:gd name="connsiteY4688" fmla="*/ 335756 h 514350"/>
                <a:gd name="connsiteX4689" fmla="*/ 3817144 w 6400800"/>
                <a:gd name="connsiteY4689" fmla="*/ 326231 h 514350"/>
                <a:gd name="connsiteX4690" fmla="*/ 3820001 w 6400800"/>
                <a:gd name="connsiteY4690" fmla="*/ 319564 h 514350"/>
                <a:gd name="connsiteX4691" fmla="*/ 3788569 w 6400800"/>
                <a:gd name="connsiteY4691" fmla="*/ 264319 h 514350"/>
                <a:gd name="connsiteX4692" fmla="*/ 3792379 w 6400800"/>
                <a:gd name="connsiteY4692" fmla="*/ 270986 h 514350"/>
                <a:gd name="connsiteX4693" fmla="*/ 3800951 w 6400800"/>
                <a:gd name="connsiteY4693" fmla="*/ 285274 h 514350"/>
                <a:gd name="connsiteX4694" fmla="*/ 3800951 w 6400800"/>
                <a:gd name="connsiteY4694" fmla="*/ 287179 h 514350"/>
                <a:gd name="connsiteX4695" fmla="*/ 3800951 w 6400800"/>
                <a:gd name="connsiteY4695" fmla="*/ 298609 h 514350"/>
                <a:gd name="connsiteX4696" fmla="*/ 3800951 w 6400800"/>
                <a:gd name="connsiteY4696" fmla="*/ 300514 h 514350"/>
                <a:gd name="connsiteX4697" fmla="*/ 3797141 w 6400800"/>
                <a:gd name="connsiteY4697" fmla="*/ 287179 h 514350"/>
                <a:gd name="connsiteX4698" fmla="*/ 3796189 w 6400800"/>
                <a:gd name="connsiteY4698" fmla="*/ 285274 h 514350"/>
                <a:gd name="connsiteX4699" fmla="*/ 3796189 w 6400800"/>
                <a:gd name="connsiteY4699" fmla="*/ 280511 h 514350"/>
                <a:gd name="connsiteX4700" fmla="*/ 3795236 w 6400800"/>
                <a:gd name="connsiteY4700" fmla="*/ 283369 h 514350"/>
                <a:gd name="connsiteX4701" fmla="*/ 3791426 w 6400800"/>
                <a:gd name="connsiteY4701" fmla="*/ 271939 h 514350"/>
                <a:gd name="connsiteX4702" fmla="*/ 3788569 w 6400800"/>
                <a:gd name="connsiteY4702" fmla="*/ 264319 h 514350"/>
                <a:gd name="connsiteX4703" fmla="*/ 3748564 w 6400800"/>
                <a:gd name="connsiteY4703" fmla="*/ 364331 h 514350"/>
                <a:gd name="connsiteX4704" fmla="*/ 3748564 w 6400800"/>
                <a:gd name="connsiteY4704" fmla="*/ 351949 h 514350"/>
                <a:gd name="connsiteX4705" fmla="*/ 3750469 w 6400800"/>
                <a:gd name="connsiteY4705" fmla="*/ 358616 h 514350"/>
                <a:gd name="connsiteX4706" fmla="*/ 3748564 w 6400800"/>
                <a:gd name="connsiteY4706" fmla="*/ 364331 h 514350"/>
                <a:gd name="connsiteX4707" fmla="*/ 3762851 w 6400800"/>
                <a:gd name="connsiteY4707" fmla="*/ 399574 h 514350"/>
                <a:gd name="connsiteX4708" fmla="*/ 3759994 w 6400800"/>
                <a:gd name="connsiteY4708" fmla="*/ 405289 h 514350"/>
                <a:gd name="connsiteX4709" fmla="*/ 3760946 w 6400800"/>
                <a:gd name="connsiteY4709" fmla="*/ 391954 h 514350"/>
                <a:gd name="connsiteX4710" fmla="*/ 3760946 w 6400800"/>
                <a:gd name="connsiteY4710" fmla="*/ 391001 h 514350"/>
                <a:gd name="connsiteX4711" fmla="*/ 3762851 w 6400800"/>
                <a:gd name="connsiteY4711" fmla="*/ 396716 h 514350"/>
                <a:gd name="connsiteX4712" fmla="*/ 3762851 w 6400800"/>
                <a:gd name="connsiteY4712" fmla="*/ 399574 h 514350"/>
                <a:gd name="connsiteX4713" fmla="*/ 3770471 w 6400800"/>
                <a:gd name="connsiteY4713" fmla="*/ 290036 h 514350"/>
                <a:gd name="connsiteX4714" fmla="*/ 3775234 w 6400800"/>
                <a:gd name="connsiteY4714" fmla="*/ 309086 h 514350"/>
                <a:gd name="connsiteX4715" fmla="*/ 3771424 w 6400800"/>
                <a:gd name="connsiteY4715" fmla="*/ 301466 h 514350"/>
                <a:gd name="connsiteX4716" fmla="*/ 3770471 w 6400800"/>
                <a:gd name="connsiteY4716" fmla="*/ 299561 h 514350"/>
                <a:gd name="connsiteX4717" fmla="*/ 3770471 w 6400800"/>
                <a:gd name="connsiteY4717" fmla="*/ 290989 h 514350"/>
                <a:gd name="connsiteX4718" fmla="*/ 3770471 w 6400800"/>
                <a:gd name="connsiteY4718" fmla="*/ 290036 h 514350"/>
                <a:gd name="connsiteX4719" fmla="*/ 3769519 w 6400800"/>
                <a:gd name="connsiteY4719" fmla="*/ 370046 h 514350"/>
                <a:gd name="connsiteX4720" fmla="*/ 3770471 w 6400800"/>
                <a:gd name="connsiteY4720" fmla="*/ 372904 h 514350"/>
                <a:gd name="connsiteX4721" fmla="*/ 3767614 w 6400800"/>
                <a:gd name="connsiteY4721" fmla="*/ 366236 h 514350"/>
                <a:gd name="connsiteX4722" fmla="*/ 3767614 w 6400800"/>
                <a:gd name="connsiteY4722" fmla="*/ 359569 h 514350"/>
                <a:gd name="connsiteX4723" fmla="*/ 3766661 w 6400800"/>
                <a:gd name="connsiteY4723" fmla="*/ 364331 h 514350"/>
                <a:gd name="connsiteX4724" fmla="*/ 3764756 w 6400800"/>
                <a:gd name="connsiteY4724" fmla="*/ 360521 h 514350"/>
                <a:gd name="connsiteX4725" fmla="*/ 3764756 w 6400800"/>
                <a:gd name="connsiteY4725" fmla="*/ 357664 h 514350"/>
                <a:gd name="connsiteX4726" fmla="*/ 3765709 w 6400800"/>
                <a:gd name="connsiteY4726" fmla="*/ 351949 h 514350"/>
                <a:gd name="connsiteX4727" fmla="*/ 3769519 w 6400800"/>
                <a:gd name="connsiteY4727" fmla="*/ 370046 h 514350"/>
                <a:gd name="connsiteX4728" fmla="*/ 3753326 w 6400800"/>
                <a:gd name="connsiteY4728" fmla="*/ 250031 h 514350"/>
                <a:gd name="connsiteX4729" fmla="*/ 3755231 w 6400800"/>
                <a:gd name="connsiteY4729" fmla="*/ 236696 h 514350"/>
                <a:gd name="connsiteX4730" fmla="*/ 3756184 w 6400800"/>
                <a:gd name="connsiteY4730" fmla="*/ 232886 h 514350"/>
                <a:gd name="connsiteX4731" fmla="*/ 3758089 w 6400800"/>
                <a:gd name="connsiteY4731" fmla="*/ 230029 h 514350"/>
                <a:gd name="connsiteX4732" fmla="*/ 3759994 w 6400800"/>
                <a:gd name="connsiteY4732" fmla="*/ 237649 h 514350"/>
                <a:gd name="connsiteX4733" fmla="*/ 3769519 w 6400800"/>
                <a:gd name="connsiteY4733" fmla="*/ 281464 h 514350"/>
                <a:gd name="connsiteX4734" fmla="*/ 3767614 w 6400800"/>
                <a:gd name="connsiteY4734" fmla="*/ 290036 h 514350"/>
                <a:gd name="connsiteX4735" fmla="*/ 3767614 w 6400800"/>
                <a:gd name="connsiteY4735" fmla="*/ 290989 h 514350"/>
                <a:gd name="connsiteX4736" fmla="*/ 3752374 w 6400800"/>
                <a:gd name="connsiteY4736" fmla="*/ 261461 h 514350"/>
                <a:gd name="connsiteX4737" fmla="*/ 3753326 w 6400800"/>
                <a:gd name="connsiteY4737" fmla="*/ 250031 h 514350"/>
                <a:gd name="connsiteX4738" fmla="*/ 3748564 w 6400800"/>
                <a:gd name="connsiteY4738" fmla="*/ 296704 h 514350"/>
                <a:gd name="connsiteX4739" fmla="*/ 3748564 w 6400800"/>
                <a:gd name="connsiteY4739" fmla="*/ 296704 h 514350"/>
                <a:gd name="connsiteX4740" fmla="*/ 3756184 w 6400800"/>
                <a:gd name="connsiteY4740" fmla="*/ 313849 h 514350"/>
                <a:gd name="connsiteX4741" fmla="*/ 3757136 w 6400800"/>
                <a:gd name="connsiteY4741" fmla="*/ 316706 h 514350"/>
                <a:gd name="connsiteX4742" fmla="*/ 3759041 w 6400800"/>
                <a:gd name="connsiteY4742" fmla="*/ 323374 h 514350"/>
                <a:gd name="connsiteX4743" fmla="*/ 3757136 w 6400800"/>
                <a:gd name="connsiteY4743" fmla="*/ 330041 h 514350"/>
                <a:gd name="connsiteX4744" fmla="*/ 3754279 w 6400800"/>
                <a:gd name="connsiteY4744" fmla="*/ 341471 h 514350"/>
                <a:gd name="connsiteX4745" fmla="*/ 3750469 w 6400800"/>
                <a:gd name="connsiteY4745" fmla="*/ 335756 h 514350"/>
                <a:gd name="connsiteX4746" fmla="*/ 3747611 w 6400800"/>
                <a:gd name="connsiteY4746" fmla="*/ 331946 h 514350"/>
                <a:gd name="connsiteX4747" fmla="*/ 3748564 w 6400800"/>
                <a:gd name="connsiteY4747" fmla="*/ 296704 h 514350"/>
                <a:gd name="connsiteX4748" fmla="*/ 3738086 w 6400800"/>
                <a:gd name="connsiteY4748" fmla="*/ 273844 h 514350"/>
                <a:gd name="connsiteX4749" fmla="*/ 3738086 w 6400800"/>
                <a:gd name="connsiteY4749" fmla="*/ 273844 h 514350"/>
                <a:gd name="connsiteX4750" fmla="*/ 3738086 w 6400800"/>
                <a:gd name="connsiteY4750" fmla="*/ 274796 h 514350"/>
                <a:gd name="connsiteX4751" fmla="*/ 3738086 w 6400800"/>
                <a:gd name="connsiteY4751" fmla="*/ 273844 h 514350"/>
                <a:gd name="connsiteX4752" fmla="*/ 3689509 w 6400800"/>
                <a:gd name="connsiteY4752" fmla="*/ 326231 h 514350"/>
                <a:gd name="connsiteX4753" fmla="*/ 3686651 w 6400800"/>
                <a:gd name="connsiteY4753" fmla="*/ 331946 h 514350"/>
                <a:gd name="connsiteX4754" fmla="*/ 3685699 w 6400800"/>
                <a:gd name="connsiteY4754" fmla="*/ 330994 h 514350"/>
                <a:gd name="connsiteX4755" fmla="*/ 3685699 w 6400800"/>
                <a:gd name="connsiteY4755" fmla="*/ 322421 h 514350"/>
                <a:gd name="connsiteX4756" fmla="*/ 3685699 w 6400800"/>
                <a:gd name="connsiteY4756" fmla="*/ 313849 h 514350"/>
                <a:gd name="connsiteX4757" fmla="*/ 3689509 w 6400800"/>
                <a:gd name="connsiteY4757" fmla="*/ 325279 h 514350"/>
                <a:gd name="connsiteX4758" fmla="*/ 3689509 w 6400800"/>
                <a:gd name="connsiteY4758" fmla="*/ 326231 h 514350"/>
                <a:gd name="connsiteX4759" fmla="*/ 3716179 w 6400800"/>
                <a:gd name="connsiteY4759" fmla="*/ 211931 h 514350"/>
                <a:gd name="connsiteX4760" fmla="*/ 3720941 w 6400800"/>
                <a:gd name="connsiteY4760" fmla="*/ 221456 h 514350"/>
                <a:gd name="connsiteX4761" fmla="*/ 3719036 w 6400800"/>
                <a:gd name="connsiteY4761" fmla="*/ 230029 h 514350"/>
                <a:gd name="connsiteX4762" fmla="*/ 3718084 w 6400800"/>
                <a:gd name="connsiteY4762" fmla="*/ 233839 h 514350"/>
                <a:gd name="connsiteX4763" fmla="*/ 3713321 w 6400800"/>
                <a:gd name="connsiteY4763" fmla="*/ 228124 h 514350"/>
                <a:gd name="connsiteX4764" fmla="*/ 3717131 w 6400800"/>
                <a:gd name="connsiteY4764" fmla="*/ 235744 h 514350"/>
                <a:gd name="connsiteX4765" fmla="*/ 3714274 w 6400800"/>
                <a:gd name="connsiteY4765" fmla="*/ 253841 h 514350"/>
                <a:gd name="connsiteX4766" fmla="*/ 3714274 w 6400800"/>
                <a:gd name="connsiteY4766" fmla="*/ 250984 h 514350"/>
                <a:gd name="connsiteX4767" fmla="*/ 3713321 w 6400800"/>
                <a:gd name="connsiteY4767" fmla="*/ 238601 h 514350"/>
                <a:gd name="connsiteX4768" fmla="*/ 3713321 w 6400800"/>
                <a:gd name="connsiteY4768" fmla="*/ 227171 h 514350"/>
                <a:gd name="connsiteX4769" fmla="*/ 3712369 w 6400800"/>
                <a:gd name="connsiteY4769" fmla="*/ 208121 h 514350"/>
                <a:gd name="connsiteX4770" fmla="*/ 3712369 w 6400800"/>
                <a:gd name="connsiteY4770" fmla="*/ 205264 h 514350"/>
                <a:gd name="connsiteX4771" fmla="*/ 3716179 w 6400800"/>
                <a:gd name="connsiteY4771" fmla="*/ 211931 h 514350"/>
                <a:gd name="connsiteX4772" fmla="*/ 3679984 w 6400800"/>
                <a:gd name="connsiteY4772" fmla="*/ 236696 h 514350"/>
                <a:gd name="connsiteX4773" fmla="*/ 3684746 w 6400800"/>
                <a:gd name="connsiteY4773" fmla="*/ 196691 h 514350"/>
                <a:gd name="connsiteX4774" fmla="*/ 3687604 w 6400800"/>
                <a:gd name="connsiteY4774" fmla="*/ 166211 h 514350"/>
                <a:gd name="connsiteX4775" fmla="*/ 3688556 w 6400800"/>
                <a:gd name="connsiteY4775" fmla="*/ 154781 h 514350"/>
                <a:gd name="connsiteX4776" fmla="*/ 3699034 w 6400800"/>
                <a:gd name="connsiteY4776" fmla="*/ 178594 h 514350"/>
                <a:gd name="connsiteX4777" fmla="*/ 3708559 w 6400800"/>
                <a:gd name="connsiteY4777" fmla="*/ 199549 h 514350"/>
                <a:gd name="connsiteX4778" fmla="*/ 3707606 w 6400800"/>
                <a:gd name="connsiteY4778" fmla="*/ 207169 h 514350"/>
                <a:gd name="connsiteX4779" fmla="*/ 3704749 w 6400800"/>
                <a:gd name="connsiteY4779" fmla="*/ 226219 h 514350"/>
                <a:gd name="connsiteX4780" fmla="*/ 3702844 w 6400800"/>
                <a:gd name="connsiteY4780" fmla="*/ 237649 h 514350"/>
                <a:gd name="connsiteX4781" fmla="*/ 3701891 w 6400800"/>
                <a:gd name="connsiteY4781" fmla="*/ 250984 h 514350"/>
                <a:gd name="connsiteX4782" fmla="*/ 3700939 w 6400800"/>
                <a:gd name="connsiteY4782" fmla="*/ 280511 h 514350"/>
                <a:gd name="connsiteX4783" fmla="*/ 3700939 w 6400800"/>
                <a:gd name="connsiteY4783" fmla="*/ 300514 h 514350"/>
                <a:gd name="connsiteX4784" fmla="*/ 3697129 w 6400800"/>
                <a:gd name="connsiteY4784" fmla="*/ 290036 h 514350"/>
                <a:gd name="connsiteX4785" fmla="*/ 3699034 w 6400800"/>
                <a:gd name="connsiteY4785" fmla="*/ 308134 h 514350"/>
                <a:gd name="connsiteX4786" fmla="*/ 3690461 w 6400800"/>
                <a:gd name="connsiteY4786" fmla="*/ 322421 h 514350"/>
                <a:gd name="connsiteX4787" fmla="*/ 3683794 w 6400800"/>
                <a:gd name="connsiteY4787" fmla="*/ 310991 h 514350"/>
                <a:gd name="connsiteX4788" fmla="*/ 3683794 w 6400800"/>
                <a:gd name="connsiteY4788" fmla="*/ 302419 h 514350"/>
                <a:gd name="connsiteX4789" fmla="*/ 3682841 w 6400800"/>
                <a:gd name="connsiteY4789" fmla="*/ 308134 h 514350"/>
                <a:gd name="connsiteX4790" fmla="*/ 3679031 w 6400800"/>
                <a:gd name="connsiteY4790" fmla="*/ 302419 h 514350"/>
                <a:gd name="connsiteX4791" fmla="*/ 3681889 w 6400800"/>
                <a:gd name="connsiteY4791" fmla="*/ 310991 h 514350"/>
                <a:gd name="connsiteX4792" fmla="*/ 3679984 w 6400800"/>
                <a:gd name="connsiteY4792" fmla="*/ 323374 h 514350"/>
                <a:gd name="connsiteX4793" fmla="*/ 3672364 w 6400800"/>
                <a:gd name="connsiteY4793" fmla="*/ 307181 h 514350"/>
                <a:gd name="connsiteX4794" fmla="*/ 3677126 w 6400800"/>
                <a:gd name="connsiteY4794" fmla="*/ 289084 h 514350"/>
                <a:gd name="connsiteX4795" fmla="*/ 3681889 w 6400800"/>
                <a:gd name="connsiteY4795" fmla="*/ 272891 h 514350"/>
                <a:gd name="connsiteX4796" fmla="*/ 3686651 w 6400800"/>
                <a:gd name="connsiteY4796" fmla="*/ 260509 h 514350"/>
                <a:gd name="connsiteX4797" fmla="*/ 3692366 w 6400800"/>
                <a:gd name="connsiteY4797" fmla="*/ 250031 h 514350"/>
                <a:gd name="connsiteX4798" fmla="*/ 3683794 w 6400800"/>
                <a:gd name="connsiteY4798" fmla="*/ 258604 h 514350"/>
                <a:gd name="connsiteX4799" fmla="*/ 3675221 w 6400800"/>
                <a:gd name="connsiteY4799" fmla="*/ 270034 h 514350"/>
                <a:gd name="connsiteX4800" fmla="*/ 3671411 w 6400800"/>
                <a:gd name="connsiteY4800" fmla="*/ 275749 h 514350"/>
                <a:gd name="connsiteX4801" fmla="*/ 3679984 w 6400800"/>
                <a:gd name="connsiteY4801" fmla="*/ 236696 h 514350"/>
                <a:gd name="connsiteX4802" fmla="*/ 3678079 w 6400800"/>
                <a:gd name="connsiteY4802" fmla="*/ 342424 h 514350"/>
                <a:gd name="connsiteX4803" fmla="*/ 3677126 w 6400800"/>
                <a:gd name="connsiteY4803" fmla="*/ 349091 h 514350"/>
                <a:gd name="connsiteX4804" fmla="*/ 3676174 w 6400800"/>
                <a:gd name="connsiteY4804" fmla="*/ 343376 h 514350"/>
                <a:gd name="connsiteX4805" fmla="*/ 3674269 w 6400800"/>
                <a:gd name="connsiteY4805" fmla="*/ 335756 h 514350"/>
                <a:gd name="connsiteX4806" fmla="*/ 3678079 w 6400800"/>
                <a:gd name="connsiteY4806" fmla="*/ 342424 h 514350"/>
                <a:gd name="connsiteX4807" fmla="*/ 3664744 w 6400800"/>
                <a:gd name="connsiteY4807" fmla="*/ 355759 h 514350"/>
                <a:gd name="connsiteX4808" fmla="*/ 3664744 w 6400800"/>
                <a:gd name="connsiteY4808" fmla="*/ 362426 h 514350"/>
                <a:gd name="connsiteX4809" fmla="*/ 3663791 w 6400800"/>
                <a:gd name="connsiteY4809" fmla="*/ 371951 h 514350"/>
                <a:gd name="connsiteX4810" fmla="*/ 3663791 w 6400800"/>
                <a:gd name="connsiteY4810" fmla="*/ 371951 h 514350"/>
                <a:gd name="connsiteX4811" fmla="*/ 3662839 w 6400800"/>
                <a:gd name="connsiteY4811" fmla="*/ 367189 h 514350"/>
                <a:gd name="connsiteX4812" fmla="*/ 3662839 w 6400800"/>
                <a:gd name="connsiteY4812" fmla="*/ 366236 h 514350"/>
                <a:gd name="connsiteX4813" fmla="*/ 3664744 w 6400800"/>
                <a:gd name="connsiteY4813" fmla="*/ 355759 h 514350"/>
                <a:gd name="connsiteX4814" fmla="*/ 3603784 w 6400800"/>
                <a:gd name="connsiteY4814" fmla="*/ 369094 h 514350"/>
                <a:gd name="connsiteX4815" fmla="*/ 3602831 w 6400800"/>
                <a:gd name="connsiteY4815" fmla="*/ 363379 h 514350"/>
                <a:gd name="connsiteX4816" fmla="*/ 3605689 w 6400800"/>
                <a:gd name="connsiteY4816" fmla="*/ 352901 h 514350"/>
                <a:gd name="connsiteX4817" fmla="*/ 3606641 w 6400800"/>
                <a:gd name="connsiteY4817" fmla="*/ 350044 h 514350"/>
                <a:gd name="connsiteX4818" fmla="*/ 3607594 w 6400800"/>
                <a:gd name="connsiteY4818" fmla="*/ 352901 h 514350"/>
                <a:gd name="connsiteX4819" fmla="*/ 3607594 w 6400800"/>
                <a:gd name="connsiteY4819" fmla="*/ 353854 h 514350"/>
                <a:gd name="connsiteX4820" fmla="*/ 3603784 w 6400800"/>
                <a:gd name="connsiteY4820" fmla="*/ 369094 h 514350"/>
                <a:gd name="connsiteX4821" fmla="*/ 3612356 w 6400800"/>
                <a:gd name="connsiteY4821" fmla="*/ 329089 h 514350"/>
                <a:gd name="connsiteX4822" fmla="*/ 3611404 w 6400800"/>
                <a:gd name="connsiteY4822" fmla="*/ 327184 h 514350"/>
                <a:gd name="connsiteX4823" fmla="*/ 3610451 w 6400800"/>
                <a:gd name="connsiteY4823" fmla="*/ 321469 h 514350"/>
                <a:gd name="connsiteX4824" fmla="*/ 3613309 w 6400800"/>
                <a:gd name="connsiteY4824" fmla="*/ 324326 h 514350"/>
                <a:gd name="connsiteX4825" fmla="*/ 3612356 w 6400800"/>
                <a:gd name="connsiteY4825" fmla="*/ 329089 h 514350"/>
                <a:gd name="connsiteX4826" fmla="*/ 3633311 w 6400800"/>
                <a:gd name="connsiteY4826" fmla="*/ 366236 h 514350"/>
                <a:gd name="connsiteX4827" fmla="*/ 3629501 w 6400800"/>
                <a:gd name="connsiteY4827" fmla="*/ 358616 h 514350"/>
                <a:gd name="connsiteX4828" fmla="*/ 3629501 w 6400800"/>
                <a:gd name="connsiteY4828" fmla="*/ 354806 h 514350"/>
                <a:gd name="connsiteX4829" fmla="*/ 3633311 w 6400800"/>
                <a:gd name="connsiteY4829" fmla="*/ 366236 h 514350"/>
                <a:gd name="connsiteX4830" fmla="*/ 3633311 w 6400800"/>
                <a:gd name="connsiteY4830" fmla="*/ 366236 h 514350"/>
                <a:gd name="connsiteX4831" fmla="*/ 3633311 w 6400800"/>
                <a:gd name="connsiteY4831" fmla="*/ 366236 h 514350"/>
                <a:gd name="connsiteX4832" fmla="*/ 3632359 w 6400800"/>
                <a:gd name="connsiteY4832" fmla="*/ 331946 h 514350"/>
                <a:gd name="connsiteX4833" fmla="*/ 3635216 w 6400800"/>
                <a:gd name="connsiteY4833" fmla="*/ 348139 h 514350"/>
                <a:gd name="connsiteX4834" fmla="*/ 3631406 w 6400800"/>
                <a:gd name="connsiteY4834" fmla="*/ 341471 h 514350"/>
                <a:gd name="connsiteX4835" fmla="*/ 3632359 w 6400800"/>
                <a:gd name="connsiteY4835" fmla="*/ 331946 h 514350"/>
                <a:gd name="connsiteX4836" fmla="*/ 3618071 w 6400800"/>
                <a:gd name="connsiteY4836" fmla="*/ 270034 h 514350"/>
                <a:gd name="connsiteX4837" fmla="*/ 3628549 w 6400800"/>
                <a:gd name="connsiteY4837" fmla="*/ 246221 h 514350"/>
                <a:gd name="connsiteX4838" fmla="*/ 3630454 w 6400800"/>
                <a:gd name="connsiteY4838" fmla="*/ 242411 h 514350"/>
                <a:gd name="connsiteX4839" fmla="*/ 3625691 w 6400800"/>
                <a:gd name="connsiteY4839" fmla="*/ 265271 h 514350"/>
                <a:gd name="connsiteX4840" fmla="*/ 3618071 w 6400800"/>
                <a:gd name="connsiteY4840" fmla="*/ 271939 h 514350"/>
                <a:gd name="connsiteX4841" fmla="*/ 3618071 w 6400800"/>
                <a:gd name="connsiteY4841" fmla="*/ 270034 h 514350"/>
                <a:gd name="connsiteX4842" fmla="*/ 3601879 w 6400800"/>
                <a:gd name="connsiteY4842" fmla="*/ 310039 h 514350"/>
                <a:gd name="connsiteX4843" fmla="*/ 3606641 w 6400800"/>
                <a:gd name="connsiteY4843" fmla="*/ 298609 h 514350"/>
                <a:gd name="connsiteX4844" fmla="*/ 3615214 w 6400800"/>
                <a:gd name="connsiteY4844" fmla="*/ 278606 h 514350"/>
                <a:gd name="connsiteX4845" fmla="*/ 3619976 w 6400800"/>
                <a:gd name="connsiteY4845" fmla="*/ 271939 h 514350"/>
                <a:gd name="connsiteX4846" fmla="*/ 3625691 w 6400800"/>
                <a:gd name="connsiteY4846" fmla="*/ 266224 h 514350"/>
                <a:gd name="connsiteX4847" fmla="*/ 3624739 w 6400800"/>
                <a:gd name="connsiteY4847" fmla="*/ 270986 h 514350"/>
                <a:gd name="connsiteX4848" fmla="*/ 3617119 w 6400800"/>
                <a:gd name="connsiteY4848" fmla="*/ 309086 h 514350"/>
                <a:gd name="connsiteX4849" fmla="*/ 3614261 w 6400800"/>
                <a:gd name="connsiteY4849" fmla="*/ 322421 h 514350"/>
                <a:gd name="connsiteX4850" fmla="*/ 3611404 w 6400800"/>
                <a:gd name="connsiteY4850" fmla="*/ 320516 h 514350"/>
                <a:gd name="connsiteX4851" fmla="*/ 3609499 w 6400800"/>
                <a:gd name="connsiteY4851" fmla="*/ 298609 h 514350"/>
                <a:gd name="connsiteX4852" fmla="*/ 3608546 w 6400800"/>
                <a:gd name="connsiteY4852" fmla="*/ 318611 h 514350"/>
                <a:gd name="connsiteX4853" fmla="*/ 3606641 w 6400800"/>
                <a:gd name="connsiteY4853" fmla="*/ 317659 h 514350"/>
                <a:gd name="connsiteX4854" fmla="*/ 3608546 w 6400800"/>
                <a:gd name="connsiteY4854" fmla="*/ 319564 h 514350"/>
                <a:gd name="connsiteX4855" fmla="*/ 3608546 w 6400800"/>
                <a:gd name="connsiteY4855" fmla="*/ 322421 h 514350"/>
                <a:gd name="connsiteX4856" fmla="*/ 3602831 w 6400800"/>
                <a:gd name="connsiteY4856" fmla="*/ 312896 h 514350"/>
                <a:gd name="connsiteX4857" fmla="*/ 3601879 w 6400800"/>
                <a:gd name="connsiteY4857" fmla="*/ 310039 h 514350"/>
                <a:gd name="connsiteX4858" fmla="*/ 3600926 w 6400800"/>
                <a:gd name="connsiteY4858" fmla="*/ 335756 h 514350"/>
                <a:gd name="connsiteX4859" fmla="*/ 3604736 w 6400800"/>
                <a:gd name="connsiteY4859" fmla="*/ 346234 h 514350"/>
                <a:gd name="connsiteX4860" fmla="*/ 3601879 w 6400800"/>
                <a:gd name="connsiteY4860" fmla="*/ 351949 h 514350"/>
                <a:gd name="connsiteX4861" fmla="*/ 3600926 w 6400800"/>
                <a:gd name="connsiteY4861" fmla="*/ 352901 h 514350"/>
                <a:gd name="connsiteX4862" fmla="*/ 3599974 w 6400800"/>
                <a:gd name="connsiteY4862" fmla="*/ 345281 h 514350"/>
                <a:gd name="connsiteX4863" fmla="*/ 3600926 w 6400800"/>
                <a:gd name="connsiteY4863" fmla="*/ 335756 h 514350"/>
                <a:gd name="connsiteX4864" fmla="*/ 3556159 w 6400800"/>
                <a:gd name="connsiteY4864" fmla="*/ 342424 h 514350"/>
                <a:gd name="connsiteX4865" fmla="*/ 3557111 w 6400800"/>
                <a:gd name="connsiteY4865" fmla="*/ 324326 h 514350"/>
                <a:gd name="connsiteX4866" fmla="*/ 3558064 w 6400800"/>
                <a:gd name="connsiteY4866" fmla="*/ 328136 h 514350"/>
                <a:gd name="connsiteX4867" fmla="*/ 3559016 w 6400800"/>
                <a:gd name="connsiteY4867" fmla="*/ 333851 h 514350"/>
                <a:gd name="connsiteX4868" fmla="*/ 3559016 w 6400800"/>
                <a:gd name="connsiteY4868" fmla="*/ 334804 h 514350"/>
                <a:gd name="connsiteX4869" fmla="*/ 3556159 w 6400800"/>
                <a:gd name="connsiteY4869" fmla="*/ 342424 h 514350"/>
                <a:gd name="connsiteX4870" fmla="*/ 3559969 w 6400800"/>
                <a:gd name="connsiteY4870" fmla="*/ 279559 h 514350"/>
                <a:gd name="connsiteX4871" fmla="*/ 3559016 w 6400800"/>
                <a:gd name="connsiteY4871" fmla="*/ 274796 h 514350"/>
                <a:gd name="connsiteX4872" fmla="*/ 3561874 w 6400800"/>
                <a:gd name="connsiteY4872" fmla="*/ 276701 h 514350"/>
                <a:gd name="connsiteX4873" fmla="*/ 3566636 w 6400800"/>
                <a:gd name="connsiteY4873" fmla="*/ 280511 h 514350"/>
                <a:gd name="connsiteX4874" fmla="*/ 3562826 w 6400800"/>
                <a:gd name="connsiteY4874" fmla="*/ 287179 h 514350"/>
                <a:gd name="connsiteX4875" fmla="*/ 3559969 w 6400800"/>
                <a:gd name="connsiteY4875" fmla="*/ 279559 h 514350"/>
                <a:gd name="connsiteX4876" fmla="*/ 3571399 w 6400800"/>
                <a:gd name="connsiteY4876" fmla="*/ 287179 h 514350"/>
                <a:gd name="connsiteX4877" fmla="*/ 3571399 w 6400800"/>
                <a:gd name="connsiteY4877" fmla="*/ 311944 h 514350"/>
                <a:gd name="connsiteX4878" fmla="*/ 3569494 w 6400800"/>
                <a:gd name="connsiteY4878" fmla="*/ 314801 h 514350"/>
                <a:gd name="connsiteX4879" fmla="*/ 3562826 w 6400800"/>
                <a:gd name="connsiteY4879" fmla="*/ 292894 h 514350"/>
                <a:gd name="connsiteX4880" fmla="*/ 3566636 w 6400800"/>
                <a:gd name="connsiteY4880" fmla="*/ 282416 h 514350"/>
                <a:gd name="connsiteX4881" fmla="*/ 3571399 w 6400800"/>
                <a:gd name="connsiteY4881" fmla="*/ 287179 h 514350"/>
                <a:gd name="connsiteX4882" fmla="*/ 3571399 w 6400800"/>
                <a:gd name="connsiteY4882" fmla="*/ 287179 h 514350"/>
                <a:gd name="connsiteX4883" fmla="*/ 3571399 w 6400800"/>
                <a:gd name="connsiteY4883" fmla="*/ 281464 h 514350"/>
                <a:gd name="connsiteX4884" fmla="*/ 3568541 w 6400800"/>
                <a:gd name="connsiteY4884" fmla="*/ 279559 h 514350"/>
                <a:gd name="connsiteX4885" fmla="*/ 3568541 w 6400800"/>
                <a:gd name="connsiteY4885" fmla="*/ 279559 h 514350"/>
                <a:gd name="connsiteX4886" fmla="*/ 3571399 w 6400800"/>
                <a:gd name="connsiteY4886" fmla="*/ 273844 h 514350"/>
                <a:gd name="connsiteX4887" fmla="*/ 3571399 w 6400800"/>
                <a:gd name="connsiteY4887" fmla="*/ 281464 h 514350"/>
                <a:gd name="connsiteX4888" fmla="*/ 3567589 w 6400800"/>
                <a:gd name="connsiteY4888" fmla="*/ 250031 h 514350"/>
                <a:gd name="connsiteX4889" fmla="*/ 3570446 w 6400800"/>
                <a:gd name="connsiteY4889" fmla="*/ 265271 h 514350"/>
                <a:gd name="connsiteX4890" fmla="*/ 3571399 w 6400800"/>
                <a:gd name="connsiteY4890" fmla="*/ 271939 h 514350"/>
                <a:gd name="connsiteX4891" fmla="*/ 3571399 w 6400800"/>
                <a:gd name="connsiteY4891" fmla="*/ 272891 h 514350"/>
                <a:gd name="connsiteX4892" fmla="*/ 3567589 w 6400800"/>
                <a:gd name="connsiteY4892" fmla="*/ 277654 h 514350"/>
                <a:gd name="connsiteX4893" fmla="*/ 3567589 w 6400800"/>
                <a:gd name="connsiteY4893" fmla="*/ 277654 h 514350"/>
                <a:gd name="connsiteX4894" fmla="*/ 3561874 w 6400800"/>
                <a:gd name="connsiteY4894" fmla="*/ 274796 h 514350"/>
                <a:gd name="connsiteX4895" fmla="*/ 3558064 w 6400800"/>
                <a:gd name="connsiteY4895" fmla="*/ 272891 h 514350"/>
                <a:gd name="connsiteX4896" fmla="*/ 3554254 w 6400800"/>
                <a:gd name="connsiteY4896" fmla="*/ 260509 h 514350"/>
                <a:gd name="connsiteX4897" fmla="*/ 3556159 w 6400800"/>
                <a:gd name="connsiteY4897" fmla="*/ 257651 h 514350"/>
                <a:gd name="connsiteX4898" fmla="*/ 3566636 w 6400800"/>
                <a:gd name="connsiteY4898" fmla="*/ 243364 h 514350"/>
                <a:gd name="connsiteX4899" fmla="*/ 3567589 w 6400800"/>
                <a:gd name="connsiteY4899" fmla="*/ 250031 h 514350"/>
                <a:gd name="connsiteX4900" fmla="*/ 3561874 w 6400800"/>
                <a:gd name="connsiteY4900" fmla="*/ 229076 h 514350"/>
                <a:gd name="connsiteX4901" fmla="*/ 3562826 w 6400800"/>
                <a:gd name="connsiteY4901" fmla="*/ 227171 h 514350"/>
                <a:gd name="connsiteX4902" fmla="*/ 3564731 w 6400800"/>
                <a:gd name="connsiteY4902" fmla="*/ 235744 h 514350"/>
                <a:gd name="connsiteX4903" fmla="*/ 3565684 w 6400800"/>
                <a:gd name="connsiteY4903" fmla="*/ 238601 h 514350"/>
                <a:gd name="connsiteX4904" fmla="*/ 3552349 w 6400800"/>
                <a:gd name="connsiteY4904" fmla="*/ 251936 h 514350"/>
                <a:gd name="connsiteX4905" fmla="*/ 3551396 w 6400800"/>
                <a:gd name="connsiteY4905" fmla="*/ 247174 h 514350"/>
                <a:gd name="connsiteX4906" fmla="*/ 3561874 w 6400800"/>
                <a:gd name="connsiteY4906" fmla="*/ 229076 h 514350"/>
                <a:gd name="connsiteX4907" fmla="*/ 3551396 w 6400800"/>
                <a:gd name="connsiteY4907" fmla="*/ 293846 h 514350"/>
                <a:gd name="connsiteX4908" fmla="*/ 3554254 w 6400800"/>
                <a:gd name="connsiteY4908" fmla="*/ 307181 h 514350"/>
                <a:gd name="connsiteX4909" fmla="*/ 3550444 w 6400800"/>
                <a:gd name="connsiteY4909" fmla="*/ 321469 h 514350"/>
                <a:gd name="connsiteX4910" fmla="*/ 3547586 w 6400800"/>
                <a:gd name="connsiteY4910" fmla="*/ 333851 h 514350"/>
                <a:gd name="connsiteX4911" fmla="*/ 3546634 w 6400800"/>
                <a:gd name="connsiteY4911" fmla="*/ 331946 h 514350"/>
                <a:gd name="connsiteX4912" fmla="*/ 3543776 w 6400800"/>
                <a:gd name="connsiteY4912" fmla="*/ 327184 h 514350"/>
                <a:gd name="connsiteX4913" fmla="*/ 3544729 w 6400800"/>
                <a:gd name="connsiteY4913" fmla="*/ 306229 h 514350"/>
                <a:gd name="connsiteX4914" fmla="*/ 3547586 w 6400800"/>
                <a:gd name="connsiteY4914" fmla="*/ 286226 h 514350"/>
                <a:gd name="connsiteX4915" fmla="*/ 3548539 w 6400800"/>
                <a:gd name="connsiteY4915" fmla="*/ 276701 h 514350"/>
                <a:gd name="connsiteX4916" fmla="*/ 3551396 w 6400800"/>
                <a:gd name="connsiteY4916" fmla="*/ 293846 h 514350"/>
                <a:gd name="connsiteX4917" fmla="*/ 3543776 w 6400800"/>
                <a:gd name="connsiteY4917" fmla="*/ 191929 h 514350"/>
                <a:gd name="connsiteX4918" fmla="*/ 3549491 w 6400800"/>
                <a:gd name="connsiteY4918" fmla="*/ 180499 h 514350"/>
                <a:gd name="connsiteX4919" fmla="*/ 3548539 w 6400800"/>
                <a:gd name="connsiteY4919" fmla="*/ 185261 h 514350"/>
                <a:gd name="connsiteX4920" fmla="*/ 3544729 w 6400800"/>
                <a:gd name="connsiteY4920" fmla="*/ 211931 h 514350"/>
                <a:gd name="connsiteX4921" fmla="*/ 3543776 w 6400800"/>
                <a:gd name="connsiteY4921" fmla="*/ 217646 h 514350"/>
                <a:gd name="connsiteX4922" fmla="*/ 3539014 w 6400800"/>
                <a:gd name="connsiteY4922" fmla="*/ 200501 h 514350"/>
                <a:gd name="connsiteX4923" fmla="*/ 3543776 w 6400800"/>
                <a:gd name="connsiteY4923" fmla="*/ 191929 h 514350"/>
                <a:gd name="connsiteX4924" fmla="*/ 3530441 w 6400800"/>
                <a:gd name="connsiteY4924" fmla="*/ 217646 h 514350"/>
                <a:gd name="connsiteX4925" fmla="*/ 3539014 w 6400800"/>
                <a:gd name="connsiteY4925" fmla="*/ 201454 h 514350"/>
                <a:gd name="connsiteX4926" fmla="*/ 3540919 w 6400800"/>
                <a:gd name="connsiteY4926" fmla="*/ 217646 h 514350"/>
                <a:gd name="connsiteX4927" fmla="*/ 3542824 w 6400800"/>
                <a:gd name="connsiteY4927" fmla="*/ 231934 h 514350"/>
                <a:gd name="connsiteX4928" fmla="*/ 3540919 w 6400800"/>
                <a:gd name="connsiteY4928" fmla="*/ 240506 h 514350"/>
                <a:gd name="connsiteX4929" fmla="*/ 3528536 w 6400800"/>
                <a:gd name="connsiteY4929" fmla="*/ 259556 h 514350"/>
                <a:gd name="connsiteX4930" fmla="*/ 3528536 w 6400800"/>
                <a:gd name="connsiteY4930" fmla="*/ 257651 h 514350"/>
                <a:gd name="connsiteX4931" fmla="*/ 3527584 w 6400800"/>
                <a:gd name="connsiteY4931" fmla="*/ 240506 h 514350"/>
                <a:gd name="connsiteX4932" fmla="*/ 3526631 w 6400800"/>
                <a:gd name="connsiteY4932" fmla="*/ 229076 h 514350"/>
                <a:gd name="connsiteX4933" fmla="*/ 3530441 w 6400800"/>
                <a:gd name="connsiteY4933" fmla="*/ 217646 h 514350"/>
                <a:gd name="connsiteX4934" fmla="*/ 3490436 w 6400800"/>
                <a:gd name="connsiteY4934" fmla="*/ 321469 h 514350"/>
                <a:gd name="connsiteX4935" fmla="*/ 3490436 w 6400800"/>
                <a:gd name="connsiteY4935" fmla="*/ 317659 h 514350"/>
                <a:gd name="connsiteX4936" fmla="*/ 3491389 w 6400800"/>
                <a:gd name="connsiteY4936" fmla="*/ 319564 h 514350"/>
                <a:gd name="connsiteX4937" fmla="*/ 3490436 w 6400800"/>
                <a:gd name="connsiteY4937" fmla="*/ 321469 h 514350"/>
                <a:gd name="connsiteX4938" fmla="*/ 3514249 w 6400800"/>
                <a:gd name="connsiteY4938" fmla="*/ 250984 h 514350"/>
                <a:gd name="connsiteX4939" fmla="*/ 3516154 w 6400800"/>
                <a:gd name="connsiteY4939" fmla="*/ 246221 h 514350"/>
                <a:gd name="connsiteX4940" fmla="*/ 3515201 w 6400800"/>
                <a:gd name="connsiteY4940" fmla="*/ 257651 h 514350"/>
                <a:gd name="connsiteX4941" fmla="*/ 3514249 w 6400800"/>
                <a:gd name="connsiteY4941" fmla="*/ 270986 h 514350"/>
                <a:gd name="connsiteX4942" fmla="*/ 3509486 w 6400800"/>
                <a:gd name="connsiteY4942" fmla="*/ 259556 h 514350"/>
                <a:gd name="connsiteX4943" fmla="*/ 3514249 w 6400800"/>
                <a:gd name="connsiteY4943" fmla="*/ 250984 h 514350"/>
                <a:gd name="connsiteX4944" fmla="*/ 3504724 w 6400800"/>
                <a:gd name="connsiteY4944" fmla="*/ 271939 h 514350"/>
                <a:gd name="connsiteX4945" fmla="*/ 3505676 w 6400800"/>
                <a:gd name="connsiteY4945" fmla="*/ 274796 h 514350"/>
                <a:gd name="connsiteX4946" fmla="*/ 3509486 w 6400800"/>
                <a:gd name="connsiteY4946" fmla="*/ 288131 h 514350"/>
                <a:gd name="connsiteX4947" fmla="*/ 3505676 w 6400800"/>
                <a:gd name="connsiteY4947" fmla="*/ 293846 h 514350"/>
                <a:gd name="connsiteX4948" fmla="*/ 3504724 w 6400800"/>
                <a:gd name="connsiteY4948" fmla="*/ 282416 h 514350"/>
                <a:gd name="connsiteX4949" fmla="*/ 3504724 w 6400800"/>
                <a:gd name="connsiteY4949" fmla="*/ 271939 h 514350"/>
                <a:gd name="connsiteX4950" fmla="*/ 3504724 w 6400800"/>
                <a:gd name="connsiteY4950" fmla="*/ 271939 h 514350"/>
                <a:gd name="connsiteX4951" fmla="*/ 3501866 w 6400800"/>
                <a:gd name="connsiteY4951" fmla="*/ 398621 h 514350"/>
                <a:gd name="connsiteX4952" fmla="*/ 3495199 w 6400800"/>
                <a:gd name="connsiteY4952" fmla="*/ 371951 h 514350"/>
                <a:gd name="connsiteX4953" fmla="*/ 3494246 w 6400800"/>
                <a:gd name="connsiteY4953" fmla="*/ 369094 h 514350"/>
                <a:gd name="connsiteX4954" fmla="*/ 3499961 w 6400800"/>
                <a:gd name="connsiteY4954" fmla="*/ 357664 h 514350"/>
                <a:gd name="connsiteX4955" fmla="*/ 3501866 w 6400800"/>
                <a:gd name="connsiteY4955" fmla="*/ 398621 h 514350"/>
                <a:gd name="connsiteX4956" fmla="*/ 3496151 w 6400800"/>
                <a:gd name="connsiteY4956" fmla="*/ 290036 h 514350"/>
                <a:gd name="connsiteX4957" fmla="*/ 3499009 w 6400800"/>
                <a:gd name="connsiteY4957" fmla="*/ 284321 h 514350"/>
                <a:gd name="connsiteX4958" fmla="*/ 3499009 w 6400800"/>
                <a:gd name="connsiteY4958" fmla="*/ 295751 h 514350"/>
                <a:gd name="connsiteX4959" fmla="*/ 3496151 w 6400800"/>
                <a:gd name="connsiteY4959" fmla="*/ 290036 h 514350"/>
                <a:gd name="connsiteX4960" fmla="*/ 3496151 w 6400800"/>
                <a:gd name="connsiteY4960" fmla="*/ 252889 h 514350"/>
                <a:gd name="connsiteX4961" fmla="*/ 3496151 w 6400800"/>
                <a:gd name="connsiteY4961" fmla="*/ 247174 h 514350"/>
                <a:gd name="connsiteX4962" fmla="*/ 3499009 w 6400800"/>
                <a:gd name="connsiteY4962" fmla="*/ 254794 h 514350"/>
                <a:gd name="connsiteX4963" fmla="*/ 3495199 w 6400800"/>
                <a:gd name="connsiteY4963" fmla="*/ 261461 h 514350"/>
                <a:gd name="connsiteX4964" fmla="*/ 3496151 w 6400800"/>
                <a:gd name="connsiteY4964" fmla="*/ 252889 h 514350"/>
                <a:gd name="connsiteX4965" fmla="*/ 3481864 w 6400800"/>
                <a:gd name="connsiteY4965" fmla="*/ 205264 h 514350"/>
                <a:gd name="connsiteX4966" fmla="*/ 3491389 w 6400800"/>
                <a:gd name="connsiteY4966" fmla="*/ 230029 h 514350"/>
                <a:gd name="connsiteX4967" fmla="*/ 3495199 w 6400800"/>
                <a:gd name="connsiteY4967" fmla="*/ 243364 h 514350"/>
                <a:gd name="connsiteX4968" fmla="*/ 3492341 w 6400800"/>
                <a:gd name="connsiteY4968" fmla="*/ 251936 h 514350"/>
                <a:gd name="connsiteX4969" fmla="*/ 3487579 w 6400800"/>
                <a:gd name="connsiteY4969" fmla="*/ 268129 h 514350"/>
                <a:gd name="connsiteX4970" fmla="*/ 3486626 w 6400800"/>
                <a:gd name="connsiteY4970" fmla="*/ 270034 h 514350"/>
                <a:gd name="connsiteX4971" fmla="*/ 3479959 w 6400800"/>
                <a:gd name="connsiteY4971" fmla="*/ 255746 h 514350"/>
                <a:gd name="connsiteX4972" fmla="*/ 3479959 w 6400800"/>
                <a:gd name="connsiteY4972" fmla="*/ 228124 h 514350"/>
                <a:gd name="connsiteX4973" fmla="*/ 3479959 w 6400800"/>
                <a:gd name="connsiteY4973" fmla="*/ 213836 h 514350"/>
                <a:gd name="connsiteX4974" fmla="*/ 3481864 w 6400800"/>
                <a:gd name="connsiteY4974" fmla="*/ 205264 h 514350"/>
                <a:gd name="connsiteX4975" fmla="*/ 3473291 w 6400800"/>
                <a:gd name="connsiteY4975" fmla="*/ 241459 h 514350"/>
                <a:gd name="connsiteX4976" fmla="*/ 3475196 w 6400800"/>
                <a:gd name="connsiteY4976" fmla="*/ 234791 h 514350"/>
                <a:gd name="connsiteX4977" fmla="*/ 3473291 w 6400800"/>
                <a:gd name="connsiteY4977" fmla="*/ 241459 h 514350"/>
                <a:gd name="connsiteX4978" fmla="*/ 3473291 w 6400800"/>
                <a:gd name="connsiteY4978" fmla="*/ 241459 h 514350"/>
                <a:gd name="connsiteX4979" fmla="*/ 3473291 w 6400800"/>
                <a:gd name="connsiteY4979" fmla="*/ 241459 h 514350"/>
                <a:gd name="connsiteX4980" fmla="*/ 3468529 w 6400800"/>
                <a:gd name="connsiteY4980" fmla="*/ 260509 h 514350"/>
                <a:gd name="connsiteX4981" fmla="*/ 3469481 w 6400800"/>
                <a:gd name="connsiteY4981" fmla="*/ 263366 h 514350"/>
                <a:gd name="connsiteX4982" fmla="*/ 3468529 w 6400800"/>
                <a:gd name="connsiteY4982" fmla="*/ 270986 h 514350"/>
                <a:gd name="connsiteX4983" fmla="*/ 3465671 w 6400800"/>
                <a:gd name="connsiteY4983" fmla="*/ 300514 h 514350"/>
                <a:gd name="connsiteX4984" fmla="*/ 3464719 w 6400800"/>
                <a:gd name="connsiteY4984" fmla="*/ 318611 h 514350"/>
                <a:gd name="connsiteX4985" fmla="*/ 3463766 w 6400800"/>
                <a:gd name="connsiteY4985" fmla="*/ 321469 h 514350"/>
                <a:gd name="connsiteX4986" fmla="*/ 3459956 w 6400800"/>
                <a:gd name="connsiteY4986" fmla="*/ 307181 h 514350"/>
                <a:gd name="connsiteX4987" fmla="*/ 3459956 w 6400800"/>
                <a:gd name="connsiteY4987" fmla="*/ 306229 h 514350"/>
                <a:gd name="connsiteX4988" fmla="*/ 3460909 w 6400800"/>
                <a:gd name="connsiteY4988" fmla="*/ 300514 h 514350"/>
                <a:gd name="connsiteX4989" fmla="*/ 3468529 w 6400800"/>
                <a:gd name="connsiteY4989" fmla="*/ 260509 h 514350"/>
                <a:gd name="connsiteX4990" fmla="*/ 3451384 w 6400800"/>
                <a:gd name="connsiteY4990" fmla="*/ 237649 h 514350"/>
                <a:gd name="connsiteX4991" fmla="*/ 3451384 w 6400800"/>
                <a:gd name="connsiteY4991" fmla="*/ 221456 h 514350"/>
                <a:gd name="connsiteX4992" fmla="*/ 3451384 w 6400800"/>
                <a:gd name="connsiteY4992" fmla="*/ 222409 h 514350"/>
                <a:gd name="connsiteX4993" fmla="*/ 3458051 w 6400800"/>
                <a:gd name="connsiteY4993" fmla="*/ 237649 h 514350"/>
                <a:gd name="connsiteX4994" fmla="*/ 3458051 w 6400800"/>
                <a:gd name="connsiteY4994" fmla="*/ 238601 h 514350"/>
                <a:gd name="connsiteX4995" fmla="*/ 3450431 w 6400800"/>
                <a:gd name="connsiteY4995" fmla="*/ 267176 h 514350"/>
                <a:gd name="connsiteX4996" fmla="*/ 3450431 w 6400800"/>
                <a:gd name="connsiteY4996" fmla="*/ 267176 h 514350"/>
                <a:gd name="connsiteX4997" fmla="*/ 3451384 w 6400800"/>
                <a:gd name="connsiteY4997" fmla="*/ 237649 h 514350"/>
                <a:gd name="connsiteX4998" fmla="*/ 3405664 w 6400800"/>
                <a:gd name="connsiteY4998" fmla="*/ 273844 h 514350"/>
                <a:gd name="connsiteX4999" fmla="*/ 3406616 w 6400800"/>
                <a:gd name="connsiteY4999" fmla="*/ 258604 h 514350"/>
                <a:gd name="connsiteX5000" fmla="*/ 3406616 w 6400800"/>
                <a:gd name="connsiteY5000" fmla="*/ 245269 h 514350"/>
                <a:gd name="connsiteX5001" fmla="*/ 3409474 w 6400800"/>
                <a:gd name="connsiteY5001" fmla="*/ 259556 h 514350"/>
                <a:gd name="connsiteX5002" fmla="*/ 3405664 w 6400800"/>
                <a:gd name="connsiteY5002" fmla="*/ 273844 h 514350"/>
                <a:gd name="connsiteX5003" fmla="*/ 3416141 w 6400800"/>
                <a:gd name="connsiteY5003" fmla="*/ 335756 h 514350"/>
                <a:gd name="connsiteX5004" fmla="*/ 3416141 w 6400800"/>
                <a:gd name="connsiteY5004" fmla="*/ 353854 h 514350"/>
                <a:gd name="connsiteX5005" fmla="*/ 3415189 w 6400800"/>
                <a:gd name="connsiteY5005" fmla="*/ 348139 h 514350"/>
                <a:gd name="connsiteX5006" fmla="*/ 3413284 w 6400800"/>
                <a:gd name="connsiteY5006" fmla="*/ 328136 h 514350"/>
                <a:gd name="connsiteX5007" fmla="*/ 3413284 w 6400800"/>
                <a:gd name="connsiteY5007" fmla="*/ 328136 h 514350"/>
                <a:gd name="connsiteX5008" fmla="*/ 3417094 w 6400800"/>
                <a:gd name="connsiteY5008" fmla="*/ 320516 h 514350"/>
                <a:gd name="connsiteX5009" fmla="*/ 3416141 w 6400800"/>
                <a:gd name="connsiteY5009" fmla="*/ 335756 h 514350"/>
                <a:gd name="connsiteX5010" fmla="*/ 3421856 w 6400800"/>
                <a:gd name="connsiteY5010" fmla="*/ 320516 h 514350"/>
                <a:gd name="connsiteX5011" fmla="*/ 3419951 w 6400800"/>
                <a:gd name="connsiteY5011" fmla="*/ 332899 h 514350"/>
                <a:gd name="connsiteX5012" fmla="*/ 3418046 w 6400800"/>
                <a:gd name="connsiteY5012" fmla="*/ 316706 h 514350"/>
                <a:gd name="connsiteX5013" fmla="*/ 3420904 w 6400800"/>
                <a:gd name="connsiteY5013" fmla="*/ 310991 h 514350"/>
                <a:gd name="connsiteX5014" fmla="*/ 3421856 w 6400800"/>
                <a:gd name="connsiteY5014" fmla="*/ 308134 h 514350"/>
                <a:gd name="connsiteX5015" fmla="*/ 3422809 w 6400800"/>
                <a:gd name="connsiteY5015" fmla="*/ 312896 h 514350"/>
                <a:gd name="connsiteX5016" fmla="*/ 3421856 w 6400800"/>
                <a:gd name="connsiteY5016" fmla="*/ 320516 h 514350"/>
                <a:gd name="connsiteX5017" fmla="*/ 3410426 w 6400800"/>
                <a:gd name="connsiteY5017" fmla="*/ 139541 h 514350"/>
                <a:gd name="connsiteX5018" fmla="*/ 3421856 w 6400800"/>
                <a:gd name="connsiteY5018" fmla="*/ 161449 h 514350"/>
                <a:gd name="connsiteX5019" fmla="*/ 3433286 w 6400800"/>
                <a:gd name="connsiteY5019" fmla="*/ 181451 h 514350"/>
                <a:gd name="connsiteX5020" fmla="*/ 3428524 w 6400800"/>
                <a:gd name="connsiteY5020" fmla="*/ 198596 h 514350"/>
                <a:gd name="connsiteX5021" fmla="*/ 3425666 w 6400800"/>
                <a:gd name="connsiteY5021" fmla="*/ 210026 h 514350"/>
                <a:gd name="connsiteX5022" fmla="*/ 3422809 w 6400800"/>
                <a:gd name="connsiteY5022" fmla="*/ 195739 h 514350"/>
                <a:gd name="connsiteX5023" fmla="*/ 3415189 w 6400800"/>
                <a:gd name="connsiteY5023" fmla="*/ 163354 h 514350"/>
                <a:gd name="connsiteX5024" fmla="*/ 3410426 w 6400800"/>
                <a:gd name="connsiteY5024" fmla="*/ 143351 h 514350"/>
                <a:gd name="connsiteX5025" fmla="*/ 3410426 w 6400800"/>
                <a:gd name="connsiteY5025" fmla="*/ 139541 h 514350"/>
                <a:gd name="connsiteX5026" fmla="*/ 3408521 w 6400800"/>
                <a:gd name="connsiteY5026" fmla="*/ 136684 h 514350"/>
                <a:gd name="connsiteX5027" fmla="*/ 3408521 w 6400800"/>
                <a:gd name="connsiteY5027" fmla="*/ 136684 h 514350"/>
                <a:gd name="connsiteX5028" fmla="*/ 3408521 w 6400800"/>
                <a:gd name="connsiteY5028" fmla="*/ 136684 h 514350"/>
                <a:gd name="connsiteX5029" fmla="*/ 3408521 w 6400800"/>
                <a:gd name="connsiteY5029" fmla="*/ 136684 h 514350"/>
                <a:gd name="connsiteX5030" fmla="*/ 3395186 w 6400800"/>
                <a:gd name="connsiteY5030" fmla="*/ 266224 h 514350"/>
                <a:gd name="connsiteX5031" fmla="*/ 3396139 w 6400800"/>
                <a:gd name="connsiteY5031" fmla="*/ 227171 h 514350"/>
                <a:gd name="connsiteX5032" fmla="*/ 3396139 w 6400800"/>
                <a:gd name="connsiteY5032" fmla="*/ 212884 h 514350"/>
                <a:gd name="connsiteX5033" fmla="*/ 3398996 w 6400800"/>
                <a:gd name="connsiteY5033" fmla="*/ 204311 h 514350"/>
                <a:gd name="connsiteX5034" fmla="*/ 3396139 w 6400800"/>
                <a:gd name="connsiteY5034" fmla="*/ 210026 h 514350"/>
                <a:gd name="connsiteX5035" fmla="*/ 3396139 w 6400800"/>
                <a:gd name="connsiteY5035" fmla="*/ 202406 h 514350"/>
                <a:gd name="connsiteX5036" fmla="*/ 3398044 w 6400800"/>
                <a:gd name="connsiteY5036" fmla="*/ 194786 h 514350"/>
                <a:gd name="connsiteX5037" fmla="*/ 3408521 w 6400800"/>
                <a:gd name="connsiteY5037" fmla="*/ 145256 h 514350"/>
                <a:gd name="connsiteX5038" fmla="*/ 3410426 w 6400800"/>
                <a:gd name="connsiteY5038" fmla="*/ 162401 h 514350"/>
                <a:gd name="connsiteX5039" fmla="*/ 3414236 w 6400800"/>
                <a:gd name="connsiteY5039" fmla="*/ 195739 h 514350"/>
                <a:gd name="connsiteX5040" fmla="*/ 3417094 w 6400800"/>
                <a:gd name="connsiteY5040" fmla="*/ 215741 h 514350"/>
                <a:gd name="connsiteX5041" fmla="*/ 3419951 w 6400800"/>
                <a:gd name="connsiteY5041" fmla="*/ 229076 h 514350"/>
                <a:gd name="connsiteX5042" fmla="*/ 3418046 w 6400800"/>
                <a:gd name="connsiteY5042" fmla="*/ 233839 h 514350"/>
                <a:gd name="connsiteX5043" fmla="*/ 3411379 w 6400800"/>
                <a:gd name="connsiteY5043" fmla="*/ 253841 h 514350"/>
                <a:gd name="connsiteX5044" fmla="*/ 3407569 w 6400800"/>
                <a:gd name="connsiteY5044" fmla="*/ 244316 h 514350"/>
                <a:gd name="connsiteX5045" fmla="*/ 3407569 w 6400800"/>
                <a:gd name="connsiteY5045" fmla="*/ 239554 h 514350"/>
                <a:gd name="connsiteX5046" fmla="*/ 3407569 w 6400800"/>
                <a:gd name="connsiteY5046" fmla="*/ 224314 h 514350"/>
                <a:gd name="connsiteX5047" fmla="*/ 3403759 w 6400800"/>
                <a:gd name="connsiteY5047" fmla="*/ 239554 h 514350"/>
                <a:gd name="connsiteX5048" fmla="*/ 3399949 w 6400800"/>
                <a:gd name="connsiteY5048" fmla="*/ 256699 h 514350"/>
                <a:gd name="connsiteX5049" fmla="*/ 3395186 w 6400800"/>
                <a:gd name="connsiteY5049" fmla="*/ 275749 h 514350"/>
                <a:gd name="connsiteX5050" fmla="*/ 3395186 w 6400800"/>
                <a:gd name="connsiteY5050" fmla="*/ 266224 h 514350"/>
                <a:gd name="connsiteX5051" fmla="*/ 3363754 w 6400800"/>
                <a:gd name="connsiteY5051" fmla="*/ 252889 h 514350"/>
                <a:gd name="connsiteX5052" fmla="*/ 3365659 w 6400800"/>
                <a:gd name="connsiteY5052" fmla="*/ 264319 h 514350"/>
                <a:gd name="connsiteX5053" fmla="*/ 3363754 w 6400800"/>
                <a:gd name="connsiteY5053" fmla="*/ 269081 h 514350"/>
                <a:gd name="connsiteX5054" fmla="*/ 3363754 w 6400800"/>
                <a:gd name="connsiteY5054" fmla="*/ 252889 h 514350"/>
                <a:gd name="connsiteX5055" fmla="*/ 3321844 w 6400800"/>
                <a:gd name="connsiteY5055" fmla="*/ 351949 h 514350"/>
                <a:gd name="connsiteX5056" fmla="*/ 3322796 w 6400800"/>
                <a:gd name="connsiteY5056" fmla="*/ 342424 h 514350"/>
                <a:gd name="connsiteX5057" fmla="*/ 3323749 w 6400800"/>
                <a:gd name="connsiteY5057" fmla="*/ 347186 h 514350"/>
                <a:gd name="connsiteX5058" fmla="*/ 3321844 w 6400800"/>
                <a:gd name="connsiteY5058" fmla="*/ 351949 h 514350"/>
                <a:gd name="connsiteX5059" fmla="*/ 3340894 w 6400800"/>
                <a:gd name="connsiteY5059" fmla="*/ 273844 h 514350"/>
                <a:gd name="connsiteX5060" fmla="*/ 3347561 w 6400800"/>
                <a:gd name="connsiteY5060" fmla="*/ 298609 h 514350"/>
                <a:gd name="connsiteX5061" fmla="*/ 3344704 w 6400800"/>
                <a:gd name="connsiteY5061" fmla="*/ 304324 h 514350"/>
                <a:gd name="connsiteX5062" fmla="*/ 3338989 w 6400800"/>
                <a:gd name="connsiteY5062" fmla="*/ 290989 h 514350"/>
                <a:gd name="connsiteX5063" fmla="*/ 3335179 w 6400800"/>
                <a:gd name="connsiteY5063" fmla="*/ 251936 h 514350"/>
                <a:gd name="connsiteX5064" fmla="*/ 3340894 w 6400800"/>
                <a:gd name="connsiteY5064" fmla="*/ 273844 h 514350"/>
                <a:gd name="connsiteX5065" fmla="*/ 3330416 w 6400800"/>
                <a:gd name="connsiteY5065" fmla="*/ 376714 h 514350"/>
                <a:gd name="connsiteX5066" fmla="*/ 3331369 w 6400800"/>
                <a:gd name="connsiteY5066" fmla="*/ 379571 h 514350"/>
                <a:gd name="connsiteX5067" fmla="*/ 3329464 w 6400800"/>
                <a:gd name="connsiteY5067" fmla="*/ 384334 h 514350"/>
                <a:gd name="connsiteX5068" fmla="*/ 3328511 w 6400800"/>
                <a:gd name="connsiteY5068" fmla="*/ 381476 h 514350"/>
                <a:gd name="connsiteX5069" fmla="*/ 3330416 w 6400800"/>
                <a:gd name="connsiteY5069" fmla="*/ 376714 h 514350"/>
                <a:gd name="connsiteX5070" fmla="*/ 3329464 w 6400800"/>
                <a:gd name="connsiteY5070" fmla="*/ 202406 h 514350"/>
                <a:gd name="connsiteX5071" fmla="*/ 3329464 w 6400800"/>
                <a:gd name="connsiteY5071" fmla="*/ 207169 h 514350"/>
                <a:gd name="connsiteX5072" fmla="*/ 3328511 w 6400800"/>
                <a:gd name="connsiteY5072" fmla="*/ 205264 h 514350"/>
                <a:gd name="connsiteX5073" fmla="*/ 3329464 w 6400800"/>
                <a:gd name="connsiteY5073" fmla="*/ 202406 h 514350"/>
                <a:gd name="connsiteX5074" fmla="*/ 3326606 w 6400800"/>
                <a:gd name="connsiteY5074" fmla="*/ 302419 h 514350"/>
                <a:gd name="connsiteX5075" fmla="*/ 3329464 w 6400800"/>
                <a:gd name="connsiteY5075" fmla="*/ 310039 h 514350"/>
                <a:gd name="connsiteX5076" fmla="*/ 3329464 w 6400800"/>
                <a:gd name="connsiteY5076" fmla="*/ 311944 h 514350"/>
                <a:gd name="connsiteX5077" fmla="*/ 3326606 w 6400800"/>
                <a:gd name="connsiteY5077" fmla="*/ 306229 h 514350"/>
                <a:gd name="connsiteX5078" fmla="*/ 3326606 w 6400800"/>
                <a:gd name="connsiteY5078" fmla="*/ 302419 h 514350"/>
                <a:gd name="connsiteX5079" fmla="*/ 3323749 w 6400800"/>
                <a:gd name="connsiteY5079" fmla="*/ 227171 h 514350"/>
                <a:gd name="connsiteX5080" fmla="*/ 3325654 w 6400800"/>
                <a:gd name="connsiteY5080" fmla="*/ 219551 h 514350"/>
                <a:gd name="connsiteX5081" fmla="*/ 3325654 w 6400800"/>
                <a:gd name="connsiteY5081" fmla="*/ 221456 h 514350"/>
                <a:gd name="connsiteX5082" fmla="*/ 3318034 w 6400800"/>
                <a:gd name="connsiteY5082" fmla="*/ 256699 h 514350"/>
                <a:gd name="connsiteX5083" fmla="*/ 3317081 w 6400800"/>
                <a:gd name="connsiteY5083" fmla="*/ 255746 h 514350"/>
                <a:gd name="connsiteX5084" fmla="*/ 3323749 w 6400800"/>
                <a:gd name="connsiteY5084" fmla="*/ 227171 h 514350"/>
                <a:gd name="connsiteX5085" fmla="*/ 3315176 w 6400800"/>
                <a:gd name="connsiteY5085" fmla="*/ 269081 h 514350"/>
                <a:gd name="connsiteX5086" fmla="*/ 3316129 w 6400800"/>
                <a:gd name="connsiteY5086" fmla="*/ 270986 h 514350"/>
                <a:gd name="connsiteX5087" fmla="*/ 3314224 w 6400800"/>
                <a:gd name="connsiteY5087" fmla="*/ 282416 h 514350"/>
                <a:gd name="connsiteX5088" fmla="*/ 3313271 w 6400800"/>
                <a:gd name="connsiteY5088" fmla="*/ 280511 h 514350"/>
                <a:gd name="connsiteX5089" fmla="*/ 3315176 w 6400800"/>
                <a:gd name="connsiteY5089" fmla="*/ 269081 h 514350"/>
                <a:gd name="connsiteX5090" fmla="*/ 3305651 w 6400800"/>
                <a:gd name="connsiteY5090" fmla="*/ 310991 h 514350"/>
                <a:gd name="connsiteX5091" fmla="*/ 3308509 w 6400800"/>
                <a:gd name="connsiteY5091" fmla="*/ 298609 h 514350"/>
                <a:gd name="connsiteX5092" fmla="*/ 3310414 w 6400800"/>
                <a:gd name="connsiteY5092" fmla="*/ 302419 h 514350"/>
                <a:gd name="connsiteX5093" fmla="*/ 3307556 w 6400800"/>
                <a:gd name="connsiteY5093" fmla="*/ 320516 h 514350"/>
                <a:gd name="connsiteX5094" fmla="*/ 3304699 w 6400800"/>
                <a:gd name="connsiteY5094" fmla="*/ 313849 h 514350"/>
                <a:gd name="connsiteX5095" fmla="*/ 3305651 w 6400800"/>
                <a:gd name="connsiteY5095" fmla="*/ 310991 h 514350"/>
                <a:gd name="connsiteX5096" fmla="*/ 3302794 w 6400800"/>
                <a:gd name="connsiteY5096" fmla="*/ 327184 h 514350"/>
                <a:gd name="connsiteX5097" fmla="*/ 3304699 w 6400800"/>
                <a:gd name="connsiteY5097" fmla="*/ 335756 h 514350"/>
                <a:gd name="connsiteX5098" fmla="*/ 3300889 w 6400800"/>
                <a:gd name="connsiteY5098" fmla="*/ 349091 h 514350"/>
                <a:gd name="connsiteX5099" fmla="*/ 3298984 w 6400800"/>
                <a:gd name="connsiteY5099" fmla="*/ 355759 h 514350"/>
                <a:gd name="connsiteX5100" fmla="*/ 3297079 w 6400800"/>
                <a:gd name="connsiteY5100" fmla="*/ 351949 h 514350"/>
                <a:gd name="connsiteX5101" fmla="*/ 3302794 w 6400800"/>
                <a:gd name="connsiteY5101" fmla="*/ 327184 h 514350"/>
                <a:gd name="connsiteX5102" fmla="*/ 3279934 w 6400800"/>
                <a:gd name="connsiteY5102" fmla="*/ 297656 h 514350"/>
                <a:gd name="connsiteX5103" fmla="*/ 3280886 w 6400800"/>
                <a:gd name="connsiteY5103" fmla="*/ 289084 h 514350"/>
                <a:gd name="connsiteX5104" fmla="*/ 3283744 w 6400800"/>
                <a:gd name="connsiteY5104" fmla="*/ 263366 h 514350"/>
                <a:gd name="connsiteX5105" fmla="*/ 3284696 w 6400800"/>
                <a:gd name="connsiteY5105" fmla="*/ 252889 h 514350"/>
                <a:gd name="connsiteX5106" fmla="*/ 3293269 w 6400800"/>
                <a:gd name="connsiteY5106" fmla="*/ 270034 h 514350"/>
                <a:gd name="connsiteX5107" fmla="*/ 3291364 w 6400800"/>
                <a:gd name="connsiteY5107" fmla="*/ 277654 h 514350"/>
                <a:gd name="connsiteX5108" fmla="*/ 3290411 w 6400800"/>
                <a:gd name="connsiteY5108" fmla="*/ 283369 h 514350"/>
                <a:gd name="connsiteX5109" fmla="*/ 3289459 w 6400800"/>
                <a:gd name="connsiteY5109" fmla="*/ 264319 h 514350"/>
                <a:gd name="connsiteX5110" fmla="*/ 3281839 w 6400800"/>
                <a:gd name="connsiteY5110" fmla="*/ 317659 h 514350"/>
                <a:gd name="connsiteX5111" fmla="*/ 3280886 w 6400800"/>
                <a:gd name="connsiteY5111" fmla="*/ 317659 h 514350"/>
                <a:gd name="connsiteX5112" fmla="*/ 3280886 w 6400800"/>
                <a:gd name="connsiteY5112" fmla="*/ 316706 h 514350"/>
                <a:gd name="connsiteX5113" fmla="*/ 3279934 w 6400800"/>
                <a:gd name="connsiteY5113" fmla="*/ 315754 h 514350"/>
                <a:gd name="connsiteX5114" fmla="*/ 3278981 w 6400800"/>
                <a:gd name="connsiteY5114" fmla="*/ 313849 h 514350"/>
                <a:gd name="connsiteX5115" fmla="*/ 3279934 w 6400800"/>
                <a:gd name="connsiteY5115" fmla="*/ 297656 h 514350"/>
                <a:gd name="connsiteX5116" fmla="*/ 3263741 w 6400800"/>
                <a:gd name="connsiteY5116" fmla="*/ 295751 h 514350"/>
                <a:gd name="connsiteX5117" fmla="*/ 3263741 w 6400800"/>
                <a:gd name="connsiteY5117" fmla="*/ 293846 h 514350"/>
                <a:gd name="connsiteX5118" fmla="*/ 3263741 w 6400800"/>
                <a:gd name="connsiteY5118" fmla="*/ 295751 h 514350"/>
                <a:gd name="connsiteX5119" fmla="*/ 3264694 w 6400800"/>
                <a:gd name="connsiteY5119" fmla="*/ 296704 h 514350"/>
                <a:gd name="connsiteX5120" fmla="*/ 3262789 w 6400800"/>
                <a:gd name="connsiteY5120" fmla="*/ 306229 h 514350"/>
                <a:gd name="connsiteX5121" fmla="*/ 3263741 w 6400800"/>
                <a:gd name="connsiteY5121" fmla="*/ 295751 h 514350"/>
                <a:gd name="connsiteX5122" fmla="*/ 3232309 w 6400800"/>
                <a:gd name="connsiteY5122" fmla="*/ 381476 h 514350"/>
                <a:gd name="connsiteX5123" fmla="*/ 3232309 w 6400800"/>
                <a:gd name="connsiteY5123" fmla="*/ 357664 h 514350"/>
                <a:gd name="connsiteX5124" fmla="*/ 3232309 w 6400800"/>
                <a:gd name="connsiteY5124" fmla="*/ 358616 h 514350"/>
                <a:gd name="connsiteX5125" fmla="*/ 3233261 w 6400800"/>
                <a:gd name="connsiteY5125" fmla="*/ 360521 h 514350"/>
                <a:gd name="connsiteX5126" fmla="*/ 3232309 w 6400800"/>
                <a:gd name="connsiteY5126" fmla="*/ 381476 h 514350"/>
                <a:gd name="connsiteX5127" fmla="*/ 3239929 w 6400800"/>
                <a:gd name="connsiteY5127" fmla="*/ 327184 h 514350"/>
                <a:gd name="connsiteX5128" fmla="*/ 3241834 w 6400800"/>
                <a:gd name="connsiteY5128" fmla="*/ 339566 h 514350"/>
                <a:gd name="connsiteX5129" fmla="*/ 3239929 w 6400800"/>
                <a:gd name="connsiteY5129" fmla="*/ 333851 h 514350"/>
                <a:gd name="connsiteX5130" fmla="*/ 3239929 w 6400800"/>
                <a:gd name="connsiteY5130" fmla="*/ 329089 h 514350"/>
                <a:gd name="connsiteX5131" fmla="*/ 3239929 w 6400800"/>
                <a:gd name="connsiteY5131" fmla="*/ 327184 h 514350"/>
                <a:gd name="connsiteX5132" fmla="*/ 3234214 w 6400800"/>
                <a:gd name="connsiteY5132" fmla="*/ 318611 h 514350"/>
                <a:gd name="connsiteX5133" fmla="*/ 3237071 w 6400800"/>
                <a:gd name="connsiteY5133" fmla="*/ 310039 h 514350"/>
                <a:gd name="connsiteX5134" fmla="*/ 3238024 w 6400800"/>
                <a:gd name="connsiteY5134" fmla="*/ 314801 h 514350"/>
                <a:gd name="connsiteX5135" fmla="*/ 3238024 w 6400800"/>
                <a:gd name="connsiteY5135" fmla="*/ 316706 h 514350"/>
                <a:gd name="connsiteX5136" fmla="*/ 3237071 w 6400800"/>
                <a:gd name="connsiteY5136" fmla="*/ 317659 h 514350"/>
                <a:gd name="connsiteX5137" fmla="*/ 3237071 w 6400800"/>
                <a:gd name="connsiteY5137" fmla="*/ 311944 h 514350"/>
                <a:gd name="connsiteX5138" fmla="*/ 3236119 w 6400800"/>
                <a:gd name="connsiteY5138" fmla="*/ 319564 h 514350"/>
                <a:gd name="connsiteX5139" fmla="*/ 3234214 w 6400800"/>
                <a:gd name="connsiteY5139" fmla="*/ 322421 h 514350"/>
                <a:gd name="connsiteX5140" fmla="*/ 3233261 w 6400800"/>
                <a:gd name="connsiteY5140" fmla="*/ 319564 h 514350"/>
                <a:gd name="connsiteX5141" fmla="*/ 3234214 w 6400800"/>
                <a:gd name="connsiteY5141" fmla="*/ 318611 h 514350"/>
                <a:gd name="connsiteX5142" fmla="*/ 3233261 w 6400800"/>
                <a:gd name="connsiteY5142" fmla="*/ 286226 h 514350"/>
                <a:gd name="connsiteX5143" fmla="*/ 3233261 w 6400800"/>
                <a:gd name="connsiteY5143" fmla="*/ 288131 h 514350"/>
                <a:gd name="connsiteX5144" fmla="*/ 3232309 w 6400800"/>
                <a:gd name="connsiteY5144" fmla="*/ 290036 h 514350"/>
                <a:gd name="connsiteX5145" fmla="*/ 3232309 w 6400800"/>
                <a:gd name="connsiteY5145" fmla="*/ 282416 h 514350"/>
                <a:gd name="connsiteX5146" fmla="*/ 3233261 w 6400800"/>
                <a:gd name="connsiteY5146" fmla="*/ 286226 h 514350"/>
                <a:gd name="connsiteX5147" fmla="*/ 3222784 w 6400800"/>
                <a:gd name="connsiteY5147" fmla="*/ 285274 h 514350"/>
                <a:gd name="connsiteX5148" fmla="*/ 3223736 w 6400800"/>
                <a:gd name="connsiteY5148" fmla="*/ 273844 h 514350"/>
                <a:gd name="connsiteX5149" fmla="*/ 3224689 w 6400800"/>
                <a:gd name="connsiteY5149" fmla="*/ 270034 h 514350"/>
                <a:gd name="connsiteX5150" fmla="*/ 3224689 w 6400800"/>
                <a:gd name="connsiteY5150" fmla="*/ 270986 h 514350"/>
                <a:gd name="connsiteX5151" fmla="*/ 3227546 w 6400800"/>
                <a:gd name="connsiteY5151" fmla="*/ 253841 h 514350"/>
                <a:gd name="connsiteX5152" fmla="*/ 3227546 w 6400800"/>
                <a:gd name="connsiteY5152" fmla="*/ 253841 h 514350"/>
                <a:gd name="connsiteX5153" fmla="*/ 3223736 w 6400800"/>
                <a:gd name="connsiteY5153" fmla="*/ 292894 h 514350"/>
                <a:gd name="connsiteX5154" fmla="*/ 3222784 w 6400800"/>
                <a:gd name="connsiteY5154" fmla="*/ 291941 h 514350"/>
                <a:gd name="connsiteX5155" fmla="*/ 3222784 w 6400800"/>
                <a:gd name="connsiteY5155" fmla="*/ 290989 h 514350"/>
                <a:gd name="connsiteX5156" fmla="*/ 3222784 w 6400800"/>
                <a:gd name="connsiteY5156" fmla="*/ 285274 h 514350"/>
                <a:gd name="connsiteX5157" fmla="*/ 3217069 w 6400800"/>
                <a:gd name="connsiteY5157" fmla="*/ 207169 h 514350"/>
                <a:gd name="connsiteX5158" fmla="*/ 3219926 w 6400800"/>
                <a:gd name="connsiteY5158" fmla="*/ 219551 h 514350"/>
                <a:gd name="connsiteX5159" fmla="*/ 3215164 w 6400800"/>
                <a:gd name="connsiteY5159" fmla="*/ 238601 h 514350"/>
                <a:gd name="connsiteX5160" fmla="*/ 3217069 w 6400800"/>
                <a:gd name="connsiteY5160" fmla="*/ 207169 h 514350"/>
                <a:gd name="connsiteX5161" fmla="*/ 3191351 w 6400800"/>
                <a:gd name="connsiteY5161" fmla="*/ 249079 h 514350"/>
                <a:gd name="connsiteX5162" fmla="*/ 3192304 w 6400800"/>
                <a:gd name="connsiteY5162" fmla="*/ 232886 h 514350"/>
                <a:gd name="connsiteX5163" fmla="*/ 3194209 w 6400800"/>
                <a:gd name="connsiteY5163" fmla="*/ 238601 h 514350"/>
                <a:gd name="connsiteX5164" fmla="*/ 3191351 w 6400800"/>
                <a:gd name="connsiteY5164" fmla="*/ 265271 h 514350"/>
                <a:gd name="connsiteX5165" fmla="*/ 3191351 w 6400800"/>
                <a:gd name="connsiteY5165" fmla="*/ 249079 h 514350"/>
                <a:gd name="connsiteX5166" fmla="*/ 3155156 w 6400800"/>
                <a:gd name="connsiteY5166" fmla="*/ 313849 h 514350"/>
                <a:gd name="connsiteX5167" fmla="*/ 3156109 w 6400800"/>
                <a:gd name="connsiteY5167" fmla="*/ 320516 h 514350"/>
                <a:gd name="connsiteX5168" fmla="*/ 3158014 w 6400800"/>
                <a:gd name="connsiteY5168" fmla="*/ 334804 h 514350"/>
                <a:gd name="connsiteX5169" fmla="*/ 3154204 w 6400800"/>
                <a:gd name="connsiteY5169" fmla="*/ 354806 h 514350"/>
                <a:gd name="connsiteX5170" fmla="*/ 3152299 w 6400800"/>
                <a:gd name="connsiteY5170" fmla="*/ 351949 h 514350"/>
                <a:gd name="connsiteX5171" fmla="*/ 3152299 w 6400800"/>
                <a:gd name="connsiteY5171" fmla="*/ 350044 h 514350"/>
                <a:gd name="connsiteX5172" fmla="*/ 3151346 w 6400800"/>
                <a:gd name="connsiteY5172" fmla="*/ 345281 h 514350"/>
                <a:gd name="connsiteX5173" fmla="*/ 3151346 w 6400800"/>
                <a:gd name="connsiteY5173" fmla="*/ 344329 h 514350"/>
                <a:gd name="connsiteX5174" fmla="*/ 3151346 w 6400800"/>
                <a:gd name="connsiteY5174" fmla="*/ 338614 h 514350"/>
                <a:gd name="connsiteX5175" fmla="*/ 3155156 w 6400800"/>
                <a:gd name="connsiteY5175" fmla="*/ 313849 h 514350"/>
                <a:gd name="connsiteX5176" fmla="*/ 3139916 w 6400800"/>
                <a:gd name="connsiteY5176" fmla="*/ 213836 h 514350"/>
                <a:gd name="connsiteX5177" fmla="*/ 3143726 w 6400800"/>
                <a:gd name="connsiteY5177" fmla="*/ 235744 h 514350"/>
                <a:gd name="connsiteX5178" fmla="*/ 3148489 w 6400800"/>
                <a:gd name="connsiteY5178" fmla="*/ 267176 h 514350"/>
                <a:gd name="connsiteX5179" fmla="*/ 3143726 w 6400800"/>
                <a:gd name="connsiteY5179" fmla="*/ 284321 h 514350"/>
                <a:gd name="connsiteX5180" fmla="*/ 3137059 w 6400800"/>
                <a:gd name="connsiteY5180" fmla="*/ 216694 h 514350"/>
                <a:gd name="connsiteX5181" fmla="*/ 3139916 w 6400800"/>
                <a:gd name="connsiteY5181" fmla="*/ 213836 h 514350"/>
                <a:gd name="connsiteX5182" fmla="*/ 3130391 w 6400800"/>
                <a:gd name="connsiteY5182" fmla="*/ 337661 h 514350"/>
                <a:gd name="connsiteX5183" fmla="*/ 3130391 w 6400800"/>
                <a:gd name="connsiteY5183" fmla="*/ 335756 h 514350"/>
                <a:gd name="connsiteX5184" fmla="*/ 3130391 w 6400800"/>
                <a:gd name="connsiteY5184" fmla="*/ 335756 h 514350"/>
                <a:gd name="connsiteX5185" fmla="*/ 3130391 w 6400800"/>
                <a:gd name="connsiteY5185" fmla="*/ 337661 h 514350"/>
                <a:gd name="connsiteX5186" fmla="*/ 3130391 w 6400800"/>
                <a:gd name="connsiteY5186" fmla="*/ 328136 h 514350"/>
                <a:gd name="connsiteX5187" fmla="*/ 3130391 w 6400800"/>
                <a:gd name="connsiteY5187" fmla="*/ 328136 h 514350"/>
                <a:gd name="connsiteX5188" fmla="*/ 3130391 w 6400800"/>
                <a:gd name="connsiteY5188" fmla="*/ 328136 h 514350"/>
                <a:gd name="connsiteX5189" fmla="*/ 3130391 w 6400800"/>
                <a:gd name="connsiteY5189" fmla="*/ 328136 h 514350"/>
                <a:gd name="connsiteX5190" fmla="*/ 3133249 w 6400800"/>
                <a:gd name="connsiteY5190" fmla="*/ 276701 h 514350"/>
                <a:gd name="connsiteX5191" fmla="*/ 3133249 w 6400800"/>
                <a:gd name="connsiteY5191" fmla="*/ 276701 h 514350"/>
                <a:gd name="connsiteX5192" fmla="*/ 3128486 w 6400800"/>
                <a:gd name="connsiteY5192" fmla="*/ 259556 h 514350"/>
                <a:gd name="connsiteX5193" fmla="*/ 3127534 w 6400800"/>
                <a:gd name="connsiteY5193" fmla="*/ 246221 h 514350"/>
                <a:gd name="connsiteX5194" fmla="*/ 3135154 w 6400800"/>
                <a:gd name="connsiteY5194" fmla="*/ 223361 h 514350"/>
                <a:gd name="connsiteX5195" fmla="*/ 3133249 w 6400800"/>
                <a:gd name="connsiteY5195" fmla="*/ 276701 h 514350"/>
                <a:gd name="connsiteX5196" fmla="*/ 3130391 w 6400800"/>
                <a:gd name="connsiteY5196" fmla="*/ 229076 h 514350"/>
                <a:gd name="connsiteX5197" fmla="*/ 3136106 w 6400800"/>
                <a:gd name="connsiteY5197" fmla="*/ 219551 h 514350"/>
                <a:gd name="connsiteX5198" fmla="*/ 3136106 w 6400800"/>
                <a:gd name="connsiteY5198" fmla="*/ 221456 h 514350"/>
                <a:gd name="connsiteX5199" fmla="*/ 3127534 w 6400800"/>
                <a:gd name="connsiteY5199" fmla="*/ 236696 h 514350"/>
                <a:gd name="connsiteX5200" fmla="*/ 3127534 w 6400800"/>
                <a:gd name="connsiteY5200" fmla="*/ 234791 h 514350"/>
                <a:gd name="connsiteX5201" fmla="*/ 3130391 w 6400800"/>
                <a:gd name="connsiteY5201" fmla="*/ 229076 h 514350"/>
                <a:gd name="connsiteX5202" fmla="*/ 3114199 w 6400800"/>
                <a:gd name="connsiteY5202" fmla="*/ 290036 h 514350"/>
                <a:gd name="connsiteX5203" fmla="*/ 3113246 w 6400800"/>
                <a:gd name="connsiteY5203" fmla="*/ 287179 h 514350"/>
                <a:gd name="connsiteX5204" fmla="*/ 3113246 w 6400800"/>
                <a:gd name="connsiteY5204" fmla="*/ 286226 h 514350"/>
                <a:gd name="connsiteX5205" fmla="*/ 3115151 w 6400800"/>
                <a:gd name="connsiteY5205" fmla="*/ 281464 h 514350"/>
                <a:gd name="connsiteX5206" fmla="*/ 3114199 w 6400800"/>
                <a:gd name="connsiteY5206" fmla="*/ 290036 h 514350"/>
                <a:gd name="connsiteX5207" fmla="*/ 3115151 w 6400800"/>
                <a:gd name="connsiteY5207" fmla="*/ 257651 h 514350"/>
                <a:gd name="connsiteX5208" fmla="*/ 3116104 w 6400800"/>
                <a:gd name="connsiteY5208" fmla="*/ 255746 h 514350"/>
                <a:gd name="connsiteX5209" fmla="*/ 3115151 w 6400800"/>
                <a:gd name="connsiteY5209" fmla="*/ 257651 h 514350"/>
                <a:gd name="connsiteX5210" fmla="*/ 3109436 w 6400800"/>
                <a:gd name="connsiteY5210" fmla="*/ 270034 h 514350"/>
                <a:gd name="connsiteX5211" fmla="*/ 3115151 w 6400800"/>
                <a:gd name="connsiteY5211" fmla="*/ 257651 h 514350"/>
                <a:gd name="connsiteX5212" fmla="*/ 3110389 w 6400800"/>
                <a:gd name="connsiteY5212" fmla="*/ 292894 h 514350"/>
                <a:gd name="connsiteX5213" fmla="*/ 3113246 w 6400800"/>
                <a:gd name="connsiteY5213" fmla="*/ 309086 h 514350"/>
                <a:gd name="connsiteX5214" fmla="*/ 3114199 w 6400800"/>
                <a:gd name="connsiteY5214" fmla="*/ 311944 h 514350"/>
                <a:gd name="connsiteX5215" fmla="*/ 3114199 w 6400800"/>
                <a:gd name="connsiteY5215" fmla="*/ 321469 h 514350"/>
                <a:gd name="connsiteX5216" fmla="*/ 3114199 w 6400800"/>
                <a:gd name="connsiteY5216" fmla="*/ 319564 h 514350"/>
                <a:gd name="connsiteX5217" fmla="*/ 3110389 w 6400800"/>
                <a:gd name="connsiteY5217" fmla="*/ 309086 h 514350"/>
                <a:gd name="connsiteX5218" fmla="*/ 3109436 w 6400800"/>
                <a:gd name="connsiteY5218" fmla="*/ 300514 h 514350"/>
                <a:gd name="connsiteX5219" fmla="*/ 3109436 w 6400800"/>
                <a:gd name="connsiteY5219" fmla="*/ 299561 h 514350"/>
                <a:gd name="connsiteX5220" fmla="*/ 3110389 w 6400800"/>
                <a:gd name="connsiteY5220" fmla="*/ 292894 h 514350"/>
                <a:gd name="connsiteX5221" fmla="*/ 3098006 w 6400800"/>
                <a:gd name="connsiteY5221" fmla="*/ 350996 h 514350"/>
                <a:gd name="connsiteX5222" fmla="*/ 3098006 w 6400800"/>
                <a:gd name="connsiteY5222" fmla="*/ 350996 h 514350"/>
                <a:gd name="connsiteX5223" fmla="*/ 3098006 w 6400800"/>
                <a:gd name="connsiteY5223" fmla="*/ 353854 h 514350"/>
                <a:gd name="connsiteX5224" fmla="*/ 3097054 w 6400800"/>
                <a:gd name="connsiteY5224" fmla="*/ 354806 h 514350"/>
                <a:gd name="connsiteX5225" fmla="*/ 3098006 w 6400800"/>
                <a:gd name="connsiteY5225" fmla="*/ 350996 h 514350"/>
                <a:gd name="connsiteX5226" fmla="*/ 3093244 w 6400800"/>
                <a:gd name="connsiteY5226" fmla="*/ 377666 h 514350"/>
                <a:gd name="connsiteX5227" fmla="*/ 3097054 w 6400800"/>
                <a:gd name="connsiteY5227" fmla="*/ 370046 h 514350"/>
                <a:gd name="connsiteX5228" fmla="*/ 3094196 w 6400800"/>
                <a:gd name="connsiteY5228" fmla="*/ 373856 h 514350"/>
                <a:gd name="connsiteX5229" fmla="*/ 3097054 w 6400800"/>
                <a:gd name="connsiteY5229" fmla="*/ 355759 h 514350"/>
                <a:gd name="connsiteX5230" fmla="*/ 3098006 w 6400800"/>
                <a:gd name="connsiteY5230" fmla="*/ 353854 h 514350"/>
                <a:gd name="connsiteX5231" fmla="*/ 3098006 w 6400800"/>
                <a:gd name="connsiteY5231" fmla="*/ 371951 h 514350"/>
                <a:gd name="connsiteX5232" fmla="*/ 3098006 w 6400800"/>
                <a:gd name="connsiteY5232" fmla="*/ 383381 h 514350"/>
                <a:gd name="connsiteX5233" fmla="*/ 3095149 w 6400800"/>
                <a:gd name="connsiteY5233" fmla="*/ 383381 h 514350"/>
                <a:gd name="connsiteX5234" fmla="*/ 3095149 w 6400800"/>
                <a:gd name="connsiteY5234" fmla="*/ 383381 h 514350"/>
                <a:gd name="connsiteX5235" fmla="*/ 3093244 w 6400800"/>
                <a:gd name="connsiteY5235" fmla="*/ 378619 h 514350"/>
                <a:gd name="connsiteX5236" fmla="*/ 3093244 w 6400800"/>
                <a:gd name="connsiteY5236" fmla="*/ 377666 h 514350"/>
                <a:gd name="connsiteX5237" fmla="*/ 3084671 w 6400800"/>
                <a:gd name="connsiteY5237" fmla="*/ 293846 h 514350"/>
                <a:gd name="connsiteX5238" fmla="*/ 3085624 w 6400800"/>
                <a:gd name="connsiteY5238" fmla="*/ 276701 h 514350"/>
                <a:gd name="connsiteX5239" fmla="*/ 3085624 w 6400800"/>
                <a:gd name="connsiteY5239" fmla="*/ 278606 h 514350"/>
                <a:gd name="connsiteX5240" fmla="*/ 3088481 w 6400800"/>
                <a:gd name="connsiteY5240" fmla="*/ 289084 h 514350"/>
                <a:gd name="connsiteX5241" fmla="*/ 3086576 w 6400800"/>
                <a:gd name="connsiteY5241" fmla="*/ 291941 h 514350"/>
                <a:gd name="connsiteX5242" fmla="*/ 3084671 w 6400800"/>
                <a:gd name="connsiteY5242" fmla="*/ 296704 h 514350"/>
                <a:gd name="connsiteX5243" fmla="*/ 3084671 w 6400800"/>
                <a:gd name="connsiteY5243" fmla="*/ 293846 h 514350"/>
                <a:gd name="connsiteX5244" fmla="*/ 3086576 w 6400800"/>
                <a:gd name="connsiteY5244" fmla="*/ 348139 h 514350"/>
                <a:gd name="connsiteX5245" fmla="*/ 3086576 w 6400800"/>
                <a:gd name="connsiteY5245" fmla="*/ 350044 h 514350"/>
                <a:gd name="connsiteX5246" fmla="*/ 3083719 w 6400800"/>
                <a:gd name="connsiteY5246" fmla="*/ 361474 h 514350"/>
                <a:gd name="connsiteX5247" fmla="*/ 3083719 w 6400800"/>
                <a:gd name="connsiteY5247" fmla="*/ 357664 h 514350"/>
                <a:gd name="connsiteX5248" fmla="*/ 3086576 w 6400800"/>
                <a:gd name="connsiteY5248" fmla="*/ 348139 h 514350"/>
                <a:gd name="connsiteX5249" fmla="*/ 3057049 w 6400800"/>
                <a:gd name="connsiteY5249" fmla="*/ 235744 h 514350"/>
                <a:gd name="connsiteX5250" fmla="*/ 3059906 w 6400800"/>
                <a:gd name="connsiteY5250" fmla="*/ 210979 h 514350"/>
                <a:gd name="connsiteX5251" fmla="*/ 3062764 w 6400800"/>
                <a:gd name="connsiteY5251" fmla="*/ 191929 h 514350"/>
                <a:gd name="connsiteX5252" fmla="*/ 3067526 w 6400800"/>
                <a:gd name="connsiteY5252" fmla="*/ 209074 h 514350"/>
                <a:gd name="connsiteX5253" fmla="*/ 3066574 w 6400800"/>
                <a:gd name="connsiteY5253" fmla="*/ 222409 h 514350"/>
                <a:gd name="connsiteX5254" fmla="*/ 3063716 w 6400800"/>
                <a:gd name="connsiteY5254" fmla="*/ 253841 h 514350"/>
                <a:gd name="connsiteX5255" fmla="*/ 3059906 w 6400800"/>
                <a:gd name="connsiteY5255" fmla="*/ 268129 h 514350"/>
                <a:gd name="connsiteX5256" fmla="*/ 3057049 w 6400800"/>
                <a:gd name="connsiteY5256" fmla="*/ 252889 h 514350"/>
                <a:gd name="connsiteX5257" fmla="*/ 3056096 w 6400800"/>
                <a:gd name="connsiteY5257" fmla="*/ 248126 h 514350"/>
                <a:gd name="connsiteX5258" fmla="*/ 3057049 w 6400800"/>
                <a:gd name="connsiteY5258" fmla="*/ 235744 h 514350"/>
                <a:gd name="connsiteX5259" fmla="*/ 3002756 w 6400800"/>
                <a:gd name="connsiteY5259" fmla="*/ 307181 h 514350"/>
                <a:gd name="connsiteX5260" fmla="*/ 3001804 w 6400800"/>
                <a:gd name="connsiteY5260" fmla="*/ 310039 h 514350"/>
                <a:gd name="connsiteX5261" fmla="*/ 3002756 w 6400800"/>
                <a:gd name="connsiteY5261" fmla="*/ 305276 h 514350"/>
                <a:gd name="connsiteX5262" fmla="*/ 3006566 w 6400800"/>
                <a:gd name="connsiteY5262" fmla="*/ 286226 h 514350"/>
                <a:gd name="connsiteX5263" fmla="*/ 3008471 w 6400800"/>
                <a:gd name="connsiteY5263" fmla="*/ 290036 h 514350"/>
                <a:gd name="connsiteX5264" fmla="*/ 3002756 w 6400800"/>
                <a:gd name="connsiteY5264" fmla="*/ 307181 h 514350"/>
                <a:gd name="connsiteX5265" fmla="*/ 3036094 w 6400800"/>
                <a:gd name="connsiteY5265" fmla="*/ 249079 h 514350"/>
                <a:gd name="connsiteX5266" fmla="*/ 3036094 w 6400800"/>
                <a:gd name="connsiteY5266" fmla="*/ 266224 h 514350"/>
                <a:gd name="connsiteX5267" fmla="*/ 3033236 w 6400800"/>
                <a:gd name="connsiteY5267" fmla="*/ 258604 h 514350"/>
                <a:gd name="connsiteX5268" fmla="*/ 3036094 w 6400800"/>
                <a:gd name="connsiteY5268" fmla="*/ 249079 h 514350"/>
                <a:gd name="connsiteX5269" fmla="*/ 3030379 w 6400800"/>
                <a:gd name="connsiteY5269" fmla="*/ 269081 h 514350"/>
                <a:gd name="connsiteX5270" fmla="*/ 3030379 w 6400800"/>
                <a:gd name="connsiteY5270" fmla="*/ 269081 h 514350"/>
                <a:gd name="connsiteX5271" fmla="*/ 3030379 w 6400800"/>
                <a:gd name="connsiteY5271" fmla="*/ 269081 h 514350"/>
                <a:gd name="connsiteX5272" fmla="*/ 3030379 w 6400800"/>
                <a:gd name="connsiteY5272" fmla="*/ 269081 h 514350"/>
                <a:gd name="connsiteX5273" fmla="*/ 3027521 w 6400800"/>
                <a:gd name="connsiteY5273" fmla="*/ 353854 h 514350"/>
                <a:gd name="connsiteX5274" fmla="*/ 3023711 w 6400800"/>
                <a:gd name="connsiteY5274" fmla="*/ 364331 h 514350"/>
                <a:gd name="connsiteX5275" fmla="*/ 3017996 w 6400800"/>
                <a:gd name="connsiteY5275" fmla="*/ 383381 h 514350"/>
                <a:gd name="connsiteX5276" fmla="*/ 3017044 w 6400800"/>
                <a:gd name="connsiteY5276" fmla="*/ 385286 h 514350"/>
                <a:gd name="connsiteX5277" fmla="*/ 3015139 w 6400800"/>
                <a:gd name="connsiteY5277" fmla="*/ 376714 h 514350"/>
                <a:gd name="connsiteX5278" fmla="*/ 3020854 w 6400800"/>
                <a:gd name="connsiteY5278" fmla="*/ 366236 h 514350"/>
                <a:gd name="connsiteX5279" fmla="*/ 3028474 w 6400800"/>
                <a:gd name="connsiteY5279" fmla="*/ 352901 h 514350"/>
                <a:gd name="connsiteX5280" fmla="*/ 3027521 w 6400800"/>
                <a:gd name="connsiteY5280" fmla="*/ 353854 h 514350"/>
                <a:gd name="connsiteX5281" fmla="*/ 3021806 w 6400800"/>
                <a:gd name="connsiteY5281" fmla="*/ 230029 h 514350"/>
                <a:gd name="connsiteX5282" fmla="*/ 3024664 w 6400800"/>
                <a:gd name="connsiteY5282" fmla="*/ 241459 h 514350"/>
                <a:gd name="connsiteX5283" fmla="*/ 3024664 w 6400800"/>
                <a:gd name="connsiteY5283" fmla="*/ 241459 h 514350"/>
                <a:gd name="connsiteX5284" fmla="*/ 3021806 w 6400800"/>
                <a:gd name="connsiteY5284" fmla="*/ 230029 h 514350"/>
                <a:gd name="connsiteX5285" fmla="*/ 3021806 w 6400800"/>
                <a:gd name="connsiteY5285" fmla="*/ 230029 h 514350"/>
                <a:gd name="connsiteX5286" fmla="*/ 3020854 w 6400800"/>
                <a:gd name="connsiteY5286" fmla="*/ 305276 h 514350"/>
                <a:gd name="connsiteX5287" fmla="*/ 3020854 w 6400800"/>
                <a:gd name="connsiteY5287" fmla="*/ 305276 h 514350"/>
                <a:gd name="connsiteX5288" fmla="*/ 3020854 w 6400800"/>
                <a:gd name="connsiteY5288" fmla="*/ 305276 h 514350"/>
                <a:gd name="connsiteX5289" fmla="*/ 3020854 w 6400800"/>
                <a:gd name="connsiteY5289" fmla="*/ 305276 h 514350"/>
                <a:gd name="connsiteX5290" fmla="*/ 3017996 w 6400800"/>
                <a:gd name="connsiteY5290" fmla="*/ 317659 h 514350"/>
                <a:gd name="connsiteX5291" fmla="*/ 3021806 w 6400800"/>
                <a:gd name="connsiteY5291" fmla="*/ 329089 h 514350"/>
                <a:gd name="connsiteX5292" fmla="*/ 3025616 w 6400800"/>
                <a:gd name="connsiteY5292" fmla="*/ 339566 h 514350"/>
                <a:gd name="connsiteX5293" fmla="*/ 3011329 w 6400800"/>
                <a:gd name="connsiteY5293" fmla="*/ 359569 h 514350"/>
                <a:gd name="connsiteX5294" fmla="*/ 3011329 w 6400800"/>
                <a:gd name="connsiteY5294" fmla="*/ 360521 h 514350"/>
                <a:gd name="connsiteX5295" fmla="*/ 3009424 w 6400800"/>
                <a:gd name="connsiteY5295" fmla="*/ 351949 h 514350"/>
                <a:gd name="connsiteX5296" fmla="*/ 3017996 w 6400800"/>
                <a:gd name="connsiteY5296" fmla="*/ 317659 h 514350"/>
                <a:gd name="connsiteX5297" fmla="*/ 3013234 w 6400800"/>
                <a:gd name="connsiteY5297" fmla="*/ 257651 h 514350"/>
                <a:gd name="connsiteX5298" fmla="*/ 3014186 w 6400800"/>
                <a:gd name="connsiteY5298" fmla="*/ 261461 h 514350"/>
                <a:gd name="connsiteX5299" fmla="*/ 3015139 w 6400800"/>
                <a:gd name="connsiteY5299" fmla="*/ 269081 h 514350"/>
                <a:gd name="connsiteX5300" fmla="*/ 3010376 w 6400800"/>
                <a:gd name="connsiteY5300" fmla="*/ 284321 h 514350"/>
                <a:gd name="connsiteX5301" fmla="*/ 3009424 w 6400800"/>
                <a:gd name="connsiteY5301" fmla="*/ 282416 h 514350"/>
                <a:gd name="connsiteX5302" fmla="*/ 3008471 w 6400800"/>
                <a:gd name="connsiteY5302" fmla="*/ 279559 h 514350"/>
                <a:gd name="connsiteX5303" fmla="*/ 3009424 w 6400800"/>
                <a:gd name="connsiteY5303" fmla="*/ 276701 h 514350"/>
                <a:gd name="connsiteX5304" fmla="*/ 3013234 w 6400800"/>
                <a:gd name="connsiteY5304" fmla="*/ 257651 h 514350"/>
                <a:gd name="connsiteX5305" fmla="*/ 3008471 w 6400800"/>
                <a:gd name="connsiteY5305" fmla="*/ 230029 h 514350"/>
                <a:gd name="connsiteX5306" fmla="*/ 3010376 w 6400800"/>
                <a:gd name="connsiteY5306" fmla="*/ 244316 h 514350"/>
                <a:gd name="connsiteX5307" fmla="*/ 3007519 w 6400800"/>
                <a:gd name="connsiteY5307" fmla="*/ 250984 h 514350"/>
                <a:gd name="connsiteX5308" fmla="*/ 3001804 w 6400800"/>
                <a:gd name="connsiteY5308" fmla="*/ 264319 h 514350"/>
                <a:gd name="connsiteX5309" fmla="*/ 3008471 w 6400800"/>
                <a:gd name="connsiteY5309" fmla="*/ 230029 h 514350"/>
                <a:gd name="connsiteX5310" fmla="*/ 3003709 w 6400800"/>
                <a:gd name="connsiteY5310" fmla="*/ 195739 h 514350"/>
                <a:gd name="connsiteX5311" fmla="*/ 3004661 w 6400800"/>
                <a:gd name="connsiteY5311" fmla="*/ 205264 h 514350"/>
                <a:gd name="connsiteX5312" fmla="*/ 2997994 w 6400800"/>
                <a:gd name="connsiteY5312" fmla="*/ 223361 h 514350"/>
                <a:gd name="connsiteX5313" fmla="*/ 2986564 w 6400800"/>
                <a:gd name="connsiteY5313" fmla="*/ 262414 h 514350"/>
                <a:gd name="connsiteX5314" fmla="*/ 2984659 w 6400800"/>
                <a:gd name="connsiteY5314" fmla="*/ 270986 h 514350"/>
                <a:gd name="connsiteX5315" fmla="*/ 2984659 w 6400800"/>
                <a:gd name="connsiteY5315" fmla="*/ 270986 h 514350"/>
                <a:gd name="connsiteX5316" fmla="*/ 3003709 w 6400800"/>
                <a:gd name="connsiteY5316" fmla="*/ 195739 h 514350"/>
                <a:gd name="connsiteX5317" fmla="*/ 2974181 w 6400800"/>
                <a:gd name="connsiteY5317" fmla="*/ 311944 h 514350"/>
                <a:gd name="connsiteX5318" fmla="*/ 2980849 w 6400800"/>
                <a:gd name="connsiteY5318" fmla="*/ 284321 h 514350"/>
                <a:gd name="connsiteX5319" fmla="*/ 2980849 w 6400800"/>
                <a:gd name="connsiteY5319" fmla="*/ 285274 h 514350"/>
                <a:gd name="connsiteX5320" fmla="*/ 2976086 w 6400800"/>
                <a:gd name="connsiteY5320" fmla="*/ 307181 h 514350"/>
                <a:gd name="connsiteX5321" fmla="*/ 2972276 w 6400800"/>
                <a:gd name="connsiteY5321" fmla="*/ 327184 h 514350"/>
                <a:gd name="connsiteX5322" fmla="*/ 2970371 w 6400800"/>
                <a:gd name="connsiteY5322" fmla="*/ 322421 h 514350"/>
                <a:gd name="connsiteX5323" fmla="*/ 2974181 w 6400800"/>
                <a:gd name="connsiteY5323" fmla="*/ 311944 h 514350"/>
                <a:gd name="connsiteX5324" fmla="*/ 2964656 w 6400800"/>
                <a:gd name="connsiteY5324" fmla="*/ 349091 h 514350"/>
                <a:gd name="connsiteX5325" fmla="*/ 2968466 w 6400800"/>
                <a:gd name="connsiteY5325" fmla="*/ 334804 h 514350"/>
                <a:gd name="connsiteX5326" fmla="*/ 2970371 w 6400800"/>
                <a:gd name="connsiteY5326" fmla="*/ 344329 h 514350"/>
                <a:gd name="connsiteX5327" fmla="*/ 2969419 w 6400800"/>
                <a:gd name="connsiteY5327" fmla="*/ 353854 h 514350"/>
                <a:gd name="connsiteX5328" fmla="*/ 2966561 w 6400800"/>
                <a:gd name="connsiteY5328" fmla="*/ 377666 h 514350"/>
                <a:gd name="connsiteX5329" fmla="*/ 2963704 w 6400800"/>
                <a:gd name="connsiteY5329" fmla="*/ 366236 h 514350"/>
                <a:gd name="connsiteX5330" fmla="*/ 2969419 w 6400800"/>
                <a:gd name="connsiteY5330" fmla="*/ 341471 h 514350"/>
                <a:gd name="connsiteX5331" fmla="*/ 2964656 w 6400800"/>
                <a:gd name="connsiteY5331" fmla="*/ 349091 h 514350"/>
                <a:gd name="connsiteX5332" fmla="*/ 2958941 w 6400800"/>
                <a:gd name="connsiteY5332" fmla="*/ 383381 h 514350"/>
                <a:gd name="connsiteX5333" fmla="*/ 2958941 w 6400800"/>
                <a:gd name="connsiteY5333" fmla="*/ 383381 h 514350"/>
                <a:gd name="connsiteX5334" fmla="*/ 2958941 w 6400800"/>
                <a:gd name="connsiteY5334" fmla="*/ 383381 h 514350"/>
                <a:gd name="connsiteX5335" fmla="*/ 2958941 w 6400800"/>
                <a:gd name="connsiteY5335" fmla="*/ 383381 h 514350"/>
                <a:gd name="connsiteX5336" fmla="*/ 2958941 w 6400800"/>
                <a:gd name="connsiteY5336" fmla="*/ 383381 h 514350"/>
                <a:gd name="connsiteX5337" fmla="*/ 2936081 w 6400800"/>
                <a:gd name="connsiteY5337" fmla="*/ 284321 h 514350"/>
                <a:gd name="connsiteX5338" fmla="*/ 2934176 w 6400800"/>
                <a:gd name="connsiteY5338" fmla="*/ 273844 h 514350"/>
                <a:gd name="connsiteX5339" fmla="*/ 2936081 w 6400800"/>
                <a:gd name="connsiteY5339" fmla="*/ 271939 h 514350"/>
                <a:gd name="connsiteX5340" fmla="*/ 2936081 w 6400800"/>
                <a:gd name="connsiteY5340" fmla="*/ 284321 h 514350"/>
                <a:gd name="connsiteX5341" fmla="*/ 2936081 w 6400800"/>
                <a:gd name="connsiteY5341" fmla="*/ 267176 h 514350"/>
                <a:gd name="connsiteX5342" fmla="*/ 2936081 w 6400800"/>
                <a:gd name="connsiteY5342" fmla="*/ 267176 h 514350"/>
                <a:gd name="connsiteX5343" fmla="*/ 2934176 w 6400800"/>
                <a:gd name="connsiteY5343" fmla="*/ 269081 h 514350"/>
                <a:gd name="connsiteX5344" fmla="*/ 2936081 w 6400800"/>
                <a:gd name="connsiteY5344" fmla="*/ 265271 h 514350"/>
                <a:gd name="connsiteX5345" fmla="*/ 2936081 w 6400800"/>
                <a:gd name="connsiteY5345" fmla="*/ 267176 h 514350"/>
                <a:gd name="connsiteX5346" fmla="*/ 2929414 w 6400800"/>
                <a:gd name="connsiteY5346" fmla="*/ 243364 h 514350"/>
                <a:gd name="connsiteX5347" fmla="*/ 2930366 w 6400800"/>
                <a:gd name="connsiteY5347" fmla="*/ 243364 h 514350"/>
                <a:gd name="connsiteX5348" fmla="*/ 2933224 w 6400800"/>
                <a:gd name="connsiteY5348" fmla="*/ 244316 h 514350"/>
                <a:gd name="connsiteX5349" fmla="*/ 2934176 w 6400800"/>
                <a:gd name="connsiteY5349" fmla="*/ 255746 h 514350"/>
                <a:gd name="connsiteX5350" fmla="*/ 2931319 w 6400800"/>
                <a:gd name="connsiteY5350" fmla="*/ 261461 h 514350"/>
                <a:gd name="connsiteX5351" fmla="*/ 2927509 w 6400800"/>
                <a:gd name="connsiteY5351" fmla="*/ 248126 h 514350"/>
                <a:gd name="connsiteX5352" fmla="*/ 2929414 w 6400800"/>
                <a:gd name="connsiteY5352" fmla="*/ 243364 h 514350"/>
                <a:gd name="connsiteX5353" fmla="*/ 2917984 w 6400800"/>
                <a:gd name="connsiteY5353" fmla="*/ 351949 h 514350"/>
                <a:gd name="connsiteX5354" fmla="*/ 2918936 w 6400800"/>
                <a:gd name="connsiteY5354" fmla="*/ 353854 h 514350"/>
                <a:gd name="connsiteX5355" fmla="*/ 2919889 w 6400800"/>
                <a:gd name="connsiteY5355" fmla="*/ 363379 h 514350"/>
                <a:gd name="connsiteX5356" fmla="*/ 2922746 w 6400800"/>
                <a:gd name="connsiteY5356" fmla="*/ 380524 h 514350"/>
                <a:gd name="connsiteX5357" fmla="*/ 2920841 w 6400800"/>
                <a:gd name="connsiteY5357" fmla="*/ 380524 h 514350"/>
                <a:gd name="connsiteX5358" fmla="*/ 2913221 w 6400800"/>
                <a:gd name="connsiteY5358" fmla="*/ 362426 h 514350"/>
                <a:gd name="connsiteX5359" fmla="*/ 2917984 w 6400800"/>
                <a:gd name="connsiteY5359" fmla="*/ 351949 h 514350"/>
                <a:gd name="connsiteX5360" fmla="*/ 2904649 w 6400800"/>
                <a:gd name="connsiteY5360" fmla="*/ 224314 h 514350"/>
                <a:gd name="connsiteX5361" fmla="*/ 2904649 w 6400800"/>
                <a:gd name="connsiteY5361" fmla="*/ 224314 h 514350"/>
                <a:gd name="connsiteX5362" fmla="*/ 2903696 w 6400800"/>
                <a:gd name="connsiteY5362" fmla="*/ 237649 h 514350"/>
                <a:gd name="connsiteX5363" fmla="*/ 2902744 w 6400800"/>
                <a:gd name="connsiteY5363" fmla="*/ 250031 h 514350"/>
                <a:gd name="connsiteX5364" fmla="*/ 2900839 w 6400800"/>
                <a:gd name="connsiteY5364" fmla="*/ 235744 h 514350"/>
                <a:gd name="connsiteX5365" fmla="*/ 2904649 w 6400800"/>
                <a:gd name="connsiteY5365" fmla="*/ 224314 h 514350"/>
                <a:gd name="connsiteX5366" fmla="*/ 2885599 w 6400800"/>
                <a:gd name="connsiteY5366" fmla="*/ 294799 h 514350"/>
                <a:gd name="connsiteX5367" fmla="*/ 2888456 w 6400800"/>
                <a:gd name="connsiteY5367" fmla="*/ 280511 h 514350"/>
                <a:gd name="connsiteX5368" fmla="*/ 2889409 w 6400800"/>
                <a:gd name="connsiteY5368" fmla="*/ 308134 h 514350"/>
                <a:gd name="connsiteX5369" fmla="*/ 2884646 w 6400800"/>
                <a:gd name="connsiteY5369" fmla="*/ 297656 h 514350"/>
                <a:gd name="connsiteX5370" fmla="*/ 2885599 w 6400800"/>
                <a:gd name="connsiteY5370" fmla="*/ 294799 h 514350"/>
                <a:gd name="connsiteX5371" fmla="*/ 2869406 w 6400800"/>
                <a:gd name="connsiteY5371" fmla="*/ 301466 h 514350"/>
                <a:gd name="connsiteX5372" fmla="*/ 2869406 w 6400800"/>
                <a:gd name="connsiteY5372" fmla="*/ 301466 h 514350"/>
                <a:gd name="connsiteX5373" fmla="*/ 2869406 w 6400800"/>
                <a:gd name="connsiteY5373" fmla="*/ 302419 h 514350"/>
                <a:gd name="connsiteX5374" fmla="*/ 2868454 w 6400800"/>
                <a:gd name="connsiteY5374" fmla="*/ 305276 h 514350"/>
                <a:gd name="connsiteX5375" fmla="*/ 2856071 w 6400800"/>
                <a:gd name="connsiteY5375" fmla="*/ 284321 h 514350"/>
                <a:gd name="connsiteX5376" fmla="*/ 2855119 w 6400800"/>
                <a:gd name="connsiteY5376" fmla="*/ 282416 h 514350"/>
                <a:gd name="connsiteX5377" fmla="*/ 2857976 w 6400800"/>
                <a:gd name="connsiteY5377" fmla="*/ 273844 h 514350"/>
                <a:gd name="connsiteX5378" fmla="*/ 2869406 w 6400800"/>
                <a:gd name="connsiteY5378" fmla="*/ 301466 h 514350"/>
                <a:gd name="connsiteX5379" fmla="*/ 2851309 w 6400800"/>
                <a:gd name="connsiteY5379" fmla="*/ 262414 h 514350"/>
                <a:gd name="connsiteX5380" fmla="*/ 2851309 w 6400800"/>
                <a:gd name="connsiteY5380" fmla="*/ 259556 h 514350"/>
                <a:gd name="connsiteX5381" fmla="*/ 2855119 w 6400800"/>
                <a:gd name="connsiteY5381" fmla="*/ 267176 h 514350"/>
                <a:gd name="connsiteX5382" fmla="*/ 2856071 w 6400800"/>
                <a:gd name="connsiteY5382" fmla="*/ 269081 h 514350"/>
                <a:gd name="connsiteX5383" fmla="*/ 2851309 w 6400800"/>
                <a:gd name="connsiteY5383" fmla="*/ 276701 h 514350"/>
                <a:gd name="connsiteX5384" fmla="*/ 2850356 w 6400800"/>
                <a:gd name="connsiteY5384" fmla="*/ 274796 h 514350"/>
                <a:gd name="connsiteX5385" fmla="*/ 2851309 w 6400800"/>
                <a:gd name="connsiteY5385" fmla="*/ 262414 h 514350"/>
                <a:gd name="connsiteX5386" fmla="*/ 2848451 w 6400800"/>
                <a:gd name="connsiteY5386" fmla="*/ 312896 h 514350"/>
                <a:gd name="connsiteX5387" fmla="*/ 2848451 w 6400800"/>
                <a:gd name="connsiteY5387" fmla="*/ 302419 h 514350"/>
                <a:gd name="connsiteX5388" fmla="*/ 2860834 w 6400800"/>
                <a:gd name="connsiteY5388" fmla="*/ 327184 h 514350"/>
                <a:gd name="connsiteX5389" fmla="*/ 2856071 w 6400800"/>
                <a:gd name="connsiteY5389" fmla="*/ 344329 h 514350"/>
                <a:gd name="connsiteX5390" fmla="*/ 2853214 w 6400800"/>
                <a:gd name="connsiteY5390" fmla="*/ 355759 h 514350"/>
                <a:gd name="connsiteX5391" fmla="*/ 2851309 w 6400800"/>
                <a:gd name="connsiteY5391" fmla="*/ 341471 h 514350"/>
                <a:gd name="connsiteX5392" fmla="*/ 2847499 w 6400800"/>
                <a:gd name="connsiteY5392" fmla="*/ 316706 h 514350"/>
                <a:gd name="connsiteX5393" fmla="*/ 2848451 w 6400800"/>
                <a:gd name="connsiteY5393" fmla="*/ 312896 h 514350"/>
                <a:gd name="connsiteX5394" fmla="*/ 2836069 w 6400800"/>
                <a:gd name="connsiteY5394" fmla="*/ 226219 h 514350"/>
                <a:gd name="connsiteX5395" fmla="*/ 2847499 w 6400800"/>
                <a:gd name="connsiteY5395" fmla="*/ 251936 h 514350"/>
                <a:gd name="connsiteX5396" fmla="*/ 2844641 w 6400800"/>
                <a:gd name="connsiteY5396" fmla="*/ 261461 h 514350"/>
                <a:gd name="connsiteX5397" fmla="*/ 2843689 w 6400800"/>
                <a:gd name="connsiteY5397" fmla="*/ 266224 h 514350"/>
                <a:gd name="connsiteX5398" fmla="*/ 2838926 w 6400800"/>
                <a:gd name="connsiteY5398" fmla="*/ 258604 h 514350"/>
                <a:gd name="connsiteX5399" fmla="*/ 2834164 w 6400800"/>
                <a:gd name="connsiteY5399" fmla="*/ 229076 h 514350"/>
                <a:gd name="connsiteX5400" fmla="*/ 2836069 w 6400800"/>
                <a:gd name="connsiteY5400" fmla="*/ 226219 h 514350"/>
                <a:gd name="connsiteX5401" fmla="*/ 2830354 w 6400800"/>
                <a:gd name="connsiteY5401" fmla="*/ 305276 h 514350"/>
                <a:gd name="connsiteX5402" fmla="*/ 2831306 w 6400800"/>
                <a:gd name="connsiteY5402" fmla="*/ 312896 h 514350"/>
                <a:gd name="connsiteX5403" fmla="*/ 2831306 w 6400800"/>
                <a:gd name="connsiteY5403" fmla="*/ 313849 h 514350"/>
                <a:gd name="connsiteX5404" fmla="*/ 2830354 w 6400800"/>
                <a:gd name="connsiteY5404" fmla="*/ 308134 h 514350"/>
                <a:gd name="connsiteX5405" fmla="*/ 2830354 w 6400800"/>
                <a:gd name="connsiteY5405" fmla="*/ 305276 h 514350"/>
                <a:gd name="connsiteX5406" fmla="*/ 2829401 w 6400800"/>
                <a:gd name="connsiteY5406" fmla="*/ 292894 h 514350"/>
                <a:gd name="connsiteX5407" fmla="*/ 2830354 w 6400800"/>
                <a:gd name="connsiteY5407" fmla="*/ 299561 h 514350"/>
                <a:gd name="connsiteX5408" fmla="*/ 2829401 w 6400800"/>
                <a:gd name="connsiteY5408" fmla="*/ 301466 h 514350"/>
                <a:gd name="connsiteX5409" fmla="*/ 2829401 w 6400800"/>
                <a:gd name="connsiteY5409" fmla="*/ 299561 h 514350"/>
                <a:gd name="connsiteX5410" fmla="*/ 2829401 w 6400800"/>
                <a:gd name="connsiteY5410" fmla="*/ 292894 h 514350"/>
                <a:gd name="connsiteX5411" fmla="*/ 2785586 w 6400800"/>
                <a:gd name="connsiteY5411" fmla="*/ 268129 h 514350"/>
                <a:gd name="connsiteX5412" fmla="*/ 2782729 w 6400800"/>
                <a:gd name="connsiteY5412" fmla="*/ 271939 h 514350"/>
                <a:gd name="connsiteX5413" fmla="*/ 2782729 w 6400800"/>
                <a:gd name="connsiteY5413" fmla="*/ 269081 h 514350"/>
                <a:gd name="connsiteX5414" fmla="*/ 2782729 w 6400800"/>
                <a:gd name="connsiteY5414" fmla="*/ 265271 h 514350"/>
                <a:gd name="connsiteX5415" fmla="*/ 2786539 w 6400800"/>
                <a:gd name="connsiteY5415" fmla="*/ 258604 h 514350"/>
                <a:gd name="connsiteX5416" fmla="*/ 2786539 w 6400800"/>
                <a:gd name="connsiteY5416" fmla="*/ 260509 h 514350"/>
                <a:gd name="connsiteX5417" fmla="*/ 2785586 w 6400800"/>
                <a:gd name="connsiteY5417" fmla="*/ 268129 h 514350"/>
                <a:gd name="connsiteX5418" fmla="*/ 2796064 w 6400800"/>
                <a:gd name="connsiteY5418" fmla="*/ 268129 h 514350"/>
                <a:gd name="connsiteX5419" fmla="*/ 2796064 w 6400800"/>
                <a:gd name="connsiteY5419" fmla="*/ 268129 h 514350"/>
                <a:gd name="connsiteX5420" fmla="*/ 2798921 w 6400800"/>
                <a:gd name="connsiteY5420" fmla="*/ 263366 h 514350"/>
                <a:gd name="connsiteX5421" fmla="*/ 2796064 w 6400800"/>
                <a:gd name="connsiteY5421" fmla="*/ 268129 h 514350"/>
                <a:gd name="connsiteX5422" fmla="*/ 2803684 w 6400800"/>
                <a:gd name="connsiteY5422" fmla="*/ 314801 h 514350"/>
                <a:gd name="connsiteX5423" fmla="*/ 2802731 w 6400800"/>
                <a:gd name="connsiteY5423" fmla="*/ 318611 h 514350"/>
                <a:gd name="connsiteX5424" fmla="*/ 2801779 w 6400800"/>
                <a:gd name="connsiteY5424" fmla="*/ 325279 h 514350"/>
                <a:gd name="connsiteX5425" fmla="*/ 2798921 w 6400800"/>
                <a:gd name="connsiteY5425" fmla="*/ 317659 h 514350"/>
                <a:gd name="connsiteX5426" fmla="*/ 2798921 w 6400800"/>
                <a:gd name="connsiteY5426" fmla="*/ 315754 h 514350"/>
                <a:gd name="connsiteX5427" fmla="*/ 2798921 w 6400800"/>
                <a:gd name="connsiteY5427" fmla="*/ 315754 h 514350"/>
                <a:gd name="connsiteX5428" fmla="*/ 2801779 w 6400800"/>
                <a:gd name="connsiteY5428" fmla="*/ 304324 h 514350"/>
                <a:gd name="connsiteX5429" fmla="*/ 2803684 w 6400800"/>
                <a:gd name="connsiteY5429" fmla="*/ 312896 h 514350"/>
                <a:gd name="connsiteX5430" fmla="*/ 2803684 w 6400800"/>
                <a:gd name="connsiteY5430" fmla="*/ 314801 h 514350"/>
                <a:gd name="connsiteX5431" fmla="*/ 2810351 w 6400800"/>
                <a:gd name="connsiteY5431" fmla="*/ 280511 h 514350"/>
                <a:gd name="connsiteX5432" fmla="*/ 2805589 w 6400800"/>
                <a:gd name="connsiteY5432" fmla="*/ 302419 h 514350"/>
                <a:gd name="connsiteX5433" fmla="*/ 2803684 w 6400800"/>
                <a:gd name="connsiteY5433" fmla="*/ 298609 h 514350"/>
                <a:gd name="connsiteX5434" fmla="*/ 2802731 w 6400800"/>
                <a:gd name="connsiteY5434" fmla="*/ 296704 h 514350"/>
                <a:gd name="connsiteX5435" fmla="*/ 2805589 w 6400800"/>
                <a:gd name="connsiteY5435" fmla="*/ 287179 h 514350"/>
                <a:gd name="connsiteX5436" fmla="*/ 2809399 w 6400800"/>
                <a:gd name="connsiteY5436" fmla="*/ 277654 h 514350"/>
                <a:gd name="connsiteX5437" fmla="*/ 2810351 w 6400800"/>
                <a:gd name="connsiteY5437" fmla="*/ 275749 h 514350"/>
                <a:gd name="connsiteX5438" fmla="*/ 2810351 w 6400800"/>
                <a:gd name="connsiteY5438" fmla="*/ 280511 h 514350"/>
                <a:gd name="connsiteX5439" fmla="*/ 2811304 w 6400800"/>
                <a:gd name="connsiteY5439" fmla="*/ 276701 h 514350"/>
                <a:gd name="connsiteX5440" fmla="*/ 2811304 w 6400800"/>
                <a:gd name="connsiteY5440" fmla="*/ 274796 h 514350"/>
                <a:gd name="connsiteX5441" fmla="*/ 2813209 w 6400800"/>
                <a:gd name="connsiteY5441" fmla="*/ 270986 h 514350"/>
                <a:gd name="connsiteX5442" fmla="*/ 2811304 w 6400800"/>
                <a:gd name="connsiteY5442" fmla="*/ 276701 h 514350"/>
                <a:gd name="connsiteX5443" fmla="*/ 2812256 w 6400800"/>
                <a:gd name="connsiteY5443" fmla="*/ 236696 h 514350"/>
                <a:gd name="connsiteX5444" fmla="*/ 2806541 w 6400800"/>
                <a:gd name="connsiteY5444" fmla="*/ 246221 h 514350"/>
                <a:gd name="connsiteX5445" fmla="*/ 2799874 w 6400800"/>
                <a:gd name="connsiteY5445" fmla="*/ 251936 h 514350"/>
                <a:gd name="connsiteX5446" fmla="*/ 2794159 w 6400800"/>
                <a:gd name="connsiteY5446" fmla="*/ 257651 h 514350"/>
                <a:gd name="connsiteX5447" fmla="*/ 2792254 w 6400800"/>
                <a:gd name="connsiteY5447" fmla="*/ 245269 h 514350"/>
                <a:gd name="connsiteX5448" fmla="*/ 2796064 w 6400800"/>
                <a:gd name="connsiteY5448" fmla="*/ 238601 h 514350"/>
                <a:gd name="connsiteX5449" fmla="*/ 2804636 w 6400800"/>
                <a:gd name="connsiteY5449" fmla="*/ 224314 h 514350"/>
                <a:gd name="connsiteX5450" fmla="*/ 2812256 w 6400800"/>
                <a:gd name="connsiteY5450" fmla="*/ 236696 h 514350"/>
                <a:gd name="connsiteX5451" fmla="*/ 2804636 w 6400800"/>
                <a:gd name="connsiteY5451" fmla="*/ 223361 h 514350"/>
                <a:gd name="connsiteX5452" fmla="*/ 2794159 w 6400800"/>
                <a:gd name="connsiteY5452" fmla="*/ 235744 h 514350"/>
                <a:gd name="connsiteX5453" fmla="*/ 2792254 w 6400800"/>
                <a:gd name="connsiteY5453" fmla="*/ 238601 h 514350"/>
                <a:gd name="connsiteX5454" fmla="*/ 2792254 w 6400800"/>
                <a:gd name="connsiteY5454" fmla="*/ 238601 h 514350"/>
                <a:gd name="connsiteX5455" fmla="*/ 2796064 w 6400800"/>
                <a:gd name="connsiteY5455" fmla="*/ 230981 h 514350"/>
                <a:gd name="connsiteX5456" fmla="*/ 2801779 w 6400800"/>
                <a:gd name="connsiteY5456" fmla="*/ 219551 h 514350"/>
                <a:gd name="connsiteX5457" fmla="*/ 2804636 w 6400800"/>
                <a:gd name="connsiteY5457" fmla="*/ 223361 h 514350"/>
                <a:gd name="connsiteX5458" fmla="*/ 2787491 w 6400800"/>
                <a:gd name="connsiteY5458" fmla="*/ 196691 h 514350"/>
                <a:gd name="connsiteX5459" fmla="*/ 2800826 w 6400800"/>
                <a:gd name="connsiteY5459" fmla="*/ 217646 h 514350"/>
                <a:gd name="connsiteX5460" fmla="*/ 2792254 w 6400800"/>
                <a:gd name="connsiteY5460" fmla="*/ 228124 h 514350"/>
                <a:gd name="connsiteX5461" fmla="*/ 2790349 w 6400800"/>
                <a:gd name="connsiteY5461" fmla="*/ 230981 h 514350"/>
                <a:gd name="connsiteX5462" fmla="*/ 2787491 w 6400800"/>
                <a:gd name="connsiteY5462" fmla="*/ 218599 h 514350"/>
                <a:gd name="connsiteX5463" fmla="*/ 2781776 w 6400800"/>
                <a:gd name="connsiteY5463" fmla="*/ 196691 h 514350"/>
                <a:gd name="connsiteX5464" fmla="*/ 2783681 w 6400800"/>
                <a:gd name="connsiteY5464" fmla="*/ 218599 h 514350"/>
                <a:gd name="connsiteX5465" fmla="*/ 2784634 w 6400800"/>
                <a:gd name="connsiteY5465" fmla="*/ 237649 h 514350"/>
                <a:gd name="connsiteX5466" fmla="*/ 2780824 w 6400800"/>
                <a:gd name="connsiteY5466" fmla="*/ 243364 h 514350"/>
                <a:gd name="connsiteX5467" fmla="*/ 2778919 w 6400800"/>
                <a:gd name="connsiteY5467" fmla="*/ 204311 h 514350"/>
                <a:gd name="connsiteX5468" fmla="*/ 2777966 w 6400800"/>
                <a:gd name="connsiteY5468" fmla="*/ 186214 h 514350"/>
                <a:gd name="connsiteX5469" fmla="*/ 2775109 w 6400800"/>
                <a:gd name="connsiteY5469" fmla="*/ 204311 h 514350"/>
                <a:gd name="connsiteX5470" fmla="*/ 2774156 w 6400800"/>
                <a:gd name="connsiteY5470" fmla="*/ 214789 h 514350"/>
                <a:gd name="connsiteX5471" fmla="*/ 2770346 w 6400800"/>
                <a:gd name="connsiteY5471" fmla="*/ 190976 h 514350"/>
                <a:gd name="connsiteX5472" fmla="*/ 2770346 w 6400800"/>
                <a:gd name="connsiteY5472" fmla="*/ 189071 h 514350"/>
                <a:gd name="connsiteX5473" fmla="*/ 2770346 w 6400800"/>
                <a:gd name="connsiteY5473" fmla="*/ 185261 h 514350"/>
                <a:gd name="connsiteX5474" fmla="*/ 2768441 w 6400800"/>
                <a:gd name="connsiteY5474" fmla="*/ 166211 h 514350"/>
                <a:gd name="connsiteX5475" fmla="*/ 2787491 w 6400800"/>
                <a:gd name="connsiteY5475" fmla="*/ 196691 h 514350"/>
                <a:gd name="connsiteX5476" fmla="*/ 2767489 w 6400800"/>
                <a:gd name="connsiteY5476" fmla="*/ 167164 h 514350"/>
                <a:gd name="connsiteX5477" fmla="*/ 2767489 w 6400800"/>
                <a:gd name="connsiteY5477" fmla="*/ 170974 h 514350"/>
                <a:gd name="connsiteX5478" fmla="*/ 2766536 w 6400800"/>
                <a:gd name="connsiteY5478" fmla="*/ 166211 h 514350"/>
                <a:gd name="connsiteX5479" fmla="*/ 2767489 w 6400800"/>
                <a:gd name="connsiteY5479" fmla="*/ 167164 h 514350"/>
                <a:gd name="connsiteX5480" fmla="*/ 2757964 w 6400800"/>
                <a:gd name="connsiteY5480" fmla="*/ 342424 h 514350"/>
                <a:gd name="connsiteX5481" fmla="*/ 2755106 w 6400800"/>
                <a:gd name="connsiteY5481" fmla="*/ 336709 h 514350"/>
                <a:gd name="connsiteX5482" fmla="*/ 2758916 w 6400800"/>
                <a:gd name="connsiteY5482" fmla="*/ 329089 h 514350"/>
                <a:gd name="connsiteX5483" fmla="*/ 2760821 w 6400800"/>
                <a:gd name="connsiteY5483" fmla="*/ 332899 h 514350"/>
                <a:gd name="connsiteX5484" fmla="*/ 2757964 w 6400800"/>
                <a:gd name="connsiteY5484" fmla="*/ 342424 h 514350"/>
                <a:gd name="connsiteX5485" fmla="*/ 2762726 w 6400800"/>
                <a:gd name="connsiteY5485" fmla="*/ 327184 h 514350"/>
                <a:gd name="connsiteX5486" fmla="*/ 2761774 w 6400800"/>
                <a:gd name="connsiteY5486" fmla="*/ 330994 h 514350"/>
                <a:gd name="connsiteX5487" fmla="*/ 2759869 w 6400800"/>
                <a:gd name="connsiteY5487" fmla="*/ 328136 h 514350"/>
                <a:gd name="connsiteX5488" fmla="*/ 2761774 w 6400800"/>
                <a:gd name="connsiteY5488" fmla="*/ 324326 h 514350"/>
                <a:gd name="connsiteX5489" fmla="*/ 2762726 w 6400800"/>
                <a:gd name="connsiteY5489" fmla="*/ 327184 h 514350"/>
                <a:gd name="connsiteX5490" fmla="*/ 2762726 w 6400800"/>
                <a:gd name="connsiteY5490" fmla="*/ 327184 h 514350"/>
                <a:gd name="connsiteX5491" fmla="*/ 2762726 w 6400800"/>
                <a:gd name="connsiteY5491" fmla="*/ 250031 h 514350"/>
                <a:gd name="connsiteX5492" fmla="*/ 2762726 w 6400800"/>
                <a:gd name="connsiteY5492" fmla="*/ 270034 h 514350"/>
                <a:gd name="connsiteX5493" fmla="*/ 2754154 w 6400800"/>
                <a:gd name="connsiteY5493" fmla="*/ 282416 h 514350"/>
                <a:gd name="connsiteX5494" fmla="*/ 2753201 w 6400800"/>
                <a:gd name="connsiteY5494" fmla="*/ 284321 h 514350"/>
                <a:gd name="connsiteX5495" fmla="*/ 2752249 w 6400800"/>
                <a:gd name="connsiteY5495" fmla="*/ 282416 h 514350"/>
                <a:gd name="connsiteX5496" fmla="*/ 2753201 w 6400800"/>
                <a:gd name="connsiteY5496" fmla="*/ 278606 h 514350"/>
                <a:gd name="connsiteX5497" fmla="*/ 2756059 w 6400800"/>
                <a:gd name="connsiteY5497" fmla="*/ 267176 h 514350"/>
                <a:gd name="connsiteX5498" fmla="*/ 2761774 w 6400800"/>
                <a:gd name="connsiteY5498" fmla="*/ 251936 h 514350"/>
                <a:gd name="connsiteX5499" fmla="*/ 2762726 w 6400800"/>
                <a:gd name="connsiteY5499" fmla="*/ 250031 h 514350"/>
                <a:gd name="connsiteX5500" fmla="*/ 2762726 w 6400800"/>
                <a:gd name="connsiteY5500" fmla="*/ 250031 h 514350"/>
                <a:gd name="connsiteX5501" fmla="*/ 2753201 w 6400800"/>
                <a:gd name="connsiteY5501" fmla="*/ 250031 h 514350"/>
                <a:gd name="connsiteX5502" fmla="*/ 2757011 w 6400800"/>
                <a:gd name="connsiteY5502" fmla="*/ 230981 h 514350"/>
                <a:gd name="connsiteX5503" fmla="*/ 2762726 w 6400800"/>
                <a:gd name="connsiteY5503" fmla="*/ 249079 h 514350"/>
                <a:gd name="connsiteX5504" fmla="*/ 2760821 w 6400800"/>
                <a:gd name="connsiteY5504" fmla="*/ 252889 h 514350"/>
                <a:gd name="connsiteX5505" fmla="*/ 2752249 w 6400800"/>
                <a:gd name="connsiteY5505" fmla="*/ 267176 h 514350"/>
                <a:gd name="connsiteX5506" fmla="*/ 2748439 w 6400800"/>
                <a:gd name="connsiteY5506" fmla="*/ 275749 h 514350"/>
                <a:gd name="connsiteX5507" fmla="*/ 2747486 w 6400800"/>
                <a:gd name="connsiteY5507" fmla="*/ 274796 h 514350"/>
                <a:gd name="connsiteX5508" fmla="*/ 2753201 w 6400800"/>
                <a:gd name="connsiteY5508" fmla="*/ 250031 h 514350"/>
                <a:gd name="connsiteX5509" fmla="*/ 2749391 w 6400800"/>
                <a:gd name="connsiteY5509" fmla="*/ 362426 h 514350"/>
                <a:gd name="connsiteX5510" fmla="*/ 2746534 w 6400800"/>
                <a:gd name="connsiteY5510" fmla="*/ 357664 h 514350"/>
                <a:gd name="connsiteX5511" fmla="*/ 2746534 w 6400800"/>
                <a:gd name="connsiteY5511" fmla="*/ 354806 h 514350"/>
                <a:gd name="connsiteX5512" fmla="*/ 2749391 w 6400800"/>
                <a:gd name="connsiteY5512" fmla="*/ 362426 h 514350"/>
                <a:gd name="connsiteX5513" fmla="*/ 2734151 w 6400800"/>
                <a:gd name="connsiteY5513" fmla="*/ 258604 h 514350"/>
                <a:gd name="connsiteX5514" fmla="*/ 2740819 w 6400800"/>
                <a:gd name="connsiteY5514" fmla="*/ 273844 h 514350"/>
                <a:gd name="connsiteX5515" fmla="*/ 2735104 w 6400800"/>
                <a:gd name="connsiteY5515" fmla="*/ 290036 h 514350"/>
                <a:gd name="connsiteX5516" fmla="*/ 2734151 w 6400800"/>
                <a:gd name="connsiteY5516" fmla="*/ 287179 h 514350"/>
                <a:gd name="connsiteX5517" fmla="*/ 2734151 w 6400800"/>
                <a:gd name="connsiteY5517" fmla="*/ 291941 h 514350"/>
                <a:gd name="connsiteX5518" fmla="*/ 2734151 w 6400800"/>
                <a:gd name="connsiteY5518" fmla="*/ 291941 h 514350"/>
                <a:gd name="connsiteX5519" fmla="*/ 2732246 w 6400800"/>
                <a:gd name="connsiteY5519" fmla="*/ 289084 h 514350"/>
                <a:gd name="connsiteX5520" fmla="*/ 2731294 w 6400800"/>
                <a:gd name="connsiteY5520" fmla="*/ 286226 h 514350"/>
                <a:gd name="connsiteX5521" fmla="*/ 2734151 w 6400800"/>
                <a:gd name="connsiteY5521" fmla="*/ 258604 h 514350"/>
                <a:gd name="connsiteX5522" fmla="*/ 2715101 w 6400800"/>
                <a:gd name="connsiteY5522" fmla="*/ 290989 h 514350"/>
                <a:gd name="connsiteX5523" fmla="*/ 2716054 w 6400800"/>
                <a:gd name="connsiteY5523" fmla="*/ 273844 h 514350"/>
                <a:gd name="connsiteX5524" fmla="*/ 2717959 w 6400800"/>
                <a:gd name="connsiteY5524" fmla="*/ 278606 h 514350"/>
                <a:gd name="connsiteX5525" fmla="*/ 2716054 w 6400800"/>
                <a:gd name="connsiteY5525" fmla="*/ 304324 h 514350"/>
                <a:gd name="connsiteX5526" fmla="*/ 2715101 w 6400800"/>
                <a:gd name="connsiteY5526" fmla="*/ 303371 h 514350"/>
                <a:gd name="connsiteX5527" fmla="*/ 2715101 w 6400800"/>
                <a:gd name="connsiteY5527" fmla="*/ 290989 h 514350"/>
                <a:gd name="connsiteX5528" fmla="*/ 2705576 w 6400800"/>
                <a:gd name="connsiteY5528" fmla="*/ 243364 h 514350"/>
                <a:gd name="connsiteX5529" fmla="*/ 2704624 w 6400800"/>
                <a:gd name="connsiteY5529" fmla="*/ 247174 h 514350"/>
                <a:gd name="connsiteX5530" fmla="*/ 2703671 w 6400800"/>
                <a:gd name="connsiteY5530" fmla="*/ 238601 h 514350"/>
                <a:gd name="connsiteX5531" fmla="*/ 2705576 w 6400800"/>
                <a:gd name="connsiteY5531" fmla="*/ 243364 h 514350"/>
                <a:gd name="connsiteX5532" fmla="*/ 2697956 w 6400800"/>
                <a:gd name="connsiteY5532" fmla="*/ 312896 h 514350"/>
                <a:gd name="connsiteX5533" fmla="*/ 2697956 w 6400800"/>
                <a:gd name="connsiteY5533" fmla="*/ 313849 h 514350"/>
                <a:gd name="connsiteX5534" fmla="*/ 2697956 w 6400800"/>
                <a:gd name="connsiteY5534" fmla="*/ 310991 h 514350"/>
                <a:gd name="connsiteX5535" fmla="*/ 2697956 w 6400800"/>
                <a:gd name="connsiteY5535" fmla="*/ 312896 h 514350"/>
                <a:gd name="connsiteX5536" fmla="*/ 2664619 w 6400800"/>
                <a:gd name="connsiteY5536" fmla="*/ 234791 h 514350"/>
                <a:gd name="connsiteX5537" fmla="*/ 2666524 w 6400800"/>
                <a:gd name="connsiteY5537" fmla="*/ 238601 h 514350"/>
                <a:gd name="connsiteX5538" fmla="*/ 2673191 w 6400800"/>
                <a:gd name="connsiteY5538" fmla="*/ 287179 h 514350"/>
                <a:gd name="connsiteX5539" fmla="*/ 2670334 w 6400800"/>
                <a:gd name="connsiteY5539" fmla="*/ 279559 h 514350"/>
                <a:gd name="connsiteX5540" fmla="*/ 2670334 w 6400800"/>
                <a:gd name="connsiteY5540" fmla="*/ 278606 h 514350"/>
                <a:gd name="connsiteX5541" fmla="*/ 2671286 w 6400800"/>
                <a:gd name="connsiteY5541" fmla="*/ 276701 h 514350"/>
                <a:gd name="connsiteX5542" fmla="*/ 2670334 w 6400800"/>
                <a:gd name="connsiteY5542" fmla="*/ 278606 h 514350"/>
                <a:gd name="connsiteX5543" fmla="*/ 2664619 w 6400800"/>
                <a:gd name="connsiteY5543" fmla="*/ 246221 h 514350"/>
                <a:gd name="connsiteX5544" fmla="*/ 2663666 w 6400800"/>
                <a:gd name="connsiteY5544" fmla="*/ 240506 h 514350"/>
                <a:gd name="connsiteX5545" fmla="*/ 2664619 w 6400800"/>
                <a:gd name="connsiteY5545" fmla="*/ 234791 h 514350"/>
                <a:gd name="connsiteX5546" fmla="*/ 2657951 w 6400800"/>
                <a:gd name="connsiteY5546" fmla="*/ 339566 h 514350"/>
                <a:gd name="connsiteX5547" fmla="*/ 2656046 w 6400800"/>
                <a:gd name="connsiteY5547" fmla="*/ 336709 h 514350"/>
                <a:gd name="connsiteX5548" fmla="*/ 2657951 w 6400800"/>
                <a:gd name="connsiteY5548" fmla="*/ 325279 h 514350"/>
                <a:gd name="connsiteX5549" fmla="*/ 2657951 w 6400800"/>
                <a:gd name="connsiteY5549" fmla="*/ 339566 h 514350"/>
                <a:gd name="connsiteX5550" fmla="*/ 2654141 w 6400800"/>
                <a:gd name="connsiteY5550" fmla="*/ 277654 h 514350"/>
                <a:gd name="connsiteX5551" fmla="*/ 2659856 w 6400800"/>
                <a:gd name="connsiteY5551" fmla="*/ 298609 h 514350"/>
                <a:gd name="connsiteX5552" fmla="*/ 2659856 w 6400800"/>
                <a:gd name="connsiteY5552" fmla="*/ 299561 h 514350"/>
                <a:gd name="connsiteX5553" fmla="*/ 2653189 w 6400800"/>
                <a:gd name="connsiteY5553" fmla="*/ 316706 h 514350"/>
                <a:gd name="connsiteX5554" fmla="*/ 2652236 w 6400800"/>
                <a:gd name="connsiteY5554" fmla="*/ 319564 h 514350"/>
                <a:gd name="connsiteX5555" fmla="*/ 2650331 w 6400800"/>
                <a:gd name="connsiteY5555" fmla="*/ 311944 h 514350"/>
                <a:gd name="connsiteX5556" fmla="*/ 2647474 w 6400800"/>
                <a:gd name="connsiteY5556" fmla="*/ 301466 h 514350"/>
                <a:gd name="connsiteX5557" fmla="*/ 2654141 w 6400800"/>
                <a:gd name="connsiteY5557" fmla="*/ 277654 h 514350"/>
                <a:gd name="connsiteX5558" fmla="*/ 2633186 w 6400800"/>
                <a:gd name="connsiteY5558" fmla="*/ 283369 h 514350"/>
                <a:gd name="connsiteX5559" fmla="*/ 2633186 w 6400800"/>
                <a:gd name="connsiteY5559" fmla="*/ 285274 h 514350"/>
                <a:gd name="connsiteX5560" fmla="*/ 2633186 w 6400800"/>
                <a:gd name="connsiteY5560" fmla="*/ 286226 h 514350"/>
                <a:gd name="connsiteX5561" fmla="*/ 2632234 w 6400800"/>
                <a:gd name="connsiteY5561" fmla="*/ 290036 h 514350"/>
                <a:gd name="connsiteX5562" fmla="*/ 2633186 w 6400800"/>
                <a:gd name="connsiteY5562" fmla="*/ 283369 h 514350"/>
                <a:gd name="connsiteX5563" fmla="*/ 2578894 w 6400800"/>
                <a:gd name="connsiteY5563" fmla="*/ 242411 h 514350"/>
                <a:gd name="connsiteX5564" fmla="*/ 2577941 w 6400800"/>
                <a:gd name="connsiteY5564" fmla="*/ 241459 h 514350"/>
                <a:gd name="connsiteX5565" fmla="*/ 2580799 w 6400800"/>
                <a:gd name="connsiteY5565" fmla="*/ 235744 h 514350"/>
                <a:gd name="connsiteX5566" fmla="*/ 2580799 w 6400800"/>
                <a:gd name="connsiteY5566" fmla="*/ 235744 h 514350"/>
                <a:gd name="connsiteX5567" fmla="*/ 2578894 w 6400800"/>
                <a:gd name="connsiteY5567" fmla="*/ 242411 h 514350"/>
                <a:gd name="connsiteX5568" fmla="*/ 2597944 w 6400800"/>
                <a:gd name="connsiteY5568" fmla="*/ 275749 h 514350"/>
                <a:gd name="connsiteX5569" fmla="*/ 2597944 w 6400800"/>
                <a:gd name="connsiteY5569" fmla="*/ 274796 h 514350"/>
                <a:gd name="connsiteX5570" fmla="*/ 2597944 w 6400800"/>
                <a:gd name="connsiteY5570" fmla="*/ 275749 h 514350"/>
                <a:gd name="connsiteX5571" fmla="*/ 2597944 w 6400800"/>
                <a:gd name="connsiteY5571" fmla="*/ 275749 h 514350"/>
                <a:gd name="connsiteX5572" fmla="*/ 2616041 w 6400800"/>
                <a:gd name="connsiteY5572" fmla="*/ 309086 h 514350"/>
                <a:gd name="connsiteX5573" fmla="*/ 2613184 w 6400800"/>
                <a:gd name="connsiteY5573" fmla="*/ 319564 h 514350"/>
                <a:gd name="connsiteX5574" fmla="*/ 2613184 w 6400800"/>
                <a:gd name="connsiteY5574" fmla="*/ 318611 h 514350"/>
                <a:gd name="connsiteX5575" fmla="*/ 2613184 w 6400800"/>
                <a:gd name="connsiteY5575" fmla="*/ 319564 h 514350"/>
                <a:gd name="connsiteX5576" fmla="*/ 2613184 w 6400800"/>
                <a:gd name="connsiteY5576" fmla="*/ 319564 h 514350"/>
                <a:gd name="connsiteX5577" fmla="*/ 2600801 w 6400800"/>
                <a:gd name="connsiteY5577" fmla="*/ 289084 h 514350"/>
                <a:gd name="connsiteX5578" fmla="*/ 2602706 w 6400800"/>
                <a:gd name="connsiteY5578" fmla="*/ 282416 h 514350"/>
                <a:gd name="connsiteX5579" fmla="*/ 2612231 w 6400800"/>
                <a:gd name="connsiteY5579" fmla="*/ 299561 h 514350"/>
                <a:gd name="connsiteX5580" fmla="*/ 2616041 w 6400800"/>
                <a:gd name="connsiteY5580" fmla="*/ 308134 h 514350"/>
                <a:gd name="connsiteX5581" fmla="*/ 2616041 w 6400800"/>
                <a:gd name="connsiteY5581" fmla="*/ 309086 h 514350"/>
                <a:gd name="connsiteX5582" fmla="*/ 2616041 w 6400800"/>
                <a:gd name="connsiteY5582" fmla="*/ 309086 h 514350"/>
                <a:gd name="connsiteX5583" fmla="*/ 2604611 w 6400800"/>
                <a:gd name="connsiteY5583" fmla="*/ 276701 h 514350"/>
                <a:gd name="connsiteX5584" fmla="*/ 2608421 w 6400800"/>
                <a:gd name="connsiteY5584" fmla="*/ 267176 h 514350"/>
                <a:gd name="connsiteX5585" fmla="*/ 2615089 w 6400800"/>
                <a:gd name="connsiteY5585" fmla="*/ 290036 h 514350"/>
                <a:gd name="connsiteX5586" fmla="*/ 2604611 w 6400800"/>
                <a:gd name="connsiteY5586" fmla="*/ 276701 h 514350"/>
                <a:gd name="connsiteX5587" fmla="*/ 2614136 w 6400800"/>
                <a:gd name="connsiteY5587" fmla="*/ 276701 h 514350"/>
                <a:gd name="connsiteX5588" fmla="*/ 2609374 w 6400800"/>
                <a:gd name="connsiteY5588" fmla="*/ 266224 h 514350"/>
                <a:gd name="connsiteX5589" fmla="*/ 2612231 w 6400800"/>
                <a:gd name="connsiteY5589" fmla="*/ 257651 h 514350"/>
                <a:gd name="connsiteX5590" fmla="*/ 2614136 w 6400800"/>
                <a:gd name="connsiteY5590" fmla="*/ 276701 h 514350"/>
                <a:gd name="connsiteX5591" fmla="*/ 2606516 w 6400800"/>
                <a:gd name="connsiteY5591" fmla="*/ 208121 h 514350"/>
                <a:gd name="connsiteX5592" fmla="*/ 2611279 w 6400800"/>
                <a:gd name="connsiteY5592" fmla="*/ 250984 h 514350"/>
                <a:gd name="connsiteX5593" fmla="*/ 2611279 w 6400800"/>
                <a:gd name="connsiteY5593" fmla="*/ 251936 h 514350"/>
                <a:gd name="connsiteX5594" fmla="*/ 2600801 w 6400800"/>
                <a:gd name="connsiteY5594" fmla="*/ 271939 h 514350"/>
                <a:gd name="connsiteX5595" fmla="*/ 2597944 w 6400800"/>
                <a:gd name="connsiteY5595" fmla="*/ 268129 h 514350"/>
                <a:gd name="connsiteX5596" fmla="*/ 2595086 w 6400800"/>
                <a:gd name="connsiteY5596" fmla="*/ 237649 h 514350"/>
                <a:gd name="connsiteX5597" fmla="*/ 2594134 w 6400800"/>
                <a:gd name="connsiteY5597" fmla="*/ 228124 h 514350"/>
                <a:gd name="connsiteX5598" fmla="*/ 2605564 w 6400800"/>
                <a:gd name="connsiteY5598" fmla="*/ 179546 h 514350"/>
                <a:gd name="connsiteX5599" fmla="*/ 2606516 w 6400800"/>
                <a:gd name="connsiteY5599" fmla="*/ 208121 h 514350"/>
                <a:gd name="connsiteX5600" fmla="*/ 2586514 w 6400800"/>
                <a:gd name="connsiteY5600" fmla="*/ 186214 h 514350"/>
                <a:gd name="connsiteX5601" fmla="*/ 2598896 w 6400800"/>
                <a:gd name="connsiteY5601" fmla="*/ 159544 h 514350"/>
                <a:gd name="connsiteX5602" fmla="*/ 2601754 w 6400800"/>
                <a:gd name="connsiteY5602" fmla="*/ 153829 h 514350"/>
                <a:gd name="connsiteX5603" fmla="*/ 2603659 w 6400800"/>
                <a:gd name="connsiteY5603" fmla="*/ 173831 h 514350"/>
                <a:gd name="connsiteX5604" fmla="*/ 2590324 w 6400800"/>
                <a:gd name="connsiteY5604" fmla="*/ 210979 h 514350"/>
                <a:gd name="connsiteX5605" fmla="*/ 2586514 w 6400800"/>
                <a:gd name="connsiteY5605" fmla="*/ 187166 h 514350"/>
                <a:gd name="connsiteX5606" fmla="*/ 2586514 w 6400800"/>
                <a:gd name="connsiteY5606" fmla="*/ 186214 h 514350"/>
                <a:gd name="connsiteX5607" fmla="*/ 2584609 w 6400800"/>
                <a:gd name="connsiteY5607" fmla="*/ 408146 h 514350"/>
                <a:gd name="connsiteX5608" fmla="*/ 2584609 w 6400800"/>
                <a:gd name="connsiteY5608" fmla="*/ 408146 h 514350"/>
                <a:gd name="connsiteX5609" fmla="*/ 2581751 w 6400800"/>
                <a:gd name="connsiteY5609" fmla="*/ 393859 h 514350"/>
                <a:gd name="connsiteX5610" fmla="*/ 2584609 w 6400800"/>
                <a:gd name="connsiteY5610" fmla="*/ 408146 h 514350"/>
                <a:gd name="connsiteX5611" fmla="*/ 2580799 w 6400800"/>
                <a:gd name="connsiteY5611" fmla="*/ 199549 h 514350"/>
                <a:gd name="connsiteX5612" fmla="*/ 2581751 w 6400800"/>
                <a:gd name="connsiteY5612" fmla="*/ 228124 h 514350"/>
                <a:gd name="connsiteX5613" fmla="*/ 2578894 w 6400800"/>
                <a:gd name="connsiteY5613" fmla="*/ 231934 h 514350"/>
                <a:gd name="connsiteX5614" fmla="*/ 2575084 w 6400800"/>
                <a:gd name="connsiteY5614" fmla="*/ 236696 h 514350"/>
                <a:gd name="connsiteX5615" fmla="*/ 2573179 w 6400800"/>
                <a:gd name="connsiteY5615" fmla="*/ 233839 h 514350"/>
                <a:gd name="connsiteX5616" fmla="*/ 2572226 w 6400800"/>
                <a:gd name="connsiteY5616" fmla="*/ 229076 h 514350"/>
                <a:gd name="connsiteX5617" fmla="*/ 2571274 w 6400800"/>
                <a:gd name="connsiteY5617" fmla="*/ 219551 h 514350"/>
                <a:gd name="connsiteX5618" fmla="*/ 2580799 w 6400800"/>
                <a:gd name="connsiteY5618" fmla="*/ 199549 h 514350"/>
                <a:gd name="connsiteX5619" fmla="*/ 2569369 w 6400800"/>
                <a:gd name="connsiteY5619" fmla="*/ 320516 h 514350"/>
                <a:gd name="connsiteX5620" fmla="*/ 2570321 w 6400800"/>
                <a:gd name="connsiteY5620" fmla="*/ 327184 h 514350"/>
                <a:gd name="connsiteX5621" fmla="*/ 2571274 w 6400800"/>
                <a:gd name="connsiteY5621" fmla="*/ 330041 h 514350"/>
                <a:gd name="connsiteX5622" fmla="*/ 2563654 w 6400800"/>
                <a:gd name="connsiteY5622" fmla="*/ 345281 h 514350"/>
                <a:gd name="connsiteX5623" fmla="*/ 2562701 w 6400800"/>
                <a:gd name="connsiteY5623" fmla="*/ 342424 h 514350"/>
                <a:gd name="connsiteX5624" fmla="*/ 2569369 w 6400800"/>
                <a:gd name="connsiteY5624" fmla="*/ 320516 h 514350"/>
                <a:gd name="connsiteX5625" fmla="*/ 2556034 w 6400800"/>
                <a:gd name="connsiteY5625" fmla="*/ 262414 h 514350"/>
                <a:gd name="connsiteX5626" fmla="*/ 2559844 w 6400800"/>
                <a:gd name="connsiteY5626" fmla="*/ 251936 h 514350"/>
                <a:gd name="connsiteX5627" fmla="*/ 2560796 w 6400800"/>
                <a:gd name="connsiteY5627" fmla="*/ 257651 h 514350"/>
                <a:gd name="connsiteX5628" fmla="*/ 2559844 w 6400800"/>
                <a:gd name="connsiteY5628" fmla="*/ 259556 h 514350"/>
                <a:gd name="connsiteX5629" fmla="*/ 2554129 w 6400800"/>
                <a:gd name="connsiteY5629" fmla="*/ 269081 h 514350"/>
                <a:gd name="connsiteX5630" fmla="*/ 2556034 w 6400800"/>
                <a:gd name="connsiteY5630" fmla="*/ 262414 h 514350"/>
                <a:gd name="connsiteX5631" fmla="*/ 2561749 w 6400800"/>
                <a:gd name="connsiteY5631" fmla="*/ 276701 h 514350"/>
                <a:gd name="connsiteX5632" fmla="*/ 2562701 w 6400800"/>
                <a:gd name="connsiteY5632" fmla="*/ 274796 h 514350"/>
                <a:gd name="connsiteX5633" fmla="*/ 2564606 w 6400800"/>
                <a:gd name="connsiteY5633" fmla="*/ 287179 h 514350"/>
                <a:gd name="connsiteX5634" fmla="*/ 2557939 w 6400800"/>
                <a:gd name="connsiteY5634" fmla="*/ 309086 h 514350"/>
                <a:gd name="connsiteX5635" fmla="*/ 2556034 w 6400800"/>
                <a:gd name="connsiteY5635" fmla="*/ 313849 h 514350"/>
                <a:gd name="connsiteX5636" fmla="*/ 2553176 w 6400800"/>
                <a:gd name="connsiteY5636" fmla="*/ 296704 h 514350"/>
                <a:gd name="connsiteX5637" fmla="*/ 2561749 w 6400800"/>
                <a:gd name="connsiteY5637" fmla="*/ 276701 h 514350"/>
                <a:gd name="connsiteX5638" fmla="*/ 2538889 w 6400800"/>
                <a:gd name="connsiteY5638" fmla="*/ 252889 h 514350"/>
                <a:gd name="connsiteX5639" fmla="*/ 2540794 w 6400800"/>
                <a:gd name="connsiteY5639" fmla="*/ 242411 h 514350"/>
                <a:gd name="connsiteX5640" fmla="*/ 2542699 w 6400800"/>
                <a:gd name="connsiteY5640" fmla="*/ 238601 h 514350"/>
                <a:gd name="connsiteX5641" fmla="*/ 2544604 w 6400800"/>
                <a:gd name="connsiteY5641" fmla="*/ 233839 h 514350"/>
                <a:gd name="connsiteX5642" fmla="*/ 2543651 w 6400800"/>
                <a:gd name="connsiteY5642" fmla="*/ 248126 h 514350"/>
                <a:gd name="connsiteX5643" fmla="*/ 2542699 w 6400800"/>
                <a:gd name="connsiteY5643" fmla="*/ 257651 h 514350"/>
                <a:gd name="connsiteX5644" fmla="*/ 2537936 w 6400800"/>
                <a:gd name="connsiteY5644" fmla="*/ 268129 h 514350"/>
                <a:gd name="connsiteX5645" fmla="*/ 2538889 w 6400800"/>
                <a:gd name="connsiteY5645" fmla="*/ 252889 h 514350"/>
                <a:gd name="connsiteX5646" fmla="*/ 2521744 w 6400800"/>
                <a:gd name="connsiteY5646" fmla="*/ 475774 h 514350"/>
                <a:gd name="connsiteX5647" fmla="*/ 2522696 w 6400800"/>
                <a:gd name="connsiteY5647" fmla="*/ 484346 h 514350"/>
                <a:gd name="connsiteX5648" fmla="*/ 2520791 w 6400800"/>
                <a:gd name="connsiteY5648" fmla="*/ 479584 h 514350"/>
                <a:gd name="connsiteX5649" fmla="*/ 2521744 w 6400800"/>
                <a:gd name="connsiteY5649" fmla="*/ 475774 h 514350"/>
                <a:gd name="connsiteX5650" fmla="*/ 2514124 w 6400800"/>
                <a:gd name="connsiteY5650" fmla="*/ 323374 h 514350"/>
                <a:gd name="connsiteX5651" fmla="*/ 2514124 w 6400800"/>
                <a:gd name="connsiteY5651" fmla="*/ 323374 h 514350"/>
                <a:gd name="connsiteX5652" fmla="*/ 2513171 w 6400800"/>
                <a:gd name="connsiteY5652" fmla="*/ 328136 h 514350"/>
                <a:gd name="connsiteX5653" fmla="*/ 2513171 w 6400800"/>
                <a:gd name="connsiteY5653" fmla="*/ 329089 h 514350"/>
                <a:gd name="connsiteX5654" fmla="*/ 2514124 w 6400800"/>
                <a:gd name="connsiteY5654" fmla="*/ 323374 h 514350"/>
                <a:gd name="connsiteX5655" fmla="*/ 2509361 w 6400800"/>
                <a:gd name="connsiteY5655" fmla="*/ 300514 h 514350"/>
                <a:gd name="connsiteX5656" fmla="*/ 2508409 w 6400800"/>
                <a:gd name="connsiteY5656" fmla="*/ 302419 h 514350"/>
                <a:gd name="connsiteX5657" fmla="*/ 2508409 w 6400800"/>
                <a:gd name="connsiteY5657" fmla="*/ 302419 h 514350"/>
                <a:gd name="connsiteX5658" fmla="*/ 2507456 w 6400800"/>
                <a:gd name="connsiteY5658" fmla="*/ 294799 h 514350"/>
                <a:gd name="connsiteX5659" fmla="*/ 2509361 w 6400800"/>
                <a:gd name="connsiteY5659" fmla="*/ 300514 h 514350"/>
                <a:gd name="connsiteX5660" fmla="*/ 2496979 w 6400800"/>
                <a:gd name="connsiteY5660" fmla="*/ 292894 h 514350"/>
                <a:gd name="connsiteX5661" fmla="*/ 2497931 w 6400800"/>
                <a:gd name="connsiteY5661" fmla="*/ 290036 h 514350"/>
                <a:gd name="connsiteX5662" fmla="*/ 2496979 w 6400800"/>
                <a:gd name="connsiteY5662" fmla="*/ 290989 h 514350"/>
                <a:gd name="connsiteX5663" fmla="*/ 2497931 w 6400800"/>
                <a:gd name="connsiteY5663" fmla="*/ 284321 h 514350"/>
                <a:gd name="connsiteX5664" fmla="*/ 2498884 w 6400800"/>
                <a:gd name="connsiteY5664" fmla="*/ 269081 h 514350"/>
                <a:gd name="connsiteX5665" fmla="*/ 2498884 w 6400800"/>
                <a:gd name="connsiteY5665" fmla="*/ 266224 h 514350"/>
                <a:gd name="connsiteX5666" fmla="*/ 2502694 w 6400800"/>
                <a:gd name="connsiteY5666" fmla="*/ 277654 h 514350"/>
                <a:gd name="connsiteX5667" fmla="*/ 2502694 w 6400800"/>
                <a:gd name="connsiteY5667" fmla="*/ 283369 h 514350"/>
                <a:gd name="connsiteX5668" fmla="*/ 2501741 w 6400800"/>
                <a:gd name="connsiteY5668" fmla="*/ 302419 h 514350"/>
                <a:gd name="connsiteX5669" fmla="*/ 2501741 w 6400800"/>
                <a:gd name="connsiteY5669" fmla="*/ 313849 h 514350"/>
                <a:gd name="connsiteX5670" fmla="*/ 2500789 w 6400800"/>
                <a:gd name="connsiteY5670" fmla="*/ 325279 h 514350"/>
                <a:gd name="connsiteX5671" fmla="*/ 2500789 w 6400800"/>
                <a:gd name="connsiteY5671" fmla="*/ 326231 h 514350"/>
                <a:gd name="connsiteX5672" fmla="*/ 2499836 w 6400800"/>
                <a:gd name="connsiteY5672" fmla="*/ 315754 h 514350"/>
                <a:gd name="connsiteX5673" fmla="*/ 2499836 w 6400800"/>
                <a:gd name="connsiteY5673" fmla="*/ 310039 h 514350"/>
                <a:gd name="connsiteX5674" fmla="*/ 2500789 w 6400800"/>
                <a:gd name="connsiteY5674" fmla="*/ 297656 h 514350"/>
                <a:gd name="connsiteX5675" fmla="*/ 2500789 w 6400800"/>
                <a:gd name="connsiteY5675" fmla="*/ 286226 h 514350"/>
                <a:gd name="connsiteX5676" fmla="*/ 2496979 w 6400800"/>
                <a:gd name="connsiteY5676" fmla="*/ 292894 h 514350"/>
                <a:gd name="connsiteX5677" fmla="*/ 2496979 w 6400800"/>
                <a:gd name="connsiteY5677" fmla="*/ 292894 h 514350"/>
                <a:gd name="connsiteX5678" fmla="*/ 2449354 w 6400800"/>
                <a:gd name="connsiteY5678" fmla="*/ 334804 h 514350"/>
                <a:gd name="connsiteX5679" fmla="*/ 2447449 w 6400800"/>
                <a:gd name="connsiteY5679" fmla="*/ 328136 h 514350"/>
                <a:gd name="connsiteX5680" fmla="*/ 2450306 w 6400800"/>
                <a:gd name="connsiteY5680" fmla="*/ 321469 h 514350"/>
                <a:gd name="connsiteX5681" fmla="*/ 2450306 w 6400800"/>
                <a:gd name="connsiteY5681" fmla="*/ 322421 h 514350"/>
                <a:gd name="connsiteX5682" fmla="*/ 2451259 w 6400800"/>
                <a:gd name="connsiteY5682" fmla="*/ 324326 h 514350"/>
                <a:gd name="connsiteX5683" fmla="*/ 2449354 w 6400800"/>
                <a:gd name="connsiteY5683" fmla="*/ 334804 h 514350"/>
                <a:gd name="connsiteX5684" fmla="*/ 2450306 w 6400800"/>
                <a:gd name="connsiteY5684" fmla="*/ 254794 h 514350"/>
                <a:gd name="connsiteX5685" fmla="*/ 2451259 w 6400800"/>
                <a:gd name="connsiteY5685" fmla="*/ 251936 h 514350"/>
                <a:gd name="connsiteX5686" fmla="*/ 2451259 w 6400800"/>
                <a:gd name="connsiteY5686" fmla="*/ 250984 h 514350"/>
                <a:gd name="connsiteX5687" fmla="*/ 2451259 w 6400800"/>
                <a:gd name="connsiteY5687" fmla="*/ 251936 h 514350"/>
                <a:gd name="connsiteX5688" fmla="*/ 2450306 w 6400800"/>
                <a:gd name="connsiteY5688" fmla="*/ 254794 h 514350"/>
                <a:gd name="connsiteX5689" fmla="*/ 2452211 w 6400800"/>
                <a:gd name="connsiteY5689" fmla="*/ 251936 h 514350"/>
                <a:gd name="connsiteX5690" fmla="*/ 2451259 w 6400800"/>
                <a:gd name="connsiteY5690" fmla="*/ 250984 h 514350"/>
                <a:gd name="connsiteX5691" fmla="*/ 2456021 w 6400800"/>
                <a:gd name="connsiteY5691" fmla="*/ 238601 h 514350"/>
                <a:gd name="connsiteX5692" fmla="*/ 2460784 w 6400800"/>
                <a:gd name="connsiteY5692" fmla="*/ 231934 h 514350"/>
                <a:gd name="connsiteX5693" fmla="*/ 2459831 w 6400800"/>
                <a:gd name="connsiteY5693" fmla="*/ 235744 h 514350"/>
                <a:gd name="connsiteX5694" fmla="*/ 2456021 w 6400800"/>
                <a:gd name="connsiteY5694" fmla="*/ 248126 h 514350"/>
                <a:gd name="connsiteX5695" fmla="*/ 2452211 w 6400800"/>
                <a:gd name="connsiteY5695" fmla="*/ 251936 h 514350"/>
                <a:gd name="connsiteX5696" fmla="*/ 2457926 w 6400800"/>
                <a:gd name="connsiteY5696" fmla="*/ 266224 h 514350"/>
                <a:gd name="connsiteX5697" fmla="*/ 2456974 w 6400800"/>
                <a:gd name="connsiteY5697" fmla="*/ 268129 h 514350"/>
                <a:gd name="connsiteX5698" fmla="*/ 2457926 w 6400800"/>
                <a:gd name="connsiteY5698" fmla="*/ 266224 h 514350"/>
                <a:gd name="connsiteX5699" fmla="*/ 2457926 w 6400800"/>
                <a:gd name="connsiteY5699" fmla="*/ 266224 h 514350"/>
                <a:gd name="connsiteX5700" fmla="*/ 2457926 w 6400800"/>
                <a:gd name="connsiteY5700" fmla="*/ 374809 h 514350"/>
                <a:gd name="connsiteX5701" fmla="*/ 2456021 w 6400800"/>
                <a:gd name="connsiteY5701" fmla="*/ 367189 h 514350"/>
                <a:gd name="connsiteX5702" fmla="*/ 2456021 w 6400800"/>
                <a:gd name="connsiteY5702" fmla="*/ 362426 h 514350"/>
                <a:gd name="connsiteX5703" fmla="*/ 2456021 w 6400800"/>
                <a:gd name="connsiteY5703" fmla="*/ 344329 h 514350"/>
                <a:gd name="connsiteX5704" fmla="*/ 2458879 w 6400800"/>
                <a:gd name="connsiteY5704" fmla="*/ 354806 h 514350"/>
                <a:gd name="connsiteX5705" fmla="*/ 2457926 w 6400800"/>
                <a:gd name="connsiteY5705" fmla="*/ 374809 h 514350"/>
                <a:gd name="connsiteX5706" fmla="*/ 2456974 w 6400800"/>
                <a:gd name="connsiteY5706" fmla="*/ 308134 h 514350"/>
                <a:gd name="connsiteX5707" fmla="*/ 2456974 w 6400800"/>
                <a:gd name="connsiteY5707" fmla="*/ 305276 h 514350"/>
                <a:gd name="connsiteX5708" fmla="*/ 2457926 w 6400800"/>
                <a:gd name="connsiteY5708" fmla="*/ 302419 h 514350"/>
                <a:gd name="connsiteX5709" fmla="*/ 2459831 w 6400800"/>
                <a:gd name="connsiteY5709" fmla="*/ 313849 h 514350"/>
                <a:gd name="connsiteX5710" fmla="*/ 2460784 w 6400800"/>
                <a:gd name="connsiteY5710" fmla="*/ 317659 h 514350"/>
                <a:gd name="connsiteX5711" fmla="*/ 2456974 w 6400800"/>
                <a:gd name="connsiteY5711" fmla="*/ 308134 h 514350"/>
                <a:gd name="connsiteX5712" fmla="*/ 2458879 w 6400800"/>
                <a:gd name="connsiteY5712" fmla="*/ 290036 h 514350"/>
                <a:gd name="connsiteX5713" fmla="*/ 2459831 w 6400800"/>
                <a:gd name="connsiteY5713" fmla="*/ 287179 h 514350"/>
                <a:gd name="connsiteX5714" fmla="*/ 2463641 w 6400800"/>
                <a:gd name="connsiteY5714" fmla="*/ 277654 h 514350"/>
                <a:gd name="connsiteX5715" fmla="*/ 2465546 w 6400800"/>
                <a:gd name="connsiteY5715" fmla="*/ 281464 h 514350"/>
                <a:gd name="connsiteX5716" fmla="*/ 2458879 w 6400800"/>
                <a:gd name="connsiteY5716" fmla="*/ 290036 h 514350"/>
                <a:gd name="connsiteX5717" fmla="*/ 2464594 w 6400800"/>
                <a:gd name="connsiteY5717" fmla="*/ 305276 h 514350"/>
                <a:gd name="connsiteX5718" fmla="*/ 2460784 w 6400800"/>
                <a:gd name="connsiteY5718" fmla="*/ 295751 h 514350"/>
                <a:gd name="connsiteX5719" fmla="*/ 2462689 w 6400800"/>
                <a:gd name="connsiteY5719" fmla="*/ 292894 h 514350"/>
                <a:gd name="connsiteX5720" fmla="*/ 2466499 w 6400800"/>
                <a:gd name="connsiteY5720" fmla="*/ 285274 h 514350"/>
                <a:gd name="connsiteX5721" fmla="*/ 2464594 w 6400800"/>
                <a:gd name="connsiteY5721" fmla="*/ 305276 h 514350"/>
                <a:gd name="connsiteX5722" fmla="*/ 2467451 w 6400800"/>
                <a:gd name="connsiteY5722" fmla="*/ 274796 h 514350"/>
                <a:gd name="connsiteX5723" fmla="*/ 2466499 w 6400800"/>
                <a:gd name="connsiteY5723" fmla="*/ 272891 h 514350"/>
                <a:gd name="connsiteX5724" fmla="*/ 2468404 w 6400800"/>
                <a:gd name="connsiteY5724" fmla="*/ 268129 h 514350"/>
                <a:gd name="connsiteX5725" fmla="*/ 2467451 w 6400800"/>
                <a:gd name="connsiteY5725" fmla="*/ 274796 h 514350"/>
                <a:gd name="connsiteX5726" fmla="*/ 2471261 w 6400800"/>
                <a:gd name="connsiteY5726" fmla="*/ 233839 h 514350"/>
                <a:gd name="connsiteX5727" fmla="*/ 2470309 w 6400800"/>
                <a:gd name="connsiteY5727" fmla="*/ 245269 h 514350"/>
                <a:gd name="connsiteX5728" fmla="*/ 2469356 w 6400800"/>
                <a:gd name="connsiteY5728" fmla="*/ 246221 h 514350"/>
                <a:gd name="connsiteX5729" fmla="*/ 2459831 w 6400800"/>
                <a:gd name="connsiteY5729" fmla="*/ 263366 h 514350"/>
                <a:gd name="connsiteX5730" fmla="*/ 2458879 w 6400800"/>
                <a:gd name="connsiteY5730" fmla="*/ 261461 h 514350"/>
                <a:gd name="connsiteX5731" fmla="*/ 2461736 w 6400800"/>
                <a:gd name="connsiteY5731" fmla="*/ 247174 h 514350"/>
                <a:gd name="connsiteX5732" fmla="*/ 2462689 w 6400800"/>
                <a:gd name="connsiteY5732" fmla="*/ 245269 h 514350"/>
                <a:gd name="connsiteX5733" fmla="*/ 2472214 w 6400800"/>
                <a:gd name="connsiteY5733" fmla="*/ 231934 h 514350"/>
                <a:gd name="connsiteX5734" fmla="*/ 2472214 w 6400800"/>
                <a:gd name="connsiteY5734" fmla="*/ 231934 h 514350"/>
                <a:gd name="connsiteX5735" fmla="*/ 2473166 w 6400800"/>
                <a:gd name="connsiteY5735" fmla="*/ 240506 h 514350"/>
                <a:gd name="connsiteX5736" fmla="*/ 2472214 w 6400800"/>
                <a:gd name="connsiteY5736" fmla="*/ 242411 h 514350"/>
                <a:gd name="connsiteX5737" fmla="*/ 2471261 w 6400800"/>
                <a:gd name="connsiteY5737" fmla="*/ 233839 h 514350"/>
                <a:gd name="connsiteX5738" fmla="*/ 2467451 w 6400800"/>
                <a:gd name="connsiteY5738" fmla="*/ 211931 h 514350"/>
                <a:gd name="connsiteX5739" fmla="*/ 2465546 w 6400800"/>
                <a:gd name="connsiteY5739" fmla="*/ 213836 h 514350"/>
                <a:gd name="connsiteX5740" fmla="*/ 2466499 w 6400800"/>
                <a:gd name="connsiteY5740" fmla="*/ 211931 h 514350"/>
                <a:gd name="connsiteX5741" fmla="*/ 2468404 w 6400800"/>
                <a:gd name="connsiteY5741" fmla="*/ 208121 h 514350"/>
                <a:gd name="connsiteX5742" fmla="*/ 2468404 w 6400800"/>
                <a:gd name="connsiteY5742" fmla="*/ 210979 h 514350"/>
                <a:gd name="connsiteX5743" fmla="*/ 2467451 w 6400800"/>
                <a:gd name="connsiteY5743" fmla="*/ 211931 h 514350"/>
                <a:gd name="connsiteX5744" fmla="*/ 2467451 w 6400800"/>
                <a:gd name="connsiteY5744" fmla="*/ 211931 h 514350"/>
                <a:gd name="connsiteX5745" fmla="*/ 2467451 w 6400800"/>
                <a:gd name="connsiteY5745" fmla="*/ 211931 h 514350"/>
                <a:gd name="connsiteX5746" fmla="*/ 2470309 w 6400800"/>
                <a:gd name="connsiteY5746" fmla="*/ 218599 h 514350"/>
                <a:gd name="connsiteX5747" fmla="*/ 2472214 w 6400800"/>
                <a:gd name="connsiteY5747" fmla="*/ 230029 h 514350"/>
                <a:gd name="connsiteX5748" fmla="*/ 2472214 w 6400800"/>
                <a:gd name="connsiteY5748" fmla="*/ 230029 h 514350"/>
                <a:gd name="connsiteX5749" fmla="*/ 2463641 w 6400800"/>
                <a:gd name="connsiteY5749" fmla="*/ 237649 h 514350"/>
                <a:gd name="connsiteX5750" fmla="*/ 2464594 w 6400800"/>
                <a:gd name="connsiteY5750" fmla="*/ 234791 h 514350"/>
                <a:gd name="connsiteX5751" fmla="*/ 2466499 w 6400800"/>
                <a:gd name="connsiteY5751" fmla="*/ 224314 h 514350"/>
                <a:gd name="connsiteX5752" fmla="*/ 2466499 w 6400800"/>
                <a:gd name="connsiteY5752" fmla="*/ 224314 h 514350"/>
                <a:gd name="connsiteX5753" fmla="*/ 2470309 w 6400800"/>
                <a:gd name="connsiteY5753" fmla="*/ 218599 h 514350"/>
                <a:gd name="connsiteX5754" fmla="*/ 2477929 w 6400800"/>
                <a:gd name="connsiteY5754" fmla="*/ 223361 h 514350"/>
                <a:gd name="connsiteX5755" fmla="*/ 2475071 w 6400800"/>
                <a:gd name="connsiteY5755" fmla="*/ 212884 h 514350"/>
                <a:gd name="connsiteX5756" fmla="*/ 2477929 w 6400800"/>
                <a:gd name="connsiteY5756" fmla="*/ 209074 h 514350"/>
                <a:gd name="connsiteX5757" fmla="*/ 2477929 w 6400800"/>
                <a:gd name="connsiteY5757" fmla="*/ 217646 h 514350"/>
                <a:gd name="connsiteX5758" fmla="*/ 2477929 w 6400800"/>
                <a:gd name="connsiteY5758" fmla="*/ 223361 h 514350"/>
                <a:gd name="connsiteX5759" fmla="*/ 2473166 w 6400800"/>
                <a:gd name="connsiteY5759" fmla="*/ 206216 h 514350"/>
                <a:gd name="connsiteX5760" fmla="*/ 2472214 w 6400800"/>
                <a:gd name="connsiteY5760" fmla="*/ 203359 h 514350"/>
                <a:gd name="connsiteX5761" fmla="*/ 2471261 w 6400800"/>
                <a:gd name="connsiteY5761" fmla="*/ 201454 h 514350"/>
                <a:gd name="connsiteX5762" fmla="*/ 2474119 w 6400800"/>
                <a:gd name="connsiteY5762" fmla="*/ 195739 h 514350"/>
                <a:gd name="connsiteX5763" fmla="*/ 2477929 w 6400800"/>
                <a:gd name="connsiteY5763" fmla="*/ 189071 h 514350"/>
                <a:gd name="connsiteX5764" fmla="*/ 2477929 w 6400800"/>
                <a:gd name="connsiteY5764" fmla="*/ 201454 h 514350"/>
                <a:gd name="connsiteX5765" fmla="*/ 2473166 w 6400800"/>
                <a:gd name="connsiteY5765" fmla="*/ 206216 h 514350"/>
                <a:gd name="connsiteX5766" fmla="*/ 2473166 w 6400800"/>
                <a:gd name="connsiteY5766" fmla="*/ 255746 h 514350"/>
                <a:gd name="connsiteX5767" fmla="*/ 2475071 w 6400800"/>
                <a:gd name="connsiteY5767" fmla="*/ 251936 h 514350"/>
                <a:gd name="connsiteX5768" fmla="*/ 2476976 w 6400800"/>
                <a:gd name="connsiteY5768" fmla="*/ 266224 h 514350"/>
                <a:gd name="connsiteX5769" fmla="*/ 2479834 w 6400800"/>
                <a:gd name="connsiteY5769" fmla="*/ 292894 h 514350"/>
                <a:gd name="connsiteX5770" fmla="*/ 2479834 w 6400800"/>
                <a:gd name="connsiteY5770" fmla="*/ 296704 h 514350"/>
                <a:gd name="connsiteX5771" fmla="*/ 2479834 w 6400800"/>
                <a:gd name="connsiteY5771" fmla="*/ 295751 h 514350"/>
                <a:gd name="connsiteX5772" fmla="*/ 2475071 w 6400800"/>
                <a:gd name="connsiteY5772" fmla="*/ 288131 h 514350"/>
                <a:gd name="connsiteX5773" fmla="*/ 2473166 w 6400800"/>
                <a:gd name="connsiteY5773" fmla="*/ 255746 h 514350"/>
                <a:gd name="connsiteX5774" fmla="*/ 2481739 w 6400800"/>
                <a:gd name="connsiteY5774" fmla="*/ 324326 h 514350"/>
                <a:gd name="connsiteX5775" fmla="*/ 2480786 w 6400800"/>
                <a:gd name="connsiteY5775" fmla="*/ 326231 h 514350"/>
                <a:gd name="connsiteX5776" fmla="*/ 2476024 w 6400800"/>
                <a:gd name="connsiteY5776" fmla="*/ 340519 h 514350"/>
                <a:gd name="connsiteX5777" fmla="*/ 2476024 w 6400800"/>
                <a:gd name="connsiteY5777" fmla="*/ 308134 h 514350"/>
                <a:gd name="connsiteX5778" fmla="*/ 2476024 w 6400800"/>
                <a:gd name="connsiteY5778" fmla="*/ 308134 h 514350"/>
                <a:gd name="connsiteX5779" fmla="*/ 2479834 w 6400800"/>
                <a:gd name="connsiteY5779" fmla="*/ 318611 h 514350"/>
                <a:gd name="connsiteX5780" fmla="*/ 2480786 w 6400800"/>
                <a:gd name="connsiteY5780" fmla="*/ 322421 h 514350"/>
                <a:gd name="connsiteX5781" fmla="*/ 2481739 w 6400800"/>
                <a:gd name="connsiteY5781" fmla="*/ 324326 h 514350"/>
                <a:gd name="connsiteX5782" fmla="*/ 2481739 w 6400800"/>
                <a:gd name="connsiteY5782" fmla="*/ 324326 h 514350"/>
                <a:gd name="connsiteX5783" fmla="*/ 2436971 w 6400800"/>
                <a:gd name="connsiteY5783" fmla="*/ 215741 h 514350"/>
                <a:gd name="connsiteX5784" fmla="*/ 2447449 w 6400800"/>
                <a:gd name="connsiteY5784" fmla="*/ 195739 h 514350"/>
                <a:gd name="connsiteX5785" fmla="*/ 2457926 w 6400800"/>
                <a:gd name="connsiteY5785" fmla="*/ 178594 h 514350"/>
                <a:gd name="connsiteX5786" fmla="*/ 2475071 w 6400800"/>
                <a:gd name="connsiteY5786" fmla="*/ 150971 h 514350"/>
                <a:gd name="connsiteX5787" fmla="*/ 2482691 w 6400800"/>
                <a:gd name="connsiteY5787" fmla="*/ 138589 h 514350"/>
                <a:gd name="connsiteX5788" fmla="*/ 2480786 w 6400800"/>
                <a:gd name="connsiteY5788" fmla="*/ 154781 h 514350"/>
                <a:gd name="connsiteX5789" fmla="*/ 2478881 w 6400800"/>
                <a:gd name="connsiteY5789" fmla="*/ 181451 h 514350"/>
                <a:gd name="connsiteX5790" fmla="*/ 2470309 w 6400800"/>
                <a:gd name="connsiteY5790" fmla="*/ 193834 h 514350"/>
                <a:gd name="connsiteX5791" fmla="*/ 2469356 w 6400800"/>
                <a:gd name="connsiteY5791" fmla="*/ 194786 h 514350"/>
                <a:gd name="connsiteX5792" fmla="*/ 2465546 w 6400800"/>
                <a:gd name="connsiteY5792" fmla="*/ 181451 h 514350"/>
                <a:gd name="connsiteX5793" fmla="*/ 2467451 w 6400800"/>
                <a:gd name="connsiteY5793" fmla="*/ 197644 h 514350"/>
                <a:gd name="connsiteX5794" fmla="*/ 2460784 w 6400800"/>
                <a:gd name="connsiteY5794" fmla="*/ 209074 h 514350"/>
                <a:gd name="connsiteX5795" fmla="*/ 2447449 w 6400800"/>
                <a:gd name="connsiteY5795" fmla="*/ 234791 h 514350"/>
                <a:gd name="connsiteX5796" fmla="*/ 2436971 w 6400800"/>
                <a:gd name="connsiteY5796" fmla="*/ 247174 h 514350"/>
                <a:gd name="connsiteX5797" fmla="*/ 2436019 w 6400800"/>
                <a:gd name="connsiteY5797" fmla="*/ 249079 h 514350"/>
                <a:gd name="connsiteX5798" fmla="*/ 2436019 w 6400800"/>
                <a:gd name="connsiteY5798" fmla="*/ 249079 h 514350"/>
                <a:gd name="connsiteX5799" fmla="*/ 2433161 w 6400800"/>
                <a:gd name="connsiteY5799" fmla="*/ 225266 h 514350"/>
                <a:gd name="connsiteX5800" fmla="*/ 2436971 w 6400800"/>
                <a:gd name="connsiteY5800" fmla="*/ 215741 h 514350"/>
                <a:gd name="connsiteX5801" fmla="*/ 2416016 w 6400800"/>
                <a:gd name="connsiteY5801" fmla="*/ 313849 h 514350"/>
                <a:gd name="connsiteX5802" fmla="*/ 2416016 w 6400800"/>
                <a:gd name="connsiteY5802" fmla="*/ 313849 h 514350"/>
                <a:gd name="connsiteX5803" fmla="*/ 2413159 w 6400800"/>
                <a:gd name="connsiteY5803" fmla="*/ 304324 h 514350"/>
                <a:gd name="connsiteX5804" fmla="*/ 2415064 w 6400800"/>
                <a:gd name="connsiteY5804" fmla="*/ 301466 h 514350"/>
                <a:gd name="connsiteX5805" fmla="*/ 2415064 w 6400800"/>
                <a:gd name="connsiteY5805" fmla="*/ 303371 h 514350"/>
                <a:gd name="connsiteX5806" fmla="*/ 2416016 w 6400800"/>
                <a:gd name="connsiteY5806" fmla="*/ 313849 h 514350"/>
                <a:gd name="connsiteX5807" fmla="*/ 2416016 w 6400800"/>
                <a:gd name="connsiteY5807" fmla="*/ 313849 h 514350"/>
                <a:gd name="connsiteX5808" fmla="*/ 2422684 w 6400800"/>
                <a:gd name="connsiteY5808" fmla="*/ 288131 h 514350"/>
                <a:gd name="connsiteX5809" fmla="*/ 2422684 w 6400800"/>
                <a:gd name="connsiteY5809" fmla="*/ 293846 h 514350"/>
                <a:gd name="connsiteX5810" fmla="*/ 2420779 w 6400800"/>
                <a:gd name="connsiteY5810" fmla="*/ 299561 h 514350"/>
                <a:gd name="connsiteX5811" fmla="*/ 2418874 w 6400800"/>
                <a:gd name="connsiteY5811" fmla="*/ 293846 h 514350"/>
                <a:gd name="connsiteX5812" fmla="*/ 2420779 w 6400800"/>
                <a:gd name="connsiteY5812" fmla="*/ 290989 h 514350"/>
                <a:gd name="connsiteX5813" fmla="*/ 2422684 w 6400800"/>
                <a:gd name="connsiteY5813" fmla="*/ 288131 h 514350"/>
                <a:gd name="connsiteX5814" fmla="*/ 2414111 w 6400800"/>
                <a:gd name="connsiteY5814" fmla="*/ 259556 h 514350"/>
                <a:gd name="connsiteX5815" fmla="*/ 2419826 w 6400800"/>
                <a:gd name="connsiteY5815" fmla="*/ 248126 h 514350"/>
                <a:gd name="connsiteX5816" fmla="*/ 2420779 w 6400800"/>
                <a:gd name="connsiteY5816" fmla="*/ 266224 h 514350"/>
                <a:gd name="connsiteX5817" fmla="*/ 2412206 w 6400800"/>
                <a:gd name="connsiteY5817" fmla="*/ 277654 h 514350"/>
                <a:gd name="connsiteX5818" fmla="*/ 2410301 w 6400800"/>
                <a:gd name="connsiteY5818" fmla="*/ 273844 h 514350"/>
                <a:gd name="connsiteX5819" fmla="*/ 2408396 w 6400800"/>
                <a:gd name="connsiteY5819" fmla="*/ 270986 h 514350"/>
                <a:gd name="connsiteX5820" fmla="*/ 2414111 w 6400800"/>
                <a:gd name="connsiteY5820" fmla="*/ 259556 h 514350"/>
                <a:gd name="connsiteX5821" fmla="*/ 2406491 w 6400800"/>
                <a:gd name="connsiteY5821" fmla="*/ 275749 h 514350"/>
                <a:gd name="connsiteX5822" fmla="*/ 2406491 w 6400800"/>
                <a:gd name="connsiteY5822" fmla="*/ 275749 h 514350"/>
                <a:gd name="connsiteX5823" fmla="*/ 2409349 w 6400800"/>
                <a:gd name="connsiteY5823" fmla="*/ 282416 h 514350"/>
                <a:gd name="connsiteX5824" fmla="*/ 2406491 w 6400800"/>
                <a:gd name="connsiteY5824" fmla="*/ 286226 h 514350"/>
                <a:gd name="connsiteX5825" fmla="*/ 2404586 w 6400800"/>
                <a:gd name="connsiteY5825" fmla="*/ 280511 h 514350"/>
                <a:gd name="connsiteX5826" fmla="*/ 2406491 w 6400800"/>
                <a:gd name="connsiteY5826" fmla="*/ 275749 h 514350"/>
                <a:gd name="connsiteX5827" fmla="*/ 2405539 w 6400800"/>
                <a:gd name="connsiteY5827" fmla="*/ 317659 h 514350"/>
                <a:gd name="connsiteX5828" fmla="*/ 2408396 w 6400800"/>
                <a:gd name="connsiteY5828" fmla="*/ 328136 h 514350"/>
                <a:gd name="connsiteX5829" fmla="*/ 2408396 w 6400800"/>
                <a:gd name="connsiteY5829" fmla="*/ 334804 h 514350"/>
                <a:gd name="connsiteX5830" fmla="*/ 2407444 w 6400800"/>
                <a:gd name="connsiteY5830" fmla="*/ 332899 h 514350"/>
                <a:gd name="connsiteX5831" fmla="*/ 2407444 w 6400800"/>
                <a:gd name="connsiteY5831" fmla="*/ 340519 h 514350"/>
                <a:gd name="connsiteX5832" fmla="*/ 2404586 w 6400800"/>
                <a:gd name="connsiteY5832" fmla="*/ 350996 h 514350"/>
                <a:gd name="connsiteX5833" fmla="*/ 2400776 w 6400800"/>
                <a:gd name="connsiteY5833" fmla="*/ 364331 h 514350"/>
                <a:gd name="connsiteX5834" fmla="*/ 2398871 w 6400800"/>
                <a:gd name="connsiteY5834" fmla="*/ 343376 h 514350"/>
                <a:gd name="connsiteX5835" fmla="*/ 2397919 w 6400800"/>
                <a:gd name="connsiteY5835" fmla="*/ 333851 h 514350"/>
                <a:gd name="connsiteX5836" fmla="*/ 2398871 w 6400800"/>
                <a:gd name="connsiteY5836" fmla="*/ 330994 h 514350"/>
                <a:gd name="connsiteX5837" fmla="*/ 2405539 w 6400800"/>
                <a:gd name="connsiteY5837" fmla="*/ 317659 h 514350"/>
                <a:gd name="connsiteX5838" fmla="*/ 2398871 w 6400800"/>
                <a:gd name="connsiteY5838" fmla="*/ 291941 h 514350"/>
                <a:gd name="connsiteX5839" fmla="*/ 2399824 w 6400800"/>
                <a:gd name="connsiteY5839" fmla="*/ 295751 h 514350"/>
                <a:gd name="connsiteX5840" fmla="*/ 2394109 w 6400800"/>
                <a:gd name="connsiteY5840" fmla="*/ 303371 h 514350"/>
                <a:gd name="connsiteX5841" fmla="*/ 2394109 w 6400800"/>
                <a:gd name="connsiteY5841" fmla="*/ 302419 h 514350"/>
                <a:gd name="connsiteX5842" fmla="*/ 2398871 w 6400800"/>
                <a:gd name="connsiteY5842" fmla="*/ 291941 h 514350"/>
                <a:gd name="connsiteX5843" fmla="*/ 2393156 w 6400800"/>
                <a:gd name="connsiteY5843" fmla="*/ 267176 h 514350"/>
                <a:gd name="connsiteX5844" fmla="*/ 2391251 w 6400800"/>
                <a:gd name="connsiteY5844" fmla="*/ 270034 h 514350"/>
                <a:gd name="connsiteX5845" fmla="*/ 2389346 w 6400800"/>
                <a:gd name="connsiteY5845" fmla="*/ 254794 h 514350"/>
                <a:gd name="connsiteX5846" fmla="*/ 2393156 w 6400800"/>
                <a:gd name="connsiteY5846" fmla="*/ 267176 h 514350"/>
                <a:gd name="connsiteX5847" fmla="*/ 2351246 w 6400800"/>
                <a:gd name="connsiteY5847" fmla="*/ 278606 h 514350"/>
                <a:gd name="connsiteX5848" fmla="*/ 2351246 w 6400800"/>
                <a:gd name="connsiteY5848" fmla="*/ 278606 h 514350"/>
                <a:gd name="connsiteX5849" fmla="*/ 2351246 w 6400800"/>
                <a:gd name="connsiteY5849" fmla="*/ 275749 h 514350"/>
                <a:gd name="connsiteX5850" fmla="*/ 2351246 w 6400800"/>
                <a:gd name="connsiteY5850" fmla="*/ 278606 h 514350"/>
                <a:gd name="connsiteX5851" fmla="*/ 2378869 w 6400800"/>
                <a:gd name="connsiteY5851" fmla="*/ 295751 h 514350"/>
                <a:gd name="connsiteX5852" fmla="*/ 2375059 w 6400800"/>
                <a:gd name="connsiteY5852" fmla="*/ 303371 h 514350"/>
                <a:gd name="connsiteX5853" fmla="*/ 2374106 w 6400800"/>
                <a:gd name="connsiteY5853" fmla="*/ 305276 h 514350"/>
                <a:gd name="connsiteX5854" fmla="*/ 2374106 w 6400800"/>
                <a:gd name="connsiteY5854" fmla="*/ 304324 h 514350"/>
                <a:gd name="connsiteX5855" fmla="*/ 2376011 w 6400800"/>
                <a:gd name="connsiteY5855" fmla="*/ 231934 h 514350"/>
                <a:gd name="connsiteX5856" fmla="*/ 2366486 w 6400800"/>
                <a:gd name="connsiteY5856" fmla="*/ 277654 h 514350"/>
                <a:gd name="connsiteX5857" fmla="*/ 2364581 w 6400800"/>
                <a:gd name="connsiteY5857" fmla="*/ 272891 h 514350"/>
                <a:gd name="connsiteX5858" fmla="*/ 2361724 w 6400800"/>
                <a:gd name="connsiteY5858" fmla="*/ 264319 h 514350"/>
                <a:gd name="connsiteX5859" fmla="*/ 2361724 w 6400800"/>
                <a:gd name="connsiteY5859" fmla="*/ 245269 h 514350"/>
                <a:gd name="connsiteX5860" fmla="*/ 2365534 w 6400800"/>
                <a:gd name="connsiteY5860" fmla="*/ 234791 h 514350"/>
                <a:gd name="connsiteX5861" fmla="*/ 2376011 w 6400800"/>
                <a:gd name="connsiteY5861" fmla="*/ 211931 h 514350"/>
                <a:gd name="connsiteX5862" fmla="*/ 2376011 w 6400800"/>
                <a:gd name="connsiteY5862" fmla="*/ 244316 h 514350"/>
                <a:gd name="connsiteX5863" fmla="*/ 2376964 w 6400800"/>
                <a:gd name="connsiteY5863" fmla="*/ 290989 h 514350"/>
                <a:gd name="connsiteX5864" fmla="*/ 2378869 w 6400800"/>
                <a:gd name="connsiteY5864" fmla="*/ 295751 h 514350"/>
                <a:gd name="connsiteX5865" fmla="*/ 2362676 w 6400800"/>
                <a:gd name="connsiteY5865" fmla="*/ 180499 h 514350"/>
                <a:gd name="connsiteX5866" fmla="*/ 2368391 w 6400800"/>
                <a:gd name="connsiteY5866" fmla="*/ 166211 h 514350"/>
                <a:gd name="connsiteX5867" fmla="*/ 2377916 w 6400800"/>
                <a:gd name="connsiteY5867" fmla="*/ 140494 h 514350"/>
                <a:gd name="connsiteX5868" fmla="*/ 2378869 w 6400800"/>
                <a:gd name="connsiteY5868" fmla="*/ 143351 h 514350"/>
                <a:gd name="connsiteX5869" fmla="*/ 2378869 w 6400800"/>
                <a:gd name="connsiteY5869" fmla="*/ 152876 h 514350"/>
                <a:gd name="connsiteX5870" fmla="*/ 2377916 w 6400800"/>
                <a:gd name="connsiteY5870" fmla="*/ 147161 h 514350"/>
                <a:gd name="connsiteX5871" fmla="*/ 2377916 w 6400800"/>
                <a:gd name="connsiteY5871" fmla="*/ 173831 h 514350"/>
                <a:gd name="connsiteX5872" fmla="*/ 2377916 w 6400800"/>
                <a:gd name="connsiteY5872" fmla="*/ 203359 h 514350"/>
                <a:gd name="connsiteX5873" fmla="*/ 2362676 w 6400800"/>
                <a:gd name="connsiteY5873" fmla="*/ 227171 h 514350"/>
                <a:gd name="connsiteX5874" fmla="*/ 2360771 w 6400800"/>
                <a:gd name="connsiteY5874" fmla="*/ 185261 h 514350"/>
                <a:gd name="connsiteX5875" fmla="*/ 2362676 w 6400800"/>
                <a:gd name="connsiteY5875" fmla="*/ 180499 h 514350"/>
                <a:gd name="connsiteX5876" fmla="*/ 2340769 w 6400800"/>
                <a:gd name="connsiteY5876" fmla="*/ 241459 h 514350"/>
                <a:gd name="connsiteX5877" fmla="*/ 2342674 w 6400800"/>
                <a:gd name="connsiteY5877" fmla="*/ 235744 h 514350"/>
                <a:gd name="connsiteX5878" fmla="*/ 2347436 w 6400800"/>
                <a:gd name="connsiteY5878" fmla="*/ 221456 h 514350"/>
                <a:gd name="connsiteX5879" fmla="*/ 2359819 w 6400800"/>
                <a:gd name="connsiteY5879" fmla="*/ 187166 h 514350"/>
                <a:gd name="connsiteX5880" fmla="*/ 2355056 w 6400800"/>
                <a:gd name="connsiteY5880" fmla="*/ 236696 h 514350"/>
                <a:gd name="connsiteX5881" fmla="*/ 2353151 w 6400800"/>
                <a:gd name="connsiteY5881" fmla="*/ 230029 h 514350"/>
                <a:gd name="connsiteX5882" fmla="*/ 2354104 w 6400800"/>
                <a:gd name="connsiteY5882" fmla="*/ 241459 h 514350"/>
                <a:gd name="connsiteX5883" fmla="*/ 2344579 w 6400800"/>
                <a:gd name="connsiteY5883" fmla="*/ 259556 h 514350"/>
                <a:gd name="connsiteX5884" fmla="*/ 2344579 w 6400800"/>
                <a:gd name="connsiteY5884" fmla="*/ 259556 h 514350"/>
                <a:gd name="connsiteX5885" fmla="*/ 2339816 w 6400800"/>
                <a:gd name="connsiteY5885" fmla="*/ 245269 h 514350"/>
                <a:gd name="connsiteX5886" fmla="*/ 2340769 w 6400800"/>
                <a:gd name="connsiteY5886" fmla="*/ 241459 h 514350"/>
                <a:gd name="connsiteX5887" fmla="*/ 2344579 w 6400800"/>
                <a:gd name="connsiteY5887" fmla="*/ 320516 h 514350"/>
                <a:gd name="connsiteX5888" fmla="*/ 2339816 w 6400800"/>
                <a:gd name="connsiteY5888" fmla="*/ 310991 h 514350"/>
                <a:gd name="connsiteX5889" fmla="*/ 2339816 w 6400800"/>
                <a:gd name="connsiteY5889" fmla="*/ 310039 h 514350"/>
                <a:gd name="connsiteX5890" fmla="*/ 2344579 w 6400800"/>
                <a:gd name="connsiteY5890" fmla="*/ 320516 h 514350"/>
                <a:gd name="connsiteX5891" fmla="*/ 2337911 w 6400800"/>
                <a:gd name="connsiteY5891" fmla="*/ 317659 h 514350"/>
                <a:gd name="connsiteX5892" fmla="*/ 2341721 w 6400800"/>
                <a:gd name="connsiteY5892" fmla="*/ 327184 h 514350"/>
                <a:gd name="connsiteX5893" fmla="*/ 2336959 w 6400800"/>
                <a:gd name="connsiteY5893" fmla="*/ 321469 h 514350"/>
                <a:gd name="connsiteX5894" fmla="*/ 2337911 w 6400800"/>
                <a:gd name="connsiteY5894" fmla="*/ 317659 h 514350"/>
                <a:gd name="connsiteX5895" fmla="*/ 2332196 w 6400800"/>
                <a:gd name="connsiteY5895" fmla="*/ 280511 h 514350"/>
                <a:gd name="connsiteX5896" fmla="*/ 2333149 w 6400800"/>
                <a:gd name="connsiteY5896" fmla="*/ 283369 h 514350"/>
                <a:gd name="connsiteX5897" fmla="*/ 2332196 w 6400800"/>
                <a:gd name="connsiteY5897" fmla="*/ 281464 h 514350"/>
                <a:gd name="connsiteX5898" fmla="*/ 2332196 w 6400800"/>
                <a:gd name="connsiteY5898" fmla="*/ 280511 h 514350"/>
                <a:gd name="connsiteX5899" fmla="*/ 2330291 w 6400800"/>
                <a:gd name="connsiteY5899" fmla="*/ 289084 h 514350"/>
                <a:gd name="connsiteX5900" fmla="*/ 2331244 w 6400800"/>
                <a:gd name="connsiteY5900" fmla="*/ 290989 h 514350"/>
                <a:gd name="connsiteX5901" fmla="*/ 2330291 w 6400800"/>
                <a:gd name="connsiteY5901" fmla="*/ 292894 h 514350"/>
                <a:gd name="connsiteX5902" fmla="*/ 2329339 w 6400800"/>
                <a:gd name="connsiteY5902" fmla="*/ 290989 h 514350"/>
                <a:gd name="connsiteX5903" fmla="*/ 2330291 w 6400800"/>
                <a:gd name="connsiteY5903" fmla="*/ 289084 h 514350"/>
                <a:gd name="connsiteX5904" fmla="*/ 2329339 w 6400800"/>
                <a:gd name="connsiteY5904" fmla="*/ 293846 h 514350"/>
                <a:gd name="connsiteX5905" fmla="*/ 2329339 w 6400800"/>
                <a:gd name="connsiteY5905" fmla="*/ 292894 h 514350"/>
                <a:gd name="connsiteX5906" fmla="*/ 2330291 w 6400800"/>
                <a:gd name="connsiteY5906" fmla="*/ 294799 h 514350"/>
                <a:gd name="connsiteX5907" fmla="*/ 2328386 w 6400800"/>
                <a:gd name="connsiteY5907" fmla="*/ 299561 h 514350"/>
                <a:gd name="connsiteX5908" fmla="*/ 2328386 w 6400800"/>
                <a:gd name="connsiteY5908" fmla="*/ 298609 h 514350"/>
                <a:gd name="connsiteX5909" fmla="*/ 2329339 w 6400800"/>
                <a:gd name="connsiteY5909" fmla="*/ 293846 h 514350"/>
                <a:gd name="connsiteX5910" fmla="*/ 2313146 w 6400800"/>
                <a:gd name="connsiteY5910" fmla="*/ 194786 h 514350"/>
                <a:gd name="connsiteX5911" fmla="*/ 2315051 w 6400800"/>
                <a:gd name="connsiteY5911" fmla="*/ 201454 h 514350"/>
                <a:gd name="connsiteX5912" fmla="*/ 2316004 w 6400800"/>
                <a:gd name="connsiteY5912" fmla="*/ 205264 h 514350"/>
                <a:gd name="connsiteX5913" fmla="*/ 2314099 w 6400800"/>
                <a:gd name="connsiteY5913" fmla="*/ 214789 h 514350"/>
                <a:gd name="connsiteX5914" fmla="*/ 2314099 w 6400800"/>
                <a:gd name="connsiteY5914" fmla="*/ 214789 h 514350"/>
                <a:gd name="connsiteX5915" fmla="*/ 2310289 w 6400800"/>
                <a:gd name="connsiteY5915" fmla="*/ 207169 h 514350"/>
                <a:gd name="connsiteX5916" fmla="*/ 2313146 w 6400800"/>
                <a:gd name="connsiteY5916" fmla="*/ 194786 h 514350"/>
                <a:gd name="connsiteX5917" fmla="*/ 2304574 w 6400800"/>
                <a:gd name="connsiteY5917" fmla="*/ 197644 h 514350"/>
                <a:gd name="connsiteX5918" fmla="*/ 2305526 w 6400800"/>
                <a:gd name="connsiteY5918" fmla="*/ 200501 h 514350"/>
                <a:gd name="connsiteX5919" fmla="*/ 2303621 w 6400800"/>
                <a:gd name="connsiteY5919" fmla="*/ 205264 h 514350"/>
                <a:gd name="connsiteX5920" fmla="*/ 2304574 w 6400800"/>
                <a:gd name="connsiteY5920" fmla="*/ 197644 h 514350"/>
                <a:gd name="connsiteX5921" fmla="*/ 2297906 w 6400800"/>
                <a:gd name="connsiteY5921" fmla="*/ 272891 h 514350"/>
                <a:gd name="connsiteX5922" fmla="*/ 2298859 w 6400800"/>
                <a:gd name="connsiteY5922" fmla="*/ 256699 h 514350"/>
                <a:gd name="connsiteX5923" fmla="*/ 2299811 w 6400800"/>
                <a:gd name="connsiteY5923" fmla="*/ 250984 h 514350"/>
                <a:gd name="connsiteX5924" fmla="*/ 2308384 w 6400800"/>
                <a:gd name="connsiteY5924" fmla="*/ 211931 h 514350"/>
                <a:gd name="connsiteX5925" fmla="*/ 2309336 w 6400800"/>
                <a:gd name="connsiteY5925" fmla="*/ 215741 h 514350"/>
                <a:gd name="connsiteX5926" fmla="*/ 2311241 w 6400800"/>
                <a:gd name="connsiteY5926" fmla="*/ 221456 h 514350"/>
                <a:gd name="connsiteX5927" fmla="*/ 2311241 w 6400800"/>
                <a:gd name="connsiteY5927" fmla="*/ 221456 h 514350"/>
                <a:gd name="connsiteX5928" fmla="*/ 2304574 w 6400800"/>
                <a:gd name="connsiteY5928" fmla="*/ 253841 h 514350"/>
                <a:gd name="connsiteX5929" fmla="*/ 2302669 w 6400800"/>
                <a:gd name="connsiteY5929" fmla="*/ 251936 h 514350"/>
                <a:gd name="connsiteX5930" fmla="*/ 2304574 w 6400800"/>
                <a:gd name="connsiteY5930" fmla="*/ 253841 h 514350"/>
                <a:gd name="connsiteX5931" fmla="*/ 2299811 w 6400800"/>
                <a:gd name="connsiteY5931" fmla="*/ 274796 h 514350"/>
                <a:gd name="connsiteX5932" fmla="*/ 2294096 w 6400800"/>
                <a:gd name="connsiteY5932" fmla="*/ 300514 h 514350"/>
                <a:gd name="connsiteX5933" fmla="*/ 2297906 w 6400800"/>
                <a:gd name="connsiteY5933" fmla="*/ 272891 h 514350"/>
                <a:gd name="connsiteX5934" fmla="*/ 2271236 w 6400800"/>
                <a:gd name="connsiteY5934" fmla="*/ 369094 h 514350"/>
                <a:gd name="connsiteX5935" fmla="*/ 2270284 w 6400800"/>
                <a:gd name="connsiteY5935" fmla="*/ 376714 h 514350"/>
                <a:gd name="connsiteX5936" fmla="*/ 2270284 w 6400800"/>
                <a:gd name="connsiteY5936" fmla="*/ 376714 h 514350"/>
                <a:gd name="connsiteX5937" fmla="*/ 2270284 w 6400800"/>
                <a:gd name="connsiteY5937" fmla="*/ 372904 h 514350"/>
                <a:gd name="connsiteX5938" fmla="*/ 2271236 w 6400800"/>
                <a:gd name="connsiteY5938" fmla="*/ 369094 h 514350"/>
                <a:gd name="connsiteX5939" fmla="*/ 2252186 w 6400800"/>
                <a:gd name="connsiteY5939" fmla="*/ 297656 h 514350"/>
                <a:gd name="connsiteX5940" fmla="*/ 2251234 w 6400800"/>
                <a:gd name="connsiteY5940" fmla="*/ 311944 h 514350"/>
                <a:gd name="connsiteX5941" fmla="*/ 2250281 w 6400800"/>
                <a:gd name="connsiteY5941" fmla="*/ 308134 h 514350"/>
                <a:gd name="connsiteX5942" fmla="*/ 2252186 w 6400800"/>
                <a:gd name="connsiteY5942" fmla="*/ 297656 h 514350"/>
                <a:gd name="connsiteX5943" fmla="*/ 2215991 w 6400800"/>
                <a:gd name="connsiteY5943" fmla="*/ 252889 h 514350"/>
                <a:gd name="connsiteX5944" fmla="*/ 2215991 w 6400800"/>
                <a:gd name="connsiteY5944" fmla="*/ 256699 h 514350"/>
                <a:gd name="connsiteX5945" fmla="*/ 2215991 w 6400800"/>
                <a:gd name="connsiteY5945" fmla="*/ 256699 h 514350"/>
                <a:gd name="connsiteX5946" fmla="*/ 2215991 w 6400800"/>
                <a:gd name="connsiteY5946" fmla="*/ 252889 h 514350"/>
                <a:gd name="connsiteX5947" fmla="*/ 2211229 w 6400800"/>
                <a:gd name="connsiteY5947" fmla="*/ 281464 h 514350"/>
                <a:gd name="connsiteX5948" fmla="*/ 2214086 w 6400800"/>
                <a:gd name="connsiteY5948" fmla="*/ 260509 h 514350"/>
                <a:gd name="connsiteX5949" fmla="*/ 2215039 w 6400800"/>
                <a:gd name="connsiteY5949" fmla="*/ 261461 h 514350"/>
                <a:gd name="connsiteX5950" fmla="*/ 2215039 w 6400800"/>
                <a:gd name="connsiteY5950" fmla="*/ 267176 h 514350"/>
                <a:gd name="connsiteX5951" fmla="*/ 2212181 w 6400800"/>
                <a:gd name="connsiteY5951" fmla="*/ 299561 h 514350"/>
                <a:gd name="connsiteX5952" fmla="*/ 2206466 w 6400800"/>
                <a:gd name="connsiteY5952" fmla="*/ 309086 h 514350"/>
                <a:gd name="connsiteX5953" fmla="*/ 2211229 w 6400800"/>
                <a:gd name="connsiteY5953" fmla="*/ 281464 h 514350"/>
                <a:gd name="connsiteX5954" fmla="*/ 2205514 w 6400800"/>
                <a:gd name="connsiteY5954" fmla="*/ 337661 h 514350"/>
                <a:gd name="connsiteX5955" fmla="*/ 2204561 w 6400800"/>
                <a:gd name="connsiteY5955" fmla="*/ 339566 h 514350"/>
                <a:gd name="connsiteX5956" fmla="*/ 2204561 w 6400800"/>
                <a:gd name="connsiteY5956" fmla="*/ 340519 h 514350"/>
                <a:gd name="connsiteX5957" fmla="*/ 2205514 w 6400800"/>
                <a:gd name="connsiteY5957" fmla="*/ 337661 h 514350"/>
                <a:gd name="connsiteX5958" fmla="*/ 2183606 w 6400800"/>
                <a:gd name="connsiteY5958" fmla="*/ 336709 h 514350"/>
                <a:gd name="connsiteX5959" fmla="*/ 2185511 w 6400800"/>
                <a:gd name="connsiteY5959" fmla="*/ 345281 h 514350"/>
                <a:gd name="connsiteX5960" fmla="*/ 2184559 w 6400800"/>
                <a:gd name="connsiteY5960" fmla="*/ 350044 h 514350"/>
                <a:gd name="connsiteX5961" fmla="*/ 2183606 w 6400800"/>
                <a:gd name="connsiteY5961" fmla="*/ 340519 h 514350"/>
                <a:gd name="connsiteX5962" fmla="*/ 2183606 w 6400800"/>
                <a:gd name="connsiteY5962" fmla="*/ 337661 h 514350"/>
                <a:gd name="connsiteX5963" fmla="*/ 2183606 w 6400800"/>
                <a:gd name="connsiteY5963" fmla="*/ 336709 h 514350"/>
                <a:gd name="connsiteX5964" fmla="*/ 2178844 w 6400800"/>
                <a:gd name="connsiteY5964" fmla="*/ 345281 h 514350"/>
                <a:gd name="connsiteX5965" fmla="*/ 2178844 w 6400800"/>
                <a:gd name="connsiteY5965" fmla="*/ 357664 h 514350"/>
                <a:gd name="connsiteX5966" fmla="*/ 2175986 w 6400800"/>
                <a:gd name="connsiteY5966" fmla="*/ 350996 h 514350"/>
                <a:gd name="connsiteX5967" fmla="*/ 2178844 w 6400800"/>
                <a:gd name="connsiteY5967" fmla="*/ 345281 h 514350"/>
                <a:gd name="connsiteX5968" fmla="*/ 2150269 w 6400800"/>
                <a:gd name="connsiteY5968" fmla="*/ 278606 h 514350"/>
                <a:gd name="connsiteX5969" fmla="*/ 2162651 w 6400800"/>
                <a:gd name="connsiteY5969" fmla="*/ 232886 h 514350"/>
                <a:gd name="connsiteX5970" fmla="*/ 2161699 w 6400800"/>
                <a:gd name="connsiteY5970" fmla="*/ 235744 h 514350"/>
                <a:gd name="connsiteX5971" fmla="*/ 2157889 w 6400800"/>
                <a:gd name="connsiteY5971" fmla="*/ 253841 h 514350"/>
                <a:gd name="connsiteX5972" fmla="*/ 2154079 w 6400800"/>
                <a:gd name="connsiteY5972" fmla="*/ 274796 h 514350"/>
                <a:gd name="connsiteX5973" fmla="*/ 2151221 w 6400800"/>
                <a:gd name="connsiteY5973" fmla="*/ 293846 h 514350"/>
                <a:gd name="connsiteX5974" fmla="*/ 2148364 w 6400800"/>
                <a:gd name="connsiteY5974" fmla="*/ 288131 h 514350"/>
                <a:gd name="connsiteX5975" fmla="*/ 2150269 w 6400800"/>
                <a:gd name="connsiteY5975" fmla="*/ 296704 h 514350"/>
                <a:gd name="connsiteX5976" fmla="*/ 2147411 w 6400800"/>
                <a:gd name="connsiteY5976" fmla="*/ 314801 h 514350"/>
                <a:gd name="connsiteX5977" fmla="*/ 2140744 w 6400800"/>
                <a:gd name="connsiteY5977" fmla="*/ 305276 h 514350"/>
                <a:gd name="connsiteX5978" fmla="*/ 2150269 w 6400800"/>
                <a:gd name="connsiteY5978" fmla="*/ 278606 h 514350"/>
                <a:gd name="connsiteX5979" fmla="*/ 2142649 w 6400800"/>
                <a:gd name="connsiteY5979" fmla="*/ 305276 h 514350"/>
                <a:gd name="connsiteX5980" fmla="*/ 2148364 w 6400800"/>
                <a:gd name="connsiteY5980" fmla="*/ 319564 h 514350"/>
                <a:gd name="connsiteX5981" fmla="*/ 2148364 w 6400800"/>
                <a:gd name="connsiteY5981" fmla="*/ 320516 h 514350"/>
                <a:gd name="connsiteX5982" fmla="*/ 2148364 w 6400800"/>
                <a:gd name="connsiteY5982" fmla="*/ 321469 h 514350"/>
                <a:gd name="connsiteX5983" fmla="*/ 2145506 w 6400800"/>
                <a:gd name="connsiteY5983" fmla="*/ 343376 h 514350"/>
                <a:gd name="connsiteX5984" fmla="*/ 2139791 w 6400800"/>
                <a:gd name="connsiteY5984" fmla="*/ 324326 h 514350"/>
                <a:gd name="connsiteX5985" fmla="*/ 2138839 w 6400800"/>
                <a:gd name="connsiteY5985" fmla="*/ 320516 h 514350"/>
                <a:gd name="connsiteX5986" fmla="*/ 2142649 w 6400800"/>
                <a:gd name="connsiteY5986" fmla="*/ 305276 h 514350"/>
                <a:gd name="connsiteX5987" fmla="*/ 2058829 w 6400800"/>
                <a:gd name="connsiteY5987" fmla="*/ 353854 h 514350"/>
                <a:gd name="connsiteX5988" fmla="*/ 2056924 w 6400800"/>
                <a:gd name="connsiteY5988" fmla="*/ 366236 h 514350"/>
                <a:gd name="connsiteX5989" fmla="*/ 2055971 w 6400800"/>
                <a:gd name="connsiteY5989" fmla="*/ 361474 h 514350"/>
                <a:gd name="connsiteX5990" fmla="*/ 2054066 w 6400800"/>
                <a:gd name="connsiteY5990" fmla="*/ 352901 h 514350"/>
                <a:gd name="connsiteX5991" fmla="*/ 2054066 w 6400800"/>
                <a:gd name="connsiteY5991" fmla="*/ 351949 h 514350"/>
                <a:gd name="connsiteX5992" fmla="*/ 2059781 w 6400800"/>
                <a:gd name="connsiteY5992" fmla="*/ 338614 h 514350"/>
                <a:gd name="connsiteX5993" fmla="*/ 2060734 w 6400800"/>
                <a:gd name="connsiteY5993" fmla="*/ 343376 h 514350"/>
                <a:gd name="connsiteX5994" fmla="*/ 2058829 w 6400800"/>
                <a:gd name="connsiteY5994" fmla="*/ 353854 h 514350"/>
                <a:gd name="connsiteX5995" fmla="*/ 2081689 w 6400800"/>
                <a:gd name="connsiteY5995" fmla="*/ 350044 h 514350"/>
                <a:gd name="connsiteX5996" fmla="*/ 2079784 w 6400800"/>
                <a:gd name="connsiteY5996" fmla="*/ 354806 h 514350"/>
                <a:gd name="connsiteX5997" fmla="*/ 2077879 w 6400800"/>
                <a:gd name="connsiteY5997" fmla="*/ 347186 h 514350"/>
                <a:gd name="connsiteX5998" fmla="*/ 2077879 w 6400800"/>
                <a:gd name="connsiteY5998" fmla="*/ 344329 h 514350"/>
                <a:gd name="connsiteX5999" fmla="*/ 2080736 w 6400800"/>
                <a:gd name="connsiteY5999" fmla="*/ 348139 h 514350"/>
                <a:gd name="connsiteX6000" fmla="*/ 2081689 w 6400800"/>
                <a:gd name="connsiteY6000" fmla="*/ 350044 h 514350"/>
                <a:gd name="connsiteX6001" fmla="*/ 2081689 w 6400800"/>
                <a:gd name="connsiteY6001" fmla="*/ 350044 h 514350"/>
                <a:gd name="connsiteX6002" fmla="*/ 2081689 w 6400800"/>
                <a:gd name="connsiteY6002" fmla="*/ 339566 h 514350"/>
                <a:gd name="connsiteX6003" fmla="*/ 2081689 w 6400800"/>
                <a:gd name="connsiteY6003" fmla="*/ 341471 h 514350"/>
                <a:gd name="connsiteX6004" fmla="*/ 2078831 w 6400800"/>
                <a:gd name="connsiteY6004" fmla="*/ 337661 h 514350"/>
                <a:gd name="connsiteX6005" fmla="*/ 2079784 w 6400800"/>
                <a:gd name="connsiteY6005" fmla="*/ 330041 h 514350"/>
                <a:gd name="connsiteX6006" fmla="*/ 2081689 w 6400800"/>
                <a:gd name="connsiteY6006" fmla="*/ 339566 h 514350"/>
                <a:gd name="connsiteX6007" fmla="*/ 2081689 w 6400800"/>
                <a:gd name="connsiteY6007" fmla="*/ 339566 h 514350"/>
                <a:gd name="connsiteX6008" fmla="*/ 2085499 w 6400800"/>
                <a:gd name="connsiteY6008" fmla="*/ 290036 h 514350"/>
                <a:gd name="connsiteX6009" fmla="*/ 2084546 w 6400800"/>
                <a:gd name="connsiteY6009" fmla="*/ 307181 h 514350"/>
                <a:gd name="connsiteX6010" fmla="*/ 2083594 w 6400800"/>
                <a:gd name="connsiteY6010" fmla="*/ 303371 h 514350"/>
                <a:gd name="connsiteX6011" fmla="*/ 2086451 w 6400800"/>
                <a:gd name="connsiteY6011" fmla="*/ 273844 h 514350"/>
                <a:gd name="connsiteX6012" fmla="*/ 2087404 w 6400800"/>
                <a:gd name="connsiteY6012" fmla="*/ 267176 h 514350"/>
                <a:gd name="connsiteX6013" fmla="*/ 2085499 w 6400800"/>
                <a:gd name="connsiteY6013" fmla="*/ 290036 h 514350"/>
                <a:gd name="connsiteX6014" fmla="*/ 2089309 w 6400800"/>
                <a:gd name="connsiteY6014" fmla="*/ 180499 h 514350"/>
                <a:gd name="connsiteX6015" fmla="*/ 2089309 w 6400800"/>
                <a:gd name="connsiteY6015" fmla="*/ 200501 h 514350"/>
                <a:gd name="connsiteX6016" fmla="*/ 2086451 w 6400800"/>
                <a:gd name="connsiteY6016" fmla="*/ 192881 h 514350"/>
                <a:gd name="connsiteX6017" fmla="*/ 2089309 w 6400800"/>
                <a:gd name="connsiteY6017" fmla="*/ 180499 h 514350"/>
                <a:gd name="connsiteX6018" fmla="*/ 2072164 w 6400800"/>
                <a:gd name="connsiteY6018" fmla="*/ 241459 h 514350"/>
                <a:gd name="connsiteX6019" fmla="*/ 2086451 w 6400800"/>
                <a:gd name="connsiteY6019" fmla="*/ 193834 h 514350"/>
                <a:gd name="connsiteX6020" fmla="*/ 2090261 w 6400800"/>
                <a:gd name="connsiteY6020" fmla="*/ 207169 h 514350"/>
                <a:gd name="connsiteX6021" fmla="*/ 2090261 w 6400800"/>
                <a:gd name="connsiteY6021" fmla="*/ 208121 h 514350"/>
                <a:gd name="connsiteX6022" fmla="*/ 2075974 w 6400800"/>
                <a:gd name="connsiteY6022" fmla="*/ 271939 h 514350"/>
                <a:gd name="connsiteX6023" fmla="*/ 2074069 w 6400800"/>
                <a:gd name="connsiteY6023" fmla="*/ 282416 h 514350"/>
                <a:gd name="connsiteX6024" fmla="*/ 2068354 w 6400800"/>
                <a:gd name="connsiteY6024" fmla="*/ 271939 h 514350"/>
                <a:gd name="connsiteX6025" fmla="*/ 2065496 w 6400800"/>
                <a:gd name="connsiteY6025" fmla="*/ 266224 h 514350"/>
                <a:gd name="connsiteX6026" fmla="*/ 2072164 w 6400800"/>
                <a:gd name="connsiteY6026" fmla="*/ 241459 h 514350"/>
                <a:gd name="connsiteX6027" fmla="*/ 2062639 w 6400800"/>
                <a:gd name="connsiteY6027" fmla="*/ 270034 h 514350"/>
                <a:gd name="connsiteX6028" fmla="*/ 2063591 w 6400800"/>
                <a:gd name="connsiteY6028" fmla="*/ 272891 h 514350"/>
                <a:gd name="connsiteX6029" fmla="*/ 2069306 w 6400800"/>
                <a:gd name="connsiteY6029" fmla="*/ 292894 h 514350"/>
                <a:gd name="connsiteX6030" fmla="*/ 2070259 w 6400800"/>
                <a:gd name="connsiteY6030" fmla="*/ 294799 h 514350"/>
                <a:gd name="connsiteX6031" fmla="*/ 2067401 w 6400800"/>
                <a:gd name="connsiteY6031" fmla="*/ 310039 h 514350"/>
                <a:gd name="connsiteX6032" fmla="*/ 2065496 w 6400800"/>
                <a:gd name="connsiteY6032" fmla="*/ 303371 h 514350"/>
                <a:gd name="connsiteX6033" fmla="*/ 2058829 w 6400800"/>
                <a:gd name="connsiteY6033" fmla="*/ 284321 h 514350"/>
                <a:gd name="connsiteX6034" fmla="*/ 2062639 w 6400800"/>
                <a:gd name="connsiteY6034" fmla="*/ 270034 h 514350"/>
                <a:gd name="connsiteX6035" fmla="*/ 2053114 w 6400800"/>
                <a:gd name="connsiteY6035" fmla="*/ 301466 h 514350"/>
                <a:gd name="connsiteX6036" fmla="*/ 2054066 w 6400800"/>
                <a:gd name="connsiteY6036" fmla="*/ 306229 h 514350"/>
                <a:gd name="connsiteX6037" fmla="*/ 2056924 w 6400800"/>
                <a:gd name="connsiteY6037" fmla="*/ 320516 h 514350"/>
                <a:gd name="connsiteX6038" fmla="*/ 2055971 w 6400800"/>
                <a:gd name="connsiteY6038" fmla="*/ 320516 h 514350"/>
                <a:gd name="connsiteX6039" fmla="*/ 2049304 w 6400800"/>
                <a:gd name="connsiteY6039" fmla="*/ 317659 h 514350"/>
                <a:gd name="connsiteX6040" fmla="*/ 2055971 w 6400800"/>
                <a:gd name="connsiteY6040" fmla="*/ 321469 h 514350"/>
                <a:gd name="connsiteX6041" fmla="*/ 2057876 w 6400800"/>
                <a:gd name="connsiteY6041" fmla="*/ 322421 h 514350"/>
                <a:gd name="connsiteX6042" fmla="*/ 2059781 w 6400800"/>
                <a:gd name="connsiteY6042" fmla="*/ 332899 h 514350"/>
                <a:gd name="connsiteX6043" fmla="*/ 2053114 w 6400800"/>
                <a:gd name="connsiteY6043" fmla="*/ 342424 h 514350"/>
                <a:gd name="connsiteX6044" fmla="*/ 2049304 w 6400800"/>
                <a:gd name="connsiteY6044" fmla="*/ 321469 h 514350"/>
                <a:gd name="connsiteX6045" fmla="*/ 2049304 w 6400800"/>
                <a:gd name="connsiteY6045" fmla="*/ 315754 h 514350"/>
                <a:gd name="connsiteX6046" fmla="*/ 2053114 w 6400800"/>
                <a:gd name="connsiteY6046" fmla="*/ 301466 h 514350"/>
                <a:gd name="connsiteX6047" fmla="*/ 2044541 w 6400800"/>
                <a:gd name="connsiteY6047" fmla="*/ 260509 h 514350"/>
                <a:gd name="connsiteX6048" fmla="*/ 2044541 w 6400800"/>
                <a:gd name="connsiteY6048" fmla="*/ 260509 h 514350"/>
                <a:gd name="connsiteX6049" fmla="*/ 2044541 w 6400800"/>
                <a:gd name="connsiteY6049" fmla="*/ 259556 h 514350"/>
                <a:gd name="connsiteX6050" fmla="*/ 2044541 w 6400800"/>
                <a:gd name="connsiteY6050" fmla="*/ 260509 h 514350"/>
                <a:gd name="connsiteX6051" fmla="*/ 2019776 w 6400800"/>
                <a:gd name="connsiteY6051" fmla="*/ 188119 h 514350"/>
                <a:gd name="connsiteX6052" fmla="*/ 2019776 w 6400800"/>
                <a:gd name="connsiteY6052" fmla="*/ 185261 h 514350"/>
                <a:gd name="connsiteX6053" fmla="*/ 2020729 w 6400800"/>
                <a:gd name="connsiteY6053" fmla="*/ 177641 h 514350"/>
                <a:gd name="connsiteX6054" fmla="*/ 2020729 w 6400800"/>
                <a:gd name="connsiteY6054" fmla="*/ 189071 h 514350"/>
                <a:gd name="connsiteX6055" fmla="*/ 2021681 w 6400800"/>
                <a:gd name="connsiteY6055" fmla="*/ 220504 h 514350"/>
                <a:gd name="connsiteX6056" fmla="*/ 2023586 w 6400800"/>
                <a:gd name="connsiteY6056" fmla="*/ 244316 h 514350"/>
                <a:gd name="connsiteX6057" fmla="*/ 2022634 w 6400800"/>
                <a:gd name="connsiteY6057" fmla="*/ 247174 h 514350"/>
                <a:gd name="connsiteX6058" fmla="*/ 2016919 w 6400800"/>
                <a:gd name="connsiteY6058" fmla="*/ 222409 h 514350"/>
                <a:gd name="connsiteX6059" fmla="*/ 2019776 w 6400800"/>
                <a:gd name="connsiteY6059" fmla="*/ 188119 h 514350"/>
                <a:gd name="connsiteX6060" fmla="*/ 1999774 w 6400800"/>
                <a:gd name="connsiteY6060" fmla="*/ 298609 h 514350"/>
                <a:gd name="connsiteX6061" fmla="*/ 1999774 w 6400800"/>
                <a:gd name="connsiteY6061" fmla="*/ 304324 h 514350"/>
                <a:gd name="connsiteX6062" fmla="*/ 1997869 w 6400800"/>
                <a:gd name="connsiteY6062" fmla="*/ 310039 h 514350"/>
                <a:gd name="connsiteX6063" fmla="*/ 1999774 w 6400800"/>
                <a:gd name="connsiteY6063" fmla="*/ 298609 h 514350"/>
                <a:gd name="connsiteX6064" fmla="*/ 1992154 w 6400800"/>
                <a:gd name="connsiteY6064" fmla="*/ 349091 h 514350"/>
                <a:gd name="connsiteX6065" fmla="*/ 1992154 w 6400800"/>
                <a:gd name="connsiteY6065" fmla="*/ 359569 h 514350"/>
                <a:gd name="connsiteX6066" fmla="*/ 1992154 w 6400800"/>
                <a:gd name="connsiteY6066" fmla="*/ 369094 h 514350"/>
                <a:gd name="connsiteX6067" fmla="*/ 1988344 w 6400800"/>
                <a:gd name="connsiteY6067" fmla="*/ 373856 h 514350"/>
                <a:gd name="connsiteX6068" fmla="*/ 1992154 w 6400800"/>
                <a:gd name="connsiteY6068" fmla="*/ 349091 h 514350"/>
                <a:gd name="connsiteX6069" fmla="*/ 1987391 w 6400800"/>
                <a:gd name="connsiteY6069" fmla="*/ 381476 h 514350"/>
                <a:gd name="connsiteX6070" fmla="*/ 1987391 w 6400800"/>
                <a:gd name="connsiteY6070" fmla="*/ 381476 h 514350"/>
                <a:gd name="connsiteX6071" fmla="*/ 1992154 w 6400800"/>
                <a:gd name="connsiteY6071" fmla="*/ 372904 h 514350"/>
                <a:gd name="connsiteX6072" fmla="*/ 1992154 w 6400800"/>
                <a:gd name="connsiteY6072" fmla="*/ 379571 h 514350"/>
                <a:gd name="connsiteX6073" fmla="*/ 1991201 w 6400800"/>
                <a:gd name="connsiteY6073" fmla="*/ 386239 h 514350"/>
                <a:gd name="connsiteX6074" fmla="*/ 1988344 w 6400800"/>
                <a:gd name="connsiteY6074" fmla="*/ 400526 h 514350"/>
                <a:gd name="connsiteX6075" fmla="*/ 1988344 w 6400800"/>
                <a:gd name="connsiteY6075" fmla="*/ 399574 h 514350"/>
                <a:gd name="connsiteX6076" fmla="*/ 1985486 w 6400800"/>
                <a:gd name="connsiteY6076" fmla="*/ 392906 h 514350"/>
                <a:gd name="connsiteX6077" fmla="*/ 1987391 w 6400800"/>
                <a:gd name="connsiteY6077" fmla="*/ 381476 h 514350"/>
                <a:gd name="connsiteX6078" fmla="*/ 1968341 w 6400800"/>
                <a:gd name="connsiteY6078" fmla="*/ 290989 h 514350"/>
                <a:gd name="connsiteX6079" fmla="*/ 1967389 w 6400800"/>
                <a:gd name="connsiteY6079" fmla="*/ 297656 h 514350"/>
                <a:gd name="connsiteX6080" fmla="*/ 1966436 w 6400800"/>
                <a:gd name="connsiteY6080" fmla="*/ 305276 h 514350"/>
                <a:gd name="connsiteX6081" fmla="*/ 1965484 w 6400800"/>
                <a:gd name="connsiteY6081" fmla="*/ 318611 h 514350"/>
                <a:gd name="connsiteX6082" fmla="*/ 1964531 w 6400800"/>
                <a:gd name="connsiteY6082" fmla="*/ 304324 h 514350"/>
                <a:gd name="connsiteX6083" fmla="*/ 1964531 w 6400800"/>
                <a:gd name="connsiteY6083" fmla="*/ 300514 h 514350"/>
                <a:gd name="connsiteX6084" fmla="*/ 1968341 w 6400800"/>
                <a:gd name="connsiteY6084" fmla="*/ 290989 h 514350"/>
                <a:gd name="connsiteX6085" fmla="*/ 1937861 w 6400800"/>
                <a:gd name="connsiteY6085" fmla="*/ 310039 h 514350"/>
                <a:gd name="connsiteX6086" fmla="*/ 1937861 w 6400800"/>
                <a:gd name="connsiteY6086" fmla="*/ 302419 h 514350"/>
                <a:gd name="connsiteX6087" fmla="*/ 1937861 w 6400800"/>
                <a:gd name="connsiteY6087" fmla="*/ 295751 h 514350"/>
                <a:gd name="connsiteX6088" fmla="*/ 1938814 w 6400800"/>
                <a:gd name="connsiteY6088" fmla="*/ 306229 h 514350"/>
                <a:gd name="connsiteX6089" fmla="*/ 1937861 w 6400800"/>
                <a:gd name="connsiteY6089" fmla="*/ 310039 h 514350"/>
                <a:gd name="connsiteX6090" fmla="*/ 1938814 w 6400800"/>
                <a:gd name="connsiteY6090" fmla="*/ 272891 h 514350"/>
                <a:gd name="connsiteX6091" fmla="*/ 1936909 w 6400800"/>
                <a:gd name="connsiteY6091" fmla="*/ 266224 h 514350"/>
                <a:gd name="connsiteX6092" fmla="*/ 1936909 w 6400800"/>
                <a:gd name="connsiteY6092" fmla="*/ 261461 h 514350"/>
                <a:gd name="connsiteX6093" fmla="*/ 1936909 w 6400800"/>
                <a:gd name="connsiteY6093" fmla="*/ 246221 h 514350"/>
                <a:gd name="connsiteX6094" fmla="*/ 1938814 w 6400800"/>
                <a:gd name="connsiteY6094" fmla="*/ 272891 h 514350"/>
                <a:gd name="connsiteX6095" fmla="*/ 1900714 w 6400800"/>
                <a:gd name="connsiteY6095" fmla="*/ 338614 h 514350"/>
                <a:gd name="connsiteX6096" fmla="*/ 1900714 w 6400800"/>
                <a:gd name="connsiteY6096" fmla="*/ 333851 h 514350"/>
                <a:gd name="connsiteX6097" fmla="*/ 1902619 w 6400800"/>
                <a:gd name="connsiteY6097" fmla="*/ 329089 h 514350"/>
                <a:gd name="connsiteX6098" fmla="*/ 1904524 w 6400800"/>
                <a:gd name="connsiteY6098" fmla="*/ 325279 h 514350"/>
                <a:gd name="connsiteX6099" fmla="*/ 1900714 w 6400800"/>
                <a:gd name="connsiteY6099" fmla="*/ 338614 h 514350"/>
                <a:gd name="connsiteX6100" fmla="*/ 1915954 w 6400800"/>
                <a:gd name="connsiteY6100" fmla="*/ 436721 h 514350"/>
                <a:gd name="connsiteX6101" fmla="*/ 1915954 w 6400800"/>
                <a:gd name="connsiteY6101" fmla="*/ 433864 h 514350"/>
                <a:gd name="connsiteX6102" fmla="*/ 1916906 w 6400800"/>
                <a:gd name="connsiteY6102" fmla="*/ 434816 h 514350"/>
                <a:gd name="connsiteX6103" fmla="*/ 1915954 w 6400800"/>
                <a:gd name="connsiteY6103" fmla="*/ 436721 h 514350"/>
                <a:gd name="connsiteX6104" fmla="*/ 1920716 w 6400800"/>
                <a:gd name="connsiteY6104" fmla="*/ 401479 h 514350"/>
                <a:gd name="connsiteX6105" fmla="*/ 1919764 w 6400800"/>
                <a:gd name="connsiteY6105" fmla="*/ 407194 h 514350"/>
                <a:gd name="connsiteX6106" fmla="*/ 1917859 w 6400800"/>
                <a:gd name="connsiteY6106" fmla="*/ 404336 h 514350"/>
                <a:gd name="connsiteX6107" fmla="*/ 1919764 w 6400800"/>
                <a:gd name="connsiteY6107" fmla="*/ 398621 h 514350"/>
                <a:gd name="connsiteX6108" fmla="*/ 1920716 w 6400800"/>
                <a:gd name="connsiteY6108" fmla="*/ 401479 h 514350"/>
                <a:gd name="connsiteX6109" fmla="*/ 1917859 w 6400800"/>
                <a:gd name="connsiteY6109" fmla="*/ 331946 h 514350"/>
                <a:gd name="connsiteX6110" fmla="*/ 1919764 w 6400800"/>
                <a:gd name="connsiteY6110" fmla="*/ 337661 h 514350"/>
                <a:gd name="connsiteX6111" fmla="*/ 1919764 w 6400800"/>
                <a:gd name="connsiteY6111" fmla="*/ 337661 h 514350"/>
                <a:gd name="connsiteX6112" fmla="*/ 1918811 w 6400800"/>
                <a:gd name="connsiteY6112" fmla="*/ 338614 h 514350"/>
                <a:gd name="connsiteX6113" fmla="*/ 1916906 w 6400800"/>
                <a:gd name="connsiteY6113" fmla="*/ 342424 h 514350"/>
                <a:gd name="connsiteX6114" fmla="*/ 1916906 w 6400800"/>
                <a:gd name="connsiteY6114" fmla="*/ 341471 h 514350"/>
                <a:gd name="connsiteX6115" fmla="*/ 1915954 w 6400800"/>
                <a:gd name="connsiteY6115" fmla="*/ 344329 h 514350"/>
                <a:gd name="connsiteX6116" fmla="*/ 1915001 w 6400800"/>
                <a:gd name="connsiteY6116" fmla="*/ 345281 h 514350"/>
                <a:gd name="connsiteX6117" fmla="*/ 1917859 w 6400800"/>
                <a:gd name="connsiteY6117" fmla="*/ 331946 h 514350"/>
                <a:gd name="connsiteX6118" fmla="*/ 1919764 w 6400800"/>
                <a:gd name="connsiteY6118" fmla="*/ 360521 h 514350"/>
                <a:gd name="connsiteX6119" fmla="*/ 1919764 w 6400800"/>
                <a:gd name="connsiteY6119" fmla="*/ 364331 h 514350"/>
                <a:gd name="connsiteX6120" fmla="*/ 1915001 w 6400800"/>
                <a:gd name="connsiteY6120" fmla="*/ 373856 h 514350"/>
                <a:gd name="connsiteX6121" fmla="*/ 1908334 w 6400800"/>
                <a:gd name="connsiteY6121" fmla="*/ 388144 h 514350"/>
                <a:gd name="connsiteX6122" fmla="*/ 1907381 w 6400800"/>
                <a:gd name="connsiteY6122" fmla="*/ 387191 h 514350"/>
                <a:gd name="connsiteX6123" fmla="*/ 1907381 w 6400800"/>
                <a:gd name="connsiteY6123" fmla="*/ 385286 h 514350"/>
                <a:gd name="connsiteX6124" fmla="*/ 1910239 w 6400800"/>
                <a:gd name="connsiteY6124" fmla="*/ 380524 h 514350"/>
                <a:gd name="connsiteX6125" fmla="*/ 1919764 w 6400800"/>
                <a:gd name="connsiteY6125" fmla="*/ 360521 h 514350"/>
                <a:gd name="connsiteX6126" fmla="*/ 1910239 w 6400800"/>
                <a:gd name="connsiteY6126" fmla="*/ 299561 h 514350"/>
                <a:gd name="connsiteX6127" fmla="*/ 1908334 w 6400800"/>
                <a:gd name="connsiteY6127" fmla="*/ 305276 h 514350"/>
                <a:gd name="connsiteX6128" fmla="*/ 1908334 w 6400800"/>
                <a:gd name="connsiteY6128" fmla="*/ 305276 h 514350"/>
                <a:gd name="connsiteX6129" fmla="*/ 1910239 w 6400800"/>
                <a:gd name="connsiteY6129" fmla="*/ 299561 h 514350"/>
                <a:gd name="connsiteX6130" fmla="*/ 1906429 w 6400800"/>
                <a:gd name="connsiteY6130" fmla="*/ 313849 h 514350"/>
                <a:gd name="connsiteX6131" fmla="*/ 1908334 w 6400800"/>
                <a:gd name="connsiteY6131" fmla="*/ 309086 h 514350"/>
                <a:gd name="connsiteX6132" fmla="*/ 1908334 w 6400800"/>
                <a:gd name="connsiteY6132" fmla="*/ 310039 h 514350"/>
                <a:gd name="connsiteX6133" fmla="*/ 1906429 w 6400800"/>
                <a:gd name="connsiteY6133" fmla="*/ 315754 h 514350"/>
                <a:gd name="connsiteX6134" fmla="*/ 1905476 w 6400800"/>
                <a:gd name="connsiteY6134" fmla="*/ 316706 h 514350"/>
                <a:gd name="connsiteX6135" fmla="*/ 1906429 w 6400800"/>
                <a:gd name="connsiteY6135" fmla="*/ 313849 h 514350"/>
                <a:gd name="connsiteX6136" fmla="*/ 1893094 w 6400800"/>
                <a:gd name="connsiteY6136" fmla="*/ 259556 h 514350"/>
                <a:gd name="connsiteX6137" fmla="*/ 1894046 w 6400800"/>
                <a:gd name="connsiteY6137" fmla="*/ 256699 h 514350"/>
                <a:gd name="connsiteX6138" fmla="*/ 1894999 w 6400800"/>
                <a:gd name="connsiteY6138" fmla="*/ 256699 h 514350"/>
                <a:gd name="connsiteX6139" fmla="*/ 1899761 w 6400800"/>
                <a:gd name="connsiteY6139" fmla="*/ 260509 h 514350"/>
                <a:gd name="connsiteX6140" fmla="*/ 1904524 w 6400800"/>
                <a:gd name="connsiteY6140" fmla="*/ 275749 h 514350"/>
                <a:gd name="connsiteX6141" fmla="*/ 1895951 w 6400800"/>
                <a:gd name="connsiteY6141" fmla="*/ 297656 h 514350"/>
                <a:gd name="connsiteX6142" fmla="*/ 1894046 w 6400800"/>
                <a:gd name="connsiteY6142" fmla="*/ 281464 h 514350"/>
                <a:gd name="connsiteX6143" fmla="*/ 1892141 w 6400800"/>
                <a:gd name="connsiteY6143" fmla="*/ 270034 h 514350"/>
                <a:gd name="connsiteX6144" fmla="*/ 1893094 w 6400800"/>
                <a:gd name="connsiteY6144" fmla="*/ 272891 h 514350"/>
                <a:gd name="connsiteX6145" fmla="*/ 1893094 w 6400800"/>
                <a:gd name="connsiteY6145" fmla="*/ 259556 h 514350"/>
                <a:gd name="connsiteX6146" fmla="*/ 1841659 w 6400800"/>
                <a:gd name="connsiteY6146" fmla="*/ 297656 h 514350"/>
                <a:gd name="connsiteX6147" fmla="*/ 1840706 w 6400800"/>
                <a:gd name="connsiteY6147" fmla="*/ 313849 h 514350"/>
                <a:gd name="connsiteX6148" fmla="*/ 1838801 w 6400800"/>
                <a:gd name="connsiteY6148" fmla="*/ 294799 h 514350"/>
                <a:gd name="connsiteX6149" fmla="*/ 1838801 w 6400800"/>
                <a:gd name="connsiteY6149" fmla="*/ 290989 h 514350"/>
                <a:gd name="connsiteX6150" fmla="*/ 1841659 w 6400800"/>
                <a:gd name="connsiteY6150" fmla="*/ 297656 h 514350"/>
                <a:gd name="connsiteX6151" fmla="*/ 1822609 w 6400800"/>
                <a:gd name="connsiteY6151" fmla="*/ 363379 h 514350"/>
                <a:gd name="connsiteX6152" fmla="*/ 1826419 w 6400800"/>
                <a:gd name="connsiteY6152" fmla="*/ 353854 h 514350"/>
                <a:gd name="connsiteX6153" fmla="*/ 1827371 w 6400800"/>
                <a:gd name="connsiteY6153" fmla="*/ 364331 h 514350"/>
                <a:gd name="connsiteX6154" fmla="*/ 1823561 w 6400800"/>
                <a:gd name="connsiteY6154" fmla="*/ 368141 h 514350"/>
                <a:gd name="connsiteX6155" fmla="*/ 1822609 w 6400800"/>
                <a:gd name="connsiteY6155" fmla="*/ 363379 h 514350"/>
                <a:gd name="connsiteX6156" fmla="*/ 1828324 w 6400800"/>
                <a:gd name="connsiteY6156" fmla="*/ 403384 h 514350"/>
                <a:gd name="connsiteX6157" fmla="*/ 1827371 w 6400800"/>
                <a:gd name="connsiteY6157" fmla="*/ 400526 h 514350"/>
                <a:gd name="connsiteX6158" fmla="*/ 1825466 w 6400800"/>
                <a:gd name="connsiteY6158" fmla="*/ 381476 h 514350"/>
                <a:gd name="connsiteX6159" fmla="*/ 1828324 w 6400800"/>
                <a:gd name="connsiteY6159" fmla="*/ 377666 h 514350"/>
                <a:gd name="connsiteX6160" fmla="*/ 1829276 w 6400800"/>
                <a:gd name="connsiteY6160" fmla="*/ 399574 h 514350"/>
                <a:gd name="connsiteX6161" fmla="*/ 1828324 w 6400800"/>
                <a:gd name="connsiteY6161" fmla="*/ 403384 h 514350"/>
                <a:gd name="connsiteX6162" fmla="*/ 1833086 w 6400800"/>
                <a:gd name="connsiteY6162" fmla="*/ 339566 h 514350"/>
                <a:gd name="connsiteX6163" fmla="*/ 1833086 w 6400800"/>
                <a:gd name="connsiteY6163" fmla="*/ 339566 h 514350"/>
                <a:gd name="connsiteX6164" fmla="*/ 1833086 w 6400800"/>
                <a:gd name="connsiteY6164" fmla="*/ 340519 h 514350"/>
                <a:gd name="connsiteX6165" fmla="*/ 1833086 w 6400800"/>
                <a:gd name="connsiteY6165" fmla="*/ 339566 h 514350"/>
                <a:gd name="connsiteX6166" fmla="*/ 1824514 w 6400800"/>
                <a:gd name="connsiteY6166" fmla="*/ 272891 h 514350"/>
                <a:gd name="connsiteX6167" fmla="*/ 1824514 w 6400800"/>
                <a:gd name="connsiteY6167" fmla="*/ 263366 h 514350"/>
                <a:gd name="connsiteX6168" fmla="*/ 1835944 w 6400800"/>
                <a:gd name="connsiteY6168" fmla="*/ 285274 h 514350"/>
                <a:gd name="connsiteX6169" fmla="*/ 1834991 w 6400800"/>
                <a:gd name="connsiteY6169" fmla="*/ 294799 h 514350"/>
                <a:gd name="connsiteX6170" fmla="*/ 1834039 w 6400800"/>
                <a:gd name="connsiteY6170" fmla="*/ 320516 h 514350"/>
                <a:gd name="connsiteX6171" fmla="*/ 1834039 w 6400800"/>
                <a:gd name="connsiteY6171" fmla="*/ 330994 h 514350"/>
                <a:gd name="connsiteX6172" fmla="*/ 1833086 w 6400800"/>
                <a:gd name="connsiteY6172" fmla="*/ 331946 h 514350"/>
                <a:gd name="connsiteX6173" fmla="*/ 1832134 w 6400800"/>
                <a:gd name="connsiteY6173" fmla="*/ 332899 h 514350"/>
                <a:gd name="connsiteX6174" fmla="*/ 1827371 w 6400800"/>
                <a:gd name="connsiteY6174" fmla="*/ 316706 h 514350"/>
                <a:gd name="connsiteX6175" fmla="*/ 1822609 w 6400800"/>
                <a:gd name="connsiteY6175" fmla="*/ 303371 h 514350"/>
                <a:gd name="connsiteX6176" fmla="*/ 1824514 w 6400800"/>
                <a:gd name="connsiteY6176" fmla="*/ 272891 h 514350"/>
                <a:gd name="connsiteX6177" fmla="*/ 1822609 w 6400800"/>
                <a:gd name="connsiteY6177" fmla="*/ 309086 h 514350"/>
                <a:gd name="connsiteX6178" fmla="*/ 1823561 w 6400800"/>
                <a:gd name="connsiteY6178" fmla="*/ 317659 h 514350"/>
                <a:gd name="connsiteX6179" fmla="*/ 1825466 w 6400800"/>
                <a:gd name="connsiteY6179" fmla="*/ 338614 h 514350"/>
                <a:gd name="connsiteX6180" fmla="*/ 1825466 w 6400800"/>
                <a:gd name="connsiteY6180" fmla="*/ 340519 h 514350"/>
                <a:gd name="connsiteX6181" fmla="*/ 1820704 w 6400800"/>
                <a:gd name="connsiteY6181" fmla="*/ 348139 h 514350"/>
                <a:gd name="connsiteX6182" fmla="*/ 1820704 w 6400800"/>
                <a:gd name="connsiteY6182" fmla="*/ 332899 h 514350"/>
                <a:gd name="connsiteX6183" fmla="*/ 1820704 w 6400800"/>
                <a:gd name="connsiteY6183" fmla="*/ 331946 h 514350"/>
                <a:gd name="connsiteX6184" fmla="*/ 1822609 w 6400800"/>
                <a:gd name="connsiteY6184" fmla="*/ 309086 h 514350"/>
                <a:gd name="connsiteX6185" fmla="*/ 1763554 w 6400800"/>
                <a:gd name="connsiteY6185" fmla="*/ 411956 h 514350"/>
                <a:gd name="connsiteX6186" fmla="*/ 1762601 w 6400800"/>
                <a:gd name="connsiteY6186" fmla="*/ 406241 h 514350"/>
                <a:gd name="connsiteX6187" fmla="*/ 1761649 w 6400800"/>
                <a:gd name="connsiteY6187" fmla="*/ 397669 h 514350"/>
                <a:gd name="connsiteX6188" fmla="*/ 1761649 w 6400800"/>
                <a:gd name="connsiteY6188" fmla="*/ 397669 h 514350"/>
                <a:gd name="connsiteX6189" fmla="*/ 1764506 w 6400800"/>
                <a:gd name="connsiteY6189" fmla="*/ 400526 h 514350"/>
                <a:gd name="connsiteX6190" fmla="*/ 1763554 w 6400800"/>
                <a:gd name="connsiteY6190" fmla="*/ 411956 h 514350"/>
                <a:gd name="connsiteX6191" fmla="*/ 1766411 w 6400800"/>
                <a:gd name="connsiteY6191" fmla="*/ 379571 h 514350"/>
                <a:gd name="connsiteX6192" fmla="*/ 1766411 w 6400800"/>
                <a:gd name="connsiteY6192" fmla="*/ 379571 h 514350"/>
                <a:gd name="connsiteX6193" fmla="*/ 1766411 w 6400800"/>
                <a:gd name="connsiteY6193" fmla="*/ 377666 h 514350"/>
                <a:gd name="connsiteX6194" fmla="*/ 1766411 w 6400800"/>
                <a:gd name="connsiteY6194" fmla="*/ 379571 h 514350"/>
                <a:gd name="connsiteX6195" fmla="*/ 1792129 w 6400800"/>
                <a:gd name="connsiteY6195" fmla="*/ 251936 h 514350"/>
                <a:gd name="connsiteX6196" fmla="*/ 1802606 w 6400800"/>
                <a:gd name="connsiteY6196" fmla="*/ 219551 h 514350"/>
                <a:gd name="connsiteX6197" fmla="*/ 1802606 w 6400800"/>
                <a:gd name="connsiteY6197" fmla="*/ 219551 h 514350"/>
                <a:gd name="connsiteX6198" fmla="*/ 1801654 w 6400800"/>
                <a:gd name="connsiteY6198" fmla="*/ 274796 h 514350"/>
                <a:gd name="connsiteX6199" fmla="*/ 1800701 w 6400800"/>
                <a:gd name="connsiteY6199" fmla="*/ 327184 h 514350"/>
                <a:gd name="connsiteX6200" fmla="*/ 1794034 w 6400800"/>
                <a:gd name="connsiteY6200" fmla="*/ 310991 h 514350"/>
                <a:gd name="connsiteX6201" fmla="*/ 1788319 w 6400800"/>
                <a:gd name="connsiteY6201" fmla="*/ 294799 h 514350"/>
                <a:gd name="connsiteX6202" fmla="*/ 1787366 w 6400800"/>
                <a:gd name="connsiteY6202" fmla="*/ 292894 h 514350"/>
                <a:gd name="connsiteX6203" fmla="*/ 1786414 w 6400800"/>
                <a:gd name="connsiteY6203" fmla="*/ 287179 h 514350"/>
                <a:gd name="connsiteX6204" fmla="*/ 1788319 w 6400800"/>
                <a:gd name="connsiteY6204" fmla="*/ 279559 h 514350"/>
                <a:gd name="connsiteX6205" fmla="*/ 1787366 w 6400800"/>
                <a:gd name="connsiteY6205" fmla="*/ 275749 h 514350"/>
                <a:gd name="connsiteX6206" fmla="*/ 1785461 w 6400800"/>
                <a:gd name="connsiteY6206" fmla="*/ 274796 h 514350"/>
                <a:gd name="connsiteX6207" fmla="*/ 1785461 w 6400800"/>
                <a:gd name="connsiteY6207" fmla="*/ 274796 h 514350"/>
                <a:gd name="connsiteX6208" fmla="*/ 1792129 w 6400800"/>
                <a:gd name="connsiteY6208" fmla="*/ 251936 h 514350"/>
                <a:gd name="connsiteX6209" fmla="*/ 1785461 w 6400800"/>
                <a:gd name="connsiteY6209" fmla="*/ 276701 h 514350"/>
                <a:gd name="connsiteX6210" fmla="*/ 1786414 w 6400800"/>
                <a:gd name="connsiteY6210" fmla="*/ 278606 h 514350"/>
                <a:gd name="connsiteX6211" fmla="*/ 1786414 w 6400800"/>
                <a:gd name="connsiteY6211" fmla="*/ 282416 h 514350"/>
                <a:gd name="connsiteX6212" fmla="*/ 1785461 w 6400800"/>
                <a:gd name="connsiteY6212" fmla="*/ 276701 h 514350"/>
                <a:gd name="connsiteX6213" fmla="*/ 1785461 w 6400800"/>
                <a:gd name="connsiteY6213" fmla="*/ 276701 h 514350"/>
                <a:gd name="connsiteX6214" fmla="*/ 1776889 w 6400800"/>
                <a:gd name="connsiteY6214" fmla="*/ 330994 h 514350"/>
                <a:gd name="connsiteX6215" fmla="*/ 1785461 w 6400800"/>
                <a:gd name="connsiteY6215" fmla="*/ 376714 h 514350"/>
                <a:gd name="connsiteX6216" fmla="*/ 1786414 w 6400800"/>
                <a:gd name="connsiteY6216" fmla="*/ 385286 h 514350"/>
                <a:gd name="connsiteX6217" fmla="*/ 1784509 w 6400800"/>
                <a:gd name="connsiteY6217" fmla="*/ 382429 h 514350"/>
                <a:gd name="connsiteX6218" fmla="*/ 1785461 w 6400800"/>
                <a:gd name="connsiteY6218" fmla="*/ 374809 h 514350"/>
                <a:gd name="connsiteX6219" fmla="*/ 1783556 w 6400800"/>
                <a:gd name="connsiteY6219" fmla="*/ 380524 h 514350"/>
                <a:gd name="connsiteX6220" fmla="*/ 1776889 w 6400800"/>
                <a:gd name="connsiteY6220" fmla="*/ 370999 h 514350"/>
                <a:gd name="connsiteX6221" fmla="*/ 1776889 w 6400800"/>
                <a:gd name="connsiteY6221" fmla="*/ 337661 h 514350"/>
                <a:gd name="connsiteX6222" fmla="*/ 1776889 w 6400800"/>
                <a:gd name="connsiteY6222" fmla="*/ 330994 h 514350"/>
                <a:gd name="connsiteX6223" fmla="*/ 1755934 w 6400800"/>
                <a:gd name="connsiteY6223" fmla="*/ 211931 h 514350"/>
                <a:gd name="connsiteX6224" fmla="*/ 1761649 w 6400800"/>
                <a:gd name="connsiteY6224" fmla="*/ 233839 h 514350"/>
                <a:gd name="connsiteX6225" fmla="*/ 1762601 w 6400800"/>
                <a:gd name="connsiteY6225" fmla="*/ 238601 h 514350"/>
                <a:gd name="connsiteX6226" fmla="*/ 1760696 w 6400800"/>
                <a:gd name="connsiteY6226" fmla="*/ 234791 h 514350"/>
                <a:gd name="connsiteX6227" fmla="*/ 1759744 w 6400800"/>
                <a:gd name="connsiteY6227" fmla="*/ 230981 h 514350"/>
                <a:gd name="connsiteX6228" fmla="*/ 1759744 w 6400800"/>
                <a:gd name="connsiteY6228" fmla="*/ 232886 h 514350"/>
                <a:gd name="connsiteX6229" fmla="*/ 1756886 w 6400800"/>
                <a:gd name="connsiteY6229" fmla="*/ 227171 h 514350"/>
                <a:gd name="connsiteX6230" fmla="*/ 1754981 w 6400800"/>
                <a:gd name="connsiteY6230" fmla="*/ 223361 h 514350"/>
                <a:gd name="connsiteX6231" fmla="*/ 1755934 w 6400800"/>
                <a:gd name="connsiteY6231" fmla="*/ 211931 h 514350"/>
                <a:gd name="connsiteX6232" fmla="*/ 1754981 w 6400800"/>
                <a:gd name="connsiteY6232" fmla="*/ 232886 h 514350"/>
                <a:gd name="connsiteX6233" fmla="*/ 1755934 w 6400800"/>
                <a:gd name="connsiteY6233" fmla="*/ 235744 h 514350"/>
                <a:gd name="connsiteX6234" fmla="*/ 1754981 w 6400800"/>
                <a:gd name="connsiteY6234" fmla="*/ 240506 h 514350"/>
                <a:gd name="connsiteX6235" fmla="*/ 1754981 w 6400800"/>
                <a:gd name="connsiteY6235" fmla="*/ 232886 h 514350"/>
                <a:gd name="connsiteX6236" fmla="*/ 1754029 w 6400800"/>
                <a:gd name="connsiteY6236" fmla="*/ 281464 h 514350"/>
                <a:gd name="connsiteX6237" fmla="*/ 1754981 w 6400800"/>
                <a:gd name="connsiteY6237" fmla="*/ 252889 h 514350"/>
                <a:gd name="connsiteX6238" fmla="*/ 1756886 w 6400800"/>
                <a:gd name="connsiteY6238" fmla="*/ 236696 h 514350"/>
                <a:gd name="connsiteX6239" fmla="*/ 1763554 w 6400800"/>
                <a:gd name="connsiteY6239" fmla="*/ 256699 h 514350"/>
                <a:gd name="connsiteX6240" fmla="*/ 1768316 w 6400800"/>
                <a:gd name="connsiteY6240" fmla="*/ 286226 h 514350"/>
                <a:gd name="connsiteX6241" fmla="*/ 1754981 w 6400800"/>
                <a:gd name="connsiteY6241" fmla="*/ 322421 h 514350"/>
                <a:gd name="connsiteX6242" fmla="*/ 1754029 w 6400800"/>
                <a:gd name="connsiteY6242" fmla="*/ 317659 h 514350"/>
                <a:gd name="connsiteX6243" fmla="*/ 1754029 w 6400800"/>
                <a:gd name="connsiteY6243" fmla="*/ 316706 h 514350"/>
                <a:gd name="connsiteX6244" fmla="*/ 1754029 w 6400800"/>
                <a:gd name="connsiteY6244" fmla="*/ 281464 h 514350"/>
                <a:gd name="connsiteX6245" fmla="*/ 1687354 w 6400800"/>
                <a:gd name="connsiteY6245" fmla="*/ 295751 h 514350"/>
                <a:gd name="connsiteX6246" fmla="*/ 1685449 w 6400800"/>
                <a:gd name="connsiteY6246" fmla="*/ 314801 h 514350"/>
                <a:gd name="connsiteX6247" fmla="*/ 1684496 w 6400800"/>
                <a:gd name="connsiteY6247" fmla="*/ 325279 h 514350"/>
                <a:gd name="connsiteX6248" fmla="*/ 1681639 w 6400800"/>
                <a:gd name="connsiteY6248" fmla="*/ 311944 h 514350"/>
                <a:gd name="connsiteX6249" fmla="*/ 1681639 w 6400800"/>
                <a:gd name="connsiteY6249" fmla="*/ 309086 h 514350"/>
                <a:gd name="connsiteX6250" fmla="*/ 1681639 w 6400800"/>
                <a:gd name="connsiteY6250" fmla="*/ 310039 h 514350"/>
                <a:gd name="connsiteX6251" fmla="*/ 1680686 w 6400800"/>
                <a:gd name="connsiteY6251" fmla="*/ 306229 h 514350"/>
                <a:gd name="connsiteX6252" fmla="*/ 1681639 w 6400800"/>
                <a:gd name="connsiteY6252" fmla="*/ 303371 h 514350"/>
                <a:gd name="connsiteX6253" fmla="*/ 1684496 w 6400800"/>
                <a:gd name="connsiteY6253" fmla="*/ 295751 h 514350"/>
                <a:gd name="connsiteX6254" fmla="*/ 1689259 w 6400800"/>
                <a:gd name="connsiteY6254" fmla="*/ 282416 h 514350"/>
                <a:gd name="connsiteX6255" fmla="*/ 1687354 w 6400800"/>
                <a:gd name="connsiteY6255" fmla="*/ 295751 h 514350"/>
                <a:gd name="connsiteX6256" fmla="*/ 1678781 w 6400800"/>
                <a:gd name="connsiteY6256" fmla="*/ 276701 h 514350"/>
                <a:gd name="connsiteX6257" fmla="*/ 1684496 w 6400800"/>
                <a:gd name="connsiteY6257" fmla="*/ 245269 h 514350"/>
                <a:gd name="connsiteX6258" fmla="*/ 1686401 w 6400800"/>
                <a:gd name="connsiteY6258" fmla="*/ 259556 h 514350"/>
                <a:gd name="connsiteX6259" fmla="*/ 1686401 w 6400800"/>
                <a:gd name="connsiteY6259" fmla="*/ 268129 h 514350"/>
                <a:gd name="connsiteX6260" fmla="*/ 1686401 w 6400800"/>
                <a:gd name="connsiteY6260" fmla="*/ 270986 h 514350"/>
                <a:gd name="connsiteX6261" fmla="*/ 1675924 w 6400800"/>
                <a:gd name="connsiteY6261" fmla="*/ 292894 h 514350"/>
                <a:gd name="connsiteX6262" fmla="*/ 1675924 w 6400800"/>
                <a:gd name="connsiteY6262" fmla="*/ 291941 h 514350"/>
                <a:gd name="connsiteX6263" fmla="*/ 1678781 w 6400800"/>
                <a:gd name="connsiteY6263" fmla="*/ 278606 h 514350"/>
                <a:gd name="connsiteX6264" fmla="*/ 1679734 w 6400800"/>
                <a:gd name="connsiteY6264" fmla="*/ 275749 h 514350"/>
                <a:gd name="connsiteX6265" fmla="*/ 1678781 w 6400800"/>
                <a:gd name="connsiteY6265" fmla="*/ 276701 h 514350"/>
                <a:gd name="connsiteX6266" fmla="*/ 1677829 w 6400800"/>
                <a:gd name="connsiteY6266" fmla="*/ 199549 h 514350"/>
                <a:gd name="connsiteX6267" fmla="*/ 1678781 w 6400800"/>
                <a:gd name="connsiteY6267" fmla="*/ 204311 h 514350"/>
                <a:gd name="connsiteX6268" fmla="*/ 1676876 w 6400800"/>
                <a:gd name="connsiteY6268" fmla="*/ 213836 h 514350"/>
                <a:gd name="connsiteX6269" fmla="*/ 1677829 w 6400800"/>
                <a:gd name="connsiteY6269" fmla="*/ 199549 h 514350"/>
                <a:gd name="connsiteX6270" fmla="*/ 1640681 w 6400800"/>
                <a:gd name="connsiteY6270" fmla="*/ 226219 h 514350"/>
                <a:gd name="connsiteX6271" fmla="*/ 1649254 w 6400800"/>
                <a:gd name="connsiteY6271" fmla="*/ 254794 h 514350"/>
                <a:gd name="connsiteX6272" fmla="*/ 1654016 w 6400800"/>
                <a:gd name="connsiteY6272" fmla="*/ 274796 h 514350"/>
                <a:gd name="connsiteX6273" fmla="*/ 1653064 w 6400800"/>
                <a:gd name="connsiteY6273" fmla="*/ 281464 h 514350"/>
                <a:gd name="connsiteX6274" fmla="*/ 1652111 w 6400800"/>
                <a:gd name="connsiteY6274" fmla="*/ 279559 h 514350"/>
                <a:gd name="connsiteX6275" fmla="*/ 1652111 w 6400800"/>
                <a:gd name="connsiteY6275" fmla="*/ 282416 h 514350"/>
                <a:gd name="connsiteX6276" fmla="*/ 1649254 w 6400800"/>
                <a:gd name="connsiteY6276" fmla="*/ 300514 h 514350"/>
                <a:gd name="connsiteX6277" fmla="*/ 1641634 w 6400800"/>
                <a:gd name="connsiteY6277" fmla="*/ 281464 h 514350"/>
                <a:gd name="connsiteX6278" fmla="*/ 1643539 w 6400800"/>
                <a:gd name="connsiteY6278" fmla="*/ 279559 h 514350"/>
                <a:gd name="connsiteX6279" fmla="*/ 1647349 w 6400800"/>
                <a:gd name="connsiteY6279" fmla="*/ 277654 h 514350"/>
                <a:gd name="connsiteX6280" fmla="*/ 1654016 w 6400800"/>
                <a:gd name="connsiteY6280" fmla="*/ 273844 h 514350"/>
                <a:gd name="connsiteX6281" fmla="*/ 1647349 w 6400800"/>
                <a:gd name="connsiteY6281" fmla="*/ 276701 h 514350"/>
                <a:gd name="connsiteX6282" fmla="*/ 1643539 w 6400800"/>
                <a:gd name="connsiteY6282" fmla="*/ 278606 h 514350"/>
                <a:gd name="connsiteX6283" fmla="*/ 1642586 w 6400800"/>
                <a:gd name="connsiteY6283" fmla="*/ 279559 h 514350"/>
                <a:gd name="connsiteX6284" fmla="*/ 1642586 w 6400800"/>
                <a:gd name="connsiteY6284" fmla="*/ 255746 h 514350"/>
                <a:gd name="connsiteX6285" fmla="*/ 1640681 w 6400800"/>
                <a:gd name="connsiteY6285" fmla="*/ 226219 h 514350"/>
                <a:gd name="connsiteX6286" fmla="*/ 1640681 w 6400800"/>
                <a:gd name="connsiteY6286" fmla="*/ 226219 h 514350"/>
                <a:gd name="connsiteX6287" fmla="*/ 1620679 w 6400800"/>
                <a:gd name="connsiteY6287" fmla="*/ 348139 h 514350"/>
                <a:gd name="connsiteX6288" fmla="*/ 1620679 w 6400800"/>
                <a:gd name="connsiteY6288" fmla="*/ 351949 h 514350"/>
                <a:gd name="connsiteX6289" fmla="*/ 1620679 w 6400800"/>
                <a:gd name="connsiteY6289" fmla="*/ 353854 h 514350"/>
                <a:gd name="connsiteX6290" fmla="*/ 1618774 w 6400800"/>
                <a:gd name="connsiteY6290" fmla="*/ 356711 h 514350"/>
                <a:gd name="connsiteX6291" fmla="*/ 1620679 w 6400800"/>
                <a:gd name="connsiteY6291" fmla="*/ 348139 h 514350"/>
                <a:gd name="connsiteX6292" fmla="*/ 1618774 w 6400800"/>
                <a:gd name="connsiteY6292" fmla="*/ 311944 h 514350"/>
                <a:gd name="connsiteX6293" fmla="*/ 1616869 w 6400800"/>
                <a:gd name="connsiteY6293" fmla="*/ 315754 h 514350"/>
                <a:gd name="connsiteX6294" fmla="*/ 1605439 w 6400800"/>
                <a:gd name="connsiteY6294" fmla="*/ 343376 h 514350"/>
                <a:gd name="connsiteX6295" fmla="*/ 1602581 w 6400800"/>
                <a:gd name="connsiteY6295" fmla="*/ 350996 h 514350"/>
                <a:gd name="connsiteX6296" fmla="*/ 1602581 w 6400800"/>
                <a:gd name="connsiteY6296" fmla="*/ 342424 h 514350"/>
                <a:gd name="connsiteX6297" fmla="*/ 1613059 w 6400800"/>
                <a:gd name="connsiteY6297" fmla="*/ 321469 h 514350"/>
                <a:gd name="connsiteX6298" fmla="*/ 1619726 w 6400800"/>
                <a:gd name="connsiteY6298" fmla="*/ 310039 h 514350"/>
                <a:gd name="connsiteX6299" fmla="*/ 1618774 w 6400800"/>
                <a:gd name="connsiteY6299" fmla="*/ 311944 h 514350"/>
                <a:gd name="connsiteX6300" fmla="*/ 1610201 w 6400800"/>
                <a:gd name="connsiteY6300" fmla="*/ 269081 h 514350"/>
                <a:gd name="connsiteX6301" fmla="*/ 1614011 w 6400800"/>
                <a:gd name="connsiteY6301" fmla="*/ 258604 h 514350"/>
                <a:gd name="connsiteX6302" fmla="*/ 1616869 w 6400800"/>
                <a:gd name="connsiteY6302" fmla="*/ 252889 h 514350"/>
                <a:gd name="connsiteX6303" fmla="*/ 1617821 w 6400800"/>
                <a:gd name="connsiteY6303" fmla="*/ 292894 h 514350"/>
                <a:gd name="connsiteX6304" fmla="*/ 1617821 w 6400800"/>
                <a:gd name="connsiteY6304" fmla="*/ 293846 h 514350"/>
                <a:gd name="connsiteX6305" fmla="*/ 1614011 w 6400800"/>
                <a:gd name="connsiteY6305" fmla="*/ 289084 h 514350"/>
                <a:gd name="connsiteX6306" fmla="*/ 1606391 w 6400800"/>
                <a:gd name="connsiteY6306" fmla="*/ 277654 h 514350"/>
                <a:gd name="connsiteX6307" fmla="*/ 1610201 w 6400800"/>
                <a:gd name="connsiteY6307" fmla="*/ 269081 h 514350"/>
                <a:gd name="connsiteX6308" fmla="*/ 1600676 w 6400800"/>
                <a:gd name="connsiteY6308" fmla="*/ 297656 h 514350"/>
                <a:gd name="connsiteX6309" fmla="*/ 1606391 w 6400800"/>
                <a:gd name="connsiteY6309" fmla="*/ 279559 h 514350"/>
                <a:gd name="connsiteX6310" fmla="*/ 1611154 w 6400800"/>
                <a:gd name="connsiteY6310" fmla="*/ 290989 h 514350"/>
                <a:gd name="connsiteX6311" fmla="*/ 1616869 w 6400800"/>
                <a:gd name="connsiteY6311" fmla="*/ 303371 h 514350"/>
                <a:gd name="connsiteX6312" fmla="*/ 1606391 w 6400800"/>
                <a:gd name="connsiteY6312" fmla="*/ 317659 h 514350"/>
                <a:gd name="connsiteX6313" fmla="*/ 1601629 w 6400800"/>
                <a:gd name="connsiteY6313" fmla="*/ 325279 h 514350"/>
                <a:gd name="connsiteX6314" fmla="*/ 1600676 w 6400800"/>
                <a:gd name="connsiteY6314" fmla="*/ 319564 h 514350"/>
                <a:gd name="connsiteX6315" fmla="*/ 1599724 w 6400800"/>
                <a:gd name="connsiteY6315" fmla="*/ 305276 h 514350"/>
                <a:gd name="connsiteX6316" fmla="*/ 1600676 w 6400800"/>
                <a:gd name="connsiteY6316" fmla="*/ 297656 h 514350"/>
                <a:gd name="connsiteX6317" fmla="*/ 1567339 w 6400800"/>
                <a:gd name="connsiteY6317" fmla="*/ 315754 h 514350"/>
                <a:gd name="connsiteX6318" fmla="*/ 1568291 w 6400800"/>
                <a:gd name="connsiteY6318" fmla="*/ 330041 h 514350"/>
                <a:gd name="connsiteX6319" fmla="*/ 1566386 w 6400800"/>
                <a:gd name="connsiteY6319" fmla="*/ 320516 h 514350"/>
                <a:gd name="connsiteX6320" fmla="*/ 1567339 w 6400800"/>
                <a:gd name="connsiteY6320" fmla="*/ 315754 h 514350"/>
                <a:gd name="connsiteX6321" fmla="*/ 1547336 w 6400800"/>
                <a:gd name="connsiteY6321" fmla="*/ 265271 h 514350"/>
                <a:gd name="connsiteX6322" fmla="*/ 1546384 w 6400800"/>
                <a:gd name="connsiteY6322" fmla="*/ 275749 h 514350"/>
                <a:gd name="connsiteX6323" fmla="*/ 1545431 w 6400800"/>
                <a:gd name="connsiteY6323" fmla="*/ 272891 h 514350"/>
                <a:gd name="connsiteX6324" fmla="*/ 1547336 w 6400800"/>
                <a:gd name="connsiteY6324" fmla="*/ 265271 h 514350"/>
                <a:gd name="connsiteX6325" fmla="*/ 1541621 w 6400800"/>
                <a:gd name="connsiteY6325" fmla="*/ 286226 h 514350"/>
                <a:gd name="connsiteX6326" fmla="*/ 1543526 w 6400800"/>
                <a:gd name="connsiteY6326" fmla="*/ 293846 h 514350"/>
                <a:gd name="connsiteX6327" fmla="*/ 1542574 w 6400800"/>
                <a:gd name="connsiteY6327" fmla="*/ 301466 h 514350"/>
                <a:gd name="connsiteX6328" fmla="*/ 1539716 w 6400800"/>
                <a:gd name="connsiteY6328" fmla="*/ 291941 h 514350"/>
                <a:gd name="connsiteX6329" fmla="*/ 1541621 w 6400800"/>
                <a:gd name="connsiteY6329" fmla="*/ 286226 h 514350"/>
                <a:gd name="connsiteX6330" fmla="*/ 1537811 w 6400800"/>
                <a:gd name="connsiteY6330" fmla="*/ 271939 h 514350"/>
                <a:gd name="connsiteX6331" fmla="*/ 1538764 w 6400800"/>
                <a:gd name="connsiteY6331" fmla="*/ 276701 h 514350"/>
                <a:gd name="connsiteX6332" fmla="*/ 1536859 w 6400800"/>
                <a:gd name="connsiteY6332" fmla="*/ 280511 h 514350"/>
                <a:gd name="connsiteX6333" fmla="*/ 1537811 w 6400800"/>
                <a:gd name="connsiteY6333" fmla="*/ 271939 h 514350"/>
                <a:gd name="connsiteX6334" fmla="*/ 1533049 w 6400800"/>
                <a:gd name="connsiteY6334" fmla="*/ 338614 h 514350"/>
                <a:gd name="connsiteX6335" fmla="*/ 1533049 w 6400800"/>
                <a:gd name="connsiteY6335" fmla="*/ 335756 h 514350"/>
                <a:gd name="connsiteX6336" fmla="*/ 1535906 w 6400800"/>
                <a:gd name="connsiteY6336" fmla="*/ 350044 h 514350"/>
                <a:gd name="connsiteX6337" fmla="*/ 1536859 w 6400800"/>
                <a:gd name="connsiteY6337" fmla="*/ 357664 h 514350"/>
                <a:gd name="connsiteX6338" fmla="*/ 1536859 w 6400800"/>
                <a:gd name="connsiteY6338" fmla="*/ 362426 h 514350"/>
                <a:gd name="connsiteX6339" fmla="*/ 1536859 w 6400800"/>
                <a:gd name="connsiteY6339" fmla="*/ 362426 h 514350"/>
                <a:gd name="connsiteX6340" fmla="*/ 1532096 w 6400800"/>
                <a:gd name="connsiteY6340" fmla="*/ 346234 h 514350"/>
                <a:gd name="connsiteX6341" fmla="*/ 1533049 w 6400800"/>
                <a:gd name="connsiteY6341" fmla="*/ 338614 h 514350"/>
                <a:gd name="connsiteX6342" fmla="*/ 1519714 w 6400800"/>
                <a:gd name="connsiteY6342" fmla="*/ 270986 h 514350"/>
                <a:gd name="connsiteX6343" fmla="*/ 1525429 w 6400800"/>
                <a:gd name="connsiteY6343" fmla="*/ 297656 h 514350"/>
                <a:gd name="connsiteX6344" fmla="*/ 1524476 w 6400800"/>
                <a:gd name="connsiteY6344" fmla="*/ 301466 h 514350"/>
                <a:gd name="connsiteX6345" fmla="*/ 1521619 w 6400800"/>
                <a:gd name="connsiteY6345" fmla="*/ 315754 h 514350"/>
                <a:gd name="connsiteX6346" fmla="*/ 1519714 w 6400800"/>
                <a:gd name="connsiteY6346" fmla="*/ 310991 h 514350"/>
                <a:gd name="connsiteX6347" fmla="*/ 1517809 w 6400800"/>
                <a:gd name="connsiteY6347" fmla="*/ 268129 h 514350"/>
                <a:gd name="connsiteX6348" fmla="*/ 1519714 w 6400800"/>
                <a:gd name="connsiteY6348" fmla="*/ 270986 h 514350"/>
                <a:gd name="connsiteX6349" fmla="*/ 1503521 w 6400800"/>
                <a:gd name="connsiteY6349" fmla="*/ 302419 h 514350"/>
                <a:gd name="connsiteX6350" fmla="*/ 1502569 w 6400800"/>
                <a:gd name="connsiteY6350" fmla="*/ 313849 h 514350"/>
                <a:gd name="connsiteX6351" fmla="*/ 1502569 w 6400800"/>
                <a:gd name="connsiteY6351" fmla="*/ 330041 h 514350"/>
                <a:gd name="connsiteX6352" fmla="*/ 1501616 w 6400800"/>
                <a:gd name="connsiteY6352" fmla="*/ 329089 h 514350"/>
                <a:gd name="connsiteX6353" fmla="*/ 1497806 w 6400800"/>
                <a:gd name="connsiteY6353" fmla="*/ 311944 h 514350"/>
                <a:gd name="connsiteX6354" fmla="*/ 1503521 w 6400800"/>
                <a:gd name="connsiteY6354" fmla="*/ 302419 h 514350"/>
                <a:gd name="connsiteX6355" fmla="*/ 1477804 w 6400800"/>
                <a:gd name="connsiteY6355" fmla="*/ 272891 h 514350"/>
                <a:gd name="connsiteX6356" fmla="*/ 1477804 w 6400800"/>
                <a:gd name="connsiteY6356" fmla="*/ 272891 h 514350"/>
                <a:gd name="connsiteX6357" fmla="*/ 1477804 w 6400800"/>
                <a:gd name="connsiteY6357" fmla="*/ 282416 h 514350"/>
                <a:gd name="connsiteX6358" fmla="*/ 1476851 w 6400800"/>
                <a:gd name="connsiteY6358" fmla="*/ 294799 h 514350"/>
                <a:gd name="connsiteX6359" fmla="*/ 1475899 w 6400800"/>
                <a:gd name="connsiteY6359" fmla="*/ 295751 h 514350"/>
                <a:gd name="connsiteX6360" fmla="*/ 1474946 w 6400800"/>
                <a:gd name="connsiteY6360" fmla="*/ 282416 h 514350"/>
                <a:gd name="connsiteX6361" fmla="*/ 1477804 w 6400800"/>
                <a:gd name="connsiteY6361" fmla="*/ 272891 h 514350"/>
                <a:gd name="connsiteX6362" fmla="*/ 1461611 w 6400800"/>
                <a:gd name="connsiteY6362" fmla="*/ 326231 h 514350"/>
                <a:gd name="connsiteX6363" fmla="*/ 1461611 w 6400800"/>
                <a:gd name="connsiteY6363" fmla="*/ 328136 h 514350"/>
                <a:gd name="connsiteX6364" fmla="*/ 1460659 w 6400800"/>
                <a:gd name="connsiteY6364" fmla="*/ 330041 h 514350"/>
                <a:gd name="connsiteX6365" fmla="*/ 1460659 w 6400800"/>
                <a:gd name="connsiteY6365" fmla="*/ 329089 h 514350"/>
                <a:gd name="connsiteX6366" fmla="*/ 1461611 w 6400800"/>
                <a:gd name="connsiteY6366" fmla="*/ 326231 h 514350"/>
                <a:gd name="connsiteX6367" fmla="*/ 1457801 w 6400800"/>
                <a:gd name="connsiteY6367" fmla="*/ 309086 h 514350"/>
                <a:gd name="connsiteX6368" fmla="*/ 1457801 w 6400800"/>
                <a:gd name="connsiteY6368" fmla="*/ 309086 h 514350"/>
                <a:gd name="connsiteX6369" fmla="*/ 1455896 w 6400800"/>
                <a:gd name="connsiteY6369" fmla="*/ 302419 h 514350"/>
                <a:gd name="connsiteX6370" fmla="*/ 1457801 w 6400800"/>
                <a:gd name="connsiteY6370" fmla="*/ 309086 h 514350"/>
                <a:gd name="connsiteX6371" fmla="*/ 1442561 w 6400800"/>
                <a:gd name="connsiteY6371" fmla="*/ 328136 h 514350"/>
                <a:gd name="connsiteX6372" fmla="*/ 1442561 w 6400800"/>
                <a:gd name="connsiteY6372" fmla="*/ 318611 h 514350"/>
                <a:gd name="connsiteX6373" fmla="*/ 1444466 w 6400800"/>
                <a:gd name="connsiteY6373" fmla="*/ 333851 h 514350"/>
                <a:gd name="connsiteX6374" fmla="*/ 1442561 w 6400800"/>
                <a:gd name="connsiteY6374" fmla="*/ 330041 h 514350"/>
                <a:gd name="connsiteX6375" fmla="*/ 1442561 w 6400800"/>
                <a:gd name="connsiteY6375" fmla="*/ 328136 h 514350"/>
                <a:gd name="connsiteX6376" fmla="*/ 1415891 w 6400800"/>
                <a:gd name="connsiteY6376" fmla="*/ 281464 h 514350"/>
                <a:gd name="connsiteX6377" fmla="*/ 1415891 w 6400800"/>
                <a:gd name="connsiteY6377" fmla="*/ 289084 h 514350"/>
                <a:gd name="connsiteX6378" fmla="*/ 1415891 w 6400800"/>
                <a:gd name="connsiteY6378" fmla="*/ 289084 h 514350"/>
                <a:gd name="connsiteX6379" fmla="*/ 1413034 w 6400800"/>
                <a:gd name="connsiteY6379" fmla="*/ 286226 h 514350"/>
                <a:gd name="connsiteX6380" fmla="*/ 1415891 w 6400800"/>
                <a:gd name="connsiteY6380" fmla="*/ 281464 h 514350"/>
                <a:gd name="connsiteX6381" fmla="*/ 1412081 w 6400800"/>
                <a:gd name="connsiteY6381" fmla="*/ 290036 h 514350"/>
                <a:gd name="connsiteX6382" fmla="*/ 1413986 w 6400800"/>
                <a:gd name="connsiteY6382" fmla="*/ 292894 h 514350"/>
                <a:gd name="connsiteX6383" fmla="*/ 1415891 w 6400800"/>
                <a:gd name="connsiteY6383" fmla="*/ 295751 h 514350"/>
                <a:gd name="connsiteX6384" fmla="*/ 1415891 w 6400800"/>
                <a:gd name="connsiteY6384" fmla="*/ 300514 h 514350"/>
                <a:gd name="connsiteX6385" fmla="*/ 1412081 w 6400800"/>
                <a:gd name="connsiteY6385" fmla="*/ 290036 h 514350"/>
                <a:gd name="connsiteX6386" fmla="*/ 1412081 w 6400800"/>
                <a:gd name="connsiteY6386" fmla="*/ 290036 h 514350"/>
                <a:gd name="connsiteX6387" fmla="*/ 1383506 w 6400800"/>
                <a:gd name="connsiteY6387" fmla="*/ 364331 h 514350"/>
                <a:gd name="connsiteX6388" fmla="*/ 1382554 w 6400800"/>
                <a:gd name="connsiteY6388" fmla="*/ 358616 h 514350"/>
                <a:gd name="connsiteX6389" fmla="*/ 1382554 w 6400800"/>
                <a:gd name="connsiteY6389" fmla="*/ 357664 h 514350"/>
                <a:gd name="connsiteX6390" fmla="*/ 1383506 w 6400800"/>
                <a:gd name="connsiteY6390" fmla="*/ 362426 h 514350"/>
                <a:gd name="connsiteX6391" fmla="*/ 1383506 w 6400800"/>
                <a:gd name="connsiteY6391" fmla="*/ 364331 h 514350"/>
                <a:gd name="connsiteX6392" fmla="*/ 1386364 w 6400800"/>
                <a:gd name="connsiteY6392" fmla="*/ 298609 h 514350"/>
                <a:gd name="connsiteX6393" fmla="*/ 1386364 w 6400800"/>
                <a:gd name="connsiteY6393" fmla="*/ 298609 h 514350"/>
                <a:gd name="connsiteX6394" fmla="*/ 1384459 w 6400800"/>
                <a:gd name="connsiteY6394" fmla="*/ 293846 h 514350"/>
                <a:gd name="connsiteX6395" fmla="*/ 1386364 w 6400800"/>
                <a:gd name="connsiteY6395" fmla="*/ 290989 h 514350"/>
                <a:gd name="connsiteX6396" fmla="*/ 1391126 w 6400800"/>
                <a:gd name="connsiteY6396" fmla="*/ 286226 h 514350"/>
                <a:gd name="connsiteX6397" fmla="*/ 1386364 w 6400800"/>
                <a:gd name="connsiteY6397" fmla="*/ 298609 h 514350"/>
                <a:gd name="connsiteX6398" fmla="*/ 1383506 w 6400800"/>
                <a:gd name="connsiteY6398" fmla="*/ 287179 h 514350"/>
                <a:gd name="connsiteX6399" fmla="*/ 1382554 w 6400800"/>
                <a:gd name="connsiteY6399" fmla="*/ 288131 h 514350"/>
                <a:gd name="connsiteX6400" fmla="*/ 1376839 w 6400800"/>
                <a:gd name="connsiteY6400" fmla="*/ 274796 h 514350"/>
                <a:gd name="connsiteX6401" fmla="*/ 1384459 w 6400800"/>
                <a:gd name="connsiteY6401" fmla="*/ 242411 h 514350"/>
                <a:gd name="connsiteX6402" fmla="*/ 1390174 w 6400800"/>
                <a:gd name="connsiteY6402" fmla="*/ 281464 h 514350"/>
                <a:gd name="connsiteX6403" fmla="*/ 1383506 w 6400800"/>
                <a:gd name="connsiteY6403" fmla="*/ 287179 h 514350"/>
                <a:gd name="connsiteX6404" fmla="*/ 1391126 w 6400800"/>
                <a:gd name="connsiteY6404" fmla="*/ 310991 h 514350"/>
                <a:gd name="connsiteX6405" fmla="*/ 1393031 w 6400800"/>
                <a:gd name="connsiteY6405" fmla="*/ 299561 h 514350"/>
                <a:gd name="connsiteX6406" fmla="*/ 1393031 w 6400800"/>
                <a:gd name="connsiteY6406" fmla="*/ 298609 h 514350"/>
                <a:gd name="connsiteX6407" fmla="*/ 1393984 w 6400800"/>
                <a:gd name="connsiteY6407" fmla="*/ 305276 h 514350"/>
                <a:gd name="connsiteX6408" fmla="*/ 1391126 w 6400800"/>
                <a:gd name="connsiteY6408" fmla="*/ 310991 h 514350"/>
                <a:gd name="connsiteX6409" fmla="*/ 1397794 w 6400800"/>
                <a:gd name="connsiteY6409" fmla="*/ 278606 h 514350"/>
                <a:gd name="connsiteX6410" fmla="*/ 1397794 w 6400800"/>
                <a:gd name="connsiteY6410" fmla="*/ 278606 h 514350"/>
                <a:gd name="connsiteX6411" fmla="*/ 1397794 w 6400800"/>
                <a:gd name="connsiteY6411" fmla="*/ 279559 h 514350"/>
                <a:gd name="connsiteX6412" fmla="*/ 1397794 w 6400800"/>
                <a:gd name="connsiteY6412" fmla="*/ 278606 h 514350"/>
                <a:gd name="connsiteX6413" fmla="*/ 1397794 w 6400800"/>
                <a:gd name="connsiteY6413" fmla="*/ 278606 h 514350"/>
                <a:gd name="connsiteX6414" fmla="*/ 1397794 w 6400800"/>
                <a:gd name="connsiteY6414" fmla="*/ 322421 h 514350"/>
                <a:gd name="connsiteX6415" fmla="*/ 1399699 w 6400800"/>
                <a:gd name="connsiteY6415" fmla="*/ 331946 h 514350"/>
                <a:gd name="connsiteX6416" fmla="*/ 1399699 w 6400800"/>
                <a:gd name="connsiteY6416" fmla="*/ 333851 h 514350"/>
                <a:gd name="connsiteX6417" fmla="*/ 1396841 w 6400800"/>
                <a:gd name="connsiteY6417" fmla="*/ 326231 h 514350"/>
                <a:gd name="connsiteX6418" fmla="*/ 1397794 w 6400800"/>
                <a:gd name="connsiteY6418" fmla="*/ 322421 h 514350"/>
                <a:gd name="connsiteX6419" fmla="*/ 1387316 w 6400800"/>
                <a:gd name="connsiteY6419" fmla="*/ 231934 h 514350"/>
                <a:gd name="connsiteX6420" fmla="*/ 1395889 w 6400800"/>
                <a:gd name="connsiteY6420" fmla="*/ 270986 h 514350"/>
                <a:gd name="connsiteX6421" fmla="*/ 1394936 w 6400800"/>
                <a:gd name="connsiteY6421" fmla="*/ 272891 h 514350"/>
                <a:gd name="connsiteX6422" fmla="*/ 1384459 w 6400800"/>
                <a:gd name="connsiteY6422" fmla="*/ 240506 h 514350"/>
                <a:gd name="connsiteX6423" fmla="*/ 1387316 w 6400800"/>
                <a:gd name="connsiteY6423" fmla="*/ 231934 h 514350"/>
                <a:gd name="connsiteX6424" fmla="*/ 1380649 w 6400800"/>
                <a:gd name="connsiteY6424" fmla="*/ 232886 h 514350"/>
                <a:gd name="connsiteX6425" fmla="*/ 1386364 w 6400800"/>
                <a:gd name="connsiteY6425" fmla="*/ 225266 h 514350"/>
                <a:gd name="connsiteX6426" fmla="*/ 1386364 w 6400800"/>
                <a:gd name="connsiteY6426" fmla="*/ 225266 h 514350"/>
                <a:gd name="connsiteX6427" fmla="*/ 1372076 w 6400800"/>
                <a:gd name="connsiteY6427" fmla="*/ 262414 h 514350"/>
                <a:gd name="connsiteX6428" fmla="*/ 1370171 w 6400800"/>
                <a:gd name="connsiteY6428" fmla="*/ 257651 h 514350"/>
                <a:gd name="connsiteX6429" fmla="*/ 1369219 w 6400800"/>
                <a:gd name="connsiteY6429" fmla="*/ 253841 h 514350"/>
                <a:gd name="connsiteX6430" fmla="*/ 1380649 w 6400800"/>
                <a:gd name="connsiteY6430" fmla="*/ 232886 h 514350"/>
                <a:gd name="connsiteX6431" fmla="*/ 1356836 w 6400800"/>
                <a:gd name="connsiteY6431" fmla="*/ 300514 h 514350"/>
                <a:gd name="connsiteX6432" fmla="*/ 1356836 w 6400800"/>
                <a:gd name="connsiteY6432" fmla="*/ 302419 h 514350"/>
                <a:gd name="connsiteX6433" fmla="*/ 1355884 w 6400800"/>
                <a:gd name="connsiteY6433" fmla="*/ 304324 h 514350"/>
                <a:gd name="connsiteX6434" fmla="*/ 1355884 w 6400800"/>
                <a:gd name="connsiteY6434" fmla="*/ 299561 h 514350"/>
                <a:gd name="connsiteX6435" fmla="*/ 1356836 w 6400800"/>
                <a:gd name="connsiteY6435" fmla="*/ 300514 h 514350"/>
                <a:gd name="connsiteX6436" fmla="*/ 1339691 w 6400800"/>
                <a:gd name="connsiteY6436" fmla="*/ 325279 h 514350"/>
                <a:gd name="connsiteX6437" fmla="*/ 1339691 w 6400800"/>
                <a:gd name="connsiteY6437" fmla="*/ 324326 h 514350"/>
                <a:gd name="connsiteX6438" fmla="*/ 1341596 w 6400800"/>
                <a:gd name="connsiteY6438" fmla="*/ 317659 h 514350"/>
                <a:gd name="connsiteX6439" fmla="*/ 1341596 w 6400800"/>
                <a:gd name="connsiteY6439" fmla="*/ 317659 h 514350"/>
                <a:gd name="connsiteX6440" fmla="*/ 1341596 w 6400800"/>
                <a:gd name="connsiteY6440" fmla="*/ 330994 h 514350"/>
                <a:gd name="connsiteX6441" fmla="*/ 1339691 w 6400800"/>
                <a:gd name="connsiteY6441" fmla="*/ 325279 h 514350"/>
                <a:gd name="connsiteX6442" fmla="*/ 1340644 w 6400800"/>
                <a:gd name="connsiteY6442" fmla="*/ 226219 h 514350"/>
                <a:gd name="connsiteX6443" fmla="*/ 1340644 w 6400800"/>
                <a:gd name="connsiteY6443" fmla="*/ 226219 h 514350"/>
                <a:gd name="connsiteX6444" fmla="*/ 1344454 w 6400800"/>
                <a:gd name="connsiteY6444" fmla="*/ 237649 h 514350"/>
                <a:gd name="connsiteX6445" fmla="*/ 1344454 w 6400800"/>
                <a:gd name="connsiteY6445" fmla="*/ 242411 h 514350"/>
                <a:gd name="connsiteX6446" fmla="*/ 1343501 w 6400800"/>
                <a:gd name="connsiteY6446" fmla="*/ 264319 h 514350"/>
                <a:gd name="connsiteX6447" fmla="*/ 1343501 w 6400800"/>
                <a:gd name="connsiteY6447" fmla="*/ 272891 h 514350"/>
                <a:gd name="connsiteX6448" fmla="*/ 1339691 w 6400800"/>
                <a:gd name="connsiteY6448" fmla="*/ 269081 h 514350"/>
                <a:gd name="connsiteX6449" fmla="*/ 1340644 w 6400800"/>
                <a:gd name="connsiteY6449" fmla="*/ 226219 h 514350"/>
                <a:gd name="connsiteX6450" fmla="*/ 1337786 w 6400800"/>
                <a:gd name="connsiteY6450" fmla="*/ 295751 h 514350"/>
                <a:gd name="connsiteX6451" fmla="*/ 1338739 w 6400800"/>
                <a:gd name="connsiteY6451" fmla="*/ 271939 h 514350"/>
                <a:gd name="connsiteX6452" fmla="*/ 1342549 w 6400800"/>
                <a:gd name="connsiteY6452" fmla="*/ 276701 h 514350"/>
                <a:gd name="connsiteX6453" fmla="*/ 1342549 w 6400800"/>
                <a:gd name="connsiteY6453" fmla="*/ 276701 h 514350"/>
                <a:gd name="connsiteX6454" fmla="*/ 1342549 w 6400800"/>
                <a:gd name="connsiteY6454" fmla="*/ 286226 h 514350"/>
                <a:gd name="connsiteX6455" fmla="*/ 1337786 w 6400800"/>
                <a:gd name="connsiteY6455" fmla="*/ 295751 h 514350"/>
                <a:gd name="connsiteX6456" fmla="*/ 1337786 w 6400800"/>
                <a:gd name="connsiteY6456" fmla="*/ 296704 h 514350"/>
                <a:gd name="connsiteX6457" fmla="*/ 1337786 w 6400800"/>
                <a:gd name="connsiteY6457" fmla="*/ 295751 h 514350"/>
                <a:gd name="connsiteX6458" fmla="*/ 1314926 w 6400800"/>
                <a:gd name="connsiteY6458" fmla="*/ 320516 h 514350"/>
                <a:gd name="connsiteX6459" fmla="*/ 1314926 w 6400800"/>
                <a:gd name="connsiteY6459" fmla="*/ 320516 h 514350"/>
                <a:gd name="connsiteX6460" fmla="*/ 1314926 w 6400800"/>
                <a:gd name="connsiteY6460" fmla="*/ 320516 h 514350"/>
                <a:gd name="connsiteX6461" fmla="*/ 1314926 w 6400800"/>
                <a:gd name="connsiteY6461" fmla="*/ 320516 h 514350"/>
                <a:gd name="connsiteX6462" fmla="*/ 1311116 w 6400800"/>
                <a:gd name="connsiteY6462" fmla="*/ 312896 h 514350"/>
                <a:gd name="connsiteX6463" fmla="*/ 1311116 w 6400800"/>
                <a:gd name="connsiteY6463" fmla="*/ 312896 h 514350"/>
                <a:gd name="connsiteX6464" fmla="*/ 1311116 w 6400800"/>
                <a:gd name="connsiteY6464" fmla="*/ 314801 h 514350"/>
                <a:gd name="connsiteX6465" fmla="*/ 1311116 w 6400800"/>
                <a:gd name="connsiteY6465" fmla="*/ 314801 h 514350"/>
                <a:gd name="connsiteX6466" fmla="*/ 1311116 w 6400800"/>
                <a:gd name="connsiteY6466" fmla="*/ 312896 h 514350"/>
                <a:gd name="connsiteX6467" fmla="*/ 1242536 w 6400800"/>
                <a:gd name="connsiteY6467" fmla="*/ 344329 h 514350"/>
                <a:gd name="connsiteX6468" fmla="*/ 1238726 w 6400800"/>
                <a:gd name="connsiteY6468" fmla="*/ 336709 h 514350"/>
                <a:gd name="connsiteX6469" fmla="*/ 1238726 w 6400800"/>
                <a:gd name="connsiteY6469" fmla="*/ 310991 h 514350"/>
                <a:gd name="connsiteX6470" fmla="*/ 1238726 w 6400800"/>
                <a:gd name="connsiteY6470" fmla="*/ 307181 h 514350"/>
                <a:gd name="connsiteX6471" fmla="*/ 1244441 w 6400800"/>
                <a:gd name="connsiteY6471" fmla="*/ 339566 h 514350"/>
                <a:gd name="connsiteX6472" fmla="*/ 1244441 w 6400800"/>
                <a:gd name="connsiteY6472" fmla="*/ 340519 h 514350"/>
                <a:gd name="connsiteX6473" fmla="*/ 1242536 w 6400800"/>
                <a:gd name="connsiteY6473" fmla="*/ 344329 h 514350"/>
                <a:gd name="connsiteX6474" fmla="*/ 1279684 w 6400800"/>
                <a:gd name="connsiteY6474" fmla="*/ 290989 h 514350"/>
                <a:gd name="connsiteX6475" fmla="*/ 1279684 w 6400800"/>
                <a:gd name="connsiteY6475" fmla="*/ 284321 h 514350"/>
                <a:gd name="connsiteX6476" fmla="*/ 1281589 w 6400800"/>
                <a:gd name="connsiteY6476" fmla="*/ 287179 h 514350"/>
                <a:gd name="connsiteX6477" fmla="*/ 1279684 w 6400800"/>
                <a:gd name="connsiteY6477" fmla="*/ 290989 h 514350"/>
                <a:gd name="connsiteX6478" fmla="*/ 1298734 w 6400800"/>
                <a:gd name="connsiteY6478" fmla="*/ 332899 h 514350"/>
                <a:gd name="connsiteX6479" fmla="*/ 1298734 w 6400800"/>
                <a:gd name="connsiteY6479" fmla="*/ 332899 h 514350"/>
                <a:gd name="connsiteX6480" fmla="*/ 1298734 w 6400800"/>
                <a:gd name="connsiteY6480" fmla="*/ 330994 h 514350"/>
                <a:gd name="connsiteX6481" fmla="*/ 1298734 w 6400800"/>
                <a:gd name="connsiteY6481" fmla="*/ 332899 h 514350"/>
                <a:gd name="connsiteX6482" fmla="*/ 1295876 w 6400800"/>
                <a:gd name="connsiteY6482" fmla="*/ 278606 h 514350"/>
                <a:gd name="connsiteX6483" fmla="*/ 1305401 w 6400800"/>
                <a:gd name="connsiteY6483" fmla="*/ 299561 h 514350"/>
                <a:gd name="connsiteX6484" fmla="*/ 1305401 w 6400800"/>
                <a:gd name="connsiteY6484" fmla="*/ 300514 h 514350"/>
                <a:gd name="connsiteX6485" fmla="*/ 1304449 w 6400800"/>
                <a:gd name="connsiteY6485" fmla="*/ 303371 h 514350"/>
                <a:gd name="connsiteX6486" fmla="*/ 1300639 w 6400800"/>
                <a:gd name="connsiteY6486" fmla="*/ 295751 h 514350"/>
                <a:gd name="connsiteX6487" fmla="*/ 1293971 w 6400800"/>
                <a:gd name="connsiteY6487" fmla="*/ 284321 h 514350"/>
                <a:gd name="connsiteX6488" fmla="*/ 1295876 w 6400800"/>
                <a:gd name="connsiteY6488" fmla="*/ 278606 h 514350"/>
                <a:gd name="connsiteX6489" fmla="*/ 1299686 w 6400800"/>
                <a:gd name="connsiteY6489" fmla="*/ 328136 h 514350"/>
                <a:gd name="connsiteX6490" fmla="*/ 1299686 w 6400800"/>
                <a:gd name="connsiteY6490" fmla="*/ 330041 h 514350"/>
                <a:gd name="connsiteX6491" fmla="*/ 1298734 w 6400800"/>
                <a:gd name="connsiteY6491" fmla="*/ 331946 h 514350"/>
                <a:gd name="connsiteX6492" fmla="*/ 1293019 w 6400800"/>
                <a:gd name="connsiteY6492" fmla="*/ 324326 h 514350"/>
                <a:gd name="connsiteX6493" fmla="*/ 1289209 w 6400800"/>
                <a:gd name="connsiteY6493" fmla="*/ 318611 h 514350"/>
                <a:gd name="connsiteX6494" fmla="*/ 1289209 w 6400800"/>
                <a:gd name="connsiteY6494" fmla="*/ 318611 h 514350"/>
                <a:gd name="connsiteX6495" fmla="*/ 1289209 w 6400800"/>
                <a:gd name="connsiteY6495" fmla="*/ 309086 h 514350"/>
                <a:gd name="connsiteX6496" fmla="*/ 1290161 w 6400800"/>
                <a:gd name="connsiteY6496" fmla="*/ 305276 h 514350"/>
                <a:gd name="connsiteX6497" fmla="*/ 1299686 w 6400800"/>
                <a:gd name="connsiteY6497" fmla="*/ 328136 h 514350"/>
                <a:gd name="connsiteX6498" fmla="*/ 1289209 w 6400800"/>
                <a:gd name="connsiteY6498" fmla="*/ 263366 h 514350"/>
                <a:gd name="connsiteX6499" fmla="*/ 1287304 w 6400800"/>
                <a:gd name="connsiteY6499" fmla="*/ 268129 h 514350"/>
                <a:gd name="connsiteX6500" fmla="*/ 1287304 w 6400800"/>
                <a:gd name="connsiteY6500" fmla="*/ 259556 h 514350"/>
                <a:gd name="connsiteX6501" fmla="*/ 1289209 w 6400800"/>
                <a:gd name="connsiteY6501" fmla="*/ 263366 h 514350"/>
                <a:gd name="connsiteX6502" fmla="*/ 1276826 w 6400800"/>
                <a:gd name="connsiteY6502" fmla="*/ 238601 h 514350"/>
                <a:gd name="connsiteX6503" fmla="*/ 1278731 w 6400800"/>
                <a:gd name="connsiteY6503" fmla="*/ 242411 h 514350"/>
                <a:gd name="connsiteX6504" fmla="*/ 1286351 w 6400800"/>
                <a:gd name="connsiteY6504" fmla="*/ 257651 h 514350"/>
                <a:gd name="connsiteX6505" fmla="*/ 1285399 w 6400800"/>
                <a:gd name="connsiteY6505" fmla="*/ 267176 h 514350"/>
                <a:gd name="connsiteX6506" fmla="*/ 1277779 w 6400800"/>
                <a:gd name="connsiteY6506" fmla="*/ 255746 h 514350"/>
                <a:gd name="connsiteX6507" fmla="*/ 1276826 w 6400800"/>
                <a:gd name="connsiteY6507" fmla="*/ 242411 h 514350"/>
                <a:gd name="connsiteX6508" fmla="*/ 1276826 w 6400800"/>
                <a:gd name="connsiteY6508" fmla="*/ 238601 h 514350"/>
                <a:gd name="connsiteX6509" fmla="*/ 1273016 w 6400800"/>
                <a:gd name="connsiteY6509" fmla="*/ 271939 h 514350"/>
                <a:gd name="connsiteX6510" fmla="*/ 1273969 w 6400800"/>
                <a:gd name="connsiteY6510" fmla="*/ 272891 h 514350"/>
                <a:gd name="connsiteX6511" fmla="*/ 1273016 w 6400800"/>
                <a:gd name="connsiteY6511" fmla="*/ 291941 h 514350"/>
                <a:gd name="connsiteX6512" fmla="*/ 1271111 w 6400800"/>
                <a:gd name="connsiteY6512" fmla="*/ 288131 h 514350"/>
                <a:gd name="connsiteX6513" fmla="*/ 1273016 w 6400800"/>
                <a:gd name="connsiteY6513" fmla="*/ 271939 h 514350"/>
                <a:gd name="connsiteX6514" fmla="*/ 1240631 w 6400800"/>
                <a:gd name="connsiteY6514" fmla="*/ 229076 h 514350"/>
                <a:gd name="connsiteX6515" fmla="*/ 1244441 w 6400800"/>
                <a:gd name="connsiteY6515" fmla="*/ 220504 h 514350"/>
                <a:gd name="connsiteX6516" fmla="*/ 1253966 w 6400800"/>
                <a:gd name="connsiteY6516" fmla="*/ 237649 h 514350"/>
                <a:gd name="connsiteX6517" fmla="*/ 1264444 w 6400800"/>
                <a:gd name="connsiteY6517" fmla="*/ 257651 h 514350"/>
                <a:gd name="connsiteX6518" fmla="*/ 1268254 w 6400800"/>
                <a:gd name="connsiteY6518" fmla="*/ 264319 h 514350"/>
                <a:gd name="connsiteX6519" fmla="*/ 1262539 w 6400800"/>
                <a:gd name="connsiteY6519" fmla="*/ 286226 h 514350"/>
                <a:gd name="connsiteX6520" fmla="*/ 1254919 w 6400800"/>
                <a:gd name="connsiteY6520" fmla="*/ 277654 h 514350"/>
                <a:gd name="connsiteX6521" fmla="*/ 1241584 w 6400800"/>
                <a:gd name="connsiteY6521" fmla="*/ 251936 h 514350"/>
                <a:gd name="connsiteX6522" fmla="*/ 1235869 w 6400800"/>
                <a:gd name="connsiteY6522" fmla="*/ 243364 h 514350"/>
                <a:gd name="connsiteX6523" fmla="*/ 1235869 w 6400800"/>
                <a:gd name="connsiteY6523" fmla="*/ 242411 h 514350"/>
                <a:gd name="connsiteX6524" fmla="*/ 1240631 w 6400800"/>
                <a:gd name="connsiteY6524" fmla="*/ 229076 h 514350"/>
                <a:gd name="connsiteX6525" fmla="*/ 1228249 w 6400800"/>
                <a:gd name="connsiteY6525" fmla="*/ 304324 h 514350"/>
                <a:gd name="connsiteX6526" fmla="*/ 1227296 w 6400800"/>
                <a:gd name="connsiteY6526" fmla="*/ 288131 h 514350"/>
                <a:gd name="connsiteX6527" fmla="*/ 1227296 w 6400800"/>
                <a:gd name="connsiteY6527" fmla="*/ 281464 h 514350"/>
                <a:gd name="connsiteX6528" fmla="*/ 1228249 w 6400800"/>
                <a:gd name="connsiteY6528" fmla="*/ 279559 h 514350"/>
                <a:gd name="connsiteX6529" fmla="*/ 1228249 w 6400800"/>
                <a:gd name="connsiteY6529" fmla="*/ 278606 h 514350"/>
                <a:gd name="connsiteX6530" fmla="*/ 1229201 w 6400800"/>
                <a:gd name="connsiteY6530" fmla="*/ 279559 h 514350"/>
                <a:gd name="connsiteX6531" fmla="*/ 1231106 w 6400800"/>
                <a:gd name="connsiteY6531" fmla="*/ 284321 h 514350"/>
                <a:gd name="connsiteX6532" fmla="*/ 1228249 w 6400800"/>
                <a:gd name="connsiteY6532" fmla="*/ 304324 h 514350"/>
                <a:gd name="connsiteX6533" fmla="*/ 1232059 w 6400800"/>
                <a:gd name="connsiteY6533" fmla="*/ 280511 h 514350"/>
                <a:gd name="connsiteX6534" fmla="*/ 1232059 w 6400800"/>
                <a:gd name="connsiteY6534" fmla="*/ 278606 h 514350"/>
                <a:gd name="connsiteX6535" fmla="*/ 1230154 w 6400800"/>
                <a:gd name="connsiteY6535" fmla="*/ 275749 h 514350"/>
                <a:gd name="connsiteX6536" fmla="*/ 1227296 w 6400800"/>
                <a:gd name="connsiteY6536" fmla="*/ 275749 h 514350"/>
                <a:gd name="connsiteX6537" fmla="*/ 1226344 w 6400800"/>
                <a:gd name="connsiteY6537" fmla="*/ 275749 h 514350"/>
                <a:gd name="connsiteX6538" fmla="*/ 1226344 w 6400800"/>
                <a:gd name="connsiteY6538" fmla="*/ 269081 h 514350"/>
                <a:gd name="connsiteX6539" fmla="*/ 1230154 w 6400800"/>
                <a:gd name="connsiteY6539" fmla="*/ 272891 h 514350"/>
                <a:gd name="connsiteX6540" fmla="*/ 1233011 w 6400800"/>
                <a:gd name="connsiteY6540" fmla="*/ 276701 h 514350"/>
                <a:gd name="connsiteX6541" fmla="*/ 1232059 w 6400800"/>
                <a:gd name="connsiteY6541" fmla="*/ 280511 h 514350"/>
                <a:gd name="connsiteX6542" fmla="*/ 1230154 w 6400800"/>
                <a:gd name="connsiteY6542" fmla="*/ 221456 h 514350"/>
                <a:gd name="connsiteX6543" fmla="*/ 1233964 w 6400800"/>
                <a:gd name="connsiteY6543" fmla="*/ 233839 h 514350"/>
                <a:gd name="connsiteX6544" fmla="*/ 1233964 w 6400800"/>
                <a:gd name="connsiteY6544" fmla="*/ 233839 h 514350"/>
                <a:gd name="connsiteX6545" fmla="*/ 1233011 w 6400800"/>
                <a:gd name="connsiteY6545" fmla="*/ 230029 h 514350"/>
                <a:gd name="connsiteX6546" fmla="*/ 1230154 w 6400800"/>
                <a:gd name="connsiteY6546" fmla="*/ 221456 h 514350"/>
                <a:gd name="connsiteX6547" fmla="*/ 1230154 w 6400800"/>
                <a:gd name="connsiteY6547" fmla="*/ 221456 h 514350"/>
                <a:gd name="connsiteX6548" fmla="*/ 1229201 w 6400800"/>
                <a:gd name="connsiteY6548" fmla="*/ 257651 h 514350"/>
                <a:gd name="connsiteX6549" fmla="*/ 1229201 w 6400800"/>
                <a:gd name="connsiteY6549" fmla="*/ 257651 h 514350"/>
                <a:gd name="connsiteX6550" fmla="*/ 1230154 w 6400800"/>
                <a:gd name="connsiteY6550" fmla="*/ 259556 h 514350"/>
                <a:gd name="connsiteX6551" fmla="*/ 1230154 w 6400800"/>
                <a:gd name="connsiteY6551" fmla="*/ 262414 h 514350"/>
                <a:gd name="connsiteX6552" fmla="*/ 1232059 w 6400800"/>
                <a:gd name="connsiteY6552" fmla="*/ 274796 h 514350"/>
                <a:gd name="connsiteX6553" fmla="*/ 1232059 w 6400800"/>
                <a:gd name="connsiteY6553" fmla="*/ 274796 h 514350"/>
                <a:gd name="connsiteX6554" fmla="*/ 1229201 w 6400800"/>
                <a:gd name="connsiteY6554" fmla="*/ 272891 h 514350"/>
                <a:gd name="connsiteX6555" fmla="*/ 1225391 w 6400800"/>
                <a:gd name="connsiteY6555" fmla="*/ 269081 h 514350"/>
                <a:gd name="connsiteX6556" fmla="*/ 1225391 w 6400800"/>
                <a:gd name="connsiteY6556" fmla="*/ 265271 h 514350"/>
                <a:gd name="connsiteX6557" fmla="*/ 1229201 w 6400800"/>
                <a:gd name="connsiteY6557" fmla="*/ 257651 h 514350"/>
                <a:gd name="connsiteX6558" fmla="*/ 1226344 w 6400800"/>
                <a:gd name="connsiteY6558" fmla="*/ 235744 h 514350"/>
                <a:gd name="connsiteX6559" fmla="*/ 1228249 w 6400800"/>
                <a:gd name="connsiteY6559" fmla="*/ 244316 h 514350"/>
                <a:gd name="connsiteX6560" fmla="*/ 1227296 w 6400800"/>
                <a:gd name="connsiteY6560" fmla="*/ 246221 h 514350"/>
                <a:gd name="connsiteX6561" fmla="*/ 1225391 w 6400800"/>
                <a:gd name="connsiteY6561" fmla="*/ 244316 h 514350"/>
                <a:gd name="connsiteX6562" fmla="*/ 1225391 w 6400800"/>
                <a:gd name="connsiteY6562" fmla="*/ 231934 h 514350"/>
                <a:gd name="connsiteX6563" fmla="*/ 1226344 w 6400800"/>
                <a:gd name="connsiteY6563" fmla="*/ 235744 h 514350"/>
                <a:gd name="connsiteX6564" fmla="*/ 1197769 w 6400800"/>
                <a:gd name="connsiteY6564" fmla="*/ 293846 h 514350"/>
                <a:gd name="connsiteX6565" fmla="*/ 1198721 w 6400800"/>
                <a:gd name="connsiteY6565" fmla="*/ 290036 h 514350"/>
                <a:gd name="connsiteX6566" fmla="*/ 1198721 w 6400800"/>
                <a:gd name="connsiteY6566" fmla="*/ 291941 h 514350"/>
                <a:gd name="connsiteX6567" fmla="*/ 1199674 w 6400800"/>
                <a:gd name="connsiteY6567" fmla="*/ 299561 h 514350"/>
                <a:gd name="connsiteX6568" fmla="*/ 1196816 w 6400800"/>
                <a:gd name="connsiteY6568" fmla="*/ 307181 h 514350"/>
                <a:gd name="connsiteX6569" fmla="*/ 1194911 w 6400800"/>
                <a:gd name="connsiteY6569" fmla="*/ 299561 h 514350"/>
                <a:gd name="connsiteX6570" fmla="*/ 1197769 w 6400800"/>
                <a:gd name="connsiteY6570" fmla="*/ 293846 h 514350"/>
                <a:gd name="connsiteX6571" fmla="*/ 1196816 w 6400800"/>
                <a:gd name="connsiteY6571" fmla="*/ 459581 h 514350"/>
                <a:gd name="connsiteX6572" fmla="*/ 1196816 w 6400800"/>
                <a:gd name="connsiteY6572" fmla="*/ 459581 h 514350"/>
                <a:gd name="connsiteX6573" fmla="*/ 1195864 w 6400800"/>
                <a:gd name="connsiteY6573" fmla="*/ 455771 h 514350"/>
                <a:gd name="connsiteX6574" fmla="*/ 1196816 w 6400800"/>
                <a:gd name="connsiteY6574" fmla="*/ 459581 h 514350"/>
                <a:gd name="connsiteX6575" fmla="*/ 1190149 w 6400800"/>
                <a:gd name="connsiteY6575" fmla="*/ 324326 h 514350"/>
                <a:gd name="connsiteX6576" fmla="*/ 1190149 w 6400800"/>
                <a:gd name="connsiteY6576" fmla="*/ 324326 h 514350"/>
                <a:gd name="connsiteX6577" fmla="*/ 1189196 w 6400800"/>
                <a:gd name="connsiteY6577" fmla="*/ 320516 h 514350"/>
                <a:gd name="connsiteX6578" fmla="*/ 1190149 w 6400800"/>
                <a:gd name="connsiteY6578" fmla="*/ 324326 h 514350"/>
                <a:gd name="connsiteX6579" fmla="*/ 1170146 w 6400800"/>
                <a:gd name="connsiteY6579" fmla="*/ 270986 h 514350"/>
                <a:gd name="connsiteX6580" fmla="*/ 1170146 w 6400800"/>
                <a:gd name="connsiteY6580" fmla="*/ 268129 h 514350"/>
                <a:gd name="connsiteX6581" fmla="*/ 1170146 w 6400800"/>
                <a:gd name="connsiteY6581" fmla="*/ 264319 h 514350"/>
                <a:gd name="connsiteX6582" fmla="*/ 1172051 w 6400800"/>
                <a:gd name="connsiteY6582" fmla="*/ 235744 h 514350"/>
                <a:gd name="connsiteX6583" fmla="*/ 1174909 w 6400800"/>
                <a:gd name="connsiteY6583" fmla="*/ 245269 h 514350"/>
                <a:gd name="connsiteX6584" fmla="*/ 1176814 w 6400800"/>
                <a:gd name="connsiteY6584" fmla="*/ 260509 h 514350"/>
                <a:gd name="connsiteX6585" fmla="*/ 1177766 w 6400800"/>
                <a:gd name="connsiteY6585" fmla="*/ 285274 h 514350"/>
                <a:gd name="connsiteX6586" fmla="*/ 1177766 w 6400800"/>
                <a:gd name="connsiteY6586" fmla="*/ 308134 h 514350"/>
                <a:gd name="connsiteX6587" fmla="*/ 1176814 w 6400800"/>
                <a:gd name="connsiteY6587" fmla="*/ 305276 h 514350"/>
                <a:gd name="connsiteX6588" fmla="*/ 1168241 w 6400800"/>
                <a:gd name="connsiteY6588" fmla="*/ 287179 h 514350"/>
                <a:gd name="connsiteX6589" fmla="*/ 1170146 w 6400800"/>
                <a:gd name="connsiteY6589" fmla="*/ 270986 h 514350"/>
                <a:gd name="connsiteX6590" fmla="*/ 1170146 w 6400800"/>
                <a:gd name="connsiteY6590" fmla="*/ 309086 h 514350"/>
                <a:gd name="connsiteX6591" fmla="*/ 1173956 w 6400800"/>
                <a:gd name="connsiteY6591" fmla="*/ 321469 h 514350"/>
                <a:gd name="connsiteX6592" fmla="*/ 1172051 w 6400800"/>
                <a:gd name="connsiteY6592" fmla="*/ 327184 h 514350"/>
                <a:gd name="connsiteX6593" fmla="*/ 1170146 w 6400800"/>
                <a:gd name="connsiteY6593" fmla="*/ 322421 h 514350"/>
                <a:gd name="connsiteX6594" fmla="*/ 1170146 w 6400800"/>
                <a:gd name="connsiteY6594" fmla="*/ 318611 h 514350"/>
                <a:gd name="connsiteX6595" fmla="*/ 1168241 w 6400800"/>
                <a:gd name="connsiteY6595" fmla="*/ 303371 h 514350"/>
                <a:gd name="connsiteX6596" fmla="*/ 1170146 w 6400800"/>
                <a:gd name="connsiteY6596" fmla="*/ 309086 h 514350"/>
                <a:gd name="connsiteX6597" fmla="*/ 1164431 w 6400800"/>
                <a:gd name="connsiteY6597" fmla="*/ 236696 h 514350"/>
                <a:gd name="connsiteX6598" fmla="*/ 1161574 w 6400800"/>
                <a:gd name="connsiteY6598" fmla="*/ 253841 h 514350"/>
                <a:gd name="connsiteX6599" fmla="*/ 1161574 w 6400800"/>
                <a:gd name="connsiteY6599" fmla="*/ 251936 h 514350"/>
                <a:gd name="connsiteX6600" fmla="*/ 1161574 w 6400800"/>
                <a:gd name="connsiteY6600" fmla="*/ 250984 h 514350"/>
                <a:gd name="connsiteX6601" fmla="*/ 1164431 w 6400800"/>
                <a:gd name="connsiteY6601" fmla="*/ 236696 h 514350"/>
                <a:gd name="connsiteX6602" fmla="*/ 1140619 w 6400800"/>
                <a:gd name="connsiteY6602" fmla="*/ 290036 h 514350"/>
                <a:gd name="connsiteX6603" fmla="*/ 1139666 w 6400800"/>
                <a:gd name="connsiteY6603" fmla="*/ 291941 h 514350"/>
                <a:gd name="connsiteX6604" fmla="*/ 1137761 w 6400800"/>
                <a:gd name="connsiteY6604" fmla="*/ 283369 h 514350"/>
                <a:gd name="connsiteX6605" fmla="*/ 1140619 w 6400800"/>
                <a:gd name="connsiteY6605" fmla="*/ 290036 h 514350"/>
                <a:gd name="connsiteX6606" fmla="*/ 1114901 w 6400800"/>
                <a:gd name="connsiteY6606" fmla="*/ 339566 h 514350"/>
                <a:gd name="connsiteX6607" fmla="*/ 1117759 w 6400800"/>
                <a:gd name="connsiteY6607" fmla="*/ 315754 h 514350"/>
                <a:gd name="connsiteX6608" fmla="*/ 1119664 w 6400800"/>
                <a:gd name="connsiteY6608" fmla="*/ 325279 h 514350"/>
                <a:gd name="connsiteX6609" fmla="*/ 1121569 w 6400800"/>
                <a:gd name="connsiteY6609" fmla="*/ 334804 h 514350"/>
                <a:gd name="connsiteX6610" fmla="*/ 1120616 w 6400800"/>
                <a:gd name="connsiteY6610" fmla="*/ 341471 h 514350"/>
                <a:gd name="connsiteX6611" fmla="*/ 1120616 w 6400800"/>
                <a:gd name="connsiteY6611" fmla="*/ 342424 h 514350"/>
                <a:gd name="connsiteX6612" fmla="*/ 1118711 w 6400800"/>
                <a:gd name="connsiteY6612" fmla="*/ 348139 h 514350"/>
                <a:gd name="connsiteX6613" fmla="*/ 1114901 w 6400800"/>
                <a:gd name="connsiteY6613" fmla="*/ 341471 h 514350"/>
                <a:gd name="connsiteX6614" fmla="*/ 1114901 w 6400800"/>
                <a:gd name="connsiteY6614" fmla="*/ 339566 h 514350"/>
                <a:gd name="connsiteX6615" fmla="*/ 1111091 w 6400800"/>
                <a:gd name="connsiteY6615" fmla="*/ 219551 h 514350"/>
                <a:gd name="connsiteX6616" fmla="*/ 1112044 w 6400800"/>
                <a:gd name="connsiteY6616" fmla="*/ 222409 h 514350"/>
                <a:gd name="connsiteX6617" fmla="*/ 1112996 w 6400800"/>
                <a:gd name="connsiteY6617" fmla="*/ 230029 h 514350"/>
                <a:gd name="connsiteX6618" fmla="*/ 1112996 w 6400800"/>
                <a:gd name="connsiteY6618" fmla="*/ 230029 h 514350"/>
                <a:gd name="connsiteX6619" fmla="*/ 1111091 w 6400800"/>
                <a:gd name="connsiteY6619" fmla="*/ 219551 h 514350"/>
                <a:gd name="connsiteX6620" fmla="*/ 1111091 w 6400800"/>
                <a:gd name="connsiteY6620" fmla="*/ 219551 h 514350"/>
                <a:gd name="connsiteX6621" fmla="*/ 1110139 w 6400800"/>
                <a:gd name="connsiteY6621" fmla="*/ 217646 h 514350"/>
                <a:gd name="connsiteX6622" fmla="*/ 1110139 w 6400800"/>
                <a:gd name="connsiteY6622" fmla="*/ 217646 h 514350"/>
                <a:gd name="connsiteX6623" fmla="*/ 1109186 w 6400800"/>
                <a:gd name="connsiteY6623" fmla="*/ 215741 h 514350"/>
                <a:gd name="connsiteX6624" fmla="*/ 1110139 w 6400800"/>
                <a:gd name="connsiteY6624" fmla="*/ 217646 h 514350"/>
                <a:gd name="connsiteX6625" fmla="*/ 1101566 w 6400800"/>
                <a:gd name="connsiteY6625" fmla="*/ 236696 h 514350"/>
                <a:gd name="connsiteX6626" fmla="*/ 1111091 w 6400800"/>
                <a:gd name="connsiteY6626" fmla="*/ 278606 h 514350"/>
                <a:gd name="connsiteX6627" fmla="*/ 1109186 w 6400800"/>
                <a:gd name="connsiteY6627" fmla="*/ 293846 h 514350"/>
                <a:gd name="connsiteX6628" fmla="*/ 1106329 w 6400800"/>
                <a:gd name="connsiteY6628" fmla="*/ 309086 h 514350"/>
                <a:gd name="connsiteX6629" fmla="*/ 1106329 w 6400800"/>
                <a:gd name="connsiteY6629" fmla="*/ 308134 h 514350"/>
                <a:gd name="connsiteX6630" fmla="*/ 1105376 w 6400800"/>
                <a:gd name="connsiteY6630" fmla="*/ 295751 h 514350"/>
                <a:gd name="connsiteX6631" fmla="*/ 1105376 w 6400800"/>
                <a:gd name="connsiteY6631" fmla="*/ 300514 h 514350"/>
                <a:gd name="connsiteX6632" fmla="*/ 1099661 w 6400800"/>
                <a:gd name="connsiteY6632" fmla="*/ 272891 h 514350"/>
                <a:gd name="connsiteX6633" fmla="*/ 1094899 w 6400800"/>
                <a:gd name="connsiteY6633" fmla="*/ 249079 h 514350"/>
                <a:gd name="connsiteX6634" fmla="*/ 1101566 w 6400800"/>
                <a:gd name="connsiteY6634" fmla="*/ 236696 h 514350"/>
                <a:gd name="connsiteX6635" fmla="*/ 1027271 w 6400800"/>
                <a:gd name="connsiteY6635" fmla="*/ 325279 h 514350"/>
                <a:gd name="connsiteX6636" fmla="*/ 1030129 w 6400800"/>
                <a:gd name="connsiteY6636" fmla="*/ 310991 h 514350"/>
                <a:gd name="connsiteX6637" fmla="*/ 1034891 w 6400800"/>
                <a:gd name="connsiteY6637" fmla="*/ 297656 h 514350"/>
                <a:gd name="connsiteX6638" fmla="*/ 1039654 w 6400800"/>
                <a:gd name="connsiteY6638" fmla="*/ 288131 h 514350"/>
                <a:gd name="connsiteX6639" fmla="*/ 1042511 w 6400800"/>
                <a:gd name="connsiteY6639" fmla="*/ 299561 h 514350"/>
                <a:gd name="connsiteX6640" fmla="*/ 1039654 w 6400800"/>
                <a:gd name="connsiteY6640" fmla="*/ 305276 h 514350"/>
                <a:gd name="connsiteX6641" fmla="*/ 1028224 w 6400800"/>
                <a:gd name="connsiteY6641" fmla="*/ 330994 h 514350"/>
                <a:gd name="connsiteX6642" fmla="*/ 1027271 w 6400800"/>
                <a:gd name="connsiteY6642" fmla="*/ 325279 h 514350"/>
                <a:gd name="connsiteX6643" fmla="*/ 1040606 w 6400800"/>
                <a:gd name="connsiteY6643" fmla="*/ 374809 h 514350"/>
                <a:gd name="connsiteX6644" fmla="*/ 1039654 w 6400800"/>
                <a:gd name="connsiteY6644" fmla="*/ 370999 h 514350"/>
                <a:gd name="connsiteX6645" fmla="*/ 1045369 w 6400800"/>
                <a:gd name="connsiteY6645" fmla="*/ 355759 h 514350"/>
                <a:gd name="connsiteX6646" fmla="*/ 1047274 w 6400800"/>
                <a:gd name="connsiteY6646" fmla="*/ 364331 h 514350"/>
                <a:gd name="connsiteX6647" fmla="*/ 1048226 w 6400800"/>
                <a:gd name="connsiteY6647" fmla="*/ 386239 h 514350"/>
                <a:gd name="connsiteX6648" fmla="*/ 1044416 w 6400800"/>
                <a:gd name="connsiteY6648" fmla="*/ 384334 h 514350"/>
                <a:gd name="connsiteX6649" fmla="*/ 1040606 w 6400800"/>
                <a:gd name="connsiteY6649" fmla="*/ 374809 h 514350"/>
                <a:gd name="connsiteX6650" fmla="*/ 1046321 w 6400800"/>
                <a:gd name="connsiteY6650" fmla="*/ 389096 h 514350"/>
                <a:gd name="connsiteX6651" fmla="*/ 1048226 w 6400800"/>
                <a:gd name="connsiteY6651" fmla="*/ 391001 h 514350"/>
                <a:gd name="connsiteX6652" fmla="*/ 1048226 w 6400800"/>
                <a:gd name="connsiteY6652" fmla="*/ 392906 h 514350"/>
                <a:gd name="connsiteX6653" fmla="*/ 1046321 w 6400800"/>
                <a:gd name="connsiteY6653" fmla="*/ 389096 h 514350"/>
                <a:gd name="connsiteX6654" fmla="*/ 1056799 w 6400800"/>
                <a:gd name="connsiteY6654" fmla="*/ 292894 h 514350"/>
                <a:gd name="connsiteX6655" fmla="*/ 1061561 w 6400800"/>
                <a:gd name="connsiteY6655" fmla="*/ 282416 h 514350"/>
                <a:gd name="connsiteX6656" fmla="*/ 1066324 w 6400800"/>
                <a:gd name="connsiteY6656" fmla="*/ 271939 h 514350"/>
                <a:gd name="connsiteX6657" fmla="*/ 1066324 w 6400800"/>
                <a:gd name="connsiteY6657" fmla="*/ 273844 h 514350"/>
                <a:gd name="connsiteX6658" fmla="*/ 1067276 w 6400800"/>
                <a:gd name="connsiteY6658" fmla="*/ 278606 h 514350"/>
                <a:gd name="connsiteX6659" fmla="*/ 1063466 w 6400800"/>
                <a:gd name="connsiteY6659" fmla="*/ 285274 h 514350"/>
                <a:gd name="connsiteX6660" fmla="*/ 1057751 w 6400800"/>
                <a:gd name="connsiteY6660" fmla="*/ 295751 h 514350"/>
                <a:gd name="connsiteX6661" fmla="*/ 1056799 w 6400800"/>
                <a:gd name="connsiteY6661" fmla="*/ 292894 h 514350"/>
                <a:gd name="connsiteX6662" fmla="*/ 1059656 w 6400800"/>
                <a:gd name="connsiteY6662" fmla="*/ 360521 h 514350"/>
                <a:gd name="connsiteX6663" fmla="*/ 1059656 w 6400800"/>
                <a:gd name="connsiteY6663" fmla="*/ 360521 h 514350"/>
                <a:gd name="connsiteX6664" fmla="*/ 1059656 w 6400800"/>
                <a:gd name="connsiteY6664" fmla="*/ 360521 h 514350"/>
                <a:gd name="connsiteX6665" fmla="*/ 1059656 w 6400800"/>
                <a:gd name="connsiteY6665" fmla="*/ 360521 h 514350"/>
                <a:gd name="connsiteX6666" fmla="*/ 1064419 w 6400800"/>
                <a:gd name="connsiteY6666" fmla="*/ 383381 h 514350"/>
                <a:gd name="connsiteX6667" fmla="*/ 1062514 w 6400800"/>
                <a:gd name="connsiteY6667" fmla="*/ 379571 h 514350"/>
                <a:gd name="connsiteX6668" fmla="*/ 1063466 w 6400800"/>
                <a:gd name="connsiteY6668" fmla="*/ 374809 h 514350"/>
                <a:gd name="connsiteX6669" fmla="*/ 1064419 w 6400800"/>
                <a:gd name="connsiteY6669" fmla="*/ 378619 h 514350"/>
                <a:gd name="connsiteX6670" fmla="*/ 1064419 w 6400800"/>
                <a:gd name="connsiteY6670" fmla="*/ 380524 h 514350"/>
                <a:gd name="connsiteX6671" fmla="*/ 1065371 w 6400800"/>
                <a:gd name="connsiteY6671" fmla="*/ 386239 h 514350"/>
                <a:gd name="connsiteX6672" fmla="*/ 1064419 w 6400800"/>
                <a:gd name="connsiteY6672" fmla="*/ 383381 h 514350"/>
                <a:gd name="connsiteX6673" fmla="*/ 1069181 w 6400800"/>
                <a:gd name="connsiteY6673" fmla="*/ 330994 h 514350"/>
                <a:gd name="connsiteX6674" fmla="*/ 1063466 w 6400800"/>
                <a:gd name="connsiteY6674" fmla="*/ 312896 h 514350"/>
                <a:gd name="connsiteX6675" fmla="*/ 1069181 w 6400800"/>
                <a:gd name="connsiteY6675" fmla="*/ 300514 h 514350"/>
                <a:gd name="connsiteX6676" fmla="*/ 1070134 w 6400800"/>
                <a:gd name="connsiteY6676" fmla="*/ 326231 h 514350"/>
                <a:gd name="connsiteX6677" fmla="*/ 1069181 w 6400800"/>
                <a:gd name="connsiteY6677" fmla="*/ 330994 h 514350"/>
                <a:gd name="connsiteX6678" fmla="*/ 1077754 w 6400800"/>
                <a:gd name="connsiteY6678" fmla="*/ 262414 h 514350"/>
                <a:gd name="connsiteX6679" fmla="*/ 1075849 w 6400800"/>
                <a:gd name="connsiteY6679" fmla="*/ 264319 h 514350"/>
                <a:gd name="connsiteX6680" fmla="*/ 1073944 w 6400800"/>
                <a:gd name="connsiteY6680" fmla="*/ 256699 h 514350"/>
                <a:gd name="connsiteX6681" fmla="*/ 1074896 w 6400800"/>
                <a:gd name="connsiteY6681" fmla="*/ 256699 h 514350"/>
                <a:gd name="connsiteX6682" fmla="*/ 1075849 w 6400800"/>
                <a:gd name="connsiteY6682" fmla="*/ 256699 h 514350"/>
                <a:gd name="connsiteX6683" fmla="*/ 1077754 w 6400800"/>
                <a:gd name="connsiteY6683" fmla="*/ 262414 h 514350"/>
                <a:gd name="connsiteX6684" fmla="*/ 1045369 w 6400800"/>
                <a:gd name="connsiteY6684" fmla="*/ 175736 h 514350"/>
                <a:gd name="connsiteX6685" fmla="*/ 1054894 w 6400800"/>
                <a:gd name="connsiteY6685" fmla="*/ 153829 h 514350"/>
                <a:gd name="connsiteX6686" fmla="*/ 1055846 w 6400800"/>
                <a:gd name="connsiteY6686" fmla="*/ 155734 h 514350"/>
                <a:gd name="connsiteX6687" fmla="*/ 1059656 w 6400800"/>
                <a:gd name="connsiteY6687" fmla="*/ 171926 h 514350"/>
                <a:gd name="connsiteX6688" fmla="*/ 1064419 w 6400800"/>
                <a:gd name="connsiteY6688" fmla="*/ 193834 h 514350"/>
                <a:gd name="connsiteX6689" fmla="*/ 1069181 w 6400800"/>
                <a:gd name="connsiteY6689" fmla="*/ 215741 h 514350"/>
                <a:gd name="connsiteX6690" fmla="*/ 1076801 w 6400800"/>
                <a:gd name="connsiteY6690" fmla="*/ 253841 h 514350"/>
                <a:gd name="connsiteX6691" fmla="*/ 1074896 w 6400800"/>
                <a:gd name="connsiteY6691" fmla="*/ 252889 h 514350"/>
                <a:gd name="connsiteX6692" fmla="*/ 1067276 w 6400800"/>
                <a:gd name="connsiteY6692" fmla="*/ 216694 h 514350"/>
                <a:gd name="connsiteX6693" fmla="*/ 1068229 w 6400800"/>
                <a:gd name="connsiteY6693" fmla="*/ 257651 h 514350"/>
                <a:gd name="connsiteX6694" fmla="*/ 1067276 w 6400800"/>
                <a:gd name="connsiteY6694" fmla="*/ 259556 h 514350"/>
                <a:gd name="connsiteX6695" fmla="*/ 1065371 w 6400800"/>
                <a:gd name="connsiteY6695" fmla="*/ 252889 h 514350"/>
                <a:gd name="connsiteX6696" fmla="*/ 1066324 w 6400800"/>
                <a:gd name="connsiteY6696" fmla="*/ 261461 h 514350"/>
                <a:gd name="connsiteX6697" fmla="*/ 1055846 w 6400800"/>
                <a:gd name="connsiteY6697" fmla="*/ 278606 h 514350"/>
                <a:gd name="connsiteX6698" fmla="*/ 1054894 w 6400800"/>
                <a:gd name="connsiteY6698" fmla="*/ 280511 h 514350"/>
                <a:gd name="connsiteX6699" fmla="*/ 1053941 w 6400800"/>
                <a:gd name="connsiteY6699" fmla="*/ 277654 h 514350"/>
                <a:gd name="connsiteX6700" fmla="*/ 1043464 w 6400800"/>
                <a:gd name="connsiteY6700" fmla="*/ 245269 h 514350"/>
                <a:gd name="connsiteX6701" fmla="*/ 1035844 w 6400800"/>
                <a:gd name="connsiteY6701" fmla="*/ 220504 h 514350"/>
                <a:gd name="connsiteX6702" fmla="*/ 1032034 w 6400800"/>
                <a:gd name="connsiteY6702" fmla="*/ 209074 h 514350"/>
                <a:gd name="connsiteX6703" fmla="*/ 1045369 w 6400800"/>
                <a:gd name="connsiteY6703" fmla="*/ 175736 h 514350"/>
                <a:gd name="connsiteX6704" fmla="*/ 1019651 w 6400800"/>
                <a:gd name="connsiteY6704" fmla="*/ 267176 h 514350"/>
                <a:gd name="connsiteX6705" fmla="*/ 1023461 w 6400800"/>
                <a:gd name="connsiteY6705" fmla="*/ 221456 h 514350"/>
                <a:gd name="connsiteX6706" fmla="*/ 1024414 w 6400800"/>
                <a:gd name="connsiteY6706" fmla="*/ 218599 h 514350"/>
                <a:gd name="connsiteX6707" fmla="*/ 1032034 w 6400800"/>
                <a:gd name="connsiteY6707" fmla="*/ 253841 h 514350"/>
                <a:gd name="connsiteX6708" fmla="*/ 1038701 w 6400800"/>
                <a:gd name="connsiteY6708" fmla="*/ 283369 h 514350"/>
                <a:gd name="connsiteX6709" fmla="*/ 1037749 w 6400800"/>
                <a:gd name="connsiteY6709" fmla="*/ 284321 h 514350"/>
                <a:gd name="connsiteX6710" fmla="*/ 1031081 w 6400800"/>
                <a:gd name="connsiteY6710" fmla="*/ 294799 h 514350"/>
                <a:gd name="connsiteX6711" fmla="*/ 1025366 w 6400800"/>
                <a:gd name="connsiteY6711" fmla="*/ 306229 h 514350"/>
                <a:gd name="connsiteX6712" fmla="*/ 1023461 w 6400800"/>
                <a:gd name="connsiteY6712" fmla="*/ 284321 h 514350"/>
                <a:gd name="connsiteX6713" fmla="*/ 1022509 w 6400800"/>
                <a:gd name="connsiteY6713" fmla="*/ 269081 h 514350"/>
                <a:gd name="connsiteX6714" fmla="*/ 1019651 w 6400800"/>
                <a:gd name="connsiteY6714" fmla="*/ 284321 h 514350"/>
                <a:gd name="connsiteX6715" fmla="*/ 1015841 w 6400800"/>
                <a:gd name="connsiteY6715" fmla="*/ 314801 h 514350"/>
                <a:gd name="connsiteX6716" fmla="*/ 1015841 w 6400800"/>
                <a:gd name="connsiteY6716" fmla="*/ 315754 h 514350"/>
                <a:gd name="connsiteX6717" fmla="*/ 1015841 w 6400800"/>
                <a:gd name="connsiteY6717" fmla="*/ 315754 h 514350"/>
                <a:gd name="connsiteX6718" fmla="*/ 1022509 w 6400800"/>
                <a:gd name="connsiteY6718" fmla="*/ 251936 h 514350"/>
                <a:gd name="connsiteX6719" fmla="*/ 1019651 w 6400800"/>
                <a:gd name="connsiteY6719" fmla="*/ 267176 h 514350"/>
                <a:gd name="connsiteX6720" fmla="*/ 1011079 w 6400800"/>
                <a:gd name="connsiteY6720" fmla="*/ 364331 h 514350"/>
                <a:gd name="connsiteX6721" fmla="*/ 1012031 w 6400800"/>
                <a:gd name="connsiteY6721" fmla="*/ 355759 h 514350"/>
                <a:gd name="connsiteX6722" fmla="*/ 1013936 w 6400800"/>
                <a:gd name="connsiteY6722" fmla="*/ 342424 h 514350"/>
                <a:gd name="connsiteX6723" fmla="*/ 1013936 w 6400800"/>
                <a:gd name="connsiteY6723" fmla="*/ 342424 h 514350"/>
                <a:gd name="connsiteX6724" fmla="*/ 1012031 w 6400800"/>
                <a:gd name="connsiteY6724" fmla="*/ 364331 h 514350"/>
                <a:gd name="connsiteX6725" fmla="*/ 1011079 w 6400800"/>
                <a:gd name="connsiteY6725" fmla="*/ 366236 h 514350"/>
                <a:gd name="connsiteX6726" fmla="*/ 1011079 w 6400800"/>
                <a:gd name="connsiteY6726" fmla="*/ 366236 h 514350"/>
                <a:gd name="connsiteX6727" fmla="*/ 1011079 w 6400800"/>
                <a:gd name="connsiteY6727" fmla="*/ 364331 h 514350"/>
                <a:gd name="connsiteX6728" fmla="*/ 1004411 w 6400800"/>
                <a:gd name="connsiteY6728" fmla="*/ 257651 h 514350"/>
                <a:gd name="connsiteX6729" fmla="*/ 1001554 w 6400800"/>
                <a:gd name="connsiteY6729" fmla="*/ 281464 h 514350"/>
                <a:gd name="connsiteX6730" fmla="*/ 996791 w 6400800"/>
                <a:gd name="connsiteY6730" fmla="*/ 271939 h 514350"/>
                <a:gd name="connsiteX6731" fmla="*/ 1004411 w 6400800"/>
                <a:gd name="connsiteY6731" fmla="*/ 257651 h 514350"/>
                <a:gd name="connsiteX6732" fmla="*/ 991076 w 6400800"/>
                <a:gd name="connsiteY6732" fmla="*/ 283369 h 514350"/>
                <a:gd name="connsiteX6733" fmla="*/ 995839 w 6400800"/>
                <a:gd name="connsiteY6733" fmla="*/ 273844 h 514350"/>
                <a:gd name="connsiteX6734" fmla="*/ 999649 w 6400800"/>
                <a:gd name="connsiteY6734" fmla="*/ 291941 h 514350"/>
                <a:gd name="connsiteX6735" fmla="*/ 995839 w 6400800"/>
                <a:gd name="connsiteY6735" fmla="*/ 326231 h 514350"/>
                <a:gd name="connsiteX6736" fmla="*/ 993934 w 6400800"/>
                <a:gd name="connsiteY6736" fmla="*/ 330994 h 514350"/>
                <a:gd name="connsiteX6737" fmla="*/ 992981 w 6400800"/>
                <a:gd name="connsiteY6737" fmla="*/ 320516 h 514350"/>
                <a:gd name="connsiteX6738" fmla="*/ 991076 w 6400800"/>
                <a:gd name="connsiteY6738" fmla="*/ 338614 h 514350"/>
                <a:gd name="connsiteX6739" fmla="*/ 990124 w 6400800"/>
                <a:gd name="connsiteY6739" fmla="*/ 341471 h 514350"/>
                <a:gd name="connsiteX6740" fmla="*/ 981551 w 6400800"/>
                <a:gd name="connsiteY6740" fmla="*/ 365284 h 514350"/>
                <a:gd name="connsiteX6741" fmla="*/ 980599 w 6400800"/>
                <a:gd name="connsiteY6741" fmla="*/ 363379 h 514350"/>
                <a:gd name="connsiteX6742" fmla="*/ 977741 w 6400800"/>
                <a:gd name="connsiteY6742" fmla="*/ 331946 h 514350"/>
                <a:gd name="connsiteX6743" fmla="*/ 975836 w 6400800"/>
                <a:gd name="connsiteY6743" fmla="*/ 311944 h 514350"/>
                <a:gd name="connsiteX6744" fmla="*/ 991076 w 6400800"/>
                <a:gd name="connsiteY6744" fmla="*/ 283369 h 514350"/>
                <a:gd name="connsiteX6745" fmla="*/ 960596 w 6400800"/>
                <a:gd name="connsiteY6745" fmla="*/ 298609 h 514350"/>
                <a:gd name="connsiteX6746" fmla="*/ 968216 w 6400800"/>
                <a:gd name="connsiteY6746" fmla="*/ 280511 h 514350"/>
                <a:gd name="connsiteX6747" fmla="*/ 967264 w 6400800"/>
                <a:gd name="connsiteY6747" fmla="*/ 294799 h 514350"/>
                <a:gd name="connsiteX6748" fmla="*/ 961549 w 6400800"/>
                <a:gd name="connsiteY6748" fmla="*/ 304324 h 514350"/>
                <a:gd name="connsiteX6749" fmla="*/ 961549 w 6400800"/>
                <a:gd name="connsiteY6749" fmla="*/ 303371 h 514350"/>
                <a:gd name="connsiteX6750" fmla="*/ 960596 w 6400800"/>
                <a:gd name="connsiteY6750" fmla="*/ 301466 h 514350"/>
                <a:gd name="connsiteX6751" fmla="*/ 960596 w 6400800"/>
                <a:gd name="connsiteY6751" fmla="*/ 298609 h 514350"/>
                <a:gd name="connsiteX6752" fmla="*/ 939641 w 6400800"/>
                <a:gd name="connsiteY6752" fmla="*/ 258604 h 514350"/>
                <a:gd name="connsiteX6753" fmla="*/ 939641 w 6400800"/>
                <a:gd name="connsiteY6753" fmla="*/ 258604 h 514350"/>
                <a:gd name="connsiteX6754" fmla="*/ 943451 w 6400800"/>
                <a:gd name="connsiteY6754" fmla="*/ 246221 h 514350"/>
                <a:gd name="connsiteX6755" fmla="*/ 943451 w 6400800"/>
                <a:gd name="connsiteY6755" fmla="*/ 251936 h 514350"/>
                <a:gd name="connsiteX6756" fmla="*/ 939641 w 6400800"/>
                <a:gd name="connsiteY6756" fmla="*/ 258604 h 514350"/>
                <a:gd name="connsiteX6757" fmla="*/ 939641 w 6400800"/>
                <a:gd name="connsiteY6757" fmla="*/ 258604 h 514350"/>
                <a:gd name="connsiteX6758" fmla="*/ 944404 w 6400800"/>
                <a:gd name="connsiteY6758" fmla="*/ 280511 h 514350"/>
                <a:gd name="connsiteX6759" fmla="*/ 943451 w 6400800"/>
                <a:gd name="connsiteY6759" fmla="*/ 273844 h 514350"/>
                <a:gd name="connsiteX6760" fmla="*/ 944404 w 6400800"/>
                <a:gd name="connsiteY6760" fmla="*/ 270986 h 514350"/>
                <a:gd name="connsiteX6761" fmla="*/ 944404 w 6400800"/>
                <a:gd name="connsiteY6761" fmla="*/ 271939 h 514350"/>
                <a:gd name="connsiteX6762" fmla="*/ 944404 w 6400800"/>
                <a:gd name="connsiteY6762" fmla="*/ 275749 h 514350"/>
                <a:gd name="connsiteX6763" fmla="*/ 944404 w 6400800"/>
                <a:gd name="connsiteY6763" fmla="*/ 280511 h 514350"/>
                <a:gd name="connsiteX6764" fmla="*/ 944404 w 6400800"/>
                <a:gd name="connsiteY6764" fmla="*/ 270986 h 514350"/>
                <a:gd name="connsiteX6765" fmla="*/ 944404 w 6400800"/>
                <a:gd name="connsiteY6765" fmla="*/ 270986 h 514350"/>
                <a:gd name="connsiteX6766" fmla="*/ 944404 w 6400800"/>
                <a:gd name="connsiteY6766" fmla="*/ 270986 h 514350"/>
                <a:gd name="connsiteX6767" fmla="*/ 944404 w 6400800"/>
                <a:gd name="connsiteY6767" fmla="*/ 270986 h 514350"/>
                <a:gd name="connsiteX6768" fmla="*/ 933926 w 6400800"/>
                <a:gd name="connsiteY6768" fmla="*/ 227171 h 514350"/>
                <a:gd name="connsiteX6769" fmla="*/ 958691 w 6400800"/>
                <a:gd name="connsiteY6769" fmla="*/ 138589 h 514350"/>
                <a:gd name="connsiteX6770" fmla="*/ 958691 w 6400800"/>
                <a:gd name="connsiteY6770" fmla="*/ 146209 h 514350"/>
                <a:gd name="connsiteX6771" fmla="*/ 953929 w 6400800"/>
                <a:gd name="connsiteY6771" fmla="*/ 203359 h 514350"/>
                <a:gd name="connsiteX6772" fmla="*/ 950119 w 6400800"/>
                <a:gd name="connsiteY6772" fmla="*/ 242411 h 514350"/>
                <a:gd name="connsiteX6773" fmla="*/ 948214 w 6400800"/>
                <a:gd name="connsiteY6773" fmla="*/ 246221 h 514350"/>
                <a:gd name="connsiteX6774" fmla="*/ 947261 w 6400800"/>
                <a:gd name="connsiteY6774" fmla="*/ 240506 h 514350"/>
                <a:gd name="connsiteX6775" fmla="*/ 949166 w 6400800"/>
                <a:gd name="connsiteY6775" fmla="*/ 233839 h 514350"/>
                <a:gd name="connsiteX6776" fmla="*/ 946309 w 6400800"/>
                <a:gd name="connsiteY6776" fmla="*/ 238601 h 514350"/>
                <a:gd name="connsiteX6777" fmla="*/ 944404 w 6400800"/>
                <a:gd name="connsiteY6777" fmla="*/ 230029 h 514350"/>
                <a:gd name="connsiteX6778" fmla="*/ 944404 w 6400800"/>
                <a:gd name="connsiteY6778" fmla="*/ 241459 h 514350"/>
                <a:gd name="connsiteX6779" fmla="*/ 939641 w 6400800"/>
                <a:gd name="connsiteY6779" fmla="*/ 251936 h 514350"/>
                <a:gd name="connsiteX6780" fmla="*/ 938689 w 6400800"/>
                <a:gd name="connsiteY6780" fmla="*/ 248126 h 514350"/>
                <a:gd name="connsiteX6781" fmla="*/ 936784 w 6400800"/>
                <a:gd name="connsiteY6781" fmla="*/ 241459 h 514350"/>
                <a:gd name="connsiteX6782" fmla="*/ 943451 w 6400800"/>
                <a:gd name="connsiteY6782" fmla="*/ 217646 h 514350"/>
                <a:gd name="connsiteX6783" fmla="*/ 934879 w 6400800"/>
                <a:gd name="connsiteY6783" fmla="*/ 235744 h 514350"/>
                <a:gd name="connsiteX6784" fmla="*/ 932974 w 6400800"/>
                <a:gd name="connsiteY6784" fmla="*/ 230029 h 514350"/>
                <a:gd name="connsiteX6785" fmla="*/ 933926 w 6400800"/>
                <a:gd name="connsiteY6785" fmla="*/ 227171 h 514350"/>
                <a:gd name="connsiteX6786" fmla="*/ 921544 w 6400800"/>
                <a:gd name="connsiteY6786" fmla="*/ 452914 h 514350"/>
                <a:gd name="connsiteX6787" fmla="*/ 920591 w 6400800"/>
                <a:gd name="connsiteY6787" fmla="*/ 451961 h 514350"/>
                <a:gd name="connsiteX6788" fmla="*/ 919639 w 6400800"/>
                <a:gd name="connsiteY6788" fmla="*/ 438626 h 514350"/>
                <a:gd name="connsiteX6789" fmla="*/ 921544 w 6400800"/>
                <a:gd name="connsiteY6789" fmla="*/ 452914 h 514350"/>
                <a:gd name="connsiteX6790" fmla="*/ 912019 w 6400800"/>
                <a:gd name="connsiteY6790" fmla="*/ 210979 h 514350"/>
                <a:gd name="connsiteX6791" fmla="*/ 915829 w 6400800"/>
                <a:gd name="connsiteY6791" fmla="*/ 227171 h 514350"/>
                <a:gd name="connsiteX6792" fmla="*/ 914876 w 6400800"/>
                <a:gd name="connsiteY6792" fmla="*/ 230029 h 514350"/>
                <a:gd name="connsiteX6793" fmla="*/ 912971 w 6400800"/>
                <a:gd name="connsiteY6793" fmla="*/ 236696 h 514350"/>
                <a:gd name="connsiteX6794" fmla="*/ 912019 w 6400800"/>
                <a:gd name="connsiteY6794" fmla="*/ 232886 h 514350"/>
                <a:gd name="connsiteX6795" fmla="*/ 912019 w 6400800"/>
                <a:gd name="connsiteY6795" fmla="*/ 228124 h 514350"/>
                <a:gd name="connsiteX6796" fmla="*/ 911066 w 6400800"/>
                <a:gd name="connsiteY6796" fmla="*/ 210979 h 514350"/>
                <a:gd name="connsiteX6797" fmla="*/ 911066 w 6400800"/>
                <a:gd name="connsiteY6797" fmla="*/ 204311 h 514350"/>
                <a:gd name="connsiteX6798" fmla="*/ 912019 w 6400800"/>
                <a:gd name="connsiteY6798" fmla="*/ 210979 h 514350"/>
                <a:gd name="connsiteX6799" fmla="*/ 833914 w 6400800"/>
                <a:gd name="connsiteY6799" fmla="*/ 333851 h 514350"/>
                <a:gd name="connsiteX6800" fmla="*/ 834866 w 6400800"/>
                <a:gd name="connsiteY6800" fmla="*/ 331946 h 514350"/>
                <a:gd name="connsiteX6801" fmla="*/ 834866 w 6400800"/>
                <a:gd name="connsiteY6801" fmla="*/ 337661 h 514350"/>
                <a:gd name="connsiteX6802" fmla="*/ 833914 w 6400800"/>
                <a:gd name="connsiteY6802" fmla="*/ 333851 h 514350"/>
                <a:gd name="connsiteX6803" fmla="*/ 847249 w 6400800"/>
                <a:gd name="connsiteY6803" fmla="*/ 304324 h 514350"/>
                <a:gd name="connsiteX6804" fmla="*/ 846296 w 6400800"/>
                <a:gd name="connsiteY6804" fmla="*/ 301466 h 514350"/>
                <a:gd name="connsiteX6805" fmla="*/ 846296 w 6400800"/>
                <a:gd name="connsiteY6805" fmla="*/ 299561 h 514350"/>
                <a:gd name="connsiteX6806" fmla="*/ 851059 w 6400800"/>
                <a:gd name="connsiteY6806" fmla="*/ 286226 h 514350"/>
                <a:gd name="connsiteX6807" fmla="*/ 847249 w 6400800"/>
                <a:gd name="connsiteY6807" fmla="*/ 304324 h 514350"/>
                <a:gd name="connsiteX6808" fmla="*/ 880586 w 6400800"/>
                <a:gd name="connsiteY6808" fmla="*/ 300514 h 514350"/>
                <a:gd name="connsiteX6809" fmla="*/ 876776 w 6400800"/>
                <a:gd name="connsiteY6809" fmla="*/ 319564 h 514350"/>
                <a:gd name="connsiteX6810" fmla="*/ 872966 w 6400800"/>
                <a:gd name="connsiteY6810" fmla="*/ 343376 h 514350"/>
                <a:gd name="connsiteX6811" fmla="*/ 869156 w 6400800"/>
                <a:gd name="connsiteY6811" fmla="*/ 350996 h 514350"/>
                <a:gd name="connsiteX6812" fmla="*/ 868204 w 6400800"/>
                <a:gd name="connsiteY6812" fmla="*/ 349091 h 514350"/>
                <a:gd name="connsiteX6813" fmla="*/ 867251 w 6400800"/>
                <a:gd name="connsiteY6813" fmla="*/ 348139 h 514350"/>
                <a:gd name="connsiteX6814" fmla="*/ 867251 w 6400800"/>
                <a:gd name="connsiteY6814" fmla="*/ 335756 h 514350"/>
                <a:gd name="connsiteX6815" fmla="*/ 866299 w 6400800"/>
                <a:gd name="connsiteY6815" fmla="*/ 301466 h 514350"/>
                <a:gd name="connsiteX6816" fmla="*/ 863441 w 6400800"/>
                <a:gd name="connsiteY6816" fmla="*/ 272891 h 514350"/>
                <a:gd name="connsiteX6817" fmla="*/ 861536 w 6400800"/>
                <a:gd name="connsiteY6817" fmla="*/ 257651 h 514350"/>
                <a:gd name="connsiteX6818" fmla="*/ 862489 w 6400800"/>
                <a:gd name="connsiteY6818" fmla="*/ 255746 h 514350"/>
                <a:gd name="connsiteX6819" fmla="*/ 862489 w 6400800"/>
                <a:gd name="connsiteY6819" fmla="*/ 255746 h 514350"/>
                <a:gd name="connsiteX6820" fmla="*/ 876776 w 6400800"/>
                <a:gd name="connsiteY6820" fmla="*/ 286226 h 514350"/>
                <a:gd name="connsiteX6821" fmla="*/ 881539 w 6400800"/>
                <a:gd name="connsiteY6821" fmla="*/ 296704 h 514350"/>
                <a:gd name="connsiteX6822" fmla="*/ 880586 w 6400800"/>
                <a:gd name="connsiteY6822" fmla="*/ 300514 h 514350"/>
                <a:gd name="connsiteX6823" fmla="*/ 885349 w 6400800"/>
                <a:gd name="connsiteY6823" fmla="*/ 318611 h 514350"/>
                <a:gd name="connsiteX6824" fmla="*/ 884396 w 6400800"/>
                <a:gd name="connsiteY6824" fmla="*/ 319564 h 514350"/>
                <a:gd name="connsiteX6825" fmla="*/ 883444 w 6400800"/>
                <a:gd name="connsiteY6825" fmla="*/ 320516 h 514350"/>
                <a:gd name="connsiteX6826" fmla="*/ 884396 w 6400800"/>
                <a:gd name="connsiteY6826" fmla="*/ 303371 h 514350"/>
                <a:gd name="connsiteX6827" fmla="*/ 887254 w 6400800"/>
                <a:gd name="connsiteY6827" fmla="*/ 310039 h 514350"/>
                <a:gd name="connsiteX6828" fmla="*/ 885349 w 6400800"/>
                <a:gd name="connsiteY6828" fmla="*/ 318611 h 514350"/>
                <a:gd name="connsiteX6829" fmla="*/ 900589 w 6400800"/>
                <a:gd name="connsiteY6829" fmla="*/ 246221 h 514350"/>
                <a:gd name="connsiteX6830" fmla="*/ 900589 w 6400800"/>
                <a:gd name="connsiteY6830" fmla="*/ 246221 h 514350"/>
                <a:gd name="connsiteX6831" fmla="*/ 898684 w 6400800"/>
                <a:gd name="connsiteY6831" fmla="*/ 234791 h 514350"/>
                <a:gd name="connsiteX6832" fmla="*/ 897731 w 6400800"/>
                <a:gd name="connsiteY6832" fmla="*/ 252889 h 514350"/>
                <a:gd name="connsiteX6833" fmla="*/ 897731 w 6400800"/>
                <a:gd name="connsiteY6833" fmla="*/ 253841 h 514350"/>
                <a:gd name="connsiteX6834" fmla="*/ 894874 w 6400800"/>
                <a:gd name="connsiteY6834" fmla="*/ 250031 h 514350"/>
                <a:gd name="connsiteX6835" fmla="*/ 897731 w 6400800"/>
                <a:gd name="connsiteY6835" fmla="*/ 254794 h 514350"/>
                <a:gd name="connsiteX6836" fmla="*/ 897731 w 6400800"/>
                <a:gd name="connsiteY6836" fmla="*/ 257651 h 514350"/>
                <a:gd name="connsiteX6837" fmla="*/ 896779 w 6400800"/>
                <a:gd name="connsiteY6837" fmla="*/ 264319 h 514350"/>
                <a:gd name="connsiteX6838" fmla="*/ 896779 w 6400800"/>
                <a:gd name="connsiteY6838" fmla="*/ 264319 h 514350"/>
                <a:gd name="connsiteX6839" fmla="*/ 896779 w 6400800"/>
                <a:gd name="connsiteY6839" fmla="*/ 264319 h 514350"/>
                <a:gd name="connsiteX6840" fmla="*/ 896779 w 6400800"/>
                <a:gd name="connsiteY6840" fmla="*/ 265271 h 514350"/>
                <a:gd name="connsiteX6841" fmla="*/ 896779 w 6400800"/>
                <a:gd name="connsiteY6841" fmla="*/ 270986 h 514350"/>
                <a:gd name="connsiteX6842" fmla="*/ 896779 w 6400800"/>
                <a:gd name="connsiteY6842" fmla="*/ 272891 h 514350"/>
                <a:gd name="connsiteX6843" fmla="*/ 895826 w 6400800"/>
                <a:gd name="connsiteY6843" fmla="*/ 285274 h 514350"/>
                <a:gd name="connsiteX6844" fmla="*/ 895826 w 6400800"/>
                <a:gd name="connsiteY6844" fmla="*/ 287179 h 514350"/>
                <a:gd name="connsiteX6845" fmla="*/ 891064 w 6400800"/>
                <a:gd name="connsiteY6845" fmla="*/ 279559 h 514350"/>
                <a:gd name="connsiteX6846" fmla="*/ 873919 w 6400800"/>
                <a:gd name="connsiteY6846" fmla="*/ 250984 h 514350"/>
                <a:gd name="connsiteX6847" fmla="*/ 869156 w 6400800"/>
                <a:gd name="connsiteY6847" fmla="*/ 243364 h 514350"/>
                <a:gd name="connsiteX6848" fmla="*/ 869156 w 6400800"/>
                <a:gd name="connsiteY6848" fmla="*/ 242411 h 514350"/>
                <a:gd name="connsiteX6849" fmla="*/ 878681 w 6400800"/>
                <a:gd name="connsiteY6849" fmla="*/ 215741 h 514350"/>
                <a:gd name="connsiteX6850" fmla="*/ 887254 w 6400800"/>
                <a:gd name="connsiteY6850" fmla="*/ 200501 h 514350"/>
                <a:gd name="connsiteX6851" fmla="*/ 895826 w 6400800"/>
                <a:gd name="connsiteY6851" fmla="*/ 223361 h 514350"/>
                <a:gd name="connsiteX6852" fmla="*/ 901541 w 6400800"/>
                <a:gd name="connsiteY6852" fmla="*/ 240506 h 514350"/>
                <a:gd name="connsiteX6853" fmla="*/ 900589 w 6400800"/>
                <a:gd name="connsiteY6853" fmla="*/ 246221 h 514350"/>
                <a:gd name="connsiteX6854" fmla="*/ 891064 w 6400800"/>
                <a:gd name="connsiteY6854" fmla="*/ 190976 h 514350"/>
                <a:gd name="connsiteX6855" fmla="*/ 892969 w 6400800"/>
                <a:gd name="connsiteY6855" fmla="*/ 187166 h 514350"/>
                <a:gd name="connsiteX6856" fmla="*/ 896779 w 6400800"/>
                <a:gd name="connsiteY6856" fmla="*/ 202406 h 514350"/>
                <a:gd name="connsiteX6857" fmla="*/ 891064 w 6400800"/>
                <a:gd name="connsiteY6857" fmla="*/ 190976 h 514350"/>
                <a:gd name="connsiteX6858" fmla="*/ 904399 w 6400800"/>
                <a:gd name="connsiteY6858" fmla="*/ 181451 h 514350"/>
                <a:gd name="connsiteX6859" fmla="*/ 904399 w 6400800"/>
                <a:gd name="connsiteY6859" fmla="*/ 183356 h 514350"/>
                <a:gd name="connsiteX6860" fmla="*/ 903446 w 6400800"/>
                <a:gd name="connsiteY6860" fmla="*/ 210979 h 514350"/>
                <a:gd name="connsiteX6861" fmla="*/ 903446 w 6400800"/>
                <a:gd name="connsiteY6861" fmla="*/ 210026 h 514350"/>
                <a:gd name="connsiteX6862" fmla="*/ 894874 w 6400800"/>
                <a:gd name="connsiteY6862" fmla="*/ 188119 h 514350"/>
                <a:gd name="connsiteX6863" fmla="*/ 903446 w 6400800"/>
                <a:gd name="connsiteY6863" fmla="*/ 173831 h 514350"/>
                <a:gd name="connsiteX6864" fmla="*/ 904399 w 6400800"/>
                <a:gd name="connsiteY6864" fmla="*/ 181451 h 514350"/>
                <a:gd name="connsiteX6865" fmla="*/ 888206 w 6400800"/>
                <a:gd name="connsiteY6865" fmla="*/ 137636 h 514350"/>
                <a:gd name="connsiteX6866" fmla="*/ 890111 w 6400800"/>
                <a:gd name="connsiteY6866" fmla="*/ 132874 h 514350"/>
                <a:gd name="connsiteX6867" fmla="*/ 898684 w 6400800"/>
                <a:gd name="connsiteY6867" fmla="*/ 161449 h 514350"/>
                <a:gd name="connsiteX6868" fmla="*/ 893921 w 6400800"/>
                <a:gd name="connsiteY6868" fmla="*/ 168116 h 514350"/>
                <a:gd name="connsiteX6869" fmla="*/ 885349 w 6400800"/>
                <a:gd name="connsiteY6869" fmla="*/ 180499 h 514350"/>
                <a:gd name="connsiteX6870" fmla="*/ 874871 w 6400800"/>
                <a:gd name="connsiteY6870" fmla="*/ 163354 h 514350"/>
                <a:gd name="connsiteX6871" fmla="*/ 888206 w 6400800"/>
                <a:gd name="connsiteY6871" fmla="*/ 137636 h 514350"/>
                <a:gd name="connsiteX6872" fmla="*/ 872966 w 6400800"/>
                <a:gd name="connsiteY6872" fmla="*/ 169069 h 514350"/>
                <a:gd name="connsiteX6873" fmla="*/ 881539 w 6400800"/>
                <a:gd name="connsiteY6873" fmla="*/ 188119 h 514350"/>
                <a:gd name="connsiteX6874" fmla="*/ 878681 w 6400800"/>
                <a:gd name="connsiteY6874" fmla="*/ 191929 h 514350"/>
                <a:gd name="connsiteX6875" fmla="*/ 856774 w 6400800"/>
                <a:gd name="connsiteY6875" fmla="*/ 226219 h 514350"/>
                <a:gd name="connsiteX6876" fmla="*/ 851059 w 6400800"/>
                <a:gd name="connsiteY6876" fmla="*/ 217646 h 514350"/>
                <a:gd name="connsiteX6877" fmla="*/ 872966 w 6400800"/>
                <a:gd name="connsiteY6877" fmla="*/ 169069 h 514350"/>
                <a:gd name="connsiteX6878" fmla="*/ 847249 w 6400800"/>
                <a:gd name="connsiteY6878" fmla="*/ 225266 h 514350"/>
                <a:gd name="connsiteX6879" fmla="*/ 848201 w 6400800"/>
                <a:gd name="connsiteY6879" fmla="*/ 223361 h 514350"/>
                <a:gd name="connsiteX6880" fmla="*/ 852011 w 6400800"/>
                <a:gd name="connsiteY6880" fmla="*/ 232886 h 514350"/>
                <a:gd name="connsiteX6881" fmla="*/ 845344 w 6400800"/>
                <a:gd name="connsiteY6881" fmla="*/ 243364 h 514350"/>
                <a:gd name="connsiteX6882" fmla="*/ 837724 w 6400800"/>
                <a:gd name="connsiteY6882" fmla="*/ 256699 h 514350"/>
                <a:gd name="connsiteX6883" fmla="*/ 836771 w 6400800"/>
                <a:gd name="connsiteY6883" fmla="*/ 250984 h 514350"/>
                <a:gd name="connsiteX6884" fmla="*/ 847249 w 6400800"/>
                <a:gd name="connsiteY6884" fmla="*/ 225266 h 514350"/>
                <a:gd name="connsiteX6885" fmla="*/ 835819 w 6400800"/>
                <a:gd name="connsiteY6885" fmla="*/ 195739 h 514350"/>
                <a:gd name="connsiteX6886" fmla="*/ 835819 w 6400800"/>
                <a:gd name="connsiteY6886" fmla="*/ 195739 h 514350"/>
                <a:gd name="connsiteX6887" fmla="*/ 840581 w 6400800"/>
                <a:gd name="connsiteY6887" fmla="*/ 206216 h 514350"/>
                <a:gd name="connsiteX6888" fmla="*/ 833914 w 6400800"/>
                <a:gd name="connsiteY6888" fmla="*/ 219551 h 514350"/>
                <a:gd name="connsiteX6889" fmla="*/ 832961 w 6400800"/>
                <a:gd name="connsiteY6889" fmla="*/ 221456 h 514350"/>
                <a:gd name="connsiteX6890" fmla="*/ 835819 w 6400800"/>
                <a:gd name="connsiteY6890" fmla="*/ 195739 h 514350"/>
                <a:gd name="connsiteX6891" fmla="*/ 826294 w 6400800"/>
                <a:gd name="connsiteY6891" fmla="*/ 274796 h 514350"/>
                <a:gd name="connsiteX6892" fmla="*/ 828199 w 6400800"/>
                <a:gd name="connsiteY6892" fmla="*/ 270986 h 514350"/>
                <a:gd name="connsiteX6893" fmla="*/ 828199 w 6400800"/>
                <a:gd name="connsiteY6893" fmla="*/ 272891 h 514350"/>
                <a:gd name="connsiteX6894" fmla="*/ 826294 w 6400800"/>
                <a:gd name="connsiteY6894" fmla="*/ 276701 h 514350"/>
                <a:gd name="connsiteX6895" fmla="*/ 826294 w 6400800"/>
                <a:gd name="connsiteY6895" fmla="*/ 274796 h 514350"/>
                <a:gd name="connsiteX6896" fmla="*/ 812006 w 6400800"/>
                <a:gd name="connsiteY6896" fmla="*/ 448151 h 514350"/>
                <a:gd name="connsiteX6897" fmla="*/ 812006 w 6400800"/>
                <a:gd name="connsiteY6897" fmla="*/ 448151 h 514350"/>
                <a:gd name="connsiteX6898" fmla="*/ 812006 w 6400800"/>
                <a:gd name="connsiteY6898" fmla="*/ 448151 h 514350"/>
                <a:gd name="connsiteX6899" fmla="*/ 812006 w 6400800"/>
                <a:gd name="connsiteY6899" fmla="*/ 448151 h 514350"/>
                <a:gd name="connsiteX6900" fmla="*/ 785336 w 6400800"/>
                <a:gd name="connsiteY6900" fmla="*/ 330041 h 514350"/>
                <a:gd name="connsiteX6901" fmla="*/ 782479 w 6400800"/>
                <a:gd name="connsiteY6901" fmla="*/ 325279 h 514350"/>
                <a:gd name="connsiteX6902" fmla="*/ 782479 w 6400800"/>
                <a:gd name="connsiteY6902" fmla="*/ 315754 h 514350"/>
                <a:gd name="connsiteX6903" fmla="*/ 786289 w 6400800"/>
                <a:gd name="connsiteY6903" fmla="*/ 326231 h 514350"/>
                <a:gd name="connsiteX6904" fmla="*/ 785336 w 6400800"/>
                <a:gd name="connsiteY6904" fmla="*/ 330041 h 514350"/>
                <a:gd name="connsiteX6905" fmla="*/ 797719 w 6400800"/>
                <a:gd name="connsiteY6905" fmla="*/ 271939 h 514350"/>
                <a:gd name="connsiteX6906" fmla="*/ 803434 w 6400800"/>
                <a:gd name="connsiteY6906" fmla="*/ 286226 h 514350"/>
                <a:gd name="connsiteX6907" fmla="*/ 802481 w 6400800"/>
                <a:gd name="connsiteY6907" fmla="*/ 288131 h 514350"/>
                <a:gd name="connsiteX6908" fmla="*/ 792956 w 6400800"/>
                <a:gd name="connsiteY6908" fmla="*/ 310039 h 514350"/>
                <a:gd name="connsiteX6909" fmla="*/ 792956 w 6400800"/>
                <a:gd name="connsiteY6909" fmla="*/ 309086 h 514350"/>
                <a:gd name="connsiteX6910" fmla="*/ 787241 w 6400800"/>
                <a:gd name="connsiteY6910" fmla="*/ 296704 h 514350"/>
                <a:gd name="connsiteX6911" fmla="*/ 795814 w 6400800"/>
                <a:gd name="connsiteY6911" fmla="*/ 266224 h 514350"/>
                <a:gd name="connsiteX6912" fmla="*/ 797719 w 6400800"/>
                <a:gd name="connsiteY6912" fmla="*/ 271939 h 514350"/>
                <a:gd name="connsiteX6913" fmla="*/ 790099 w 6400800"/>
                <a:gd name="connsiteY6913" fmla="*/ 253841 h 514350"/>
                <a:gd name="connsiteX6914" fmla="*/ 793909 w 6400800"/>
                <a:gd name="connsiteY6914" fmla="*/ 261461 h 514350"/>
                <a:gd name="connsiteX6915" fmla="*/ 793909 w 6400800"/>
                <a:gd name="connsiteY6915" fmla="*/ 262414 h 514350"/>
                <a:gd name="connsiteX6916" fmla="*/ 784384 w 6400800"/>
                <a:gd name="connsiteY6916" fmla="*/ 286226 h 514350"/>
                <a:gd name="connsiteX6917" fmla="*/ 785336 w 6400800"/>
                <a:gd name="connsiteY6917" fmla="*/ 273844 h 514350"/>
                <a:gd name="connsiteX6918" fmla="*/ 790099 w 6400800"/>
                <a:gd name="connsiteY6918" fmla="*/ 253841 h 514350"/>
                <a:gd name="connsiteX6919" fmla="*/ 773906 w 6400800"/>
                <a:gd name="connsiteY6919" fmla="*/ 236696 h 514350"/>
                <a:gd name="connsiteX6920" fmla="*/ 776764 w 6400800"/>
                <a:gd name="connsiteY6920" fmla="*/ 213836 h 514350"/>
                <a:gd name="connsiteX6921" fmla="*/ 783431 w 6400800"/>
                <a:gd name="connsiteY6921" fmla="*/ 229076 h 514350"/>
                <a:gd name="connsiteX6922" fmla="*/ 780574 w 6400800"/>
                <a:gd name="connsiteY6922" fmla="*/ 235744 h 514350"/>
                <a:gd name="connsiteX6923" fmla="*/ 777716 w 6400800"/>
                <a:gd name="connsiteY6923" fmla="*/ 231934 h 514350"/>
                <a:gd name="connsiteX6924" fmla="*/ 780574 w 6400800"/>
                <a:gd name="connsiteY6924" fmla="*/ 236696 h 514350"/>
                <a:gd name="connsiteX6925" fmla="*/ 773906 w 6400800"/>
                <a:gd name="connsiteY6925" fmla="*/ 255746 h 514350"/>
                <a:gd name="connsiteX6926" fmla="*/ 773906 w 6400800"/>
                <a:gd name="connsiteY6926" fmla="*/ 236696 h 514350"/>
                <a:gd name="connsiteX6927" fmla="*/ 724376 w 6400800"/>
                <a:gd name="connsiteY6927" fmla="*/ 219551 h 514350"/>
                <a:gd name="connsiteX6928" fmla="*/ 726281 w 6400800"/>
                <a:gd name="connsiteY6928" fmla="*/ 203359 h 514350"/>
                <a:gd name="connsiteX6929" fmla="*/ 726281 w 6400800"/>
                <a:gd name="connsiteY6929" fmla="*/ 229076 h 514350"/>
                <a:gd name="connsiteX6930" fmla="*/ 723424 w 6400800"/>
                <a:gd name="connsiteY6930" fmla="*/ 223361 h 514350"/>
                <a:gd name="connsiteX6931" fmla="*/ 724376 w 6400800"/>
                <a:gd name="connsiteY6931" fmla="*/ 219551 h 514350"/>
                <a:gd name="connsiteX6932" fmla="*/ 723424 w 6400800"/>
                <a:gd name="connsiteY6932" fmla="*/ 224314 h 514350"/>
                <a:gd name="connsiteX6933" fmla="*/ 724376 w 6400800"/>
                <a:gd name="connsiteY6933" fmla="*/ 235744 h 514350"/>
                <a:gd name="connsiteX6934" fmla="*/ 726281 w 6400800"/>
                <a:gd name="connsiteY6934" fmla="*/ 250984 h 514350"/>
                <a:gd name="connsiteX6935" fmla="*/ 726281 w 6400800"/>
                <a:gd name="connsiteY6935" fmla="*/ 251936 h 514350"/>
                <a:gd name="connsiteX6936" fmla="*/ 727234 w 6400800"/>
                <a:gd name="connsiteY6936" fmla="*/ 276701 h 514350"/>
                <a:gd name="connsiteX6937" fmla="*/ 727234 w 6400800"/>
                <a:gd name="connsiteY6937" fmla="*/ 288131 h 514350"/>
                <a:gd name="connsiteX6938" fmla="*/ 725329 w 6400800"/>
                <a:gd name="connsiteY6938" fmla="*/ 284321 h 514350"/>
                <a:gd name="connsiteX6939" fmla="*/ 717709 w 6400800"/>
                <a:gd name="connsiteY6939" fmla="*/ 260509 h 514350"/>
                <a:gd name="connsiteX6940" fmla="*/ 723424 w 6400800"/>
                <a:gd name="connsiteY6940" fmla="*/ 224314 h 514350"/>
                <a:gd name="connsiteX6941" fmla="*/ 710089 w 6400800"/>
                <a:gd name="connsiteY6941" fmla="*/ 308134 h 514350"/>
                <a:gd name="connsiteX6942" fmla="*/ 711041 w 6400800"/>
                <a:gd name="connsiteY6942" fmla="*/ 320516 h 514350"/>
                <a:gd name="connsiteX6943" fmla="*/ 717709 w 6400800"/>
                <a:gd name="connsiteY6943" fmla="*/ 373856 h 514350"/>
                <a:gd name="connsiteX6944" fmla="*/ 711041 w 6400800"/>
                <a:gd name="connsiteY6944" fmla="*/ 389096 h 514350"/>
                <a:gd name="connsiteX6945" fmla="*/ 709136 w 6400800"/>
                <a:gd name="connsiteY6945" fmla="*/ 383381 h 514350"/>
                <a:gd name="connsiteX6946" fmla="*/ 711041 w 6400800"/>
                <a:gd name="connsiteY6946" fmla="*/ 372904 h 514350"/>
                <a:gd name="connsiteX6947" fmla="*/ 713899 w 6400800"/>
                <a:gd name="connsiteY6947" fmla="*/ 352901 h 514350"/>
                <a:gd name="connsiteX6948" fmla="*/ 707231 w 6400800"/>
                <a:gd name="connsiteY6948" fmla="*/ 372904 h 514350"/>
                <a:gd name="connsiteX6949" fmla="*/ 706279 w 6400800"/>
                <a:gd name="connsiteY6949" fmla="*/ 374809 h 514350"/>
                <a:gd name="connsiteX6950" fmla="*/ 701516 w 6400800"/>
                <a:gd name="connsiteY6950" fmla="*/ 357664 h 514350"/>
                <a:gd name="connsiteX6951" fmla="*/ 701516 w 6400800"/>
                <a:gd name="connsiteY6951" fmla="*/ 357664 h 514350"/>
                <a:gd name="connsiteX6952" fmla="*/ 710089 w 6400800"/>
                <a:gd name="connsiteY6952" fmla="*/ 308134 h 514350"/>
                <a:gd name="connsiteX6953" fmla="*/ 676751 w 6400800"/>
                <a:gd name="connsiteY6953" fmla="*/ 253841 h 514350"/>
                <a:gd name="connsiteX6954" fmla="*/ 676751 w 6400800"/>
                <a:gd name="connsiteY6954" fmla="*/ 246221 h 514350"/>
                <a:gd name="connsiteX6955" fmla="*/ 679609 w 6400800"/>
                <a:gd name="connsiteY6955" fmla="*/ 220504 h 514350"/>
                <a:gd name="connsiteX6956" fmla="*/ 682466 w 6400800"/>
                <a:gd name="connsiteY6956" fmla="*/ 181451 h 514350"/>
                <a:gd name="connsiteX6957" fmla="*/ 682466 w 6400800"/>
                <a:gd name="connsiteY6957" fmla="*/ 178594 h 514350"/>
                <a:gd name="connsiteX6958" fmla="*/ 696754 w 6400800"/>
                <a:gd name="connsiteY6958" fmla="*/ 231934 h 514350"/>
                <a:gd name="connsiteX6959" fmla="*/ 705326 w 6400800"/>
                <a:gd name="connsiteY6959" fmla="*/ 267176 h 514350"/>
                <a:gd name="connsiteX6960" fmla="*/ 703421 w 6400800"/>
                <a:gd name="connsiteY6960" fmla="*/ 273844 h 514350"/>
                <a:gd name="connsiteX6961" fmla="*/ 694849 w 6400800"/>
                <a:gd name="connsiteY6961" fmla="*/ 307181 h 514350"/>
                <a:gd name="connsiteX6962" fmla="*/ 692944 w 6400800"/>
                <a:gd name="connsiteY6962" fmla="*/ 313849 h 514350"/>
                <a:gd name="connsiteX6963" fmla="*/ 690086 w 6400800"/>
                <a:gd name="connsiteY6963" fmla="*/ 322421 h 514350"/>
                <a:gd name="connsiteX6964" fmla="*/ 673894 w 6400800"/>
                <a:gd name="connsiteY6964" fmla="*/ 274796 h 514350"/>
                <a:gd name="connsiteX6965" fmla="*/ 676751 w 6400800"/>
                <a:gd name="connsiteY6965" fmla="*/ 253841 h 514350"/>
                <a:gd name="connsiteX6966" fmla="*/ 668179 w 6400800"/>
                <a:gd name="connsiteY6966" fmla="*/ 331946 h 514350"/>
                <a:gd name="connsiteX6967" fmla="*/ 668179 w 6400800"/>
                <a:gd name="connsiteY6967" fmla="*/ 330041 h 514350"/>
                <a:gd name="connsiteX6968" fmla="*/ 669131 w 6400800"/>
                <a:gd name="connsiteY6968" fmla="*/ 334804 h 514350"/>
                <a:gd name="connsiteX6969" fmla="*/ 671989 w 6400800"/>
                <a:gd name="connsiteY6969" fmla="*/ 346234 h 514350"/>
                <a:gd name="connsiteX6970" fmla="*/ 674846 w 6400800"/>
                <a:gd name="connsiteY6970" fmla="*/ 359569 h 514350"/>
                <a:gd name="connsiteX6971" fmla="*/ 676751 w 6400800"/>
                <a:gd name="connsiteY6971" fmla="*/ 370999 h 514350"/>
                <a:gd name="connsiteX6972" fmla="*/ 675799 w 6400800"/>
                <a:gd name="connsiteY6972" fmla="*/ 373856 h 514350"/>
                <a:gd name="connsiteX6973" fmla="*/ 674846 w 6400800"/>
                <a:gd name="connsiteY6973" fmla="*/ 377666 h 514350"/>
                <a:gd name="connsiteX6974" fmla="*/ 670084 w 6400800"/>
                <a:gd name="connsiteY6974" fmla="*/ 368141 h 514350"/>
                <a:gd name="connsiteX6975" fmla="*/ 664369 w 6400800"/>
                <a:gd name="connsiteY6975" fmla="*/ 358616 h 514350"/>
                <a:gd name="connsiteX6976" fmla="*/ 668179 w 6400800"/>
                <a:gd name="connsiteY6976" fmla="*/ 331946 h 514350"/>
                <a:gd name="connsiteX6977" fmla="*/ 656749 w 6400800"/>
                <a:gd name="connsiteY6977" fmla="*/ 266224 h 514350"/>
                <a:gd name="connsiteX6978" fmla="*/ 656749 w 6400800"/>
                <a:gd name="connsiteY6978" fmla="*/ 267176 h 514350"/>
                <a:gd name="connsiteX6979" fmla="*/ 656749 w 6400800"/>
                <a:gd name="connsiteY6979" fmla="*/ 269081 h 514350"/>
                <a:gd name="connsiteX6980" fmla="*/ 656749 w 6400800"/>
                <a:gd name="connsiteY6980" fmla="*/ 266224 h 514350"/>
                <a:gd name="connsiteX6981" fmla="*/ 608171 w 6400800"/>
                <a:gd name="connsiteY6981" fmla="*/ 318611 h 514350"/>
                <a:gd name="connsiteX6982" fmla="*/ 611981 w 6400800"/>
                <a:gd name="connsiteY6982" fmla="*/ 279559 h 514350"/>
                <a:gd name="connsiteX6983" fmla="*/ 613886 w 6400800"/>
                <a:gd name="connsiteY6983" fmla="*/ 288131 h 514350"/>
                <a:gd name="connsiteX6984" fmla="*/ 615791 w 6400800"/>
                <a:gd name="connsiteY6984" fmla="*/ 327184 h 514350"/>
                <a:gd name="connsiteX6985" fmla="*/ 615791 w 6400800"/>
                <a:gd name="connsiteY6985" fmla="*/ 331946 h 514350"/>
                <a:gd name="connsiteX6986" fmla="*/ 615791 w 6400800"/>
                <a:gd name="connsiteY6986" fmla="*/ 337661 h 514350"/>
                <a:gd name="connsiteX6987" fmla="*/ 613886 w 6400800"/>
                <a:gd name="connsiteY6987" fmla="*/ 333851 h 514350"/>
                <a:gd name="connsiteX6988" fmla="*/ 607219 w 6400800"/>
                <a:gd name="connsiteY6988" fmla="*/ 321469 h 514350"/>
                <a:gd name="connsiteX6989" fmla="*/ 608171 w 6400800"/>
                <a:gd name="connsiteY6989" fmla="*/ 318611 h 514350"/>
                <a:gd name="connsiteX6990" fmla="*/ 606266 w 6400800"/>
                <a:gd name="connsiteY6990" fmla="*/ 341471 h 514350"/>
                <a:gd name="connsiteX6991" fmla="*/ 615791 w 6400800"/>
                <a:gd name="connsiteY6991" fmla="*/ 364331 h 514350"/>
                <a:gd name="connsiteX6992" fmla="*/ 615791 w 6400800"/>
                <a:gd name="connsiteY6992" fmla="*/ 365284 h 514350"/>
                <a:gd name="connsiteX6993" fmla="*/ 611029 w 6400800"/>
                <a:gd name="connsiteY6993" fmla="*/ 375761 h 514350"/>
                <a:gd name="connsiteX6994" fmla="*/ 608171 w 6400800"/>
                <a:gd name="connsiteY6994" fmla="*/ 363379 h 514350"/>
                <a:gd name="connsiteX6995" fmla="*/ 605314 w 6400800"/>
                <a:gd name="connsiteY6995" fmla="*/ 350996 h 514350"/>
                <a:gd name="connsiteX6996" fmla="*/ 606266 w 6400800"/>
                <a:gd name="connsiteY6996" fmla="*/ 341471 h 514350"/>
                <a:gd name="connsiteX6997" fmla="*/ 606266 w 6400800"/>
                <a:gd name="connsiteY6997" fmla="*/ 424339 h 514350"/>
                <a:gd name="connsiteX6998" fmla="*/ 609124 w 6400800"/>
                <a:gd name="connsiteY6998" fmla="*/ 433864 h 514350"/>
                <a:gd name="connsiteX6999" fmla="*/ 607219 w 6400800"/>
                <a:gd name="connsiteY6999" fmla="*/ 436721 h 514350"/>
                <a:gd name="connsiteX7000" fmla="*/ 601504 w 6400800"/>
                <a:gd name="connsiteY7000" fmla="*/ 435769 h 514350"/>
                <a:gd name="connsiteX7001" fmla="*/ 606266 w 6400800"/>
                <a:gd name="connsiteY7001" fmla="*/ 424339 h 514350"/>
                <a:gd name="connsiteX7002" fmla="*/ 599599 w 6400800"/>
                <a:gd name="connsiteY7002" fmla="*/ 401479 h 514350"/>
                <a:gd name="connsiteX7003" fmla="*/ 599599 w 6400800"/>
                <a:gd name="connsiteY7003" fmla="*/ 401479 h 514350"/>
                <a:gd name="connsiteX7004" fmla="*/ 599599 w 6400800"/>
                <a:gd name="connsiteY7004" fmla="*/ 403384 h 514350"/>
                <a:gd name="connsiteX7005" fmla="*/ 599599 w 6400800"/>
                <a:gd name="connsiteY7005" fmla="*/ 401479 h 514350"/>
                <a:gd name="connsiteX7006" fmla="*/ 587216 w 6400800"/>
                <a:gd name="connsiteY7006" fmla="*/ 300514 h 514350"/>
                <a:gd name="connsiteX7007" fmla="*/ 591979 w 6400800"/>
                <a:gd name="connsiteY7007" fmla="*/ 310039 h 514350"/>
                <a:gd name="connsiteX7008" fmla="*/ 591026 w 6400800"/>
                <a:gd name="connsiteY7008" fmla="*/ 316706 h 514350"/>
                <a:gd name="connsiteX7009" fmla="*/ 591026 w 6400800"/>
                <a:gd name="connsiteY7009" fmla="*/ 316706 h 514350"/>
                <a:gd name="connsiteX7010" fmla="*/ 590074 w 6400800"/>
                <a:gd name="connsiteY7010" fmla="*/ 319564 h 514350"/>
                <a:gd name="connsiteX7011" fmla="*/ 587216 w 6400800"/>
                <a:gd name="connsiteY7011" fmla="*/ 311944 h 514350"/>
                <a:gd name="connsiteX7012" fmla="*/ 586264 w 6400800"/>
                <a:gd name="connsiteY7012" fmla="*/ 299561 h 514350"/>
                <a:gd name="connsiteX7013" fmla="*/ 587216 w 6400800"/>
                <a:gd name="connsiteY7013" fmla="*/ 300514 h 514350"/>
                <a:gd name="connsiteX7014" fmla="*/ 553879 w 6400800"/>
                <a:gd name="connsiteY7014" fmla="*/ 257651 h 514350"/>
                <a:gd name="connsiteX7015" fmla="*/ 555784 w 6400800"/>
                <a:gd name="connsiteY7015" fmla="*/ 233839 h 514350"/>
                <a:gd name="connsiteX7016" fmla="*/ 558641 w 6400800"/>
                <a:gd name="connsiteY7016" fmla="*/ 249079 h 514350"/>
                <a:gd name="connsiteX7017" fmla="*/ 556736 w 6400800"/>
                <a:gd name="connsiteY7017" fmla="*/ 247174 h 514350"/>
                <a:gd name="connsiteX7018" fmla="*/ 558641 w 6400800"/>
                <a:gd name="connsiteY7018" fmla="*/ 250984 h 514350"/>
                <a:gd name="connsiteX7019" fmla="*/ 570071 w 6400800"/>
                <a:gd name="connsiteY7019" fmla="*/ 297656 h 514350"/>
                <a:gd name="connsiteX7020" fmla="*/ 571976 w 6400800"/>
                <a:gd name="connsiteY7020" fmla="*/ 303371 h 514350"/>
                <a:gd name="connsiteX7021" fmla="*/ 569119 w 6400800"/>
                <a:gd name="connsiteY7021" fmla="*/ 312896 h 514350"/>
                <a:gd name="connsiteX7022" fmla="*/ 564356 w 6400800"/>
                <a:gd name="connsiteY7022" fmla="*/ 295751 h 514350"/>
                <a:gd name="connsiteX7023" fmla="*/ 553879 w 6400800"/>
                <a:gd name="connsiteY7023" fmla="*/ 266224 h 514350"/>
                <a:gd name="connsiteX7024" fmla="*/ 553879 w 6400800"/>
                <a:gd name="connsiteY7024" fmla="*/ 257651 h 514350"/>
                <a:gd name="connsiteX7025" fmla="*/ 551974 w 6400800"/>
                <a:gd name="connsiteY7025" fmla="*/ 295751 h 514350"/>
                <a:gd name="connsiteX7026" fmla="*/ 551974 w 6400800"/>
                <a:gd name="connsiteY7026" fmla="*/ 295751 h 514350"/>
                <a:gd name="connsiteX7027" fmla="*/ 552926 w 6400800"/>
                <a:gd name="connsiteY7027" fmla="*/ 298609 h 514350"/>
                <a:gd name="connsiteX7028" fmla="*/ 556736 w 6400800"/>
                <a:gd name="connsiteY7028" fmla="*/ 317659 h 514350"/>
                <a:gd name="connsiteX7029" fmla="*/ 557689 w 6400800"/>
                <a:gd name="connsiteY7029" fmla="*/ 321469 h 514350"/>
                <a:gd name="connsiteX7030" fmla="*/ 557689 w 6400800"/>
                <a:gd name="connsiteY7030" fmla="*/ 322421 h 514350"/>
                <a:gd name="connsiteX7031" fmla="*/ 557689 w 6400800"/>
                <a:gd name="connsiteY7031" fmla="*/ 326231 h 514350"/>
                <a:gd name="connsiteX7032" fmla="*/ 552926 w 6400800"/>
                <a:gd name="connsiteY7032" fmla="*/ 306229 h 514350"/>
                <a:gd name="connsiteX7033" fmla="*/ 551974 w 6400800"/>
                <a:gd name="connsiteY7033" fmla="*/ 295751 h 514350"/>
                <a:gd name="connsiteX7034" fmla="*/ 529114 w 6400800"/>
                <a:gd name="connsiteY7034" fmla="*/ 290036 h 514350"/>
                <a:gd name="connsiteX7035" fmla="*/ 529114 w 6400800"/>
                <a:gd name="connsiteY7035" fmla="*/ 290036 h 514350"/>
                <a:gd name="connsiteX7036" fmla="*/ 529114 w 6400800"/>
                <a:gd name="connsiteY7036" fmla="*/ 290036 h 514350"/>
                <a:gd name="connsiteX7037" fmla="*/ 529114 w 6400800"/>
                <a:gd name="connsiteY7037" fmla="*/ 290036 h 514350"/>
                <a:gd name="connsiteX7038" fmla="*/ 522446 w 6400800"/>
                <a:gd name="connsiteY7038" fmla="*/ 336709 h 514350"/>
                <a:gd name="connsiteX7039" fmla="*/ 523399 w 6400800"/>
                <a:gd name="connsiteY7039" fmla="*/ 329089 h 514350"/>
                <a:gd name="connsiteX7040" fmla="*/ 526256 w 6400800"/>
                <a:gd name="connsiteY7040" fmla="*/ 336709 h 514350"/>
                <a:gd name="connsiteX7041" fmla="*/ 531019 w 6400800"/>
                <a:gd name="connsiteY7041" fmla="*/ 350996 h 514350"/>
                <a:gd name="connsiteX7042" fmla="*/ 531971 w 6400800"/>
                <a:gd name="connsiteY7042" fmla="*/ 374809 h 514350"/>
                <a:gd name="connsiteX7043" fmla="*/ 533876 w 6400800"/>
                <a:gd name="connsiteY7043" fmla="*/ 403384 h 514350"/>
                <a:gd name="connsiteX7044" fmla="*/ 528161 w 6400800"/>
                <a:gd name="connsiteY7044" fmla="*/ 394811 h 514350"/>
                <a:gd name="connsiteX7045" fmla="*/ 532924 w 6400800"/>
                <a:gd name="connsiteY7045" fmla="*/ 410051 h 514350"/>
                <a:gd name="connsiteX7046" fmla="*/ 534829 w 6400800"/>
                <a:gd name="connsiteY7046" fmla="*/ 417671 h 514350"/>
                <a:gd name="connsiteX7047" fmla="*/ 535781 w 6400800"/>
                <a:gd name="connsiteY7047" fmla="*/ 430054 h 514350"/>
                <a:gd name="connsiteX7048" fmla="*/ 523399 w 6400800"/>
                <a:gd name="connsiteY7048" fmla="*/ 428149 h 514350"/>
                <a:gd name="connsiteX7049" fmla="*/ 522446 w 6400800"/>
                <a:gd name="connsiteY7049" fmla="*/ 427196 h 514350"/>
                <a:gd name="connsiteX7050" fmla="*/ 522446 w 6400800"/>
                <a:gd name="connsiteY7050" fmla="*/ 423386 h 514350"/>
                <a:gd name="connsiteX7051" fmla="*/ 527209 w 6400800"/>
                <a:gd name="connsiteY7051" fmla="*/ 410051 h 514350"/>
                <a:gd name="connsiteX7052" fmla="*/ 522446 w 6400800"/>
                <a:gd name="connsiteY7052" fmla="*/ 418624 h 514350"/>
                <a:gd name="connsiteX7053" fmla="*/ 521494 w 6400800"/>
                <a:gd name="connsiteY7053" fmla="*/ 405289 h 514350"/>
                <a:gd name="connsiteX7054" fmla="*/ 517684 w 6400800"/>
                <a:gd name="connsiteY7054" fmla="*/ 369094 h 514350"/>
                <a:gd name="connsiteX7055" fmla="*/ 522446 w 6400800"/>
                <a:gd name="connsiteY7055" fmla="*/ 336709 h 514350"/>
                <a:gd name="connsiteX7056" fmla="*/ 512921 w 6400800"/>
                <a:gd name="connsiteY7056" fmla="*/ 271939 h 514350"/>
                <a:gd name="connsiteX7057" fmla="*/ 509111 w 6400800"/>
                <a:gd name="connsiteY7057" fmla="*/ 287179 h 514350"/>
                <a:gd name="connsiteX7058" fmla="*/ 509111 w 6400800"/>
                <a:gd name="connsiteY7058" fmla="*/ 288131 h 514350"/>
                <a:gd name="connsiteX7059" fmla="*/ 507206 w 6400800"/>
                <a:gd name="connsiteY7059" fmla="*/ 275749 h 514350"/>
                <a:gd name="connsiteX7060" fmla="*/ 508159 w 6400800"/>
                <a:gd name="connsiteY7060" fmla="*/ 262414 h 514350"/>
                <a:gd name="connsiteX7061" fmla="*/ 509111 w 6400800"/>
                <a:gd name="connsiteY7061" fmla="*/ 262414 h 514350"/>
                <a:gd name="connsiteX7062" fmla="*/ 512921 w 6400800"/>
                <a:gd name="connsiteY7062" fmla="*/ 271939 h 514350"/>
                <a:gd name="connsiteX7063" fmla="*/ 497681 w 6400800"/>
                <a:gd name="connsiteY7063" fmla="*/ 207169 h 514350"/>
                <a:gd name="connsiteX7064" fmla="*/ 506254 w 6400800"/>
                <a:gd name="connsiteY7064" fmla="*/ 245269 h 514350"/>
                <a:gd name="connsiteX7065" fmla="*/ 509111 w 6400800"/>
                <a:gd name="connsiteY7065" fmla="*/ 256699 h 514350"/>
                <a:gd name="connsiteX7066" fmla="*/ 506254 w 6400800"/>
                <a:gd name="connsiteY7066" fmla="*/ 256699 h 514350"/>
                <a:gd name="connsiteX7067" fmla="*/ 505301 w 6400800"/>
                <a:gd name="connsiteY7067" fmla="*/ 256699 h 514350"/>
                <a:gd name="connsiteX7068" fmla="*/ 505301 w 6400800"/>
                <a:gd name="connsiteY7068" fmla="*/ 256699 h 514350"/>
                <a:gd name="connsiteX7069" fmla="*/ 497681 w 6400800"/>
                <a:gd name="connsiteY7069" fmla="*/ 207169 h 514350"/>
                <a:gd name="connsiteX7070" fmla="*/ 497681 w 6400800"/>
                <a:gd name="connsiteY7070" fmla="*/ 207169 h 514350"/>
                <a:gd name="connsiteX7071" fmla="*/ 487204 w 6400800"/>
                <a:gd name="connsiteY7071" fmla="*/ 419576 h 514350"/>
                <a:gd name="connsiteX7072" fmla="*/ 486251 w 6400800"/>
                <a:gd name="connsiteY7072" fmla="*/ 422434 h 514350"/>
                <a:gd name="connsiteX7073" fmla="*/ 483394 w 6400800"/>
                <a:gd name="connsiteY7073" fmla="*/ 422434 h 514350"/>
                <a:gd name="connsiteX7074" fmla="*/ 483394 w 6400800"/>
                <a:gd name="connsiteY7074" fmla="*/ 418624 h 514350"/>
                <a:gd name="connsiteX7075" fmla="*/ 481489 w 6400800"/>
                <a:gd name="connsiteY7075" fmla="*/ 401479 h 514350"/>
                <a:gd name="connsiteX7076" fmla="*/ 487204 w 6400800"/>
                <a:gd name="connsiteY7076" fmla="*/ 419576 h 514350"/>
                <a:gd name="connsiteX7077" fmla="*/ 437674 w 6400800"/>
                <a:gd name="connsiteY7077" fmla="*/ 390049 h 514350"/>
                <a:gd name="connsiteX7078" fmla="*/ 437674 w 6400800"/>
                <a:gd name="connsiteY7078" fmla="*/ 390049 h 514350"/>
                <a:gd name="connsiteX7079" fmla="*/ 437674 w 6400800"/>
                <a:gd name="connsiteY7079" fmla="*/ 388144 h 514350"/>
                <a:gd name="connsiteX7080" fmla="*/ 437674 w 6400800"/>
                <a:gd name="connsiteY7080" fmla="*/ 388144 h 514350"/>
                <a:gd name="connsiteX7081" fmla="*/ 437674 w 6400800"/>
                <a:gd name="connsiteY7081" fmla="*/ 390049 h 514350"/>
                <a:gd name="connsiteX7082" fmla="*/ 437674 w 6400800"/>
                <a:gd name="connsiteY7082" fmla="*/ 390049 h 514350"/>
                <a:gd name="connsiteX7083" fmla="*/ 448151 w 6400800"/>
                <a:gd name="connsiteY7083" fmla="*/ 362426 h 514350"/>
                <a:gd name="connsiteX7084" fmla="*/ 446246 w 6400800"/>
                <a:gd name="connsiteY7084" fmla="*/ 356711 h 514350"/>
                <a:gd name="connsiteX7085" fmla="*/ 449104 w 6400800"/>
                <a:gd name="connsiteY7085" fmla="*/ 347186 h 514350"/>
                <a:gd name="connsiteX7086" fmla="*/ 448151 w 6400800"/>
                <a:gd name="connsiteY7086" fmla="*/ 362426 h 514350"/>
                <a:gd name="connsiteX7087" fmla="*/ 436721 w 6400800"/>
                <a:gd name="connsiteY7087" fmla="*/ 227171 h 514350"/>
                <a:gd name="connsiteX7088" fmla="*/ 440531 w 6400800"/>
                <a:gd name="connsiteY7088" fmla="*/ 246221 h 514350"/>
                <a:gd name="connsiteX7089" fmla="*/ 434816 w 6400800"/>
                <a:gd name="connsiteY7089" fmla="*/ 234791 h 514350"/>
                <a:gd name="connsiteX7090" fmla="*/ 436721 w 6400800"/>
                <a:gd name="connsiteY7090" fmla="*/ 227171 h 514350"/>
                <a:gd name="connsiteX7091" fmla="*/ 428149 w 6400800"/>
                <a:gd name="connsiteY7091" fmla="*/ 280511 h 514350"/>
                <a:gd name="connsiteX7092" fmla="*/ 431959 w 6400800"/>
                <a:gd name="connsiteY7092" fmla="*/ 253841 h 514350"/>
                <a:gd name="connsiteX7093" fmla="*/ 432911 w 6400800"/>
                <a:gd name="connsiteY7093" fmla="*/ 258604 h 514350"/>
                <a:gd name="connsiteX7094" fmla="*/ 438626 w 6400800"/>
                <a:gd name="connsiteY7094" fmla="*/ 284321 h 514350"/>
                <a:gd name="connsiteX7095" fmla="*/ 439579 w 6400800"/>
                <a:gd name="connsiteY7095" fmla="*/ 290036 h 514350"/>
                <a:gd name="connsiteX7096" fmla="*/ 432911 w 6400800"/>
                <a:gd name="connsiteY7096" fmla="*/ 281464 h 514350"/>
                <a:gd name="connsiteX7097" fmla="*/ 439579 w 6400800"/>
                <a:gd name="connsiteY7097" fmla="*/ 295751 h 514350"/>
                <a:gd name="connsiteX7098" fmla="*/ 441484 w 6400800"/>
                <a:gd name="connsiteY7098" fmla="*/ 299561 h 514350"/>
                <a:gd name="connsiteX7099" fmla="*/ 443389 w 6400800"/>
                <a:gd name="connsiteY7099" fmla="*/ 312896 h 514350"/>
                <a:gd name="connsiteX7100" fmla="*/ 446246 w 6400800"/>
                <a:gd name="connsiteY7100" fmla="*/ 328136 h 514350"/>
                <a:gd name="connsiteX7101" fmla="*/ 447199 w 6400800"/>
                <a:gd name="connsiteY7101" fmla="*/ 335756 h 514350"/>
                <a:gd name="connsiteX7102" fmla="*/ 445294 w 6400800"/>
                <a:gd name="connsiteY7102" fmla="*/ 341471 h 514350"/>
                <a:gd name="connsiteX7103" fmla="*/ 442436 w 6400800"/>
                <a:gd name="connsiteY7103" fmla="*/ 349091 h 514350"/>
                <a:gd name="connsiteX7104" fmla="*/ 434816 w 6400800"/>
                <a:gd name="connsiteY7104" fmla="*/ 331946 h 514350"/>
                <a:gd name="connsiteX7105" fmla="*/ 434816 w 6400800"/>
                <a:gd name="connsiteY7105" fmla="*/ 317659 h 514350"/>
                <a:gd name="connsiteX7106" fmla="*/ 432911 w 6400800"/>
                <a:gd name="connsiteY7106" fmla="*/ 328136 h 514350"/>
                <a:gd name="connsiteX7107" fmla="*/ 423386 w 6400800"/>
                <a:gd name="connsiteY7107" fmla="*/ 303371 h 514350"/>
                <a:gd name="connsiteX7108" fmla="*/ 428149 w 6400800"/>
                <a:gd name="connsiteY7108" fmla="*/ 280511 h 514350"/>
                <a:gd name="connsiteX7109" fmla="*/ 418624 w 6400800"/>
                <a:gd name="connsiteY7109" fmla="*/ 345281 h 514350"/>
                <a:gd name="connsiteX7110" fmla="*/ 422434 w 6400800"/>
                <a:gd name="connsiteY7110" fmla="*/ 322421 h 514350"/>
                <a:gd name="connsiteX7111" fmla="*/ 427196 w 6400800"/>
                <a:gd name="connsiteY7111" fmla="*/ 339566 h 514350"/>
                <a:gd name="connsiteX7112" fmla="*/ 430054 w 6400800"/>
                <a:gd name="connsiteY7112" fmla="*/ 350996 h 514350"/>
                <a:gd name="connsiteX7113" fmla="*/ 428149 w 6400800"/>
                <a:gd name="connsiteY7113" fmla="*/ 362426 h 514350"/>
                <a:gd name="connsiteX7114" fmla="*/ 426244 w 6400800"/>
                <a:gd name="connsiteY7114" fmla="*/ 356711 h 514350"/>
                <a:gd name="connsiteX7115" fmla="*/ 420529 w 6400800"/>
                <a:gd name="connsiteY7115" fmla="*/ 344329 h 514350"/>
                <a:gd name="connsiteX7116" fmla="*/ 422434 w 6400800"/>
                <a:gd name="connsiteY7116" fmla="*/ 357664 h 514350"/>
                <a:gd name="connsiteX7117" fmla="*/ 424339 w 6400800"/>
                <a:gd name="connsiteY7117" fmla="*/ 372904 h 514350"/>
                <a:gd name="connsiteX7118" fmla="*/ 425291 w 6400800"/>
                <a:gd name="connsiteY7118" fmla="*/ 377666 h 514350"/>
                <a:gd name="connsiteX7119" fmla="*/ 424339 w 6400800"/>
                <a:gd name="connsiteY7119" fmla="*/ 375761 h 514350"/>
                <a:gd name="connsiteX7120" fmla="*/ 424339 w 6400800"/>
                <a:gd name="connsiteY7120" fmla="*/ 374809 h 514350"/>
                <a:gd name="connsiteX7121" fmla="*/ 418624 w 6400800"/>
                <a:gd name="connsiteY7121" fmla="*/ 351949 h 514350"/>
                <a:gd name="connsiteX7122" fmla="*/ 418624 w 6400800"/>
                <a:gd name="connsiteY7122" fmla="*/ 345281 h 514350"/>
                <a:gd name="connsiteX7123" fmla="*/ 406241 w 6400800"/>
                <a:gd name="connsiteY7123" fmla="*/ 261461 h 514350"/>
                <a:gd name="connsiteX7124" fmla="*/ 411956 w 6400800"/>
                <a:gd name="connsiteY7124" fmla="*/ 285274 h 514350"/>
                <a:gd name="connsiteX7125" fmla="*/ 407194 w 6400800"/>
                <a:gd name="connsiteY7125" fmla="*/ 310039 h 514350"/>
                <a:gd name="connsiteX7126" fmla="*/ 405289 w 6400800"/>
                <a:gd name="connsiteY7126" fmla="*/ 302419 h 514350"/>
                <a:gd name="connsiteX7127" fmla="*/ 406241 w 6400800"/>
                <a:gd name="connsiteY7127" fmla="*/ 261461 h 514350"/>
                <a:gd name="connsiteX7128" fmla="*/ 382429 w 6400800"/>
                <a:gd name="connsiteY7128" fmla="*/ 290036 h 514350"/>
                <a:gd name="connsiteX7129" fmla="*/ 381476 w 6400800"/>
                <a:gd name="connsiteY7129" fmla="*/ 293846 h 514350"/>
                <a:gd name="connsiteX7130" fmla="*/ 381476 w 6400800"/>
                <a:gd name="connsiteY7130" fmla="*/ 285274 h 514350"/>
                <a:gd name="connsiteX7131" fmla="*/ 382429 w 6400800"/>
                <a:gd name="connsiteY7131" fmla="*/ 290036 h 514350"/>
                <a:gd name="connsiteX7132" fmla="*/ 361474 w 6400800"/>
                <a:gd name="connsiteY7132" fmla="*/ 394811 h 514350"/>
                <a:gd name="connsiteX7133" fmla="*/ 361474 w 6400800"/>
                <a:gd name="connsiteY7133" fmla="*/ 404336 h 514350"/>
                <a:gd name="connsiteX7134" fmla="*/ 361474 w 6400800"/>
                <a:gd name="connsiteY7134" fmla="*/ 407194 h 514350"/>
                <a:gd name="connsiteX7135" fmla="*/ 354806 w 6400800"/>
                <a:gd name="connsiteY7135" fmla="*/ 383381 h 514350"/>
                <a:gd name="connsiteX7136" fmla="*/ 354806 w 6400800"/>
                <a:gd name="connsiteY7136" fmla="*/ 382429 h 514350"/>
                <a:gd name="connsiteX7137" fmla="*/ 352901 w 6400800"/>
                <a:gd name="connsiteY7137" fmla="*/ 373856 h 514350"/>
                <a:gd name="connsiteX7138" fmla="*/ 361474 w 6400800"/>
                <a:gd name="connsiteY7138" fmla="*/ 394811 h 514350"/>
                <a:gd name="connsiteX7139" fmla="*/ 347186 w 6400800"/>
                <a:gd name="connsiteY7139" fmla="*/ 307181 h 514350"/>
                <a:gd name="connsiteX7140" fmla="*/ 349091 w 6400800"/>
                <a:gd name="connsiteY7140" fmla="*/ 311944 h 514350"/>
                <a:gd name="connsiteX7141" fmla="*/ 347186 w 6400800"/>
                <a:gd name="connsiteY7141" fmla="*/ 309086 h 514350"/>
                <a:gd name="connsiteX7142" fmla="*/ 347186 w 6400800"/>
                <a:gd name="connsiteY7142" fmla="*/ 307181 h 514350"/>
                <a:gd name="connsiteX7143" fmla="*/ 347186 w 6400800"/>
                <a:gd name="connsiteY7143" fmla="*/ 429101 h 514350"/>
                <a:gd name="connsiteX7144" fmla="*/ 348139 w 6400800"/>
                <a:gd name="connsiteY7144" fmla="*/ 432911 h 514350"/>
                <a:gd name="connsiteX7145" fmla="*/ 346234 w 6400800"/>
                <a:gd name="connsiteY7145" fmla="*/ 432911 h 514350"/>
                <a:gd name="connsiteX7146" fmla="*/ 347186 w 6400800"/>
                <a:gd name="connsiteY7146" fmla="*/ 429101 h 514350"/>
                <a:gd name="connsiteX7147" fmla="*/ 310991 w 6400800"/>
                <a:gd name="connsiteY7147" fmla="*/ 439579 h 514350"/>
                <a:gd name="connsiteX7148" fmla="*/ 311944 w 6400800"/>
                <a:gd name="connsiteY7148" fmla="*/ 424339 h 514350"/>
                <a:gd name="connsiteX7149" fmla="*/ 317659 w 6400800"/>
                <a:gd name="connsiteY7149" fmla="*/ 438626 h 514350"/>
                <a:gd name="connsiteX7150" fmla="*/ 310991 w 6400800"/>
                <a:gd name="connsiteY7150" fmla="*/ 439579 h 514350"/>
                <a:gd name="connsiteX7151" fmla="*/ 302419 w 6400800"/>
                <a:gd name="connsiteY7151" fmla="*/ 230981 h 514350"/>
                <a:gd name="connsiteX7152" fmla="*/ 304324 w 6400800"/>
                <a:gd name="connsiteY7152" fmla="*/ 237649 h 514350"/>
                <a:gd name="connsiteX7153" fmla="*/ 307181 w 6400800"/>
                <a:gd name="connsiteY7153" fmla="*/ 252889 h 514350"/>
                <a:gd name="connsiteX7154" fmla="*/ 300514 w 6400800"/>
                <a:gd name="connsiteY7154" fmla="*/ 244316 h 514350"/>
                <a:gd name="connsiteX7155" fmla="*/ 302419 w 6400800"/>
                <a:gd name="connsiteY7155" fmla="*/ 230981 h 514350"/>
                <a:gd name="connsiteX7156" fmla="*/ 295751 w 6400800"/>
                <a:gd name="connsiteY7156" fmla="*/ 269081 h 514350"/>
                <a:gd name="connsiteX7157" fmla="*/ 297656 w 6400800"/>
                <a:gd name="connsiteY7157" fmla="*/ 262414 h 514350"/>
                <a:gd name="connsiteX7158" fmla="*/ 295751 w 6400800"/>
                <a:gd name="connsiteY7158" fmla="*/ 265271 h 514350"/>
                <a:gd name="connsiteX7159" fmla="*/ 297656 w 6400800"/>
                <a:gd name="connsiteY7159" fmla="*/ 251936 h 514350"/>
                <a:gd name="connsiteX7160" fmla="*/ 299561 w 6400800"/>
                <a:gd name="connsiteY7160" fmla="*/ 243364 h 514350"/>
                <a:gd name="connsiteX7161" fmla="*/ 301466 w 6400800"/>
                <a:gd name="connsiteY7161" fmla="*/ 247174 h 514350"/>
                <a:gd name="connsiteX7162" fmla="*/ 310039 w 6400800"/>
                <a:gd name="connsiteY7162" fmla="*/ 270986 h 514350"/>
                <a:gd name="connsiteX7163" fmla="*/ 319564 w 6400800"/>
                <a:gd name="connsiteY7163" fmla="*/ 312896 h 514350"/>
                <a:gd name="connsiteX7164" fmla="*/ 330041 w 6400800"/>
                <a:gd name="connsiteY7164" fmla="*/ 358616 h 514350"/>
                <a:gd name="connsiteX7165" fmla="*/ 330041 w 6400800"/>
                <a:gd name="connsiteY7165" fmla="*/ 362426 h 514350"/>
                <a:gd name="connsiteX7166" fmla="*/ 327184 w 6400800"/>
                <a:gd name="connsiteY7166" fmla="*/ 404336 h 514350"/>
                <a:gd name="connsiteX7167" fmla="*/ 327184 w 6400800"/>
                <a:gd name="connsiteY7167" fmla="*/ 404336 h 514350"/>
                <a:gd name="connsiteX7168" fmla="*/ 321469 w 6400800"/>
                <a:gd name="connsiteY7168" fmla="*/ 392906 h 514350"/>
                <a:gd name="connsiteX7169" fmla="*/ 310991 w 6400800"/>
                <a:gd name="connsiteY7169" fmla="*/ 362426 h 514350"/>
                <a:gd name="connsiteX7170" fmla="*/ 296704 w 6400800"/>
                <a:gd name="connsiteY7170" fmla="*/ 318611 h 514350"/>
                <a:gd name="connsiteX7171" fmla="*/ 291941 w 6400800"/>
                <a:gd name="connsiteY7171" fmla="*/ 302419 h 514350"/>
                <a:gd name="connsiteX7172" fmla="*/ 295751 w 6400800"/>
                <a:gd name="connsiteY7172" fmla="*/ 269081 h 514350"/>
                <a:gd name="connsiteX7173" fmla="*/ 283369 w 6400800"/>
                <a:gd name="connsiteY7173" fmla="*/ 378619 h 514350"/>
                <a:gd name="connsiteX7174" fmla="*/ 284321 w 6400800"/>
                <a:gd name="connsiteY7174" fmla="*/ 365284 h 514350"/>
                <a:gd name="connsiteX7175" fmla="*/ 285274 w 6400800"/>
                <a:gd name="connsiteY7175" fmla="*/ 363379 h 514350"/>
                <a:gd name="connsiteX7176" fmla="*/ 295751 w 6400800"/>
                <a:gd name="connsiteY7176" fmla="*/ 387191 h 514350"/>
                <a:gd name="connsiteX7177" fmla="*/ 302419 w 6400800"/>
                <a:gd name="connsiteY7177" fmla="*/ 400526 h 514350"/>
                <a:gd name="connsiteX7178" fmla="*/ 303371 w 6400800"/>
                <a:gd name="connsiteY7178" fmla="*/ 404336 h 514350"/>
                <a:gd name="connsiteX7179" fmla="*/ 301466 w 6400800"/>
                <a:gd name="connsiteY7179" fmla="*/ 412909 h 514350"/>
                <a:gd name="connsiteX7180" fmla="*/ 295751 w 6400800"/>
                <a:gd name="connsiteY7180" fmla="*/ 442436 h 514350"/>
                <a:gd name="connsiteX7181" fmla="*/ 283369 w 6400800"/>
                <a:gd name="connsiteY7181" fmla="*/ 444341 h 514350"/>
                <a:gd name="connsiteX7182" fmla="*/ 281464 w 6400800"/>
                <a:gd name="connsiteY7182" fmla="*/ 435769 h 514350"/>
                <a:gd name="connsiteX7183" fmla="*/ 281464 w 6400800"/>
                <a:gd name="connsiteY7183" fmla="*/ 407194 h 514350"/>
                <a:gd name="connsiteX7184" fmla="*/ 283369 w 6400800"/>
                <a:gd name="connsiteY7184" fmla="*/ 378619 h 514350"/>
                <a:gd name="connsiteX7185" fmla="*/ 237649 w 6400800"/>
                <a:gd name="connsiteY7185" fmla="*/ 415766 h 514350"/>
                <a:gd name="connsiteX7186" fmla="*/ 228124 w 6400800"/>
                <a:gd name="connsiteY7186" fmla="*/ 395764 h 514350"/>
                <a:gd name="connsiteX7187" fmla="*/ 229076 w 6400800"/>
                <a:gd name="connsiteY7187" fmla="*/ 383381 h 514350"/>
                <a:gd name="connsiteX7188" fmla="*/ 239554 w 6400800"/>
                <a:gd name="connsiteY7188" fmla="*/ 406241 h 514350"/>
                <a:gd name="connsiteX7189" fmla="*/ 237649 w 6400800"/>
                <a:gd name="connsiteY7189" fmla="*/ 415766 h 514350"/>
                <a:gd name="connsiteX7190" fmla="*/ 247174 w 6400800"/>
                <a:gd name="connsiteY7190" fmla="*/ 431006 h 514350"/>
                <a:gd name="connsiteX7191" fmla="*/ 248126 w 6400800"/>
                <a:gd name="connsiteY7191" fmla="*/ 425291 h 514350"/>
                <a:gd name="connsiteX7192" fmla="*/ 248126 w 6400800"/>
                <a:gd name="connsiteY7192" fmla="*/ 425291 h 514350"/>
                <a:gd name="connsiteX7193" fmla="*/ 247174 w 6400800"/>
                <a:gd name="connsiteY7193" fmla="*/ 431006 h 514350"/>
                <a:gd name="connsiteX7194" fmla="*/ 264319 w 6400800"/>
                <a:gd name="connsiteY7194" fmla="*/ 204311 h 514350"/>
                <a:gd name="connsiteX7195" fmla="*/ 270986 w 6400800"/>
                <a:gd name="connsiteY7195" fmla="*/ 185261 h 514350"/>
                <a:gd name="connsiteX7196" fmla="*/ 267176 w 6400800"/>
                <a:gd name="connsiteY7196" fmla="*/ 214789 h 514350"/>
                <a:gd name="connsiteX7197" fmla="*/ 266224 w 6400800"/>
                <a:gd name="connsiteY7197" fmla="*/ 210026 h 514350"/>
                <a:gd name="connsiteX7198" fmla="*/ 264319 w 6400800"/>
                <a:gd name="connsiteY7198" fmla="*/ 204311 h 514350"/>
                <a:gd name="connsiteX7199" fmla="*/ 264319 w 6400800"/>
                <a:gd name="connsiteY7199" fmla="*/ 204311 h 514350"/>
                <a:gd name="connsiteX7200" fmla="*/ 254794 w 6400800"/>
                <a:gd name="connsiteY7200" fmla="*/ 235744 h 514350"/>
                <a:gd name="connsiteX7201" fmla="*/ 258604 w 6400800"/>
                <a:gd name="connsiteY7201" fmla="*/ 220504 h 514350"/>
                <a:gd name="connsiteX7202" fmla="*/ 261461 w 6400800"/>
                <a:gd name="connsiteY7202" fmla="*/ 242411 h 514350"/>
                <a:gd name="connsiteX7203" fmla="*/ 262414 w 6400800"/>
                <a:gd name="connsiteY7203" fmla="*/ 245269 h 514350"/>
                <a:gd name="connsiteX7204" fmla="*/ 260509 w 6400800"/>
                <a:gd name="connsiteY7204" fmla="*/ 270034 h 514350"/>
                <a:gd name="connsiteX7205" fmla="*/ 257651 w 6400800"/>
                <a:gd name="connsiteY7205" fmla="*/ 264319 h 514350"/>
                <a:gd name="connsiteX7206" fmla="*/ 250984 w 6400800"/>
                <a:gd name="connsiteY7206" fmla="*/ 249079 h 514350"/>
                <a:gd name="connsiteX7207" fmla="*/ 254794 w 6400800"/>
                <a:gd name="connsiteY7207" fmla="*/ 235744 h 514350"/>
                <a:gd name="connsiteX7208" fmla="*/ 245269 w 6400800"/>
                <a:gd name="connsiteY7208" fmla="*/ 276701 h 514350"/>
                <a:gd name="connsiteX7209" fmla="*/ 249079 w 6400800"/>
                <a:gd name="connsiteY7209" fmla="*/ 260509 h 514350"/>
                <a:gd name="connsiteX7210" fmla="*/ 250984 w 6400800"/>
                <a:gd name="connsiteY7210" fmla="*/ 268129 h 514350"/>
                <a:gd name="connsiteX7211" fmla="*/ 258604 w 6400800"/>
                <a:gd name="connsiteY7211" fmla="*/ 292894 h 514350"/>
                <a:gd name="connsiteX7212" fmla="*/ 259556 w 6400800"/>
                <a:gd name="connsiteY7212" fmla="*/ 294799 h 514350"/>
                <a:gd name="connsiteX7213" fmla="*/ 259556 w 6400800"/>
                <a:gd name="connsiteY7213" fmla="*/ 297656 h 514350"/>
                <a:gd name="connsiteX7214" fmla="*/ 257651 w 6400800"/>
                <a:gd name="connsiteY7214" fmla="*/ 333851 h 514350"/>
                <a:gd name="connsiteX7215" fmla="*/ 250984 w 6400800"/>
                <a:gd name="connsiteY7215" fmla="*/ 309086 h 514350"/>
                <a:gd name="connsiteX7216" fmla="*/ 253841 w 6400800"/>
                <a:gd name="connsiteY7216" fmla="*/ 301466 h 514350"/>
                <a:gd name="connsiteX7217" fmla="*/ 250984 w 6400800"/>
                <a:gd name="connsiteY7217" fmla="*/ 307181 h 514350"/>
                <a:gd name="connsiteX7218" fmla="*/ 244316 w 6400800"/>
                <a:gd name="connsiteY7218" fmla="*/ 284321 h 514350"/>
                <a:gd name="connsiteX7219" fmla="*/ 245269 w 6400800"/>
                <a:gd name="connsiteY7219" fmla="*/ 276701 h 514350"/>
                <a:gd name="connsiteX7220" fmla="*/ 236696 w 6400800"/>
                <a:gd name="connsiteY7220" fmla="*/ 325279 h 514350"/>
                <a:gd name="connsiteX7221" fmla="*/ 237649 w 6400800"/>
                <a:gd name="connsiteY7221" fmla="*/ 322421 h 514350"/>
                <a:gd name="connsiteX7222" fmla="*/ 238601 w 6400800"/>
                <a:gd name="connsiteY7222" fmla="*/ 329089 h 514350"/>
                <a:gd name="connsiteX7223" fmla="*/ 235744 w 6400800"/>
                <a:gd name="connsiteY7223" fmla="*/ 335756 h 514350"/>
                <a:gd name="connsiteX7224" fmla="*/ 236696 w 6400800"/>
                <a:gd name="connsiteY7224" fmla="*/ 325279 h 514350"/>
                <a:gd name="connsiteX7225" fmla="*/ 234791 w 6400800"/>
                <a:gd name="connsiteY7225" fmla="*/ 353854 h 514350"/>
                <a:gd name="connsiteX7226" fmla="*/ 240506 w 6400800"/>
                <a:gd name="connsiteY7226" fmla="*/ 337661 h 514350"/>
                <a:gd name="connsiteX7227" fmla="*/ 241459 w 6400800"/>
                <a:gd name="connsiteY7227" fmla="*/ 342424 h 514350"/>
                <a:gd name="connsiteX7228" fmla="*/ 248126 w 6400800"/>
                <a:gd name="connsiteY7228" fmla="*/ 372904 h 514350"/>
                <a:gd name="connsiteX7229" fmla="*/ 247174 w 6400800"/>
                <a:gd name="connsiteY7229" fmla="*/ 378619 h 514350"/>
                <a:gd name="connsiteX7230" fmla="*/ 242411 w 6400800"/>
                <a:gd name="connsiteY7230" fmla="*/ 369094 h 514350"/>
                <a:gd name="connsiteX7231" fmla="*/ 234791 w 6400800"/>
                <a:gd name="connsiteY7231" fmla="*/ 353854 h 514350"/>
                <a:gd name="connsiteX7232" fmla="*/ 234791 w 6400800"/>
                <a:gd name="connsiteY7232" fmla="*/ 353854 h 514350"/>
                <a:gd name="connsiteX7233" fmla="*/ 222409 w 6400800"/>
                <a:gd name="connsiteY7233" fmla="*/ 297656 h 514350"/>
                <a:gd name="connsiteX7234" fmla="*/ 227171 w 6400800"/>
                <a:gd name="connsiteY7234" fmla="*/ 278606 h 514350"/>
                <a:gd name="connsiteX7235" fmla="*/ 228124 w 6400800"/>
                <a:gd name="connsiteY7235" fmla="*/ 284321 h 514350"/>
                <a:gd name="connsiteX7236" fmla="*/ 230029 w 6400800"/>
                <a:gd name="connsiteY7236" fmla="*/ 290989 h 514350"/>
                <a:gd name="connsiteX7237" fmla="*/ 222409 w 6400800"/>
                <a:gd name="connsiteY7237" fmla="*/ 324326 h 514350"/>
                <a:gd name="connsiteX7238" fmla="*/ 221456 w 6400800"/>
                <a:gd name="connsiteY7238" fmla="*/ 330041 h 514350"/>
                <a:gd name="connsiteX7239" fmla="*/ 220504 w 6400800"/>
                <a:gd name="connsiteY7239" fmla="*/ 329089 h 514350"/>
                <a:gd name="connsiteX7240" fmla="*/ 218599 w 6400800"/>
                <a:gd name="connsiteY7240" fmla="*/ 312896 h 514350"/>
                <a:gd name="connsiteX7241" fmla="*/ 222409 w 6400800"/>
                <a:gd name="connsiteY7241" fmla="*/ 297656 h 514350"/>
                <a:gd name="connsiteX7242" fmla="*/ 169069 w 6400800"/>
                <a:gd name="connsiteY7242" fmla="*/ 411956 h 514350"/>
                <a:gd name="connsiteX7243" fmla="*/ 169069 w 6400800"/>
                <a:gd name="connsiteY7243" fmla="*/ 412909 h 514350"/>
                <a:gd name="connsiteX7244" fmla="*/ 165259 w 6400800"/>
                <a:gd name="connsiteY7244" fmla="*/ 396716 h 514350"/>
                <a:gd name="connsiteX7245" fmla="*/ 164306 w 6400800"/>
                <a:gd name="connsiteY7245" fmla="*/ 375761 h 514350"/>
                <a:gd name="connsiteX7246" fmla="*/ 161449 w 6400800"/>
                <a:gd name="connsiteY7246" fmla="*/ 345281 h 514350"/>
                <a:gd name="connsiteX7247" fmla="*/ 158591 w 6400800"/>
                <a:gd name="connsiteY7247" fmla="*/ 321469 h 514350"/>
                <a:gd name="connsiteX7248" fmla="*/ 159544 w 6400800"/>
                <a:gd name="connsiteY7248" fmla="*/ 323374 h 514350"/>
                <a:gd name="connsiteX7249" fmla="*/ 162401 w 6400800"/>
                <a:gd name="connsiteY7249" fmla="*/ 328136 h 514350"/>
                <a:gd name="connsiteX7250" fmla="*/ 167164 w 6400800"/>
                <a:gd name="connsiteY7250" fmla="*/ 376714 h 514350"/>
                <a:gd name="connsiteX7251" fmla="*/ 170021 w 6400800"/>
                <a:gd name="connsiteY7251" fmla="*/ 402431 h 514350"/>
                <a:gd name="connsiteX7252" fmla="*/ 169069 w 6400800"/>
                <a:gd name="connsiteY7252" fmla="*/ 411956 h 514350"/>
                <a:gd name="connsiteX7253" fmla="*/ 209074 w 6400800"/>
                <a:gd name="connsiteY7253" fmla="*/ 350044 h 514350"/>
                <a:gd name="connsiteX7254" fmla="*/ 209074 w 6400800"/>
                <a:gd name="connsiteY7254" fmla="*/ 359569 h 514350"/>
                <a:gd name="connsiteX7255" fmla="*/ 207169 w 6400800"/>
                <a:gd name="connsiteY7255" fmla="*/ 356711 h 514350"/>
                <a:gd name="connsiteX7256" fmla="*/ 209074 w 6400800"/>
                <a:gd name="connsiteY7256" fmla="*/ 350044 h 514350"/>
                <a:gd name="connsiteX7257" fmla="*/ 170974 w 6400800"/>
                <a:gd name="connsiteY7257" fmla="*/ 259556 h 514350"/>
                <a:gd name="connsiteX7258" fmla="*/ 178594 w 6400800"/>
                <a:gd name="connsiteY7258" fmla="*/ 274796 h 514350"/>
                <a:gd name="connsiteX7259" fmla="*/ 187166 w 6400800"/>
                <a:gd name="connsiteY7259" fmla="*/ 291941 h 514350"/>
                <a:gd name="connsiteX7260" fmla="*/ 205264 w 6400800"/>
                <a:gd name="connsiteY7260" fmla="*/ 330041 h 514350"/>
                <a:gd name="connsiteX7261" fmla="*/ 200501 w 6400800"/>
                <a:gd name="connsiteY7261" fmla="*/ 343376 h 514350"/>
                <a:gd name="connsiteX7262" fmla="*/ 199549 w 6400800"/>
                <a:gd name="connsiteY7262" fmla="*/ 342424 h 514350"/>
                <a:gd name="connsiteX7263" fmla="*/ 180499 w 6400800"/>
                <a:gd name="connsiteY7263" fmla="*/ 310039 h 514350"/>
                <a:gd name="connsiteX7264" fmla="*/ 176689 w 6400800"/>
                <a:gd name="connsiteY7264" fmla="*/ 296704 h 514350"/>
                <a:gd name="connsiteX7265" fmla="*/ 176689 w 6400800"/>
                <a:gd name="connsiteY7265" fmla="*/ 305276 h 514350"/>
                <a:gd name="connsiteX7266" fmla="*/ 172879 w 6400800"/>
                <a:gd name="connsiteY7266" fmla="*/ 299561 h 514350"/>
                <a:gd name="connsiteX7267" fmla="*/ 171926 w 6400800"/>
                <a:gd name="connsiteY7267" fmla="*/ 298609 h 514350"/>
                <a:gd name="connsiteX7268" fmla="*/ 168116 w 6400800"/>
                <a:gd name="connsiteY7268" fmla="*/ 279559 h 514350"/>
                <a:gd name="connsiteX7269" fmla="*/ 158591 w 6400800"/>
                <a:gd name="connsiteY7269" fmla="*/ 235744 h 514350"/>
                <a:gd name="connsiteX7270" fmla="*/ 170974 w 6400800"/>
                <a:gd name="connsiteY7270" fmla="*/ 259556 h 514350"/>
                <a:gd name="connsiteX7271" fmla="*/ 161449 w 6400800"/>
                <a:gd name="connsiteY7271" fmla="*/ 307181 h 514350"/>
                <a:gd name="connsiteX7272" fmla="*/ 156686 w 6400800"/>
                <a:gd name="connsiteY7272" fmla="*/ 301466 h 514350"/>
                <a:gd name="connsiteX7273" fmla="*/ 155734 w 6400800"/>
                <a:gd name="connsiteY7273" fmla="*/ 297656 h 514350"/>
                <a:gd name="connsiteX7274" fmla="*/ 161449 w 6400800"/>
                <a:gd name="connsiteY7274" fmla="*/ 307181 h 514350"/>
                <a:gd name="connsiteX7275" fmla="*/ 130969 w 6400800"/>
                <a:gd name="connsiteY7275" fmla="*/ 280511 h 514350"/>
                <a:gd name="connsiteX7276" fmla="*/ 133826 w 6400800"/>
                <a:gd name="connsiteY7276" fmla="*/ 284321 h 514350"/>
                <a:gd name="connsiteX7277" fmla="*/ 145256 w 6400800"/>
                <a:gd name="connsiteY7277" fmla="*/ 301466 h 514350"/>
                <a:gd name="connsiteX7278" fmla="*/ 150971 w 6400800"/>
                <a:gd name="connsiteY7278" fmla="*/ 310039 h 514350"/>
                <a:gd name="connsiteX7279" fmla="*/ 150019 w 6400800"/>
                <a:gd name="connsiteY7279" fmla="*/ 341471 h 514350"/>
                <a:gd name="connsiteX7280" fmla="*/ 149066 w 6400800"/>
                <a:gd name="connsiteY7280" fmla="*/ 339566 h 514350"/>
                <a:gd name="connsiteX7281" fmla="*/ 145256 w 6400800"/>
                <a:gd name="connsiteY7281" fmla="*/ 328136 h 514350"/>
                <a:gd name="connsiteX7282" fmla="*/ 140494 w 6400800"/>
                <a:gd name="connsiteY7282" fmla="*/ 317659 h 514350"/>
                <a:gd name="connsiteX7283" fmla="*/ 132874 w 6400800"/>
                <a:gd name="connsiteY7283" fmla="*/ 301466 h 514350"/>
                <a:gd name="connsiteX7284" fmla="*/ 127159 w 6400800"/>
                <a:gd name="connsiteY7284" fmla="*/ 290989 h 514350"/>
                <a:gd name="connsiteX7285" fmla="*/ 130969 w 6400800"/>
                <a:gd name="connsiteY7285" fmla="*/ 280511 h 514350"/>
                <a:gd name="connsiteX7286" fmla="*/ 121444 w 6400800"/>
                <a:gd name="connsiteY7286" fmla="*/ 318611 h 514350"/>
                <a:gd name="connsiteX7287" fmla="*/ 127159 w 6400800"/>
                <a:gd name="connsiteY7287" fmla="*/ 294799 h 514350"/>
                <a:gd name="connsiteX7288" fmla="*/ 127159 w 6400800"/>
                <a:gd name="connsiteY7288" fmla="*/ 293846 h 514350"/>
                <a:gd name="connsiteX7289" fmla="*/ 129064 w 6400800"/>
                <a:gd name="connsiteY7289" fmla="*/ 303371 h 514350"/>
                <a:gd name="connsiteX7290" fmla="*/ 133826 w 6400800"/>
                <a:gd name="connsiteY7290" fmla="*/ 320516 h 514350"/>
                <a:gd name="connsiteX7291" fmla="*/ 138589 w 6400800"/>
                <a:gd name="connsiteY7291" fmla="*/ 342424 h 514350"/>
                <a:gd name="connsiteX7292" fmla="*/ 143351 w 6400800"/>
                <a:gd name="connsiteY7292" fmla="*/ 369094 h 514350"/>
                <a:gd name="connsiteX7293" fmla="*/ 148114 w 6400800"/>
                <a:gd name="connsiteY7293" fmla="*/ 398621 h 514350"/>
                <a:gd name="connsiteX7294" fmla="*/ 149066 w 6400800"/>
                <a:gd name="connsiteY7294" fmla="*/ 403384 h 514350"/>
                <a:gd name="connsiteX7295" fmla="*/ 149066 w 6400800"/>
                <a:gd name="connsiteY7295" fmla="*/ 411004 h 514350"/>
                <a:gd name="connsiteX7296" fmla="*/ 149066 w 6400800"/>
                <a:gd name="connsiteY7296" fmla="*/ 416719 h 514350"/>
                <a:gd name="connsiteX7297" fmla="*/ 138589 w 6400800"/>
                <a:gd name="connsiteY7297" fmla="*/ 388144 h 514350"/>
                <a:gd name="connsiteX7298" fmla="*/ 129064 w 6400800"/>
                <a:gd name="connsiteY7298" fmla="*/ 363379 h 514350"/>
                <a:gd name="connsiteX7299" fmla="*/ 131921 w 6400800"/>
                <a:gd name="connsiteY7299" fmla="*/ 358616 h 514350"/>
                <a:gd name="connsiteX7300" fmla="*/ 129064 w 6400800"/>
                <a:gd name="connsiteY7300" fmla="*/ 361474 h 514350"/>
                <a:gd name="connsiteX7301" fmla="*/ 124301 w 6400800"/>
                <a:gd name="connsiteY7301" fmla="*/ 350044 h 514350"/>
                <a:gd name="connsiteX7302" fmla="*/ 125254 w 6400800"/>
                <a:gd name="connsiteY7302" fmla="*/ 344329 h 514350"/>
                <a:gd name="connsiteX7303" fmla="*/ 129064 w 6400800"/>
                <a:gd name="connsiteY7303" fmla="*/ 328136 h 514350"/>
                <a:gd name="connsiteX7304" fmla="*/ 121444 w 6400800"/>
                <a:gd name="connsiteY7304" fmla="*/ 343376 h 514350"/>
                <a:gd name="connsiteX7305" fmla="*/ 121444 w 6400800"/>
                <a:gd name="connsiteY7305" fmla="*/ 343376 h 514350"/>
                <a:gd name="connsiteX7306" fmla="*/ 120491 w 6400800"/>
                <a:gd name="connsiteY7306" fmla="*/ 341471 h 514350"/>
                <a:gd name="connsiteX7307" fmla="*/ 117634 w 6400800"/>
                <a:gd name="connsiteY7307" fmla="*/ 334804 h 514350"/>
                <a:gd name="connsiteX7308" fmla="*/ 121444 w 6400800"/>
                <a:gd name="connsiteY7308" fmla="*/ 318611 h 514350"/>
                <a:gd name="connsiteX7309" fmla="*/ 116681 w 6400800"/>
                <a:gd name="connsiteY7309" fmla="*/ 393859 h 514350"/>
                <a:gd name="connsiteX7310" fmla="*/ 127159 w 6400800"/>
                <a:gd name="connsiteY7310" fmla="*/ 419576 h 514350"/>
                <a:gd name="connsiteX7311" fmla="*/ 113824 w 6400800"/>
                <a:gd name="connsiteY7311" fmla="*/ 414814 h 514350"/>
                <a:gd name="connsiteX7312" fmla="*/ 116681 w 6400800"/>
                <a:gd name="connsiteY7312" fmla="*/ 393859 h 514350"/>
                <a:gd name="connsiteX7313" fmla="*/ 91916 w 6400800"/>
                <a:gd name="connsiteY7313" fmla="*/ 341471 h 514350"/>
                <a:gd name="connsiteX7314" fmla="*/ 92869 w 6400800"/>
                <a:gd name="connsiteY7314" fmla="*/ 335756 h 514350"/>
                <a:gd name="connsiteX7315" fmla="*/ 94774 w 6400800"/>
                <a:gd name="connsiteY7315" fmla="*/ 340519 h 514350"/>
                <a:gd name="connsiteX7316" fmla="*/ 102394 w 6400800"/>
                <a:gd name="connsiteY7316" fmla="*/ 358616 h 514350"/>
                <a:gd name="connsiteX7317" fmla="*/ 96679 w 6400800"/>
                <a:gd name="connsiteY7317" fmla="*/ 384334 h 514350"/>
                <a:gd name="connsiteX7318" fmla="*/ 94774 w 6400800"/>
                <a:gd name="connsiteY7318" fmla="*/ 399574 h 514350"/>
                <a:gd name="connsiteX7319" fmla="*/ 93821 w 6400800"/>
                <a:gd name="connsiteY7319" fmla="*/ 400526 h 514350"/>
                <a:gd name="connsiteX7320" fmla="*/ 90964 w 6400800"/>
                <a:gd name="connsiteY7320" fmla="*/ 404336 h 514350"/>
                <a:gd name="connsiteX7321" fmla="*/ 88106 w 6400800"/>
                <a:gd name="connsiteY7321" fmla="*/ 382429 h 514350"/>
                <a:gd name="connsiteX7322" fmla="*/ 85249 w 6400800"/>
                <a:gd name="connsiteY7322" fmla="*/ 365284 h 514350"/>
                <a:gd name="connsiteX7323" fmla="*/ 91916 w 6400800"/>
                <a:gd name="connsiteY7323" fmla="*/ 341471 h 514350"/>
                <a:gd name="connsiteX7324" fmla="*/ 72866 w 6400800"/>
                <a:gd name="connsiteY7324" fmla="*/ 407194 h 514350"/>
                <a:gd name="connsiteX7325" fmla="*/ 72866 w 6400800"/>
                <a:gd name="connsiteY7325" fmla="*/ 409099 h 514350"/>
                <a:gd name="connsiteX7326" fmla="*/ 71914 w 6400800"/>
                <a:gd name="connsiteY7326" fmla="*/ 409099 h 514350"/>
                <a:gd name="connsiteX7327" fmla="*/ 72866 w 6400800"/>
                <a:gd name="connsiteY7327" fmla="*/ 407194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Lst>
              <a:rect l="l" t="t" r="r" b="b"/>
              <a:pathLst>
                <a:path w="6400800" h="514350">
                  <a:moveTo>
                    <a:pt x="7144" y="511016"/>
                  </a:moveTo>
                  <a:lnTo>
                    <a:pt x="6354604" y="511016"/>
                  </a:lnTo>
                  <a:lnTo>
                    <a:pt x="6354604" y="409099"/>
                  </a:lnTo>
                  <a:cubicBezTo>
                    <a:pt x="6346031" y="411004"/>
                    <a:pt x="6337459" y="413861"/>
                    <a:pt x="6327934" y="415766"/>
                  </a:cubicBezTo>
                  <a:cubicBezTo>
                    <a:pt x="6327934" y="411956"/>
                    <a:pt x="6327934" y="408146"/>
                    <a:pt x="6327934" y="404336"/>
                  </a:cubicBezTo>
                  <a:cubicBezTo>
                    <a:pt x="6328887" y="396716"/>
                    <a:pt x="6327934" y="389096"/>
                    <a:pt x="6328887" y="383381"/>
                  </a:cubicBezTo>
                  <a:cubicBezTo>
                    <a:pt x="6329839" y="371951"/>
                    <a:pt x="6329839" y="365284"/>
                    <a:pt x="6329839" y="365284"/>
                  </a:cubicBezTo>
                  <a:cubicBezTo>
                    <a:pt x="6329839" y="365284"/>
                    <a:pt x="6327934" y="371951"/>
                    <a:pt x="6324124" y="383381"/>
                  </a:cubicBezTo>
                  <a:cubicBezTo>
                    <a:pt x="6322219" y="389096"/>
                    <a:pt x="6321267" y="395764"/>
                    <a:pt x="6319362" y="404336"/>
                  </a:cubicBezTo>
                  <a:cubicBezTo>
                    <a:pt x="6318409" y="409099"/>
                    <a:pt x="6317456" y="413861"/>
                    <a:pt x="6316504" y="419576"/>
                  </a:cubicBezTo>
                  <a:cubicBezTo>
                    <a:pt x="6311742" y="420529"/>
                    <a:pt x="6306979" y="421481"/>
                    <a:pt x="6303169" y="423386"/>
                  </a:cubicBezTo>
                  <a:cubicBezTo>
                    <a:pt x="6303169" y="416719"/>
                    <a:pt x="6303169" y="411004"/>
                    <a:pt x="6304121" y="405289"/>
                  </a:cubicBezTo>
                  <a:cubicBezTo>
                    <a:pt x="6308884" y="390049"/>
                    <a:pt x="6314599" y="373856"/>
                    <a:pt x="6319362" y="358616"/>
                  </a:cubicBezTo>
                  <a:cubicBezTo>
                    <a:pt x="6320314" y="355759"/>
                    <a:pt x="6321267" y="352901"/>
                    <a:pt x="6322219" y="349091"/>
                  </a:cubicBezTo>
                  <a:cubicBezTo>
                    <a:pt x="6326029" y="336709"/>
                    <a:pt x="6330792" y="325279"/>
                    <a:pt x="6334601" y="312896"/>
                  </a:cubicBezTo>
                  <a:cubicBezTo>
                    <a:pt x="6340317" y="297656"/>
                    <a:pt x="6345079" y="283369"/>
                    <a:pt x="6349842" y="269081"/>
                  </a:cubicBezTo>
                  <a:cubicBezTo>
                    <a:pt x="6354604" y="254794"/>
                    <a:pt x="6359367" y="240506"/>
                    <a:pt x="6363176" y="228124"/>
                  </a:cubicBezTo>
                  <a:cubicBezTo>
                    <a:pt x="6367939" y="214789"/>
                    <a:pt x="6371749" y="202406"/>
                    <a:pt x="6375559" y="190976"/>
                  </a:cubicBezTo>
                  <a:cubicBezTo>
                    <a:pt x="6383179" y="168116"/>
                    <a:pt x="6388894" y="149066"/>
                    <a:pt x="6393656" y="134779"/>
                  </a:cubicBezTo>
                  <a:cubicBezTo>
                    <a:pt x="6397467" y="121444"/>
                    <a:pt x="6400324" y="113824"/>
                    <a:pt x="6400324" y="113824"/>
                  </a:cubicBezTo>
                  <a:cubicBezTo>
                    <a:pt x="6400324" y="113824"/>
                    <a:pt x="6396514" y="121444"/>
                    <a:pt x="6389846" y="133826"/>
                  </a:cubicBezTo>
                  <a:cubicBezTo>
                    <a:pt x="6386989" y="139541"/>
                    <a:pt x="6384131" y="146209"/>
                    <a:pt x="6380321" y="153829"/>
                  </a:cubicBezTo>
                  <a:cubicBezTo>
                    <a:pt x="6385084" y="136684"/>
                    <a:pt x="6389846" y="121444"/>
                    <a:pt x="6392704" y="110966"/>
                  </a:cubicBezTo>
                  <a:cubicBezTo>
                    <a:pt x="6396514" y="95726"/>
                    <a:pt x="6399371" y="87154"/>
                    <a:pt x="6399371" y="87154"/>
                  </a:cubicBezTo>
                  <a:cubicBezTo>
                    <a:pt x="6399371" y="87154"/>
                    <a:pt x="6395562" y="95726"/>
                    <a:pt x="6388894" y="109061"/>
                  </a:cubicBezTo>
                  <a:cubicBezTo>
                    <a:pt x="6386037" y="115729"/>
                    <a:pt x="6382226" y="125254"/>
                    <a:pt x="6377464" y="134779"/>
                  </a:cubicBezTo>
                  <a:cubicBezTo>
                    <a:pt x="6372701" y="144304"/>
                    <a:pt x="6367939" y="155734"/>
                    <a:pt x="6364129" y="168116"/>
                  </a:cubicBezTo>
                  <a:cubicBezTo>
                    <a:pt x="6354604" y="192881"/>
                    <a:pt x="6343174" y="222409"/>
                    <a:pt x="6332696" y="253841"/>
                  </a:cubicBezTo>
                  <a:cubicBezTo>
                    <a:pt x="6326981" y="270034"/>
                    <a:pt x="6321267" y="286226"/>
                    <a:pt x="6316504" y="302419"/>
                  </a:cubicBezTo>
                  <a:cubicBezTo>
                    <a:pt x="6315551" y="304324"/>
                    <a:pt x="6315551" y="306229"/>
                    <a:pt x="6314599" y="308134"/>
                  </a:cubicBezTo>
                  <a:cubicBezTo>
                    <a:pt x="6315551" y="300514"/>
                    <a:pt x="6316504" y="293846"/>
                    <a:pt x="6317456" y="287179"/>
                  </a:cubicBezTo>
                  <a:cubicBezTo>
                    <a:pt x="6318409" y="279559"/>
                    <a:pt x="6319362" y="272891"/>
                    <a:pt x="6319362" y="267176"/>
                  </a:cubicBezTo>
                  <a:cubicBezTo>
                    <a:pt x="6320314" y="256699"/>
                    <a:pt x="6320314" y="250031"/>
                    <a:pt x="6320314" y="250031"/>
                  </a:cubicBezTo>
                  <a:cubicBezTo>
                    <a:pt x="6320314" y="250031"/>
                    <a:pt x="6318409" y="255746"/>
                    <a:pt x="6314599" y="266224"/>
                  </a:cubicBezTo>
                  <a:cubicBezTo>
                    <a:pt x="6311742" y="276701"/>
                    <a:pt x="6306979" y="291941"/>
                    <a:pt x="6302217" y="310039"/>
                  </a:cubicBezTo>
                  <a:cubicBezTo>
                    <a:pt x="6299359" y="318611"/>
                    <a:pt x="6296501" y="329089"/>
                    <a:pt x="6293644" y="339566"/>
                  </a:cubicBezTo>
                  <a:cubicBezTo>
                    <a:pt x="6291739" y="347186"/>
                    <a:pt x="6288881" y="354806"/>
                    <a:pt x="6286976" y="362426"/>
                  </a:cubicBezTo>
                  <a:cubicBezTo>
                    <a:pt x="6286024" y="352901"/>
                    <a:pt x="6285071" y="343376"/>
                    <a:pt x="6284119" y="335756"/>
                  </a:cubicBezTo>
                  <a:cubicBezTo>
                    <a:pt x="6286024" y="330041"/>
                    <a:pt x="6286976" y="324326"/>
                    <a:pt x="6288881" y="318611"/>
                  </a:cubicBezTo>
                  <a:cubicBezTo>
                    <a:pt x="6293644" y="303371"/>
                    <a:pt x="6298406" y="289084"/>
                    <a:pt x="6302217" y="274796"/>
                  </a:cubicBezTo>
                  <a:cubicBezTo>
                    <a:pt x="6304121" y="268129"/>
                    <a:pt x="6306026" y="261461"/>
                    <a:pt x="6307931" y="255746"/>
                  </a:cubicBezTo>
                  <a:cubicBezTo>
                    <a:pt x="6309837" y="250031"/>
                    <a:pt x="6311742" y="244316"/>
                    <a:pt x="6313646" y="238601"/>
                  </a:cubicBezTo>
                  <a:cubicBezTo>
                    <a:pt x="6317456" y="228124"/>
                    <a:pt x="6320314" y="218599"/>
                    <a:pt x="6323171" y="210026"/>
                  </a:cubicBezTo>
                  <a:cubicBezTo>
                    <a:pt x="6327934" y="193834"/>
                    <a:pt x="6330792" y="185261"/>
                    <a:pt x="6330792" y="185261"/>
                  </a:cubicBezTo>
                  <a:cubicBezTo>
                    <a:pt x="6330792" y="185261"/>
                    <a:pt x="6326981" y="193834"/>
                    <a:pt x="6319362" y="208121"/>
                  </a:cubicBezTo>
                  <a:cubicBezTo>
                    <a:pt x="6315551" y="215741"/>
                    <a:pt x="6311742" y="224314"/>
                    <a:pt x="6306026" y="234791"/>
                  </a:cubicBezTo>
                  <a:cubicBezTo>
                    <a:pt x="6303169" y="239554"/>
                    <a:pt x="6301264" y="245269"/>
                    <a:pt x="6298406" y="250984"/>
                  </a:cubicBezTo>
                  <a:cubicBezTo>
                    <a:pt x="6295549" y="256699"/>
                    <a:pt x="6293644" y="263366"/>
                    <a:pt x="6290787" y="270034"/>
                  </a:cubicBezTo>
                  <a:cubicBezTo>
                    <a:pt x="6286976" y="279559"/>
                    <a:pt x="6282214" y="290036"/>
                    <a:pt x="6278404" y="301466"/>
                  </a:cubicBezTo>
                  <a:cubicBezTo>
                    <a:pt x="6277451" y="295751"/>
                    <a:pt x="6277451" y="292894"/>
                    <a:pt x="6277451" y="292894"/>
                  </a:cubicBezTo>
                  <a:cubicBezTo>
                    <a:pt x="6277451" y="292894"/>
                    <a:pt x="6277451" y="297656"/>
                    <a:pt x="6276499" y="306229"/>
                  </a:cubicBezTo>
                  <a:cubicBezTo>
                    <a:pt x="6275546" y="308134"/>
                    <a:pt x="6274594" y="310991"/>
                    <a:pt x="6273642" y="312896"/>
                  </a:cubicBezTo>
                  <a:cubicBezTo>
                    <a:pt x="6272689" y="315754"/>
                    <a:pt x="6271737" y="319564"/>
                    <a:pt x="6269831" y="322421"/>
                  </a:cubicBezTo>
                  <a:cubicBezTo>
                    <a:pt x="6270784" y="314801"/>
                    <a:pt x="6272689" y="308134"/>
                    <a:pt x="6273642" y="300514"/>
                  </a:cubicBezTo>
                  <a:cubicBezTo>
                    <a:pt x="6277451" y="283369"/>
                    <a:pt x="6280309" y="267176"/>
                    <a:pt x="6283167" y="252889"/>
                  </a:cubicBezTo>
                  <a:cubicBezTo>
                    <a:pt x="6285071" y="245269"/>
                    <a:pt x="6286024" y="238601"/>
                    <a:pt x="6287929" y="231934"/>
                  </a:cubicBezTo>
                  <a:cubicBezTo>
                    <a:pt x="6289834" y="225266"/>
                    <a:pt x="6290787" y="218599"/>
                    <a:pt x="6292692" y="212884"/>
                  </a:cubicBezTo>
                  <a:cubicBezTo>
                    <a:pt x="6295549" y="200501"/>
                    <a:pt x="6298406" y="190024"/>
                    <a:pt x="6300312" y="181451"/>
                  </a:cubicBezTo>
                  <a:cubicBezTo>
                    <a:pt x="6304121" y="164306"/>
                    <a:pt x="6306026" y="153829"/>
                    <a:pt x="6306026" y="153829"/>
                  </a:cubicBezTo>
                  <a:cubicBezTo>
                    <a:pt x="6306026" y="153829"/>
                    <a:pt x="6302217" y="163354"/>
                    <a:pt x="6296501" y="180499"/>
                  </a:cubicBezTo>
                  <a:cubicBezTo>
                    <a:pt x="6293644" y="189071"/>
                    <a:pt x="6289834" y="199549"/>
                    <a:pt x="6286024" y="210979"/>
                  </a:cubicBezTo>
                  <a:cubicBezTo>
                    <a:pt x="6284119" y="216694"/>
                    <a:pt x="6282214" y="223361"/>
                    <a:pt x="6279356" y="230029"/>
                  </a:cubicBezTo>
                  <a:cubicBezTo>
                    <a:pt x="6277451" y="236696"/>
                    <a:pt x="6275546" y="243364"/>
                    <a:pt x="6273642" y="250984"/>
                  </a:cubicBezTo>
                  <a:cubicBezTo>
                    <a:pt x="6269831" y="265271"/>
                    <a:pt x="6265069" y="281464"/>
                    <a:pt x="6260306" y="298609"/>
                  </a:cubicBezTo>
                  <a:cubicBezTo>
                    <a:pt x="6255544" y="315754"/>
                    <a:pt x="6251734" y="333851"/>
                    <a:pt x="6246971" y="351949"/>
                  </a:cubicBezTo>
                  <a:cubicBezTo>
                    <a:pt x="6244114" y="366236"/>
                    <a:pt x="6240304" y="381476"/>
                    <a:pt x="6236494" y="396716"/>
                  </a:cubicBezTo>
                  <a:cubicBezTo>
                    <a:pt x="6236494" y="395764"/>
                    <a:pt x="6235542" y="395764"/>
                    <a:pt x="6235542" y="394811"/>
                  </a:cubicBezTo>
                  <a:cubicBezTo>
                    <a:pt x="6235542" y="379571"/>
                    <a:pt x="6234589" y="370046"/>
                    <a:pt x="6234589" y="370046"/>
                  </a:cubicBezTo>
                  <a:cubicBezTo>
                    <a:pt x="6234589" y="370046"/>
                    <a:pt x="6233637" y="376714"/>
                    <a:pt x="6230779" y="389096"/>
                  </a:cubicBezTo>
                  <a:cubicBezTo>
                    <a:pt x="6229826" y="387191"/>
                    <a:pt x="6228874" y="386239"/>
                    <a:pt x="6227921" y="384334"/>
                  </a:cubicBezTo>
                  <a:cubicBezTo>
                    <a:pt x="6224112" y="378619"/>
                    <a:pt x="6220301" y="372904"/>
                    <a:pt x="6216492" y="367189"/>
                  </a:cubicBezTo>
                  <a:cubicBezTo>
                    <a:pt x="6218396" y="360521"/>
                    <a:pt x="6220301" y="354806"/>
                    <a:pt x="6223159" y="348139"/>
                  </a:cubicBezTo>
                  <a:cubicBezTo>
                    <a:pt x="6227921" y="334804"/>
                    <a:pt x="6232684" y="322421"/>
                    <a:pt x="6236494" y="310991"/>
                  </a:cubicBezTo>
                  <a:cubicBezTo>
                    <a:pt x="6240304" y="299561"/>
                    <a:pt x="6244114" y="289084"/>
                    <a:pt x="6247924" y="279559"/>
                  </a:cubicBezTo>
                  <a:cubicBezTo>
                    <a:pt x="6251734" y="270034"/>
                    <a:pt x="6254592" y="262414"/>
                    <a:pt x="6256496" y="254794"/>
                  </a:cubicBezTo>
                  <a:cubicBezTo>
                    <a:pt x="6261259" y="241459"/>
                    <a:pt x="6264117" y="233839"/>
                    <a:pt x="6264117" y="233839"/>
                  </a:cubicBezTo>
                  <a:cubicBezTo>
                    <a:pt x="6264117" y="233839"/>
                    <a:pt x="6260306" y="241459"/>
                    <a:pt x="6252687" y="253841"/>
                  </a:cubicBezTo>
                  <a:cubicBezTo>
                    <a:pt x="6248876" y="260509"/>
                    <a:pt x="6245067" y="268129"/>
                    <a:pt x="6240304" y="276701"/>
                  </a:cubicBezTo>
                  <a:cubicBezTo>
                    <a:pt x="6235542" y="285274"/>
                    <a:pt x="6230779" y="295751"/>
                    <a:pt x="6225064" y="307181"/>
                  </a:cubicBezTo>
                  <a:cubicBezTo>
                    <a:pt x="6220301" y="318611"/>
                    <a:pt x="6214587" y="330994"/>
                    <a:pt x="6208871" y="343376"/>
                  </a:cubicBezTo>
                  <a:cubicBezTo>
                    <a:pt x="6207919" y="346234"/>
                    <a:pt x="6206014" y="349091"/>
                    <a:pt x="6205062" y="351949"/>
                  </a:cubicBezTo>
                  <a:cubicBezTo>
                    <a:pt x="6205062" y="351949"/>
                    <a:pt x="6204109" y="350996"/>
                    <a:pt x="6204109" y="350996"/>
                  </a:cubicBezTo>
                  <a:cubicBezTo>
                    <a:pt x="6206967" y="340519"/>
                    <a:pt x="6208871" y="330041"/>
                    <a:pt x="6210776" y="320516"/>
                  </a:cubicBezTo>
                  <a:cubicBezTo>
                    <a:pt x="6214587" y="298609"/>
                    <a:pt x="6219349" y="280511"/>
                    <a:pt x="6222206" y="268129"/>
                  </a:cubicBezTo>
                  <a:cubicBezTo>
                    <a:pt x="6225064" y="255746"/>
                    <a:pt x="6226017" y="248126"/>
                    <a:pt x="6226017" y="248126"/>
                  </a:cubicBezTo>
                  <a:cubicBezTo>
                    <a:pt x="6226017" y="248126"/>
                    <a:pt x="6223159" y="254794"/>
                    <a:pt x="6218396" y="267176"/>
                  </a:cubicBezTo>
                  <a:cubicBezTo>
                    <a:pt x="6216492" y="272891"/>
                    <a:pt x="6213634" y="280511"/>
                    <a:pt x="6209824" y="289084"/>
                  </a:cubicBezTo>
                  <a:cubicBezTo>
                    <a:pt x="6206967" y="297656"/>
                    <a:pt x="6203156" y="307181"/>
                    <a:pt x="6199346" y="317659"/>
                  </a:cubicBezTo>
                  <a:cubicBezTo>
                    <a:pt x="6197442" y="323374"/>
                    <a:pt x="6195537" y="330041"/>
                    <a:pt x="6193631" y="335756"/>
                  </a:cubicBezTo>
                  <a:cubicBezTo>
                    <a:pt x="6190774" y="330994"/>
                    <a:pt x="6186964" y="326231"/>
                    <a:pt x="6184106" y="322421"/>
                  </a:cubicBezTo>
                  <a:cubicBezTo>
                    <a:pt x="6183154" y="321469"/>
                    <a:pt x="6182201" y="320516"/>
                    <a:pt x="6181249" y="318611"/>
                  </a:cubicBezTo>
                  <a:cubicBezTo>
                    <a:pt x="6182201" y="312896"/>
                    <a:pt x="6183154" y="307181"/>
                    <a:pt x="6184106" y="302419"/>
                  </a:cubicBezTo>
                  <a:cubicBezTo>
                    <a:pt x="6186012" y="291941"/>
                    <a:pt x="6186964" y="282416"/>
                    <a:pt x="6189821" y="274796"/>
                  </a:cubicBezTo>
                  <a:cubicBezTo>
                    <a:pt x="6193631" y="259556"/>
                    <a:pt x="6195537" y="250984"/>
                    <a:pt x="6195537" y="250984"/>
                  </a:cubicBezTo>
                  <a:cubicBezTo>
                    <a:pt x="6195537" y="250984"/>
                    <a:pt x="6191726" y="259556"/>
                    <a:pt x="6186012" y="273844"/>
                  </a:cubicBezTo>
                  <a:cubicBezTo>
                    <a:pt x="6183154" y="280511"/>
                    <a:pt x="6180296" y="290036"/>
                    <a:pt x="6176487" y="300514"/>
                  </a:cubicBezTo>
                  <a:cubicBezTo>
                    <a:pt x="6175534" y="303371"/>
                    <a:pt x="6174581" y="306229"/>
                    <a:pt x="6173629" y="309086"/>
                  </a:cubicBezTo>
                  <a:cubicBezTo>
                    <a:pt x="6173629" y="309086"/>
                    <a:pt x="6172676" y="308134"/>
                    <a:pt x="6172676" y="308134"/>
                  </a:cubicBezTo>
                  <a:cubicBezTo>
                    <a:pt x="6173629" y="303371"/>
                    <a:pt x="6174581" y="298609"/>
                    <a:pt x="6174581" y="294799"/>
                  </a:cubicBezTo>
                  <a:cubicBezTo>
                    <a:pt x="6176487" y="283369"/>
                    <a:pt x="6178392" y="272891"/>
                    <a:pt x="6180296" y="263366"/>
                  </a:cubicBezTo>
                  <a:cubicBezTo>
                    <a:pt x="6182201" y="253841"/>
                    <a:pt x="6184106" y="244316"/>
                    <a:pt x="6185059" y="236696"/>
                  </a:cubicBezTo>
                  <a:cubicBezTo>
                    <a:pt x="6186964" y="229076"/>
                    <a:pt x="6187917" y="221456"/>
                    <a:pt x="6188869" y="215741"/>
                  </a:cubicBezTo>
                  <a:cubicBezTo>
                    <a:pt x="6190774" y="204311"/>
                    <a:pt x="6192679" y="197644"/>
                    <a:pt x="6192679" y="197644"/>
                  </a:cubicBezTo>
                  <a:cubicBezTo>
                    <a:pt x="6192679" y="197644"/>
                    <a:pt x="6189821" y="203359"/>
                    <a:pt x="6185059" y="214789"/>
                  </a:cubicBezTo>
                  <a:cubicBezTo>
                    <a:pt x="6180296" y="225266"/>
                    <a:pt x="6174581" y="241459"/>
                    <a:pt x="6168867" y="260509"/>
                  </a:cubicBezTo>
                  <a:cubicBezTo>
                    <a:pt x="6166962" y="267176"/>
                    <a:pt x="6165056" y="273844"/>
                    <a:pt x="6163151" y="280511"/>
                  </a:cubicBezTo>
                  <a:cubicBezTo>
                    <a:pt x="6161246" y="270034"/>
                    <a:pt x="6160294" y="261461"/>
                    <a:pt x="6159342" y="253841"/>
                  </a:cubicBezTo>
                  <a:cubicBezTo>
                    <a:pt x="6156484" y="235744"/>
                    <a:pt x="6154579" y="225266"/>
                    <a:pt x="6154579" y="225266"/>
                  </a:cubicBezTo>
                  <a:cubicBezTo>
                    <a:pt x="6154579" y="225266"/>
                    <a:pt x="6155531" y="248126"/>
                    <a:pt x="6156484" y="285274"/>
                  </a:cubicBezTo>
                  <a:cubicBezTo>
                    <a:pt x="6151721" y="278606"/>
                    <a:pt x="6146959" y="272891"/>
                    <a:pt x="6143149" y="268129"/>
                  </a:cubicBezTo>
                  <a:cubicBezTo>
                    <a:pt x="6143149" y="268129"/>
                    <a:pt x="6143149" y="267176"/>
                    <a:pt x="6143149" y="267176"/>
                  </a:cubicBezTo>
                  <a:cubicBezTo>
                    <a:pt x="6144101" y="263366"/>
                    <a:pt x="6145054" y="259556"/>
                    <a:pt x="6146006" y="256699"/>
                  </a:cubicBezTo>
                  <a:cubicBezTo>
                    <a:pt x="6156484" y="210026"/>
                    <a:pt x="6161246" y="178594"/>
                    <a:pt x="6161246" y="178594"/>
                  </a:cubicBezTo>
                  <a:cubicBezTo>
                    <a:pt x="6161246" y="178594"/>
                    <a:pt x="6158389" y="186214"/>
                    <a:pt x="6152674" y="200501"/>
                  </a:cubicBezTo>
                  <a:cubicBezTo>
                    <a:pt x="6152674" y="199549"/>
                    <a:pt x="6152674" y="198596"/>
                    <a:pt x="6152674" y="197644"/>
                  </a:cubicBezTo>
                  <a:cubicBezTo>
                    <a:pt x="6154579" y="188119"/>
                    <a:pt x="6155531" y="179546"/>
                    <a:pt x="6156484" y="172879"/>
                  </a:cubicBezTo>
                  <a:cubicBezTo>
                    <a:pt x="6158389" y="158591"/>
                    <a:pt x="6160294" y="150971"/>
                    <a:pt x="6160294" y="150971"/>
                  </a:cubicBezTo>
                  <a:cubicBezTo>
                    <a:pt x="6160294" y="150971"/>
                    <a:pt x="6157437" y="158591"/>
                    <a:pt x="6152674" y="171926"/>
                  </a:cubicBezTo>
                  <a:cubicBezTo>
                    <a:pt x="6150769" y="178594"/>
                    <a:pt x="6147912" y="187166"/>
                    <a:pt x="6145054" y="196691"/>
                  </a:cubicBezTo>
                  <a:cubicBezTo>
                    <a:pt x="6143149" y="204311"/>
                    <a:pt x="6140292" y="211931"/>
                    <a:pt x="6138387" y="220504"/>
                  </a:cubicBezTo>
                  <a:cubicBezTo>
                    <a:pt x="6136481" y="209074"/>
                    <a:pt x="6135529" y="202406"/>
                    <a:pt x="6135529" y="202406"/>
                  </a:cubicBezTo>
                  <a:cubicBezTo>
                    <a:pt x="6135529" y="202406"/>
                    <a:pt x="6135529" y="209074"/>
                    <a:pt x="6134576" y="221456"/>
                  </a:cubicBezTo>
                  <a:cubicBezTo>
                    <a:pt x="6134576" y="227171"/>
                    <a:pt x="6132671" y="234791"/>
                    <a:pt x="6132671" y="242411"/>
                  </a:cubicBezTo>
                  <a:cubicBezTo>
                    <a:pt x="6132671" y="244316"/>
                    <a:pt x="6131719" y="246221"/>
                    <a:pt x="6131719" y="249079"/>
                  </a:cubicBezTo>
                  <a:cubicBezTo>
                    <a:pt x="6131719" y="250984"/>
                    <a:pt x="6130767" y="251936"/>
                    <a:pt x="6130767" y="253841"/>
                  </a:cubicBezTo>
                  <a:cubicBezTo>
                    <a:pt x="6129814" y="252889"/>
                    <a:pt x="6129814" y="251936"/>
                    <a:pt x="6129814" y="251936"/>
                  </a:cubicBezTo>
                  <a:cubicBezTo>
                    <a:pt x="6129814" y="251936"/>
                    <a:pt x="6129814" y="252889"/>
                    <a:pt x="6130767" y="254794"/>
                  </a:cubicBezTo>
                  <a:cubicBezTo>
                    <a:pt x="6130767" y="256699"/>
                    <a:pt x="6129814" y="258604"/>
                    <a:pt x="6129814" y="261461"/>
                  </a:cubicBezTo>
                  <a:cubicBezTo>
                    <a:pt x="6129814" y="250031"/>
                    <a:pt x="6129814" y="243364"/>
                    <a:pt x="6129814" y="243364"/>
                  </a:cubicBezTo>
                  <a:cubicBezTo>
                    <a:pt x="6129814" y="243364"/>
                    <a:pt x="6127909" y="254794"/>
                    <a:pt x="6126004" y="274796"/>
                  </a:cubicBezTo>
                  <a:cubicBezTo>
                    <a:pt x="6126004" y="276701"/>
                    <a:pt x="6126004" y="279559"/>
                    <a:pt x="6125051" y="281464"/>
                  </a:cubicBezTo>
                  <a:cubicBezTo>
                    <a:pt x="6124099" y="275749"/>
                    <a:pt x="6123146" y="270986"/>
                    <a:pt x="6122194" y="267176"/>
                  </a:cubicBezTo>
                  <a:cubicBezTo>
                    <a:pt x="6119337" y="251936"/>
                    <a:pt x="6117431" y="243364"/>
                    <a:pt x="6117431" y="243364"/>
                  </a:cubicBezTo>
                  <a:cubicBezTo>
                    <a:pt x="6117431" y="243364"/>
                    <a:pt x="6117431" y="251936"/>
                    <a:pt x="6118384" y="267176"/>
                  </a:cubicBezTo>
                  <a:cubicBezTo>
                    <a:pt x="6118384" y="275749"/>
                    <a:pt x="6119337" y="287179"/>
                    <a:pt x="6119337" y="300514"/>
                  </a:cubicBezTo>
                  <a:cubicBezTo>
                    <a:pt x="6117431" y="306229"/>
                    <a:pt x="6115526" y="311944"/>
                    <a:pt x="6114574" y="317659"/>
                  </a:cubicBezTo>
                  <a:cubicBezTo>
                    <a:pt x="6114574" y="313849"/>
                    <a:pt x="6114574" y="310991"/>
                    <a:pt x="6114574" y="307181"/>
                  </a:cubicBezTo>
                  <a:cubicBezTo>
                    <a:pt x="6113621" y="299561"/>
                    <a:pt x="6113621" y="292894"/>
                    <a:pt x="6112669" y="286226"/>
                  </a:cubicBezTo>
                  <a:cubicBezTo>
                    <a:pt x="6111717" y="279559"/>
                    <a:pt x="6110764" y="274796"/>
                    <a:pt x="6109812" y="270986"/>
                  </a:cubicBezTo>
                  <a:cubicBezTo>
                    <a:pt x="6106954" y="262414"/>
                    <a:pt x="6105049" y="258604"/>
                    <a:pt x="6105049" y="258604"/>
                  </a:cubicBezTo>
                  <a:cubicBezTo>
                    <a:pt x="6105049" y="258604"/>
                    <a:pt x="6105049" y="263366"/>
                    <a:pt x="6106001" y="272891"/>
                  </a:cubicBezTo>
                  <a:cubicBezTo>
                    <a:pt x="6106001" y="275749"/>
                    <a:pt x="6106001" y="278606"/>
                    <a:pt x="6106001" y="282416"/>
                  </a:cubicBezTo>
                  <a:cubicBezTo>
                    <a:pt x="6105049" y="279559"/>
                    <a:pt x="6105049" y="276701"/>
                    <a:pt x="6104096" y="273844"/>
                  </a:cubicBezTo>
                  <a:cubicBezTo>
                    <a:pt x="6103144" y="271939"/>
                    <a:pt x="6103144" y="270034"/>
                    <a:pt x="6102192" y="268129"/>
                  </a:cubicBezTo>
                  <a:cubicBezTo>
                    <a:pt x="6102192" y="263366"/>
                    <a:pt x="6101239" y="258604"/>
                    <a:pt x="6101239" y="253841"/>
                  </a:cubicBezTo>
                  <a:cubicBezTo>
                    <a:pt x="6102192" y="251936"/>
                    <a:pt x="6102192" y="249079"/>
                    <a:pt x="6103144" y="247174"/>
                  </a:cubicBezTo>
                  <a:cubicBezTo>
                    <a:pt x="6105049" y="238601"/>
                    <a:pt x="6106954" y="230981"/>
                    <a:pt x="6107906" y="225266"/>
                  </a:cubicBezTo>
                  <a:cubicBezTo>
                    <a:pt x="6110764" y="212884"/>
                    <a:pt x="6111717" y="205264"/>
                    <a:pt x="6111717" y="205264"/>
                  </a:cubicBezTo>
                  <a:cubicBezTo>
                    <a:pt x="6111717" y="205264"/>
                    <a:pt x="6108859" y="211931"/>
                    <a:pt x="6104096" y="223361"/>
                  </a:cubicBezTo>
                  <a:cubicBezTo>
                    <a:pt x="6103144" y="227171"/>
                    <a:pt x="6101239" y="230981"/>
                    <a:pt x="6099334" y="234791"/>
                  </a:cubicBezTo>
                  <a:cubicBezTo>
                    <a:pt x="6098381" y="220504"/>
                    <a:pt x="6097429" y="210026"/>
                    <a:pt x="6096476" y="206216"/>
                  </a:cubicBezTo>
                  <a:cubicBezTo>
                    <a:pt x="6096476" y="204311"/>
                    <a:pt x="6097429" y="201454"/>
                    <a:pt x="6097429" y="199549"/>
                  </a:cubicBezTo>
                  <a:cubicBezTo>
                    <a:pt x="6099334" y="191929"/>
                    <a:pt x="6100287" y="184309"/>
                    <a:pt x="6101239" y="177641"/>
                  </a:cubicBezTo>
                  <a:cubicBezTo>
                    <a:pt x="6102192" y="170974"/>
                    <a:pt x="6103144" y="163354"/>
                    <a:pt x="6104096" y="157639"/>
                  </a:cubicBezTo>
                  <a:cubicBezTo>
                    <a:pt x="6106001" y="145256"/>
                    <a:pt x="6106954" y="133826"/>
                    <a:pt x="6107906" y="124301"/>
                  </a:cubicBezTo>
                  <a:cubicBezTo>
                    <a:pt x="6109812" y="106204"/>
                    <a:pt x="6110764" y="95726"/>
                    <a:pt x="6110764" y="95726"/>
                  </a:cubicBezTo>
                  <a:cubicBezTo>
                    <a:pt x="6110764" y="95726"/>
                    <a:pt x="6107906" y="106204"/>
                    <a:pt x="6104096" y="124301"/>
                  </a:cubicBezTo>
                  <a:cubicBezTo>
                    <a:pt x="6102192" y="132874"/>
                    <a:pt x="6099334" y="144304"/>
                    <a:pt x="6096476" y="156686"/>
                  </a:cubicBezTo>
                  <a:cubicBezTo>
                    <a:pt x="6095524" y="163354"/>
                    <a:pt x="6093619" y="170021"/>
                    <a:pt x="6091714" y="176689"/>
                  </a:cubicBezTo>
                  <a:cubicBezTo>
                    <a:pt x="6089809" y="183356"/>
                    <a:pt x="6087904" y="190976"/>
                    <a:pt x="6085999" y="198596"/>
                  </a:cubicBezTo>
                  <a:cubicBezTo>
                    <a:pt x="6085046" y="203359"/>
                    <a:pt x="6083142" y="209074"/>
                    <a:pt x="6081237" y="214789"/>
                  </a:cubicBezTo>
                  <a:cubicBezTo>
                    <a:pt x="6077426" y="206216"/>
                    <a:pt x="6074569" y="201454"/>
                    <a:pt x="6074569" y="201454"/>
                  </a:cubicBezTo>
                  <a:cubicBezTo>
                    <a:pt x="6074569" y="201454"/>
                    <a:pt x="6076474" y="208121"/>
                    <a:pt x="6079331" y="219551"/>
                  </a:cubicBezTo>
                  <a:cubicBezTo>
                    <a:pt x="6078379" y="222409"/>
                    <a:pt x="6076474" y="225266"/>
                    <a:pt x="6073617" y="230029"/>
                  </a:cubicBezTo>
                  <a:cubicBezTo>
                    <a:pt x="6072664" y="231934"/>
                    <a:pt x="6071712" y="234791"/>
                    <a:pt x="6069806" y="237649"/>
                  </a:cubicBezTo>
                  <a:cubicBezTo>
                    <a:pt x="6069806" y="233839"/>
                    <a:pt x="6069806" y="230981"/>
                    <a:pt x="6069806" y="228124"/>
                  </a:cubicBezTo>
                  <a:cubicBezTo>
                    <a:pt x="6069806" y="213836"/>
                    <a:pt x="6069806" y="205264"/>
                    <a:pt x="6069806" y="205264"/>
                  </a:cubicBezTo>
                  <a:cubicBezTo>
                    <a:pt x="6069806" y="205264"/>
                    <a:pt x="6067901" y="213836"/>
                    <a:pt x="6065996" y="228124"/>
                  </a:cubicBezTo>
                  <a:cubicBezTo>
                    <a:pt x="6065044" y="235744"/>
                    <a:pt x="6063139" y="243364"/>
                    <a:pt x="6061234" y="253841"/>
                  </a:cubicBezTo>
                  <a:cubicBezTo>
                    <a:pt x="6060281" y="256699"/>
                    <a:pt x="6060281" y="259556"/>
                    <a:pt x="6059329" y="263366"/>
                  </a:cubicBezTo>
                  <a:cubicBezTo>
                    <a:pt x="6058376" y="265271"/>
                    <a:pt x="6058376" y="267176"/>
                    <a:pt x="6057424" y="268129"/>
                  </a:cubicBezTo>
                  <a:cubicBezTo>
                    <a:pt x="6054567" y="275749"/>
                    <a:pt x="6051709" y="285274"/>
                    <a:pt x="6048851" y="294799"/>
                  </a:cubicBezTo>
                  <a:cubicBezTo>
                    <a:pt x="6045994" y="304324"/>
                    <a:pt x="6044089" y="313849"/>
                    <a:pt x="6041231" y="324326"/>
                  </a:cubicBezTo>
                  <a:cubicBezTo>
                    <a:pt x="6041231" y="324326"/>
                    <a:pt x="6041231" y="325279"/>
                    <a:pt x="6041231" y="325279"/>
                  </a:cubicBezTo>
                  <a:cubicBezTo>
                    <a:pt x="6038374" y="318611"/>
                    <a:pt x="6036469" y="311944"/>
                    <a:pt x="6033612" y="306229"/>
                  </a:cubicBezTo>
                  <a:cubicBezTo>
                    <a:pt x="6032659" y="303371"/>
                    <a:pt x="6030754" y="299561"/>
                    <a:pt x="6029801" y="296704"/>
                  </a:cubicBezTo>
                  <a:cubicBezTo>
                    <a:pt x="6029801" y="296704"/>
                    <a:pt x="6029801" y="295751"/>
                    <a:pt x="6029801" y="295751"/>
                  </a:cubicBezTo>
                  <a:cubicBezTo>
                    <a:pt x="6030754" y="290036"/>
                    <a:pt x="6031706" y="285274"/>
                    <a:pt x="6031706" y="281464"/>
                  </a:cubicBezTo>
                  <a:cubicBezTo>
                    <a:pt x="6032659" y="272891"/>
                    <a:pt x="6033612" y="269081"/>
                    <a:pt x="6033612" y="269081"/>
                  </a:cubicBezTo>
                  <a:cubicBezTo>
                    <a:pt x="6033612" y="269081"/>
                    <a:pt x="6031706" y="272891"/>
                    <a:pt x="6027896" y="280511"/>
                  </a:cubicBezTo>
                  <a:cubicBezTo>
                    <a:pt x="6026944" y="282416"/>
                    <a:pt x="6025992" y="284321"/>
                    <a:pt x="6025039" y="286226"/>
                  </a:cubicBezTo>
                  <a:cubicBezTo>
                    <a:pt x="6023134" y="281464"/>
                    <a:pt x="6021229" y="276701"/>
                    <a:pt x="6020276" y="272891"/>
                  </a:cubicBezTo>
                  <a:cubicBezTo>
                    <a:pt x="6013609" y="254794"/>
                    <a:pt x="6008846" y="244316"/>
                    <a:pt x="6008846" y="244316"/>
                  </a:cubicBezTo>
                  <a:cubicBezTo>
                    <a:pt x="6008846" y="244316"/>
                    <a:pt x="6011704" y="254794"/>
                    <a:pt x="6016467" y="273844"/>
                  </a:cubicBezTo>
                  <a:cubicBezTo>
                    <a:pt x="6018371" y="279559"/>
                    <a:pt x="6020276" y="286226"/>
                    <a:pt x="6022181" y="293846"/>
                  </a:cubicBezTo>
                  <a:cubicBezTo>
                    <a:pt x="6021229" y="296704"/>
                    <a:pt x="6020276" y="299561"/>
                    <a:pt x="6019324" y="302419"/>
                  </a:cubicBezTo>
                  <a:cubicBezTo>
                    <a:pt x="6018371" y="305276"/>
                    <a:pt x="6017419" y="309086"/>
                    <a:pt x="6016467" y="311944"/>
                  </a:cubicBezTo>
                  <a:cubicBezTo>
                    <a:pt x="6014562" y="318611"/>
                    <a:pt x="6012656" y="326231"/>
                    <a:pt x="6010751" y="333851"/>
                  </a:cubicBezTo>
                  <a:cubicBezTo>
                    <a:pt x="6010751" y="333851"/>
                    <a:pt x="6010751" y="334804"/>
                    <a:pt x="6010751" y="334804"/>
                  </a:cubicBezTo>
                  <a:cubicBezTo>
                    <a:pt x="6007894" y="330041"/>
                    <a:pt x="6005989" y="325279"/>
                    <a:pt x="6003131" y="320516"/>
                  </a:cubicBezTo>
                  <a:cubicBezTo>
                    <a:pt x="6001226" y="316706"/>
                    <a:pt x="5999321" y="312896"/>
                    <a:pt x="5996464" y="308134"/>
                  </a:cubicBezTo>
                  <a:cubicBezTo>
                    <a:pt x="5997417" y="306229"/>
                    <a:pt x="5998369" y="304324"/>
                    <a:pt x="5999321" y="302419"/>
                  </a:cubicBezTo>
                  <a:cubicBezTo>
                    <a:pt x="6002179" y="294799"/>
                    <a:pt x="6005037" y="289084"/>
                    <a:pt x="6007894" y="283369"/>
                  </a:cubicBezTo>
                  <a:cubicBezTo>
                    <a:pt x="6012656" y="272891"/>
                    <a:pt x="6014562" y="267176"/>
                    <a:pt x="6014562" y="267176"/>
                  </a:cubicBezTo>
                  <a:cubicBezTo>
                    <a:pt x="6014562" y="267176"/>
                    <a:pt x="6010751" y="272891"/>
                    <a:pt x="6004084" y="281464"/>
                  </a:cubicBezTo>
                  <a:cubicBezTo>
                    <a:pt x="6001226" y="286226"/>
                    <a:pt x="5997417" y="291941"/>
                    <a:pt x="5993606" y="297656"/>
                  </a:cubicBezTo>
                  <a:cubicBezTo>
                    <a:pt x="5992654" y="289084"/>
                    <a:pt x="5990749" y="281464"/>
                    <a:pt x="5989796" y="273844"/>
                  </a:cubicBezTo>
                  <a:cubicBezTo>
                    <a:pt x="5990749" y="266224"/>
                    <a:pt x="5990749" y="258604"/>
                    <a:pt x="5991701" y="250984"/>
                  </a:cubicBezTo>
                  <a:cubicBezTo>
                    <a:pt x="5992654" y="235744"/>
                    <a:pt x="5995512" y="223361"/>
                    <a:pt x="5997417" y="212884"/>
                  </a:cubicBezTo>
                  <a:cubicBezTo>
                    <a:pt x="6001226" y="191929"/>
                    <a:pt x="6003131" y="179546"/>
                    <a:pt x="6003131" y="179546"/>
                  </a:cubicBezTo>
                  <a:cubicBezTo>
                    <a:pt x="6003131" y="179546"/>
                    <a:pt x="5999321" y="190976"/>
                    <a:pt x="5993606" y="211931"/>
                  </a:cubicBezTo>
                  <a:cubicBezTo>
                    <a:pt x="5990749" y="222409"/>
                    <a:pt x="5986939" y="233839"/>
                    <a:pt x="5985034" y="248126"/>
                  </a:cubicBezTo>
                  <a:cubicBezTo>
                    <a:pt x="5981224" y="233839"/>
                    <a:pt x="5978367" y="219551"/>
                    <a:pt x="5974556" y="206216"/>
                  </a:cubicBezTo>
                  <a:cubicBezTo>
                    <a:pt x="5974556" y="206216"/>
                    <a:pt x="5974556" y="206216"/>
                    <a:pt x="5974556" y="206216"/>
                  </a:cubicBezTo>
                  <a:cubicBezTo>
                    <a:pt x="5975509" y="195739"/>
                    <a:pt x="5976462" y="186214"/>
                    <a:pt x="5977414" y="178594"/>
                  </a:cubicBezTo>
                  <a:cubicBezTo>
                    <a:pt x="5978367" y="163354"/>
                    <a:pt x="5979319" y="153829"/>
                    <a:pt x="5979319" y="153829"/>
                  </a:cubicBezTo>
                  <a:cubicBezTo>
                    <a:pt x="5979319" y="153829"/>
                    <a:pt x="5977414" y="162401"/>
                    <a:pt x="5973604" y="177641"/>
                  </a:cubicBezTo>
                  <a:cubicBezTo>
                    <a:pt x="5972651" y="181451"/>
                    <a:pt x="5971699" y="186214"/>
                    <a:pt x="5969794" y="191929"/>
                  </a:cubicBezTo>
                  <a:cubicBezTo>
                    <a:pt x="5965984" y="180499"/>
                    <a:pt x="5963126" y="170021"/>
                    <a:pt x="5959317" y="160496"/>
                  </a:cubicBezTo>
                  <a:cubicBezTo>
                    <a:pt x="5954554" y="148114"/>
                    <a:pt x="5950744" y="137636"/>
                    <a:pt x="5946934" y="130016"/>
                  </a:cubicBezTo>
                  <a:cubicBezTo>
                    <a:pt x="5939314" y="112871"/>
                    <a:pt x="5934551" y="104299"/>
                    <a:pt x="5934551" y="104299"/>
                  </a:cubicBezTo>
                  <a:cubicBezTo>
                    <a:pt x="5934551" y="104299"/>
                    <a:pt x="5937409" y="113824"/>
                    <a:pt x="5943124" y="131921"/>
                  </a:cubicBezTo>
                  <a:cubicBezTo>
                    <a:pt x="5945981" y="140494"/>
                    <a:pt x="5948839" y="150971"/>
                    <a:pt x="5951696" y="163354"/>
                  </a:cubicBezTo>
                  <a:cubicBezTo>
                    <a:pt x="5955506" y="175736"/>
                    <a:pt x="5957412" y="189071"/>
                    <a:pt x="5961221" y="204311"/>
                  </a:cubicBezTo>
                  <a:cubicBezTo>
                    <a:pt x="5962174" y="208121"/>
                    <a:pt x="5963126" y="212884"/>
                    <a:pt x="5964079" y="216694"/>
                  </a:cubicBezTo>
                  <a:cubicBezTo>
                    <a:pt x="5964079" y="218599"/>
                    <a:pt x="5963126" y="220504"/>
                    <a:pt x="5962174" y="222409"/>
                  </a:cubicBezTo>
                  <a:cubicBezTo>
                    <a:pt x="5961221" y="226219"/>
                    <a:pt x="5959317" y="230981"/>
                    <a:pt x="5958364" y="235744"/>
                  </a:cubicBezTo>
                  <a:cubicBezTo>
                    <a:pt x="5957412" y="234791"/>
                    <a:pt x="5957412" y="233839"/>
                    <a:pt x="5956459" y="232886"/>
                  </a:cubicBezTo>
                  <a:cubicBezTo>
                    <a:pt x="5956459" y="231934"/>
                    <a:pt x="5956459" y="231934"/>
                    <a:pt x="5956459" y="231934"/>
                  </a:cubicBezTo>
                  <a:cubicBezTo>
                    <a:pt x="5956459" y="231934"/>
                    <a:pt x="5956459" y="231934"/>
                    <a:pt x="5956459" y="232886"/>
                  </a:cubicBezTo>
                  <a:cubicBezTo>
                    <a:pt x="5948839" y="219551"/>
                    <a:pt x="5943124" y="208121"/>
                    <a:pt x="5938362" y="199549"/>
                  </a:cubicBezTo>
                  <a:cubicBezTo>
                    <a:pt x="5931694" y="187166"/>
                    <a:pt x="5927884" y="180499"/>
                    <a:pt x="5927884" y="180499"/>
                  </a:cubicBezTo>
                  <a:cubicBezTo>
                    <a:pt x="5927884" y="180499"/>
                    <a:pt x="5937409" y="209074"/>
                    <a:pt x="5953601" y="250984"/>
                  </a:cubicBezTo>
                  <a:cubicBezTo>
                    <a:pt x="5953601" y="252889"/>
                    <a:pt x="5952649" y="253841"/>
                    <a:pt x="5952649" y="255746"/>
                  </a:cubicBezTo>
                  <a:cubicBezTo>
                    <a:pt x="5949792" y="264319"/>
                    <a:pt x="5947887" y="272891"/>
                    <a:pt x="5945029" y="282416"/>
                  </a:cubicBezTo>
                  <a:cubicBezTo>
                    <a:pt x="5945029" y="283369"/>
                    <a:pt x="5944076" y="284321"/>
                    <a:pt x="5944076" y="285274"/>
                  </a:cubicBezTo>
                  <a:cubicBezTo>
                    <a:pt x="5943124" y="280511"/>
                    <a:pt x="5941219" y="275749"/>
                    <a:pt x="5940267" y="271939"/>
                  </a:cubicBezTo>
                  <a:cubicBezTo>
                    <a:pt x="5936456" y="259556"/>
                    <a:pt x="5932646" y="247174"/>
                    <a:pt x="5928837" y="237649"/>
                  </a:cubicBezTo>
                  <a:cubicBezTo>
                    <a:pt x="5925979" y="230981"/>
                    <a:pt x="5924074" y="225266"/>
                    <a:pt x="5922169" y="220504"/>
                  </a:cubicBezTo>
                  <a:cubicBezTo>
                    <a:pt x="5923121" y="217646"/>
                    <a:pt x="5923121" y="216694"/>
                    <a:pt x="5923121" y="216694"/>
                  </a:cubicBezTo>
                  <a:cubicBezTo>
                    <a:pt x="5923121" y="216694"/>
                    <a:pt x="5922169" y="217646"/>
                    <a:pt x="5921217" y="219551"/>
                  </a:cubicBezTo>
                  <a:cubicBezTo>
                    <a:pt x="5920264" y="216694"/>
                    <a:pt x="5919312" y="213836"/>
                    <a:pt x="5917406" y="211931"/>
                  </a:cubicBezTo>
                  <a:cubicBezTo>
                    <a:pt x="5913596" y="204311"/>
                    <a:pt x="5910739" y="198596"/>
                    <a:pt x="5908834" y="194786"/>
                  </a:cubicBezTo>
                  <a:cubicBezTo>
                    <a:pt x="5908834" y="190976"/>
                    <a:pt x="5907881" y="187166"/>
                    <a:pt x="5907881" y="183356"/>
                  </a:cubicBezTo>
                  <a:cubicBezTo>
                    <a:pt x="5905976" y="168116"/>
                    <a:pt x="5905024" y="159544"/>
                    <a:pt x="5905024" y="159544"/>
                  </a:cubicBezTo>
                  <a:cubicBezTo>
                    <a:pt x="5905024" y="159544"/>
                    <a:pt x="5904071" y="168116"/>
                    <a:pt x="5904071" y="184309"/>
                  </a:cubicBezTo>
                  <a:cubicBezTo>
                    <a:pt x="5904071" y="191929"/>
                    <a:pt x="5903119" y="201454"/>
                    <a:pt x="5903119" y="211931"/>
                  </a:cubicBezTo>
                  <a:cubicBezTo>
                    <a:pt x="5903119" y="217646"/>
                    <a:pt x="5903119" y="223361"/>
                    <a:pt x="5902167" y="229076"/>
                  </a:cubicBezTo>
                  <a:cubicBezTo>
                    <a:pt x="5902167" y="234791"/>
                    <a:pt x="5902167" y="241459"/>
                    <a:pt x="5902167" y="248126"/>
                  </a:cubicBezTo>
                  <a:cubicBezTo>
                    <a:pt x="5902167" y="254794"/>
                    <a:pt x="5902167" y="262414"/>
                    <a:pt x="5903119" y="270034"/>
                  </a:cubicBezTo>
                  <a:cubicBezTo>
                    <a:pt x="5902167" y="274796"/>
                    <a:pt x="5901214" y="279559"/>
                    <a:pt x="5900262" y="285274"/>
                  </a:cubicBezTo>
                  <a:cubicBezTo>
                    <a:pt x="5900262" y="284321"/>
                    <a:pt x="5900262" y="283369"/>
                    <a:pt x="5899309" y="282416"/>
                  </a:cubicBezTo>
                  <a:cubicBezTo>
                    <a:pt x="5897404" y="274796"/>
                    <a:pt x="5896451" y="268129"/>
                    <a:pt x="5895499" y="263366"/>
                  </a:cubicBezTo>
                  <a:cubicBezTo>
                    <a:pt x="5893594" y="255746"/>
                    <a:pt x="5892642" y="250031"/>
                    <a:pt x="5891689" y="248126"/>
                  </a:cubicBezTo>
                  <a:cubicBezTo>
                    <a:pt x="5891689" y="246221"/>
                    <a:pt x="5891689" y="245269"/>
                    <a:pt x="5891689" y="245269"/>
                  </a:cubicBezTo>
                  <a:cubicBezTo>
                    <a:pt x="5891689" y="245269"/>
                    <a:pt x="5891689" y="246221"/>
                    <a:pt x="5890737" y="247174"/>
                  </a:cubicBezTo>
                  <a:cubicBezTo>
                    <a:pt x="5890737" y="247174"/>
                    <a:pt x="5890737" y="247174"/>
                    <a:pt x="5890737" y="247174"/>
                  </a:cubicBezTo>
                  <a:cubicBezTo>
                    <a:pt x="5890737" y="247174"/>
                    <a:pt x="5890737" y="247174"/>
                    <a:pt x="5890737" y="248126"/>
                  </a:cubicBezTo>
                  <a:cubicBezTo>
                    <a:pt x="5889784" y="251936"/>
                    <a:pt x="5885974" y="261461"/>
                    <a:pt x="5881212" y="275749"/>
                  </a:cubicBezTo>
                  <a:cubicBezTo>
                    <a:pt x="5880259" y="270986"/>
                    <a:pt x="5879306" y="266224"/>
                    <a:pt x="5878354" y="262414"/>
                  </a:cubicBezTo>
                  <a:cubicBezTo>
                    <a:pt x="5875496" y="248126"/>
                    <a:pt x="5874544" y="240506"/>
                    <a:pt x="5874544" y="240506"/>
                  </a:cubicBezTo>
                  <a:cubicBezTo>
                    <a:pt x="5874544" y="240506"/>
                    <a:pt x="5874544" y="248126"/>
                    <a:pt x="5874544" y="262414"/>
                  </a:cubicBezTo>
                  <a:cubicBezTo>
                    <a:pt x="5874544" y="270034"/>
                    <a:pt x="5875496" y="279559"/>
                    <a:pt x="5875496" y="290989"/>
                  </a:cubicBezTo>
                  <a:cubicBezTo>
                    <a:pt x="5874544" y="293846"/>
                    <a:pt x="5873592" y="295751"/>
                    <a:pt x="5873592" y="298609"/>
                  </a:cubicBezTo>
                  <a:cubicBezTo>
                    <a:pt x="5872639" y="290036"/>
                    <a:pt x="5872639" y="280511"/>
                    <a:pt x="5870734" y="271939"/>
                  </a:cubicBezTo>
                  <a:cubicBezTo>
                    <a:pt x="5869781" y="278606"/>
                    <a:pt x="5868829" y="286226"/>
                    <a:pt x="5867876" y="292894"/>
                  </a:cubicBezTo>
                  <a:cubicBezTo>
                    <a:pt x="5867876" y="285274"/>
                    <a:pt x="5867876" y="276701"/>
                    <a:pt x="5866924" y="269081"/>
                  </a:cubicBezTo>
                  <a:cubicBezTo>
                    <a:pt x="5866924" y="260509"/>
                    <a:pt x="5865971" y="251936"/>
                    <a:pt x="5865971" y="243364"/>
                  </a:cubicBezTo>
                  <a:cubicBezTo>
                    <a:pt x="5870734" y="231934"/>
                    <a:pt x="5873592" y="225266"/>
                    <a:pt x="5873592" y="225266"/>
                  </a:cubicBezTo>
                  <a:cubicBezTo>
                    <a:pt x="5873592" y="225266"/>
                    <a:pt x="5870734" y="230029"/>
                    <a:pt x="5865971" y="237649"/>
                  </a:cubicBezTo>
                  <a:cubicBezTo>
                    <a:pt x="5865971" y="234791"/>
                    <a:pt x="5865971" y="232886"/>
                    <a:pt x="5865971" y="230029"/>
                  </a:cubicBezTo>
                  <a:cubicBezTo>
                    <a:pt x="5865971" y="217646"/>
                    <a:pt x="5865019" y="205264"/>
                    <a:pt x="5865019" y="194786"/>
                  </a:cubicBezTo>
                  <a:cubicBezTo>
                    <a:pt x="5864067" y="172879"/>
                    <a:pt x="5863114" y="154781"/>
                    <a:pt x="5863114" y="141446"/>
                  </a:cubicBezTo>
                  <a:cubicBezTo>
                    <a:pt x="5862162" y="128111"/>
                    <a:pt x="5862162" y="121444"/>
                    <a:pt x="5862162" y="121444"/>
                  </a:cubicBezTo>
                  <a:cubicBezTo>
                    <a:pt x="5862162" y="121444"/>
                    <a:pt x="5861209" y="129064"/>
                    <a:pt x="5859304" y="141446"/>
                  </a:cubicBezTo>
                  <a:cubicBezTo>
                    <a:pt x="5858351" y="147161"/>
                    <a:pt x="5857399" y="153829"/>
                    <a:pt x="5856446" y="161449"/>
                  </a:cubicBezTo>
                  <a:cubicBezTo>
                    <a:pt x="5855494" y="145256"/>
                    <a:pt x="5854542" y="130969"/>
                    <a:pt x="5853589" y="120491"/>
                  </a:cubicBezTo>
                  <a:cubicBezTo>
                    <a:pt x="5852637" y="106204"/>
                    <a:pt x="5851684" y="98584"/>
                    <a:pt x="5851684" y="98584"/>
                  </a:cubicBezTo>
                  <a:cubicBezTo>
                    <a:pt x="5851684" y="98584"/>
                    <a:pt x="5850731" y="106204"/>
                    <a:pt x="5849779" y="120491"/>
                  </a:cubicBezTo>
                  <a:cubicBezTo>
                    <a:pt x="5848826" y="127159"/>
                    <a:pt x="5848826" y="135731"/>
                    <a:pt x="5847874" y="146209"/>
                  </a:cubicBezTo>
                  <a:cubicBezTo>
                    <a:pt x="5846921" y="155734"/>
                    <a:pt x="5846921" y="167164"/>
                    <a:pt x="5846921" y="179546"/>
                  </a:cubicBezTo>
                  <a:cubicBezTo>
                    <a:pt x="5845969" y="203359"/>
                    <a:pt x="5845969" y="231934"/>
                    <a:pt x="5846921" y="262414"/>
                  </a:cubicBezTo>
                  <a:cubicBezTo>
                    <a:pt x="5846921" y="264319"/>
                    <a:pt x="5846921" y="267176"/>
                    <a:pt x="5846921" y="269081"/>
                  </a:cubicBezTo>
                  <a:cubicBezTo>
                    <a:pt x="5845969" y="270986"/>
                    <a:pt x="5844064" y="272891"/>
                    <a:pt x="5843112" y="274796"/>
                  </a:cubicBezTo>
                  <a:cubicBezTo>
                    <a:pt x="5842159" y="270034"/>
                    <a:pt x="5841206" y="265271"/>
                    <a:pt x="5840254" y="261461"/>
                  </a:cubicBezTo>
                  <a:cubicBezTo>
                    <a:pt x="5840254" y="254794"/>
                    <a:pt x="5840254" y="248126"/>
                    <a:pt x="5841206" y="242411"/>
                  </a:cubicBezTo>
                  <a:cubicBezTo>
                    <a:pt x="5841206" y="230029"/>
                    <a:pt x="5841206" y="223361"/>
                    <a:pt x="5841206" y="223361"/>
                  </a:cubicBezTo>
                  <a:cubicBezTo>
                    <a:pt x="5841206" y="223361"/>
                    <a:pt x="5839301" y="230029"/>
                    <a:pt x="5837396" y="242411"/>
                  </a:cubicBezTo>
                  <a:cubicBezTo>
                    <a:pt x="5837396" y="243364"/>
                    <a:pt x="5837396" y="244316"/>
                    <a:pt x="5836444" y="245269"/>
                  </a:cubicBezTo>
                  <a:cubicBezTo>
                    <a:pt x="5833587" y="233839"/>
                    <a:pt x="5831681" y="224314"/>
                    <a:pt x="5829776" y="215741"/>
                  </a:cubicBezTo>
                  <a:cubicBezTo>
                    <a:pt x="5825967" y="198596"/>
                    <a:pt x="5824062" y="189071"/>
                    <a:pt x="5824062" y="189071"/>
                  </a:cubicBezTo>
                  <a:cubicBezTo>
                    <a:pt x="5824062" y="189071"/>
                    <a:pt x="5825014" y="198596"/>
                    <a:pt x="5825967" y="215741"/>
                  </a:cubicBezTo>
                  <a:cubicBezTo>
                    <a:pt x="5826919" y="224314"/>
                    <a:pt x="5827871" y="234791"/>
                    <a:pt x="5828824" y="246221"/>
                  </a:cubicBezTo>
                  <a:cubicBezTo>
                    <a:pt x="5829776" y="252889"/>
                    <a:pt x="5830729" y="260509"/>
                    <a:pt x="5831681" y="268129"/>
                  </a:cubicBezTo>
                  <a:cubicBezTo>
                    <a:pt x="5830729" y="270034"/>
                    <a:pt x="5828824" y="272891"/>
                    <a:pt x="5826919" y="276701"/>
                  </a:cubicBezTo>
                  <a:cubicBezTo>
                    <a:pt x="5826919" y="274796"/>
                    <a:pt x="5825967" y="272891"/>
                    <a:pt x="5825967" y="270986"/>
                  </a:cubicBezTo>
                  <a:cubicBezTo>
                    <a:pt x="5825014" y="263366"/>
                    <a:pt x="5823109" y="255746"/>
                    <a:pt x="5822156" y="250031"/>
                  </a:cubicBezTo>
                  <a:cubicBezTo>
                    <a:pt x="5820251" y="238601"/>
                    <a:pt x="5818346" y="231934"/>
                    <a:pt x="5818346" y="231934"/>
                  </a:cubicBezTo>
                  <a:cubicBezTo>
                    <a:pt x="5818346" y="231934"/>
                    <a:pt x="5818346" y="238601"/>
                    <a:pt x="5818346" y="250031"/>
                  </a:cubicBezTo>
                  <a:cubicBezTo>
                    <a:pt x="5818346" y="255746"/>
                    <a:pt x="5818346" y="262414"/>
                    <a:pt x="5818346" y="270986"/>
                  </a:cubicBezTo>
                  <a:cubicBezTo>
                    <a:pt x="5816442" y="267176"/>
                    <a:pt x="5814537" y="264319"/>
                    <a:pt x="5812631" y="262414"/>
                  </a:cubicBezTo>
                  <a:lnTo>
                    <a:pt x="5812631" y="246221"/>
                  </a:lnTo>
                  <a:lnTo>
                    <a:pt x="5814537" y="220504"/>
                  </a:lnTo>
                  <a:cubicBezTo>
                    <a:pt x="5815489" y="220504"/>
                    <a:pt x="5815489" y="220504"/>
                    <a:pt x="5816442" y="221456"/>
                  </a:cubicBezTo>
                  <a:cubicBezTo>
                    <a:pt x="5817394" y="222409"/>
                    <a:pt x="5818346" y="222409"/>
                    <a:pt x="5819299" y="224314"/>
                  </a:cubicBezTo>
                  <a:cubicBezTo>
                    <a:pt x="5821204" y="226219"/>
                    <a:pt x="5821204" y="229076"/>
                    <a:pt x="5822156" y="231934"/>
                  </a:cubicBezTo>
                  <a:cubicBezTo>
                    <a:pt x="5822156" y="229076"/>
                    <a:pt x="5822156" y="226219"/>
                    <a:pt x="5821204" y="223361"/>
                  </a:cubicBezTo>
                  <a:cubicBezTo>
                    <a:pt x="5820251" y="222409"/>
                    <a:pt x="5819299" y="220504"/>
                    <a:pt x="5818346" y="219551"/>
                  </a:cubicBezTo>
                  <a:cubicBezTo>
                    <a:pt x="5817394" y="218599"/>
                    <a:pt x="5815489" y="217646"/>
                    <a:pt x="5813584" y="217646"/>
                  </a:cubicBezTo>
                  <a:lnTo>
                    <a:pt x="5811679" y="217646"/>
                  </a:lnTo>
                  <a:lnTo>
                    <a:pt x="5811679" y="219551"/>
                  </a:lnTo>
                  <a:cubicBezTo>
                    <a:pt x="5809774" y="228124"/>
                    <a:pt x="5806917" y="237649"/>
                    <a:pt x="5805012" y="246221"/>
                  </a:cubicBezTo>
                  <a:cubicBezTo>
                    <a:pt x="5804059" y="250031"/>
                    <a:pt x="5804059" y="252889"/>
                    <a:pt x="5803106" y="256699"/>
                  </a:cubicBezTo>
                  <a:cubicBezTo>
                    <a:pt x="5801201" y="258604"/>
                    <a:pt x="5799296" y="261461"/>
                    <a:pt x="5796439" y="264319"/>
                  </a:cubicBezTo>
                  <a:cubicBezTo>
                    <a:pt x="5796439" y="259556"/>
                    <a:pt x="5795487" y="256699"/>
                    <a:pt x="5795487" y="253841"/>
                  </a:cubicBezTo>
                  <a:cubicBezTo>
                    <a:pt x="5794534" y="250031"/>
                    <a:pt x="5794534" y="248126"/>
                    <a:pt x="5794534" y="248126"/>
                  </a:cubicBezTo>
                  <a:cubicBezTo>
                    <a:pt x="5794534" y="248126"/>
                    <a:pt x="5794534" y="250031"/>
                    <a:pt x="5794534" y="253841"/>
                  </a:cubicBezTo>
                  <a:cubicBezTo>
                    <a:pt x="5794534" y="257651"/>
                    <a:pt x="5794534" y="262414"/>
                    <a:pt x="5793581" y="268129"/>
                  </a:cubicBezTo>
                  <a:cubicBezTo>
                    <a:pt x="5792629" y="269081"/>
                    <a:pt x="5792629" y="269081"/>
                    <a:pt x="5791676" y="270034"/>
                  </a:cubicBezTo>
                  <a:cubicBezTo>
                    <a:pt x="5791676" y="270034"/>
                    <a:pt x="5791676" y="270034"/>
                    <a:pt x="5791676" y="270034"/>
                  </a:cubicBezTo>
                  <a:lnTo>
                    <a:pt x="5787867" y="239554"/>
                  </a:lnTo>
                  <a:cubicBezTo>
                    <a:pt x="5791676" y="229076"/>
                    <a:pt x="5793581" y="224314"/>
                    <a:pt x="5793581" y="224314"/>
                  </a:cubicBezTo>
                  <a:cubicBezTo>
                    <a:pt x="5793581" y="224314"/>
                    <a:pt x="5791676" y="228124"/>
                    <a:pt x="5786914" y="234791"/>
                  </a:cubicBezTo>
                  <a:lnTo>
                    <a:pt x="5785009" y="205264"/>
                  </a:lnTo>
                  <a:cubicBezTo>
                    <a:pt x="5788819" y="197644"/>
                    <a:pt x="5791676" y="190024"/>
                    <a:pt x="5795487" y="183356"/>
                  </a:cubicBezTo>
                  <a:cubicBezTo>
                    <a:pt x="5795487" y="183356"/>
                    <a:pt x="5795487" y="184309"/>
                    <a:pt x="5795487" y="184309"/>
                  </a:cubicBezTo>
                  <a:cubicBezTo>
                    <a:pt x="5795487" y="184309"/>
                    <a:pt x="5795487" y="183356"/>
                    <a:pt x="5795487" y="183356"/>
                  </a:cubicBezTo>
                  <a:cubicBezTo>
                    <a:pt x="5796439" y="181451"/>
                    <a:pt x="5797392" y="179546"/>
                    <a:pt x="5797392" y="178594"/>
                  </a:cubicBezTo>
                  <a:cubicBezTo>
                    <a:pt x="5803106" y="165259"/>
                    <a:pt x="5808821" y="153829"/>
                    <a:pt x="5812631" y="145256"/>
                  </a:cubicBezTo>
                  <a:cubicBezTo>
                    <a:pt x="5821204" y="126206"/>
                    <a:pt x="5825967" y="115729"/>
                    <a:pt x="5825967" y="115729"/>
                  </a:cubicBezTo>
                  <a:cubicBezTo>
                    <a:pt x="5825967" y="115729"/>
                    <a:pt x="5820251" y="125254"/>
                    <a:pt x="5809774" y="143351"/>
                  </a:cubicBezTo>
                  <a:cubicBezTo>
                    <a:pt x="5805012" y="151924"/>
                    <a:pt x="5798344" y="162401"/>
                    <a:pt x="5791676" y="173831"/>
                  </a:cubicBezTo>
                  <a:cubicBezTo>
                    <a:pt x="5790724" y="172879"/>
                    <a:pt x="5789771" y="171926"/>
                    <a:pt x="5788819" y="170974"/>
                  </a:cubicBezTo>
                  <a:cubicBezTo>
                    <a:pt x="5786914" y="170021"/>
                    <a:pt x="5785009" y="169069"/>
                    <a:pt x="5783104" y="169069"/>
                  </a:cubicBezTo>
                  <a:lnTo>
                    <a:pt x="5781199" y="169069"/>
                  </a:lnTo>
                  <a:lnTo>
                    <a:pt x="5781199" y="170974"/>
                  </a:lnTo>
                  <a:lnTo>
                    <a:pt x="5777389" y="197644"/>
                  </a:lnTo>
                  <a:cubicBezTo>
                    <a:pt x="5774531" y="204311"/>
                    <a:pt x="5770721" y="210026"/>
                    <a:pt x="5766912" y="217646"/>
                  </a:cubicBezTo>
                  <a:cubicBezTo>
                    <a:pt x="5762149" y="226219"/>
                    <a:pt x="5757387" y="234791"/>
                    <a:pt x="5752624" y="244316"/>
                  </a:cubicBezTo>
                  <a:cubicBezTo>
                    <a:pt x="5752624" y="240506"/>
                    <a:pt x="5751671" y="236696"/>
                    <a:pt x="5751671" y="233839"/>
                  </a:cubicBezTo>
                  <a:cubicBezTo>
                    <a:pt x="5750719" y="228124"/>
                    <a:pt x="5749767" y="222409"/>
                    <a:pt x="5749767" y="216694"/>
                  </a:cubicBezTo>
                  <a:cubicBezTo>
                    <a:pt x="5754529" y="199549"/>
                    <a:pt x="5757387" y="190024"/>
                    <a:pt x="5757387" y="190024"/>
                  </a:cubicBezTo>
                  <a:cubicBezTo>
                    <a:pt x="5757387" y="190024"/>
                    <a:pt x="5754529" y="197644"/>
                    <a:pt x="5749767" y="210979"/>
                  </a:cubicBezTo>
                  <a:cubicBezTo>
                    <a:pt x="5749767" y="209074"/>
                    <a:pt x="5748814" y="206216"/>
                    <a:pt x="5748814" y="204311"/>
                  </a:cubicBezTo>
                  <a:cubicBezTo>
                    <a:pt x="5746909" y="188119"/>
                    <a:pt x="5745004" y="178594"/>
                    <a:pt x="5745004" y="178594"/>
                  </a:cubicBezTo>
                  <a:cubicBezTo>
                    <a:pt x="5745004" y="178594"/>
                    <a:pt x="5745004" y="188119"/>
                    <a:pt x="5745004" y="204311"/>
                  </a:cubicBezTo>
                  <a:cubicBezTo>
                    <a:pt x="5745004" y="210026"/>
                    <a:pt x="5745004" y="215741"/>
                    <a:pt x="5745004" y="222409"/>
                  </a:cubicBezTo>
                  <a:cubicBezTo>
                    <a:pt x="5745004" y="223361"/>
                    <a:pt x="5744051" y="224314"/>
                    <a:pt x="5744051" y="225266"/>
                  </a:cubicBezTo>
                  <a:cubicBezTo>
                    <a:pt x="5740242" y="234791"/>
                    <a:pt x="5736431" y="247174"/>
                    <a:pt x="5731669" y="259556"/>
                  </a:cubicBezTo>
                  <a:cubicBezTo>
                    <a:pt x="5731669" y="259556"/>
                    <a:pt x="5731669" y="258604"/>
                    <a:pt x="5731669" y="258604"/>
                  </a:cubicBezTo>
                  <a:cubicBezTo>
                    <a:pt x="5733574" y="245269"/>
                    <a:pt x="5734526" y="238601"/>
                    <a:pt x="5734526" y="238601"/>
                  </a:cubicBezTo>
                  <a:cubicBezTo>
                    <a:pt x="5734526" y="238601"/>
                    <a:pt x="5732621" y="246221"/>
                    <a:pt x="5727859" y="258604"/>
                  </a:cubicBezTo>
                  <a:cubicBezTo>
                    <a:pt x="5726906" y="260509"/>
                    <a:pt x="5726906" y="262414"/>
                    <a:pt x="5725954" y="264319"/>
                  </a:cubicBezTo>
                  <a:cubicBezTo>
                    <a:pt x="5725954" y="264319"/>
                    <a:pt x="5725954" y="263366"/>
                    <a:pt x="5725954" y="263366"/>
                  </a:cubicBezTo>
                  <a:cubicBezTo>
                    <a:pt x="5725954" y="263366"/>
                    <a:pt x="5725954" y="262414"/>
                    <a:pt x="5725954" y="262414"/>
                  </a:cubicBezTo>
                  <a:cubicBezTo>
                    <a:pt x="5725954" y="260509"/>
                    <a:pt x="5726906" y="258604"/>
                    <a:pt x="5726906" y="256699"/>
                  </a:cubicBezTo>
                  <a:cubicBezTo>
                    <a:pt x="5727859" y="251936"/>
                    <a:pt x="5728812" y="247174"/>
                    <a:pt x="5729764" y="242411"/>
                  </a:cubicBezTo>
                  <a:cubicBezTo>
                    <a:pt x="5730717" y="237649"/>
                    <a:pt x="5731669" y="233839"/>
                    <a:pt x="5732621" y="230029"/>
                  </a:cubicBezTo>
                  <a:cubicBezTo>
                    <a:pt x="5734526" y="222409"/>
                    <a:pt x="5736431" y="215741"/>
                    <a:pt x="5737384" y="210026"/>
                  </a:cubicBezTo>
                  <a:cubicBezTo>
                    <a:pt x="5740242" y="198596"/>
                    <a:pt x="5741194" y="191929"/>
                    <a:pt x="5741194" y="191929"/>
                  </a:cubicBezTo>
                  <a:cubicBezTo>
                    <a:pt x="5741194" y="191929"/>
                    <a:pt x="5740242" y="193834"/>
                    <a:pt x="5739289" y="196691"/>
                  </a:cubicBezTo>
                  <a:cubicBezTo>
                    <a:pt x="5740242" y="192881"/>
                    <a:pt x="5740242" y="190024"/>
                    <a:pt x="5740242" y="190024"/>
                  </a:cubicBezTo>
                  <a:cubicBezTo>
                    <a:pt x="5740242" y="190024"/>
                    <a:pt x="5737384" y="197644"/>
                    <a:pt x="5731669" y="211931"/>
                  </a:cubicBezTo>
                  <a:cubicBezTo>
                    <a:pt x="5730717" y="215741"/>
                    <a:pt x="5728812" y="219551"/>
                    <a:pt x="5726906" y="224314"/>
                  </a:cubicBezTo>
                  <a:cubicBezTo>
                    <a:pt x="5725954" y="225266"/>
                    <a:pt x="5725954" y="227171"/>
                    <a:pt x="5725001" y="228124"/>
                  </a:cubicBezTo>
                  <a:cubicBezTo>
                    <a:pt x="5723096" y="231934"/>
                    <a:pt x="5722144" y="235744"/>
                    <a:pt x="5720239" y="240506"/>
                  </a:cubicBezTo>
                  <a:cubicBezTo>
                    <a:pt x="5719287" y="243364"/>
                    <a:pt x="5718334" y="246221"/>
                    <a:pt x="5717381" y="250031"/>
                  </a:cubicBezTo>
                  <a:cubicBezTo>
                    <a:pt x="5716429" y="251936"/>
                    <a:pt x="5716429" y="252889"/>
                    <a:pt x="5715476" y="254794"/>
                  </a:cubicBezTo>
                  <a:cubicBezTo>
                    <a:pt x="5713571" y="260509"/>
                    <a:pt x="5711667" y="266224"/>
                    <a:pt x="5709762" y="272891"/>
                  </a:cubicBezTo>
                  <a:cubicBezTo>
                    <a:pt x="5707856" y="278606"/>
                    <a:pt x="5705951" y="284321"/>
                    <a:pt x="5704046" y="290989"/>
                  </a:cubicBezTo>
                  <a:cubicBezTo>
                    <a:pt x="5701189" y="285274"/>
                    <a:pt x="5699284" y="280511"/>
                    <a:pt x="5696426" y="275749"/>
                  </a:cubicBezTo>
                  <a:cubicBezTo>
                    <a:pt x="5695474" y="271939"/>
                    <a:pt x="5695474" y="269081"/>
                    <a:pt x="5695474" y="269081"/>
                  </a:cubicBezTo>
                  <a:cubicBezTo>
                    <a:pt x="5695474" y="269081"/>
                    <a:pt x="5695474" y="270034"/>
                    <a:pt x="5695474" y="272891"/>
                  </a:cubicBezTo>
                  <a:cubicBezTo>
                    <a:pt x="5692617" y="268129"/>
                    <a:pt x="5690712" y="263366"/>
                    <a:pt x="5688806" y="259556"/>
                  </a:cubicBezTo>
                  <a:cubicBezTo>
                    <a:pt x="5683092" y="249079"/>
                    <a:pt x="5680234" y="243364"/>
                    <a:pt x="5680234" y="243364"/>
                  </a:cubicBezTo>
                  <a:cubicBezTo>
                    <a:pt x="5680234" y="243364"/>
                    <a:pt x="5682139" y="250031"/>
                    <a:pt x="5684996" y="260509"/>
                  </a:cubicBezTo>
                  <a:cubicBezTo>
                    <a:pt x="5687854" y="269081"/>
                    <a:pt x="5690712" y="279559"/>
                    <a:pt x="5694521" y="292894"/>
                  </a:cubicBezTo>
                  <a:cubicBezTo>
                    <a:pt x="5694521" y="297656"/>
                    <a:pt x="5694521" y="302419"/>
                    <a:pt x="5694521" y="309086"/>
                  </a:cubicBezTo>
                  <a:cubicBezTo>
                    <a:pt x="5694521" y="313849"/>
                    <a:pt x="5694521" y="318611"/>
                    <a:pt x="5694521" y="323374"/>
                  </a:cubicBezTo>
                  <a:cubicBezTo>
                    <a:pt x="5693569" y="326231"/>
                    <a:pt x="5692617" y="329089"/>
                    <a:pt x="5691664" y="331946"/>
                  </a:cubicBezTo>
                  <a:cubicBezTo>
                    <a:pt x="5690712" y="330994"/>
                    <a:pt x="5690712" y="330041"/>
                    <a:pt x="5689759" y="329089"/>
                  </a:cubicBezTo>
                  <a:lnTo>
                    <a:pt x="5689759" y="320516"/>
                  </a:lnTo>
                  <a:cubicBezTo>
                    <a:pt x="5688806" y="309086"/>
                    <a:pt x="5688806" y="297656"/>
                    <a:pt x="5687854" y="286226"/>
                  </a:cubicBezTo>
                  <a:cubicBezTo>
                    <a:pt x="5686901" y="297656"/>
                    <a:pt x="5685949" y="308134"/>
                    <a:pt x="5684996" y="319564"/>
                  </a:cubicBezTo>
                  <a:cubicBezTo>
                    <a:pt x="5684044" y="317659"/>
                    <a:pt x="5683092" y="315754"/>
                    <a:pt x="5681187" y="312896"/>
                  </a:cubicBezTo>
                  <a:cubicBezTo>
                    <a:pt x="5679281" y="299561"/>
                    <a:pt x="5677376" y="286226"/>
                    <a:pt x="5675471" y="273844"/>
                  </a:cubicBezTo>
                  <a:cubicBezTo>
                    <a:pt x="5674519" y="267176"/>
                    <a:pt x="5673567" y="260509"/>
                    <a:pt x="5672614" y="253841"/>
                  </a:cubicBezTo>
                  <a:cubicBezTo>
                    <a:pt x="5671662" y="247174"/>
                    <a:pt x="5671662" y="241459"/>
                    <a:pt x="5670709" y="235744"/>
                  </a:cubicBezTo>
                  <a:cubicBezTo>
                    <a:pt x="5669756" y="224314"/>
                    <a:pt x="5668804" y="214789"/>
                    <a:pt x="5667851" y="207169"/>
                  </a:cubicBezTo>
                  <a:cubicBezTo>
                    <a:pt x="5666899" y="198596"/>
                    <a:pt x="5665946" y="192881"/>
                    <a:pt x="5665946" y="188119"/>
                  </a:cubicBezTo>
                  <a:cubicBezTo>
                    <a:pt x="5666899" y="185261"/>
                    <a:pt x="5666899" y="183356"/>
                    <a:pt x="5666899" y="183356"/>
                  </a:cubicBezTo>
                  <a:cubicBezTo>
                    <a:pt x="5666899" y="183356"/>
                    <a:pt x="5665946" y="184309"/>
                    <a:pt x="5665946" y="186214"/>
                  </a:cubicBezTo>
                  <a:cubicBezTo>
                    <a:pt x="5665946" y="183356"/>
                    <a:pt x="5664994" y="181451"/>
                    <a:pt x="5664994" y="181451"/>
                  </a:cubicBezTo>
                  <a:cubicBezTo>
                    <a:pt x="5664994" y="181451"/>
                    <a:pt x="5664994" y="184309"/>
                    <a:pt x="5664994" y="188119"/>
                  </a:cubicBezTo>
                  <a:cubicBezTo>
                    <a:pt x="5663089" y="192881"/>
                    <a:pt x="5659279" y="201454"/>
                    <a:pt x="5654517" y="211931"/>
                  </a:cubicBezTo>
                  <a:cubicBezTo>
                    <a:pt x="5654517" y="210026"/>
                    <a:pt x="5654517" y="207169"/>
                    <a:pt x="5653564" y="205264"/>
                  </a:cubicBezTo>
                  <a:cubicBezTo>
                    <a:pt x="5652612" y="199549"/>
                    <a:pt x="5652612" y="193834"/>
                    <a:pt x="5652612" y="189071"/>
                  </a:cubicBezTo>
                  <a:cubicBezTo>
                    <a:pt x="5655469" y="183356"/>
                    <a:pt x="5657374" y="179546"/>
                    <a:pt x="5657374" y="179546"/>
                  </a:cubicBezTo>
                  <a:cubicBezTo>
                    <a:pt x="5657374" y="179546"/>
                    <a:pt x="5655469" y="182404"/>
                    <a:pt x="5652612" y="187166"/>
                  </a:cubicBezTo>
                  <a:cubicBezTo>
                    <a:pt x="5652612" y="186214"/>
                    <a:pt x="5652612" y="186214"/>
                    <a:pt x="5652612" y="185261"/>
                  </a:cubicBezTo>
                  <a:cubicBezTo>
                    <a:pt x="5651659" y="173831"/>
                    <a:pt x="5651659" y="167164"/>
                    <a:pt x="5651659" y="167164"/>
                  </a:cubicBezTo>
                  <a:cubicBezTo>
                    <a:pt x="5651659" y="167164"/>
                    <a:pt x="5650706" y="171926"/>
                    <a:pt x="5649754" y="179546"/>
                  </a:cubicBezTo>
                  <a:cubicBezTo>
                    <a:pt x="5649754" y="179546"/>
                    <a:pt x="5649754" y="178594"/>
                    <a:pt x="5649754" y="178594"/>
                  </a:cubicBezTo>
                  <a:cubicBezTo>
                    <a:pt x="5648801" y="171926"/>
                    <a:pt x="5648801" y="166211"/>
                    <a:pt x="5647849" y="159544"/>
                  </a:cubicBezTo>
                  <a:cubicBezTo>
                    <a:pt x="5647849" y="153829"/>
                    <a:pt x="5646896" y="148114"/>
                    <a:pt x="5646896" y="142399"/>
                  </a:cubicBezTo>
                  <a:cubicBezTo>
                    <a:pt x="5645944" y="131921"/>
                    <a:pt x="5644992" y="122396"/>
                    <a:pt x="5645944" y="114776"/>
                  </a:cubicBezTo>
                  <a:cubicBezTo>
                    <a:pt x="5645944" y="99536"/>
                    <a:pt x="5644992" y="90011"/>
                    <a:pt x="5644992" y="90011"/>
                  </a:cubicBezTo>
                  <a:cubicBezTo>
                    <a:pt x="5644992" y="90011"/>
                    <a:pt x="5644039" y="98584"/>
                    <a:pt x="5641181" y="113824"/>
                  </a:cubicBezTo>
                  <a:cubicBezTo>
                    <a:pt x="5640229" y="121444"/>
                    <a:pt x="5639276" y="130969"/>
                    <a:pt x="5639276" y="141446"/>
                  </a:cubicBezTo>
                  <a:cubicBezTo>
                    <a:pt x="5639276" y="147161"/>
                    <a:pt x="5638324" y="152876"/>
                    <a:pt x="5638324" y="158591"/>
                  </a:cubicBezTo>
                  <a:cubicBezTo>
                    <a:pt x="5638324" y="164306"/>
                    <a:pt x="5638324" y="170974"/>
                    <a:pt x="5638324" y="177641"/>
                  </a:cubicBezTo>
                  <a:cubicBezTo>
                    <a:pt x="5638324" y="186214"/>
                    <a:pt x="5638324" y="195739"/>
                    <a:pt x="5639276" y="205264"/>
                  </a:cubicBezTo>
                  <a:cubicBezTo>
                    <a:pt x="5638324" y="206216"/>
                    <a:pt x="5638324" y="207169"/>
                    <a:pt x="5637371" y="208121"/>
                  </a:cubicBezTo>
                  <a:cubicBezTo>
                    <a:pt x="5637371" y="208121"/>
                    <a:pt x="5636419" y="209074"/>
                    <a:pt x="5636419" y="209074"/>
                  </a:cubicBezTo>
                  <a:cubicBezTo>
                    <a:pt x="5636419" y="208121"/>
                    <a:pt x="5636419" y="208121"/>
                    <a:pt x="5636419" y="208121"/>
                  </a:cubicBezTo>
                  <a:cubicBezTo>
                    <a:pt x="5636419" y="208121"/>
                    <a:pt x="5636419" y="208121"/>
                    <a:pt x="5636419" y="209074"/>
                  </a:cubicBezTo>
                  <a:cubicBezTo>
                    <a:pt x="5635467" y="210979"/>
                    <a:pt x="5633562" y="212884"/>
                    <a:pt x="5631656" y="215741"/>
                  </a:cubicBezTo>
                  <a:cubicBezTo>
                    <a:pt x="5628799" y="201454"/>
                    <a:pt x="5626894" y="192881"/>
                    <a:pt x="5626894" y="192881"/>
                  </a:cubicBezTo>
                  <a:cubicBezTo>
                    <a:pt x="5626894" y="192881"/>
                    <a:pt x="5626894" y="204311"/>
                    <a:pt x="5626894" y="222409"/>
                  </a:cubicBezTo>
                  <a:cubicBezTo>
                    <a:pt x="5626894" y="222409"/>
                    <a:pt x="5626894" y="222409"/>
                    <a:pt x="5626894" y="223361"/>
                  </a:cubicBezTo>
                  <a:cubicBezTo>
                    <a:pt x="5624037" y="219551"/>
                    <a:pt x="5621179" y="215741"/>
                    <a:pt x="5618321" y="211931"/>
                  </a:cubicBezTo>
                  <a:cubicBezTo>
                    <a:pt x="5608796" y="199549"/>
                    <a:pt x="5601176" y="189071"/>
                    <a:pt x="5593556" y="181451"/>
                  </a:cubicBezTo>
                  <a:cubicBezTo>
                    <a:pt x="5579269" y="165259"/>
                    <a:pt x="5570696" y="155734"/>
                    <a:pt x="5570696" y="155734"/>
                  </a:cubicBezTo>
                  <a:cubicBezTo>
                    <a:pt x="5570696" y="155734"/>
                    <a:pt x="5577364" y="166211"/>
                    <a:pt x="5590699" y="184309"/>
                  </a:cubicBezTo>
                  <a:cubicBezTo>
                    <a:pt x="5597367" y="192881"/>
                    <a:pt x="5604034" y="204311"/>
                    <a:pt x="5612606" y="217646"/>
                  </a:cubicBezTo>
                  <a:cubicBezTo>
                    <a:pt x="5613559" y="219551"/>
                    <a:pt x="5614512" y="221456"/>
                    <a:pt x="5616417" y="223361"/>
                  </a:cubicBezTo>
                  <a:cubicBezTo>
                    <a:pt x="5617369" y="226219"/>
                    <a:pt x="5618321" y="230029"/>
                    <a:pt x="5620226" y="233839"/>
                  </a:cubicBezTo>
                  <a:cubicBezTo>
                    <a:pt x="5620226" y="233839"/>
                    <a:pt x="5620226" y="233839"/>
                    <a:pt x="5620226" y="234791"/>
                  </a:cubicBezTo>
                  <a:cubicBezTo>
                    <a:pt x="5619274" y="236696"/>
                    <a:pt x="5618321" y="238601"/>
                    <a:pt x="5616417" y="241459"/>
                  </a:cubicBezTo>
                  <a:cubicBezTo>
                    <a:pt x="5616417" y="241459"/>
                    <a:pt x="5616417" y="240506"/>
                    <a:pt x="5616417" y="240506"/>
                  </a:cubicBezTo>
                  <a:cubicBezTo>
                    <a:pt x="5616417" y="240506"/>
                    <a:pt x="5616417" y="240506"/>
                    <a:pt x="5616417" y="241459"/>
                  </a:cubicBezTo>
                  <a:cubicBezTo>
                    <a:pt x="5615464" y="242411"/>
                    <a:pt x="5614512" y="244316"/>
                    <a:pt x="5614512" y="245269"/>
                  </a:cubicBezTo>
                  <a:cubicBezTo>
                    <a:pt x="5608796" y="255746"/>
                    <a:pt x="5602129" y="267176"/>
                    <a:pt x="5594509" y="280511"/>
                  </a:cubicBezTo>
                  <a:cubicBezTo>
                    <a:pt x="5594509" y="278606"/>
                    <a:pt x="5594509" y="277654"/>
                    <a:pt x="5594509" y="275749"/>
                  </a:cubicBezTo>
                  <a:cubicBezTo>
                    <a:pt x="5594509" y="272891"/>
                    <a:pt x="5594509" y="270986"/>
                    <a:pt x="5594509" y="268129"/>
                  </a:cubicBezTo>
                  <a:cubicBezTo>
                    <a:pt x="5595462" y="260509"/>
                    <a:pt x="5596414" y="256699"/>
                    <a:pt x="5596414" y="256699"/>
                  </a:cubicBezTo>
                  <a:cubicBezTo>
                    <a:pt x="5596414" y="256699"/>
                    <a:pt x="5595462" y="258604"/>
                    <a:pt x="5594509" y="263366"/>
                  </a:cubicBezTo>
                  <a:cubicBezTo>
                    <a:pt x="5594509" y="263366"/>
                    <a:pt x="5594509" y="262414"/>
                    <a:pt x="5594509" y="262414"/>
                  </a:cubicBezTo>
                  <a:cubicBezTo>
                    <a:pt x="5593556" y="257651"/>
                    <a:pt x="5593556" y="253841"/>
                    <a:pt x="5592604" y="250031"/>
                  </a:cubicBezTo>
                  <a:cubicBezTo>
                    <a:pt x="5591651" y="243364"/>
                    <a:pt x="5590699" y="238601"/>
                    <a:pt x="5590699" y="232886"/>
                  </a:cubicBezTo>
                  <a:cubicBezTo>
                    <a:pt x="5594509" y="223361"/>
                    <a:pt x="5596414" y="217646"/>
                    <a:pt x="5596414" y="217646"/>
                  </a:cubicBezTo>
                  <a:cubicBezTo>
                    <a:pt x="5596414" y="217646"/>
                    <a:pt x="5593556" y="221456"/>
                    <a:pt x="5589746" y="230029"/>
                  </a:cubicBezTo>
                  <a:cubicBezTo>
                    <a:pt x="5589746" y="230029"/>
                    <a:pt x="5589746" y="230029"/>
                    <a:pt x="5589746" y="230029"/>
                  </a:cubicBezTo>
                  <a:cubicBezTo>
                    <a:pt x="5587842" y="218599"/>
                    <a:pt x="5586889" y="211931"/>
                    <a:pt x="5586889" y="211931"/>
                  </a:cubicBezTo>
                  <a:cubicBezTo>
                    <a:pt x="5586889" y="211931"/>
                    <a:pt x="5585937" y="218599"/>
                    <a:pt x="5585937" y="230029"/>
                  </a:cubicBezTo>
                  <a:cubicBezTo>
                    <a:pt x="5585937" y="230029"/>
                    <a:pt x="5585937" y="230981"/>
                    <a:pt x="5585937" y="230981"/>
                  </a:cubicBezTo>
                  <a:cubicBezTo>
                    <a:pt x="5584984" y="225266"/>
                    <a:pt x="5584031" y="219551"/>
                    <a:pt x="5583079" y="213836"/>
                  </a:cubicBezTo>
                  <a:cubicBezTo>
                    <a:pt x="5583079" y="223361"/>
                    <a:pt x="5583079" y="232886"/>
                    <a:pt x="5583079" y="242411"/>
                  </a:cubicBezTo>
                  <a:cubicBezTo>
                    <a:pt x="5582126" y="243364"/>
                    <a:pt x="5582126" y="245269"/>
                    <a:pt x="5581174" y="246221"/>
                  </a:cubicBezTo>
                  <a:cubicBezTo>
                    <a:pt x="5580221" y="247174"/>
                    <a:pt x="5579269" y="249079"/>
                    <a:pt x="5579269" y="250031"/>
                  </a:cubicBezTo>
                  <a:cubicBezTo>
                    <a:pt x="5576412" y="235744"/>
                    <a:pt x="5574506" y="221456"/>
                    <a:pt x="5571649" y="209074"/>
                  </a:cubicBezTo>
                  <a:cubicBezTo>
                    <a:pt x="5570696" y="202406"/>
                    <a:pt x="5568792" y="194786"/>
                    <a:pt x="5567839" y="189071"/>
                  </a:cubicBezTo>
                  <a:cubicBezTo>
                    <a:pt x="5565934" y="182404"/>
                    <a:pt x="5564981" y="176689"/>
                    <a:pt x="5563076" y="170974"/>
                  </a:cubicBezTo>
                  <a:cubicBezTo>
                    <a:pt x="5560219" y="159544"/>
                    <a:pt x="5557362" y="150019"/>
                    <a:pt x="5555456" y="141446"/>
                  </a:cubicBezTo>
                  <a:cubicBezTo>
                    <a:pt x="5550694" y="125254"/>
                    <a:pt x="5548789" y="115729"/>
                    <a:pt x="5548789" y="115729"/>
                  </a:cubicBezTo>
                  <a:cubicBezTo>
                    <a:pt x="5548789" y="115729"/>
                    <a:pt x="5549742" y="125254"/>
                    <a:pt x="5551646" y="142399"/>
                  </a:cubicBezTo>
                  <a:cubicBezTo>
                    <a:pt x="5552599" y="150971"/>
                    <a:pt x="5554504" y="160496"/>
                    <a:pt x="5555456" y="172879"/>
                  </a:cubicBezTo>
                  <a:cubicBezTo>
                    <a:pt x="5556409" y="178594"/>
                    <a:pt x="5557362" y="185261"/>
                    <a:pt x="5558314" y="190976"/>
                  </a:cubicBezTo>
                  <a:cubicBezTo>
                    <a:pt x="5559267" y="197644"/>
                    <a:pt x="5559267" y="204311"/>
                    <a:pt x="5560219" y="211931"/>
                  </a:cubicBezTo>
                  <a:cubicBezTo>
                    <a:pt x="5561171" y="226219"/>
                    <a:pt x="5563076" y="241459"/>
                    <a:pt x="5564981" y="257651"/>
                  </a:cubicBezTo>
                  <a:cubicBezTo>
                    <a:pt x="5565934" y="263366"/>
                    <a:pt x="5565934" y="269081"/>
                    <a:pt x="5565934" y="274796"/>
                  </a:cubicBezTo>
                  <a:cubicBezTo>
                    <a:pt x="5564981" y="275749"/>
                    <a:pt x="5564981" y="277654"/>
                    <a:pt x="5564029" y="278606"/>
                  </a:cubicBezTo>
                  <a:cubicBezTo>
                    <a:pt x="5563076" y="280511"/>
                    <a:pt x="5562124" y="282416"/>
                    <a:pt x="5561171" y="284321"/>
                  </a:cubicBezTo>
                  <a:cubicBezTo>
                    <a:pt x="5557362" y="277654"/>
                    <a:pt x="5553551" y="270034"/>
                    <a:pt x="5549742" y="264319"/>
                  </a:cubicBezTo>
                  <a:cubicBezTo>
                    <a:pt x="5549742" y="263366"/>
                    <a:pt x="5548789" y="262414"/>
                    <a:pt x="5548789" y="261461"/>
                  </a:cubicBezTo>
                  <a:cubicBezTo>
                    <a:pt x="5546884" y="255746"/>
                    <a:pt x="5545931" y="250984"/>
                    <a:pt x="5544026" y="247174"/>
                  </a:cubicBezTo>
                  <a:cubicBezTo>
                    <a:pt x="5545931" y="234791"/>
                    <a:pt x="5547837" y="228124"/>
                    <a:pt x="5547837" y="228124"/>
                  </a:cubicBezTo>
                  <a:cubicBezTo>
                    <a:pt x="5547837" y="228124"/>
                    <a:pt x="5545931" y="232886"/>
                    <a:pt x="5542121" y="241459"/>
                  </a:cubicBezTo>
                  <a:cubicBezTo>
                    <a:pt x="5542121" y="240506"/>
                    <a:pt x="5541169" y="239554"/>
                    <a:pt x="5541169" y="238601"/>
                  </a:cubicBezTo>
                  <a:cubicBezTo>
                    <a:pt x="5540217" y="235744"/>
                    <a:pt x="5539264" y="232886"/>
                    <a:pt x="5538312" y="230029"/>
                  </a:cubicBezTo>
                  <a:cubicBezTo>
                    <a:pt x="5546884" y="192881"/>
                    <a:pt x="5551646" y="167164"/>
                    <a:pt x="5551646" y="167164"/>
                  </a:cubicBezTo>
                  <a:cubicBezTo>
                    <a:pt x="5551646" y="167164"/>
                    <a:pt x="5542121" y="190024"/>
                    <a:pt x="5528787" y="225266"/>
                  </a:cubicBezTo>
                  <a:cubicBezTo>
                    <a:pt x="5526881" y="221456"/>
                    <a:pt x="5524976" y="219551"/>
                    <a:pt x="5524976" y="217646"/>
                  </a:cubicBezTo>
                  <a:cubicBezTo>
                    <a:pt x="5524024" y="213836"/>
                    <a:pt x="5524024" y="210026"/>
                    <a:pt x="5524024" y="207169"/>
                  </a:cubicBezTo>
                  <a:cubicBezTo>
                    <a:pt x="5522119" y="192881"/>
                    <a:pt x="5521167" y="185261"/>
                    <a:pt x="5521167" y="185261"/>
                  </a:cubicBezTo>
                  <a:cubicBezTo>
                    <a:pt x="5521167" y="185261"/>
                    <a:pt x="5521167" y="192881"/>
                    <a:pt x="5520214" y="207169"/>
                  </a:cubicBezTo>
                  <a:cubicBezTo>
                    <a:pt x="5520214" y="213836"/>
                    <a:pt x="5520214" y="222409"/>
                    <a:pt x="5520214" y="232886"/>
                  </a:cubicBezTo>
                  <a:cubicBezTo>
                    <a:pt x="5520214" y="237649"/>
                    <a:pt x="5520214" y="243364"/>
                    <a:pt x="5520214" y="248126"/>
                  </a:cubicBezTo>
                  <a:cubicBezTo>
                    <a:pt x="5520214" y="249079"/>
                    <a:pt x="5520214" y="250031"/>
                    <a:pt x="5520214" y="250984"/>
                  </a:cubicBezTo>
                  <a:cubicBezTo>
                    <a:pt x="5515451" y="264319"/>
                    <a:pt x="5510689" y="277654"/>
                    <a:pt x="5505926" y="291941"/>
                  </a:cubicBezTo>
                  <a:cubicBezTo>
                    <a:pt x="5504974" y="294799"/>
                    <a:pt x="5504021" y="297656"/>
                    <a:pt x="5503069" y="300514"/>
                  </a:cubicBezTo>
                  <a:cubicBezTo>
                    <a:pt x="5501164" y="297656"/>
                    <a:pt x="5500212" y="293846"/>
                    <a:pt x="5498306" y="290989"/>
                  </a:cubicBezTo>
                  <a:cubicBezTo>
                    <a:pt x="5498306" y="289084"/>
                    <a:pt x="5498306" y="287179"/>
                    <a:pt x="5498306" y="285274"/>
                  </a:cubicBezTo>
                  <a:cubicBezTo>
                    <a:pt x="5499259" y="274796"/>
                    <a:pt x="5499259" y="269081"/>
                    <a:pt x="5499259" y="269081"/>
                  </a:cubicBezTo>
                  <a:cubicBezTo>
                    <a:pt x="5499259" y="269081"/>
                    <a:pt x="5497354" y="274796"/>
                    <a:pt x="5494496" y="284321"/>
                  </a:cubicBezTo>
                  <a:cubicBezTo>
                    <a:pt x="5489734" y="273844"/>
                    <a:pt x="5484971" y="265271"/>
                    <a:pt x="5481162" y="257651"/>
                  </a:cubicBezTo>
                  <a:cubicBezTo>
                    <a:pt x="5482114" y="255746"/>
                    <a:pt x="5482114" y="253841"/>
                    <a:pt x="5483067" y="251936"/>
                  </a:cubicBezTo>
                  <a:cubicBezTo>
                    <a:pt x="5486876" y="241459"/>
                    <a:pt x="5489734" y="231934"/>
                    <a:pt x="5492592" y="224314"/>
                  </a:cubicBezTo>
                  <a:cubicBezTo>
                    <a:pt x="5497354" y="209074"/>
                    <a:pt x="5500212" y="200501"/>
                    <a:pt x="5500212" y="200501"/>
                  </a:cubicBezTo>
                  <a:cubicBezTo>
                    <a:pt x="5500212" y="200501"/>
                    <a:pt x="5498306" y="205264"/>
                    <a:pt x="5493544" y="212884"/>
                  </a:cubicBezTo>
                  <a:cubicBezTo>
                    <a:pt x="5496401" y="203359"/>
                    <a:pt x="5500212" y="194786"/>
                    <a:pt x="5502117" y="188119"/>
                  </a:cubicBezTo>
                  <a:cubicBezTo>
                    <a:pt x="5507831" y="170974"/>
                    <a:pt x="5511642" y="160496"/>
                    <a:pt x="5511642" y="160496"/>
                  </a:cubicBezTo>
                  <a:cubicBezTo>
                    <a:pt x="5511642" y="160496"/>
                    <a:pt x="5506879" y="170021"/>
                    <a:pt x="5498306" y="186214"/>
                  </a:cubicBezTo>
                  <a:cubicBezTo>
                    <a:pt x="5494496" y="194786"/>
                    <a:pt x="5489734" y="204311"/>
                    <a:pt x="5484019" y="215741"/>
                  </a:cubicBezTo>
                  <a:cubicBezTo>
                    <a:pt x="5481162" y="221456"/>
                    <a:pt x="5478304" y="227171"/>
                    <a:pt x="5475446" y="233839"/>
                  </a:cubicBezTo>
                  <a:cubicBezTo>
                    <a:pt x="5474494" y="236696"/>
                    <a:pt x="5473542" y="238601"/>
                    <a:pt x="5472589" y="241459"/>
                  </a:cubicBezTo>
                  <a:cubicBezTo>
                    <a:pt x="5465921" y="228124"/>
                    <a:pt x="5461159" y="221456"/>
                    <a:pt x="5461159" y="221456"/>
                  </a:cubicBezTo>
                  <a:cubicBezTo>
                    <a:pt x="5461159" y="221456"/>
                    <a:pt x="5464017" y="231934"/>
                    <a:pt x="5469731" y="248126"/>
                  </a:cubicBezTo>
                  <a:cubicBezTo>
                    <a:pt x="5468779" y="250031"/>
                    <a:pt x="5467826" y="252889"/>
                    <a:pt x="5466874" y="254794"/>
                  </a:cubicBezTo>
                  <a:cubicBezTo>
                    <a:pt x="5466874" y="255746"/>
                    <a:pt x="5465921" y="256699"/>
                    <a:pt x="5465921" y="257651"/>
                  </a:cubicBezTo>
                  <a:cubicBezTo>
                    <a:pt x="5465921" y="257651"/>
                    <a:pt x="5464969" y="256699"/>
                    <a:pt x="5464969" y="256699"/>
                  </a:cubicBezTo>
                  <a:cubicBezTo>
                    <a:pt x="5461159" y="252889"/>
                    <a:pt x="5458301" y="249079"/>
                    <a:pt x="5455444" y="246221"/>
                  </a:cubicBezTo>
                  <a:cubicBezTo>
                    <a:pt x="5454492" y="240506"/>
                    <a:pt x="5453539" y="234791"/>
                    <a:pt x="5452587" y="230029"/>
                  </a:cubicBezTo>
                  <a:cubicBezTo>
                    <a:pt x="5451634" y="224314"/>
                    <a:pt x="5449729" y="219551"/>
                    <a:pt x="5448776" y="214789"/>
                  </a:cubicBezTo>
                  <a:cubicBezTo>
                    <a:pt x="5445919" y="205264"/>
                    <a:pt x="5444014" y="196691"/>
                    <a:pt x="5442109" y="190024"/>
                  </a:cubicBezTo>
                  <a:cubicBezTo>
                    <a:pt x="5442109" y="190024"/>
                    <a:pt x="5442109" y="190024"/>
                    <a:pt x="5442109" y="190024"/>
                  </a:cubicBezTo>
                  <a:cubicBezTo>
                    <a:pt x="5442109" y="184309"/>
                    <a:pt x="5442109" y="180499"/>
                    <a:pt x="5442109" y="180499"/>
                  </a:cubicBezTo>
                  <a:cubicBezTo>
                    <a:pt x="5442109" y="180499"/>
                    <a:pt x="5442109" y="182404"/>
                    <a:pt x="5441156" y="186214"/>
                  </a:cubicBezTo>
                  <a:cubicBezTo>
                    <a:pt x="5438299" y="174784"/>
                    <a:pt x="5436394" y="169069"/>
                    <a:pt x="5436394" y="169069"/>
                  </a:cubicBezTo>
                  <a:cubicBezTo>
                    <a:pt x="5436394" y="169069"/>
                    <a:pt x="5437346" y="176689"/>
                    <a:pt x="5438299" y="190976"/>
                  </a:cubicBezTo>
                  <a:cubicBezTo>
                    <a:pt x="5438299" y="192881"/>
                    <a:pt x="5438299" y="193834"/>
                    <a:pt x="5439251" y="195739"/>
                  </a:cubicBezTo>
                  <a:cubicBezTo>
                    <a:pt x="5437346" y="203359"/>
                    <a:pt x="5435442" y="212884"/>
                    <a:pt x="5433537" y="225266"/>
                  </a:cubicBezTo>
                  <a:cubicBezTo>
                    <a:pt x="5430679" y="223361"/>
                    <a:pt x="5429726" y="221456"/>
                    <a:pt x="5429726" y="221456"/>
                  </a:cubicBezTo>
                  <a:cubicBezTo>
                    <a:pt x="5429726" y="221456"/>
                    <a:pt x="5430679" y="223361"/>
                    <a:pt x="5433537" y="225266"/>
                  </a:cubicBezTo>
                  <a:cubicBezTo>
                    <a:pt x="5432584" y="230029"/>
                    <a:pt x="5431631" y="235744"/>
                    <a:pt x="5430679" y="240506"/>
                  </a:cubicBezTo>
                  <a:cubicBezTo>
                    <a:pt x="5429726" y="232886"/>
                    <a:pt x="5428774" y="228124"/>
                    <a:pt x="5428774" y="228124"/>
                  </a:cubicBezTo>
                  <a:cubicBezTo>
                    <a:pt x="5428774" y="228124"/>
                    <a:pt x="5428774" y="232886"/>
                    <a:pt x="5428774" y="242411"/>
                  </a:cubicBezTo>
                  <a:cubicBezTo>
                    <a:pt x="5426869" y="234791"/>
                    <a:pt x="5425917" y="228124"/>
                    <a:pt x="5424012" y="222409"/>
                  </a:cubicBezTo>
                  <a:cubicBezTo>
                    <a:pt x="5421154" y="208121"/>
                    <a:pt x="5419249" y="200501"/>
                    <a:pt x="5419249" y="200501"/>
                  </a:cubicBezTo>
                  <a:cubicBezTo>
                    <a:pt x="5419249" y="200501"/>
                    <a:pt x="5419249" y="209074"/>
                    <a:pt x="5420201" y="223361"/>
                  </a:cubicBezTo>
                  <a:cubicBezTo>
                    <a:pt x="5421154" y="235744"/>
                    <a:pt x="5422106" y="253841"/>
                    <a:pt x="5424964" y="274796"/>
                  </a:cubicBezTo>
                  <a:cubicBezTo>
                    <a:pt x="5424012" y="282416"/>
                    <a:pt x="5422106" y="290989"/>
                    <a:pt x="5420201" y="299561"/>
                  </a:cubicBezTo>
                  <a:cubicBezTo>
                    <a:pt x="5419249" y="301466"/>
                    <a:pt x="5419249" y="303371"/>
                    <a:pt x="5418296" y="305276"/>
                  </a:cubicBezTo>
                  <a:cubicBezTo>
                    <a:pt x="5417344" y="302419"/>
                    <a:pt x="5416392" y="300514"/>
                    <a:pt x="5415439" y="298609"/>
                  </a:cubicBezTo>
                  <a:cubicBezTo>
                    <a:pt x="5416392" y="294799"/>
                    <a:pt x="5417344" y="291941"/>
                    <a:pt x="5417344" y="291941"/>
                  </a:cubicBezTo>
                  <a:cubicBezTo>
                    <a:pt x="5417344" y="291941"/>
                    <a:pt x="5416392" y="293846"/>
                    <a:pt x="5414487" y="296704"/>
                  </a:cubicBezTo>
                  <a:cubicBezTo>
                    <a:pt x="5414487" y="296704"/>
                    <a:pt x="5414487" y="295751"/>
                    <a:pt x="5414487" y="295751"/>
                  </a:cubicBezTo>
                  <a:cubicBezTo>
                    <a:pt x="5413534" y="292894"/>
                    <a:pt x="5412581" y="290036"/>
                    <a:pt x="5411629" y="287179"/>
                  </a:cubicBezTo>
                  <a:cubicBezTo>
                    <a:pt x="5413534" y="274796"/>
                    <a:pt x="5414487" y="268129"/>
                    <a:pt x="5414487" y="268129"/>
                  </a:cubicBezTo>
                  <a:cubicBezTo>
                    <a:pt x="5414487" y="268129"/>
                    <a:pt x="5412581" y="272891"/>
                    <a:pt x="5409724" y="282416"/>
                  </a:cubicBezTo>
                  <a:cubicBezTo>
                    <a:pt x="5407819" y="276701"/>
                    <a:pt x="5405914" y="271939"/>
                    <a:pt x="5404009" y="267176"/>
                  </a:cubicBezTo>
                  <a:cubicBezTo>
                    <a:pt x="5402104" y="262414"/>
                    <a:pt x="5401151" y="258604"/>
                    <a:pt x="5399246" y="253841"/>
                  </a:cubicBezTo>
                  <a:cubicBezTo>
                    <a:pt x="5400199" y="240506"/>
                    <a:pt x="5400199" y="232886"/>
                    <a:pt x="5400199" y="232886"/>
                  </a:cubicBezTo>
                  <a:cubicBezTo>
                    <a:pt x="5400199" y="232886"/>
                    <a:pt x="5399246" y="237649"/>
                    <a:pt x="5396389" y="247174"/>
                  </a:cubicBezTo>
                  <a:cubicBezTo>
                    <a:pt x="5396389" y="246221"/>
                    <a:pt x="5395437" y="245269"/>
                    <a:pt x="5395437" y="244316"/>
                  </a:cubicBezTo>
                  <a:cubicBezTo>
                    <a:pt x="5390674" y="231934"/>
                    <a:pt x="5387817" y="224314"/>
                    <a:pt x="5387817" y="224314"/>
                  </a:cubicBezTo>
                  <a:cubicBezTo>
                    <a:pt x="5387817" y="224314"/>
                    <a:pt x="5388769" y="231934"/>
                    <a:pt x="5391626" y="245269"/>
                  </a:cubicBezTo>
                  <a:cubicBezTo>
                    <a:pt x="5392579" y="249079"/>
                    <a:pt x="5393531" y="252889"/>
                    <a:pt x="5394484" y="257651"/>
                  </a:cubicBezTo>
                  <a:cubicBezTo>
                    <a:pt x="5391626" y="269081"/>
                    <a:pt x="5388769" y="283369"/>
                    <a:pt x="5384959" y="300514"/>
                  </a:cubicBezTo>
                  <a:cubicBezTo>
                    <a:pt x="5384959" y="299561"/>
                    <a:pt x="5384959" y="298609"/>
                    <a:pt x="5384006" y="297656"/>
                  </a:cubicBezTo>
                  <a:cubicBezTo>
                    <a:pt x="5383054" y="288131"/>
                    <a:pt x="5382101" y="283369"/>
                    <a:pt x="5382101" y="283369"/>
                  </a:cubicBezTo>
                  <a:cubicBezTo>
                    <a:pt x="5382101" y="283369"/>
                    <a:pt x="5382101" y="284321"/>
                    <a:pt x="5382101" y="287179"/>
                  </a:cubicBezTo>
                  <a:cubicBezTo>
                    <a:pt x="5381149" y="283369"/>
                    <a:pt x="5380196" y="280511"/>
                    <a:pt x="5380196" y="276701"/>
                  </a:cubicBezTo>
                  <a:cubicBezTo>
                    <a:pt x="5380196" y="275749"/>
                    <a:pt x="5379244" y="273844"/>
                    <a:pt x="5379244" y="272891"/>
                  </a:cubicBezTo>
                  <a:cubicBezTo>
                    <a:pt x="5380196" y="270986"/>
                    <a:pt x="5380196" y="269081"/>
                    <a:pt x="5380196" y="269081"/>
                  </a:cubicBezTo>
                  <a:cubicBezTo>
                    <a:pt x="5380196" y="269081"/>
                    <a:pt x="5380196" y="270034"/>
                    <a:pt x="5379244" y="271939"/>
                  </a:cubicBezTo>
                  <a:cubicBezTo>
                    <a:pt x="5376387" y="260509"/>
                    <a:pt x="5374481" y="250984"/>
                    <a:pt x="5372576" y="241459"/>
                  </a:cubicBezTo>
                  <a:cubicBezTo>
                    <a:pt x="5372576" y="238601"/>
                    <a:pt x="5372576" y="235744"/>
                    <a:pt x="5373529" y="232886"/>
                  </a:cubicBezTo>
                  <a:cubicBezTo>
                    <a:pt x="5374481" y="217646"/>
                    <a:pt x="5376387" y="203359"/>
                    <a:pt x="5378292" y="190024"/>
                  </a:cubicBezTo>
                  <a:cubicBezTo>
                    <a:pt x="5379244" y="176689"/>
                    <a:pt x="5382101" y="165259"/>
                    <a:pt x="5384006" y="153829"/>
                  </a:cubicBezTo>
                  <a:cubicBezTo>
                    <a:pt x="5384959" y="148114"/>
                    <a:pt x="5385912" y="143351"/>
                    <a:pt x="5386864" y="138589"/>
                  </a:cubicBezTo>
                  <a:cubicBezTo>
                    <a:pt x="5387817" y="133826"/>
                    <a:pt x="5388769" y="130016"/>
                    <a:pt x="5389721" y="126206"/>
                  </a:cubicBezTo>
                  <a:cubicBezTo>
                    <a:pt x="5392579" y="110966"/>
                    <a:pt x="5394484" y="102394"/>
                    <a:pt x="5394484" y="102394"/>
                  </a:cubicBezTo>
                  <a:cubicBezTo>
                    <a:pt x="5394484" y="102394"/>
                    <a:pt x="5391626" y="110966"/>
                    <a:pt x="5385912" y="125254"/>
                  </a:cubicBezTo>
                  <a:cubicBezTo>
                    <a:pt x="5384959" y="129064"/>
                    <a:pt x="5383054" y="132874"/>
                    <a:pt x="5381149" y="137636"/>
                  </a:cubicBezTo>
                  <a:cubicBezTo>
                    <a:pt x="5379244" y="142399"/>
                    <a:pt x="5378292" y="147161"/>
                    <a:pt x="5376387" y="151924"/>
                  </a:cubicBezTo>
                  <a:cubicBezTo>
                    <a:pt x="5373529" y="162401"/>
                    <a:pt x="5369719" y="174784"/>
                    <a:pt x="5366862" y="188119"/>
                  </a:cubicBezTo>
                  <a:cubicBezTo>
                    <a:pt x="5365909" y="193834"/>
                    <a:pt x="5364004" y="199549"/>
                    <a:pt x="5363051" y="205264"/>
                  </a:cubicBezTo>
                  <a:cubicBezTo>
                    <a:pt x="5361146" y="199549"/>
                    <a:pt x="5360194" y="196691"/>
                    <a:pt x="5360194" y="196691"/>
                  </a:cubicBezTo>
                  <a:cubicBezTo>
                    <a:pt x="5360194" y="196691"/>
                    <a:pt x="5361146" y="201454"/>
                    <a:pt x="5361146" y="210979"/>
                  </a:cubicBezTo>
                  <a:cubicBezTo>
                    <a:pt x="5360194" y="217646"/>
                    <a:pt x="5358289" y="224314"/>
                    <a:pt x="5357337" y="230981"/>
                  </a:cubicBezTo>
                  <a:cubicBezTo>
                    <a:pt x="5356384" y="235744"/>
                    <a:pt x="5355431" y="240506"/>
                    <a:pt x="5355431" y="245269"/>
                  </a:cubicBezTo>
                  <a:cubicBezTo>
                    <a:pt x="5355431" y="241459"/>
                    <a:pt x="5354479" y="238601"/>
                    <a:pt x="5354479" y="235744"/>
                  </a:cubicBezTo>
                  <a:cubicBezTo>
                    <a:pt x="5354479" y="233839"/>
                    <a:pt x="5354479" y="231934"/>
                    <a:pt x="5354479" y="230029"/>
                  </a:cubicBezTo>
                  <a:cubicBezTo>
                    <a:pt x="5355431" y="217646"/>
                    <a:pt x="5355431" y="210979"/>
                    <a:pt x="5355431" y="210979"/>
                  </a:cubicBezTo>
                  <a:cubicBezTo>
                    <a:pt x="5355431" y="210979"/>
                    <a:pt x="5354479" y="214789"/>
                    <a:pt x="5352574" y="222409"/>
                  </a:cubicBezTo>
                  <a:cubicBezTo>
                    <a:pt x="5350669" y="210026"/>
                    <a:pt x="5348764" y="199549"/>
                    <a:pt x="5347812" y="190024"/>
                  </a:cubicBezTo>
                  <a:cubicBezTo>
                    <a:pt x="5347812" y="186214"/>
                    <a:pt x="5347812" y="182404"/>
                    <a:pt x="5347812" y="179546"/>
                  </a:cubicBezTo>
                  <a:cubicBezTo>
                    <a:pt x="5347812" y="167164"/>
                    <a:pt x="5347812" y="160496"/>
                    <a:pt x="5347812" y="160496"/>
                  </a:cubicBezTo>
                  <a:cubicBezTo>
                    <a:pt x="5347812" y="160496"/>
                    <a:pt x="5346859" y="165259"/>
                    <a:pt x="5344954" y="173831"/>
                  </a:cubicBezTo>
                  <a:cubicBezTo>
                    <a:pt x="5342096" y="158591"/>
                    <a:pt x="5341144" y="150019"/>
                    <a:pt x="5341144" y="150019"/>
                  </a:cubicBezTo>
                  <a:cubicBezTo>
                    <a:pt x="5341144" y="150019"/>
                    <a:pt x="5341144" y="160496"/>
                    <a:pt x="5342096" y="177641"/>
                  </a:cubicBezTo>
                  <a:cubicBezTo>
                    <a:pt x="5342096" y="180499"/>
                    <a:pt x="5342096" y="184309"/>
                    <a:pt x="5342096" y="187166"/>
                  </a:cubicBezTo>
                  <a:cubicBezTo>
                    <a:pt x="5341144" y="190976"/>
                    <a:pt x="5341144" y="195739"/>
                    <a:pt x="5340192" y="200501"/>
                  </a:cubicBezTo>
                  <a:cubicBezTo>
                    <a:pt x="5339239" y="209074"/>
                    <a:pt x="5337334" y="218599"/>
                    <a:pt x="5337334" y="229076"/>
                  </a:cubicBezTo>
                  <a:cubicBezTo>
                    <a:pt x="5337334" y="239554"/>
                    <a:pt x="5336381" y="250984"/>
                    <a:pt x="5336381" y="263366"/>
                  </a:cubicBezTo>
                  <a:cubicBezTo>
                    <a:pt x="5336381" y="269081"/>
                    <a:pt x="5336381" y="275749"/>
                    <a:pt x="5336381" y="282416"/>
                  </a:cubicBezTo>
                  <a:cubicBezTo>
                    <a:pt x="5336381" y="282416"/>
                    <a:pt x="5336381" y="282416"/>
                    <a:pt x="5336381" y="282416"/>
                  </a:cubicBezTo>
                  <a:cubicBezTo>
                    <a:pt x="5335429" y="286226"/>
                    <a:pt x="5334476" y="290036"/>
                    <a:pt x="5333524" y="293846"/>
                  </a:cubicBezTo>
                  <a:cubicBezTo>
                    <a:pt x="5333524" y="292894"/>
                    <a:pt x="5332571" y="291941"/>
                    <a:pt x="5332571" y="291941"/>
                  </a:cubicBezTo>
                  <a:cubicBezTo>
                    <a:pt x="5330667" y="287179"/>
                    <a:pt x="5329714" y="282416"/>
                    <a:pt x="5327809" y="278606"/>
                  </a:cubicBezTo>
                  <a:cubicBezTo>
                    <a:pt x="5323999" y="269081"/>
                    <a:pt x="5321142" y="259556"/>
                    <a:pt x="5319237" y="252889"/>
                  </a:cubicBezTo>
                  <a:cubicBezTo>
                    <a:pt x="5313521" y="238601"/>
                    <a:pt x="5310664" y="230029"/>
                    <a:pt x="5310664" y="230029"/>
                  </a:cubicBezTo>
                  <a:cubicBezTo>
                    <a:pt x="5310664" y="230029"/>
                    <a:pt x="5312569" y="238601"/>
                    <a:pt x="5315426" y="253841"/>
                  </a:cubicBezTo>
                  <a:cubicBezTo>
                    <a:pt x="5316379" y="257651"/>
                    <a:pt x="5317331" y="262414"/>
                    <a:pt x="5318284" y="267176"/>
                  </a:cubicBezTo>
                  <a:cubicBezTo>
                    <a:pt x="5316379" y="264319"/>
                    <a:pt x="5315426" y="263366"/>
                    <a:pt x="5315426" y="263366"/>
                  </a:cubicBezTo>
                  <a:cubicBezTo>
                    <a:pt x="5315426" y="263366"/>
                    <a:pt x="5317331" y="268129"/>
                    <a:pt x="5320189" y="276701"/>
                  </a:cubicBezTo>
                  <a:cubicBezTo>
                    <a:pt x="5320189" y="278606"/>
                    <a:pt x="5321142" y="279559"/>
                    <a:pt x="5321142" y="281464"/>
                  </a:cubicBezTo>
                  <a:cubicBezTo>
                    <a:pt x="5322094" y="286226"/>
                    <a:pt x="5323046" y="291941"/>
                    <a:pt x="5324951" y="297656"/>
                  </a:cubicBezTo>
                  <a:cubicBezTo>
                    <a:pt x="5325904" y="300514"/>
                    <a:pt x="5326856" y="303371"/>
                    <a:pt x="5326856" y="306229"/>
                  </a:cubicBezTo>
                  <a:cubicBezTo>
                    <a:pt x="5323999" y="310991"/>
                    <a:pt x="5320189" y="316706"/>
                    <a:pt x="5316379" y="322421"/>
                  </a:cubicBezTo>
                  <a:cubicBezTo>
                    <a:pt x="5313521" y="327184"/>
                    <a:pt x="5309712" y="332899"/>
                    <a:pt x="5306854" y="338614"/>
                  </a:cubicBezTo>
                  <a:cubicBezTo>
                    <a:pt x="5303996" y="343376"/>
                    <a:pt x="5301139" y="349091"/>
                    <a:pt x="5298281" y="354806"/>
                  </a:cubicBezTo>
                  <a:cubicBezTo>
                    <a:pt x="5298281" y="350996"/>
                    <a:pt x="5298281" y="347186"/>
                    <a:pt x="5298281" y="344329"/>
                  </a:cubicBezTo>
                  <a:cubicBezTo>
                    <a:pt x="5299234" y="334804"/>
                    <a:pt x="5300187" y="326231"/>
                    <a:pt x="5301139" y="318611"/>
                  </a:cubicBezTo>
                  <a:cubicBezTo>
                    <a:pt x="5303044" y="308134"/>
                    <a:pt x="5303996" y="299561"/>
                    <a:pt x="5305901" y="291941"/>
                  </a:cubicBezTo>
                  <a:cubicBezTo>
                    <a:pt x="5309712" y="276701"/>
                    <a:pt x="5311617" y="269081"/>
                    <a:pt x="5311617" y="269081"/>
                  </a:cubicBezTo>
                  <a:cubicBezTo>
                    <a:pt x="5311617" y="269081"/>
                    <a:pt x="5307806" y="276701"/>
                    <a:pt x="5302092" y="290989"/>
                  </a:cubicBezTo>
                  <a:cubicBezTo>
                    <a:pt x="5301139" y="293846"/>
                    <a:pt x="5300187" y="295751"/>
                    <a:pt x="5299234" y="298609"/>
                  </a:cubicBezTo>
                  <a:cubicBezTo>
                    <a:pt x="5299234" y="276701"/>
                    <a:pt x="5299234" y="263366"/>
                    <a:pt x="5299234" y="263366"/>
                  </a:cubicBezTo>
                  <a:cubicBezTo>
                    <a:pt x="5299234" y="263366"/>
                    <a:pt x="5295424" y="284321"/>
                    <a:pt x="5290662" y="317659"/>
                  </a:cubicBezTo>
                  <a:cubicBezTo>
                    <a:pt x="5290662" y="315754"/>
                    <a:pt x="5289709" y="314801"/>
                    <a:pt x="5289709" y="312896"/>
                  </a:cubicBezTo>
                  <a:cubicBezTo>
                    <a:pt x="5287804" y="306229"/>
                    <a:pt x="5286851" y="300514"/>
                    <a:pt x="5284946" y="295751"/>
                  </a:cubicBezTo>
                  <a:cubicBezTo>
                    <a:pt x="5284946" y="295751"/>
                    <a:pt x="5284946" y="295751"/>
                    <a:pt x="5284946" y="295751"/>
                  </a:cubicBezTo>
                  <a:cubicBezTo>
                    <a:pt x="5284946" y="295751"/>
                    <a:pt x="5284946" y="295751"/>
                    <a:pt x="5284946" y="295751"/>
                  </a:cubicBezTo>
                  <a:cubicBezTo>
                    <a:pt x="5283994" y="291941"/>
                    <a:pt x="5283042" y="288131"/>
                    <a:pt x="5282089" y="284321"/>
                  </a:cubicBezTo>
                  <a:cubicBezTo>
                    <a:pt x="5282089" y="283369"/>
                    <a:pt x="5282089" y="283369"/>
                    <a:pt x="5281137" y="282416"/>
                  </a:cubicBezTo>
                  <a:cubicBezTo>
                    <a:pt x="5285899" y="264319"/>
                    <a:pt x="5288756" y="252889"/>
                    <a:pt x="5288756" y="252889"/>
                  </a:cubicBezTo>
                  <a:cubicBezTo>
                    <a:pt x="5288756" y="252889"/>
                    <a:pt x="5284946" y="260509"/>
                    <a:pt x="5279231" y="273844"/>
                  </a:cubicBezTo>
                  <a:cubicBezTo>
                    <a:pt x="5278279" y="269081"/>
                    <a:pt x="5276374" y="265271"/>
                    <a:pt x="5275421" y="262414"/>
                  </a:cubicBezTo>
                  <a:cubicBezTo>
                    <a:pt x="5270659" y="250031"/>
                    <a:pt x="5268754" y="243364"/>
                    <a:pt x="5268754" y="243364"/>
                  </a:cubicBezTo>
                  <a:cubicBezTo>
                    <a:pt x="5268754" y="243364"/>
                    <a:pt x="5269706" y="250031"/>
                    <a:pt x="5271612" y="262414"/>
                  </a:cubicBezTo>
                  <a:cubicBezTo>
                    <a:pt x="5272564" y="268129"/>
                    <a:pt x="5273517" y="275749"/>
                    <a:pt x="5274469" y="283369"/>
                  </a:cubicBezTo>
                  <a:cubicBezTo>
                    <a:pt x="5270659" y="290989"/>
                    <a:pt x="5266849" y="300514"/>
                    <a:pt x="5263039" y="310039"/>
                  </a:cubicBezTo>
                  <a:cubicBezTo>
                    <a:pt x="5263039" y="305276"/>
                    <a:pt x="5263039" y="302419"/>
                    <a:pt x="5263039" y="302419"/>
                  </a:cubicBezTo>
                  <a:cubicBezTo>
                    <a:pt x="5263039" y="302419"/>
                    <a:pt x="5262087" y="305276"/>
                    <a:pt x="5260181" y="310039"/>
                  </a:cubicBezTo>
                  <a:cubicBezTo>
                    <a:pt x="5260181" y="310039"/>
                    <a:pt x="5260181" y="309086"/>
                    <a:pt x="5260181" y="309086"/>
                  </a:cubicBezTo>
                  <a:cubicBezTo>
                    <a:pt x="5260181" y="306229"/>
                    <a:pt x="5260181" y="303371"/>
                    <a:pt x="5261134" y="301466"/>
                  </a:cubicBezTo>
                  <a:cubicBezTo>
                    <a:pt x="5261134" y="294799"/>
                    <a:pt x="5262087" y="289084"/>
                    <a:pt x="5262087" y="284321"/>
                  </a:cubicBezTo>
                  <a:cubicBezTo>
                    <a:pt x="5263039" y="274796"/>
                    <a:pt x="5263039" y="269081"/>
                    <a:pt x="5263039" y="269081"/>
                  </a:cubicBezTo>
                  <a:cubicBezTo>
                    <a:pt x="5263039" y="269081"/>
                    <a:pt x="5261134" y="273844"/>
                    <a:pt x="5258276" y="283369"/>
                  </a:cubicBezTo>
                  <a:cubicBezTo>
                    <a:pt x="5258276" y="284321"/>
                    <a:pt x="5257324" y="286226"/>
                    <a:pt x="5257324" y="287179"/>
                  </a:cubicBezTo>
                  <a:cubicBezTo>
                    <a:pt x="5256371" y="282416"/>
                    <a:pt x="5256371" y="277654"/>
                    <a:pt x="5255419" y="273844"/>
                  </a:cubicBezTo>
                  <a:cubicBezTo>
                    <a:pt x="5255419" y="272891"/>
                    <a:pt x="5255419" y="271939"/>
                    <a:pt x="5255419" y="271939"/>
                  </a:cubicBezTo>
                  <a:cubicBezTo>
                    <a:pt x="5255419" y="271939"/>
                    <a:pt x="5255419" y="271939"/>
                    <a:pt x="5255419" y="270986"/>
                  </a:cubicBezTo>
                  <a:cubicBezTo>
                    <a:pt x="5256371" y="268129"/>
                    <a:pt x="5256371" y="266224"/>
                    <a:pt x="5256371" y="266224"/>
                  </a:cubicBezTo>
                  <a:cubicBezTo>
                    <a:pt x="5256371" y="266224"/>
                    <a:pt x="5256371" y="267176"/>
                    <a:pt x="5255419" y="268129"/>
                  </a:cubicBezTo>
                  <a:cubicBezTo>
                    <a:pt x="5256371" y="255746"/>
                    <a:pt x="5257324" y="244316"/>
                    <a:pt x="5258276" y="232886"/>
                  </a:cubicBezTo>
                  <a:cubicBezTo>
                    <a:pt x="5262087" y="188119"/>
                    <a:pt x="5263039" y="158591"/>
                    <a:pt x="5263039" y="158591"/>
                  </a:cubicBezTo>
                  <a:cubicBezTo>
                    <a:pt x="5263039" y="158591"/>
                    <a:pt x="5258276" y="175736"/>
                    <a:pt x="5252562" y="204311"/>
                  </a:cubicBezTo>
                  <a:cubicBezTo>
                    <a:pt x="5253514" y="193834"/>
                    <a:pt x="5254467" y="183356"/>
                    <a:pt x="5255419" y="173831"/>
                  </a:cubicBezTo>
                  <a:cubicBezTo>
                    <a:pt x="5256371" y="160496"/>
                    <a:pt x="5257324" y="150019"/>
                    <a:pt x="5258276" y="140494"/>
                  </a:cubicBezTo>
                  <a:cubicBezTo>
                    <a:pt x="5260181" y="121444"/>
                    <a:pt x="5260181" y="110966"/>
                    <a:pt x="5260181" y="110966"/>
                  </a:cubicBezTo>
                  <a:cubicBezTo>
                    <a:pt x="5260181" y="110966"/>
                    <a:pt x="5257324" y="121444"/>
                    <a:pt x="5254467" y="139541"/>
                  </a:cubicBezTo>
                  <a:cubicBezTo>
                    <a:pt x="5252562" y="149066"/>
                    <a:pt x="5250656" y="159544"/>
                    <a:pt x="5247799" y="172879"/>
                  </a:cubicBezTo>
                  <a:cubicBezTo>
                    <a:pt x="5246846" y="179546"/>
                    <a:pt x="5244942" y="186214"/>
                    <a:pt x="5243989" y="192881"/>
                  </a:cubicBezTo>
                  <a:cubicBezTo>
                    <a:pt x="5243989" y="195739"/>
                    <a:pt x="5243037" y="198596"/>
                    <a:pt x="5243037" y="201454"/>
                  </a:cubicBezTo>
                  <a:cubicBezTo>
                    <a:pt x="5242084" y="197644"/>
                    <a:pt x="5241131" y="194786"/>
                    <a:pt x="5241131" y="194786"/>
                  </a:cubicBezTo>
                  <a:cubicBezTo>
                    <a:pt x="5241131" y="194786"/>
                    <a:pt x="5241131" y="199549"/>
                    <a:pt x="5241131" y="209074"/>
                  </a:cubicBezTo>
                  <a:cubicBezTo>
                    <a:pt x="5241131" y="210979"/>
                    <a:pt x="5240179" y="213836"/>
                    <a:pt x="5240179" y="215741"/>
                  </a:cubicBezTo>
                  <a:cubicBezTo>
                    <a:pt x="5239226" y="225266"/>
                    <a:pt x="5237321" y="235744"/>
                    <a:pt x="5235417" y="246221"/>
                  </a:cubicBezTo>
                  <a:cubicBezTo>
                    <a:pt x="5234464" y="248126"/>
                    <a:pt x="5232559" y="250984"/>
                    <a:pt x="5230654" y="252889"/>
                  </a:cubicBezTo>
                  <a:cubicBezTo>
                    <a:pt x="5227796" y="256699"/>
                    <a:pt x="5225892" y="261461"/>
                    <a:pt x="5222081" y="266224"/>
                  </a:cubicBezTo>
                  <a:cubicBezTo>
                    <a:pt x="5220176" y="270034"/>
                    <a:pt x="5217319" y="274796"/>
                    <a:pt x="5215414" y="279559"/>
                  </a:cubicBezTo>
                  <a:cubicBezTo>
                    <a:pt x="5215414" y="279559"/>
                    <a:pt x="5215414" y="279559"/>
                    <a:pt x="5215414" y="278606"/>
                  </a:cubicBezTo>
                  <a:cubicBezTo>
                    <a:pt x="5216367" y="276701"/>
                    <a:pt x="5216367" y="275749"/>
                    <a:pt x="5216367" y="275749"/>
                  </a:cubicBezTo>
                  <a:cubicBezTo>
                    <a:pt x="5216367" y="275749"/>
                    <a:pt x="5216367" y="276701"/>
                    <a:pt x="5215414" y="277654"/>
                  </a:cubicBezTo>
                  <a:cubicBezTo>
                    <a:pt x="5213509" y="267176"/>
                    <a:pt x="5212556" y="257651"/>
                    <a:pt x="5211604" y="249079"/>
                  </a:cubicBezTo>
                  <a:cubicBezTo>
                    <a:pt x="5210651" y="239554"/>
                    <a:pt x="5209699" y="230981"/>
                    <a:pt x="5208746" y="224314"/>
                  </a:cubicBezTo>
                  <a:cubicBezTo>
                    <a:pt x="5206842" y="210979"/>
                    <a:pt x="5205889" y="202406"/>
                    <a:pt x="5205889" y="202406"/>
                  </a:cubicBezTo>
                  <a:cubicBezTo>
                    <a:pt x="5205889" y="202406"/>
                    <a:pt x="5205889" y="210026"/>
                    <a:pt x="5204937" y="224314"/>
                  </a:cubicBezTo>
                  <a:cubicBezTo>
                    <a:pt x="5204937" y="230981"/>
                    <a:pt x="5204937" y="239554"/>
                    <a:pt x="5204937" y="249079"/>
                  </a:cubicBezTo>
                  <a:cubicBezTo>
                    <a:pt x="5204937" y="253841"/>
                    <a:pt x="5204937" y="258604"/>
                    <a:pt x="5204937" y="264319"/>
                  </a:cubicBezTo>
                  <a:cubicBezTo>
                    <a:pt x="5204937" y="270034"/>
                    <a:pt x="5204937" y="275749"/>
                    <a:pt x="5205889" y="281464"/>
                  </a:cubicBezTo>
                  <a:cubicBezTo>
                    <a:pt x="5205889" y="284321"/>
                    <a:pt x="5205889" y="286226"/>
                    <a:pt x="5205889" y="289084"/>
                  </a:cubicBezTo>
                  <a:cubicBezTo>
                    <a:pt x="5204937" y="287179"/>
                    <a:pt x="5203984" y="286226"/>
                    <a:pt x="5203984" y="286226"/>
                  </a:cubicBezTo>
                  <a:cubicBezTo>
                    <a:pt x="5203984" y="286226"/>
                    <a:pt x="5204937" y="288131"/>
                    <a:pt x="5205889" y="290989"/>
                  </a:cubicBezTo>
                  <a:cubicBezTo>
                    <a:pt x="5205889" y="290989"/>
                    <a:pt x="5205889" y="290989"/>
                    <a:pt x="5205889" y="291941"/>
                  </a:cubicBezTo>
                  <a:cubicBezTo>
                    <a:pt x="5204937" y="290036"/>
                    <a:pt x="5203984" y="289084"/>
                    <a:pt x="5203984" y="287179"/>
                  </a:cubicBezTo>
                  <a:cubicBezTo>
                    <a:pt x="5203984" y="287179"/>
                    <a:pt x="5203984" y="287179"/>
                    <a:pt x="5203984" y="287179"/>
                  </a:cubicBezTo>
                  <a:cubicBezTo>
                    <a:pt x="5203984" y="287179"/>
                    <a:pt x="5203984" y="287179"/>
                    <a:pt x="5203984" y="287179"/>
                  </a:cubicBezTo>
                  <a:cubicBezTo>
                    <a:pt x="5201126" y="281464"/>
                    <a:pt x="5199221" y="278606"/>
                    <a:pt x="5199221" y="278606"/>
                  </a:cubicBezTo>
                  <a:cubicBezTo>
                    <a:pt x="5199221" y="278606"/>
                    <a:pt x="5200174" y="283369"/>
                    <a:pt x="5202079" y="290989"/>
                  </a:cubicBezTo>
                  <a:cubicBezTo>
                    <a:pt x="5201126" y="292894"/>
                    <a:pt x="5200174" y="295751"/>
                    <a:pt x="5198269" y="300514"/>
                  </a:cubicBezTo>
                  <a:cubicBezTo>
                    <a:pt x="5197317" y="298609"/>
                    <a:pt x="5196364" y="297656"/>
                    <a:pt x="5195412" y="295751"/>
                  </a:cubicBezTo>
                  <a:cubicBezTo>
                    <a:pt x="5193506" y="284321"/>
                    <a:pt x="5192554" y="273844"/>
                    <a:pt x="5191601" y="263366"/>
                  </a:cubicBezTo>
                  <a:cubicBezTo>
                    <a:pt x="5187792" y="232886"/>
                    <a:pt x="5185887" y="208121"/>
                    <a:pt x="5184934" y="190024"/>
                  </a:cubicBezTo>
                  <a:cubicBezTo>
                    <a:pt x="5183981" y="181451"/>
                    <a:pt x="5183981" y="173831"/>
                    <a:pt x="5183981" y="169069"/>
                  </a:cubicBezTo>
                  <a:cubicBezTo>
                    <a:pt x="5183981" y="164306"/>
                    <a:pt x="5183981" y="161449"/>
                    <a:pt x="5183981" y="161449"/>
                  </a:cubicBezTo>
                  <a:cubicBezTo>
                    <a:pt x="5183981" y="161449"/>
                    <a:pt x="5183981" y="164306"/>
                    <a:pt x="5183029" y="169069"/>
                  </a:cubicBezTo>
                  <a:cubicBezTo>
                    <a:pt x="5182076" y="173831"/>
                    <a:pt x="5182076" y="180499"/>
                    <a:pt x="5181124" y="190024"/>
                  </a:cubicBezTo>
                  <a:cubicBezTo>
                    <a:pt x="5181124" y="196691"/>
                    <a:pt x="5180171" y="204311"/>
                    <a:pt x="5180171" y="211931"/>
                  </a:cubicBezTo>
                  <a:cubicBezTo>
                    <a:pt x="5179219" y="212884"/>
                    <a:pt x="5178267" y="213836"/>
                    <a:pt x="5177314" y="215741"/>
                  </a:cubicBezTo>
                  <a:cubicBezTo>
                    <a:pt x="5174456" y="219551"/>
                    <a:pt x="5170646" y="224314"/>
                    <a:pt x="5165884" y="231934"/>
                  </a:cubicBezTo>
                  <a:cubicBezTo>
                    <a:pt x="5164931" y="232886"/>
                    <a:pt x="5163979" y="234791"/>
                    <a:pt x="5163979" y="235744"/>
                  </a:cubicBezTo>
                  <a:cubicBezTo>
                    <a:pt x="5163026" y="233839"/>
                    <a:pt x="5162074" y="231934"/>
                    <a:pt x="5161121" y="230029"/>
                  </a:cubicBezTo>
                  <a:cubicBezTo>
                    <a:pt x="5161121" y="230029"/>
                    <a:pt x="5161121" y="229076"/>
                    <a:pt x="5161121" y="229076"/>
                  </a:cubicBezTo>
                  <a:cubicBezTo>
                    <a:pt x="5162074" y="222409"/>
                    <a:pt x="5162074" y="217646"/>
                    <a:pt x="5163026" y="213836"/>
                  </a:cubicBezTo>
                  <a:cubicBezTo>
                    <a:pt x="5163979" y="210026"/>
                    <a:pt x="5163979" y="208121"/>
                    <a:pt x="5163979" y="208121"/>
                  </a:cubicBezTo>
                  <a:cubicBezTo>
                    <a:pt x="5163979" y="208121"/>
                    <a:pt x="5161121" y="213836"/>
                    <a:pt x="5158264" y="224314"/>
                  </a:cubicBezTo>
                  <a:cubicBezTo>
                    <a:pt x="5157312" y="222409"/>
                    <a:pt x="5156359" y="221456"/>
                    <a:pt x="5156359" y="220504"/>
                  </a:cubicBezTo>
                  <a:cubicBezTo>
                    <a:pt x="5152549" y="213836"/>
                    <a:pt x="5149692" y="208121"/>
                    <a:pt x="5147787" y="205264"/>
                  </a:cubicBezTo>
                  <a:cubicBezTo>
                    <a:pt x="5146834" y="195739"/>
                    <a:pt x="5145881" y="186214"/>
                    <a:pt x="5144929" y="178594"/>
                  </a:cubicBezTo>
                  <a:cubicBezTo>
                    <a:pt x="5143024" y="159544"/>
                    <a:pt x="5141119" y="149066"/>
                    <a:pt x="5141119" y="149066"/>
                  </a:cubicBezTo>
                  <a:cubicBezTo>
                    <a:pt x="5141119" y="149066"/>
                    <a:pt x="5141119" y="159544"/>
                    <a:pt x="5141119" y="178594"/>
                  </a:cubicBezTo>
                  <a:cubicBezTo>
                    <a:pt x="5141119" y="197644"/>
                    <a:pt x="5141119" y="224314"/>
                    <a:pt x="5141119" y="255746"/>
                  </a:cubicBezTo>
                  <a:cubicBezTo>
                    <a:pt x="5141119" y="256699"/>
                    <a:pt x="5141119" y="257651"/>
                    <a:pt x="5141119" y="258604"/>
                  </a:cubicBezTo>
                  <a:cubicBezTo>
                    <a:pt x="5140167" y="259556"/>
                    <a:pt x="5140167" y="259556"/>
                    <a:pt x="5139214" y="260509"/>
                  </a:cubicBezTo>
                  <a:cubicBezTo>
                    <a:pt x="5138262" y="261461"/>
                    <a:pt x="5136356" y="263366"/>
                    <a:pt x="5134451" y="265271"/>
                  </a:cubicBezTo>
                  <a:cubicBezTo>
                    <a:pt x="5131594" y="216694"/>
                    <a:pt x="5128737" y="184309"/>
                    <a:pt x="5128737" y="184309"/>
                  </a:cubicBezTo>
                  <a:cubicBezTo>
                    <a:pt x="5128737" y="184309"/>
                    <a:pt x="5126831" y="204311"/>
                    <a:pt x="5124926" y="236696"/>
                  </a:cubicBezTo>
                  <a:cubicBezTo>
                    <a:pt x="5121117" y="225266"/>
                    <a:pt x="5119212" y="219551"/>
                    <a:pt x="5119212" y="219551"/>
                  </a:cubicBezTo>
                  <a:cubicBezTo>
                    <a:pt x="5119212" y="219551"/>
                    <a:pt x="5121117" y="230029"/>
                    <a:pt x="5123974" y="249079"/>
                  </a:cubicBezTo>
                  <a:cubicBezTo>
                    <a:pt x="5123974" y="251936"/>
                    <a:pt x="5123974" y="255746"/>
                    <a:pt x="5123021" y="258604"/>
                  </a:cubicBezTo>
                  <a:cubicBezTo>
                    <a:pt x="5122069" y="263366"/>
                    <a:pt x="5121117" y="270034"/>
                    <a:pt x="5120164" y="279559"/>
                  </a:cubicBezTo>
                  <a:cubicBezTo>
                    <a:pt x="5119212" y="281464"/>
                    <a:pt x="5117306" y="283369"/>
                    <a:pt x="5116354" y="285274"/>
                  </a:cubicBezTo>
                  <a:cubicBezTo>
                    <a:pt x="5113496" y="289084"/>
                    <a:pt x="5109687" y="293846"/>
                    <a:pt x="5106829" y="298609"/>
                  </a:cubicBezTo>
                  <a:cubicBezTo>
                    <a:pt x="5105876" y="299561"/>
                    <a:pt x="5104924" y="301466"/>
                    <a:pt x="5103971" y="303371"/>
                  </a:cubicBezTo>
                  <a:cubicBezTo>
                    <a:pt x="5097304" y="287179"/>
                    <a:pt x="5090637" y="272891"/>
                    <a:pt x="5085874" y="261461"/>
                  </a:cubicBezTo>
                  <a:cubicBezTo>
                    <a:pt x="5085874" y="261461"/>
                    <a:pt x="5085874" y="261461"/>
                    <a:pt x="5086826" y="261461"/>
                  </a:cubicBezTo>
                  <a:cubicBezTo>
                    <a:pt x="5089684" y="260509"/>
                    <a:pt x="5091589" y="260509"/>
                    <a:pt x="5091589" y="260509"/>
                  </a:cubicBezTo>
                  <a:cubicBezTo>
                    <a:pt x="5091589" y="260509"/>
                    <a:pt x="5089684" y="260509"/>
                    <a:pt x="5086826" y="260509"/>
                  </a:cubicBezTo>
                  <a:cubicBezTo>
                    <a:pt x="5086826" y="260509"/>
                    <a:pt x="5085874" y="260509"/>
                    <a:pt x="5085874" y="260509"/>
                  </a:cubicBezTo>
                  <a:cubicBezTo>
                    <a:pt x="5078254" y="243364"/>
                    <a:pt x="5073492" y="232886"/>
                    <a:pt x="5071587" y="230029"/>
                  </a:cubicBezTo>
                  <a:cubicBezTo>
                    <a:pt x="5071587" y="225266"/>
                    <a:pt x="5071587" y="222409"/>
                    <a:pt x="5071587" y="222409"/>
                  </a:cubicBezTo>
                  <a:cubicBezTo>
                    <a:pt x="5071587" y="222409"/>
                    <a:pt x="5070634" y="224314"/>
                    <a:pt x="5069681" y="227171"/>
                  </a:cubicBezTo>
                  <a:cubicBezTo>
                    <a:pt x="5066824" y="214789"/>
                    <a:pt x="5063967" y="203359"/>
                    <a:pt x="5062062" y="192881"/>
                  </a:cubicBezTo>
                  <a:cubicBezTo>
                    <a:pt x="5061109" y="186214"/>
                    <a:pt x="5059204" y="180499"/>
                    <a:pt x="5058251" y="174784"/>
                  </a:cubicBezTo>
                  <a:cubicBezTo>
                    <a:pt x="5057299" y="169069"/>
                    <a:pt x="5056346" y="164306"/>
                    <a:pt x="5055394" y="159544"/>
                  </a:cubicBezTo>
                  <a:cubicBezTo>
                    <a:pt x="5051584" y="140494"/>
                    <a:pt x="5049679" y="130016"/>
                    <a:pt x="5049679" y="130016"/>
                  </a:cubicBezTo>
                  <a:cubicBezTo>
                    <a:pt x="5049679" y="130016"/>
                    <a:pt x="5050631" y="140494"/>
                    <a:pt x="5050631" y="159544"/>
                  </a:cubicBezTo>
                  <a:cubicBezTo>
                    <a:pt x="5050631" y="164306"/>
                    <a:pt x="5051584" y="169069"/>
                    <a:pt x="5051584" y="174784"/>
                  </a:cubicBezTo>
                  <a:cubicBezTo>
                    <a:pt x="5052537" y="180499"/>
                    <a:pt x="5052537" y="186214"/>
                    <a:pt x="5053489" y="192881"/>
                  </a:cubicBezTo>
                  <a:cubicBezTo>
                    <a:pt x="5055394" y="206216"/>
                    <a:pt x="5056346" y="220504"/>
                    <a:pt x="5059204" y="236696"/>
                  </a:cubicBezTo>
                  <a:cubicBezTo>
                    <a:pt x="5060156" y="240506"/>
                    <a:pt x="5061109" y="245269"/>
                    <a:pt x="5061109" y="249079"/>
                  </a:cubicBezTo>
                  <a:cubicBezTo>
                    <a:pt x="5059204" y="254794"/>
                    <a:pt x="5057299" y="262414"/>
                    <a:pt x="5055394" y="270034"/>
                  </a:cubicBezTo>
                  <a:cubicBezTo>
                    <a:pt x="5054442" y="270986"/>
                    <a:pt x="5053489" y="270986"/>
                    <a:pt x="5052537" y="271939"/>
                  </a:cubicBezTo>
                  <a:cubicBezTo>
                    <a:pt x="5052537" y="271939"/>
                    <a:pt x="5052537" y="271939"/>
                    <a:pt x="5052537" y="271939"/>
                  </a:cubicBezTo>
                  <a:cubicBezTo>
                    <a:pt x="5051584" y="269081"/>
                    <a:pt x="5051584" y="267176"/>
                    <a:pt x="5051584" y="267176"/>
                  </a:cubicBezTo>
                  <a:cubicBezTo>
                    <a:pt x="5051584" y="267176"/>
                    <a:pt x="5051584" y="268129"/>
                    <a:pt x="5051584" y="269081"/>
                  </a:cubicBezTo>
                  <a:cubicBezTo>
                    <a:pt x="5050631" y="266224"/>
                    <a:pt x="5049679" y="264319"/>
                    <a:pt x="5048726" y="261461"/>
                  </a:cubicBezTo>
                  <a:cubicBezTo>
                    <a:pt x="5048726" y="261461"/>
                    <a:pt x="5048726" y="261461"/>
                    <a:pt x="5048726" y="261461"/>
                  </a:cubicBezTo>
                  <a:cubicBezTo>
                    <a:pt x="5049679" y="255746"/>
                    <a:pt x="5050631" y="252889"/>
                    <a:pt x="5050631" y="252889"/>
                  </a:cubicBezTo>
                  <a:cubicBezTo>
                    <a:pt x="5050631" y="252889"/>
                    <a:pt x="5049679" y="254794"/>
                    <a:pt x="5047774" y="259556"/>
                  </a:cubicBezTo>
                  <a:cubicBezTo>
                    <a:pt x="5043964" y="250984"/>
                    <a:pt x="5041106" y="243364"/>
                    <a:pt x="5039201" y="236696"/>
                  </a:cubicBezTo>
                  <a:cubicBezTo>
                    <a:pt x="5034439" y="222409"/>
                    <a:pt x="5031581" y="214789"/>
                    <a:pt x="5031581" y="214789"/>
                  </a:cubicBezTo>
                  <a:cubicBezTo>
                    <a:pt x="5031581" y="214789"/>
                    <a:pt x="5033487" y="223361"/>
                    <a:pt x="5035392" y="237649"/>
                  </a:cubicBezTo>
                  <a:cubicBezTo>
                    <a:pt x="5036344" y="243364"/>
                    <a:pt x="5037296" y="249079"/>
                    <a:pt x="5039201" y="256699"/>
                  </a:cubicBezTo>
                  <a:cubicBezTo>
                    <a:pt x="5038249" y="258604"/>
                    <a:pt x="5036344" y="261461"/>
                    <a:pt x="5034439" y="265271"/>
                  </a:cubicBezTo>
                  <a:cubicBezTo>
                    <a:pt x="5034439" y="264319"/>
                    <a:pt x="5034439" y="263366"/>
                    <a:pt x="5034439" y="262414"/>
                  </a:cubicBezTo>
                  <a:cubicBezTo>
                    <a:pt x="5033487" y="253841"/>
                    <a:pt x="5031581" y="247174"/>
                    <a:pt x="5030629" y="241459"/>
                  </a:cubicBezTo>
                  <a:cubicBezTo>
                    <a:pt x="5028724" y="230029"/>
                    <a:pt x="5026819" y="223361"/>
                    <a:pt x="5026819" y="223361"/>
                  </a:cubicBezTo>
                  <a:cubicBezTo>
                    <a:pt x="5026819" y="223361"/>
                    <a:pt x="5026819" y="230029"/>
                    <a:pt x="5025867" y="242411"/>
                  </a:cubicBezTo>
                  <a:cubicBezTo>
                    <a:pt x="5025867" y="248126"/>
                    <a:pt x="5025867" y="255746"/>
                    <a:pt x="5025867" y="263366"/>
                  </a:cubicBezTo>
                  <a:cubicBezTo>
                    <a:pt x="5025867" y="267176"/>
                    <a:pt x="5025867" y="271939"/>
                    <a:pt x="5025867" y="276701"/>
                  </a:cubicBezTo>
                  <a:cubicBezTo>
                    <a:pt x="5025867" y="277654"/>
                    <a:pt x="5025867" y="279559"/>
                    <a:pt x="5025867" y="281464"/>
                  </a:cubicBezTo>
                  <a:cubicBezTo>
                    <a:pt x="5020151" y="274796"/>
                    <a:pt x="5015389" y="268129"/>
                    <a:pt x="5010626" y="263366"/>
                  </a:cubicBezTo>
                  <a:cubicBezTo>
                    <a:pt x="5003006" y="255746"/>
                    <a:pt x="4998244" y="250984"/>
                    <a:pt x="4995387" y="248126"/>
                  </a:cubicBezTo>
                  <a:cubicBezTo>
                    <a:pt x="4996339" y="245269"/>
                    <a:pt x="4997292" y="243364"/>
                    <a:pt x="4997292" y="243364"/>
                  </a:cubicBezTo>
                  <a:cubicBezTo>
                    <a:pt x="4997292" y="243364"/>
                    <a:pt x="4996339" y="245269"/>
                    <a:pt x="4994434" y="248126"/>
                  </a:cubicBezTo>
                  <a:cubicBezTo>
                    <a:pt x="4993481" y="247174"/>
                    <a:pt x="4992529" y="246221"/>
                    <a:pt x="4992529" y="246221"/>
                  </a:cubicBezTo>
                  <a:cubicBezTo>
                    <a:pt x="4994434" y="211931"/>
                    <a:pt x="4994434" y="190024"/>
                    <a:pt x="4994434" y="190024"/>
                  </a:cubicBezTo>
                  <a:cubicBezTo>
                    <a:pt x="4994434" y="190024"/>
                    <a:pt x="4988719" y="210026"/>
                    <a:pt x="4983004" y="240506"/>
                  </a:cubicBezTo>
                  <a:cubicBezTo>
                    <a:pt x="4982051" y="239554"/>
                    <a:pt x="4981099" y="238601"/>
                    <a:pt x="4981099" y="238601"/>
                  </a:cubicBezTo>
                  <a:cubicBezTo>
                    <a:pt x="4967764" y="226219"/>
                    <a:pt x="4959192" y="219551"/>
                    <a:pt x="4959192" y="219551"/>
                  </a:cubicBezTo>
                  <a:cubicBezTo>
                    <a:pt x="4959192" y="219551"/>
                    <a:pt x="4965859" y="227171"/>
                    <a:pt x="4978242" y="241459"/>
                  </a:cubicBezTo>
                  <a:cubicBezTo>
                    <a:pt x="4979194" y="243364"/>
                    <a:pt x="4981099" y="244316"/>
                    <a:pt x="4982051" y="246221"/>
                  </a:cubicBezTo>
                  <a:cubicBezTo>
                    <a:pt x="4982051" y="247174"/>
                    <a:pt x="4982051" y="248126"/>
                    <a:pt x="4982051" y="248126"/>
                  </a:cubicBezTo>
                  <a:cubicBezTo>
                    <a:pt x="4980146" y="257651"/>
                    <a:pt x="4978242" y="268129"/>
                    <a:pt x="4976337" y="279559"/>
                  </a:cubicBezTo>
                  <a:cubicBezTo>
                    <a:pt x="4974431" y="283369"/>
                    <a:pt x="4971574" y="287179"/>
                    <a:pt x="4969669" y="290989"/>
                  </a:cubicBezTo>
                  <a:cubicBezTo>
                    <a:pt x="4965859" y="281464"/>
                    <a:pt x="4963001" y="272891"/>
                    <a:pt x="4960144" y="265271"/>
                  </a:cubicBezTo>
                  <a:cubicBezTo>
                    <a:pt x="4960144" y="265271"/>
                    <a:pt x="4960144" y="264319"/>
                    <a:pt x="4960144" y="264319"/>
                  </a:cubicBezTo>
                  <a:cubicBezTo>
                    <a:pt x="4960144" y="253841"/>
                    <a:pt x="4960144" y="245269"/>
                    <a:pt x="4959192" y="237649"/>
                  </a:cubicBezTo>
                  <a:cubicBezTo>
                    <a:pt x="4958239" y="223361"/>
                    <a:pt x="4958239" y="215741"/>
                    <a:pt x="4958239" y="214789"/>
                  </a:cubicBezTo>
                  <a:cubicBezTo>
                    <a:pt x="4963001" y="194786"/>
                    <a:pt x="4965859" y="177641"/>
                    <a:pt x="4968717" y="164306"/>
                  </a:cubicBezTo>
                  <a:cubicBezTo>
                    <a:pt x="4972526" y="145256"/>
                    <a:pt x="4974431" y="134779"/>
                    <a:pt x="4974431" y="134779"/>
                  </a:cubicBezTo>
                  <a:cubicBezTo>
                    <a:pt x="4974431" y="134779"/>
                    <a:pt x="4970621" y="145256"/>
                    <a:pt x="4964906" y="163354"/>
                  </a:cubicBezTo>
                  <a:cubicBezTo>
                    <a:pt x="4962049" y="171926"/>
                    <a:pt x="4959192" y="181451"/>
                    <a:pt x="4955381" y="191929"/>
                  </a:cubicBezTo>
                  <a:cubicBezTo>
                    <a:pt x="4955381" y="182404"/>
                    <a:pt x="4955381" y="176689"/>
                    <a:pt x="4955381" y="176689"/>
                  </a:cubicBezTo>
                  <a:cubicBezTo>
                    <a:pt x="4955381" y="176689"/>
                    <a:pt x="4954429" y="186214"/>
                    <a:pt x="4952524" y="202406"/>
                  </a:cubicBezTo>
                  <a:cubicBezTo>
                    <a:pt x="4952524" y="202406"/>
                    <a:pt x="4952524" y="203359"/>
                    <a:pt x="4952524" y="203359"/>
                  </a:cubicBezTo>
                  <a:cubicBezTo>
                    <a:pt x="4949667" y="210979"/>
                    <a:pt x="4947762" y="218599"/>
                    <a:pt x="4944904" y="227171"/>
                  </a:cubicBezTo>
                  <a:cubicBezTo>
                    <a:pt x="4944904" y="227171"/>
                    <a:pt x="4944904" y="226219"/>
                    <a:pt x="4944904" y="226219"/>
                  </a:cubicBezTo>
                  <a:cubicBezTo>
                    <a:pt x="4939189" y="209074"/>
                    <a:pt x="4936331" y="199549"/>
                    <a:pt x="4936331" y="199549"/>
                  </a:cubicBezTo>
                  <a:cubicBezTo>
                    <a:pt x="4936331" y="199549"/>
                    <a:pt x="4938237" y="213836"/>
                    <a:pt x="4942046" y="236696"/>
                  </a:cubicBezTo>
                  <a:cubicBezTo>
                    <a:pt x="4942046" y="237649"/>
                    <a:pt x="4941094" y="238601"/>
                    <a:pt x="4941094" y="239554"/>
                  </a:cubicBezTo>
                  <a:cubicBezTo>
                    <a:pt x="4935379" y="255746"/>
                    <a:pt x="4929664" y="273844"/>
                    <a:pt x="4922996" y="292894"/>
                  </a:cubicBezTo>
                  <a:cubicBezTo>
                    <a:pt x="4922996" y="291941"/>
                    <a:pt x="4922996" y="290036"/>
                    <a:pt x="4922996" y="289084"/>
                  </a:cubicBezTo>
                  <a:cubicBezTo>
                    <a:pt x="4921092" y="275749"/>
                    <a:pt x="4920139" y="269081"/>
                    <a:pt x="4920139" y="269081"/>
                  </a:cubicBezTo>
                  <a:cubicBezTo>
                    <a:pt x="4920139" y="269081"/>
                    <a:pt x="4919187" y="276701"/>
                    <a:pt x="4919187" y="290036"/>
                  </a:cubicBezTo>
                  <a:cubicBezTo>
                    <a:pt x="4919187" y="291941"/>
                    <a:pt x="4919187" y="293846"/>
                    <a:pt x="4919187" y="296704"/>
                  </a:cubicBezTo>
                  <a:cubicBezTo>
                    <a:pt x="4918234" y="293846"/>
                    <a:pt x="4918234" y="290989"/>
                    <a:pt x="4917281" y="289084"/>
                  </a:cubicBezTo>
                  <a:cubicBezTo>
                    <a:pt x="4915376" y="279559"/>
                    <a:pt x="4913471" y="271939"/>
                    <a:pt x="4911567" y="266224"/>
                  </a:cubicBezTo>
                  <a:cubicBezTo>
                    <a:pt x="4907756" y="253841"/>
                    <a:pt x="4904899" y="246221"/>
                    <a:pt x="4904899" y="246221"/>
                  </a:cubicBezTo>
                  <a:cubicBezTo>
                    <a:pt x="4904899" y="246221"/>
                    <a:pt x="4905851" y="253841"/>
                    <a:pt x="4907756" y="267176"/>
                  </a:cubicBezTo>
                  <a:cubicBezTo>
                    <a:pt x="4908709" y="273844"/>
                    <a:pt x="4908709" y="281464"/>
                    <a:pt x="4909662" y="290989"/>
                  </a:cubicBezTo>
                  <a:cubicBezTo>
                    <a:pt x="4910614" y="299561"/>
                    <a:pt x="4910614" y="310039"/>
                    <a:pt x="4911567" y="321469"/>
                  </a:cubicBezTo>
                  <a:cubicBezTo>
                    <a:pt x="4910614" y="323374"/>
                    <a:pt x="4909662" y="325279"/>
                    <a:pt x="4908709" y="327184"/>
                  </a:cubicBezTo>
                  <a:cubicBezTo>
                    <a:pt x="4906804" y="322421"/>
                    <a:pt x="4903946" y="317659"/>
                    <a:pt x="4902042" y="313849"/>
                  </a:cubicBezTo>
                  <a:cubicBezTo>
                    <a:pt x="4899184" y="308134"/>
                    <a:pt x="4896326" y="302419"/>
                    <a:pt x="4894421" y="298609"/>
                  </a:cubicBezTo>
                  <a:cubicBezTo>
                    <a:pt x="4893469" y="290036"/>
                    <a:pt x="4892517" y="285274"/>
                    <a:pt x="4892517" y="285274"/>
                  </a:cubicBezTo>
                  <a:cubicBezTo>
                    <a:pt x="4892517" y="285274"/>
                    <a:pt x="4892517" y="288131"/>
                    <a:pt x="4891564" y="293846"/>
                  </a:cubicBezTo>
                  <a:cubicBezTo>
                    <a:pt x="4889659" y="290989"/>
                    <a:pt x="4888706" y="289084"/>
                    <a:pt x="4888706" y="289084"/>
                  </a:cubicBezTo>
                  <a:cubicBezTo>
                    <a:pt x="4888706" y="289084"/>
                    <a:pt x="4889659" y="291941"/>
                    <a:pt x="4891564" y="295751"/>
                  </a:cubicBezTo>
                  <a:cubicBezTo>
                    <a:pt x="4890612" y="306229"/>
                    <a:pt x="4888706" y="324326"/>
                    <a:pt x="4887754" y="348139"/>
                  </a:cubicBezTo>
                  <a:cubicBezTo>
                    <a:pt x="4887754" y="350996"/>
                    <a:pt x="4887754" y="354806"/>
                    <a:pt x="4887754" y="357664"/>
                  </a:cubicBezTo>
                  <a:cubicBezTo>
                    <a:pt x="4885849" y="354806"/>
                    <a:pt x="4883944" y="352901"/>
                    <a:pt x="4882991" y="350996"/>
                  </a:cubicBezTo>
                  <a:cubicBezTo>
                    <a:pt x="4882991" y="347186"/>
                    <a:pt x="4882039" y="343376"/>
                    <a:pt x="4882039" y="338614"/>
                  </a:cubicBezTo>
                  <a:cubicBezTo>
                    <a:pt x="4882039" y="338614"/>
                    <a:pt x="4882039" y="337661"/>
                    <a:pt x="4882039" y="337661"/>
                  </a:cubicBezTo>
                  <a:cubicBezTo>
                    <a:pt x="4882991" y="333851"/>
                    <a:pt x="4882991" y="330041"/>
                    <a:pt x="4883944" y="327184"/>
                  </a:cubicBezTo>
                  <a:cubicBezTo>
                    <a:pt x="4884896" y="324326"/>
                    <a:pt x="4884896" y="321469"/>
                    <a:pt x="4885849" y="319564"/>
                  </a:cubicBezTo>
                  <a:cubicBezTo>
                    <a:pt x="4886801" y="315754"/>
                    <a:pt x="4887754" y="312896"/>
                    <a:pt x="4887754" y="312896"/>
                  </a:cubicBezTo>
                  <a:cubicBezTo>
                    <a:pt x="4887754" y="312896"/>
                    <a:pt x="4886801" y="314801"/>
                    <a:pt x="4884896" y="318611"/>
                  </a:cubicBezTo>
                  <a:cubicBezTo>
                    <a:pt x="4883944" y="320516"/>
                    <a:pt x="4882991" y="323374"/>
                    <a:pt x="4882039" y="326231"/>
                  </a:cubicBezTo>
                  <a:cubicBezTo>
                    <a:pt x="4882039" y="327184"/>
                    <a:pt x="4882039" y="327184"/>
                    <a:pt x="4882039" y="328136"/>
                  </a:cubicBezTo>
                  <a:cubicBezTo>
                    <a:pt x="4882039" y="327184"/>
                    <a:pt x="4882039" y="326231"/>
                    <a:pt x="4882039" y="326231"/>
                  </a:cubicBezTo>
                  <a:cubicBezTo>
                    <a:pt x="4880134" y="312896"/>
                    <a:pt x="4878229" y="300514"/>
                    <a:pt x="4877276" y="288131"/>
                  </a:cubicBezTo>
                  <a:cubicBezTo>
                    <a:pt x="4876324" y="279559"/>
                    <a:pt x="4874419" y="270986"/>
                    <a:pt x="4873466" y="263366"/>
                  </a:cubicBezTo>
                  <a:cubicBezTo>
                    <a:pt x="4875372" y="253841"/>
                    <a:pt x="4876324" y="245269"/>
                    <a:pt x="4878229" y="238601"/>
                  </a:cubicBezTo>
                  <a:cubicBezTo>
                    <a:pt x="4881087" y="221456"/>
                    <a:pt x="4882039" y="211931"/>
                    <a:pt x="4882039" y="211931"/>
                  </a:cubicBezTo>
                  <a:cubicBezTo>
                    <a:pt x="4882039" y="211931"/>
                    <a:pt x="4879181" y="221456"/>
                    <a:pt x="4874419" y="237649"/>
                  </a:cubicBezTo>
                  <a:cubicBezTo>
                    <a:pt x="4873466" y="241459"/>
                    <a:pt x="4872514" y="245269"/>
                    <a:pt x="4870609" y="249079"/>
                  </a:cubicBezTo>
                  <a:cubicBezTo>
                    <a:pt x="4869656" y="242411"/>
                    <a:pt x="4867751" y="236696"/>
                    <a:pt x="4866799" y="231934"/>
                  </a:cubicBezTo>
                  <a:cubicBezTo>
                    <a:pt x="4863941" y="218599"/>
                    <a:pt x="4862037" y="210979"/>
                    <a:pt x="4862037" y="210979"/>
                  </a:cubicBezTo>
                  <a:cubicBezTo>
                    <a:pt x="4862037" y="210979"/>
                    <a:pt x="4862037" y="218599"/>
                    <a:pt x="4862989" y="232886"/>
                  </a:cubicBezTo>
                  <a:cubicBezTo>
                    <a:pt x="4862989" y="237649"/>
                    <a:pt x="4863941" y="242411"/>
                    <a:pt x="4863941" y="248126"/>
                  </a:cubicBezTo>
                  <a:cubicBezTo>
                    <a:pt x="4863941" y="250984"/>
                    <a:pt x="4863941" y="255746"/>
                    <a:pt x="4863941" y="261461"/>
                  </a:cubicBezTo>
                  <a:cubicBezTo>
                    <a:pt x="4862989" y="262414"/>
                    <a:pt x="4862037" y="263366"/>
                    <a:pt x="4860131" y="264319"/>
                  </a:cubicBezTo>
                  <a:cubicBezTo>
                    <a:pt x="4856322" y="268129"/>
                    <a:pt x="4850606" y="272891"/>
                    <a:pt x="4843939" y="281464"/>
                  </a:cubicBezTo>
                  <a:cubicBezTo>
                    <a:pt x="4842987" y="277654"/>
                    <a:pt x="4842034" y="273844"/>
                    <a:pt x="4841081" y="270986"/>
                  </a:cubicBezTo>
                  <a:cubicBezTo>
                    <a:pt x="4842034" y="268129"/>
                    <a:pt x="4842987" y="266224"/>
                    <a:pt x="4842987" y="266224"/>
                  </a:cubicBezTo>
                  <a:cubicBezTo>
                    <a:pt x="4842987" y="266224"/>
                    <a:pt x="4842034" y="267176"/>
                    <a:pt x="4841081" y="269081"/>
                  </a:cubicBezTo>
                  <a:cubicBezTo>
                    <a:pt x="4840129" y="265271"/>
                    <a:pt x="4840129" y="262414"/>
                    <a:pt x="4840129" y="262414"/>
                  </a:cubicBezTo>
                  <a:cubicBezTo>
                    <a:pt x="4840129" y="262414"/>
                    <a:pt x="4840129" y="265271"/>
                    <a:pt x="4840129" y="270034"/>
                  </a:cubicBezTo>
                  <a:cubicBezTo>
                    <a:pt x="4838224" y="271939"/>
                    <a:pt x="4836319" y="274796"/>
                    <a:pt x="4833462" y="278606"/>
                  </a:cubicBezTo>
                  <a:cubicBezTo>
                    <a:pt x="4830604" y="283369"/>
                    <a:pt x="4826794" y="288131"/>
                    <a:pt x="4822984" y="294799"/>
                  </a:cubicBezTo>
                  <a:cubicBezTo>
                    <a:pt x="4821079" y="297656"/>
                    <a:pt x="4819174" y="301466"/>
                    <a:pt x="4816316" y="304324"/>
                  </a:cubicBezTo>
                  <a:cubicBezTo>
                    <a:pt x="4814412" y="308134"/>
                    <a:pt x="4812506" y="311944"/>
                    <a:pt x="4809649" y="315754"/>
                  </a:cubicBezTo>
                  <a:cubicBezTo>
                    <a:pt x="4809649" y="316706"/>
                    <a:pt x="4808697" y="317659"/>
                    <a:pt x="4807744" y="318611"/>
                  </a:cubicBezTo>
                  <a:cubicBezTo>
                    <a:pt x="4807744" y="309086"/>
                    <a:pt x="4807744" y="304324"/>
                    <a:pt x="4807744" y="304324"/>
                  </a:cubicBezTo>
                  <a:cubicBezTo>
                    <a:pt x="4807744" y="304324"/>
                    <a:pt x="4805839" y="312896"/>
                    <a:pt x="4803934" y="327184"/>
                  </a:cubicBezTo>
                  <a:cubicBezTo>
                    <a:pt x="4801076" y="331946"/>
                    <a:pt x="4798219" y="336709"/>
                    <a:pt x="4795362" y="342424"/>
                  </a:cubicBezTo>
                  <a:cubicBezTo>
                    <a:pt x="4795362" y="335756"/>
                    <a:pt x="4795362" y="330041"/>
                    <a:pt x="4795362" y="324326"/>
                  </a:cubicBezTo>
                  <a:cubicBezTo>
                    <a:pt x="4795362" y="319564"/>
                    <a:pt x="4795362" y="315754"/>
                    <a:pt x="4795362" y="311944"/>
                  </a:cubicBezTo>
                  <a:cubicBezTo>
                    <a:pt x="4796314" y="308134"/>
                    <a:pt x="4796314" y="305276"/>
                    <a:pt x="4796314" y="302419"/>
                  </a:cubicBezTo>
                  <a:cubicBezTo>
                    <a:pt x="4796314" y="300514"/>
                    <a:pt x="4796314" y="299561"/>
                    <a:pt x="4797266" y="297656"/>
                  </a:cubicBezTo>
                  <a:cubicBezTo>
                    <a:pt x="4799172" y="286226"/>
                    <a:pt x="4802029" y="274796"/>
                    <a:pt x="4803934" y="264319"/>
                  </a:cubicBezTo>
                  <a:cubicBezTo>
                    <a:pt x="4811554" y="221456"/>
                    <a:pt x="4815364" y="192881"/>
                    <a:pt x="4815364" y="192881"/>
                  </a:cubicBezTo>
                  <a:cubicBezTo>
                    <a:pt x="4815364" y="192881"/>
                    <a:pt x="4804887" y="220504"/>
                    <a:pt x="4792504" y="262414"/>
                  </a:cubicBezTo>
                  <a:cubicBezTo>
                    <a:pt x="4791551" y="264319"/>
                    <a:pt x="4791551" y="266224"/>
                    <a:pt x="4790599" y="268129"/>
                  </a:cubicBezTo>
                  <a:cubicBezTo>
                    <a:pt x="4788694" y="256699"/>
                    <a:pt x="4788694" y="250031"/>
                    <a:pt x="4788694" y="250031"/>
                  </a:cubicBezTo>
                  <a:cubicBezTo>
                    <a:pt x="4788694" y="250031"/>
                    <a:pt x="4788694" y="257651"/>
                    <a:pt x="4787741" y="270986"/>
                  </a:cubicBezTo>
                  <a:cubicBezTo>
                    <a:pt x="4787741" y="273844"/>
                    <a:pt x="4787741" y="277654"/>
                    <a:pt x="4787741" y="281464"/>
                  </a:cubicBezTo>
                  <a:cubicBezTo>
                    <a:pt x="4785837" y="287179"/>
                    <a:pt x="4783931" y="292894"/>
                    <a:pt x="4782979" y="299561"/>
                  </a:cubicBezTo>
                  <a:cubicBezTo>
                    <a:pt x="4782979" y="297656"/>
                    <a:pt x="4782979" y="295751"/>
                    <a:pt x="4782979" y="293846"/>
                  </a:cubicBezTo>
                  <a:cubicBezTo>
                    <a:pt x="4783931" y="282416"/>
                    <a:pt x="4783931" y="271939"/>
                    <a:pt x="4784884" y="263366"/>
                  </a:cubicBezTo>
                  <a:cubicBezTo>
                    <a:pt x="4785837" y="253841"/>
                    <a:pt x="4785837" y="246221"/>
                    <a:pt x="4786789" y="239554"/>
                  </a:cubicBezTo>
                  <a:cubicBezTo>
                    <a:pt x="4788694" y="226219"/>
                    <a:pt x="4789647" y="218599"/>
                    <a:pt x="4789647" y="218599"/>
                  </a:cubicBezTo>
                  <a:cubicBezTo>
                    <a:pt x="4789647" y="218599"/>
                    <a:pt x="4787741" y="226219"/>
                    <a:pt x="4782979" y="238601"/>
                  </a:cubicBezTo>
                  <a:cubicBezTo>
                    <a:pt x="4781074" y="245269"/>
                    <a:pt x="4779169" y="252889"/>
                    <a:pt x="4777264" y="262414"/>
                  </a:cubicBezTo>
                  <a:cubicBezTo>
                    <a:pt x="4776312" y="264319"/>
                    <a:pt x="4776312" y="266224"/>
                    <a:pt x="4776312" y="269081"/>
                  </a:cubicBezTo>
                  <a:cubicBezTo>
                    <a:pt x="4774406" y="257651"/>
                    <a:pt x="4773454" y="251936"/>
                    <a:pt x="4773454" y="251936"/>
                  </a:cubicBezTo>
                  <a:cubicBezTo>
                    <a:pt x="4773454" y="251936"/>
                    <a:pt x="4773454" y="264319"/>
                    <a:pt x="4773454" y="284321"/>
                  </a:cubicBezTo>
                  <a:cubicBezTo>
                    <a:pt x="4772501" y="287179"/>
                    <a:pt x="4772501" y="290989"/>
                    <a:pt x="4771549" y="293846"/>
                  </a:cubicBezTo>
                  <a:cubicBezTo>
                    <a:pt x="4771549" y="294799"/>
                    <a:pt x="4771549" y="294799"/>
                    <a:pt x="4771549" y="295751"/>
                  </a:cubicBezTo>
                  <a:cubicBezTo>
                    <a:pt x="4769644" y="273844"/>
                    <a:pt x="4767739" y="260509"/>
                    <a:pt x="4767739" y="260509"/>
                  </a:cubicBezTo>
                  <a:cubicBezTo>
                    <a:pt x="4767739" y="260509"/>
                    <a:pt x="4765834" y="274796"/>
                    <a:pt x="4764881" y="297656"/>
                  </a:cubicBezTo>
                  <a:cubicBezTo>
                    <a:pt x="4762024" y="290036"/>
                    <a:pt x="4758214" y="283369"/>
                    <a:pt x="4755356" y="276701"/>
                  </a:cubicBezTo>
                  <a:cubicBezTo>
                    <a:pt x="4753451" y="273844"/>
                    <a:pt x="4752499" y="271939"/>
                    <a:pt x="4750594" y="270034"/>
                  </a:cubicBezTo>
                  <a:cubicBezTo>
                    <a:pt x="4753451" y="260509"/>
                    <a:pt x="4755356" y="251936"/>
                    <a:pt x="4758214" y="243364"/>
                  </a:cubicBezTo>
                  <a:cubicBezTo>
                    <a:pt x="4767739" y="209074"/>
                    <a:pt x="4774406" y="180499"/>
                    <a:pt x="4780122" y="161449"/>
                  </a:cubicBezTo>
                  <a:cubicBezTo>
                    <a:pt x="4784884" y="141446"/>
                    <a:pt x="4787741" y="130016"/>
                    <a:pt x="4787741" y="130016"/>
                  </a:cubicBezTo>
                  <a:cubicBezTo>
                    <a:pt x="4787741" y="130016"/>
                    <a:pt x="4782979" y="140494"/>
                    <a:pt x="4776312" y="160496"/>
                  </a:cubicBezTo>
                  <a:cubicBezTo>
                    <a:pt x="4769644" y="179546"/>
                    <a:pt x="4759166" y="207169"/>
                    <a:pt x="4747737" y="240506"/>
                  </a:cubicBezTo>
                  <a:cubicBezTo>
                    <a:pt x="4745831" y="246221"/>
                    <a:pt x="4743926" y="251936"/>
                    <a:pt x="4742022" y="257651"/>
                  </a:cubicBezTo>
                  <a:cubicBezTo>
                    <a:pt x="4742022" y="257651"/>
                    <a:pt x="4742022" y="257651"/>
                    <a:pt x="4742022" y="257651"/>
                  </a:cubicBezTo>
                  <a:cubicBezTo>
                    <a:pt x="4737259" y="251936"/>
                    <a:pt x="4732497" y="248126"/>
                    <a:pt x="4727734" y="244316"/>
                  </a:cubicBezTo>
                  <a:cubicBezTo>
                    <a:pt x="4725829" y="242411"/>
                    <a:pt x="4722972" y="241459"/>
                    <a:pt x="4721066" y="240506"/>
                  </a:cubicBezTo>
                  <a:cubicBezTo>
                    <a:pt x="4719162" y="239554"/>
                    <a:pt x="4717256" y="238601"/>
                    <a:pt x="4716304" y="238601"/>
                  </a:cubicBezTo>
                  <a:cubicBezTo>
                    <a:pt x="4713447" y="237649"/>
                    <a:pt x="4712494" y="237649"/>
                    <a:pt x="4712494" y="237649"/>
                  </a:cubicBezTo>
                  <a:cubicBezTo>
                    <a:pt x="4712494" y="237649"/>
                    <a:pt x="4713447" y="238601"/>
                    <a:pt x="4716304" y="239554"/>
                  </a:cubicBezTo>
                  <a:cubicBezTo>
                    <a:pt x="4719162" y="240506"/>
                    <a:pt x="4722019" y="243364"/>
                    <a:pt x="4725829" y="246221"/>
                  </a:cubicBezTo>
                  <a:cubicBezTo>
                    <a:pt x="4729639" y="250031"/>
                    <a:pt x="4733449" y="254794"/>
                    <a:pt x="4736306" y="260509"/>
                  </a:cubicBezTo>
                  <a:cubicBezTo>
                    <a:pt x="4737259" y="262414"/>
                    <a:pt x="4738212" y="264319"/>
                    <a:pt x="4739164" y="266224"/>
                  </a:cubicBezTo>
                  <a:cubicBezTo>
                    <a:pt x="4736306" y="274796"/>
                    <a:pt x="4732497" y="284321"/>
                    <a:pt x="4729639" y="293846"/>
                  </a:cubicBezTo>
                  <a:cubicBezTo>
                    <a:pt x="4729639" y="294799"/>
                    <a:pt x="4729639" y="294799"/>
                    <a:pt x="4728687" y="295751"/>
                  </a:cubicBezTo>
                  <a:cubicBezTo>
                    <a:pt x="4728687" y="295751"/>
                    <a:pt x="4728687" y="295751"/>
                    <a:pt x="4728687" y="294799"/>
                  </a:cubicBezTo>
                  <a:cubicBezTo>
                    <a:pt x="4728687" y="291941"/>
                    <a:pt x="4728687" y="290989"/>
                    <a:pt x="4728687" y="290989"/>
                  </a:cubicBezTo>
                  <a:cubicBezTo>
                    <a:pt x="4728687" y="290989"/>
                    <a:pt x="4728687" y="291941"/>
                    <a:pt x="4727734" y="293846"/>
                  </a:cubicBezTo>
                  <a:cubicBezTo>
                    <a:pt x="4723924" y="285274"/>
                    <a:pt x="4720114" y="277654"/>
                    <a:pt x="4717256" y="270986"/>
                  </a:cubicBezTo>
                  <a:cubicBezTo>
                    <a:pt x="4716304" y="269081"/>
                    <a:pt x="4715351" y="267176"/>
                    <a:pt x="4714399" y="265271"/>
                  </a:cubicBezTo>
                  <a:cubicBezTo>
                    <a:pt x="4715351" y="257651"/>
                    <a:pt x="4716304" y="252889"/>
                    <a:pt x="4716304" y="252889"/>
                  </a:cubicBezTo>
                  <a:cubicBezTo>
                    <a:pt x="4716304" y="252889"/>
                    <a:pt x="4715351" y="256699"/>
                    <a:pt x="4713447" y="262414"/>
                  </a:cubicBezTo>
                  <a:cubicBezTo>
                    <a:pt x="4708684" y="252889"/>
                    <a:pt x="4706779" y="248126"/>
                    <a:pt x="4706779" y="248126"/>
                  </a:cubicBezTo>
                  <a:cubicBezTo>
                    <a:pt x="4706779" y="248126"/>
                    <a:pt x="4708684" y="254794"/>
                    <a:pt x="4712494" y="267176"/>
                  </a:cubicBezTo>
                  <a:cubicBezTo>
                    <a:pt x="4711541" y="270034"/>
                    <a:pt x="4710589" y="273844"/>
                    <a:pt x="4708684" y="277654"/>
                  </a:cubicBezTo>
                  <a:cubicBezTo>
                    <a:pt x="4700112" y="251936"/>
                    <a:pt x="4694397" y="236696"/>
                    <a:pt x="4694397" y="236696"/>
                  </a:cubicBezTo>
                  <a:cubicBezTo>
                    <a:pt x="4694397" y="236696"/>
                    <a:pt x="4697254" y="258604"/>
                    <a:pt x="4702969" y="293846"/>
                  </a:cubicBezTo>
                  <a:cubicBezTo>
                    <a:pt x="4700112" y="304324"/>
                    <a:pt x="4696301" y="317659"/>
                    <a:pt x="4691539" y="331946"/>
                  </a:cubicBezTo>
                  <a:cubicBezTo>
                    <a:pt x="4691539" y="330994"/>
                    <a:pt x="4690587" y="330041"/>
                    <a:pt x="4690587" y="329089"/>
                  </a:cubicBezTo>
                  <a:cubicBezTo>
                    <a:pt x="4685824" y="319564"/>
                    <a:pt x="4682966" y="313849"/>
                    <a:pt x="4682966" y="313849"/>
                  </a:cubicBezTo>
                  <a:cubicBezTo>
                    <a:pt x="4682966" y="313849"/>
                    <a:pt x="4683919" y="316706"/>
                    <a:pt x="4684872" y="322421"/>
                  </a:cubicBezTo>
                  <a:cubicBezTo>
                    <a:pt x="4684872" y="322421"/>
                    <a:pt x="4684872" y="322421"/>
                    <a:pt x="4684872" y="322421"/>
                  </a:cubicBezTo>
                  <a:cubicBezTo>
                    <a:pt x="4676299" y="310991"/>
                    <a:pt x="4671537" y="304324"/>
                    <a:pt x="4671537" y="304324"/>
                  </a:cubicBezTo>
                  <a:cubicBezTo>
                    <a:pt x="4671537" y="304324"/>
                    <a:pt x="4675347" y="311944"/>
                    <a:pt x="4682014" y="324326"/>
                  </a:cubicBezTo>
                  <a:cubicBezTo>
                    <a:pt x="4683919" y="328136"/>
                    <a:pt x="4686776" y="332899"/>
                    <a:pt x="4688681" y="337661"/>
                  </a:cubicBezTo>
                  <a:cubicBezTo>
                    <a:pt x="4688681" y="338614"/>
                    <a:pt x="4688681" y="339566"/>
                    <a:pt x="4689634" y="340519"/>
                  </a:cubicBezTo>
                  <a:cubicBezTo>
                    <a:pt x="4687729" y="349091"/>
                    <a:pt x="4684872" y="356711"/>
                    <a:pt x="4682966" y="366236"/>
                  </a:cubicBezTo>
                  <a:cubicBezTo>
                    <a:pt x="4681062" y="364331"/>
                    <a:pt x="4680109" y="361474"/>
                    <a:pt x="4678204" y="359569"/>
                  </a:cubicBezTo>
                  <a:cubicBezTo>
                    <a:pt x="4675347" y="355759"/>
                    <a:pt x="4671537" y="351949"/>
                    <a:pt x="4669631" y="349091"/>
                  </a:cubicBezTo>
                  <a:cubicBezTo>
                    <a:pt x="4669631" y="349091"/>
                    <a:pt x="4669631" y="349091"/>
                    <a:pt x="4668679" y="348139"/>
                  </a:cubicBezTo>
                  <a:cubicBezTo>
                    <a:pt x="4669631" y="341471"/>
                    <a:pt x="4669631" y="335756"/>
                    <a:pt x="4669631" y="330994"/>
                  </a:cubicBezTo>
                  <a:cubicBezTo>
                    <a:pt x="4670584" y="318611"/>
                    <a:pt x="4669631" y="310991"/>
                    <a:pt x="4669631" y="310991"/>
                  </a:cubicBezTo>
                  <a:cubicBezTo>
                    <a:pt x="4669631" y="310991"/>
                    <a:pt x="4669631" y="311944"/>
                    <a:pt x="4669631" y="313849"/>
                  </a:cubicBezTo>
                  <a:cubicBezTo>
                    <a:pt x="4669631" y="310039"/>
                    <a:pt x="4670584" y="305276"/>
                    <a:pt x="4670584" y="301466"/>
                  </a:cubicBezTo>
                  <a:cubicBezTo>
                    <a:pt x="4670584" y="296704"/>
                    <a:pt x="4670584" y="291941"/>
                    <a:pt x="4670584" y="287179"/>
                  </a:cubicBezTo>
                  <a:cubicBezTo>
                    <a:pt x="4672489" y="282416"/>
                    <a:pt x="4673441" y="278606"/>
                    <a:pt x="4675347" y="274796"/>
                  </a:cubicBezTo>
                  <a:cubicBezTo>
                    <a:pt x="4683919" y="259556"/>
                    <a:pt x="4689634" y="250984"/>
                    <a:pt x="4689634" y="250984"/>
                  </a:cubicBezTo>
                  <a:cubicBezTo>
                    <a:pt x="4689634" y="250984"/>
                    <a:pt x="4686776" y="254794"/>
                    <a:pt x="4681062" y="262414"/>
                  </a:cubicBezTo>
                  <a:cubicBezTo>
                    <a:pt x="4684872" y="252889"/>
                    <a:pt x="4686776" y="248126"/>
                    <a:pt x="4686776" y="248126"/>
                  </a:cubicBezTo>
                  <a:cubicBezTo>
                    <a:pt x="4686776" y="248126"/>
                    <a:pt x="4682966" y="254794"/>
                    <a:pt x="4675347" y="265271"/>
                  </a:cubicBezTo>
                  <a:cubicBezTo>
                    <a:pt x="4673441" y="267176"/>
                    <a:pt x="4672489" y="270034"/>
                    <a:pt x="4670584" y="272891"/>
                  </a:cubicBezTo>
                  <a:cubicBezTo>
                    <a:pt x="4670584" y="270986"/>
                    <a:pt x="4670584" y="270034"/>
                    <a:pt x="4670584" y="268129"/>
                  </a:cubicBezTo>
                  <a:cubicBezTo>
                    <a:pt x="4669631" y="261461"/>
                    <a:pt x="4669631" y="255746"/>
                    <a:pt x="4668679" y="250984"/>
                  </a:cubicBezTo>
                  <a:cubicBezTo>
                    <a:pt x="4668679" y="250031"/>
                    <a:pt x="4668679" y="248126"/>
                    <a:pt x="4669631" y="247174"/>
                  </a:cubicBezTo>
                  <a:cubicBezTo>
                    <a:pt x="4671537" y="230981"/>
                    <a:pt x="4671537" y="222409"/>
                    <a:pt x="4671537" y="222409"/>
                  </a:cubicBezTo>
                  <a:cubicBezTo>
                    <a:pt x="4671537" y="222409"/>
                    <a:pt x="4671537" y="224314"/>
                    <a:pt x="4670584" y="229076"/>
                  </a:cubicBezTo>
                  <a:cubicBezTo>
                    <a:pt x="4669631" y="231934"/>
                    <a:pt x="4668679" y="236696"/>
                    <a:pt x="4666774" y="242411"/>
                  </a:cubicBezTo>
                  <a:cubicBezTo>
                    <a:pt x="4666774" y="242411"/>
                    <a:pt x="4666774" y="242411"/>
                    <a:pt x="4666774" y="241459"/>
                  </a:cubicBezTo>
                  <a:cubicBezTo>
                    <a:pt x="4666774" y="241459"/>
                    <a:pt x="4666774" y="241459"/>
                    <a:pt x="4666774" y="241459"/>
                  </a:cubicBezTo>
                  <a:cubicBezTo>
                    <a:pt x="4666774" y="241459"/>
                    <a:pt x="4666774" y="241459"/>
                    <a:pt x="4666774" y="241459"/>
                  </a:cubicBezTo>
                  <a:cubicBezTo>
                    <a:pt x="4665822" y="235744"/>
                    <a:pt x="4663916" y="230981"/>
                    <a:pt x="4662012" y="228124"/>
                  </a:cubicBezTo>
                  <a:cubicBezTo>
                    <a:pt x="4661059" y="224314"/>
                    <a:pt x="4660106" y="222409"/>
                    <a:pt x="4660106" y="222409"/>
                  </a:cubicBezTo>
                  <a:cubicBezTo>
                    <a:pt x="4660106" y="222409"/>
                    <a:pt x="4660106" y="224314"/>
                    <a:pt x="4661059" y="228124"/>
                  </a:cubicBezTo>
                  <a:cubicBezTo>
                    <a:pt x="4662012" y="231934"/>
                    <a:pt x="4662964" y="237649"/>
                    <a:pt x="4662964" y="244316"/>
                  </a:cubicBezTo>
                  <a:cubicBezTo>
                    <a:pt x="4662964" y="245269"/>
                    <a:pt x="4662964" y="245269"/>
                    <a:pt x="4662964" y="246221"/>
                  </a:cubicBezTo>
                  <a:cubicBezTo>
                    <a:pt x="4662964" y="246221"/>
                    <a:pt x="4662964" y="246221"/>
                    <a:pt x="4662964" y="246221"/>
                  </a:cubicBezTo>
                  <a:cubicBezTo>
                    <a:pt x="4660106" y="250031"/>
                    <a:pt x="4657249" y="254794"/>
                    <a:pt x="4654391" y="262414"/>
                  </a:cubicBezTo>
                  <a:cubicBezTo>
                    <a:pt x="4653439" y="265271"/>
                    <a:pt x="4652487" y="268129"/>
                    <a:pt x="4650581" y="271939"/>
                  </a:cubicBezTo>
                  <a:cubicBezTo>
                    <a:pt x="4649629" y="267176"/>
                    <a:pt x="4647724" y="264319"/>
                    <a:pt x="4646772" y="261461"/>
                  </a:cubicBezTo>
                  <a:cubicBezTo>
                    <a:pt x="4646772" y="260509"/>
                    <a:pt x="4645819" y="259556"/>
                    <a:pt x="4645819" y="259556"/>
                  </a:cubicBezTo>
                  <a:cubicBezTo>
                    <a:pt x="4645819" y="257651"/>
                    <a:pt x="4646772" y="255746"/>
                    <a:pt x="4646772" y="253841"/>
                  </a:cubicBezTo>
                  <a:cubicBezTo>
                    <a:pt x="4648676" y="243364"/>
                    <a:pt x="4650581" y="234791"/>
                    <a:pt x="4653439" y="227171"/>
                  </a:cubicBezTo>
                  <a:cubicBezTo>
                    <a:pt x="4657249" y="212884"/>
                    <a:pt x="4660106" y="204311"/>
                    <a:pt x="4660106" y="204311"/>
                  </a:cubicBezTo>
                  <a:cubicBezTo>
                    <a:pt x="4660106" y="204311"/>
                    <a:pt x="4656297" y="211931"/>
                    <a:pt x="4650581" y="226219"/>
                  </a:cubicBezTo>
                  <a:cubicBezTo>
                    <a:pt x="4647724" y="232886"/>
                    <a:pt x="4643914" y="241459"/>
                    <a:pt x="4641056" y="251936"/>
                  </a:cubicBezTo>
                  <a:cubicBezTo>
                    <a:pt x="4639151" y="256699"/>
                    <a:pt x="4637247" y="261461"/>
                    <a:pt x="4636294" y="267176"/>
                  </a:cubicBezTo>
                  <a:cubicBezTo>
                    <a:pt x="4636294" y="264319"/>
                    <a:pt x="4636294" y="261461"/>
                    <a:pt x="4636294" y="259556"/>
                  </a:cubicBezTo>
                  <a:cubicBezTo>
                    <a:pt x="4636294" y="251936"/>
                    <a:pt x="4637247" y="246221"/>
                    <a:pt x="4638199" y="242411"/>
                  </a:cubicBezTo>
                  <a:cubicBezTo>
                    <a:pt x="4639151" y="238601"/>
                    <a:pt x="4639151" y="235744"/>
                    <a:pt x="4639151" y="235744"/>
                  </a:cubicBezTo>
                  <a:cubicBezTo>
                    <a:pt x="4639151" y="235744"/>
                    <a:pt x="4638199" y="237649"/>
                    <a:pt x="4637247" y="241459"/>
                  </a:cubicBezTo>
                  <a:cubicBezTo>
                    <a:pt x="4636294" y="245269"/>
                    <a:pt x="4633437" y="250984"/>
                    <a:pt x="4632484" y="258604"/>
                  </a:cubicBezTo>
                  <a:cubicBezTo>
                    <a:pt x="4632484" y="258604"/>
                    <a:pt x="4632484" y="258604"/>
                    <a:pt x="4632484" y="258604"/>
                  </a:cubicBezTo>
                  <a:cubicBezTo>
                    <a:pt x="4631531" y="255746"/>
                    <a:pt x="4631531" y="254794"/>
                    <a:pt x="4631531" y="254794"/>
                  </a:cubicBezTo>
                  <a:cubicBezTo>
                    <a:pt x="4631531" y="254794"/>
                    <a:pt x="4631531" y="256699"/>
                    <a:pt x="4632484" y="259556"/>
                  </a:cubicBezTo>
                  <a:cubicBezTo>
                    <a:pt x="4630579" y="267176"/>
                    <a:pt x="4629626" y="275749"/>
                    <a:pt x="4628674" y="285274"/>
                  </a:cubicBezTo>
                  <a:cubicBezTo>
                    <a:pt x="4628674" y="288131"/>
                    <a:pt x="4628674" y="290989"/>
                    <a:pt x="4628674" y="293846"/>
                  </a:cubicBezTo>
                  <a:cubicBezTo>
                    <a:pt x="4627722" y="296704"/>
                    <a:pt x="4626769" y="300514"/>
                    <a:pt x="4625816" y="303371"/>
                  </a:cubicBezTo>
                  <a:cubicBezTo>
                    <a:pt x="4619149" y="298609"/>
                    <a:pt x="4614387" y="295751"/>
                    <a:pt x="4610576" y="293846"/>
                  </a:cubicBezTo>
                  <a:cubicBezTo>
                    <a:pt x="4606766" y="291941"/>
                    <a:pt x="4604862" y="290989"/>
                    <a:pt x="4604862" y="290989"/>
                  </a:cubicBezTo>
                  <a:cubicBezTo>
                    <a:pt x="4604862" y="290989"/>
                    <a:pt x="4606766" y="291941"/>
                    <a:pt x="4610576" y="294799"/>
                  </a:cubicBezTo>
                  <a:cubicBezTo>
                    <a:pt x="4614387" y="296704"/>
                    <a:pt x="4619149" y="301466"/>
                    <a:pt x="4624864" y="307181"/>
                  </a:cubicBezTo>
                  <a:cubicBezTo>
                    <a:pt x="4624864" y="307181"/>
                    <a:pt x="4624864" y="307181"/>
                    <a:pt x="4625816" y="308134"/>
                  </a:cubicBezTo>
                  <a:cubicBezTo>
                    <a:pt x="4624864" y="313849"/>
                    <a:pt x="4622959" y="319564"/>
                    <a:pt x="4622006" y="325279"/>
                  </a:cubicBezTo>
                  <a:cubicBezTo>
                    <a:pt x="4621054" y="330994"/>
                    <a:pt x="4620101" y="337661"/>
                    <a:pt x="4619149" y="343376"/>
                  </a:cubicBezTo>
                  <a:cubicBezTo>
                    <a:pt x="4615339" y="330041"/>
                    <a:pt x="4611529" y="317659"/>
                    <a:pt x="4607719" y="306229"/>
                  </a:cubicBezTo>
                  <a:cubicBezTo>
                    <a:pt x="4605814" y="300514"/>
                    <a:pt x="4604862" y="295751"/>
                    <a:pt x="4602956" y="290989"/>
                  </a:cubicBezTo>
                  <a:cubicBezTo>
                    <a:pt x="4602004" y="282416"/>
                    <a:pt x="4601051" y="274796"/>
                    <a:pt x="4601051" y="269081"/>
                  </a:cubicBezTo>
                  <a:cubicBezTo>
                    <a:pt x="4599147" y="255746"/>
                    <a:pt x="4599147" y="248126"/>
                    <a:pt x="4599147" y="248126"/>
                  </a:cubicBezTo>
                  <a:cubicBezTo>
                    <a:pt x="4599147" y="248126"/>
                    <a:pt x="4598194" y="255746"/>
                    <a:pt x="4597241" y="269081"/>
                  </a:cubicBezTo>
                  <a:cubicBezTo>
                    <a:pt x="4597241" y="270034"/>
                    <a:pt x="4597241" y="270986"/>
                    <a:pt x="4597241" y="271939"/>
                  </a:cubicBezTo>
                  <a:cubicBezTo>
                    <a:pt x="4594384" y="263366"/>
                    <a:pt x="4591526" y="255746"/>
                    <a:pt x="4589622" y="250031"/>
                  </a:cubicBezTo>
                  <a:cubicBezTo>
                    <a:pt x="4589622" y="247174"/>
                    <a:pt x="4589622" y="244316"/>
                    <a:pt x="4589622" y="240506"/>
                  </a:cubicBezTo>
                  <a:cubicBezTo>
                    <a:pt x="4590574" y="225266"/>
                    <a:pt x="4590574" y="210979"/>
                    <a:pt x="4590574" y="197644"/>
                  </a:cubicBezTo>
                  <a:cubicBezTo>
                    <a:pt x="4591526" y="144304"/>
                    <a:pt x="4590574" y="109061"/>
                    <a:pt x="4590574" y="109061"/>
                  </a:cubicBezTo>
                  <a:cubicBezTo>
                    <a:pt x="4590574" y="109061"/>
                    <a:pt x="4584859" y="144304"/>
                    <a:pt x="4579144" y="197644"/>
                  </a:cubicBezTo>
                  <a:cubicBezTo>
                    <a:pt x="4578191" y="210979"/>
                    <a:pt x="4576287" y="225266"/>
                    <a:pt x="4574381" y="240506"/>
                  </a:cubicBezTo>
                  <a:cubicBezTo>
                    <a:pt x="4573429" y="245269"/>
                    <a:pt x="4573429" y="250984"/>
                    <a:pt x="4573429" y="256699"/>
                  </a:cubicBezTo>
                  <a:cubicBezTo>
                    <a:pt x="4573429" y="256699"/>
                    <a:pt x="4572476" y="257651"/>
                    <a:pt x="4572476" y="257651"/>
                  </a:cubicBezTo>
                  <a:cubicBezTo>
                    <a:pt x="4569619" y="259556"/>
                    <a:pt x="4566762" y="262414"/>
                    <a:pt x="4563904" y="265271"/>
                  </a:cubicBezTo>
                  <a:cubicBezTo>
                    <a:pt x="4563904" y="265271"/>
                    <a:pt x="4563904" y="264319"/>
                    <a:pt x="4563904" y="264319"/>
                  </a:cubicBezTo>
                  <a:cubicBezTo>
                    <a:pt x="4561999" y="261461"/>
                    <a:pt x="4560094" y="258604"/>
                    <a:pt x="4559141" y="255746"/>
                  </a:cubicBezTo>
                  <a:cubicBezTo>
                    <a:pt x="4559141" y="253841"/>
                    <a:pt x="4560094" y="250984"/>
                    <a:pt x="4560094" y="249079"/>
                  </a:cubicBezTo>
                  <a:cubicBezTo>
                    <a:pt x="4570572" y="195739"/>
                    <a:pt x="4576287" y="159544"/>
                    <a:pt x="4576287" y="159544"/>
                  </a:cubicBezTo>
                  <a:cubicBezTo>
                    <a:pt x="4576287" y="159544"/>
                    <a:pt x="4564856" y="192881"/>
                    <a:pt x="4550569" y="243364"/>
                  </a:cubicBezTo>
                  <a:cubicBezTo>
                    <a:pt x="4550569" y="243364"/>
                    <a:pt x="4550569" y="243364"/>
                    <a:pt x="4550569" y="243364"/>
                  </a:cubicBezTo>
                  <a:cubicBezTo>
                    <a:pt x="4550569" y="243364"/>
                    <a:pt x="4550569" y="243364"/>
                    <a:pt x="4550569" y="243364"/>
                  </a:cubicBezTo>
                  <a:cubicBezTo>
                    <a:pt x="4550569" y="244316"/>
                    <a:pt x="4549616" y="245269"/>
                    <a:pt x="4549616" y="246221"/>
                  </a:cubicBezTo>
                  <a:cubicBezTo>
                    <a:pt x="4549616" y="247174"/>
                    <a:pt x="4549616" y="248126"/>
                    <a:pt x="4548664" y="248126"/>
                  </a:cubicBezTo>
                  <a:cubicBezTo>
                    <a:pt x="4548664" y="248126"/>
                    <a:pt x="4548664" y="248126"/>
                    <a:pt x="4548664" y="248126"/>
                  </a:cubicBezTo>
                  <a:cubicBezTo>
                    <a:pt x="4548664" y="248126"/>
                    <a:pt x="4548664" y="248126"/>
                    <a:pt x="4548664" y="248126"/>
                  </a:cubicBezTo>
                  <a:cubicBezTo>
                    <a:pt x="4544854" y="261461"/>
                    <a:pt x="4540091" y="276701"/>
                    <a:pt x="4536281" y="292894"/>
                  </a:cubicBezTo>
                  <a:cubicBezTo>
                    <a:pt x="4534376" y="261461"/>
                    <a:pt x="4531519" y="241459"/>
                    <a:pt x="4531519" y="241459"/>
                  </a:cubicBezTo>
                  <a:cubicBezTo>
                    <a:pt x="4531519" y="241459"/>
                    <a:pt x="4527709" y="266224"/>
                    <a:pt x="4525804" y="303371"/>
                  </a:cubicBezTo>
                  <a:cubicBezTo>
                    <a:pt x="4525804" y="305276"/>
                    <a:pt x="4525804" y="307181"/>
                    <a:pt x="4525804" y="309086"/>
                  </a:cubicBezTo>
                  <a:cubicBezTo>
                    <a:pt x="4524851" y="308134"/>
                    <a:pt x="4524851" y="308134"/>
                    <a:pt x="4524851" y="308134"/>
                  </a:cubicBezTo>
                  <a:cubicBezTo>
                    <a:pt x="4524851" y="308134"/>
                    <a:pt x="4524851" y="309086"/>
                    <a:pt x="4525804" y="310039"/>
                  </a:cubicBezTo>
                  <a:cubicBezTo>
                    <a:pt x="4524851" y="317659"/>
                    <a:pt x="4524851" y="325279"/>
                    <a:pt x="4523899" y="333851"/>
                  </a:cubicBezTo>
                  <a:cubicBezTo>
                    <a:pt x="4523899" y="334804"/>
                    <a:pt x="4523899" y="336709"/>
                    <a:pt x="4523899" y="337661"/>
                  </a:cubicBezTo>
                  <a:cubicBezTo>
                    <a:pt x="4523899" y="338614"/>
                    <a:pt x="4523899" y="338614"/>
                    <a:pt x="4522947" y="339566"/>
                  </a:cubicBezTo>
                  <a:cubicBezTo>
                    <a:pt x="4521041" y="333851"/>
                    <a:pt x="4519137" y="328136"/>
                    <a:pt x="4517231" y="322421"/>
                  </a:cubicBezTo>
                  <a:cubicBezTo>
                    <a:pt x="4516279" y="314801"/>
                    <a:pt x="4515326" y="307181"/>
                    <a:pt x="4514374" y="301466"/>
                  </a:cubicBezTo>
                  <a:cubicBezTo>
                    <a:pt x="4515326" y="299561"/>
                    <a:pt x="4516279" y="298609"/>
                    <a:pt x="4517231" y="297656"/>
                  </a:cubicBezTo>
                  <a:cubicBezTo>
                    <a:pt x="4520089" y="293846"/>
                    <a:pt x="4521041" y="291941"/>
                    <a:pt x="4521041" y="291941"/>
                  </a:cubicBezTo>
                  <a:cubicBezTo>
                    <a:pt x="4521041" y="291941"/>
                    <a:pt x="4519137" y="293846"/>
                    <a:pt x="4516279" y="297656"/>
                  </a:cubicBezTo>
                  <a:cubicBezTo>
                    <a:pt x="4515326" y="298609"/>
                    <a:pt x="4515326" y="299561"/>
                    <a:pt x="4514374" y="300514"/>
                  </a:cubicBezTo>
                  <a:cubicBezTo>
                    <a:pt x="4514374" y="299561"/>
                    <a:pt x="4514374" y="299561"/>
                    <a:pt x="4514374" y="298609"/>
                  </a:cubicBezTo>
                  <a:cubicBezTo>
                    <a:pt x="4515326" y="296704"/>
                    <a:pt x="4516279" y="294799"/>
                    <a:pt x="4517231" y="293846"/>
                  </a:cubicBezTo>
                  <a:cubicBezTo>
                    <a:pt x="4519137" y="290036"/>
                    <a:pt x="4520089" y="288131"/>
                    <a:pt x="4520089" y="288131"/>
                  </a:cubicBezTo>
                  <a:cubicBezTo>
                    <a:pt x="4520089" y="288131"/>
                    <a:pt x="4519137" y="290036"/>
                    <a:pt x="4516279" y="292894"/>
                  </a:cubicBezTo>
                  <a:cubicBezTo>
                    <a:pt x="4515326" y="293846"/>
                    <a:pt x="4515326" y="294799"/>
                    <a:pt x="4514374" y="295751"/>
                  </a:cubicBezTo>
                  <a:cubicBezTo>
                    <a:pt x="4513422" y="290036"/>
                    <a:pt x="4512469" y="285274"/>
                    <a:pt x="4512469" y="281464"/>
                  </a:cubicBezTo>
                  <a:cubicBezTo>
                    <a:pt x="4511516" y="272891"/>
                    <a:pt x="4511516" y="268129"/>
                    <a:pt x="4511516" y="268129"/>
                  </a:cubicBezTo>
                  <a:cubicBezTo>
                    <a:pt x="4511516" y="268129"/>
                    <a:pt x="4511516" y="270034"/>
                    <a:pt x="4510564" y="272891"/>
                  </a:cubicBezTo>
                  <a:cubicBezTo>
                    <a:pt x="4508659" y="259556"/>
                    <a:pt x="4506754" y="250984"/>
                    <a:pt x="4506754" y="250984"/>
                  </a:cubicBezTo>
                  <a:cubicBezTo>
                    <a:pt x="4506754" y="250984"/>
                    <a:pt x="4506754" y="267176"/>
                    <a:pt x="4506754" y="292894"/>
                  </a:cubicBezTo>
                  <a:cubicBezTo>
                    <a:pt x="4504849" y="289084"/>
                    <a:pt x="4502944" y="285274"/>
                    <a:pt x="4501991" y="282416"/>
                  </a:cubicBezTo>
                  <a:cubicBezTo>
                    <a:pt x="4499134" y="276701"/>
                    <a:pt x="4496276" y="271939"/>
                    <a:pt x="4494372" y="267176"/>
                  </a:cubicBezTo>
                  <a:cubicBezTo>
                    <a:pt x="4491514" y="262414"/>
                    <a:pt x="4489609" y="258604"/>
                    <a:pt x="4486751" y="254794"/>
                  </a:cubicBezTo>
                  <a:cubicBezTo>
                    <a:pt x="4483894" y="250984"/>
                    <a:pt x="4481989" y="248126"/>
                    <a:pt x="4480084" y="245269"/>
                  </a:cubicBezTo>
                  <a:cubicBezTo>
                    <a:pt x="4478179" y="242411"/>
                    <a:pt x="4476274" y="240506"/>
                    <a:pt x="4474369" y="238601"/>
                  </a:cubicBezTo>
                  <a:cubicBezTo>
                    <a:pt x="4471512" y="235744"/>
                    <a:pt x="4470559" y="233839"/>
                    <a:pt x="4469606" y="233839"/>
                  </a:cubicBezTo>
                  <a:cubicBezTo>
                    <a:pt x="4470559" y="230981"/>
                    <a:pt x="4471512" y="228124"/>
                    <a:pt x="4471512" y="225266"/>
                  </a:cubicBezTo>
                  <a:cubicBezTo>
                    <a:pt x="4474369" y="214789"/>
                    <a:pt x="4476274" y="206216"/>
                    <a:pt x="4477226" y="198596"/>
                  </a:cubicBezTo>
                  <a:cubicBezTo>
                    <a:pt x="4480084" y="184309"/>
                    <a:pt x="4481037" y="175736"/>
                    <a:pt x="4481037" y="175736"/>
                  </a:cubicBezTo>
                  <a:cubicBezTo>
                    <a:pt x="4481037" y="175736"/>
                    <a:pt x="4478179" y="183356"/>
                    <a:pt x="4473416" y="197644"/>
                  </a:cubicBezTo>
                  <a:cubicBezTo>
                    <a:pt x="4471512" y="204311"/>
                    <a:pt x="4467701" y="212884"/>
                    <a:pt x="4463891" y="222409"/>
                  </a:cubicBezTo>
                  <a:cubicBezTo>
                    <a:pt x="4461034" y="229076"/>
                    <a:pt x="4458176" y="236696"/>
                    <a:pt x="4455319" y="244316"/>
                  </a:cubicBezTo>
                  <a:cubicBezTo>
                    <a:pt x="4454366" y="240506"/>
                    <a:pt x="4453414" y="237649"/>
                    <a:pt x="4453414" y="237649"/>
                  </a:cubicBezTo>
                  <a:cubicBezTo>
                    <a:pt x="4453414" y="237649"/>
                    <a:pt x="4453414" y="240506"/>
                    <a:pt x="4454366" y="247174"/>
                  </a:cubicBezTo>
                  <a:cubicBezTo>
                    <a:pt x="4453414" y="249079"/>
                    <a:pt x="4452462" y="251936"/>
                    <a:pt x="4451509" y="253841"/>
                  </a:cubicBezTo>
                  <a:cubicBezTo>
                    <a:pt x="4446747" y="265271"/>
                    <a:pt x="4441984" y="276701"/>
                    <a:pt x="4436269" y="289084"/>
                  </a:cubicBezTo>
                  <a:cubicBezTo>
                    <a:pt x="4436269" y="288131"/>
                    <a:pt x="4435316" y="288131"/>
                    <a:pt x="4435316" y="287179"/>
                  </a:cubicBezTo>
                  <a:cubicBezTo>
                    <a:pt x="4436269" y="283369"/>
                    <a:pt x="4437222" y="278606"/>
                    <a:pt x="4438174" y="274796"/>
                  </a:cubicBezTo>
                  <a:cubicBezTo>
                    <a:pt x="4440079" y="265271"/>
                    <a:pt x="4441984" y="255746"/>
                    <a:pt x="4444841" y="247174"/>
                  </a:cubicBezTo>
                  <a:cubicBezTo>
                    <a:pt x="4449604" y="229076"/>
                    <a:pt x="4452462" y="211931"/>
                    <a:pt x="4454366" y="195739"/>
                  </a:cubicBezTo>
                  <a:cubicBezTo>
                    <a:pt x="4457224" y="179546"/>
                    <a:pt x="4459129" y="165259"/>
                    <a:pt x="4460081" y="151924"/>
                  </a:cubicBezTo>
                  <a:cubicBezTo>
                    <a:pt x="4461034" y="145256"/>
                    <a:pt x="4461987" y="139541"/>
                    <a:pt x="4461987" y="133826"/>
                  </a:cubicBezTo>
                  <a:cubicBezTo>
                    <a:pt x="4461987" y="128111"/>
                    <a:pt x="4462939" y="123349"/>
                    <a:pt x="4462939" y="118586"/>
                  </a:cubicBezTo>
                  <a:cubicBezTo>
                    <a:pt x="4463891" y="99536"/>
                    <a:pt x="4463891" y="89059"/>
                    <a:pt x="4463891" y="89059"/>
                  </a:cubicBezTo>
                  <a:cubicBezTo>
                    <a:pt x="4463891" y="89059"/>
                    <a:pt x="4461987" y="99536"/>
                    <a:pt x="4458176" y="118586"/>
                  </a:cubicBezTo>
                  <a:cubicBezTo>
                    <a:pt x="4457224" y="123349"/>
                    <a:pt x="4456272" y="128111"/>
                    <a:pt x="4455319" y="133826"/>
                  </a:cubicBezTo>
                  <a:cubicBezTo>
                    <a:pt x="4454366" y="139541"/>
                    <a:pt x="4452462" y="145256"/>
                    <a:pt x="4451509" y="151924"/>
                  </a:cubicBezTo>
                  <a:cubicBezTo>
                    <a:pt x="4448651" y="164306"/>
                    <a:pt x="4445794" y="178594"/>
                    <a:pt x="4441984" y="194786"/>
                  </a:cubicBezTo>
                  <a:cubicBezTo>
                    <a:pt x="4438174" y="210026"/>
                    <a:pt x="4434364" y="227171"/>
                    <a:pt x="4428649" y="245269"/>
                  </a:cubicBezTo>
                  <a:cubicBezTo>
                    <a:pt x="4426744" y="252889"/>
                    <a:pt x="4423887" y="261461"/>
                    <a:pt x="4421981" y="269081"/>
                  </a:cubicBezTo>
                  <a:cubicBezTo>
                    <a:pt x="4419124" y="265271"/>
                    <a:pt x="4417219" y="261461"/>
                    <a:pt x="4414362" y="258604"/>
                  </a:cubicBezTo>
                  <a:cubicBezTo>
                    <a:pt x="4406741" y="247174"/>
                    <a:pt x="4400074" y="237649"/>
                    <a:pt x="4394359" y="230029"/>
                  </a:cubicBezTo>
                  <a:cubicBezTo>
                    <a:pt x="4391501" y="227171"/>
                    <a:pt x="4389597" y="224314"/>
                    <a:pt x="4387691" y="221456"/>
                  </a:cubicBezTo>
                  <a:cubicBezTo>
                    <a:pt x="4392454" y="195739"/>
                    <a:pt x="4395312" y="180499"/>
                    <a:pt x="4395312" y="180499"/>
                  </a:cubicBezTo>
                  <a:cubicBezTo>
                    <a:pt x="4395312" y="180499"/>
                    <a:pt x="4390549" y="193834"/>
                    <a:pt x="4382929" y="215741"/>
                  </a:cubicBezTo>
                  <a:cubicBezTo>
                    <a:pt x="4378166" y="209074"/>
                    <a:pt x="4375309" y="206216"/>
                    <a:pt x="4375309" y="206216"/>
                  </a:cubicBezTo>
                  <a:cubicBezTo>
                    <a:pt x="4375309" y="206216"/>
                    <a:pt x="4378166" y="210979"/>
                    <a:pt x="4381976" y="218599"/>
                  </a:cubicBezTo>
                  <a:cubicBezTo>
                    <a:pt x="4378166" y="230029"/>
                    <a:pt x="4374356" y="244316"/>
                    <a:pt x="4369594" y="259556"/>
                  </a:cubicBezTo>
                  <a:cubicBezTo>
                    <a:pt x="4368641" y="248126"/>
                    <a:pt x="4368641" y="241459"/>
                    <a:pt x="4368641" y="241459"/>
                  </a:cubicBezTo>
                  <a:cubicBezTo>
                    <a:pt x="4368641" y="241459"/>
                    <a:pt x="4367689" y="249079"/>
                    <a:pt x="4366737" y="263366"/>
                  </a:cubicBezTo>
                  <a:cubicBezTo>
                    <a:pt x="4366737" y="267176"/>
                    <a:pt x="4365784" y="270986"/>
                    <a:pt x="4365784" y="274796"/>
                  </a:cubicBezTo>
                  <a:cubicBezTo>
                    <a:pt x="4364831" y="277654"/>
                    <a:pt x="4363879" y="281464"/>
                    <a:pt x="4362926" y="285274"/>
                  </a:cubicBezTo>
                  <a:cubicBezTo>
                    <a:pt x="4362926" y="284321"/>
                    <a:pt x="4362926" y="283369"/>
                    <a:pt x="4362926" y="282416"/>
                  </a:cubicBezTo>
                  <a:cubicBezTo>
                    <a:pt x="4361974" y="269081"/>
                    <a:pt x="4361022" y="261461"/>
                    <a:pt x="4361022" y="261461"/>
                  </a:cubicBezTo>
                  <a:cubicBezTo>
                    <a:pt x="4361022" y="261461"/>
                    <a:pt x="4360069" y="269081"/>
                    <a:pt x="4359116" y="283369"/>
                  </a:cubicBezTo>
                  <a:cubicBezTo>
                    <a:pt x="4359116" y="285274"/>
                    <a:pt x="4359116" y="288131"/>
                    <a:pt x="4359116" y="290989"/>
                  </a:cubicBezTo>
                  <a:cubicBezTo>
                    <a:pt x="4358164" y="291941"/>
                    <a:pt x="4358164" y="293846"/>
                    <a:pt x="4357212" y="295751"/>
                  </a:cubicBezTo>
                  <a:cubicBezTo>
                    <a:pt x="4355306" y="291941"/>
                    <a:pt x="4353401" y="288131"/>
                    <a:pt x="4351497" y="284321"/>
                  </a:cubicBezTo>
                  <a:cubicBezTo>
                    <a:pt x="4351497" y="274796"/>
                    <a:pt x="4351497" y="266224"/>
                    <a:pt x="4351497" y="257651"/>
                  </a:cubicBezTo>
                  <a:cubicBezTo>
                    <a:pt x="4351497" y="250984"/>
                    <a:pt x="4351497" y="245269"/>
                    <a:pt x="4351497" y="238601"/>
                  </a:cubicBezTo>
                  <a:cubicBezTo>
                    <a:pt x="4351497" y="232886"/>
                    <a:pt x="4350544" y="227171"/>
                    <a:pt x="4349591" y="221456"/>
                  </a:cubicBezTo>
                  <a:cubicBezTo>
                    <a:pt x="4348639" y="210979"/>
                    <a:pt x="4346734" y="201454"/>
                    <a:pt x="4345781" y="194786"/>
                  </a:cubicBezTo>
                  <a:cubicBezTo>
                    <a:pt x="4343876" y="179546"/>
                    <a:pt x="4342924" y="170974"/>
                    <a:pt x="4342924" y="170974"/>
                  </a:cubicBezTo>
                  <a:cubicBezTo>
                    <a:pt x="4342924" y="170974"/>
                    <a:pt x="4342924" y="179546"/>
                    <a:pt x="4341972" y="194786"/>
                  </a:cubicBezTo>
                  <a:cubicBezTo>
                    <a:pt x="4341972" y="201454"/>
                    <a:pt x="4341972" y="209074"/>
                    <a:pt x="4341972" y="217646"/>
                  </a:cubicBezTo>
                  <a:cubicBezTo>
                    <a:pt x="4341019" y="210026"/>
                    <a:pt x="4340066" y="205264"/>
                    <a:pt x="4340066" y="205264"/>
                  </a:cubicBezTo>
                  <a:cubicBezTo>
                    <a:pt x="4340066" y="205264"/>
                    <a:pt x="4340066" y="212884"/>
                    <a:pt x="4339114" y="226219"/>
                  </a:cubicBezTo>
                  <a:cubicBezTo>
                    <a:pt x="4339114" y="232886"/>
                    <a:pt x="4339114" y="240506"/>
                    <a:pt x="4338162" y="250031"/>
                  </a:cubicBezTo>
                  <a:cubicBezTo>
                    <a:pt x="4338162" y="250984"/>
                    <a:pt x="4338162" y="251936"/>
                    <a:pt x="4338162" y="252889"/>
                  </a:cubicBezTo>
                  <a:cubicBezTo>
                    <a:pt x="4338162" y="251936"/>
                    <a:pt x="4337209" y="250984"/>
                    <a:pt x="4337209" y="250984"/>
                  </a:cubicBezTo>
                  <a:cubicBezTo>
                    <a:pt x="4330541" y="231934"/>
                    <a:pt x="4324826" y="213836"/>
                    <a:pt x="4318159" y="196691"/>
                  </a:cubicBezTo>
                  <a:cubicBezTo>
                    <a:pt x="4306729" y="163354"/>
                    <a:pt x="4296251" y="135731"/>
                    <a:pt x="4289584" y="116681"/>
                  </a:cubicBezTo>
                  <a:cubicBezTo>
                    <a:pt x="4282916" y="97631"/>
                    <a:pt x="4278154" y="86201"/>
                    <a:pt x="4278154" y="86201"/>
                  </a:cubicBezTo>
                  <a:cubicBezTo>
                    <a:pt x="4278154" y="86201"/>
                    <a:pt x="4281012" y="97631"/>
                    <a:pt x="4285774" y="117634"/>
                  </a:cubicBezTo>
                  <a:cubicBezTo>
                    <a:pt x="4291489" y="137636"/>
                    <a:pt x="4298156" y="166211"/>
                    <a:pt x="4307681" y="199549"/>
                  </a:cubicBezTo>
                  <a:cubicBezTo>
                    <a:pt x="4315301" y="228124"/>
                    <a:pt x="4324826" y="261461"/>
                    <a:pt x="4334351" y="295751"/>
                  </a:cubicBezTo>
                  <a:cubicBezTo>
                    <a:pt x="4334351" y="295751"/>
                    <a:pt x="4334351" y="296704"/>
                    <a:pt x="4334351" y="296704"/>
                  </a:cubicBezTo>
                  <a:cubicBezTo>
                    <a:pt x="4334351" y="295751"/>
                    <a:pt x="4334351" y="294799"/>
                    <a:pt x="4334351" y="294799"/>
                  </a:cubicBezTo>
                  <a:cubicBezTo>
                    <a:pt x="4334351" y="294799"/>
                    <a:pt x="4334351" y="296704"/>
                    <a:pt x="4334351" y="301466"/>
                  </a:cubicBezTo>
                  <a:cubicBezTo>
                    <a:pt x="4334351" y="306229"/>
                    <a:pt x="4333399" y="310991"/>
                    <a:pt x="4333399" y="315754"/>
                  </a:cubicBezTo>
                  <a:cubicBezTo>
                    <a:pt x="4332447" y="325279"/>
                    <a:pt x="4331494" y="334804"/>
                    <a:pt x="4329589" y="344329"/>
                  </a:cubicBezTo>
                  <a:cubicBezTo>
                    <a:pt x="4329589" y="344329"/>
                    <a:pt x="4328637" y="343376"/>
                    <a:pt x="4328637" y="343376"/>
                  </a:cubicBezTo>
                  <a:cubicBezTo>
                    <a:pt x="4327684" y="342424"/>
                    <a:pt x="4327684" y="341471"/>
                    <a:pt x="4326731" y="340519"/>
                  </a:cubicBezTo>
                  <a:cubicBezTo>
                    <a:pt x="4326731" y="338614"/>
                    <a:pt x="4325779" y="335756"/>
                    <a:pt x="4325779" y="333851"/>
                  </a:cubicBezTo>
                  <a:cubicBezTo>
                    <a:pt x="4321969" y="309086"/>
                    <a:pt x="4318159" y="286226"/>
                    <a:pt x="4315301" y="267176"/>
                  </a:cubicBezTo>
                  <a:cubicBezTo>
                    <a:pt x="4308634" y="228124"/>
                    <a:pt x="4301966" y="202406"/>
                    <a:pt x="4301966" y="202406"/>
                  </a:cubicBezTo>
                  <a:cubicBezTo>
                    <a:pt x="4301966" y="202406"/>
                    <a:pt x="4301966" y="229076"/>
                    <a:pt x="4303872" y="268129"/>
                  </a:cubicBezTo>
                  <a:cubicBezTo>
                    <a:pt x="4303872" y="270034"/>
                    <a:pt x="4303872" y="271939"/>
                    <a:pt x="4303872" y="274796"/>
                  </a:cubicBezTo>
                  <a:cubicBezTo>
                    <a:pt x="4302919" y="279559"/>
                    <a:pt x="4302919" y="284321"/>
                    <a:pt x="4301966" y="290036"/>
                  </a:cubicBezTo>
                  <a:cubicBezTo>
                    <a:pt x="4301966" y="292894"/>
                    <a:pt x="4301014" y="296704"/>
                    <a:pt x="4300062" y="300514"/>
                  </a:cubicBezTo>
                  <a:cubicBezTo>
                    <a:pt x="4296251" y="295751"/>
                    <a:pt x="4292441" y="290989"/>
                    <a:pt x="4288631" y="286226"/>
                  </a:cubicBezTo>
                  <a:cubicBezTo>
                    <a:pt x="4292441" y="292894"/>
                    <a:pt x="4295299" y="298609"/>
                    <a:pt x="4299109" y="305276"/>
                  </a:cubicBezTo>
                  <a:cubicBezTo>
                    <a:pt x="4298156" y="310991"/>
                    <a:pt x="4297204" y="316706"/>
                    <a:pt x="4296251" y="323374"/>
                  </a:cubicBezTo>
                  <a:cubicBezTo>
                    <a:pt x="4295299" y="330041"/>
                    <a:pt x="4293394" y="337661"/>
                    <a:pt x="4292441" y="346234"/>
                  </a:cubicBezTo>
                  <a:cubicBezTo>
                    <a:pt x="4291489" y="345281"/>
                    <a:pt x="4291489" y="344329"/>
                    <a:pt x="4290537" y="343376"/>
                  </a:cubicBezTo>
                  <a:cubicBezTo>
                    <a:pt x="4289584" y="330994"/>
                    <a:pt x="4289584" y="319564"/>
                    <a:pt x="4288631" y="308134"/>
                  </a:cubicBezTo>
                  <a:cubicBezTo>
                    <a:pt x="4285774" y="262414"/>
                    <a:pt x="4281964" y="231934"/>
                    <a:pt x="4281964" y="231934"/>
                  </a:cubicBezTo>
                  <a:cubicBezTo>
                    <a:pt x="4281964" y="231934"/>
                    <a:pt x="4279106" y="262414"/>
                    <a:pt x="4277201" y="309086"/>
                  </a:cubicBezTo>
                  <a:cubicBezTo>
                    <a:pt x="4277201" y="311944"/>
                    <a:pt x="4277201" y="315754"/>
                    <a:pt x="4277201" y="318611"/>
                  </a:cubicBezTo>
                  <a:cubicBezTo>
                    <a:pt x="4276249" y="315754"/>
                    <a:pt x="4274344" y="312896"/>
                    <a:pt x="4273391" y="310039"/>
                  </a:cubicBezTo>
                  <a:cubicBezTo>
                    <a:pt x="4273391" y="308134"/>
                    <a:pt x="4272439" y="305276"/>
                    <a:pt x="4272439" y="303371"/>
                  </a:cubicBezTo>
                  <a:cubicBezTo>
                    <a:pt x="4271487" y="292894"/>
                    <a:pt x="4271487" y="283369"/>
                    <a:pt x="4270534" y="273844"/>
                  </a:cubicBezTo>
                  <a:cubicBezTo>
                    <a:pt x="4270534" y="269081"/>
                    <a:pt x="4269581" y="265271"/>
                    <a:pt x="4269581" y="260509"/>
                  </a:cubicBezTo>
                  <a:cubicBezTo>
                    <a:pt x="4269581" y="258604"/>
                    <a:pt x="4269581" y="257651"/>
                    <a:pt x="4269581" y="255746"/>
                  </a:cubicBezTo>
                  <a:cubicBezTo>
                    <a:pt x="4269581" y="248126"/>
                    <a:pt x="4270534" y="241459"/>
                    <a:pt x="4270534" y="234791"/>
                  </a:cubicBezTo>
                  <a:cubicBezTo>
                    <a:pt x="4273391" y="187166"/>
                    <a:pt x="4273391" y="155734"/>
                    <a:pt x="4273391" y="155734"/>
                  </a:cubicBezTo>
                  <a:cubicBezTo>
                    <a:pt x="4273391" y="155734"/>
                    <a:pt x="4265772" y="187166"/>
                    <a:pt x="4259104" y="233839"/>
                  </a:cubicBezTo>
                  <a:cubicBezTo>
                    <a:pt x="4257199" y="245269"/>
                    <a:pt x="4255294" y="258604"/>
                    <a:pt x="4253389" y="271939"/>
                  </a:cubicBezTo>
                  <a:cubicBezTo>
                    <a:pt x="4253389" y="270986"/>
                    <a:pt x="4252437" y="270986"/>
                    <a:pt x="4252437" y="270034"/>
                  </a:cubicBezTo>
                  <a:cubicBezTo>
                    <a:pt x="4252437" y="267176"/>
                    <a:pt x="4253389" y="264319"/>
                    <a:pt x="4253389" y="262414"/>
                  </a:cubicBezTo>
                  <a:cubicBezTo>
                    <a:pt x="4255294" y="248126"/>
                    <a:pt x="4255294" y="240506"/>
                    <a:pt x="4255294" y="240506"/>
                  </a:cubicBezTo>
                  <a:cubicBezTo>
                    <a:pt x="4255294" y="240506"/>
                    <a:pt x="4253389" y="248126"/>
                    <a:pt x="4249579" y="262414"/>
                  </a:cubicBezTo>
                  <a:cubicBezTo>
                    <a:pt x="4249579" y="263366"/>
                    <a:pt x="4249579" y="264319"/>
                    <a:pt x="4248626" y="264319"/>
                  </a:cubicBezTo>
                  <a:cubicBezTo>
                    <a:pt x="4247674" y="263366"/>
                    <a:pt x="4247674" y="262414"/>
                    <a:pt x="4246722" y="261461"/>
                  </a:cubicBezTo>
                  <a:cubicBezTo>
                    <a:pt x="4245769" y="260509"/>
                    <a:pt x="4244816" y="259556"/>
                    <a:pt x="4244816" y="257651"/>
                  </a:cubicBezTo>
                  <a:cubicBezTo>
                    <a:pt x="4244816" y="253841"/>
                    <a:pt x="4244816" y="251936"/>
                    <a:pt x="4244816" y="251936"/>
                  </a:cubicBezTo>
                  <a:cubicBezTo>
                    <a:pt x="4244816" y="251936"/>
                    <a:pt x="4244816" y="253841"/>
                    <a:pt x="4243864" y="256699"/>
                  </a:cubicBezTo>
                  <a:cubicBezTo>
                    <a:pt x="4242912" y="254794"/>
                    <a:pt x="4241959" y="252889"/>
                    <a:pt x="4240054" y="251936"/>
                  </a:cubicBezTo>
                  <a:cubicBezTo>
                    <a:pt x="4236244" y="246221"/>
                    <a:pt x="4232434" y="240506"/>
                    <a:pt x="4229576" y="235744"/>
                  </a:cubicBezTo>
                  <a:cubicBezTo>
                    <a:pt x="4223862" y="227171"/>
                    <a:pt x="4220051" y="222409"/>
                    <a:pt x="4220051" y="222409"/>
                  </a:cubicBezTo>
                  <a:cubicBezTo>
                    <a:pt x="4220051" y="222409"/>
                    <a:pt x="4221956" y="228124"/>
                    <a:pt x="4226719" y="237649"/>
                  </a:cubicBezTo>
                  <a:cubicBezTo>
                    <a:pt x="4228624" y="242411"/>
                    <a:pt x="4231481" y="248126"/>
                    <a:pt x="4234339" y="254794"/>
                  </a:cubicBezTo>
                  <a:cubicBezTo>
                    <a:pt x="4235291" y="255746"/>
                    <a:pt x="4235291" y="257651"/>
                    <a:pt x="4236244" y="258604"/>
                  </a:cubicBezTo>
                  <a:cubicBezTo>
                    <a:pt x="4234339" y="256699"/>
                    <a:pt x="4233387" y="253841"/>
                    <a:pt x="4231481" y="251936"/>
                  </a:cubicBezTo>
                  <a:cubicBezTo>
                    <a:pt x="4227672" y="246221"/>
                    <a:pt x="4223862" y="242411"/>
                    <a:pt x="4220051" y="237649"/>
                  </a:cubicBezTo>
                  <a:cubicBezTo>
                    <a:pt x="4213384" y="229076"/>
                    <a:pt x="4206716" y="223361"/>
                    <a:pt x="4202906" y="219551"/>
                  </a:cubicBezTo>
                  <a:cubicBezTo>
                    <a:pt x="4199097" y="215741"/>
                    <a:pt x="4196239" y="213836"/>
                    <a:pt x="4196239" y="213836"/>
                  </a:cubicBezTo>
                  <a:cubicBezTo>
                    <a:pt x="4196239" y="213836"/>
                    <a:pt x="4198144" y="216694"/>
                    <a:pt x="4201954" y="220504"/>
                  </a:cubicBezTo>
                  <a:cubicBezTo>
                    <a:pt x="4205764" y="225266"/>
                    <a:pt x="4211479" y="230981"/>
                    <a:pt x="4216241" y="240506"/>
                  </a:cubicBezTo>
                  <a:cubicBezTo>
                    <a:pt x="4219099" y="245269"/>
                    <a:pt x="4222909" y="250031"/>
                    <a:pt x="4225766" y="255746"/>
                  </a:cubicBezTo>
                  <a:cubicBezTo>
                    <a:pt x="4228624" y="261461"/>
                    <a:pt x="4232434" y="267176"/>
                    <a:pt x="4235291" y="273844"/>
                  </a:cubicBezTo>
                  <a:cubicBezTo>
                    <a:pt x="4235291" y="273844"/>
                    <a:pt x="4235291" y="273844"/>
                    <a:pt x="4235291" y="274796"/>
                  </a:cubicBezTo>
                  <a:cubicBezTo>
                    <a:pt x="4235291" y="276701"/>
                    <a:pt x="4235291" y="279559"/>
                    <a:pt x="4235291" y="282416"/>
                  </a:cubicBezTo>
                  <a:cubicBezTo>
                    <a:pt x="4235291" y="282416"/>
                    <a:pt x="4234339" y="281464"/>
                    <a:pt x="4234339" y="281464"/>
                  </a:cubicBezTo>
                  <a:cubicBezTo>
                    <a:pt x="4231481" y="277654"/>
                    <a:pt x="4229576" y="276701"/>
                    <a:pt x="4229576" y="276701"/>
                  </a:cubicBezTo>
                  <a:cubicBezTo>
                    <a:pt x="4229576" y="276701"/>
                    <a:pt x="4231481" y="278606"/>
                    <a:pt x="4233387" y="282416"/>
                  </a:cubicBezTo>
                  <a:cubicBezTo>
                    <a:pt x="4233387" y="283369"/>
                    <a:pt x="4234339" y="283369"/>
                    <a:pt x="4235291" y="284321"/>
                  </a:cubicBezTo>
                  <a:cubicBezTo>
                    <a:pt x="4235291" y="284321"/>
                    <a:pt x="4235291" y="284321"/>
                    <a:pt x="4235291" y="285274"/>
                  </a:cubicBezTo>
                  <a:cubicBezTo>
                    <a:pt x="4233387" y="292894"/>
                    <a:pt x="4231481" y="301466"/>
                    <a:pt x="4229576" y="310039"/>
                  </a:cubicBezTo>
                  <a:cubicBezTo>
                    <a:pt x="4225766" y="301466"/>
                    <a:pt x="4222909" y="295751"/>
                    <a:pt x="4222909" y="295751"/>
                  </a:cubicBezTo>
                  <a:cubicBezTo>
                    <a:pt x="4222909" y="295751"/>
                    <a:pt x="4224814" y="303371"/>
                    <a:pt x="4228624" y="316706"/>
                  </a:cubicBezTo>
                  <a:cubicBezTo>
                    <a:pt x="4227672" y="319564"/>
                    <a:pt x="4227672" y="323374"/>
                    <a:pt x="4226719" y="327184"/>
                  </a:cubicBezTo>
                  <a:cubicBezTo>
                    <a:pt x="4225766" y="331946"/>
                    <a:pt x="4224814" y="336709"/>
                    <a:pt x="4223862" y="341471"/>
                  </a:cubicBezTo>
                  <a:cubicBezTo>
                    <a:pt x="4223862" y="338614"/>
                    <a:pt x="4222909" y="336709"/>
                    <a:pt x="4222909" y="334804"/>
                  </a:cubicBezTo>
                  <a:cubicBezTo>
                    <a:pt x="4221004" y="320516"/>
                    <a:pt x="4219099" y="311944"/>
                    <a:pt x="4219099" y="311944"/>
                  </a:cubicBezTo>
                  <a:cubicBezTo>
                    <a:pt x="4219099" y="311944"/>
                    <a:pt x="4219099" y="319564"/>
                    <a:pt x="4219099" y="331946"/>
                  </a:cubicBezTo>
                  <a:cubicBezTo>
                    <a:pt x="4218147" y="329089"/>
                    <a:pt x="4218147" y="326231"/>
                    <a:pt x="4217194" y="322421"/>
                  </a:cubicBezTo>
                  <a:cubicBezTo>
                    <a:pt x="4206716" y="272891"/>
                    <a:pt x="4198144" y="240506"/>
                    <a:pt x="4198144" y="240506"/>
                  </a:cubicBezTo>
                  <a:cubicBezTo>
                    <a:pt x="4198144" y="240506"/>
                    <a:pt x="4200049" y="273844"/>
                    <a:pt x="4205764" y="323374"/>
                  </a:cubicBezTo>
                  <a:cubicBezTo>
                    <a:pt x="4206716" y="335756"/>
                    <a:pt x="4208622" y="350044"/>
                    <a:pt x="4210526" y="364331"/>
                  </a:cubicBezTo>
                  <a:cubicBezTo>
                    <a:pt x="4210526" y="364331"/>
                    <a:pt x="4210526" y="363379"/>
                    <a:pt x="4210526" y="363379"/>
                  </a:cubicBezTo>
                  <a:cubicBezTo>
                    <a:pt x="4209574" y="357664"/>
                    <a:pt x="4207669" y="353854"/>
                    <a:pt x="4206716" y="350044"/>
                  </a:cubicBezTo>
                  <a:cubicBezTo>
                    <a:pt x="4204812" y="342424"/>
                    <a:pt x="4202906" y="338614"/>
                    <a:pt x="4202906" y="338614"/>
                  </a:cubicBezTo>
                  <a:cubicBezTo>
                    <a:pt x="4202906" y="338614"/>
                    <a:pt x="4202906" y="343376"/>
                    <a:pt x="4202906" y="350996"/>
                  </a:cubicBezTo>
                  <a:cubicBezTo>
                    <a:pt x="4202906" y="354806"/>
                    <a:pt x="4202906" y="359569"/>
                    <a:pt x="4202906" y="365284"/>
                  </a:cubicBezTo>
                  <a:cubicBezTo>
                    <a:pt x="4202906" y="368141"/>
                    <a:pt x="4202906" y="370999"/>
                    <a:pt x="4202906" y="373856"/>
                  </a:cubicBezTo>
                  <a:cubicBezTo>
                    <a:pt x="4202906" y="375761"/>
                    <a:pt x="4202906" y="377666"/>
                    <a:pt x="4202906" y="380524"/>
                  </a:cubicBezTo>
                  <a:cubicBezTo>
                    <a:pt x="4202906" y="379571"/>
                    <a:pt x="4202906" y="379571"/>
                    <a:pt x="4201954" y="378619"/>
                  </a:cubicBezTo>
                  <a:cubicBezTo>
                    <a:pt x="4201954" y="372904"/>
                    <a:pt x="4201001" y="367189"/>
                    <a:pt x="4201001" y="361474"/>
                  </a:cubicBezTo>
                  <a:cubicBezTo>
                    <a:pt x="4199097" y="318611"/>
                    <a:pt x="4196239" y="290989"/>
                    <a:pt x="4196239" y="290989"/>
                  </a:cubicBezTo>
                  <a:cubicBezTo>
                    <a:pt x="4196239" y="290989"/>
                    <a:pt x="4193381" y="310991"/>
                    <a:pt x="4191476" y="343376"/>
                  </a:cubicBezTo>
                  <a:cubicBezTo>
                    <a:pt x="4190524" y="340519"/>
                    <a:pt x="4189571" y="338614"/>
                    <a:pt x="4188619" y="335756"/>
                  </a:cubicBezTo>
                  <a:cubicBezTo>
                    <a:pt x="4185761" y="329089"/>
                    <a:pt x="4183856" y="323374"/>
                    <a:pt x="4181951" y="319564"/>
                  </a:cubicBezTo>
                  <a:cubicBezTo>
                    <a:pt x="4181951" y="318611"/>
                    <a:pt x="4180999" y="317659"/>
                    <a:pt x="4180999" y="316706"/>
                  </a:cubicBezTo>
                  <a:cubicBezTo>
                    <a:pt x="4180999" y="291941"/>
                    <a:pt x="4180999" y="271939"/>
                    <a:pt x="4180999" y="256699"/>
                  </a:cubicBezTo>
                  <a:cubicBezTo>
                    <a:pt x="4180999" y="239554"/>
                    <a:pt x="4180999" y="230029"/>
                    <a:pt x="4180999" y="230029"/>
                  </a:cubicBezTo>
                  <a:cubicBezTo>
                    <a:pt x="4180999" y="230029"/>
                    <a:pt x="4180046" y="239554"/>
                    <a:pt x="4177189" y="256699"/>
                  </a:cubicBezTo>
                  <a:cubicBezTo>
                    <a:pt x="4177189" y="260509"/>
                    <a:pt x="4176236" y="265271"/>
                    <a:pt x="4175284" y="270034"/>
                  </a:cubicBezTo>
                  <a:cubicBezTo>
                    <a:pt x="4175284" y="263366"/>
                    <a:pt x="4174331" y="257651"/>
                    <a:pt x="4174331" y="251936"/>
                  </a:cubicBezTo>
                  <a:cubicBezTo>
                    <a:pt x="4172426" y="207169"/>
                    <a:pt x="4168616" y="176689"/>
                    <a:pt x="4168616" y="176689"/>
                  </a:cubicBezTo>
                  <a:cubicBezTo>
                    <a:pt x="4168616" y="176689"/>
                    <a:pt x="4164806" y="207169"/>
                    <a:pt x="4162901" y="251936"/>
                  </a:cubicBezTo>
                  <a:cubicBezTo>
                    <a:pt x="4161949" y="263366"/>
                    <a:pt x="4161949" y="274796"/>
                    <a:pt x="4160996" y="287179"/>
                  </a:cubicBezTo>
                  <a:cubicBezTo>
                    <a:pt x="4158139" y="292894"/>
                    <a:pt x="4156234" y="298609"/>
                    <a:pt x="4154329" y="303371"/>
                  </a:cubicBezTo>
                  <a:cubicBezTo>
                    <a:pt x="4151471" y="295751"/>
                    <a:pt x="4149566" y="288131"/>
                    <a:pt x="4146709" y="280511"/>
                  </a:cubicBezTo>
                  <a:cubicBezTo>
                    <a:pt x="4144804" y="267176"/>
                    <a:pt x="4141946" y="255746"/>
                    <a:pt x="4140041" y="246221"/>
                  </a:cubicBezTo>
                  <a:cubicBezTo>
                    <a:pt x="4137184" y="231934"/>
                    <a:pt x="4133374" y="224314"/>
                    <a:pt x="4133374" y="224314"/>
                  </a:cubicBezTo>
                  <a:cubicBezTo>
                    <a:pt x="4133374" y="224314"/>
                    <a:pt x="4134326" y="226219"/>
                    <a:pt x="4134326" y="230029"/>
                  </a:cubicBezTo>
                  <a:cubicBezTo>
                    <a:pt x="4135279" y="233839"/>
                    <a:pt x="4135279" y="239554"/>
                    <a:pt x="4136231" y="247174"/>
                  </a:cubicBezTo>
                  <a:cubicBezTo>
                    <a:pt x="4136231" y="248126"/>
                    <a:pt x="4136231" y="249079"/>
                    <a:pt x="4136231" y="250031"/>
                  </a:cubicBezTo>
                  <a:cubicBezTo>
                    <a:pt x="4130516" y="230981"/>
                    <a:pt x="4123849" y="213836"/>
                    <a:pt x="4118134" y="197644"/>
                  </a:cubicBezTo>
                  <a:cubicBezTo>
                    <a:pt x="4108609" y="166211"/>
                    <a:pt x="4100036" y="139541"/>
                    <a:pt x="4093369" y="121444"/>
                  </a:cubicBezTo>
                  <a:cubicBezTo>
                    <a:pt x="4087654" y="103346"/>
                    <a:pt x="4083844" y="92869"/>
                    <a:pt x="4083844" y="92869"/>
                  </a:cubicBezTo>
                  <a:cubicBezTo>
                    <a:pt x="4083844" y="92869"/>
                    <a:pt x="4085749" y="103346"/>
                    <a:pt x="4089559" y="122396"/>
                  </a:cubicBezTo>
                  <a:cubicBezTo>
                    <a:pt x="4093369" y="141446"/>
                    <a:pt x="4099084" y="168116"/>
                    <a:pt x="4106704" y="200501"/>
                  </a:cubicBezTo>
                  <a:cubicBezTo>
                    <a:pt x="4110514" y="215741"/>
                    <a:pt x="4115276" y="231934"/>
                    <a:pt x="4119086" y="248126"/>
                  </a:cubicBezTo>
                  <a:cubicBezTo>
                    <a:pt x="4118134" y="251936"/>
                    <a:pt x="4118134" y="256699"/>
                    <a:pt x="4117181" y="262414"/>
                  </a:cubicBezTo>
                  <a:cubicBezTo>
                    <a:pt x="4116229" y="270034"/>
                    <a:pt x="4115276" y="279559"/>
                    <a:pt x="4114324" y="290036"/>
                  </a:cubicBezTo>
                  <a:cubicBezTo>
                    <a:pt x="4113371" y="288131"/>
                    <a:pt x="4111466" y="286226"/>
                    <a:pt x="4110514" y="284321"/>
                  </a:cubicBezTo>
                  <a:cubicBezTo>
                    <a:pt x="4113371" y="274796"/>
                    <a:pt x="4114324" y="269081"/>
                    <a:pt x="4114324" y="269081"/>
                  </a:cubicBezTo>
                  <a:cubicBezTo>
                    <a:pt x="4114324" y="269081"/>
                    <a:pt x="4112419" y="273844"/>
                    <a:pt x="4108609" y="282416"/>
                  </a:cubicBezTo>
                  <a:cubicBezTo>
                    <a:pt x="4106704" y="279559"/>
                    <a:pt x="4104799" y="276701"/>
                    <a:pt x="4102894" y="273844"/>
                  </a:cubicBezTo>
                  <a:cubicBezTo>
                    <a:pt x="4100989" y="270034"/>
                    <a:pt x="4098131" y="266224"/>
                    <a:pt x="4096226" y="263366"/>
                  </a:cubicBezTo>
                  <a:cubicBezTo>
                    <a:pt x="4097179" y="262414"/>
                    <a:pt x="4097179" y="262414"/>
                    <a:pt x="4097179" y="262414"/>
                  </a:cubicBezTo>
                  <a:cubicBezTo>
                    <a:pt x="4097179" y="262414"/>
                    <a:pt x="4097179" y="262414"/>
                    <a:pt x="4096226" y="263366"/>
                  </a:cubicBezTo>
                  <a:cubicBezTo>
                    <a:pt x="4094321" y="259556"/>
                    <a:pt x="4092416" y="256699"/>
                    <a:pt x="4090511" y="253841"/>
                  </a:cubicBezTo>
                  <a:cubicBezTo>
                    <a:pt x="4090511" y="253841"/>
                    <a:pt x="4090511" y="252889"/>
                    <a:pt x="4090511" y="252889"/>
                  </a:cubicBezTo>
                  <a:cubicBezTo>
                    <a:pt x="4090511" y="248126"/>
                    <a:pt x="4090511" y="243364"/>
                    <a:pt x="4090511" y="238601"/>
                  </a:cubicBezTo>
                  <a:cubicBezTo>
                    <a:pt x="4090511" y="230029"/>
                    <a:pt x="4090511" y="222409"/>
                    <a:pt x="4090511" y="215741"/>
                  </a:cubicBezTo>
                  <a:cubicBezTo>
                    <a:pt x="4090511" y="203359"/>
                    <a:pt x="4089559" y="195739"/>
                    <a:pt x="4089559" y="195739"/>
                  </a:cubicBezTo>
                  <a:cubicBezTo>
                    <a:pt x="4089559" y="195739"/>
                    <a:pt x="4088606" y="202406"/>
                    <a:pt x="4086701" y="214789"/>
                  </a:cubicBezTo>
                  <a:cubicBezTo>
                    <a:pt x="4085749" y="221456"/>
                    <a:pt x="4084796" y="228124"/>
                    <a:pt x="4083844" y="236696"/>
                  </a:cubicBezTo>
                  <a:cubicBezTo>
                    <a:pt x="4083844" y="237649"/>
                    <a:pt x="4083844" y="238601"/>
                    <a:pt x="4083844" y="239554"/>
                  </a:cubicBezTo>
                  <a:cubicBezTo>
                    <a:pt x="4082891" y="238601"/>
                    <a:pt x="4082891" y="237649"/>
                    <a:pt x="4081939" y="236696"/>
                  </a:cubicBezTo>
                  <a:cubicBezTo>
                    <a:pt x="4081939" y="235744"/>
                    <a:pt x="4081939" y="235744"/>
                    <a:pt x="4081939" y="234791"/>
                  </a:cubicBezTo>
                  <a:cubicBezTo>
                    <a:pt x="4081939" y="225266"/>
                    <a:pt x="4081939" y="216694"/>
                    <a:pt x="4081939" y="210026"/>
                  </a:cubicBezTo>
                  <a:cubicBezTo>
                    <a:pt x="4081939" y="195739"/>
                    <a:pt x="4081939" y="188119"/>
                    <a:pt x="4081939" y="188119"/>
                  </a:cubicBezTo>
                  <a:cubicBezTo>
                    <a:pt x="4081939" y="188119"/>
                    <a:pt x="4080034" y="195739"/>
                    <a:pt x="4078129" y="210026"/>
                  </a:cubicBezTo>
                  <a:cubicBezTo>
                    <a:pt x="4077176" y="214789"/>
                    <a:pt x="4076224" y="220504"/>
                    <a:pt x="4075271" y="227171"/>
                  </a:cubicBezTo>
                  <a:cubicBezTo>
                    <a:pt x="4065746" y="210979"/>
                    <a:pt x="4059079" y="202406"/>
                    <a:pt x="4059079" y="202406"/>
                  </a:cubicBezTo>
                  <a:cubicBezTo>
                    <a:pt x="4059079" y="202406"/>
                    <a:pt x="4063841" y="214789"/>
                    <a:pt x="4073366" y="236696"/>
                  </a:cubicBezTo>
                  <a:cubicBezTo>
                    <a:pt x="4072414" y="241459"/>
                    <a:pt x="4071461" y="246221"/>
                    <a:pt x="4071461" y="250984"/>
                  </a:cubicBezTo>
                  <a:cubicBezTo>
                    <a:pt x="4070509" y="256699"/>
                    <a:pt x="4069556" y="261461"/>
                    <a:pt x="4067651" y="268129"/>
                  </a:cubicBezTo>
                  <a:cubicBezTo>
                    <a:pt x="4066699" y="271939"/>
                    <a:pt x="4065746" y="275749"/>
                    <a:pt x="4064794" y="279559"/>
                  </a:cubicBezTo>
                  <a:cubicBezTo>
                    <a:pt x="4063841" y="270986"/>
                    <a:pt x="4062889" y="262414"/>
                    <a:pt x="4061936" y="253841"/>
                  </a:cubicBezTo>
                  <a:cubicBezTo>
                    <a:pt x="4059079" y="237649"/>
                    <a:pt x="4057174" y="221456"/>
                    <a:pt x="4054316" y="207169"/>
                  </a:cubicBezTo>
                  <a:cubicBezTo>
                    <a:pt x="4053364" y="199549"/>
                    <a:pt x="4052411" y="192881"/>
                    <a:pt x="4050506" y="186214"/>
                  </a:cubicBezTo>
                  <a:cubicBezTo>
                    <a:pt x="4049554" y="179546"/>
                    <a:pt x="4047649" y="173831"/>
                    <a:pt x="4046696" y="168116"/>
                  </a:cubicBezTo>
                  <a:cubicBezTo>
                    <a:pt x="4043839" y="156686"/>
                    <a:pt x="4041934" y="146209"/>
                    <a:pt x="4040029" y="137636"/>
                  </a:cubicBezTo>
                  <a:cubicBezTo>
                    <a:pt x="4036219" y="121444"/>
                    <a:pt x="4034314" y="111919"/>
                    <a:pt x="4034314" y="111919"/>
                  </a:cubicBezTo>
                  <a:cubicBezTo>
                    <a:pt x="4034314" y="111919"/>
                    <a:pt x="4035266" y="121444"/>
                    <a:pt x="4036219" y="138589"/>
                  </a:cubicBezTo>
                  <a:cubicBezTo>
                    <a:pt x="4037171" y="147161"/>
                    <a:pt x="4038124" y="157639"/>
                    <a:pt x="4039076" y="169069"/>
                  </a:cubicBezTo>
                  <a:cubicBezTo>
                    <a:pt x="4040029" y="180499"/>
                    <a:pt x="4040981" y="193834"/>
                    <a:pt x="4042886" y="208121"/>
                  </a:cubicBezTo>
                  <a:cubicBezTo>
                    <a:pt x="4043839" y="217646"/>
                    <a:pt x="4044791" y="228124"/>
                    <a:pt x="4044791" y="238601"/>
                  </a:cubicBezTo>
                  <a:cubicBezTo>
                    <a:pt x="4037171" y="196691"/>
                    <a:pt x="4031456" y="170021"/>
                    <a:pt x="4031456" y="170021"/>
                  </a:cubicBezTo>
                  <a:cubicBezTo>
                    <a:pt x="4031456" y="170021"/>
                    <a:pt x="4032409" y="203359"/>
                    <a:pt x="4036219" y="252889"/>
                  </a:cubicBezTo>
                  <a:cubicBezTo>
                    <a:pt x="4036219" y="256699"/>
                    <a:pt x="4037171" y="260509"/>
                    <a:pt x="4037171" y="264319"/>
                  </a:cubicBezTo>
                  <a:cubicBezTo>
                    <a:pt x="4036219" y="266224"/>
                    <a:pt x="4036219" y="269081"/>
                    <a:pt x="4035266" y="271939"/>
                  </a:cubicBezTo>
                  <a:cubicBezTo>
                    <a:pt x="4033361" y="270034"/>
                    <a:pt x="4031456" y="268129"/>
                    <a:pt x="4030504" y="266224"/>
                  </a:cubicBezTo>
                  <a:cubicBezTo>
                    <a:pt x="4027646" y="263366"/>
                    <a:pt x="4025741" y="260509"/>
                    <a:pt x="4023836" y="258604"/>
                  </a:cubicBezTo>
                  <a:cubicBezTo>
                    <a:pt x="4018121" y="247174"/>
                    <a:pt x="4013359" y="237649"/>
                    <a:pt x="4009549" y="229076"/>
                  </a:cubicBezTo>
                  <a:cubicBezTo>
                    <a:pt x="4000976" y="212884"/>
                    <a:pt x="3996214" y="203359"/>
                    <a:pt x="3996214" y="203359"/>
                  </a:cubicBezTo>
                  <a:cubicBezTo>
                    <a:pt x="3996214" y="203359"/>
                    <a:pt x="4000024" y="212884"/>
                    <a:pt x="4005739" y="230981"/>
                  </a:cubicBezTo>
                  <a:cubicBezTo>
                    <a:pt x="4008596" y="237649"/>
                    <a:pt x="4011454" y="246221"/>
                    <a:pt x="4014311" y="255746"/>
                  </a:cubicBezTo>
                  <a:cubicBezTo>
                    <a:pt x="4010501" y="248126"/>
                    <a:pt x="4007644" y="243364"/>
                    <a:pt x="4007644" y="243364"/>
                  </a:cubicBezTo>
                  <a:cubicBezTo>
                    <a:pt x="4007644" y="243364"/>
                    <a:pt x="4010501" y="251936"/>
                    <a:pt x="4015264" y="267176"/>
                  </a:cubicBezTo>
                  <a:cubicBezTo>
                    <a:pt x="4018121" y="274796"/>
                    <a:pt x="4020979" y="284321"/>
                    <a:pt x="4024789" y="294799"/>
                  </a:cubicBezTo>
                  <a:cubicBezTo>
                    <a:pt x="4025741" y="296704"/>
                    <a:pt x="4026694" y="299561"/>
                    <a:pt x="4026694" y="301466"/>
                  </a:cubicBezTo>
                  <a:cubicBezTo>
                    <a:pt x="4023836" y="310039"/>
                    <a:pt x="4020026" y="319564"/>
                    <a:pt x="4017169" y="329089"/>
                  </a:cubicBezTo>
                  <a:cubicBezTo>
                    <a:pt x="4017169" y="329089"/>
                    <a:pt x="4016216" y="328136"/>
                    <a:pt x="4016216" y="328136"/>
                  </a:cubicBezTo>
                  <a:cubicBezTo>
                    <a:pt x="4011454" y="325279"/>
                    <a:pt x="4008596" y="322421"/>
                    <a:pt x="4005739" y="320516"/>
                  </a:cubicBezTo>
                  <a:cubicBezTo>
                    <a:pt x="4005739" y="319564"/>
                    <a:pt x="4005739" y="318611"/>
                    <a:pt x="4005739" y="318611"/>
                  </a:cubicBezTo>
                  <a:cubicBezTo>
                    <a:pt x="4005739" y="315754"/>
                    <a:pt x="4004786" y="313849"/>
                    <a:pt x="4004786" y="310991"/>
                  </a:cubicBezTo>
                  <a:cubicBezTo>
                    <a:pt x="4004786" y="285274"/>
                    <a:pt x="4002881" y="269081"/>
                    <a:pt x="4002881" y="269081"/>
                  </a:cubicBezTo>
                  <a:cubicBezTo>
                    <a:pt x="4002881" y="269081"/>
                    <a:pt x="4001929" y="274796"/>
                    <a:pt x="4000024" y="284321"/>
                  </a:cubicBezTo>
                  <a:cubicBezTo>
                    <a:pt x="3996214" y="261461"/>
                    <a:pt x="3993356" y="248126"/>
                    <a:pt x="3993356" y="248126"/>
                  </a:cubicBezTo>
                  <a:cubicBezTo>
                    <a:pt x="3993356" y="248126"/>
                    <a:pt x="3993356" y="262414"/>
                    <a:pt x="3993356" y="286226"/>
                  </a:cubicBezTo>
                  <a:cubicBezTo>
                    <a:pt x="3993356" y="286226"/>
                    <a:pt x="3992404" y="286226"/>
                    <a:pt x="3992404" y="286226"/>
                  </a:cubicBezTo>
                  <a:cubicBezTo>
                    <a:pt x="3991451" y="286226"/>
                    <a:pt x="3990499" y="287179"/>
                    <a:pt x="3990499" y="287179"/>
                  </a:cubicBezTo>
                  <a:cubicBezTo>
                    <a:pt x="3988594" y="289084"/>
                    <a:pt x="3986689" y="290989"/>
                    <a:pt x="3985736" y="292894"/>
                  </a:cubicBezTo>
                  <a:lnTo>
                    <a:pt x="3985736" y="292894"/>
                  </a:lnTo>
                  <a:lnTo>
                    <a:pt x="3985736" y="293846"/>
                  </a:lnTo>
                  <a:cubicBezTo>
                    <a:pt x="3984784" y="300514"/>
                    <a:pt x="3983831" y="307181"/>
                    <a:pt x="3983831" y="313849"/>
                  </a:cubicBezTo>
                  <a:cubicBezTo>
                    <a:pt x="3981926" y="310039"/>
                    <a:pt x="3980021" y="307181"/>
                    <a:pt x="3978116" y="303371"/>
                  </a:cubicBezTo>
                  <a:cubicBezTo>
                    <a:pt x="3983831" y="284321"/>
                    <a:pt x="3987641" y="272891"/>
                    <a:pt x="3987641" y="272891"/>
                  </a:cubicBezTo>
                  <a:cubicBezTo>
                    <a:pt x="3987641" y="272891"/>
                    <a:pt x="3982879" y="282416"/>
                    <a:pt x="3976211" y="298609"/>
                  </a:cubicBezTo>
                  <a:cubicBezTo>
                    <a:pt x="3975259" y="296704"/>
                    <a:pt x="3974306" y="295751"/>
                    <a:pt x="3973354" y="293846"/>
                  </a:cubicBezTo>
                  <a:cubicBezTo>
                    <a:pt x="3973354" y="291941"/>
                    <a:pt x="3973354" y="290036"/>
                    <a:pt x="3973354" y="288131"/>
                  </a:cubicBezTo>
                  <a:cubicBezTo>
                    <a:pt x="3973354" y="288131"/>
                    <a:pt x="3973354" y="288131"/>
                    <a:pt x="3973354" y="287179"/>
                  </a:cubicBezTo>
                  <a:cubicBezTo>
                    <a:pt x="3975259" y="283369"/>
                    <a:pt x="3976211" y="280511"/>
                    <a:pt x="3977164" y="278606"/>
                  </a:cubicBezTo>
                  <a:cubicBezTo>
                    <a:pt x="3979069" y="273844"/>
                    <a:pt x="3980974" y="270986"/>
                    <a:pt x="3980974" y="270986"/>
                  </a:cubicBezTo>
                  <a:cubicBezTo>
                    <a:pt x="3980974" y="270986"/>
                    <a:pt x="3979069" y="272891"/>
                    <a:pt x="3976211" y="277654"/>
                  </a:cubicBezTo>
                  <a:cubicBezTo>
                    <a:pt x="3975259" y="278606"/>
                    <a:pt x="3974306" y="280511"/>
                    <a:pt x="3973354" y="282416"/>
                  </a:cubicBezTo>
                  <a:cubicBezTo>
                    <a:pt x="3973354" y="271939"/>
                    <a:pt x="3974306" y="262414"/>
                    <a:pt x="3974306" y="254794"/>
                  </a:cubicBezTo>
                  <a:cubicBezTo>
                    <a:pt x="3975259" y="238601"/>
                    <a:pt x="3975259" y="230029"/>
                    <a:pt x="3975259" y="230029"/>
                  </a:cubicBezTo>
                  <a:cubicBezTo>
                    <a:pt x="3975259" y="230029"/>
                    <a:pt x="3973354" y="238601"/>
                    <a:pt x="3970496" y="254794"/>
                  </a:cubicBezTo>
                  <a:cubicBezTo>
                    <a:pt x="3969544" y="262414"/>
                    <a:pt x="3967639" y="271939"/>
                    <a:pt x="3965734" y="281464"/>
                  </a:cubicBezTo>
                  <a:cubicBezTo>
                    <a:pt x="3964781" y="278606"/>
                    <a:pt x="3962876" y="276701"/>
                    <a:pt x="3961924" y="274796"/>
                  </a:cubicBezTo>
                  <a:cubicBezTo>
                    <a:pt x="3961924" y="272891"/>
                    <a:pt x="3962876" y="270986"/>
                    <a:pt x="3962876" y="269081"/>
                  </a:cubicBezTo>
                  <a:cubicBezTo>
                    <a:pt x="3965734" y="253841"/>
                    <a:pt x="3966686" y="245269"/>
                    <a:pt x="3966686" y="245269"/>
                  </a:cubicBezTo>
                  <a:cubicBezTo>
                    <a:pt x="3966686" y="245269"/>
                    <a:pt x="3963829" y="253841"/>
                    <a:pt x="3959066" y="268129"/>
                  </a:cubicBezTo>
                  <a:cubicBezTo>
                    <a:pt x="3959066" y="268129"/>
                    <a:pt x="3959066" y="269081"/>
                    <a:pt x="3959066" y="269081"/>
                  </a:cubicBezTo>
                  <a:cubicBezTo>
                    <a:pt x="3959066" y="268129"/>
                    <a:pt x="3958114" y="267176"/>
                    <a:pt x="3958114" y="267176"/>
                  </a:cubicBezTo>
                  <a:cubicBezTo>
                    <a:pt x="3958114" y="267176"/>
                    <a:pt x="3958114" y="268129"/>
                    <a:pt x="3958114" y="269081"/>
                  </a:cubicBezTo>
                  <a:cubicBezTo>
                    <a:pt x="3957161" y="267176"/>
                    <a:pt x="3956209" y="266224"/>
                    <a:pt x="3955256" y="264319"/>
                  </a:cubicBezTo>
                  <a:cubicBezTo>
                    <a:pt x="3955256" y="258604"/>
                    <a:pt x="3955256" y="252889"/>
                    <a:pt x="3954304" y="247174"/>
                  </a:cubicBezTo>
                  <a:cubicBezTo>
                    <a:pt x="3954304" y="235744"/>
                    <a:pt x="3952399" y="224314"/>
                    <a:pt x="3951446" y="214789"/>
                  </a:cubicBezTo>
                  <a:cubicBezTo>
                    <a:pt x="3950494" y="205264"/>
                    <a:pt x="3949541" y="196691"/>
                    <a:pt x="3947636" y="190024"/>
                  </a:cubicBezTo>
                  <a:cubicBezTo>
                    <a:pt x="3944779" y="176689"/>
                    <a:pt x="3943826" y="169069"/>
                    <a:pt x="3943826" y="169069"/>
                  </a:cubicBezTo>
                  <a:cubicBezTo>
                    <a:pt x="3943826" y="169069"/>
                    <a:pt x="3943826" y="176689"/>
                    <a:pt x="3943826" y="190024"/>
                  </a:cubicBezTo>
                  <a:cubicBezTo>
                    <a:pt x="3943826" y="196691"/>
                    <a:pt x="3943826" y="205264"/>
                    <a:pt x="3943826" y="214789"/>
                  </a:cubicBezTo>
                  <a:cubicBezTo>
                    <a:pt x="3943826" y="218599"/>
                    <a:pt x="3943826" y="222409"/>
                    <a:pt x="3943826" y="225266"/>
                  </a:cubicBezTo>
                  <a:cubicBezTo>
                    <a:pt x="3942874" y="221456"/>
                    <a:pt x="3941921" y="218599"/>
                    <a:pt x="3940969" y="215741"/>
                  </a:cubicBezTo>
                  <a:cubicBezTo>
                    <a:pt x="3940016" y="212884"/>
                    <a:pt x="3939064" y="210026"/>
                    <a:pt x="3939064" y="207169"/>
                  </a:cubicBezTo>
                  <a:cubicBezTo>
                    <a:pt x="3940016" y="206216"/>
                    <a:pt x="3940016" y="205264"/>
                    <a:pt x="3940016" y="205264"/>
                  </a:cubicBezTo>
                  <a:cubicBezTo>
                    <a:pt x="3940016" y="205264"/>
                    <a:pt x="3940016" y="206216"/>
                    <a:pt x="3939064" y="206216"/>
                  </a:cubicBezTo>
                  <a:cubicBezTo>
                    <a:pt x="3937159" y="201454"/>
                    <a:pt x="3936206" y="197644"/>
                    <a:pt x="3936206" y="197644"/>
                  </a:cubicBezTo>
                  <a:cubicBezTo>
                    <a:pt x="3936206" y="197644"/>
                    <a:pt x="3936206" y="201454"/>
                    <a:pt x="3937159" y="208121"/>
                  </a:cubicBezTo>
                  <a:cubicBezTo>
                    <a:pt x="3935254" y="210026"/>
                    <a:pt x="3932396" y="212884"/>
                    <a:pt x="3929539" y="216694"/>
                  </a:cubicBezTo>
                  <a:cubicBezTo>
                    <a:pt x="3928586" y="210026"/>
                    <a:pt x="3926681" y="204311"/>
                    <a:pt x="3925729" y="197644"/>
                  </a:cubicBezTo>
                  <a:cubicBezTo>
                    <a:pt x="3922871" y="183356"/>
                    <a:pt x="3919061" y="170021"/>
                    <a:pt x="3916204" y="158591"/>
                  </a:cubicBezTo>
                  <a:cubicBezTo>
                    <a:pt x="3915251" y="153829"/>
                    <a:pt x="3913346" y="148114"/>
                    <a:pt x="3912394" y="144304"/>
                  </a:cubicBezTo>
                  <a:cubicBezTo>
                    <a:pt x="3913346" y="142399"/>
                    <a:pt x="3914299" y="141446"/>
                    <a:pt x="3915251" y="139541"/>
                  </a:cubicBezTo>
                  <a:cubicBezTo>
                    <a:pt x="3927634" y="121444"/>
                    <a:pt x="3935254" y="110966"/>
                    <a:pt x="3935254" y="110966"/>
                  </a:cubicBezTo>
                  <a:cubicBezTo>
                    <a:pt x="3935254" y="110966"/>
                    <a:pt x="3926681" y="120491"/>
                    <a:pt x="3912394" y="136684"/>
                  </a:cubicBezTo>
                  <a:cubicBezTo>
                    <a:pt x="3911441" y="137636"/>
                    <a:pt x="3911441" y="138589"/>
                    <a:pt x="3910489" y="138589"/>
                  </a:cubicBezTo>
                  <a:cubicBezTo>
                    <a:pt x="3909536" y="134779"/>
                    <a:pt x="3908584" y="131921"/>
                    <a:pt x="3906679" y="128111"/>
                  </a:cubicBezTo>
                  <a:cubicBezTo>
                    <a:pt x="3900964" y="111919"/>
                    <a:pt x="3898106" y="102394"/>
                    <a:pt x="3898106" y="102394"/>
                  </a:cubicBezTo>
                  <a:cubicBezTo>
                    <a:pt x="3898106" y="102394"/>
                    <a:pt x="3900011" y="111919"/>
                    <a:pt x="3902869" y="129064"/>
                  </a:cubicBezTo>
                  <a:cubicBezTo>
                    <a:pt x="3903821" y="132874"/>
                    <a:pt x="3904774" y="137636"/>
                    <a:pt x="3905726" y="143351"/>
                  </a:cubicBezTo>
                  <a:cubicBezTo>
                    <a:pt x="3905726" y="143351"/>
                    <a:pt x="3905726" y="143351"/>
                    <a:pt x="3905726" y="143351"/>
                  </a:cubicBezTo>
                  <a:cubicBezTo>
                    <a:pt x="3900011" y="150019"/>
                    <a:pt x="3894296" y="158591"/>
                    <a:pt x="3887629" y="167164"/>
                  </a:cubicBezTo>
                  <a:cubicBezTo>
                    <a:pt x="3880961" y="175736"/>
                    <a:pt x="3874294" y="185261"/>
                    <a:pt x="3866674" y="195739"/>
                  </a:cubicBezTo>
                  <a:cubicBezTo>
                    <a:pt x="3864769" y="190976"/>
                    <a:pt x="3863816" y="186214"/>
                    <a:pt x="3862864" y="182404"/>
                  </a:cubicBezTo>
                  <a:cubicBezTo>
                    <a:pt x="3857149" y="165259"/>
                    <a:pt x="3854291" y="155734"/>
                    <a:pt x="3854291" y="155734"/>
                  </a:cubicBezTo>
                  <a:cubicBezTo>
                    <a:pt x="3854291" y="155734"/>
                    <a:pt x="3856196" y="166211"/>
                    <a:pt x="3859054" y="183356"/>
                  </a:cubicBezTo>
                  <a:cubicBezTo>
                    <a:pt x="3860006" y="189071"/>
                    <a:pt x="3861911" y="195739"/>
                    <a:pt x="3862864" y="202406"/>
                  </a:cubicBezTo>
                  <a:cubicBezTo>
                    <a:pt x="3860959" y="204311"/>
                    <a:pt x="3860006" y="207169"/>
                    <a:pt x="3858101" y="209074"/>
                  </a:cubicBezTo>
                  <a:cubicBezTo>
                    <a:pt x="3856196" y="211931"/>
                    <a:pt x="3855244" y="213836"/>
                    <a:pt x="3853339" y="216694"/>
                  </a:cubicBezTo>
                  <a:cubicBezTo>
                    <a:pt x="3851434" y="208121"/>
                    <a:pt x="3850481" y="200501"/>
                    <a:pt x="3849529" y="195739"/>
                  </a:cubicBezTo>
                  <a:cubicBezTo>
                    <a:pt x="3850481" y="189071"/>
                    <a:pt x="3851434" y="183356"/>
                    <a:pt x="3852386" y="178594"/>
                  </a:cubicBezTo>
                  <a:cubicBezTo>
                    <a:pt x="3854291" y="166211"/>
                    <a:pt x="3855244" y="158591"/>
                    <a:pt x="3855244" y="158591"/>
                  </a:cubicBezTo>
                  <a:cubicBezTo>
                    <a:pt x="3855244" y="158591"/>
                    <a:pt x="3853339" y="165259"/>
                    <a:pt x="3848576" y="177641"/>
                  </a:cubicBezTo>
                  <a:cubicBezTo>
                    <a:pt x="3846671" y="184309"/>
                    <a:pt x="3844766" y="190976"/>
                    <a:pt x="3841909" y="199549"/>
                  </a:cubicBezTo>
                  <a:cubicBezTo>
                    <a:pt x="3840956" y="204311"/>
                    <a:pt x="3839051" y="208121"/>
                    <a:pt x="3838099" y="212884"/>
                  </a:cubicBezTo>
                  <a:cubicBezTo>
                    <a:pt x="3837146" y="216694"/>
                    <a:pt x="3836194" y="221456"/>
                    <a:pt x="3835241" y="225266"/>
                  </a:cubicBezTo>
                  <a:cubicBezTo>
                    <a:pt x="3835241" y="224314"/>
                    <a:pt x="3834289" y="223361"/>
                    <a:pt x="3834289" y="222409"/>
                  </a:cubicBezTo>
                  <a:cubicBezTo>
                    <a:pt x="3831431" y="217646"/>
                    <a:pt x="3828574" y="212884"/>
                    <a:pt x="3825716" y="209074"/>
                  </a:cubicBezTo>
                  <a:cubicBezTo>
                    <a:pt x="3815239" y="193834"/>
                    <a:pt x="3809524" y="184309"/>
                    <a:pt x="3809524" y="184309"/>
                  </a:cubicBezTo>
                  <a:cubicBezTo>
                    <a:pt x="3809524" y="184309"/>
                    <a:pt x="3814286" y="193834"/>
                    <a:pt x="3821906" y="210979"/>
                  </a:cubicBezTo>
                  <a:cubicBezTo>
                    <a:pt x="3823811" y="214789"/>
                    <a:pt x="3825716" y="219551"/>
                    <a:pt x="3828574" y="224314"/>
                  </a:cubicBezTo>
                  <a:cubicBezTo>
                    <a:pt x="3829526" y="227171"/>
                    <a:pt x="3831431" y="230981"/>
                    <a:pt x="3832384" y="234791"/>
                  </a:cubicBezTo>
                  <a:cubicBezTo>
                    <a:pt x="3831431" y="241459"/>
                    <a:pt x="3829526" y="248126"/>
                    <a:pt x="3828574" y="254794"/>
                  </a:cubicBezTo>
                  <a:cubicBezTo>
                    <a:pt x="3827621" y="256699"/>
                    <a:pt x="3826669" y="257651"/>
                    <a:pt x="3825716" y="259556"/>
                  </a:cubicBezTo>
                  <a:cubicBezTo>
                    <a:pt x="3823811" y="262414"/>
                    <a:pt x="3821906" y="266224"/>
                    <a:pt x="3820954" y="269081"/>
                  </a:cubicBezTo>
                  <a:cubicBezTo>
                    <a:pt x="3820954" y="268129"/>
                    <a:pt x="3820001" y="268129"/>
                    <a:pt x="3820001" y="267176"/>
                  </a:cubicBezTo>
                  <a:cubicBezTo>
                    <a:pt x="3810476" y="255746"/>
                    <a:pt x="3804761" y="249079"/>
                    <a:pt x="3804761" y="249079"/>
                  </a:cubicBezTo>
                  <a:cubicBezTo>
                    <a:pt x="3804761" y="249079"/>
                    <a:pt x="3809524" y="256699"/>
                    <a:pt x="3817144" y="270034"/>
                  </a:cubicBezTo>
                  <a:cubicBezTo>
                    <a:pt x="3818096" y="270986"/>
                    <a:pt x="3818096" y="271939"/>
                    <a:pt x="3819049" y="272891"/>
                  </a:cubicBezTo>
                  <a:cubicBezTo>
                    <a:pt x="3815239" y="280511"/>
                    <a:pt x="3811429" y="287179"/>
                    <a:pt x="3806666" y="294799"/>
                  </a:cubicBezTo>
                  <a:cubicBezTo>
                    <a:pt x="3806666" y="294799"/>
                    <a:pt x="3806666" y="294799"/>
                    <a:pt x="3806666" y="294799"/>
                  </a:cubicBezTo>
                  <a:cubicBezTo>
                    <a:pt x="3805714" y="293846"/>
                    <a:pt x="3804761" y="291941"/>
                    <a:pt x="3803809" y="290989"/>
                  </a:cubicBezTo>
                  <a:cubicBezTo>
                    <a:pt x="3803809" y="290036"/>
                    <a:pt x="3803809" y="289084"/>
                    <a:pt x="3802856" y="287179"/>
                  </a:cubicBezTo>
                  <a:cubicBezTo>
                    <a:pt x="3801904" y="283369"/>
                    <a:pt x="3800951" y="280511"/>
                    <a:pt x="3799999" y="276701"/>
                  </a:cubicBezTo>
                  <a:cubicBezTo>
                    <a:pt x="3798094" y="270034"/>
                    <a:pt x="3796189" y="265271"/>
                    <a:pt x="3795236" y="260509"/>
                  </a:cubicBezTo>
                  <a:cubicBezTo>
                    <a:pt x="3792379" y="250984"/>
                    <a:pt x="3790474" y="246221"/>
                    <a:pt x="3790474" y="246221"/>
                  </a:cubicBezTo>
                  <a:cubicBezTo>
                    <a:pt x="3790474" y="246221"/>
                    <a:pt x="3790474" y="251936"/>
                    <a:pt x="3791426" y="260509"/>
                  </a:cubicBezTo>
                  <a:cubicBezTo>
                    <a:pt x="3791426" y="264319"/>
                    <a:pt x="3792379" y="269081"/>
                    <a:pt x="3792379" y="273844"/>
                  </a:cubicBezTo>
                  <a:cubicBezTo>
                    <a:pt x="3790474" y="271939"/>
                    <a:pt x="3789521" y="270034"/>
                    <a:pt x="3787616" y="268129"/>
                  </a:cubicBezTo>
                  <a:cubicBezTo>
                    <a:pt x="3783806" y="263366"/>
                    <a:pt x="3779996" y="259556"/>
                    <a:pt x="3777139" y="255746"/>
                  </a:cubicBezTo>
                  <a:cubicBezTo>
                    <a:pt x="3776186" y="251936"/>
                    <a:pt x="3774281" y="249079"/>
                    <a:pt x="3773329" y="246221"/>
                  </a:cubicBezTo>
                  <a:cubicBezTo>
                    <a:pt x="3767614" y="231934"/>
                    <a:pt x="3764756" y="224314"/>
                    <a:pt x="3764756" y="224314"/>
                  </a:cubicBezTo>
                  <a:cubicBezTo>
                    <a:pt x="3764756" y="224314"/>
                    <a:pt x="3766661" y="232886"/>
                    <a:pt x="3769519" y="247174"/>
                  </a:cubicBezTo>
                  <a:cubicBezTo>
                    <a:pt x="3771424" y="254794"/>
                    <a:pt x="3773329" y="263366"/>
                    <a:pt x="3776186" y="273844"/>
                  </a:cubicBezTo>
                  <a:cubicBezTo>
                    <a:pt x="3778091" y="281464"/>
                    <a:pt x="3779996" y="290989"/>
                    <a:pt x="3781901" y="299561"/>
                  </a:cubicBezTo>
                  <a:cubicBezTo>
                    <a:pt x="3775234" y="275749"/>
                    <a:pt x="3767614" y="253841"/>
                    <a:pt x="3760946" y="234791"/>
                  </a:cubicBezTo>
                  <a:cubicBezTo>
                    <a:pt x="3759041" y="229076"/>
                    <a:pt x="3757136" y="224314"/>
                    <a:pt x="3755231" y="218599"/>
                  </a:cubicBezTo>
                  <a:cubicBezTo>
                    <a:pt x="3758089" y="214789"/>
                    <a:pt x="3759041" y="211931"/>
                    <a:pt x="3759041" y="211931"/>
                  </a:cubicBezTo>
                  <a:cubicBezTo>
                    <a:pt x="3759041" y="211931"/>
                    <a:pt x="3757136" y="213836"/>
                    <a:pt x="3754279" y="217646"/>
                  </a:cubicBezTo>
                  <a:cubicBezTo>
                    <a:pt x="3753326" y="213836"/>
                    <a:pt x="3752374" y="210979"/>
                    <a:pt x="3750469" y="208121"/>
                  </a:cubicBezTo>
                  <a:cubicBezTo>
                    <a:pt x="3752374" y="201454"/>
                    <a:pt x="3752374" y="197644"/>
                    <a:pt x="3752374" y="197644"/>
                  </a:cubicBezTo>
                  <a:cubicBezTo>
                    <a:pt x="3752374" y="197644"/>
                    <a:pt x="3751421" y="200501"/>
                    <a:pt x="3748564" y="205264"/>
                  </a:cubicBezTo>
                  <a:cubicBezTo>
                    <a:pt x="3739991" y="181451"/>
                    <a:pt x="3734276" y="167164"/>
                    <a:pt x="3734276" y="167164"/>
                  </a:cubicBezTo>
                  <a:cubicBezTo>
                    <a:pt x="3734276" y="167164"/>
                    <a:pt x="3737134" y="186214"/>
                    <a:pt x="3742849" y="217646"/>
                  </a:cubicBezTo>
                  <a:cubicBezTo>
                    <a:pt x="3740944" y="222409"/>
                    <a:pt x="3738086" y="229076"/>
                    <a:pt x="3736181" y="236696"/>
                  </a:cubicBezTo>
                  <a:cubicBezTo>
                    <a:pt x="3736181" y="237649"/>
                    <a:pt x="3736181" y="237649"/>
                    <a:pt x="3735229" y="238601"/>
                  </a:cubicBezTo>
                  <a:cubicBezTo>
                    <a:pt x="3733324" y="240506"/>
                    <a:pt x="3731419" y="243364"/>
                    <a:pt x="3730466" y="245269"/>
                  </a:cubicBezTo>
                  <a:cubicBezTo>
                    <a:pt x="3728561" y="242411"/>
                    <a:pt x="3727609" y="239554"/>
                    <a:pt x="3726656" y="236696"/>
                  </a:cubicBezTo>
                  <a:cubicBezTo>
                    <a:pt x="3726656" y="235744"/>
                    <a:pt x="3726656" y="234791"/>
                    <a:pt x="3726656" y="232886"/>
                  </a:cubicBezTo>
                  <a:cubicBezTo>
                    <a:pt x="3726656" y="221456"/>
                    <a:pt x="3725704" y="214789"/>
                    <a:pt x="3725704" y="214789"/>
                  </a:cubicBezTo>
                  <a:cubicBezTo>
                    <a:pt x="3725704" y="214789"/>
                    <a:pt x="3724751" y="220504"/>
                    <a:pt x="3722846" y="230029"/>
                  </a:cubicBezTo>
                  <a:cubicBezTo>
                    <a:pt x="3722846" y="230029"/>
                    <a:pt x="3722846" y="229076"/>
                    <a:pt x="3721894" y="229076"/>
                  </a:cubicBezTo>
                  <a:cubicBezTo>
                    <a:pt x="3721894" y="229076"/>
                    <a:pt x="3721894" y="229076"/>
                    <a:pt x="3721894" y="229076"/>
                  </a:cubicBezTo>
                  <a:cubicBezTo>
                    <a:pt x="3723799" y="215741"/>
                    <a:pt x="3724751" y="203359"/>
                    <a:pt x="3725704" y="190976"/>
                  </a:cubicBezTo>
                  <a:cubicBezTo>
                    <a:pt x="3726656" y="184309"/>
                    <a:pt x="3726656" y="178594"/>
                    <a:pt x="3727609" y="172879"/>
                  </a:cubicBezTo>
                  <a:cubicBezTo>
                    <a:pt x="3728561" y="167164"/>
                    <a:pt x="3729514" y="161449"/>
                    <a:pt x="3730466" y="155734"/>
                  </a:cubicBezTo>
                  <a:cubicBezTo>
                    <a:pt x="3732371" y="145256"/>
                    <a:pt x="3733324" y="135731"/>
                    <a:pt x="3734276" y="128111"/>
                  </a:cubicBezTo>
                  <a:cubicBezTo>
                    <a:pt x="3736181" y="112871"/>
                    <a:pt x="3737134" y="104299"/>
                    <a:pt x="3737134" y="104299"/>
                  </a:cubicBezTo>
                  <a:cubicBezTo>
                    <a:pt x="3737134" y="104299"/>
                    <a:pt x="3734276" y="112871"/>
                    <a:pt x="3730466" y="127159"/>
                  </a:cubicBezTo>
                  <a:cubicBezTo>
                    <a:pt x="3728561" y="134779"/>
                    <a:pt x="3725704" y="143351"/>
                    <a:pt x="3722846" y="153829"/>
                  </a:cubicBezTo>
                  <a:cubicBezTo>
                    <a:pt x="3720941" y="158591"/>
                    <a:pt x="3719989" y="164306"/>
                    <a:pt x="3718084" y="170021"/>
                  </a:cubicBezTo>
                  <a:cubicBezTo>
                    <a:pt x="3717131" y="175736"/>
                    <a:pt x="3715226" y="182404"/>
                    <a:pt x="3714274" y="188119"/>
                  </a:cubicBezTo>
                  <a:cubicBezTo>
                    <a:pt x="3713321" y="194786"/>
                    <a:pt x="3711416" y="201454"/>
                    <a:pt x="3710464" y="208121"/>
                  </a:cubicBezTo>
                  <a:cubicBezTo>
                    <a:pt x="3710464" y="208121"/>
                    <a:pt x="3710464" y="208121"/>
                    <a:pt x="3710464" y="207169"/>
                  </a:cubicBezTo>
                  <a:cubicBezTo>
                    <a:pt x="3702844" y="194786"/>
                    <a:pt x="3697129" y="184309"/>
                    <a:pt x="3691414" y="174784"/>
                  </a:cubicBezTo>
                  <a:cubicBezTo>
                    <a:pt x="3684746" y="164306"/>
                    <a:pt x="3679984" y="155734"/>
                    <a:pt x="3677126" y="150971"/>
                  </a:cubicBezTo>
                  <a:cubicBezTo>
                    <a:pt x="3678079" y="142399"/>
                    <a:pt x="3678079" y="137636"/>
                    <a:pt x="3678079" y="137636"/>
                  </a:cubicBezTo>
                  <a:cubicBezTo>
                    <a:pt x="3678079" y="137636"/>
                    <a:pt x="3677126" y="141446"/>
                    <a:pt x="3675221" y="149066"/>
                  </a:cubicBezTo>
                  <a:cubicBezTo>
                    <a:pt x="3674269" y="148114"/>
                    <a:pt x="3674269" y="147161"/>
                    <a:pt x="3674269" y="147161"/>
                  </a:cubicBezTo>
                  <a:cubicBezTo>
                    <a:pt x="3674269" y="147161"/>
                    <a:pt x="3674269" y="148114"/>
                    <a:pt x="3675221" y="150019"/>
                  </a:cubicBezTo>
                  <a:cubicBezTo>
                    <a:pt x="3674269" y="153829"/>
                    <a:pt x="3673316" y="158591"/>
                    <a:pt x="3672364" y="164306"/>
                  </a:cubicBezTo>
                  <a:cubicBezTo>
                    <a:pt x="3670459" y="172879"/>
                    <a:pt x="3668554" y="182404"/>
                    <a:pt x="3665696" y="194786"/>
                  </a:cubicBezTo>
                  <a:cubicBezTo>
                    <a:pt x="3664744" y="199549"/>
                    <a:pt x="3663791" y="204311"/>
                    <a:pt x="3662839" y="209074"/>
                  </a:cubicBezTo>
                  <a:cubicBezTo>
                    <a:pt x="3662839" y="209074"/>
                    <a:pt x="3662839" y="210026"/>
                    <a:pt x="3661886" y="210026"/>
                  </a:cubicBezTo>
                  <a:cubicBezTo>
                    <a:pt x="3660934" y="211931"/>
                    <a:pt x="3659029" y="214789"/>
                    <a:pt x="3658076" y="216694"/>
                  </a:cubicBezTo>
                  <a:cubicBezTo>
                    <a:pt x="3659029" y="190976"/>
                    <a:pt x="3658076" y="174784"/>
                    <a:pt x="3658076" y="174784"/>
                  </a:cubicBezTo>
                  <a:cubicBezTo>
                    <a:pt x="3658076" y="174784"/>
                    <a:pt x="3652361" y="200501"/>
                    <a:pt x="3645694" y="239554"/>
                  </a:cubicBezTo>
                  <a:cubicBezTo>
                    <a:pt x="3645694" y="241459"/>
                    <a:pt x="3644741" y="244316"/>
                    <a:pt x="3644741" y="246221"/>
                  </a:cubicBezTo>
                  <a:cubicBezTo>
                    <a:pt x="3644741" y="247174"/>
                    <a:pt x="3643789" y="248126"/>
                    <a:pt x="3643789" y="249079"/>
                  </a:cubicBezTo>
                  <a:cubicBezTo>
                    <a:pt x="3642836" y="251936"/>
                    <a:pt x="3641884" y="255746"/>
                    <a:pt x="3640931" y="259556"/>
                  </a:cubicBezTo>
                  <a:cubicBezTo>
                    <a:pt x="3636169" y="249079"/>
                    <a:pt x="3633311" y="243364"/>
                    <a:pt x="3633311" y="243364"/>
                  </a:cubicBezTo>
                  <a:cubicBezTo>
                    <a:pt x="3633311" y="243364"/>
                    <a:pt x="3635216" y="250984"/>
                    <a:pt x="3639979" y="265271"/>
                  </a:cubicBezTo>
                  <a:cubicBezTo>
                    <a:pt x="3639026" y="268129"/>
                    <a:pt x="3638074" y="271939"/>
                    <a:pt x="3637121" y="275749"/>
                  </a:cubicBezTo>
                  <a:cubicBezTo>
                    <a:pt x="3631406" y="266224"/>
                    <a:pt x="3627596" y="261461"/>
                    <a:pt x="3627596" y="261461"/>
                  </a:cubicBezTo>
                  <a:cubicBezTo>
                    <a:pt x="3627596" y="261461"/>
                    <a:pt x="3630454" y="268129"/>
                    <a:pt x="3635216" y="280511"/>
                  </a:cubicBezTo>
                  <a:cubicBezTo>
                    <a:pt x="3635216" y="280511"/>
                    <a:pt x="3635216" y="280511"/>
                    <a:pt x="3635216" y="281464"/>
                  </a:cubicBezTo>
                  <a:cubicBezTo>
                    <a:pt x="3633311" y="290036"/>
                    <a:pt x="3631406" y="299561"/>
                    <a:pt x="3630454" y="309086"/>
                  </a:cubicBezTo>
                  <a:cubicBezTo>
                    <a:pt x="3629501" y="316706"/>
                    <a:pt x="3628549" y="324326"/>
                    <a:pt x="3627596" y="332899"/>
                  </a:cubicBezTo>
                  <a:cubicBezTo>
                    <a:pt x="3624739" y="325279"/>
                    <a:pt x="3622834" y="318611"/>
                    <a:pt x="3620929" y="312896"/>
                  </a:cubicBezTo>
                  <a:cubicBezTo>
                    <a:pt x="3620929" y="310991"/>
                    <a:pt x="3620929" y="309086"/>
                    <a:pt x="3620929" y="309086"/>
                  </a:cubicBezTo>
                  <a:cubicBezTo>
                    <a:pt x="3620929" y="309086"/>
                    <a:pt x="3620929" y="310039"/>
                    <a:pt x="3619976" y="310991"/>
                  </a:cubicBezTo>
                  <a:cubicBezTo>
                    <a:pt x="3619976" y="310039"/>
                    <a:pt x="3619024" y="309086"/>
                    <a:pt x="3619024" y="308134"/>
                  </a:cubicBezTo>
                  <a:cubicBezTo>
                    <a:pt x="3620929" y="295751"/>
                    <a:pt x="3621881" y="284321"/>
                    <a:pt x="3622834" y="272891"/>
                  </a:cubicBezTo>
                  <a:cubicBezTo>
                    <a:pt x="3624739" y="252889"/>
                    <a:pt x="3625691" y="234791"/>
                    <a:pt x="3626644" y="221456"/>
                  </a:cubicBezTo>
                  <a:cubicBezTo>
                    <a:pt x="3629501" y="215741"/>
                    <a:pt x="3630454" y="211931"/>
                    <a:pt x="3630454" y="211931"/>
                  </a:cubicBezTo>
                  <a:cubicBezTo>
                    <a:pt x="3630454" y="211931"/>
                    <a:pt x="3629501" y="213836"/>
                    <a:pt x="3626644" y="216694"/>
                  </a:cubicBezTo>
                  <a:cubicBezTo>
                    <a:pt x="3626644" y="215741"/>
                    <a:pt x="3626644" y="214789"/>
                    <a:pt x="3626644" y="214789"/>
                  </a:cubicBezTo>
                  <a:cubicBezTo>
                    <a:pt x="3626644" y="200501"/>
                    <a:pt x="3626644" y="192881"/>
                    <a:pt x="3626644" y="192881"/>
                  </a:cubicBezTo>
                  <a:cubicBezTo>
                    <a:pt x="3626644" y="192881"/>
                    <a:pt x="3624739" y="200501"/>
                    <a:pt x="3622834" y="214789"/>
                  </a:cubicBezTo>
                  <a:cubicBezTo>
                    <a:pt x="3621881" y="217646"/>
                    <a:pt x="3621881" y="221456"/>
                    <a:pt x="3620929" y="226219"/>
                  </a:cubicBezTo>
                  <a:cubicBezTo>
                    <a:pt x="3620929" y="226219"/>
                    <a:pt x="3620929" y="226219"/>
                    <a:pt x="3620929" y="227171"/>
                  </a:cubicBezTo>
                  <a:cubicBezTo>
                    <a:pt x="3618071" y="231934"/>
                    <a:pt x="3614261" y="237649"/>
                    <a:pt x="3609499" y="243364"/>
                  </a:cubicBezTo>
                  <a:cubicBezTo>
                    <a:pt x="3607594" y="246221"/>
                    <a:pt x="3605689" y="249079"/>
                    <a:pt x="3603784" y="251936"/>
                  </a:cubicBezTo>
                  <a:cubicBezTo>
                    <a:pt x="3607594" y="242411"/>
                    <a:pt x="3610451" y="233839"/>
                    <a:pt x="3613309" y="225266"/>
                  </a:cubicBezTo>
                  <a:cubicBezTo>
                    <a:pt x="3615214" y="219551"/>
                    <a:pt x="3617119" y="213836"/>
                    <a:pt x="3619024" y="208121"/>
                  </a:cubicBezTo>
                  <a:cubicBezTo>
                    <a:pt x="3620929" y="202406"/>
                    <a:pt x="3622834" y="197644"/>
                    <a:pt x="3624739" y="192881"/>
                  </a:cubicBezTo>
                  <a:cubicBezTo>
                    <a:pt x="3628549" y="183356"/>
                    <a:pt x="3631406" y="174784"/>
                    <a:pt x="3634264" y="168116"/>
                  </a:cubicBezTo>
                  <a:cubicBezTo>
                    <a:pt x="3639026" y="153829"/>
                    <a:pt x="3642836" y="146209"/>
                    <a:pt x="3642836" y="146209"/>
                  </a:cubicBezTo>
                  <a:cubicBezTo>
                    <a:pt x="3642836" y="146209"/>
                    <a:pt x="3639026" y="153829"/>
                    <a:pt x="3631406" y="166211"/>
                  </a:cubicBezTo>
                  <a:cubicBezTo>
                    <a:pt x="3627596" y="172879"/>
                    <a:pt x="3623786" y="180499"/>
                    <a:pt x="3618071" y="189071"/>
                  </a:cubicBezTo>
                  <a:cubicBezTo>
                    <a:pt x="3615214" y="193834"/>
                    <a:pt x="3613309" y="198596"/>
                    <a:pt x="3610451" y="203359"/>
                  </a:cubicBezTo>
                  <a:cubicBezTo>
                    <a:pt x="3607594" y="209074"/>
                    <a:pt x="3605689" y="213836"/>
                    <a:pt x="3602831" y="219551"/>
                  </a:cubicBezTo>
                  <a:cubicBezTo>
                    <a:pt x="3598069" y="229076"/>
                    <a:pt x="3593306" y="238601"/>
                    <a:pt x="3588544" y="250031"/>
                  </a:cubicBezTo>
                  <a:cubicBezTo>
                    <a:pt x="3588544" y="245269"/>
                    <a:pt x="3588544" y="242411"/>
                    <a:pt x="3588544" y="242411"/>
                  </a:cubicBezTo>
                  <a:cubicBezTo>
                    <a:pt x="3588544" y="242411"/>
                    <a:pt x="3587591" y="248126"/>
                    <a:pt x="3585686" y="256699"/>
                  </a:cubicBezTo>
                  <a:cubicBezTo>
                    <a:pt x="3585686" y="256699"/>
                    <a:pt x="3585686" y="256699"/>
                    <a:pt x="3585686" y="257651"/>
                  </a:cubicBezTo>
                  <a:cubicBezTo>
                    <a:pt x="3583781" y="261461"/>
                    <a:pt x="3581876" y="266224"/>
                    <a:pt x="3579971" y="270986"/>
                  </a:cubicBezTo>
                  <a:cubicBezTo>
                    <a:pt x="3578066" y="274796"/>
                    <a:pt x="3576161" y="278606"/>
                    <a:pt x="3573304" y="282416"/>
                  </a:cubicBezTo>
                  <a:cubicBezTo>
                    <a:pt x="3571399" y="275749"/>
                    <a:pt x="3569494" y="269081"/>
                    <a:pt x="3568541" y="263366"/>
                  </a:cubicBezTo>
                  <a:cubicBezTo>
                    <a:pt x="3566636" y="257651"/>
                    <a:pt x="3565684" y="252889"/>
                    <a:pt x="3564731" y="248126"/>
                  </a:cubicBezTo>
                  <a:cubicBezTo>
                    <a:pt x="3564731" y="248126"/>
                    <a:pt x="3564731" y="248126"/>
                    <a:pt x="3564731" y="248126"/>
                  </a:cubicBezTo>
                  <a:cubicBezTo>
                    <a:pt x="3563779" y="244316"/>
                    <a:pt x="3563779" y="241459"/>
                    <a:pt x="3562826" y="237649"/>
                  </a:cubicBezTo>
                  <a:cubicBezTo>
                    <a:pt x="3562826" y="236696"/>
                    <a:pt x="3562826" y="235744"/>
                    <a:pt x="3561874" y="233839"/>
                  </a:cubicBezTo>
                  <a:cubicBezTo>
                    <a:pt x="3564731" y="230029"/>
                    <a:pt x="3566636" y="227171"/>
                    <a:pt x="3566636" y="227171"/>
                  </a:cubicBezTo>
                  <a:cubicBezTo>
                    <a:pt x="3566636" y="227171"/>
                    <a:pt x="3564731" y="229076"/>
                    <a:pt x="3561874" y="230981"/>
                  </a:cubicBezTo>
                  <a:cubicBezTo>
                    <a:pt x="3559969" y="222409"/>
                    <a:pt x="3559016" y="218599"/>
                    <a:pt x="3559016" y="218599"/>
                  </a:cubicBezTo>
                  <a:cubicBezTo>
                    <a:pt x="3559016" y="218599"/>
                    <a:pt x="3559016" y="223361"/>
                    <a:pt x="3559016" y="231934"/>
                  </a:cubicBezTo>
                  <a:cubicBezTo>
                    <a:pt x="3557111" y="228124"/>
                    <a:pt x="3556159" y="224314"/>
                    <a:pt x="3554254" y="220504"/>
                  </a:cubicBezTo>
                  <a:cubicBezTo>
                    <a:pt x="3559969" y="211931"/>
                    <a:pt x="3564731" y="204311"/>
                    <a:pt x="3569494" y="197644"/>
                  </a:cubicBezTo>
                  <a:cubicBezTo>
                    <a:pt x="3576161" y="189071"/>
                    <a:pt x="3580924" y="180499"/>
                    <a:pt x="3585686" y="174784"/>
                  </a:cubicBezTo>
                  <a:cubicBezTo>
                    <a:pt x="3595211" y="162401"/>
                    <a:pt x="3600926" y="154781"/>
                    <a:pt x="3600926" y="154781"/>
                  </a:cubicBezTo>
                  <a:cubicBezTo>
                    <a:pt x="3600926" y="154781"/>
                    <a:pt x="3594259" y="160496"/>
                    <a:pt x="3582829" y="171926"/>
                  </a:cubicBezTo>
                  <a:cubicBezTo>
                    <a:pt x="3577114" y="176689"/>
                    <a:pt x="3570446" y="184309"/>
                    <a:pt x="3562826" y="192881"/>
                  </a:cubicBezTo>
                  <a:cubicBezTo>
                    <a:pt x="3558064" y="197644"/>
                    <a:pt x="3553301" y="203359"/>
                    <a:pt x="3549491" y="209074"/>
                  </a:cubicBezTo>
                  <a:cubicBezTo>
                    <a:pt x="3545681" y="199549"/>
                    <a:pt x="3542824" y="193834"/>
                    <a:pt x="3542824" y="193834"/>
                  </a:cubicBezTo>
                  <a:cubicBezTo>
                    <a:pt x="3542824" y="193834"/>
                    <a:pt x="3543776" y="200501"/>
                    <a:pt x="3546634" y="212884"/>
                  </a:cubicBezTo>
                  <a:cubicBezTo>
                    <a:pt x="3544729" y="215741"/>
                    <a:pt x="3541871" y="218599"/>
                    <a:pt x="3539966" y="222409"/>
                  </a:cubicBezTo>
                  <a:cubicBezTo>
                    <a:pt x="3539966" y="222409"/>
                    <a:pt x="3539014" y="223361"/>
                    <a:pt x="3539014" y="223361"/>
                  </a:cubicBezTo>
                  <a:cubicBezTo>
                    <a:pt x="3539014" y="219551"/>
                    <a:pt x="3539014" y="214789"/>
                    <a:pt x="3539014" y="210979"/>
                  </a:cubicBezTo>
                  <a:cubicBezTo>
                    <a:pt x="3539014" y="200501"/>
                    <a:pt x="3539014" y="191929"/>
                    <a:pt x="3539014" y="184309"/>
                  </a:cubicBezTo>
                  <a:cubicBezTo>
                    <a:pt x="3539014" y="180499"/>
                    <a:pt x="3539014" y="176689"/>
                    <a:pt x="3539014" y="173831"/>
                  </a:cubicBezTo>
                  <a:cubicBezTo>
                    <a:pt x="3539966" y="170974"/>
                    <a:pt x="3540919" y="170021"/>
                    <a:pt x="3540919" y="170021"/>
                  </a:cubicBezTo>
                  <a:cubicBezTo>
                    <a:pt x="3540919" y="170021"/>
                    <a:pt x="3539966" y="170974"/>
                    <a:pt x="3539014" y="172879"/>
                  </a:cubicBezTo>
                  <a:cubicBezTo>
                    <a:pt x="3539014" y="166211"/>
                    <a:pt x="3539014" y="162401"/>
                    <a:pt x="3539014" y="162401"/>
                  </a:cubicBezTo>
                  <a:cubicBezTo>
                    <a:pt x="3539014" y="162401"/>
                    <a:pt x="3538061" y="167164"/>
                    <a:pt x="3537109" y="176689"/>
                  </a:cubicBezTo>
                  <a:cubicBezTo>
                    <a:pt x="3535204" y="180499"/>
                    <a:pt x="3531394" y="184309"/>
                    <a:pt x="3527584" y="190976"/>
                  </a:cubicBezTo>
                  <a:cubicBezTo>
                    <a:pt x="3522821" y="197644"/>
                    <a:pt x="3518059" y="205264"/>
                    <a:pt x="3511391" y="214789"/>
                  </a:cubicBezTo>
                  <a:cubicBezTo>
                    <a:pt x="3511391" y="214789"/>
                    <a:pt x="3511391" y="215741"/>
                    <a:pt x="3510439" y="215741"/>
                  </a:cubicBezTo>
                  <a:cubicBezTo>
                    <a:pt x="3509486" y="210026"/>
                    <a:pt x="3509486" y="205264"/>
                    <a:pt x="3508534" y="201454"/>
                  </a:cubicBezTo>
                  <a:cubicBezTo>
                    <a:pt x="3506629" y="188119"/>
                    <a:pt x="3505676" y="180499"/>
                    <a:pt x="3505676" y="180499"/>
                  </a:cubicBezTo>
                  <a:cubicBezTo>
                    <a:pt x="3505676" y="180499"/>
                    <a:pt x="3505676" y="188119"/>
                    <a:pt x="3504724" y="202406"/>
                  </a:cubicBezTo>
                  <a:cubicBezTo>
                    <a:pt x="3504724" y="209074"/>
                    <a:pt x="3504724" y="216694"/>
                    <a:pt x="3503771" y="226219"/>
                  </a:cubicBezTo>
                  <a:cubicBezTo>
                    <a:pt x="3502819" y="228124"/>
                    <a:pt x="3501866" y="229076"/>
                    <a:pt x="3500914" y="230981"/>
                  </a:cubicBezTo>
                  <a:cubicBezTo>
                    <a:pt x="3498056" y="235744"/>
                    <a:pt x="3495199" y="241459"/>
                    <a:pt x="3491389" y="247174"/>
                  </a:cubicBezTo>
                  <a:cubicBezTo>
                    <a:pt x="3488531" y="241459"/>
                    <a:pt x="3486626" y="235744"/>
                    <a:pt x="3483769" y="230029"/>
                  </a:cubicBezTo>
                  <a:cubicBezTo>
                    <a:pt x="3479006" y="218599"/>
                    <a:pt x="3474244" y="209074"/>
                    <a:pt x="3469481" y="200501"/>
                  </a:cubicBezTo>
                  <a:cubicBezTo>
                    <a:pt x="3470434" y="197644"/>
                    <a:pt x="3471386" y="193834"/>
                    <a:pt x="3471386" y="190976"/>
                  </a:cubicBezTo>
                  <a:cubicBezTo>
                    <a:pt x="3473291" y="182404"/>
                    <a:pt x="3475196" y="174784"/>
                    <a:pt x="3477101" y="167164"/>
                  </a:cubicBezTo>
                  <a:cubicBezTo>
                    <a:pt x="3479006" y="159544"/>
                    <a:pt x="3480911" y="152876"/>
                    <a:pt x="3482816" y="146209"/>
                  </a:cubicBezTo>
                  <a:cubicBezTo>
                    <a:pt x="3486626" y="132874"/>
                    <a:pt x="3489484" y="121444"/>
                    <a:pt x="3492341" y="111919"/>
                  </a:cubicBezTo>
                  <a:cubicBezTo>
                    <a:pt x="3497104" y="92869"/>
                    <a:pt x="3499961" y="82391"/>
                    <a:pt x="3499961" y="82391"/>
                  </a:cubicBezTo>
                  <a:cubicBezTo>
                    <a:pt x="3499961" y="82391"/>
                    <a:pt x="3496151" y="92869"/>
                    <a:pt x="3488531" y="110966"/>
                  </a:cubicBezTo>
                  <a:cubicBezTo>
                    <a:pt x="3484721" y="120491"/>
                    <a:pt x="3480911" y="130969"/>
                    <a:pt x="3476149" y="144304"/>
                  </a:cubicBezTo>
                  <a:cubicBezTo>
                    <a:pt x="3473291" y="150971"/>
                    <a:pt x="3471386" y="157639"/>
                    <a:pt x="3468529" y="164306"/>
                  </a:cubicBezTo>
                  <a:cubicBezTo>
                    <a:pt x="3466624" y="170974"/>
                    <a:pt x="3464719" y="177641"/>
                    <a:pt x="3461861" y="185261"/>
                  </a:cubicBezTo>
                  <a:cubicBezTo>
                    <a:pt x="3456146" y="173831"/>
                    <a:pt x="3452336" y="168116"/>
                    <a:pt x="3452336" y="168116"/>
                  </a:cubicBezTo>
                  <a:cubicBezTo>
                    <a:pt x="3452336" y="168116"/>
                    <a:pt x="3455194" y="175736"/>
                    <a:pt x="3460909" y="189071"/>
                  </a:cubicBezTo>
                  <a:cubicBezTo>
                    <a:pt x="3457099" y="200501"/>
                    <a:pt x="3454241" y="211931"/>
                    <a:pt x="3450431" y="225266"/>
                  </a:cubicBezTo>
                  <a:cubicBezTo>
                    <a:pt x="3447574" y="220504"/>
                    <a:pt x="3444716" y="214789"/>
                    <a:pt x="3441859" y="210026"/>
                  </a:cubicBezTo>
                  <a:cubicBezTo>
                    <a:pt x="3441859" y="209074"/>
                    <a:pt x="3441859" y="208121"/>
                    <a:pt x="3442811" y="208121"/>
                  </a:cubicBezTo>
                  <a:cubicBezTo>
                    <a:pt x="3444716" y="197644"/>
                    <a:pt x="3445669" y="190976"/>
                    <a:pt x="3445669" y="190976"/>
                  </a:cubicBezTo>
                  <a:cubicBezTo>
                    <a:pt x="3445669" y="190976"/>
                    <a:pt x="3442811" y="196691"/>
                    <a:pt x="3439001" y="205264"/>
                  </a:cubicBezTo>
                  <a:cubicBezTo>
                    <a:pt x="3439001" y="205264"/>
                    <a:pt x="3439001" y="205264"/>
                    <a:pt x="3439001" y="205264"/>
                  </a:cubicBezTo>
                  <a:cubicBezTo>
                    <a:pt x="3439001" y="190976"/>
                    <a:pt x="3439001" y="177641"/>
                    <a:pt x="3438049" y="165259"/>
                  </a:cubicBezTo>
                  <a:cubicBezTo>
                    <a:pt x="3438049" y="153829"/>
                    <a:pt x="3437096" y="144304"/>
                    <a:pt x="3437096" y="135731"/>
                  </a:cubicBezTo>
                  <a:cubicBezTo>
                    <a:pt x="3436144" y="127159"/>
                    <a:pt x="3436144" y="119539"/>
                    <a:pt x="3435191" y="112871"/>
                  </a:cubicBezTo>
                  <a:cubicBezTo>
                    <a:pt x="3434239" y="100489"/>
                    <a:pt x="3433286" y="92869"/>
                    <a:pt x="3433286" y="92869"/>
                  </a:cubicBezTo>
                  <a:cubicBezTo>
                    <a:pt x="3433286" y="92869"/>
                    <a:pt x="3432334" y="100489"/>
                    <a:pt x="3431381" y="112871"/>
                  </a:cubicBezTo>
                  <a:cubicBezTo>
                    <a:pt x="3430429" y="122396"/>
                    <a:pt x="3429476" y="134779"/>
                    <a:pt x="3428524" y="149066"/>
                  </a:cubicBezTo>
                  <a:cubicBezTo>
                    <a:pt x="3428524" y="149066"/>
                    <a:pt x="3428524" y="150019"/>
                    <a:pt x="3428524" y="150019"/>
                  </a:cubicBezTo>
                  <a:cubicBezTo>
                    <a:pt x="3427571" y="143351"/>
                    <a:pt x="3426619" y="137636"/>
                    <a:pt x="3426619" y="131921"/>
                  </a:cubicBezTo>
                  <a:cubicBezTo>
                    <a:pt x="3424714" y="120491"/>
                    <a:pt x="3423761" y="113824"/>
                    <a:pt x="3423761" y="113824"/>
                  </a:cubicBezTo>
                  <a:cubicBezTo>
                    <a:pt x="3423761" y="113824"/>
                    <a:pt x="3422809" y="120491"/>
                    <a:pt x="3422809" y="131921"/>
                  </a:cubicBezTo>
                  <a:cubicBezTo>
                    <a:pt x="3422809" y="142399"/>
                    <a:pt x="3421856" y="157639"/>
                    <a:pt x="3420904" y="174784"/>
                  </a:cubicBezTo>
                  <a:cubicBezTo>
                    <a:pt x="3418046" y="170021"/>
                    <a:pt x="3415189" y="166211"/>
                    <a:pt x="3412331" y="162401"/>
                  </a:cubicBezTo>
                  <a:cubicBezTo>
                    <a:pt x="3405664" y="152876"/>
                    <a:pt x="3400901" y="146209"/>
                    <a:pt x="3398044" y="141446"/>
                  </a:cubicBezTo>
                  <a:cubicBezTo>
                    <a:pt x="3398996" y="135731"/>
                    <a:pt x="3400901" y="129064"/>
                    <a:pt x="3401854" y="123349"/>
                  </a:cubicBezTo>
                  <a:cubicBezTo>
                    <a:pt x="3399949" y="128111"/>
                    <a:pt x="3398044" y="133826"/>
                    <a:pt x="3396139" y="139541"/>
                  </a:cubicBezTo>
                  <a:cubicBezTo>
                    <a:pt x="3393281" y="135731"/>
                    <a:pt x="3391376" y="132874"/>
                    <a:pt x="3391376" y="132874"/>
                  </a:cubicBezTo>
                  <a:cubicBezTo>
                    <a:pt x="3391376" y="132874"/>
                    <a:pt x="3392329" y="134779"/>
                    <a:pt x="3395186" y="139541"/>
                  </a:cubicBezTo>
                  <a:cubicBezTo>
                    <a:pt x="3395186" y="140494"/>
                    <a:pt x="3395186" y="140494"/>
                    <a:pt x="3395186" y="141446"/>
                  </a:cubicBezTo>
                  <a:cubicBezTo>
                    <a:pt x="3391376" y="153829"/>
                    <a:pt x="3386614" y="166211"/>
                    <a:pt x="3382804" y="177641"/>
                  </a:cubicBezTo>
                  <a:cubicBezTo>
                    <a:pt x="3382804" y="175736"/>
                    <a:pt x="3382804" y="174784"/>
                    <a:pt x="3382804" y="172879"/>
                  </a:cubicBezTo>
                  <a:cubicBezTo>
                    <a:pt x="3381851" y="158591"/>
                    <a:pt x="3381851" y="150971"/>
                    <a:pt x="3381851" y="150971"/>
                  </a:cubicBezTo>
                  <a:cubicBezTo>
                    <a:pt x="3381851" y="150971"/>
                    <a:pt x="3380899" y="158591"/>
                    <a:pt x="3378994" y="172879"/>
                  </a:cubicBezTo>
                  <a:cubicBezTo>
                    <a:pt x="3378041" y="179546"/>
                    <a:pt x="3377089" y="188119"/>
                    <a:pt x="3376136" y="197644"/>
                  </a:cubicBezTo>
                  <a:cubicBezTo>
                    <a:pt x="3372326" y="210026"/>
                    <a:pt x="3368516" y="222409"/>
                    <a:pt x="3365659" y="234791"/>
                  </a:cubicBezTo>
                  <a:cubicBezTo>
                    <a:pt x="3363754" y="240506"/>
                    <a:pt x="3361849" y="247174"/>
                    <a:pt x="3358991" y="253841"/>
                  </a:cubicBezTo>
                  <a:cubicBezTo>
                    <a:pt x="3358991" y="254794"/>
                    <a:pt x="3358039" y="256699"/>
                    <a:pt x="3358039" y="257651"/>
                  </a:cubicBezTo>
                  <a:cubicBezTo>
                    <a:pt x="3355181" y="250984"/>
                    <a:pt x="3353276" y="244316"/>
                    <a:pt x="3351371" y="239554"/>
                  </a:cubicBezTo>
                  <a:cubicBezTo>
                    <a:pt x="3351371" y="238601"/>
                    <a:pt x="3351371" y="237649"/>
                    <a:pt x="3351371" y="237649"/>
                  </a:cubicBezTo>
                  <a:cubicBezTo>
                    <a:pt x="3351371" y="237649"/>
                    <a:pt x="3351371" y="237649"/>
                    <a:pt x="3351371" y="238601"/>
                  </a:cubicBezTo>
                  <a:cubicBezTo>
                    <a:pt x="3347561" y="228124"/>
                    <a:pt x="3344704" y="221456"/>
                    <a:pt x="3344704" y="221456"/>
                  </a:cubicBezTo>
                  <a:cubicBezTo>
                    <a:pt x="3344704" y="221456"/>
                    <a:pt x="3346609" y="230981"/>
                    <a:pt x="3349466" y="248126"/>
                  </a:cubicBezTo>
                  <a:cubicBezTo>
                    <a:pt x="3348514" y="252889"/>
                    <a:pt x="3348514" y="258604"/>
                    <a:pt x="3347561" y="265271"/>
                  </a:cubicBezTo>
                  <a:cubicBezTo>
                    <a:pt x="3346609" y="270986"/>
                    <a:pt x="3346609" y="276701"/>
                    <a:pt x="3345656" y="283369"/>
                  </a:cubicBezTo>
                  <a:cubicBezTo>
                    <a:pt x="3344704" y="284321"/>
                    <a:pt x="3344704" y="285274"/>
                    <a:pt x="3343751" y="287179"/>
                  </a:cubicBezTo>
                  <a:cubicBezTo>
                    <a:pt x="3341846" y="283369"/>
                    <a:pt x="3340894" y="278606"/>
                    <a:pt x="3339941" y="274796"/>
                  </a:cubicBezTo>
                  <a:cubicBezTo>
                    <a:pt x="3335179" y="259556"/>
                    <a:pt x="3329464" y="245269"/>
                    <a:pt x="3325654" y="231934"/>
                  </a:cubicBezTo>
                  <a:cubicBezTo>
                    <a:pt x="3326606" y="227171"/>
                    <a:pt x="3327559" y="221456"/>
                    <a:pt x="3328511" y="216694"/>
                  </a:cubicBezTo>
                  <a:cubicBezTo>
                    <a:pt x="3332321" y="199549"/>
                    <a:pt x="3334226" y="184309"/>
                    <a:pt x="3338036" y="170974"/>
                  </a:cubicBezTo>
                  <a:cubicBezTo>
                    <a:pt x="3340894" y="157639"/>
                    <a:pt x="3343751" y="145256"/>
                    <a:pt x="3346609" y="136684"/>
                  </a:cubicBezTo>
                  <a:cubicBezTo>
                    <a:pt x="3352324" y="117634"/>
                    <a:pt x="3355181" y="106204"/>
                    <a:pt x="3355181" y="106204"/>
                  </a:cubicBezTo>
                  <a:cubicBezTo>
                    <a:pt x="3355181" y="106204"/>
                    <a:pt x="3350419" y="116681"/>
                    <a:pt x="3342799" y="134779"/>
                  </a:cubicBezTo>
                  <a:cubicBezTo>
                    <a:pt x="3338989" y="144304"/>
                    <a:pt x="3335179" y="155734"/>
                    <a:pt x="3330416" y="169069"/>
                  </a:cubicBezTo>
                  <a:cubicBezTo>
                    <a:pt x="3325654" y="180499"/>
                    <a:pt x="3322796" y="193834"/>
                    <a:pt x="3318986" y="208121"/>
                  </a:cubicBezTo>
                  <a:cubicBezTo>
                    <a:pt x="3318986" y="206216"/>
                    <a:pt x="3318986" y="205264"/>
                    <a:pt x="3318986" y="203359"/>
                  </a:cubicBezTo>
                  <a:cubicBezTo>
                    <a:pt x="3319939" y="200501"/>
                    <a:pt x="3319939" y="198596"/>
                    <a:pt x="3320891" y="195739"/>
                  </a:cubicBezTo>
                  <a:cubicBezTo>
                    <a:pt x="3323749" y="185261"/>
                    <a:pt x="3325654" y="176689"/>
                    <a:pt x="3327559" y="170021"/>
                  </a:cubicBezTo>
                  <a:cubicBezTo>
                    <a:pt x="3330416" y="155734"/>
                    <a:pt x="3332321" y="147161"/>
                    <a:pt x="3332321" y="147161"/>
                  </a:cubicBezTo>
                  <a:cubicBezTo>
                    <a:pt x="3332321" y="147161"/>
                    <a:pt x="3329464" y="154781"/>
                    <a:pt x="3323749" y="169069"/>
                  </a:cubicBezTo>
                  <a:cubicBezTo>
                    <a:pt x="3323749" y="170021"/>
                    <a:pt x="3322796" y="170974"/>
                    <a:pt x="3322796" y="171926"/>
                  </a:cubicBezTo>
                  <a:cubicBezTo>
                    <a:pt x="3322796" y="170021"/>
                    <a:pt x="3323749" y="167164"/>
                    <a:pt x="3323749" y="165259"/>
                  </a:cubicBezTo>
                  <a:cubicBezTo>
                    <a:pt x="3325654" y="158591"/>
                    <a:pt x="3326606" y="152876"/>
                    <a:pt x="3328511" y="147161"/>
                  </a:cubicBezTo>
                  <a:cubicBezTo>
                    <a:pt x="3331369" y="135731"/>
                    <a:pt x="3334226" y="125254"/>
                    <a:pt x="3336131" y="116681"/>
                  </a:cubicBezTo>
                  <a:cubicBezTo>
                    <a:pt x="3339941" y="99536"/>
                    <a:pt x="3341846" y="90011"/>
                    <a:pt x="3341846" y="90011"/>
                  </a:cubicBezTo>
                  <a:cubicBezTo>
                    <a:pt x="3341846" y="90011"/>
                    <a:pt x="3338036" y="99536"/>
                    <a:pt x="3332321" y="114776"/>
                  </a:cubicBezTo>
                  <a:cubicBezTo>
                    <a:pt x="3329464" y="122396"/>
                    <a:pt x="3325654" y="132874"/>
                    <a:pt x="3321844" y="143351"/>
                  </a:cubicBezTo>
                  <a:cubicBezTo>
                    <a:pt x="3319939" y="149066"/>
                    <a:pt x="3318034" y="154781"/>
                    <a:pt x="3315176" y="161449"/>
                  </a:cubicBezTo>
                  <a:cubicBezTo>
                    <a:pt x="3313271" y="168116"/>
                    <a:pt x="3311366" y="174784"/>
                    <a:pt x="3308509" y="181451"/>
                  </a:cubicBezTo>
                  <a:cubicBezTo>
                    <a:pt x="3308509" y="181451"/>
                    <a:pt x="3308509" y="181451"/>
                    <a:pt x="3308509" y="181451"/>
                  </a:cubicBezTo>
                  <a:cubicBezTo>
                    <a:pt x="3307556" y="179546"/>
                    <a:pt x="3307556" y="178594"/>
                    <a:pt x="3306604" y="176689"/>
                  </a:cubicBezTo>
                  <a:cubicBezTo>
                    <a:pt x="3298031" y="153829"/>
                    <a:pt x="3292316" y="140494"/>
                    <a:pt x="3292316" y="140494"/>
                  </a:cubicBezTo>
                  <a:cubicBezTo>
                    <a:pt x="3292316" y="140494"/>
                    <a:pt x="3297079" y="158591"/>
                    <a:pt x="3305651" y="189071"/>
                  </a:cubicBezTo>
                  <a:cubicBezTo>
                    <a:pt x="3301841" y="201454"/>
                    <a:pt x="3298031" y="213836"/>
                    <a:pt x="3294221" y="227171"/>
                  </a:cubicBezTo>
                  <a:cubicBezTo>
                    <a:pt x="3294221" y="228124"/>
                    <a:pt x="3293269" y="230029"/>
                    <a:pt x="3293269" y="230981"/>
                  </a:cubicBezTo>
                  <a:cubicBezTo>
                    <a:pt x="3293269" y="230029"/>
                    <a:pt x="3292316" y="230029"/>
                    <a:pt x="3292316" y="229076"/>
                  </a:cubicBezTo>
                  <a:cubicBezTo>
                    <a:pt x="3282791" y="209074"/>
                    <a:pt x="3277076" y="197644"/>
                    <a:pt x="3277076" y="197644"/>
                  </a:cubicBezTo>
                  <a:cubicBezTo>
                    <a:pt x="3277076" y="197644"/>
                    <a:pt x="3282791" y="211931"/>
                    <a:pt x="3291364" y="237649"/>
                  </a:cubicBezTo>
                  <a:cubicBezTo>
                    <a:pt x="3289459" y="244316"/>
                    <a:pt x="3287554" y="250984"/>
                    <a:pt x="3285649" y="257651"/>
                  </a:cubicBezTo>
                  <a:cubicBezTo>
                    <a:pt x="3282791" y="253841"/>
                    <a:pt x="3279934" y="249079"/>
                    <a:pt x="3277076" y="246221"/>
                  </a:cubicBezTo>
                  <a:cubicBezTo>
                    <a:pt x="3276124" y="245269"/>
                    <a:pt x="3275171" y="243364"/>
                    <a:pt x="3274219" y="242411"/>
                  </a:cubicBezTo>
                  <a:cubicBezTo>
                    <a:pt x="3276124" y="215741"/>
                    <a:pt x="3277076" y="199549"/>
                    <a:pt x="3277076" y="199549"/>
                  </a:cubicBezTo>
                  <a:cubicBezTo>
                    <a:pt x="3277076" y="199549"/>
                    <a:pt x="3275171" y="206216"/>
                    <a:pt x="3272314" y="217646"/>
                  </a:cubicBezTo>
                  <a:cubicBezTo>
                    <a:pt x="3271361" y="222409"/>
                    <a:pt x="3269456" y="228124"/>
                    <a:pt x="3268504" y="234791"/>
                  </a:cubicBezTo>
                  <a:cubicBezTo>
                    <a:pt x="3265646" y="230029"/>
                    <a:pt x="3261836" y="226219"/>
                    <a:pt x="3258979" y="223361"/>
                  </a:cubicBezTo>
                  <a:cubicBezTo>
                    <a:pt x="3247549" y="210979"/>
                    <a:pt x="3241834" y="203359"/>
                    <a:pt x="3241834" y="203359"/>
                  </a:cubicBezTo>
                  <a:cubicBezTo>
                    <a:pt x="3241834" y="203359"/>
                    <a:pt x="3247549" y="211931"/>
                    <a:pt x="3256121" y="226219"/>
                  </a:cubicBezTo>
                  <a:cubicBezTo>
                    <a:pt x="3259931" y="230981"/>
                    <a:pt x="3262789" y="236696"/>
                    <a:pt x="3266599" y="243364"/>
                  </a:cubicBezTo>
                  <a:cubicBezTo>
                    <a:pt x="3264694" y="250031"/>
                    <a:pt x="3262789" y="256699"/>
                    <a:pt x="3260884" y="265271"/>
                  </a:cubicBezTo>
                  <a:cubicBezTo>
                    <a:pt x="3258979" y="271939"/>
                    <a:pt x="3257074" y="279559"/>
                    <a:pt x="3256121" y="288131"/>
                  </a:cubicBezTo>
                  <a:cubicBezTo>
                    <a:pt x="3256121" y="287179"/>
                    <a:pt x="3256121" y="287179"/>
                    <a:pt x="3256121" y="287179"/>
                  </a:cubicBezTo>
                  <a:cubicBezTo>
                    <a:pt x="3256121" y="287179"/>
                    <a:pt x="3256121" y="288131"/>
                    <a:pt x="3256121" y="289084"/>
                  </a:cubicBezTo>
                  <a:cubicBezTo>
                    <a:pt x="3256121" y="290989"/>
                    <a:pt x="3255169" y="291941"/>
                    <a:pt x="3255169" y="293846"/>
                  </a:cubicBezTo>
                  <a:cubicBezTo>
                    <a:pt x="3254216" y="292894"/>
                    <a:pt x="3254216" y="291941"/>
                    <a:pt x="3253264" y="290036"/>
                  </a:cubicBezTo>
                  <a:cubicBezTo>
                    <a:pt x="3253264" y="284321"/>
                    <a:pt x="3254216" y="280511"/>
                    <a:pt x="3254216" y="280511"/>
                  </a:cubicBezTo>
                  <a:cubicBezTo>
                    <a:pt x="3254216" y="280511"/>
                    <a:pt x="3253264" y="282416"/>
                    <a:pt x="3252311" y="287179"/>
                  </a:cubicBezTo>
                  <a:cubicBezTo>
                    <a:pt x="3248501" y="280511"/>
                    <a:pt x="3246596" y="276701"/>
                    <a:pt x="3246596" y="276701"/>
                  </a:cubicBezTo>
                  <a:cubicBezTo>
                    <a:pt x="3246596" y="276701"/>
                    <a:pt x="3248501" y="281464"/>
                    <a:pt x="3251359" y="290989"/>
                  </a:cubicBezTo>
                  <a:cubicBezTo>
                    <a:pt x="3250406" y="292894"/>
                    <a:pt x="3250406" y="295751"/>
                    <a:pt x="3249454" y="298609"/>
                  </a:cubicBezTo>
                  <a:cubicBezTo>
                    <a:pt x="3248501" y="300514"/>
                    <a:pt x="3248501" y="302419"/>
                    <a:pt x="3247549" y="304324"/>
                  </a:cubicBezTo>
                  <a:cubicBezTo>
                    <a:pt x="3247549" y="302419"/>
                    <a:pt x="3246596" y="301466"/>
                    <a:pt x="3246596" y="301466"/>
                  </a:cubicBezTo>
                  <a:cubicBezTo>
                    <a:pt x="3246596" y="301466"/>
                    <a:pt x="3246596" y="303371"/>
                    <a:pt x="3246596" y="306229"/>
                  </a:cubicBezTo>
                  <a:cubicBezTo>
                    <a:pt x="3245644" y="310039"/>
                    <a:pt x="3244691" y="313849"/>
                    <a:pt x="3243739" y="317659"/>
                  </a:cubicBezTo>
                  <a:cubicBezTo>
                    <a:pt x="3242786" y="312896"/>
                    <a:pt x="3240881" y="308134"/>
                    <a:pt x="3239929" y="304324"/>
                  </a:cubicBezTo>
                  <a:cubicBezTo>
                    <a:pt x="3241834" y="299561"/>
                    <a:pt x="3242786" y="296704"/>
                    <a:pt x="3242786" y="296704"/>
                  </a:cubicBezTo>
                  <a:cubicBezTo>
                    <a:pt x="3242786" y="296704"/>
                    <a:pt x="3241834" y="298609"/>
                    <a:pt x="3238976" y="302419"/>
                  </a:cubicBezTo>
                  <a:cubicBezTo>
                    <a:pt x="3238024" y="299561"/>
                    <a:pt x="3237071" y="296704"/>
                    <a:pt x="3236119" y="293846"/>
                  </a:cubicBezTo>
                  <a:cubicBezTo>
                    <a:pt x="3236119" y="292894"/>
                    <a:pt x="3235166" y="291941"/>
                    <a:pt x="3235166" y="290036"/>
                  </a:cubicBezTo>
                  <a:cubicBezTo>
                    <a:pt x="3238024" y="284321"/>
                    <a:pt x="3239929" y="278606"/>
                    <a:pt x="3241834" y="273844"/>
                  </a:cubicBezTo>
                  <a:cubicBezTo>
                    <a:pt x="3244691" y="267176"/>
                    <a:pt x="3247549" y="261461"/>
                    <a:pt x="3249454" y="256699"/>
                  </a:cubicBezTo>
                  <a:cubicBezTo>
                    <a:pt x="3254216" y="247174"/>
                    <a:pt x="3256121" y="242411"/>
                    <a:pt x="3256121" y="242411"/>
                  </a:cubicBezTo>
                  <a:cubicBezTo>
                    <a:pt x="3256121" y="242411"/>
                    <a:pt x="3252311" y="247174"/>
                    <a:pt x="3245644" y="254794"/>
                  </a:cubicBezTo>
                  <a:cubicBezTo>
                    <a:pt x="3242786" y="258604"/>
                    <a:pt x="3238976" y="263366"/>
                    <a:pt x="3235166" y="270034"/>
                  </a:cubicBezTo>
                  <a:cubicBezTo>
                    <a:pt x="3233261" y="271939"/>
                    <a:pt x="3232309" y="274796"/>
                    <a:pt x="3230404" y="276701"/>
                  </a:cubicBezTo>
                  <a:cubicBezTo>
                    <a:pt x="3230404" y="275749"/>
                    <a:pt x="3229451" y="273844"/>
                    <a:pt x="3229451" y="272891"/>
                  </a:cubicBezTo>
                  <a:cubicBezTo>
                    <a:pt x="3227546" y="266224"/>
                    <a:pt x="3224689" y="260509"/>
                    <a:pt x="3222784" y="253841"/>
                  </a:cubicBezTo>
                  <a:cubicBezTo>
                    <a:pt x="3220879" y="250031"/>
                    <a:pt x="3219926" y="245269"/>
                    <a:pt x="3218021" y="241459"/>
                  </a:cubicBezTo>
                  <a:cubicBezTo>
                    <a:pt x="3218021" y="239554"/>
                    <a:pt x="3218021" y="238601"/>
                    <a:pt x="3218021" y="236696"/>
                  </a:cubicBezTo>
                  <a:cubicBezTo>
                    <a:pt x="3219926" y="226219"/>
                    <a:pt x="3221831" y="215741"/>
                    <a:pt x="3222784" y="206216"/>
                  </a:cubicBezTo>
                  <a:cubicBezTo>
                    <a:pt x="3225641" y="191929"/>
                    <a:pt x="3227546" y="178594"/>
                    <a:pt x="3229451" y="166211"/>
                  </a:cubicBezTo>
                  <a:cubicBezTo>
                    <a:pt x="3231356" y="154781"/>
                    <a:pt x="3233261" y="144304"/>
                    <a:pt x="3235166" y="135731"/>
                  </a:cubicBezTo>
                  <a:cubicBezTo>
                    <a:pt x="3238024" y="118586"/>
                    <a:pt x="3239929" y="109061"/>
                    <a:pt x="3239929" y="109061"/>
                  </a:cubicBezTo>
                  <a:cubicBezTo>
                    <a:pt x="3239929" y="109061"/>
                    <a:pt x="3237071" y="118586"/>
                    <a:pt x="3231356" y="134779"/>
                  </a:cubicBezTo>
                  <a:cubicBezTo>
                    <a:pt x="3226594" y="150971"/>
                    <a:pt x="3218974" y="175736"/>
                    <a:pt x="3212306" y="204311"/>
                  </a:cubicBezTo>
                  <a:cubicBezTo>
                    <a:pt x="3211354" y="208121"/>
                    <a:pt x="3210401" y="211931"/>
                    <a:pt x="3209449" y="215741"/>
                  </a:cubicBezTo>
                  <a:cubicBezTo>
                    <a:pt x="3207544" y="210979"/>
                    <a:pt x="3206591" y="207169"/>
                    <a:pt x="3204686" y="204311"/>
                  </a:cubicBezTo>
                  <a:cubicBezTo>
                    <a:pt x="3204686" y="186214"/>
                    <a:pt x="3203734" y="175736"/>
                    <a:pt x="3203734" y="175736"/>
                  </a:cubicBezTo>
                  <a:cubicBezTo>
                    <a:pt x="3203734" y="175736"/>
                    <a:pt x="3202781" y="187166"/>
                    <a:pt x="3200876" y="206216"/>
                  </a:cubicBezTo>
                  <a:cubicBezTo>
                    <a:pt x="3199924" y="215741"/>
                    <a:pt x="3198019" y="227171"/>
                    <a:pt x="3196114" y="240506"/>
                  </a:cubicBezTo>
                  <a:cubicBezTo>
                    <a:pt x="3196114" y="241459"/>
                    <a:pt x="3196114" y="242411"/>
                    <a:pt x="3195161" y="243364"/>
                  </a:cubicBezTo>
                  <a:cubicBezTo>
                    <a:pt x="3195161" y="234791"/>
                    <a:pt x="3196114" y="226219"/>
                    <a:pt x="3196114" y="217646"/>
                  </a:cubicBezTo>
                  <a:cubicBezTo>
                    <a:pt x="3197066" y="204311"/>
                    <a:pt x="3197066" y="191929"/>
                    <a:pt x="3198019" y="180499"/>
                  </a:cubicBezTo>
                  <a:cubicBezTo>
                    <a:pt x="3198971" y="169069"/>
                    <a:pt x="3198971" y="159544"/>
                    <a:pt x="3199924" y="151924"/>
                  </a:cubicBezTo>
                  <a:cubicBezTo>
                    <a:pt x="3200876" y="135731"/>
                    <a:pt x="3200876" y="127159"/>
                    <a:pt x="3200876" y="127159"/>
                  </a:cubicBezTo>
                  <a:cubicBezTo>
                    <a:pt x="3200876" y="127159"/>
                    <a:pt x="3198971" y="135731"/>
                    <a:pt x="3195161" y="151924"/>
                  </a:cubicBezTo>
                  <a:cubicBezTo>
                    <a:pt x="3192304" y="168116"/>
                    <a:pt x="3187541" y="190976"/>
                    <a:pt x="3184684" y="217646"/>
                  </a:cubicBezTo>
                  <a:cubicBezTo>
                    <a:pt x="3183731" y="223361"/>
                    <a:pt x="3182779" y="230029"/>
                    <a:pt x="3181826" y="235744"/>
                  </a:cubicBezTo>
                  <a:cubicBezTo>
                    <a:pt x="3180874" y="233839"/>
                    <a:pt x="3179921" y="232886"/>
                    <a:pt x="3179921" y="231934"/>
                  </a:cubicBezTo>
                  <a:cubicBezTo>
                    <a:pt x="3179921" y="227171"/>
                    <a:pt x="3179921" y="224314"/>
                    <a:pt x="3179921" y="224314"/>
                  </a:cubicBezTo>
                  <a:cubicBezTo>
                    <a:pt x="3179921" y="224314"/>
                    <a:pt x="3179921" y="226219"/>
                    <a:pt x="3178969" y="230029"/>
                  </a:cubicBezTo>
                  <a:cubicBezTo>
                    <a:pt x="3178016" y="228124"/>
                    <a:pt x="3177064" y="227171"/>
                    <a:pt x="3177064" y="227171"/>
                  </a:cubicBezTo>
                  <a:cubicBezTo>
                    <a:pt x="3177064" y="227171"/>
                    <a:pt x="3178016" y="229076"/>
                    <a:pt x="3178016" y="231934"/>
                  </a:cubicBezTo>
                  <a:cubicBezTo>
                    <a:pt x="3177064" y="236696"/>
                    <a:pt x="3176111" y="243364"/>
                    <a:pt x="3174206" y="250984"/>
                  </a:cubicBezTo>
                  <a:cubicBezTo>
                    <a:pt x="3173254" y="258604"/>
                    <a:pt x="3171349" y="267176"/>
                    <a:pt x="3170396" y="277654"/>
                  </a:cubicBezTo>
                  <a:cubicBezTo>
                    <a:pt x="3170396" y="276701"/>
                    <a:pt x="3170396" y="276701"/>
                    <a:pt x="3169444" y="275749"/>
                  </a:cubicBezTo>
                  <a:cubicBezTo>
                    <a:pt x="3168491" y="254794"/>
                    <a:pt x="3165634" y="234791"/>
                    <a:pt x="3163729" y="215741"/>
                  </a:cubicBezTo>
                  <a:cubicBezTo>
                    <a:pt x="3163729" y="212884"/>
                    <a:pt x="3162776" y="210026"/>
                    <a:pt x="3162776" y="207169"/>
                  </a:cubicBezTo>
                  <a:cubicBezTo>
                    <a:pt x="3162776" y="206216"/>
                    <a:pt x="3163729" y="204311"/>
                    <a:pt x="3163729" y="203359"/>
                  </a:cubicBezTo>
                  <a:cubicBezTo>
                    <a:pt x="3169444" y="174784"/>
                    <a:pt x="3172301" y="150019"/>
                    <a:pt x="3174206" y="132874"/>
                  </a:cubicBezTo>
                  <a:cubicBezTo>
                    <a:pt x="3176111" y="115729"/>
                    <a:pt x="3178016" y="106204"/>
                    <a:pt x="3178016" y="106204"/>
                  </a:cubicBezTo>
                  <a:cubicBezTo>
                    <a:pt x="3178016" y="106204"/>
                    <a:pt x="3175159" y="115729"/>
                    <a:pt x="3170396" y="131921"/>
                  </a:cubicBezTo>
                  <a:cubicBezTo>
                    <a:pt x="3167539" y="143351"/>
                    <a:pt x="3162776" y="159544"/>
                    <a:pt x="3158014" y="177641"/>
                  </a:cubicBezTo>
                  <a:cubicBezTo>
                    <a:pt x="3157061" y="171926"/>
                    <a:pt x="3156109" y="165259"/>
                    <a:pt x="3154204" y="159544"/>
                  </a:cubicBezTo>
                  <a:cubicBezTo>
                    <a:pt x="3152299" y="150971"/>
                    <a:pt x="3150394" y="142399"/>
                    <a:pt x="3149441" y="134779"/>
                  </a:cubicBezTo>
                  <a:cubicBezTo>
                    <a:pt x="3147536" y="127159"/>
                    <a:pt x="3145631" y="119539"/>
                    <a:pt x="3143726" y="112871"/>
                  </a:cubicBezTo>
                  <a:cubicBezTo>
                    <a:pt x="3139916" y="99536"/>
                    <a:pt x="3137059" y="87154"/>
                    <a:pt x="3133249" y="77629"/>
                  </a:cubicBezTo>
                  <a:cubicBezTo>
                    <a:pt x="3126581" y="58579"/>
                    <a:pt x="3122771" y="47149"/>
                    <a:pt x="3122771" y="47149"/>
                  </a:cubicBezTo>
                  <a:cubicBezTo>
                    <a:pt x="3122771" y="47149"/>
                    <a:pt x="3125629" y="58579"/>
                    <a:pt x="3129439" y="78581"/>
                  </a:cubicBezTo>
                  <a:cubicBezTo>
                    <a:pt x="3132296" y="88106"/>
                    <a:pt x="3134201" y="100489"/>
                    <a:pt x="3136106" y="114776"/>
                  </a:cubicBezTo>
                  <a:cubicBezTo>
                    <a:pt x="3137059" y="121444"/>
                    <a:pt x="3138964" y="129064"/>
                    <a:pt x="3139916" y="136684"/>
                  </a:cubicBezTo>
                  <a:cubicBezTo>
                    <a:pt x="3140869" y="144304"/>
                    <a:pt x="3141821" y="152876"/>
                    <a:pt x="3142774" y="161449"/>
                  </a:cubicBezTo>
                  <a:cubicBezTo>
                    <a:pt x="3145631" y="177641"/>
                    <a:pt x="3146584" y="195739"/>
                    <a:pt x="3147536" y="213836"/>
                  </a:cubicBezTo>
                  <a:cubicBezTo>
                    <a:pt x="3147536" y="214789"/>
                    <a:pt x="3146584" y="215741"/>
                    <a:pt x="3146584" y="217646"/>
                  </a:cubicBezTo>
                  <a:cubicBezTo>
                    <a:pt x="3145631" y="214789"/>
                    <a:pt x="3144679" y="211931"/>
                    <a:pt x="3143726" y="210026"/>
                  </a:cubicBezTo>
                  <a:cubicBezTo>
                    <a:pt x="3141821" y="205264"/>
                    <a:pt x="3139916" y="201454"/>
                    <a:pt x="3138964" y="196691"/>
                  </a:cubicBezTo>
                  <a:cubicBezTo>
                    <a:pt x="3137059" y="190024"/>
                    <a:pt x="3136106" y="184309"/>
                    <a:pt x="3134201" y="179546"/>
                  </a:cubicBezTo>
                  <a:cubicBezTo>
                    <a:pt x="3129439" y="164306"/>
                    <a:pt x="3126581" y="155734"/>
                    <a:pt x="3126581" y="155734"/>
                  </a:cubicBezTo>
                  <a:cubicBezTo>
                    <a:pt x="3126581" y="155734"/>
                    <a:pt x="3127534" y="161449"/>
                    <a:pt x="3129439" y="172879"/>
                  </a:cubicBezTo>
                  <a:cubicBezTo>
                    <a:pt x="3125629" y="164306"/>
                    <a:pt x="3121819" y="155734"/>
                    <a:pt x="3118961" y="150019"/>
                  </a:cubicBezTo>
                  <a:cubicBezTo>
                    <a:pt x="3116104" y="144304"/>
                    <a:pt x="3114199" y="139541"/>
                    <a:pt x="3112294" y="136684"/>
                  </a:cubicBezTo>
                  <a:cubicBezTo>
                    <a:pt x="3108484" y="128111"/>
                    <a:pt x="3105626" y="120491"/>
                    <a:pt x="3102769" y="113824"/>
                  </a:cubicBezTo>
                  <a:cubicBezTo>
                    <a:pt x="3095149" y="96679"/>
                    <a:pt x="3090386" y="87154"/>
                    <a:pt x="3090386" y="87154"/>
                  </a:cubicBezTo>
                  <a:cubicBezTo>
                    <a:pt x="3090386" y="87154"/>
                    <a:pt x="3093244" y="97631"/>
                    <a:pt x="3099911" y="114776"/>
                  </a:cubicBezTo>
                  <a:cubicBezTo>
                    <a:pt x="3102769" y="123349"/>
                    <a:pt x="3105626" y="133826"/>
                    <a:pt x="3109436" y="146209"/>
                  </a:cubicBezTo>
                  <a:cubicBezTo>
                    <a:pt x="3111341" y="152876"/>
                    <a:pt x="3113246" y="159544"/>
                    <a:pt x="3115151" y="167164"/>
                  </a:cubicBezTo>
                  <a:cubicBezTo>
                    <a:pt x="3111341" y="159544"/>
                    <a:pt x="3109436" y="155734"/>
                    <a:pt x="3109436" y="155734"/>
                  </a:cubicBezTo>
                  <a:cubicBezTo>
                    <a:pt x="3109436" y="155734"/>
                    <a:pt x="3111341" y="163354"/>
                    <a:pt x="3116104" y="176689"/>
                  </a:cubicBezTo>
                  <a:cubicBezTo>
                    <a:pt x="3118009" y="181451"/>
                    <a:pt x="3119914" y="188119"/>
                    <a:pt x="3121819" y="194786"/>
                  </a:cubicBezTo>
                  <a:cubicBezTo>
                    <a:pt x="3122771" y="200501"/>
                    <a:pt x="3124676" y="207169"/>
                    <a:pt x="3125629" y="213836"/>
                  </a:cubicBezTo>
                  <a:cubicBezTo>
                    <a:pt x="3124676" y="214789"/>
                    <a:pt x="3124676" y="215741"/>
                    <a:pt x="3123724" y="215741"/>
                  </a:cubicBezTo>
                  <a:cubicBezTo>
                    <a:pt x="3123724" y="212884"/>
                    <a:pt x="3122771" y="210979"/>
                    <a:pt x="3122771" y="210979"/>
                  </a:cubicBezTo>
                  <a:cubicBezTo>
                    <a:pt x="3122771" y="210979"/>
                    <a:pt x="3122771" y="212884"/>
                    <a:pt x="3122771" y="216694"/>
                  </a:cubicBezTo>
                  <a:cubicBezTo>
                    <a:pt x="3119914" y="219551"/>
                    <a:pt x="3117056" y="223361"/>
                    <a:pt x="3113246" y="228124"/>
                  </a:cubicBezTo>
                  <a:cubicBezTo>
                    <a:pt x="3113246" y="228124"/>
                    <a:pt x="3113246" y="228124"/>
                    <a:pt x="3113246" y="228124"/>
                  </a:cubicBezTo>
                  <a:cubicBezTo>
                    <a:pt x="3112294" y="213836"/>
                    <a:pt x="3111341" y="201454"/>
                    <a:pt x="3110389" y="191929"/>
                  </a:cubicBezTo>
                  <a:cubicBezTo>
                    <a:pt x="3109436" y="178594"/>
                    <a:pt x="3108484" y="171926"/>
                    <a:pt x="3108484" y="171926"/>
                  </a:cubicBezTo>
                  <a:cubicBezTo>
                    <a:pt x="3108484" y="171926"/>
                    <a:pt x="3107531" y="179546"/>
                    <a:pt x="3106579" y="192881"/>
                  </a:cubicBezTo>
                  <a:cubicBezTo>
                    <a:pt x="3105626" y="202406"/>
                    <a:pt x="3105626" y="213836"/>
                    <a:pt x="3104674" y="228124"/>
                  </a:cubicBezTo>
                  <a:cubicBezTo>
                    <a:pt x="3104674" y="228124"/>
                    <a:pt x="3104674" y="227171"/>
                    <a:pt x="3104674" y="227171"/>
                  </a:cubicBezTo>
                  <a:cubicBezTo>
                    <a:pt x="3099911" y="214789"/>
                    <a:pt x="3097054" y="208121"/>
                    <a:pt x="3097054" y="208121"/>
                  </a:cubicBezTo>
                  <a:cubicBezTo>
                    <a:pt x="3097054" y="208121"/>
                    <a:pt x="3098006" y="215741"/>
                    <a:pt x="3100864" y="228124"/>
                  </a:cubicBezTo>
                  <a:cubicBezTo>
                    <a:pt x="3101816" y="232886"/>
                    <a:pt x="3102769" y="238601"/>
                    <a:pt x="3103721" y="244316"/>
                  </a:cubicBezTo>
                  <a:cubicBezTo>
                    <a:pt x="3100864" y="248126"/>
                    <a:pt x="3098959" y="251936"/>
                    <a:pt x="3096101" y="255746"/>
                  </a:cubicBezTo>
                  <a:cubicBezTo>
                    <a:pt x="3093244" y="260509"/>
                    <a:pt x="3090386" y="264319"/>
                    <a:pt x="3087529" y="270034"/>
                  </a:cubicBezTo>
                  <a:cubicBezTo>
                    <a:pt x="3085624" y="263366"/>
                    <a:pt x="3083719" y="257651"/>
                    <a:pt x="3082766" y="252889"/>
                  </a:cubicBezTo>
                  <a:cubicBezTo>
                    <a:pt x="3078956" y="241459"/>
                    <a:pt x="3077051" y="233839"/>
                    <a:pt x="3077051" y="233839"/>
                  </a:cubicBezTo>
                  <a:cubicBezTo>
                    <a:pt x="3077051" y="233839"/>
                    <a:pt x="3078004" y="240506"/>
                    <a:pt x="3078956" y="252889"/>
                  </a:cubicBezTo>
                  <a:cubicBezTo>
                    <a:pt x="3078956" y="256699"/>
                    <a:pt x="3079909" y="260509"/>
                    <a:pt x="3079909" y="264319"/>
                  </a:cubicBezTo>
                  <a:cubicBezTo>
                    <a:pt x="3078956" y="261461"/>
                    <a:pt x="3078004" y="258604"/>
                    <a:pt x="3077051" y="255746"/>
                  </a:cubicBezTo>
                  <a:cubicBezTo>
                    <a:pt x="3076099" y="252889"/>
                    <a:pt x="3075146" y="250984"/>
                    <a:pt x="3074194" y="248126"/>
                  </a:cubicBezTo>
                  <a:cubicBezTo>
                    <a:pt x="3074194" y="246221"/>
                    <a:pt x="3074194" y="244316"/>
                    <a:pt x="3074194" y="242411"/>
                  </a:cubicBezTo>
                  <a:cubicBezTo>
                    <a:pt x="3074194" y="237649"/>
                    <a:pt x="3075146" y="232886"/>
                    <a:pt x="3075146" y="229076"/>
                  </a:cubicBezTo>
                  <a:cubicBezTo>
                    <a:pt x="3076099" y="226219"/>
                    <a:pt x="3077051" y="223361"/>
                    <a:pt x="3077051" y="220504"/>
                  </a:cubicBezTo>
                  <a:cubicBezTo>
                    <a:pt x="3080861" y="208121"/>
                    <a:pt x="3082766" y="197644"/>
                    <a:pt x="3086576" y="189071"/>
                  </a:cubicBezTo>
                  <a:cubicBezTo>
                    <a:pt x="3092291" y="171926"/>
                    <a:pt x="3096101" y="161449"/>
                    <a:pt x="3096101" y="161449"/>
                  </a:cubicBezTo>
                  <a:cubicBezTo>
                    <a:pt x="3096101" y="161449"/>
                    <a:pt x="3091339" y="170974"/>
                    <a:pt x="3083719" y="188119"/>
                  </a:cubicBezTo>
                  <a:cubicBezTo>
                    <a:pt x="3079909" y="196691"/>
                    <a:pt x="3076099" y="207169"/>
                    <a:pt x="3071336" y="218599"/>
                  </a:cubicBezTo>
                  <a:cubicBezTo>
                    <a:pt x="3070384" y="220504"/>
                    <a:pt x="3069431" y="222409"/>
                    <a:pt x="3068479" y="224314"/>
                  </a:cubicBezTo>
                  <a:cubicBezTo>
                    <a:pt x="3068479" y="221456"/>
                    <a:pt x="3068479" y="218599"/>
                    <a:pt x="3068479" y="216694"/>
                  </a:cubicBezTo>
                  <a:cubicBezTo>
                    <a:pt x="3068479" y="213836"/>
                    <a:pt x="3069431" y="211931"/>
                    <a:pt x="3069431" y="209074"/>
                  </a:cubicBezTo>
                  <a:cubicBezTo>
                    <a:pt x="3070384" y="198596"/>
                    <a:pt x="3071336" y="189071"/>
                    <a:pt x="3072289" y="181451"/>
                  </a:cubicBezTo>
                  <a:cubicBezTo>
                    <a:pt x="3073241" y="166211"/>
                    <a:pt x="3073241" y="157639"/>
                    <a:pt x="3073241" y="157639"/>
                  </a:cubicBezTo>
                  <a:cubicBezTo>
                    <a:pt x="3073241" y="157639"/>
                    <a:pt x="3071336" y="166211"/>
                    <a:pt x="3067526" y="180499"/>
                  </a:cubicBezTo>
                  <a:cubicBezTo>
                    <a:pt x="3067526" y="181451"/>
                    <a:pt x="3067526" y="182404"/>
                    <a:pt x="3066574" y="183356"/>
                  </a:cubicBezTo>
                  <a:cubicBezTo>
                    <a:pt x="3065621" y="169069"/>
                    <a:pt x="3065621" y="157639"/>
                    <a:pt x="3064669" y="148114"/>
                  </a:cubicBezTo>
                  <a:cubicBezTo>
                    <a:pt x="3064669" y="146209"/>
                    <a:pt x="3064669" y="145256"/>
                    <a:pt x="3064669" y="145256"/>
                  </a:cubicBezTo>
                  <a:cubicBezTo>
                    <a:pt x="3064669" y="145256"/>
                    <a:pt x="3064669" y="145256"/>
                    <a:pt x="3064669" y="146209"/>
                  </a:cubicBezTo>
                  <a:cubicBezTo>
                    <a:pt x="3063716" y="136684"/>
                    <a:pt x="3063716" y="131921"/>
                    <a:pt x="3063716" y="131921"/>
                  </a:cubicBezTo>
                  <a:cubicBezTo>
                    <a:pt x="3063716" y="131921"/>
                    <a:pt x="3061811" y="148114"/>
                    <a:pt x="3058954" y="174784"/>
                  </a:cubicBezTo>
                  <a:cubicBezTo>
                    <a:pt x="3058001" y="179546"/>
                    <a:pt x="3057049" y="185261"/>
                    <a:pt x="3056096" y="190976"/>
                  </a:cubicBezTo>
                  <a:cubicBezTo>
                    <a:pt x="3055144" y="193834"/>
                    <a:pt x="3055144" y="197644"/>
                    <a:pt x="3054191" y="201454"/>
                  </a:cubicBezTo>
                  <a:cubicBezTo>
                    <a:pt x="3052286" y="196691"/>
                    <a:pt x="3050381" y="192881"/>
                    <a:pt x="3049429" y="189071"/>
                  </a:cubicBezTo>
                  <a:cubicBezTo>
                    <a:pt x="3049429" y="189071"/>
                    <a:pt x="3049429" y="189071"/>
                    <a:pt x="3049429" y="188119"/>
                  </a:cubicBezTo>
                  <a:cubicBezTo>
                    <a:pt x="3052286" y="174784"/>
                    <a:pt x="3053239" y="162401"/>
                    <a:pt x="3056096" y="151924"/>
                  </a:cubicBezTo>
                  <a:cubicBezTo>
                    <a:pt x="3060859" y="131921"/>
                    <a:pt x="3062764" y="120491"/>
                    <a:pt x="3062764" y="120491"/>
                  </a:cubicBezTo>
                  <a:cubicBezTo>
                    <a:pt x="3062764" y="120491"/>
                    <a:pt x="3058954" y="130969"/>
                    <a:pt x="3052286" y="150971"/>
                  </a:cubicBezTo>
                  <a:cubicBezTo>
                    <a:pt x="3048476" y="160496"/>
                    <a:pt x="3045619" y="172879"/>
                    <a:pt x="3041809" y="186214"/>
                  </a:cubicBezTo>
                  <a:cubicBezTo>
                    <a:pt x="3039904" y="192881"/>
                    <a:pt x="3037999" y="200501"/>
                    <a:pt x="3036094" y="208121"/>
                  </a:cubicBezTo>
                  <a:cubicBezTo>
                    <a:pt x="3035141" y="210979"/>
                    <a:pt x="3035141" y="213836"/>
                    <a:pt x="3034189" y="215741"/>
                  </a:cubicBezTo>
                  <a:cubicBezTo>
                    <a:pt x="3033236" y="211931"/>
                    <a:pt x="3032284" y="209074"/>
                    <a:pt x="3032284" y="205264"/>
                  </a:cubicBezTo>
                  <a:cubicBezTo>
                    <a:pt x="3038951" y="181451"/>
                    <a:pt x="3044666" y="162401"/>
                    <a:pt x="3048476" y="148114"/>
                  </a:cubicBezTo>
                  <a:cubicBezTo>
                    <a:pt x="3053239" y="131921"/>
                    <a:pt x="3057049" y="123349"/>
                    <a:pt x="3057049" y="123349"/>
                  </a:cubicBezTo>
                  <a:cubicBezTo>
                    <a:pt x="3057049" y="123349"/>
                    <a:pt x="3056096" y="125254"/>
                    <a:pt x="3054191" y="129064"/>
                  </a:cubicBezTo>
                  <a:cubicBezTo>
                    <a:pt x="3052286" y="132874"/>
                    <a:pt x="3049429" y="138589"/>
                    <a:pt x="3045619" y="146209"/>
                  </a:cubicBezTo>
                  <a:cubicBezTo>
                    <a:pt x="3040856" y="155734"/>
                    <a:pt x="3035141" y="169069"/>
                    <a:pt x="3029426" y="184309"/>
                  </a:cubicBezTo>
                  <a:cubicBezTo>
                    <a:pt x="3029426" y="177641"/>
                    <a:pt x="3028474" y="171926"/>
                    <a:pt x="3029426" y="167164"/>
                  </a:cubicBezTo>
                  <a:cubicBezTo>
                    <a:pt x="3030379" y="150019"/>
                    <a:pt x="3030379" y="140494"/>
                    <a:pt x="3030379" y="140494"/>
                  </a:cubicBezTo>
                  <a:cubicBezTo>
                    <a:pt x="3030379" y="140494"/>
                    <a:pt x="3028474" y="150019"/>
                    <a:pt x="3025616" y="166211"/>
                  </a:cubicBezTo>
                  <a:cubicBezTo>
                    <a:pt x="3023711" y="174784"/>
                    <a:pt x="3023711" y="184309"/>
                    <a:pt x="3022759" y="196691"/>
                  </a:cubicBezTo>
                  <a:cubicBezTo>
                    <a:pt x="3022759" y="198596"/>
                    <a:pt x="3022759" y="200501"/>
                    <a:pt x="3022759" y="202406"/>
                  </a:cubicBezTo>
                  <a:cubicBezTo>
                    <a:pt x="3021806" y="205264"/>
                    <a:pt x="3020854" y="208121"/>
                    <a:pt x="3019901" y="210979"/>
                  </a:cubicBezTo>
                  <a:cubicBezTo>
                    <a:pt x="3017044" y="218599"/>
                    <a:pt x="3014186" y="226219"/>
                    <a:pt x="3011329" y="234791"/>
                  </a:cubicBezTo>
                  <a:cubicBezTo>
                    <a:pt x="3009424" y="230981"/>
                    <a:pt x="3008471" y="228124"/>
                    <a:pt x="3007519" y="226219"/>
                  </a:cubicBezTo>
                  <a:cubicBezTo>
                    <a:pt x="3009424" y="219551"/>
                    <a:pt x="3011329" y="215741"/>
                    <a:pt x="3011329" y="215741"/>
                  </a:cubicBezTo>
                  <a:cubicBezTo>
                    <a:pt x="3011329" y="215741"/>
                    <a:pt x="3009424" y="218599"/>
                    <a:pt x="3006566" y="222409"/>
                  </a:cubicBezTo>
                  <a:cubicBezTo>
                    <a:pt x="3004661" y="215741"/>
                    <a:pt x="3003709" y="209074"/>
                    <a:pt x="3001804" y="202406"/>
                  </a:cubicBezTo>
                  <a:cubicBezTo>
                    <a:pt x="3001804" y="200501"/>
                    <a:pt x="3000851" y="199549"/>
                    <a:pt x="3000851" y="197644"/>
                  </a:cubicBezTo>
                  <a:cubicBezTo>
                    <a:pt x="3001804" y="194786"/>
                    <a:pt x="3002756" y="191929"/>
                    <a:pt x="3003709" y="189071"/>
                  </a:cubicBezTo>
                  <a:cubicBezTo>
                    <a:pt x="3006566" y="179546"/>
                    <a:pt x="3008471" y="170974"/>
                    <a:pt x="3011329" y="164306"/>
                  </a:cubicBezTo>
                  <a:cubicBezTo>
                    <a:pt x="3016091" y="150971"/>
                    <a:pt x="3018949" y="142399"/>
                    <a:pt x="3018949" y="142399"/>
                  </a:cubicBezTo>
                  <a:cubicBezTo>
                    <a:pt x="3018949" y="142399"/>
                    <a:pt x="3015139" y="150019"/>
                    <a:pt x="3007519" y="162401"/>
                  </a:cubicBezTo>
                  <a:cubicBezTo>
                    <a:pt x="3004661" y="168116"/>
                    <a:pt x="3001804" y="174784"/>
                    <a:pt x="2997994" y="182404"/>
                  </a:cubicBezTo>
                  <a:cubicBezTo>
                    <a:pt x="2997041" y="177641"/>
                    <a:pt x="2996089" y="172879"/>
                    <a:pt x="2995136" y="169069"/>
                  </a:cubicBezTo>
                  <a:cubicBezTo>
                    <a:pt x="3002756" y="140494"/>
                    <a:pt x="3009424" y="117634"/>
                    <a:pt x="3014186" y="100489"/>
                  </a:cubicBezTo>
                  <a:cubicBezTo>
                    <a:pt x="3017044" y="90011"/>
                    <a:pt x="3019901" y="82391"/>
                    <a:pt x="3021806" y="76676"/>
                  </a:cubicBezTo>
                  <a:cubicBezTo>
                    <a:pt x="3023711" y="70961"/>
                    <a:pt x="3024664" y="68104"/>
                    <a:pt x="3024664" y="68104"/>
                  </a:cubicBezTo>
                  <a:cubicBezTo>
                    <a:pt x="3024664" y="68104"/>
                    <a:pt x="3023711" y="70961"/>
                    <a:pt x="3020854" y="75724"/>
                  </a:cubicBezTo>
                  <a:cubicBezTo>
                    <a:pt x="3017996" y="80486"/>
                    <a:pt x="3015139" y="88106"/>
                    <a:pt x="3010376" y="98584"/>
                  </a:cubicBezTo>
                  <a:cubicBezTo>
                    <a:pt x="3006566" y="108109"/>
                    <a:pt x="3001804" y="120491"/>
                    <a:pt x="2996089" y="134779"/>
                  </a:cubicBezTo>
                  <a:cubicBezTo>
                    <a:pt x="2994184" y="139541"/>
                    <a:pt x="2993231" y="143351"/>
                    <a:pt x="2991326" y="148114"/>
                  </a:cubicBezTo>
                  <a:cubicBezTo>
                    <a:pt x="2989421" y="138589"/>
                    <a:pt x="2988469" y="130016"/>
                    <a:pt x="2987516" y="122396"/>
                  </a:cubicBezTo>
                  <a:cubicBezTo>
                    <a:pt x="2985611" y="103346"/>
                    <a:pt x="2984659" y="91916"/>
                    <a:pt x="2984659" y="91916"/>
                  </a:cubicBezTo>
                  <a:cubicBezTo>
                    <a:pt x="2984659" y="91916"/>
                    <a:pt x="2984659" y="103346"/>
                    <a:pt x="2983706" y="122396"/>
                  </a:cubicBezTo>
                  <a:cubicBezTo>
                    <a:pt x="2983706" y="131921"/>
                    <a:pt x="2984659" y="144304"/>
                    <a:pt x="2985611" y="157639"/>
                  </a:cubicBezTo>
                  <a:cubicBezTo>
                    <a:pt x="2985611" y="159544"/>
                    <a:pt x="2985611" y="161449"/>
                    <a:pt x="2985611" y="163354"/>
                  </a:cubicBezTo>
                  <a:cubicBezTo>
                    <a:pt x="2983706" y="169069"/>
                    <a:pt x="2981801" y="175736"/>
                    <a:pt x="2978944" y="182404"/>
                  </a:cubicBezTo>
                  <a:cubicBezTo>
                    <a:pt x="2973229" y="199549"/>
                    <a:pt x="2967514" y="218599"/>
                    <a:pt x="2960846" y="238601"/>
                  </a:cubicBezTo>
                  <a:cubicBezTo>
                    <a:pt x="2959894" y="236696"/>
                    <a:pt x="2959894" y="234791"/>
                    <a:pt x="2959894" y="234791"/>
                  </a:cubicBezTo>
                  <a:cubicBezTo>
                    <a:pt x="2959894" y="234791"/>
                    <a:pt x="2959894" y="236696"/>
                    <a:pt x="2960846" y="239554"/>
                  </a:cubicBezTo>
                  <a:cubicBezTo>
                    <a:pt x="2957036" y="250984"/>
                    <a:pt x="2954179" y="262414"/>
                    <a:pt x="2950369" y="274796"/>
                  </a:cubicBezTo>
                  <a:cubicBezTo>
                    <a:pt x="2951321" y="268129"/>
                    <a:pt x="2952274" y="264319"/>
                    <a:pt x="2952274" y="264319"/>
                  </a:cubicBezTo>
                  <a:cubicBezTo>
                    <a:pt x="2952274" y="264319"/>
                    <a:pt x="2949416" y="271939"/>
                    <a:pt x="2944654" y="284321"/>
                  </a:cubicBezTo>
                  <a:cubicBezTo>
                    <a:pt x="2944654" y="284321"/>
                    <a:pt x="2944654" y="283369"/>
                    <a:pt x="2944654" y="283369"/>
                  </a:cubicBezTo>
                  <a:cubicBezTo>
                    <a:pt x="2944654" y="281464"/>
                    <a:pt x="2944654" y="279559"/>
                    <a:pt x="2945606" y="277654"/>
                  </a:cubicBezTo>
                  <a:cubicBezTo>
                    <a:pt x="2947511" y="263366"/>
                    <a:pt x="2948464" y="250984"/>
                    <a:pt x="2949416" y="238601"/>
                  </a:cubicBezTo>
                  <a:cubicBezTo>
                    <a:pt x="2950369" y="232886"/>
                    <a:pt x="2950369" y="226219"/>
                    <a:pt x="2951321" y="221456"/>
                  </a:cubicBezTo>
                  <a:cubicBezTo>
                    <a:pt x="2952274" y="215741"/>
                    <a:pt x="2953226" y="210979"/>
                    <a:pt x="2953226" y="205264"/>
                  </a:cubicBezTo>
                  <a:cubicBezTo>
                    <a:pt x="2954179" y="195739"/>
                    <a:pt x="2955131" y="186214"/>
                    <a:pt x="2956084" y="179546"/>
                  </a:cubicBezTo>
                  <a:cubicBezTo>
                    <a:pt x="2957989" y="165259"/>
                    <a:pt x="2958941" y="156686"/>
                    <a:pt x="2958941" y="156686"/>
                  </a:cubicBezTo>
                  <a:cubicBezTo>
                    <a:pt x="2958941" y="156686"/>
                    <a:pt x="2957036" y="164306"/>
                    <a:pt x="2952274" y="178594"/>
                  </a:cubicBezTo>
                  <a:cubicBezTo>
                    <a:pt x="2950369" y="185261"/>
                    <a:pt x="2948464" y="193834"/>
                    <a:pt x="2945606" y="203359"/>
                  </a:cubicBezTo>
                  <a:cubicBezTo>
                    <a:pt x="2944654" y="208121"/>
                    <a:pt x="2942749" y="212884"/>
                    <a:pt x="2941796" y="218599"/>
                  </a:cubicBezTo>
                  <a:cubicBezTo>
                    <a:pt x="2940844" y="224314"/>
                    <a:pt x="2939891" y="230029"/>
                    <a:pt x="2937986" y="235744"/>
                  </a:cubicBezTo>
                  <a:cubicBezTo>
                    <a:pt x="2936081" y="246221"/>
                    <a:pt x="2933224" y="257651"/>
                    <a:pt x="2931319" y="270034"/>
                  </a:cubicBezTo>
                  <a:cubicBezTo>
                    <a:pt x="2930366" y="266224"/>
                    <a:pt x="2930366" y="263366"/>
                    <a:pt x="2929414" y="260509"/>
                  </a:cubicBezTo>
                  <a:cubicBezTo>
                    <a:pt x="2929414" y="258604"/>
                    <a:pt x="2928461" y="257651"/>
                    <a:pt x="2928461" y="256699"/>
                  </a:cubicBezTo>
                  <a:cubicBezTo>
                    <a:pt x="2930366" y="253841"/>
                    <a:pt x="2931319" y="251936"/>
                    <a:pt x="2931319" y="251936"/>
                  </a:cubicBezTo>
                  <a:cubicBezTo>
                    <a:pt x="2931319" y="251936"/>
                    <a:pt x="2930366" y="252889"/>
                    <a:pt x="2927509" y="254794"/>
                  </a:cubicBezTo>
                  <a:cubicBezTo>
                    <a:pt x="2926556" y="251936"/>
                    <a:pt x="2925604" y="249079"/>
                    <a:pt x="2925604" y="247174"/>
                  </a:cubicBezTo>
                  <a:cubicBezTo>
                    <a:pt x="2929414" y="237649"/>
                    <a:pt x="2931319" y="231934"/>
                    <a:pt x="2931319" y="231934"/>
                  </a:cubicBezTo>
                  <a:cubicBezTo>
                    <a:pt x="2931319" y="231934"/>
                    <a:pt x="2928461" y="235744"/>
                    <a:pt x="2924651" y="243364"/>
                  </a:cubicBezTo>
                  <a:cubicBezTo>
                    <a:pt x="2923699" y="241459"/>
                    <a:pt x="2923699" y="239554"/>
                    <a:pt x="2922746" y="237649"/>
                  </a:cubicBezTo>
                  <a:lnTo>
                    <a:pt x="2922746" y="236696"/>
                  </a:lnTo>
                  <a:lnTo>
                    <a:pt x="2921794" y="236696"/>
                  </a:lnTo>
                  <a:cubicBezTo>
                    <a:pt x="2919889" y="236696"/>
                    <a:pt x="2917984" y="236696"/>
                    <a:pt x="2916079" y="236696"/>
                  </a:cubicBezTo>
                  <a:lnTo>
                    <a:pt x="2916079" y="236696"/>
                  </a:lnTo>
                  <a:cubicBezTo>
                    <a:pt x="2928461" y="200501"/>
                    <a:pt x="2935129" y="176689"/>
                    <a:pt x="2935129" y="176689"/>
                  </a:cubicBezTo>
                  <a:cubicBezTo>
                    <a:pt x="2935129" y="176689"/>
                    <a:pt x="2924651" y="196691"/>
                    <a:pt x="2909411" y="230029"/>
                  </a:cubicBezTo>
                  <a:cubicBezTo>
                    <a:pt x="2907506" y="222409"/>
                    <a:pt x="2904649" y="216694"/>
                    <a:pt x="2902744" y="211931"/>
                  </a:cubicBezTo>
                  <a:cubicBezTo>
                    <a:pt x="2901791" y="206216"/>
                    <a:pt x="2900839" y="201454"/>
                    <a:pt x="2900839" y="195739"/>
                  </a:cubicBezTo>
                  <a:cubicBezTo>
                    <a:pt x="2899886" y="188119"/>
                    <a:pt x="2898934" y="180499"/>
                    <a:pt x="2897981" y="173831"/>
                  </a:cubicBezTo>
                  <a:cubicBezTo>
                    <a:pt x="2897029" y="167164"/>
                    <a:pt x="2897029" y="160496"/>
                    <a:pt x="2896076" y="153829"/>
                  </a:cubicBezTo>
                  <a:cubicBezTo>
                    <a:pt x="2895124" y="141446"/>
                    <a:pt x="2894171" y="130969"/>
                    <a:pt x="2893219" y="121444"/>
                  </a:cubicBezTo>
                  <a:cubicBezTo>
                    <a:pt x="2891314" y="103346"/>
                    <a:pt x="2890361" y="93821"/>
                    <a:pt x="2890361" y="93821"/>
                  </a:cubicBezTo>
                  <a:cubicBezTo>
                    <a:pt x="2890361" y="93821"/>
                    <a:pt x="2890361" y="104299"/>
                    <a:pt x="2889409" y="121444"/>
                  </a:cubicBezTo>
                  <a:cubicBezTo>
                    <a:pt x="2889409" y="130016"/>
                    <a:pt x="2889409" y="141446"/>
                    <a:pt x="2889409" y="153829"/>
                  </a:cubicBezTo>
                  <a:cubicBezTo>
                    <a:pt x="2889409" y="160496"/>
                    <a:pt x="2889409" y="166211"/>
                    <a:pt x="2889409" y="173831"/>
                  </a:cubicBezTo>
                  <a:cubicBezTo>
                    <a:pt x="2889409" y="180499"/>
                    <a:pt x="2890361" y="188119"/>
                    <a:pt x="2890361" y="195739"/>
                  </a:cubicBezTo>
                  <a:cubicBezTo>
                    <a:pt x="2890361" y="200501"/>
                    <a:pt x="2891314" y="206216"/>
                    <a:pt x="2891314" y="211931"/>
                  </a:cubicBezTo>
                  <a:cubicBezTo>
                    <a:pt x="2890361" y="213836"/>
                    <a:pt x="2889409" y="215741"/>
                    <a:pt x="2887504" y="217646"/>
                  </a:cubicBezTo>
                  <a:cubicBezTo>
                    <a:pt x="2886551" y="218599"/>
                    <a:pt x="2885599" y="220504"/>
                    <a:pt x="2885599" y="221456"/>
                  </a:cubicBezTo>
                  <a:cubicBezTo>
                    <a:pt x="2883694" y="212884"/>
                    <a:pt x="2882741" y="204311"/>
                    <a:pt x="2880836" y="195739"/>
                  </a:cubicBezTo>
                  <a:cubicBezTo>
                    <a:pt x="2878931" y="185261"/>
                    <a:pt x="2877026" y="174784"/>
                    <a:pt x="2874169" y="166211"/>
                  </a:cubicBezTo>
                  <a:cubicBezTo>
                    <a:pt x="2872264" y="157639"/>
                    <a:pt x="2870359" y="150019"/>
                    <a:pt x="2867501" y="144304"/>
                  </a:cubicBezTo>
                  <a:cubicBezTo>
                    <a:pt x="2863691" y="131921"/>
                    <a:pt x="2860834" y="125254"/>
                    <a:pt x="2860834" y="125254"/>
                  </a:cubicBezTo>
                  <a:cubicBezTo>
                    <a:pt x="2860834" y="125254"/>
                    <a:pt x="2861786" y="132874"/>
                    <a:pt x="2863691" y="145256"/>
                  </a:cubicBezTo>
                  <a:cubicBezTo>
                    <a:pt x="2864644" y="151924"/>
                    <a:pt x="2865596" y="159544"/>
                    <a:pt x="2866549" y="168116"/>
                  </a:cubicBezTo>
                  <a:cubicBezTo>
                    <a:pt x="2867501" y="176689"/>
                    <a:pt x="2868454" y="187166"/>
                    <a:pt x="2869406" y="197644"/>
                  </a:cubicBezTo>
                  <a:cubicBezTo>
                    <a:pt x="2870359" y="208121"/>
                    <a:pt x="2871311" y="220504"/>
                    <a:pt x="2872264" y="232886"/>
                  </a:cubicBezTo>
                  <a:cubicBezTo>
                    <a:pt x="2872264" y="237649"/>
                    <a:pt x="2873216" y="242411"/>
                    <a:pt x="2873216" y="247174"/>
                  </a:cubicBezTo>
                  <a:cubicBezTo>
                    <a:pt x="2870359" y="253841"/>
                    <a:pt x="2867501" y="262414"/>
                    <a:pt x="2864644" y="270034"/>
                  </a:cubicBezTo>
                  <a:cubicBezTo>
                    <a:pt x="2863691" y="270986"/>
                    <a:pt x="2863691" y="272891"/>
                    <a:pt x="2863691" y="274796"/>
                  </a:cubicBezTo>
                  <a:cubicBezTo>
                    <a:pt x="2860834" y="269081"/>
                    <a:pt x="2857976" y="263366"/>
                    <a:pt x="2855119" y="257651"/>
                  </a:cubicBezTo>
                  <a:cubicBezTo>
                    <a:pt x="2850356" y="248126"/>
                    <a:pt x="2845594" y="239554"/>
                    <a:pt x="2841784" y="230029"/>
                  </a:cubicBezTo>
                  <a:cubicBezTo>
                    <a:pt x="2855119" y="229076"/>
                    <a:pt x="2855119" y="226219"/>
                    <a:pt x="2855119" y="226219"/>
                  </a:cubicBezTo>
                  <a:cubicBezTo>
                    <a:pt x="2855119" y="226219"/>
                    <a:pt x="2854166" y="228124"/>
                    <a:pt x="2853214" y="231934"/>
                  </a:cubicBezTo>
                  <a:cubicBezTo>
                    <a:pt x="2849404" y="224314"/>
                    <a:pt x="2844641" y="215741"/>
                    <a:pt x="2840831" y="209074"/>
                  </a:cubicBezTo>
                  <a:cubicBezTo>
                    <a:pt x="2857024" y="174784"/>
                    <a:pt x="2866549" y="150971"/>
                    <a:pt x="2866549" y="150971"/>
                  </a:cubicBezTo>
                  <a:cubicBezTo>
                    <a:pt x="2866549" y="150971"/>
                    <a:pt x="2853214" y="169069"/>
                    <a:pt x="2835116" y="198596"/>
                  </a:cubicBezTo>
                  <a:cubicBezTo>
                    <a:pt x="2833211" y="194786"/>
                    <a:pt x="2831306" y="191929"/>
                    <a:pt x="2829401" y="188119"/>
                  </a:cubicBezTo>
                  <a:cubicBezTo>
                    <a:pt x="2826544" y="170021"/>
                    <a:pt x="2823686" y="151924"/>
                    <a:pt x="2820829" y="132874"/>
                  </a:cubicBezTo>
                  <a:cubicBezTo>
                    <a:pt x="2820829" y="146209"/>
                    <a:pt x="2820829" y="160496"/>
                    <a:pt x="2821781" y="173831"/>
                  </a:cubicBezTo>
                  <a:cubicBezTo>
                    <a:pt x="2817019" y="166211"/>
                    <a:pt x="2812256" y="158591"/>
                    <a:pt x="2807494" y="151924"/>
                  </a:cubicBezTo>
                  <a:cubicBezTo>
                    <a:pt x="2797969" y="137636"/>
                    <a:pt x="2790349" y="125254"/>
                    <a:pt x="2782729" y="115729"/>
                  </a:cubicBezTo>
                  <a:cubicBezTo>
                    <a:pt x="2768441" y="95726"/>
                    <a:pt x="2759869" y="85249"/>
                    <a:pt x="2759869" y="85249"/>
                  </a:cubicBezTo>
                  <a:cubicBezTo>
                    <a:pt x="2759869" y="85249"/>
                    <a:pt x="2766536" y="97631"/>
                    <a:pt x="2778919" y="118586"/>
                  </a:cubicBezTo>
                  <a:cubicBezTo>
                    <a:pt x="2785586" y="129064"/>
                    <a:pt x="2792254" y="142399"/>
                    <a:pt x="2799874" y="156686"/>
                  </a:cubicBezTo>
                  <a:cubicBezTo>
                    <a:pt x="2803684" y="164306"/>
                    <a:pt x="2808446" y="171926"/>
                    <a:pt x="2812256" y="180499"/>
                  </a:cubicBezTo>
                  <a:cubicBezTo>
                    <a:pt x="2815114" y="186214"/>
                    <a:pt x="2817971" y="191929"/>
                    <a:pt x="2820829" y="197644"/>
                  </a:cubicBezTo>
                  <a:cubicBezTo>
                    <a:pt x="2820829" y="199549"/>
                    <a:pt x="2820829" y="202406"/>
                    <a:pt x="2820829" y="204311"/>
                  </a:cubicBezTo>
                  <a:cubicBezTo>
                    <a:pt x="2820829" y="209074"/>
                    <a:pt x="2821781" y="213836"/>
                    <a:pt x="2821781" y="218599"/>
                  </a:cubicBezTo>
                  <a:cubicBezTo>
                    <a:pt x="2819876" y="221456"/>
                    <a:pt x="2818924" y="224314"/>
                    <a:pt x="2817019" y="227171"/>
                  </a:cubicBezTo>
                  <a:cubicBezTo>
                    <a:pt x="2813209" y="222409"/>
                    <a:pt x="2810351" y="216694"/>
                    <a:pt x="2806541" y="211931"/>
                  </a:cubicBezTo>
                  <a:cubicBezTo>
                    <a:pt x="2806541" y="210979"/>
                    <a:pt x="2805589" y="210979"/>
                    <a:pt x="2805589" y="210026"/>
                  </a:cubicBezTo>
                  <a:cubicBezTo>
                    <a:pt x="2806541" y="209074"/>
                    <a:pt x="2806541" y="208121"/>
                    <a:pt x="2806541" y="208121"/>
                  </a:cubicBezTo>
                  <a:cubicBezTo>
                    <a:pt x="2806541" y="208121"/>
                    <a:pt x="2806541" y="208121"/>
                    <a:pt x="2805589" y="209074"/>
                  </a:cubicBezTo>
                  <a:cubicBezTo>
                    <a:pt x="2800826" y="202406"/>
                    <a:pt x="2796064" y="196691"/>
                    <a:pt x="2792254" y="191929"/>
                  </a:cubicBezTo>
                  <a:cubicBezTo>
                    <a:pt x="2782729" y="179546"/>
                    <a:pt x="2775109" y="169069"/>
                    <a:pt x="2767489" y="161449"/>
                  </a:cubicBezTo>
                  <a:cubicBezTo>
                    <a:pt x="2766536" y="160496"/>
                    <a:pt x="2766536" y="159544"/>
                    <a:pt x="2765584" y="158591"/>
                  </a:cubicBezTo>
                  <a:cubicBezTo>
                    <a:pt x="2765584" y="157639"/>
                    <a:pt x="2765584" y="156686"/>
                    <a:pt x="2765584" y="155734"/>
                  </a:cubicBezTo>
                  <a:cubicBezTo>
                    <a:pt x="2764631" y="145256"/>
                    <a:pt x="2762726" y="135731"/>
                    <a:pt x="2762726" y="128111"/>
                  </a:cubicBezTo>
                  <a:cubicBezTo>
                    <a:pt x="2760821" y="112871"/>
                    <a:pt x="2759869" y="103346"/>
                    <a:pt x="2759869" y="103346"/>
                  </a:cubicBezTo>
                  <a:cubicBezTo>
                    <a:pt x="2759869" y="103346"/>
                    <a:pt x="2759869" y="111919"/>
                    <a:pt x="2758916" y="128111"/>
                  </a:cubicBezTo>
                  <a:cubicBezTo>
                    <a:pt x="2758916" y="134779"/>
                    <a:pt x="2758916" y="141446"/>
                    <a:pt x="2758916" y="150019"/>
                  </a:cubicBezTo>
                  <a:cubicBezTo>
                    <a:pt x="2750344" y="140494"/>
                    <a:pt x="2745581" y="135731"/>
                    <a:pt x="2745581" y="135731"/>
                  </a:cubicBezTo>
                  <a:cubicBezTo>
                    <a:pt x="2745581" y="135731"/>
                    <a:pt x="2750344" y="142399"/>
                    <a:pt x="2758916" y="153829"/>
                  </a:cubicBezTo>
                  <a:cubicBezTo>
                    <a:pt x="2758916" y="154781"/>
                    <a:pt x="2758916" y="155734"/>
                    <a:pt x="2758916" y="155734"/>
                  </a:cubicBezTo>
                  <a:cubicBezTo>
                    <a:pt x="2758916" y="161449"/>
                    <a:pt x="2758916" y="167164"/>
                    <a:pt x="2758916" y="172879"/>
                  </a:cubicBezTo>
                  <a:cubicBezTo>
                    <a:pt x="2758916" y="178594"/>
                    <a:pt x="2759869" y="185261"/>
                    <a:pt x="2759869" y="191929"/>
                  </a:cubicBezTo>
                  <a:cubicBezTo>
                    <a:pt x="2759869" y="200501"/>
                    <a:pt x="2760821" y="210026"/>
                    <a:pt x="2761774" y="219551"/>
                  </a:cubicBezTo>
                  <a:cubicBezTo>
                    <a:pt x="2761774" y="218599"/>
                    <a:pt x="2760821" y="217646"/>
                    <a:pt x="2760821" y="217646"/>
                  </a:cubicBezTo>
                  <a:cubicBezTo>
                    <a:pt x="2760821" y="216694"/>
                    <a:pt x="2760821" y="216694"/>
                    <a:pt x="2760821" y="216694"/>
                  </a:cubicBezTo>
                  <a:cubicBezTo>
                    <a:pt x="2760821" y="216694"/>
                    <a:pt x="2760821" y="216694"/>
                    <a:pt x="2760821" y="217646"/>
                  </a:cubicBezTo>
                  <a:cubicBezTo>
                    <a:pt x="2749391" y="189071"/>
                    <a:pt x="2741771" y="172879"/>
                    <a:pt x="2741771" y="172879"/>
                  </a:cubicBezTo>
                  <a:cubicBezTo>
                    <a:pt x="2741771" y="172879"/>
                    <a:pt x="2747486" y="193834"/>
                    <a:pt x="2757011" y="228124"/>
                  </a:cubicBezTo>
                  <a:cubicBezTo>
                    <a:pt x="2754154" y="236696"/>
                    <a:pt x="2749391" y="250984"/>
                    <a:pt x="2743676" y="268129"/>
                  </a:cubicBezTo>
                  <a:cubicBezTo>
                    <a:pt x="2740819" y="262414"/>
                    <a:pt x="2737961" y="258604"/>
                    <a:pt x="2736056" y="254794"/>
                  </a:cubicBezTo>
                  <a:cubicBezTo>
                    <a:pt x="2737009" y="241459"/>
                    <a:pt x="2737009" y="232886"/>
                    <a:pt x="2737009" y="232886"/>
                  </a:cubicBezTo>
                  <a:cubicBezTo>
                    <a:pt x="2737009" y="232886"/>
                    <a:pt x="2735104" y="238601"/>
                    <a:pt x="2732246" y="249079"/>
                  </a:cubicBezTo>
                  <a:cubicBezTo>
                    <a:pt x="2731294" y="247174"/>
                    <a:pt x="2730341" y="246221"/>
                    <a:pt x="2730341" y="246221"/>
                  </a:cubicBezTo>
                  <a:cubicBezTo>
                    <a:pt x="2730341" y="246221"/>
                    <a:pt x="2730341" y="247174"/>
                    <a:pt x="2731294" y="250031"/>
                  </a:cubicBezTo>
                  <a:cubicBezTo>
                    <a:pt x="2730341" y="252889"/>
                    <a:pt x="2730341" y="254794"/>
                    <a:pt x="2729389" y="258604"/>
                  </a:cubicBezTo>
                  <a:lnTo>
                    <a:pt x="2729389" y="247174"/>
                  </a:lnTo>
                  <a:lnTo>
                    <a:pt x="2731294" y="218599"/>
                  </a:lnTo>
                  <a:cubicBezTo>
                    <a:pt x="2732246" y="218599"/>
                    <a:pt x="2732246" y="218599"/>
                    <a:pt x="2733199" y="219551"/>
                  </a:cubicBezTo>
                  <a:cubicBezTo>
                    <a:pt x="2734151" y="220504"/>
                    <a:pt x="2735104" y="221456"/>
                    <a:pt x="2736056" y="222409"/>
                  </a:cubicBezTo>
                  <a:cubicBezTo>
                    <a:pt x="2737961" y="224314"/>
                    <a:pt x="2737961" y="228124"/>
                    <a:pt x="2738914" y="230981"/>
                  </a:cubicBezTo>
                  <a:cubicBezTo>
                    <a:pt x="2738914" y="228124"/>
                    <a:pt x="2738914" y="225266"/>
                    <a:pt x="2737961" y="222409"/>
                  </a:cubicBezTo>
                  <a:cubicBezTo>
                    <a:pt x="2737009" y="220504"/>
                    <a:pt x="2736056" y="219551"/>
                    <a:pt x="2735104" y="218599"/>
                  </a:cubicBezTo>
                  <a:cubicBezTo>
                    <a:pt x="2734151" y="217646"/>
                    <a:pt x="2732246" y="216694"/>
                    <a:pt x="2730341" y="216694"/>
                  </a:cubicBezTo>
                  <a:lnTo>
                    <a:pt x="2728436" y="216694"/>
                  </a:lnTo>
                  <a:lnTo>
                    <a:pt x="2728436" y="218599"/>
                  </a:lnTo>
                  <a:cubicBezTo>
                    <a:pt x="2726531" y="228124"/>
                    <a:pt x="2723674" y="238601"/>
                    <a:pt x="2721769" y="248126"/>
                  </a:cubicBezTo>
                  <a:cubicBezTo>
                    <a:pt x="2720816" y="251936"/>
                    <a:pt x="2720816" y="256699"/>
                    <a:pt x="2719864" y="260509"/>
                  </a:cubicBezTo>
                  <a:cubicBezTo>
                    <a:pt x="2718911" y="258604"/>
                    <a:pt x="2717959" y="256699"/>
                    <a:pt x="2717006" y="254794"/>
                  </a:cubicBezTo>
                  <a:cubicBezTo>
                    <a:pt x="2717006" y="254794"/>
                    <a:pt x="2717006" y="253841"/>
                    <a:pt x="2717006" y="253841"/>
                  </a:cubicBezTo>
                  <a:cubicBezTo>
                    <a:pt x="2717959" y="244316"/>
                    <a:pt x="2718911" y="238601"/>
                    <a:pt x="2718911" y="238601"/>
                  </a:cubicBezTo>
                  <a:cubicBezTo>
                    <a:pt x="2718911" y="238601"/>
                    <a:pt x="2717959" y="241459"/>
                    <a:pt x="2716054" y="247174"/>
                  </a:cubicBezTo>
                  <a:cubicBezTo>
                    <a:pt x="2717006" y="204311"/>
                    <a:pt x="2716054" y="176689"/>
                    <a:pt x="2716054" y="176689"/>
                  </a:cubicBezTo>
                  <a:cubicBezTo>
                    <a:pt x="2716054" y="176689"/>
                    <a:pt x="2715101" y="185261"/>
                    <a:pt x="2713196" y="198596"/>
                  </a:cubicBezTo>
                  <a:cubicBezTo>
                    <a:pt x="2712244" y="207169"/>
                    <a:pt x="2710339" y="217646"/>
                    <a:pt x="2709386" y="230029"/>
                  </a:cubicBezTo>
                  <a:cubicBezTo>
                    <a:pt x="2707481" y="226219"/>
                    <a:pt x="2706529" y="221456"/>
                    <a:pt x="2704624" y="218599"/>
                  </a:cubicBezTo>
                  <a:lnTo>
                    <a:pt x="2703671" y="199549"/>
                  </a:lnTo>
                  <a:lnTo>
                    <a:pt x="2703671" y="163354"/>
                  </a:lnTo>
                  <a:cubicBezTo>
                    <a:pt x="2704624" y="163354"/>
                    <a:pt x="2705576" y="163354"/>
                    <a:pt x="2706529" y="164306"/>
                  </a:cubicBezTo>
                  <a:cubicBezTo>
                    <a:pt x="2708434" y="165259"/>
                    <a:pt x="2709386" y="166211"/>
                    <a:pt x="2710339" y="167164"/>
                  </a:cubicBezTo>
                  <a:cubicBezTo>
                    <a:pt x="2712244" y="170021"/>
                    <a:pt x="2713196" y="173831"/>
                    <a:pt x="2714149" y="176689"/>
                  </a:cubicBezTo>
                  <a:cubicBezTo>
                    <a:pt x="2714149" y="172879"/>
                    <a:pt x="2713196" y="169069"/>
                    <a:pt x="2712244" y="166211"/>
                  </a:cubicBezTo>
                  <a:cubicBezTo>
                    <a:pt x="2711291" y="164306"/>
                    <a:pt x="2710339" y="163354"/>
                    <a:pt x="2708434" y="161449"/>
                  </a:cubicBezTo>
                  <a:cubicBezTo>
                    <a:pt x="2706529" y="160496"/>
                    <a:pt x="2704624" y="159544"/>
                    <a:pt x="2702719" y="159544"/>
                  </a:cubicBezTo>
                  <a:lnTo>
                    <a:pt x="2700814" y="159544"/>
                  </a:lnTo>
                  <a:lnTo>
                    <a:pt x="2700814" y="161449"/>
                  </a:lnTo>
                  <a:lnTo>
                    <a:pt x="2697004" y="193834"/>
                  </a:lnTo>
                  <a:cubicBezTo>
                    <a:pt x="2694146" y="186214"/>
                    <a:pt x="2693194" y="181451"/>
                    <a:pt x="2693194" y="181451"/>
                  </a:cubicBezTo>
                  <a:cubicBezTo>
                    <a:pt x="2693194" y="181451"/>
                    <a:pt x="2694146" y="187166"/>
                    <a:pt x="2697004" y="198596"/>
                  </a:cubicBezTo>
                  <a:lnTo>
                    <a:pt x="2697004" y="198596"/>
                  </a:lnTo>
                  <a:cubicBezTo>
                    <a:pt x="2696051" y="210979"/>
                    <a:pt x="2696051" y="224314"/>
                    <a:pt x="2696051" y="236696"/>
                  </a:cubicBezTo>
                  <a:cubicBezTo>
                    <a:pt x="2696051" y="245269"/>
                    <a:pt x="2696051" y="253841"/>
                    <a:pt x="2697004" y="262414"/>
                  </a:cubicBezTo>
                  <a:cubicBezTo>
                    <a:pt x="2697004" y="262414"/>
                    <a:pt x="2697004" y="263366"/>
                    <a:pt x="2697004" y="263366"/>
                  </a:cubicBezTo>
                  <a:cubicBezTo>
                    <a:pt x="2697004" y="264319"/>
                    <a:pt x="2696051" y="265271"/>
                    <a:pt x="2696051" y="265271"/>
                  </a:cubicBezTo>
                  <a:cubicBezTo>
                    <a:pt x="2695099" y="264319"/>
                    <a:pt x="2694146" y="262414"/>
                    <a:pt x="2694146" y="261461"/>
                  </a:cubicBezTo>
                  <a:cubicBezTo>
                    <a:pt x="2691289" y="255746"/>
                    <a:pt x="2688431" y="250984"/>
                    <a:pt x="2685574" y="246221"/>
                  </a:cubicBezTo>
                  <a:cubicBezTo>
                    <a:pt x="2682716" y="233839"/>
                    <a:pt x="2680811" y="221456"/>
                    <a:pt x="2677954" y="210979"/>
                  </a:cubicBezTo>
                  <a:cubicBezTo>
                    <a:pt x="2677001" y="207169"/>
                    <a:pt x="2677001" y="204311"/>
                    <a:pt x="2676049" y="200501"/>
                  </a:cubicBezTo>
                  <a:cubicBezTo>
                    <a:pt x="2677954" y="190976"/>
                    <a:pt x="2679859" y="182404"/>
                    <a:pt x="2681764" y="173831"/>
                  </a:cubicBezTo>
                  <a:cubicBezTo>
                    <a:pt x="2683669" y="162401"/>
                    <a:pt x="2685574" y="152876"/>
                    <a:pt x="2687479" y="144304"/>
                  </a:cubicBezTo>
                  <a:cubicBezTo>
                    <a:pt x="2690336" y="128111"/>
                    <a:pt x="2691289" y="118586"/>
                    <a:pt x="2691289" y="118586"/>
                  </a:cubicBezTo>
                  <a:cubicBezTo>
                    <a:pt x="2691289" y="118586"/>
                    <a:pt x="2688431" y="128111"/>
                    <a:pt x="2683669" y="143351"/>
                  </a:cubicBezTo>
                  <a:cubicBezTo>
                    <a:pt x="2681764" y="149066"/>
                    <a:pt x="2679859" y="155734"/>
                    <a:pt x="2677954" y="162401"/>
                  </a:cubicBezTo>
                  <a:cubicBezTo>
                    <a:pt x="2677001" y="166211"/>
                    <a:pt x="2675096" y="170974"/>
                    <a:pt x="2673191" y="176689"/>
                  </a:cubicBezTo>
                  <a:cubicBezTo>
                    <a:pt x="2673191" y="176689"/>
                    <a:pt x="2673191" y="177641"/>
                    <a:pt x="2673191" y="177641"/>
                  </a:cubicBezTo>
                  <a:cubicBezTo>
                    <a:pt x="2673191" y="176689"/>
                    <a:pt x="2672239" y="174784"/>
                    <a:pt x="2672239" y="173831"/>
                  </a:cubicBezTo>
                  <a:cubicBezTo>
                    <a:pt x="2670334" y="163354"/>
                    <a:pt x="2668429" y="153829"/>
                    <a:pt x="2666524" y="146209"/>
                  </a:cubicBezTo>
                  <a:cubicBezTo>
                    <a:pt x="2663666" y="130969"/>
                    <a:pt x="2661761" y="121444"/>
                    <a:pt x="2661761" y="121444"/>
                  </a:cubicBezTo>
                  <a:cubicBezTo>
                    <a:pt x="2661761" y="121444"/>
                    <a:pt x="2661761" y="130016"/>
                    <a:pt x="2662714" y="146209"/>
                  </a:cubicBezTo>
                  <a:cubicBezTo>
                    <a:pt x="2663666" y="158591"/>
                    <a:pt x="2664619" y="176689"/>
                    <a:pt x="2666524" y="196691"/>
                  </a:cubicBezTo>
                  <a:cubicBezTo>
                    <a:pt x="2666524" y="197644"/>
                    <a:pt x="2665571" y="199549"/>
                    <a:pt x="2665571" y="200501"/>
                  </a:cubicBezTo>
                  <a:cubicBezTo>
                    <a:pt x="2665571" y="201454"/>
                    <a:pt x="2664619" y="203359"/>
                    <a:pt x="2664619" y="204311"/>
                  </a:cubicBezTo>
                  <a:cubicBezTo>
                    <a:pt x="2658904" y="192881"/>
                    <a:pt x="2653189" y="183356"/>
                    <a:pt x="2649379" y="174784"/>
                  </a:cubicBezTo>
                  <a:cubicBezTo>
                    <a:pt x="2639854" y="152876"/>
                    <a:pt x="2634139" y="141446"/>
                    <a:pt x="2634139" y="141446"/>
                  </a:cubicBezTo>
                  <a:cubicBezTo>
                    <a:pt x="2634139" y="141446"/>
                    <a:pt x="2637949" y="153829"/>
                    <a:pt x="2646521" y="176689"/>
                  </a:cubicBezTo>
                  <a:cubicBezTo>
                    <a:pt x="2650331" y="187166"/>
                    <a:pt x="2656046" y="199549"/>
                    <a:pt x="2661761" y="214789"/>
                  </a:cubicBezTo>
                  <a:cubicBezTo>
                    <a:pt x="2661761" y="215741"/>
                    <a:pt x="2661761" y="215741"/>
                    <a:pt x="2660809" y="216694"/>
                  </a:cubicBezTo>
                  <a:cubicBezTo>
                    <a:pt x="2656999" y="210026"/>
                    <a:pt x="2655094" y="204311"/>
                    <a:pt x="2652236" y="201454"/>
                  </a:cubicBezTo>
                  <a:cubicBezTo>
                    <a:pt x="2649379" y="197644"/>
                    <a:pt x="2648426" y="196691"/>
                    <a:pt x="2648426" y="196691"/>
                  </a:cubicBezTo>
                  <a:cubicBezTo>
                    <a:pt x="2648426" y="196691"/>
                    <a:pt x="2649379" y="198596"/>
                    <a:pt x="2651284" y="202406"/>
                  </a:cubicBezTo>
                  <a:cubicBezTo>
                    <a:pt x="2654141" y="206216"/>
                    <a:pt x="2655094" y="211931"/>
                    <a:pt x="2657951" y="218599"/>
                  </a:cubicBezTo>
                  <a:cubicBezTo>
                    <a:pt x="2657951" y="220504"/>
                    <a:pt x="2658904" y="222409"/>
                    <a:pt x="2658904" y="223361"/>
                  </a:cubicBezTo>
                  <a:cubicBezTo>
                    <a:pt x="2658904" y="224314"/>
                    <a:pt x="2657951" y="225266"/>
                    <a:pt x="2657951" y="226219"/>
                  </a:cubicBezTo>
                  <a:cubicBezTo>
                    <a:pt x="2654141" y="214789"/>
                    <a:pt x="2650331" y="203359"/>
                    <a:pt x="2647474" y="193834"/>
                  </a:cubicBezTo>
                  <a:cubicBezTo>
                    <a:pt x="2644616" y="184309"/>
                    <a:pt x="2640806" y="175736"/>
                    <a:pt x="2638901" y="169069"/>
                  </a:cubicBezTo>
                  <a:cubicBezTo>
                    <a:pt x="2634139" y="154781"/>
                    <a:pt x="2631281" y="147161"/>
                    <a:pt x="2631281" y="147161"/>
                  </a:cubicBezTo>
                  <a:cubicBezTo>
                    <a:pt x="2631281" y="147161"/>
                    <a:pt x="2632234" y="155734"/>
                    <a:pt x="2635091" y="170021"/>
                  </a:cubicBezTo>
                  <a:cubicBezTo>
                    <a:pt x="2637949" y="184309"/>
                    <a:pt x="2641759" y="205264"/>
                    <a:pt x="2647474" y="230029"/>
                  </a:cubicBezTo>
                  <a:cubicBezTo>
                    <a:pt x="2648426" y="235744"/>
                    <a:pt x="2650331" y="241459"/>
                    <a:pt x="2651284" y="247174"/>
                  </a:cubicBezTo>
                  <a:cubicBezTo>
                    <a:pt x="2648426" y="255746"/>
                    <a:pt x="2645569" y="264319"/>
                    <a:pt x="2642711" y="273844"/>
                  </a:cubicBezTo>
                  <a:cubicBezTo>
                    <a:pt x="2641759" y="272891"/>
                    <a:pt x="2641759" y="271939"/>
                    <a:pt x="2640806" y="270034"/>
                  </a:cubicBezTo>
                  <a:cubicBezTo>
                    <a:pt x="2640806" y="269081"/>
                    <a:pt x="2639854" y="269081"/>
                    <a:pt x="2639854" y="268129"/>
                  </a:cubicBezTo>
                  <a:cubicBezTo>
                    <a:pt x="2642711" y="238601"/>
                    <a:pt x="2643664" y="220504"/>
                    <a:pt x="2643664" y="220504"/>
                  </a:cubicBezTo>
                  <a:cubicBezTo>
                    <a:pt x="2643664" y="220504"/>
                    <a:pt x="2640806" y="230029"/>
                    <a:pt x="2636996" y="247174"/>
                  </a:cubicBezTo>
                  <a:cubicBezTo>
                    <a:pt x="2636996" y="220504"/>
                    <a:pt x="2636044" y="204311"/>
                    <a:pt x="2636044" y="204311"/>
                  </a:cubicBezTo>
                  <a:cubicBezTo>
                    <a:pt x="2636044" y="204311"/>
                    <a:pt x="2633186" y="217646"/>
                    <a:pt x="2630329" y="240506"/>
                  </a:cubicBezTo>
                  <a:cubicBezTo>
                    <a:pt x="2628424" y="228124"/>
                    <a:pt x="2625566" y="216694"/>
                    <a:pt x="2623661" y="206216"/>
                  </a:cubicBezTo>
                  <a:cubicBezTo>
                    <a:pt x="2618899" y="182404"/>
                    <a:pt x="2614136" y="162401"/>
                    <a:pt x="2610326" y="147161"/>
                  </a:cubicBezTo>
                  <a:cubicBezTo>
                    <a:pt x="2613184" y="141446"/>
                    <a:pt x="2615089" y="137636"/>
                    <a:pt x="2615089" y="137636"/>
                  </a:cubicBezTo>
                  <a:cubicBezTo>
                    <a:pt x="2615089" y="137636"/>
                    <a:pt x="2613184" y="140494"/>
                    <a:pt x="2610326" y="145256"/>
                  </a:cubicBezTo>
                  <a:cubicBezTo>
                    <a:pt x="2610326" y="144304"/>
                    <a:pt x="2610326" y="144304"/>
                    <a:pt x="2609374" y="143351"/>
                  </a:cubicBezTo>
                  <a:cubicBezTo>
                    <a:pt x="2605564" y="128111"/>
                    <a:pt x="2603659" y="119539"/>
                    <a:pt x="2603659" y="119539"/>
                  </a:cubicBezTo>
                  <a:cubicBezTo>
                    <a:pt x="2603659" y="119539"/>
                    <a:pt x="2604611" y="128111"/>
                    <a:pt x="2605564" y="144304"/>
                  </a:cubicBezTo>
                  <a:cubicBezTo>
                    <a:pt x="2605564" y="146209"/>
                    <a:pt x="2605564" y="149066"/>
                    <a:pt x="2606516" y="150971"/>
                  </a:cubicBezTo>
                  <a:cubicBezTo>
                    <a:pt x="2604611" y="153829"/>
                    <a:pt x="2602706" y="155734"/>
                    <a:pt x="2600801" y="158591"/>
                  </a:cubicBezTo>
                  <a:cubicBezTo>
                    <a:pt x="2596991" y="163354"/>
                    <a:pt x="2594134" y="169069"/>
                    <a:pt x="2589371" y="175736"/>
                  </a:cubicBezTo>
                  <a:cubicBezTo>
                    <a:pt x="2589371" y="174784"/>
                    <a:pt x="2589371" y="172879"/>
                    <a:pt x="2588419" y="171926"/>
                  </a:cubicBezTo>
                  <a:cubicBezTo>
                    <a:pt x="2585561" y="155734"/>
                    <a:pt x="2583656" y="147161"/>
                    <a:pt x="2583656" y="147161"/>
                  </a:cubicBezTo>
                  <a:cubicBezTo>
                    <a:pt x="2583656" y="147161"/>
                    <a:pt x="2583656" y="156686"/>
                    <a:pt x="2584609" y="171926"/>
                  </a:cubicBezTo>
                  <a:cubicBezTo>
                    <a:pt x="2584609" y="174784"/>
                    <a:pt x="2584609" y="178594"/>
                    <a:pt x="2585561" y="182404"/>
                  </a:cubicBezTo>
                  <a:cubicBezTo>
                    <a:pt x="2585561" y="182404"/>
                    <a:pt x="2585561" y="182404"/>
                    <a:pt x="2585561" y="182404"/>
                  </a:cubicBezTo>
                  <a:cubicBezTo>
                    <a:pt x="2582704" y="187166"/>
                    <a:pt x="2579846" y="192881"/>
                    <a:pt x="2576036" y="198596"/>
                  </a:cubicBezTo>
                  <a:cubicBezTo>
                    <a:pt x="2575084" y="190976"/>
                    <a:pt x="2575084" y="183356"/>
                    <a:pt x="2574131" y="177641"/>
                  </a:cubicBezTo>
                  <a:cubicBezTo>
                    <a:pt x="2573179" y="165259"/>
                    <a:pt x="2573179" y="157639"/>
                    <a:pt x="2573179" y="157639"/>
                  </a:cubicBezTo>
                  <a:cubicBezTo>
                    <a:pt x="2573179" y="157639"/>
                    <a:pt x="2572226" y="162401"/>
                    <a:pt x="2571274" y="170974"/>
                  </a:cubicBezTo>
                  <a:cubicBezTo>
                    <a:pt x="2571274" y="170974"/>
                    <a:pt x="2571274" y="170021"/>
                    <a:pt x="2571274" y="170021"/>
                  </a:cubicBezTo>
                  <a:cubicBezTo>
                    <a:pt x="2570321" y="162401"/>
                    <a:pt x="2570321" y="155734"/>
                    <a:pt x="2569369" y="149066"/>
                  </a:cubicBezTo>
                  <a:cubicBezTo>
                    <a:pt x="2569369" y="142399"/>
                    <a:pt x="2568416" y="135731"/>
                    <a:pt x="2568416" y="130016"/>
                  </a:cubicBezTo>
                  <a:cubicBezTo>
                    <a:pt x="2567464" y="118586"/>
                    <a:pt x="2566511" y="108109"/>
                    <a:pt x="2567464" y="99536"/>
                  </a:cubicBezTo>
                  <a:cubicBezTo>
                    <a:pt x="2567464" y="82391"/>
                    <a:pt x="2566511" y="72866"/>
                    <a:pt x="2566511" y="72866"/>
                  </a:cubicBezTo>
                  <a:cubicBezTo>
                    <a:pt x="2566511" y="72866"/>
                    <a:pt x="2565559" y="82391"/>
                    <a:pt x="2562701" y="99536"/>
                  </a:cubicBezTo>
                  <a:cubicBezTo>
                    <a:pt x="2561749" y="108109"/>
                    <a:pt x="2560796" y="118586"/>
                    <a:pt x="2560796" y="130016"/>
                  </a:cubicBezTo>
                  <a:cubicBezTo>
                    <a:pt x="2560796" y="135731"/>
                    <a:pt x="2559844" y="142399"/>
                    <a:pt x="2559844" y="149066"/>
                  </a:cubicBezTo>
                  <a:cubicBezTo>
                    <a:pt x="2559844" y="155734"/>
                    <a:pt x="2559844" y="162401"/>
                    <a:pt x="2559844" y="170021"/>
                  </a:cubicBezTo>
                  <a:cubicBezTo>
                    <a:pt x="2559844" y="178594"/>
                    <a:pt x="2559844" y="187166"/>
                    <a:pt x="2560796" y="195739"/>
                  </a:cubicBezTo>
                  <a:cubicBezTo>
                    <a:pt x="2559844" y="192881"/>
                    <a:pt x="2558891" y="191929"/>
                    <a:pt x="2558891" y="191929"/>
                  </a:cubicBezTo>
                  <a:cubicBezTo>
                    <a:pt x="2558891" y="191929"/>
                    <a:pt x="2559844" y="194786"/>
                    <a:pt x="2561749" y="200501"/>
                  </a:cubicBezTo>
                  <a:cubicBezTo>
                    <a:pt x="2561749" y="206216"/>
                    <a:pt x="2562701" y="211931"/>
                    <a:pt x="2562701" y="217646"/>
                  </a:cubicBezTo>
                  <a:cubicBezTo>
                    <a:pt x="2562701" y="219551"/>
                    <a:pt x="2562701" y="221456"/>
                    <a:pt x="2562701" y="223361"/>
                  </a:cubicBezTo>
                  <a:cubicBezTo>
                    <a:pt x="2558891" y="230981"/>
                    <a:pt x="2555081" y="238601"/>
                    <a:pt x="2551271" y="247174"/>
                  </a:cubicBezTo>
                  <a:cubicBezTo>
                    <a:pt x="2550319" y="239554"/>
                    <a:pt x="2550319" y="233839"/>
                    <a:pt x="2549366" y="230029"/>
                  </a:cubicBezTo>
                  <a:cubicBezTo>
                    <a:pt x="2553176" y="219551"/>
                    <a:pt x="2555081" y="212884"/>
                    <a:pt x="2555081" y="212884"/>
                  </a:cubicBezTo>
                  <a:cubicBezTo>
                    <a:pt x="2555081" y="212884"/>
                    <a:pt x="2552224" y="218599"/>
                    <a:pt x="2546509" y="228124"/>
                  </a:cubicBezTo>
                  <a:cubicBezTo>
                    <a:pt x="2546509" y="226219"/>
                    <a:pt x="2547461" y="224314"/>
                    <a:pt x="2547461" y="222409"/>
                  </a:cubicBezTo>
                  <a:cubicBezTo>
                    <a:pt x="2551271" y="206216"/>
                    <a:pt x="2553176" y="196691"/>
                    <a:pt x="2553176" y="196691"/>
                  </a:cubicBezTo>
                  <a:cubicBezTo>
                    <a:pt x="2553176" y="196691"/>
                    <a:pt x="2549366" y="205264"/>
                    <a:pt x="2543651" y="221456"/>
                  </a:cubicBezTo>
                  <a:cubicBezTo>
                    <a:pt x="2541746" y="228124"/>
                    <a:pt x="2538889" y="236696"/>
                    <a:pt x="2536984" y="246221"/>
                  </a:cubicBezTo>
                  <a:cubicBezTo>
                    <a:pt x="2536984" y="245269"/>
                    <a:pt x="2536984" y="245269"/>
                    <a:pt x="2536984" y="244316"/>
                  </a:cubicBezTo>
                  <a:cubicBezTo>
                    <a:pt x="2535079" y="230029"/>
                    <a:pt x="2534126" y="221456"/>
                    <a:pt x="2534126" y="221456"/>
                  </a:cubicBezTo>
                  <a:cubicBezTo>
                    <a:pt x="2534126" y="221456"/>
                    <a:pt x="2534126" y="230029"/>
                    <a:pt x="2533174" y="244316"/>
                  </a:cubicBezTo>
                  <a:cubicBezTo>
                    <a:pt x="2533174" y="246221"/>
                    <a:pt x="2533174" y="249079"/>
                    <a:pt x="2533174" y="250984"/>
                  </a:cubicBezTo>
                  <a:cubicBezTo>
                    <a:pt x="2533174" y="249079"/>
                    <a:pt x="2532221" y="247174"/>
                    <a:pt x="2532221" y="245269"/>
                  </a:cubicBezTo>
                  <a:cubicBezTo>
                    <a:pt x="2529364" y="233839"/>
                    <a:pt x="2527459" y="223361"/>
                    <a:pt x="2524601" y="213836"/>
                  </a:cubicBezTo>
                  <a:cubicBezTo>
                    <a:pt x="2521744" y="204311"/>
                    <a:pt x="2519839" y="196691"/>
                    <a:pt x="2517934" y="190024"/>
                  </a:cubicBezTo>
                  <a:cubicBezTo>
                    <a:pt x="2513171" y="176689"/>
                    <a:pt x="2511266" y="169069"/>
                    <a:pt x="2511266" y="169069"/>
                  </a:cubicBezTo>
                  <a:cubicBezTo>
                    <a:pt x="2511266" y="169069"/>
                    <a:pt x="2512219" y="176689"/>
                    <a:pt x="2514124" y="190976"/>
                  </a:cubicBezTo>
                  <a:cubicBezTo>
                    <a:pt x="2515076" y="197644"/>
                    <a:pt x="2516029" y="206216"/>
                    <a:pt x="2516981" y="215741"/>
                  </a:cubicBezTo>
                  <a:cubicBezTo>
                    <a:pt x="2517934" y="225266"/>
                    <a:pt x="2518886" y="235744"/>
                    <a:pt x="2520791" y="248126"/>
                  </a:cubicBezTo>
                  <a:cubicBezTo>
                    <a:pt x="2521744" y="257651"/>
                    <a:pt x="2522696" y="267176"/>
                    <a:pt x="2523649" y="277654"/>
                  </a:cubicBezTo>
                  <a:cubicBezTo>
                    <a:pt x="2522696" y="279559"/>
                    <a:pt x="2521744" y="281464"/>
                    <a:pt x="2521744" y="282416"/>
                  </a:cubicBezTo>
                  <a:cubicBezTo>
                    <a:pt x="2519839" y="274796"/>
                    <a:pt x="2517934" y="269081"/>
                    <a:pt x="2516981" y="263366"/>
                  </a:cubicBezTo>
                  <a:cubicBezTo>
                    <a:pt x="2513171" y="250031"/>
                    <a:pt x="2511266" y="243364"/>
                    <a:pt x="2511266" y="243364"/>
                  </a:cubicBezTo>
                  <a:cubicBezTo>
                    <a:pt x="2511266" y="243364"/>
                    <a:pt x="2512219" y="250984"/>
                    <a:pt x="2513171" y="264319"/>
                  </a:cubicBezTo>
                  <a:cubicBezTo>
                    <a:pt x="2513171" y="268129"/>
                    <a:pt x="2514124" y="272891"/>
                    <a:pt x="2514124" y="277654"/>
                  </a:cubicBezTo>
                  <a:cubicBezTo>
                    <a:pt x="2510314" y="269081"/>
                    <a:pt x="2507456" y="262414"/>
                    <a:pt x="2504599" y="256699"/>
                  </a:cubicBezTo>
                  <a:cubicBezTo>
                    <a:pt x="2504599" y="254794"/>
                    <a:pt x="2504599" y="253841"/>
                    <a:pt x="2504599" y="253841"/>
                  </a:cubicBezTo>
                  <a:cubicBezTo>
                    <a:pt x="2504599" y="253841"/>
                    <a:pt x="2504599" y="254794"/>
                    <a:pt x="2503646" y="255746"/>
                  </a:cubicBezTo>
                  <a:cubicBezTo>
                    <a:pt x="2499836" y="248126"/>
                    <a:pt x="2497931" y="243364"/>
                    <a:pt x="2497931" y="243364"/>
                  </a:cubicBezTo>
                  <a:cubicBezTo>
                    <a:pt x="2497931" y="243364"/>
                    <a:pt x="2499836" y="249079"/>
                    <a:pt x="2502694" y="259556"/>
                  </a:cubicBezTo>
                  <a:cubicBezTo>
                    <a:pt x="2501741" y="261461"/>
                    <a:pt x="2500789" y="264319"/>
                    <a:pt x="2499836" y="267176"/>
                  </a:cubicBezTo>
                  <a:cubicBezTo>
                    <a:pt x="2499836" y="268129"/>
                    <a:pt x="2498884" y="269081"/>
                    <a:pt x="2498884" y="270034"/>
                  </a:cubicBezTo>
                  <a:cubicBezTo>
                    <a:pt x="2496979" y="253841"/>
                    <a:pt x="2496026" y="237649"/>
                    <a:pt x="2494121" y="223361"/>
                  </a:cubicBezTo>
                  <a:cubicBezTo>
                    <a:pt x="2495074" y="222409"/>
                    <a:pt x="2495074" y="221456"/>
                    <a:pt x="2496026" y="220504"/>
                  </a:cubicBezTo>
                  <a:cubicBezTo>
                    <a:pt x="2500789" y="212884"/>
                    <a:pt x="2504599" y="207169"/>
                    <a:pt x="2506504" y="203359"/>
                  </a:cubicBezTo>
                  <a:cubicBezTo>
                    <a:pt x="2509361" y="199549"/>
                    <a:pt x="2510314" y="197644"/>
                    <a:pt x="2510314" y="197644"/>
                  </a:cubicBezTo>
                  <a:cubicBezTo>
                    <a:pt x="2510314" y="197644"/>
                    <a:pt x="2508409" y="199549"/>
                    <a:pt x="2505551" y="203359"/>
                  </a:cubicBezTo>
                  <a:cubicBezTo>
                    <a:pt x="2502694" y="206216"/>
                    <a:pt x="2497931" y="210979"/>
                    <a:pt x="2493169" y="217646"/>
                  </a:cubicBezTo>
                  <a:cubicBezTo>
                    <a:pt x="2493169" y="217646"/>
                    <a:pt x="2493169" y="216694"/>
                    <a:pt x="2493169" y="216694"/>
                  </a:cubicBezTo>
                  <a:cubicBezTo>
                    <a:pt x="2492216" y="210026"/>
                    <a:pt x="2492216" y="203359"/>
                    <a:pt x="2491264" y="196691"/>
                  </a:cubicBezTo>
                  <a:cubicBezTo>
                    <a:pt x="2497931" y="188119"/>
                    <a:pt x="2501741" y="183356"/>
                    <a:pt x="2501741" y="183356"/>
                  </a:cubicBezTo>
                  <a:cubicBezTo>
                    <a:pt x="2501741" y="183356"/>
                    <a:pt x="2497931" y="187166"/>
                    <a:pt x="2490311" y="192881"/>
                  </a:cubicBezTo>
                  <a:cubicBezTo>
                    <a:pt x="2489359" y="187166"/>
                    <a:pt x="2489359" y="181451"/>
                    <a:pt x="2489359" y="176689"/>
                  </a:cubicBezTo>
                  <a:cubicBezTo>
                    <a:pt x="2492216" y="171926"/>
                    <a:pt x="2495074" y="168116"/>
                    <a:pt x="2497931" y="165259"/>
                  </a:cubicBezTo>
                  <a:cubicBezTo>
                    <a:pt x="2500789" y="161449"/>
                    <a:pt x="2502694" y="159544"/>
                    <a:pt x="2502694" y="159544"/>
                  </a:cubicBezTo>
                  <a:cubicBezTo>
                    <a:pt x="2502694" y="159544"/>
                    <a:pt x="2500789" y="161449"/>
                    <a:pt x="2496979" y="164306"/>
                  </a:cubicBezTo>
                  <a:cubicBezTo>
                    <a:pt x="2495074" y="166211"/>
                    <a:pt x="2492216" y="169069"/>
                    <a:pt x="2489359" y="171926"/>
                  </a:cubicBezTo>
                  <a:cubicBezTo>
                    <a:pt x="2489359" y="165259"/>
                    <a:pt x="2488406" y="158591"/>
                    <a:pt x="2488406" y="153829"/>
                  </a:cubicBezTo>
                  <a:cubicBezTo>
                    <a:pt x="2488406" y="146209"/>
                    <a:pt x="2487454" y="139541"/>
                    <a:pt x="2487454" y="135731"/>
                  </a:cubicBezTo>
                  <a:cubicBezTo>
                    <a:pt x="2491264" y="129064"/>
                    <a:pt x="2494121" y="125254"/>
                    <a:pt x="2494121" y="125254"/>
                  </a:cubicBezTo>
                  <a:cubicBezTo>
                    <a:pt x="2494121" y="125254"/>
                    <a:pt x="2492216" y="128111"/>
                    <a:pt x="2487454" y="132874"/>
                  </a:cubicBezTo>
                  <a:cubicBezTo>
                    <a:pt x="2487454" y="130969"/>
                    <a:pt x="2487454" y="129064"/>
                    <a:pt x="2487454" y="129064"/>
                  </a:cubicBezTo>
                  <a:cubicBezTo>
                    <a:pt x="2487454" y="129064"/>
                    <a:pt x="2487454" y="130969"/>
                    <a:pt x="2486501" y="132874"/>
                  </a:cubicBezTo>
                  <a:cubicBezTo>
                    <a:pt x="2483644" y="136684"/>
                    <a:pt x="2479834" y="140494"/>
                    <a:pt x="2475071" y="146209"/>
                  </a:cubicBezTo>
                  <a:cubicBezTo>
                    <a:pt x="2469356" y="152876"/>
                    <a:pt x="2462689" y="161449"/>
                    <a:pt x="2455069" y="171926"/>
                  </a:cubicBezTo>
                  <a:cubicBezTo>
                    <a:pt x="2451259" y="176689"/>
                    <a:pt x="2447449" y="182404"/>
                    <a:pt x="2442686" y="188119"/>
                  </a:cubicBezTo>
                  <a:cubicBezTo>
                    <a:pt x="2439829" y="192881"/>
                    <a:pt x="2436019" y="197644"/>
                    <a:pt x="2433161" y="203359"/>
                  </a:cubicBezTo>
                  <a:cubicBezTo>
                    <a:pt x="2433161" y="199549"/>
                    <a:pt x="2432209" y="195739"/>
                    <a:pt x="2432209" y="191929"/>
                  </a:cubicBezTo>
                  <a:cubicBezTo>
                    <a:pt x="2428399" y="158591"/>
                    <a:pt x="2426494" y="130969"/>
                    <a:pt x="2425541" y="110966"/>
                  </a:cubicBezTo>
                  <a:cubicBezTo>
                    <a:pt x="2425541" y="101441"/>
                    <a:pt x="2424589" y="93821"/>
                    <a:pt x="2424589" y="88106"/>
                  </a:cubicBezTo>
                  <a:cubicBezTo>
                    <a:pt x="2424589" y="82391"/>
                    <a:pt x="2424589" y="80486"/>
                    <a:pt x="2424589" y="80486"/>
                  </a:cubicBezTo>
                  <a:cubicBezTo>
                    <a:pt x="2424589" y="80486"/>
                    <a:pt x="2424589" y="83344"/>
                    <a:pt x="2423636" y="88106"/>
                  </a:cubicBezTo>
                  <a:cubicBezTo>
                    <a:pt x="2422684" y="92869"/>
                    <a:pt x="2422684" y="101441"/>
                    <a:pt x="2421731" y="110966"/>
                  </a:cubicBezTo>
                  <a:cubicBezTo>
                    <a:pt x="2420779" y="120491"/>
                    <a:pt x="2420779" y="132874"/>
                    <a:pt x="2420779" y="146209"/>
                  </a:cubicBezTo>
                  <a:cubicBezTo>
                    <a:pt x="2420779" y="159544"/>
                    <a:pt x="2420779" y="175736"/>
                    <a:pt x="2421731" y="191929"/>
                  </a:cubicBezTo>
                  <a:cubicBezTo>
                    <a:pt x="2421731" y="200501"/>
                    <a:pt x="2422684" y="210026"/>
                    <a:pt x="2422684" y="220504"/>
                  </a:cubicBezTo>
                  <a:cubicBezTo>
                    <a:pt x="2416969" y="230029"/>
                    <a:pt x="2411254" y="239554"/>
                    <a:pt x="2405539" y="250031"/>
                  </a:cubicBezTo>
                  <a:cubicBezTo>
                    <a:pt x="2404586" y="251936"/>
                    <a:pt x="2403634" y="254794"/>
                    <a:pt x="2401729" y="256699"/>
                  </a:cubicBezTo>
                  <a:cubicBezTo>
                    <a:pt x="2401729" y="256699"/>
                    <a:pt x="2400776" y="255746"/>
                    <a:pt x="2400776" y="255746"/>
                  </a:cubicBezTo>
                  <a:cubicBezTo>
                    <a:pt x="2397919" y="247174"/>
                    <a:pt x="2395061" y="239554"/>
                    <a:pt x="2392204" y="233839"/>
                  </a:cubicBezTo>
                  <a:cubicBezTo>
                    <a:pt x="2389346" y="208121"/>
                    <a:pt x="2386489" y="186214"/>
                    <a:pt x="2385536" y="170974"/>
                  </a:cubicBezTo>
                  <a:cubicBezTo>
                    <a:pt x="2384584" y="162401"/>
                    <a:pt x="2383631" y="155734"/>
                    <a:pt x="2382679" y="150971"/>
                  </a:cubicBezTo>
                  <a:cubicBezTo>
                    <a:pt x="2383631" y="147161"/>
                    <a:pt x="2384584" y="144304"/>
                    <a:pt x="2384584" y="140494"/>
                  </a:cubicBezTo>
                  <a:cubicBezTo>
                    <a:pt x="2384584" y="138589"/>
                    <a:pt x="2383631" y="137636"/>
                    <a:pt x="2382679" y="135731"/>
                  </a:cubicBezTo>
                  <a:cubicBezTo>
                    <a:pt x="2385536" y="129064"/>
                    <a:pt x="2388394" y="121444"/>
                    <a:pt x="2390299" y="114776"/>
                  </a:cubicBezTo>
                  <a:cubicBezTo>
                    <a:pt x="2413159" y="53816"/>
                    <a:pt x="2427446" y="12859"/>
                    <a:pt x="2427446" y="12859"/>
                  </a:cubicBezTo>
                  <a:cubicBezTo>
                    <a:pt x="2427446" y="12859"/>
                    <a:pt x="2407444" y="50959"/>
                    <a:pt x="2380774" y="110014"/>
                  </a:cubicBezTo>
                  <a:cubicBezTo>
                    <a:pt x="2374106" y="124301"/>
                    <a:pt x="2366486" y="140494"/>
                    <a:pt x="2358866" y="157639"/>
                  </a:cubicBezTo>
                  <a:cubicBezTo>
                    <a:pt x="2357914" y="160496"/>
                    <a:pt x="2356009" y="163354"/>
                    <a:pt x="2355056" y="166211"/>
                  </a:cubicBezTo>
                  <a:cubicBezTo>
                    <a:pt x="2356009" y="162401"/>
                    <a:pt x="2356961" y="158591"/>
                    <a:pt x="2357914" y="155734"/>
                  </a:cubicBezTo>
                  <a:cubicBezTo>
                    <a:pt x="2360771" y="141446"/>
                    <a:pt x="2362676" y="132874"/>
                    <a:pt x="2362676" y="132874"/>
                  </a:cubicBezTo>
                  <a:cubicBezTo>
                    <a:pt x="2362676" y="132874"/>
                    <a:pt x="2359819" y="140494"/>
                    <a:pt x="2354104" y="154781"/>
                  </a:cubicBezTo>
                  <a:cubicBezTo>
                    <a:pt x="2351246" y="161449"/>
                    <a:pt x="2348389" y="170021"/>
                    <a:pt x="2344579" y="179546"/>
                  </a:cubicBezTo>
                  <a:cubicBezTo>
                    <a:pt x="2340769" y="189071"/>
                    <a:pt x="2336959" y="200501"/>
                    <a:pt x="2334101" y="211931"/>
                  </a:cubicBezTo>
                  <a:cubicBezTo>
                    <a:pt x="2334101" y="211931"/>
                    <a:pt x="2334101" y="211931"/>
                    <a:pt x="2334101" y="211931"/>
                  </a:cubicBezTo>
                  <a:cubicBezTo>
                    <a:pt x="2336006" y="197644"/>
                    <a:pt x="2338864" y="184309"/>
                    <a:pt x="2340769" y="171926"/>
                  </a:cubicBezTo>
                  <a:cubicBezTo>
                    <a:pt x="2343626" y="156686"/>
                    <a:pt x="2344579" y="143351"/>
                    <a:pt x="2347436" y="130969"/>
                  </a:cubicBezTo>
                  <a:cubicBezTo>
                    <a:pt x="2350294" y="118586"/>
                    <a:pt x="2352199" y="108109"/>
                    <a:pt x="2354104" y="99536"/>
                  </a:cubicBezTo>
                  <a:cubicBezTo>
                    <a:pt x="2357914" y="82391"/>
                    <a:pt x="2358866" y="71914"/>
                    <a:pt x="2358866" y="71914"/>
                  </a:cubicBezTo>
                  <a:cubicBezTo>
                    <a:pt x="2358866" y="71914"/>
                    <a:pt x="2355056" y="81439"/>
                    <a:pt x="2350294" y="98584"/>
                  </a:cubicBezTo>
                  <a:cubicBezTo>
                    <a:pt x="2347436" y="107156"/>
                    <a:pt x="2344579" y="117634"/>
                    <a:pt x="2340769" y="129064"/>
                  </a:cubicBezTo>
                  <a:cubicBezTo>
                    <a:pt x="2336959" y="140494"/>
                    <a:pt x="2333149" y="154781"/>
                    <a:pt x="2330291" y="170021"/>
                  </a:cubicBezTo>
                  <a:cubicBezTo>
                    <a:pt x="2328386" y="177641"/>
                    <a:pt x="2326481" y="185261"/>
                    <a:pt x="2324576" y="193834"/>
                  </a:cubicBezTo>
                  <a:cubicBezTo>
                    <a:pt x="2323624" y="190976"/>
                    <a:pt x="2321719" y="188119"/>
                    <a:pt x="2320766" y="185261"/>
                  </a:cubicBezTo>
                  <a:cubicBezTo>
                    <a:pt x="2324576" y="168116"/>
                    <a:pt x="2326481" y="157639"/>
                    <a:pt x="2326481" y="157639"/>
                  </a:cubicBezTo>
                  <a:cubicBezTo>
                    <a:pt x="2326481" y="157639"/>
                    <a:pt x="2323624" y="165259"/>
                    <a:pt x="2318861" y="179546"/>
                  </a:cubicBezTo>
                  <a:cubicBezTo>
                    <a:pt x="2316004" y="173831"/>
                    <a:pt x="2315051" y="170974"/>
                    <a:pt x="2315051" y="170974"/>
                  </a:cubicBezTo>
                  <a:cubicBezTo>
                    <a:pt x="2315051" y="170974"/>
                    <a:pt x="2316004" y="174784"/>
                    <a:pt x="2317909" y="181451"/>
                  </a:cubicBezTo>
                  <a:cubicBezTo>
                    <a:pt x="2316956" y="185261"/>
                    <a:pt x="2315051" y="189071"/>
                    <a:pt x="2313146" y="193834"/>
                  </a:cubicBezTo>
                  <a:cubicBezTo>
                    <a:pt x="2312194" y="192881"/>
                    <a:pt x="2312194" y="191929"/>
                    <a:pt x="2311241" y="190976"/>
                  </a:cubicBezTo>
                  <a:cubicBezTo>
                    <a:pt x="2314099" y="161449"/>
                    <a:pt x="2314099" y="141446"/>
                    <a:pt x="2314099" y="141446"/>
                  </a:cubicBezTo>
                  <a:cubicBezTo>
                    <a:pt x="2314099" y="141446"/>
                    <a:pt x="2306479" y="165259"/>
                    <a:pt x="2298859" y="202406"/>
                  </a:cubicBezTo>
                  <a:cubicBezTo>
                    <a:pt x="2296954" y="211931"/>
                    <a:pt x="2294096" y="221456"/>
                    <a:pt x="2292191" y="231934"/>
                  </a:cubicBezTo>
                  <a:cubicBezTo>
                    <a:pt x="2291239" y="237649"/>
                    <a:pt x="2290286" y="244316"/>
                    <a:pt x="2289334" y="250031"/>
                  </a:cubicBezTo>
                  <a:cubicBezTo>
                    <a:pt x="2288381" y="252889"/>
                    <a:pt x="2287429" y="255746"/>
                    <a:pt x="2285524" y="259556"/>
                  </a:cubicBezTo>
                  <a:cubicBezTo>
                    <a:pt x="2282666" y="267176"/>
                    <a:pt x="2279809" y="276701"/>
                    <a:pt x="2275999" y="287179"/>
                  </a:cubicBezTo>
                  <a:cubicBezTo>
                    <a:pt x="2275999" y="287179"/>
                    <a:pt x="2275999" y="288131"/>
                    <a:pt x="2275999" y="288131"/>
                  </a:cubicBezTo>
                  <a:cubicBezTo>
                    <a:pt x="2275999" y="286226"/>
                    <a:pt x="2275999" y="284321"/>
                    <a:pt x="2275999" y="282416"/>
                  </a:cubicBezTo>
                  <a:cubicBezTo>
                    <a:pt x="2276951" y="271939"/>
                    <a:pt x="2276951" y="265271"/>
                    <a:pt x="2276951" y="265271"/>
                  </a:cubicBezTo>
                  <a:cubicBezTo>
                    <a:pt x="2276951" y="265271"/>
                    <a:pt x="2275046" y="270986"/>
                    <a:pt x="2272189" y="281464"/>
                  </a:cubicBezTo>
                  <a:cubicBezTo>
                    <a:pt x="2271236" y="284321"/>
                    <a:pt x="2270284" y="287179"/>
                    <a:pt x="2269331" y="290989"/>
                  </a:cubicBezTo>
                  <a:cubicBezTo>
                    <a:pt x="2269331" y="290989"/>
                    <a:pt x="2269331" y="290989"/>
                    <a:pt x="2269331" y="290989"/>
                  </a:cubicBezTo>
                  <a:cubicBezTo>
                    <a:pt x="2269331" y="280511"/>
                    <a:pt x="2268379" y="270034"/>
                    <a:pt x="2269331" y="261461"/>
                  </a:cubicBezTo>
                  <a:cubicBezTo>
                    <a:pt x="2270284" y="252889"/>
                    <a:pt x="2269331" y="245269"/>
                    <a:pt x="2270284" y="238601"/>
                  </a:cubicBezTo>
                  <a:cubicBezTo>
                    <a:pt x="2271236" y="232886"/>
                    <a:pt x="2271236" y="228124"/>
                    <a:pt x="2272189" y="225266"/>
                  </a:cubicBezTo>
                  <a:cubicBezTo>
                    <a:pt x="2275046" y="215741"/>
                    <a:pt x="2275999" y="210979"/>
                    <a:pt x="2275999" y="210979"/>
                  </a:cubicBezTo>
                  <a:cubicBezTo>
                    <a:pt x="2275999" y="210979"/>
                    <a:pt x="2272189" y="218599"/>
                    <a:pt x="2266474" y="232886"/>
                  </a:cubicBezTo>
                  <a:cubicBezTo>
                    <a:pt x="2267426" y="230029"/>
                    <a:pt x="2267426" y="228124"/>
                    <a:pt x="2267426" y="228124"/>
                  </a:cubicBezTo>
                  <a:cubicBezTo>
                    <a:pt x="2267426" y="228124"/>
                    <a:pt x="2265521" y="230981"/>
                    <a:pt x="2263616" y="235744"/>
                  </a:cubicBezTo>
                  <a:cubicBezTo>
                    <a:pt x="2264569" y="226219"/>
                    <a:pt x="2265521" y="220504"/>
                    <a:pt x="2265521" y="220504"/>
                  </a:cubicBezTo>
                  <a:cubicBezTo>
                    <a:pt x="2265521" y="220504"/>
                    <a:pt x="2262664" y="230029"/>
                    <a:pt x="2256949" y="247174"/>
                  </a:cubicBezTo>
                  <a:cubicBezTo>
                    <a:pt x="2255044" y="250984"/>
                    <a:pt x="2253139" y="253841"/>
                    <a:pt x="2252186" y="258604"/>
                  </a:cubicBezTo>
                  <a:cubicBezTo>
                    <a:pt x="2251234" y="259556"/>
                    <a:pt x="2251234" y="260509"/>
                    <a:pt x="2250281" y="262414"/>
                  </a:cubicBezTo>
                  <a:cubicBezTo>
                    <a:pt x="2252186" y="255746"/>
                    <a:pt x="2253139" y="249079"/>
                    <a:pt x="2255044" y="243364"/>
                  </a:cubicBezTo>
                  <a:cubicBezTo>
                    <a:pt x="2260759" y="216694"/>
                    <a:pt x="2264569" y="194786"/>
                    <a:pt x="2267426" y="178594"/>
                  </a:cubicBezTo>
                  <a:cubicBezTo>
                    <a:pt x="2269331" y="163354"/>
                    <a:pt x="2270284" y="153829"/>
                    <a:pt x="2270284" y="153829"/>
                  </a:cubicBezTo>
                  <a:cubicBezTo>
                    <a:pt x="2270284" y="153829"/>
                    <a:pt x="2267426" y="162401"/>
                    <a:pt x="2262664" y="177641"/>
                  </a:cubicBezTo>
                  <a:cubicBezTo>
                    <a:pt x="2260759" y="185261"/>
                    <a:pt x="2257901" y="194786"/>
                    <a:pt x="2254091" y="205264"/>
                  </a:cubicBezTo>
                  <a:cubicBezTo>
                    <a:pt x="2251234" y="212884"/>
                    <a:pt x="2249329" y="221456"/>
                    <a:pt x="2246471" y="230981"/>
                  </a:cubicBezTo>
                  <a:cubicBezTo>
                    <a:pt x="2244566" y="234791"/>
                    <a:pt x="2243614" y="239554"/>
                    <a:pt x="2241709" y="244316"/>
                  </a:cubicBezTo>
                  <a:cubicBezTo>
                    <a:pt x="2240756" y="240506"/>
                    <a:pt x="2239804" y="236696"/>
                    <a:pt x="2239804" y="233839"/>
                  </a:cubicBezTo>
                  <a:cubicBezTo>
                    <a:pt x="2235994" y="215741"/>
                    <a:pt x="2233136" y="205264"/>
                    <a:pt x="2233136" y="205264"/>
                  </a:cubicBezTo>
                  <a:cubicBezTo>
                    <a:pt x="2233136" y="205264"/>
                    <a:pt x="2235041" y="224314"/>
                    <a:pt x="2237899" y="255746"/>
                  </a:cubicBezTo>
                  <a:cubicBezTo>
                    <a:pt x="2236946" y="259556"/>
                    <a:pt x="2235041" y="264319"/>
                    <a:pt x="2234089" y="269081"/>
                  </a:cubicBezTo>
                  <a:cubicBezTo>
                    <a:pt x="2234089" y="269081"/>
                    <a:pt x="2233136" y="270034"/>
                    <a:pt x="2233136" y="270034"/>
                  </a:cubicBezTo>
                  <a:cubicBezTo>
                    <a:pt x="2233136" y="268129"/>
                    <a:pt x="2233136" y="265271"/>
                    <a:pt x="2233136" y="263366"/>
                  </a:cubicBezTo>
                  <a:cubicBezTo>
                    <a:pt x="2233136" y="253841"/>
                    <a:pt x="2232184" y="244316"/>
                    <a:pt x="2231231" y="234791"/>
                  </a:cubicBezTo>
                  <a:cubicBezTo>
                    <a:pt x="2230279" y="225266"/>
                    <a:pt x="2229326" y="216694"/>
                    <a:pt x="2228374" y="207169"/>
                  </a:cubicBezTo>
                  <a:cubicBezTo>
                    <a:pt x="2229326" y="198596"/>
                    <a:pt x="2230279" y="193834"/>
                    <a:pt x="2230279" y="193834"/>
                  </a:cubicBezTo>
                  <a:cubicBezTo>
                    <a:pt x="2230279" y="193834"/>
                    <a:pt x="2229326" y="197644"/>
                    <a:pt x="2226469" y="204311"/>
                  </a:cubicBezTo>
                  <a:cubicBezTo>
                    <a:pt x="2225516" y="202406"/>
                    <a:pt x="2224564" y="201454"/>
                    <a:pt x="2222659" y="200501"/>
                  </a:cubicBezTo>
                  <a:cubicBezTo>
                    <a:pt x="2221706" y="200501"/>
                    <a:pt x="2221706" y="199549"/>
                    <a:pt x="2220754" y="199549"/>
                  </a:cubicBezTo>
                  <a:cubicBezTo>
                    <a:pt x="2219801" y="199549"/>
                    <a:pt x="2218849" y="199549"/>
                    <a:pt x="2217896" y="199549"/>
                  </a:cubicBezTo>
                  <a:cubicBezTo>
                    <a:pt x="2215991" y="200501"/>
                    <a:pt x="2215991" y="201454"/>
                    <a:pt x="2215039" y="202406"/>
                  </a:cubicBezTo>
                  <a:cubicBezTo>
                    <a:pt x="2213134" y="206216"/>
                    <a:pt x="2213134" y="210979"/>
                    <a:pt x="2213134" y="214789"/>
                  </a:cubicBezTo>
                  <a:cubicBezTo>
                    <a:pt x="2214086" y="210979"/>
                    <a:pt x="2215039" y="206216"/>
                    <a:pt x="2217896" y="203359"/>
                  </a:cubicBezTo>
                  <a:cubicBezTo>
                    <a:pt x="2218849" y="202406"/>
                    <a:pt x="2218849" y="201454"/>
                    <a:pt x="2219801" y="201454"/>
                  </a:cubicBezTo>
                  <a:cubicBezTo>
                    <a:pt x="2219801" y="201454"/>
                    <a:pt x="2220754" y="201454"/>
                    <a:pt x="2220754" y="202406"/>
                  </a:cubicBezTo>
                  <a:cubicBezTo>
                    <a:pt x="2221706" y="203359"/>
                    <a:pt x="2222659" y="205264"/>
                    <a:pt x="2223611" y="207169"/>
                  </a:cubicBezTo>
                  <a:lnTo>
                    <a:pt x="2223611" y="215741"/>
                  </a:lnTo>
                  <a:cubicBezTo>
                    <a:pt x="2223611" y="215741"/>
                    <a:pt x="2223611" y="215741"/>
                    <a:pt x="2223611" y="215741"/>
                  </a:cubicBezTo>
                  <a:cubicBezTo>
                    <a:pt x="2221706" y="222409"/>
                    <a:pt x="2218849" y="230981"/>
                    <a:pt x="2215991" y="241459"/>
                  </a:cubicBezTo>
                  <a:cubicBezTo>
                    <a:pt x="2213134" y="250984"/>
                    <a:pt x="2209324" y="262414"/>
                    <a:pt x="2206466" y="274796"/>
                  </a:cubicBezTo>
                  <a:cubicBezTo>
                    <a:pt x="2203609" y="287179"/>
                    <a:pt x="2199799" y="299561"/>
                    <a:pt x="2196941" y="313849"/>
                  </a:cubicBezTo>
                  <a:cubicBezTo>
                    <a:pt x="2195989" y="308134"/>
                    <a:pt x="2195989" y="305276"/>
                    <a:pt x="2195989" y="305276"/>
                  </a:cubicBezTo>
                  <a:cubicBezTo>
                    <a:pt x="2195989" y="305276"/>
                    <a:pt x="2195989" y="310039"/>
                    <a:pt x="2195036" y="317659"/>
                  </a:cubicBezTo>
                  <a:cubicBezTo>
                    <a:pt x="2194084" y="315754"/>
                    <a:pt x="2193131" y="314801"/>
                    <a:pt x="2193131" y="314801"/>
                  </a:cubicBezTo>
                  <a:cubicBezTo>
                    <a:pt x="2193131" y="314801"/>
                    <a:pt x="2194084" y="315754"/>
                    <a:pt x="2195036" y="318611"/>
                  </a:cubicBezTo>
                  <a:cubicBezTo>
                    <a:pt x="2195036" y="320516"/>
                    <a:pt x="2195036" y="321469"/>
                    <a:pt x="2195036" y="323374"/>
                  </a:cubicBezTo>
                  <a:cubicBezTo>
                    <a:pt x="2194084" y="327184"/>
                    <a:pt x="2193131" y="330994"/>
                    <a:pt x="2192179" y="334804"/>
                  </a:cubicBezTo>
                  <a:cubicBezTo>
                    <a:pt x="2191226" y="332899"/>
                    <a:pt x="2191226" y="331946"/>
                    <a:pt x="2190274" y="330994"/>
                  </a:cubicBezTo>
                  <a:cubicBezTo>
                    <a:pt x="2190274" y="330041"/>
                    <a:pt x="2191226" y="330041"/>
                    <a:pt x="2191226" y="330041"/>
                  </a:cubicBezTo>
                  <a:cubicBezTo>
                    <a:pt x="2191226" y="330041"/>
                    <a:pt x="2191226" y="330041"/>
                    <a:pt x="2190274" y="330994"/>
                  </a:cubicBezTo>
                  <a:cubicBezTo>
                    <a:pt x="2189321" y="328136"/>
                    <a:pt x="2188369" y="326231"/>
                    <a:pt x="2188369" y="326231"/>
                  </a:cubicBezTo>
                  <a:cubicBezTo>
                    <a:pt x="2188369" y="326231"/>
                    <a:pt x="2188369" y="328136"/>
                    <a:pt x="2189321" y="331946"/>
                  </a:cubicBezTo>
                  <a:cubicBezTo>
                    <a:pt x="2189321" y="331946"/>
                    <a:pt x="2188369" y="332899"/>
                    <a:pt x="2188369" y="332899"/>
                  </a:cubicBezTo>
                  <a:cubicBezTo>
                    <a:pt x="2186464" y="321469"/>
                    <a:pt x="2185511" y="315754"/>
                    <a:pt x="2185511" y="315754"/>
                  </a:cubicBezTo>
                  <a:cubicBezTo>
                    <a:pt x="2185511" y="315754"/>
                    <a:pt x="2185511" y="323374"/>
                    <a:pt x="2184559" y="336709"/>
                  </a:cubicBezTo>
                  <a:cubicBezTo>
                    <a:pt x="2184559" y="336709"/>
                    <a:pt x="2184559" y="336709"/>
                    <a:pt x="2184559" y="337661"/>
                  </a:cubicBezTo>
                  <a:cubicBezTo>
                    <a:pt x="2183606" y="339566"/>
                    <a:pt x="2181701" y="341471"/>
                    <a:pt x="2179796" y="343376"/>
                  </a:cubicBezTo>
                  <a:cubicBezTo>
                    <a:pt x="2179796" y="342424"/>
                    <a:pt x="2178844" y="341471"/>
                    <a:pt x="2178844" y="340519"/>
                  </a:cubicBezTo>
                  <a:cubicBezTo>
                    <a:pt x="2183606" y="320516"/>
                    <a:pt x="2188369" y="301466"/>
                    <a:pt x="2192179" y="283369"/>
                  </a:cubicBezTo>
                  <a:cubicBezTo>
                    <a:pt x="2205514" y="228124"/>
                    <a:pt x="2212181" y="190024"/>
                    <a:pt x="2212181" y="190024"/>
                  </a:cubicBezTo>
                  <a:cubicBezTo>
                    <a:pt x="2212181" y="190024"/>
                    <a:pt x="2199799" y="222409"/>
                    <a:pt x="2183606" y="272891"/>
                  </a:cubicBezTo>
                  <a:cubicBezTo>
                    <a:pt x="2184559" y="266224"/>
                    <a:pt x="2186464" y="259556"/>
                    <a:pt x="2187416" y="253841"/>
                  </a:cubicBezTo>
                  <a:cubicBezTo>
                    <a:pt x="2189321" y="246221"/>
                    <a:pt x="2190274" y="239554"/>
                    <a:pt x="2192179" y="231934"/>
                  </a:cubicBezTo>
                  <a:cubicBezTo>
                    <a:pt x="2194084" y="224314"/>
                    <a:pt x="2195989" y="216694"/>
                    <a:pt x="2196941" y="210026"/>
                  </a:cubicBezTo>
                  <a:cubicBezTo>
                    <a:pt x="2197894" y="204311"/>
                    <a:pt x="2199799" y="198596"/>
                    <a:pt x="2200751" y="193834"/>
                  </a:cubicBezTo>
                  <a:cubicBezTo>
                    <a:pt x="2201704" y="189071"/>
                    <a:pt x="2203609" y="184309"/>
                    <a:pt x="2204561" y="179546"/>
                  </a:cubicBezTo>
                  <a:cubicBezTo>
                    <a:pt x="2207419" y="170021"/>
                    <a:pt x="2209324" y="162401"/>
                    <a:pt x="2211229" y="155734"/>
                  </a:cubicBezTo>
                  <a:cubicBezTo>
                    <a:pt x="2215039" y="142399"/>
                    <a:pt x="2217896" y="134779"/>
                    <a:pt x="2217896" y="134779"/>
                  </a:cubicBezTo>
                  <a:cubicBezTo>
                    <a:pt x="2217896" y="134779"/>
                    <a:pt x="2215039" y="139541"/>
                    <a:pt x="2211229" y="148114"/>
                  </a:cubicBezTo>
                  <a:cubicBezTo>
                    <a:pt x="2211229" y="148114"/>
                    <a:pt x="2211229" y="147161"/>
                    <a:pt x="2211229" y="147161"/>
                  </a:cubicBezTo>
                  <a:cubicBezTo>
                    <a:pt x="2213134" y="139541"/>
                    <a:pt x="2215039" y="131921"/>
                    <a:pt x="2216944" y="125254"/>
                  </a:cubicBezTo>
                  <a:cubicBezTo>
                    <a:pt x="2218849" y="118586"/>
                    <a:pt x="2220754" y="111919"/>
                    <a:pt x="2222659" y="105251"/>
                  </a:cubicBezTo>
                  <a:cubicBezTo>
                    <a:pt x="2226469" y="92869"/>
                    <a:pt x="2229326" y="81439"/>
                    <a:pt x="2233136" y="72866"/>
                  </a:cubicBezTo>
                  <a:cubicBezTo>
                    <a:pt x="2238851" y="54769"/>
                    <a:pt x="2242661" y="45244"/>
                    <a:pt x="2242661" y="45244"/>
                  </a:cubicBezTo>
                  <a:cubicBezTo>
                    <a:pt x="2242661" y="45244"/>
                    <a:pt x="2237899" y="54769"/>
                    <a:pt x="2229326" y="71914"/>
                  </a:cubicBezTo>
                  <a:cubicBezTo>
                    <a:pt x="2224564" y="80486"/>
                    <a:pt x="2220754" y="90964"/>
                    <a:pt x="2215991" y="103346"/>
                  </a:cubicBezTo>
                  <a:cubicBezTo>
                    <a:pt x="2213134" y="109061"/>
                    <a:pt x="2211229" y="115729"/>
                    <a:pt x="2208371" y="122396"/>
                  </a:cubicBezTo>
                  <a:cubicBezTo>
                    <a:pt x="2205514" y="129064"/>
                    <a:pt x="2203609" y="136684"/>
                    <a:pt x="2200751" y="144304"/>
                  </a:cubicBezTo>
                  <a:cubicBezTo>
                    <a:pt x="2195036" y="159544"/>
                    <a:pt x="2190274" y="176689"/>
                    <a:pt x="2184559" y="193834"/>
                  </a:cubicBezTo>
                  <a:cubicBezTo>
                    <a:pt x="2181701" y="204311"/>
                    <a:pt x="2177891" y="215741"/>
                    <a:pt x="2175034" y="228124"/>
                  </a:cubicBezTo>
                  <a:cubicBezTo>
                    <a:pt x="2175986" y="218599"/>
                    <a:pt x="2176939" y="210026"/>
                    <a:pt x="2177891" y="203359"/>
                  </a:cubicBezTo>
                  <a:cubicBezTo>
                    <a:pt x="2178844" y="198596"/>
                    <a:pt x="2178844" y="193834"/>
                    <a:pt x="2178844" y="190024"/>
                  </a:cubicBezTo>
                  <a:cubicBezTo>
                    <a:pt x="2179796" y="186214"/>
                    <a:pt x="2180749" y="184309"/>
                    <a:pt x="2180749" y="184309"/>
                  </a:cubicBezTo>
                  <a:cubicBezTo>
                    <a:pt x="2180749" y="184309"/>
                    <a:pt x="2179796" y="185261"/>
                    <a:pt x="2179796" y="187166"/>
                  </a:cubicBezTo>
                  <a:cubicBezTo>
                    <a:pt x="2180749" y="180499"/>
                    <a:pt x="2180749" y="176689"/>
                    <a:pt x="2180749" y="176689"/>
                  </a:cubicBezTo>
                  <a:cubicBezTo>
                    <a:pt x="2180749" y="176689"/>
                    <a:pt x="2178844" y="183356"/>
                    <a:pt x="2175986" y="194786"/>
                  </a:cubicBezTo>
                  <a:cubicBezTo>
                    <a:pt x="2174081" y="198596"/>
                    <a:pt x="2172176" y="202406"/>
                    <a:pt x="2170271" y="208121"/>
                  </a:cubicBezTo>
                  <a:cubicBezTo>
                    <a:pt x="2163604" y="223361"/>
                    <a:pt x="2155031" y="245269"/>
                    <a:pt x="2144554" y="271939"/>
                  </a:cubicBezTo>
                  <a:cubicBezTo>
                    <a:pt x="2141696" y="279559"/>
                    <a:pt x="2137886" y="288131"/>
                    <a:pt x="2135029" y="296704"/>
                  </a:cubicBezTo>
                  <a:cubicBezTo>
                    <a:pt x="2135029" y="296704"/>
                    <a:pt x="2135029" y="296704"/>
                    <a:pt x="2135029" y="295751"/>
                  </a:cubicBezTo>
                  <a:cubicBezTo>
                    <a:pt x="2133124" y="290989"/>
                    <a:pt x="2131219" y="286226"/>
                    <a:pt x="2129314" y="282416"/>
                  </a:cubicBezTo>
                  <a:cubicBezTo>
                    <a:pt x="2133124" y="261461"/>
                    <a:pt x="2135981" y="244316"/>
                    <a:pt x="2137886" y="231934"/>
                  </a:cubicBezTo>
                  <a:cubicBezTo>
                    <a:pt x="2139791" y="217646"/>
                    <a:pt x="2141696" y="210026"/>
                    <a:pt x="2141696" y="210026"/>
                  </a:cubicBezTo>
                  <a:cubicBezTo>
                    <a:pt x="2141696" y="210026"/>
                    <a:pt x="2138839" y="217646"/>
                    <a:pt x="2134076" y="230981"/>
                  </a:cubicBezTo>
                  <a:cubicBezTo>
                    <a:pt x="2131219" y="239554"/>
                    <a:pt x="2127409" y="250984"/>
                    <a:pt x="2123599" y="263366"/>
                  </a:cubicBezTo>
                  <a:cubicBezTo>
                    <a:pt x="2123599" y="260509"/>
                    <a:pt x="2122646" y="257651"/>
                    <a:pt x="2122646" y="253841"/>
                  </a:cubicBezTo>
                  <a:cubicBezTo>
                    <a:pt x="2120741" y="238601"/>
                    <a:pt x="2118836" y="225266"/>
                    <a:pt x="2117884" y="211931"/>
                  </a:cubicBezTo>
                  <a:cubicBezTo>
                    <a:pt x="2115979" y="198596"/>
                    <a:pt x="2114074" y="187166"/>
                    <a:pt x="2112169" y="176689"/>
                  </a:cubicBezTo>
                  <a:cubicBezTo>
                    <a:pt x="2110264" y="166211"/>
                    <a:pt x="2108359" y="157639"/>
                    <a:pt x="2107406" y="150019"/>
                  </a:cubicBezTo>
                  <a:cubicBezTo>
                    <a:pt x="2104549" y="134779"/>
                    <a:pt x="2102644" y="127159"/>
                    <a:pt x="2102644" y="127159"/>
                  </a:cubicBezTo>
                  <a:cubicBezTo>
                    <a:pt x="2102644" y="127159"/>
                    <a:pt x="2102644" y="135731"/>
                    <a:pt x="2103596" y="150971"/>
                  </a:cubicBezTo>
                  <a:cubicBezTo>
                    <a:pt x="2103596" y="155734"/>
                    <a:pt x="2104549" y="161449"/>
                    <a:pt x="2104549" y="168116"/>
                  </a:cubicBezTo>
                  <a:cubicBezTo>
                    <a:pt x="2104549" y="171926"/>
                    <a:pt x="2104549" y="176689"/>
                    <a:pt x="2104549" y="183356"/>
                  </a:cubicBezTo>
                  <a:cubicBezTo>
                    <a:pt x="2104549" y="190024"/>
                    <a:pt x="2105501" y="197644"/>
                    <a:pt x="2105501" y="207169"/>
                  </a:cubicBezTo>
                  <a:cubicBezTo>
                    <a:pt x="2105501" y="212884"/>
                    <a:pt x="2106454" y="218599"/>
                    <a:pt x="2106454" y="225266"/>
                  </a:cubicBezTo>
                  <a:cubicBezTo>
                    <a:pt x="2105501" y="224314"/>
                    <a:pt x="2105501" y="222409"/>
                    <a:pt x="2104549" y="221456"/>
                  </a:cubicBezTo>
                  <a:cubicBezTo>
                    <a:pt x="2104549" y="221456"/>
                    <a:pt x="2104549" y="221456"/>
                    <a:pt x="2104549" y="221456"/>
                  </a:cubicBezTo>
                  <a:lnTo>
                    <a:pt x="2104549" y="221456"/>
                  </a:lnTo>
                  <a:cubicBezTo>
                    <a:pt x="2103596" y="219551"/>
                    <a:pt x="2102644" y="217646"/>
                    <a:pt x="2102644" y="215741"/>
                  </a:cubicBezTo>
                  <a:cubicBezTo>
                    <a:pt x="2102644" y="211931"/>
                    <a:pt x="2101691" y="208121"/>
                    <a:pt x="2101691" y="205264"/>
                  </a:cubicBezTo>
                  <a:cubicBezTo>
                    <a:pt x="2100739" y="193834"/>
                    <a:pt x="2099786" y="184309"/>
                    <a:pt x="2098834" y="176689"/>
                  </a:cubicBezTo>
                  <a:cubicBezTo>
                    <a:pt x="2098834" y="173831"/>
                    <a:pt x="2097881" y="170974"/>
                    <a:pt x="2097881" y="168116"/>
                  </a:cubicBezTo>
                  <a:cubicBezTo>
                    <a:pt x="2100739" y="155734"/>
                    <a:pt x="2102644" y="149066"/>
                    <a:pt x="2102644" y="149066"/>
                  </a:cubicBezTo>
                  <a:cubicBezTo>
                    <a:pt x="2102644" y="149066"/>
                    <a:pt x="2100739" y="153829"/>
                    <a:pt x="2096929" y="162401"/>
                  </a:cubicBezTo>
                  <a:cubicBezTo>
                    <a:pt x="2095976" y="155734"/>
                    <a:pt x="2095024" y="151924"/>
                    <a:pt x="2095024" y="151924"/>
                  </a:cubicBezTo>
                  <a:cubicBezTo>
                    <a:pt x="2095024" y="151924"/>
                    <a:pt x="2095024" y="157639"/>
                    <a:pt x="2095024" y="167164"/>
                  </a:cubicBezTo>
                  <a:cubicBezTo>
                    <a:pt x="2088356" y="182404"/>
                    <a:pt x="2078831" y="206216"/>
                    <a:pt x="2066449" y="235744"/>
                  </a:cubicBezTo>
                  <a:cubicBezTo>
                    <a:pt x="2063591" y="243364"/>
                    <a:pt x="2060734" y="250984"/>
                    <a:pt x="2056924" y="259556"/>
                  </a:cubicBezTo>
                  <a:cubicBezTo>
                    <a:pt x="2061686" y="234791"/>
                    <a:pt x="2063591" y="219551"/>
                    <a:pt x="2063591" y="219551"/>
                  </a:cubicBezTo>
                  <a:cubicBezTo>
                    <a:pt x="2063591" y="219551"/>
                    <a:pt x="2058829" y="231934"/>
                    <a:pt x="2052161" y="252889"/>
                  </a:cubicBezTo>
                  <a:cubicBezTo>
                    <a:pt x="2051209" y="250984"/>
                    <a:pt x="2050256" y="249079"/>
                    <a:pt x="2050256" y="248126"/>
                  </a:cubicBezTo>
                  <a:cubicBezTo>
                    <a:pt x="2050256" y="238601"/>
                    <a:pt x="2050256" y="233839"/>
                    <a:pt x="2050256" y="233839"/>
                  </a:cubicBezTo>
                  <a:cubicBezTo>
                    <a:pt x="2050256" y="233839"/>
                    <a:pt x="2049304" y="237649"/>
                    <a:pt x="2048351" y="244316"/>
                  </a:cubicBezTo>
                  <a:cubicBezTo>
                    <a:pt x="2047399" y="241459"/>
                    <a:pt x="2046446" y="240506"/>
                    <a:pt x="2046446" y="240506"/>
                  </a:cubicBezTo>
                  <a:cubicBezTo>
                    <a:pt x="2046446" y="240506"/>
                    <a:pt x="2047399" y="242411"/>
                    <a:pt x="2047399" y="247174"/>
                  </a:cubicBezTo>
                  <a:cubicBezTo>
                    <a:pt x="2046446" y="251936"/>
                    <a:pt x="2045494" y="258604"/>
                    <a:pt x="2044541" y="266224"/>
                  </a:cubicBezTo>
                  <a:cubicBezTo>
                    <a:pt x="2044541" y="264319"/>
                    <a:pt x="2043589" y="261461"/>
                    <a:pt x="2043589" y="259556"/>
                  </a:cubicBezTo>
                  <a:cubicBezTo>
                    <a:pt x="2042636" y="255746"/>
                    <a:pt x="2042636" y="252889"/>
                    <a:pt x="2041684" y="249079"/>
                  </a:cubicBezTo>
                  <a:cubicBezTo>
                    <a:pt x="2046446" y="210026"/>
                    <a:pt x="2048351" y="184309"/>
                    <a:pt x="2048351" y="184309"/>
                  </a:cubicBezTo>
                  <a:cubicBezTo>
                    <a:pt x="2048351" y="184309"/>
                    <a:pt x="2044541" y="196691"/>
                    <a:pt x="2039779" y="216694"/>
                  </a:cubicBezTo>
                  <a:cubicBezTo>
                    <a:pt x="2038826" y="218599"/>
                    <a:pt x="2037874" y="220504"/>
                    <a:pt x="2036921" y="223361"/>
                  </a:cubicBezTo>
                  <a:cubicBezTo>
                    <a:pt x="2036921" y="221456"/>
                    <a:pt x="2035969" y="220504"/>
                    <a:pt x="2035969" y="218599"/>
                  </a:cubicBezTo>
                  <a:cubicBezTo>
                    <a:pt x="2034064" y="206216"/>
                    <a:pt x="2032159" y="195739"/>
                    <a:pt x="2031206" y="187166"/>
                  </a:cubicBezTo>
                  <a:cubicBezTo>
                    <a:pt x="2030254" y="179546"/>
                    <a:pt x="2029301" y="173831"/>
                    <a:pt x="2028349" y="169069"/>
                  </a:cubicBezTo>
                  <a:cubicBezTo>
                    <a:pt x="2030254" y="154781"/>
                    <a:pt x="2031206" y="147161"/>
                    <a:pt x="2031206" y="147161"/>
                  </a:cubicBezTo>
                  <a:cubicBezTo>
                    <a:pt x="2031206" y="147161"/>
                    <a:pt x="2030254" y="150971"/>
                    <a:pt x="2028349" y="157639"/>
                  </a:cubicBezTo>
                  <a:cubicBezTo>
                    <a:pt x="2029301" y="145256"/>
                    <a:pt x="2030254" y="138589"/>
                    <a:pt x="2030254" y="138589"/>
                  </a:cubicBezTo>
                  <a:cubicBezTo>
                    <a:pt x="2030254" y="138589"/>
                    <a:pt x="2028349" y="146209"/>
                    <a:pt x="2023586" y="160496"/>
                  </a:cubicBezTo>
                  <a:cubicBezTo>
                    <a:pt x="2021681" y="167164"/>
                    <a:pt x="2019776" y="176689"/>
                    <a:pt x="2017871" y="186214"/>
                  </a:cubicBezTo>
                  <a:cubicBezTo>
                    <a:pt x="2017871" y="188119"/>
                    <a:pt x="2016919" y="190024"/>
                    <a:pt x="2016919" y="191929"/>
                  </a:cubicBezTo>
                  <a:cubicBezTo>
                    <a:pt x="2016919" y="191929"/>
                    <a:pt x="2016919" y="190976"/>
                    <a:pt x="2016919" y="190976"/>
                  </a:cubicBezTo>
                  <a:cubicBezTo>
                    <a:pt x="2018824" y="170021"/>
                    <a:pt x="2019776" y="158591"/>
                    <a:pt x="2019776" y="158591"/>
                  </a:cubicBezTo>
                  <a:cubicBezTo>
                    <a:pt x="2019776" y="158591"/>
                    <a:pt x="2017871" y="166211"/>
                    <a:pt x="2015014" y="178594"/>
                  </a:cubicBezTo>
                  <a:cubicBezTo>
                    <a:pt x="2015014" y="176689"/>
                    <a:pt x="2014061" y="174784"/>
                    <a:pt x="2014061" y="174784"/>
                  </a:cubicBezTo>
                  <a:cubicBezTo>
                    <a:pt x="2014061" y="174784"/>
                    <a:pt x="2014061" y="175736"/>
                    <a:pt x="2014061" y="177641"/>
                  </a:cubicBezTo>
                  <a:cubicBezTo>
                    <a:pt x="2013109" y="172879"/>
                    <a:pt x="2012156" y="168116"/>
                    <a:pt x="2011204" y="163354"/>
                  </a:cubicBezTo>
                  <a:cubicBezTo>
                    <a:pt x="2008346" y="148114"/>
                    <a:pt x="2006441" y="135731"/>
                    <a:pt x="2003584" y="125254"/>
                  </a:cubicBezTo>
                  <a:cubicBezTo>
                    <a:pt x="1999774" y="104299"/>
                    <a:pt x="1996916" y="91916"/>
                    <a:pt x="1996916" y="91916"/>
                  </a:cubicBezTo>
                  <a:cubicBezTo>
                    <a:pt x="1996916" y="91916"/>
                    <a:pt x="1997869" y="104299"/>
                    <a:pt x="1999774" y="125254"/>
                  </a:cubicBezTo>
                  <a:cubicBezTo>
                    <a:pt x="2000726" y="135731"/>
                    <a:pt x="2001679" y="149066"/>
                    <a:pt x="2003584" y="164306"/>
                  </a:cubicBezTo>
                  <a:cubicBezTo>
                    <a:pt x="2004536" y="175736"/>
                    <a:pt x="2006441" y="189071"/>
                    <a:pt x="2008346" y="203359"/>
                  </a:cubicBezTo>
                  <a:cubicBezTo>
                    <a:pt x="2005489" y="213836"/>
                    <a:pt x="2002631" y="227171"/>
                    <a:pt x="1999774" y="240506"/>
                  </a:cubicBezTo>
                  <a:cubicBezTo>
                    <a:pt x="1995011" y="262414"/>
                    <a:pt x="1990249" y="288131"/>
                    <a:pt x="1984534" y="314801"/>
                  </a:cubicBezTo>
                  <a:cubicBezTo>
                    <a:pt x="1984534" y="303371"/>
                    <a:pt x="1984534" y="292894"/>
                    <a:pt x="1984534" y="283369"/>
                  </a:cubicBezTo>
                  <a:cubicBezTo>
                    <a:pt x="1984534" y="277654"/>
                    <a:pt x="1984534" y="271939"/>
                    <a:pt x="1984534" y="267176"/>
                  </a:cubicBezTo>
                  <a:cubicBezTo>
                    <a:pt x="1985486" y="265271"/>
                    <a:pt x="1986439" y="263366"/>
                    <a:pt x="1986439" y="263366"/>
                  </a:cubicBezTo>
                  <a:cubicBezTo>
                    <a:pt x="1986439" y="263366"/>
                    <a:pt x="1985486" y="264319"/>
                    <a:pt x="1984534" y="265271"/>
                  </a:cubicBezTo>
                  <a:cubicBezTo>
                    <a:pt x="1984534" y="257651"/>
                    <a:pt x="1984534" y="250031"/>
                    <a:pt x="1985486" y="243364"/>
                  </a:cubicBezTo>
                  <a:cubicBezTo>
                    <a:pt x="1986439" y="231934"/>
                    <a:pt x="1986439" y="221456"/>
                    <a:pt x="1987391" y="212884"/>
                  </a:cubicBezTo>
                  <a:cubicBezTo>
                    <a:pt x="1988344" y="195739"/>
                    <a:pt x="1989296" y="186214"/>
                    <a:pt x="1989296" y="186214"/>
                  </a:cubicBezTo>
                  <a:cubicBezTo>
                    <a:pt x="1989296" y="186214"/>
                    <a:pt x="1987391" y="195739"/>
                    <a:pt x="1983581" y="211931"/>
                  </a:cubicBezTo>
                  <a:cubicBezTo>
                    <a:pt x="1981676" y="220504"/>
                    <a:pt x="1979771" y="230029"/>
                    <a:pt x="1978819" y="242411"/>
                  </a:cubicBezTo>
                  <a:cubicBezTo>
                    <a:pt x="1976914" y="253841"/>
                    <a:pt x="1975961" y="267176"/>
                    <a:pt x="1974056" y="281464"/>
                  </a:cubicBezTo>
                  <a:cubicBezTo>
                    <a:pt x="1974056" y="281464"/>
                    <a:pt x="1973104" y="282416"/>
                    <a:pt x="1973104" y="282416"/>
                  </a:cubicBezTo>
                  <a:cubicBezTo>
                    <a:pt x="1971199" y="284321"/>
                    <a:pt x="1970246" y="286226"/>
                    <a:pt x="1968341" y="289084"/>
                  </a:cubicBezTo>
                  <a:cubicBezTo>
                    <a:pt x="1968341" y="287179"/>
                    <a:pt x="1968341" y="285274"/>
                    <a:pt x="1968341" y="283369"/>
                  </a:cubicBezTo>
                  <a:cubicBezTo>
                    <a:pt x="1971199" y="277654"/>
                    <a:pt x="1973104" y="274796"/>
                    <a:pt x="1973104" y="274796"/>
                  </a:cubicBezTo>
                  <a:cubicBezTo>
                    <a:pt x="1973104" y="274796"/>
                    <a:pt x="1971199" y="276701"/>
                    <a:pt x="1968341" y="280511"/>
                  </a:cubicBezTo>
                  <a:cubicBezTo>
                    <a:pt x="1970246" y="255746"/>
                    <a:pt x="1972151" y="235744"/>
                    <a:pt x="1973104" y="224314"/>
                  </a:cubicBezTo>
                  <a:cubicBezTo>
                    <a:pt x="1975961" y="201454"/>
                    <a:pt x="1976914" y="187166"/>
                    <a:pt x="1976914" y="187166"/>
                  </a:cubicBezTo>
                  <a:cubicBezTo>
                    <a:pt x="1976914" y="187166"/>
                    <a:pt x="1973104" y="198596"/>
                    <a:pt x="1967389" y="218599"/>
                  </a:cubicBezTo>
                  <a:cubicBezTo>
                    <a:pt x="1967389" y="217646"/>
                    <a:pt x="1967389" y="216694"/>
                    <a:pt x="1967389" y="216694"/>
                  </a:cubicBezTo>
                  <a:cubicBezTo>
                    <a:pt x="1967389" y="216694"/>
                    <a:pt x="1967389" y="217646"/>
                    <a:pt x="1966436" y="220504"/>
                  </a:cubicBezTo>
                  <a:cubicBezTo>
                    <a:pt x="1963579" y="229076"/>
                    <a:pt x="1960721" y="238601"/>
                    <a:pt x="1957864" y="250031"/>
                  </a:cubicBezTo>
                  <a:cubicBezTo>
                    <a:pt x="1955959" y="256699"/>
                    <a:pt x="1954054" y="264319"/>
                    <a:pt x="1952149" y="271939"/>
                  </a:cubicBezTo>
                  <a:cubicBezTo>
                    <a:pt x="1947386" y="250031"/>
                    <a:pt x="1944529" y="232886"/>
                    <a:pt x="1941671" y="221456"/>
                  </a:cubicBezTo>
                  <a:cubicBezTo>
                    <a:pt x="1941671" y="218599"/>
                    <a:pt x="1942624" y="215741"/>
                    <a:pt x="1942624" y="213836"/>
                  </a:cubicBezTo>
                  <a:cubicBezTo>
                    <a:pt x="1946434" y="203359"/>
                    <a:pt x="1949291" y="193834"/>
                    <a:pt x="1952149" y="186214"/>
                  </a:cubicBezTo>
                  <a:cubicBezTo>
                    <a:pt x="1958816" y="168116"/>
                    <a:pt x="1962626" y="157639"/>
                    <a:pt x="1962626" y="157639"/>
                  </a:cubicBezTo>
                  <a:cubicBezTo>
                    <a:pt x="1962626" y="157639"/>
                    <a:pt x="1957864" y="167164"/>
                    <a:pt x="1948339" y="185261"/>
                  </a:cubicBezTo>
                  <a:cubicBezTo>
                    <a:pt x="1947386" y="187166"/>
                    <a:pt x="1946434" y="189071"/>
                    <a:pt x="1945481" y="190976"/>
                  </a:cubicBezTo>
                  <a:cubicBezTo>
                    <a:pt x="1945481" y="190024"/>
                    <a:pt x="1945481" y="189071"/>
                    <a:pt x="1945481" y="189071"/>
                  </a:cubicBezTo>
                  <a:cubicBezTo>
                    <a:pt x="1945481" y="189071"/>
                    <a:pt x="1945481" y="190024"/>
                    <a:pt x="1944529" y="192881"/>
                  </a:cubicBezTo>
                  <a:cubicBezTo>
                    <a:pt x="1942624" y="196691"/>
                    <a:pt x="1940719" y="201454"/>
                    <a:pt x="1938814" y="205264"/>
                  </a:cubicBezTo>
                  <a:cubicBezTo>
                    <a:pt x="1936909" y="170021"/>
                    <a:pt x="1935004" y="148114"/>
                    <a:pt x="1935004" y="148114"/>
                  </a:cubicBezTo>
                  <a:cubicBezTo>
                    <a:pt x="1935004" y="148114"/>
                    <a:pt x="1931194" y="178594"/>
                    <a:pt x="1928336" y="224314"/>
                  </a:cubicBezTo>
                  <a:cubicBezTo>
                    <a:pt x="1928336" y="225266"/>
                    <a:pt x="1928336" y="227171"/>
                    <a:pt x="1928336" y="229076"/>
                  </a:cubicBezTo>
                  <a:cubicBezTo>
                    <a:pt x="1927384" y="231934"/>
                    <a:pt x="1925479" y="234791"/>
                    <a:pt x="1924526" y="236696"/>
                  </a:cubicBezTo>
                  <a:cubicBezTo>
                    <a:pt x="1921669" y="243364"/>
                    <a:pt x="1918811" y="250984"/>
                    <a:pt x="1915001" y="258604"/>
                  </a:cubicBezTo>
                  <a:cubicBezTo>
                    <a:pt x="1914049" y="261461"/>
                    <a:pt x="1912144" y="265271"/>
                    <a:pt x="1911191" y="268129"/>
                  </a:cubicBezTo>
                  <a:cubicBezTo>
                    <a:pt x="1910239" y="265271"/>
                    <a:pt x="1908334" y="262414"/>
                    <a:pt x="1907381" y="259556"/>
                  </a:cubicBezTo>
                  <a:lnTo>
                    <a:pt x="1907381" y="258604"/>
                  </a:lnTo>
                  <a:lnTo>
                    <a:pt x="1907381" y="258604"/>
                  </a:lnTo>
                  <a:cubicBezTo>
                    <a:pt x="1905476" y="256699"/>
                    <a:pt x="1903571" y="254794"/>
                    <a:pt x="1900714" y="253841"/>
                  </a:cubicBezTo>
                  <a:cubicBezTo>
                    <a:pt x="1899761" y="253841"/>
                    <a:pt x="1898809" y="252889"/>
                    <a:pt x="1897856" y="252889"/>
                  </a:cubicBezTo>
                  <a:cubicBezTo>
                    <a:pt x="1897856" y="252889"/>
                    <a:pt x="1896904" y="252889"/>
                    <a:pt x="1896904" y="252889"/>
                  </a:cubicBezTo>
                  <a:cubicBezTo>
                    <a:pt x="1896904" y="251936"/>
                    <a:pt x="1896904" y="251936"/>
                    <a:pt x="1896904" y="250984"/>
                  </a:cubicBezTo>
                  <a:cubicBezTo>
                    <a:pt x="1896904" y="249079"/>
                    <a:pt x="1897856" y="247174"/>
                    <a:pt x="1897856" y="246221"/>
                  </a:cubicBezTo>
                  <a:cubicBezTo>
                    <a:pt x="1899761" y="240506"/>
                    <a:pt x="1900714" y="234791"/>
                    <a:pt x="1902619" y="230029"/>
                  </a:cubicBezTo>
                  <a:cubicBezTo>
                    <a:pt x="1903571" y="228124"/>
                    <a:pt x="1903571" y="226219"/>
                    <a:pt x="1903571" y="226219"/>
                  </a:cubicBezTo>
                  <a:cubicBezTo>
                    <a:pt x="1903571" y="226219"/>
                    <a:pt x="1903571" y="226219"/>
                    <a:pt x="1902619" y="227171"/>
                  </a:cubicBezTo>
                  <a:cubicBezTo>
                    <a:pt x="1903571" y="222409"/>
                    <a:pt x="1905476" y="218599"/>
                    <a:pt x="1906429" y="214789"/>
                  </a:cubicBezTo>
                  <a:cubicBezTo>
                    <a:pt x="1909286" y="205264"/>
                    <a:pt x="1912144" y="196691"/>
                    <a:pt x="1915001" y="190976"/>
                  </a:cubicBezTo>
                  <a:cubicBezTo>
                    <a:pt x="1919764" y="177641"/>
                    <a:pt x="1922621" y="170021"/>
                    <a:pt x="1922621" y="170021"/>
                  </a:cubicBezTo>
                  <a:cubicBezTo>
                    <a:pt x="1922621" y="170021"/>
                    <a:pt x="1918811" y="176689"/>
                    <a:pt x="1911191" y="189071"/>
                  </a:cubicBezTo>
                  <a:cubicBezTo>
                    <a:pt x="1907381" y="194786"/>
                    <a:pt x="1903571" y="203359"/>
                    <a:pt x="1899761" y="211931"/>
                  </a:cubicBezTo>
                  <a:cubicBezTo>
                    <a:pt x="1897856" y="216694"/>
                    <a:pt x="1894999" y="221456"/>
                    <a:pt x="1893094" y="226219"/>
                  </a:cubicBezTo>
                  <a:cubicBezTo>
                    <a:pt x="1892141" y="229076"/>
                    <a:pt x="1890236" y="231934"/>
                    <a:pt x="1889284" y="235744"/>
                  </a:cubicBezTo>
                  <a:cubicBezTo>
                    <a:pt x="1889284" y="234791"/>
                    <a:pt x="1889284" y="233839"/>
                    <a:pt x="1888331" y="232886"/>
                  </a:cubicBezTo>
                  <a:cubicBezTo>
                    <a:pt x="1888331" y="227171"/>
                    <a:pt x="1888331" y="221456"/>
                    <a:pt x="1889284" y="216694"/>
                  </a:cubicBezTo>
                  <a:cubicBezTo>
                    <a:pt x="1889284" y="210979"/>
                    <a:pt x="1890236" y="205264"/>
                    <a:pt x="1891189" y="200501"/>
                  </a:cubicBezTo>
                  <a:cubicBezTo>
                    <a:pt x="1892141" y="195739"/>
                    <a:pt x="1893094" y="190976"/>
                    <a:pt x="1894046" y="187166"/>
                  </a:cubicBezTo>
                  <a:cubicBezTo>
                    <a:pt x="1895951" y="179546"/>
                    <a:pt x="1897856" y="172879"/>
                    <a:pt x="1899761" y="169069"/>
                  </a:cubicBezTo>
                  <a:cubicBezTo>
                    <a:pt x="1901666" y="165259"/>
                    <a:pt x="1902619" y="162401"/>
                    <a:pt x="1902619" y="162401"/>
                  </a:cubicBezTo>
                  <a:cubicBezTo>
                    <a:pt x="1902619" y="162401"/>
                    <a:pt x="1901666" y="164306"/>
                    <a:pt x="1898809" y="168116"/>
                  </a:cubicBezTo>
                  <a:cubicBezTo>
                    <a:pt x="1895951" y="171926"/>
                    <a:pt x="1893094" y="177641"/>
                    <a:pt x="1890236" y="186214"/>
                  </a:cubicBezTo>
                  <a:cubicBezTo>
                    <a:pt x="1889284" y="190024"/>
                    <a:pt x="1887379" y="194786"/>
                    <a:pt x="1885474" y="199549"/>
                  </a:cubicBezTo>
                  <a:cubicBezTo>
                    <a:pt x="1884521" y="204311"/>
                    <a:pt x="1883569" y="209074"/>
                    <a:pt x="1882616" y="213836"/>
                  </a:cubicBezTo>
                  <a:cubicBezTo>
                    <a:pt x="1882616" y="211931"/>
                    <a:pt x="1882616" y="210026"/>
                    <a:pt x="1882616" y="210026"/>
                  </a:cubicBezTo>
                  <a:cubicBezTo>
                    <a:pt x="1882616" y="210026"/>
                    <a:pt x="1880711" y="216694"/>
                    <a:pt x="1878806" y="228124"/>
                  </a:cubicBezTo>
                  <a:cubicBezTo>
                    <a:pt x="1877854" y="232886"/>
                    <a:pt x="1876901" y="237649"/>
                    <a:pt x="1874996" y="243364"/>
                  </a:cubicBezTo>
                  <a:cubicBezTo>
                    <a:pt x="1874996" y="239554"/>
                    <a:pt x="1874996" y="237649"/>
                    <a:pt x="1874996" y="237649"/>
                  </a:cubicBezTo>
                  <a:cubicBezTo>
                    <a:pt x="1874996" y="237649"/>
                    <a:pt x="1874044" y="244316"/>
                    <a:pt x="1872139" y="255746"/>
                  </a:cubicBezTo>
                  <a:cubicBezTo>
                    <a:pt x="1871186" y="260509"/>
                    <a:pt x="1870234" y="266224"/>
                    <a:pt x="1868329" y="270986"/>
                  </a:cubicBezTo>
                  <a:cubicBezTo>
                    <a:pt x="1868329" y="267176"/>
                    <a:pt x="1869281" y="263366"/>
                    <a:pt x="1869281" y="259556"/>
                  </a:cubicBezTo>
                  <a:cubicBezTo>
                    <a:pt x="1871186" y="243364"/>
                    <a:pt x="1873091" y="228124"/>
                    <a:pt x="1874996" y="213836"/>
                  </a:cubicBezTo>
                  <a:cubicBezTo>
                    <a:pt x="1875949" y="207169"/>
                    <a:pt x="1876901" y="200501"/>
                    <a:pt x="1877854" y="193834"/>
                  </a:cubicBezTo>
                  <a:cubicBezTo>
                    <a:pt x="1878806" y="187166"/>
                    <a:pt x="1880711" y="181451"/>
                    <a:pt x="1881664" y="175736"/>
                  </a:cubicBezTo>
                  <a:cubicBezTo>
                    <a:pt x="1883569" y="164306"/>
                    <a:pt x="1885474" y="154781"/>
                    <a:pt x="1888331" y="146209"/>
                  </a:cubicBezTo>
                  <a:cubicBezTo>
                    <a:pt x="1892141" y="130016"/>
                    <a:pt x="1894999" y="120491"/>
                    <a:pt x="1894999" y="120491"/>
                  </a:cubicBezTo>
                  <a:cubicBezTo>
                    <a:pt x="1894999" y="120491"/>
                    <a:pt x="1891189" y="129064"/>
                    <a:pt x="1885474" y="144304"/>
                  </a:cubicBezTo>
                  <a:cubicBezTo>
                    <a:pt x="1882616" y="151924"/>
                    <a:pt x="1878806" y="161449"/>
                    <a:pt x="1875949" y="172879"/>
                  </a:cubicBezTo>
                  <a:cubicBezTo>
                    <a:pt x="1874044" y="178594"/>
                    <a:pt x="1872139" y="184309"/>
                    <a:pt x="1870234" y="190976"/>
                  </a:cubicBezTo>
                  <a:cubicBezTo>
                    <a:pt x="1868329" y="197644"/>
                    <a:pt x="1867376" y="204311"/>
                    <a:pt x="1865471" y="210979"/>
                  </a:cubicBezTo>
                  <a:cubicBezTo>
                    <a:pt x="1863566" y="219551"/>
                    <a:pt x="1860709" y="229076"/>
                    <a:pt x="1858804" y="238601"/>
                  </a:cubicBezTo>
                  <a:cubicBezTo>
                    <a:pt x="1858804" y="221456"/>
                    <a:pt x="1857851" y="206216"/>
                    <a:pt x="1856899" y="194786"/>
                  </a:cubicBezTo>
                  <a:cubicBezTo>
                    <a:pt x="1855946" y="181451"/>
                    <a:pt x="1854994" y="172879"/>
                    <a:pt x="1854994" y="172879"/>
                  </a:cubicBezTo>
                  <a:cubicBezTo>
                    <a:pt x="1854994" y="172879"/>
                    <a:pt x="1854041" y="180499"/>
                    <a:pt x="1853089" y="194786"/>
                  </a:cubicBezTo>
                  <a:cubicBezTo>
                    <a:pt x="1852136" y="208121"/>
                    <a:pt x="1850231" y="228124"/>
                    <a:pt x="1848326" y="250984"/>
                  </a:cubicBezTo>
                  <a:cubicBezTo>
                    <a:pt x="1847374" y="260509"/>
                    <a:pt x="1846421" y="271939"/>
                    <a:pt x="1845469" y="282416"/>
                  </a:cubicBezTo>
                  <a:cubicBezTo>
                    <a:pt x="1843564" y="279559"/>
                    <a:pt x="1841659" y="276701"/>
                    <a:pt x="1839754" y="273844"/>
                  </a:cubicBezTo>
                  <a:cubicBezTo>
                    <a:pt x="1839754" y="270986"/>
                    <a:pt x="1838801" y="269081"/>
                    <a:pt x="1838801" y="269081"/>
                  </a:cubicBezTo>
                  <a:cubicBezTo>
                    <a:pt x="1838801" y="269081"/>
                    <a:pt x="1838801" y="270034"/>
                    <a:pt x="1838801" y="272891"/>
                  </a:cubicBezTo>
                  <a:cubicBezTo>
                    <a:pt x="1834039" y="266224"/>
                    <a:pt x="1830229" y="260509"/>
                    <a:pt x="1827371" y="256699"/>
                  </a:cubicBezTo>
                  <a:cubicBezTo>
                    <a:pt x="1829276" y="216694"/>
                    <a:pt x="1828324" y="190976"/>
                    <a:pt x="1828324" y="190976"/>
                  </a:cubicBezTo>
                  <a:cubicBezTo>
                    <a:pt x="1828324" y="190976"/>
                    <a:pt x="1826419" y="202406"/>
                    <a:pt x="1822609" y="222409"/>
                  </a:cubicBezTo>
                  <a:cubicBezTo>
                    <a:pt x="1822609" y="219551"/>
                    <a:pt x="1822609" y="217646"/>
                    <a:pt x="1822609" y="214789"/>
                  </a:cubicBezTo>
                  <a:cubicBezTo>
                    <a:pt x="1822609" y="196691"/>
                    <a:pt x="1821656" y="178594"/>
                    <a:pt x="1822609" y="161449"/>
                  </a:cubicBezTo>
                  <a:cubicBezTo>
                    <a:pt x="1823561" y="144304"/>
                    <a:pt x="1823561" y="129064"/>
                    <a:pt x="1823561" y="113824"/>
                  </a:cubicBezTo>
                  <a:cubicBezTo>
                    <a:pt x="1824514" y="54769"/>
                    <a:pt x="1823561" y="15716"/>
                    <a:pt x="1823561" y="15716"/>
                  </a:cubicBezTo>
                  <a:cubicBezTo>
                    <a:pt x="1823561" y="15716"/>
                    <a:pt x="1817846" y="54769"/>
                    <a:pt x="1812131" y="112871"/>
                  </a:cubicBezTo>
                  <a:cubicBezTo>
                    <a:pt x="1811179" y="127159"/>
                    <a:pt x="1809274" y="143351"/>
                    <a:pt x="1807369" y="160496"/>
                  </a:cubicBezTo>
                  <a:cubicBezTo>
                    <a:pt x="1805464" y="175736"/>
                    <a:pt x="1805464" y="191929"/>
                    <a:pt x="1805464" y="209074"/>
                  </a:cubicBezTo>
                  <a:cubicBezTo>
                    <a:pt x="1803559" y="210026"/>
                    <a:pt x="1802606" y="210979"/>
                    <a:pt x="1801654" y="211931"/>
                  </a:cubicBezTo>
                  <a:lnTo>
                    <a:pt x="1801654" y="211931"/>
                  </a:lnTo>
                  <a:lnTo>
                    <a:pt x="1801654" y="212884"/>
                  </a:lnTo>
                  <a:cubicBezTo>
                    <a:pt x="1797844" y="221456"/>
                    <a:pt x="1794034" y="229076"/>
                    <a:pt x="1790224" y="237649"/>
                  </a:cubicBezTo>
                  <a:cubicBezTo>
                    <a:pt x="1790224" y="217646"/>
                    <a:pt x="1790224" y="207169"/>
                    <a:pt x="1790224" y="207169"/>
                  </a:cubicBezTo>
                  <a:cubicBezTo>
                    <a:pt x="1790224" y="207169"/>
                    <a:pt x="1788319" y="218599"/>
                    <a:pt x="1786414" y="239554"/>
                  </a:cubicBezTo>
                  <a:cubicBezTo>
                    <a:pt x="1786414" y="243364"/>
                    <a:pt x="1785461" y="246221"/>
                    <a:pt x="1784509" y="250984"/>
                  </a:cubicBezTo>
                  <a:cubicBezTo>
                    <a:pt x="1784509" y="251936"/>
                    <a:pt x="1784509" y="251936"/>
                    <a:pt x="1783556" y="252889"/>
                  </a:cubicBezTo>
                  <a:cubicBezTo>
                    <a:pt x="1779746" y="236696"/>
                    <a:pt x="1776889" y="226219"/>
                    <a:pt x="1776889" y="226219"/>
                  </a:cubicBezTo>
                  <a:cubicBezTo>
                    <a:pt x="1776889" y="226219"/>
                    <a:pt x="1776889" y="236696"/>
                    <a:pt x="1777841" y="253841"/>
                  </a:cubicBezTo>
                  <a:cubicBezTo>
                    <a:pt x="1774031" y="244316"/>
                    <a:pt x="1771174" y="236696"/>
                    <a:pt x="1768316" y="230029"/>
                  </a:cubicBezTo>
                  <a:cubicBezTo>
                    <a:pt x="1763554" y="219551"/>
                    <a:pt x="1760696" y="211931"/>
                    <a:pt x="1759744" y="209074"/>
                  </a:cubicBezTo>
                  <a:cubicBezTo>
                    <a:pt x="1759744" y="209074"/>
                    <a:pt x="1759744" y="208121"/>
                    <a:pt x="1759744" y="208121"/>
                  </a:cubicBezTo>
                  <a:cubicBezTo>
                    <a:pt x="1761649" y="202406"/>
                    <a:pt x="1761649" y="198596"/>
                    <a:pt x="1761649" y="198596"/>
                  </a:cubicBezTo>
                  <a:cubicBezTo>
                    <a:pt x="1761649" y="198596"/>
                    <a:pt x="1760696" y="200501"/>
                    <a:pt x="1759744" y="203359"/>
                  </a:cubicBezTo>
                  <a:cubicBezTo>
                    <a:pt x="1759744" y="200501"/>
                    <a:pt x="1759744" y="197644"/>
                    <a:pt x="1759744" y="195739"/>
                  </a:cubicBezTo>
                  <a:cubicBezTo>
                    <a:pt x="1760696" y="187166"/>
                    <a:pt x="1760696" y="178594"/>
                    <a:pt x="1761649" y="171926"/>
                  </a:cubicBezTo>
                  <a:cubicBezTo>
                    <a:pt x="1762601" y="158591"/>
                    <a:pt x="1762601" y="151924"/>
                    <a:pt x="1762601" y="151924"/>
                  </a:cubicBezTo>
                  <a:cubicBezTo>
                    <a:pt x="1762601" y="151924"/>
                    <a:pt x="1760696" y="159544"/>
                    <a:pt x="1756886" y="171926"/>
                  </a:cubicBezTo>
                  <a:cubicBezTo>
                    <a:pt x="1754981" y="180499"/>
                    <a:pt x="1752124" y="191929"/>
                    <a:pt x="1749266" y="205264"/>
                  </a:cubicBezTo>
                  <a:cubicBezTo>
                    <a:pt x="1746409" y="200501"/>
                    <a:pt x="1745456" y="197644"/>
                    <a:pt x="1745456" y="197644"/>
                  </a:cubicBezTo>
                  <a:cubicBezTo>
                    <a:pt x="1745456" y="197644"/>
                    <a:pt x="1746409" y="201454"/>
                    <a:pt x="1749266" y="208121"/>
                  </a:cubicBezTo>
                  <a:cubicBezTo>
                    <a:pt x="1748314" y="213836"/>
                    <a:pt x="1747361" y="219551"/>
                    <a:pt x="1746409" y="225266"/>
                  </a:cubicBezTo>
                  <a:cubicBezTo>
                    <a:pt x="1746409" y="226219"/>
                    <a:pt x="1746409" y="227171"/>
                    <a:pt x="1746409" y="228124"/>
                  </a:cubicBezTo>
                  <a:cubicBezTo>
                    <a:pt x="1741646" y="193834"/>
                    <a:pt x="1737836" y="171926"/>
                    <a:pt x="1737836" y="171926"/>
                  </a:cubicBezTo>
                  <a:cubicBezTo>
                    <a:pt x="1737836" y="171926"/>
                    <a:pt x="1736884" y="204311"/>
                    <a:pt x="1738789" y="252889"/>
                  </a:cubicBezTo>
                  <a:cubicBezTo>
                    <a:pt x="1737836" y="253841"/>
                    <a:pt x="1737836" y="255746"/>
                    <a:pt x="1736884" y="256699"/>
                  </a:cubicBezTo>
                  <a:cubicBezTo>
                    <a:pt x="1735931" y="253841"/>
                    <a:pt x="1735931" y="252889"/>
                    <a:pt x="1735931" y="252889"/>
                  </a:cubicBezTo>
                  <a:cubicBezTo>
                    <a:pt x="1735931" y="252889"/>
                    <a:pt x="1735931" y="254794"/>
                    <a:pt x="1735931" y="257651"/>
                  </a:cubicBezTo>
                  <a:cubicBezTo>
                    <a:pt x="1734979" y="259556"/>
                    <a:pt x="1734026" y="261461"/>
                    <a:pt x="1733074" y="264319"/>
                  </a:cubicBezTo>
                  <a:cubicBezTo>
                    <a:pt x="1731169" y="270034"/>
                    <a:pt x="1729264" y="276701"/>
                    <a:pt x="1727359" y="283369"/>
                  </a:cubicBezTo>
                  <a:cubicBezTo>
                    <a:pt x="1725454" y="288131"/>
                    <a:pt x="1723549" y="293846"/>
                    <a:pt x="1722596" y="299561"/>
                  </a:cubicBezTo>
                  <a:cubicBezTo>
                    <a:pt x="1720691" y="278606"/>
                    <a:pt x="1718786" y="267176"/>
                    <a:pt x="1718786" y="267176"/>
                  </a:cubicBezTo>
                  <a:cubicBezTo>
                    <a:pt x="1718786" y="267176"/>
                    <a:pt x="1717834" y="286226"/>
                    <a:pt x="1716881" y="317659"/>
                  </a:cubicBezTo>
                  <a:cubicBezTo>
                    <a:pt x="1716881" y="317659"/>
                    <a:pt x="1716881" y="318611"/>
                    <a:pt x="1716881" y="318611"/>
                  </a:cubicBezTo>
                  <a:cubicBezTo>
                    <a:pt x="1715929" y="317659"/>
                    <a:pt x="1715929" y="316706"/>
                    <a:pt x="1714976" y="316706"/>
                  </a:cubicBezTo>
                  <a:cubicBezTo>
                    <a:pt x="1712119" y="307181"/>
                    <a:pt x="1710214" y="297656"/>
                    <a:pt x="1707356" y="288131"/>
                  </a:cubicBezTo>
                  <a:cubicBezTo>
                    <a:pt x="1708309" y="270034"/>
                    <a:pt x="1709261" y="252889"/>
                    <a:pt x="1709261" y="237649"/>
                  </a:cubicBezTo>
                  <a:cubicBezTo>
                    <a:pt x="1711166" y="192881"/>
                    <a:pt x="1710214" y="163354"/>
                    <a:pt x="1710214" y="163354"/>
                  </a:cubicBezTo>
                  <a:cubicBezTo>
                    <a:pt x="1710214" y="163354"/>
                    <a:pt x="1705451" y="189071"/>
                    <a:pt x="1698784" y="229076"/>
                  </a:cubicBezTo>
                  <a:cubicBezTo>
                    <a:pt x="1696879" y="219551"/>
                    <a:pt x="1695926" y="210979"/>
                    <a:pt x="1694021" y="203359"/>
                  </a:cubicBezTo>
                  <a:cubicBezTo>
                    <a:pt x="1695926" y="191929"/>
                    <a:pt x="1697831" y="180499"/>
                    <a:pt x="1699736" y="170021"/>
                  </a:cubicBezTo>
                  <a:cubicBezTo>
                    <a:pt x="1702594" y="151924"/>
                    <a:pt x="1705451" y="134779"/>
                    <a:pt x="1706404" y="119539"/>
                  </a:cubicBezTo>
                  <a:cubicBezTo>
                    <a:pt x="1708309" y="104299"/>
                    <a:pt x="1709261" y="91916"/>
                    <a:pt x="1710214" y="80486"/>
                  </a:cubicBezTo>
                  <a:cubicBezTo>
                    <a:pt x="1712119" y="59531"/>
                    <a:pt x="1713071" y="47149"/>
                    <a:pt x="1713071" y="47149"/>
                  </a:cubicBezTo>
                  <a:cubicBezTo>
                    <a:pt x="1713071" y="47149"/>
                    <a:pt x="1710214" y="59531"/>
                    <a:pt x="1706404" y="80486"/>
                  </a:cubicBezTo>
                  <a:cubicBezTo>
                    <a:pt x="1704499" y="90964"/>
                    <a:pt x="1701641" y="104299"/>
                    <a:pt x="1698784" y="118586"/>
                  </a:cubicBezTo>
                  <a:cubicBezTo>
                    <a:pt x="1695926" y="133826"/>
                    <a:pt x="1692116" y="150019"/>
                    <a:pt x="1688306" y="168116"/>
                  </a:cubicBezTo>
                  <a:cubicBezTo>
                    <a:pt x="1688306" y="169069"/>
                    <a:pt x="1687354" y="170974"/>
                    <a:pt x="1687354" y="171926"/>
                  </a:cubicBezTo>
                  <a:cubicBezTo>
                    <a:pt x="1685449" y="164306"/>
                    <a:pt x="1684496" y="160496"/>
                    <a:pt x="1684496" y="160496"/>
                  </a:cubicBezTo>
                  <a:cubicBezTo>
                    <a:pt x="1684496" y="160496"/>
                    <a:pt x="1684496" y="167164"/>
                    <a:pt x="1685449" y="179546"/>
                  </a:cubicBezTo>
                  <a:cubicBezTo>
                    <a:pt x="1684496" y="185261"/>
                    <a:pt x="1682591" y="191929"/>
                    <a:pt x="1681639" y="197644"/>
                  </a:cubicBezTo>
                  <a:cubicBezTo>
                    <a:pt x="1680686" y="195739"/>
                    <a:pt x="1680686" y="194786"/>
                    <a:pt x="1680686" y="192881"/>
                  </a:cubicBezTo>
                  <a:cubicBezTo>
                    <a:pt x="1681639" y="186214"/>
                    <a:pt x="1681639" y="180499"/>
                    <a:pt x="1681639" y="174784"/>
                  </a:cubicBezTo>
                  <a:cubicBezTo>
                    <a:pt x="1681639" y="162401"/>
                    <a:pt x="1682591" y="151924"/>
                    <a:pt x="1682591" y="143351"/>
                  </a:cubicBezTo>
                  <a:cubicBezTo>
                    <a:pt x="1682591" y="126206"/>
                    <a:pt x="1683544" y="115729"/>
                    <a:pt x="1683544" y="115729"/>
                  </a:cubicBezTo>
                  <a:cubicBezTo>
                    <a:pt x="1683544" y="115729"/>
                    <a:pt x="1681639" y="125254"/>
                    <a:pt x="1678781" y="143351"/>
                  </a:cubicBezTo>
                  <a:cubicBezTo>
                    <a:pt x="1677829" y="151924"/>
                    <a:pt x="1675924" y="162401"/>
                    <a:pt x="1674019" y="174784"/>
                  </a:cubicBezTo>
                  <a:cubicBezTo>
                    <a:pt x="1672114" y="187166"/>
                    <a:pt x="1669256" y="200501"/>
                    <a:pt x="1666399" y="215741"/>
                  </a:cubicBezTo>
                  <a:cubicBezTo>
                    <a:pt x="1665446" y="220504"/>
                    <a:pt x="1664494" y="226219"/>
                    <a:pt x="1663541" y="231934"/>
                  </a:cubicBezTo>
                  <a:cubicBezTo>
                    <a:pt x="1662589" y="228124"/>
                    <a:pt x="1661636" y="225266"/>
                    <a:pt x="1661636" y="225266"/>
                  </a:cubicBezTo>
                  <a:cubicBezTo>
                    <a:pt x="1661636" y="225266"/>
                    <a:pt x="1661636" y="229076"/>
                    <a:pt x="1662589" y="236696"/>
                  </a:cubicBezTo>
                  <a:cubicBezTo>
                    <a:pt x="1661636" y="242411"/>
                    <a:pt x="1660684" y="248126"/>
                    <a:pt x="1659731" y="253841"/>
                  </a:cubicBezTo>
                  <a:cubicBezTo>
                    <a:pt x="1659731" y="252889"/>
                    <a:pt x="1658779" y="251936"/>
                    <a:pt x="1658779" y="251936"/>
                  </a:cubicBezTo>
                  <a:cubicBezTo>
                    <a:pt x="1654969" y="240506"/>
                    <a:pt x="1650206" y="230981"/>
                    <a:pt x="1646396" y="223361"/>
                  </a:cubicBezTo>
                  <a:cubicBezTo>
                    <a:pt x="1645444" y="220504"/>
                    <a:pt x="1643539" y="218599"/>
                    <a:pt x="1642586" y="215741"/>
                  </a:cubicBezTo>
                  <a:cubicBezTo>
                    <a:pt x="1642586" y="210979"/>
                    <a:pt x="1642586" y="207169"/>
                    <a:pt x="1642586" y="202406"/>
                  </a:cubicBezTo>
                  <a:cubicBezTo>
                    <a:pt x="1641634" y="186214"/>
                    <a:pt x="1641634" y="170021"/>
                    <a:pt x="1640681" y="154781"/>
                  </a:cubicBezTo>
                  <a:cubicBezTo>
                    <a:pt x="1639729" y="139541"/>
                    <a:pt x="1637824" y="125254"/>
                    <a:pt x="1635919" y="111919"/>
                  </a:cubicBezTo>
                  <a:cubicBezTo>
                    <a:pt x="1630204" y="58579"/>
                    <a:pt x="1624489" y="23336"/>
                    <a:pt x="1624489" y="23336"/>
                  </a:cubicBezTo>
                  <a:cubicBezTo>
                    <a:pt x="1624489" y="23336"/>
                    <a:pt x="1623536" y="58579"/>
                    <a:pt x="1624489" y="111919"/>
                  </a:cubicBezTo>
                  <a:cubicBezTo>
                    <a:pt x="1624489" y="125254"/>
                    <a:pt x="1624489" y="139541"/>
                    <a:pt x="1625441" y="154781"/>
                  </a:cubicBezTo>
                  <a:cubicBezTo>
                    <a:pt x="1626394" y="170021"/>
                    <a:pt x="1624489" y="186214"/>
                    <a:pt x="1625441" y="202406"/>
                  </a:cubicBezTo>
                  <a:cubicBezTo>
                    <a:pt x="1625441" y="210026"/>
                    <a:pt x="1625441" y="217646"/>
                    <a:pt x="1625441" y="225266"/>
                  </a:cubicBezTo>
                  <a:cubicBezTo>
                    <a:pt x="1625441" y="227171"/>
                    <a:pt x="1625441" y="229076"/>
                    <a:pt x="1625441" y="230981"/>
                  </a:cubicBezTo>
                  <a:cubicBezTo>
                    <a:pt x="1624489" y="230029"/>
                    <a:pt x="1624489" y="228124"/>
                    <a:pt x="1623536" y="227171"/>
                  </a:cubicBezTo>
                  <a:cubicBezTo>
                    <a:pt x="1620679" y="211931"/>
                    <a:pt x="1619726" y="203359"/>
                    <a:pt x="1619726" y="203359"/>
                  </a:cubicBezTo>
                  <a:cubicBezTo>
                    <a:pt x="1619726" y="203359"/>
                    <a:pt x="1619726" y="208121"/>
                    <a:pt x="1619726" y="217646"/>
                  </a:cubicBezTo>
                  <a:cubicBezTo>
                    <a:pt x="1613059" y="201454"/>
                    <a:pt x="1608296" y="190976"/>
                    <a:pt x="1608296" y="190976"/>
                  </a:cubicBezTo>
                  <a:cubicBezTo>
                    <a:pt x="1608296" y="190976"/>
                    <a:pt x="1612106" y="207169"/>
                    <a:pt x="1619726" y="233839"/>
                  </a:cubicBezTo>
                  <a:cubicBezTo>
                    <a:pt x="1619726" y="236696"/>
                    <a:pt x="1619726" y="239554"/>
                    <a:pt x="1619726" y="242411"/>
                  </a:cubicBezTo>
                  <a:cubicBezTo>
                    <a:pt x="1615916" y="236696"/>
                    <a:pt x="1613059" y="233839"/>
                    <a:pt x="1613059" y="233839"/>
                  </a:cubicBezTo>
                  <a:cubicBezTo>
                    <a:pt x="1613059" y="233839"/>
                    <a:pt x="1614964" y="238601"/>
                    <a:pt x="1619726" y="247174"/>
                  </a:cubicBezTo>
                  <a:cubicBezTo>
                    <a:pt x="1616869" y="250984"/>
                    <a:pt x="1614011" y="256699"/>
                    <a:pt x="1610201" y="264319"/>
                  </a:cubicBezTo>
                  <a:cubicBezTo>
                    <a:pt x="1609249" y="266224"/>
                    <a:pt x="1608296" y="268129"/>
                    <a:pt x="1607344" y="270034"/>
                  </a:cubicBezTo>
                  <a:cubicBezTo>
                    <a:pt x="1607344" y="269081"/>
                    <a:pt x="1606391" y="269081"/>
                    <a:pt x="1606391" y="269081"/>
                  </a:cubicBezTo>
                  <a:cubicBezTo>
                    <a:pt x="1606391" y="269081"/>
                    <a:pt x="1606391" y="269081"/>
                    <a:pt x="1607344" y="270034"/>
                  </a:cubicBezTo>
                  <a:cubicBezTo>
                    <a:pt x="1605439" y="273844"/>
                    <a:pt x="1603534" y="277654"/>
                    <a:pt x="1601629" y="282416"/>
                  </a:cubicBezTo>
                  <a:cubicBezTo>
                    <a:pt x="1601629" y="277654"/>
                    <a:pt x="1600676" y="273844"/>
                    <a:pt x="1600676" y="269081"/>
                  </a:cubicBezTo>
                  <a:cubicBezTo>
                    <a:pt x="1598771" y="243364"/>
                    <a:pt x="1596866" y="221456"/>
                    <a:pt x="1595914" y="207169"/>
                  </a:cubicBezTo>
                  <a:cubicBezTo>
                    <a:pt x="1594961" y="191929"/>
                    <a:pt x="1594009" y="183356"/>
                    <a:pt x="1594009" y="183356"/>
                  </a:cubicBezTo>
                  <a:cubicBezTo>
                    <a:pt x="1594009" y="183356"/>
                    <a:pt x="1593056" y="191929"/>
                    <a:pt x="1592104" y="207169"/>
                  </a:cubicBezTo>
                  <a:cubicBezTo>
                    <a:pt x="1592104" y="212884"/>
                    <a:pt x="1591151" y="219551"/>
                    <a:pt x="1591151" y="227171"/>
                  </a:cubicBezTo>
                  <a:cubicBezTo>
                    <a:pt x="1589246" y="216694"/>
                    <a:pt x="1586389" y="207169"/>
                    <a:pt x="1583531" y="197644"/>
                  </a:cubicBezTo>
                  <a:cubicBezTo>
                    <a:pt x="1581626" y="190976"/>
                    <a:pt x="1579721" y="185261"/>
                    <a:pt x="1578769" y="179546"/>
                  </a:cubicBezTo>
                  <a:cubicBezTo>
                    <a:pt x="1576864" y="173831"/>
                    <a:pt x="1574959" y="168116"/>
                    <a:pt x="1573054" y="163354"/>
                  </a:cubicBezTo>
                  <a:cubicBezTo>
                    <a:pt x="1569244" y="152876"/>
                    <a:pt x="1566386" y="144304"/>
                    <a:pt x="1563529" y="137636"/>
                  </a:cubicBezTo>
                  <a:cubicBezTo>
                    <a:pt x="1556861" y="123349"/>
                    <a:pt x="1554004" y="115729"/>
                    <a:pt x="1554004" y="115729"/>
                  </a:cubicBezTo>
                  <a:cubicBezTo>
                    <a:pt x="1554004" y="115729"/>
                    <a:pt x="1555909" y="124301"/>
                    <a:pt x="1560671" y="138589"/>
                  </a:cubicBezTo>
                  <a:cubicBezTo>
                    <a:pt x="1562576" y="146209"/>
                    <a:pt x="1564481" y="154781"/>
                    <a:pt x="1567339" y="165259"/>
                  </a:cubicBezTo>
                  <a:cubicBezTo>
                    <a:pt x="1568291" y="170021"/>
                    <a:pt x="1569244" y="175736"/>
                    <a:pt x="1571149" y="181451"/>
                  </a:cubicBezTo>
                  <a:cubicBezTo>
                    <a:pt x="1572101" y="187166"/>
                    <a:pt x="1573054" y="192881"/>
                    <a:pt x="1574006" y="199549"/>
                  </a:cubicBezTo>
                  <a:cubicBezTo>
                    <a:pt x="1576864" y="211931"/>
                    <a:pt x="1577816" y="226219"/>
                    <a:pt x="1579721" y="240506"/>
                  </a:cubicBezTo>
                  <a:cubicBezTo>
                    <a:pt x="1581626" y="253841"/>
                    <a:pt x="1582579" y="269081"/>
                    <a:pt x="1584484" y="283369"/>
                  </a:cubicBezTo>
                  <a:cubicBezTo>
                    <a:pt x="1581626" y="274796"/>
                    <a:pt x="1579721" y="266224"/>
                    <a:pt x="1576864" y="258604"/>
                  </a:cubicBezTo>
                  <a:cubicBezTo>
                    <a:pt x="1575911" y="255746"/>
                    <a:pt x="1574959" y="252889"/>
                    <a:pt x="1573054" y="249079"/>
                  </a:cubicBezTo>
                  <a:cubicBezTo>
                    <a:pt x="1573054" y="249079"/>
                    <a:pt x="1573054" y="248126"/>
                    <a:pt x="1573054" y="247174"/>
                  </a:cubicBezTo>
                  <a:cubicBezTo>
                    <a:pt x="1573054" y="243364"/>
                    <a:pt x="1573054" y="238601"/>
                    <a:pt x="1572101" y="234791"/>
                  </a:cubicBezTo>
                  <a:cubicBezTo>
                    <a:pt x="1571149" y="221456"/>
                    <a:pt x="1569244" y="209074"/>
                    <a:pt x="1567339" y="198596"/>
                  </a:cubicBezTo>
                  <a:cubicBezTo>
                    <a:pt x="1566386" y="192881"/>
                    <a:pt x="1564481" y="188119"/>
                    <a:pt x="1563529" y="184309"/>
                  </a:cubicBezTo>
                  <a:cubicBezTo>
                    <a:pt x="1561624" y="179546"/>
                    <a:pt x="1560671" y="175736"/>
                    <a:pt x="1558766" y="171926"/>
                  </a:cubicBezTo>
                  <a:cubicBezTo>
                    <a:pt x="1555909" y="164306"/>
                    <a:pt x="1553051" y="159544"/>
                    <a:pt x="1550194" y="155734"/>
                  </a:cubicBezTo>
                  <a:cubicBezTo>
                    <a:pt x="1548289" y="151924"/>
                    <a:pt x="1546384" y="150019"/>
                    <a:pt x="1546384" y="150019"/>
                  </a:cubicBezTo>
                  <a:cubicBezTo>
                    <a:pt x="1546384" y="150019"/>
                    <a:pt x="1547336" y="151924"/>
                    <a:pt x="1549241" y="155734"/>
                  </a:cubicBezTo>
                  <a:cubicBezTo>
                    <a:pt x="1551146" y="159544"/>
                    <a:pt x="1553051" y="165259"/>
                    <a:pt x="1554956" y="171926"/>
                  </a:cubicBezTo>
                  <a:cubicBezTo>
                    <a:pt x="1555909" y="175736"/>
                    <a:pt x="1556861" y="179546"/>
                    <a:pt x="1557814" y="184309"/>
                  </a:cubicBezTo>
                  <a:cubicBezTo>
                    <a:pt x="1557814" y="189071"/>
                    <a:pt x="1558766" y="193834"/>
                    <a:pt x="1559719" y="198596"/>
                  </a:cubicBezTo>
                  <a:cubicBezTo>
                    <a:pt x="1559719" y="203359"/>
                    <a:pt x="1560671" y="208121"/>
                    <a:pt x="1560671" y="213836"/>
                  </a:cubicBezTo>
                  <a:cubicBezTo>
                    <a:pt x="1560671" y="214789"/>
                    <a:pt x="1560671" y="215741"/>
                    <a:pt x="1559719" y="216694"/>
                  </a:cubicBezTo>
                  <a:cubicBezTo>
                    <a:pt x="1558766" y="213836"/>
                    <a:pt x="1556861" y="210979"/>
                    <a:pt x="1555909" y="208121"/>
                  </a:cubicBezTo>
                  <a:cubicBezTo>
                    <a:pt x="1554004" y="203359"/>
                    <a:pt x="1551146" y="199549"/>
                    <a:pt x="1549241" y="194786"/>
                  </a:cubicBezTo>
                  <a:cubicBezTo>
                    <a:pt x="1545431" y="186214"/>
                    <a:pt x="1541621" y="179546"/>
                    <a:pt x="1537811" y="173831"/>
                  </a:cubicBezTo>
                  <a:cubicBezTo>
                    <a:pt x="1530191" y="162401"/>
                    <a:pt x="1526381" y="156686"/>
                    <a:pt x="1526381" y="156686"/>
                  </a:cubicBezTo>
                  <a:cubicBezTo>
                    <a:pt x="1526381" y="156686"/>
                    <a:pt x="1529239" y="163354"/>
                    <a:pt x="1534001" y="175736"/>
                  </a:cubicBezTo>
                  <a:cubicBezTo>
                    <a:pt x="1536859" y="181451"/>
                    <a:pt x="1539716" y="189071"/>
                    <a:pt x="1542574" y="197644"/>
                  </a:cubicBezTo>
                  <a:cubicBezTo>
                    <a:pt x="1543526" y="201454"/>
                    <a:pt x="1545431" y="205264"/>
                    <a:pt x="1546384" y="209074"/>
                  </a:cubicBezTo>
                  <a:cubicBezTo>
                    <a:pt x="1546384" y="208121"/>
                    <a:pt x="1545431" y="208121"/>
                    <a:pt x="1545431" y="208121"/>
                  </a:cubicBezTo>
                  <a:cubicBezTo>
                    <a:pt x="1545431" y="208121"/>
                    <a:pt x="1546384" y="209074"/>
                    <a:pt x="1546384" y="210979"/>
                  </a:cubicBezTo>
                  <a:cubicBezTo>
                    <a:pt x="1548289" y="215741"/>
                    <a:pt x="1549241" y="220504"/>
                    <a:pt x="1551146" y="226219"/>
                  </a:cubicBezTo>
                  <a:cubicBezTo>
                    <a:pt x="1552099" y="228124"/>
                    <a:pt x="1552099" y="229076"/>
                    <a:pt x="1552099" y="230981"/>
                  </a:cubicBezTo>
                  <a:cubicBezTo>
                    <a:pt x="1552099" y="232886"/>
                    <a:pt x="1553051" y="233839"/>
                    <a:pt x="1553051" y="235744"/>
                  </a:cubicBezTo>
                  <a:cubicBezTo>
                    <a:pt x="1553051" y="237649"/>
                    <a:pt x="1553051" y="239554"/>
                    <a:pt x="1554004" y="241459"/>
                  </a:cubicBezTo>
                  <a:cubicBezTo>
                    <a:pt x="1554004" y="242411"/>
                    <a:pt x="1554004" y="243364"/>
                    <a:pt x="1554004" y="244316"/>
                  </a:cubicBezTo>
                  <a:cubicBezTo>
                    <a:pt x="1554004" y="246221"/>
                    <a:pt x="1553051" y="248126"/>
                    <a:pt x="1553051" y="250031"/>
                  </a:cubicBezTo>
                  <a:cubicBezTo>
                    <a:pt x="1551146" y="253841"/>
                    <a:pt x="1549241" y="257651"/>
                    <a:pt x="1547336" y="263366"/>
                  </a:cubicBezTo>
                  <a:cubicBezTo>
                    <a:pt x="1545431" y="258604"/>
                    <a:pt x="1543526" y="254794"/>
                    <a:pt x="1542574" y="251936"/>
                  </a:cubicBezTo>
                  <a:cubicBezTo>
                    <a:pt x="1542574" y="249079"/>
                    <a:pt x="1542574" y="245269"/>
                    <a:pt x="1542574" y="243364"/>
                  </a:cubicBezTo>
                  <a:cubicBezTo>
                    <a:pt x="1542574" y="230029"/>
                    <a:pt x="1542574" y="222409"/>
                    <a:pt x="1542574" y="222409"/>
                  </a:cubicBezTo>
                  <a:cubicBezTo>
                    <a:pt x="1542574" y="222409"/>
                    <a:pt x="1541621" y="230029"/>
                    <a:pt x="1538764" y="243364"/>
                  </a:cubicBezTo>
                  <a:cubicBezTo>
                    <a:pt x="1538764" y="243364"/>
                    <a:pt x="1538764" y="243364"/>
                    <a:pt x="1538764" y="243364"/>
                  </a:cubicBezTo>
                  <a:cubicBezTo>
                    <a:pt x="1534001" y="232886"/>
                    <a:pt x="1531144" y="226219"/>
                    <a:pt x="1531144" y="226219"/>
                  </a:cubicBezTo>
                  <a:cubicBezTo>
                    <a:pt x="1531144" y="226219"/>
                    <a:pt x="1533049" y="234791"/>
                    <a:pt x="1537811" y="250031"/>
                  </a:cubicBezTo>
                  <a:cubicBezTo>
                    <a:pt x="1537811" y="252889"/>
                    <a:pt x="1536859" y="255746"/>
                    <a:pt x="1536859" y="258604"/>
                  </a:cubicBezTo>
                  <a:cubicBezTo>
                    <a:pt x="1534954" y="251936"/>
                    <a:pt x="1533049" y="245269"/>
                    <a:pt x="1531144" y="239554"/>
                  </a:cubicBezTo>
                  <a:cubicBezTo>
                    <a:pt x="1529239" y="232886"/>
                    <a:pt x="1527334" y="227171"/>
                    <a:pt x="1525429" y="220504"/>
                  </a:cubicBezTo>
                  <a:cubicBezTo>
                    <a:pt x="1524476" y="217646"/>
                    <a:pt x="1523524" y="214789"/>
                    <a:pt x="1521619" y="211931"/>
                  </a:cubicBezTo>
                  <a:cubicBezTo>
                    <a:pt x="1518761" y="173831"/>
                    <a:pt x="1515904" y="150019"/>
                    <a:pt x="1515904" y="150019"/>
                  </a:cubicBezTo>
                  <a:cubicBezTo>
                    <a:pt x="1515904" y="150019"/>
                    <a:pt x="1514951" y="166211"/>
                    <a:pt x="1513046" y="192881"/>
                  </a:cubicBezTo>
                  <a:cubicBezTo>
                    <a:pt x="1510189" y="187166"/>
                    <a:pt x="1508284" y="182404"/>
                    <a:pt x="1506379" y="177641"/>
                  </a:cubicBezTo>
                  <a:cubicBezTo>
                    <a:pt x="1499711" y="163354"/>
                    <a:pt x="1495901" y="154781"/>
                    <a:pt x="1495901" y="154781"/>
                  </a:cubicBezTo>
                  <a:cubicBezTo>
                    <a:pt x="1495901" y="154781"/>
                    <a:pt x="1497806" y="163354"/>
                    <a:pt x="1502569" y="178594"/>
                  </a:cubicBezTo>
                  <a:cubicBezTo>
                    <a:pt x="1503521" y="182404"/>
                    <a:pt x="1504474" y="186214"/>
                    <a:pt x="1505426" y="190024"/>
                  </a:cubicBezTo>
                  <a:cubicBezTo>
                    <a:pt x="1505426" y="189071"/>
                    <a:pt x="1504474" y="189071"/>
                    <a:pt x="1504474" y="189071"/>
                  </a:cubicBezTo>
                  <a:cubicBezTo>
                    <a:pt x="1504474" y="189071"/>
                    <a:pt x="1506379" y="196691"/>
                    <a:pt x="1510189" y="210026"/>
                  </a:cubicBezTo>
                  <a:cubicBezTo>
                    <a:pt x="1510189" y="210979"/>
                    <a:pt x="1511141" y="212884"/>
                    <a:pt x="1511141" y="213836"/>
                  </a:cubicBezTo>
                  <a:cubicBezTo>
                    <a:pt x="1511141" y="220504"/>
                    <a:pt x="1510189" y="227171"/>
                    <a:pt x="1510189" y="233839"/>
                  </a:cubicBezTo>
                  <a:cubicBezTo>
                    <a:pt x="1510189" y="241459"/>
                    <a:pt x="1509236" y="250031"/>
                    <a:pt x="1509236" y="258604"/>
                  </a:cubicBezTo>
                  <a:cubicBezTo>
                    <a:pt x="1503521" y="241459"/>
                    <a:pt x="1498759" y="230981"/>
                    <a:pt x="1498759" y="230981"/>
                  </a:cubicBezTo>
                  <a:cubicBezTo>
                    <a:pt x="1498759" y="230981"/>
                    <a:pt x="1501616" y="248126"/>
                    <a:pt x="1508284" y="275749"/>
                  </a:cubicBezTo>
                  <a:cubicBezTo>
                    <a:pt x="1508284" y="279559"/>
                    <a:pt x="1508284" y="283369"/>
                    <a:pt x="1507331" y="288131"/>
                  </a:cubicBezTo>
                  <a:cubicBezTo>
                    <a:pt x="1506379" y="290036"/>
                    <a:pt x="1505426" y="290989"/>
                    <a:pt x="1504474" y="292894"/>
                  </a:cubicBezTo>
                  <a:cubicBezTo>
                    <a:pt x="1503521" y="294799"/>
                    <a:pt x="1501616" y="296704"/>
                    <a:pt x="1500664" y="298609"/>
                  </a:cubicBezTo>
                  <a:cubicBezTo>
                    <a:pt x="1497806" y="287179"/>
                    <a:pt x="1495901" y="275749"/>
                    <a:pt x="1493044" y="266224"/>
                  </a:cubicBezTo>
                  <a:cubicBezTo>
                    <a:pt x="1495901" y="253841"/>
                    <a:pt x="1497806" y="246221"/>
                    <a:pt x="1497806" y="246221"/>
                  </a:cubicBezTo>
                  <a:cubicBezTo>
                    <a:pt x="1497806" y="246221"/>
                    <a:pt x="1495901" y="251936"/>
                    <a:pt x="1491139" y="260509"/>
                  </a:cubicBezTo>
                  <a:cubicBezTo>
                    <a:pt x="1491139" y="260509"/>
                    <a:pt x="1491139" y="259556"/>
                    <a:pt x="1491139" y="259556"/>
                  </a:cubicBezTo>
                  <a:cubicBezTo>
                    <a:pt x="1491139" y="253841"/>
                    <a:pt x="1490186" y="249079"/>
                    <a:pt x="1490186" y="244316"/>
                  </a:cubicBezTo>
                  <a:cubicBezTo>
                    <a:pt x="1490186" y="242411"/>
                    <a:pt x="1490186" y="240506"/>
                    <a:pt x="1489234" y="238601"/>
                  </a:cubicBezTo>
                  <a:cubicBezTo>
                    <a:pt x="1489234" y="237649"/>
                    <a:pt x="1489234" y="237649"/>
                    <a:pt x="1489234" y="237649"/>
                  </a:cubicBezTo>
                  <a:cubicBezTo>
                    <a:pt x="1489234" y="237649"/>
                    <a:pt x="1489234" y="237649"/>
                    <a:pt x="1489234" y="238601"/>
                  </a:cubicBezTo>
                  <a:cubicBezTo>
                    <a:pt x="1488281" y="230981"/>
                    <a:pt x="1488281" y="225266"/>
                    <a:pt x="1486376" y="219551"/>
                  </a:cubicBezTo>
                  <a:cubicBezTo>
                    <a:pt x="1483519" y="206216"/>
                    <a:pt x="1482566" y="198596"/>
                    <a:pt x="1482566" y="198596"/>
                  </a:cubicBezTo>
                  <a:cubicBezTo>
                    <a:pt x="1482566" y="198596"/>
                    <a:pt x="1482566" y="206216"/>
                    <a:pt x="1482566" y="220504"/>
                  </a:cubicBezTo>
                  <a:cubicBezTo>
                    <a:pt x="1482566" y="222409"/>
                    <a:pt x="1482566" y="225266"/>
                    <a:pt x="1482566" y="228124"/>
                  </a:cubicBezTo>
                  <a:cubicBezTo>
                    <a:pt x="1476851" y="206216"/>
                    <a:pt x="1473041" y="193834"/>
                    <a:pt x="1473041" y="193834"/>
                  </a:cubicBezTo>
                  <a:cubicBezTo>
                    <a:pt x="1473041" y="193834"/>
                    <a:pt x="1474946" y="220504"/>
                    <a:pt x="1479709" y="259556"/>
                  </a:cubicBezTo>
                  <a:cubicBezTo>
                    <a:pt x="1479709" y="260509"/>
                    <a:pt x="1478756" y="261461"/>
                    <a:pt x="1478756" y="262414"/>
                  </a:cubicBezTo>
                  <a:cubicBezTo>
                    <a:pt x="1477804" y="263366"/>
                    <a:pt x="1477804" y="265271"/>
                    <a:pt x="1476851" y="266224"/>
                  </a:cubicBezTo>
                  <a:cubicBezTo>
                    <a:pt x="1476851" y="263366"/>
                    <a:pt x="1475899" y="260509"/>
                    <a:pt x="1475899" y="257651"/>
                  </a:cubicBezTo>
                  <a:cubicBezTo>
                    <a:pt x="1473994" y="244316"/>
                    <a:pt x="1473041" y="232886"/>
                    <a:pt x="1471136" y="221456"/>
                  </a:cubicBezTo>
                  <a:cubicBezTo>
                    <a:pt x="1469231" y="210979"/>
                    <a:pt x="1468279" y="201454"/>
                    <a:pt x="1466374" y="193834"/>
                  </a:cubicBezTo>
                  <a:cubicBezTo>
                    <a:pt x="1462564" y="178594"/>
                    <a:pt x="1460659" y="170021"/>
                    <a:pt x="1460659" y="170021"/>
                  </a:cubicBezTo>
                  <a:cubicBezTo>
                    <a:pt x="1460659" y="170021"/>
                    <a:pt x="1461611" y="178594"/>
                    <a:pt x="1462564" y="193834"/>
                  </a:cubicBezTo>
                  <a:cubicBezTo>
                    <a:pt x="1463516" y="201454"/>
                    <a:pt x="1463516" y="210979"/>
                    <a:pt x="1464469" y="221456"/>
                  </a:cubicBezTo>
                  <a:cubicBezTo>
                    <a:pt x="1465421" y="231934"/>
                    <a:pt x="1465421" y="244316"/>
                    <a:pt x="1465421" y="257651"/>
                  </a:cubicBezTo>
                  <a:cubicBezTo>
                    <a:pt x="1465421" y="263366"/>
                    <a:pt x="1465421" y="269081"/>
                    <a:pt x="1465421" y="275749"/>
                  </a:cubicBezTo>
                  <a:cubicBezTo>
                    <a:pt x="1462564" y="265271"/>
                    <a:pt x="1458754" y="254794"/>
                    <a:pt x="1455896" y="246221"/>
                  </a:cubicBezTo>
                  <a:cubicBezTo>
                    <a:pt x="1453039" y="235744"/>
                    <a:pt x="1450181" y="226219"/>
                    <a:pt x="1447324" y="218599"/>
                  </a:cubicBezTo>
                  <a:cubicBezTo>
                    <a:pt x="1442561" y="203359"/>
                    <a:pt x="1439704" y="194786"/>
                    <a:pt x="1439704" y="194786"/>
                  </a:cubicBezTo>
                  <a:cubicBezTo>
                    <a:pt x="1439704" y="194786"/>
                    <a:pt x="1440656" y="202406"/>
                    <a:pt x="1442561" y="215741"/>
                  </a:cubicBezTo>
                  <a:cubicBezTo>
                    <a:pt x="1439704" y="203359"/>
                    <a:pt x="1437799" y="193834"/>
                    <a:pt x="1435894" y="185261"/>
                  </a:cubicBezTo>
                  <a:cubicBezTo>
                    <a:pt x="1435894" y="169069"/>
                    <a:pt x="1435894" y="159544"/>
                    <a:pt x="1435894" y="159544"/>
                  </a:cubicBezTo>
                  <a:cubicBezTo>
                    <a:pt x="1435894" y="159544"/>
                    <a:pt x="1434941" y="164306"/>
                    <a:pt x="1433036" y="173831"/>
                  </a:cubicBezTo>
                  <a:cubicBezTo>
                    <a:pt x="1431131" y="165259"/>
                    <a:pt x="1430179" y="160496"/>
                    <a:pt x="1430179" y="160496"/>
                  </a:cubicBezTo>
                  <a:cubicBezTo>
                    <a:pt x="1430179" y="160496"/>
                    <a:pt x="1430179" y="162401"/>
                    <a:pt x="1430179" y="166211"/>
                  </a:cubicBezTo>
                  <a:cubicBezTo>
                    <a:pt x="1428274" y="158591"/>
                    <a:pt x="1427321" y="151924"/>
                    <a:pt x="1425416" y="147161"/>
                  </a:cubicBezTo>
                  <a:cubicBezTo>
                    <a:pt x="1421606" y="134779"/>
                    <a:pt x="1418749" y="127159"/>
                    <a:pt x="1418749" y="127159"/>
                  </a:cubicBezTo>
                  <a:cubicBezTo>
                    <a:pt x="1418749" y="127159"/>
                    <a:pt x="1419701" y="134779"/>
                    <a:pt x="1421606" y="148114"/>
                  </a:cubicBezTo>
                  <a:cubicBezTo>
                    <a:pt x="1422559" y="154781"/>
                    <a:pt x="1423511" y="162401"/>
                    <a:pt x="1423511" y="171926"/>
                  </a:cubicBezTo>
                  <a:cubicBezTo>
                    <a:pt x="1424464" y="181451"/>
                    <a:pt x="1424464" y="190976"/>
                    <a:pt x="1425416" y="202406"/>
                  </a:cubicBezTo>
                  <a:cubicBezTo>
                    <a:pt x="1425416" y="208121"/>
                    <a:pt x="1426369" y="212884"/>
                    <a:pt x="1426369" y="218599"/>
                  </a:cubicBezTo>
                  <a:cubicBezTo>
                    <a:pt x="1425416" y="224314"/>
                    <a:pt x="1424464" y="230029"/>
                    <a:pt x="1424464" y="235744"/>
                  </a:cubicBezTo>
                  <a:cubicBezTo>
                    <a:pt x="1423511" y="231934"/>
                    <a:pt x="1422559" y="229076"/>
                    <a:pt x="1421606" y="226219"/>
                  </a:cubicBezTo>
                  <a:cubicBezTo>
                    <a:pt x="1419701" y="219551"/>
                    <a:pt x="1416844" y="214789"/>
                    <a:pt x="1415891" y="210026"/>
                  </a:cubicBezTo>
                  <a:cubicBezTo>
                    <a:pt x="1412081" y="201454"/>
                    <a:pt x="1410176" y="195739"/>
                    <a:pt x="1410176" y="195739"/>
                  </a:cubicBezTo>
                  <a:cubicBezTo>
                    <a:pt x="1410176" y="195739"/>
                    <a:pt x="1411129" y="201454"/>
                    <a:pt x="1412081" y="210979"/>
                  </a:cubicBezTo>
                  <a:cubicBezTo>
                    <a:pt x="1413034" y="215741"/>
                    <a:pt x="1413986" y="221456"/>
                    <a:pt x="1414939" y="228124"/>
                  </a:cubicBezTo>
                  <a:cubicBezTo>
                    <a:pt x="1415891" y="234791"/>
                    <a:pt x="1416844" y="241459"/>
                    <a:pt x="1416844" y="250031"/>
                  </a:cubicBezTo>
                  <a:cubicBezTo>
                    <a:pt x="1416844" y="255746"/>
                    <a:pt x="1417796" y="261461"/>
                    <a:pt x="1418749" y="268129"/>
                  </a:cubicBezTo>
                  <a:cubicBezTo>
                    <a:pt x="1416844" y="270986"/>
                    <a:pt x="1414939" y="273844"/>
                    <a:pt x="1413034" y="277654"/>
                  </a:cubicBezTo>
                  <a:cubicBezTo>
                    <a:pt x="1412081" y="275749"/>
                    <a:pt x="1412081" y="273844"/>
                    <a:pt x="1411129" y="271939"/>
                  </a:cubicBezTo>
                  <a:cubicBezTo>
                    <a:pt x="1406366" y="237649"/>
                    <a:pt x="1401604" y="215741"/>
                    <a:pt x="1401604" y="215741"/>
                  </a:cubicBezTo>
                  <a:cubicBezTo>
                    <a:pt x="1401604" y="215741"/>
                    <a:pt x="1401604" y="226219"/>
                    <a:pt x="1400651" y="243364"/>
                  </a:cubicBezTo>
                  <a:cubicBezTo>
                    <a:pt x="1397794" y="233839"/>
                    <a:pt x="1394936" y="226219"/>
                    <a:pt x="1392079" y="219551"/>
                  </a:cubicBezTo>
                  <a:cubicBezTo>
                    <a:pt x="1392079" y="217646"/>
                    <a:pt x="1393031" y="215741"/>
                    <a:pt x="1393031" y="213836"/>
                  </a:cubicBezTo>
                  <a:cubicBezTo>
                    <a:pt x="1393984" y="212884"/>
                    <a:pt x="1394936" y="211931"/>
                    <a:pt x="1395889" y="210979"/>
                  </a:cubicBezTo>
                  <a:cubicBezTo>
                    <a:pt x="1399699" y="207169"/>
                    <a:pt x="1400651" y="205264"/>
                    <a:pt x="1400651" y="205264"/>
                  </a:cubicBezTo>
                  <a:cubicBezTo>
                    <a:pt x="1400651" y="205264"/>
                    <a:pt x="1398746" y="207169"/>
                    <a:pt x="1394936" y="210026"/>
                  </a:cubicBezTo>
                  <a:cubicBezTo>
                    <a:pt x="1394936" y="210026"/>
                    <a:pt x="1393984" y="210979"/>
                    <a:pt x="1393031" y="210979"/>
                  </a:cubicBezTo>
                  <a:cubicBezTo>
                    <a:pt x="1393984" y="205264"/>
                    <a:pt x="1394936" y="202406"/>
                    <a:pt x="1394936" y="202406"/>
                  </a:cubicBezTo>
                  <a:cubicBezTo>
                    <a:pt x="1394936" y="202406"/>
                    <a:pt x="1393031" y="206216"/>
                    <a:pt x="1391126" y="212884"/>
                  </a:cubicBezTo>
                  <a:cubicBezTo>
                    <a:pt x="1391126" y="212884"/>
                    <a:pt x="1390174" y="213836"/>
                    <a:pt x="1390174" y="213836"/>
                  </a:cubicBezTo>
                  <a:cubicBezTo>
                    <a:pt x="1386364" y="204311"/>
                    <a:pt x="1384459" y="199549"/>
                    <a:pt x="1384459" y="199549"/>
                  </a:cubicBezTo>
                  <a:cubicBezTo>
                    <a:pt x="1384459" y="199549"/>
                    <a:pt x="1385411" y="205264"/>
                    <a:pt x="1387316" y="215741"/>
                  </a:cubicBezTo>
                  <a:cubicBezTo>
                    <a:pt x="1384459" y="218599"/>
                    <a:pt x="1382554" y="220504"/>
                    <a:pt x="1378744" y="224314"/>
                  </a:cubicBezTo>
                  <a:cubicBezTo>
                    <a:pt x="1374934" y="229076"/>
                    <a:pt x="1371124" y="233839"/>
                    <a:pt x="1367314" y="240506"/>
                  </a:cubicBezTo>
                  <a:cubicBezTo>
                    <a:pt x="1363504" y="230029"/>
                    <a:pt x="1358741" y="219551"/>
                    <a:pt x="1354931" y="209074"/>
                  </a:cubicBezTo>
                  <a:cubicBezTo>
                    <a:pt x="1354931" y="199549"/>
                    <a:pt x="1354931" y="191929"/>
                    <a:pt x="1354931" y="185261"/>
                  </a:cubicBezTo>
                  <a:cubicBezTo>
                    <a:pt x="1354931" y="167164"/>
                    <a:pt x="1354931" y="157639"/>
                    <a:pt x="1354931" y="157639"/>
                  </a:cubicBezTo>
                  <a:cubicBezTo>
                    <a:pt x="1354931" y="157639"/>
                    <a:pt x="1353026" y="168116"/>
                    <a:pt x="1351121" y="185261"/>
                  </a:cubicBezTo>
                  <a:cubicBezTo>
                    <a:pt x="1350169" y="189071"/>
                    <a:pt x="1350169" y="192881"/>
                    <a:pt x="1349216" y="197644"/>
                  </a:cubicBezTo>
                  <a:cubicBezTo>
                    <a:pt x="1347311" y="193834"/>
                    <a:pt x="1345406" y="190024"/>
                    <a:pt x="1343501" y="186214"/>
                  </a:cubicBezTo>
                  <a:cubicBezTo>
                    <a:pt x="1343501" y="181451"/>
                    <a:pt x="1344454" y="175736"/>
                    <a:pt x="1344454" y="171926"/>
                  </a:cubicBezTo>
                  <a:cubicBezTo>
                    <a:pt x="1344454" y="166211"/>
                    <a:pt x="1344454" y="161449"/>
                    <a:pt x="1344454" y="157639"/>
                  </a:cubicBezTo>
                  <a:cubicBezTo>
                    <a:pt x="1344454" y="151924"/>
                    <a:pt x="1345406" y="147161"/>
                    <a:pt x="1345406" y="142399"/>
                  </a:cubicBezTo>
                  <a:cubicBezTo>
                    <a:pt x="1346359" y="129064"/>
                    <a:pt x="1346359" y="120491"/>
                    <a:pt x="1346359" y="120491"/>
                  </a:cubicBezTo>
                  <a:cubicBezTo>
                    <a:pt x="1346359" y="120491"/>
                    <a:pt x="1344454" y="128111"/>
                    <a:pt x="1341596" y="141446"/>
                  </a:cubicBezTo>
                  <a:cubicBezTo>
                    <a:pt x="1340644" y="148114"/>
                    <a:pt x="1338739" y="156686"/>
                    <a:pt x="1336834" y="166211"/>
                  </a:cubicBezTo>
                  <a:cubicBezTo>
                    <a:pt x="1336834" y="167164"/>
                    <a:pt x="1336834" y="168116"/>
                    <a:pt x="1335881" y="169069"/>
                  </a:cubicBezTo>
                  <a:cubicBezTo>
                    <a:pt x="1333024" y="162401"/>
                    <a:pt x="1330166" y="156686"/>
                    <a:pt x="1327309" y="150971"/>
                  </a:cubicBezTo>
                  <a:cubicBezTo>
                    <a:pt x="1299686" y="91916"/>
                    <a:pt x="1280636" y="53816"/>
                    <a:pt x="1280636" y="53816"/>
                  </a:cubicBezTo>
                  <a:cubicBezTo>
                    <a:pt x="1280636" y="53816"/>
                    <a:pt x="1293971" y="94774"/>
                    <a:pt x="1317784" y="155734"/>
                  </a:cubicBezTo>
                  <a:cubicBezTo>
                    <a:pt x="1322546" y="168116"/>
                    <a:pt x="1327309" y="180499"/>
                    <a:pt x="1332071" y="193834"/>
                  </a:cubicBezTo>
                  <a:cubicBezTo>
                    <a:pt x="1332071" y="195739"/>
                    <a:pt x="1332071" y="196691"/>
                    <a:pt x="1331119" y="197644"/>
                  </a:cubicBezTo>
                  <a:cubicBezTo>
                    <a:pt x="1329214" y="209074"/>
                    <a:pt x="1327309" y="222409"/>
                    <a:pt x="1326356" y="235744"/>
                  </a:cubicBezTo>
                  <a:cubicBezTo>
                    <a:pt x="1324451" y="249079"/>
                    <a:pt x="1323499" y="263366"/>
                    <a:pt x="1321594" y="277654"/>
                  </a:cubicBezTo>
                  <a:cubicBezTo>
                    <a:pt x="1321594" y="283369"/>
                    <a:pt x="1320641" y="288131"/>
                    <a:pt x="1319689" y="293846"/>
                  </a:cubicBezTo>
                  <a:cubicBezTo>
                    <a:pt x="1318736" y="292894"/>
                    <a:pt x="1318736" y="291941"/>
                    <a:pt x="1317784" y="290989"/>
                  </a:cubicBezTo>
                  <a:cubicBezTo>
                    <a:pt x="1317784" y="289084"/>
                    <a:pt x="1317784" y="289084"/>
                    <a:pt x="1317784" y="289084"/>
                  </a:cubicBezTo>
                  <a:cubicBezTo>
                    <a:pt x="1317784" y="289084"/>
                    <a:pt x="1317784" y="290036"/>
                    <a:pt x="1316831" y="290989"/>
                  </a:cubicBezTo>
                  <a:cubicBezTo>
                    <a:pt x="1316831" y="290036"/>
                    <a:pt x="1315879" y="289084"/>
                    <a:pt x="1315879" y="288131"/>
                  </a:cubicBezTo>
                  <a:cubicBezTo>
                    <a:pt x="1314926" y="287179"/>
                    <a:pt x="1314926" y="286226"/>
                    <a:pt x="1313974" y="285274"/>
                  </a:cubicBezTo>
                  <a:cubicBezTo>
                    <a:pt x="1315879" y="259556"/>
                    <a:pt x="1316831" y="244316"/>
                    <a:pt x="1316831" y="244316"/>
                  </a:cubicBezTo>
                  <a:cubicBezTo>
                    <a:pt x="1316831" y="244316"/>
                    <a:pt x="1313974" y="256699"/>
                    <a:pt x="1309211" y="277654"/>
                  </a:cubicBezTo>
                  <a:cubicBezTo>
                    <a:pt x="1305401" y="271939"/>
                    <a:pt x="1302544" y="266224"/>
                    <a:pt x="1298734" y="260509"/>
                  </a:cubicBezTo>
                  <a:cubicBezTo>
                    <a:pt x="1304449" y="235744"/>
                    <a:pt x="1310164" y="213836"/>
                    <a:pt x="1313974" y="199549"/>
                  </a:cubicBezTo>
                  <a:cubicBezTo>
                    <a:pt x="1317784" y="182404"/>
                    <a:pt x="1319689" y="172879"/>
                    <a:pt x="1319689" y="172879"/>
                  </a:cubicBezTo>
                  <a:cubicBezTo>
                    <a:pt x="1319689" y="172879"/>
                    <a:pt x="1307306" y="202406"/>
                    <a:pt x="1291114" y="249079"/>
                  </a:cubicBezTo>
                  <a:cubicBezTo>
                    <a:pt x="1287304" y="243364"/>
                    <a:pt x="1284446" y="238601"/>
                    <a:pt x="1281589" y="234791"/>
                  </a:cubicBezTo>
                  <a:cubicBezTo>
                    <a:pt x="1273016" y="222409"/>
                    <a:pt x="1267301" y="215741"/>
                    <a:pt x="1267301" y="215741"/>
                  </a:cubicBezTo>
                  <a:cubicBezTo>
                    <a:pt x="1267301" y="215741"/>
                    <a:pt x="1270159" y="222409"/>
                    <a:pt x="1275874" y="232886"/>
                  </a:cubicBezTo>
                  <a:cubicBezTo>
                    <a:pt x="1274921" y="234791"/>
                    <a:pt x="1273969" y="238601"/>
                    <a:pt x="1272064" y="243364"/>
                  </a:cubicBezTo>
                  <a:cubicBezTo>
                    <a:pt x="1268254" y="237649"/>
                    <a:pt x="1264444" y="231934"/>
                    <a:pt x="1261586" y="227171"/>
                  </a:cubicBezTo>
                  <a:cubicBezTo>
                    <a:pt x="1257776" y="221456"/>
                    <a:pt x="1253014" y="215741"/>
                    <a:pt x="1249204" y="210979"/>
                  </a:cubicBezTo>
                  <a:cubicBezTo>
                    <a:pt x="1248251" y="210026"/>
                    <a:pt x="1248251" y="209074"/>
                    <a:pt x="1247299" y="208121"/>
                  </a:cubicBezTo>
                  <a:cubicBezTo>
                    <a:pt x="1250156" y="203359"/>
                    <a:pt x="1251109" y="199549"/>
                    <a:pt x="1251109" y="199549"/>
                  </a:cubicBezTo>
                  <a:cubicBezTo>
                    <a:pt x="1251109" y="199549"/>
                    <a:pt x="1249204" y="202406"/>
                    <a:pt x="1246346" y="206216"/>
                  </a:cubicBezTo>
                  <a:cubicBezTo>
                    <a:pt x="1239679" y="197644"/>
                    <a:pt x="1233964" y="190024"/>
                    <a:pt x="1229201" y="184309"/>
                  </a:cubicBezTo>
                  <a:cubicBezTo>
                    <a:pt x="1217771" y="170974"/>
                    <a:pt x="1211104" y="162401"/>
                    <a:pt x="1211104" y="162401"/>
                  </a:cubicBezTo>
                  <a:cubicBezTo>
                    <a:pt x="1211104" y="162401"/>
                    <a:pt x="1216819" y="170974"/>
                    <a:pt x="1226344" y="186214"/>
                  </a:cubicBezTo>
                  <a:cubicBezTo>
                    <a:pt x="1231106" y="192881"/>
                    <a:pt x="1235869" y="202406"/>
                    <a:pt x="1242536" y="211931"/>
                  </a:cubicBezTo>
                  <a:cubicBezTo>
                    <a:pt x="1240631" y="214789"/>
                    <a:pt x="1238726" y="217646"/>
                    <a:pt x="1236821" y="220504"/>
                  </a:cubicBezTo>
                  <a:cubicBezTo>
                    <a:pt x="1235869" y="222409"/>
                    <a:pt x="1234916" y="224314"/>
                    <a:pt x="1233011" y="226219"/>
                  </a:cubicBezTo>
                  <a:cubicBezTo>
                    <a:pt x="1233011" y="221456"/>
                    <a:pt x="1232059" y="217646"/>
                    <a:pt x="1231106" y="212884"/>
                  </a:cubicBezTo>
                  <a:cubicBezTo>
                    <a:pt x="1231106" y="211931"/>
                    <a:pt x="1230154" y="210026"/>
                    <a:pt x="1228249" y="209074"/>
                  </a:cubicBezTo>
                  <a:cubicBezTo>
                    <a:pt x="1228249" y="209074"/>
                    <a:pt x="1227296" y="209074"/>
                    <a:pt x="1226344" y="209074"/>
                  </a:cubicBezTo>
                  <a:cubicBezTo>
                    <a:pt x="1225391" y="206216"/>
                    <a:pt x="1224439" y="202406"/>
                    <a:pt x="1223486" y="199549"/>
                  </a:cubicBezTo>
                  <a:cubicBezTo>
                    <a:pt x="1218724" y="187166"/>
                    <a:pt x="1215866" y="179546"/>
                    <a:pt x="1215866" y="179546"/>
                  </a:cubicBezTo>
                  <a:cubicBezTo>
                    <a:pt x="1215866" y="179546"/>
                    <a:pt x="1216819" y="187166"/>
                    <a:pt x="1219676" y="200501"/>
                  </a:cubicBezTo>
                  <a:cubicBezTo>
                    <a:pt x="1220629" y="204311"/>
                    <a:pt x="1220629" y="208121"/>
                    <a:pt x="1221581" y="211931"/>
                  </a:cubicBezTo>
                  <a:cubicBezTo>
                    <a:pt x="1221581" y="212884"/>
                    <a:pt x="1220629" y="212884"/>
                    <a:pt x="1220629" y="213836"/>
                  </a:cubicBezTo>
                  <a:cubicBezTo>
                    <a:pt x="1214914" y="208121"/>
                    <a:pt x="1211104" y="203359"/>
                    <a:pt x="1207294" y="200501"/>
                  </a:cubicBezTo>
                  <a:cubicBezTo>
                    <a:pt x="1203484" y="197644"/>
                    <a:pt x="1201579" y="195739"/>
                    <a:pt x="1201579" y="195739"/>
                  </a:cubicBezTo>
                  <a:cubicBezTo>
                    <a:pt x="1201579" y="195739"/>
                    <a:pt x="1203484" y="197644"/>
                    <a:pt x="1206341" y="201454"/>
                  </a:cubicBezTo>
                  <a:cubicBezTo>
                    <a:pt x="1209199" y="205264"/>
                    <a:pt x="1213009" y="210979"/>
                    <a:pt x="1217771" y="217646"/>
                  </a:cubicBezTo>
                  <a:lnTo>
                    <a:pt x="1217771" y="217646"/>
                  </a:lnTo>
                  <a:cubicBezTo>
                    <a:pt x="1216819" y="222409"/>
                    <a:pt x="1216819" y="227171"/>
                    <a:pt x="1216819" y="231934"/>
                  </a:cubicBezTo>
                  <a:cubicBezTo>
                    <a:pt x="1207294" y="223361"/>
                    <a:pt x="1202531" y="219551"/>
                    <a:pt x="1202531" y="219551"/>
                  </a:cubicBezTo>
                  <a:cubicBezTo>
                    <a:pt x="1202531" y="219551"/>
                    <a:pt x="1207294" y="226219"/>
                    <a:pt x="1215866" y="236696"/>
                  </a:cubicBezTo>
                  <a:cubicBezTo>
                    <a:pt x="1215866" y="240506"/>
                    <a:pt x="1214914" y="245269"/>
                    <a:pt x="1214914" y="249079"/>
                  </a:cubicBezTo>
                  <a:cubicBezTo>
                    <a:pt x="1214914" y="250984"/>
                    <a:pt x="1214914" y="252889"/>
                    <a:pt x="1214914" y="255746"/>
                  </a:cubicBezTo>
                  <a:cubicBezTo>
                    <a:pt x="1214914" y="253841"/>
                    <a:pt x="1213961" y="252889"/>
                    <a:pt x="1213961" y="250984"/>
                  </a:cubicBezTo>
                  <a:cubicBezTo>
                    <a:pt x="1213961" y="250984"/>
                    <a:pt x="1213961" y="250031"/>
                    <a:pt x="1213961" y="250031"/>
                  </a:cubicBezTo>
                  <a:cubicBezTo>
                    <a:pt x="1213961" y="249079"/>
                    <a:pt x="1214914" y="249079"/>
                    <a:pt x="1214914" y="249079"/>
                  </a:cubicBezTo>
                  <a:cubicBezTo>
                    <a:pt x="1214914" y="249079"/>
                    <a:pt x="1214914" y="249079"/>
                    <a:pt x="1213961" y="250031"/>
                  </a:cubicBezTo>
                  <a:cubicBezTo>
                    <a:pt x="1212056" y="242411"/>
                    <a:pt x="1209199" y="235744"/>
                    <a:pt x="1207294" y="229076"/>
                  </a:cubicBezTo>
                  <a:cubicBezTo>
                    <a:pt x="1204436" y="222409"/>
                    <a:pt x="1202531" y="216694"/>
                    <a:pt x="1200626" y="212884"/>
                  </a:cubicBezTo>
                  <a:cubicBezTo>
                    <a:pt x="1195864" y="204311"/>
                    <a:pt x="1193959" y="198596"/>
                    <a:pt x="1193959" y="198596"/>
                  </a:cubicBezTo>
                  <a:cubicBezTo>
                    <a:pt x="1193959" y="198596"/>
                    <a:pt x="1194911" y="204311"/>
                    <a:pt x="1196816" y="213836"/>
                  </a:cubicBezTo>
                  <a:cubicBezTo>
                    <a:pt x="1197769" y="218599"/>
                    <a:pt x="1198721" y="224314"/>
                    <a:pt x="1200626" y="230981"/>
                  </a:cubicBezTo>
                  <a:cubicBezTo>
                    <a:pt x="1201579" y="237649"/>
                    <a:pt x="1202531" y="245269"/>
                    <a:pt x="1204436" y="252889"/>
                  </a:cubicBezTo>
                  <a:cubicBezTo>
                    <a:pt x="1204436" y="254794"/>
                    <a:pt x="1205389" y="256699"/>
                    <a:pt x="1205389" y="258604"/>
                  </a:cubicBezTo>
                  <a:cubicBezTo>
                    <a:pt x="1202531" y="251936"/>
                    <a:pt x="1199674" y="245269"/>
                    <a:pt x="1196816" y="239554"/>
                  </a:cubicBezTo>
                  <a:cubicBezTo>
                    <a:pt x="1193959" y="233839"/>
                    <a:pt x="1191101" y="229076"/>
                    <a:pt x="1189196" y="224314"/>
                  </a:cubicBezTo>
                  <a:cubicBezTo>
                    <a:pt x="1184434" y="216694"/>
                    <a:pt x="1181576" y="211931"/>
                    <a:pt x="1181576" y="211931"/>
                  </a:cubicBezTo>
                  <a:cubicBezTo>
                    <a:pt x="1181576" y="211931"/>
                    <a:pt x="1183481" y="216694"/>
                    <a:pt x="1185386" y="225266"/>
                  </a:cubicBezTo>
                  <a:cubicBezTo>
                    <a:pt x="1187291" y="230029"/>
                    <a:pt x="1188244" y="234791"/>
                    <a:pt x="1190149" y="241459"/>
                  </a:cubicBezTo>
                  <a:cubicBezTo>
                    <a:pt x="1192054" y="247174"/>
                    <a:pt x="1193006" y="254794"/>
                    <a:pt x="1194911" y="262414"/>
                  </a:cubicBezTo>
                  <a:cubicBezTo>
                    <a:pt x="1195864" y="267176"/>
                    <a:pt x="1196816" y="271939"/>
                    <a:pt x="1197769" y="276701"/>
                  </a:cubicBezTo>
                  <a:cubicBezTo>
                    <a:pt x="1196816" y="279559"/>
                    <a:pt x="1194911" y="281464"/>
                    <a:pt x="1193959" y="284321"/>
                  </a:cubicBezTo>
                  <a:cubicBezTo>
                    <a:pt x="1193959" y="284321"/>
                    <a:pt x="1193959" y="283369"/>
                    <a:pt x="1193959" y="283369"/>
                  </a:cubicBezTo>
                  <a:cubicBezTo>
                    <a:pt x="1193959" y="282416"/>
                    <a:pt x="1193006" y="280511"/>
                    <a:pt x="1193006" y="279559"/>
                  </a:cubicBezTo>
                  <a:cubicBezTo>
                    <a:pt x="1193959" y="277654"/>
                    <a:pt x="1193959" y="276701"/>
                    <a:pt x="1193959" y="276701"/>
                  </a:cubicBezTo>
                  <a:cubicBezTo>
                    <a:pt x="1193959" y="276701"/>
                    <a:pt x="1193959" y="277654"/>
                    <a:pt x="1193006" y="278606"/>
                  </a:cubicBezTo>
                  <a:cubicBezTo>
                    <a:pt x="1190149" y="268129"/>
                    <a:pt x="1187291" y="258604"/>
                    <a:pt x="1184434" y="250984"/>
                  </a:cubicBezTo>
                  <a:cubicBezTo>
                    <a:pt x="1179671" y="239554"/>
                    <a:pt x="1176814" y="231934"/>
                    <a:pt x="1174909" y="227171"/>
                  </a:cubicBezTo>
                  <a:cubicBezTo>
                    <a:pt x="1174909" y="226219"/>
                    <a:pt x="1174909" y="224314"/>
                    <a:pt x="1174909" y="223361"/>
                  </a:cubicBezTo>
                  <a:cubicBezTo>
                    <a:pt x="1174909" y="212884"/>
                    <a:pt x="1175861" y="204311"/>
                    <a:pt x="1175861" y="196691"/>
                  </a:cubicBezTo>
                  <a:cubicBezTo>
                    <a:pt x="1175861" y="182404"/>
                    <a:pt x="1174909" y="173831"/>
                    <a:pt x="1174909" y="173831"/>
                  </a:cubicBezTo>
                  <a:cubicBezTo>
                    <a:pt x="1174909" y="173831"/>
                    <a:pt x="1173956" y="182404"/>
                    <a:pt x="1172051" y="196691"/>
                  </a:cubicBezTo>
                  <a:cubicBezTo>
                    <a:pt x="1171099" y="204311"/>
                    <a:pt x="1169194" y="212884"/>
                    <a:pt x="1168241" y="223361"/>
                  </a:cubicBezTo>
                  <a:cubicBezTo>
                    <a:pt x="1168241" y="224314"/>
                    <a:pt x="1168241" y="225266"/>
                    <a:pt x="1168241" y="226219"/>
                  </a:cubicBezTo>
                  <a:cubicBezTo>
                    <a:pt x="1167289" y="229076"/>
                    <a:pt x="1165384" y="232886"/>
                    <a:pt x="1162526" y="238601"/>
                  </a:cubicBezTo>
                  <a:cubicBezTo>
                    <a:pt x="1161574" y="230981"/>
                    <a:pt x="1160621" y="223361"/>
                    <a:pt x="1158716" y="215741"/>
                  </a:cubicBezTo>
                  <a:cubicBezTo>
                    <a:pt x="1156811" y="206216"/>
                    <a:pt x="1153954" y="197644"/>
                    <a:pt x="1152049" y="189071"/>
                  </a:cubicBezTo>
                  <a:cubicBezTo>
                    <a:pt x="1143476" y="155734"/>
                    <a:pt x="1136809" y="133826"/>
                    <a:pt x="1136809" y="133826"/>
                  </a:cubicBezTo>
                  <a:cubicBezTo>
                    <a:pt x="1136809" y="133826"/>
                    <a:pt x="1137761" y="156686"/>
                    <a:pt x="1140619" y="190024"/>
                  </a:cubicBezTo>
                  <a:cubicBezTo>
                    <a:pt x="1141571" y="198596"/>
                    <a:pt x="1142524" y="208121"/>
                    <a:pt x="1143476" y="217646"/>
                  </a:cubicBezTo>
                  <a:cubicBezTo>
                    <a:pt x="1144429" y="227171"/>
                    <a:pt x="1144429" y="237649"/>
                    <a:pt x="1146334" y="248126"/>
                  </a:cubicBezTo>
                  <a:cubicBezTo>
                    <a:pt x="1146334" y="252889"/>
                    <a:pt x="1147286" y="256699"/>
                    <a:pt x="1147286" y="261461"/>
                  </a:cubicBezTo>
                  <a:cubicBezTo>
                    <a:pt x="1147286" y="261461"/>
                    <a:pt x="1147286" y="261461"/>
                    <a:pt x="1147286" y="261461"/>
                  </a:cubicBezTo>
                  <a:cubicBezTo>
                    <a:pt x="1147286" y="259556"/>
                    <a:pt x="1147286" y="258604"/>
                    <a:pt x="1147286" y="258604"/>
                  </a:cubicBezTo>
                  <a:cubicBezTo>
                    <a:pt x="1147286" y="258604"/>
                    <a:pt x="1147286" y="259556"/>
                    <a:pt x="1147286" y="260509"/>
                  </a:cubicBezTo>
                  <a:cubicBezTo>
                    <a:pt x="1146334" y="257651"/>
                    <a:pt x="1144429" y="254794"/>
                    <a:pt x="1143476" y="251936"/>
                  </a:cubicBezTo>
                  <a:cubicBezTo>
                    <a:pt x="1142524" y="250984"/>
                    <a:pt x="1142524" y="250031"/>
                    <a:pt x="1141571" y="249079"/>
                  </a:cubicBezTo>
                  <a:cubicBezTo>
                    <a:pt x="1141571" y="242411"/>
                    <a:pt x="1141571" y="237649"/>
                    <a:pt x="1141571" y="237649"/>
                  </a:cubicBezTo>
                  <a:cubicBezTo>
                    <a:pt x="1141571" y="237649"/>
                    <a:pt x="1140619" y="240506"/>
                    <a:pt x="1139666" y="246221"/>
                  </a:cubicBezTo>
                  <a:cubicBezTo>
                    <a:pt x="1136809" y="241459"/>
                    <a:pt x="1134904" y="236696"/>
                    <a:pt x="1132046" y="231934"/>
                  </a:cubicBezTo>
                  <a:cubicBezTo>
                    <a:pt x="1132046" y="231934"/>
                    <a:pt x="1132046" y="230981"/>
                    <a:pt x="1132046" y="230981"/>
                  </a:cubicBezTo>
                  <a:cubicBezTo>
                    <a:pt x="1128236" y="211931"/>
                    <a:pt x="1124426" y="193834"/>
                    <a:pt x="1120616" y="177641"/>
                  </a:cubicBezTo>
                  <a:cubicBezTo>
                    <a:pt x="1116806" y="161449"/>
                    <a:pt x="1113949" y="146209"/>
                    <a:pt x="1110139" y="132874"/>
                  </a:cubicBezTo>
                  <a:cubicBezTo>
                    <a:pt x="1106329" y="119539"/>
                    <a:pt x="1103471" y="108109"/>
                    <a:pt x="1100614" y="98584"/>
                  </a:cubicBezTo>
                  <a:cubicBezTo>
                    <a:pt x="1094899" y="79534"/>
                    <a:pt x="1092041" y="69056"/>
                    <a:pt x="1092041" y="69056"/>
                  </a:cubicBezTo>
                  <a:cubicBezTo>
                    <a:pt x="1092041" y="69056"/>
                    <a:pt x="1093946" y="80486"/>
                    <a:pt x="1096804" y="99536"/>
                  </a:cubicBezTo>
                  <a:cubicBezTo>
                    <a:pt x="1098709" y="109061"/>
                    <a:pt x="1100614" y="121444"/>
                    <a:pt x="1103471" y="134779"/>
                  </a:cubicBezTo>
                  <a:cubicBezTo>
                    <a:pt x="1106329" y="148114"/>
                    <a:pt x="1108234" y="163354"/>
                    <a:pt x="1110139" y="180499"/>
                  </a:cubicBezTo>
                  <a:cubicBezTo>
                    <a:pt x="1111091" y="186214"/>
                    <a:pt x="1112044" y="192881"/>
                    <a:pt x="1112996" y="199549"/>
                  </a:cubicBezTo>
                  <a:cubicBezTo>
                    <a:pt x="1112044" y="197644"/>
                    <a:pt x="1111091" y="196691"/>
                    <a:pt x="1110139" y="194786"/>
                  </a:cubicBezTo>
                  <a:cubicBezTo>
                    <a:pt x="1109186" y="192881"/>
                    <a:pt x="1107281" y="190976"/>
                    <a:pt x="1106329" y="190024"/>
                  </a:cubicBezTo>
                  <a:cubicBezTo>
                    <a:pt x="1106329" y="189071"/>
                    <a:pt x="1106329" y="189071"/>
                    <a:pt x="1105376" y="188119"/>
                  </a:cubicBezTo>
                  <a:cubicBezTo>
                    <a:pt x="1101566" y="177641"/>
                    <a:pt x="1098709" y="168116"/>
                    <a:pt x="1095851" y="160496"/>
                  </a:cubicBezTo>
                  <a:cubicBezTo>
                    <a:pt x="1090136" y="145256"/>
                    <a:pt x="1087279" y="136684"/>
                    <a:pt x="1087279" y="136684"/>
                  </a:cubicBezTo>
                  <a:cubicBezTo>
                    <a:pt x="1087279" y="136684"/>
                    <a:pt x="1089184" y="145256"/>
                    <a:pt x="1092041" y="161449"/>
                  </a:cubicBezTo>
                  <a:cubicBezTo>
                    <a:pt x="1093946" y="169069"/>
                    <a:pt x="1095851" y="178594"/>
                    <a:pt x="1098709" y="190024"/>
                  </a:cubicBezTo>
                  <a:cubicBezTo>
                    <a:pt x="1100614" y="197644"/>
                    <a:pt x="1102519" y="207169"/>
                    <a:pt x="1103471" y="215741"/>
                  </a:cubicBezTo>
                  <a:cubicBezTo>
                    <a:pt x="1099661" y="206216"/>
                    <a:pt x="1097756" y="200501"/>
                    <a:pt x="1097756" y="200501"/>
                  </a:cubicBezTo>
                  <a:cubicBezTo>
                    <a:pt x="1097756" y="200501"/>
                    <a:pt x="1099661" y="209074"/>
                    <a:pt x="1102519" y="224314"/>
                  </a:cubicBezTo>
                  <a:cubicBezTo>
                    <a:pt x="1100614" y="227171"/>
                    <a:pt x="1097756" y="230981"/>
                    <a:pt x="1094899" y="233839"/>
                  </a:cubicBezTo>
                  <a:cubicBezTo>
                    <a:pt x="1092994" y="225266"/>
                    <a:pt x="1091089" y="216694"/>
                    <a:pt x="1089184" y="209074"/>
                  </a:cubicBezTo>
                  <a:cubicBezTo>
                    <a:pt x="1086326" y="182404"/>
                    <a:pt x="1084421" y="166211"/>
                    <a:pt x="1084421" y="166211"/>
                  </a:cubicBezTo>
                  <a:cubicBezTo>
                    <a:pt x="1084421" y="166211"/>
                    <a:pt x="1084421" y="172879"/>
                    <a:pt x="1083469" y="184309"/>
                  </a:cubicBezTo>
                  <a:cubicBezTo>
                    <a:pt x="1080611" y="171926"/>
                    <a:pt x="1077754" y="160496"/>
                    <a:pt x="1073944" y="149066"/>
                  </a:cubicBezTo>
                  <a:cubicBezTo>
                    <a:pt x="1071086" y="140494"/>
                    <a:pt x="1069181" y="131921"/>
                    <a:pt x="1066324" y="123349"/>
                  </a:cubicBezTo>
                  <a:cubicBezTo>
                    <a:pt x="1072991" y="105251"/>
                    <a:pt x="1075849" y="94774"/>
                    <a:pt x="1075849" y="94774"/>
                  </a:cubicBezTo>
                  <a:cubicBezTo>
                    <a:pt x="1075849" y="94774"/>
                    <a:pt x="1072039" y="103346"/>
                    <a:pt x="1064419" y="119539"/>
                  </a:cubicBezTo>
                  <a:cubicBezTo>
                    <a:pt x="1062514" y="112871"/>
                    <a:pt x="1059656" y="106204"/>
                    <a:pt x="1057751" y="100489"/>
                  </a:cubicBezTo>
                  <a:cubicBezTo>
                    <a:pt x="1054894" y="92869"/>
                    <a:pt x="1052036" y="85249"/>
                    <a:pt x="1050131" y="78581"/>
                  </a:cubicBezTo>
                  <a:cubicBezTo>
                    <a:pt x="1047274" y="71914"/>
                    <a:pt x="1044416" y="65246"/>
                    <a:pt x="1042511" y="59531"/>
                  </a:cubicBezTo>
                  <a:cubicBezTo>
                    <a:pt x="1037749" y="47149"/>
                    <a:pt x="1032986" y="36671"/>
                    <a:pt x="1029176" y="28099"/>
                  </a:cubicBezTo>
                  <a:cubicBezTo>
                    <a:pt x="1017746" y="16669"/>
                    <a:pt x="1012984" y="7144"/>
                    <a:pt x="1012984" y="7144"/>
                  </a:cubicBezTo>
                  <a:cubicBezTo>
                    <a:pt x="1012984" y="7144"/>
                    <a:pt x="1016794" y="17621"/>
                    <a:pt x="1022509" y="34766"/>
                  </a:cubicBezTo>
                  <a:cubicBezTo>
                    <a:pt x="1025366" y="43339"/>
                    <a:pt x="1029176" y="54769"/>
                    <a:pt x="1032986" y="67151"/>
                  </a:cubicBezTo>
                  <a:cubicBezTo>
                    <a:pt x="1034891" y="73819"/>
                    <a:pt x="1036796" y="79534"/>
                    <a:pt x="1038701" y="87154"/>
                  </a:cubicBezTo>
                  <a:cubicBezTo>
                    <a:pt x="1040606" y="93821"/>
                    <a:pt x="1042511" y="101441"/>
                    <a:pt x="1044416" y="109061"/>
                  </a:cubicBezTo>
                  <a:cubicBezTo>
                    <a:pt x="1044416" y="109061"/>
                    <a:pt x="1044416" y="110014"/>
                    <a:pt x="1044416" y="110014"/>
                  </a:cubicBezTo>
                  <a:cubicBezTo>
                    <a:pt x="1039654" y="101441"/>
                    <a:pt x="1037749" y="96679"/>
                    <a:pt x="1037749" y="96679"/>
                  </a:cubicBezTo>
                  <a:cubicBezTo>
                    <a:pt x="1037749" y="96679"/>
                    <a:pt x="1039654" y="104299"/>
                    <a:pt x="1044416" y="117634"/>
                  </a:cubicBezTo>
                  <a:cubicBezTo>
                    <a:pt x="1046321" y="124301"/>
                    <a:pt x="1049179" y="131921"/>
                    <a:pt x="1051084" y="141446"/>
                  </a:cubicBezTo>
                  <a:cubicBezTo>
                    <a:pt x="1051084" y="143351"/>
                    <a:pt x="1052036" y="144304"/>
                    <a:pt x="1052036" y="146209"/>
                  </a:cubicBezTo>
                  <a:cubicBezTo>
                    <a:pt x="1048226" y="153829"/>
                    <a:pt x="1043464" y="163354"/>
                    <a:pt x="1037749" y="172879"/>
                  </a:cubicBezTo>
                  <a:cubicBezTo>
                    <a:pt x="1033939" y="180499"/>
                    <a:pt x="1029176" y="188119"/>
                    <a:pt x="1024414" y="195739"/>
                  </a:cubicBezTo>
                  <a:cubicBezTo>
                    <a:pt x="1024414" y="194786"/>
                    <a:pt x="1023461" y="193834"/>
                    <a:pt x="1023461" y="192881"/>
                  </a:cubicBezTo>
                  <a:cubicBezTo>
                    <a:pt x="1023461" y="190024"/>
                    <a:pt x="1023461" y="187166"/>
                    <a:pt x="1023461" y="184309"/>
                  </a:cubicBezTo>
                  <a:cubicBezTo>
                    <a:pt x="1024414" y="169069"/>
                    <a:pt x="1024414" y="154781"/>
                    <a:pt x="1024414" y="142399"/>
                  </a:cubicBezTo>
                  <a:cubicBezTo>
                    <a:pt x="1024414" y="130016"/>
                    <a:pt x="1024414" y="119539"/>
                    <a:pt x="1023461" y="110014"/>
                  </a:cubicBezTo>
                  <a:cubicBezTo>
                    <a:pt x="1023461" y="101441"/>
                    <a:pt x="1022509" y="93821"/>
                    <a:pt x="1021556" y="89059"/>
                  </a:cubicBezTo>
                  <a:cubicBezTo>
                    <a:pt x="1020604" y="84296"/>
                    <a:pt x="1020604" y="81439"/>
                    <a:pt x="1020604" y="81439"/>
                  </a:cubicBezTo>
                  <a:cubicBezTo>
                    <a:pt x="1020604" y="81439"/>
                    <a:pt x="1020604" y="84296"/>
                    <a:pt x="1020604" y="89059"/>
                  </a:cubicBezTo>
                  <a:cubicBezTo>
                    <a:pt x="1020604" y="93821"/>
                    <a:pt x="1019651" y="100489"/>
                    <a:pt x="1019651" y="110014"/>
                  </a:cubicBezTo>
                  <a:cubicBezTo>
                    <a:pt x="1018699" y="124301"/>
                    <a:pt x="1016794" y="142399"/>
                    <a:pt x="1014889" y="165259"/>
                  </a:cubicBezTo>
                  <a:cubicBezTo>
                    <a:pt x="1013936" y="162401"/>
                    <a:pt x="1013936" y="161449"/>
                    <a:pt x="1013936" y="161449"/>
                  </a:cubicBezTo>
                  <a:cubicBezTo>
                    <a:pt x="1013936" y="161449"/>
                    <a:pt x="1013936" y="163354"/>
                    <a:pt x="1014889" y="168116"/>
                  </a:cubicBezTo>
                  <a:cubicBezTo>
                    <a:pt x="1013936" y="172879"/>
                    <a:pt x="1013936" y="178594"/>
                    <a:pt x="1012984" y="183356"/>
                  </a:cubicBezTo>
                  <a:cubicBezTo>
                    <a:pt x="1011079" y="196691"/>
                    <a:pt x="1009174" y="210026"/>
                    <a:pt x="1007269" y="224314"/>
                  </a:cubicBezTo>
                  <a:cubicBezTo>
                    <a:pt x="996791" y="242411"/>
                    <a:pt x="984409" y="262414"/>
                    <a:pt x="972026" y="283369"/>
                  </a:cubicBezTo>
                  <a:cubicBezTo>
                    <a:pt x="972026" y="277654"/>
                    <a:pt x="971074" y="273844"/>
                    <a:pt x="971074" y="269081"/>
                  </a:cubicBezTo>
                  <a:cubicBezTo>
                    <a:pt x="972979" y="263366"/>
                    <a:pt x="975836" y="256699"/>
                    <a:pt x="977741" y="251936"/>
                  </a:cubicBezTo>
                  <a:cubicBezTo>
                    <a:pt x="983456" y="235744"/>
                    <a:pt x="989171" y="220504"/>
                    <a:pt x="992981" y="206216"/>
                  </a:cubicBezTo>
                  <a:cubicBezTo>
                    <a:pt x="996791" y="192881"/>
                    <a:pt x="1000601" y="180499"/>
                    <a:pt x="1002506" y="170974"/>
                  </a:cubicBezTo>
                  <a:cubicBezTo>
                    <a:pt x="1007269" y="150971"/>
                    <a:pt x="1009174" y="139541"/>
                    <a:pt x="1009174" y="139541"/>
                  </a:cubicBezTo>
                  <a:cubicBezTo>
                    <a:pt x="1009174" y="139541"/>
                    <a:pt x="1005364" y="150971"/>
                    <a:pt x="998696" y="170021"/>
                  </a:cubicBezTo>
                  <a:cubicBezTo>
                    <a:pt x="995839" y="179546"/>
                    <a:pt x="990124" y="190976"/>
                    <a:pt x="985361" y="204311"/>
                  </a:cubicBezTo>
                  <a:cubicBezTo>
                    <a:pt x="980599" y="217646"/>
                    <a:pt x="972979" y="231934"/>
                    <a:pt x="966311" y="248126"/>
                  </a:cubicBezTo>
                  <a:cubicBezTo>
                    <a:pt x="964406" y="251936"/>
                    <a:pt x="962501" y="255746"/>
                    <a:pt x="960596" y="260509"/>
                  </a:cubicBezTo>
                  <a:cubicBezTo>
                    <a:pt x="961549" y="248126"/>
                    <a:pt x="961549" y="236696"/>
                    <a:pt x="961549" y="225266"/>
                  </a:cubicBezTo>
                  <a:cubicBezTo>
                    <a:pt x="966311" y="212884"/>
                    <a:pt x="969169" y="206216"/>
                    <a:pt x="969169" y="206216"/>
                  </a:cubicBezTo>
                  <a:cubicBezTo>
                    <a:pt x="969169" y="206216"/>
                    <a:pt x="966311" y="210979"/>
                    <a:pt x="961549" y="218599"/>
                  </a:cubicBezTo>
                  <a:cubicBezTo>
                    <a:pt x="961549" y="213836"/>
                    <a:pt x="961549" y="210026"/>
                    <a:pt x="961549" y="206216"/>
                  </a:cubicBezTo>
                  <a:cubicBezTo>
                    <a:pt x="961549" y="182404"/>
                    <a:pt x="960596" y="162401"/>
                    <a:pt x="958691" y="149066"/>
                  </a:cubicBezTo>
                  <a:cubicBezTo>
                    <a:pt x="957739" y="143351"/>
                    <a:pt x="957739" y="138589"/>
                    <a:pt x="956786" y="134779"/>
                  </a:cubicBezTo>
                  <a:cubicBezTo>
                    <a:pt x="956786" y="132874"/>
                    <a:pt x="957739" y="131921"/>
                    <a:pt x="957739" y="131921"/>
                  </a:cubicBezTo>
                  <a:cubicBezTo>
                    <a:pt x="957739" y="131921"/>
                    <a:pt x="957739" y="132874"/>
                    <a:pt x="956786" y="133826"/>
                  </a:cubicBezTo>
                  <a:cubicBezTo>
                    <a:pt x="956786" y="133826"/>
                    <a:pt x="956786" y="132874"/>
                    <a:pt x="956786" y="132874"/>
                  </a:cubicBezTo>
                  <a:cubicBezTo>
                    <a:pt x="955834" y="129064"/>
                    <a:pt x="955834" y="127159"/>
                    <a:pt x="955834" y="127159"/>
                  </a:cubicBezTo>
                  <a:cubicBezTo>
                    <a:pt x="955834" y="127159"/>
                    <a:pt x="955834" y="130969"/>
                    <a:pt x="955834" y="136684"/>
                  </a:cubicBezTo>
                  <a:cubicBezTo>
                    <a:pt x="951071" y="147161"/>
                    <a:pt x="940594" y="171926"/>
                    <a:pt x="927259" y="206216"/>
                  </a:cubicBezTo>
                  <a:cubicBezTo>
                    <a:pt x="927259" y="206216"/>
                    <a:pt x="927259" y="205264"/>
                    <a:pt x="927259" y="205264"/>
                  </a:cubicBezTo>
                  <a:cubicBezTo>
                    <a:pt x="928211" y="196691"/>
                    <a:pt x="929164" y="189071"/>
                    <a:pt x="930116" y="183356"/>
                  </a:cubicBezTo>
                  <a:cubicBezTo>
                    <a:pt x="932021" y="170974"/>
                    <a:pt x="932974" y="164306"/>
                    <a:pt x="932974" y="164306"/>
                  </a:cubicBezTo>
                  <a:cubicBezTo>
                    <a:pt x="932974" y="164306"/>
                    <a:pt x="930116" y="170974"/>
                    <a:pt x="926306" y="183356"/>
                  </a:cubicBezTo>
                  <a:cubicBezTo>
                    <a:pt x="924401" y="189071"/>
                    <a:pt x="922496" y="195739"/>
                    <a:pt x="920591" y="203359"/>
                  </a:cubicBezTo>
                  <a:cubicBezTo>
                    <a:pt x="916781" y="192881"/>
                    <a:pt x="913924" y="182404"/>
                    <a:pt x="910114" y="171926"/>
                  </a:cubicBezTo>
                  <a:cubicBezTo>
                    <a:pt x="909161" y="169069"/>
                    <a:pt x="908209" y="167164"/>
                    <a:pt x="907256" y="164306"/>
                  </a:cubicBezTo>
                  <a:cubicBezTo>
                    <a:pt x="909161" y="161449"/>
                    <a:pt x="910114" y="159544"/>
                    <a:pt x="912019" y="157639"/>
                  </a:cubicBezTo>
                  <a:cubicBezTo>
                    <a:pt x="920591" y="145256"/>
                    <a:pt x="927259" y="133826"/>
                    <a:pt x="933926" y="124301"/>
                  </a:cubicBezTo>
                  <a:cubicBezTo>
                    <a:pt x="946309" y="106204"/>
                    <a:pt x="953929" y="95726"/>
                    <a:pt x="953929" y="95726"/>
                  </a:cubicBezTo>
                  <a:cubicBezTo>
                    <a:pt x="953929" y="95726"/>
                    <a:pt x="945356" y="105251"/>
                    <a:pt x="931069" y="121444"/>
                  </a:cubicBezTo>
                  <a:cubicBezTo>
                    <a:pt x="923449" y="129064"/>
                    <a:pt x="915829" y="140494"/>
                    <a:pt x="906304" y="151924"/>
                  </a:cubicBezTo>
                  <a:cubicBezTo>
                    <a:pt x="905351" y="152876"/>
                    <a:pt x="904399" y="153829"/>
                    <a:pt x="904399" y="154781"/>
                  </a:cubicBezTo>
                  <a:cubicBezTo>
                    <a:pt x="901541" y="147161"/>
                    <a:pt x="898684" y="139541"/>
                    <a:pt x="894874" y="131921"/>
                  </a:cubicBezTo>
                  <a:lnTo>
                    <a:pt x="892016" y="126206"/>
                  </a:lnTo>
                  <a:cubicBezTo>
                    <a:pt x="893921" y="122396"/>
                    <a:pt x="895826" y="118586"/>
                    <a:pt x="897731" y="115729"/>
                  </a:cubicBezTo>
                  <a:cubicBezTo>
                    <a:pt x="905351" y="100489"/>
                    <a:pt x="912019" y="87154"/>
                    <a:pt x="918686" y="77629"/>
                  </a:cubicBezTo>
                  <a:cubicBezTo>
                    <a:pt x="931069" y="56674"/>
                    <a:pt x="937736" y="44291"/>
                    <a:pt x="937736" y="44291"/>
                  </a:cubicBezTo>
                  <a:cubicBezTo>
                    <a:pt x="937736" y="44291"/>
                    <a:pt x="929164" y="55721"/>
                    <a:pt x="914876" y="74771"/>
                  </a:cubicBezTo>
                  <a:cubicBezTo>
                    <a:pt x="907256" y="84296"/>
                    <a:pt x="899636" y="96679"/>
                    <a:pt x="890111" y="110966"/>
                  </a:cubicBezTo>
                  <a:cubicBezTo>
                    <a:pt x="889159" y="112871"/>
                    <a:pt x="887254" y="114776"/>
                    <a:pt x="886301" y="116681"/>
                  </a:cubicBezTo>
                  <a:lnTo>
                    <a:pt x="874871" y="92869"/>
                  </a:lnTo>
                  <a:lnTo>
                    <a:pt x="873919" y="90964"/>
                  </a:lnTo>
                  <a:lnTo>
                    <a:pt x="872966" y="91916"/>
                  </a:lnTo>
                  <a:cubicBezTo>
                    <a:pt x="871061" y="92869"/>
                    <a:pt x="869156" y="93821"/>
                    <a:pt x="868204" y="95726"/>
                  </a:cubicBezTo>
                  <a:cubicBezTo>
                    <a:pt x="867251" y="97631"/>
                    <a:pt x="866299" y="99536"/>
                    <a:pt x="866299" y="101441"/>
                  </a:cubicBezTo>
                  <a:cubicBezTo>
                    <a:pt x="866299" y="105251"/>
                    <a:pt x="867251" y="110014"/>
                    <a:pt x="868204" y="113824"/>
                  </a:cubicBezTo>
                  <a:cubicBezTo>
                    <a:pt x="867251" y="110014"/>
                    <a:pt x="867251" y="106204"/>
                    <a:pt x="868204" y="102394"/>
                  </a:cubicBezTo>
                  <a:cubicBezTo>
                    <a:pt x="868204" y="100489"/>
                    <a:pt x="869156" y="99536"/>
                    <a:pt x="870109" y="97631"/>
                  </a:cubicBezTo>
                  <a:cubicBezTo>
                    <a:pt x="871061" y="96679"/>
                    <a:pt x="872014" y="96679"/>
                    <a:pt x="872966" y="95726"/>
                  </a:cubicBezTo>
                  <a:lnTo>
                    <a:pt x="882491" y="122396"/>
                  </a:lnTo>
                  <a:cubicBezTo>
                    <a:pt x="880586" y="126206"/>
                    <a:pt x="877729" y="129064"/>
                    <a:pt x="875824" y="132874"/>
                  </a:cubicBezTo>
                  <a:cubicBezTo>
                    <a:pt x="871061" y="141446"/>
                    <a:pt x="866299" y="150019"/>
                    <a:pt x="860584" y="159544"/>
                  </a:cubicBezTo>
                  <a:cubicBezTo>
                    <a:pt x="852964" y="172879"/>
                    <a:pt x="845344" y="188119"/>
                    <a:pt x="837724" y="203359"/>
                  </a:cubicBezTo>
                  <a:cubicBezTo>
                    <a:pt x="834866" y="198596"/>
                    <a:pt x="832961" y="195739"/>
                    <a:pt x="832009" y="194786"/>
                  </a:cubicBezTo>
                  <a:cubicBezTo>
                    <a:pt x="834866" y="170974"/>
                    <a:pt x="836771" y="151924"/>
                    <a:pt x="838676" y="137636"/>
                  </a:cubicBezTo>
                  <a:cubicBezTo>
                    <a:pt x="839629" y="123349"/>
                    <a:pt x="840581" y="115729"/>
                    <a:pt x="840581" y="115729"/>
                  </a:cubicBezTo>
                  <a:cubicBezTo>
                    <a:pt x="840581" y="115729"/>
                    <a:pt x="838676" y="123349"/>
                    <a:pt x="834866" y="137636"/>
                  </a:cubicBezTo>
                  <a:cubicBezTo>
                    <a:pt x="831056" y="151924"/>
                    <a:pt x="826294" y="170974"/>
                    <a:pt x="820579" y="194786"/>
                  </a:cubicBezTo>
                  <a:cubicBezTo>
                    <a:pt x="819626" y="197644"/>
                    <a:pt x="819626" y="200501"/>
                    <a:pt x="818674" y="204311"/>
                  </a:cubicBezTo>
                  <a:cubicBezTo>
                    <a:pt x="817721" y="202406"/>
                    <a:pt x="816769" y="199549"/>
                    <a:pt x="815816" y="197644"/>
                  </a:cubicBezTo>
                  <a:cubicBezTo>
                    <a:pt x="810101" y="183356"/>
                    <a:pt x="807244" y="174784"/>
                    <a:pt x="807244" y="174784"/>
                  </a:cubicBezTo>
                  <a:cubicBezTo>
                    <a:pt x="807244" y="174784"/>
                    <a:pt x="809149" y="183356"/>
                    <a:pt x="812006" y="198596"/>
                  </a:cubicBezTo>
                  <a:cubicBezTo>
                    <a:pt x="812959" y="202406"/>
                    <a:pt x="813911" y="206216"/>
                    <a:pt x="814864" y="210979"/>
                  </a:cubicBezTo>
                  <a:cubicBezTo>
                    <a:pt x="814864" y="212884"/>
                    <a:pt x="815816" y="214789"/>
                    <a:pt x="815816" y="216694"/>
                  </a:cubicBezTo>
                  <a:cubicBezTo>
                    <a:pt x="813911" y="224314"/>
                    <a:pt x="812959" y="231934"/>
                    <a:pt x="811054" y="239554"/>
                  </a:cubicBezTo>
                  <a:cubicBezTo>
                    <a:pt x="809149" y="226219"/>
                    <a:pt x="808196" y="219551"/>
                    <a:pt x="808196" y="219551"/>
                  </a:cubicBezTo>
                  <a:cubicBezTo>
                    <a:pt x="808196" y="219551"/>
                    <a:pt x="807244" y="236696"/>
                    <a:pt x="807244" y="264319"/>
                  </a:cubicBezTo>
                  <a:cubicBezTo>
                    <a:pt x="807244" y="265271"/>
                    <a:pt x="807244" y="265271"/>
                    <a:pt x="807244" y="266224"/>
                  </a:cubicBezTo>
                  <a:cubicBezTo>
                    <a:pt x="804386" y="259556"/>
                    <a:pt x="801529" y="252889"/>
                    <a:pt x="798671" y="246221"/>
                  </a:cubicBezTo>
                  <a:cubicBezTo>
                    <a:pt x="799624" y="241459"/>
                    <a:pt x="800576" y="239554"/>
                    <a:pt x="800576" y="239554"/>
                  </a:cubicBezTo>
                  <a:cubicBezTo>
                    <a:pt x="800576" y="239554"/>
                    <a:pt x="799624" y="241459"/>
                    <a:pt x="797719" y="245269"/>
                  </a:cubicBezTo>
                  <a:cubicBezTo>
                    <a:pt x="797719" y="244316"/>
                    <a:pt x="796766" y="243364"/>
                    <a:pt x="796766" y="242411"/>
                  </a:cubicBezTo>
                  <a:cubicBezTo>
                    <a:pt x="795814" y="239554"/>
                    <a:pt x="793909" y="236696"/>
                    <a:pt x="792956" y="233839"/>
                  </a:cubicBezTo>
                  <a:cubicBezTo>
                    <a:pt x="794861" y="229076"/>
                    <a:pt x="795814" y="223361"/>
                    <a:pt x="796766" y="218599"/>
                  </a:cubicBezTo>
                  <a:cubicBezTo>
                    <a:pt x="802481" y="196691"/>
                    <a:pt x="806291" y="177641"/>
                    <a:pt x="809149" y="164306"/>
                  </a:cubicBezTo>
                  <a:cubicBezTo>
                    <a:pt x="811054" y="150971"/>
                    <a:pt x="812959" y="143351"/>
                    <a:pt x="812959" y="143351"/>
                  </a:cubicBezTo>
                  <a:cubicBezTo>
                    <a:pt x="812959" y="143351"/>
                    <a:pt x="810101" y="150971"/>
                    <a:pt x="805339" y="163354"/>
                  </a:cubicBezTo>
                  <a:cubicBezTo>
                    <a:pt x="803434" y="170021"/>
                    <a:pt x="800576" y="177641"/>
                    <a:pt x="796766" y="186214"/>
                  </a:cubicBezTo>
                  <a:cubicBezTo>
                    <a:pt x="793909" y="194786"/>
                    <a:pt x="790099" y="205264"/>
                    <a:pt x="785336" y="215741"/>
                  </a:cubicBezTo>
                  <a:cubicBezTo>
                    <a:pt x="785336" y="216694"/>
                    <a:pt x="784384" y="217646"/>
                    <a:pt x="784384" y="218599"/>
                  </a:cubicBezTo>
                  <a:cubicBezTo>
                    <a:pt x="781526" y="213836"/>
                    <a:pt x="779621" y="209074"/>
                    <a:pt x="776764" y="205264"/>
                  </a:cubicBezTo>
                  <a:cubicBezTo>
                    <a:pt x="775811" y="204311"/>
                    <a:pt x="775811" y="203359"/>
                    <a:pt x="774859" y="202406"/>
                  </a:cubicBezTo>
                  <a:cubicBezTo>
                    <a:pt x="774859" y="202406"/>
                    <a:pt x="774859" y="202406"/>
                    <a:pt x="774859" y="201454"/>
                  </a:cubicBezTo>
                  <a:cubicBezTo>
                    <a:pt x="777716" y="176689"/>
                    <a:pt x="779621" y="156686"/>
                    <a:pt x="780574" y="142399"/>
                  </a:cubicBezTo>
                  <a:cubicBezTo>
                    <a:pt x="781526" y="128111"/>
                    <a:pt x="781526" y="119539"/>
                    <a:pt x="781526" y="119539"/>
                  </a:cubicBezTo>
                  <a:cubicBezTo>
                    <a:pt x="781526" y="119539"/>
                    <a:pt x="779621" y="127159"/>
                    <a:pt x="776764" y="141446"/>
                  </a:cubicBezTo>
                  <a:cubicBezTo>
                    <a:pt x="775811" y="148114"/>
                    <a:pt x="772954" y="156686"/>
                    <a:pt x="771049" y="167164"/>
                  </a:cubicBezTo>
                  <a:cubicBezTo>
                    <a:pt x="769144" y="173831"/>
                    <a:pt x="768191" y="181451"/>
                    <a:pt x="766286" y="189071"/>
                  </a:cubicBezTo>
                  <a:cubicBezTo>
                    <a:pt x="763429" y="185261"/>
                    <a:pt x="760571" y="181451"/>
                    <a:pt x="758666" y="178594"/>
                  </a:cubicBezTo>
                  <a:cubicBezTo>
                    <a:pt x="753904" y="171926"/>
                    <a:pt x="748189" y="166211"/>
                    <a:pt x="745331" y="163354"/>
                  </a:cubicBezTo>
                  <a:cubicBezTo>
                    <a:pt x="742474" y="159544"/>
                    <a:pt x="740569" y="157639"/>
                    <a:pt x="740569" y="157639"/>
                  </a:cubicBezTo>
                  <a:cubicBezTo>
                    <a:pt x="740569" y="157639"/>
                    <a:pt x="741521" y="159544"/>
                    <a:pt x="744379" y="163354"/>
                  </a:cubicBezTo>
                  <a:cubicBezTo>
                    <a:pt x="747236" y="167164"/>
                    <a:pt x="751046" y="172879"/>
                    <a:pt x="754856" y="180499"/>
                  </a:cubicBezTo>
                  <a:cubicBezTo>
                    <a:pt x="757714" y="185261"/>
                    <a:pt x="760571" y="190976"/>
                    <a:pt x="763429" y="196691"/>
                  </a:cubicBezTo>
                  <a:cubicBezTo>
                    <a:pt x="763429" y="197644"/>
                    <a:pt x="763429" y="198596"/>
                    <a:pt x="762476" y="199549"/>
                  </a:cubicBezTo>
                  <a:cubicBezTo>
                    <a:pt x="759619" y="211931"/>
                    <a:pt x="756761" y="224314"/>
                    <a:pt x="753904" y="238601"/>
                  </a:cubicBezTo>
                  <a:cubicBezTo>
                    <a:pt x="749141" y="230029"/>
                    <a:pt x="747236" y="224314"/>
                    <a:pt x="747236" y="224314"/>
                  </a:cubicBezTo>
                  <a:cubicBezTo>
                    <a:pt x="747236" y="224314"/>
                    <a:pt x="749141" y="230981"/>
                    <a:pt x="752951" y="241459"/>
                  </a:cubicBezTo>
                  <a:cubicBezTo>
                    <a:pt x="751999" y="242411"/>
                    <a:pt x="751999" y="242411"/>
                    <a:pt x="751046" y="243364"/>
                  </a:cubicBezTo>
                  <a:cubicBezTo>
                    <a:pt x="749141" y="246221"/>
                    <a:pt x="749141" y="250031"/>
                    <a:pt x="749141" y="252889"/>
                  </a:cubicBezTo>
                  <a:cubicBezTo>
                    <a:pt x="750094" y="250031"/>
                    <a:pt x="751046" y="246221"/>
                    <a:pt x="752951" y="244316"/>
                  </a:cubicBezTo>
                  <a:cubicBezTo>
                    <a:pt x="752951" y="244316"/>
                    <a:pt x="752951" y="244316"/>
                    <a:pt x="752951" y="244316"/>
                  </a:cubicBezTo>
                  <a:cubicBezTo>
                    <a:pt x="750094" y="256699"/>
                    <a:pt x="747236" y="269081"/>
                    <a:pt x="744379" y="282416"/>
                  </a:cubicBezTo>
                  <a:cubicBezTo>
                    <a:pt x="743426" y="287179"/>
                    <a:pt x="742474" y="291941"/>
                    <a:pt x="741521" y="296704"/>
                  </a:cubicBezTo>
                  <a:cubicBezTo>
                    <a:pt x="740569" y="299561"/>
                    <a:pt x="739616" y="302419"/>
                    <a:pt x="738664" y="306229"/>
                  </a:cubicBezTo>
                  <a:cubicBezTo>
                    <a:pt x="738664" y="306229"/>
                    <a:pt x="738664" y="306229"/>
                    <a:pt x="738664" y="306229"/>
                  </a:cubicBezTo>
                  <a:cubicBezTo>
                    <a:pt x="738664" y="302419"/>
                    <a:pt x="737711" y="297656"/>
                    <a:pt x="737711" y="293846"/>
                  </a:cubicBezTo>
                  <a:cubicBezTo>
                    <a:pt x="736759" y="285274"/>
                    <a:pt x="735806" y="277654"/>
                    <a:pt x="733901" y="270034"/>
                  </a:cubicBezTo>
                  <a:cubicBezTo>
                    <a:pt x="732949" y="266224"/>
                    <a:pt x="731996" y="263366"/>
                    <a:pt x="731996" y="259556"/>
                  </a:cubicBezTo>
                  <a:cubicBezTo>
                    <a:pt x="731996" y="258604"/>
                    <a:pt x="731996" y="258604"/>
                    <a:pt x="731044" y="257651"/>
                  </a:cubicBezTo>
                  <a:cubicBezTo>
                    <a:pt x="729139" y="238601"/>
                    <a:pt x="727234" y="223361"/>
                    <a:pt x="725329" y="210979"/>
                  </a:cubicBezTo>
                  <a:cubicBezTo>
                    <a:pt x="723424" y="195739"/>
                    <a:pt x="722471" y="186214"/>
                    <a:pt x="722471" y="186214"/>
                  </a:cubicBezTo>
                  <a:cubicBezTo>
                    <a:pt x="722471" y="186214"/>
                    <a:pt x="722471" y="190976"/>
                    <a:pt x="722471" y="199549"/>
                  </a:cubicBezTo>
                  <a:cubicBezTo>
                    <a:pt x="720566" y="204311"/>
                    <a:pt x="715804" y="220504"/>
                    <a:pt x="709136" y="243364"/>
                  </a:cubicBezTo>
                  <a:cubicBezTo>
                    <a:pt x="707231" y="238601"/>
                    <a:pt x="706279" y="233839"/>
                    <a:pt x="704374" y="229076"/>
                  </a:cubicBezTo>
                  <a:cubicBezTo>
                    <a:pt x="698659" y="211931"/>
                    <a:pt x="692944" y="195739"/>
                    <a:pt x="687229" y="181451"/>
                  </a:cubicBezTo>
                  <a:cubicBezTo>
                    <a:pt x="684371" y="174784"/>
                    <a:pt x="682466" y="168116"/>
                    <a:pt x="679609" y="161449"/>
                  </a:cubicBezTo>
                  <a:cubicBezTo>
                    <a:pt x="679609" y="156686"/>
                    <a:pt x="679609" y="151924"/>
                    <a:pt x="679609" y="148114"/>
                  </a:cubicBezTo>
                  <a:cubicBezTo>
                    <a:pt x="679609" y="138589"/>
                    <a:pt x="679609" y="130016"/>
                    <a:pt x="679609" y="122396"/>
                  </a:cubicBezTo>
                  <a:cubicBezTo>
                    <a:pt x="679609" y="108109"/>
                    <a:pt x="678656" y="100489"/>
                    <a:pt x="678656" y="100489"/>
                  </a:cubicBezTo>
                  <a:cubicBezTo>
                    <a:pt x="678656" y="100489"/>
                    <a:pt x="677704" y="108109"/>
                    <a:pt x="675799" y="122396"/>
                  </a:cubicBezTo>
                  <a:cubicBezTo>
                    <a:pt x="674846" y="128111"/>
                    <a:pt x="673894" y="135731"/>
                    <a:pt x="672941" y="144304"/>
                  </a:cubicBezTo>
                  <a:cubicBezTo>
                    <a:pt x="669131" y="134779"/>
                    <a:pt x="665321" y="127159"/>
                    <a:pt x="663416" y="122396"/>
                  </a:cubicBezTo>
                  <a:cubicBezTo>
                    <a:pt x="660559" y="117634"/>
                    <a:pt x="659606" y="114776"/>
                    <a:pt x="659606" y="114776"/>
                  </a:cubicBezTo>
                  <a:cubicBezTo>
                    <a:pt x="659606" y="114776"/>
                    <a:pt x="660559" y="117634"/>
                    <a:pt x="662464" y="123349"/>
                  </a:cubicBezTo>
                  <a:cubicBezTo>
                    <a:pt x="664369" y="129064"/>
                    <a:pt x="667226" y="136684"/>
                    <a:pt x="670084" y="147161"/>
                  </a:cubicBezTo>
                  <a:cubicBezTo>
                    <a:pt x="671036" y="149066"/>
                    <a:pt x="671036" y="151924"/>
                    <a:pt x="671989" y="153829"/>
                  </a:cubicBezTo>
                  <a:cubicBezTo>
                    <a:pt x="671989" y="157639"/>
                    <a:pt x="671036" y="160496"/>
                    <a:pt x="671036" y="164306"/>
                  </a:cubicBezTo>
                  <a:cubicBezTo>
                    <a:pt x="670084" y="170021"/>
                    <a:pt x="669131" y="175736"/>
                    <a:pt x="668179" y="181451"/>
                  </a:cubicBezTo>
                  <a:cubicBezTo>
                    <a:pt x="666274" y="193834"/>
                    <a:pt x="664369" y="206216"/>
                    <a:pt x="662464" y="219551"/>
                  </a:cubicBezTo>
                  <a:cubicBezTo>
                    <a:pt x="661511" y="226219"/>
                    <a:pt x="660559" y="232886"/>
                    <a:pt x="658654" y="239554"/>
                  </a:cubicBezTo>
                  <a:cubicBezTo>
                    <a:pt x="657701" y="236696"/>
                    <a:pt x="656749" y="233839"/>
                    <a:pt x="655796" y="231934"/>
                  </a:cubicBezTo>
                  <a:cubicBezTo>
                    <a:pt x="656749" y="218599"/>
                    <a:pt x="657701" y="210026"/>
                    <a:pt x="657701" y="210026"/>
                  </a:cubicBezTo>
                  <a:cubicBezTo>
                    <a:pt x="657701" y="210026"/>
                    <a:pt x="655796" y="215741"/>
                    <a:pt x="653891" y="226219"/>
                  </a:cubicBezTo>
                  <a:cubicBezTo>
                    <a:pt x="648176" y="212884"/>
                    <a:pt x="643414" y="201454"/>
                    <a:pt x="638651" y="191929"/>
                  </a:cubicBezTo>
                  <a:cubicBezTo>
                    <a:pt x="634841" y="184309"/>
                    <a:pt x="631984" y="178594"/>
                    <a:pt x="630079" y="174784"/>
                  </a:cubicBezTo>
                  <a:cubicBezTo>
                    <a:pt x="628174" y="170974"/>
                    <a:pt x="627221" y="169069"/>
                    <a:pt x="627221" y="169069"/>
                  </a:cubicBezTo>
                  <a:cubicBezTo>
                    <a:pt x="627221" y="169069"/>
                    <a:pt x="630079" y="178594"/>
                    <a:pt x="635794" y="193834"/>
                  </a:cubicBezTo>
                  <a:cubicBezTo>
                    <a:pt x="639604" y="205264"/>
                    <a:pt x="644366" y="221456"/>
                    <a:pt x="649129" y="240506"/>
                  </a:cubicBezTo>
                  <a:cubicBezTo>
                    <a:pt x="649129" y="241459"/>
                    <a:pt x="649129" y="242411"/>
                    <a:pt x="650081" y="244316"/>
                  </a:cubicBezTo>
                  <a:cubicBezTo>
                    <a:pt x="649129" y="250031"/>
                    <a:pt x="648176" y="255746"/>
                    <a:pt x="647224" y="262414"/>
                  </a:cubicBezTo>
                  <a:cubicBezTo>
                    <a:pt x="646271" y="268129"/>
                    <a:pt x="645319" y="273844"/>
                    <a:pt x="644366" y="279559"/>
                  </a:cubicBezTo>
                  <a:cubicBezTo>
                    <a:pt x="643414" y="285274"/>
                    <a:pt x="643414" y="291941"/>
                    <a:pt x="642461" y="298609"/>
                  </a:cubicBezTo>
                  <a:cubicBezTo>
                    <a:pt x="642461" y="298609"/>
                    <a:pt x="642461" y="298609"/>
                    <a:pt x="642461" y="298609"/>
                  </a:cubicBezTo>
                  <a:cubicBezTo>
                    <a:pt x="642461" y="296704"/>
                    <a:pt x="642461" y="294799"/>
                    <a:pt x="642461" y="294799"/>
                  </a:cubicBezTo>
                  <a:cubicBezTo>
                    <a:pt x="642461" y="294799"/>
                    <a:pt x="642461" y="302419"/>
                    <a:pt x="641509" y="315754"/>
                  </a:cubicBezTo>
                  <a:cubicBezTo>
                    <a:pt x="641509" y="316706"/>
                    <a:pt x="641509" y="316706"/>
                    <a:pt x="641509" y="317659"/>
                  </a:cubicBezTo>
                  <a:cubicBezTo>
                    <a:pt x="640556" y="314801"/>
                    <a:pt x="639604" y="311944"/>
                    <a:pt x="639604" y="309086"/>
                  </a:cubicBezTo>
                  <a:cubicBezTo>
                    <a:pt x="640556" y="306229"/>
                    <a:pt x="640556" y="304324"/>
                    <a:pt x="640556" y="304324"/>
                  </a:cubicBezTo>
                  <a:cubicBezTo>
                    <a:pt x="640556" y="304324"/>
                    <a:pt x="639604" y="305276"/>
                    <a:pt x="638651" y="307181"/>
                  </a:cubicBezTo>
                  <a:cubicBezTo>
                    <a:pt x="636746" y="299561"/>
                    <a:pt x="634841" y="291941"/>
                    <a:pt x="632936" y="284321"/>
                  </a:cubicBezTo>
                  <a:cubicBezTo>
                    <a:pt x="630079" y="271939"/>
                    <a:pt x="626269" y="260509"/>
                    <a:pt x="624364" y="250031"/>
                  </a:cubicBezTo>
                  <a:cubicBezTo>
                    <a:pt x="622459" y="239554"/>
                    <a:pt x="619601" y="230981"/>
                    <a:pt x="617696" y="223361"/>
                  </a:cubicBezTo>
                  <a:cubicBezTo>
                    <a:pt x="616744" y="218599"/>
                    <a:pt x="615791" y="214789"/>
                    <a:pt x="614839" y="210979"/>
                  </a:cubicBezTo>
                  <a:cubicBezTo>
                    <a:pt x="615791" y="204311"/>
                    <a:pt x="615791" y="197644"/>
                    <a:pt x="615791" y="190024"/>
                  </a:cubicBezTo>
                  <a:cubicBezTo>
                    <a:pt x="616744" y="169069"/>
                    <a:pt x="617696" y="148114"/>
                    <a:pt x="617696" y="126206"/>
                  </a:cubicBezTo>
                  <a:cubicBezTo>
                    <a:pt x="613886" y="146209"/>
                    <a:pt x="610076" y="166211"/>
                    <a:pt x="607219" y="187166"/>
                  </a:cubicBezTo>
                  <a:cubicBezTo>
                    <a:pt x="607219" y="186214"/>
                    <a:pt x="607219" y="185261"/>
                    <a:pt x="606266" y="184309"/>
                  </a:cubicBezTo>
                  <a:cubicBezTo>
                    <a:pt x="606266" y="186214"/>
                    <a:pt x="606266" y="188119"/>
                    <a:pt x="606266" y="189071"/>
                  </a:cubicBezTo>
                  <a:cubicBezTo>
                    <a:pt x="604361" y="197644"/>
                    <a:pt x="603409" y="207169"/>
                    <a:pt x="601504" y="215741"/>
                  </a:cubicBezTo>
                  <a:cubicBezTo>
                    <a:pt x="600551" y="213836"/>
                    <a:pt x="600551" y="211931"/>
                    <a:pt x="599599" y="210979"/>
                  </a:cubicBezTo>
                  <a:cubicBezTo>
                    <a:pt x="593884" y="198596"/>
                    <a:pt x="591026" y="191929"/>
                    <a:pt x="591026" y="191929"/>
                  </a:cubicBezTo>
                  <a:cubicBezTo>
                    <a:pt x="591026" y="191929"/>
                    <a:pt x="592931" y="199549"/>
                    <a:pt x="595789" y="212884"/>
                  </a:cubicBezTo>
                  <a:cubicBezTo>
                    <a:pt x="596741" y="217646"/>
                    <a:pt x="597694" y="223361"/>
                    <a:pt x="599599" y="230029"/>
                  </a:cubicBezTo>
                  <a:cubicBezTo>
                    <a:pt x="598646" y="237649"/>
                    <a:pt x="596741" y="244316"/>
                    <a:pt x="595789" y="251936"/>
                  </a:cubicBezTo>
                  <a:cubicBezTo>
                    <a:pt x="592931" y="266224"/>
                    <a:pt x="591026" y="280511"/>
                    <a:pt x="589121" y="294799"/>
                  </a:cubicBezTo>
                  <a:cubicBezTo>
                    <a:pt x="586264" y="290989"/>
                    <a:pt x="584359" y="288131"/>
                    <a:pt x="582454" y="284321"/>
                  </a:cubicBezTo>
                  <a:cubicBezTo>
                    <a:pt x="583406" y="277654"/>
                    <a:pt x="584359" y="270986"/>
                    <a:pt x="585311" y="265271"/>
                  </a:cubicBezTo>
                  <a:cubicBezTo>
                    <a:pt x="586264" y="256699"/>
                    <a:pt x="587216" y="250031"/>
                    <a:pt x="588169" y="244316"/>
                  </a:cubicBezTo>
                  <a:cubicBezTo>
                    <a:pt x="590074" y="232886"/>
                    <a:pt x="591026" y="225266"/>
                    <a:pt x="591026" y="225266"/>
                  </a:cubicBezTo>
                  <a:cubicBezTo>
                    <a:pt x="591026" y="225266"/>
                    <a:pt x="588169" y="231934"/>
                    <a:pt x="584359" y="243364"/>
                  </a:cubicBezTo>
                  <a:cubicBezTo>
                    <a:pt x="583406" y="247174"/>
                    <a:pt x="581501" y="252889"/>
                    <a:pt x="579596" y="258604"/>
                  </a:cubicBezTo>
                  <a:cubicBezTo>
                    <a:pt x="578644" y="248126"/>
                    <a:pt x="578644" y="239554"/>
                    <a:pt x="577691" y="231934"/>
                  </a:cubicBezTo>
                  <a:cubicBezTo>
                    <a:pt x="576739" y="218599"/>
                    <a:pt x="575786" y="210979"/>
                    <a:pt x="575786" y="210979"/>
                  </a:cubicBezTo>
                  <a:cubicBezTo>
                    <a:pt x="575786" y="210979"/>
                    <a:pt x="574834" y="218599"/>
                    <a:pt x="573881" y="230981"/>
                  </a:cubicBezTo>
                  <a:cubicBezTo>
                    <a:pt x="572929" y="240506"/>
                    <a:pt x="571976" y="252889"/>
                    <a:pt x="571024" y="267176"/>
                  </a:cubicBezTo>
                  <a:cubicBezTo>
                    <a:pt x="571024" y="267176"/>
                    <a:pt x="571024" y="267176"/>
                    <a:pt x="571024" y="267176"/>
                  </a:cubicBezTo>
                  <a:cubicBezTo>
                    <a:pt x="570071" y="265271"/>
                    <a:pt x="568166" y="264319"/>
                    <a:pt x="567214" y="262414"/>
                  </a:cubicBezTo>
                  <a:cubicBezTo>
                    <a:pt x="561499" y="245269"/>
                    <a:pt x="556736" y="230981"/>
                    <a:pt x="552926" y="219551"/>
                  </a:cubicBezTo>
                  <a:cubicBezTo>
                    <a:pt x="552926" y="219551"/>
                    <a:pt x="552926" y="218599"/>
                    <a:pt x="552926" y="218599"/>
                  </a:cubicBezTo>
                  <a:cubicBezTo>
                    <a:pt x="553879" y="208121"/>
                    <a:pt x="554831" y="198596"/>
                    <a:pt x="555784" y="189071"/>
                  </a:cubicBezTo>
                  <a:cubicBezTo>
                    <a:pt x="556736" y="179546"/>
                    <a:pt x="557689" y="170021"/>
                    <a:pt x="558641" y="162401"/>
                  </a:cubicBezTo>
                  <a:cubicBezTo>
                    <a:pt x="559594" y="154781"/>
                    <a:pt x="560546" y="147161"/>
                    <a:pt x="561499" y="141446"/>
                  </a:cubicBezTo>
                  <a:cubicBezTo>
                    <a:pt x="563404" y="130016"/>
                    <a:pt x="564356" y="123349"/>
                    <a:pt x="564356" y="123349"/>
                  </a:cubicBezTo>
                  <a:cubicBezTo>
                    <a:pt x="564356" y="123349"/>
                    <a:pt x="561499" y="130016"/>
                    <a:pt x="557689" y="140494"/>
                  </a:cubicBezTo>
                  <a:cubicBezTo>
                    <a:pt x="555784" y="146209"/>
                    <a:pt x="553879" y="152876"/>
                    <a:pt x="551021" y="160496"/>
                  </a:cubicBezTo>
                  <a:cubicBezTo>
                    <a:pt x="548164" y="168116"/>
                    <a:pt x="546259" y="177641"/>
                    <a:pt x="544354" y="187166"/>
                  </a:cubicBezTo>
                  <a:cubicBezTo>
                    <a:pt x="542449" y="196691"/>
                    <a:pt x="540544" y="207169"/>
                    <a:pt x="537686" y="218599"/>
                  </a:cubicBezTo>
                  <a:cubicBezTo>
                    <a:pt x="536734" y="222409"/>
                    <a:pt x="536734" y="227171"/>
                    <a:pt x="535781" y="231934"/>
                  </a:cubicBezTo>
                  <a:cubicBezTo>
                    <a:pt x="535781" y="228124"/>
                    <a:pt x="534829" y="224314"/>
                    <a:pt x="534829" y="220504"/>
                  </a:cubicBezTo>
                  <a:cubicBezTo>
                    <a:pt x="534829" y="214789"/>
                    <a:pt x="533876" y="210026"/>
                    <a:pt x="532924" y="205264"/>
                  </a:cubicBezTo>
                  <a:cubicBezTo>
                    <a:pt x="532924" y="198596"/>
                    <a:pt x="533876" y="192881"/>
                    <a:pt x="533876" y="186214"/>
                  </a:cubicBezTo>
                  <a:cubicBezTo>
                    <a:pt x="533876" y="179546"/>
                    <a:pt x="534829" y="172879"/>
                    <a:pt x="534829" y="166211"/>
                  </a:cubicBezTo>
                  <a:cubicBezTo>
                    <a:pt x="534829" y="159544"/>
                    <a:pt x="534829" y="153829"/>
                    <a:pt x="534829" y="148114"/>
                  </a:cubicBezTo>
                  <a:cubicBezTo>
                    <a:pt x="534829" y="136684"/>
                    <a:pt x="534829" y="127159"/>
                    <a:pt x="534829" y="118586"/>
                  </a:cubicBezTo>
                  <a:cubicBezTo>
                    <a:pt x="534829" y="102394"/>
                    <a:pt x="533876" y="92869"/>
                    <a:pt x="533876" y="92869"/>
                  </a:cubicBezTo>
                  <a:cubicBezTo>
                    <a:pt x="533876" y="92869"/>
                    <a:pt x="532924" y="102394"/>
                    <a:pt x="531019" y="118586"/>
                  </a:cubicBezTo>
                  <a:cubicBezTo>
                    <a:pt x="530066" y="126206"/>
                    <a:pt x="529114" y="136684"/>
                    <a:pt x="528161" y="147161"/>
                  </a:cubicBezTo>
                  <a:cubicBezTo>
                    <a:pt x="527209" y="152876"/>
                    <a:pt x="527209" y="158591"/>
                    <a:pt x="526256" y="165259"/>
                  </a:cubicBezTo>
                  <a:cubicBezTo>
                    <a:pt x="525304" y="171926"/>
                    <a:pt x="524351" y="177641"/>
                    <a:pt x="523399" y="185261"/>
                  </a:cubicBezTo>
                  <a:cubicBezTo>
                    <a:pt x="522446" y="189071"/>
                    <a:pt x="522446" y="192881"/>
                    <a:pt x="521494" y="197644"/>
                  </a:cubicBezTo>
                  <a:cubicBezTo>
                    <a:pt x="518636" y="187166"/>
                    <a:pt x="516731" y="177641"/>
                    <a:pt x="513874" y="170021"/>
                  </a:cubicBezTo>
                  <a:cubicBezTo>
                    <a:pt x="509111" y="153829"/>
                    <a:pt x="506254" y="144304"/>
                    <a:pt x="506254" y="144304"/>
                  </a:cubicBezTo>
                  <a:cubicBezTo>
                    <a:pt x="506254" y="144304"/>
                    <a:pt x="507206" y="153829"/>
                    <a:pt x="510064" y="170974"/>
                  </a:cubicBezTo>
                  <a:cubicBezTo>
                    <a:pt x="511969" y="184309"/>
                    <a:pt x="513874" y="201454"/>
                    <a:pt x="517684" y="222409"/>
                  </a:cubicBezTo>
                  <a:cubicBezTo>
                    <a:pt x="517684" y="225266"/>
                    <a:pt x="516731" y="227171"/>
                    <a:pt x="516731" y="230029"/>
                  </a:cubicBezTo>
                  <a:cubicBezTo>
                    <a:pt x="515779" y="237649"/>
                    <a:pt x="514826" y="244316"/>
                    <a:pt x="512921" y="251936"/>
                  </a:cubicBezTo>
                  <a:cubicBezTo>
                    <a:pt x="499586" y="210026"/>
                    <a:pt x="490061" y="181451"/>
                    <a:pt x="487204" y="172879"/>
                  </a:cubicBezTo>
                  <a:cubicBezTo>
                    <a:pt x="486251" y="167164"/>
                    <a:pt x="485299" y="164306"/>
                    <a:pt x="485299" y="164306"/>
                  </a:cubicBezTo>
                  <a:cubicBezTo>
                    <a:pt x="485299" y="164306"/>
                    <a:pt x="486251" y="173831"/>
                    <a:pt x="486251" y="189071"/>
                  </a:cubicBezTo>
                  <a:cubicBezTo>
                    <a:pt x="487204" y="196691"/>
                    <a:pt x="487204" y="207169"/>
                    <a:pt x="488156" y="217646"/>
                  </a:cubicBezTo>
                  <a:cubicBezTo>
                    <a:pt x="488156" y="224314"/>
                    <a:pt x="489109" y="230981"/>
                    <a:pt x="489109" y="238601"/>
                  </a:cubicBezTo>
                  <a:cubicBezTo>
                    <a:pt x="488156" y="232886"/>
                    <a:pt x="487204" y="228124"/>
                    <a:pt x="486251" y="223361"/>
                  </a:cubicBezTo>
                  <a:cubicBezTo>
                    <a:pt x="485299" y="217646"/>
                    <a:pt x="484346" y="212884"/>
                    <a:pt x="482441" y="207169"/>
                  </a:cubicBezTo>
                  <a:cubicBezTo>
                    <a:pt x="480536" y="202406"/>
                    <a:pt x="479584" y="197644"/>
                    <a:pt x="478631" y="192881"/>
                  </a:cubicBezTo>
                  <a:cubicBezTo>
                    <a:pt x="475774" y="184309"/>
                    <a:pt x="473869" y="176689"/>
                    <a:pt x="471964" y="170021"/>
                  </a:cubicBezTo>
                  <a:cubicBezTo>
                    <a:pt x="468154" y="157639"/>
                    <a:pt x="465296" y="150019"/>
                    <a:pt x="465296" y="150019"/>
                  </a:cubicBezTo>
                  <a:cubicBezTo>
                    <a:pt x="465296" y="150019"/>
                    <a:pt x="466249" y="157639"/>
                    <a:pt x="468154" y="170021"/>
                  </a:cubicBezTo>
                  <a:cubicBezTo>
                    <a:pt x="469106" y="176689"/>
                    <a:pt x="470059" y="184309"/>
                    <a:pt x="471011" y="193834"/>
                  </a:cubicBezTo>
                  <a:cubicBezTo>
                    <a:pt x="471964" y="198596"/>
                    <a:pt x="471964" y="203359"/>
                    <a:pt x="472916" y="208121"/>
                  </a:cubicBezTo>
                  <a:cubicBezTo>
                    <a:pt x="473869" y="212884"/>
                    <a:pt x="473869" y="218599"/>
                    <a:pt x="474821" y="224314"/>
                  </a:cubicBezTo>
                  <a:cubicBezTo>
                    <a:pt x="475774" y="233839"/>
                    <a:pt x="476726" y="244316"/>
                    <a:pt x="478631" y="255746"/>
                  </a:cubicBezTo>
                  <a:cubicBezTo>
                    <a:pt x="477679" y="250031"/>
                    <a:pt x="475774" y="245269"/>
                    <a:pt x="474821" y="240506"/>
                  </a:cubicBezTo>
                  <a:cubicBezTo>
                    <a:pt x="467201" y="211931"/>
                    <a:pt x="460534" y="188119"/>
                    <a:pt x="455771" y="170974"/>
                  </a:cubicBezTo>
                  <a:cubicBezTo>
                    <a:pt x="450056" y="154781"/>
                    <a:pt x="447199" y="145256"/>
                    <a:pt x="447199" y="145256"/>
                  </a:cubicBezTo>
                  <a:cubicBezTo>
                    <a:pt x="447199" y="145256"/>
                    <a:pt x="449104" y="154781"/>
                    <a:pt x="451961" y="171926"/>
                  </a:cubicBezTo>
                  <a:cubicBezTo>
                    <a:pt x="453866" y="180499"/>
                    <a:pt x="454819" y="190976"/>
                    <a:pt x="457676" y="202406"/>
                  </a:cubicBezTo>
                  <a:cubicBezTo>
                    <a:pt x="459581" y="213836"/>
                    <a:pt x="462439" y="227171"/>
                    <a:pt x="464344" y="242411"/>
                  </a:cubicBezTo>
                  <a:cubicBezTo>
                    <a:pt x="466249" y="254794"/>
                    <a:pt x="469106" y="268129"/>
                    <a:pt x="471011" y="282416"/>
                  </a:cubicBezTo>
                  <a:cubicBezTo>
                    <a:pt x="469106" y="278606"/>
                    <a:pt x="468154" y="275749"/>
                    <a:pt x="467201" y="272891"/>
                  </a:cubicBezTo>
                  <a:cubicBezTo>
                    <a:pt x="462439" y="262414"/>
                    <a:pt x="459581" y="255746"/>
                    <a:pt x="459581" y="255746"/>
                  </a:cubicBezTo>
                  <a:cubicBezTo>
                    <a:pt x="459581" y="255746"/>
                    <a:pt x="460534" y="262414"/>
                    <a:pt x="463391" y="273844"/>
                  </a:cubicBezTo>
                  <a:cubicBezTo>
                    <a:pt x="464344" y="279559"/>
                    <a:pt x="466249" y="286226"/>
                    <a:pt x="468154" y="293846"/>
                  </a:cubicBezTo>
                  <a:cubicBezTo>
                    <a:pt x="469106" y="297656"/>
                    <a:pt x="470059" y="302419"/>
                    <a:pt x="471011" y="306229"/>
                  </a:cubicBezTo>
                  <a:cubicBezTo>
                    <a:pt x="471964" y="310991"/>
                    <a:pt x="472916" y="315754"/>
                    <a:pt x="473869" y="320516"/>
                  </a:cubicBezTo>
                  <a:cubicBezTo>
                    <a:pt x="475774" y="330041"/>
                    <a:pt x="477679" y="340519"/>
                    <a:pt x="479584" y="351949"/>
                  </a:cubicBezTo>
                  <a:cubicBezTo>
                    <a:pt x="479584" y="352901"/>
                    <a:pt x="479584" y="352901"/>
                    <a:pt x="479584" y="353854"/>
                  </a:cubicBezTo>
                  <a:cubicBezTo>
                    <a:pt x="479584" y="353854"/>
                    <a:pt x="479584" y="352901"/>
                    <a:pt x="478631" y="351949"/>
                  </a:cubicBezTo>
                  <a:cubicBezTo>
                    <a:pt x="476726" y="347186"/>
                    <a:pt x="473869" y="343376"/>
                    <a:pt x="471964" y="338614"/>
                  </a:cubicBezTo>
                  <a:cubicBezTo>
                    <a:pt x="471011" y="333851"/>
                    <a:pt x="471011" y="329089"/>
                    <a:pt x="470059" y="324326"/>
                  </a:cubicBezTo>
                  <a:cubicBezTo>
                    <a:pt x="468154" y="309086"/>
                    <a:pt x="465296" y="294799"/>
                    <a:pt x="462439" y="280511"/>
                  </a:cubicBezTo>
                  <a:cubicBezTo>
                    <a:pt x="459581" y="266224"/>
                    <a:pt x="455771" y="252889"/>
                    <a:pt x="452914" y="240506"/>
                  </a:cubicBezTo>
                  <a:cubicBezTo>
                    <a:pt x="449104" y="228124"/>
                    <a:pt x="445294" y="215741"/>
                    <a:pt x="441484" y="205264"/>
                  </a:cubicBezTo>
                  <a:cubicBezTo>
                    <a:pt x="440531" y="201454"/>
                    <a:pt x="438626" y="198596"/>
                    <a:pt x="437674" y="194786"/>
                  </a:cubicBezTo>
                  <a:cubicBezTo>
                    <a:pt x="438626" y="185261"/>
                    <a:pt x="439579" y="175736"/>
                    <a:pt x="440531" y="167164"/>
                  </a:cubicBezTo>
                  <a:cubicBezTo>
                    <a:pt x="441484" y="151924"/>
                    <a:pt x="442436" y="139541"/>
                    <a:pt x="442436" y="128111"/>
                  </a:cubicBezTo>
                  <a:cubicBezTo>
                    <a:pt x="442436" y="106204"/>
                    <a:pt x="441484" y="94774"/>
                    <a:pt x="441484" y="94774"/>
                  </a:cubicBezTo>
                  <a:cubicBezTo>
                    <a:pt x="441484" y="94774"/>
                    <a:pt x="440531" y="107156"/>
                    <a:pt x="438626" y="128111"/>
                  </a:cubicBezTo>
                  <a:cubicBezTo>
                    <a:pt x="437674" y="138589"/>
                    <a:pt x="435769" y="151924"/>
                    <a:pt x="433864" y="166211"/>
                  </a:cubicBezTo>
                  <a:cubicBezTo>
                    <a:pt x="432911" y="170021"/>
                    <a:pt x="432911" y="173831"/>
                    <a:pt x="431959" y="178594"/>
                  </a:cubicBezTo>
                  <a:cubicBezTo>
                    <a:pt x="431959" y="177641"/>
                    <a:pt x="431006" y="176689"/>
                    <a:pt x="431006" y="175736"/>
                  </a:cubicBezTo>
                  <a:cubicBezTo>
                    <a:pt x="427196" y="167164"/>
                    <a:pt x="423386" y="159544"/>
                    <a:pt x="419576" y="153829"/>
                  </a:cubicBezTo>
                  <a:cubicBezTo>
                    <a:pt x="412909" y="142399"/>
                    <a:pt x="408146" y="135731"/>
                    <a:pt x="408146" y="135731"/>
                  </a:cubicBezTo>
                  <a:cubicBezTo>
                    <a:pt x="408146" y="135731"/>
                    <a:pt x="411004" y="143351"/>
                    <a:pt x="415766" y="155734"/>
                  </a:cubicBezTo>
                  <a:cubicBezTo>
                    <a:pt x="418624" y="161449"/>
                    <a:pt x="420529" y="170021"/>
                    <a:pt x="423386" y="178594"/>
                  </a:cubicBezTo>
                  <a:cubicBezTo>
                    <a:pt x="425291" y="184309"/>
                    <a:pt x="427196" y="190024"/>
                    <a:pt x="428149" y="195739"/>
                  </a:cubicBezTo>
                  <a:cubicBezTo>
                    <a:pt x="427196" y="201454"/>
                    <a:pt x="425291" y="208121"/>
                    <a:pt x="424339" y="214789"/>
                  </a:cubicBezTo>
                  <a:cubicBezTo>
                    <a:pt x="424339" y="214789"/>
                    <a:pt x="424339" y="214789"/>
                    <a:pt x="424339" y="214789"/>
                  </a:cubicBezTo>
                  <a:cubicBezTo>
                    <a:pt x="418624" y="206216"/>
                    <a:pt x="415766" y="202406"/>
                    <a:pt x="415766" y="202406"/>
                  </a:cubicBezTo>
                  <a:cubicBezTo>
                    <a:pt x="415766" y="202406"/>
                    <a:pt x="417671" y="208121"/>
                    <a:pt x="421481" y="216694"/>
                  </a:cubicBezTo>
                  <a:cubicBezTo>
                    <a:pt x="422434" y="218599"/>
                    <a:pt x="423386" y="220504"/>
                    <a:pt x="423386" y="223361"/>
                  </a:cubicBezTo>
                  <a:cubicBezTo>
                    <a:pt x="420529" y="238601"/>
                    <a:pt x="416719" y="255746"/>
                    <a:pt x="412909" y="272891"/>
                  </a:cubicBezTo>
                  <a:cubicBezTo>
                    <a:pt x="410051" y="264319"/>
                    <a:pt x="407194" y="257651"/>
                    <a:pt x="405289" y="253841"/>
                  </a:cubicBezTo>
                  <a:cubicBezTo>
                    <a:pt x="405289" y="253841"/>
                    <a:pt x="405289" y="253841"/>
                    <a:pt x="405289" y="253841"/>
                  </a:cubicBezTo>
                  <a:cubicBezTo>
                    <a:pt x="405289" y="237649"/>
                    <a:pt x="405289" y="223361"/>
                    <a:pt x="404336" y="210026"/>
                  </a:cubicBezTo>
                  <a:cubicBezTo>
                    <a:pt x="403384" y="196691"/>
                    <a:pt x="403384" y="185261"/>
                    <a:pt x="401479" y="176689"/>
                  </a:cubicBezTo>
                  <a:cubicBezTo>
                    <a:pt x="398621" y="158591"/>
                    <a:pt x="396716" y="148114"/>
                    <a:pt x="396716" y="148114"/>
                  </a:cubicBezTo>
                  <a:cubicBezTo>
                    <a:pt x="396716" y="148114"/>
                    <a:pt x="396716" y="158591"/>
                    <a:pt x="397669" y="177641"/>
                  </a:cubicBezTo>
                  <a:cubicBezTo>
                    <a:pt x="397669" y="186214"/>
                    <a:pt x="397669" y="195739"/>
                    <a:pt x="396716" y="206216"/>
                  </a:cubicBezTo>
                  <a:cubicBezTo>
                    <a:pt x="394811" y="214789"/>
                    <a:pt x="391954" y="228124"/>
                    <a:pt x="389096" y="244316"/>
                  </a:cubicBezTo>
                  <a:cubicBezTo>
                    <a:pt x="386239" y="235744"/>
                    <a:pt x="384334" y="227171"/>
                    <a:pt x="381476" y="219551"/>
                  </a:cubicBezTo>
                  <a:cubicBezTo>
                    <a:pt x="379571" y="212884"/>
                    <a:pt x="377666" y="205264"/>
                    <a:pt x="374809" y="199549"/>
                  </a:cubicBezTo>
                  <a:cubicBezTo>
                    <a:pt x="373856" y="197644"/>
                    <a:pt x="373856" y="196691"/>
                    <a:pt x="372904" y="194786"/>
                  </a:cubicBezTo>
                  <a:cubicBezTo>
                    <a:pt x="372904" y="193834"/>
                    <a:pt x="372904" y="192881"/>
                    <a:pt x="372904" y="190976"/>
                  </a:cubicBezTo>
                  <a:cubicBezTo>
                    <a:pt x="371951" y="186214"/>
                    <a:pt x="370999" y="181451"/>
                    <a:pt x="370046" y="177641"/>
                  </a:cubicBezTo>
                  <a:cubicBezTo>
                    <a:pt x="368141" y="169069"/>
                    <a:pt x="367189" y="162401"/>
                    <a:pt x="366236" y="155734"/>
                  </a:cubicBezTo>
                  <a:cubicBezTo>
                    <a:pt x="365284" y="152876"/>
                    <a:pt x="365284" y="150019"/>
                    <a:pt x="364331" y="148114"/>
                  </a:cubicBezTo>
                  <a:cubicBezTo>
                    <a:pt x="363379" y="140494"/>
                    <a:pt x="363379" y="135731"/>
                    <a:pt x="363379" y="135731"/>
                  </a:cubicBezTo>
                  <a:cubicBezTo>
                    <a:pt x="363379" y="135731"/>
                    <a:pt x="363379" y="137636"/>
                    <a:pt x="363379" y="140494"/>
                  </a:cubicBezTo>
                  <a:cubicBezTo>
                    <a:pt x="362426" y="138589"/>
                    <a:pt x="362426" y="136684"/>
                    <a:pt x="362426" y="136684"/>
                  </a:cubicBezTo>
                  <a:cubicBezTo>
                    <a:pt x="362426" y="136684"/>
                    <a:pt x="362426" y="142399"/>
                    <a:pt x="362426" y="151924"/>
                  </a:cubicBezTo>
                  <a:cubicBezTo>
                    <a:pt x="362426" y="154781"/>
                    <a:pt x="362426" y="158591"/>
                    <a:pt x="361474" y="163354"/>
                  </a:cubicBezTo>
                  <a:cubicBezTo>
                    <a:pt x="359569" y="159544"/>
                    <a:pt x="358616" y="155734"/>
                    <a:pt x="357664" y="151924"/>
                  </a:cubicBezTo>
                  <a:cubicBezTo>
                    <a:pt x="350996" y="135731"/>
                    <a:pt x="348139" y="127159"/>
                    <a:pt x="348139" y="127159"/>
                  </a:cubicBezTo>
                  <a:cubicBezTo>
                    <a:pt x="348139" y="127159"/>
                    <a:pt x="350044" y="136684"/>
                    <a:pt x="353854" y="153829"/>
                  </a:cubicBezTo>
                  <a:cubicBezTo>
                    <a:pt x="355759" y="162401"/>
                    <a:pt x="358616" y="171926"/>
                    <a:pt x="361474" y="183356"/>
                  </a:cubicBezTo>
                  <a:cubicBezTo>
                    <a:pt x="361474" y="186214"/>
                    <a:pt x="361474" y="189071"/>
                    <a:pt x="361474" y="192881"/>
                  </a:cubicBezTo>
                  <a:cubicBezTo>
                    <a:pt x="359569" y="187166"/>
                    <a:pt x="357664" y="184309"/>
                    <a:pt x="357664" y="184309"/>
                  </a:cubicBezTo>
                  <a:cubicBezTo>
                    <a:pt x="357664" y="184309"/>
                    <a:pt x="358616" y="189071"/>
                    <a:pt x="360521" y="198596"/>
                  </a:cubicBezTo>
                  <a:cubicBezTo>
                    <a:pt x="360521" y="205264"/>
                    <a:pt x="360521" y="212884"/>
                    <a:pt x="359569" y="221456"/>
                  </a:cubicBezTo>
                  <a:cubicBezTo>
                    <a:pt x="357664" y="216694"/>
                    <a:pt x="356711" y="211931"/>
                    <a:pt x="355759" y="208121"/>
                  </a:cubicBezTo>
                  <a:cubicBezTo>
                    <a:pt x="352901" y="199549"/>
                    <a:pt x="350996" y="193834"/>
                    <a:pt x="350996" y="193834"/>
                  </a:cubicBezTo>
                  <a:cubicBezTo>
                    <a:pt x="350996" y="193834"/>
                    <a:pt x="350996" y="199549"/>
                    <a:pt x="351949" y="208121"/>
                  </a:cubicBezTo>
                  <a:cubicBezTo>
                    <a:pt x="351949" y="212884"/>
                    <a:pt x="352901" y="218599"/>
                    <a:pt x="352901" y="224314"/>
                  </a:cubicBezTo>
                  <a:cubicBezTo>
                    <a:pt x="353854" y="230981"/>
                    <a:pt x="353854" y="237649"/>
                    <a:pt x="353854" y="246221"/>
                  </a:cubicBezTo>
                  <a:cubicBezTo>
                    <a:pt x="353854" y="253841"/>
                    <a:pt x="354806" y="262414"/>
                    <a:pt x="354806" y="270986"/>
                  </a:cubicBezTo>
                  <a:cubicBezTo>
                    <a:pt x="355759" y="279559"/>
                    <a:pt x="355759" y="289084"/>
                    <a:pt x="355759" y="299561"/>
                  </a:cubicBezTo>
                  <a:cubicBezTo>
                    <a:pt x="355759" y="305276"/>
                    <a:pt x="356711" y="310991"/>
                    <a:pt x="356711" y="316706"/>
                  </a:cubicBezTo>
                  <a:cubicBezTo>
                    <a:pt x="352901" y="310039"/>
                    <a:pt x="349091" y="303371"/>
                    <a:pt x="346234" y="298609"/>
                  </a:cubicBezTo>
                  <a:cubicBezTo>
                    <a:pt x="346234" y="297656"/>
                    <a:pt x="345281" y="297656"/>
                    <a:pt x="345281" y="296704"/>
                  </a:cubicBezTo>
                  <a:cubicBezTo>
                    <a:pt x="345281" y="294799"/>
                    <a:pt x="345281" y="293846"/>
                    <a:pt x="345281" y="291941"/>
                  </a:cubicBezTo>
                  <a:cubicBezTo>
                    <a:pt x="346234" y="282416"/>
                    <a:pt x="347186" y="274796"/>
                    <a:pt x="348139" y="267176"/>
                  </a:cubicBezTo>
                  <a:cubicBezTo>
                    <a:pt x="349091" y="253841"/>
                    <a:pt x="350044" y="246221"/>
                    <a:pt x="350044" y="246221"/>
                  </a:cubicBezTo>
                  <a:cubicBezTo>
                    <a:pt x="350044" y="246221"/>
                    <a:pt x="348139" y="253841"/>
                    <a:pt x="344329" y="267176"/>
                  </a:cubicBezTo>
                  <a:cubicBezTo>
                    <a:pt x="342424" y="272891"/>
                    <a:pt x="341471" y="279559"/>
                    <a:pt x="339566" y="287179"/>
                  </a:cubicBezTo>
                  <a:cubicBezTo>
                    <a:pt x="339566" y="287179"/>
                    <a:pt x="339566" y="287179"/>
                    <a:pt x="339566" y="287179"/>
                  </a:cubicBezTo>
                  <a:cubicBezTo>
                    <a:pt x="339566" y="287179"/>
                    <a:pt x="339566" y="287179"/>
                    <a:pt x="339566" y="288131"/>
                  </a:cubicBezTo>
                  <a:cubicBezTo>
                    <a:pt x="339566" y="289084"/>
                    <a:pt x="338614" y="290036"/>
                    <a:pt x="338614" y="291941"/>
                  </a:cubicBezTo>
                  <a:cubicBezTo>
                    <a:pt x="338614" y="293846"/>
                    <a:pt x="337661" y="295751"/>
                    <a:pt x="337661" y="297656"/>
                  </a:cubicBezTo>
                  <a:cubicBezTo>
                    <a:pt x="332899" y="290036"/>
                    <a:pt x="328136" y="283369"/>
                    <a:pt x="324326" y="277654"/>
                  </a:cubicBezTo>
                  <a:cubicBezTo>
                    <a:pt x="320516" y="263366"/>
                    <a:pt x="315754" y="249079"/>
                    <a:pt x="310991" y="233839"/>
                  </a:cubicBezTo>
                  <a:cubicBezTo>
                    <a:pt x="308134" y="226219"/>
                    <a:pt x="306229" y="219551"/>
                    <a:pt x="303371" y="211931"/>
                  </a:cubicBezTo>
                  <a:cubicBezTo>
                    <a:pt x="304324" y="206216"/>
                    <a:pt x="305276" y="201454"/>
                    <a:pt x="306229" y="196691"/>
                  </a:cubicBezTo>
                  <a:cubicBezTo>
                    <a:pt x="310039" y="179546"/>
                    <a:pt x="312896" y="164306"/>
                    <a:pt x="316706" y="150971"/>
                  </a:cubicBezTo>
                  <a:cubicBezTo>
                    <a:pt x="320516" y="137636"/>
                    <a:pt x="322421" y="125254"/>
                    <a:pt x="326231" y="115729"/>
                  </a:cubicBezTo>
                  <a:cubicBezTo>
                    <a:pt x="331946" y="96679"/>
                    <a:pt x="335756" y="85249"/>
                    <a:pt x="335756" y="85249"/>
                  </a:cubicBezTo>
                  <a:cubicBezTo>
                    <a:pt x="335756" y="85249"/>
                    <a:pt x="330994" y="95726"/>
                    <a:pt x="323374" y="113824"/>
                  </a:cubicBezTo>
                  <a:cubicBezTo>
                    <a:pt x="319564" y="123349"/>
                    <a:pt x="315754" y="134779"/>
                    <a:pt x="310991" y="148114"/>
                  </a:cubicBezTo>
                  <a:cubicBezTo>
                    <a:pt x="309086" y="154781"/>
                    <a:pt x="306229" y="161449"/>
                    <a:pt x="303371" y="169069"/>
                  </a:cubicBezTo>
                  <a:cubicBezTo>
                    <a:pt x="301466" y="175736"/>
                    <a:pt x="299561" y="183356"/>
                    <a:pt x="297656" y="190024"/>
                  </a:cubicBezTo>
                  <a:cubicBezTo>
                    <a:pt x="293846" y="179546"/>
                    <a:pt x="290989" y="170021"/>
                    <a:pt x="287179" y="159544"/>
                  </a:cubicBezTo>
                  <a:cubicBezTo>
                    <a:pt x="290036" y="172879"/>
                    <a:pt x="291941" y="185261"/>
                    <a:pt x="294799" y="198596"/>
                  </a:cubicBezTo>
                  <a:cubicBezTo>
                    <a:pt x="290989" y="213836"/>
                    <a:pt x="287179" y="230029"/>
                    <a:pt x="283369" y="247174"/>
                  </a:cubicBezTo>
                  <a:cubicBezTo>
                    <a:pt x="282416" y="252889"/>
                    <a:pt x="281464" y="258604"/>
                    <a:pt x="279559" y="264319"/>
                  </a:cubicBezTo>
                  <a:cubicBezTo>
                    <a:pt x="278606" y="260509"/>
                    <a:pt x="277654" y="257651"/>
                    <a:pt x="276701" y="253841"/>
                  </a:cubicBezTo>
                  <a:cubicBezTo>
                    <a:pt x="276701" y="245269"/>
                    <a:pt x="277654" y="235744"/>
                    <a:pt x="278606" y="227171"/>
                  </a:cubicBezTo>
                  <a:cubicBezTo>
                    <a:pt x="280511" y="205264"/>
                    <a:pt x="281464" y="185261"/>
                    <a:pt x="284321" y="166211"/>
                  </a:cubicBezTo>
                  <a:cubicBezTo>
                    <a:pt x="285274" y="156686"/>
                    <a:pt x="286226" y="148114"/>
                    <a:pt x="287179" y="139541"/>
                  </a:cubicBezTo>
                  <a:cubicBezTo>
                    <a:pt x="288131" y="130969"/>
                    <a:pt x="290036" y="123349"/>
                    <a:pt x="290989" y="115729"/>
                  </a:cubicBezTo>
                  <a:cubicBezTo>
                    <a:pt x="293846" y="100489"/>
                    <a:pt x="294799" y="87154"/>
                    <a:pt x="297656" y="76676"/>
                  </a:cubicBezTo>
                  <a:cubicBezTo>
                    <a:pt x="302419" y="54769"/>
                    <a:pt x="304324" y="42386"/>
                    <a:pt x="304324" y="42386"/>
                  </a:cubicBezTo>
                  <a:cubicBezTo>
                    <a:pt x="304324" y="42386"/>
                    <a:pt x="300514" y="54769"/>
                    <a:pt x="293846" y="75724"/>
                  </a:cubicBezTo>
                  <a:cubicBezTo>
                    <a:pt x="290036" y="86201"/>
                    <a:pt x="287179" y="99536"/>
                    <a:pt x="283369" y="114776"/>
                  </a:cubicBezTo>
                  <a:cubicBezTo>
                    <a:pt x="281464" y="122396"/>
                    <a:pt x="279559" y="130016"/>
                    <a:pt x="277654" y="138589"/>
                  </a:cubicBezTo>
                  <a:cubicBezTo>
                    <a:pt x="275749" y="147161"/>
                    <a:pt x="274796" y="156686"/>
                    <a:pt x="272891" y="165259"/>
                  </a:cubicBezTo>
                  <a:cubicBezTo>
                    <a:pt x="271939" y="170021"/>
                    <a:pt x="270986" y="173831"/>
                    <a:pt x="270034" y="178594"/>
                  </a:cubicBezTo>
                  <a:cubicBezTo>
                    <a:pt x="268129" y="182404"/>
                    <a:pt x="265271" y="188119"/>
                    <a:pt x="261461" y="196691"/>
                  </a:cubicBezTo>
                  <a:cubicBezTo>
                    <a:pt x="260509" y="191929"/>
                    <a:pt x="258604" y="187166"/>
                    <a:pt x="258604" y="183356"/>
                  </a:cubicBezTo>
                  <a:cubicBezTo>
                    <a:pt x="255746" y="170021"/>
                    <a:pt x="253841" y="161449"/>
                    <a:pt x="253841" y="161449"/>
                  </a:cubicBezTo>
                  <a:cubicBezTo>
                    <a:pt x="253841" y="161449"/>
                    <a:pt x="253841" y="169069"/>
                    <a:pt x="254794" y="183356"/>
                  </a:cubicBezTo>
                  <a:cubicBezTo>
                    <a:pt x="254794" y="190024"/>
                    <a:pt x="255746" y="197644"/>
                    <a:pt x="256699" y="207169"/>
                  </a:cubicBezTo>
                  <a:cubicBezTo>
                    <a:pt x="253841" y="213836"/>
                    <a:pt x="250984" y="222409"/>
                    <a:pt x="247174" y="231934"/>
                  </a:cubicBezTo>
                  <a:cubicBezTo>
                    <a:pt x="246221" y="232886"/>
                    <a:pt x="246221" y="234791"/>
                    <a:pt x="245269" y="236696"/>
                  </a:cubicBezTo>
                  <a:cubicBezTo>
                    <a:pt x="243364" y="231934"/>
                    <a:pt x="242411" y="230029"/>
                    <a:pt x="242411" y="230029"/>
                  </a:cubicBezTo>
                  <a:cubicBezTo>
                    <a:pt x="242411" y="230029"/>
                    <a:pt x="243364" y="233839"/>
                    <a:pt x="244316" y="240506"/>
                  </a:cubicBezTo>
                  <a:cubicBezTo>
                    <a:pt x="241459" y="247174"/>
                    <a:pt x="239554" y="254794"/>
                    <a:pt x="236696" y="262414"/>
                  </a:cubicBezTo>
                  <a:cubicBezTo>
                    <a:pt x="232886" y="250031"/>
                    <a:pt x="229076" y="238601"/>
                    <a:pt x="226219" y="227171"/>
                  </a:cubicBezTo>
                  <a:cubicBezTo>
                    <a:pt x="223361" y="219551"/>
                    <a:pt x="221456" y="210979"/>
                    <a:pt x="218599" y="204311"/>
                  </a:cubicBezTo>
                  <a:cubicBezTo>
                    <a:pt x="215741" y="196691"/>
                    <a:pt x="213836" y="190024"/>
                    <a:pt x="210979" y="184309"/>
                  </a:cubicBezTo>
                  <a:cubicBezTo>
                    <a:pt x="206216" y="171926"/>
                    <a:pt x="202406" y="160496"/>
                    <a:pt x="198596" y="150971"/>
                  </a:cubicBezTo>
                  <a:cubicBezTo>
                    <a:pt x="191929" y="132874"/>
                    <a:pt x="187166" y="122396"/>
                    <a:pt x="187166" y="122396"/>
                  </a:cubicBezTo>
                  <a:cubicBezTo>
                    <a:pt x="187166" y="122396"/>
                    <a:pt x="190024" y="132874"/>
                    <a:pt x="194786" y="151924"/>
                  </a:cubicBezTo>
                  <a:cubicBezTo>
                    <a:pt x="197644" y="161449"/>
                    <a:pt x="200501" y="172879"/>
                    <a:pt x="204311" y="186214"/>
                  </a:cubicBezTo>
                  <a:cubicBezTo>
                    <a:pt x="206216" y="192881"/>
                    <a:pt x="208121" y="199549"/>
                    <a:pt x="210026" y="207169"/>
                  </a:cubicBezTo>
                  <a:cubicBezTo>
                    <a:pt x="211931" y="214789"/>
                    <a:pt x="213836" y="222409"/>
                    <a:pt x="215741" y="230981"/>
                  </a:cubicBezTo>
                  <a:cubicBezTo>
                    <a:pt x="218599" y="245269"/>
                    <a:pt x="222409" y="260509"/>
                    <a:pt x="226219" y="275749"/>
                  </a:cubicBezTo>
                  <a:cubicBezTo>
                    <a:pt x="224314" y="280511"/>
                    <a:pt x="221456" y="287179"/>
                    <a:pt x="218599" y="295751"/>
                  </a:cubicBezTo>
                  <a:cubicBezTo>
                    <a:pt x="218599" y="296704"/>
                    <a:pt x="217646" y="297656"/>
                    <a:pt x="217646" y="298609"/>
                  </a:cubicBezTo>
                  <a:cubicBezTo>
                    <a:pt x="216694" y="286226"/>
                    <a:pt x="215741" y="274796"/>
                    <a:pt x="214789" y="266224"/>
                  </a:cubicBezTo>
                  <a:cubicBezTo>
                    <a:pt x="213836" y="250984"/>
                    <a:pt x="212884" y="241459"/>
                    <a:pt x="212884" y="241459"/>
                  </a:cubicBezTo>
                  <a:cubicBezTo>
                    <a:pt x="212884" y="241459"/>
                    <a:pt x="211931" y="250031"/>
                    <a:pt x="210979" y="266224"/>
                  </a:cubicBezTo>
                  <a:cubicBezTo>
                    <a:pt x="210026" y="277654"/>
                    <a:pt x="210026" y="291941"/>
                    <a:pt x="209074" y="309086"/>
                  </a:cubicBezTo>
                  <a:cubicBezTo>
                    <a:pt x="204311" y="301466"/>
                    <a:pt x="200501" y="293846"/>
                    <a:pt x="196691" y="287179"/>
                  </a:cubicBezTo>
                  <a:cubicBezTo>
                    <a:pt x="192881" y="281464"/>
                    <a:pt x="190024" y="275749"/>
                    <a:pt x="187166" y="270034"/>
                  </a:cubicBezTo>
                  <a:cubicBezTo>
                    <a:pt x="183356" y="265271"/>
                    <a:pt x="180499" y="260509"/>
                    <a:pt x="177641" y="255746"/>
                  </a:cubicBezTo>
                  <a:cubicBezTo>
                    <a:pt x="171926" y="246221"/>
                    <a:pt x="166211" y="238601"/>
                    <a:pt x="161449" y="231934"/>
                  </a:cubicBezTo>
                  <a:cubicBezTo>
                    <a:pt x="159544" y="230029"/>
                    <a:pt x="158591" y="227171"/>
                    <a:pt x="156686" y="225266"/>
                  </a:cubicBezTo>
                  <a:cubicBezTo>
                    <a:pt x="154781" y="214789"/>
                    <a:pt x="152876" y="209074"/>
                    <a:pt x="152876" y="209074"/>
                  </a:cubicBezTo>
                  <a:cubicBezTo>
                    <a:pt x="152876" y="209074"/>
                    <a:pt x="152876" y="212884"/>
                    <a:pt x="152876" y="219551"/>
                  </a:cubicBezTo>
                  <a:cubicBezTo>
                    <a:pt x="149066" y="213836"/>
                    <a:pt x="146209" y="210979"/>
                    <a:pt x="146209" y="210979"/>
                  </a:cubicBezTo>
                  <a:cubicBezTo>
                    <a:pt x="146209" y="210979"/>
                    <a:pt x="148114" y="215741"/>
                    <a:pt x="152876" y="224314"/>
                  </a:cubicBezTo>
                  <a:cubicBezTo>
                    <a:pt x="153829" y="235744"/>
                    <a:pt x="154781" y="253841"/>
                    <a:pt x="156686" y="275749"/>
                  </a:cubicBezTo>
                  <a:cubicBezTo>
                    <a:pt x="153829" y="271939"/>
                    <a:pt x="150971" y="267176"/>
                    <a:pt x="148114" y="263366"/>
                  </a:cubicBezTo>
                  <a:cubicBezTo>
                    <a:pt x="139541" y="252889"/>
                    <a:pt x="131921" y="242411"/>
                    <a:pt x="124301" y="233839"/>
                  </a:cubicBezTo>
                  <a:cubicBezTo>
                    <a:pt x="116681" y="225266"/>
                    <a:pt x="110966" y="217646"/>
                    <a:pt x="104299" y="212884"/>
                  </a:cubicBezTo>
                  <a:cubicBezTo>
                    <a:pt x="94774" y="203359"/>
                    <a:pt x="88106" y="197644"/>
                    <a:pt x="88106" y="197644"/>
                  </a:cubicBezTo>
                  <a:cubicBezTo>
                    <a:pt x="88106" y="197644"/>
                    <a:pt x="93821" y="205264"/>
                    <a:pt x="103346" y="217646"/>
                  </a:cubicBezTo>
                  <a:cubicBezTo>
                    <a:pt x="108109" y="223361"/>
                    <a:pt x="113824" y="231934"/>
                    <a:pt x="119539" y="240506"/>
                  </a:cubicBezTo>
                  <a:cubicBezTo>
                    <a:pt x="126206" y="249079"/>
                    <a:pt x="131921" y="260509"/>
                    <a:pt x="139541" y="271939"/>
                  </a:cubicBezTo>
                  <a:cubicBezTo>
                    <a:pt x="143351" y="278606"/>
                    <a:pt x="148114" y="285274"/>
                    <a:pt x="151924" y="292894"/>
                  </a:cubicBezTo>
                  <a:cubicBezTo>
                    <a:pt x="151924" y="294799"/>
                    <a:pt x="151924" y="295751"/>
                    <a:pt x="151924" y="297656"/>
                  </a:cubicBezTo>
                  <a:cubicBezTo>
                    <a:pt x="151924" y="297656"/>
                    <a:pt x="150971" y="296704"/>
                    <a:pt x="150971" y="296704"/>
                  </a:cubicBezTo>
                  <a:cubicBezTo>
                    <a:pt x="145256" y="290989"/>
                    <a:pt x="140494" y="285274"/>
                    <a:pt x="136684" y="282416"/>
                  </a:cubicBezTo>
                  <a:cubicBezTo>
                    <a:pt x="134779" y="280511"/>
                    <a:pt x="133826" y="279559"/>
                    <a:pt x="131921" y="278606"/>
                  </a:cubicBezTo>
                  <a:cubicBezTo>
                    <a:pt x="132874" y="275749"/>
                    <a:pt x="132874" y="274796"/>
                    <a:pt x="132874" y="274796"/>
                  </a:cubicBezTo>
                  <a:cubicBezTo>
                    <a:pt x="132874" y="274796"/>
                    <a:pt x="131921" y="275749"/>
                    <a:pt x="130969" y="278606"/>
                  </a:cubicBezTo>
                  <a:cubicBezTo>
                    <a:pt x="125254" y="273844"/>
                    <a:pt x="122396" y="270986"/>
                    <a:pt x="122396" y="270986"/>
                  </a:cubicBezTo>
                  <a:cubicBezTo>
                    <a:pt x="122396" y="270986"/>
                    <a:pt x="125254" y="274796"/>
                    <a:pt x="130016" y="280511"/>
                  </a:cubicBezTo>
                  <a:cubicBezTo>
                    <a:pt x="128111" y="283369"/>
                    <a:pt x="126206" y="288131"/>
                    <a:pt x="123349" y="293846"/>
                  </a:cubicBezTo>
                  <a:cubicBezTo>
                    <a:pt x="120491" y="299561"/>
                    <a:pt x="117634" y="308134"/>
                    <a:pt x="114776" y="316706"/>
                  </a:cubicBezTo>
                  <a:cubicBezTo>
                    <a:pt x="113824" y="318611"/>
                    <a:pt x="113824" y="319564"/>
                    <a:pt x="112871" y="321469"/>
                  </a:cubicBezTo>
                  <a:cubicBezTo>
                    <a:pt x="110014" y="313849"/>
                    <a:pt x="107156" y="306229"/>
                    <a:pt x="103346" y="299561"/>
                  </a:cubicBezTo>
                  <a:cubicBezTo>
                    <a:pt x="97631" y="286226"/>
                    <a:pt x="91916" y="273844"/>
                    <a:pt x="86201" y="262414"/>
                  </a:cubicBezTo>
                  <a:cubicBezTo>
                    <a:pt x="83344" y="255746"/>
                    <a:pt x="80486" y="250984"/>
                    <a:pt x="78581" y="245269"/>
                  </a:cubicBezTo>
                  <a:cubicBezTo>
                    <a:pt x="75724" y="240506"/>
                    <a:pt x="72866" y="235744"/>
                    <a:pt x="70961" y="230981"/>
                  </a:cubicBezTo>
                  <a:cubicBezTo>
                    <a:pt x="66199" y="222409"/>
                    <a:pt x="61436" y="213836"/>
                    <a:pt x="57626" y="208121"/>
                  </a:cubicBezTo>
                  <a:cubicBezTo>
                    <a:pt x="50006" y="195739"/>
                    <a:pt x="46196" y="188119"/>
                    <a:pt x="46196" y="188119"/>
                  </a:cubicBezTo>
                  <a:cubicBezTo>
                    <a:pt x="46196" y="188119"/>
                    <a:pt x="49054" y="195739"/>
                    <a:pt x="54769" y="210026"/>
                  </a:cubicBezTo>
                  <a:cubicBezTo>
                    <a:pt x="57626" y="216694"/>
                    <a:pt x="60484" y="225266"/>
                    <a:pt x="64294" y="234791"/>
                  </a:cubicBezTo>
                  <a:cubicBezTo>
                    <a:pt x="66199" y="239554"/>
                    <a:pt x="68104" y="244316"/>
                    <a:pt x="70009" y="250031"/>
                  </a:cubicBezTo>
                  <a:cubicBezTo>
                    <a:pt x="71914" y="254794"/>
                    <a:pt x="73819" y="260509"/>
                    <a:pt x="75724" y="266224"/>
                  </a:cubicBezTo>
                  <a:cubicBezTo>
                    <a:pt x="78581" y="274796"/>
                    <a:pt x="82391" y="283369"/>
                    <a:pt x="85249" y="292894"/>
                  </a:cubicBezTo>
                  <a:cubicBezTo>
                    <a:pt x="83344" y="290036"/>
                    <a:pt x="81439" y="286226"/>
                    <a:pt x="79534" y="284321"/>
                  </a:cubicBezTo>
                  <a:cubicBezTo>
                    <a:pt x="74771" y="277654"/>
                    <a:pt x="71914" y="271939"/>
                    <a:pt x="68104" y="268129"/>
                  </a:cubicBezTo>
                  <a:cubicBezTo>
                    <a:pt x="61436" y="258604"/>
                    <a:pt x="57626" y="253841"/>
                    <a:pt x="57626" y="253841"/>
                  </a:cubicBezTo>
                  <a:cubicBezTo>
                    <a:pt x="57626" y="253841"/>
                    <a:pt x="59531" y="259556"/>
                    <a:pt x="64294" y="270034"/>
                  </a:cubicBezTo>
                  <a:cubicBezTo>
                    <a:pt x="66199" y="274796"/>
                    <a:pt x="69056" y="281464"/>
                    <a:pt x="71914" y="288131"/>
                  </a:cubicBezTo>
                  <a:cubicBezTo>
                    <a:pt x="76676" y="295751"/>
                    <a:pt x="79534" y="303371"/>
                    <a:pt x="83344" y="311944"/>
                  </a:cubicBezTo>
                  <a:cubicBezTo>
                    <a:pt x="86201" y="317659"/>
                    <a:pt x="88106" y="324326"/>
                    <a:pt x="90964" y="330994"/>
                  </a:cubicBezTo>
                  <a:cubicBezTo>
                    <a:pt x="90011" y="333851"/>
                    <a:pt x="89059" y="336709"/>
                    <a:pt x="87154" y="339566"/>
                  </a:cubicBezTo>
                  <a:cubicBezTo>
                    <a:pt x="85249" y="343376"/>
                    <a:pt x="83344" y="348139"/>
                    <a:pt x="81439" y="352901"/>
                  </a:cubicBezTo>
                  <a:cubicBezTo>
                    <a:pt x="80486" y="348139"/>
                    <a:pt x="79534" y="343376"/>
                    <a:pt x="78581" y="339566"/>
                  </a:cubicBezTo>
                  <a:cubicBezTo>
                    <a:pt x="75724" y="326231"/>
                    <a:pt x="72866" y="312896"/>
                    <a:pt x="70009" y="301466"/>
                  </a:cubicBezTo>
                  <a:cubicBezTo>
                    <a:pt x="67151" y="290036"/>
                    <a:pt x="64294" y="278606"/>
                    <a:pt x="61436" y="269081"/>
                  </a:cubicBezTo>
                  <a:cubicBezTo>
                    <a:pt x="58579" y="259556"/>
                    <a:pt x="56674" y="250984"/>
                    <a:pt x="53816" y="244316"/>
                  </a:cubicBezTo>
                  <a:cubicBezTo>
                    <a:pt x="49054" y="230981"/>
                    <a:pt x="46196" y="223361"/>
                    <a:pt x="46196" y="223361"/>
                  </a:cubicBezTo>
                  <a:cubicBezTo>
                    <a:pt x="46196" y="223361"/>
                    <a:pt x="47149" y="230981"/>
                    <a:pt x="50006" y="245269"/>
                  </a:cubicBezTo>
                  <a:cubicBezTo>
                    <a:pt x="50959" y="251936"/>
                    <a:pt x="51911" y="260509"/>
                    <a:pt x="53816" y="270034"/>
                  </a:cubicBezTo>
                  <a:cubicBezTo>
                    <a:pt x="55721" y="279559"/>
                    <a:pt x="56674" y="290989"/>
                    <a:pt x="58579" y="302419"/>
                  </a:cubicBezTo>
                  <a:cubicBezTo>
                    <a:pt x="60484" y="314801"/>
                    <a:pt x="61436" y="327184"/>
                    <a:pt x="64294" y="340519"/>
                  </a:cubicBezTo>
                  <a:cubicBezTo>
                    <a:pt x="66199" y="353854"/>
                    <a:pt x="67151" y="367189"/>
                    <a:pt x="69056" y="381476"/>
                  </a:cubicBezTo>
                  <a:cubicBezTo>
                    <a:pt x="68104" y="382429"/>
                    <a:pt x="68104" y="383381"/>
                    <a:pt x="67151" y="385286"/>
                  </a:cubicBezTo>
                  <a:cubicBezTo>
                    <a:pt x="64294" y="391954"/>
                    <a:pt x="62389" y="398621"/>
                    <a:pt x="60484" y="405289"/>
                  </a:cubicBezTo>
                  <a:cubicBezTo>
                    <a:pt x="60484" y="406241"/>
                    <a:pt x="60484" y="406241"/>
                    <a:pt x="59531" y="407194"/>
                  </a:cubicBezTo>
                  <a:cubicBezTo>
                    <a:pt x="58579" y="407194"/>
                    <a:pt x="57626" y="407194"/>
                    <a:pt x="56674" y="407194"/>
                  </a:cubicBezTo>
                  <a:cubicBezTo>
                    <a:pt x="55721" y="404336"/>
                    <a:pt x="55721" y="402431"/>
                    <a:pt x="54769" y="399574"/>
                  </a:cubicBezTo>
                  <a:cubicBezTo>
                    <a:pt x="51911" y="387191"/>
                    <a:pt x="49054" y="375761"/>
                    <a:pt x="46196" y="364331"/>
                  </a:cubicBezTo>
                  <a:cubicBezTo>
                    <a:pt x="43339" y="352901"/>
                    <a:pt x="40481" y="342424"/>
                    <a:pt x="37624" y="332899"/>
                  </a:cubicBezTo>
                  <a:cubicBezTo>
                    <a:pt x="31909" y="313849"/>
                    <a:pt x="26194" y="297656"/>
                    <a:pt x="21431" y="287179"/>
                  </a:cubicBezTo>
                  <a:cubicBezTo>
                    <a:pt x="16669" y="276701"/>
                    <a:pt x="13811" y="270034"/>
                    <a:pt x="13811" y="270034"/>
                  </a:cubicBezTo>
                  <a:cubicBezTo>
                    <a:pt x="13811" y="270034"/>
                    <a:pt x="14764" y="276701"/>
                    <a:pt x="17621" y="288131"/>
                  </a:cubicBezTo>
                  <a:cubicBezTo>
                    <a:pt x="18574" y="293846"/>
                    <a:pt x="20479" y="300514"/>
                    <a:pt x="21431" y="309086"/>
                  </a:cubicBezTo>
                  <a:cubicBezTo>
                    <a:pt x="23336" y="316706"/>
                    <a:pt x="24289" y="326231"/>
                    <a:pt x="26194" y="335756"/>
                  </a:cubicBezTo>
                  <a:cubicBezTo>
                    <a:pt x="28099" y="345281"/>
                    <a:pt x="30004" y="355759"/>
                    <a:pt x="31909" y="367189"/>
                  </a:cubicBezTo>
                  <a:cubicBezTo>
                    <a:pt x="35719" y="378619"/>
                    <a:pt x="37624" y="390049"/>
                    <a:pt x="39529" y="402431"/>
                  </a:cubicBezTo>
                  <a:cubicBezTo>
                    <a:pt x="39529" y="403384"/>
                    <a:pt x="39529" y="403384"/>
                    <a:pt x="39529" y="404336"/>
                  </a:cubicBezTo>
                  <a:cubicBezTo>
                    <a:pt x="29051" y="402431"/>
                    <a:pt x="18574" y="401479"/>
                    <a:pt x="7144" y="399574"/>
                  </a:cubicBezTo>
                  <a:lnTo>
                    <a:pt x="7144" y="511016"/>
                  </a:lnTo>
                  <a:close/>
                  <a:moveTo>
                    <a:pt x="6277451" y="364331"/>
                  </a:moveTo>
                  <a:cubicBezTo>
                    <a:pt x="6278404" y="362426"/>
                    <a:pt x="6278404" y="359569"/>
                    <a:pt x="6279356" y="357664"/>
                  </a:cubicBezTo>
                  <a:cubicBezTo>
                    <a:pt x="6279356" y="358616"/>
                    <a:pt x="6279356" y="360521"/>
                    <a:pt x="6279356" y="361474"/>
                  </a:cubicBezTo>
                  <a:cubicBezTo>
                    <a:pt x="6278404" y="370999"/>
                    <a:pt x="6278404" y="384334"/>
                    <a:pt x="6277451" y="399574"/>
                  </a:cubicBezTo>
                  <a:cubicBezTo>
                    <a:pt x="6274594" y="409099"/>
                    <a:pt x="6270784" y="419576"/>
                    <a:pt x="6267926" y="430054"/>
                  </a:cubicBezTo>
                  <a:cubicBezTo>
                    <a:pt x="6266974" y="430054"/>
                    <a:pt x="6266974" y="430054"/>
                    <a:pt x="6266021" y="430054"/>
                  </a:cubicBezTo>
                  <a:cubicBezTo>
                    <a:pt x="6264117" y="427196"/>
                    <a:pt x="6262212" y="424339"/>
                    <a:pt x="6260306" y="421481"/>
                  </a:cubicBezTo>
                  <a:cubicBezTo>
                    <a:pt x="6266021" y="402431"/>
                    <a:pt x="6271737" y="383381"/>
                    <a:pt x="6277451" y="364331"/>
                  </a:cubicBezTo>
                  <a:close/>
                  <a:moveTo>
                    <a:pt x="6211729" y="425291"/>
                  </a:moveTo>
                  <a:cubicBezTo>
                    <a:pt x="6211729" y="415766"/>
                    <a:pt x="6212681" y="406241"/>
                    <a:pt x="6212681" y="398621"/>
                  </a:cubicBezTo>
                  <a:cubicBezTo>
                    <a:pt x="6212681" y="395764"/>
                    <a:pt x="6212681" y="392906"/>
                    <a:pt x="6213634" y="390049"/>
                  </a:cubicBezTo>
                  <a:cubicBezTo>
                    <a:pt x="6214587" y="391001"/>
                    <a:pt x="6215539" y="392906"/>
                    <a:pt x="6216492" y="393859"/>
                  </a:cubicBezTo>
                  <a:cubicBezTo>
                    <a:pt x="6220301" y="398621"/>
                    <a:pt x="6224112" y="403384"/>
                    <a:pt x="6227921" y="408146"/>
                  </a:cubicBezTo>
                  <a:cubicBezTo>
                    <a:pt x="6226969" y="410051"/>
                    <a:pt x="6226017" y="411956"/>
                    <a:pt x="6225064" y="412909"/>
                  </a:cubicBezTo>
                  <a:cubicBezTo>
                    <a:pt x="6224112" y="414814"/>
                    <a:pt x="6222206" y="417671"/>
                    <a:pt x="6221254" y="420529"/>
                  </a:cubicBezTo>
                  <a:cubicBezTo>
                    <a:pt x="6220301" y="423386"/>
                    <a:pt x="6219349" y="426244"/>
                    <a:pt x="6218396" y="429101"/>
                  </a:cubicBezTo>
                  <a:cubicBezTo>
                    <a:pt x="6218396" y="430054"/>
                    <a:pt x="6218396" y="430054"/>
                    <a:pt x="6217444" y="431006"/>
                  </a:cubicBezTo>
                  <a:cubicBezTo>
                    <a:pt x="6217444" y="430054"/>
                    <a:pt x="6217444" y="429101"/>
                    <a:pt x="6217444" y="429101"/>
                  </a:cubicBezTo>
                  <a:cubicBezTo>
                    <a:pt x="6216492" y="419576"/>
                    <a:pt x="6215539" y="413861"/>
                    <a:pt x="6215539" y="413861"/>
                  </a:cubicBezTo>
                  <a:cubicBezTo>
                    <a:pt x="6215539" y="413861"/>
                    <a:pt x="6214587" y="419576"/>
                    <a:pt x="6213634" y="429101"/>
                  </a:cubicBezTo>
                  <a:cubicBezTo>
                    <a:pt x="6213634" y="432911"/>
                    <a:pt x="6212681" y="436721"/>
                    <a:pt x="6211729" y="441484"/>
                  </a:cubicBezTo>
                  <a:cubicBezTo>
                    <a:pt x="6211729" y="435769"/>
                    <a:pt x="6211729" y="430054"/>
                    <a:pt x="6211729" y="425291"/>
                  </a:cubicBezTo>
                  <a:close/>
                  <a:moveTo>
                    <a:pt x="6183154" y="343376"/>
                  </a:moveTo>
                  <a:cubicBezTo>
                    <a:pt x="6185059" y="346234"/>
                    <a:pt x="6186012" y="348139"/>
                    <a:pt x="6187917" y="350996"/>
                  </a:cubicBezTo>
                  <a:cubicBezTo>
                    <a:pt x="6188869" y="352901"/>
                    <a:pt x="6190774" y="354806"/>
                    <a:pt x="6191726" y="356711"/>
                  </a:cubicBezTo>
                  <a:cubicBezTo>
                    <a:pt x="6188869" y="366236"/>
                    <a:pt x="6186012" y="376714"/>
                    <a:pt x="6183154" y="388144"/>
                  </a:cubicBezTo>
                  <a:cubicBezTo>
                    <a:pt x="6183154" y="389096"/>
                    <a:pt x="6182201" y="391001"/>
                    <a:pt x="6182201" y="391954"/>
                  </a:cubicBezTo>
                  <a:cubicBezTo>
                    <a:pt x="6182201" y="386239"/>
                    <a:pt x="6181249" y="381476"/>
                    <a:pt x="6181249" y="375761"/>
                  </a:cubicBezTo>
                  <a:cubicBezTo>
                    <a:pt x="6181249" y="374809"/>
                    <a:pt x="6181249" y="373856"/>
                    <a:pt x="6181249" y="372904"/>
                  </a:cubicBezTo>
                  <a:cubicBezTo>
                    <a:pt x="6181249" y="362426"/>
                    <a:pt x="6182201" y="352901"/>
                    <a:pt x="6183154" y="343376"/>
                  </a:cubicBezTo>
                  <a:close/>
                  <a:moveTo>
                    <a:pt x="6144101" y="308134"/>
                  </a:moveTo>
                  <a:cubicBezTo>
                    <a:pt x="6145054" y="297656"/>
                    <a:pt x="6146959" y="287179"/>
                    <a:pt x="6147912" y="276701"/>
                  </a:cubicBezTo>
                  <a:cubicBezTo>
                    <a:pt x="6149817" y="280511"/>
                    <a:pt x="6151721" y="284321"/>
                    <a:pt x="6153626" y="289084"/>
                  </a:cubicBezTo>
                  <a:cubicBezTo>
                    <a:pt x="6156484" y="293846"/>
                    <a:pt x="6158389" y="299561"/>
                    <a:pt x="6161246" y="305276"/>
                  </a:cubicBezTo>
                  <a:cubicBezTo>
                    <a:pt x="6160294" y="308134"/>
                    <a:pt x="6159342" y="313849"/>
                    <a:pt x="6157437" y="319564"/>
                  </a:cubicBezTo>
                  <a:cubicBezTo>
                    <a:pt x="6155531" y="325279"/>
                    <a:pt x="6154579" y="332899"/>
                    <a:pt x="6152674" y="342424"/>
                  </a:cubicBezTo>
                  <a:cubicBezTo>
                    <a:pt x="6151721" y="347186"/>
                    <a:pt x="6150769" y="351949"/>
                    <a:pt x="6150769" y="356711"/>
                  </a:cubicBezTo>
                  <a:cubicBezTo>
                    <a:pt x="6150769" y="358616"/>
                    <a:pt x="6149817" y="359569"/>
                    <a:pt x="6149817" y="360521"/>
                  </a:cubicBezTo>
                  <a:cubicBezTo>
                    <a:pt x="6149817" y="362426"/>
                    <a:pt x="6148864" y="363379"/>
                    <a:pt x="6148864" y="365284"/>
                  </a:cubicBezTo>
                  <a:cubicBezTo>
                    <a:pt x="6146959" y="362426"/>
                    <a:pt x="6146006" y="360521"/>
                    <a:pt x="6146006" y="360521"/>
                  </a:cubicBezTo>
                  <a:cubicBezTo>
                    <a:pt x="6146006" y="360521"/>
                    <a:pt x="6146959" y="363379"/>
                    <a:pt x="6147912" y="368141"/>
                  </a:cubicBezTo>
                  <a:cubicBezTo>
                    <a:pt x="6146959" y="374809"/>
                    <a:pt x="6146006" y="382429"/>
                    <a:pt x="6145054" y="389096"/>
                  </a:cubicBezTo>
                  <a:cubicBezTo>
                    <a:pt x="6145054" y="388144"/>
                    <a:pt x="6144101" y="387191"/>
                    <a:pt x="6144101" y="386239"/>
                  </a:cubicBezTo>
                  <a:cubicBezTo>
                    <a:pt x="6144101" y="385286"/>
                    <a:pt x="6143149" y="385286"/>
                    <a:pt x="6143149" y="384334"/>
                  </a:cubicBezTo>
                  <a:cubicBezTo>
                    <a:pt x="6143149" y="379571"/>
                    <a:pt x="6142196" y="373856"/>
                    <a:pt x="6142196" y="369094"/>
                  </a:cubicBezTo>
                  <a:cubicBezTo>
                    <a:pt x="6141244" y="360521"/>
                    <a:pt x="6140292" y="351949"/>
                    <a:pt x="6139339" y="343376"/>
                  </a:cubicBezTo>
                  <a:cubicBezTo>
                    <a:pt x="6142196" y="331946"/>
                    <a:pt x="6143149" y="319564"/>
                    <a:pt x="6144101" y="308134"/>
                  </a:cubicBezTo>
                  <a:close/>
                  <a:moveTo>
                    <a:pt x="6095524" y="384334"/>
                  </a:moveTo>
                  <a:cubicBezTo>
                    <a:pt x="6093619" y="393859"/>
                    <a:pt x="6090762" y="403384"/>
                    <a:pt x="6088856" y="412909"/>
                  </a:cubicBezTo>
                  <a:cubicBezTo>
                    <a:pt x="6086951" y="420529"/>
                    <a:pt x="6085046" y="428149"/>
                    <a:pt x="6083142" y="435769"/>
                  </a:cubicBezTo>
                  <a:cubicBezTo>
                    <a:pt x="6081237" y="428149"/>
                    <a:pt x="6079331" y="419576"/>
                    <a:pt x="6076474" y="411956"/>
                  </a:cubicBezTo>
                  <a:cubicBezTo>
                    <a:pt x="6077426" y="405289"/>
                    <a:pt x="6078379" y="397669"/>
                    <a:pt x="6079331" y="391001"/>
                  </a:cubicBezTo>
                  <a:cubicBezTo>
                    <a:pt x="6080284" y="383381"/>
                    <a:pt x="6082189" y="375761"/>
                    <a:pt x="6084094" y="368141"/>
                  </a:cubicBezTo>
                  <a:lnTo>
                    <a:pt x="6088856" y="347186"/>
                  </a:lnTo>
                  <a:cubicBezTo>
                    <a:pt x="6089809" y="347186"/>
                    <a:pt x="6090762" y="347186"/>
                    <a:pt x="6091714" y="348139"/>
                  </a:cubicBezTo>
                  <a:cubicBezTo>
                    <a:pt x="6093619" y="349091"/>
                    <a:pt x="6094571" y="350044"/>
                    <a:pt x="6095524" y="350996"/>
                  </a:cubicBezTo>
                  <a:cubicBezTo>
                    <a:pt x="6098381" y="352901"/>
                    <a:pt x="6099334" y="356711"/>
                    <a:pt x="6100287" y="359569"/>
                  </a:cubicBezTo>
                  <a:cubicBezTo>
                    <a:pt x="6099334" y="367189"/>
                    <a:pt x="6097429" y="375761"/>
                    <a:pt x="6095524" y="384334"/>
                  </a:cubicBezTo>
                  <a:close/>
                  <a:moveTo>
                    <a:pt x="6102192" y="206216"/>
                  </a:moveTo>
                  <a:cubicBezTo>
                    <a:pt x="6102192" y="211931"/>
                    <a:pt x="6102192" y="222409"/>
                    <a:pt x="6101239" y="235744"/>
                  </a:cubicBezTo>
                  <a:cubicBezTo>
                    <a:pt x="6101239" y="237649"/>
                    <a:pt x="6101239" y="239554"/>
                    <a:pt x="6101239" y="241459"/>
                  </a:cubicBezTo>
                  <a:cubicBezTo>
                    <a:pt x="6101239" y="241459"/>
                    <a:pt x="6101239" y="242411"/>
                    <a:pt x="6101239" y="242411"/>
                  </a:cubicBezTo>
                  <a:cubicBezTo>
                    <a:pt x="6101239" y="242411"/>
                    <a:pt x="6101239" y="242411"/>
                    <a:pt x="6101239" y="242411"/>
                  </a:cubicBezTo>
                  <a:cubicBezTo>
                    <a:pt x="6101239" y="241459"/>
                    <a:pt x="6100287" y="240506"/>
                    <a:pt x="6100287" y="239554"/>
                  </a:cubicBezTo>
                  <a:cubicBezTo>
                    <a:pt x="6099334" y="236696"/>
                    <a:pt x="6098381" y="233839"/>
                    <a:pt x="6097429" y="230981"/>
                  </a:cubicBezTo>
                  <a:cubicBezTo>
                    <a:pt x="6099334" y="222409"/>
                    <a:pt x="6100287" y="213836"/>
                    <a:pt x="6102192" y="206216"/>
                  </a:cubicBezTo>
                  <a:close/>
                  <a:moveTo>
                    <a:pt x="6100287" y="284321"/>
                  </a:moveTo>
                  <a:cubicBezTo>
                    <a:pt x="6099334" y="282416"/>
                    <a:pt x="6099334" y="281464"/>
                    <a:pt x="6098381" y="279559"/>
                  </a:cubicBezTo>
                  <a:cubicBezTo>
                    <a:pt x="6098381" y="278606"/>
                    <a:pt x="6099334" y="277654"/>
                    <a:pt x="6099334" y="277654"/>
                  </a:cubicBezTo>
                  <a:cubicBezTo>
                    <a:pt x="6099334" y="279559"/>
                    <a:pt x="6099334" y="281464"/>
                    <a:pt x="6100287" y="284321"/>
                  </a:cubicBezTo>
                  <a:close/>
                  <a:moveTo>
                    <a:pt x="6093619" y="247174"/>
                  </a:moveTo>
                  <a:cubicBezTo>
                    <a:pt x="6094571" y="250031"/>
                    <a:pt x="6094571" y="252889"/>
                    <a:pt x="6095524" y="255746"/>
                  </a:cubicBezTo>
                  <a:cubicBezTo>
                    <a:pt x="6094571" y="258604"/>
                    <a:pt x="6092667" y="261461"/>
                    <a:pt x="6091714" y="264319"/>
                  </a:cubicBezTo>
                  <a:cubicBezTo>
                    <a:pt x="6091714" y="263366"/>
                    <a:pt x="6090762" y="262414"/>
                    <a:pt x="6090762" y="262414"/>
                  </a:cubicBezTo>
                  <a:cubicBezTo>
                    <a:pt x="6091714" y="257651"/>
                    <a:pt x="6092667" y="251936"/>
                    <a:pt x="6093619" y="247174"/>
                  </a:cubicBezTo>
                  <a:close/>
                  <a:moveTo>
                    <a:pt x="6088856" y="269081"/>
                  </a:moveTo>
                  <a:cubicBezTo>
                    <a:pt x="6088856" y="269081"/>
                    <a:pt x="6088856" y="270034"/>
                    <a:pt x="6088856" y="270034"/>
                  </a:cubicBezTo>
                  <a:cubicBezTo>
                    <a:pt x="6088856" y="270034"/>
                    <a:pt x="6088856" y="270034"/>
                    <a:pt x="6088856" y="270034"/>
                  </a:cubicBezTo>
                  <a:cubicBezTo>
                    <a:pt x="6088856" y="270986"/>
                    <a:pt x="6087904" y="271939"/>
                    <a:pt x="6087904" y="272891"/>
                  </a:cubicBezTo>
                  <a:cubicBezTo>
                    <a:pt x="6088856" y="270986"/>
                    <a:pt x="6088856" y="270034"/>
                    <a:pt x="6088856" y="269081"/>
                  </a:cubicBezTo>
                  <a:close/>
                  <a:moveTo>
                    <a:pt x="6067901" y="369094"/>
                  </a:moveTo>
                  <a:cubicBezTo>
                    <a:pt x="6072664" y="358616"/>
                    <a:pt x="6076474" y="349091"/>
                    <a:pt x="6080284" y="339566"/>
                  </a:cubicBezTo>
                  <a:cubicBezTo>
                    <a:pt x="6082189" y="334804"/>
                    <a:pt x="6084094" y="330041"/>
                    <a:pt x="6085046" y="326231"/>
                  </a:cubicBezTo>
                  <a:cubicBezTo>
                    <a:pt x="6085999" y="321469"/>
                    <a:pt x="6087904" y="317659"/>
                    <a:pt x="6088856" y="313849"/>
                  </a:cubicBezTo>
                  <a:cubicBezTo>
                    <a:pt x="6090762" y="306229"/>
                    <a:pt x="6092667" y="299561"/>
                    <a:pt x="6093619" y="293846"/>
                  </a:cubicBezTo>
                  <a:cubicBezTo>
                    <a:pt x="6093619" y="293846"/>
                    <a:pt x="6093619" y="293846"/>
                    <a:pt x="6093619" y="293846"/>
                  </a:cubicBezTo>
                  <a:cubicBezTo>
                    <a:pt x="6094571" y="299561"/>
                    <a:pt x="6095524" y="305276"/>
                    <a:pt x="6096476" y="310991"/>
                  </a:cubicBezTo>
                  <a:cubicBezTo>
                    <a:pt x="6098381" y="319564"/>
                    <a:pt x="6098381" y="329089"/>
                    <a:pt x="6100287" y="339566"/>
                  </a:cubicBezTo>
                  <a:cubicBezTo>
                    <a:pt x="6100287" y="345281"/>
                    <a:pt x="6101239" y="350044"/>
                    <a:pt x="6101239" y="355759"/>
                  </a:cubicBezTo>
                  <a:cubicBezTo>
                    <a:pt x="6101239" y="355759"/>
                    <a:pt x="6101239" y="355759"/>
                    <a:pt x="6101239" y="355759"/>
                  </a:cubicBezTo>
                  <a:cubicBezTo>
                    <a:pt x="6101239" y="356711"/>
                    <a:pt x="6100287" y="358616"/>
                    <a:pt x="6100287" y="359569"/>
                  </a:cubicBezTo>
                  <a:cubicBezTo>
                    <a:pt x="6100287" y="355759"/>
                    <a:pt x="6099334" y="352901"/>
                    <a:pt x="6097429" y="350044"/>
                  </a:cubicBezTo>
                  <a:cubicBezTo>
                    <a:pt x="6096476" y="348139"/>
                    <a:pt x="6094571" y="347186"/>
                    <a:pt x="6093619" y="345281"/>
                  </a:cubicBezTo>
                  <a:cubicBezTo>
                    <a:pt x="6091714" y="344329"/>
                    <a:pt x="6089809" y="343376"/>
                    <a:pt x="6087904" y="342424"/>
                  </a:cubicBezTo>
                  <a:lnTo>
                    <a:pt x="6085999" y="341471"/>
                  </a:lnTo>
                  <a:lnTo>
                    <a:pt x="6085046" y="343376"/>
                  </a:lnTo>
                  <a:cubicBezTo>
                    <a:pt x="6082189" y="350996"/>
                    <a:pt x="6079331" y="357664"/>
                    <a:pt x="6076474" y="365284"/>
                  </a:cubicBezTo>
                  <a:cubicBezTo>
                    <a:pt x="6074569" y="371951"/>
                    <a:pt x="6071712" y="377666"/>
                    <a:pt x="6069806" y="384334"/>
                  </a:cubicBezTo>
                  <a:cubicBezTo>
                    <a:pt x="6068854" y="380524"/>
                    <a:pt x="6067901" y="376714"/>
                    <a:pt x="6065996" y="372904"/>
                  </a:cubicBezTo>
                  <a:cubicBezTo>
                    <a:pt x="6066949" y="371951"/>
                    <a:pt x="6067901" y="370999"/>
                    <a:pt x="6067901" y="369094"/>
                  </a:cubicBezTo>
                  <a:close/>
                  <a:moveTo>
                    <a:pt x="6035517" y="310039"/>
                  </a:moveTo>
                  <a:cubicBezTo>
                    <a:pt x="6035517" y="309086"/>
                    <a:pt x="6035517" y="309086"/>
                    <a:pt x="6035517" y="308134"/>
                  </a:cubicBezTo>
                  <a:cubicBezTo>
                    <a:pt x="6036469" y="312896"/>
                    <a:pt x="6038374" y="318611"/>
                    <a:pt x="6040279" y="324326"/>
                  </a:cubicBezTo>
                  <a:cubicBezTo>
                    <a:pt x="6041231" y="329089"/>
                    <a:pt x="6042184" y="333851"/>
                    <a:pt x="6044089" y="338614"/>
                  </a:cubicBezTo>
                  <a:cubicBezTo>
                    <a:pt x="6042184" y="344329"/>
                    <a:pt x="6040279" y="350044"/>
                    <a:pt x="6038374" y="355759"/>
                  </a:cubicBezTo>
                  <a:cubicBezTo>
                    <a:pt x="6036469" y="345281"/>
                    <a:pt x="6035517" y="336709"/>
                    <a:pt x="6033612" y="330041"/>
                  </a:cubicBezTo>
                  <a:cubicBezTo>
                    <a:pt x="6034564" y="323374"/>
                    <a:pt x="6034564" y="315754"/>
                    <a:pt x="6035517" y="310039"/>
                  </a:cubicBezTo>
                  <a:close/>
                  <a:moveTo>
                    <a:pt x="6012656" y="361474"/>
                  </a:moveTo>
                  <a:cubicBezTo>
                    <a:pt x="6012656" y="362426"/>
                    <a:pt x="6012656" y="363379"/>
                    <a:pt x="6012656" y="363379"/>
                  </a:cubicBezTo>
                  <a:cubicBezTo>
                    <a:pt x="6012656" y="362426"/>
                    <a:pt x="6012656" y="361474"/>
                    <a:pt x="6012656" y="359569"/>
                  </a:cubicBezTo>
                  <a:cubicBezTo>
                    <a:pt x="6012656" y="360521"/>
                    <a:pt x="6012656" y="360521"/>
                    <a:pt x="6012656" y="361474"/>
                  </a:cubicBezTo>
                  <a:close/>
                  <a:moveTo>
                    <a:pt x="6007894" y="351949"/>
                  </a:moveTo>
                  <a:cubicBezTo>
                    <a:pt x="6007894" y="351949"/>
                    <a:pt x="6007894" y="352901"/>
                    <a:pt x="6007894" y="352901"/>
                  </a:cubicBezTo>
                  <a:cubicBezTo>
                    <a:pt x="6007894" y="351949"/>
                    <a:pt x="6007894" y="351949"/>
                    <a:pt x="6007894" y="351949"/>
                  </a:cubicBezTo>
                  <a:cubicBezTo>
                    <a:pt x="6007894" y="350996"/>
                    <a:pt x="6007894" y="351949"/>
                    <a:pt x="6007894" y="351949"/>
                  </a:cubicBezTo>
                  <a:close/>
                  <a:moveTo>
                    <a:pt x="5976462" y="410051"/>
                  </a:moveTo>
                  <a:cubicBezTo>
                    <a:pt x="5975509" y="407194"/>
                    <a:pt x="5974556" y="404336"/>
                    <a:pt x="5973604" y="402431"/>
                  </a:cubicBezTo>
                  <a:cubicBezTo>
                    <a:pt x="5973604" y="401479"/>
                    <a:pt x="5972651" y="399574"/>
                    <a:pt x="5972651" y="398621"/>
                  </a:cubicBezTo>
                  <a:cubicBezTo>
                    <a:pt x="5972651" y="395764"/>
                    <a:pt x="5971699" y="392906"/>
                    <a:pt x="5971699" y="391001"/>
                  </a:cubicBezTo>
                  <a:cubicBezTo>
                    <a:pt x="5972651" y="389096"/>
                    <a:pt x="5972651" y="387191"/>
                    <a:pt x="5973604" y="386239"/>
                  </a:cubicBezTo>
                  <a:cubicBezTo>
                    <a:pt x="5975509" y="382429"/>
                    <a:pt x="5976462" y="378619"/>
                    <a:pt x="5977414" y="374809"/>
                  </a:cubicBezTo>
                  <a:cubicBezTo>
                    <a:pt x="5977414" y="385286"/>
                    <a:pt x="5976462" y="397669"/>
                    <a:pt x="5976462" y="410051"/>
                  </a:cubicBezTo>
                  <a:close/>
                  <a:moveTo>
                    <a:pt x="5976462" y="239554"/>
                  </a:moveTo>
                  <a:cubicBezTo>
                    <a:pt x="5977414" y="243364"/>
                    <a:pt x="5977414" y="246221"/>
                    <a:pt x="5978367" y="250031"/>
                  </a:cubicBezTo>
                  <a:cubicBezTo>
                    <a:pt x="5978367" y="251936"/>
                    <a:pt x="5979319" y="254794"/>
                    <a:pt x="5979319" y="256699"/>
                  </a:cubicBezTo>
                  <a:cubicBezTo>
                    <a:pt x="5977414" y="253841"/>
                    <a:pt x="5976462" y="250984"/>
                    <a:pt x="5974556" y="248126"/>
                  </a:cubicBezTo>
                  <a:cubicBezTo>
                    <a:pt x="5975509" y="245269"/>
                    <a:pt x="5975509" y="242411"/>
                    <a:pt x="5976462" y="239554"/>
                  </a:cubicBezTo>
                  <a:close/>
                  <a:moveTo>
                    <a:pt x="5965984" y="291941"/>
                  </a:moveTo>
                  <a:cubicBezTo>
                    <a:pt x="5965984" y="290036"/>
                    <a:pt x="5966937" y="288131"/>
                    <a:pt x="5966937" y="286226"/>
                  </a:cubicBezTo>
                  <a:cubicBezTo>
                    <a:pt x="5966937" y="285274"/>
                    <a:pt x="5967889" y="283369"/>
                    <a:pt x="5967889" y="282416"/>
                  </a:cubicBezTo>
                  <a:cubicBezTo>
                    <a:pt x="5968842" y="277654"/>
                    <a:pt x="5969794" y="273844"/>
                    <a:pt x="5970746" y="269081"/>
                  </a:cubicBezTo>
                  <a:cubicBezTo>
                    <a:pt x="5974556" y="278606"/>
                    <a:pt x="5979319" y="289084"/>
                    <a:pt x="5983129" y="298609"/>
                  </a:cubicBezTo>
                  <a:cubicBezTo>
                    <a:pt x="5982176" y="309086"/>
                    <a:pt x="5981224" y="319564"/>
                    <a:pt x="5980271" y="330994"/>
                  </a:cubicBezTo>
                  <a:cubicBezTo>
                    <a:pt x="5980271" y="330994"/>
                    <a:pt x="5980271" y="331946"/>
                    <a:pt x="5979319" y="331946"/>
                  </a:cubicBezTo>
                  <a:cubicBezTo>
                    <a:pt x="5977414" y="329089"/>
                    <a:pt x="5976462" y="328136"/>
                    <a:pt x="5976462" y="328136"/>
                  </a:cubicBezTo>
                  <a:cubicBezTo>
                    <a:pt x="5976462" y="328136"/>
                    <a:pt x="5977414" y="330041"/>
                    <a:pt x="5979319" y="332899"/>
                  </a:cubicBezTo>
                  <a:cubicBezTo>
                    <a:pt x="5977414" y="336709"/>
                    <a:pt x="5974556" y="341471"/>
                    <a:pt x="5972651" y="346234"/>
                  </a:cubicBezTo>
                  <a:cubicBezTo>
                    <a:pt x="5970746" y="349091"/>
                    <a:pt x="5969794" y="352901"/>
                    <a:pt x="5967889" y="355759"/>
                  </a:cubicBezTo>
                  <a:cubicBezTo>
                    <a:pt x="5967889" y="355759"/>
                    <a:pt x="5967889" y="355759"/>
                    <a:pt x="5967889" y="355759"/>
                  </a:cubicBezTo>
                  <a:cubicBezTo>
                    <a:pt x="5967889" y="353854"/>
                    <a:pt x="5967889" y="352901"/>
                    <a:pt x="5966937" y="351949"/>
                  </a:cubicBezTo>
                  <a:cubicBezTo>
                    <a:pt x="5965984" y="346234"/>
                    <a:pt x="5965984" y="339566"/>
                    <a:pt x="5965031" y="333851"/>
                  </a:cubicBezTo>
                  <a:cubicBezTo>
                    <a:pt x="5964079" y="321469"/>
                    <a:pt x="5964079" y="310039"/>
                    <a:pt x="5963126" y="299561"/>
                  </a:cubicBezTo>
                  <a:cubicBezTo>
                    <a:pt x="5964079" y="296704"/>
                    <a:pt x="5965031" y="294799"/>
                    <a:pt x="5965984" y="291941"/>
                  </a:cubicBezTo>
                  <a:close/>
                  <a:moveTo>
                    <a:pt x="5952649" y="385286"/>
                  </a:moveTo>
                  <a:cubicBezTo>
                    <a:pt x="5952649" y="385286"/>
                    <a:pt x="5952649" y="385286"/>
                    <a:pt x="5952649" y="385286"/>
                  </a:cubicBezTo>
                  <a:cubicBezTo>
                    <a:pt x="5952649" y="385286"/>
                    <a:pt x="5952649" y="385286"/>
                    <a:pt x="5952649" y="385286"/>
                  </a:cubicBezTo>
                  <a:cubicBezTo>
                    <a:pt x="5952649" y="385286"/>
                    <a:pt x="5952649" y="385286"/>
                    <a:pt x="5952649" y="385286"/>
                  </a:cubicBezTo>
                  <a:close/>
                  <a:moveTo>
                    <a:pt x="5934551" y="339566"/>
                  </a:moveTo>
                  <a:cubicBezTo>
                    <a:pt x="5934551" y="337661"/>
                    <a:pt x="5933599" y="334804"/>
                    <a:pt x="5933599" y="332899"/>
                  </a:cubicBezTo>
                  <a:cubicBezTo>
                    <a:pt x="5933599" y="331946"/>
                    <a:pt x="5933599" y="331946"/>
                    <a:pt x="5933599" y="330994"/>
                  </a:cubicBezTo>
                  <a:cubicBezTo>
                    <a:pt x="5934551" y="332899"/>
                    <a:pt x="5934551" y="334804"/>
                    <a:pt x="5935504" y="336709"/>
                  </a:cubicBezTo>
                  <a:cubicBezTo>
                    <a:pt x="5935504" y="337661"/>
                    <a:pt x="5934551" y="338614"/>
                    <a:pt x="5934551" y="339566"/>
                  </a:cubicBezTo>
                  <a:close/>
                  <a:moveTo>
                    <a:pt x="5948839" y="371951"/>
                  </a:moveTo>
                  <a:cubicBezTo>
                    <a:pt x="5947887" y="374809"/>
                    <a:pt x="5946934" y="378619"/>
                    <a:pt x="5945981" y="382429"/>
                  </a:cubicBezTo>
                  <a:cubicBezTo>
                    <a:pt x="5945029" y="386239"/>
                    <a:pt x="5944076" y="389096"/>
                    <a:pt x="5943124" y="392906"/>
                  </a:cubicBezTo>
                  <a:cubicBezTo>
                    <a:pt x="5943124" y="387191"/>
                    <a:pt x="5943124" y="382429"/>
                    <a:pt x="5943124" y="378619"/>
                  </a:cubicBezTo>
                  <a:cubicBezTo>
                    <a:pt x="5943124" y="378619"/>
                    <a:pt x="5943124" y="378619"/>
                    <a:pt x="5943124" y="378619"/>
                  </a:cubicBezTo>
                  <a:cubicBezTo>
                    <a:pt x="5945029" y="373856"/>
                    <a:pt x="5945981" y="370046"/>
                    <a:pt x="5946934" y="365284"/>
                  </a:cubicBezTo>
                  <a:cubicBezTo>
                    <a:pt x="5946934" y="367189"/>
                    <a:pt x="5947887" y="370046"/>
                    <a:pt x="5948839" y="371951"/>
                  </a:cubicBezTo>
                  <a:close/>
                  <a:moveTo>
                    <a:pt x="5930742" y="234791"/>
                  </a:moveTo>
                  <a:cubicBezTo>
                    <a:pt x="5933599" y="245269"/>
                    <a:pt x="5935504" y="256699"/>
                    <a:pt x="5938362" y="269081"/>
                  </a:cubicBezTo>
                  <a:cubicBezTo>
                    <a:pt x="5941219" y="280511"/>
                    <a:pt x="5942171" y="293846"/>
                    <a:pt x="5945029" y="307181"/>
                  </a:cubicBezTo>
                  <a:cubicBezTo>
                    <a:pt x="5943124" y="312896"/>
                    <a:pt x="5941219" y="317659"/>
                    <a:pt x="5940267" y="323374"/>
                  </a:cubicBezTo>
                  <a:cubicBezTo>
                    <a:pt x="5940267" y="323374"/>
                    <a:pt x="5940267" y="324326"/>
                    <a:pt x="5940267" y="324326"/>
                  </a:cubicBezTo>
                  <a:cubicBezTo>
                    <a:pt x="5937409" y="318611"/>
                    <a:pt x="5934551" y="312896"/>
                    <a:pt x="5931694" y="307181"/>
                  </a:cubicBezTo>
                  <a:cubicBezTo>
                    <a:pt x="5930742" y="299561"/>
                    <a:pt x="5929789" y="291941"/>
                    <a:pt x="5928837" y="284321"/>
                  </a:cubicBezTo>
                  <a:cubicBezTo>
                    <a:pt x="5927884" y="277654"/>
                    <a:pt x="5927884" y="271939"/>
                    <a:pt x="5926931" y="266224"/>
                  </a:cubicBezTo>
                  <a:cubicBezTo>
                    <a:pt x="5928837" y="261461"/>
                    <a:pt x="5929789" y="259556"/>
                    <a:pt x="5929789" y="259556"/>
                  </a:cubicBezTo>
                  <a:cubicBezTo>
                    <a:pt x="5929789" y="259556"/>
                    <a:pt x="5928837" y="261461"/>
                    <a:pt x="5926931" y="264319"/>
                  </a:cubicBezTo>
                  <a:cubicBezTo>
                    <a:pt x="5925979" y="257651"/>
                    <a:pt x="5925026" y="251936"/>
                    <a:pt x="5925026" y="245269"/>
                  </a:cubicBezTo>
                  <a:cubicBezTo>
                    <a:pt x="5925979" y="241459"/>
                    <a:pt x="5926931" y="237649"/>
                    <a:pt x="5926931" y="233839"/>
                  </a:cubicBezTo>
                  <a:cubicBezTo>
                    <a:pt x="5927884" y="230981"/>
                    <a:pt x="5927884" y="228124"/>
                    <a:pt x="5928837" y="226219"/>
                  </a:cubicBezTo>
                  <a:cubicBezTo>
                    <a:pt x="5928837" y="229076"/>
                    <a:pt x="5929789" y="231934"/>
                    <a:pt x="5930742" y="234791"/>
                  </a:cubicBezTo>
                  <a:close/>
                  <a:moveTo>
                    <a:pt x="5923121" y="209074"/>
                  </a:moveTo>
                  <a:cubicBezTo>
                    <a:pt x="5924074" y="212884"/>
                    <a:pt x="5925979" y="217646"/>
                    <a:pt x="5926931" y="222409"/>
                  </a:cubicBezTo>
                  <a:cubicBezTo>
                    <a:pt x="5925026" y="225266"/>
                    <a:pt x="5924074" y="229076"/>
                    <a:pt x="5922169" y="232886"/>
                  </a:cubicBezTo>
                  <a:cubicBezTo>
                    <a:pt x="5921217" y="223361"/>
                    <a:pt x="5920264" y="214789"/>
                    <a:pt x="5919312" y="206216"/>
                  </a:cubicBezTo>
                  <a:cubicBezTo>
                    <a:pt x="5919312" y="201454"/>
                    <a:pt x="5918359" y="197644"/>
                    <a:pt x="5918359" y="193834"/>
                  </a:cubicBezTo>
                  <a:cubicBezTo>
                    <a:pt x="5920264" y="197644"/>
                    <a:pt x="5921217" y="202406"/>
                    <a:pt x="5923121" y="209074"/>
                  </a:cubicBezTo>
                  <a:close/>
                  <a:moveTo>
                    <a:pt x="5901214" y="244316"/>
                  </a:moveTo>
                  <a:cubicBezTo>
                    <a:pt x="5901214" y="247174"/>
                    <a:pt x="5901214" y="251936"/>
                    <a:pt x="5901214" y="258604"/>
                  </a:cubicBezTo>
                  <a:cubicBezTo>
                    <a:pt x="5901214" y="264319"/>
                    <a:pt x="5901214" y="270986"/>
                    <a:pt x="5902167" y="278606"/>
                  </a:cubicBezTo>
                  <a:cubicBezTo>
                    <a:pt x="5902167" y="286226"/>
                    <a:pt x="5903119" y="293846"/>
                    <a:pt x="5904071" y="302419"/>
                  </a:cubicBezTo>
                  <a:cubicBezTo>
                    <a:pt x="5903119" y="304324"/>
                    <a:pt x="5901214" y="307181"/>
                    <a:pt x="5900262" y="310039"/>
                  </a:cubicBezTo>
                  <a:cubicBezTo>
                    <a:pt x="5898356" y="300514"/>
                    <a:pt x="5896451" y="291941"/>
                    <a:pt x="5895499" y="284321"/>
                  </a:cubicBezTo>
                  <a:cubicBezTo>
                    <a:pt x="5897404" y="264319"/>
                    <a:pt x="5900262" y="250984"/>
                    <a:pt x="5901214" y="244316"/>
                  </a:cubicBezTo>
                  <a:close/>
                  <a:moveTo>
                    <a:pt x="5903119" y="324326"/>
                  </a:moveTo>
                  <a:cubicBezTo>
                    <a:pt x="5903119" y="325279"/>
                    <a:pt x="5903119" y="327184"/>
                    <a:pt x="5903119" y="328136"/>
                  </a:cubicBezTo>
                  <a:cubicBezTo>
                    <a:pt x="5903119" y="327184"/>
                    <a:pt x="5903119" y="326231"/>
                    <a:pt x="5902167" y="325279"/>
                  </a:cubicBezTo>
                  <a:cubicBezTo>
                    <a:pt x="5903119" y="325279"/>
                    <a:pt x="5903119" y="324326"/>
                    <a:pt x="5903119" y="324326"/>
                  </a:cubicBezTo>
                  <a:close/>
                  <a:moveTo>
                    <a:pt x="5892642" y="348139"/>
                  </a:moveTo>
                  <a:cubicBezTo>
                    <a:pt x="5892642" y="350044"/>
                    <a:pt x="5892642" y="350996"/>
                    <a:pt x="5893594" y="352901"/>
                  </a:cubicBezTo>
                  <a:cubicBezTo>
                    <a:pt x="5893594" y="353854"/>
                    <a:pt x="5893594" y="354806"/>
                    <a:pt x="5893594" y="355759"/>
                  </a:cubicBezTo>
                  <a:cubicBezTo>
                    <a:pt x="5892642" y="353854"/>
                    <a:pt x="5892642" y="351949"/>
                    <a:pt x="5891689" y="350996"/>
                  </a:cubicBezTo>
                  <a:cubicBezTo>
                    <a:pt x="5892642" y="350044"/>
                    <a:pt x="5892642" y="349091"/>
                    <a:pt x="5892642" y="348139"/>
                  </a:cubicBezTo>
                  <a:close/>
                  <a:moveTo>
                    <a:pt x="5893594" y="373856"/>
                  </a:moveTo>
                  <a:cubicBezTo>
                    <a:pt x="5895499" y="379571"/>
                    <a:pt x="5897404" y="385286"/>
                    <a:pt x="5898356" y="391954"/>
                  </a:cubicBezTo>
                  <a:cubicBezTo>
                    <a:pt x="5899309" y="396716"/>
                    <a:pt x="5901214" y="402431"/>
                    <a:pt x="5902167" y="408146"/>
                  </a:cubicBezTo>
                  <a:cubicBezTo>
                    <a:pt x="5903119" y="411004"/>
                    <a:pt x="5903119" y="414814"/>
                    <a:pt x="5904071" y="417671"/>
                  </a:cubicBezTo>
                  <a:cubicBezTo>
                    <a:pt x="5904071" y="417671"/>
                    <a:pt x="5904071" y="417671"/>
                    <a:pt x="5904071" y="417671"/>
                  </a:cubicBezTo>
                  <a:cubicBezTo>
                    <a:pt x="5899309" y="407194"/>
                    <a:pt x="5895499" y="397669"/>
                    <a:pt x="5890737" y="387191"/>
                  </a:cubicBezTo>
                  <a:cubicBezTo>
                    <a:pt x="5889784" y="386239"/>
                    <a:pt x="5889784" y="385286"/>
                    <a:pt x="5888831" y="383381"/>
                  </a:cubicBezTo>
                  <a:lnTo>
                    <a:pt x="5887879" y="357664"/>
                  </a:lnTo>
                  <a:cubicBezTo>
                    <a:pt x="5887879" y="357664"/>
                    <a:pt x="5887879" y="356711"/>
                    <a:pt x="5888831" y="356711"/>
                  </a:cubicBezTo>
                  <a:cubicBezTo>
                    <a:pt x="5889784" y="363379"/>
                    <a:pt x="5891689" y="368141"/>
                    <a:pt x="5893594" y="373856"/>
                  </a:cubicBezTo>
                  <a:close/>
                  <a:moveTo>
                    <a:pt x="5886926" y="321469"/>
                  </a:moveTo>
                  <a:cubicBezTo>
                    <a:pt x="5887879" y="317659"/>
                    <a:pt x="5887879" y="314801"/>
                    <a:pt x="5888831" y="311944"/>
                  </a:cubicBezTo>
                  <a:cubicBezTo>
                    <a:pt x="5888831" y="312896"/>
                    <a:pt x="5888831" y="313849"/>
                    <a:pt x="5888831" y="314801"/>
                  </a:cubicBezTo>
                  <a:cubicBezTo>
                    <a:pt x="5888831" y="318611"/>
                    <a:pt x="5889784" y="322421"/>
                    <a:pt x="5889784" y="326231"/>
                  </a:cubicBezTo>
                  <a:cubicBezTo>
                    <a:pt x="5888831" y="328136"/>
                    <a:pt x="5887879" y="330041"/>
                    <a:pt x="5885974" y="332899"/>
                  </a:cubicBezTo>
                  <a:cubicBezTo>
                    <a:pt x="5885974" y="330041"/>
                    <a:pt x="5885974" y="327184"/>
                    <a:pt x="5885974" y="325279"/>
                  </a:cubicBezTo>
                  <a:cubicBezTo>
                    <a:pt x="5885974" y="323374"/>
                    <a:pt x="5886926" y="322421"/>
                    <a:pt x="5886926" y="321469"/>
                  </a:cubicBezTo>
                  <a:close/>
                  <a:moveTo>
                    <a:pt x="5858351" y="279559"/>
                  </a:moveTo>
                  <a:cubicBezTo>
                    <a:pt x="5858351" y="281464"/>
                    <a:pt x="5858351" y="282416"/>
                    <a:pt x="5858351" y="284321"/>
                  </a:cubicBezTo>
                  <a:cubicBezTo>
                    <a:pt x="5858351" y="284321"/>
                    <a:pt x="5858351" y="285274"/>
                    <a:pt x="5858351" y="285274"/>
                  </a:cubicBezTo>
                  <a:cubicBezTo>
                    <a:pt x="5858351" y="284321"/>
                    <a:pt x="5857399" y="283369"/>
                    <a:pt x="5857399" y="281464"/>
                  </a:cubicBezTo>
                  <a:cubicBezTo>
                    <a:pt x="5857399" y="281464"/>
                    <a:pt x="5857399" y="280511"/>
                    <a:pt x="5858351" y="279559"/>
                  </a:cubicBezTo>
                  <a:close/>
                  <a:moveTo>
                    <a:pt x="5841206" y="264319"/>
                  </a:moveTo>
                  <a:cubicBezTo>
                    <a:pt x="5841206" y="266224"/>
                    <a:pt x="5840254" y="268129"/>
                    <a:pt x="5840254" y="270034"/>
                  </a:cubicBezTo>
                  <a:cubicBezTo>
                    <a:pt x="5840254" y="272891"/>
                    <a:pt x="5839301" y="274796"/>
                    <a:pt x="5839301" y="277654"/>
                  </a:cubicBezTo>
                  <a:cubicBezTo>
                    <a:pt x="5839301" y="275749"/>
                    <a:pt x="5838349" y="273844"/>
                    <a:pt x="5838349" y="271939"/>
                  </a:cubicBezTo>
                  <a:cubicBezTo>
                    <a:pt x="5840254" y="269081"/>
                    <a:pt x="5840254" y="267176"/>
                    <a:pt x="5841206" y="264319"/>
                  </a:cubicBezTo>
                  <a:close/>
                  <a:moveTo>
                    <a:pt x="5828824" y="305276"/>
                  </a:moveTo>
                  <a:cubicBezTo>
                    <a:pt x="5827871" y="306229"/>
                    <a:pt x="5827871" y="307181"/>
                    <a:pt x="5826919" y="308134"/>
                  </a:cubicBezTo>
                  <a:cubicBezTo>
                    <a:pt x="5826919" y="307181"/>
                    <a:pt x="5826919" y="307181"/>
                    <a:pt x="5826919" y="306229"/>
                  </a:cubicBezTo>
                  <a:cubicBezTo>
                    <a:pt x="5827871" y="304324"/>
                    <a:pt x="5828824" y="301466"/>
                    <a:pt x="5829776" y="299561"/>
                  </a:cubicBezTo>
                  <a:cubicBezTo>
                    <a:pt x="5828824" y="302419"/>
                    <a:pt x="5828824" y="303371"/>
                    <a:pt x="5828824" y="305276"/>
                  </a:cubicBezTo>
                  <a:close/>
                  <a:moveTo>
                    <a:pt x="5823109" y="259556"/>
                  </a:moveTo>
                  <a:cubicBezTo>
                    <a:pt x="5824062" y="262414"/>
                    <a:pt x="5825967" y="266224"/>
                    <a:pt x="5827871" y="270986"/>
                  </a:cubicBezTo>
                  <a:cubicBezTo>
                    <a:pt x="5827871" y="271939"/>
                    <a:pt x="5828824" y="272891"/>
                    <a:pt x="5828824" y="273844"/>
                  </a:cubicBezTo>
                  <a:cubicBezTo>
                    <a:pt x="5828824" y="277654"/>
                    <a:pt x="5828824" y="281464"/>
                    <a:pt x="5828824" y="286226"/>
                  </a:cubicBezTo>
                  <a:cubicBezTo>
                    <a:pt x="5826919" y="289084"/>
                    <a:pt x="5825967" y="291941"/>
                    <a:pt x="5824062" y="295751"/>
                  </a:cubicBezTo>
                  <a:lnTo>
                    <a:pt x="5824062" y="294799"/>
                  </a:lnTo>
                  <a:lnTo>
                    <a:pt x="5823109" y="267176"/>
                  </a:lnTo>
                  <a:lnTo>
                    <a:pt x="5823109" y="259556"/>
                  </a:lnTo>
                  <a:close/>
                  <a:moveTo>
                    <a:pt x="5813584" y="252889"/>
                  </a:moveTo>
                  <a:cubicBezTo>
                    <a:pt x="5813584" y="254794"/>
                    <a:pt x="5812631" y="256699"/>
                    <a:pt x="5812631" y="258604"/>
                  </a:cubicBezTo>
                  <a:cubicBezTo>
                    <a:pt x="5811679" y="256699"/>
                    <a:pt x="5811679" y="255746"/>
                    <a:pt x="5811679" y="255746"/>
                  </a:cubicBezTo>
                  <a:cubicBezTo>
                    <a:pt x="5811679" y="255746"/>
                    <a:pt x="5811679" y="258604"/>
                    <a:pt x="5811679" y="262414"/>
                  </a:cubicBezTo>
                  <a:cubicBezTo>
                    <a:pt x="5811679" y="264319"/>
                    <a:pt x="5810726" y="265271"/>
                    <a:pt x="5810726" y="267176"/>
                  </a:cubicBezTo>
                  <a:cubicBezTo>
                    <a:pt x="5809774" y="276701"/>
                    <a:pt x="5808821" y="285274"/>
                    <a:pt x="5808821" y="294799"/>
                  </a:cubicBezTo>
                  <a:lnTo>
                    <a:pt x="5808821" y="304324"/>
                  </a:lnTo>
                  <a:lnTo>
                    <a:pt x="5807869" y="300514"/>
                  </a:lnTo>
                  <a:cubicBezTo>
                    <a:pt x="5808821" y="286226"/>
                    <a:pt x="5807869" y="273844"/>
                    <a:pt x="5806917" y="264319"/>
                  </a:cubicBezTo>
                  <a:cubicBezTo>
                    <a:pt x="5806917" y="263366"/>
                    <a:pt x="5806917" y="263366"/>
                    <a:pt x="5806917" y="262414"/>
                  </a:cubicBezTo>
                  <a:cubicBezTo>
                    <a:pt x="5809774" y="258604"/>
                    <a:pt x="5812631" y="254794"/>
                    <a:pt x="5813584" y="252889"/>
                  </a:cubicBezTo>
                  <a:close/>
                  <a:moveTo>
                    <a:pt x="5804059" y="268129"/>
                  </a:moveTo>
                  <a:cubicBezTo>
                    <a:pt x="5804059" y="268129"/>
                    <a:pt x="5804059" y="269081"/>
                    <a:pt x="5804059" y="269081"/>
                  </a:cubicBezTo>
                  <a:lnTo>
                    <a:pt x="5804059" y="268129"/>
                  </a:lnTo>
                  <a:cubicBezTo>
                    <a:pt x="5804059" y="268129"/>
                    <a:pt x="5804059" y="268129"/>
                    <a:pt x="5804059" y="268129"/>
                  </a:cubicBezTo>
                  <a:close/>
                  <a:moveTo>
                    <a:pt x="5799296" y="164306"/>
                  </a:moveTo>
                  <a:cubicBezTo>
                    <a:pt x="5800249" y="165259"/>
                    <a:pt x="5801201" y="165259"/>
                    <a:pt x="5802154" y="166211"/>
                  </a:cubicBezTo>
                  <a:cubicBezTo>
                    <a:pt x="5800249" y="170021"/>
                    <a:pt x="5798344" y="172879"/>
                    <a:pt x="5796439" y="176689"/>
                  </a:cubicBezTo>
                  <a:lnTo>
                    <a:pt x="5796439" y="163354"/>
                  </a:lnTo>
                  <a:cubicBezTo>
                    <a:pt x="5797392" y="163354"/>
                    <a:pt x="5798344" y="163354"/>
                    <a:pt x="5799296" y="164306"/>
                  </a:cubicBezTo>
                  <a:close/>
                  <a:moveTo>
                    <a:pt x="5770721" y="386239"/>
                  </a:moveTo>
                  <a:cubicBezTo>
                    <a:pt x="5770721" y="385286"/>
                    <a:pt x="5770721" y="384334"/>
                    <a:pt x="5770721" y="383381"/>
                  </a:cubicBezTo>
                  <a:cubicBezTo>
                    <a:pt x="5770721" y="383381"/>
                    <a:pt x="5770721" y="382429"/>
                    <a:pt x="5770721" y="382429"/>
                  </a:cubicBezTo>
                  <a:cubicBezTo>
                    <a:pt x="5770721" y="384334"/>
                    <a:pt x="5770721" y="385286"/>
                    <a:pt x="5771674" y="387191"/>
                  </a:cubicBezTo>
                  <a:cubicBezTo>
                    <a:pt x="5771674" y="386239"/>
                    <a:pt x="5771674" y="386239"/>
                    <a:pt x="5770721" y="386239"/>
                  </a:cubicBezTo>
                  <a:close/>
                  <a:moveTo>
                    <a:pt x="5782151" y="253841"/>
                  </a:moveTo>
                  <a:cubicBezTo>
                    <a:pt x="5781199" y="254794"/>
                    <a:pt x="5781199" y="256699"/>
                    <a:pt x="5780246" y="258604"/>
                  </a:cubicBezTo>
                  <a:cubicBezTo>
                    <a:pt x="5779294" y="261461"/>
                    <a:pt x="5778342" y="264319"/>
                    <a:pt x="5777389" y="267176"/>
                  </a:cubicBezTo>
                  <a:cubicBezTo>
                    <a:pt x="5776437" y="270034"/>
                    <a:pt x="5775484" y="272891"/>
                    <a:pt x="5773579" y="275749"/>
                  </a:cubicBezTo>
                  <a:cubicBezTo>
                    <a:pt x="5773579" y="274796"/>
                    <a:pt x="5772626" y="274796"/>
                    <a:pt x="5772626" y="273844"/>
                  </a:cubicBezTo>
                  <a:cubicBezTo>
                    <a:pt x="5772626" y="273844"/>
                    <a:pt x="5772626" y="272891"/>
                    <a:pt x="5771674" y="272891"/>
                  </a:cubicBezTo>
                  <a:cubicBezTo>
                    <a:pt x="5777389" y="256699"/>
                    <a:pt x="5781199" y="246221"/>
                    <a:pt x="5783104" y="241459"/>
                  </a:cubicBezTo>
                  <a:cubicBezTo>
                    <a:pt x="5783104" y="245269"/>
                    <a:pt x="5783104" y="250031"/>
                    <a:pt x="5782151" y="253841"/>
                  </a:cubicBezTo>
                  <a:close/>
                  <a:moveTo>
                    <a:pt x="5785962" y="221456"/>
                  </a:moveTo>
                  <a:cubicBezTo>
                    <a:pt x="5785009" y="227171"/>
                    <a:pt x="5785009" y="232886"/>
                    <a:pt x="5784056" y="239554"/>
                  </a:cubicBezTo>
                  <a:cubicBezTo>
                    <a:pt x="5784056" y="239554"/>
                    <a:pt x="5784056" y="240506"/>
                    <a:pt x="5784056" y="240506"/>
                  </a:cubicBezTo>
                  <a:cubicBezTo>
                    <a:pt x="5782151" y="244316"/>
                    <a:pt x="5777389" y="253841"/>
                    <a:pt x="5770721" y="267176"/>
                  </a:cubicBezTo>
                  <a:cubicBezTo>
                    <a:pt x="5770721" y="265271"/>
                    <a:pt x="5769769" y="263366"/>
                    <a:pt x="5769769" y="261461"/>
                  </a:cubicBezTo>
                  <a:cubicBezTo>
                    <a:pt x="5769769" y="260509"/>
                    <a:pt x="5769769" y="259556"/>
                    <a:pt x="5769769" y="258604"/>
                  </a:cubicBezTo>
                  <a:cubicBezTo>
                    <a:pt x="5775484" y="246221"/>
                    <a:pt x="5781199" y="233839"/>
                    <a:pt x="5785962" y="221456"/>
                  </a:cubicBezTo>
                  <a:close/>
                  <a:moveTo>
                    <a:pt x="5754529" y="333851"/>
                  </a:moveTo>
                  <a:cubicBezTo>
                    <a:pt x="5751671" y="338614"/>
                    <a:pt x="5749767" y="343376"/>
                    <a:pt x="5746909" y="348139"/>
                  </a:cubicBezTo>
                  <a:cubicBezTo>
                    <a:pt x="5746909" y="347186"/>
                    <a:pt x="5745956" y="347186"/>
                    <a:pt x="5745956" y="346234"/>
                  </a:cubicBezTo>
                  <a:cubicBezTo>
                    <a:pt x="5748814" y="337661"/>
                    <a:pt x="5751671" y="330041"/>
                    <a:pt x="5754529" y="322421"/>
                  </a:cubicBezTo>
                  <a:cubicBezTo>
                    <a:pt x="5754529" y="325279"/>
                    <a:pt x="5754529" y="329089"/>
                    <a:pt x="5754529" y="333851"/>
                  </a:cubicBezTo>
                  <a:cubicBezTo>
                    <a:pt x="5754529" y="333851"/>
                    <a:pt x="5754529" y="333851"/>
                    <a:pt x="5754529" y="333851"/>
                  </a:cubicBezTo>
                  <a:close/>
                  <a:moveTo>
                    <a:pt x="5762149" y="302419"/>
                  </a:moveTo>
                  <a:cubicBezTo>
                    <a:pt x="5762149" y="303371"/>
                    <a:pt x="5762149" y="303371"/>
                    <a:pt x="5762149" y="302419"/>
                  </a:cubicBezTo>
                  <a:cubicBezTo>
                    <a:pt x="5762149" y="303371"/>
                    <a:pt x="5761196" y="303371"/>
                    <a:pt x="5762149" y="302419"/>
                  </a:cubicBezTo>
                  <a:cubicBezTo>
                    <a:pt x="5761196" y="303371"/>
                    <a:pt x="5761196" y="303371"/>
                    <a:pt x="5762149" y="302419"/>
                  </a:cubicBezTo>
                  <a:close/>
                  <a:moveTo>
                    <a:pt x="5761196" y="304324"/>
                  </a:moveTo>
                  <a:cubicBezTo>
                    <a:pt x="5761196" y="304324"/>
                    <a:pt x="5761196" y="305276"/>
                    <a:pt x="5762149" y="305276"/>
                  </a:cubicBezTo>
                  <a:cubicBezTo>
                    <a:pt x="5762149" y="306229"/>
                    <a:pt x="5762149" y="307181"/>
                    <a:pt x="5762149" y="308134"/>
                  </a:cubicBezTo>
                  <a:cubicBezTo>
                    <a:pt x="5762149" y="309086"/>
                    <a:pt x="5762149" y="309086"/>
                    <a:pt x="5762149" y="310039"/>
                  </a:cubicBezTo>
                  <a:cubicBezTo>
                    <a:pt x="5761196" y="313849"/>
                    <a:pt x="5760244" y="316706"/>
                    <a:pt x="5759292" y="320516"/>
                  </a:cubicBezTo>
                  <a:cubicBezTo>
                    <a:pt x="5758339" y="323374"/>
                    <a:pt x="5758339" y="325279"/>
                    <a:pt x="5757387" y="328136"/>
                  </a:cubicBezTo>
                  <a:cubicBezTo>
                    <a:pt x="5756434" y="324326"/>
                    <a:pt x="5755481" y="321469"/>
                    <a:pt x="5755481" y="320516"/>
                  </a:cubicBezTo>
                  <a:cubicBezTo>
                    <a:pt x="5757387" y="314801"/>
                    <a:pt x="5759292" y="309086"/>
                    <a:pt x="5761196" y="304324"/>
                  </a:cubicBezTo>
                  <a:close/>
                  <a:moveTo>
                    <a:pt x="5760244" y="289084"/>
                  </a:moveTo>
                  <a:cubicBezTo>
                    <a:pt x="5760244" y="290036"/>
                    <a:pt x="5759292" y="290036"/>
                    <a:pt x="5759292" y="290989"/>
                  </a:cubicBezTo>
                  <a:cubicBezTo>
                    <a:pt x="5757387" y="293846"/>
                    <a:pt x="5754529" y="297656"/>
                    <a:pt x="5751671" y="301466"/>
                  </a:cubicBezTo>
                  <a:cubicBezTo>
                    <a:pt x="5750719" y="302419"/>
                    <a:pt x="5749767" y="304324"/>
                    <a:pt x="5748814" y="305276"/>
                  </a:cubicBezTo>
                  <a:cubicBezTo>
                    <a:pt x="5752624" y="296704"/>
                    <a:pt x="5755481" y="288131"/>
                    <a:pt x="5759292" y="280511"/>
                  </a:cubicBezTo>
                  <a:cubicBezTo>
                    <a:pt x="5760244" y="284321"/>
                    <a:pt x="5760244" y="286226"/>
                    <a:pt x="5760244" y="289084"/>
                  </a:cubicBezTo>
                  <a:close/>
                  <a:moveTo>
                    <a:pt x="5756434" y="227171"/>
                  </a:moveTo>
                  <a:cubicBezTo>
                    <a:pt x="5756434" y="231934"/>
                    <a:pt x="5756434" y="237649"/>
                    <a:pt x="5756434" y="243364"/>
                  </a:cubicBezTo>
                  <a:cubicBezTo>
                    <a:pt x="5756434" y="246221"/>
                    <a:pt x="5756434" y="248126"/>
                    <a:pt x="5757387" y="250984"/>
                  </a:cubicBezTo>
                  <a:cubicBezTo>
                    <a:pt x="5756434" y="253841"/>
                    <a:pt x="5754529" y="256699"/>
                    <a:pt x="5753576" y="259556"/>
                  </a:cubicBezTo>
                  <a:cubicBezTo>
                    <a:pt x="5749767" y="268129"/>
                    <a:pt x="5745004" y="276701"/>
                    <a:pt x="5741194" y="285274"/>
                  </a:cubicBezTo>
                  <a:cubicBezTo>
                    <a:pt x="5746909" y="262414"/>
                    <a:pt x="5752624" y="243364"/>
                    <a:pt x="5756434" y="227171"/>
                  </a:cubicBezTo>
                  <a:close/>
                  <a:moveTo>
                    <a:pt x="5676424" y="184309"/>
                  </a:moveTo>
                  <a:cubicBezTo>
                    <a:pt x="5676424" y="188119"/>
                    <a:pt x="5676424" y="192881"/>
                    <a:pt x="5676424" y="198596"/>
                  </a:cubicBezTo>
                  <a:cubicBezTo>
                    <a:pt x="5676424" y="206216"/>
                    <a:pt x="5676424" y="216694"/>
                    <a:pt x="5676424" y="228124"/>
                  </a:cubicBezTo>
                  <a:cubicBezTo>
                    <a:pt x="5676424" y="233839"/>
                    <a:pt x="5676424" y="239554"/>
                    <a:pt x="5676424" y="246221"/>
                  </a:cubicBezTo>
                  <a:cubicBezTo>
                    <a:pt x="5676424" y="252889"/>
                    <a:pt x="5677376" y="259556"/>
                    <a:pt x="5677376" y="266224"/>
                  </a:cubicBezTo>
                  <a:cubicBezTo>
                    <a:pt x="5677376" y="270034"/>
                    <a:pt x="5677376" y="273844"/>
                    <a:pt x="5678329" y="276701"/>
                  </a:cubicBezTo>
                  <a:cubicBezTo>
                    <a:pt x="5678329" y="276701"/>
                    <a:pt x="5678329" y="276701"/>
                    <a:pt x="5678329" y="276701"/>
                  </a:cubicBezTo>
                  <a:cubicBezTo>
                    <a:pt x="5677376" y="270986"/>
                    <a:pt x="5676424" y="265271"/>
                    <a:pt x="5675471" y="259556"/>
                  </a:cubicBezTo>
                  <a:cubicBezTo>
                    <a:pt x="5674519" y="253841"/>
                    <a:pt x="5673567" y="248126"/>
                    <a:pt x="5672614" y="242411"/>
                  </a:cubicBezTo>
                  <a:cubicBezTo>
                    <a:pt x="5671662" y="235744"/>
                    <a:pt x="5670709" y="229076"/>
                    <a:pt x="5669756" y="223361"/>
                  </a:cubicBezTo>
                  <a:cubicBezTo>
                    <a:pt x="5669756" y="221456"/>
                    <a:pt x="5668804" y="218599"/>
                    <a:pt x="5668804" y="216694"/>
                  </a:cubicBezTo>
                  <a:cubicBezTo>
                    <a:pt x="5671662" y="202406"/>
                    <a:pt x="5674519" y="190976"/>
                    <a:pt x="5676424" y="184309"/>
                  </a:cubicBezTo>
                  <a:close/>
                  <a:moveTo>
                    <a:pt x="5652612" y="263366"/>
                  </a:moveTo>
                  <a:cubicBezTo>
                    <a:pt x="5652612" y="262414"/>
                    <a:pt x="5652612" y="262414"/>
                    <a:pt x="5653564" y="261461"/>
                  </a:cubicBezTo>
                  <a:cubicBezTo>
                    <a:pt x="5654517" y="262414"/>
                    <a:pt x="5654517" y="263366"/>
                    <a:pt x="5655469" y="264319"/>
                  </a:cubicBezTo>
                  <a:cubicBezTo>
                    <a:pt x="5655469" y="265271"/>
                    <a:pt x="5655469" y="266224"/>
                    <a:pt x="5655469" y="268129"/>
                  </a:cubicBezTo>
                  <a:cubicBezTo>
                    <a:pt x="5656421" y="273844"/>
                    <a:pt x="5656421" y="279559"/>
                    <a:pt x="5657374" y="286226"/>
                  </a:cubicBezTo>
                  <a:cubicBezTo>
                    <a:pt x="5655469" y="280511"/>
                    <a:pt x="5654517" y="274796"/>
                    <a:pt x="5652612" y="269081"/>
                  </a:cubicBezTo>
                  <a:cubicBezTo>
                    <a:pt x="5652612" y="268129"/>
                    <a:pt x="5652612" y="268129"/>
                    <a:pt x="5651659" y="267176"/>
                  </a:cubicBezTo>
                  <a:cubicBezTo>
                    <a:pt x="5652612" y="265271"/>
                    <a:pt x="5652612" y="264319"/>
                    <a:pt x="5652612" y="263366"/>
                  </a:cubicBezTo>
                  <a:close/>
                  <a:moveTo>
                    <a:pt x="5650706" y="205264"/>
                  </a:moveTo>
                  <a:cubicBezTo>
                    <a:pt x="5650706" y="208121"/>
                    <a:pt x="5650706" y="210979"/>
                    <a:pt x="5651659" y="212884"/>
                  </a:cubicBezTo>
                  <a:cubicBezTo>
                    <a:pt x="5650706" y="210979"/>
                    <a:pt x="5649754" y="209074"/>
                    <a:pt x="5649754" y="207169"/>
                  </a:cubicBezTo>
                  <a:cubicBezTo>
                    <a:pt x="5649754" y="206216"/>
                    <a:pt x="5649754" y="205264"/>
                    <a:pt x="5650706" y="205264"/>
                  </a:cubicBezTo>
                  <a:close/>
                  <a:moveTo>
                    <a:pt x="5647849" y="209074"/>
                  </a:moveTo>
                  <a:cubicBezTo>
                    <a:pt x="5647849" y="211931"/>
                    <a:pt x="5648801" y="215741"/>
                    <a:pt x="5649754" y="219551"/>
                  </a:cubicBezTo>
                  <a:cubicBezTo>
                    <a:pt x="5650706" y="224314"/>
                    <a:pt x="5650706" y="230029"/>
                    <a:pt x="5651659" y="235744"/>
                  </a:cubicBezTo>
                  <a:cubicBezTo>
                    <a:pt x="5651659" y="235744"/>
                    <a:pt x="5651659" y="235744"/>
                    <a:pt x="5651659" y="236696"/>
                  </a:cubicBezTo>
                  <a:cubicBezTo>
                    <a:pt x="5649754" y="233839"/>
                    <a:pt x="5647849" y="230981"/>
                    <a:pt x="5645944" y="228124"/>
                  </a:cubicBezTo>
                  <a:cubicBezTo>
                    <a:pt x="5644992" y="224314"/>
                    <a:pt x="5644992" y="220504"/>
                    <a:pt x="5644039" y="216694"/>
                  </a:cubicBezTo>
                  <a:cubicBezTo>
                    <a:pt x="5644992" y="213836"/>
                    <a:pt x="5646896" y="211931"/>
                    <a:pt x="5647849" y="209074"/>
                  </a:cubicBezTo>
                  <a:close/>
                  <a:moveTo>
                    <a:pt x="5642134" y="370046"/>
                  </a:moveTo>
                  <a:cubicBezTo>
                    <a:pt x="5642134" y="372904"/>
                    <a:pt x="5643087" y="374809"/>
                    <a:pt x="5643087" y="377666"/>
                  </a:cubicBezTo>
                  <a:cubicBezTo>
                    <a:pt x="5642134" y="379571"/>
                    <a:pt x="5642134" y="382429"/>
                    <a:pt x="5641181" y="385286"/>
                  </a:cubicBezTo>
                  <a:cubicBezTo>
                    <a:pt x="5641181" y="379571"/>
                    <a:pt x="5641181" y="374809"/>
                    <a:pt x="5642134" y="370046"/>
                  </a:cubicBezTo>
                  <a:close/>
                  <a:moveTo>
                    <a:pt x="5624037" y="272891"/>
                  </a:moveTo>
                  <a:cubicBezTo>
                    <a:pt x="5624989" y="268129"/>
                    <a:pt x="5624989" y="263366"/>
                    <a:pt x="5625942" y="258604"/>
                  </a:cubicBezTo>
                  <a:cubicBezTo>
                    <a:pt x="5625942" y="256699"/>
                    <a:pt x="5625942" y="255746"/>
                    <a:pt x="5625942" y="254794"/>
                  </a:cubicBezTo>
                  <a:cubicBezTo>
                    <a:pt x="5627846" y="250031"/>
                    <a:pt x="5629751" y="245269"/>
                    <a:pt x="5632609" y="241459"/>
                  </a:cubicBezTo>
                  <a:cubicBezTo>
                    <a:pt x="5633562" y="239554"/>
                    <a:pt x="5634514" y="238601"/>
                    <a:pt x="5634514" y="236696"/>
                  </a:cubicBezTo>
                  <a:cubicBezTo>
                    <a:pt x="5635467" y="239554"/>
                    <a:pt x="5636419" y="242411"/>
                    <a:pt x="5637371" y="245269"/>
                  </a:cubicBezTo>
                  <a:cubicBezTo>
                    <a:pt x="5638324" y="249079"/>
                    <a:pt x="5639276" y="253841"/>
                    <a:pt x="5640229" y="259556"/>
                  </a:cubicBezTo>
                  <a:cubicBezTo>
                    <a:pt x="5640229" y="261461"/>
                    <a:pt x="5640229" y="264319"/>
                    <a:pt x="5640229" y="266224"/>
                  </a:cubicBezTo>
                  <a:cubicBezTo>
                    <a:pt x="5637371" y="272891"/>
                    <a:pt x="5634514" y="280511"/>
                    <a:pt x="5631656" y="288131"/>
                  </a:cubicBezTo>
                  <a:cubicBezTo>
                    <a:pt x="5628799" y="284321"/>
                    <a:pt x="5626894" y="280511"/>
                    <a:pt x="5624037" y="277654"/>
                  </a:cubicBezTo>
                  <a:cubicBezTo>
                    <a:pt x="5623084" y="275749"/>
                    <a:pt x="5624037" y="273844"/>
                    <a:pt x="5624037" y="272891"/>
                  </a:cubicBezTo>
                  <a:close/>
                  <a:moveTo>
                    <a:pt x="5623084" y="289084"/>
                  </a:moveTo>
                  <a:cubicBezTo>
                    <a:pt x="5623084" y="288131"/>
                    <a:pt x="5623084" y="288131"/>
                    <a:pt x="5623084" y="287179"/>
                  </a:cubicBezTo>
                  <a:cubicBezTo>
                    <a:pt x="5624037" y="288131"/>
                    <a:pt x="5624037" y="290036"/>
                    <a:pt x="5624989" y="290989"/>
                  </a:cubicBezTo>
                  <a:cubicBezTo>
                    <a:pt x="5625942" y="292894"/>
                    <a:pt x="5626894" y="295751"/>
                    <a:pt x="5626894" y="298609"/>
                  </a:cubicBezTo>
                  <a:cubicBezTo>
                    <a:pt x="5626894" y="299561"/>
                    <a:pt x="5626894" y="299561"/>
                    <a:pt x="5625942" y="300514"/>
                  </a:cubicBezTo>
                  <a:cubicBezTo>
                    <a:pt x="5625942" y="300514"/>
                    <a:pt x="5625942" y="300514"/>
                    <a:pt x="5625942" y="300514"/>
                  </a:cubicBezTo>
                  <a:cubicBezTo>
                    <a:pt x="5624989" y="298609"/>
                    <a:pt x="5624037" y="297656"/>
                    <a:pt x="5622131" y="295751"/>
                  </a:cubicBezTo>
                  <a:cubicBezTo>
                    <a:pt x="5622131" y="293846"/>
                    <a:pt x="5622131" y="290989"/>
                    <a:pt x="5623084" y="289084"/>
                  </a:cubicBezTo>
                  <a:close/>
                  <a:moveTo>
                    <a:pt x="5621179" y="310991"/>
                  </a:moveTo>
                  <a:cubicBezTo>
                    <a:pt x="5621179" y="310991"/>
                    <a:pt x="5621179" y="310991"/>
                    <a:pt x="5621179" y="310991"/>
                  </a:cubicBezTo>
                  <a:cubicBezTo>
                    <a:pt x="5621179" y="310991"/>
                    <a:pt x="5621179" y="310991"/>
                    <a:pt x="5621179" y="310991"/>
                  </a:cubicBezTo>
                  <a:cubicBezTo>
                    <a:pt x="5621179" y="310991"/>
                    <a:pt x="5621179" y="310991"/>
                    <a:pt x="5621179" y="310991"/>
                  </a:cubicBezTo>
                  <a:close/>
                  <a:moveTo>
                    <a:pt x="5618321" y="270034"/>
                  </a:moveTo>
                  <a:cubicBezTo>
                    <a:pt x="5618321" y="270034"/>
                    <a:pt x="5618321" y="270986"/>
                    <a:pt x="5618321" y="270034"/>
                  </a:cubicBezTo>
                  <a:cubicBezTo>
                    <a:pt x="5618321" y="270986"/>
                    <a:pt x="5618321" y="270986"/>
                    <a:pt x="5618321" y="270034"/>
                  </a:cubicBezTo>
                  <a:cubicBezTo>
                    <a:pt x="5618321" y="270986"/>
                    <a:pt x="5618321" y="270034"/>
                    <a:pt x="5618321" y="270034"/>
                  </a:cubicBezTo>
                  <a:close/>
                  <a:moveTo>
                    <a:pt x="5617369" y="272891"/>
                  </a:moveTo>
                  <a:cubicBezTo>
                    <a:pt x="5617369" y="272891"/>
                    <a:pt x="5617369" y="273844"/>
                    <a:pt x="5618321" y="273844"/>
                  </a:cubicBezTo>
                  <a:cubicBezTo>
                    <a:pt x="5617369" y="277654"/>
                    <a:pt x="5617369" y="282416"/>
                    <a:pt x="5616417" y="286226"/>
                  </a:cubicBezTo>
                  <a:cubicBezTo>
                    <a:pt x="5615464" y="285274"/>
                    <a:pt x="5614512" y="283369"/>
                    <a:pt x="5613559" y="282416"/>
                  </a:cubicBezTo>
                  <a:cubicBezTo>
                    <a:pt x="5614512" y="279559"/>
                    <a:pt x="5615464" y="276701"/>
                    <a:pt x="5617369" y="272891"/>
                  </a:cubicBezTo>
                  <a:close/>
                  <a:moveTo>
                    <a:pt x="5608796" y="290989"/>
                  </a:moveTo>
                  <a:cubicBezTo>
                    <a:pt x="5608796" y="290989"/>
                    <a:pt x="5609749" y="290989"/>
                    <a:pt x="5608796" y="290989"/>
                  </a:cubicBezTo>
                  <a:cubicBezTo>
                    <a:pt x="5609749" y="291941"/>
                    <a:pt x="5610701" y="293846"/>
                    <a:pt x="5611654" y="294799"/>
                  </a:cubicBezTo>
                  <a:cubicBezTo>
                    <a:pt x="5612606" y="295751"/>
                    <a:pt x="5612606" y="296704"/>
                    <a:pt x="5613559" y="297656"/>
                  </a:cubicBezTo>
                  <a:cubicBezTo>
                    <a:pt x="5612606" y="302419"/>
                    <a:pt x="5612606" y="306229"/>
                    <a:pt x="5611654" y="310991"/>
                  </a:cubicBezTo>
                  <a:cubicBezTo>
                    <a:pt x="5610701" y="305276"/>
                    <a:pt x="5609749" y="298609"/>
                    <a:pt x="5608796" y="292894"/>
                  </a:cubicBezTo>
                  <a:cubicBezTo>
                    <a:pt x="5608796" y="291941"/>
                    <a:pt x="5608796" y="291941"/>
                    <a:pt x="5608796" y="290989"/>
                  </a:cubicBezTo>
                  <a:close/>
                  <a:moveTo>
                    <a:pt x="5594509" y="241459"/>
                  </a:moveTo>
                  <a:cubicBezTo>
                    <a:pt x="5594509" y="247174"/>
                    <a:pt x="5594509" y="252889"/>
                    <a:pt x="5595462" y="258604"/>
                  </a:cubicBezTo>
                  <a:cubicBezTo>
                    <a:pt x="5595462" y="258604"/>
                    <a:pt x="5595462" y="259556"/>
                    <a:pt x="5595462" y="259556"/>
                  </a:cubicBezTo>
                  <a:cubicBezTo>
                    <a:pt x="5595462" y="260509"/>
                    <a:pt x="5595462" y="260509"/>
                    <a:pt x="5595462" y="261461"/>
                  </a:cubicBezTo>
                  <a:cubicBezTo>
                    <a:pt x="5594509" y="260509"/>
                    <a:pt x="5594509" y="260509"/>
                    <a:pt x="5593556" y="259556"/>
                  </a:cubicBezTo>
                  <a:cubicBezTo>
                    <a:pt x="5593556" y="256699"/>
                    <a:pt x="5592604" y="252889"/>
                    <a:pt x="5592604" y="250031"/>
                  </a:cubicBezTo>
                  <a:cubicBezTo>
                    <a:pt x="5591651" y="246221"/>
                    <a:pt x="5593556" y="244316"/>
                    <a:pt x="5594509" y="241459"/>
                  </a:cubicBezTo>
                  <a:close/>
                  <a:moveTo>
                    <a:pt x="5578317" y="284321"/>
                  </a:moveTo>
                  <a:cubicBezTo>
                    <a:pt x="5578317" y="285274"/>
                    <a:pt x="5578317" y="285274"/>
                    <a:pt x="5578317" y="286226"/>
                  </a:cubicBezTo>
                  <a:cubicBezTo>
                    <a:pt x="5578317" y="286226"/>
                    <a:pt x="5578317" y="285274"/>
                    <a:pt x="5577364" y="285274"/>
                  </a:cubicBezTo>
                  <a:cubicBezTo>
                    <a:pt x="5578317" y="284321"/>
                    <a:pt x="5578317" y="284321"/>
                    <a:pt x="5578317" y="284321"/>
                  </a:cubicBezTo>
                  <a:close/>
                  <a:moveTo>
                    <a:pt x="5573554" y="299561"/>
                  </a:moveTo>
                  <a:cubicBezTo>
                    <a:pt x="5574506" y="301466"/>
                    <a:pt x="5575459" y="303371"/>
                    <a:pt x="5576412" y="305276"/>
                  </a:cubicBezTo>
                  <a:cubicBezTo>
                    <a:pt x="5576412" y="306229"/>
                    <a:pt x="5577364" y="306229"/>
                    <a:pt x="5577364" y="307181"/>
                  </a:cubicBezTo>
                  <a:cubicBezTo>
                    <a:pt x="5577364" y="311944"/>
                    <a:pt x="5576412" y="317659"/>
                    <a:pt x="5576412" y="325279"/>
                  </a:cubicBezTo>
                  <a:cubicBezTo>
                    <a:pt x="5576412" y="326231"/>
                    <a:pt x="5576412" y="327184"/>
                    <a:pt x="5576412" y="328136"/>
                  </a:cubicBezTo>
                  <a:cubicBezTo>
                    <a:pt x="5576412" y="325279"/>
                    <a:pt x="5575459" y="322421"/>
                    <a:pt x="5575459" y="319564"/>
                  </a:cubicBezTo>
                  <a:cubicBezTo>
                    <a:pt x="5574506" y="313849"/>
                    <a:pt x="5573554" y="309086"/>
                    <a:pt x="5573554" y="303371"/>
                  </a:cubicBezTo>
                  <a:cubicBezTo>
                    <a:pt x="5572601" y="301466"/>
                    <a:pt x="5573554" y="300514"/>
                    <a:pt x="5573554" y="299561"/>
                  </a:cubicBezTo>
                  <a:close/>
                  <a:moveTo>
                    <a:pt x="5550694" y="308134"/>
                  </a:moveTo>
                  <a:cubicBezTo>
                    <a:pt x="5550694" y="305276"/>
                    <a:pt x="5549742" y="303371"/>
                    <a:pt x="5549742" y="301466"/>
                  </a:cubicBezTo>
                  <a:cubicBezTo>
                    <a:pt x="5550694" y="299561"/>
                    <a:pt x="5550694" y="296704"/>
                    <a:pt x="5551646" y="294799"/>
                  </a:cubicBezTo>
                  <a:cubicBezTo>
                    <a:pt x="5551646" y="293846"/>
                    <a:pt x="5552599" y="292894"/>
                    <a:pt x="5552599" y="291941"/>
                  </a:cubicBezTo>
                  <a:cubicBezTo>
                    <a:pt x="5553551" y="294799"/>
                    <a:pt x="5553551" y="298609"/>
                    <a:pt x="5554504" y="302419"/>
                  </a:cubicBezTo>
                  <a:cubicBezTo>
                    <a:pt x="5553551" y="303371"/>
                    <a:pt x="5553551" y="304324"/>
                    <a:pt x="5552599" y="306229"/>
                  </a:cubicBezTo>
                  <a:cubicBezTo>
                    <a:pt x="5551646" y="306229"/>
                    <a:pt x="5551646" y="307181"/>
                    <a:pt x="5550694" y="308134"/>
                  </a:cubicBezTo>
                  <a:close/>
                  <a:moveTo>
                    <a:pt x="5557362" y="313849"/>
                  </a:moveTo>
                  <a:cubicBezTo>
                    <a:pt x="5557362" y="313849"/>
                    <a:pt x="5557362" y="314801"/>
                    <a:pt x="5557362" y="313849"/>
                  </a:cubicBezTo>
                  <a:cubicBezTo>
                    <a:pt x="5556409" y="315754"/>
                    <a:pt x="5554504" y="317659"/>
                    <a:pt x="5553551" y="318611"/>
                  </a:cubicBezTo>
                  <a:cubicBezTo>
                    <a:pt x="5554504" y="315754"/>
                    <a:pt x="5555456" y="312896"/>
                    <a:pt x="5556409" y="310039"/>
                  </a:cubicBezTo>
                  <a:cubicBezTo>
                    <a:pt x="5556409" y="311944"/>
                    <a:pt x="5557362" y="312896"/>
                    <a:pt x="5557362" y="313849"/>
                  </a:cubicBezTo>
                  <a:cubicBezTo>
                    <a:pt x="5557362" y="313849"/>
                    <a:pt x="5557362" y="313849"/>
                    <a:pt x="5557362" y="313849"/>
                  </a:cubicBezTo>
                  <a:close/>
                  <a:moveTo>
                    <a:pt x="5561171" y="359569"/>
                  </a:moveTo>
                  <a:cubicBezTo>
                    <a:pt x="5561171" y="360521"/>
                    <a:pt x="5561171" y="360521"/>
                    <a:pt x="5561171" y="361474"/>
                  </a:cubicBezTo>
                  <a:cubicBezTo>
                    <a:pt x="5561171" y="361474"/>
                    <a:pt x="5560219" y="360521"/>
                    <a:pt x="5560219" y="360521"/>
                  </a:cubicBezTo>
                  <a:cubicBezTo>
                    <a:pt x="5559267" y="357664"/>
                    <a:pt x="5559267" y="353854"/>
                    <a:pt x="5558314" y="350996"/>
                  </a:cubicBezTo>
                  <a:cubicBezTo>
                    <a:pt x="5559267" y="348139"/>
                    <a:pt x="5560219" y="345281"/>
                    <a:pt x="5560219" y="342424"/>
                  </a:cubicBezTo>
                  <a:cubicBezTo>
                    <a:pt x="5561171" y="348139"/>
                    <a:pt x="5561171" y="353854"/>
                    <a:pt x="5561171" y="359569"/>
                  </a:cubicBezTo>
                  <a:close/>
                  <a:moveTo>
                    <a:pt x="5559267" y="303371"/>
                  </a:moveTo>
                  <a:cubicBezTo>
                    <a:pt x="5559267" y="303371"/>
                    <a:pt x="5559267" y="304324"/>
                    <a:pt x="5559267" y="303371"/>
                  </a:cubicBezTo>
                  <a:cubicBezTo>
                    <a:pt x="5559267" y="304324"/>
                    <a:pt x="5559267" y="304324"/>
                    <a:pt x="5559267" y="303371"/>
                  </a:cubicBezTo>
                  <a:cubicBezTo>
                    <a:pt x="5559267" y="303371"/>
                    <a:pt x="5559267" y="303371"/>
                    <a:pt x="5559267" y="303371"/>
                  </a:cubicBezTo>
                  <a:close/>
                  <a:moveTo>
                    <a:pt x="5557362" y="277654"/>
                  </a:moveTo>
                  <a:cubicBezTo>
                    <a:pt x="5557362" y="279559"/>
                    <a:pt x="5557362" y="281464"/>
                    <a:pt x="5558314" y="283369"/>
                  </a:cubicBezTo>
                  <a:cubicBezTo>
                    <a:pt x="5558314" y="287179"/>
                    <a:pt x="5559267" y="290989"/>
                    <a:pt x="5559267" y="293846"/>
                  </a:cubicBezTo>
                  <a:cubicBezTo>
                    <a:pt x="5558314" y="294799"/>
                    <a:pt x="5558314" y="295751"/>
                    <a:pt x="5557362" y="296704"/>
                  </a:cubicBezTo>
                  <a:cubicBezTo>
                    <a:pt x="5556409" y="292894"/>
                    <a:pt x="5555456" y="290036"/>
                    <a:pt x="5554504" y="287179"/>
                  </a:cubicBezTo>
                  <a:cubicBezTo>
                    <a:pt x="5554504" y="284321"/>
                    <a:pt x="5556409" y="281464"/>
                    <a:pt x="5557362" y="277654"/>
                  </a:cubicBezTo>
                  <a:close/>
                  <a:moveTo>
                    <a:pt x="5553551" y="252889"/>
                  </a:moveTo>
                  <a:cubicBezTo>
                    <a:pt x="5553551" y="252889"/>
                    <a:pt x="5553551" y="252889"/>
                    <a:pt x="5553551" y="252889"/>
                  </a:cubicBezTo>
                  <a:cubicBezTo>
                    <a:pt x="5553551" y="253841"/>
                    <a:pt x="5553551" y="253841"/>
                    <a:pt x="5553551" y="253841"/>
                  </a:cubicBezTo>
                  <a:cubicBezTo>
                    <a:pt x="5554504" y="258604"/>
                    <a:pt x="5554504" y="263366"/>
                    <a:pt x="5555456" y="268129"/>
                  </a:cubicBezTo>
                  <a:cubicBezTo>
                    <a:pt x="5555456" y="269081"/>
                    <a:pt x="5555456" y="270034"/>
                    <a:pt x="5555456" y="270986"/>
                  </a:cubicBezTo>
                  <a:cubicBezTo>
                    <a:pt x="5554504" y="272891"/>
                    <a:pt x="5553551" y="273844"/>
                    <a:pt x="5552599" y="275749"/>
                  </a:cubicBezTo>
                  <a:cubicBezTo>
                    <a:pt x="5551646" y="276701"/>
                    <a:pt x="5550694" y="278606"/>
                    <a:pt x="5549742" y="280511"/>
                  </a:cubicBezTo>
                  <a:cubicBezTo>
                    <a:pt x="5549742" y="280511"/>
                    <a:pt x="5549742" y="280511"/>
                    <a:pt x="5549742" y="280511"/>
                  </a:cubicBezTo>
                  <a:cubicBezTo>
                    <a:pt x="5549742" y="280511"/>
                    <a:pt x="5549742" y="280511"/>
                    <a:pt x="5549742" y="280511"/>
                  </a:cubicBezTo>
                  <a:cubicBezTo>
                    <a:pt x="5548789" y="282416"/>
                    <a:pt x="5547837" y="284321"/>
                    <a:pt x="5545931" y="286226"/>
                  </a:cubicBezTo>
                  <a:cubicBezTo>
                    <a:pt x="5545931" y="284321"/>
                    <a:pt x="5544979" y="282416"/>
                    <a:pt x="5544979" y="281464"/>
                  </a:cubicBezTo>
                  <a:cubicBezTo>
                    <a:pt x="5545931" y="279559"/>
                    <a:pt x="5545931" y="277654"/>
                    <a:pt x="5546884" y="275749"/>
                  </a:cubicBezTo>
                  <a:cubicBezTo>
                    <a:pt x="5547837" y="270986"/>
                    <a:pt x="5548789" y="266224"/>
                    <a:pt x="5549742" y="261461"/>
                  </a:cubicBezTo>
                  <a:cubicBezTo>
                    <a:pt x="5552599" y="258604"/>
                    <a:pt x="5553551" y="255746"/>
                    <a:pt x="5553551" y="252889"/>
                  </a:cubicBezTo>
                  <a:close/>
                  <a:moveTo>
                    <a:pt x="5548789" y="226219"/>
                  </a:moveTo>
                  <a:cubicBezTo>
                    <a:pt x="5548789" y="227171"/>
                    <a:pt x="5549742" y="229076"/>
                    <a:pt x="5549742" y="230029"/>
                  </a:cubicBezTo>
                  <a:cubicBezTo>
                    <a:pt x="5549742" y="231934"/>
                    <a:pt x="5550694" y="232886"/>
                    <a:pt x="5550694" y="234791"/>
                  </a:cubicBezTo>
                  <a:cubicBezTo>
                    <a:pt x="5549742" y="232886"/>
                    <a:pt x="5548789" y="230981"/>
                    <a:pt x="5547837" y="230029"/>
                  </a:cubicBezTo>
                  <a:cubicBezTo>
                    <a:pt x="5548789" y="229076"/>
                    <a:pt x="5548789" y="227171"/>
                    <a:pt x="5548789" y="226219"/>
                  </a:cubicBezTo>
                  <a:close/>
                  <a:moveTo>
                    <a:pt x="5546884" y="235744"/>
                  </a:moveTo>
                  <a:cubicBezTo>
                    <a:pt x="5547837" y="238601"/>
                    <a:pt x="5548789" y="241459"/>
                    <a:pt x="5550694" y="244316"/>
                  </a:cubicBezTo>
                  <a:cubicBezTo>
                    <a:pt x="5548789" y="249079"/>
                    <a:pt x="5546884" y="253841"/>
                    <a:pt x="5544979" y="259556"/>
                  </a:cubicBezTo>
                  <a:cubicBezTo>
                    <a:pt x="5544979" y="260509"/>
                    <a:pt x="5544026" y="261461"/>
                    <a:pt x="5544026" y="262414"/>
                  </a:cubicBezTo>
                  <a:cubicBezTo>
                    <a:pt x="5544026" y="260509"/>
                    <a:pt x="5543074" y="258604"/>
                    <a:pt x="5543074" y="257651"/>
                  </a:cubicBezTo>
                  <a:cubicBezTo>
                    <a:pt x="5543074" y="256699"/>
                    <a:pt x="5543074" y="255746"/>
                    <a:pt x="5542121" y="254794"/>
                  </a:cubicBezTo>
                  <a:cubicBezTo>
                    <a:pt x="5544026" y="248126"/>
                    <a:pt x="5545931" y="241459"/>
                    <a:pt x="5546884" y="235744"/>
                  </a:cubicBezTo>
                  <a:close/>
                  <a:moveTo>
                    <a:pt x="5540217" y="218599"/>
                  </a:moveTo>
                  <a:cubicBezTo>
                    <a:pt x="5540217" y="219551"/>
                    <a:pt x="5540217" y="219551"/>
                    <a:pt x="5539264" y="220504"/>
                  </a:cubicBezTo>
                  <a:cubicBezTo>
                    <a:pt x="5539264" y="221456"/>
                    <a:pt x="5538312" y="222409"/>
                    <a:pt x="5538312" y="223361"/>
                  </a:cubicBezTo>
                  <a:cubicBezTo>
                    <a:pt x="5537359" y="218599"/>
                    <a:pt x="5537359" y="214789"/>
                    <a:pt x="5536406" y="210026"/>
                  </a:cubicBezTo>
                  <a:cubicBezTo>
                    <a:pt x="5537359" y="211931"/>
                    <a:pt x="5538312" y="214789"/>
                    <a:pt x="5540217" y="218599"/>
                  </a:cubicBezTo>
                  <a:close/>
                  <a:moveTo>
                    <a:pt x="5507831" y="312896"/>
                  </a:moveTo>
                  <a:cubicBezTo>
                    <a:pt x="5507831" y="313849"/>
                    <a:pt x="5507831" y="313849"/>
                    <a:pt x="5507831" y="312896"/>
                  </a:cubicBezTo>
                  <a:cubicBezTo>
                    <a:pt x="5507831" y="313849"/>
                    <a:pt x="5507831" y="313849"/>
                    <a:pt x="5507831" y="313849"/>
                  </a:cubicBezTo>
                  <a:cubicBezTo>
                    <a:pt x="5507831" y="313849"/>
                    <a:pt x="5507831" y="313849"/>
                    <a:pt x="5507831" y="312896"/>
                  </a:cubicBezTo>
                  <a:close/>
                  <a:moveTo>
                    <a:pt x="5481162" y="326231"/>
                  </a:moveTo>
                  <a:cubicBezTo>
                    <a:pt x="5481162" y="327184"/>
                    <a:pt x="5480209" y="329089"/>
                    <a:pt x="5480209" y="330994"/>
                  </a:cubicBezTo>
                  <a:cubicBezTo>
                    <a:pt x="5480209" y="329089"/>
                    <a:pt x="5480209" y="326231"/>
                    <a:pt x="5479256" y="324326"/>
                  </a:cubicBezTo>
                  <a:cubicBezTo>
                    <a:pt x="5479256" y="323374"/>
                    <a:pt x="5479256" y="323374"/>
                    <a:pt x="5479256" y="322421"/>
                  </a:cubicBezTo>
                  <a:cubicBezTo>
                    <a:pt x="5479256" y="318611"/>
                    <a:pt x="5478304" y="315754"/>
                    <a:pt x="5478304" y="311944"/>
                  </a:cubicBezTo>
                  <a:cubicBezTo>
                    <a:pt x="5479256" y="315754"/>
                    <a:pt x="5480209" y="320516"/>
                    <a:pt x="5482114" y="325279"/>
                  </a:cubicBezTo>
                  <a:cubicBezTo>
                    <a:pt x="5481162" y="325279"/>
                    <a:pt x="5481162" y="325279"/>
                    <a:pt x="5481162" y="326231"/>
                  </a:cubicBezTo>
                  <a:close/>
                  <a:moveTo>
                    <a:pt x="5493544" y="339566"/>
                  </a:moveTo>
                  <a:cubicBezTo>
                    <a:pt x="5493544" y="339566"/>
                    <a:pt x="5493544" y="339566"/>
                    <a:pt x="5493544" y="339566"/>
                  </a:cubicBezTo>
                  <a:cubicBezTo>
                    <a:pt x="5493544" y="339566"/>
                    <a:pt x="5493544" y="339566"/>
                    <a:pt x="5493544" y="339566"/>
                  </a:cubicBezTo>
                  <a:cubicBezTo>
                    <a:pt x="5493544" y="339566"/>
                    <a:pt x="5493544" y="339566"/>
                    <a:pt x="5493544" y="339566"/>
                  </a:cubicBezTo>
                  <a:close/>
                  <a:moveTo>
                    <a:pt x="5488781" y="261461"/>
                  </a:moveTo>
                  <a:cubicBezTo>
                    <a:pt x="5488781" y="261461"/>
                    <a:pt x="5488781" y="261461"/>
                    <a:pt x="5488781" y="261461"/>
                  </a:cubicBezTo>
                  <a:cubicBezTo>
                    <a:pt x="5489734" y="263366"/>
                    <a:pt x="5489734" y="265271"/>
                    <a:pt x="5490687" y="267176"/>
                  </a:cubicBezTo>
                  <a:cubicBezTo>
                    <a:pt x="5489734" y="266224"/>
                    <a:pt x="5488781" y="265271"/>
                    <a:pt x="5487829" y="264319"/>
                  </a:cubicBezTo>
                  <a:cubicBezTo>
                    <a:pt x="5487829" y="263366"/>
                    <a:pt x="5487829" y="262414"/>
                    <a:pt x="5488781" y="261461"/>
                  </a:cubicBezTo>
                  <a:close/>
                  <a:moveTo>
                    <a:pt x="5483067" y="280511"/>
                  </a:moveTo>
                  <a:cubicBezTo>
                    <a:pt x="5484019" y="277654"/>
                    <a:pt x="5484971" y="275749"/>
                    <a:pt x="5484971" y="272891"/>
                  </a:cubicBezTo>
                  <a:cubicBezTo>
                    <a:pt x="5488781" y="278606"/>
                    <a:pt x="5492592" y="285274"/>
                    <a:pt x="5496401" y="291941"/>
                  </a:cubicBezTo>
                  <a:cubicBezTo>
                    <a:pt x="5497354" y="293846"/>
                    <a:pt x="5498306" y="295751"/>
                    <a:pt x="5500212" y="297656"/>
                  </a:cubicBezTo>
                  <a:cubicBezTo>
                    <a:pt x="5499259" y="300514"/>
                    <a:pt x="5498306" y="303371"/>
                    <a:pt x="5497354" y="307181"/>
                  </a:cubicBezTo>
                  <a:cubicBezTo>
                    <a:pt x="5497354" y="308134"/>
                    <a:pt x="5497354" y="310039"/>
                    <a:pt x="5496401" y="310991"/>
                  </a:cubicBezTo>
                  <a:cubicBezTo>
                    <a:pt x="5494496" y="309086"/>
                    <a:pt x="5493544" y="307181"/>
                    <a:pt x="5493544" y="307181"/>
                  </a:cubicBezTo>
                  <a:cubicBezTo>
                    <a:pt x="5493544" y="307181"/>
                    <a:pt x="5494496" y="309086"/>
                    <a:pt x="5495449" y="311944"/>
                  </a:cubicBezTo>
                  <a:cubicBezTo>
                    <a:pt x="5495449" y="314801"/>
                    <a:pt x="5494496" y="316706"/>
                    <a:pt x="5494496" y="319564"/>
                  </a:cubicBezTo>
                  <a:cubicBezTo>
                    <a:pt x="5493544" y="323374"/>
                    <a:pt x="5493544" y="326231"/>
                    <a:pt x="5492592" y="330041"/>
                  </a:cubicBezTo>
                  <a:cubicBezTo>
                    <a:pt x="5491639" y="330994"/>
                    <a:pt x="5490687" y="331946"/>
                    <a:pt x="5488781" y="333851"/>
                  </a:cubicBezTo>
                  <a:cubicBezTo>
                    <a:pt x="5487829" y="330994"/>
                    <a:pt x="5486876" y="329089"/>
                    <a:pt x="5485924" y="327184"/>
                  </a:cubicBezTo>
                  <a:cubicBezTo>
                    <a:pt x="5485924" y="321469"/>
                    <a:pt x="5486876" y="316706"/>
                    <a:pt x="5487829" y="312896"/>
                  </a:cubicBezTo>
                  <a:cubicBezTo>
                    <a:pt x="5488781" y="304324"/>
                    <a:pt x="5489734" y="299561"/>
                    <a:pt x="5489734" y="299561"/>
                  </a:cubicBezTo>
                  <a:cubicBezTo>
                    <a:pt x="5489734" y="299561"/>
                    <a:pt x="5487829" y="304324"/>
                    <a:pt x="5484019" y="311944"/>
                  </a:cubicBezTo>
                  <a:cubicBezTo>
                    <a:pt x="5484019" y="312896"/>
                    <a:pt x="5484019" y="312896"/>
                    <a:pt x="5483067" y="313849"/>
                  </a:cubicBezTo>
                  <a:cubicBezTo>
                    <a:pt x="5483067" y="313849"/>
                    <a:pt x="5483067" y="312896"/>
                    <a:pt x="5483067" y="312896"/>
                  </a:cubicBezTo>
                  <a:cubicBezTo>
                    <a:pt x="5480209" y="300514"/>
                    <a:pt x="5478304" y="292894"/>
                    <a:pt x="5478304" y="292894"/>
                  </a:cubicBezTo>
                  <a:cubicBezTo>
                    <a:pt x="5478304" y="292894"/>
                    <a:pt x="5478304" y="298609"/>
                    <a:pt x="5479256" y="309086"/>
                  </a:cubicBezTo>
                  <a:cubicBezTo>
                    <a:pt x="5479256" y="309086"/>
                    <a:pt x="5479256" y="308134"/>
                    <a:pt x="5479256" y="308134"/>
                  </a:cubicBezTo>
                  <a:cubicBezTo>
                    <a:pt x="5478304" y="305276"/>
                    <a:pt x="5477351" y="303371"/>
                    <a:pt x="5476399" y="300514"/>
                  </a:cubicBezTo>
                  <a:cubicBezTo>
                    <a:pt x="5479256" y="293846"/>
                    <a:pt x="5481162" y="287179"/>
                    <a:pt x="5483067" y="280511"/>
                  </a:cubicBezTo>
                  <a:close/>
                  <a:moveTo>
                    <a:pt x="5472589" y="254794"/>
                  </a:moveTo>
                  <a:cubicBezTo>
                    <a:pt x="5473542" y="255746"/>
                    <a:pt x="5474494" y="256699"/>
                    <a:pt x="5475446" y="258604"/>
                  </a:cubicBezTo>
                  <a:cubicBezTo>
                    <a:pt x="5474494" y="261461"/>
                    <a:pt x="5472589" y="265271"/>
                    <a:pt x="5471637" y="268129"/>
                  </a:cubicBezTo>
                  <a:cubicBezTo>
                    <a:pt x="5470684" y="261461"/>
                    <a:pt x="5469731" y="255746"/>
                    <a:pt x="5468779" y="249079"/>
                  </a:cubicBezTo>
                  <a:cubicBezTo>
                    <a:pt x="5469731" y="250984"/>
                    <a:pt x="5471637" y="252889"/>
                    <a:pt x="5472589" y="254794"/>
                  </a:cubicBezTo>
                  <a:close/>
                  <a:moveTo>
                    <a:pt x="5452587" y="208121"/>
                  </a:moveTo>
                  <a:cubicBezTo>
                    <a:pt x="5452587" y="209074"/>
                    <a:pt x="5452587" y="210026"/>
                    <a:pt x="5452587" y="210026"/>
                  </a:cubicBezTo>
                  <a:cubicBezTo>
                    <a:pt x="5453539" y="214789"/>
                    <a:pt x="5454492" y="220504"/>
                    <a:pt x="5454492" y="225266"/>
                  </a:cubicBezTo>
                  <a:cubicBezTo>
                    <a:pt x="5454492" y="226219"/>
                    <a:pt x="5454492" y="227171"/>
                    <a:pt x="5454492" y="228124"/>
                  </a:cubicBezTo>
                  <a:cubicBezTo>
                    <a:pt x="5453539" y="227171"/>
                    <a:pt x="5451634" y="226219"/>
                    <a:pt x="5450681" y="225266"/>
                  </a:cubicBezTo>
                  <a:cubicBezTo>
                    <a:pt x="5451634" y="219551"/>
                    <a:pt x="5452587" y="212884"/>
                    <a:pt x="5452587" y="208121"/>
                  </a:cubicBezTo>
                  <a:close/>
                  <a:moveTo>
                    <a:pt x="5449729" y="250031"/>
                  </a:moveTo>
                  <a:cubicBezTo>
                    <a:pt x="5450681" y="242411"/>
                    <a:pt x="5450681" y="234791"/>
                    <a:pt x="5451634" y="228124"/>
                  </a:cubicBezTo>
                  <a:cubicBezTo>
                    <a:pt x="5452587" y="229076"/>
                    <a:pt x="5452587" y="229076"/>
                    <a:pt x="5453539" y="230029"/>
                  </a:cubicBezTo>
                  <a:cubicBezTo>
                    <a:pt x="5454492" y="230981"/>
                    <a:pt x="5455444" y="231934"/>
                    <a:pt x="5455444" y="232886"/>
                  </a:cubicBezTo>
                  <a:cubicBezTo>
                    <a:pt x="5455444" y="236696"/>
                    <a:pt x="5456396" y="239554"/>
                    <a:pt x="5456396" y="243364"/>
                  </a:cubicBezTo>
                  <a:cubicBezTo>
                    <a:pt x="5457349" y="255746"/>
                    <a:pt x="5458301" y="268129"/>
                    <a:pt x="5459254" y="282416"/>
                  </a:cubicBezTo>
                  <a:cubicBezTo>
                    <a:pt x="5460206" y="288131"/>
                    <a:pt x="5460206" y="293846"/>
                    <a:pt x="5460206" y="299561"/>
                  </a:cubicBezTo>
                  <a:cubicBezTo>
                    <a:pt x="5458301" y="304324"/>
                    <a:pt x="5457349" y="309086"/>
                    <a:pt x="5455444" y="313849"/>
                  </a:cubicBezTo>
                  <a:cubicBezTo>
                    <a:pt x="5452587" y="302419"/>
                    <a:pt x="5450681" y="290989"/>
                    <a:pt x="5447824" y="280511"/>
                  </a:cubicBezTo>
                  <a:cubicBezTo>
                    <a:pt x="5447824" y="279559"/>
                    <a:pt x="5447824" y="277654"/>
                    <a:pt x="5446871" y="276701"/>
                  </a:cubicBezTo>
                  <a:cubicBezTo>
                    <a:pt x="5448776" y="267176"/>
                    <a:pt x="5448776" y="257651"/>
                    <a:pt x="5449729" y="250031"/>
                  </a:cubicBezTo>
                  <a:close/>
                  <a:moveTo>
                    <a:pt x="5443062" y="327184"/>
                  </a:moveTo>
                  <a:cubicBezTo>
                    <a:pt x="5444014" y="332899"/>
                    <a:pt x="5444967" y="338614"/>
                    <a:pt x="5445919" y="343376"/>
                  </a:cubicBezTo>
                  <a:cubicBezTo>
                    <a:pt x="5444967" y="340519"/>
                    <a:pt x="5444014" y="337661"/>
                    <a:pt x="5443062" y="334804"/>
                  </a:cubicBezTo>
                  <a:cubicBezTo>
                    <a:pt x="5442109" y="332899"/>
                    <a:pt x="5443062" y="330041"/>
                    <a:pt x="5443062" y="327184"/>
                  </a:cubicBezTo>
                  <a:close/>
                  <a:moveTo>
                    <a:pt x="5417344" y="318611"/>
                  </a:moveTo>
                  <a:cubicBezTo>
                    <a:pt x="5418296" y="316706"/>
                    <a:pt x="5418296" y="314801"/>
                    <a:pt x="5419249" y="312896"/>
                  </a:cubicBezTo>
                  <a:cubicBezTo>
                    <a:pt x="5420201" y="315754"/>
                    <a:pt x="5421154" y="318611"/>
                    <a:pt x="5421154" y="320516"/>
                  </a:cubicBezTo>
                  <a:cubicBezTo>
                    <a:pt x="5421154" y="320516"/>
                    <a:pt x="5421154" y="321469"/>
                    <a:pt x="5421154" y="321469"/>
                  </a:cubicBezTo>
                  <a:cubicBezTo>
                    <a:pt x="5421154" y="320516"/>
                    <a:pt x="5421154" y="320516"/>
                    <a:pt x="5421154" y="320516"/>
                  </a:cubicBezTo>
                  <a:cubicBezTo>
                    <a:pt x="5421154" y="320516"/>
                    <a:pt x="5421154" y="321469"/>
                    <a:pt x="5421154" y="322421"/>
                  </a:cubicBezTo>
                  <a:cubicBezTo>
                    <a:pt x="5420201" y="325279"/>
                    <a:pt x="5419249" y="329089"/>
                    <a:pt x="5418296" y="331946"/>
                  </a:cubicBezTo>
                  <a:cubicBezTo>
                    <a:pt x="5417344" y="330994"/>
                    <a:pt x="5417344" y="330041"/>
                    <a:pt x="5417344" y="329089"/>
                  </a:cubicBezTo>
                  <a:cubicBezTo>
                    <a:pt x="5417344" y="326231"/>
                    <a:pt x="5417344" y="322421"/>
                    <a:pt x="5417344" y="318611"/>
                  </a:cubicBezTo>
                  <a:close/>
                  <a:moveTo>
                    <a:pt x="5416392" y="334804"/>
                  </a:moveTo>
                  <a:cubicBezTo>
                    <a:pt x="5416392" y="335756"/>
                    <a:pt x="5416392" y="335756"/>
                    <a:pt x="5417344" y="335756"/>
                  </a:cubicBezTo>
                  <a:cubicBezTo>
                    <a:pt x="5417344" y="336709"/>
                    <a:pt x="5416392" y="337661"/>
                    <a:pt x="5416392" y="337661"/>
                  </a:cubicBezTo>
                  <a:cubicBezTo>
                    <a:pt x="5416392" y="336709"/>
                    <a:pt x="5416392" y="335756"/>
                    <a:pt x="5416392" y="334804"/>
                  </a:cubicBezTo>
                  <a:close/>
                  <a:moveTo>
                    <a:pt x="5405914" y="325279"/>
                  </a:moveTo>
                  <a:cubicBezTo>
                    <a:pt x="5406867" y="302419"/>
                    <a:pt x="5407819" y="284321"/>
                    <a:pt x="5407819" y="271939"/>
                  </a:cubicBezTo>
                  <a:cubicBezTo>
                    <a:pt x="5407819" y="270034"/>
                    <a:pt x="5407819" y="269081"/>
                    <a:pt x="5407819" y="267176"/>
                  </a:cubicBezTo>
                  <a:cubicBezTo>
                    <a:pt x="5409724" y="274796"/>
                    <a:pt x="5411629" y="283369"/>
                    <a:pt x="5414487" y="292894"/>
                  </a:cubicBezTo>
                  <a:cubicBezTo>
                    <a:pt x="5414487" y="292894"/>
                    <a:pt x="5414487" y="292894"/>
                    <a:pt x="5414487" y="293846"/>
                  </a:cubicBezTo>
                  <a:cubicBezTo>
                    <a:pt x="5413534" y="296704"/>
                    <a:pt x="5412581" y="299561"/>
                    <a:pt x="5411629" y="303371"/>
                  </a:cubicBezTo>
                  <a:cubicBezTo>
                    <a:pt x="5408771" y="311944"/>
                    <a:pt x="5406867" y="321469"/>
                    <a:pt x="5404962" y="331946"/>
                  </a:cubicBezTo>
                  <a:cubicBezTo>
                    <a:pt x="5404962" y="331946"/>
                    <a:pt x="5404962" y="332899"/>
                    <a:pt x="5404962" y="332899"/>
                  </a:cubicBezTo>
                  <a:cubicBezTo>
                    <a:pt x="5404962" y="330994"/>
                    <a:pt x="5404962" y="328136"/>
                    <a:pt x="5405914" y="325279"/>
                  </a:cubicBezTo>
                  <a:close/>
                  <a:moveTo>
                    <a:pt x="5384006" y="310991"/>
                  </a:moveTo>
                  <a:cubicBezTo>
                    <a:pt x="5384959" y="318611"/>
                    <a:pt x="5385912" y="326231"/>
                    <a:pt x="5386864" y="334804"/>
                  </a:cubicBezTo>
                  <a:cubicBezTo>
                    <a:pt x="5385912" y="336709"/>
                    <a:pt x="5385912" y="339566"/>
                    <a:pt x="5384959" y="341471"/>
                  </a:cubicBezTo>
                  <a:cubicBezTo>
                    <a:pt x="5384006" y="335756"/>
                    <a:pt x="5383054" y="330041"/>
                    <a:pt x="5382101" y="325279"/>
                  </a:cubicBezTo>
                  <a:cubicBezTo>
                    <a:pt x="5381149" y="317659"/>
                    <a:pt x="5380196" y="310991"/>
                    <a:pt x="5378292" y="305276"/>
                  </a:cubicBezTo>
                  <a:cubicBezTo>
                    <a:pt x="5379244" y="301466"/>
                    <a:pt x="5380196" y="298609"/>
                    <a:pt x="5381149" y="294799"/>
                  </a:cubicBezTo>
                  <a:cubicBezTo>
                    <a:pt x="5382101" y="299561"/>
                    <a:pt x="5383054" y="305276"/>
                    <a:pt x="5384006" y="310991"/>
                  </a:cubicBezTo>
                  <a:close/>
                  <a:moveTo>
                    <a:pt x="5379244" y="274796"/>
                  </a:moveTo>
                  <a:cubicBezTo>
                    <a:pt x="5379244" y="273844"/>
                    <a:pt x="5379244" y="272891"/>
                    <a:pt x="5379244" y="271939"/>
                  </a:cubicBezTo>
                  <a:cubicBezTo>
                    <a:pt x="5379244" y="275749"/>
                    <a:pt x="5380196" y="280511"/>
                    <a:pt x="5381149" y="284321"/>
                  </a:cubicBezTo>
                  <a:cubicBezTo>
                    <a:pt x="5381149" y="284321"/>
                    <a:pt x="5381149" y="285274"/>
                    <a:pt x="5380196" y="285274"/>
                  </a:cubicBezTo>
                  <a:cubicBezTo>
                    <a:pt x="5379244" y="287179"/>
                    <a:pt x="5379244" y="288131"/>
                    <a:pt x="5378292" y="290036"/>
                  </a:cubicBezTo>
                  <a:cubicBezTo>
                    <a:pt x="5378292" y="285274"/>
                    <a:pt x="5378292" y="280511"/>
                    <a:pt x="5379244" y="274796"/>
                  </a:cubicBezTo>
                  <a:close/>
                  <a:moveTo>
                    <a:pt x="5332571" y="321469"/>
                  </a:moveTo>
                  <a:cubicBezTo>
                    <a:pt x="5334476" y="316706"/>
                    <a:pt x="5336381" y="312896"/>
                    <a:pt x="5338287" y="309086"/>
                  </a:cubicBezTo>
                  <a:cubicBezTo>
                    <a:pt x="5338287" y="309086"/>
                    <a:pt x="5338287" y="310039"/>
                    <a:pt x="5338287" y="310039"/>
                  </a:cubicBezTo>
                  <a:cubicBezTo>
                    <a:pt x="5334476" y="323374"/>
                    <a:pt x="5330667" y="337661"/>
                    <a:pt x="5326856" y="351949"/>
                  </a:cubicBezTo>
                  <a:cubicBezTo>
                    <a:pt x="5325904" y="345281"/>
                    <a:pt x="5324951" y="340519"/>
                    <a:pt x="5323999" y="336709"/>
                  </a:cubicBezTo>
                  <a:cubicBezTo>
                    <a:pt x="5327809" y="330994"/>
                    <a:pt x="5330667" y="326231"/>
                    <a:pt x="5332571" y="321469"/>
                  </a:cubicBezTo>
                  <a:close/>
                  <a:moveTo>
                    <a:pt x="5319237" y="350996"/>
                  </a:moveTo>
                  <a:cubicBezTo>
                    <a:pt x="5320189" y="348139"/>
                    <a:pt x="5322094" y="345281"/>
                    <a:pt x="5323046" y="342424"/>
                  </a:cubicBezTo>
                  <a:cubicBezTo>
                    <a:pt x="5323046" y="350044"/>
                    <a:pt x="5322094" y="359569"/>
                    <a:pt x="5322094" y="371951"/>
                  </a:cubicBezTo>
                  <a:cubicBezTo>
                    <a:pt x="5321142" y="368141"/>
                    <a:pt x="5320189" y="365284"/>
                    <a:pt x="5319237" y="362426"/>
                  </a:cubicBezTo>
                  <a:cubicBezTo>
                    <a:pt x="5319237" y="357664"/>
                    <a:pt x="5319237" y="353854"/>
                    <a:pt x="5319237" y="350996"/>
                  </a:cubicBezTo>
                  <a:close/>
                  <a:moveTo>
                    <a:pt x="5316379" y="392906"/>
                  </a:moveTo>
                  <a:cubicBezTo>
                    <a:pt x="5316379" y="389096"/>
                    <a:pt x="5317331" y="386239"/>
                    <a:pt x="5317331" y="382429"/>
                  </a:cubicBezTo>
                  <a:cubicBezTo>
                    <a:pt x="5317331" y="384334"/>
                    <a:pt x="5318284" y="387191"/>
                    <a:pt x="5318284" y="390049"/>
                  </a:cubicBezTo>
                  <a:cubicBezTo>
                    <a:pt x="5317331" y="392906"/>
                    <a:pt x="5316379" y="395764"/>
                    <a:pt x="5315426" y="399574"/>
                  </a:cubicBezTo>
                  <a:cubicBezTo>
                    <a:pt x="5316379" y="396716"/>
                    <a:pt x="5316379" y="394811"/>
                    <a:pt x="5316379" y="392906"/>
                  </a:cubicBezTo>
                  <a:close/>
                  <a:moveTo>
                    <a:pt x="5285899" y="293846"/>
                  </a:moveTo>
                  <a:cubicBezTo>
                    <a:pt x="5285899" y="295751"/>
                    <a:pt x="5285899" y="296704"/>
                    <a:pt x="5286851" y="298609"/>
                  </a:cubicBezTo>
                  <a:cubicBezTo>
                    <a:pt x="5285899" y="299561"/>
                    <a:pt x="5284946" y="300514"/>
                    <a:pt x="5283994" y="302419"/>
                  </a:cubicBezTo>
                  <a:cubicBezTo>
                    <a:pt x="5284946" y="299561"/>
                    <a:pt x="5285899" y="296704"/>
                    <a:pt x="5285899" y="293846"/>
                  </a:cubicBezTo>
                  <a:close/>
                  <a:moveTo>
                    <a:pt x="5279231" y="319564"/>
                  </a:moveTo>
                  <a:cubicBezTo>
                    <a:pt x="5280184" y="316706"/>
                    <a:pt x="5281137" y="313849"/>
                    <a:pt x="5282089" y="311944"/>
                  </a:cubicBezTo>
                  <a:cubicBezTo>
                    <a:pt x="5283994" y="308134"/>
                    <a:pt x="5285899" y="305276"/>
                    <a:pt x="5287804" y="302419"/>
                  </a:cubicBezTo>
                  <a:cubicBezTo>
                    <a:pt x="5287804" y="304324"/>
                    <a:pt x="5288756" y="307181"/>
                    <a:pt x="5288756" y="309086"/>
                  </a:cubicBezTo>
                  <a:cubicBezTo>
                    <a:pt x="5289709" y="318611"/>
                    <a:pt x="5290662" y="329089"/>
                    <a:pt x="5292567" y="340519"/>
                  </a:cubicBezTo>
                  <a:cubicBezTo>
                    <a:pt x="5290662" y="347186"/>
                    <a:pt x="5288756" y="354806"/>
                    <a:pt x="5287804" y="363379"/>
                  </a:cubicBezTo>
                  <a:cubicBezTo>
                    <a:pt x="5287804" y="359569"/>
                    <a:pt x="5287804" y="354806"/>
                    <a:pt x="5287804" y="351949"/>
                  </a:cubicBezTo>
                  <a:cubicBezTo>
                    <a:pt x="5287804" y="341471"/>
                    <a:pt x="5287804" y="335756"/>
                    <a:pt x="5287804" y="335756"/>
                  </a:cubicBezTo>
                  <a:cubicBezTo>
                    <a:pt x="5287804" y="335756"/>
                    <a:pt x="5286851" y="341471"/>
                    <a:pt x="5283994" y="350996"/>
                  </a:cubicBezTo>
                  <a:cubicBezTo>
                    <a:pt x="5283042" y="355759"/>
                    <a:pt x="5282089" y="362426"/>
                    <a:pt x="5280184" y="369094"/>
                  </a:cubicBezTo>
                  <a:cubicBezTo>
                    <a:pt x="5280184" y="369094"/>
                    <a:pt x="5280184" y="369094"/>
                    <a:pt x="5280184" y="370046"/>
                  </a:cubicBezTo>
                  <a:cubicBezTo>
                    <a:pt x="5279231" y="363379"/>
                    <a:pt x="5278279" y="356711"/>
                    <a:pt x="5277326" y="350044"/>
                  </a:cubicBezTo>
                  <a:cubicBezTo>
                    <a:pt x="5276374" y="345281"/>
                    <a:pt x="5276374" y="340519"/>
                    <a:pt x="5275421" y="335756"/>
                  </a:cubicBezTo>
                  <a:cubicBezTo>
                    <a:pt x="5275421" y="330041"/>
                    <a:pt x="5277326" y="324326"/>
                    <a:pt x="5279231" y="319564"/>
                  </a:cubicBezTo>
                  <a:close/>
                  <a:moveTo>
                    <a:pt x="5236369" y="318611"/>
                  </a:moveTo>
                  <a:cubicBezTo>
                    <a:pt x="5236369" y="319564"/>
                    <a:pt x="5235417" y="319564"/>
                    <a:pt x="5235417" y="320516"/>
                  </a:cubicBezTo>
                  <a:cubicBezTo>
                    <a:pt x="5233512" y="317659"/>
                    <a:pt x="5232559" y="314801"/>
                    <a:pt x="5230654" y="311944"/>
                  </a:cubicBezTo>
                  <a:cubicBezTo>
                    <a:pt x="5230654" y="311944"/>
                    <a:pt x="5230654" y="310991"/>
                    <a:pt x="5230654" y="310991"/>
                  </a:cubicBezTo>
                  <a:cubicBezTo>
                    <a:pt x="5233512" y="305276"/>
                    <a:pt x="5236369" y="300514"/>
                    <a:pt x="5239226" y="295751"/>
                  </a:cubicBezTo>
                  <a:cubicBezTo>
                    <a:pt x="5238274" y="303371"/>
                    <a:pt x="5237321" y="310991"/>
                    <a:pt x="5236369" y="318611"/>
                  </a:cubicBezTo>
                  <a:close/>
                  <a:moveTo>
                    <a:pt x="5230654" y="281464"/>
                  </a:moveTo>
                  <a:cubicBezTo>
                    <a:pt x="5233512" y="275749"/>
                    <a:pt x="5235417" y="270034"/>
                    <a:pt x="5237321" y="265271"/>
                  </a:cubicBezTo>
                  <a:cubicBezTo>
                    <a:pt x="5239226" y="260509"/>
                    <a:pt x="5242084" y="255746"/>
                    <a:pt x="5243989" y="251936"/>
                  </a:cubicBezTo>
                  <a:cubicBezTo>
                    <a:pt x="5243037" y="255746"/>
                    <a:pt x="5243037" y="259556"/>
                    <a:pt x="5242084" y="264319"/>
                  </a:cubicBezTo>
                  <a:cubicBezTo>
                    <a:pt x="5241131" y="270034"/>
                    <a:pt x="5240179" y="276701"/>
                    <a:pt x="5240179" y="283369"/>
                  </a:cubicBezTo>
                  <a:cubicBezTo>
                    <a:pt x="5236369" y="288131"/>
                    <a:pt x="5232559" y="293846"/>
                    <a:pt x="5228749" y="299561"/>
                  </a:cubicBezTo>
                  <a:cubicBezTo>
                    <a:pt x="5228749" y="296704"/>
                    <a:pt x="5227796" y="292894"/>
                    <a:pt x="5227796" y="290036"/>
                  </a:cubicBezTo>
                  <a:cubicBezTo>
                    <a:pt x="5227796" y="286226"/>
                    <a:pt x="5228749" y="284321"/>
                    <a:pt x="5230654" y="281464"/>
                  </a:cubicBezTo>
                  <a:close/>
                  <a:moveTo>
                    <a:pt x="5211604" y="344329"/>
                  </a:moveTo>
                  <a:cubicBezTo>
                    <a:pt x="5212556" y="343376"/>
                    <a:pt x="5212556" y="342424"/>
                    <a:pt x="5213509" y="341471"/>
                  </a:cubicBezTo>
                  <a:cubicBezTo>
                    <a:pt x="5213509" y="341471"/>
                    <a:pt x="5213509" y="341471"/>
                    <a:pt x="5213509" y="341471"/>
                  </a:cubicBezTo>
                  <a:cubicBezTo>
                    <a:pt x="5213509" y="341471"/>
                    <a:pt x="5213509" y="342424"/>
                    <a:pt x="5213509" y="342424"/>
                  </a:cubicBezTo>
                  <a:cubicBezTo>
                    <a:pt x="5212556" y="343376"/>
                    <a:pt x="5212556" y="344329"/>
                    <a:pt x="5211604" y="344329"/>
                  </a:cubicBezTo>
                  <a:cubicBezTo>
                    <a:pt x="5211604" y="345281"/>
                    <a:pt x="5211604" y="345281"/>
                    <a:pt x="5211604" y="344329"/>
                  </a:cubicBezTo>
                  <a:close/>
                  <a:moveTo>
                    <a:pt x="5214462" y="343376"/>
                  </a:moveTo>
                  <a:cubicBezTo>
                    <a:pt x="5215414" y="345281"/>
                    <a:pt x="5216367" y="346234"/>
                    <a:pt x="5216367" y="348139"/>
                  </a:cubicBezTo>
                  <a:cubicBezTo>
                    <a:pt x="5215414" y="350044"/>
                    <a:pt x="5214462" y="350996"/>
                    <a:pt x="5213509" y="352901"/>
                  </a:cubicBezTo>
                  <a:cubicBezTo>
                    <a:pt x="5213509" y="351949"/>
                    <a:pt x="5212556" y="351949"/>
                    <a:pt x="5212556" y="350996"/>
                  </a:cubicBezTo>
                  <a:cubicBezTo>
                    <a:pt x="5212556" y="350044"/>
                    <a:pt x="5212556" y="350044"/>
                    <a:pt x="5212556" y="349091"/>
                  </a:cubicBezTo>
                  <a:cubicBezTo>
                    <a:pt x="5212556" y="347186"/>
                    <a:pt x="5213509" y="345281"/>
                    <a:pt x="5214462" y="343376"/>
                  </a:cubicBezTo>
                  <a:cubicBezTo>
                    <a:pt x="5213509" y="343376"/>
                    <a:pt x="5213509" y="343376"/>
                    <a:pt x="5214462" y="343376"/>
                  </a:cubicBezTo>
                  <a:close/>
                  <a:moveTo>
                    <a:pt x="5211604" y="290989"/>
                  </a:moveTo>
                  <a:cubicBezTo>
                    <a:pt x="5211604" y="290989"/>
                    <a:pt x="5211604" y="291941"/>
                    <a:pt x="5211604" y="290989"/>
                  </a:cubicBezTo>
                  <a:cubicBezTo>
                    <a:pt x="5212556" y="292894"/>
                    <a:pt x="5212556" y="294799"/>
                    <a:pt x="5213509" y="296704"/>
                  </a:cubicBezTo>
                  <a:cubicBezTo>
                    <a:pt x="5212556" y="298609"/>
                    <a:pt x="5211604" y="300514"/>
                    <a:pt x="5210651" y="302419"/>
                  </a:cubicBezTo>
                  <a:cubicBezTo>
                    <a:pt x="5211604" y="297656"/>
                    <a:pt x="5211604" y="293846"/>
                    <a:pt x="5211604" y="290989"/>
                  </a:cubicBezTo>
                  <a:close/>
                  <a:moveTo>
                    <a:pt x="5189696" y="260509"/>
                  </a:moveTo>
                  <a:cubicBezTo>
                    <a:pt x="5189696" y="261461"/>
                    <a:pt x="5189696" y="263366"/>
                    <a:pt x="5189696" y="264319"/>
                  </a:cubicBezTo>
                  <a:cubicBezTo>
                    <a:pt x="5188744" y="262414"/>
                    <a:pt x="5187792" y="260509"/>
                    <a:pt x="5186839" y="258604"/>
                  </a:cubicBezTo>
                  <a:cubicBezTo>
                    <a:pt x="5186839" y="258604"/>
                    <a:pt x="5186839" y="257651"/>
                    <a:pt x="5187792" y="257651"/>
                  </a:cubicBezTo>
                  <a:cubicBezTo>
                    <a:pt x="5188744" y="255746"/>
                    <a:pt x="5189696" y="254794"/>
                    <a:pt x="5189696" y="253841"/>
                  </a:cubicBezTo>
                  <a:cubicBezTo>
                    <a:pt x="5189696" y="255746"/>
                    <a:pt x="5189696" y="258604"/>
                    <a:pt x="5189696" y="260509"/>
                  </a:cubicBezTo>
                  <a:close/>
                  <a:moveTo>
                    <a:pt x="5178267" y="230981"/>
                  </a:moveTo>
                  <a:cubicBezTo>
                    <a:pt x="5181124" y="223361"/>
                    <a:pt x="5184934" y="217646"/>
                    <a:pt x="5186839" y="213836"/>
                  </a:cubicBezTo>
                  <a:cubicBezTo>
                    <a:pt x="5187792" y="212884"/>
                    <a:pt x="5187792" y="210979"/>
                    <a:pt x="5188744" y="210026"/>
                  </a:cubicBezTo>
                  <a:cubicBezTo>
                    <a:pt x="5188744" y="212884"/>
                    <a:pt x="5188744" y="215741"/>
                    <a:pt x="5188744" y="219551"/>
                  </a:cubicBezTo>
                  <a:cubicBezTo>
                    <a:pt x="5188744" y="230029"/>
                    <a:pt x="5188744" y="241459"/>
                    <a:pt x="5188744" y="254794"/>
                  </a:cubicBezTo>
                  <a:cubicBezTo>
                    <a:pt x="5187792" y="255746"/>
                    <a:pt x="5186839" y="256699"/>
                    <a:pt x="5185887" y="258604"/>
                  </a:cubicBezTo>
                  <a:cubicBezTo>
                    <a:pt x="5185887" y="258604"/>
                    <a:pt x="5185887" y="258604"/>
                    <a:pt x="5185887" y="258604"/>
                  </a:cubicBezTo>
                  <a:cubicBezTo>
                    <a:pt x="5183029" y="252889"/>
                    <a:pt x="5180171" y="248126"/>
                    <a:pt x="5178267" y="243364"/>
                  </a:cubicBezTo>
                  <a:cubicBezTo>
                    <a:pt x="5177314" y="241459"/>
                    <a:pt x="5176362" y="240506"/>
                    <a:pt x="5175409" y="238601"/>
                  </a:cubicBezTo>
                  <a:cubicBezTo>
                    <a:pt x="5176362" y="234791"/>
                    <a:pt x="5177314" y="232886"/>
                    <a:pt x="5178267" y="230981"/>
                  </a:cubicBezTo>
                  <a:close/>
                  <a:moveTo>
                    <a:pt x="5168742" y="238601"/>
                  </a:moveTo>
                  <a:cubicBezTo>
                    <a:pt x="5168742" y="239554"/>
                    <a:pt x="5168742" y="239554"/>
                    <a:pt x="5168742" y="238601"/>
                  </a:cubicBezTo>
                  <a:cubicBezTo>
                    <a:pt x="5168742" y="239554"/>
                    <a:pt x="5168742" y="239554"/>
                    <a:pt x="5168742" y="238601"/>
                  </a:cubicBezTo>
                  <a:cubicBezTo>
                    <a:pt x="5168742" y="239554"/>
                    <a:pt x="5168742" y="239554"/>
                    <a:pt x="5168742" y="238601"/>
                  </a:cubicBezTo>
                  <a:close/>
                  <a:moveTo>
                    <a:pt x="5166837" y="280511"/>
                  </a:moveTo>
                  <a:cubicBezTo>
                    <a:pt x="5166837" y="272891"/>
                    <a:pt x="5167789" y="266224"/>
                    <a:pt x="5167789" y="259556"/>
                  </a:cubicBezTo>
                  <a:cubicBezTo>
                    <a:pt x="5167789" y="259556"/>
                    <a:pt x="5167789" y="259556"/>
                    <a:pt x="5167789" y="259556"/>
                  </a:cubicBezTo>
                  <a:cubicBezTo>
                    <a:pt x="5168742" y="255746"/>
                    <a:pt x="5170646" y="251936"/>
                    <a:pt x="5171599" y="248126"/>
                  </a:cubicBezTo>
                  <a:cubicBezTo>
                    <a:pt x="5173504" y="252889"/>
                    <a:pt x="5175409" y="257651"/>
                    <a:pt x="5177314" y="263366"/>
                  </a:cubicBezTo>
                  <a:cubicBezTo>
                    <a:pt x="5178267" y="264319"/>
                    <a:pt x="5178267" y="266224"/>
                    <a:pt x="5179219" y="267176"/>
                  </a:cubicBezTo>
                  <a:cubicBezTo>
                    <a:pt x="5178267" y="268129"/>
                    <a:pt x="5177314" y="270034"/>
                    <a:pt x="5176362" y="271939"/>
                  </a:cubicBezTo>
                  <a:cubicBezTo>
                    <a:pt x="5173504" y="275749"/>
                    <a:pt x="5170646" y="281464"/>
                    <a:pt x="5166837" y="287179"/>
                  </a:cubicBezTo>
                  <a:cubicBezTo>
                    <a:pt x="5166837" y="283369"/>
                    <a:pt x="5166837" y="281464"/>
                    <a:pt x="5166837" y="280511"/>
                  </a:cubicBezTo>
                  <a:close/>
                  <a:moveTo>
                    <a:pt x="5166837" y="307181"/>
                  </a:moveTo>
                  <a:cubicBezTo>
                    <a:pt x="5167789" y="303371"/>
                    <a:pt x="5168742" y="299561"/>
                    <a:pt x="5170646" y="296704"/>
                  </a:cubicBezTo>
                  <a:cubicBezTo>
                    <a:pt x="5170646" y="295751"/>
                    <a:pt x="5171599" y="294799"/>
                    <a:pt x="5171599" y="293846"/>
                  </a:cubicBezTo>
                  <a:cubicBezTo>
                    <a:pt x="5173504" y="291941"/>
                    <a:pt x="5175409" y="290036"/>
                    <a:pt x="5176362" y="289084"/>
                  </a:cubicBezTo>
                  <a:cubicBezTo>
                    <a:pt x="5179219" y="286226"/>
                    <a:pt x="5181124" y="284321"/>
                    <a:pt x="5181124" y="284321"/>
                  </a:cubicBezTo>
                  <a:cubicBezTo>
                    <a:pt x="5181124" y="284321"/>
                    <a:pt x="5179219" y="285274"/>
                    <a:pt x="5175409" y="288131"/>
                  </a:cubicBezTo>
                  <a:cubicBezTo>
                    <a:pt x="5174456" y="289084"/>
                    <a:pt x="5173504" y="289084"/>
                    <a:pt x="5172551" y="290036"/>
                  </a:cubicBezTo>
                  <a:cubicBezTo>
                    <a:pt x="5175409" y="283369"/>
                    <a:pt x="5177314" y="277654"/>
                    <a:pt x="5179219" y="272891"/>
                  </a:cubicBezTo>
                  <a:cubicBezTo>
                    <a:pt x="5179219" y="271939"/>
                    <a:pt x="5180171" y="270986"/>
                    <a:pt x="5180171" y="270034"/>
                  </a:cubicBezTo>
                  <a:cubicBezTo>
                    <a:pt x="5182076" y="273844"/>
                    <a:pt x="5183029" y="276701"/>
                    <a:pt x="5184934" y="280511"/>
                  </a:cubicBezTo>
                  <a:cubicBezTo>
                    <a:pt x="5186839" y="284321"/>
                    <a:pt x="5188744" y="289084"/>
                    <a:pt x="5190649" y="292894"/>
                  </a:cubicBezTo>
                  <a:cubicBezTo>
                    <a:pt x="5190649" y="294799"/>
                    <a:pt x="5190649" y="296704"/>
                    <a:pt x="5190649" y="298609"/>
                  </a:cubicBezTo>
                  <a:cubicBezTo>
                    <a:pt x="5191601" y="308134"/>
                    <a:pt x="5191601" y="318611"/>
                    <a:pt x="5192554" y="330041"/>
                  </a:cubicBezTo>
                  <a:cubicBezTo>
                    <a:pt x="5192554" y="331946"/>
                    <a:pt x="5192554" y="333851"/>
                    <a:pt x="5192554" y="335756"/>
                  </a:cubicBezTo>
                  <a:cubicBezTo>
                    <a:pt x="5192554" y="335756"/>
                    <a:pt x="5192554" y="336709"/>
                    <a:pt x="5192554" y="336709"/>
                  </a:cubicBezTo>
                  <a:cubicBezTo>
                    <a:pt x="5192554" y="337661"/>
                    <a:pt x="5191601" y="337661"/>
                    <a:pt x="5191601" y="338614"/>
                  </a:cubicBezTo>
                  <a:cubicBezTo>
                    <a:pt x="5190649" y="341471"/>
                    <a:pt x="5188744" y="345281"/>
                    <a:pt x="5187792" y="348139"/>
                  </a:cubicBezTo>
                  <a:cubicBezTo>
                    <a:pt x="5185887" y="324326"/>
                    <a:pt x="5183981" y="309086"/>
                    <a:pt x="5183981" y="309086"/>
                  </a:cubicBezTo>
                  <a:cubicBezTo>
                    <a:pt x="5183981" y="309086"/>
                    <a:pt x="5180171" y="324326"/>
                    <a:pt x="5177314" y="348139"/>
                  </a:cubicBezTo>
                  <a:cubicBezTo>
                    <a:pt x="5177314" y="350044"/>
                    <a:pt x="5176362" y="352901"/>
                    <a:pt x="5176362" y="354806"/>
                  </a:cubicBezTo>
                  <a:cubicBezTo>
                    <a:pt x="5175409" y="352901"/>
                    <a:pt x="5174456" y="350996"/>
                    <a:pt x="5174456" y="349091"/>
                  </a:cubicBezTo>
                  <a:cubicBezTo>
                    <a:pt x="5173504" y="346234"/>
                    <a:pt x="5172551" y="344329"/>
                    <a:pt x="5171599" y="341471"/>
                  </a:cubicBezTo>
                  <a:cubicBezTo>
                    <a:pt x="5172551" y="336709"/>
                    <a:pt x="5173504" y="332899"/>
                    <a:pt x="5173504" y="328136"/>
                  </a:cubicBezTo>
                  <a:cubicBezTo>
                    <a:pt x="5172551" y="331946"/>
                    <a:pt x="5171599" y="334804"/>
                    <a:pt x="5169694" y="338614"/>
                  </a:cubicBezTo>
                  <a:cubicBezTo>
                    <a:pt x="5168742" y="337661"/>
                    <a:pt x="5168742" y="335756"/>
                    <a:pt x="5167789" y="334804"/>
                  </a:cubicBezTo>
                  <a:cubicBezTo>
                    <a:pt x="5166837" y="327184"/>
                    <a:pt x="5166837" y="320516"/>
                    <a:pt x="5165884" y="312896"/>
                  </a:cubicBezTo>
                  <a:cubicBezTo>
                    <a:pt x="5166837" y="310991"/>
                    <a:pt x="5166837" y="309086"/>
                    <a:pt x="5166837" y="307181"/>
                  </a:cubicBezTo>
                  <a:close/>
                  <a:moveTo>
                    <a:pt x="5161121" y="218599"/>
                  </a:moveTo>
                  <a:cubicBezTo>
                    <a:pt x="5162074" y="221456"/>
                    <a:pt x="5163979" y="225266"/>
                    <a:pt x="5164931" y="229076"/>
                  </a:cubicBezTo>
                  <a:cubicBezTo>
                    <a:pt x="5163979" y="234791"/>
                    <a:pt x="5162074" y="240506"/>
                    <a:pt x="5161121" y="248126"/>
                  </a:cubicBezTo>
                  <a:cubicBezTo>
                    <a:pt x="5160169" y="232886"/>
                    <a:pt x="5158264" y="218599"/>
                    <a:pt x="5157312" y="206216"/>
                  </a:cubicBezTo>
                  <a:cubicBezTo>
                    <a:pt x="5158264" y="209074"/>
                    <a:pt x="5159217" y="213836"/>
                    <a:pt x="5161121" y="218599"/>
                  </a:cubicBezTo>
                  <a:close/>
                  <a:moveTo>
                    <a:pt x="5148739" y="256699"/>
                  </a:moveTo>
                  <a:cubicBezTo>
                    <a:pt x="5148739" y="255746"/>
                    <a:pt x="5149692" y="255746"/>
                    <a:pt x="5149692" y="255746"/>
                  </a:cubicBezTo>
                  <a:cubicBezTo>
                    <a:pt x="5149692" y="264319"/>
                    <a:pt x="5149692" y="273844"/>
                    <a:pt x="5149692" y="283369"/>
                  </a:cubicBezTo>
                  <a:cubicBezTo>
                    <a:pt x="5149692" y="283369"/>
                    <a:pt x="5149692" y="284321"/>
                    <a:pt x="5149692" y="284321"/>
                  </a:cubicBezTo>
                  <a:cubicBezTo>
                    <a:pt x="5147787" y="276701"/>
                    <a:pt x="5144929" y="270034"/>
                    <a:pt x="5143024" y="263366"/>
                  </a:cubicBezTo>
                  <a:cubicBezTo>
                    <a:pt x="5145881" y="261461"/>
                    <a:pt x="5147787" y="258604"/>
                    <a:pt x="5148739" y="256699"/>
                  </a:cubicBezTo>
                  <a:close/>
                  <a:moveTo>
                    <a:pt x="5087779" y="317659"/>
                  </a:moveTo>
                  <a:cubicBezTo>
                    <a:pt x="5087779" y="316706"/>
                    <a:pt x="5087779" y="316706"/>
                    <a:pt x="5087779" y="315754"/>
                  </a:cubicBezTo>
                  <a:cubicBezTo>
                    <a:pt x="5087779" y="316706"/>
                    <a:pt x="5087779" y="316706"/>
                    <a:pt x="5087779" y="317659"/>
                  </a:cubicBezTo>
                  <a:cubicBezTo>
                    <a:pt x="5087779" y="317659"/>
                    <a:pt x="5087779" y="317659"/>
                    <a:pt x="5087779" y="317659"/>
                  </a:cubicBezTo>
                  <a:close/>
                  <a:moveTo>
                    <a:pt x="5122069" y="298609"/>
                  </a:moveTo>
                  <a:cubicBezTo>
                    <a:pt x="5123974" y="294799"/>
                    <a:pt x="5126831" y="290989"/>
                    <a:pt x="5128737" y="287179"/>
                  </a:cubicBezTo>
                  <a:cubicBezTo>
                    <a:pt x="5127784" y="298609"/>
                    <a:pt x="5125879" y="311944"/>
                    <a:pt x="5124926" y="327184"/>
                  </a:cubicBezTo>
                  <a:cubicBezTo>
                    <a:pt x="5123974" y="324326"/>
                    <a:pt x="5122069" y="321469"/>
                    <a:pt x="5121117" y="318611"/>
                  </a:cubicBezTo>
                  <a:cubicBezTo>
                    <a:pt x="5119212" y="314801"/>
                    <a:pt x="5118259" y="311944"/>
                    <a:pt x="5117306" y="308134"/>
                  </a:cubicBezTo>
                  <a:cubicBezTo>
                    <a:pt x="5118259" y="304324"/>
                    <a:pt x="5120164" y="301466"/>
                    <a:pt x="5122069" y="298609"/>
                  </a:cubicBezTo>
                  <a:close/>
                  <a:moveTo>
                    <a:pt x="5110639" y="321469"/>
                  </a:moveTo>
                  <a:cubicBezTo>
                    <a:pt x="5110639" y="321469"/>
                    <a:pt x="5110639" y="321469"/>
                    <a:pt x="5110639" y="321469"/>
                  </a:cubicBezTo>
                  <a:cubicBezTo>
                    <a:pt x="5113496" y="329089"/>
                    <a:pt x="5115401" y="336709"/>
                    <a:pt x="5118259" y="344329"/>
                  </a:cubicBezTo>
                  <a:cubicBezTo>
                    <a:pt x="5117306" y="345281"/>
                    <a:pt x="5117306" y="346234"/>
                    <a:pt x="5116354" y="347186"/>
                  </a:cubicBezTo>
                  <a:cubicBezTo>
                    <a:pt x="5115401" y="348139"/>
                    <a:pt x="5115401" y="349091"/>
                    <a:pt x="5114449" y="349091"/>
                  </a:cubicBezTo>
                  <a:cubicBezTo>
                    <a:pt x="5113496" y="344329"/>
                    <a:pt x="5111592" y="339566"/>
                    <a:pt x="5110639" y="335756"/>
                  </a:cubicBezTo>
                  <a:cubicBezTo>
                    <a:pt x="5109687" y="332899"/>
                    <a:pt x="5108734" y="330041"/>
                    <a:pt x="5107781" y="327184"/>
                  </a:cubicBezTo>
                  <a:cubicBezTo>
                    <a:pt x="5108734" y="325279"/>
                    <a:pt x="5109687" y="323374"/>
                    <a:pt x="5110639" y="321469"/>
                  </a:cubicBezTo>
                  <a:close/>
                  <a:moveTo>
                    <a:pt x="5105876" y="308134"/>
                  </a:moveTo>
                  <a:cubicBezTo>
                    <a:pt x="5104924" y="309086"/>
                    <a:pt x="5103971" y="310991"/>
                    <a:pt x="5103019" y="311944"/>
                  </a:cubicBezTo>
                  <a:cubicBezTo>
                    <a:pt x="5102067" y="310039"/>
                    <a:pt x="5102067" y="308134"/>
                    <a:pt x="5101114" y="306229"/>
                  </a:cubicBezTo>
                  <a:cubicBezTo>
                    <a:pt x="5101114" y="305276"/>
                    <a:pt x="5101114" y="304324"/>
                    <a:pt x="5101114" y="304324"/>
                  </a:cubicBezTo>
                  <a:cubicBezTo>
                    <a:pt x="5101114" y="304324"/>
                    <a:pt x="5101114" y="304324"/>
                    <a:pt x="5101114" y="305276"/>
                  </a:cubicBezTo>
                  <a:cubicBezTo>
                    <a:pt x="5099209" y="299561"/>
                    <a:pt x="5098256" y="293846"/>
                    <a:pt x="5096351" y="288131"/>
                  </a:cubicBezTo>
                  <a:cubicBezTo>
                    <a:pt x="5096351" y="285274"/>
                    <a:pt x="5097304" y="282416"/>
                    <a:pt x="5097304" y="281464"/>
                  </a:cubicBezTo>
                  <a:cubicBezTo>
                    <a:pt x="5100162" y="290989"/>
                    <a:pt x="5103019" y="299561"/>
                    <a:pt x="5105876" y="308134"/>
                  </a:cubicBezTo>
                  <a:close/>
                  <a:moveTo>
                    <a:pt x="5097304" y="282416"/>
                  </a:moveTo>
                  <a:cubicBezTo>
                    <a:pt x="5097304" y="283369"/>
                    <a:pt x="5096351" y="284321"/>
                    <a:pt x="5095399" y="286226"/>
                  </a:cubicBezTo>
                  <a:cubicBezTo>
                    <a:pt x="5094446" y="284321"/>
                    <a:pt x="5094446" y="281464"/>
                    <a:pt x="5093494" y="279559"/>
                  </a:cubicBezTo>
                  <a:cubicBezTo>
                    <a:pt x="5091589" y="271939"/>
                    <a:pt x="5089684" y="265271"/>
                    <a:pt x="5087779" y="258604"/>
                  </a:cubicBezTo>
                  <a:cubicBezTo>
                    <a:pt x="5087779" y="258604"/>
                    <a:pt x="5088731" y="257651"/>
                    <a:pt x="5089684" y="257651"/>
                  </a:cubicBezTo>
                  <a:cubicBezTo>
                    <a:pt x="5092542" y="265271"/>
                    <a:pt x="5094446" y="273844"/>
                    <a:pt x="5097304" y="282416"/>
                  </a:cubicBezTo>
                  <a:close/>
                  <a:moveTo>
                    <a:pt x="5080159" y="224314"/>
                  </a:moveTo>
                  <a:cubicBezTo>
                    <a:pt x="5081112" y="228124"/>
                    <a:pt x="5083969" y="238601"/>
                    <a:pt x="5089684" y="254794"/>
                  </a:cubicBezTo>
                  <a:cubicBezTo>
                    <a:pt x="5089684" y="254794"/>
                    <a:pt x="5088731" y="254794"/>
                    <a:pt x="5087779" y="254794"/>
                  </a:cubicBezTo>
                  <a:cubicBezTo>
                    <a:pt x="5085874" y="245269"/>
                    <a:pt x="5083017" y="236696"/>
                    <a:pt x="5081112" y="228124"/>
                  </a:cubicBezTo>
                  <a:cubicBezTo>
                    <a:pt x="5081112" y="228124"/>
                    <a:pt x="5080159" y="227171"/>
                    <a:pt x="5080159" y="224314"/>
                  </a:cubicBezTo>
                  <a:cubicBezTo>
                    <a:pt x="5080159" y="225266"/>
                    <a:pt x="5080159" y="225266"/>
                    <a:pt x="5080159" y="224314"/>
                  </a:cubicBezTo>
                  <a:close/>
                  <a:moveTo>
                    <a:pt x="5076349" y="272891"/>
                  </a:moveTo>
                  <a:cubicBezTo>
                    <a:pt x="5076349" y="270986"/>
                    <a:pt x="5076349" y="270034"/>
                    <a:pt x="5076349" y="268129"/>
                  </a:cubicBezTo>
                  <a:cubicBezTo>
                    <a:pt x="5077301" y="272891"/>
                    <a:pt x="5078254" y="277654"/>
                    <a:pt x="5079206" y="283369"/>
                  </a:cubicBezTo>
                  <a:cubicBezTo>
                    <a:pt x="5080159" y="289084"/>
                    <a:pt x="5082064" y="295751"/>
                    <a:pt x="5083017" y="301466"/>
                  </a:cubicBezTo>
                  <a:cubicBezTo>
                    <a:pt x="5083017" y="302419"/>
                    <a:pt x="5083017" y="303371"/>
                    <a:pt x="5083017" y="304324"/>
                  </a:cubicBezTo>
                  <a:cubicBezTo>
                    <a:pt x="5083017" y="306229"/>
                    <a:pt x="5082064" y="309086"/>
                    <a:pt x="5082064" y="311944"/>
                  </a:cubicBezTo>
                  <a:cubicBezTo>
                    <a:pt x="5079206" y="305276"/>
                    <a:pt x="5076349" y="298609"/>
                    <a:pt x="5073492" y="292894"/>
                  </a:cubicBezTo>
                  <a:cubicBezTo>
                    <a:pt x="5074444" y="285274"/>
                    <a:pt x="5075396" y="278606"/>
                    <a:pt x="5076349" y="272891"/>
                  </a:cubicBezTo>
                  <a:close/>
                  <a:moveTo>
                    <a:pt x="5066824" y="377666"/>
                  </a:moveTo>
                  <a:cubicBezTo>
                    <a:pt x="5066824" y="378619"/>
                    <a:pt x="5066824" y="379571"/>
                    <a:pt x="5066824" y="380524"/>
                  </a:cubicBezTo>
                  <a:cubicBezTo>
                    <a:pt x="5066824" y="381476"/>
                    <a:pt x="5066824" y="382429"/>
                    <a:pt x="5066824" y="383381"/>
                  </a:cubicBezTo>
                  <a:cubicBezTo>
                    <a:pt x="5066824" y="383381"/>
                    <a:pt x="5066824" y="384334"/>
                    <a:pt x="5065871" y="384334"/>
                  </a:cubicBezTo>
                  <a:cubicBezTo>
                    <a:pt x="5065871" y="383381"/>
                    <a:pt x="5064919" y="382429"/>
                    <a:pt x="5064919" y="381476"/>
                  </a:cubicBezTo>
                  <a:cubicBezTo>
                    <a:pt x="5065871" y="380524"/>
                    <a:pt x="5065871" y="379571"/>
                    <a:pt x="5066824" y="377666"/>
                  </a:cubicBezTo>
                  <a:close/>
                  <a:moveTo>
                    <a:pt x="5057299" y="303371"/>
                  </a:moveTo>
                  <a:cubicBezTo>
                    <a:pt x="5055394" y="300514"/>
                    <a:pt x="5053489" y="297656"/>
                    <a:pt x="5051584" y="294799"/>
                  </a:cubicBezTo>
                  <a:cubicBezTo>
                    <a:pt x="5051584" y="293846"/>
                    <a:pt x="5051584" y="291941"/>
                    <a:pt x="5052537" y="290989"/>
                  </a:cubicBezTo>
                  <a:cubicBezTo>
                    <a:pt x="5053489" y="290036"/>
                    <a:pt x="5054442" y="288131"/>
                    <a:pt x="5055394" y="287179"/>
                  </a:cubicBezTo>
                  <a:cubicBezTo>
                    <a:pt x="5056346" y="291941"/>
                    <a:pt x="5056346" y="297656"/>
                    <a:pt x="5057299" y="303371"/>
                  </a:cubicBezTo>
                  <a:close/>
                  <a:moveTo>
                    <a:pt x="5050631" y="252889"/>
                  </a:moveTo>
                  <a:cubicBezTo>
                    <a:pt x="5051584" y="254794"/>
                    <a:pt x="5051584" y="256699"/>
                    <a:pt x="5052537" y="258604"/>
                  </a:cubicBezTo>
                  <a:cubicBezTo>
                    <a:pt x="5052537" y="259556"/>
                    <a:pt x="5052537" y="260509"/>
                    <a:pt x="5053489" y="260509"/>
                  </a:cubicBezTo>
                  <a:cubicBezTo>
                    <a:pt x="5053489" y="262414"/>
                    <a:pt x="5053489" y="265271"/>
                    <a:pt x="5054442" y="268129"/>
                  </a:cubicBezTo>
                  <a:cubicBezTo>
                    <a:pt x="5053489" y="270034"/>
                    <a:pt x="5053489" y="271939"/>
                    <a:pt x="5052537" y="273844"/>
                  </a:cubicBezTo>
                  <a:cubicBezTo>
                    <a:pt x="5052537" y="274796"/>
                    <a:pt x="5051584" y="275749"/>
                    <a:pt x="5051584" y="276701"/>
                  </a:cubicBezTo>
                  <a:cubicBezTo>
                    <a:pt x="5050631" y="277654"/>
                    <a:pt x="5049679" y="278606"/>
                    <a:pt x="5048726" y="279559"/>
                  </a:cubicBezTo>
                  <a:cubicBezTo>
                    <a:pt x="5048726" y="279559"/>
                    <a:pt x="5048726" y="278606"/>
                    <a:pt x="5048726" y="278606"/>
                  </a:cubicBezTo>
                  <a:cubicBezTo>
                    <a:pt x="5048726" y="277654"/>
                    <a:pt x="5048726" y="275749"/>
                    <a:pt x="5048726" y="274796"/>
                  </a:cubicBezTo>
                  <a:cubicBezTo>
                    <a:pt x="5048726" y="271939"/>
                    <a:pt x="5048726" y="270034"/>
                    <a:pt x="5049679" y="268129"/>
                  </a:cubicBezTo>
                  <a:cubicBezTo>
                    <a:pt x="5049679" y="264319"/>
                    <a:pt x="5050631" y="262414"/>
                    <a:pt x="5050631" y="262414"/>
                  </a:cubicBezTo>
                  <a:cubicBezTo>
                    <a:pt x="5050631" y="262414"/>
                    <a:pt x="5049679" y="264319"/>
                    <a:pt x="5048726" y="268129"/>
                  </a:cubicBezTo>
                  <a:cubicBezTo>
                    <a:pt x="5048726" y="268129"/>
                    <a:pt x="5048726" y="269081"/>
                    <a:pt x="5048726" y="269081"/>
                  </a:cubicBezTo>
                  <a:cubicBezTo>
                    <a:pt x="5048726" y="268129"/>
                    <a:pt x="5048726" y="267176"/>
                    <a:pt x="5048726" y="266224"/>
                  </a:cubicBezTo>
                  <a:cubicBezTo>
                    <a:pt x="5048726" y="260509"/>
                    <a:pt x="5049679" y="256699"/>
                    <a:pt x="5050631" y="252889"/>
                  </a:cubicBezTo>
                  <a:close/>
                  <a:moveTo>
                    <a:pt x="5020151" y="390049"/>
                  </a:moveTo>
                  <a:cubicBezTo>
                    <a:pt x="5018246" y="385286"/>
                    <a:pt x="5016342" y="380524"/>
                    <a:pt x="5014437" y="376714"/>
                  </a:cubicBezTo>
                  <a:cubicBezTo>
                    <a:pt x="5014437" y="376714"/>
                    <a:pt x="5014437" y="375761"/>
                    <a:pt x="5014437" y="375761"/>
                  </a:cubicBezTo>
                  <a:cubicBezTo>
                    <a:pt x="5017294" y="365284"/>
                    <a:pt x="5020151" y="355759"/>
                    <a:pt x="5022056" y="347186"/>
                  </a:cubicBezTo>
                  <a:cubicBezTo>
                    <a:pt x="5022056" y="347186"/>
                    <a:pt x="5022056" y="348139"/>
                    <a:pt x="5022056" y="348139"/>
                  </a:cubicBezTo>
                  <a:cubicBezTo>
                    <a:pt x="5022056" y="352901"/>
                    <a:pt x="5022056" y="357664"/>
                    <a:pt x="5022056" y="363379"/>
                  </a:cubicBezTo>
                  <a:cubicBezTo>
                    <a:pt x="5022056" y="368141"/>
                    <a:pt x="5023009" y="373856"/>
                    <a:pt x="5023009" y="379571"/>
                  </a:cubicBezTo>
                  <a:cubicBezTo>
                    <a:pt x="5023009" y="381476"/>
                    <a:pt x="5023009" y="384334"/>
                    <a:pt x="5023962" y="386239"/>
                  </a:cubicBezTo>
                  <a:cubicBezTo>
                    <a:pt x="5023009" y="386239"/>
                    <a:pt x="5022056" y="388144"/>
                    <a:pt x="5020151" y="390049"/>
                  </a:cubicBezTo>
                  <a:close/>
                  <a:moveTo>
                    <a:pt x="5024914" y="400526"/>
                  </a:moveTo>
                  <a:cubicBezTo>
                    <a:pt x="5024914" y="400526"/>
                    <a:pt x="5024914" y="400526"/>
                    <a:pt x="5024914" y="400526"/>
                  </a:cubicBezTo>
                  <a:cubicBezTo>
                    <a:pt x="5024914" y="400526"/>
                    <a:pt x="5024914" y="400526"/>
                    <a:pt x="5024914" y="400526"/>
                  </a:cubicBezTo>
                  <a:cubicBezTo>
                    <a:pt x="5024914" y="400526"/>
                    <a:pt x="5024914" y="400526"/>
                    <a:pt x="5024914" y="400526"/>
                  </a:cubicBezTo>
                  <a:close/>
                  <a:moveTo>
                    <a:pt x="5035392" y="314801"/>
                  </a:moveTo>
                  <a:cubicBezTo>
                    <a:pt x="5035392" y="315754"/>
                    <a:pt x="5035392" y="316706"/>
                    <a:pt x="5035392" y="317659"/>
                  </a:cubicBezTo>
                  <a:cubicBezTo>
                    <a:pt x="5034439" y="329089"/>
                    <a:pt x="5032534" y="341471"/>
                    <a:pt x="5031581" y="353854"/>
                  </a:cubicBezTo>
                  <a:cubicBezTo>
                    <a:pt x="5031581" y="353854"/>
                    <a:pt x="5031581" y="353854"/>
                    <a:pt x="5031581" y="353854"/>
                  </a:cubicBezTo>
                  <a:cubicBezTo>
                    <a:pt x="5031581" y="353854"/>
                    <a:pt x="5031581" y="354806"/>
                    <a:pt x="5031581" y="354806"/>
                  </a:cubicBezTo>
                  <a:cubicBezTo>
                    <a:pt x="5031581" y="351949"/>
                    <a:pt x="5030629" y="349091"/>
                    <a:pt x="5030629" y="347186"/>
                  </a:cubicBezTo>
                  <a:cubicBezTo>
                    <a:pt x="5029676" y="340519"/>
                    <a:pt x="5028724" y="334804"/>
                    <a:pt x="5027771" y="329089"/>
                  </a:cubicBezTo>
                  <a:cubicBezTo>
                    <a:pt x="5027771" y="328136"/>
                    <a:pt x="5028724" y="326231"/>
                    <a:pt x="5028724" y="325279"/>
                  </a:cubicBezTo>
                  <a:cubicBezTo>
                    <a:pt x="5029676" y="323374"/>
                    <a:pt x="5030629" y="321469"/>
                    <a:pt x="5032534" y="319564"/>
                  </a:cubicBezTo>
                  <a:cubicBezTo>
                    <a:pt x="5033487" y="317659"/>
                    <a:pt x="5034439" y="315754"/>
                    <a:pt x="5035392" y="314801"/>
                  </a:cubicBezTo>
                  <a:close/>
                  <a:moveTo>
                    <a:pt x="5006817" y="242411"/>
                  </a:moveTo>
                  <a:cubicBezTo>
                    <a:pt x="5009674" y="246221"/>
                    <a:pt x="5013484" y="251936"/>
                    <a:pt x="5019199" y="259556"/>
                  </a:cubicBezTo>
                  <a:cubicBezTo>
                    <a:pt x="5022056" y="262414"/>
                    <a:pt x="5023962" y="266224"/>
                    <a:pt x="5025867" y="270034"/>
                  </a:cubicBezTo>
                  <a:cubicBezTo>
                    <a:pt x="5023962" y="268129"/>
                    <a:pt x="5022056" y="265271"/>
                    <a:pt x="5021104" y="263366"/>
                  </a:cubicBezTo>
                  <a:cubicBezTo>
                    <a:pt x="5019199" y="260509"/>
                    <a:pt x="5016342" y="258604"/>
                    <a:pt x="5014437" y="255746"/>
                  </a:cubicBezTo>
                  <a:cubicBezTo>
                    <a:pt x="5011579" y="251936"/>
                    <a:pt x="5007769" y="249079"/>
                    <a:pt x="5004912" y="245269"/>
                  </a:cubicBezTo>
                  <a:cubicBezTo>
                    <a:pt x="5006817" y="244316"/>
                    <a:pt x="5006817" y="243364"/>
                    <a:pt x="5006817" y="242411"/>
                  </a:cubicBezTo>
                  <a:close/>
                  <a:moveTo>
                    <a:pt x="5004912" y="242411"/>
                  </a:moveTo>
                  <a:cubicBezTo>
                    <a:pt x="5004912" y="241459"/>
                    <a:pt x="5004912" y="240506"/>
                    <a:pt x="5004912" y="238601"/>
                  </a:cubicBezTo>
                  <a:cubicBezTo>
                    <a:pt x="5004912" y="238601"/>
                    <a:pt x="5005864" y="239554"/>
                    <a:pt x="5006817" y="241459"/>
                  </a:cubicBezTo>
                  <a:cubicBezTo>
                    <a:pt x="5005864" y="242411"/>
                    <a:pt x="5005864" y="243364"/>
                    <a:pt x="5004912" y="244316"/>
                  </a:cubicBezTo>
                  <a:cubicBezTo>
                    <a:pt x="5004912" y="244316"/>
                    <a:pt x="5004912" y="244316"/>
                    <a:pt x="5004912" y="243364"/>
                  </a:cubicBezTo>
                  <a:cubicBezTo>
                    <a:pt x="5003959" y="243364"/>
                    <a:pt x="5003959" y="242411"/>
                    <a:pt x="5004912" y="242411"/>
                  </a:cubicBezTo>
                  <a:close/>
                  <a:moveTo>
                    <a:pt x="4999196" y="303371"/>
                  </a:moveTo>
                  <a:cubicBezTo>
                    <a:pt x="5001101" y="285274"/>
                    <a:pt x="5002054" y="268129"/>
                    <a:pt x="5003006" y="252889"/>
                  </a:cubicBezTo>
                  <a:cubicBezTo>
                    <a:pt x="5004912" y="255746"/>
                    <a:pt x="5006817" y="257651"/>
                    <a:pt x="5008721" y="260509"/>
                  </a:cubicBezTo>
                  <a:cubicBezTo>
                    <a:pt x="5010626" y="263366"/>
                    <a:pt x="5012531" y="266224"/>
                    <a:pt x="5014437" y="268129"/>
                  </a:cubicBezTo>
                  <a:cubicBezTo>
                    <a:pt x="5016342" y="270986"/>
                    <a:pt x="5018246" y="273844"/>
                    <a:pt x="5020151" y="276701"/>
                  </a:cubicBezTo>
                  <a:cubicBezTo>
                    <a:pt x="5023009" y="281464"/>
                    <a:pt x="5026819" y="287179"/>
                    <a:pt x="5029676" y="292894"/>
                  </a:cubicBezTo>
                  <a:cubicBezTo>
                    <a:pt x="5029676" y="292894"/>
                    <a:pt x="5029676" y="293846"/>
                    <a:pt x="5029676" y="293846"/>
                  </a:cubicBezTo>
                  <a:cubicBezTo>
                    <a:pt x="5028724" y="296704"/>
                    <a:pt x="5026819" y="299561"/>
                    <a:pt x="5025867" y="302419"/>
                  </a:cubicBezTo>
                  <a:cubicBezTo>
                    <a:pt x="5024914" y="303371"/>
                    <a:pt x="5023962" y="304324"/>
                    <a:pt x="5023009" y="305276"/>
                  </a:cubicBezTo>
                  <a:cubicBezTo>
                    <a:pt x="5023009" y="302419"/>
                    <a:pt x="5022056" y="301466"/>
                    <a:pt x="5022056" y="301466"/>
                  </a:cubicBezTo>
                  <a:cubicBezTo>
                    <a:pt x="5022056" y="301466"/>
                    <a:pt x="5022056" y="303371"/>
                    <a:pt x="5022056" y="306229"/>
                  </a:cubicBezTo>
                  <a:cubicBezTo>
                    <a:pt x="5021104" y="307181"/>
                    <a:pt x="5020151" y="308134"/>
                    <a:pt x="5019199" y="309086"/>
                  </a:cubicBezTo>
                  <a:cubicBezTo>
                    <a:pt x="5017294" y="311944"/>
                    <a:pt x="5014437" y="314801"/>
                    <a:pt x="5012531" y="318611"/>
                  </a:cubicBezTo>
                  <a:cubicBezTo>
                    <a:pt x="5012531" y="316706"/>
                    <a:pt x="5013484" y="313849"/>
                    <a:pt x="5013484" y="311944"/>
                  </a:cubicBezTo>
                  <a:cubicBezTo>
                    <a:pt x="5014437" y="305276"/>
                    <a:pt x="5015389" y="299561"/>
                    <a:pt x="5017294" y="294799"/>
                  </a:cubicBezTo>
                  <a:cubicBezTo>
                    <a:pt x="5019199" y="285274"/>
                    <a:pt x="5020151" y="279559"/>
                    <a:pt x="5020151" y="279559"/>
                  </a:cubicBezTo>
                  <a:cubicBezTo>
                    <a:pt x="5020151" y="279559"/>
                    <a:pt x="5017294" y="284321"/>
                    <a:pt x="5013484" y="293846"/>
                  </a:cubicBezTo>
                  <a:cubicBezTo>
                    <a:pt x="5011579" y="298609"/>
                    <a:pt x="5008721" y="304324"/>
                    <a:pt x="5006817" y="310039"/>
                  </a:cubicBezTo>
                  <a:cubicBezTo>
                    <a:pt x="5003959" y="316706"/>
                    <a:pt x="5002054" y="324326"/>
                    <a:pt x="4999196" y="331946"/>
                  </a:cubicBezTo>
                  <a:cubicBezTo>
                    <a:pt x="4999196" y="331946"/>
                    <a:pt x="4999196" y="332899"/>
                    <a:pt x="4999196" y="332899"/>
                  </a:cubicBezTo>
                  <a:cubicBezTo>
                    <a:pt x="4998244" y="330994"/>
                    <a:pt x="4997292" y="329089"/>
                    <a:pt x="4997292" y="327184"/>
                  </a:cubicBezTo>
                  <a:cubicBezTo>
                    <a:pt x="4998244" y="320516"/>
                    <a:pt x="4998244" y="311944"/>
                    <a:pt x="4999196" y="303371"/>
                  </a:cubicBezTo>
                  <a:close/>
                  <a:moveTo>
                    <a:pt x="4968717" y="208121"/>
                  </a:moveTo>
                  <a:cubicBezTo>
                    <a:pt x="4968717" y="209074"/>
                    <a:pt x="4968717" y="210026"/>
                    <a:pt x="4967764" y="212884"/>
                  </a:cubicBezTo>
                  <a:cubicBezTo>
                    <a:pt x="4967764" y="213836"/>
                    <a:pt x="4966812" y="215741"/>
                    <a:pt x="4966812" y="217646"/>
                  </a:cubicBezTo>
                  <a:cubicBezTo>
                    <a:pt x="4966812" y="216694"/>
                    <a:pt x="4966812" y="216694"/>
                    <a:pt x="4966812" y="215741"/>
                  </a:cubicBezTo>
                  <a:cubicBezTo>
                    <a:pt x="4967764" y="213836"/>
                    <a:pt x="4968717" y="210979"/>
                    <a:pt x="4968717" y="208121"/>
                  </a:cubicBezTo>
                  <a:close/>
                  <a:moveTo>
                    <a:pt x="4960144" y="364331"/>
                  </a:moveTo>
                  <a:cubicBezTo>
                    <a:pt x="4960144" y="370046"/>
                    <a:pt x="4961096" y="375761"/>
                    <a:pt x="4961096" y="381476"/>
                  </a:cubicBezTo>
                  <a:cubicBezTo>
                    <a:pt x="4960144" y="384334"/>
                    <a:pt x="4959192" y="388144"/>
                    <a:pt x="4958239" y="391001"/>
                  </a:cubicBezTo>
                  <a:cubicBezTo>
                    <a:pt x="4958239" y="389096"/>
                    <a:pt x="4957287" y="387191"/>
                    <a:pt x="4957287" y="386239"/>
                  </a:cubicBezTo>
                  <a:cubicBezTo>
                    <a:pt x="4957287" y="384334"/>
                    <a:pt x="4957287" y="382429"/>
                    <a:pt x="4957287" y="380524"/>
                  </a:cubicBezTo>
                  <a:cubicBezTo>
                    <a:pt x="4957287" y="371951"/>
                    <a:pt x="4957287" y="363379"/>
                    <a:pt x="4956334" y="356711"/>
                  </a:cubicBezTo>
                  <a:cubicBezTo>
                    <a:pt x="4956334" y="354806"/>
                    <a:pt x="4956334" y="353854"/>
                    <a:pt x="4956334" y="351949"/>
                  </a:cubicBezTo>
                  <a:cubicBezTo>
                    <a:pt x="4957287" y="350996"/>
                    <a:pt x="4958239" y="349091"/>
                    <a:pt x="4958239" y="348139"/>
                  </a:cubicBezTo>
                  <a:cubicBezTo>
                    <a:pt x="4959192" y="352901"/>
                    <a:pt x="4959192" y="358616"/>
                    <a:pt x="4960144" y="364331"/>
                  </a:cubicBezTo>
                  <a:close/>
                  <a:moveTo>
                    <a:pt x="4957287" y="256699"/>
                  </a:moveTo>
                  <a:cubicBezTo>
                    <a:pt x="4957287" y="257651"/>
                    <a:pt x="4957287" y="258604"/>
                    <a:pt x="4957287" y="258604"/>
                  </a:cubicBezTo>
                  <a:cubicBezTo>
                    <a:pt x="4957287" y="258604"/>
                    <a:pt x="4957287" y="259556"/>
                    <a:pt x="4957287" y="259556"/>
                  </a:cubicBezTo>
                  <a:cubicBezTo>
                    <a:pt x="4956334" y="262414"/>
                    <a:pt x="4956334" y="264319"/>
                    <a:pt x="4955381" y="267176"/>
                  </a:cubicBezTo>
                  <a:cubicBezTo>
                    <a:pt x="4955381" y="266224"/>
                    <a:pt x="4954429" y="266224"/>
                    <a:pt x="4954429" y="265271"/>
                  </a:cubicBezTo>
                  <a:cubicBezTo>
                    <a:pt x="4955381" y="263366"/>
                    <a:pt x="4956334" y="259556"/>
                    <a:pt x="4957287" y="256699"/>
                  </a:cubicBezTo>
                  <a:close/>
                  <a:moveTo>
                    <a:pt x="4954429" y="268129"/>
                  </a:moveTo>
                  <a:cubicBezTo>
                    <a:pt x="4954429" y="269081"/>
                    <a:pt x="4955381" y="270034"/>
                    <a:pt x="4955381" y="270986"/>
                  </a:cubicBezTo>
                  <a:cubicBezTo>
                    <a:pt x="4954429" y="276701"/>
                    <a:pt x="4952524" y="283369"/>
                    <a:pt x="4951571" y="290036"/>
                  </a:cubicBezTo>
                  <a:cubicBezTo>
                    <a:pt x="4949667" y="298609"/>
                    <a:pt x="4947762" y="307181"/>
                    <a:pt x="4944904" y="316706"/>
                  </a:cubicBezTo>
                  <a:cubicBezTo>
                    <a:pt x="4943951" y="312896"/>
                    <a:pt x="4943951" y="310991"/>
                    <a:pt x="4943951" y="310991"/>
                  </a:cubicBezTo>
                  <a:cubicBezTo>
                    <a:pt x="4943951" y="310991"/>
                    <a:pt x="4943951" y="314801"/>
                    <a:pt x="4943951" y="320516"/>
                  </a:cubicBezTo>
                  <a:cubicBezTo>
                    <a:pt x="4942999" y="326231"/>
                    <a:pt x="4941094" y="330994"/>
                    <a:pt x="4940142" y="336709"/>
                  </a:cubicBezTo>
                  <a:cubicBezTo>
                    <a:pt x="4940142" y="336709"/>
                    <a:pt x="4940142" y="335756"/>
                    <a:pt x="4940142" y="335756"/>
                  </a:cubicBezTo>
                  <a:cubicBezTo>
                    <a:pt x="4939189" y="331946"/>
                    <a:pt x="4939189" y="329089"/>
                    <a:pt x="4938237" y="325279"/>
                  </a:cubicBezTo>
                  <a:cubicBezTo>
                    <a:pt x="4943951" y="306229"/>
                    <a:pt x="4949667" y="286226"/>
                    <a:pt x="4954429" y="268129"/>
                  </a:cubicBezTo>
                  <a:close/>
                  <a:moveTo>
                    <a:pt x="4922044" y="378619"/>
                  </a:moveTo>
                  <a:cubicBezTo>
                    <a:pt x="4922044" y="378619"/>
                    <a:pt x="4922044" y="378619"/>
                    <a:pt x="4922044" y="378619"/>
                  </a:cubicBezTo>
                  <a:cubicBezTo>
                    <a:pt x="4922044" y="379571"/>
                    <a:pt x="4922044" y="379571"/>
                    <a:pt x="4922044" y="378619"/>
                  </a:cubicBezTo>
                  <a:cubicBezTo>
                    <a:pt x="4922044" y="379571"/>
                    <a:pt x="4922044" y="378619"/>
                    <a:pt x="4922044" y="378619"/>
                  </a:cubicBezTo>
                  <a:close/>
                  <a:moveTo>
                    <a:pt x="4908709" y="307181"/>
                  </a:moveTo>
                  <a:cubicBezTo>
                    <a:pt x="4910614" y="312896"/>
                    <a:pt x="4912519" y="318611"/>
                    <a:pt x="4915376" y="326231"/>
                  </a:cubicBezTo>
                  <a:cubicBezTo>
                    <a:pt x="4913471" y="330041"/>
                    <a:pt x="4911567" y="334804"/>
                    <a:pt x="4909662" y="338614"/>
                  </a:cubicBezTo>
                  <a:cubicBezTo>
                    <a:pt x="4908709" y="327184"/>
                    <a:pt x="4907756" y="316706"/>
                    <a:pt x="4906804" y="308134"/>
                  </a:cubicBezTo>
                  <a:cubicBezTo>
                    <a:pt x="4906804" y="306229"/>
                    <a:pt x="4906804" y="305276"/>
                    <a:pt x="4906804" y="305276"/>
                  </a:cubicBezTo>
                  <a:cubicBezTo>
                    <a:pt x="4906804" y="305276"/>
                    <a:pt x="4906804" y="306229"/>
                    <a:pt x="4905851" y="307181"/>
                  </a:cubicBezTo>
                  <a:cubicBezTo>
                    <a:pt x="4905851" y="303371"/>
                    <a:pt x="4904899" y="300514"/>
                    <a:pt x="4904899" y="297656"/>
                  </a:cubicBezTo>
                  <a:cubicBezTo>
                    <a:pt x="4906804" y="300514"/>
                    <a:pt x="4907756" y="303371"/>
                    <a:pt x="4908709" y="307181"/>
                  </a:cubicBezTo>
                  <a:close/>
                  <a:moveTo>
                    <a:pt x="4897279" y="351949"/>
                  </a:moveTo>
                  <a:cubicBezTo>
                    <a:pt x="4897279" y="356711"/>
                    <a:pt x="4897279" y="360521"/>
                    <a:pt x="4896326" y="365284"/>
                  </a:cubicBezTo>
                  <a:cubicBezTo>
                    <a:pt x="4896326" y="366236"/>
                    <a:pt x="4895374" y="367189"/>
                    <a:pt x="4895374" y="368141"/>
                  </a:cubicBezTo>
                  <a:cubicBezTo>
                    <a:pt x="4895374" y="365284"/>
                    <a:pt x="4894421" y="361474"/>
                    <a:pt x="4894421" y="357664"/>
                  </a:cubicBezTo>
                  <a:cubicBezTo>
                    <a:pt x="4893469" y="351949"/>
                    <a:pt x="4893469" y="347186"/>
                    <a:pt x="4892517" y="341471"/>
                  </a:cubicBezTo>
                  <a:cubicBezTo>
                    <a:pt x="4894421" y="345281"/>
                    <a:pt x="4895374" y="348139"/>
                    <a:pt x="4897279" y="351949"/>
                  </a:cubicBezTo>
                  <a:close/>
                  <a:moveTo>
                    <a:pt x="4822984" y="387191"/>
                  </a:moveTo>
                  <a:cubicBezTo>
                    <a:pt x="4822984" y="386239"/>
                    <a:pt x="4822984" y="386239"/>
                    <a:pt x="4822984" y="385286"/>
                  </a:cubicBezTo>
                  <a:cubicBezTo>
                    <a:pt x="4822984" y="386239"/>
                    <a:pt x="4822984" y="387191"/>
                    <a:pt x="4822984" y="387191"/>
                  </a:cubicBezTo>
                  <a:cubicBezTo>
                    <a:pt x="4822984" y="387191"/>
                    <a:pt x="4822984" y="387191"/>
                    <a:pt x="4822984" y="387191"/>
                  </a:cubicBezTo>
                  <a:close/>
                  <a:moveTo>
                    <a:pt x="4842987" y="338614"/>
                  </a:moveTo>
                  <a:cubicBezTo>
                    <a:pt x="4842987" y="344329"/>
                    <a:pt x="4842987" y="350044"/>
                    <a:pt x="4842987" y="356711"/>
                  </a:cubicBezTo>
                  <a:cubicBezTo>
                    <a:pt x="4842987" y="357664"/>
                    <a:pt x="4842987" y="359569"/>
                    <a:pt x="4842987" y="360521"/>
                  </a:cubicBezTo>
                  <a:cubicBezTo>
                    <a:pt x="4842034" y="366236"/>
                    <a:pt x="4841081" y="373856"/>
                    <a:pt x="4840129" y="382429"/>
                  </a:cubicBezTo>
                  <a:cubicBezTo>
                    <a:pt x="4839176" y="385286"/>
                    <a:pt x="4839176" y="387191"/>
                    <a:pt x="4838224" y="390049"/>
                  </a:cubicBezTo>
                  <a:cubicBezTo>
                    <a:pt x="4834414" y="389096"/>
                    <a:pt x="4830604" y="388144"/>
                    <a:pt x="4826794" y="387191"/>
                  </a:cubicBezTo>
                  <a:cubicBezTo>
                    <a:pt x="4825841" y="384334"/>
                    <a:pt x="4824889" y="381476"/>
                    <a:pt x="4824889" y="379571"/>
                  </a:cubicBezTo>
                  <a:cubicBezTo>
                    <a:pt x="4825841" y="376714"/>
                    <a:pt x="4826794" y="373856"/>
                    <a:pt x="4827747" y="370999"/>
                  </a:cubicBezTo>
                  <a:cubicBezTo>
                    <a:pt x="4830604" y="361474"/>
                    <a:pt x="4834414" y="352901"/>
                    <a:pt x="4838224" y="346234"/>
                  </a:cubicBezTo>
                  <a:cubicBezTo>
                    <a:pt x="4840129" y="342424"/>
                    <a:pt x="4842034" y="339566"/>
                    <a:pt x="4843939" y="336709"/>
                  </a:cubicBezTo>
                  <a:cubicBezTo>
                    <a:pt x="4842987" y="337661"/>
                    <a:pt x="4842987" y="338614"/>
                    <a:pt x="4842987" y="338614"/>
                  </a:cubicBezTo>
                  <a:cubicBezTo>
                    <a:pt x="4842987" y="338614"/>
                    <a:pt x="4842987" y="338614"/>
                    <a:pt x="4842987" y="338614"/>
                  </a:cubicBezTo>
                  <a:close/>
                  <a:moveTo>
                    <a:pt x="4843939" y="329089"/>
                  </a:moveTo>
                  <a:cubicBezTo>
                    <a:pt x="4843939" y="329089"/>
                    <a:pt x="4843939" y="329089"/>
                    <a:pt x="4843939" y="329089"/>
                  </a:cubicBezTo>
                  <a:cubicBezTo>
                    <a:pt x="4841081" y="324326"/>
                    <a:pt x="4838224" y="320516"/>
                    <a:pt x="4836319" y="318611"/>
                  </a:cubicBezTo>
                  <a:cubicBezTo>
                    <a:pt x="4836319" y="318611"/>
                    <a:pt x="4836319" y="318611"/>
                    <a:pt x="4836319" y="318611"/>
                  </a:cubicBezTo>
                  <a:cubicBezTo>
                    <a:pt x="4837272" y="316706"/>
                    <a:pt x="4838224" y="315754"/>
                    <a:pt x="4839176" y="314801"/>
                  </a:cubicBezTo>
                  <a:cubicBezTo>
                    <a:pt x="4840129" y="316706"/>
                    <a:pt x="4841081" y="319564"/>
                    <a:pt x="4842987" y="321469"/>
                  </a:cubicBezTo>
                  <a:cubicBezTo>
                    <a:pt x="4842987" y="322421"/>
                    <a:pt x="4843939" y="323374"/>
                    <a:pt x="4843939" y="323374"/>
                  </a:cubicBezTo>
                  <a:cubicBezTo>
                    <a:pt x="4843939" y="325279"/>
                    <a:pt x="4843939" y="327184"/>
                    <a:pt x="4843939" y="329089"/>
                  </a:cubicBezTo>
                  <a:close/>
                  <a:moveTo>
                    <a:pt x="4845844" y="296704"/>
                  </a:moveTo>
                  <a:cubicBezTo>
                    <a:pt x="4845844" y="302419"/>
                    <a:pt x="4844891" y="309086"/>
                    <a:pt x="4844891" y="316706"/>
                  </a:cubicBezTo>
                  <a:cubicBezTo>
                    <a:pt x="4842987" y="314801"/>
                    <a:pt x="4842034" y="311944"/>
                    <a:pt x="4840129" y="310039"/>
                  </a:cubicBezTo>
                  <a:cubicBezTo>
                    <a:pt x="4839176" y="309086"/>
                    <a:pt x="4838224" y="307181"/>
                    <a:pt x="4837272" y="306229"/>
                  </a:cubicBezTo>
                  <a:cubicBezTo>
                    <a:pt x="4840129" y="300514"/>
                    <a:pt x="4842987" y="295751"/>
                    <a:pt x="4845844" y="290989"/>
                  </a:cubicBezTo>
                  <a:cubicBezTo>
                    <a:pt x="4846797" y="290036"/>
                    <a:pt x="4846797" y="289084"/>
                    <a:pt x="4847749" y="288131"/>
                  </a:cubicBezTo>
                  <a:cubicBezTo>
                    <a:pt x="4846797" y="290989"/>
                    <a:pt x="4845844" y="293846"/>
                    <a:pt x="4845844" y="296704"/>
                  </a:cubicBezTo>
                  <a:close/>
                  <a:moveTo>
                    <a:pt x="4869656" y="325279"/>
                  </a:moveTo>
                  <a:cubicBezTo>
                    <a:pt x="4869656" y="326231"/>
                    <a:pt x="4869656" y="326231"/>
                    <a:pt x="4869656" y="327184"/>
                  </a:cubicBezTo>
                  <a:cubicBezTo>
                    <a:pt x="4869656" y="327184"/>
                    <a:pt x="4869656" y="326231"/>
                    <a:pt x="4869656" y="325279"/>
                  </a:cubicBezTo>
                  <a:cubicBezTo>
                    <a:pt x="4869656" y="323374"/>
                    <a:pt x="4869656" y="320516"/>
                    <a:pt x="4869656" y="318611"/>
                  </a:cubicBezTo>
                  <a:cubicBezTo>
                    <a:pt x="4869656" y="320516"/>
                    <a:pt x="4869656" y="323374"/>
                    <a:pt x="4869656" y="325279"/>
                  </a:cubicBezTo>
                  <a:close/>
                  <a:moveTo>
                    <a:pt x="4854416" y="276701"/>
                  </a:moveTo>
                  <a:cubicBezTo>
                    <a:pt x="4860131" y="267176"/>
                    <a:pt x="4865847" y="261461"/>
                    <a:pt x="4868704" y="256699"/>
                  </a:cubicBezTo>
                  <a:cubicBezTo>
                    <a:pt x="4869656" y="255746"/>
                    <a:pt x="4870609" y="253841"/>
                    <a:pt x="4871562" y="252889"/>
                  </a:cubicBezTo>
                  <a:cubicBezTo>
                    <a:pt x="4871562" y="254794"/>
                    <a:pt x="4871562" y="257651"/>
                    <a:pt x="4871562" y="259556"/>
                  </a:cubicBezTo>
                  <a:cubicBezTo>
                    <a:pt x="4868704" y="270986"/>
                    <a:pt x="4864894" y="283369"/>
                    <a:pt x="4861084" y="296704"/>
                  </a:cubicBezTo>
                  <a:cubicBezTo>
                    <a:pt x="4861084" y="297656"/>
                    <a:pt x="4860131" y="299561"/>
                    <a:pt x="4860131" y="300514"/>
                  </a:cubicBezTo>
                  <a:cubicBezTo>
                    <a:pt x="4857274" y="291941"/>
                    <a:pt x="4855369" y="284321"/>
                    <a:pt x="4853464" y="278606"/>
                  </a:cubicBezTo>
                  <a:cubicBezTo>
                    <a:pt x="4854416" y="277654"/>
                    <a:pt x="4854416" y="277654"/>
                    <a:pt x="4854416" y="276701"/>
                  </a:cubicBezTo>
                  <a:cubicBezTo>
                    <a:pt x="4854416" y="276701"/>
                    <a:pt x="4854416" y="276701"/>
                    <a:pt x="4854416" y="276701"/>
                  </a:cubicBezTo>
                  <a:close/>
                  <a:moveTo>
                    <a:pt x="4850606" y="281464"/>
                  </a:moveTo>
                  <a:cubicBezTo>
                    <a:pt x="4852512" y="290989"/>
                    <a:pt x="4854416" y="303371"/>
                    <a:pt x="4857274" y="316706"/>
                  </a:cubicBezTo>
                  <a:cubicBezTo>
                    <a:pt x="4856322" y="321469"/>
                    <a:pt x="4855369" y="325279"/>
                    <a:pt x="4854416" y="330041"/>
                  </a:cubicBezTo>
                  <a:cubicBezTo>
                    <a:pt x="4853464" y="329089"/>
                    <a:pt x="4852512" y="327184"/>
                    <a:pt x="4852512" y="326231"/>
                  </a:cubicBezTo>
                  <a:cubicBezTo>
                    <a:pt x="4852512" y="325279"/>
                    <a:pt x="4852512" y="323374"/>
                    <a:pt x="4852512" y="322421"/>
                  </a:cubicBezTo>
                  <a:cubicBezTo>
                    <a:pt x="4851559" y="311944"/>
                    <a:pt x="4851559" y="303371"/>
                    <a:pt x="4850606" y="295751"/>
                  </a:cubicBezTo>
                  <a:cubicBezTo>
                    <a:pt x="4850606" y="290989"/>
                    <a:pt x="4849654" y="287179"/>
                    <a:pt x="4849654" y="284321"/>
                  </a:cubicBezTo>
                  <a:cubicBezTo>
                    <a:pt x="4849654" y="283369"/>
                    <a:pt x="4849654" y="282416"/>
                    <a:pt x="4850606" y="281464"/>
                  </a:cubicBezTo>
                  <a:close/>
                  <a:moveTo>
                    <a:pt x="4838224" y="290036"/>
                  </a:moveTo>
                  <a:cubicBezTo>
                    <a:pt x="4841081" y="283369"/>
                    <a:pt x="4843939" y="277654"/>
                    <a:pt x="4845844" y="272891"/>
                  </a:cubicBezTo>
                  <a:cubicBezTo>
                    <a:pt x="4846797" y="270034"/>
                    <a:pt x="4847749" y="267176"/>
                    <a:pt x="4848701" y="265271"/>
                  </a:cubicBezTo>
                  <a:cubicBezTo>
                    <a:pt x="4848701" y="268129"/>
                    <a:pt x="4849654" y="271939"/>
                    <a:pt x="4849654" y="275749"/>
                  </a:cubicBezTo>
                  <a:cubicBezTo>
                    <a:pt x="4848701" y="276701"/>
                    <a:pt x="4848701" y="277654"/>
                    <a:pt x="4847749" y="277654"/>
                  </a:cubicBezTo>
                  <a:cubicBezTo>
                    <a:pt x="4847749" y="274796"/>
                    <a:pt x="4847749" y="273844"/>
                    <a:pt x="4847749" y="273844"/>
                  </a:cubicBezTo>
                  <a:cubicBezTo>
                    <a:pt x="4847749" y="273844"/>
                    <a:pt x="4847749" y="275749"/>
                    <a:pt x="4847749" y="278606"/>
                  </a:cubicBezTo>
                  <a:cubicBezTo>
                    <a:pt x="4845844" y="281464"/>
                    <a:pt x="4842987" y="284321"/>
                    <a:pt x="4841081" y="288131"/>
                  </a:cubicBezTo>
                  <a:cubicBezTo>
                    <a:pt x="4840129" y="290036"/>
                    <a:pt x="4838224" y="291941"/>
                    <a:pt x="4836319" y="294799"/>
                  </a:cubicBezTo>
                  <a:cubicBezTo>
                    <a:pt x="4836319" y="292894"/>
                    <a:pt x="4837272" y="291941"/>
                    <a:pt x="4838224" y="290036"/>
                  </a:cubicBezTo>
                  <a:close/>
                  <a:moveTo>
                    <a:pt x="4835366" y="309086"/>
                  </a:moveTo>
                  <a:cubicBezTo>
                    <a:pt x="4835366" y="309086"/>
                    <a:pt x="4835366" y="308134"/>
                    <a:pt x="4836319" y="308134"/>
                  </a:cubicBezTo>
                  <a:cubicBezTo>
                    <a:pt x="4837272" y="309086"/>
                    <a:pt x="4837272" y="310039"/>
                    <a:pt x="4838224" y="311944"/>
                  </a:cubicBezTo>
                  <a:cubicBezTo>
                    <a:pt x="4838224" y="312896"/>
                    <a:pt x="4839176" y="312896"/>
                    <a:pt x="4839176" y="313849"/>
                  </a:cubicBezTo>
                  <a:cubicBezTo>
                    <a:pt x="4838224" y="314801"/>
                    <a:pt x="4837272" y="315754"/>
                    <a:pt x="4835366" y="317659"/>
                  </a:cubicBezTo>
                  <a:cubicBezTo>
                    <a:pt x="4835366" y="317659"/>
                    <a:pt x="4835366" y="317659"/>
                    <a:pt x="4835366" y="317659"/>
                  </a:cubicBezTo>
                  <a:cubicBezTo>
                    <a:pt x="4835366" y="317659"/>
                    <a:pt x="4834414" y="316706"/>
                    <a:pt x="4834414" y="316706"/>
                  </a:cubicBezTo>
                  <a:cubicBezTo>
                    <a:pt x="4833462" y="315754"/>
                    <a:pt x="4833462" y="315754"/>
                    <a:pt x="4832509" y="314801"/>
                  </a:cubicBezTo>
                  <a:cubicBezTo>
                    <a:pt x="4833462" y="312896"/>
                    <a:pt x="4834414" y="310991"/>
                    <a:pt x="4835366" y="309086"/>
                  </a:cubicBezTo>
                  <a:close/>
                  <a:moveTo>
                    <a:pt x="4830604" y="319564"/>
                  </a:moveTo>
                  <a:cubicBezTo>
                    <a:pt x="4831556" y="317659"/>
                    <a:pt x="4831556" y="316706"/>
                    <a:pt x="4832509" y="314801"/>
                  </a:cubicBezTo>
                  <a:cubicBezTo>
                    <a:pt x="4832509" y="315754"/>
                    <a:pt x="4833462" y="315754"/>
                    <a:pt x="4833462" y="316706"/>
                  </a:cubicBezTo>
                  <a:cubicBezTo>
                    <a:pt x="4833462" y="317659"/>
                    <a:pt x="4834414" y="317659"/>
                    <a:pt x="4834414" y="318611"/>
                  </a:cubicBezTo>
                  <a:cubicBezTo>
                    <a:pt x="4832509" y="320516"/>
                    <a:pt x="4830604" y="322421"/>
                    <a:pt x="4828699" y="324326"/>
                  </a:cubicBezTo>
                  <a:cubicBezTo>
                    <a:pt x="4829651" y="322421"/>
                    <a:pt x="4829651" y="320516"/>
                    <a:pt x="4830604" y="319564"/>
                  </a:cubicBezTo>
                  <a:close/>
                  <a:moveTo>
                    <a:pt x="4817269" y="364331"/>
                  </a:moveTo>
                  <a:cubicBezTo>
                    <a:pt x="4817269" y="361474"/>
                    <a:pt x="4817269" y="359569"/>
                    <a:pt x="4817269" y="356711"/>
                  </a:cubicBezTo>
                  <a:cubicBezTo>
                    <a:pt x="4820126" y="349091"/>
                    <a:pt x="4822984" y="342424"/>
                    <a:pt x="4824889" y="335756"/>
                  </a:cubicBezTo>
                  <a:cubicBezTo>
                    <a:pt x="4824889" y="335756"/>
                    <a:pt x="4825841" y="334804"/>
                    <a:pt x="4825841" y="334804"/>
                  </a:cubicBezTo>
                  <a:cubicBezTo>
                    <a:pt x="4829651" y="328136"/>
                    <a:pt x="4833462" y="323374"/>
                    <a:pt x="4835366" y="319564"/>
                  </a:cubicBezTo>
                  <a:cubicBezTo>
                    <a:pt x="4835366" y="320516"/>
                    <a:pt x="4836319" y="321469"/>
                    <a:pt x="4837272" y="322421"/>
                  </a:cubicBezTo>
                  <a:cubicBezTo>
                    <a:pt x="4838224" y="324326"/>
                    <a:pt x="4839176" y="327184"/>
                    <a:pt x="4841081" y="330994"/>
                  </a:cubicBezTo>
                  <a:cubicBezTo>
                    <a:pt x="4842034" y="332899"/>
                    <a:pt x="4842034" y="333851"/>
                    <a:pt x="4842987" y="335756"/>
                  </a:cubicBezTo>
                  <a:cubicBezTo>
                    <a:pt x="4840129" y="338614"/>
                    <a:pt x="4838224" y="341471"/>
                    <a:pt x="4835366" y="345281"/>
                  </a:cubicBezTo>
                  <a:cubicBezTo>
                    <a:pt x="4831556" y="350996"/>
                    <a:pt x="4826794" y="357664"/>
                    <a:pt x="4822984" y="366236"/>
                  </a:cubicBezTo>
                  <a:cubicBezTo>
                    <a:pt x="4822031" y="367189"/>
                    <a:pt x="4821079" y="368141"/>
                    <a:pt x="4820126" y="369094"/>
                  </a:cubicBezTo>
                  <a:cubicBezTo>
                    <a:pt x="4819174" y="370046"/>
                    <a:pt x="4818222" y="370999"/>
                    <a:pt x="4817269" y="371951"/>
                  </a:cubicBezTo>
                  <a:cubicBezTo>
                    <a:pt x="4816316" y="369094"/>
                    <a:pt x="4817269" y="366236"/>
                    <a:pt x="4817269" y="364331"/>
                  </a:cubicBezTo>
                  <a:close/>
                  <a:moveTo>
                    <a:pt x="4816316" y="376714"/>
                  </a:moveTo>
                  <a:cubicBezTo>
                    <a:pt x="4817269" y="373856"/>
                    <a:pt x="4819174" y="370999"/>
                    <a:pt x="4820126" y="370046"/>
                  </a:cubicBezTo>
                  <a:cubicBezTo>
                    <a:pt x="4820126" y="370046"/>
                    <a:pt x="4820126" y="370046"/>
                    <a:pt x="4820126" y="370046"/>
                  </a:cubicBezTo>
                  <a:cubicBezTo>
                    <a:pt x="4820126" y="370046"/>
                    <a:pt x="4820126" y="370046"/>
                    <a:pt x="4820126" y="370046"/>
                  </a:cubicBezTo>
                  <a:cubicBezTo>
                    <a:pt x="4819174" y="372904"/>
                    <a:pt x="4817269" y="375761"/>
                    <a:pt x="4816316" y="378619"/>
                  </a:cubicBezTo>
                  <a:cubicBezTo>
                    <a:pt x="4816316" y="376714"/>
                    <a:pt x="4816316" y="376714"/>
                    <a:pt x="4816316" y="376714"/>
                  </a:cubicBezTo>
                  <a:close/>
                  <a:moveTo>
                    <a:pt x="4762024" y="305276"/>
                  </a:moveTo>
                  <a:cubicBezTo>
                    <a:pt x="4762024" y="306229"/>
                    <a:pt x="4762976" y="312896"/>
                    <a:pt x="4763929" y="322421"/>
                  </a:cubicBezTo>
                  <a:cubicBezTo>
                    <a:pt x="4762024" y="317659"/>
                    <a:pt x="4761072" y="313849"/>
                    <a:pt x="4760119" y="309086"/>
                  </a:cubicBezTo>
                  <a:cubicBezTo>
                    <a:pt x="4761072" y="306229"/>
                    <a:pt x="4761072" y="303371"/>
                    <a:pt x="4762024" y="300514"/>
                  </a:cubicBezTo>
                  <a:cubicBezTo>
                    <a:pt x="4762024" y="302419"/>
                    <a:pt x="4762024" y="303371"/>
                    <a:pt x="4762024" y="305276"/>
                  </a:cubicBezTo>
                  <a:close/>
                  <a:moveTo>
                    <a:pt x="4755356" y="279559"/>
                  </a:moveTo>
                  <a:cubicBezTo>
                    <a:pt x="4757262" y="284321"/>
                    <a:pt x="4758214" y="289084"/>
                    <a:pt x="4760119" y="294799"/>
                  </a:cubicBezTo>
                  <a:cubicBezTo>
                    <a:pt x="4760119" y="295751"/>
                    <a:pt x="4760119" y="296704"/>
                    <a:pt x="4761072" y="297656"/>
                  </a:cubicBezTo>
                  <a:cubicBezTo>
                    <a:pt x="4760119" y="299561"/>
                    <a:pt x="4759166" y="301466"/>
                    <a:pt x="4758214" y="304324"/>
                  </a:cubicBezTo>
                  <a:cubicBezTo>
                    <a:pt x="4757262" y="300514"/>
                    <a:pt x="4755356" y="296704"/>
                    <a:pt x="4754404" y="292894"/>
                  </a:cubicBezTo>
                  <a:cubicBezTo>
                    <a:pt x="4754404" y="288131"/>
                    <a:pt x="4754404" y="284321"/>
                    <a:pt x="4755356" y="279559"/>
                  </a:cubicBezTo>
                  <a:close/>
                  <a:moveTo>
                    <a:pt x="4759166" y="342424"/>
                  </a:moveTo>
                  <a:cubicBezTo>
                    <a:pt x="4757262" y="338614"/>
                    <a:pt x="4756309" y="335756"/>
                    <a:pt x="4755356" y="331946"/>
                  </a:cubicBezTo>
                  <a:cubicBezTo>
                    <a:pt x="4755356" y="330041"/>
                    <a:pt x="4756309" y="328136"/>
                    <a:pt x="4756309" y="326231"/>
                  </a:cubicBezTo>
                  <a:cubicBezTo>
                    <a:pt x="4757262" y="330994"/>
                    <a:pt x="4758214" y="336709"/>
                    <a:pt x="4759166" y="342424"/>
                  </a:cubicBezTo>
                  <a:close/>
                  <a:moveTo>
                    <a:pt x="4753451" y="312896"/>
                  </a:moveTo>
                  <a:cubicBezTo>
                    <a:pt x="4753451" y="313849"/>
                    <a:pt x="4753451" y="314801"/>
                    <a:pt x="4754404" y="315754"/>
                  </a:cubicBezTo>
                  <a:cubicBezTo>
                    <a:pt x="4754404" y="316706"/>
                    <a:pt x="4754404" y="316706"/>
                    <a:pt x="4753451" y="317659"/>
                  </a:cubicBezTo>
                  <a:cubicBezTo>
                    <a:pt x="4753451" y="315754"/>
                    <a:pt x="4753451" y="313849"/>
                    <a:pt x="4753451" y="312896"/>
                  </a:cubicBezTo>
                  <a:close/>
                  <a:moveTo>
                    <a:pt x="4755356" y="373856"/>
                  </a:moveTo>
                  <a:cubicBezTo>
                    <a:pt x="4755356" y="374809"/>
                    <a:pt x="4755356" y="374809"/>
                    <a:pt x="4756309" y="375761"/>
                  </a:cubicBezTo>
                  <a:cubicBezTo>
                    <a:pt x="4755356" y="376714"/>
                    <a:pt x="4755356" y="378619"/>
                    <a:pt x="4754404" y="379571"/>
                  </a:cubicBezTo>
                  <a:cubicBezTo>
                    <a:pt x="4753451" y="379571"/>
                    <a:pt x="4753451" y="379571"/>
                    <a:pt x="4752499" y="379571"/>
                  </a:cubicBezTo>
                  <a:cubicBezTo>
                    <a:pt x="4753451" y="377666"/>
                    <a:pt x="4754404" y="375761"/>
                    <a:pt x="4755356" y="373856"/>
                  </a:cubicBezTo>
                  <a:close/>
                  <a:moveTo>
                    <a:pt x="4748689" y="291941"/>
                  </a:moveTo>
                  <a:cubicBezTo>
                    <a:pt x="4747737" y="295751"/>
                    <a:pt x="4747737" y="299561"/>
                    <a:pt x="4746784" y="303371"/>
                  </a:cubicBezTo>
                  <a:cubicBezTo>
                    <a:pt x="4746784" y="303371"/>
                    <a:pt x="4746784" y="303371"/>
                    <a:pt x="4746784" y="303371"/>
                  </a:cubicBezTo>
                  <a:cubicBezTo>
                    <a:pt x="4746784" y="302419"/>
                    <a:pt x="4746784" y="300514"/>
                    <a:pt x="4746784" y="299561"/>
                  </a:cubicBezTo>
                  <a:cubicBezTo>
                    <a:pt x="4746784" y="296704"/>
                    <a:pt x="4747737" y="293846"/>
                    <a:pt x="4748689" y="291941"/>
                  </a:cubicBezTo>
                  <a:close/>
                  <a:moveTo>
                    <a:pt x="4738212" y="327184"/>
                  </a:moveTo>
                  <a:cubicBezTo>
                    <a:pt x="4738212" y="331946"/>
                    <a:pt x="4737259" y="335756"/>
                    <a:pt x="4737259" y="341471"/>
                  </a:cubicBezTo>
                  <a:cubicBezTo>
                    <a:pt x="4737259" y="339566"/>
                    <a:pt x="4736306" y="338614"/>
                    <a:pt x="4736306" y="336709"/>
                  </a:cubicBezTo>
                  <a:cubicBezTo>
                    <a:pt x="4737259" y="332899"/>
                    <a:pt x="4737259" y="330041"/>
                    <a:pt x="4738212" y="327184"/>
                  </a:cubicBezTo>
                  <a:close/>
                  <a:moveTo>
                    <a:pt x="4720114" y="261461"/>
                  </a:moveTo>
                  <a:cubicBezTo>
                    <a:pt x="4720114" y="261461"/>
                    <a:pt x="4720114" y="261461"/>
                    <a:pt x="4720114" y="261461"/>
                  </a:cubicBezTo>
                  <a:cubicBezTo>
                    <a:pt x="4722972" y="270034"/>
                    <a:pt x="4725829" y="279559"/>
                    <a:pt x="4729639" y="290989"/>
                  </a:cubicBezTo>
                  <a:cubicBezTo>
                    <a:pt x="4730591" y="292894"/>
                    <a:pt x="4730591" y="294799"/>
                    <a:pt x="4731544" y="296704"/>
                  </a:cubicBezTo>
                  <a:cubicBezTo>
                    <a:pt x="4730591" y="300514"/>
                    <a:pt x="4728687" y="304324"/>
                    <a:pt x="4727734" y="308134"/>
                  </a:cubicBezTo>
                  <a:cubicBezTo>
                    <a:pt x="4726781" y="304324"/>
                    <a:pt x="4724876" y="299561"/>
                    <a:pt x="4723924" y="295751"/>
                  </a:cubicBezTo>
                  <a:cubicBezTo>
                    <a:pt x="4722019" y="289084"/>
                    <a:pt x="4720114" y="282416"/>
                    <a:pt x="4718209" y="276701"/>
                  </a:cubicBezTo>
                  <a:cubicBezTo>
                    <a:pt x="4718209" y="270034"/>
                    <a:pt x="4719162" y="265271"/>
                    <a:pt x="4720114" y="261461"/>
                  </a:cubicBezTo>
                  <a:close/>
                  <a:moveTo>
                    <a:pt x="4709637" y="324326"/>
                  </a:moveTo>
                  <a:cubicBezTo>
                    <a:pt x="4711541" y="315754"/>
                    <a:pt x="4712494" y="308134"/>
                    <a:pt x="4713447" y="301466"/>
                  </a:cubicBezTo>
                  <a:cubicBezTo>
                    <a:pt x="4715351" y="310991"/>
                    <a:pt x="4717256" y="321469"/>
                    <a:pt x="4719162" y="331946"/>
                  </a:cubicBezTo>
                  <a:cubicBezTo>
                    <a:pt x="4718209" y="335756"/>
                    <a:pt x="4716304" y="339566"/>
                    <a:pt x="4715351" y="343376"/>
                  </a:cubicBezTo>
                  <a:cubicBezTo>
                    <a:pt x="4715351" y="343376"/>
                    <a:pt x="4715351" y="343376"/>
                    <a:pt x="4715351" y="343376"/>
                  </a:cubicBezTo>
                  <a:cubicBezTo>
                    <a:pt x="4712494" y="339566"/>
                    <a:pt x="4709637" y="335756"/>
                    <a:pt x="4707731" y="332899"/>
                  </a:cubicBezTo>
                  <a:cubicBezTo>
                    <a:pt x="4708684" y="330041"/>
                    <a:pt x="4708684" y="327184"/>
                    <a:pt x="4709637" y="324326"/>
                  </a:cubicBezTo>
                  <a:close/>
                  <a:moveTo>
                    <a:pt x="4703922" y="355759"/>
                  </a:moveTo>
                  <a:cubicBezTo>
                    <a:pt x="4704874" y="357664"/>
                    <a:pt x="4704874" y="358616"/>
                    <a:pt x="4705826" y="360521"/>
                  </a:cubicBezTo>
                  <a:cubicBezTo>
                    <a:pt x="4706779" y="363379"/>
                    <a:pt x="4707731" y="366236"/>
                    <a:pt x="4708684" y="369094"/>
                  </a:cubicBezTo>
                  <a:cubicBezTo>
                    <a:pt x="4707731" y="371951"/>
                    <a:pt x="4705826" y="374809"/>
                    <a:pt x="4704874" y="377666"/>
                  </a:cubicBezTo>
                  <a:cubicBezTo>
                    <a:pt x="4704874" y="377666"/>
                    <a:pt x="4704874" y="376714"/>
                    <a:pt x="4704874" y="376714"/>
                  </a:cubicBezTo>
                  <a:cubicBezTo>
                    <a:pt x="4703922" y="374809"/>
                    <a:pt x="4702969" y="373856"/>
                    <a:pt x="4702016" y="371951"/>
                  </a:cubicBezTo>
                  <a:cubicBezTo>
                    <a:pt x="4702016" y="366236"/>
                    <a:pt x="4702969" y="361474"/>
                    <a:pt x="4703922" y="355759"/>
                  </a:cubicBezTo>
                  <a:close/>
                  <a:moveTo>
                    <a:pt x="4682966" y="380524"/>
                  </a:moveTo>
                  <a:cubicBezTo>
                    <a:pt x="4682014" y="384334"/>
                    <a:pt x="4681062" y="388144"/>
                    <a:pt x="4680109" y="392906"/>
                  </a:cubicBezTo>
                  <a:cubicBezTo>
                    <a:pt x="4679156" y="392906"/>
                    <a:pt x="4677251" y="393859"/>
                    <a:pt x="4676299" y="393859"/>
                  </a:cubicBezTo>
                  <a:cubicBezTo>
                    <a:pt x="4676299" y="391954"/>
                    <a:pt x="4675347" y="390049"/>
                    <a:pt x="4675347" y="388144"/>
                  </a:cubicBezTo>
                  <a:cubicBezTo>
                    <a:pt x="4678204" y="384334"/>
                    <a:pt x="4681062" y="381476"/>
                    <a:pt x="4682966" y="378619"/>
                  </a:cubicBezTo>
                  <a:cubicBezTo>
                    <a:pt x="4682014" y="379571"/>
                    <a:pt x="4682966" y="380524"/>
                    <a:pt x="4682966" y="380524"/>
                  </a:cubicBezTo>
                  <a:close/>
                  <a:moveTo>
                    <a:pt x="4672489" y="361474"/>
                  </a:moveTo>
                  <a:cubicBezTo>
                    <a:pt x="4674394" y="365284"/>
                    <a:pt x="4677251" y="370046"/>
                    <a:pt x="4679156" y="373856"/>
                  </a:cubicBezTo>
                  <a:cubicBezTo>
                    <a:pt x="4677251" y="375761"/>
                    <a:pt x="4674394" y="377666"/>
                    <a:pt x="4672489" y="379571"/>
                  </a:cubicBezTo>
                  <a:cubicBezTo>
                    <a:pt x="4672489" y="378619"/>
                    <a:pt x="4672489" y="377666"/>
                    <a:pt x="4671537" y="376714"/>
                  </a:cubicBezTo>
                  <a:cubicBezTo>
                    <a:pt x="4671537" y="374809"/>
                    <a:pt x="4670584" y="372904"/>
                    <a:pt x="4670584" y="370999"/>
                  </a:cubicBezTo>
                  <a:cubicBezTo>
                    <a:pt x="4671537" y="368141"/>
                    <a:pt x="4671537" y="364331"/>
                    <a:pt x="4672489" y="361474"/>
                  </a:cubicBezTo>
                  <a:close/>
                  <a:moveTo>
                    <a:pt x="4661059" y="265271"/>
                  </a:moveTo>
                  <a:cubicBezTo>
                    <a:pt x="4662012" y="260509"/>
                    <a:pt x="4662964" y="256699"/>
                    <a:pt x="4663916" y="252889"/>
                  </a:cubicBezTo>
                  <a:cubicBezTo>
                    <a:pt x="4665822" y="246221"/>
                    <a:pt x="4667726" y="241459"/>
                    <a:pt x="4669631" y="237649"/>
                  </a:cubicBezTo>
                  <a:cubicBezTo>
                    <a:pt x="4669631" y="239554"/>
                    <a:pt x="4669631" y="240506"/>
                    <a:pt x="4669631" y="242411"/>
                  </a:cubicBezTo>
                  <a:cubicBezTo>
                    <a:pt x="4667726" y="250031"/>
                    <a:pt x="4664869" y="259556"/>
                    <a:pt x="4661059" y="269081"/>
                  </a:cubicBezTo>
                  <a:cubicBezTo>
                    <a:pt x="4661059" y="268129"/>
                    <a:pt x="4661059" y="266224"/>
                    <a:pt x="4661059" y="265271"/>
                  </a:cubicBezTo>
                  <a:close/>
                  <a:moveTo>
                    <a:pt x="4645819" y="278606"/>
                  </a:moveTo>
                  <a:cubicBezTo>
                    <a:pt x="4646772" y="271939"/>
                    <a:pt x="4647724" y="266224"/>
                    <a:pt x="4648676" y="260509"/>
                  </a:cubicBezTo>
                  <a:cubicBezTo>
                    <a:pt x="4649629" y="257651"/>
                    <a:pt x="4649629" y="253841"/>
                    <a:pt x="4650581" y="250984"/>
                  </a:cubicBezTo>
                  <a:cubicBezTo>
                    <a:pt x="4650581" y="250984"/>
                    <a:pt x="4650581" y="251936"/>
                    <a:pt x="4650581" y="251936"/>
                  </a:cubicBezTo>
                  <a:cubicBezTo>
                    <a:pt x="4651534" y="254794"/>
                    <a:pt x="4652487" y="259556"/>
                    <a:pt x="4652487" y="265271"/>
                  </a:cubicBezTo>
                  <a:cubicBezTo>
                    <a:pt x="4652487" y="267176"/>
                    <a:pt x="4652487" y="269081"/>
                    <a:pt x="4652487" y="270034"/>
                  </a:cubicBezTo>
                  <a:cubicBezTo>
                    <a:pt x="4651534" y="272891"/>
                    <a:pt x="4651534" y="275749"/>
                    <a:pt x="4650581" y="278606"/>
                  </a:cubicBezTo>
                  <a:cubicBezTo>
                    <a:pt x="4649629" y="282416"/>
                    <a:pt x="4648676" y="287179"/>
                    <a:pt x="4648676" y="290989"/>
                  </a:cubicBezTo>
                  <a:cubicBezTo>
                    <a:pt x="4648676" y="287179"/>
                    <a:pt x="4646772" y="283369"/>
                    <a:pt x="4645819" y="278606"/>
                  </a:cubicBezTo>
                  <a:cubicBezTo>
                    <a:pt x="4645819" y="278606"/>
                    <a:pt x="4645819" y="278606"/>
                    <a:pt x="4645819" y="278606"/>
                  </a:cubicBezTo>
                  <a:close/>
                  <a:moveTo>
                    <a:pt x="4642962" y="293846"/>
                  </a:moveTo>
                  <a:cubicBezTo>
                    <a:pt x="4643914" y="296704"/>
                    <a:pt x="4643914" y="299561"/>
                    <a:pt x="4644866" y="302419"/>
                  </a:cubicBezTo>
                  <a:cubicBezTo>
                    <a:pt x="4644866" y="304324"/>
                    <a:pt x="4645819" y="307181"/>
                    <a:pt x="4645819" y="309086"/>
                  </a:cubicBezTo>
                  <a:cubicBezTo>
                    <a:pt x="4645819" y="309086"/>
                    <a:pt x="4645819" y="309086"/>
                    <a:pt x="4645819" y="309086"/>
                  </a:cubicBezTo>
                  <a:cubicBezTo>
                    <a:pt x="4644866" y="308134"/>
                    <a:pt x="4643914" y="307181"/>
                    <a:pt x="4642962" y="306229"/>
                  </a:cubicBezTo>
                  <a:cubicBezTo>
                    <a:pt x="4642962" y="304324"/>
                    <a:pt x="4642009" y="302419"/>
                    <a:pt x="4642009" y="299561"/>
                  </a:cubicBezTo>
                  <a:cubicBezTo>
                    <a:pt x="4642962" y="297656"/>
                    <a:pt x="4642962" y="295751"/>
                    <a:pt x="4642962" y="293846"/>
                  </a:cubicBezTo>
                  <a:close/>
                  <a:moveTo>
                    <a:pt x="4595337" y="280511"/>
                  </a:moveTo>
                  <a:cubicBezTo>
                    <a:pt x="4596289" y="284321"/>
                    <a:pt x="4597241" y="289084"/>
                    <a:pt x="4598194" y="293846"/>
                  </a:cubicBezTo>
                  <a:cubicBezTo>
                    <a:pt x="4598194" y="295751"/>
                    <a:pt x="4598194" y="298609"/>
                    <a:pt x="4598194" y="300514"/>
                  </a:cubicBezTo>
                  <a:cubicBezTo>
                    <a:pt x="4598194" y="304324"/>
                    <a:pt x="4598194" y="308134"/>
                    <a:pt x="4598194" y="311944"/>
                  </a:cubicBezTo>
                  <a:cubicBezTo>
                    <a:pt x="4597241" y="313849"/>
                    <a:pt x="4597241" y="316706"/>
                    <a:pt x="4596289" y="319564"/>
                  </a:cubicBezTo>
                  <a:cubicBezTo>
                    <a:pt x="4595337" y="316706"/>
                    <a:pt x="4594384" y="314801"/>
                    <a:pt x="4593431" y="311944"/>
                  </a:cubicBezTo>
                  <a:cubicBezTo>
                    <a:pt x="4593431" y="310039"/>
                    <a:pt x="4593431" y="307181"/>
                    <a:pt x="4593431" y="305276"/>
                  </a:cubicBezTo>
                  <a:cubicBezTo>
                    <a:pt x="4593431" y="298609"/>
                    <a:pt x="4593431" y="292894"/>
                    <a:pt x="4593431" y="286226"/>
                  </a:cubicBezTo>
                  <a:cubicBezTo>
                    <a:pt x="4593431" y="284321"/>
                    <a:pt x="4594384" y="282416"/>
                    <a:pt x="4595337" y="280511"/>
                  </a:cubicBezTo>
                  <a:cubicBezTo>
                    <a:pt x="4595337" y="280511"/>
                    <a:pt x="4595337" y="280511"/>
                    <a:pt x="4595337" y="280511"/>
                  </a:cubicBezTo>
                  <a:close/>
                  <a:moveTo>
                    <a:pt x="4595337" y="277654"/>
                  </a:moveTo>
                  <a:cubicBezTo>
                    <a:pt x="4594384" y="278606"/>
                    <a:pt x="4594384" y="278606"/>
                    <a:pt x="4593431" y="279559"/>
                  </a:cubicBezTo>
                  <a:cubicBezTo>
                    <a:pt x="4593431" y="279559"/>
                    <a:pt x="4593431" y="280511"/>
                    <a:pt x="4592479" y="280511"/>
                  </a:cubicBezTo>
                  <a:cubicBezTo>
                    <a:pt x="4592479" y="274796"/>
                    <a:pt x="4592479" y="269081"/>
                    <a:pt x="4592479" y="263366"/>
                  </a:cubicBezTo>
                  <a:cubicBezTo>
                    <a:pt x="4593431" y="267176"/>
                    <a:pt x="4594384" y="271939"/>
                    <a:pt x="4595337" y="277654"/>
                  </a:cubicBezTo>
                  <a:close/>
                  <a:moveTo>
                    <a:pt x="4576287" y="253841"/>
                  </a:moveTo>
                  <a:cubicBezTo>
                    <a:pt x="4576287" y="260509"/>
                    <a:pt x="4576287" y="267176"/>
                    <a:pt x="4575334" y="273844"/>
                  </a:cubicBezTo>
                  <a:cubicBezTo>
                    <a:pt x="4573429" y="270034"/>
                    <a:pt x="4571524" y="266224"/>
                    <a:pt x="4569619" y="262414"/>
                  </a:cubicBezTo>
                  <a:cubicBezTo>
                    <a:pt x="4572476" y="259556"/>
                    <a:pt x="4574381" y="256699"/>
                    <a:pt x="4576287" y="253841"/>
                  </a:cubicBezTo>
                  <a:close/>
                  <a:moveTo>
                    <a:pt x="4566762" y="268129"/>
                  </a:moveTo>
                  <a:cubicBezTo>
                    <a:pt x="4566762" y="268129"/>
                    <a:pt x="4566762" y="269081"/>
                    <a:pt x="4566762" y="268129"/>
                  </a:cubicBezTo>
                  <a:cubicBezTo>
                    <a:pt x="4568666" y="273844"/>
                    <a:pt x="4570572" y="278606"/>
                    <a:pt x="4571524" y="284321"/>
                  </a:cubicBezTo>
                  <a:cubicBezTo>
                    <a:pt x="4572476" y="288131"/>
                    <a:pt x="4573429" y="292894"/>
                    <a:pt x="4574381" y="296704"/>
                  </a:cubicBezTo>
                  <a:cubicBezTo>
                    <a:pt x="4574381" y="298609"/>
                    <a:pt x="4574381" y="299561"/>
                    <a:pt x="4574381" y="301466"/>
                  </a:cubicBezTo>
                  <a:cubicBezTo>
                    <a:pt x="4570572" y="293846"/>
                    <a:pt x="4568666" y="289084"/>
                    <a:pt x="4568666" y="289084"/>
                  </a:cubicBezTo>
                  <a:cubicBezTo>
                    <a:pt x="4568666" y="289084"/>
                    <a:pt x="4570572" y="296704"/>
                    <a:pt x="4574381" y="309086"/>
                  </a:cubicBezTo>
                  <a:cubicBezTo>
                    <a:pt x="4573429" y="310991"/>
                    <a:pt x="4572476" y="312896"/>
                    <a:pt x="4571524" y="314801"/>
                  </a:cubicBezTo>
                  <a:cubicBezTo>
                    <a:pt x="4571524" y="314801"/>
                    <a:pt x="4571524" y="314801"/>
                    <a:pt x="4571524" y="315754"/>
                  </a:cubicBezTo>
                  <a:cubicBezTo>
                    <a:pt x="4568666" y="293846"/>
                    <a:pt x="4566762" y="278606"/>
                    <a:pt x="4564856" y="271939"/>
                  </a:cubicBezTo>
                  <a:cubicBezTo>
                    <a:pt x="4564856" y="270986"/>
                    <a:pt x="4565809" y="270034"/>
                    <a:pt x="4566762" y="268129"/>
                  </a:cubicBezTo>
                  <a:close/>
                  <a:moveTo>
                    <a:pt x="4560094" y="254794"/>
                  </a:moveTo>
                  <a:cubicBezTo>
                    <a:pt x="4561047" y="256699"/>
                    <a:pt x="4561999" y="258604"/>
                    <a:pt x="4562951" y="260509"/>
                  </a:cubicBezTo>
                  <a:cubicBezTo>
                    <a:pt x="4561999" y="261461"/>
                    <a:pt x="4561047" y="262414"/>
                    <a:pt x="4561047" y="263366"/>
                  </a:cubicBezTo>
                  <a:cubicBezTo>
                    <a:pt x="4560094" y="265271"/>
                    <a:pt x="4558189" y="266224"/>
                    <a:pt x="4557237" y="268129"/>
                  </a:cubicBezTo>
                  <a:cubicBezTo>
                    <a:pt x="4558189" y="263366"/>
                    <a:pt x="4559141" y="258604"/>
                    <a:pt x="4560094" y="254794"/>
                  </a:cubicBezTo>
                  <a:close/>
                  <a:moveTo>
                    <a:pt x="4548664" y="317659"/>
                  </a:moveTo>
                  <a:cubicBezTo>
                    <a:pt x="4551522" y="307181"/>
                    <a:pt x="4554379" y="298609"/>
                    <a:pt x="4557237" y="290036"/>
                  </a:cubicBezTo>
                  <a:cubicBezTo>
                    <a:pt x="4559141" y="284321"/>
                    <a:pt x="4561047" y="279559"/>
                    <a:pt x="4562951" y="275749"/>
                  </a:cubicBezTo>
                  <a:cubicBezTo>
                    <a:pt x="4561999" y="283369"/>
                    <a:pt x="4561047" y="298609"/>
                    <a:pt x="4560094" y="318611"/>
                  </a:cubicBezTo>
                  <a:cubicBezTo>
                    <a:pt x="4557237" y="313849"/>
                    <a:pt x="4555331" y="310991"/>
                    <a:pt x="4555331" y="310991"/>
                  </a:cubicBezTo>
                  <a:cubicBezTo>
                    <a:pt x="4555331" y="310991"/>
                    <a:pt x="4557237" y="314801"/>
                    <a:pt x="4560094" y="321469"/>
                  </a:cubicBezTo>
                  <a:cubicBezTo>
                    <a:pt x="4560094" y="321469"/>
                    <a:pt x="4560094" y="321469"/>
                    <a:pt x="4560094" y="321469"/>
                  </a:cubicBezTo>
                  <a:cubicBezTo>
                    <a:pt x="4560094" y="328136"/>
                    <a:pt x="4559141" y="334804"/>
                    <a:pt x="4559141" y="342424"/>
                  </a:cubicBezTo>
                  <a:cubicBezTo>
                    <a:pt x="4558189" y="346234"/>
                    <a:pt x="4556284" y="349091"/>
                    <a:pt x="4555331" y="352901"/>
                  </a:cubicBezTo>
                  <a:cubicBezTo>
                    <a:pt x="4554379" y="355759"/>
                    <a:pt x="4553426" y="358616"/>
                    <a:pt x="4552474" y="361474"/>
                  </a:cubicBezTo>
                  <a:cubicBezTo>
                    <a:pt x="4550569" y="354806"/>
                    <a:pt x="4549616" y="349091"/>
                    <a:pt x="4547712" y="343376"/>
                  </a:cubicBezTo>
                  <a:cubicBezTo>
                    <a:pt x="4547712" y="333851"/>
                    <a:pt x="4547712" y="328136"/>
                    <a:pt x="4547712" y="328136"/>
                  </a:cubicBezTo>
                  <a:cubicBezTo>
                    <a:pt x="4547712" y="328136"/>
                    <a:pt x="4546759" y="331946"/>
                    <a:pt x="4545806" y="338614"/>
                  </a:cubicBezTo>
                  <a:cubicBezTo>
                    <a:pt x="4545806" y="338614"/>
                    <a:pt x="4545806" y="337661"/>
                    <a:pt x="4545806" y="337661"/>
                  </a:cubicBezTo>
                  <a:cubicBezTo>
                    <a:pt x="4545806" y="336709"/>
                    <a:pt x="4545806" y="336709"/>
                    <a:pt x="4544854" y="335756"/>
                  </a:cubicBezTo>
                  <a:cubicBezTo>
                    <a:pt x="4546759" y="329089"/>
                    <a:pt x="4547712" y="323374"/>
                    <a:pt x="4548664" y="317659"/>
                  </a:cubicBezTo>
                  <a:close/>
                  <a:moveTo>
                    <a:pt x="4457224" y="306229"/>
                  </a:moveTo>
                  <a:cubicBezTo>
                    <a:pt x="4457224" y="306229"/>
                    <a:pt x="4456272" y="306229"/>
                    <a:pt x="4457224" y="306229"/>
                  </a:cubicBezTo>
                  <a:cubicBezTo>
                    <a:pt x="4457224" y="305276"/>
                    <a:pt x="4457224" y="305276"/>
                    <a:pt x="4457224" y="304324"/>
                  </a:cubicBezTo>
                  <a:cubicBezTo>
                    <a:pt x="4457224" y="305276"/>
                    <a:pt x="4457224" y="306229"/>
                    <a:pt x="4457224" y="306229"/>
                  </a:cubicBezTo>
                  <a:close/>
                  <a:moveTo>
                    <a:pt x="4478179" y="359569"/>
                  </a:moveTo>
                  <a:cubicBezTo>
                    <a:pt x="4477226" y="352901"/>
                    <a:pt x="4476274" y="346234"/>
                    <a:pt x="4476274" y="339566"/>
                  </a:cubicBezTo>
                  <a:cubicBezTo>
                    <a:pt x="4476274" y="338614"/>
                    <a:pt x="4476274" y="337661"/>
                    <a:pt x="4476274" y="336709"/>
                  </a:cubicBezTo>
                  <a:cubicBezTo>
                    <a:pt x="4479131" y="340519"/>
                    <a:pt x="4481037" y="343376"/>
                    <a:pt x="4483894" y="347186"/>
                  </a:cubicBezTo>
                  <a:cubicBezTo>
                    <a:pt x="4481037" y="350996"/>
                    <a:pt x="4480084" y="355759"/>
                    <a:pt x="4478179" y="359569"/>
                  </a:cubicBezTo>
                  <a:close/>
                  <a:moveTo>
                    <a:pt x="4497229" y="371951"/>
                  </a:moveTo>
                  <a:cubicBezTo>
                    <a:pt x="4497229" y="370046"/>
                    <a:pt x="4497229" y="369094"/>
                    <a:pt x="4497229" y="367189"/>
                  </a:cubicBezTo>
                  <a:cubicBezTo>
                    <a:pt x="4497229" y="368141"/>
                    <a:pt x="4497229" y="369094"/>
                    <a:pt x="4498181" y="370046"/>
                  </a:cubicBezTo>
                  <a:cubicBezTo>
                    <a:pt x="4497229" y="370999"/>
                    <a:pt x="4497229" y="370999"/>
                    <a:pt x="4497229" y="371951"/>
                  </a:cubicBezTo>
                  <a:close/>
                  <a:moveTo>
                    <a:pt x="4504849" y="322421"/>
                  </a:moveTo>
                  <a:cubicBezTo>
                    <a:pt x="4504849" y="325279"/>
                    <a:pt x="4504849" y="328136"/>
                    <a:pt x="4504849" y="330994"/>
                  </a:cubicBezTo>
                  <a:cubicBezTo>
                    <a:pt x="4503897" y="333851"/>
                    <a:pt x="4502944" y="337661"/>
                    <a:pt x="4501991" y="341471"/>
                  </a:cubicBezTo>
                  <a:cubicBezTo>
                    <a:pt x="4501991" y="343376"/>
                    <a:pt x="4501039" y="346234"/>
                    <a:pt x="4501039" y="348139"/>
                  </a:cubicBezTo>
                  <a:cubicBezTo>
                    <a:pt x="4500087" y="347186"/>
                    <a:pt x="4499134" y="346234"/>
                    <a:pt x="4499134" y="345281"/>
                  </a:cubicBezTo>
                  <a:cubicBezTo>
                    <a:pt x="4499134" y="344329"/>
                    <a:pt x="4498181" y="343376"/>
                    <a:pt x="4498181" y="342424"/>
                  </a:cubicBezTo>
                  <a:cubicBezTo>
                    <a:pt x="4499134" y="336709"/>
                    <a:pt x="4501039" y="330994"/>
                    <a:pt x="4501991" y="326231"/>
                  </a:cubicBezTo>
                  <a:cubicBezTo>
                    <a:pt x="4502944" y="320516"/>
                    <a:pt x="4504849" y="315754"/>
                    <a:pt x="4506754" y="310991"/>
                  </a:cubicBezTo>
                  <a:cubicBezTo>
                    <a:pt x="4505801" y="314801"/>
                    <a:pt x="4505801" y="318611"/>
                    <a:pt x="4504849" y="322421"/>
                  </a:cubicBezTo>
                  <a:close/>
                  <a:moveTo>
                    <a:pt x="4462939" y="250984"/>
                  </a:moveTo>
                  <a:cubicBezTo>
                    <a:pt x="4465797" y="242411"/>
                    <a:pt x="4468654" y="233839"/>
                    <a:pt x="4470559" y="226219"/>
                  </a:cubicBezTo>
                  <a:cubicBezTo>
                    <a:pt x="4470559" y="227171"/>
                    <a:pt x="4472464" y="229076"/>
                    <a:pt x="4474369" y="231934"/>
                  </a:cubicBezTo>
                  <a:cubicBezTo>
                    <a:pt x="4475322" y="233839"/>
                    <a:pt x="4477226" y="235744"/>
                    <a:pt x="4479131" y="238601"/>
                  </a:cubicBezTo>
                  <a:cubicBezTo>
                    <a:pt x="4481037" y="241459"/>
                    <a:pt x="4481989" y="245269"/>
                    <a:pt x="4483894" y="248126"/>
                  </a:cubicBezTo>
                  <a:cubicBezTo>
                    <a:pt x="4485799" y="251936"/>
                    <a:pt x="4487704" y="255746"/>
                    <a:pt x="4489609" y="260509"/>
                  </a:cubicBezTo>
                  <a:cubicBezTo>
                    <a:pt x="4491514" y="265271"/>
                    <a:pt x="4493419" y="270034"/>
                    <a:pt x="4495324" y="275749"/>
                  </a:cubicBezTo>
                  <a:cubicBezTo>
                    <a:pt x="4497229" y="281464"/>
                    <a:pt x="4499134" y="287179"/>
                    <a:pt x="4501039" y="293846"/>
                  </a:cubicBezTo>
                  <a:cubicBezTo>
                    <a:pt x="4501991" y="296704"/>
                    <a:pt x="4502944" y="299561"/>
                    <a:pt x="4503897" y="303371"/>
                  </a:cubicBezTo>
                  <a:cubicBezTo>
                    <a:pt x="4501991" y="308134"/>
                    <a:pt x="4499134" y="312896"/>
                    <a:pt x="4497229" y="317659"/>
                  </a:cubicBezTo>
                  <a:cubicBezTo>
                    <a:pt x="4496276" y="320516"/>
                    <a:pt x="4494372" y="323374"/>
                    <a:pt x="4493419" y="326231"/>
                  </a:cubicBezTo>
                  <a:cubicBezTo>
                    <a:pt x="4490562" y="297656"/>
                    <a:pt x="4488656" y="280511"/>
                    <a:pt x="4488656" y="280511"/>
                  </a:cubicBezTo>
                  <a:cubicBezTo>
                    <a:pt x="4488656" y="280511"/>
                    <a:pt x="4487704" y="294799"/>
                    <a:pt x="4487704" y="319564"/>
                  </a:cubicBezTo>
                  <a:cubicBezTo>
                    <a:pt x="4486751" y="316706"/>
                    <a:pt x="4484847" y="313849"/>
                    <a:pt x="4483894" y="311944"/>
                  </a:cubicBezTo>
                  <a:cubicBezTo>
                    <a:pt x="4477226" y="297656"/>
                    <a:pt x="4473416" y="289084"/>
                    <a:pt x="4473416" y="289084"/>
                  </a:cubicBezTo>
                  <a:cubicBezTo>
                    <a:pt x="4473416" y="289084"/>
                    <a:pt x="4476274" y="297656"/>
                    <a:pt x="4481037" y="312896"/>
                  </a:cubicBezTo>
                  <a:cubicBezTo>
                    <a:pt x="4482941" y="317659"/>
                    <a:pt x="4484847" y="323374"/>
                    <a:pt x="4486751" y="330041"/>
                  </a:cubicBezTo>
                  <a:cubicBezTo>
                    <a:pt x="4485799" y="329089"/>
                    <a:pt x="4485799" y="328136"/>
                    <a:pt x="4484847" y="328136"/>
                  </a:cubicBezTo>
                  <a:cubicBezTo>
                    <a:pt x="4481037" y="324326"/>
                    <a:pt x="4478179" y="321469"/>
                    <a:pt x="4475322" y="318611"/>
                  </a:cubicBezTo>
                  <a:cubicBezTo>
                    <a:pt x="4474369" y="313849"/>
                    <a:pt x="4473416" y="309086"/>
                    <a:pt x="4473416" y="304324"/>
                  </a:cubicBezTo>
                  <a:cubicBezTo>
                    <a:pt x="4471512" y="294799"/>
                    <a:pt x="4470559" y="286226"/>
                    <a:pt x="4468654" y="278606"/>
                  </a:cubicBezTo>
                  <a:cubicBezTo>
                    <a:pt x="4474369" y="264319"/>
                    <a:pt x="4477226" y="256699"/>
                    <a:pt x="4477226" y="256699"/>
                  </a:cubicBezTo>
                  <a:cubicBezTo>
                    <a:pt x="4477226" y="256699"/>
                    <a:pt x="4473416" y="262414"/>
                    <a:pt x="4466749" y="273844"/>
                  </a:cubicBezTo>
                  <a:cubicBezTo>
                    <a:pt x="4465797" y="268129"/>
                    <a:pt x="4464844" y="263366"/>
                    <a:pt x="4462939" y="258604"/>
                  </a:cubicBezTo>
                  <a:cubicBezTo>
                    <a:pt x="4462939" y="257651"/>
                    <a:pt x="4462939" y="256699"/>
                    <a:pt x="4462939" y="256699"/>
                  </a:cubicBezTo>
                  <a:cubicBezTo>
                    <a:pt x="4461987" y="253841"/>
                    <a:pt x="4461987" y="252889"/>
                    <a:pt x="4462939" y="250984"/>
                  </a:cubicBezTo>
                  <a:close/>
                  <a:moveTo>
                    <a:pt x="4461034" y="255746"/>
                  </a:moveTo>
                  <a:cubicBezTo>
                    <a:pt x="4461034" y="255746"/>
                    <a:pt x="4461034" y="256699"/>
                    <a:pt x="4461034" y="255746"/>
                  </a:cubicBezTo>
                  <a:cubicBezTo>
                    <a:pt x="4461034" y="256699"/>
                    <a:pt x="4461034" y="256699"/>
                    <a:pt x="4461034" y="255746"/>
                  </a:cubicBezTo>
                  <a:cubicBezTo>
                    <a:pt x="4461034" y="255746"/>
                    <a:pt x="4461034" y="255746"/>
                    <a:pt x="4461034" y="255746"/>
                  </a:cubicBezTo>
                  <a:close/>
                  <a:moveTo>
                    <a:pt x="4455319" y="274796"/>
                  </a:moveTo>
                  <a:cubicBezTo>
                    <a:pt x="4456272" y="272891"/>
                    <a:pt x="4457224" y="270034"/>
                    <a:pt x="4457224" y="268129"/>
                  </a:cubicBezTo>
                  <a:cubicBezTo>
                    <a:pt x="4457224" y="270034"/>
                    <a:pt x="4457224" y="271939"/>
                    <a:pt x="4457224" y="273844"/>
                  </a:cubicBezTo>
                  <a:cubicBezTo>
                    <a:pt x="4457224" y="277654"/>
                    <a:pt x="4457224" y="280511"/>
                    <a:pt x="4458176" y="284321"/>
                  </a:cubicBezTo>
                  <a:cubicBezTo>
                    <a:pt x="4457224" y="287179"/>
                    <a:pt x="4455319" y="290036"/>
                    <a:pt x="4454366" y="292894"/>
                  </a:cubicBezTo>
                  <a:cubicBezTo>
                    <a:pt x="4454366" y="287179"/>
                    <a:pt x="4454366" y="280511"/>
                    <a:pt x="4455319" y="274796"/>
                  </a:cubicBezTo>
                  <a:close/>
                  <a:moveTo>
                    <a:pt x="4449604" y="361474"/>
                  </a:moveTo>
                  <a:cubicBezTo>
                    <a:pt x="4450556" y="353854"/>
                    <a:pt x="4450556" y="346234"/>
                    <a:pt x="4451509" y="339566"/>
                  </a:cubicBezTo>
                  <a:cubicBezTo>
                    <a:pt x="4452462" y="340519"/>
                    <a:pt x="4452462" y="342424"/>
                    <a:pt x="4453414" y="343376"/>
                  </a:cubicBezTo>
                  <a:cubicBezTo>
                    <a:pt x="4453414" y="343376"/>
                    <a:pt x="4453414" y="343376"/>
                    <a:pt x="4453414" y="344329"/>
                  </a:cubicBezTo>
                  <a:cubicBezTo>
                    <a:pt x="4453414" y="344329"/>
                    <a:pt x="4453414" y="344329"/>
                    <a:pt x="4453414" y="344329"/>
                  </a:cubicBezTo>
                  <a:cubicBezTo>
                    <a:pt x="4452462" y="350996"/>
                    <a:pt x="4451509" y="358616"/>
                    <a:pt x="4451509" y="366236"/>
                  </a:cubicBezTo>
                  <a:cubicBezTo>
                    <a:pt x="4450556" y="372904"/>
                    <a:pt x="4449604" y="380524"/>
                    <a:pt x="4448651" y="388144"/>
                  </a:cubicBezTo>
                  <a:cubicBezTo>
                    <a:pt x="4447699" y="387191"/>
                    <a:pt x="4447699" y="387191"/>
                    <a:pt x="4446747" y="386239"/>
                  </a:cubicBezTo>
                  <a:cubicBezTo>
                    <a:pt x="4447699" y="377666"/>
                    <a:pt x="4448651" y="370046"/>
                    <a:pt x="4449604" y="361474"/>
                  </a:cubicBezTo>
                  <a:close/>
                  <a:moveTo>
                    <a:pt x="4386739" y="331946"/>
                  </a:moveTo>
                  <a:cubicBezTo>
                    <a:pt x="4387691" y="332899"/>
                    <a:pt x="4388644" y="334804"/>
                    <a:pt x="4390549" y="335756"/>
                  </a:cubicBezTo>
                  <a:cubicBezTo>
                    <a:pt x="4390549" y="337661"/>
                    <a:pt x="4390549" y="339566"/>
                    <a:pt x="4390549" y="342424"/>
                  </a:cubicBezTo>
                  <a:cubicBezTo>
                    <a:pt x="4389597" y="343376"/>
                    <a:pt x="4388644" y="345281"/>
                    <a:pt x="4386739" y="347186"/>
                  </a:cubicBezTo>
                  <a:cubicBezTo>
                    <a:pt x="4386739" y="341471"/>
                    <a:pt x="4386739" y="336709"/>
                    <a:pt x="4386739" y="331946"/>
                  </a:cubicBezTo>
                  <a:close/>
                  <a:moveTo>
                    <a:pt x="4389597" y="376714"/>
                  </a:moveTo>
                  <a:cubicBezTo>
                    <a:pt x="4389597" y="376714"/>
                    <a:pt x="4389597" y="375761"/>
                    <a:pt x="4388644" y="375761"/>
                  </a:cubicBezTo>
                  <a:cubicBezTo>
                    <a:pt x="4388644" y="373856"/>
                    <a:pt x="4387691" y="371951"/>
                    <a:pt x="4387691" y="370046"/>
                  </a:cubicBezTo>
                  <a:cubicBezTo>
                    <a:pt x="4387691" y="367189"/>
                    <a:pt x="4387691" y="363379"/>
                    <a:pt x="4387691" y="360521"/>
                  </a:cubicBezTo>
                  <a:cubicBezTo>
                    <a:pt x="4387691" y="357664"/>
                    <a:pt x="4387691" y="354806"/>
                    <a:pt x="4387691" y="351949"/>
                  </a:cubicBezTo>
                  <a:cubicBezTo>
                    <a:pt x="4388644" y="349091"/>
                    <a:pt x="4390549" y="347186"/>
                    <a:pt x="4391501" y="345281"/>
                  </a:cubicBezTo>
                  <a:cubicBezTo>
                    <a:pt x="4391501" y="346234"/>
                    <a:pt x="4391501" y="348139"/>
                    <a:pt x="4391501" y="349091"/>
                  </a:cubicBezTo>
                  <a:cubicBezTo>
                    <a:pt x="4391501" y="355759"/>
                    <a:pt x="4392454" y="362426"/>
                    <a:pt x="4392454" y="370046"/>
                  </a:cubicBezTo>
                  <a:cubicBezTo>
                    <a:pt x="4390549" y="371951"/>
                    <a:pt x="4389597" y="374809"/>
                    <a:pt x="4389597" y="376714"/>
                  </a:cubicBezTo>
                  <a:close/>
                  <a:moveTo>
                    <a:pt x="4424839" y="351949"/>
                  </a:moveTo>
                  <a:cubicBezTo>
                    <a:pt x="4424839" y="352901"/>
                    <a:pt x="4424839" y="353854"/>
                    <a:pt x="4424839" y="354806"/>
                  </a:cubicBezTo>
                  <a:cubicBezTo>
                    <a:pt x="4423887" y="355759"/>
                    <a:pt x="4423887" y="356711"/>
                    <a:pt x="4422934" y="356711"/>
                  </a:cubicBezTo>
                  <a:cubicBezTo>
                    <a:pt x="4422934" y="354806"/>
                    <a:pt x="4423887" y="353854"/>
                    <a:pt x="4424839" y="351949"/>
                  </a:cubicBezTo>
                  <a:close/>
                  <a:moveTo>
                    <a:pt x="4415314" y="411004"/>
                  </a:moveTo>
                  <a:cubicBezTo>
                    <a:pt x="4415314" y="411004"/>
                    <a:pt x="4415314" y="411956"/>
                    <a:pt x="4415314" y="411956"/>
                  </a:cubicBezTo>
                  <a:cubicBezTo>
                    <a:pt x="4414362" y="411004"/>
                    <a:pt x="4413409" y="410051"/>
                    <a:pt x="4412456" y="409099"/>
                  </a:cubicBezTo>
                  <a:cubicBezTo>
                    <a:pt x="4412456" y="401479"/>
                    <a:pt x="4412456" y="392906"/>
                    <a:pt x="4411504" y="385286"/>
                  </a:cubicBezTo>
                  <a:cubicBezTo>
                    <a:pt x="4414362" y="380524"/>
                    <a:pt x="4417219" y="376714"/>
                    <a:pt x="4420076" y="372904"/>
                  </a:cubicBezTo>
                  <a:cubicBezTo>
                    <a:pt x="4420076" y="373856"/>
                    <a:pt x="4421029" y="373856"/>
                    <a:pt x="4421029" y="374809"/>
                  </a:cubicBezTo>
                  <a:cubicBezTo>
                    <a:pt x="4419124" y="386239"/>
                    <a:pt x="4417219" y="397669"/>
                    <a:pt x="4415314" y="411004"/>
                  </a:cubicBezTo>
                  <a:close/>
                  <a:moveTo>
                    <a:pt x="4410551" y="254794"/>
                  </a:moveTo>
                  <a:cubicBezTo>
                    <a:pt x="4413409" y="260509"/>
                    <a:pt x="4417219" y="267176"/>
                    <a:pt x="4421029" y="273844"/>
                  </a:cubicBezTo>
                  <a:cubicBezTo>
                    <a:pt x="4419124" y="280511"/>
                    <a:pt x="4417219" y="287179"/>
                    <a:pt x="4415314" y="293846"/>
                  </a:cubicBezTo>
                  <a:cubicBezTo>
                    <a:pt x="4413409" y="301466"/>
                    <a:pt x="4410551" y="309086"/>
                    <a:pt x="4408647" y="316706"/>
                  </a:cubicBezTo>
                  <a:cubicBezTo>
                    <a:pt x="4407694" y="305276"/>
                    <a:pt x="4406741" y="297656"/>
                    <a:pt x="4406741" y="297656"/>
                  </a:cubicBezTo>
                  <a:cubicBezTo>
                    <a:pt x="4406741" y="297656"/>
                    <a:pt x="4404837" y="310991"/>
                    <a:pt x="4402931" y="331946"/>
                  </a:cubicBezTo>
                  <a:cubicBezTo>
                    <a:pt x="4402931" y="333851"/>
                    <a:pt x="4401979" y="335756"/>
                    <a:pt x="4401026" y="337661"/>
                  </a:cubicBezTo>
                  <a:cubicBezTo>
                    <a:pt x="4401026" y="337661"/>
                    <a:pt x="4400074" y="336709"/>
                    <a:pt x="4400074" y="336709"/>
                  </a:cubicBezTo>
                  <a:cubicBezTo>
                    <a:pt x="4393406" y="295751"/>
                    <a:pt x="4388644" y="270034"/>
                    <a:pt x="4388644" y="270034"/>
                  </a:cubicBezTo>
                  <a:cubicBezTo>
                    <a:pt x="4388644" y="270034"/>
                    <a:pt x="4388644" y="292894"/>
                    <a:pt x="4389597" y="328136"/>
                  </a:cubicBezTo>
                  <a:cubicBezTo>
                    <a:pt x="4388644" y="327184"/>
                    <a:pt x="4387691" y="326231"/>
                    <a:pt x="4386739" y="325279"/>
                  </a:cubicBezTo>
                  <a:cubicBezTo>
                    <a:pt x="4386739" y="324326"/>
                    <a:pt x="4386739" y="324326"/>
                    <a:pt x="4386739" y="323374"/>
                  </a:cubicBezTo>
                  <a:cubicBezTo>
                    <a:pt x="4387691" y="311944"/>
                    <a:pt x="4386739" y="300514"/>
                    <a:pt x="4387691" y="290989"/>
                  </a:cubicBezTo>
                  <a:cubicBezTo>
                    <a:pt x="4388644" y="280511"/>
                    <a:pt x="4388644" y="271939"/>
                    <a:pt x="4389597" y="263366"/>
                  </a:cubicBezTo>
                  <a:cubicBezTo>
                    <a:pt x="4390549" y="254794"/>
                    <a:pt x="4390549" y="248126"/>
                    <a:pt x="4391501" y="242411"/>
                  </a:cubicBezTo>
                  <a:cubicBezTo>
                    <a:pt x="4392454" y="233839"/>
                    <a:pt x="4393406" y="228124"/>
                    <a:pt x="4393406" y="225266"/>
                  </a:cubicBezTo>
                  <a:cubicBezTo>
                    <a:pt x="4399122" y="232886"/>
                    <a:pt x="4403884" y="243364"/>
                    <a:pt x="4410551" y="254794"/>
                  </a:cubicBezTo>
                  <a:close/>
                  <a:moveTo>
                    <a:pt x="4389597" y="217646"/>
                  </a:moveTo>
                  <a:cubicBezTo>
                    <a:pt x="4390549" y="219551"/>
                    <a:pt x="4392454" y="221456"/>
                    <a:pt x="4393406" y="224314"/>
                  </a:cubicBezTo>
                  <a:cubicBezTo>
                    <a:pt x="4392454" y="227171"/>
                    <a:pt x="4390549" y="232886"/>
                    <a:pt x="4387691" y="240506"/>
                  </a:cubicBezTo>
                  <a:cubicBezTo>
                    <a:pt x="4385787" y="246221"/>
                    <a:pt x="4383881" y="252889"/>
                    <a:pt x="4381976" y="260509"/>
                  </a:cubicBezTo>
                  <a:cubicBezTo>
                    <a:pt x="4381976" y="259556"/>
                    <a:pt x="4381976" y="257651"/>
                    <a:pt x="4381976" y="256699"/>
                  </a:cubicBezTo>
                  <a:cubicBezTo>
                    <a:pt x="4384834" y="242411"/>
                    <a:pt x="4386739" y="229076"/>
                    <a:pt x="4389597" y="217646"/>
                  </a:cubicBezTo>
                  <a:close/>
                  <a:moveTo>
                    <a:pt x="4374356" y="291941"/>
                  </a:moveTo>
                  <a:cubicBezTo>
                    <a:pt x="4374356" y="291941"/>
                    <a:pt x="4374356" y="292894"/>
                    <a:pt x="4374356" y="292894"/>
                  </a:cubicBezTo>
                  <a:cubicBezTo>
                    <a:pt x="4374356" y="292894"/>
                    <a:pt x="4374356" y="292894"/>
                    <a:pt x="4374356" y="291941"/>
                  </a:cubicBezTo>
                  <a:cubicBezTo>
                    <a:pt x="4374356" y="291941"/>
                    <a:pt x="4374356" y="291941"/>
                    <a:pt x="4374356" y="291941"/>
                  </a:cubicBezTo>
                  <a:close/>
                  <a:moveTo>
                    <a:pt x="4360069" y="282416"/>
                  </a:moveTo>
                  <a:cubicBezTo>
                    <a:pt x="4360069" y="284321"/>
                    <a:pt x="4360069" y="287179"/>
                    <a:pt x="4360069" y="290036"/>
                  </a:cubicBezTo>
                  <a:cubicBezTo>
                    <a:pt x="4360069" y="289084"/>
                    <a:pt x="4359116" y="288131"/>
                    <a:pt x="4359116" y="288131"/>
                  </a:cubicBezTo>
                  <a:cubicBezTo>
                    <a:pt x="4359116" y="285274"/>
                    <a:pt x="4359116" y="283369"/>
                    <a:pt x="4360069" y="282416"/>
                  </a:cubicBezTo>
                  <a:close/>
                  <a:moveTo>
                    <a:pt x="4313397" y="387191"/>
                  </a:moveTo>
                  <a:cubicBezTo>
                    <a:pt x="4312444" y="388144"/>
                    <a:pt x="4312444" y="390049"/>
                    <a:pt x="4311491" y="391001"/>
                  </a:cubicBezTo>
                  <a:cubicBezTo>
                    <a:pt x="4312444" y="389096"/>
                    <a:pt x="4312444" y="388144"/>
                    <a:pt x="4313397" y="387191"/>
                  </a:cubicBezTo>
                  <a:cubicBezTo>
                    <a:pt x="4313397" y="386239"/>
                    <a:pt x="4313397" y="387191"/>
                    <a:pt x="4313397" y="387191"/>
                  </a:cubicBezTo>
                  <a:close/>
                  <a:moveTo>
                    <a:pt x="4311491" y="351949"/>
                  </a:moveTo>
                  <a:cubicBezTo>
                    <a:pt x="4311491" y="356711"/>
                    <a:pt x="4312444" y="360521"/>
                    <a:pt x="4312444" y="365284"/>
                  </a:cubicBezTo>
                  <a:cubicBezTo>
                    <a:pt x="4311491" y="364331"/>
                    <a:pt x="4311491" y="364331"/>
                    <a:pt x="4311491" y="363379"/>
                  </a:cubicBezTo>
                  <a:cubicBezTo>
                    <a:pt x="4311491" y="358616"/>
                    <a:pt x="4311491" y="355759"/>
                    <a:pt x="4311491" y="351949"/>
                  </a:cubicBezTo>
                  <a:close/>
                  <a:moveTo>
                    <a:pt x="4247674" y="313849"/>
                  </a:moveTo>
                  <a:cubicBezTo>
                    <a:pt x="4247674" y="312896"/>
                    <a:pt x="4247674" y="312896"/>
                    <a:pt x="4247674" y="311944"/>
                  </a:cubicBezTo>
                  <a:cubicBezTo>
                    <a:pt x="4247674" y="312896"/>
                    <a:pt x="4247674" y="312896"/>
                    <a:pt x="4247674" y="313849"/>
                  </a:cubicBezTo>
                  <a:cubicBezTo>
                    <a:pt x="4247674" y="317659"/>
                    <a:pt x="4247674" y="320516"/>
                    <a:pt x="4246722" y="324326"/>
                  </a:cubicBezTo>
                  <a:cubicBezTo>
                    <a:pt x="4246722" y="323374"/>
                    <a:pt x="4246722" y="322421"/>
                    <a:pt x="4246722" y="322421"/>
                  </a:cubicBezTo>
                  <a:cubicBezTo>
                    <a:pt x="4246722" y="318611"/>
                    <a:pt x="4247674" y="315754"/>
                    <a:pt x="4247674" y="313849"/>
                  </a:cubicBezTo>
                  <a:close/>
                  <a:moveTo>
                    <a:pt x="4181951" y="367189"/>
                  </a:moveTo>
                  <a:cubicBezTo>
                    <a:pt x="4181951" y="351949"/>
                    <a:pt x="4182904" y="337661"/>
                    <a:pt x="4182904" y="324326"/>
                  </a:cubicBezTo>
                  <a:cubicBezTo>
                    <a:pt x="4182904" y="326231"/>
                    <a:pt x="4183856" y="328136"/>
                    <a:pt x="4183856" y="330041"/>
                  </a:cubicBezTo>
                  <a:cubicBezTo>
                    <a:pt x="4184809" y="333851"/>
                    <a:pt x="4185761" y="336709"/>
                    <a:pt x="4185761" y="340519"/>
                  </a:cubicBezTo>
                  <a:cubicBezTo>
                    <a:pt x="4185761" y="341471"/>
                    <a:pt x="4185761" y="342424"/>
                    <a:pt x="4185761" y="342424"/>
                  </a:cubicBezTo>
                  <a:cubicBezTo>
                    <a:pt x="4184809" y="339566"/>
                    <a:pt x="4183856" y="338614"/>
                    <a:pt x="4183856" y="338614"/>
                  </a:cubicBezTo>
                  <a:cubicBezTo>
                    <a:pt x="4183856" y="338614"/>
                    <a:pt x="4184809" y="345281"/>
                    <a:pt x="4187666" y="357664"/>
                  </a:cubicBezTo>
                  <a:cubicBezTo>
                    <a:pt x="4187666" y="360521"/>
                    <a:pt x="4188619" y="362426"/>
                    <a:pt x="4189571" y="365284"/>
                  </a:cubicBezTo>
                  <a:cubicBezTo>
                    <a:pt x="4189571" y="368141"/>
                    <a:pt x="4190524" y="370999"/>
                    <a:pt x="4191476" y="373856"/>
                  </a:cubicBezTo>
                  <a:cubicBezTo>
                    <a:pt x="4191476" y="377666"/>
                    <a:pt x="4190524" y="382429"/>
                    <a:pt x="4190524" y="386239"/>
                  </a:cubicBezTo>
                  <a:cubicBezTo>
                    <a:pt x="4190524" y="388144"/>
                    <a:pt x="4190524" y="390049"/>
                    <a:pt x="4190524" y="391954"/>
                  </a:cubicBezTo>
                  <a:cubicBezTo>
                    <a:pt x="4187666" y="383381"/>
                    <a:pt x="4184809" y="374809"/>
                    <a:pt x="4181951" y="367189"/>
                  </a:cubicBezTo>
                  <a:cubicBezTo>
                    <a:pt x="4181951" y="369094"/>
                    <a:pt x="4181951" y="368141"/>
                    <a:pt x="4181951" y="367189"/>
                  </a:cubicBezTo>
                  <a:close/>
                  <a:moveTo>
                    <a:pt x="4161949" y="401479"/>
                  </a:moveTo>
                  <a:cubicBezTo>
                    <a:pt x="4161949" y="400526"/>
                    <a:pt x="4161949" y="400526"/>
                    <a:pt x="4161949" y="399574"/>
                  </a:cubicBezTo>
                  <a:cubicBezTo>
                    <a:pt x="4161949" y="399574"/>
                    <a:pt x="4161949" y="399574"/>
                    <a:pt x="4161949" y="399574"/>
                  </a:cubicBezTo>
                  <a:cubicBezTo>
                    <a:pt x="4161949" y="400526"/>
                    <a:pt x="4161949" y="401479"/>
                    <a:pt x="4161949" y="401479"/>
                  </a:cubicBezTo>
                  <a:close/>
                  <a:moveTo>
                    <a:pt x="4160044" y="306229"/>
                  </a:moveTo>
                  <a:cubicBezTo>
                    <a:pt x="4160044" y="299561"/>
                    <a:pt x="4160996" y="295751"/>
                    <a:pt x="4160996" y="292894"/>
                  </a:cubicBezTo>
                  <a:cubicBezTo>
                    <a:pt x="4161949" y="289084"/>
                    <a:pt x="4162901" y="286226"/>
                    <a:pt x="4163854" y="282416"/>
                  </a:cubicBezTo>
                  <a:cubicBezTo>
                    <a:pt x="4163854" y="292894"/>
                    <a:pt x="4162901" y="303371"/>
                    <a:pt x="4162901" y="313849"/>
                  </a:cubicBezTo>
                  <a:cubicBezTo>
                    <a:pt x="4161949" y="310991"/>
                    <a:pt x="4160996" y="309086"/>
                    <a:pt x="4160044" y="306229"/>
                  </a:cubicBezTo>
                  <a:cubicBezTo>
                    <a:pt x="4160044" y="306229"/>
                    <a:pt x="4160044" y="306229"/>
                    <a:pt x="4160044" y="306229"/>
                  </a:cubicBezTo>
                  <a:close/>
                  <a:moveTo>
                    <a:pt x="4128611" y="354806"/>
                  </a:moveTo>
                  <a:cubicBezTo>
                    <a:pt x="4128611" y="350996"/>
                    <a:pt x="4128611" y="347186"/>
                    <a:pt x="4127659" y="343376"/>
                  </a:cubicBezTo>
                  <a:cubicBezTo>
                    <a:pt x="4127659" y="345281"/>
                    <a:pt x="4127659" y="347186"/>
                    <a:pt x="4128611" y="350044"/>
                  </a:cubicBezTo>
                  <a:cubicBezTo>
                    <a:pt x="4129564" y="354806"/>
                    <a:pt x="4129564" y="360521"/>
                    <a:pt x="4130516" y="365284"/>
                  </a:cubicBezTo>
                  <a:cubicBezTo>
                    <a:pt x="4129564" y="361474"/>
                    <a:pt x="4129564" y="358616"/>
                    <a:pt x="4128611" y="354806"/>
                  </a:cubicBezTo>
                  <a:close/>
                  <a:moveTo>
                    <a:pt x="4124801" y="255746"/>
                  </a:moveTo>
                  <a:cubicBezTo>
                    <a:pt x="4124801" y="252889"/>
                    <a:pt x="4124801" y="250031"/>
                    <a:pt x="4124801" y="248126"/>
                  </a:cubicBezTo>
                  <a:cubicBezTo>
                    <a:pt x="4129564" y="265271"/>
                    <a:pt x="4134326" y="284321"/>
                    <a:pt x="4140041" y="303371"/>
                  </a:cubicBezTo>
                  <a:cubicBezTo>
                    <a:pt x="4140041" y="304324"/>
                    <a:pt x="4140994" y="306229"/>
                    <a:pt x="4140994" y="307181"/>
                  </a:cubicBezTo>
                  <a:cubicBezTo>
                    <a:pt x="4140994" y="311944"/>
                    <a:pt x="4140994" y="316706"/>
                    <a:pt x="4140994" y="321469"/>
                  </a:cubicBezTo>
                  <a:cubicBezTo>
                    <a:pt x="4136231" y="310991"/>
                    <a:pt x="4133374" y="305276"/>
                    <a:pt x="4133374" y="305276"/>
                  </a:cubicBezTo>
                  <a:cubicBezTo>
                    <a:pt x="4133374" y="305276"/>
                    <a:pt x="4134326" y="308134"/>
                    <a:pt x="4135279" y="312896"/>
                  </a:cubicBezTo>
                  <a:cubicBezTo>
                    <a:pt x="4132421" y="309086"/>
                    <a:pt x="4130516" y="304324"/>
                    <a:pt x="4127659" y="300514"/>
                  </a:cubicBezTo>
                  <a:cubicBezTo>
                    <a:pt x="4125754" y="293846"/>
                    <a:pt x="4124801" y="288131"/>
                    <a:pt x="4123849" y="284321"/>
                  </a:cubicBezTo>
                  <a:cubicBezTo>
                    <a:pt x="4124801" y="273844"/>
                    <a:pt x="4124801" y="264319"/>
                    <a:pt x="4124801" y="255746"/>
                  </a:cubicBezTo>
                  <a:close/>
                  <a:moveTo>
                    <a:pt x="4095274" y="395764"/>
                  </a:moveTo>
                  <a:cubicBezTo>
                    <a:pt x="4094321" y="395764"/>
                    <a:pt x="4094321" y="395764"/>
                    <a:pt x="4095274" y="395764"/>
                  </a:cubicBezTo>
                  <a:cubicBezTo>
                    <a:pt x="4095274" y="394811"/>
                    <a:pt x="4095274" y="394811"/>
                    <a:pt x="4095274" y="394811"/>
                  </a:cubicBezTo>
                  <a:cubicBezTo>
                    <a:pt x="4095274" y="394811"/>
                    <a:pt x="4095274" y="395764"/>
                    <a:pt x="4095274" y="395764"/>
                  </a:cubicBezTo>
                  <a:close/>
                  <a:moveTo>
                    <a:pt x="4093369" y="386239"/>
                  </a:moveTo>
                  <a:cubicBezTo>
                    <a:pt x="4093369" y="383381"/>
                    <a:pt x="4093369" y="379571"/>
                    <a:pt x="4093369" y="376714"/>
                  </a:cubicBezTo>
                  <a:cubicBezTo>
                    <a:pt x="4094321" y="378619"/>
                    <a:pt x="4095274" y="380524"/>
                    <a:pt x="4096226" y="382429"/>
                  </a:cubicBezTo>
                  <a:cubicBezTo>
                    <a:pt x="4094321" y="384334"/>
                    <a:pt x="4094321" y="385286"/>
                    <a:pt x="4093369" y="386239"/>
                  </a:cubicBezTo>
                  <a:close/>
                  <a:moveTo>
                    <a:pt x="4097179" y="342424"/>
                  </a:moveTo>
                  <a:cubicBezTo>
                    <a:pt x="4098131" y="339566"/>
                    <a:pt x="4098131" y="337661"/>
                    <a:pt x="4099084" y="334804"/>
                  </a:cubicBezTo>
                  <a:cubicBezTo>
                    <a:pt x="4099084" y="335756"/>
                    <a:pt x="4099084" y="336709"/>
                    <a:pt x="4099084" y="337661"/>
                  </a:cubicBezTo>
                  <a:cubicBezTo>
                    <a:pt x="4099084" y="339566"/>
                    <a:pt x="4098131" y="340519"/>
                    <a:pt x="4097179" y="342424"/>
                  </a:cubicBezTo>
                  <a:close/>
                  <a:moveTo>
                    <a:pt x="4100989" y="353854"/>
                  </a:moveTo>
                  <a:cubicBezTo>
                    <a:pt x="4100989" y="352901"/>
                    <a:pt x="4100989" y="351949"/>
                    <a:pt x="4100989" y="351949"/>
                  </a:cubicBezTo>
                  <a:cubicBezTo>
                    <a:pt x="4100989" y="351949"/>
                    <a:pt x="4100989" y="351949"/>
                    <a:pt x="4100989" y="351949"/>
                  </a:cubicBezTo>
                  <a:cubicBezTo>
                    <a:pt x="4100989" y="352901"/>
                    <a:pt x="4100989" y="353854"/>
                    <a:pt x="4100989" y="353854"/>
                  </a:cubicBezTo>
                  <a:cubicBezTo>
                    <a:pt x="4100989" y="354806"/>
                    <a:pt x="4100989" y="353854"/>
                    <a:pt x="4100989" y="353854"/>
                  </a:cubicBezTo>
                  <a:close/>
                  <a:moveTo>
                    <a:pt x="4115276" y="322421"/>
                  </a:moveTo>
                  <a:cubicBezTo>
                    <a:pt x="4115276" y="330994"/>
                    <a:pt x="4114324" y="341471"/>
                    <a:pt x="4114324" y="350996"/>
                  </a:cubicBezTo>
                  <a:cubicBezTo>
                    <a:pt x="4113371" y="336709"/>
                    <a:pt x="4111466" y="327184"/>
                    <a:pt x="4111466" y="327184"/>
                  </a:cubicBezTo>
                  <a:cubicBezTo>
                    <a:pt x="4111466" y="327184"/>
                    <a:pt x="4110514" y="332899"/>
                    <a:pt x="4108609" y="342424"/>
                  </a:cubicBezTo>
                  <a:cubicBezTo>
                    <a:pt x="4108609" y="342424"/>
                    <a:pt x="4107656" y="341471"/>
                    <a:pt x="4107656" y="341471"/>
                  </a:cubicBezTo>
                  <a:cubicBezTo>
                    <a:pt x="4107656" y="339566"/>
                    <a:pt x="4106704" y="338614"/>
                    <a:pt x="4106704" y="336709"/>
                  </a:cubicBezTo>
                  <a:cubicBezTo>
                    <a:pt x="4108609" y="330994"/>
                    <a:pt x="4111466" y="326231"/>
                    <a:pt x="4113371" y="322421"/>
                  </a:cubicBezTo>
                  <a:cubicBezTo>
                    <a:pt x="4114324" y="321469"/>
                    <a:pt x="4114324" y="319564"/>
                    <a:pt x="4115276" y="318611"/>
                  </a:cubicBezTo>
                  <a:cubicBezTo>
                    <a:pt x="4115276" y="319564"/>
                    <a:pt x="4115276" y="320516"/>
                    <a:pt x="4115276" y="322421"/>
                  </a:cubicBezTo>
                  <a:close/>
                  <a:moveTo>
                    <a:pt x="4109561" y="295751"/>
                  </a:moveTo>
                  <a:cubicBezTo>
                    <a:pt x="4111466" y="299561"/>
                    <a:pt x="4113371" y="303371"/>
                    <a:pt x="4116229" y="308134"/>
                  </a:cubicBezTo>
                  <a:cubicBezTo>
                    <a:pt x="4116229" y="309086"/>
                    <a:pt x="4116229" y="310991"/>
                    <a:pt x="4116229" y="311944"/>
                  </a:cubicBezTo>
                  <a:cubicBezTo>
                    <a:pt x="4114324" y="314801"/>
                    <a:pt x="4112419" y="316706"/>
                    <a:pt x="4110514" y="320516"/>
                  </a:cubicBezTo>
                  <a:cubicBezTo>
                    <a:pt x="4108609" y="323374"/>
                    <a:pt x="4106704" y="326231"/>
                    <a:pt x="4104799" y="329089"/>
                  </a:cubicBezTo>
                  <a:cubicBezTo>
                    <a:pt x="4103846" y="326231"/>
                    <a:pt x="4102894" y="324326"/>
                    <a:pt x="4102894" y="322421"/>
                  </a:cubicBezTo>
                  <a:cubicBezTo>
                    <a:pt x="4105751" y="311944"/>
                    <a:pt x="4107656" y="303371"/>
                    <a:pt x="4109561" y="295751"/>
                  </a:cubicBezTo>
                  <a:close/>
                  <a:moveTo>
                    <a:pt x="4092416" y="294799"/>
                  </a:moveTo>
                  <a:cubicBezTo>
                    <a:pt x="4093369" y="284321"/>
                    <a:pt x="4093369" y="274796"/>
                    <a:pt x="4094321" y="265271"/>
                  </a:cubicBezTo>
                  <a:cubicBezTo>
                    <a:pt x="4095274" y="268129"/>
                    <a:pt x="4096226" y="270034"/>
                    <a:pt x="4098131" y="272891"/>
                  </a:cubicBezTo>
                  <a:cubicBezTo>
                    <a:pt x="4100989" y="278606"/>
                    <a:pt x="4103846" y="284321"/>
                    <a:pt x="4106704" y="290989"/>
                  </a:cubicBezTo>
                  <a:cubicBezTo>
                    <a:pt x="4103846" y="296704"/>
                    <a:pt x="4101941" y="304324"/>
                    <a:pt x="4098131" y="311944"/>
                  </a:cubicBezTo>
                  <a:cubicBezTo>
                    <a:pt x="4097179" y="308134"/>
                    <a:pt x="4096226" y="306229"/>
                    <a:pt x="4096226" y="306229"/>
                  </a:cubicBezTo>
                  <a:cubicBezTo>
                    <a:pt x="4096226" y="306229"/>
                    <a:pt x="4096226" y="310039"/>
                    <a:pt x="4097179" y="315754"/>
                  </a:cubicBezTo>
                  <a:cubicBezTo>
                    <a:pt x="4095274" y="320516"/>
                    <a:pt x="4093369" y="324326"/>
                    <a:pt x="4092416" y="329089"/>
                  </a:cubicBezTo>
                  <a:cubicBezTo>
                    <a:pt x="4092416" y="328136"/>
                    <a:pt x="4091464" y="326231"/>
                    <a:pt x="4091464" y="325279"/>
                  </a:cubicBezTo>
                  <a:cubicBezTo>
                    <a:pt x="4091464" y="324326"/>
                    <a:pt x="4090511" y="323374"/>
                    <a:pt x="4090511" y="321469"/>
                  </a:cubicBezTo>
                  <a:cubicBezTo>
                    <a:pt x="4091464" y="311944"/>
                    <a:pt x="4092416" y="303371"/>
                    <a:pt x="4092416" y="294799"/>
                  </a:cubicBezTo>
                  <a:close/>
                  <a:moveTo>
                    <a:pt x="4085749" y="244316"/>
                  </a:moveTo>
                  <a:cubicBezTo>
                    <a:pt x="4085749" y="245269"/>
                    <a:pt x="4085749" y="245269"/>
                    <a:pt x="4085749" y="244316"/>
                  </a:cubicBezTo>
                  <a:cubicBezTo>
                    <a:pt x="4085749" y="247174"/>
                    <a:pt x="4085749" y="248126"/>
                    <a:pt x="4084796" y="250031"/>
                  </a:cubicBezTo>
                  <a:cubicBezTo>
                    <a:pt x="4084796" y="249079"/>
                    <a:pt x="4084796" y="246221"/>
                    <a:pt x="4085749" y="244316"/>
                  </a:cubicBezTo>
                  <a:close/>
                  <a:moveTo>
                    <a:pt x="4043839" y="279559"/>
                  </a:moveTo>
                  <a:cubicBezTo>
                    <a:pt x="4044791" y="280511"/>
                    <a:pt x="4044791" y="280511"/>
                    <a:pt x="4043839" y="279559"/>
                  </a:cubicBezTo>
                  <a:cubicBezTo>
                    <a:pt x="4044791" y="281464"/>
                    <a:pt x="4044791" y="282416"/>
                    <a:pt x="4044791" y="283369"/>
                  </a:cubicBezTo>
                  <a:cubicBezTo>
                    <a:pt x="4043839" y="282416"/>
                    <a:pt x="4043839" y="281464"/>
                    <a:pt x="4043839" y="281464"/>
                  </a:cubicBezTo>
                  <a:cubicBezTo>
                    <a:pt x="4043839" y="281464"/>
                    <a:pt x="4043839" y="283369"/>
                    <a:pt x="4044791" y="286226"/>
                  </a:cubicBezTo>
                  <a:cubicBezTo>
                    <a:pt x="4044791" y="287179"/>
                    <a:pt x="4044791" y="288131"/>
                    <a:pt x="4044791" y="290036"/>
                  </a:cubicBezTo>
                  <a:cubicBezTo>
                    <a:pt x="4043839" y="288131"/>
                    <a:pt x="4042886" y="286226"/>
                    <a:pt x="4042886" y="284321"/>
                  </a:cubicBezTo>
                  <a:cubicBezTo>
                    <a:pt x="4043839" y="282416"/>
                    <a:pt x="4043839" y="281464"/>
                    <a:pt x="4043839" y="279559"/>
                  </a:cubicBezTo>
                  <a:close/>
                  <a:moveTo>
                    <a:pt x="4044791" y="333851"/>
                  </a:moveTo>
                  <a:cubicBezTo>
                    <a:pt x="4044791" y="333851"/>
                    <a:pt x="4044791" y="333851"/>
                    <a:pt x="4044791" y="333851"/>
                  </a:cubicBezTo>
                  <a:cubicBezTo>
                    <a:pt x="4044791" y="335756"/>
                    <a:pt x="4044791" y="337661"/>
                    <a:pt x="4044791" y="339566"/>
                  </a:cubicBezTo>
                  <a:cubicBezTo>
                    <a:pt x="4043839" y="338614"/>
                    <a:pt x="4043839" y="338614"/>
                    <a:pt x="4042886" y="337661"/>
                  </a:cubicBezTo>
                  <a:cubicBezTo>
                    <a:pt x="4042886" y="335756"/>
                    <a:pt x="4043839" y="334804"/>
                    <a:pt x="4044791" y="333851"/>
                  </a:cubicBezTo>
                  <a:close/>
                  <a:moveTo>
                    <a:pt x="4039076" y="271939"/>
                  </a:moveTo>
                  <a:cubicBezTo>
                    <a:pt x="4039076" y="272891"/>
                    <a:pt x="4039076" y="272891"/>
                    <a:pt x="4039076" y="273844"/>
                  </a:cubicBezTo>
                  <a:cubicBezTo>
                    <a:pt x="4039076" y="272891"/>
                    <a:pt x="4038124" y="271939"/>
                    <a:pt x="4038124" y="270034"/>
                  </a:cubicBezTo>
                  <a:cubicBezTo>
                    <a:pt x="4037171" y="268129"/>
                    <a:pt x="4037171" y="267176"/>
                    <a:pt x="4036219" y="265271"/>
                  </a:cubicBezTo>
                  <a:cubicBezTo>
                    <a:pt x="4037171" y="267176"/>
                    <a:pt x="4038124" y="269081"/>
                    <a:pt x="4039076" y="271939"/>
                  </a:cubicBezTo>
                  <a:close/>
                  <a:moveTo>
                    <a:pt x="4033361" y="358616"/>
                  </a:moveTo>
                  <a:cubicBezTo>
                    <a:pt x="4033361" y="355759"/>
                    <a:pt x="4034314" y="353854"/>
                    <a:pt x="4034314" y="351949"/>
                  </a:cubicBezTo>
                  <a:cubicBezTo>
                    <a:pt x="4035266" y="350044"/>
                    <a:pt x="4037171" y="347186"/>
                    <a:pt x="4038124" y="345281"/>
                  </a:cubicBezTo>
                  <a:cubicBezTo>
                    <a:pt x="4040029" y="347186"/>
                    <a:pt x="4041934" y="350044"/>
                    <a:pt x="4043839" y="351949"/>
                  </a:cubicBezTo>
                  <a:cubicBezTo>
                    <a:pt x="4042886" y="363379"/>
                    <a:pt x="4041934" y="376714"/>
                    <a:pt x="4040981" y="391954"/>
                  </a:cubicBezTo>
                  <a:cubicBezTo>
                    <a:pt x="4039076" y="398621"/>
                    <a:pt x="4037171" y="406241"/>
                    <a:pt x="4035266" y="413861"/>
                  </a:cubicBezTo>
                  <a:cubicBezTo>
                    <a:pt x="4033361" y="407194"/>
                    <a:pt x="4030504" y="401479"/>
                    <a:pt x="4029551" y="395764"/>
                  </a:cubicBezTo>
                  <a:cubicBezTo>
                    <a:pt x="4028599" y="392906"/>
                    <a:pt x="4027646" y="391001"/>
                    <a:pt x="4027646" y="388144"/>
                  </a:cubicBezTo>
                  <a:cubicBezTo>
                    <a:pt x="4029551" y="377666"/>
                    <a:pt x="4031456" y="368141"/>
                    <a:pt x="4033361" y="358616"/>
                  </a:cubicBezTo>
                  <a:close/>
                  <a:moveTo>
                    <a:pt x="4020026" y="324326"/>
                  </a:moveTo>
                  <a:cubicBezTo>
                    <a:pt x="4020979" y="325279"/>
                    <a:pt x="4020979" y="325279"/>
                    <a:pt x="4021931" y="326231"/>
                  </a:cubicBezTo>
                  <a:cubicBezTo>
                    <a:pt x="4020979" y="329089"/>
                    <a:pt x="4020026" y="331946"/>
                    <a:pt x="4019074" y="334804"/>
                  </a:cubicBezTo>
                  <a:cubicBezTo>
                    <a:pt x="4018121" y="336709"/>
                    <a:pt x="4018121" y="339566"/>
                    <a:pt x="4017169" y="341471"/>
                  </a:cubicBezTo>
                  <a:cubicBezTo>
                    <a:pt x="4017169" y="341471"/>
                    <a:pt x="4017169" y="342424"/>
                    <a:pt x="4016216" y="342424"/>
                  </a:cubicBezTo>
                  <a:cubicBezTo>
                    <a:pt x="4016216" y="343376"/>
                    <a:pt x="4015264" y="343376"/>
                    <a:pt x="4015264" y="344329"/>
                  </a:cubicBezTo>
                  <a:cubicBezTo>
                    <a:pt x="4014311" y="333851"/>
                    <a:pt x="4012406" y="324326"/>
                    <a:pt x="4011454" y="315754"/>
                  </a:cubicBezTo>
                  <a:cubicBezTo>
                    <a:pt x="4014311" y="317659"/>
                    <a:pt x="4017169" y="320516"/>
                    <a:pt x="4020026" y="324326"/>
                  </a:cubicBezTo>
                  <a:close/>
                  <a:moveTo>
                    <a:pt x="3999071" y="282416"/>
                  </a:moveTo>
                  <a:cubicBezTo>
                    <a:pt x="4000024" y="282416"/>
                    <a:pt x="4000024" y="282416"/>
                    <a:pt x="3999071" y="282416"/>
                  </a:cubicBezTo>
                  <a:cubicBezTo>
                    <a:pt x="4000024" y="290989"/>
                    <a:pt x="4000024" y="300514"/>
                    <a:pt x="4000024" y="310991"/>
                  </a:cubicBezTo>
                  <a:cubicBezTo>
                    <a:pt x="4000024" y="312896"/>
                    <a:pt x="4000024" y="314801"/>
                    <a:pt x="4000024" y="316706"/>
                  </a:cubicBezTo>
                  <a:cubicBezTo>
                    <a:pt x="4000024" y="319564"/>
                    <a:pt x="3999071" y="322421"/>
                    <a:pt x="3999071" y="325279"/>
                  </a:cubicBezTo>
                  <a:cubicBezTo>
                    <a:pt x="3999071" y="325279"/>
                    <a:pt x="3999071" y="326231"/>
                    <a:pt x="3999071" y="327184"/>
                  </a:cubicBezTo>
                  <a:cubicBezTo>
                    <a:pt x="3999071" y="326231"/>
                    <a:pt x="3998119" y="325279"/>
                    <a:pt x="3998119" y="324326"/>
                  </a:cubicBezTo>
                  <a:lnTo>
                    <a:pt x="3997166" y="314801"/>
                  </a:lnTo>
                  <a:lnTo>
                    <a:pt x="3996214" y="286226"/>
                  </a:lnTo>
                  <a:cubicBezTo>
                    <a:pt x="3997166" y="285274"/>
                    <a:pt x="3998119" y="284321"/>
                    <a:pt x="3999071" y="282416"/>
                  </a:cubicBezTo>
                  <a:close/>
                  <a:moveTo>
                    <a:pt x="3983831" y="405289"/>
                  </a:moveTo>
                  <a:cubicBezTo>
                    <a:pt x="3982879" y="408146"/>
                    <a:pt x="3981926" y="410051"/>
                    <a:pt x="3980021" y="412909"/>
                  </a:cubicBezTo>
                  <a:cubicBezTo>
                    <a:pt x="3980021" y="412909"/>
                    <a:pt x="3980021" y="412909"/>
                    <a:pt x="3980021" y="412909"/>
                  </a:cubicBezTo>
                  <a:cubicBezTo>
                    <a:pt x="3981926" y="407194"/>
                    <a:pt x="3981926" y="404336"/>
                    <a:pt x="3982879" y="402431"/>
                  </a:cubicBezTo>
                  <a:cubicBezTo>
                    <a:pt x="3982879" y="403384"/>
                    <a:pt x="3982879" y="404336"/>
                    <a:pt x="3983831" y="405289"/>
                  </a:cubicBezTo>
                  <a:close/>
                  <a:moveTo>
                    <a:pt x="3980974" y="395764"/>
                  </a:moveTo>
                  <a:cubicBezTo>
                    <a:pt x="3981926" y="397669"/>
                    <a:pt x="3981926" y="399574"/>
                    <a:pt x="3982879" y="401479"/>
                  </a:cubicBezTo>
                  <a:cubicBezTo>
                    <a:pt x="3982879" y="402431"/>
                    <a:pt x="3980974" y="404336"/>
                    <a:pt x="3979069" y="407194"/>
                  </a:cubicBezTo>
                  <a:cubicBezTo>
                    <a:pt x="3979069" y="407194"/>
                    <a:pt x="3979069" y="406241"/>
                    <a:pt x="3979069" y="406241"/>
                  </a:cubicBezTo>
                  <a:cubicBezTo>
                    <a:pt x="3980021" y="403384"/>
                    <a:pt x="3980021" y="399574"/>
                    <a:pt x="3980974" y="395764"/>
                  </a:cubicBezTo>
                  <a:close/>
                  <a:moveTo>
                    <a:pt x="3976211" y="378619"/>
                  </a:moveTo>
                  <a:cubicBezTo>
                    <a:pt x="3976211" y="378619"/>
                    <a:pt x="3976211" y="378619"/>
                    <a:pt x="3976211" y="378619"/>
                  </a:cubicBezTo>
                  <a:cubicBezTo>
                    <a:pt x="3976211" y="379571"/>
                    <a:pt x="3976211" y="379571"/>
                    <a:pt x="3976211" y="380524"/>
                  </a:cubicBezTo>
                  <a:cubicBezTo>
                    <a:pt x="3976211" y="379571"/>
                    <a:pt x="3976211" y="378619"/>
                    <a:pt x="3976211" y="378619"/>
                  </a:cubicBezTo>
                  <a:close/>
                  <a:moveTo>
                    <a:pt x="3948589" y="255746"/>
                  </a:moveTo>
                  <a:cubicBezTo>
                    <a:pt x="3948589" y="262414"/>
                    <a:pt x="3947636" y="270034"/>
                    <a:pt x="3946684" y="277654"/>
                  </a:cubicBezTo>
                  <a:cubicBezTo>
                    <a:pt x="3946684" y="279559"/>
                    <a:pt x="3946684" y="282416"/>
                    <a:pt x="3945731" y="285274"/>
                  </a:cubicBezTo>
                  <a:cubicBezTo>
                    <a:pt x="3944779" y="278606"/>
                    <a:pt x="3944779" y="272891"/>
                    <a:pt x="3943826" y="266224"/>
                  </a:cubicBezTo>
                  <a:cubicBezTo>
                    <a:pt x="3942874" y="257651"/>
                    <a:pt x="3940969" y="249079"/>
                    <a:pt x="3940016" y="240506"/>
                  </a:cubicBezTo>
                  <a:cubicBezTo>
                    <a:pt x="3940016" y="240506"/>
                    <a:pt x="3940016" y="240506"/>
                    <a:pt x="3940016" y="239554"/>
                  </a:cubicBezTo>
                  <a:cubicBezTo>
                    <a:pt x="3940016" y="238601"/>
                    <a:pt x="3940016" y="237649"/>
                    <a:pt x="3940016" y="236696"/>
                  </a:cubicBezTo>
                  <a:cubicBezTo>
                    <a:pt x="3940969" y="237649"/>
                    <a:pt x="3941921" y="239554"/>
                    <a:pt x="3942874" y="240506"/>
                  </a:cubicBezTo>
                  <a:cubicBezTo>
                    <a:pt x="3944779" y="243364"/>
                    <a:pt x="3945731" y="245269"/>
                    <a:pt x="3947636" y="248126"/>
                  </a:cubicBezTo>
                  <a:cubicBezTo>
                    <a:pt x="3948589" y="251936"/>
                    <a:pt x="3948589" y="253841"/>
                    <a:pt x="3948589" y="255746"/>
                  </a:cubicBezTo>
                  <a:close/>
                  <a:moveTo>
                    <a:pt x="3943826" y="205264"/>
                  </a:moveTo>
                  <a:cubicBezTo>
                    <a:pt x="3943826" y="207169"/>
                    <a:pt x="3943826" y="209074"/>
                    <a:pt x="3943826" y="210979"/>
                  </a:cubicBezTo>
                  <a:cubicBezTo>
                    <a:pt x="3943826" y="216694"/>
                    <a:pt x="3944779" y="223361"/>
                    <a:pt x="3945731" y="230981"/>
                  </a:cubicBezTo>
                  <a:cubicBezTo>
                    <a:pt x="3945731" y="232886"/>
                    <a:pt x="3945731" y="234791"/>
                    <a:pt x="3946684" y="236696"/>
                  </a:cubicBezTo>
                  <a:cubicBezTo>
                    <a:pt x="3943826" y="233839"/>
                    <a:pt x="3941921" y="230029"/>
                    <a:pt x="3939064" y="228124"/>
                  </a:cubicBezTo>
                  <a:cubicBezTo>
                    <a:pt x="3938111" y="224314"/>
                    <a:pt x="3938111" y="219551"/>
                    <a:pt x="3937159" y="215741"/>
                  </a:cubicBezTo>
                  <a:cubicBezTo>
                    <a:pt x="3940016" y="210979"/>
                    <a:pt x="3941921" y="208121"/>
                    <a:pt x="3943826" y="205264"/>
                  </a:cubicBezTo>
                  <a:close/>
                  <a:moveTo>
                    <a:pt x="3866674" y="369094"/>
                  </a:moveTo>
                  <a:cubicBezTo>
                    <a:pt x="3866674" y="369094"/>
                    <a:pt x="3866674" y="368141"/>
                    <a:pt x="3867626" y="368141"/>
                  </a:cubicBezTo>
                  <a:cubicBezTo>
                    <a:pt x="3867626" y="369094"/>
                    <a:pt x="3867626" y="370046"/>
                    <a:pt x="3867626" y="370999"/>
                  </a:cubicBezTo>
                  <a:cubicBezTo>
                    <a:pt x="3867626" y="370046"/>
                    <a:pt x="3866674" y="370046"/>
                    <a:pt x="3866674" y="369094"/>
                  </a:cubicBezTo>
                  <a:close/>
                  <a:moveTo>
                    <a:pt x="3886676" y="354806"/>
                  </a:moveTo>
                  <a:cubicBezTo>
                    <a:pt x="3885724" y="351949"/>
                    <a:pt x="3883819" y="350044"/>
                    <a:pt x="3882866" y="348139"/>
                  </a:cubicBezTo>
                  <a:cubicBezTo>
                    <a:pt x="3882866" y="345281"/>
                    <a:pt x="3881914" y="341471"/>
                    <a:pt x="3881914" y="338614"/>
                  </a:cubicBezTo>
                  <a:cubicBezTo>
                    <a:pt x="3883819" y="343376"/>
                    <a:pt x="3885724" y="349091"/>
                    <a:pt x="3886676" y="354806"/>
                  </a:cubicBezTo>
                  <a:cubicBezTo>
                    <a:pt x="3887629" y="354806"/>
                    <a:pt x="3887629" y="355759"/>
                    <a:pt x="3887629" y="356711"/>
                  </a:cubicBezTo>
                  <a:cubicBezTo>
                    <a:pt x="3887629" y="355759"/>
                    <a:pt x="3887629" y="354806"/>
                    <a:pt x="3886676" y="354806"/>
                  </a:cubicBezTo>
                  <a:close/>
                  <a:moveTo>
                    <a:pt x="3897154" y="278606"/>
                  </a:moveTo>
                  <a:cubicBezTo>
                    <a:pt x="3899059" y="275749"/>
                    <a:pt x="3900011" y="272891"/>
                    <a:pt x="3901916" y="270986"/>
                  </a:cubicBezTo>
                  <a:cubicBezTo>
                    <a:pt x="3901916" y="270986"/>
                    <a:pt x="3901916" y="270986"/>
                    <a:pt x="3901916" y="270986"/>
                  </a:cubicBezTo>
                  <a:cubicBezTo>
                    <a:pt x="3900964" y="273844"/>
                    <a:pt x="3899059" y="276701"/>
                    <a:pt x="3897154" y="278606"/>
                  </a:cubicBezTo>
                  <a:cubicBezTo>
                    <a:pt x="3898106" y="279559"/>
                    <a:pt x="3897154" y="279559"/>
                    <a:pt x="3897154" y="278606"/>
                  </a:cubicBezTo>
                  <a:close/>
                  <a:moveTo>
                    <a:pt x="3900011" y="291941"/>
                  </a:moveTo>
                  <a:cubicBezTo>
                    <a:pt x="3900011" y="290989"/>
                    <a:pt x="3900964" y="289084"/>
                    <a:pt x="3901916" y="288131"/>
                  </a:cubicBezTo>
                  <a:cubicBezTo>
                    <a:pt x="3901916" y="287179"/>
                    <a:pt x="3902869" y="287179"/>
                    <a:pt x="3902869" y="286226"/>
                  </a:cubicBezTo>
                  <a:cubicBezTo>
                    <a:pt x="3902869" y="290036"/>
                    <a:pt x="3902869" y="293846"/>
                    <a:pt x="3903821" y="297656"/>
                  </a:cubicBezTo>
                  <a:cubicBezTo>
                    <a:pt x="3903821" y="298609"/>
                    <a:pt x="3903821" y="300514"/>
                    <a:pt x="3902869" y="301466"/>
                  </a:cubicBezTo>
                  <a:cubicBezTo>
                    <a:pt x="3902869" y="300514"/>
                    <a:pt x="3902869" y="299561"/>
                    <a:pt x="3901916" y="298609"/>
                  </a:cubicBezTo>
                  <a:cubicBezTo>
                    <a:pt x="3901916" y="295751"/>
                    <a:pt x="3900964" y="293846"/>
                    <a:pt x="3900011" y="291941"/>
                  </a:cubicBezTo>
                  <a:close/>
                  <a:moveTo>
                    <a:pt x="3903821" y="431006"/>
                  </a:moveTo>
                  <a:cubicBezTo>
                    <a:pt x="3903821" y="431006"/>
                    <a:pt x="3903821" y="431959"/>
                    <a:pt x="3902869" y="431959"/>
                  </a:cubicBezTo>
                  <a:lnTo>
                    <a:pt x="3901916" y="431959"/>
                  </a:lnTo>
                  <a:cubicBezTo>
                    <a:pt x="3902869" y="430054"/>
                    <a:pt x="3902869" y="428149"/>
                    <a:pt x="3903821" y="426244"/>
                  </a:cubicBezTo>
                  <a:cubicBezTo>
                    <a:pt x="3903821" y="427196"/>
                    <a:pt x="3903821" y="427196"/>
                    <a:pt x="3904774" y="428149"/>
                  </a:cubicBezTo>
                  <a:cubicBezTo>
                    <a:pt x="3903821" y="429101"/>
                    <a:pt x="3903821" y="430054"/>
                    <a:pt x="3903821" y="431006"/>
                  </a:cubicBezTo>
                  <a:close/>
                  <a:moveTo>
                    <a:pt x="3925729" y="309086"/>
                  </a:moveTo>
                  <a:cubicBezTo>
                    <a:pt x="3923824" y="301466"/>
                    <a:pt x="3922871" y="297656"/>
                    <a:pt x="3922871" y="297656"/>
                  </a:cubicBezTo>
                  <a:cubicBezTo>
                    <a:pt x="3922871" y="297656"/>
                    <a:pt x="3922871" y="301466"/>
                    <a:pt x="3923824" y="308134"/>
                  </a:cubicBezTo>
                  <a:cubicBezTo>
                    <a:pt x="3920966" y="297656"/>
                    <a:pt x="3919061" y="291941"/>
                    <a:pt x="3919061" y="291941"/>
                  </a:cubicBezTo>
                  <a:cubicBezTo>
                    <a:pt x="3919061" y="291941"/>
                    <a:pt x="3920014" y="301466"/>
                    <a:pt x="3922871" y="317659"/>
                  </a:cubicBezTo>
                  <a:cubicBezTo>
                    <a:pt x="3922871" y="320516"/>
                    <a:pt x="3923824" y="322421"/>
                    <a:pt x="3923824" y="325279"/>
                  </a:cubicBezTo>
                  <a:cubicBezTo>
                    <a:pt x="3922871" y="328136"/>
                    <a:pt x="3922871" y="331946"/>
                    <a:pt x="3921919" y="334804"/>
                  </a:cubicBezTo>
                  <a:cubicBezTo>
                    <a:pt x="3921919" y="334804"/>
                    <a:pt x="3921919" y="335756"/>
                    <a:pt x="3921919" y="335756"/>
                  </a:cubicBezTo>
                  <a:cubicBezTo>
                    <a:pt x="3921919" y="333851"/>
                    <a:pt x="3920966" y="331946"/>
                    <a:pt x="3920966" y="330041"/>
                  </a:cubicBezTo>
                  <a:cubicBezTo>
                    <a:pt x="3919061" y="319564"/>
                    <a:pt x="3917156" y="310039"/>
                    <a:pt x="3915251" y="301466"/>
                  </a:cubicBezTo>
                  <a:cubicBezTo>
                    <a:pt x="3913346" y="293846"/>
                    <a:pt x="3912394" y="287179"/>
                    <a:pt x="3911441" y="281464"/>
                  </a:cubicBezTo>
                  <a:cubicBezTo>
                    <a:pt x="3911441" y="273844"/>
                    <a:pt x="3912394" y="268129"/>
                    <a:pt x="3912394" y="264319"/>
                  </a:cubicBezTo>
                  <a:cubicBezTo>
                    <a:pt x="3912394" y="264319"/>
                    <a:pt x="3912394" y="263366"/>
                    <a:pt x="3912394" y="263366"/>
                  </a:cubicBezTo>
                  <a:cubicBezTo>
                    <a:pt x="3914299" y="265271"/>
                    <a:pt x="3917156" y="268129"/>
                    <a:pt x="3919061" y="270986"/>
                  </a:cubicBezTo>
                  <a:cubicBezTo>
                    <a:pt x="3920966" y="272891"/>
                    <a:pt x="3922871" y="274796"/>
                    <a:pt x="3923824" y="277654"/>
                  </a:cubicBezTo>
                  <a:cubicBezTo>
                    <a:pt x="3923824" y="277654"/>
                    <a:pt x="3923824" y="280511"/>
                    <a:pt x="3924776" y="284321"/>
                  </a:cubicBezTo>
                  <a:cubicBezTo>
                    <a:pt x="3922871" y="279559"/>
                    <a:pt x="3921919" y="277654"/>
                    <a:pt x="3921919" y="277654"/>
                  </a:cubicBezTo>
                  <a:cubicBezTo>
                    <a:pt x="3921919" y="277654"/>
                    <a:pt x="3923824" y="284321"/>
                    <a:pt x="3926681" y="296704"/>
                  </a:cubicBezTo>
                  <a:cubicBezTo>
                    <a:pt x="3926681" y="298609"/>
                    <a:pt x="3927634" y="301466"/>
                    <a:pt x="3927634" y="304324"/>
                  </a:cubicBezTo>
                  <a:cubicBezTo>
                    <a:pt x="3927634" y="304324"/>
                    <a:pt x="3927634" y="304324"/>
                    <a:pt x="3927634" y="305276"/>
                  </a:cubicBezTo>
                  <a:cubicBezTo>
                    <a:pt x="3926681" y="304324"/>
                    <a:pt x="3925729" y="306229"/>
                    <a:pt x="3925729" y="309086"/>
                  </a:cubicBezTo>
                  <a:close/>
                  <a:moveTo>
                    <a:pt x="3929539" y="287179"/>
                  </a:moveTo>
                  <a:cubicBezTo>
                    <a:pt x="3929539" y="289084"/>
                    <a:pt x="3928586" y="290989"/>
                    <a:pt x="3928586" y="292894"/>
                  </a:cubicBezTo>
                  <a:cubicBezTo>
                    <a:pt x="3928586" y="291941"/>
                    <a:pt x="3927634" y="290989"/>
                    <a:pt x="3927634" y="290036"/>
                  </a:cubicBezTo>
                  <a:cubicBezTo>
                    <a:pt x="3924776" y="281464"/>
                    <a:pt x="3923824" y="275749"/>
                    <a:pt x="3923824" y="275749"/>
                  </a:cubicBezTo>
                  <a:cubicBezTo>
                    <a:pt x="3924776" y="277654"/>
                    <a:pt x="3926681" y="279559"/>
                    <a:pt x="3927634" y="281464"/>
                  </a:cubicBezTo>
                  <a:cubicBezTo>
                    <a:pt x="3928586" y="282416"/>
                    <a:pt x="3928586" y="283369"/>
                    <a:pt x="3929539" y="284321"/>
                  </a:cubicBezTo>
                  <a:cubicBezTo>
                    <a:pt x="3929539" y="284321"/>
                    <a:pt x="3929539" y="285274"/>
                    <a:pt x="3929539" y="287179"/>
                  </a:cubicBezTo>
                  <a:close/>
                  <a:moveTo>
                    <a:pt x="3926681" y="242411"/>
                  </a:moveTo>
                  <a:cubicBezTo>
                    <a:pt x="3927634" y="251936"/>
                    <a:pt x="3928586" y="261461"/>
                    <a:pt x="3928586" y="270986"/>
                  </a:cubicBezTo>
                  <a:cubicBezTo>
                    <a:pt x="3926681" y="269081"/>
                    <a:pt x="3924776" y="266224"/>
                    <a:pt x="3921919" y="265271"/>
                  </a:cubicBezTo>
                  <a:cubicBezTo>
                    <a:pt x="3919061" y="262414"/>
                    <a:pt x="3916204" y="259556"/>
                    <a:pt x="3913346" y="257651"/>
                  </a:cubicBezTo>
                  <a:cubicBezTo>
                    <a:pt x="3915251" y="253841"/>
                    <a:pt x="3916204" y="250031"/>
                    <a:pt x="3917156" y="246221"/>
                  </a:cubicBezTo>
                  <a:cubicBezTo>
                    <a:pt x="3920014" y="241459"/>
                    <a:pt x="3922871" y="236696"/>
                    <a:pt x="3925729" y="232886"/>
                  </a:cubicBezTo>
                  <a:cubicBezTo>
                    <a:pt x="3925729" y="235744"/>
                    <a:pt x="3925729" y="239554"/>
                    <a:pt x="3926681" y="242411"/>
                  </a:cubicBezTo>
                  <a:close/>
                  <a:moveTo>
                    <a:pt x="3900964" y="168116"/>
                  </a:moveTo>
                  <a:cubicBezTo>
                    <a:pt x="3905726" y="160496"/>
                    <a:pt x="3910489" y="153829"/>
                    <a:pt x="3914299" y="147161"/>
                  </a:cubicBezTo>
                  <a:cubicBezTo>
                    <a:pt x="3914299" y="150019"/>
                    <a:pt x="3915251" y="152876"/>
                    <a:pt x="3915251" y="156686"/>
                  </a:cubicBezTo>
                  <a:cubicBezTo>
                    <a:pt x="3917156" y="168116"/>
                    <a:pt x="3919061" y="181451"/>
                    <a:pt x="3920966" y="196691"/>
                  </a:cubicBezTo>
                  <a:cubicBezTo>
                    <a:pt x="3921919" y="202406"/>
                    <a:pt x="3921919" y="208121"/>
                    <a:pt x="3922871" y="213836"/>
                  </a:cubicBezTo>
                  <a:cubicBezTo>
                    <a:pt x="3920966" y="211931"/>
                    <a:pt x="3920014" y="210979"/>
                    <a:pt x="3920014" y="210979"/>
                  </a:cubicBezTo>
                  <a:cubicBezTo>
                    <a:pt x="3920014" y="210979"/>
                    <a:pt x="3920966" y="212884"/>
                    <a:pt x="3923824" y="214789"/>
                  </a:cubicBezTo>
                  <a:cubicBezTo>
                    <a:pt x="3923824" y="218599"/>
                    <a:pt x="3924776" y="222409"/>
                    <a:pt x="3924776" y="226219"/>
                  </a:cubicBezTo>
                  <a:cubicBezTo>
                    <a:pt x="3919061" y="232886"/>
                    <a:pt x="3913346" y="240506"/>
                    <a:pt x="3906679" y="249079"/>
                  </a:cubicBezTo>
                  <a:cubicBezTo>
                    <a:pt x="3905726" y="250031"/>
                    <a:pt x="3905726" y="250984"/>
                    <a:pt x="3904774" y="251936"/>
                  </a:cubicBezTo>
                  <a:cubicBezTo>
                    <a:pt x="3903821" y="251936"/>
                    <a:pt x="3903821" y="250984"/>
                    <a:pt x="3902869" y="250984"/>
                  </a:cubicBezTo>
                  <a:cubicBezTo>
                    <a:pt x="3901916" y="245269"/>
                    <a:pt x="3900964" y="242411"/>
                    <a:pt x="3900964" y="242411"/>
                  </a:cubicBezTo>
                  <a:cubicBezTo>
                    <a:pt x="3900964" y="242411"/>
                    <a:pt x="3900964" y="245269"/>
                    <a:pt x="3900964" y="249079"/>
                  </a:cubicBezTo>
                  <a:cubicBezTo>
                    <a:pt x="3900011" y="248126"/>
                    <a:pt x="3898106" y="247174"/>
                    <a:pt x="3897154" y="247174"/>
                  </a:cubicBezTo>
                  <a:cubicBezTo>
                    <a:pt x="3893344" y="245269"/>
                    <a:pt x="3891439" y="243364"/>
                    <a:pt x="3891439" y="243364"/>
                  </a:cubicBezTo>
                  <a:cubicBezTo>
                    <a:pt x="3891439" y="243364"/>
                    <a:pt x="3893344" y="245269"/>
                    <a:pt x="3896201" y="248126"/>
                  </a:cubicBezTo>
                  <a:cubicBezTo>
                    <a:pt x="3897154" y="249079"/>
                    <a:pt x="3899059" y="250984"/>
                    <a:pt x="3900964" y="251936"/>
                  </a:cubicBezTo>
                  <a:cubicBezTo>
                    <a:pt x="3900964" y="253841"/>
                    <a:pt x="3900964" y="254794"/>
                    <a:pt x="3900964" y="256699"/>
                  </a:cubicBezTo>
                  <a:cubicBezTo>
                    <a:pt x="3899059" y="259556"/>
                    <a:pt x="3896201" y="263366"/>
                    <a:pt x="3894296" y="266224"/>
                  </a:cubicBezTo>
                  <a:cubicBezTo>
                    <a:pt x="3893344" y="261461"/>
                    <a:pt x="3891439" y="255746"/>
                    <a:pt x="3890486" y="250984"/>
                  </a:cubicBezTo>
                  <a:cubicBezTo>
                    <a:pt x="3886676" y="235744"/>
                    <a:pt x="3883819" y="222409"/>
                    <a:pt x="3880009" y="210026"/>
                  </a:cubicBezTo>
                  <a:cubicBezTo>
                    <a:pt x="3880009" y="209074"/>
                    <a:pt x="3879056" y="207169"/>
                    <a:pt x="3879056" y="206216"/>
                  </a:cubicBezTo>
                  <a:cubicBezTo>
                    <a:pt x="3886676" y="191929"/>
                    <a:pt x="3894296" y="178594"/>
                    <a:pt x="3900964" y="168116"/>
                  </a:cubicBezTo>
                  <a:close/>
                  <a:moveTo>
                    <a:pt x="3873341" y="214789"/>
                  </a:moveTo>
                  <a:cubicBezTo>
                    <a:pt x="3875246" y="226219"/>
                    <a:pt x="3877151" y="238601"/>
                    <a:pt x="3879056" y="251936"/>
                  </a:cubicBezTo>
                  <a:cubicBezTo>
                    <a:pt x="3880009" y="260509"/>
                    <a:pt x="3881914" y="270034"/>
                    <a:pt x="3883819" y="280511"/>
                  </a:cubicBezTo>
                  <a:cubicBezTo>
                    <a:pt x="3883819" y="281464"/>
                    <a:pt x="3882866" y="281464"/>
                    <a:pt x="3882866" y="282416"/>
                  </a:cubicBezTo>
                  <a:cubicBezTo>
                    <a:pt x="3880009" y="273844"/>
                    <a:pt x="3878104" y="266224"/>
                    <a:pt x="3875246" y="259556"/>
                  </a:cubicBezTo>
                  <a:cubicBezTo>
                    <a:pt x="3871436" y="250031"/>
                    <a:pt x="3868579" y="241459"/>
                    <a:pt x="3865721" y="234791"/>
                  </a:cubicBezTo>
                  <a:cubicBezTo>
                    <a:pt x="3865721" y="233839"/>
                    <a:pt x="3864769" y="232886"/>
                    <a:pt x="3864769" y="231934"/>
                  </a:cubicBezTo>
                  <a:cubicBezTo>
                    <a:pt x="3867626" y="225266"/>
                    <a:pt x="3870484" y="219551"/>
                    <a:pt x="3873341" y="214789"/>
                  </a:cubicBezTo>
                  <a:close/>
                  <a:moveTo>
                    <a:pt x="3864769" y="341471"/>
                  </a:moveTo>
                  <a:cubicBezTo>
                    <a:pt x="3863816" y="342424"/>
                    <a:pt x="3863816" y="344329"/>
                    <a:pt x="3862864" y="345281"/>
                  </a:cubicBezTo>
                  <a:cubicBezTo>
                    <a:pt x="3862864" y="344329"/>
                    <a:pt x="3863816" y="343376"/>
                    <a:pt x="3864769" y="341471"/>
                  </a:cubicBezTo>
                  <a:cubicBezTo>
                    <a:pt x="3864769" y="341471"/>
                    <a:pt x="3864769" y="341471"/>
                    <a:pt x="3864769" y="341471"/>
                  </a:cubicBezTo>
                  <a:close/>
                  <a:moveTo>
                    <a:pt x="3854291" y="211931"/>
                  </a:moveTo>
                  <a:cubicBezTo>
                    <a:pt x="3854291" y="208121"/>
                    <a:pt x="3855244" y="204311"/>
                    <a:pt x="3856196" y="201454"/>
                  </a:cubicBezTo>
                  <a:cubicBezTo>
                    <a:pt x="3856196" y="206216"/>
                    <a:pt x="3856196" y="212884"/>
                    <a:pt x="3857149" y="220504"/>
                  </a:cubicBezTo>
                  <a:cubicBezTo>
                    <a:pt x="3856196" y="222409"/>
                    <a:pt x="3855244" y="224314"/>
                    <a:pt x="3854291" y="226219"/>
                  </a:cubicBezTo>
                  <a:cubicBezTo>
                    <a:pt x="3853339" y="220504"/>
                    <a:pt x="3854291" y="215741"/>
                    <a:pt x="3854291" y="211931"/>
                  </a:cubicBezTo>
                  <a:close/>
                  <a:moveTo>
                    <a:pt x="3849529" y="262414"/>
                  </a:moveTo>
                  <a:cubicBezTo>
                    <a:pt x="3849529" y="260509"/>
                    <a:pt x="3849529" y="259556"/>
                    <a:pt x="3849529" y="257651"/>
                  </a:cubicBezTo>
                  <a:cubicBezTo>
                    <a:pt x="3849529" y="257651"/>
                    <a:pt x="3849529" y="256699"/>
                    <a:pt x="3850481" y="256699"/>
                  </a:cubicBezTo>
                  <a:cubicBezTo>
                    <a:pt x="3853339" y="263366"/>
                    <a:pt x="3856196" y="270986"/>
                    <a:pt x="3859054" y="278606"/>
                  </a:cubicBezTo>
                  <a:cubicBezTo>
                    <a:pt x="3859054" y="279559"/>
                    <a:pt x="3859054" y="279559"/>
                    <a:pt x="3860006" y="280511"/>
                  </a:cubicBezTo>
                  <a:cubicBezTo>
                    <a:pt x="3860959" y="290989"/>
                    <a:pt x="3861911" y="302419"/>
                    <a:pt x="3862864" y="313849"/>
                  </a:cubicBezTo>
                  <a:cubicBezTo>
                    <a:pt x="3862864" y="313849"/>
                    <a:pt x="3862864" y="313849"/>
                    <a:pt x="3862864" y="313849"/>
                  </a:cubicBezTo>
                  <a:cubicBezTo>
                    <a:pt x="3858101" y="305276"/>
                    <a:pt x="3852386" y="298609"/>
                    <a:pt x="3847624" y="291941"/>
                  </a:cubicBezTo>
                  <a:cubicBezTo>
                    <a:pt x="3848576" y="281464"/>
                    <a:pt x="3848576" y="271939"/>
                    <a:pt x="3849529" y="262414"/>
                  </a:cubicBezTo>
                  <a:close/>
                  <a:moveTo>
                    <a:pt x="3846671" y="308134"/>
                  </a:moveTo>
                  <a:cubicBezTo>
                    <a:pt x="3849529" y="312896"/>
                    <a:pt x="3852386" y="318611"/>
                    <a:pt x="3855244" y="323374"/>
                  </a:cubicBezTo>
                  <a:cubicBezTo>
                    <a:pt x="3855244" y="324326"/>
                    <a:pt x="3856196" y="324326"/>
                    <a:pt x="3856196" y="325279"/>
                  </a:cubicBezTo>
                  <a:cubicBezTo>
                    <a:pt x="3856196" y="326231"/>
                    <a:pt x="3855244" y="326231"/>
                    <a:pt x="3855244" y="327184"/>
                  </a:cubicBezTo>
                  <a:cubicBezTo>
                    <a:pt x="3853339" y="330041"/>
                    <a:pt x="3851434" y="333851"/>
                    <a:pt x="3849529" y="336709"/>
                  </a:cubicBezTo>
                  <a:cubicBezTo>
                    <a:pt x="3848576" y="334804"/>
                    <a:pt x="3846671" y="331946"/>
                    <a:pt x="3845719" y="330041"/>
                  </a:cubicBezTo>
                  <a:cubicBezTo>
                    <a:pt x="3845719" y="323374"/>
                    <a:pt x="3846671" y="315754"/>
                    <a:pt x="3846671" y="308134"/>
                  </a:cubicBezTo>
                  <a:close/>
                  <a:moveTo>
                    <a:pt x="3843814" y="415766"/>
                  </a:moveTo>
                  <a:cubicBezTo>
                    <a:pt x="3844766" y="413861"/>
                    <a:pt x="3845719" y="411956"/>
                    <a:pt x="3846671" y="410051"/>
                  </a:cubicBezTo>
                  <a:cubicBezTo>
                    <a:pt x="3846671" y="411956"/>
                    <a:pt x="3847624" y="414814"/>
                    <a:pt x="3847624" y="416719"/>
                  </a:cubicBezTo>
                  <a:cubicBezTo>
                    <a:pt x="3847624" y="417671"/>
                    <a:pt x="3847624" y="418624"/>
                    <a:pt x="3847624" y="419576"/>
                  </a:cubicBezTo>
                  <a:cubicBezTo>
                    <a:pt x="3847624" y="420529"/>
                    <a:pt x="3846671" y="421481"/>
                    <a:pt x="3846671" y="422434"/>
                  </a:cubicBezTo>
                  <a:cubicBezTo>
                    <a:pt x="3845719" y="423386"/>
                    <a:pt x="3845719" y="425291"/>
                    <a:pt x="3844766" y="426244"/>
                  </a:cubicBezTo>
                  <a:lnTo>
                    <a:pt x="3842861" y="426244"/>
                  </a:lnTo>
                  <a:cubicBezTo>
                    <a:pt x="3843814" y="422434"/>
                    <a:pt x="3843814" y="418624"/>
                    <a:pt x="3843814" y="415766"/>
                  </a:cubicBezTo>
                  <a:close/>
                  <a:moveTo>
                    <a:pt x="3830479" y="297656"/>
                  </a:moveTo>
                  <a:cubicBezTo>
                    <a:pt x="3830479" y="298609"/>
                    <a:pt x="3830479" y="298609"/>
                    <a:pt x="3830479" y="299561"/>
                  </a:cubicBezTo>
                  <a:cubicBezTo>
                    <a:pt x="3830479" y="300514"/>
                    <a:pt x="3830479" y="300514"/>
                    <a:pt x="3830479" y="301466"/>
                  </a:cubicBezTo>
                  <a:cubicBezTo>
                    <a:pt x="3830479" y="303371"/>
                    <a:pt x="3830479" y="305276"/>
                    <a:pt x="3829526" y="307181"/>
                  </a:cubicBezTo>
                  <a:cubicBezTo>
                    <a:pt x="3828574" y="306229"/>
                    <a:pt x="3827621" y="305276"/>
                    <a:pt x="3827621" y="304324"/>
                  </a:cubicBezTo>
                  <a:cubicBezTo>
                    <a:pt x="3828574" y="301466"/>
                    <a:pt x="3829526" y="299561"/>
                    <a:pt x="3830479" y="297656"/>
                  </a:cubicBezTo>
                  <a:close/>
                  <a:moveTo>
                    <a:pt x="3826669" y="305276"/>
                  </a:moveTo>
                  <a:cubicBezTo>
                    <a:pt x="3827621" y="306229"/>
                    <a:pt x="3827621" y="308134"/>
                    <a:pt x="3828574" y="310039"/>
                  </a:cubicBezTo>
                  <a:cubicBezTo>
                    <a:pt x="3828574" y="311944"/>
                    <a:pt x="3828574" y="312896"/>
                    <a:pt x="3827621" y="314801"/>
                  </a:cubicBezTo>
                  <a:cubicBezTo>
                    <a:pt x="3826669" y="312896"/>
                    <a:pt x="3824764" y="310991"/>
                    <a:pt x="3823811" y="309086"/>
                  </a:cubicBezTo>
                  <a:cubicBezTo>
                    <a:pt x="3825716" y="307181"/>
                    <a:pt x="3825716" y="306229"/>
                    <a:pt x="3826669" y="305276"/>
                  </a:cubicBezTo>
                  <a:close/>
                  <a:moveTo>
                    <a:pt x="3820001" y="319564"/>
                  </a:moveTo>
                  <a:cubicBezTo>
                    <a:pt x="3821906" y="323374"/>
                    <a:pt x="3823811" y="328136"/>
                    <a:pt x="3826669" y="332899"/>
                  </a:cubicBezTo>
                  <a:cubicBezTo>
                    <a:pt x="3826669" y="332899"/>
                    <a:pt x="3826669" y="333851"/>
                    <a:pt x="3827621" y="333851"/>
                  </a:cubicBezTo>
                  <a:cubicBezTo>
                    <a:pt x="3827621" y="336709"/>
                    <a:pt x="3826669" y="339566"/>
                    <a:pt x="3826669" y="343376"/>
                  </a:cubicBezTo>
                  <a:cubicBezTo>
                    <a:pt x="3825716" y="354806"/>
                    <a:pt x="3825716" y="366236"/>
                    <a:pt x="3824764" y="377666"/>
                  </a:cubicBezTo>
                  <a:cubicBezTo>
                    <a:pt x="3823811" y="372904"/>
                    <a:pt x="3821906" y="368141"/>
                    <a:pt x="3820954" y="364331"/>
                  </a:cubicBezTo>
                  <a:cubicBezTo>
                    <a:pt x="3820954" y="360521"/>
                    <a:pt x="3820001" y="356711"/>
                    <a:pt x="3820001" y="352901"/>
                  </a:cubicBezTo>
                  <a:cubicBezTo>
                    <a:pt x="3820001" y="347186"/>
                    <a:pt x="3819049" y="341471"/>
                    <a:pt x="3818096" y="336709"/>
                  </a:cubicBezTo>
                  <a:cubicBezTo>
                    <a:pt x="3820001" y="333851"/>
                    <a:pt x="3821906" y="332899"/>
                    <a:pt x="3821906" y="332899"/>
                  </a:cubicBezTo>
                  <a:cubicBezTo>
                    <a:pt x="3821906" y="332899"/>
                    <a:pt x="3820954" y="333851"/>
                    <a:pt x="3818096" y="335756"/>
                  </a:cubicBezTo>
                  <a:cubicBezTo>
                    <a:pt x="3818096" y="332899"/>
                    <a:pt x="3817144" y="329089"/>
                    <a:pt x="3817144" y="326231"/>
                  </a:cubicBezTo>
                  <a:cubicBezTo>
                    <a:pt x="3818096" y="323374"/>
                    <a:pt x="3819049" y="321469"/>
                    <a:pt x="3820001" y="319564"/>
                  </a:cubicBezTo>
                  <a:close/>
                  <a:moveTo>
                    <a:pt x="3788569" y="264319"/>
                  </a:moveTo>
                  <a:cubicBezTo>
                    <a:pt x="3789521" y="266224"/>
                    <a:pt x="3791426" y="268129"/>
                    <a:pt x="3792379" y="270986"/>
                  </a:cubicBezTo>
                  <a:cubicBezTo>
                    <a:pt x="3795236" y="274796"/>
                    <a:pt x="3798094" y="280511"/>
                    <a:pt x="3800951" y="285274"/>
                  </a:cubicBezTo>
                  <a:cubicBezTo>
                    <a:pt x="3800951" y="286226"/>
                    <a:pt x="3800951" y="286226"/>
                    <a:pt x="3800951" y="287179"/>
                  </a:cubicBezTo>
                  <a:cubicBezTo>
                    <a:pt x="3800951" y="290989"/>
                    <a:pt x="3800951" y="294799"/>
                    <a:pt x="3800951" y="298609"/>
                  </a:cubicBezTo>
                  <a:cubicBezTo>
                    <a:pt x="3800951" y="299561"/>
                    <a:pt x="3800951" y="300514"/>
                    <a:pt x="3800951" y="300514"/>
                  </a:cubicBezTo>
                  <a:cubicBezTo>
                    <a:pt x="3799999" y="295751"/>
                    <a:pt x="3798094" y="291941"/>
                    <a:pt x="3797141" y="287179"/>
                  </a:cubicBezTo>
                  <a:cubicBezTo>
                    <a:pt x="3797141" y="286226"/>
                    <a:pt x="3796189" y="285274"/>
                    <a:pt x="3796189" y="285274"/>
                  </a:cubicBezTo>
                  <a:cubicBezTo>
                    <a:pt x="3796189" y="282416"/>
                    <a:pt x="3796189" y="280511"/>
                    <a:pt x="3796189" y="280511"/>
                  </a:cubicBezTo>
                  <a:cubicBezTo>
                    <a:pt x="3796189" y="280511"/>
                    <a:pt x="3796189" y="281464"/>
                    <a:pt x="3795236" y="283369"/>
                  </a:cubicBezTo>
                  <a:cubicBezTo>
                    <a:pt x="3794284" y="279559"/>
                    <a:pt x="3792379" y="275749"/>
                    <a:pt x="3791426" y="271939"/>
                  </a:cubicBezTo>
                  <a:cubicBezTo>
                    <a:pt x="3790474" y="269081"/>
                    <a:pt x="3789521" y="266224"/>
                    <a:pt x="3788569" y="264319"/>
                  </a:cubicBezTo>
                  <a:close/>
                  <a:moveTo>
                    <a:pt x="3748564" y="364331"/>
                  </a:moveTo>
                  <a:cubicBezTo>
                    <a:pt x="3748564" y="359569"/>
                    <a:pt x="3748564" y="355759"/>
                    <a:pt x="3748564" y="351949"/>
                  </a:cubicBezTo>
                  <a:cubicBezTo>
                    <a:pt x="3749516" y="353854"/>
                    <a:pt x="3749516" y="355759"/>
                    <a:pt x="3750469" y="358616"/>
                  </a:cubicBezTo>
                  <a:cubicBezTo>
                    <a:pt x="3749516" y="359569"/>
                    <a:pt x="3749516" y="361474"/>
                    <a:pt x="3748564" y="364331"/>
                  </a:cubicBezTo>
                  <a:close/>
                  <a:moveTo>
                    <a:pt x="3762851" y="399574"/>
                  </a:moveTo>
                  <a:cubicBezTo>
                    <a:pt x="3761899" y="401479"/>
                    <a:pt x="3760946" y="403384"/>
                    <a:pt x="3759994" y="405289"/>
                  </a:cubicBezTo>
                  <a:cubicBezTo>
                    <a:pt x="3759994" y="400526"/>
                    <a:pt x="3760946" y="395764"/>
                    <a:pt x="3760946" y="391954"/>
                  </a:cubicBezTo>
                  <a:cubicBezTo>
                    <a:pt x="3760946" y="391954"/>
                    <a:pt x="3760946" y="391001"/>
                    <a:pt x="3760946" y="391001"/>
                  </a:cubicBezTo>
                  <a:cubicBezTo>
                    <a:pt x="3761899" y="392906"/>
                    <a:pt x="3761899" y="394811"/>
                    <a:pt x="3762851" y="396716"/>
                  </a:cubicBezTo>
                  <a:cubicBezTo>
                    <a:pt x="3763804" y="397669"/>
                    <a:pt x="3762851" y="398621"/>
                    <a:pt x="3762851" y="399574"/>
                  </a:cubicBezTo>
                  <a:close/>
                  <a:moveTo>
                    <a:pt x="3770471" y="290036"/>
                  </a:moveTo>
                  <a:cubicBezTo>
                    <a:pt x="3772376" y="296704"/>
                    <a:pt x="3773329" y="302419"/>
                    <a:pt x="3775234" y="309086"/>
                  </a:cubicBezTo>
                  <a:cubicBezTo>
                    <a:pt x="3774281" y="306229"/>
                    <a:pt x="3773329" y="304324"/>
                    <a:pt x="3771424" y="301466"/>
                  </a:cubicBezTo>
                  <a:cubicBezTo>
                    <a:pt x="3771424" y="300514"/>
                    <a:pt x="3770471" y="300514"/>
                    <a:pt x="3770471" y="299561"/>
                  </a:cubicBezTo>
                  <a:cubicBezTo>
                    <a:pt x="3770471" y="296704"/>
                    <a:pt x="3770471" y="293846"/>
                    <a:pt x="3770471" y="290989"/>
                  </a:cubicBezTo>
                  <a:cubicBezTo>
                    <a:pt x="3770471" y="290989"/>
                    <a:pt x="3770471" y="290036"/>
                    <a:pt x="3770471" y="290036"/>
                  </a:cubicBezTo>
                  <a:close/>
                  <a:moveTo>
                    <a:pt x="3769519" y="370046"/>
                  </a:moveTo>
                  <a:cubicBezTo>
                    <a:pt x="3769519" y="370999"/>
                    <a:pt x="3769519" y="371951"/>
                    <a:pt x="3770471" y="372904"/>
                  </a:cubicBezTo>
                  <a:cubicBezTo>
                    <a:pt x="3769519" y="370999"/>
                    <a:pt x="3768566" y="369094"/>
                    <a:pt x="3767614" y="366236"/>
                  </a:cubicBezTo>
                  <a:cubicBezTo>
                    <a:pt x="3767614" y="362426"/>
                    <a:pt x="3767614" y="359569"/>
                    <a:pt x="3767614" y="359569"/>
                  </a:cubicBezTo>
                  <a:cubicBezTo>
                    <a:pt x="3767614" y="359569"/>
                    <a:pt x="3767614" y="361474"/>
                    <a:pt x="3766661" y="364331"/>
                  </a:cubicBezTo>
                  <a:cubicBezTo>
                    <a:pt x="3765709" y="363379"/>
                    <a:pt x="3765709" y="361474"/>
                    <a:pt x="3764756" y="360521"/>
                  </a:cubicBezTo>
                  <a:cubicBezTo>
                    <a:pt x="3764756" y="359569"/>
                    <a:pt x="3764756" y="358616"/>
                    <a:pt x="3764756" y="357664"/>
                  </a:cubicBezTo>
                  <a:cubicBezTo>
                    <a:pt x="3764756" y="355759"/>
                    <a:pt x="3765709" y="353854"/>
                    <a:pt x="3765709" y="351949"/>
                  </a:cubicBezTo>
                  <a:cubicBezTo>
                    <a:pt x="3767614" y="358616"/>
                    <a:pt x="3768566" y="364331"/>
                    <a:pt x="3769519" y="370046"/>
                  </a:cubicBezTo>
                  <a:close/>
                  <a:moveTo>
                    <a:pt x="3753326" y="250031"/>
                  </a:moveTo>
                  <a:cubicBezTo>
                    <a:pt x="3754279" y="245269"/>
                    <a:pt x="3754279" y="241459"/>
                    <a:pt x="3755231" y="236696"/>
                  </a:cubicBezTo>
                  <a:cubicBezTo>
                    <a:pt x="3755231" y="235744"/>
                    <a:pt x="3755231" y="233839"/>
                    <a:pt x="3756184" y="232886"/>
                  </a:cubicBezTo>
                  <a:cubicBezTo>
                    <a:pt x="3757136" y="231934"/>
                    <a:pt x="3757136" y="230981"/>
                    <a:pt x="3758089" y="230029"/>
                  </a:cubicBezTo>
                  <a:cubicBezTo>
                    <a:pt x="3759041" y="232886"/>
                    <a:pt x="3759041" y="234791"/>
                    <a:pt x="3759994" y="237649"/>
                  </a:cubicBezTo>
                  <a:cubicBezTo>
                    <a:pt x="3762851" y="250984"/>
                    <a:pt x="3766661" y="266224"/>
                    <a:pt x="3769519" y="281464"/>
                  </a:cubicBezTo>
                  <a:cubicBezTo>
                    <a:pt x="3768566" y="284321"/>
                    <a:pt x="3768566" y="287179"/>
                    <a:pt x="3767614" y="290036"/>
                  </a:cubicBezTo>
                  <a:cubicBezTo>
                    <a:pt x="3767614" y="290036"/>
                    <a:pt x="3767614" y="290036"/>
                    <a:pt x="3767614" y="290989"/>
                  </a:cubicBezTo>
                  <a:cubicBezTo>
                    <a:pt x="3762851" y="280511"/>
                    <a:pt x="3757136" y="270986"/>
                    <a:pt x="3752374" y="261461"/>
                  </a:cubicBezTo>
                  <a:cubicBezTo>
                    <a:pt x="3752374" y="258604"/>
                    <a:pt x="3752374" y="253841"/>
                    <a:pt x="3753326" y="250031"/>
                  </a:cubicBezTo>
                  <a:close/>
                  <a:moveTo>
                    <a:pt x="3748564" y="296704"/>
                  </a:moveTo>
                  <a:cubicBezTo>
                    <a:pt x="3748564" y="296704"/>
                    <a:pt x="3748564" y="296704"/>
                    <a:pt x="3748564" y="296704"/>
                  </a:cubicBezTo>
                  <a:cubicBezTo>
                    <a:pt x="3751421" y="301466"/>
                    <a:pt x="3753326" y="307181"/>
                    <a:pt x="3756184" y="313849"/>
                  </a:cubicBezTo>
                  <a:cubicBezTo>
                    <a:pt x="3756184" y="314801"/>
                    <a:pt x="3757136" y="315754"/>
                    <a:pt x="3757136" y="316706"/>
                  </a:cubicBezTo>
                  <a:cubicBezTo>
                    <a:pt x="3758089" y="318611"/>
                    <a:pt x="3758089" y="321469"/>
                    <a:pt x="3759041" y="323374"/>
                  </a:cubicBezTo>
                  <a:cubicBezTo>
                    <a:pt x="3758089" y="325279"/>
                    <a:pt x="3758089" y="328136"/>
                    <a:pt x="3757136" y="330041"/>
                  </a:cubicBezTo>
                  <a:cubicBezTo>
                    <a:pt x="3756184" y="333851"/>
                    <a:pt x="3755231" y="337661"/>
                    <a:pt x="3754279" y="341471"/>
                  </a:cubicBezTo>
                  <a:cubicBezTo>
                    <a:pt x="3753326" y="339566"/>
                    <a:pt x="3751421" y="337661"/>
                    <a:pt x="3750469" y="335756"/>
                  </a:cubicBezTo>
                  <a:cubicBezTo>
                    <a:pt x="3749516" y="333851"/>
                    <a:pt x="3748564" y="332899"/>
                    <a:pt x="3747611" y="331946"/>
                  </a:cubicBezTo>
                  <a:cubicBezTo>
                    <a:pt x="3748564" y="320516"/>
                    <a:pt x="3748564" y="308134"/>
                    <a:pt x="3748564" y="296704"/>
                  </a:cubicBezTo>
                  <a:close/>
                  <a:moveTo>
                    <a:pt x="3738086" y="273844"/>
                  </a:moveTo>
                  <a:cubicBezTo>
                    <a:pt x="3738086" y="273844"/>
                    <a:pt x="3738086" y="273844"/>
                    <a:pt x="3738086" y="273844"/>
                  </a:cubicBezTo>
                  <a:cubicBezTo>
                    <a:pt x="3738086" y="274796"/>
                    <a:pt x="3738086" y="274796"/>
                    <a:pt x="3738086" y="274796"/>
                  </a:cubicBezTo>
                  <a:cubicBezTo>
                    <a:pt x="3738086" y="273844"/>
                    <a:pt x="3738086" y="273844"/>
                    <a:pt x="3738086" y="273844"/>
                  </a:cubicBezTo>
                  <a:close/>
                  <a:moveTo>
                    <a:pt x="3689509" y="326231"/>
                  </a:moveTo>
                  <a:cubicBezTo>
                    <a:pt x="3688556" y="328136"/>
                    <a:pt x="3687604" y="330041"/>
                    <a:pt x="3686651" y="331946"/>
                  </a:cubicBezTo>
                  <a:cubicBezTo>
                    <a:pt x="3686651" y="331946"/>
                    <a:pt x="3686651" y="330994"/>
                    <a:pt x="3685699" y="330994"/>
                  </a:cubicBezTo>
                  <a:cubicBezTo>
                    <a:pt x="3685699" y="328136"/>
                    <a:pt x="3685699" y="325279"/>
                    <a:pt x="3685699" y="322421"/>
                  </a:cubicBezTo>
                  <a:cubicBezTo>
                    <a:pt x="3685699" y="319564"/>
                    <a:pt x="3685699" y="316706"/>
                    <a:pt x="3685699" y="313849"/>
                  </a:cubicBezTo>
                  <a:cubicBezTo>
                    <a:pt x="3686651" y="316706"/>
                    <a:pt x="3688556" y="320516"/>
                    <a:pt x="3689509" y="325279"/>
                  </a:cubicBezTo>
                  <a:cubicBezTo>
                    <a:pt x="3689509" y="326231"/>
                    <a:pt x="3689509" y="326231"/>
                    <a:pt x="3689509" y="326231"/>
                  </a:cubicBezTo>
                  <a:close/>
                  <a:moveTo>
                    <a:pt x="3716179" y="211931"/>
                  </a:moveTo>
                  <a:cubicBezTo>
                    <a:pt x="3718084" y="214789"/>
                    <a:pt x="3719036" y="218599"/>
                    <a:pt x="3720941" y="221456"/>
                  </a:cubicBezTo>
                  <a:cubicBezTo>
                    <a:pt x="3719989" y="224314"/>
                    <a:pt x="3719989" y="227171"/>
                    <a:pt x="3719036" y="230029"/>
                  </a:cubicBezTo>
                  <a:cubicBezTo>
                    <a:pt x="3719036" y="230981"/>
                    <a:pt x="3719036" y="232886"/>
                    <a:pt x="3718084" y="233839"/>
                  </a:cubicBezTo>
                  <a:cubicBezTo>
                    <a:pt x="3715226" y="230029"/>
                    <a:pt x="3713321" y="228124"/>
                    <a:pt x="3713321" y="228124"/>
                  </a:cubicBezTo>
                  <a:cubicBezTo>
                    <a:pt x="3713321" y="228124"/>
                    <a:pt x="3715226" y="230981"/>
                    <a:pt x="3717131" y="235744"/>
                  </a:cubicBezTo>
                  <a:cubicBezTo>
                    <a:pt x="3716179" y="241459"/>
                    <a:pt x="3715226" y="247174"/>
                    <a:pt x="3714274" y="253841"/>
                  </a:cubicBezTo>
                  <a:cubicBezTo>
                    <a:pt x="3714274" y="252889"/>
                    <a:pt x="3714274" y="251936"/>
                    <a:pt x="3714274" y="250984"/>
                  </a:cubicBezTo>
                  <a:cubicBezTo>
                    <a:pt x="3714274" y="246221"/>
                    <a:pt x="3713321" y="242411"/>
                    <a:pt x="3713321" y="238601"/>
                  </a:cubicBezTo>
                  <a:cubicBezTo>
                    <a:pt x="3713321" y="234791"/>
                    <a:pt x="3713321" y="230981"/>
                    <a:pt x="3713321" y="227171"/>
                  </a:cubicBezTo>
                  <a:cubicBezTo>
                    <a:pt x="3713321" y="219551"/>
                    <a:pt x="3712369" y="213836"/>
                    <a:pt x="3712369" y="208121"/>
                  </a:cubicBezTo>
                  <a:cubicBezTo>
                    <a:pt x="3712369" y="207169"/>
                    <a:pt x="3712369" y="206216"/>
                    <a:pt x="3712369" y="205264"/>
                  </a:cubicBezTo>
                  <a:cubicBezTo>
                    <a:pt x="3713321" y="207169"/>
                    <a:pt x="3714274" y="209074"/>
                    <a:pt x="3716179" y="211931"/>
                  </a:cubicBezTo>
                  <a:close/>
                  <a:moveTo>
                    <a:pt x="3679984" y="236696"/>
                  </a:moveTo>
                  <a:cubicBezTo>
                    <a:pt x="3681889" y="222409"/>
                    <a:pt x="3683794" y="209074"/>
                    <a:pt x="3684746" y="196691"/>
                  </a:cubicBezTo>
                  <a:cubicBezTo>
                    <a:pt x="3685699" y="185261"/>
                    <a:pt x="3687604" y="174784"/>
                    <a:pt x="3687604" y="166211"/>
                  </a:cubicBezTo>
                  <a:cubicBezTo>
                    <a:pt x="3687604" y="161449"/>
                    <a:pt x="3688556" y="157639"/>
                    <a:pt x="3688556" y="154781"/>
                  </a:cubicBezTo>
                  <a:cubicBezTo>
                    <a:pt x="3690461" y="159544"/>
                    <a:pt x="3694271" y="168116"/>
                    <a:pt x="3699034" y="178594"/>
                  </a:cubicBezTo>
                  <a:cubicBezTo>
                    <a:pt x="3701891" y="184309"/>
                    <a:pt x="3704749" y="191929"/>
                    <a:pt x="3708559" y="199549"/>
                  </a:cubicBezTo>
                  <a:cubicBezTo>
                    <a:pt x="3708559" y="201454"/>
                    <a:pt x="3707606" y="204311"/>
                    <a:pt x="3707606" y="207169"/>
                  </a:cubicBezTo>
                  <a:cubicBezTo>
                    <a:pt x="3706654" y="211931"/>
                    <a:pt x="3705701" y="218599"/>
                    <a:pt x="3704749" y="226219"/>
                  </a:cubicBezTo>
                  <a:cubicBezTo>
                    <a:pt x="3703796" y="230029"/>
                    <a:pt x="3703796" y="233839"/>
                    <a:pt x="3702844" y="237649"/>
                  </a:cubicBezTo>
                  <a:cubicBezTo>
                    <a:pt x="3702844" y="241459"/>
                    <a:pt x="3701891" y="246221"/>
                    <a:pt x="3701891" y="250984"/>
                  </a:cubicBezTo>
                  <a:cubicBezTo>
                    <a:pt x="3700939" y="259556"/>
                    <a:pt x="3700939" y="270034"/>
                    <a:pt x="3700939" y="280511"/>
                  </a:cubicBezTo>
                  <a:cubicBezTo>
                    <a:pt x="3700939" y="287179"/>
                    <a:pt x="3700939" y="293846"/>
                    <a:pt x="3700939" y="300514"/>
                  </a:cubicBezTo>
                  <a:cubicBezTo>
                    <a:pt x="3699034" y="293846"/>
                    <a:pt x="3697129" y="290036"/>
                    <a:pt x="3697129" y="290036"/>
                  </a:cubicBezTo>
                  <a:cubicBezTo>
                    <a:pt x="3697129" y="290036"/>
                    <a:pt x="3698081" y="296704"/>
                    <a:pt x="3699034" y="308134"/>
                  </a:cubicBezTo>
                  <a:cubicBezTo>
                    <a:pt x="3696176" y="312896"/>
                    <a:pt x="3693319" y="317659"/>
                    <a:pt x="3690461" y="322421"/>
                  </a:cubicBezTo>
                  <a:cubicBezTo>
                    <a:pt x="3687604" y="317659"/>
                    <a:pt x="3685699" y="313849"/>
                    <a:pt x="3683794" y="310991"/>
                  </a:cubicBezTo>
                  <a:cubicBezTo>
                    <a:pt x="3683794" y="305276"/>
                    <a:pt x="3683794" y="302419"/>
                    <a:pt x="3683794" y="302419"/>
                  </a:cubicBezTo>
                  <a:cubicBezTo>
                    <a:pt x="3683794" y="302419"/>
                    <a:pt x="3683794" y="304324"/>
                    <a:pt x="3682841" y="308134"/>
                  </a:cubicBezTo>
                  <a:cubicBezTo>
                    <a:pt x="3680936" y="304324"/>
                    <a:pt x="3679031" y="302419"/>
                    <a:pt x="3679031" y="302419"/>
                  </a:cubicBezTo>
                  <a:cubicBezTo>
                    <a:pt x="3679031" y="302419"/>
                    <a:pt x="3679984" y="305276"/>
                    <a:pt x="3681889" y="310991"/>
                  </a:cubicBezTo>
                  <a:cubicBezTo>
                    <a:pt x="3680936" y="313849"/>
                    <a:pt x="3680936" y="318611"/>
                    <a:pt x="3679984" y="323374"/>
                  </a:cubicBezTo>
                  <a:cubicBezTo>
                    <a:pt x="3677126" y="317659"/>
                    <a:pt x="3675221" y="311944"/>
                    <a:pt x="3672364" y="307181"/>
                  </a:cubicBezTo>
                  <a:cubicBezTo>
                    <a:pt x="3674269" y="300514"/>
                    <a:pt x="3676174" y="294799"/>
                    <a:pt x="3677126" y="289084"/>
                  </a:cubicBezTo>
                  <a:cubicBezTo>
                    <a:pt x="3679031" y="283369"/>
                    <a:pt x="3680936" y="277654"/>
                    <a:pt x="3681889" y="272891"/>
                  </a:cubicBezTo>
                  <a:cubicBezTo>
                    <a:pt x="3683794" y="268129"/>
                    <a:pt x="3685699" y="264319"/>
                    <a:pt x="3686651" y="260509"/>
                  </a:cubicBezTo>
                  <a:cubicBezTo>
                    <a:pt x="3690461" y="253841"/>
                    <a:pt x="3692366" y="250031"/>
                    <a:pt x="3692366" y="250031"/>
                  </a:cubicBezTo>
                  <a:cubicBezTo>
                    <a:pt x="3692366" y="250031"/>
                    <a:pt x="3689509" y="252889"/>
                    <a:pt x="3683794" y="258604"/>
                  </a:cubicBezTo>
                  <a:cubicBezTo>
                    <a:pt x="3680936" y="261461"/>
                    <a:pt x="3678079" y="265271"/>
                    <a:pt x="3675221" y="270034"/>
                  </a:cubicBezTo>
                  <a:cubicBezTo>
                    <a:pt x="3674269" y="271939"/>
                    <a:pt x="3673316" y="273844"/>
                    <a:pt x="3671411" y="275749"/>
                  </a:cubicBezTo>
                  <a:cubicBezTo>
                    <a:pt x="3677126" y="261461"/>
                    <a:pt x="3679031" y="248126"/>
                    <a:pt x="3679984" y="236696"/>
                  </a:cubicBezTo>
                  <a:close/>
                  <a:moveTo>
                    <a:pt x="3678079" y="342424"/>
                  </a:moveTo>
                  <a:cubicBezTo>
                    <a:pt x="3678079" y="344329"/>
                    <a:pt x="3677126" y="346234"/>
                    <a:pt x="3677126" y="349091"/>
                  </a:cubicBezTo>
                  <a:cubicBezTo>
                    <a:pt x="3677126" y="347186"/>
                    <a:pt x="3676174" y="345281"/>
                    <a:pt x="3676174" y="343376"/>
                  </a:cubicBezTo>
                  <a:cubicBezTo>
                    <a:pt x="3675221" y="340519"/>
                    <a:pt x="3675221" y="337661"/>
                    <a:pt x="3674269" y="335756"/>
                  </a:cubicBezTo>
                  <a:cubicBezTo>
                    <a:pt x="3675221" y="337661"/>
                    <a:pt x="3676174" y="340519"/>
                    <a:pt x="3678079" y="342424"/>
                  </a:cubicBezTo>
                  <a:close/>
                  <a:moveTo>
                    <a:pt x="3664744" y="355759"/>
                  </a:moveTo>
                  <a:cubicBezTo>
                    <a:pt x="3664744" y="357664"/>
                    <a:pt x="3664744" y="360521"/>
                    <a:pt x="3664744" y="362426"/>
                  </a:cubicBezTo>
                  <a:cubicBezTo>
                    <a:pt x="3664744" y="365284"/>
                    <a:pt x="3663791" y="368141"/>
                    <a:pt x="3663791" y="371951"/>
                  </a:cubicBezTo>
                  <a:cubicBezTo>
                    <a:pt x="3663791" y="371951"/>
                    <a:pt x="3663791" y="371951"/>
                    <a:pt x="3663791" y="371951"/>
                  </a:cubicBezTo>
                  <a:cubicBezTo>
                    <a:pt x="3663791" y="370046"/>
                    <a:pt x="3662839" y="368141"/>
                    <a:pt x="3662839" y="367189"/>
                  </a:cubicBezTo>
                  <a:cubicBezTo>
                    <a:pt x="3662839" y="367189"/>
                    <a:pt x="3662839" y="367189"/>
                    <a:pt x="3662839" y="366236"/>
                  </a:cubicBezTo>
                  <a:cubicBezTo>
                    <a:pt x="3663791" y="363379"/>
                    <a:pt x="3664744" y="359569"/>
                    <a:pt x="3664744" y="355759"/>
                  </a:cubicBezTo>
                  <a:close/>
                  <a:moveTo>
                    <a:pt x="3603784" y="369094"/>
                  </a:moveTo>
                  <a:cubicBezTo>
                    <a:pt x="3603784" y="367189"/>
                    <a:pt x="3602831" y="365284"/>
                    <a:pt x="3602831" y="363379"/>
                  </a:cubicBezTo>
                  <a:cubicBezTo>
                    <a:pt x="3603784" y="359569"/>
                    <a:pt x="3604736" y="355759"/>
                    <a:pt x="3605689" y="352901"/>
                  </a:cubicBezTo>
                  <a:cubicBezTo>
                    <a:pt x="3605689" y="351949"/>
                    <a:pt x="3606641" y="350996"/>
                    <a:pt x="3606641" y="350044"/>
                  </a:cubicBezTo>
                  <a:cubicBezTo>
                    <a:pt x="3606641" y="350996"/>
                    <a:pt x="3607594" y="351949"/>
                    <a:pt x="3607594" y="352901"/>
                  </a:cubicBezTo>
                  <a:lnTo>
                    <a:pt x="3607594" y="353854"/>
                  </a:lnTo>
                  <a:cubicBezTo>
                    <a:pt x="3605689" y="358616"/>
                    <a:pt x="3604736" y="364331"/>
                    <a:pt x="3603784" y="369094"/>
                  </a:cubicBezTo>
                  <a:close/>
                  <a:moveTo>
                    <a:pt x="3612356" y="329089"/>
                  </a:moveTo>
                  <a:cubicBezTo>
                    <a:pt x="3612356" y="329089"/>
                    <a:pt x="3611404" y="328136"/>
                    <a:pt x="3611404" y="327184"/>
                  </a:cubicBezTo>
                  <a:cubicBezTo>
                    <a:pt x="3611404" y="325279"/>
                    <a:pt x="3611404" y="323374"/>
                    <a:pt x="3610451" y="321469"/>
                  </a:cubicBezTo>
                  <a:cubicBezTo>
                    <a:pt x="3611404" y="322421"/>
                    <a:pt x="3612356" y="323374"/>
                    <a:pt x="3613309" y="324326"/>
                  </a:cubicBezTo>
                  <a:cubicBezTo>
                    <a:pt x="3613309" y="326231"/>
                    <a:pt x="3612356" y="327184"/>
                    <a:pt x="3612356" y="329089"/>
                  </a:cubicBezTo>
                  <a:close/>
                  <a:moveTo>
                    <a:pt x="3633311" y="366236"/>
                  </a:moveTo>
                  <a:cubicBezTo>
                    <a:pt x="3632359" y="363379"/>
                    <a:pt x="3630454" y="361474"/>
                    <a:pt x="3629501" y="358616"/>
                  </a:cubicBezTo>
                  <a:cubicBezTo>
                    <a:pt x="3629501" y="357664"/>
                    <a:pt x="3629501" y="355759"/>
                    <a:pt x="3629501" y="354806"/>
                  </a:cubicBezTo>
                  <a:cubicBezTo>
                    <a:pt x="3631406" y="357664"/>
                    <a:pt x="3632359" y="361474"/>
                    <a:pt x="3633311" y="366236"/>
                  </a:cubicBezTo>
                  <a:cubicBezTo>
                    <a:pt x="3633311" y="366236"/>
                    <a:pt x="3634264" y="366236"/>
                    <a:pt x="3633311" y="366236"/>
                  </a:cubicBezTo>
                  <a:cubicBezTo>
                    <a:pt x="3634264" y="366236"/>
                    <a:pt x="3633311" y="366236"/>
                    <a:pt x="3633311" y="366236"/>
                  </a:cubicBezTo>
                  <a:close/>
                  <a:moveTo>
                    <a:pt x="3632359" y="331946"/>
                  </a:moveTo>
                  <a:cubicBezTo>
                    <a:pt x="3633311" y="336709"/>
                    <a:pt x="3634264" y="342424"/>
                    <a:pt x="3635216" y="348139"/>
                  </a:cubicBezTo>
                  <a:cubicBezTo>
                    <a:pt x="3634264" y="346234"/>
                    <a:pt x="3632359" y="343376"/>
                    <a:pt x="3631406" y="341471"/>
                  </a:cubicBezTo>
                  <a:cubicBezTo>
                    <a:pt x="3631406" y="337661"/>
                    <a:pt x="3631406" y="334804"/>
                    <a:pt x="3632359" y="331946"/>
                  </a:cubicBezTo>
                  <a:close/>
                  <a:moveTo>
                    <a:pt x="3618071" y="270034"/>
                  </a:moveTo>
                  <a:cubicBezTo>
                    <a:pt x="3621881" y="261461"/>
                    <a:pt x="3624739" y="252889"/>
                    <a:pt x="3628549" y="246221"/>
                  </a:cubicBezTo>
                  <a:cubicBezTo>
                    <a:pt x="3629501" y="244316"/>
                    <a:pt x="3629501" y="243364"/>
                    <a:pt x="3630454" y="242411"/>
                  </a:cubicBezTo>
                  <a:cubicBezTo>
                    <a:pt x="3629501" y="249079"/>
                    <a:pt x="3627596" y="256699"/>
                    <a:pt x="3625691" y="265271"/>
                  </a:cubicBezTo>
                  <a:cubicBezTo>
                    <a:pt x="3623786" y="267176"/>
                    <a:pt x="3620929" y="269081"/>
                    <a:pt x="3618071" y="271939"/>
                  </a:cubicBezTo>
                  <a:cubicBezTo>
                    <a:pt x="3618071" y="270986"/>
                    <a:pt x="3618071" y="270034"/>
                    <a:pt x="3618071" y="270034"/>
                  </a:cubicBezTo>
                  <a:close/>
                  <a:moveTo>
                    <a:pt x="3601879" y="310039"/>
                  </a:moveTo>
                  <a:cubicBezTo>
                    <a:pt x="3603784" y="306229"/>
                    <a:pt x="3604736" y="302419"/>
                    <a:pt x="3606641" y="298609"/>
                  </a:cubicBezTo>
                  <a:cubicBezTo>
                    <a:pt x="3609499" y="291941"/>
                    <a:pt x="3612356" y="285274"/>
                    <a:pt x="3615214" y="278606"/>
                  </a:cubicBezTo>
                  <a:cubicBezTo>
                    <a:pt x="3617119" y="276701"/>
                    <a:pt x="3619024" y="273844"/>
                    <a:pt x="3619976" y="271939"/>
                  </a:cubicBezTo>
                  <a:cubicBezTo>
                    <a:pt x="3621881" y="270034"/>
                    <a:pt x="3623786" y="268129"/>
                    <a:pt x="3625691" y="266224"/>
                  </a:cubicBezTo>
                  <a:cubicBezTo>
                    <a:pt x="3625691" y="268129"/>
                    <a:pt x="3624739" y="269081"/>
                    <a:pt x="3624739" y="270986"/>
                  </a:cubicBezTo>
                  <a:cubicBezTo>
                    <a:pt x="3621881" y="282416"/>
                    <a:pt x="3619976" y="295751"/>
                    <a:pt x="3617119" y="309086"/>
                  </a:cubicBezTo>
                  <a:cubicBezTo>
                    <a:pt x="3616166" y="312896"/>
                    <a:pt x="3615214" y="317659"/>
                    <a:pt x="3614261" y="322421"/>
                  </a:cubicBezTo>
                  <a:cubicBezTo>
                    <a:pt x="3613309" y="321469"/>
                    <a:pt x="3612356" y="320516"/>
                    <a:pt x="3611404" y="320516"/>
                  </a:cubicBezTo>
                  <a:cubicBezTo>
                    <a:pt x="3610451" y="312896"/>
                    <a:pt x="3610451" y="306229"/>
                    <a:pt x="3609499" y="298609"/>
                  </a:cubicBezTo>
                  <a:cubicBezTo>
                    <a:pt x="3609499" y="305276"/>
                    <a:pt x="3608546" y="311944"/>
                    <a:pt x="3608546" y="318611"/>
                  </a:cubicBezTo>
                  <a:cubicBezTo>
                    <a:pt x="3607594" y="318611"/>
                    <a:pt x="3606641" y="317659"/>
                    <a:pt x="3606641" y="317659"/>
                  </a:cubicBezTo>
                  <a:cubicBezTo>
                    <a:pt x="3607594" y="318611"/>
                    <a:pt x="3608546" y="318611"/>
                    <a:pt x="3608546" y="319564"/>
                  </a:cubicBezTo>
                  <a:cubicBezTo>
                    <a:pt x="3608546" y="320516"/>
                    <a:pt x="3608546" y="321469"/>
                    <a:pt x="3608546" y="322421"/>
                  </a:cubicBezTo>
                  <a:cubicBezTo>
                    <a:pt x="3606641" y="318611"/>
                    <a:pt x="3604736" y="315754"/>
                    <a:pt x="3602831" y="312896"/>
                  </a:cubicBezTo>
                  <a:cubicBezTo>
                    <a:pt x="3601879" y="310991"/>
                    <a:pt x="3601879" y="310039"/>
                    <a:pt x="3601879" y="310039"/>
                  </a:cubicBezTo>
                  <a:close/>
                  <a:moveTo>
                    <a:pt x="3600926" y="335756"/>
                  </a:moveTo>
                  <a:cubicBezTo>
                    <a:pt x="3601879" y="339566"/>
                    <a:pt x="3603784" y="342424"/>
                    <a:pt x="3604736" y="346234"/>
                  </a:cubicBezTo>
                  <a:cubicBezTo>
                    <a:pt x="3603784" y="348139"/>
                    <a:pt x="3602831" y="350044"/>
                    <a:pt x="3601879" y="351949"/>
                  </a:cubicBezTo>
                  <a:cubicBezTo>
                    <a:pt x="3601879" y="351949"/>
                    <a:pt x="3601879" y="352901"/>
                    <a:pt x="3600926" y="352901"/>
                  </a:cubicBezTo>
                  <a:cubicBezTo>
                    <a:pt x="3600926" y="350044"/>
                    <a:pt x="3599974" y="348139"/>
                    <a:pt x="3599974" y="345281"/>
                  </a:cubicBezTo>
                  <a:cubicBezTo>
                    <a:pt x="3599974" y="342424"/>
                    <a:pt x="3600926" y="338614"/>
                    <a:pt x="3600926" y="335756"/>
                  </a:cubicBezTo>
                  <a:close/>
                  <a:moveTo>
                    <a:pt x="3556159" y="342424"/>
                  </a:moveTo>
                  <a:cubicBezTo>
                    <a:pt x="3556159" y="335756"/>
                    <a:pt x="3557111" y="330041"/>
                    <a:pt x="3557111" y="324326"/>
                  </a:cubicBezTo>
                  <a:cubicBezTo>
                    <a:pt x="3557111" y="325279"/>
                    <a:pt x="3558064" y="327184"/>
                    <a:pt x="3558064" y="328136"/>
                  </a:cubicBezTo>
                  <a:cubicBezTo>
                    <a:pt x="3558064" y="330041"/>
                    <a:pt x="3559016" y="331946"/>
                    <a:pt x="3559016" y="333851"/>
                  </a:cubicBezTo>
                  <a:cubicBezTo>
                    <a:pt x="3559016" y="333851"/>
                    <a:pt x="3559016" y="334804"/>
                    <a:pt x="3559016" y="334804"/>
                  </a:cubicBezTo>
                  <a:cubicBezTo>
                    <a:pt x="3558064" y="337661"/>
                    <a:pt x="3557111" y="339566"/>
                    <a:pt x="3556159" y="342424"/>
                  </a:cubicBezTo>
                  <a:close/>
                  <a:moveTo>
                    <a:pt x="3559969" y="279559"/>
                  </a:moveTo>
                  <a:cubicBezTo>
                    <a:pt x="3559016" y="277654"/>
                    <a:pt x="3559016" y="276701"/>
                    <a:pt x="3559016" y="274796"/>
                  </a:cubicBezTo>
                  <a:cubicBezTo>
                    <a:pt x="3559969" y="275749"/>
                    <a:pt x="3560921" y="275749"/>
                    <a:pt x="3561874" y="276701"/>
                  </a:cubicBezTo>
                  <a:cubicBezTo>
                    <a:pt x="3563779" y="277654"/>
                    <a:pt x="3564731" y="278606"/>
                    <a:pt x="3566636" y="280511"/>
                  </a:cubicBezTo>
                  <a:cubicBezTo>
                    <a:pt x="3565684" y="282416"/>
                    <a:pt x="3563779" y="284321"/>
                    <a:pt x="3562826" y="287179"/>
                  </a:cubicBezTo>
                  <a:cubicBezTo>
                    <a:pt x="3561874" y="285274"/>
                    <a:pt x="3560921" y="282416"/>
                    <a:pt x="3559969" y="279559"/>
                  </a:cubicBezTo>
                  <a:close/>
                  <a:moveTo>
                    <a:pt x="3571399" y="287179"/>
                  </a:moveTo>
                  <a:cubicBezTo>
                    <a:pt x="3571399" y="294799"/>
                    <a:pt x="3571399" y="303371"/>
                    <a:pt x="3571399" y="311944"/>
                  </a:cubicBezTo>
                  <a:cubicBezTo>
                    <a:pt x="3570446" y="312896"/>
                    <a:pt x="3570446" y="313849"/>
                    <a:pt x="3569494" y="314801"/>
                  </a:cubicBezTo>
                  <a:cubicBezTo>
                    <a:pt x="3567589" y="307181"/>
                    <a:pt x="3565684" y="299561"/>
                    <a:pt x="3562826" y="292894"/>
                  </a:cubicBezTo>
                  <a:cubicBezTo>
                    <a:pt x="3563779" y="289084"/>
                    <a:pt x="3565684" y="285274"/>
                    <a:pt x="3566636" y="282416"/>
                  </a:cubicBezTo>
                  <a:cubicBezTo>
                    <a:pt x="3568541" y="283369"/>
                    <a:pt x="3570446" y="284321"/>
                    <a:pt x="3571399" y="287179"/>
                  </a:cubicBezTo>
                  <a:cubicBezTo>
                    <a:pt x="3571399" y="286226"/>
                    <a:pt x="3571399" y="286226"/>
                    <a:pt x="3571399" y="287179"/>
                  </a:cubicBezTo>
                  <a:close/>
                  <a:moveTo>
                    <a:pt x="3571399" y="281464"/>
                  </a:moveTo>
                  <a:cubicBezTo>
                    <a:pt x="3570446" y="280511"/>
                    <a:pt x="3569494" y="280511"/>
                    <a:pt x="3568541" y="279559"/>
                  </a:cubicBezTo>
                  <a:cubicBezTo>
                    <a:pt x="3568541" y="279559"/>
                    <a:pt x="3568541" y="279559"/>
                    <a:pt x="3568541" y="279559"/>
                  </a:cubicBezTo>
                  <a:cubicBezTo>
                    <a:pt x="3570446" y="276701"/>
                    <a:pt x="3571399" y="274796"/>
                    <a:pt x="3571399" y="273844"/>
                  </a:cubicBezTo>
                  <a:cubicBezTo>
                    <a:pt x="3571399" y="276701"/>
                    <a:pt x="3571399" y="279559"/>
                    <a:pt x="3571399" y="281464"/>
                  </a:cubicBezTo>
                  <a:close/>
                  <a:moveTo>
                    <a:pt x="3567589" y="250031"/>
                  </a:moveTo>
                  <a:cubicBezTo>
                    <a:pt x="3568541" y="254794"/>
                    <a:pt x="3569494" y="260509"/>
                    <a:pt x="3570446" y="265271"/>
                  </a:cubicBezTo>
                  <a:cubicBezTo>
                    <a:pt x="3570446" y="267176"/>
                    <a:pt x="3571399" y="270034"/>
                    <a:pt x="3571399" y="271939"/>
                  </a:cubicBezTo>
                  <a:cubicBezTo>
                    <a:pt x="3571399" y="271939"/>
                    <a:pt x="3571399" y="272891"/>
                    <a:pt x="3571399" y="272891"/>
                  </a:cubicBezTo>
                  <a:cubicBezTo>
                    <a:pt x="3571399" y="272891"/>
                    <a:pt x="3569494" y="274796"/>
                    <a:pt x="3567589" y="277654"/>
                  </a:cubicBezTo>
                  <a:cubicBezTo>
                    <a:pt x="3567589" y="277654"/>
                    <a:pt x="3567589" y="277654"/>
                    <a:pt x="3567589" y="277654"/>
                  </a:cubicBezTo>
                  <a:cubicBezTo>
                    <a:pt x="3565684" y="276701"/>
                    <a:pt x="3563779" y="274796"/>
                    <a:pt x="3561874" y="274796"/>
                  </a:cubicBezTo>
                  <a:cubicBezTo>
                    <a:pt x="3559969" y="273844"/>
                    <a:pt x="3559016" y="273844"/>
                    <a:pt x="3558064" y="272891"/>
                  </a:cubicBezTo>
                  <a:cubicBezTo>
                    <a:pt x="3557111" y="269081"/>
                    <a:pt x="3555206" y="264319"/>
                    <a:pt x="3554254" y="260509"/>
                  </a:cubicBezTo>
                  <a:cubicBezTo>
                    <a:pt x="3555206" y="259556"/>
                    <a:pt x="3555206" y="258604"/>
                    <a:pt x="3556159" y="257651"/>
                  </a:cubicBezTo>
                  <a:cubicBezTo>
                    <a:pt x="3559969" y="251936"/>
                    <a:pt x="3562826" y="247174"/>
                    <a:pt x="3566636" y="243364"/>
                  </a:cubicBezTo>
                  <a:cubicBezTo>
                    <a:pt x="3567589" y="246221"/>
                    <a:pt x="3567589" y="248126"/>
                    <a:pt x="3567589" y="250031"/>
                  </a:cubicBezTo>
                  <a:close/>
                  <a:moveTo>
                    <a:pt x="3561874" y="229076"/>
                  </a:moveTo>
                  <a:cubicBezTo>
                    <a:pt x="3561874" y="228124"/>
                    <a:pt x="3562826" y="228124"/>
                    <a:pt x="3562826" y="227171"/>
                  </a:cubicBezTo>
                  <a:cubicBezTo>
                    <a:pt x="3563779" y="230029"/>
                    <a:pt x="3563779" y="232886"/>
                    <a:pt x="3564731" y="235744"/>
                  </a:cubicBezTo>
                  <a:cubicBezTo>
                    <a:pt x="3564731" y="236696"/>
                    <a:pt x="3564731" y="237649"/>
                    <a:pt x="3565684" y="238601"/>
                  </a:cubicBezTo>
                  <a:cubicBezTo>
                    <a:pt x="3561874" y="241459"/>
                    <a:pt x="3557111" y="246221"/>
                    <a:pt x="3552349" y="251936"/>
                  </a:cubicBezTo>
                  <a:cubicBezTo>
                    <a:pt x="3552349" y="250031"/>
                    <a:pt x="3551396" y="248126"/>
                    <a:pt x="3551396" y="247174"/>
                  </a:cubicBezTo>
                  <a:cubicBezTo>
                    <a:pt x="3555206" y="241459"/>
                    <a:pt x="3558064" y="234791"/>
                    <a:pt x="3561874" y="229076"/>
                  </a:cubicBezTo>
                  <a:close/>
                  <a:moveTo>
                    <a:pt x="3551396" y="293846"/>
                  </a:moveTo>
                  <a:cubicBezTo>
                    <a:pt x="3552349" y="298609"/>
                    <a:pt x="3553301" y="303371"/>
                    <a:pt x="3554254" y="307181"/>
                  </a:cubicBezTo>
                  <a:cubicBezTo>
                    <a:pt x="3553301" y="311944"/>
                    <a:pt x="3551396" y="315754"/>
                    <a:pt x="3550444" y="321469"/>
                  </a:cubicBezTo>
                  <a:cubicBezTo>
                    <a:pt x="3549491" y="325279"/>
                    <a:pt x="3548539" y="329089"/>
                    <a:pt x="3547586" y="333851"/>
                  </a:cubicBezTo>
                  <a:cubicBezTo>
                    <a:pt x="3547586" y="332899"/>
                    <a:pt x="3546634" y="332899"/>
                    <a:pt x="3546634" y="331946"/>
                  </a:cubicBezTo>
                  <a:cubicBezTo>
                    <a:pt x="3545681" y="330041"/>
                    <a:pt x="3544729" y="329089"/>
                    <a:pt x="3543776" y="327184"/>
                  </a:cubicBezTo>
                  <a:cubicBezTo>
                    <a:pt x="3544729" y="319564"/>
                    <a:pt x="3544729" y="312896"/>
                    <a:pt x="3544729" y="306229"/>
                  </a:cubicBezTo>
                  <a:cubicBezTo>
                    <a:pt x="3545681" y="299561"/>
                    <a:pt x="3546634" y="292894"/>
                    <a:pt x="3547586" y="286226"/>
                  </a:cubicBezTo>
                  <a:cubicBezTo>
                    <a:pt x="3547586" y="283369"/>
                    <a:pt x="3548539" y="279559"/>
                    <a:pt x="3548539" y="276701"/>
                  </a:cubicBezTo>
                  <a:cubicBezTo>
                    <a:pt x="3548539" y="282416"/>
                    <a:pt x="3550444" y="288131"/>
                    <a:pt x="3551396" y="293846"/>
                  </a:cubicBezTo>
                  <a:close/>
                  <a:moveTo>
                    <a:pt x="3543776" y="191929"/>
                  </a:moveTo>
                  <a:cubicBezTo>
                    <a:pt x="3545681" y="187166"/>
                    <a:pt x="3547586" y="183356"/>
                    <a:pt x="3549491" y="180499"/>
                  </a:cubicBezTo>
                  <a:cubicBezTo>
                    <a:pt x="3549491" y="181451"/>
                    <a:pt x="3549491" y="183356"/>
                    <a:pt x="3548539" y="185261"/>
                  </a:cubicBezTo>
                  <a:cubicBezTo>
                    <a:pt x="3547586" y="192881"/>
                    <a:pt x="3546634" y="201454"/>
                    <a:pt x="3544729" y="211931"/>
                  </a:cubicBezTo>
                  <a:cubicBezTo>
                    <a:pt x="3544729" y="213836"/>
                    <a:pt x="3543776" y="215741"/>
                    <a:pt x="3543776" y="217646"/>
                  </a:cubicBezTo>
                  <a:cubicBezTo>
                    <a:pt x="3541871" y="210026"/>
                    <a:pt x="3539966" y="204311"/>
                    <a:pt x="3539014" y="200501"/>
                  </a:cubicBezTo>
                  <a:cubicBezTo>
                    <a:pt x="3540919" y="196691"/>
                    <a:pt x="3541871" y="194786"/>
                    <a:pt x="3543776" y="191929"/>
                  </a:cubicBezTo>
                  <a:close/>
                  <a:moveTo>
                    <a:pt x="3530441" y="217646"/>
                  </a:moveTo>
                  <a:cubicBezTo>
                    <a:pt x="3533299" y="211931"/>
                    <a:pt x="3536156" y="206216"/>
                    <a:pt x="3539014" y="201454"/>
                  </a:cubicBezTo>
                  <a:cubicBezTo>
                    <a:pt x="3539014" y="205264"/>
                    <a:pt x="3539966" y="210979"/>
                    <a:pt x="3540919" y="217646"/>
                  </a:cubicBezTo>
                  <a:cubicBezTo>
                    <a:pt x="3540919" y="221456"/>
                    <a:pt x="3541871" y="226219"/>
                    <a:pt x="3542824" y="231934"/>
                  </a:cubicBezTo>
                  <a:cubicBezTo>
                    <a:pt x="3541871" y="234791"/>
                    <a:pt x="3541871" y="237649"/>
                    <a:pt x="3540919" y="240506"/>
                  </a:cubicBezTo>
                  <a:cubicBezTo>
                    <a:pt x="3537109" y="246221"/>
                    <a:pt x="3532346" y="252889"/>
                    <a:pt x="3528536" y="259556"/>
                  </a:cubicBezTo>
                  <a:cubicBezTo>
                    <a:pt x="3528536" y="258604"/>
                    <a:pt x="3528536" y="257651"/>
                    <a:pt x="3528536" y="257651"/>
                  </a:cubicBezTo>
                  <a:cubicBezTo>
                    <a:pt x="3528536" y="251936"/>
                    <a:pt x="3528536" y="246221"/>
                    <a:pt x="3527584" y="240506"/>
                  </a:cubicBezTo>
                  <a:cubicBezTo>
                    <a:pt x="3527584" y="236696"/>
                    <a:pt x="3526631" y="232886"/>
                    <a:pt x="3526631" y="229076"/>
                  </a:cubicBezTo>
                  <a:cubicBezTo>
                    <a:pt x="3527584" y="224314"/>
                    <a:pt x="3528536" y="220504"/>
                    <a:pt x="3530441" y="217646"/>
                  </a:cubicBezTo>
                  <a:close/>
                  <a:moveTo>
                    <a:pt x="3490436" y="321469"/>
                  </a:moveTo>
                  <a:cubicBezTo>
                    <a:pt x="3490436" y="320516"/>
                    <a:pt x="3490436" y="318611"/>
                    <a:pt x="3490436" y="317659"/>
                  </a:cubicBezTo>
                  <a:cubicBezTo>
                    <a:pt x="3490436" y="318611"/>
                    <a:pt x="3491389" y="319564"/>
                    <a:pt x="3491389" y="319564"/>
                  </a:cubicBezTo>
                  <a:cubicBezTo>
                    <a:pt x="3491389" y="320516"/>
                    <a:pt x="3491389" y="320516"/>
                    <a:pt x="3490436" y="321469"/>
                  </a:cubicBezTo>
                  <a:close/>
                  <a:moveTo>
                    <a:pt x="3514249" y="250984"/>
                  </a:moveTo>
                  <a:cubicBezTo>
                    <a:pt x="3515201" y="249079"/>
                    <a:pt x="3516154" y="247174"/>
                    <a:pt x="3516154" y="246221"/>
                  </a:cubicBezTo>
                  <a:cubicBezTo>
                    <a:pt x="3516154" y="250031"/>
                    <a:pt x="3516154" y="253841"/>
                    <a:pt x="3515201" y="257651"/>
                  </a:cubicBezTo>
                  <a:cubicBezTo>
                    <a:pt x="3515201" y="261461"/>
                    <a:pt x="3514249" y="266224"/>
                    <a:pt x="3514249" y="270986"/>
                  </a:cubicBezTo>
                  <a:cubicBezTo>
                    <a:pt x="3513296" y="267176"/>
                    <a:pt x="3511391" y="263366"/>
                    <a:pt x="3509486" y="259556"/>
                  </a:cubicBezTo>
                  <a:cubicBezTo>
                    <a:pt x="3512344" y="255746"/>
                    <a:pt x="3513296" y="252889"/>
                    <a:pt x="3514249" y="250984"/>
                  </a:cubicBezTo>
                  <a:close/>
                  <a:moveTo>
                    <a:pt x="3504724" y="271939"/>
                  </a:moveTo>
                  <a:cubicBezTo>
                    <a:pt x="3504724" y="272891"/>
                    <a:pt x="3505676" y="273844"/>
                    <a:pt x="3505676" y="274796"/>
                  </a:cubicBezTo>
                  <a:cubicBezTo>
                    <a:pt x="3506629" y="279559"/>
                    <a:pt x="3508534" y="283369"/>
                    <a:pt x="3509486" y="288131"/>
                  </a:cubicBezTo>
                  <a:cubicBezTo>
                    <a:pt x="3508534" y="290036"/>
                    <a:pt x="3507581" y="291941"/>
                    <a:pt x="3505676" y="293846"/>
                  </a:cubicBezTo>
                  <a:cubicBezTo>
                    <a:pt x="3505676" y="290036"/>
                    <a:pt x="3504724" y="286226"/>
                    <a:pt x="3504724" y="282416"/>
                  </a:cubicBezTo>
                  <a:cubicBezTo>
                    <a:pt x="3504724" y="279559"/>
                    <a:pt x="3504724" y="275749"/>
                    <a:pt x="3504724" y="271939"/>
                  </a:cubicBezTo>
                  <a:cubicBezTo>
                    <a:pt x="3504724" y="272891"/>
                    <a:pt x="3504724" y="272891"/>
                    <a:pt x="3504724" y="271939"/>
                  </a:cubicBezTo>
                  <a:close/>
                  <a:moveTo>
                    <a:pt x="3501866" y="398621"/>
                  </a:moveTo>
                  <a:cubicBezTo>
                    <a:pt x="3499961" y="389096"/>
                    <a:pt x="3497104" y="380524"/>
                    <a:pt x="3495199" y="371951"/>
                  </a:cubicBezTo>
                  <a:cubicBezTo>
                    <a:pt x="3495199" y="370999"/>
                    <a:pt x="3494246" y="370046"/>
                    <a:pt x="3494246" y="369094"/>
                  </a:cubicBezTo>
                  <a:cubicBezTo>
                    <a:pt x="3496151" y="365284"/>
                    <a:pt x="3498056" y="361474"/>
                    <a:pt x="3499961" y="357664"/>
                  </a:cubicBezTo>
                  <a:cubicBezTo>
                    <a:pt x="3500914" y="370999"/>
                    <a:pt x="3500914" y="384334"/>
                    <a:pt x="3501866" y="398621"/>
                  </a:cubicBezTo>
                  <a:close/>
                  <a:moveTo>
                    <a:pt x="3496151" y="290036"/>
                  </a:moveTo>
                  <a:cubicBezTo>
                    <a:pt x="3497104" y="288131"/>
                    <a:pt x="3498056" y="286226"/>
                    <a:pt x="3499009" y="284321"/>
                  </a:cubicBezTo>
                  <a:cubicBezTo>
                    <a:pt x="3499009" y="288131"/>
                    <a:pt x="3499009" y="291941"/>
                    <a:pt x="3499009" y="295751"/>
                  </a:cubicBezTo>
                  <a:cubicBezTo>
                    <a:pt x="3498056" y="293846"/>
                    <a:pt x="3497104" y="291941"/>
                    <a:pt x="3496151" y="290036"/>
                  </a:cubicBezTo>
                  <a:close/>
                  <a:moveTo>
                    <a:pt x="3496151" y="252889"/>
                  </a:moveTo>
                  <a:cubicBezTo>
                    <a:pt x="3496151" y="250984"/>
                    <a:pt x="3496151" y="249079"/>
                    <a:pt x="3496151" y="247174"/>
                  </a:cubicBezTo>
                  <a:cubicBezTo>
                    <a:pt x="3497104" y="250031"/>
                    <a:pt x="3498056" y="252889"/>
                    <a:pt x="3499009" y="254794"/>
                  </a:cubicBezTo>
                  <a:cubicBezTo>
                    <a:pt x="3498056" y="256699"/>
                    <a:pt x="3496151" y="258604"/>
                    <a:pt x="3495199" y="261461"/>
                  </a:cubicBezTo>
                  <a:cubicBezTo>
                    <a:pt x="3495199" y="258604"/>
                    <a:pt x="3496151" y="255746"/>
                    <a:pt x="3496151" y="252889"/>
                  </a:cubicBezTo>
                  <a:close/>
                  <a:moveTo>
                    <a:pt x="3481864" y="205264"/>
                  </a:moveTo>
                  <a:cubicBezTo>
                    <a:pt x="3484721" y="212884"/>
                    <a:pt x="3488531" y="220504"/>
                    <a:pt x="3491389" y="230029"/>
                  </a:cubicBezTo>
                  <a:cubicBezTo>
                    <a:pt x="3492341" y="233839"/>
                    <a:pt x="3494246" y="238601"/>
                    <a:pt x="3495199" y="243364"/>
                  </a:cubicBezTo>
                  <a:cubicBezTo>
                    <a:pt x="3494246" y="245269"/>
                    <a:pt x="3493294" y="248126"/>
                    <a:pt x="3492341" y="251936"/>
                  </a:cubicBezTo>
                  <a:cubicBezTo>
                    <a:pt x="3491389" y="256699"/>
                    <a:pt x="3489484" y="261461"/>
                    <a:pt x="3487579" y="268129"/>
                  </a:cubicBezTo>
                  <a:cubicBezTo>
                    <a:pt x="3487579" y="269081"/>
                    <a:pt x="3487579" y="269081"/>
                    <a:pt x="3486626" y="270034"/>
                  </a:cubicBezTo>
                  <a:cubicBezTo>
                    <a:pt x="3484721" y="265271"/>
                    <a:pt x="3481864" y="260509"/>
                    <a:pt x="3479959" y="255746"/>
                  </a:cubicBezTo>
                  <a:cubicBezTo>
                    <a:pt x="3479959" y="245269"/>
                    <a:pt x="3479959" y="235744"/>
                    <a:pt x="3479959" y="228124"/>
                  </a:cubicBezTo>
                  <a:cubicBezTo>
                    <a:pt x="3479959" y="221456"/>
                    <a:pt x="3479959" y="216694"/>
                    <a:pt x="3479959" y="213836"/>
                  </a:cubicBezTo>
                  <a:cubicBezTo>
                    <a:pt x="3480911" y="211931"/>
                    <a:pt x="3480911" y="208121"/>
                    <a:pt x="3481864" y="205264"/>
                  </a:cubicBezTo>
                  <a:close/>
                  <a:moveTo>
                    <a:pt x="3473291" y="241459"/>
                  </a:moveTo>
                  <a:cubicBezTo>
                    <a:pt x="3474244" y="239554"/>
                    <a:pt x="3474244" y="236696"/>
                    <a:pt x="3475196" y="234791"/>
                  </a:cubicBezTo>
                  <a:cubicBezTo>
                    <a:pt x="3474244" y="236696"/>
                    <a:pt x="3474244" y="239554"/>
                    <a:pt x="3473291" y="241459"/>
                  </a:cubicBezTo>
                  <a:cubicBezTo>
                    <a:pt x="3473291" y="242411"/>
                    <a:pt x="3473291" y="241459"/>
                    <a:pt x="3473291" y="241459"/>
                  </a:cubicBezTo>
                  <a:cubicBezTo>
                    <a:pt x="3473291" y="241459"/>
                    <a:pt x="3473291" y="241459"/>
                    <a:pt x="3473291" y="241459"/>
                  </a:cubicBezTo>
                  <a:close/>
                  <a:moveTo>
                    <a:pt x="3468529" y="260509"/>
                  </a:moveTo>
                  <a:cubicBezTo>
                    <a:pt x="3468529" y="261461"/>
                    <a:pt x="3469481" y="262414"/>
                    <a:pt x="3469481" y="263366"/>
                  </a:cubicBezTo>
                  <a:cubicBezTo>
                    <a:pt x="3469481" y="266224"/>
                    <a:pt x="3468529" y="268129"/>
                    <a:pt x="3468529" y="270986"/>
                  </a:cubicBezTo>
                  <a:cubicBezTo>
                    <a:pt x="3467576" y="279559"/>
                    <a:pt x="3466624" y="290036"/>
                    <a:pt x="3465671" y="300514"/>
                  </a:cubicBezTo>
                  <a:cubicBezTo>
                    <a:pt x="3464719" y="306229"/>
                    <a:pt x="3464719" y="311944"/>
                    <a:pt x="3464719" y="318611"/>
                  </a:cubicBezTo>
                  <a:cubicBezTo>
                    <a:pt x="3464719" y="319564"/>
                    <a:pt x="3463766" y="320516"/>
                    <a:pt x="3463766" y="321469"/>
                  </a:cubicBezTo>
                  <a:cubicBezTo>
                    <a:pt x="3462814" y="316706"/>
                    <a:pt x="3460909" y="311944"/>
                    <a:pt x="3459956" y="307181"/>
                  </a:cubicBezTo>
                  <a:cubicBezTo>
                    <a:pt x="3459956" y="307181"/>
                    <a:pt x="3459956" y="306229"/>
                    <a:pt x="3459956" y="306229"/>
                  </a:cubicBezTo>
                  <a:cubicBezTo>
                    <a:pt x="3459956" y="304324"/>
                    <a:pt x="3460909" y="302419"/>
                    <a:pt x="3460909" y="300514"/>
                  </a:cubicBezTo>
                  <a:cubicBezTo>
                    <a:pt x="3463766" y="287179"/>
                    <a:pt x="3466624" y="273844"/>
                    <a:pt x="3468529" y="260509"/>
                  </a:cubicBezTo>
                  <a:close/>
                  <a:moveTo>
                    <a:pt x="3451384" y="237649"/>
                  </a:moveTo>
                  <a:cubicBezTo>
                    <a:pt x="3451384" y="231934"/>
                    <a:pt x="3451384" y="227171"/>
                    <a:pt x="3451384" y="221456"/>
                  </a:cubicBezTo>
                  <a:cubicBezTo>
                    <a:pt x="3451384" y="221456"/>
                    <a:pt x="3451384" y="221456"/>
                    <a:pt x="3451384" y="222409"/>
                  </a:cubicBezTo>
                  <a:cubicBezTo>
                    <a:pt x="3453289" y="227171"/>
                    <a:pt x="3456146" y="231934"/>
                    <a:pt x="3458051" y="237649"/>
                  </a:cubicBezTo>
                  <a:cubicBezTo>
                    <a:pt x="3458051" y="237649"/>
                    <a:pt x="3458051" y="238601"/>
                    <a:pt x="3458051" y="238601"/>
                  </a:cubicBezTo>
                  <a:cubicBezTo>
                    <a:pt x="3455194" y="248126"/>
                    <a:pt x="3452336" y="257651"/>
                    <a:pt x="3450431" y="267176"/>
                  </a:cubicBezTo>
                  <a:cubicBezTo>
                    <a:pt x="3450431" y="267176"/>
                    <a:pt x="3450431" y="267176"/>
                    <a:pt x="3450431" y="267176"/>
                  </a:cubicBezTo>
                  <a:cubicBezTo>
                    <a:pt x="3451384" y="256699"/>
                    <a:pt x="3451384" y="247174"/>
                    <a:pt x="3451384" y="237649"/>
                  </a:cubicBezTo>
                  <a:close/>
                  <a:moveTo>
                    <a:pt x="3405664" y="273844"/>
                  </a:moveTo>
                  <a:cubicBezTo>
                    <a:pt x="3406616" y="268129"/>
                    <a:pt x="3406616" y="263366"/>
                    <a:pt x="3406616" y="258604"/>
                  </a:cubicBezTo>
                  <a:cubicBezTo>
                    <a:pt x="3406616" y="253841"/>
                    <a:pt x="3406616" y="249079"/>
                    <a:pt x="3406616" y="245269"/>
                  </a:cubicBezTo>
                  <a:cubicBezTo>
                    <a:pt x="3406616" y="247174"/>
                    <a:pt x="3407569" y="251936"/>
                    <a:pt x="3409474" y="259556"/>
                  </a:cubicBezTo>
                  <a:cubicBezTo>
                    <a:pt x="3409474" y="264319"/>
                    <a:pt x="3407569" y="269081"/>
                    <a:pt x="3405664" y="273844"/>
                  </a:cubicBezTo>
                  <a:close/>
                  <a:moveTo>
                    <a:pt x="3416141" y="335756"/>
                  </a:moveTo>
                  <a:cubicBezTo>
                    <a:pt x="3416141" y="341471"/>
                    <a:pt x="3416141" y="347186"/>
                    <a:pt x="3416141" y="353854"/>
                  </a:cubicBezTo>
                  <a:cubicBezTo>
                    <a:pt x="3416141" y="351949"/>
                    <a:pt x="3415189" y="350044"/>
                    <a:pt x="3415189" y="348139"/>
                  </a:cubicBezTo>
                  <a:cubicBezTo>
                    <a:pt x="3414236" y="340519"/>
                    <a:pt x="3414236" y="333851"/>
                    <a:pt x="3413284" y="328136"/>
                  </a:cubicBezTo>
                  <a:cubicBezTo>
                    <a:pt x="3413284" y="328136"/>
                    <a:pt x="3413284" y="328136"/>
                    <a:pt x="3413284" y="328136"/>
                  </a:cubicBezTo>
                  <a:cubicBezTo>
                    <a:pt x="3414236" y="325279"/>
                    <a:pt x="3415189" y="323374"/>
                    <a:pt x="3417094" y="320516"/>
                  </a:cubicBezTo>
                  <a:cubicBezTo>
                    <a:pt x="3417094" y="324326"/>
                    <a:pt x="3417094" y="329089"/>
                    <a:pt x="3416141" y="335756"/>
                  </a:cubicBezTo>
                  <a:close/>
                  <a:moveTo>
                    <a:pt x="3421856" y="320516"/>
                  </a:moveTo>
                  <a:cubicBezTo>
                    <a:pt x="3420904" y="324326"/>
                    <a:pt x="3420904" y="329089"/>
                    <a:pt x="3419951" y="332899"/>
                  </a:cubicBezTo>
                  <a:cubicBezTo>
                    <a:pt x="3418999" y="326231"/>
                    <a:pt x="3418999" y="320516"/>
                    <a:pt x="3418046" y="316706"/>
                  </a:cubicBezTo>
                  <a:cubicBezTo>
                    <a:pt x="3418999" y="314801"/>
                    <a:pt x="3419951" y="312896"/>
                    <a:pt x="3420904" y="310991"/>
                  </a:cubicBezTo>
                  <a:cubicBezTo>
                    <a:pt x="3420904" y="310039"/>
                    <a:pt x="3421856" y="309086"/>
                    <a:pt x="3421856" y="308134"/>
                  </a:cubicBezTo>
                  <a:cubicBezTo>
                    <a:pt x="3421856" y="310039"/>
                    <a:pt x="3422809" y="310991"/>
                    <a:pt x="3422809" y="312896"/>
                  </a:cubicBezTo>
                  <a:cubicBezTo>
                    <a:pt x="3422809" y="314801"/>
                    <a:pt x="3422809" y="317659"/>
                    <a:pt x="3421856" y="320516"/>
                  </a:cubicBezTo>
                  <a:close/>
                  <a:moveTo>
                    <a:pt x="3410426" y="139541"/>
                  </a:moveTo>
                  <a:cubicBezTo>
                    <a:pt x="3413284" y="145256"/>
                    <a:pt x="3417094" y="151924"/>
                    <a:pt x="3421856" y="161449"/>
                  </a:cubicBezTo>
                  <a:cubicBezTo>
                    <a:pt x="3424714" y="167164"/>
                    <a:pt x="3428524" y="173831"/>
                    <a:pt x="3433286" y="181451"/>
                  </a:cubicBezTo>
                  <a:cubicBezTo>
                    <a:pt x="3431381" y="187166"/>
                    <a:pt x="3430429" y="192881"/>
                    <a:pt x="3428524" y="198596"/>
                  </a:cubicBezTo>
                  <a:cubicBezTo>
                    <a:pt x="3427571" y="202406"/>
                    <a:pt x="3426619" y="206216"/>
                    <a:pt x="3425666" y="210026"/>
                  </a:cubicBezTo>
                  <a:cubicBezTo>
                    <a:pt x="3424714" y="205264"/>
                    <a:pt x="3423761" y="200501"/>
                    <a:pt x="3422809" y="195739"/>
                  </a:cubicBezTo>
                  <a:cubicBezTo>
                    <a:pt x="3419951" y="183356"/>
                    <a:pt x="3417094" y="171926"/>
                    <a:pt x="3415189" y="163354"/>
                  </a:cubicBezTo>
                  <a:cubicBezTo>
                    <a:pt x="3413284" y="154781"/>
                    <a:pt x="3411379" y="148114"/>
                    <a:pt x="3410426" y="143351"/>
                  </a:cubicBezTo>
                  <a:cubicBezTo>
                    <a:pt x="3409474" y="141446"/>
                    <a:pt x="3410426" y="140494"/>
                    <a:pt x="3410426" y="139541"/>
                  </a:cubicBezTo>
                  <a:close/>
                  <a:moveTo>
                    <a:pt x="3408521" y="136684"/>
                  </a:moveTo>
                  <a:cubicBezTo>
                    <a:pt x="3408521" y="136684"/>
                    <a:pt x="3408521" y="136684"/>
                    <a:pt x="3408521" y="136684"/>
                  </a:cubicBezTo>
                  <a:cubicBezTo>
                    <a:pt x="3408521" y="136684"/>
                    <a:pt x="3408521" y="136684"/>
                    <a:pt x="3408521" y="136684"/>
                  </a:cubicBezTo>
                  <a:cubicBezTo>
                    <a:pt x="3408521" y="136684"/>
                    <a:pt x="3408521" y="136684"/>
                    <a:pt x="3408521" y="136684"/>
                  </a:cubicBezTo>
                  <a:close/>
                  <a:moveTo>
                    <a:pt x="3395186" y="266224"/>
                  </a:moveTo>
                  <a:cubicBezTo>
                    <a:pt x="3396139" y="251936"/>
                    <a:pt x="3396139" y="239554"/>
                    <a:pt x="3396139" y="227171"/>
                  </a:cubicBezTo>
                  <a:cubicBezTo>
                    <a:pt x="3396139" y="222409"/>
                    <a:pt x="3396139" y="217646"/>
                    <a:pt x="3396139" y="212884"/>
                  </a:cubicBezTo>
                  <a:cubicBezTo>
                    <a:pt x="3397091" y="210026"/>
                    <a:pt x="3398044" y="207169"/>
                    <a:pt x="3398996" y="204311"/>
                  </a:cubicBezTo>
                  <a:cubicBezTo>
                    <a:pt x="3398044" y="206216"/>
                    <a:pt x="3397091" y="208121"/>
                    <a:pt x="3396139" y="210026"/>
                  </a:cubicBezTo>
                  <a:cubicBezTo>
                    <a:pt x="3396139" y="207169"/>
                    <a:pt x="3396139" y="204311"/>
                    <a:pt x="3396139" y="202406"/>
                  </a:cubicBezTo>
                  <a:cubicBezTo>
                    <a:pt x="3397091" y="199549"/>
                    <a:pt x="3397091" y="197644"/>
                    <a:pt x="3398044" y="194786"/>
                  </a:cubicBezTo>
                  <a:cubicBezTo>
                    <a:pt x="3401854" y="178594"/>
                    <a:pt x="3405664" y="162401"/>
                    <a:pt x="3408521" y="145256"/>
                  </a:cubicBezTo>
                  <a:cubicBezTo>
                    <a:pt x="3408521" y="150019"/>
                    <a:pt x="3409474" y="155734"/>
                    <a:pt x="3410426" y="162401"/>
                  </a:cubicBezTo>
                  <a:cubicBezTo>
                    <a:pt x="3411379" y="171926"/>
                    <a:pt x="3412331" y="182404"/>
                    <a:pt x="3414236" y="195739"/>
                  </a:cubicBezTo>
                  <a:cubicBezTo>
                    <a:pt x="3415189" y="202406"/>
                    <a:pt x="3416141" y="209074"/>
                    <a:pt x="3417094" y="215741"/>
                  </a:cubicBezTo>
                  <a:cubicBezTo>
                    <a:pt x="3418046" y="220504"/>
                    <a:pt x="3418999" y="224314"/>
                    <a:pt x="3419951" y="229076"/>
                  </a:cubicBezTo>
                  <a:cubicBezTo>
                    <a:pt x="3418999" y="230981"/>
                    <a:pt x="3418999" y="232886"/>
                    <a:pt x="3418046" y="233839"/>
                  </a:cubicBezTo>
                  <a:cubicBezTo>
                    <a:pt x="3416141" y="240506"/>
                    <a:pt x="3414236" y="247174"/>
                    <a:pt x="3411379" y="253841"/>
                  </a:cubicBezTo>
                  <a:cubicBezTo>
                    <a:pt x="3408521" y="248126"/>
                    <a:pt x="3407569" y="245269"/>
                    <a:pt x="3407569" y="244316"/>
                  </a:cubicBezTo>
                  <a:cubicBezTo>
                    <a:pt x="3407569" y="242411"/>
                    <a:pt x="3407569" y="241459"/>
                    <a:pt x="3407569" y="239554"/>
                  </a:cubicBezTo>
                  <a:cubicBezTo>
                    <a:pt x="3407569" y="230029"/>
                    <a:pt x="3407569" y="224314"/>
                    <a:pt x="3407569" y="224314"/>
                  </a:cubicBezTo>
                  <a:cubicBezTo>
                    <a:pt x="3407569" y="224314"/>
                    <a:pt x="3405664" y="230029"/>
                    <a:pt x="3403759" y="239554"/>
                  </a:cubicBezTo>
                  <a:cubicBezTo>
                    <a:pt x="3402806" y="244316"/>
                    <a:pt x="3400901" y="250031"/>
                    <a:pt x="3399949" y="256699"/>
                  </a:cubicBezTo>
                  <a:cubicBezTo>
                    <a:pt x="3398996" y="262414"/>
                    <a:pt x="3397091" y="269081"/>
                    <a:pt x="3395186" y="275749"/>
                  </a:cubicBezTo>
                  <a:cubicBezTo>
                    <a:pt x="3395186" y="273844"/>
                    <a:pt x="3395186" y="270034"/>
                    <a:pt x="3395186" y="266224"/>
                  </a:cubicBezTo>
                  <a:close/>
                  <a:moveTo>
                    <a:pt x="3363754" y="252889"/>
                  </a:moveTo>
                  <a:cubicBezTo>
                    <a:pt x="3364706" y="256699"/>
                    <a:pt x="3365659" y="260509"/>
                    <a:pt x="3365659" y="264319"/>
                  </a:cubicBezTo>
                  <a:cubicBezTo>
                    <a:pt x="3364706" y="266224"/>
                    <a:pt x="3363754" y="267176"/>
                    <a:pt x="3363754" y="269081"/>
                  </a:cubicBezTo>
                  <a:cubicBezTo>
                    <a:pt x="3363754" y="262414"/>
                    <a:pt x="3363754" y="257651"/>
                    <a:pt x="3363754" y="252889"/>
                  </a:cubicBezTo>
                  <a:close/>
                  <a:moveTo>
                    <a:pt x="3321844" y="351949"/>
                  </a:moveTo>
                  <a:cubicBezTo>
                    <a:pt x="3321844" y="349091"/>
                    <a:pt x="3322796" y="345281"/>
                    <a:pt x="3322796" y="342424"/>
                  </a:cubicBezTo>
                  <a:cubicBezTo>
                    <a:pt x="3322796" y="344329"/>
                    <a:pt x="3323749" y="346234"/>
                    <a:pt x="3323749" y="347186"/>
                  </a:cubicBezTo>
                  <a:cubicBezTo>
                    <a:pt x="3323749" y="349091"/>
                    <a:pt x="3322796" y="350044"/>
                    <a:pt x="3321844" y="351949"/>
                  </a:cubicBezTo>
                  <a:close/>
                  <a:moveTo>
                    <a:pt x="3340894" y="273844"/>
                  </a:moveTo>
                  <a:cubicBezTo>
                    <a:pt x="3342799" y="282416"/>
                    <a:pt x="3345656" y="290036"/>
                    <a:pt x="3347561" y="298609"/>
                  </a:cubicBezTo>
                  <a:cubicBezTo>
                    <a:pt x="3346609" y="300514"/>
                    <a:pt x="3345656" y="302419"/>
                    <a:pt x="3344704" y="304324"/>
                  </a:cubicBezTo>
                  <a:cubicBezTo>
                    <a:pt x="3342799" y="299561"/>
                    <a:pt x="3340894" y="295751"/>
                    <a:pt x="3338989" y="290989"/>
                  </a:cubicBezTo>
                  <a:cubicBezTo>
                    <a:pt x="3338036" y="276701"/>
                    <a:pt x="3336131" y="263366"/>
                    <a:pt x="3335179" y="251936"/>
                  </a:cubicBezTo>
                  <a:cubicBezTo>
                    <a:pt x="3337084" y="259556"/>
                    <a:pt x="3338989" y="266224"/>
                    <a:pt x="3340894" y="273844"/>
                  </a:cubicBezTo>
                  <a:close/>
                  <a:moveTo>
                    <a:pt x="3330416" y="376714"/>
                  </a:moveTo>
                  <a:cubicBezTo>
                    <a:pt x="3330416" y="377666"/>
                    <a:pt x="3330416" y="378619"/>
                    <a:pt x="3331369" y="379571"/>
                  </a:cubicBezTo>
                  <a:cubicBezTo>
                    <a:pt x="3330416" y="380524"/>
                    <a:pt x="3330416" y="382429"/>
                    <a:pt x="3329464" y="384334"/>
                  </a:cubicBezTo>
                  <a:cubicBezTo>
                    <a:pt x="3329464" y="383381"/>
                    <a:pt x="3328511" y="382429"/>
                    <a:pt x="3328511" y="381476"/>
                  </a:cubicBezTo>
                  <a:cubicBezTo>
                    <a:pt x="3328511" y="379571"/>
                    <a:pt x="3329464" y="378619"/>
                    <a:pt x="3330416" y="376714"/>
                  </a:cubicBezTo>
                  <a:close/>
                  <a:moveTo>
                    <a:pt x="3329464" y="202406"/>
                  </a:moveTo>
                  <a:cubicBezTo>
                    <a:pt x="3329464" y="203359"/>
                    <a:pt x="3329464" y="205264"/>
                    <a:pt x="3329464" y="207169"/>
                  </a:cubicBezTo>
                  <a:cubicBezTo>
                    <a:pt x="3329464" y="206216"/>
                    <a:pt x="3329464" y="206216"/>
                    <a:pt x="3328511" y="205264"/>
                  </a:cubicBezTo>
                  <a:cubicBezTo>
                    <a:pt x="3329464" y="204311"/>
                    <a:pt x="3329464" y="203359"/>
                    <a:pt x="3329464" y="202406"/>
                  </a:cubicBezTo>
                  <a:close/>
                  <a:moveTo>
                    <a:pt x="3326606" y="302419"/>
                  </a:moveTo>
                  <a:cubicBezTo>
                    <a:pt x="3327559" y="305276"/>
                    <a:pt x="3328511" y="307181"/>
                    <a:pt x="3329464" y="310039"/>
                  </a:cubicBezTo>
                  <a:cubicBezTo>
                    <a:pt x="3329464" y="310991"/>
                    <a:pt x="3329464" y="310991"/>
                    <a:pt x="3329464" y="311944"/>
                  </a:cubicBezTo>
                  <a:cubicBezTo>
                    <a:pt x="3328511" y="310039"/>
                    <a:pt x="3327559" y="308134"/>
                    <a:pt x="3326606" y="306229"/>
                  </a:cubicBezTo>
                  <a:cubicBezTo>
                    <a:pt x="3326606" y="304324"/>
                    <a:pt x="3326606" y="303371"/>
                    <a:pt x="3326606" y="302419"/>
                  </a:cubicBezTo>
                  <a:close/>
                  <a:moveTo>
                    <a:pt x="3323749" y="227171"/>
                  </a:moveTo>
                  <a:cubicBezTo>
                    <a:pt x="3324701" y="224314"/>
                    <a:pt x="3324701" y="221456"/>
                    <a:pt x="3325654" y="219551"/>
                  </a:cubicBezTo>
                  <a:cubicBezTo>
                    <a:pt x="3325654" y="220504"/>
                    <a:pt x="3325654" y="220504"/>
                    <a:pt x="3325654" y="221456"/>
                  </a:cubicBezTo>
                  <a:cubicBezTo>
                    <a:pt x="3322796" y="232886"/>
                    <a:pt x="3320891" y="244316"/>
                    <a:pt x="3318034" y="256699"/>
                  </a:cubicBezTo>
                  <a:cubicBezTo>
                    <a:pt x="3318034" y="256699"/>
                    <a:pt x="3318034" y="255746"/>
                    <a:pt x="3317081" y="255746"/>
                  </a:cubicBezTo>
                  <a:cubicBezTo>
                    <a:pt x="3319939" y="245269"/>
                    <a:pt x="3321844" y="235744"/>
                    <a:pt x="3323749" y="227171"/>
                  </a:cubicBezTo>
                  <a:close/>
                  <a:moveTo>
                    <a:pt x="3315176" y="269081"/>
                  </a:moveTo>
                  <a:cubicBezTo>
                    <a:pt x="3315176" y="270034"/>
                    <a:pt x="3316129" y="270986"/>
                    <a:pt x="3316129" y="270986"/>
                  </a:cubicBezTo>
                  <a:cubicBezTo>
                    <a:pt x="3315176" y="274796"/>
                    <a:pt x="3315176" y="278606"/>
                    <a:pt x="3314224" y="282416"/>
                  </a:cubicBezTo>
                  <a:cubicBezTo>
                    <a:pt x="3314224" y="281464"/>
                    <a:pt x="3313271" y="280511"/>
                    <a:pt x="3313271" y="280511"/>
                  </a:cubicBezTo>
                  <a:cubicBezTo>
                    <a:pt x="3313271" y="276701"/>
                    <a:pt x="3314224" y="272891"/>
                    <a:pt x="3315176" y="269081"/>
                  </a:cubicBezTo>
                  <a:close/>
                  <a:moveTo>
                    <a:pt x="3305651" y="310991"/>
                  </a:moveTo>
                  <a:cubicBezTo>
                    <a:pt x="3306604" y="307181"/>
                    <a:pt x="3307556" y="302419"/>
                    <a:pt x="3308509" y="298609"/>
                  </a:cubicBezTo>
                  <a:cubicBezTo>
                    <a:pt x="3309461" y="299561"/>
                    <a:pt x="3309461" y="301466"/>
                    <a:pt x="3310414" y="302419"/>
                  </a:cubicBezTo>
                  <a:cubicBezTo>
                    <a:pt x="3309461" y="308134"/>
                    <a:pt x="3308509" y="314801"/>
                    <a:pt x="3307556" y="320516"/>
                  </a:cubicBezTo>
                  <a:cubicBezTo>
                    <a:pt x="3306604" y="318611"/>
                    <a:pt x="3305651" y="315754"/>
                    <a:pt x="3304699" y="313849"/>
                  </a:cubicBezTo>
                  <a:cubicBezTo>
                    <a:pt x="3305651" y="313849"/>
                    <a:pt x="3305651" y="312896"/>
                    <a:pt x="3305651" y="310991"/>
                  </a:cubicBezTo>
                  <a:close/>
                  <a:moveTo>
                    <a:pt x="3302794" y="327184"/>
                  </a:moveTo>
                  <a:cubicBezTo>
                    <a:pt x="3303746" y="330041"/>
                    <a:pt x="3303746" y="332899"/>
                    <a:pt x="3304699" y="335756"/>
                  </a:cubicBezTo>
                  <a:cubicBezTo>
                    <a:pt x="3303746" y="339566"/>
                    <a:pt x="3302794" y="344329"/>
                    <a:pt x="3300889" y="349091"/>
                  </a:cubicBezTo>
                  <a:cubicBezTo>
                    <a:pt x="3299936" y="350996"/>
                    <a:pt x="3299936" y="353854"/>
                    <a:pt x="3298984" y="355759"/>
                  </a:cubicBezTo>
                  <a:cubicBezTo>
                    <a:pt x="3298031" y="354806"/>
                    <a:pt x="3298031" y="352901"/>
                    <a:pt x="3297079" y="351949"/>
                  </a:cubicBezTo>
                  <a:cubicBezTo>
                    <a:pt x="3298984" y="343376"/>
                    <a:pt x="3300889" y="334804"/>
                    <a:pt x="3302794" y="327184"/>
                  </a:cubicBezTo>
                  <a:close/>
                  <a:moveTo>
                    <a:pt x="3279934" y="297656"/>
                  </a:moveTo>
                  <a:cubicBezTo>
                    <a:pt x="3279934" y="294799"/>
                    <a:pt x="3279934" y="291941"/>
                    <a:pt x="3280886" y="289084"/>
                  </a:cubicBezTo>
                  <a:cubicBezTo>
                    <a:pt x="3281839" y="280511"/>
                    <a:pt x="3282791" y="271939"/>
                    <a:pt x="3283744" y="263366"/>
                  </a:cubicBezTo>
                  <a:cubicBezTo>
                    <a:pt x="3283744" y="259556"/>
                    <a:pt x="3284696" y="255746"/>
                    <a:pt x="3284696" y="252889"/>
                  </a:cubicBezTo>
                  <a:cubicBezTo>
                    <a:pt x="3287554" y="258604"/>
                    <a:pt x="3290411" y="264319"/>
                    <a:pt x="3293269" y="270034"/>
                  </a:cubicBezTo>
                  <a:cubicBezTo>
                    <a:pt x="3292316" y="272891"/>
                    <a:pt x="3292316" y="274796"/>
                    <a:pt x="3291364" y="277654"/>
                  </a:cubicBezTo>
                  <a:cubicBezTo>
                    <a:pt x="3291364" y="279559"/>
                    <a:pt x="3290411" y="281464"/>
                    <a:pt x="3290411" y="283369"/>
                  </a:cubicBezTo>
                  <a:cubicBezTo>
                    <a:pt x="3289459" y="271939"/>
                    <a:pt x="3289459" y="264319"/>
                    <a:pt x="3289459" y="264319"/>
                  </a:cubicBezTo>
                  <a:cubicBezTo>
                    <a:pt x="3289459" y="264319"/>
                    <a:pt x="3285649" y="285274"/>
                    <a:pt x="3281839" y="317659"/>
                  </a:cubicBezTo>
                  <a:cubicBezTo>
                    <a:pt x="3281839" y="317659"/>
                    <a:pt x="3280886" y="317659"/>
                    <a:pt x="3280886" y="317659"/>
                  </a:cubicBezTo>
                  <a:cubicBezTo>
                    <a:pt x="3280886" y="317659"/>
                    <a:pt x="3280886" y="316706"/>
                    <a:pt x="3280886" y="316706"/>
                  </a:cubicBezTo>
                  <a:cubicBezTo>
                    <a:pt x="3280886" y="316706"/>
                    <a:pt x="3280886" y="315754"/>
                    <a:pt x="3279934" y="315754"/>
                  </a:cubicBezTo>
                  <a:cubicBezTo>
                    <a:pt x="3279934" y="314801"/>
                    <a:pt x="3278981" y="314801"/>
                    <a:pt x="3278981" y="313849"/>
                  </a:cubicBezTo>
                  <a:cubicBezTo>
                    <a:pt x="3278981" y="308134"/>
                    <a:pt x="3279934" y="302419"/>
                    <a:pt x="3279934" y="297656"/>
                  </a:cubicBezTo>
                  <a:close/>
                  <a:moveTo>
                    <a:pt x="3263741" y="295751"/>
                  </a:moveTo>
                  <a:cubicBezTo>
                    <a:pt x="3263741" y="294799"/>
                    <a:pt x="3263741" y="293846"/>
                    <a:pt x="3263741" y="293846"/>
                  </a:cubicBezTo>
                  <a:cubicBezTo>
                    <a:pt x="3263741" y="293846"/>
                    <a:pt x="3263741" y="294799"/>
                    <a:pt x="3263741" y="295751"/>
                  </a:cubicBezTo>
                  <a:cubicBezTo>
                    <a:pt x="3264694" y="295751"/>
                    <a:pt x="3264694" y="295751"/>
                    <a:pt x="3264694" y="296704"/>
                  </a:cubicBezTo>
                  <a:cubicBezTo>
                    <a:pt x="3263741" y="299561"/>
                    <a:pt x="3262789" y="303371"/>
                    <a:pt x="3262789" y="306229"/>
                  </a:cubicBezTo>
                  <a:cubicBezTo>
                    <a:pt x="3262789" y="302419"/>
                    <a:pt x="3263741" y="298609"/>
                    <a:pt x="3263741" y="295751"/>
                  </a:cubicBezTo>
                  <a:close/>
                  <a:moveTo>
                    <a:pt x="3232309" y="381476"/>
                  </a:moveTo>
                  <a:cubicBezTo>
                    <a:pt x="3232309" y="372904"/>
                    <a:pt x="3232309" y="365284"/>
                    <a:pt x="3232309" y="357664"/>
                  </a:cubicBezTo>
                  <a:cubicBezTo>
                    <a:pt x="3232309" y="357664"/>
                    <a:pt x="3232309" y="358616"/>
                    <a:pt x="3232309" y="358616"/>
                  </a:cubicBezTo>
                  <a:cubicBezTo>
                    <a:pt x="3232309" y="359569"/>
                    <a:pt x="3232309" y="360521"/>
                    <a:pt x="3233261" y="360521"/>
                  </a:cubicBezTo>
                  <a:cubicBezTo>
                    <a:pt x="3233261" y="367189"/>
                    <a:pt x="3233261" y="373856"/>
                    <a:pt x="3232309" y="381476"/>
                  </a:cubicBezTo>
                  <a:close/>
                  <a:moveTo>
                    <a:pt x="3239929" y="327184"/>
                  </a:moveTo>
                  <a:cubicBezTo>
                    <a:pt x="3240881" y="330994"/>
                    <a:pt x="3240881" y="335756"/>
                    <a:pt x="3241834" y="339566"/>
                  </a:cubicBezTo>
                  <a:cubicBezTo>
                    <a:pt x="3240881" y="337661"/>
                    <a:pt x="3239929" y="335756"/>
                    <a:pt x="3239929" y="333851"/>
                  </a:cubicBezTo>
                  <a:cubicBezTo>
                    <a:pt x="3239929" y="331946"/>
                    <a:pt x="3239929" y="330994"/>
                    <a:pt x="3239929" y="329089"/>
                  </a:cubicBezTo>
                  <a:cubicBezTo>
                    <a:pt x="3238976" y="328136"/>
                    <a:pt x="3239929" y="328136"/>
                    <a:pt x="3239929" y="327184"/>
                  </a:cubicBezTo>
                  <a:close/>
                  <a:moveTo>
                    <a:pt x="3234214" y="318611"/>
                  </a:moveTo>
                  <a:cubicBezTo>
                    <a:pt x="3235166" y="315754"/>
                    <a:pt x="3236119" y="312896"/>
                    <a:pt x="3237071" y="310039"/>
                  </a:cubicBezTo>
                  <a:cubicBezTo>
                    <a:pt x="3237071" y="311944"/>
                    <a:pt x="3238024" y="313849"/>
                    <a:pt x="3238024" y="314801"/>
                  </a:cubicBezTo>
                  <a:cubicBezTo>
                    <a:pt x="3238024" y="315754"/>
                    <a:pt x="3238024" y="315754"/>
                    <a:pt x="3238024" y="316706"/>
                  </a:cubicBezTo>
                  <a:cubicBezTo>
                    <a:pt x="3238024" y="316706"/>
                    <a:pt x="3238024" y="317659"/>
                    <a:pt x="3237071" y="317659"/>
                  </a:cubicBezTo>
                  <a:cubicBezTo>
                    <a:pt x="3237071" y="314801"/>
                    <a:pt x="3236119" y="311944"/>
                    <a:pt x="3237071" y="311944"/>
                  </a:cubicBezTo>
                  <a:cubicBezTo>
                    <a:pt x="3238024" y="311944"/>
                    <a:pt x="3237071" y="314801"/>
                    <a:pt x="3236119" y="319564"/>
                  </a:cubicBezTo>
                  <a:cubicBezTo>
                    <a:pt x="3235166" y="320516"/>
                    <a:pt x="3235166" y="321469"/>
                    <a:pt x="3234214" y="322421"/>
                  </a:cubicBezTo>
                  <a:cubicBezTo>
                    <a:pt x="3234214" y="321469"/>
                    <a:pt x="3233261" y="320516"/>
                    <a:pt x="3233261" y="319564"/>
                  </a:cubicBezTo>
                  <a:cubicBezTo>
                    <a:pt x="3234214" y="319564"/>
                    <a:pt x="3234214" y="319564"/>
                    <a:pt x="3234214" y="318611"/>
                  </a:cubicBezTo>
                  <a:close/>
                  <a:moveTo>
                    <a:pt x="3233261" y="286226"/>
                  </a:moveTo>
                  <a:cubicBezTo>
                    <a:pt x="3233261" y="287179"/>
                    <a:pt x="3233261" y="287179"/>
                    <a:pt x="3233261" y="288131"/>
                  </a:cubicBezTo>
                  <a:cubicBezTo>
                    <a:pt x="3233261" y="289084"/>
                    <a:pt x="3232309" y="289084"/>
                    <a:pt x="3232309" y="290036"/>
                  </a:cubicBezTo>
                  <a:cubicBezTo>
                    <a:pt x="3232309" y="287179"/>
                    <a:pt x="3232309" y="285274"/>
                    <a:pt x="3232309" y="282416"/>
                  </a:cubicBezTo>
                  <a:cubicBezTo>
                    <a:pt x="3232309" y="284321"/>
                    <a:pt x="3233261" y="285274"/>
                    <a:pt x="3233261" y="286226"/>
                  </a:cubicBezTo>
                  <a:close/>
                  <a:moveTo>
                    <a:pt x="3222784" y="285274"/>
                  </a:moveTo>
                  <a:cubicBezTo>
                    <a:pt x="3222784" y="281464"/>
                    <a:pt x="3222784" y="277654"/>
                    <a:pt x="3223736" y="273844"/>
                  </a:cubicBezTo>
                  <a:cubicBezTo>
                    <a:pt x="3224689" y="271939"/>
                    <a:pt x="3224689" y="270034"/>
                    <a:pt x="3224689" y="270034"/>
                  </a:cubicBezTo>
                  <a:cubicBezTo>
                    <a:pt x="3224689" y="270034"/>
                    <a:pt x="3224689" y="270034"/>
                    <a:pt x="3224689" y="270986"/>
                  </a:cubicBezTo>
                  <a:cubicBezTo>
                    <a:pt x="3225641" y="265271"/>
                    <a:pt x="3226594" y="259556"/>
                    <a:pt x="3227546" y="253841"/>
                  </a:cubicBezTo>
                  <a:cubicBezTo>
                    <a:pt x="3227546" y="253841"/>
                    <a:pt x="3227546" y="253841"/>
                    <a:pt x="3227546" y="253841"/>
                  </a:cubicBezTo>
                  <a:cubicBezTo>
                    <a:pt x="3226594" y="264319"/>
                    <a:pt x="3225641" y="277654"/>
                    <a:pt x="3223736" y="292894"/>
                  </a:cubicBezTo>
                  <a:cubicBezTo>
                    <a:pt x="3223736" y="292894"/>
                    <a:pt x="3223736" y="291941"/>
                    <a:pt x="3222784" y="291941"/>
                  </a:cubicBezTo>
                  <a:cubicBezTo>
                    <a:pt x="3222784" y="291941"/>
                    <a:pt x="3222784" y="291941"/>
                    <a:pt x="3222784" y="290989"/>
                  </a:cubicBezTo>
                  <a:cubicBezTo>
                    <a:pt x="3221831" y="289084"/>
                    <a:pt x="3221831" y="287179"/>
                    <a:pt x="3222784" y="285274"/>
                  </a:cubicBezTo>
                  <a:close/>
                  <a:moveTo>
                    <a:pt x="3217069" y="207169"/>
                  </a:moveTo>
                  <a:cubicBezTo>
                    <a:pt x="3218021" y="210979"/>
                    <a:pt x="3218974" y="214789"/>
                    <a:pt x="3219926" y="219551"/>
                  </a:cubicBezTo>
                  <a:cubicBezTo>
                    <a:pt x="3218021" y="225266"/>
                    <a:pt x="3217069" y="231934"/>
                    <a:pt x="3215164" y="238601"/>
                  </a:cubicBezTo>
                  <a:cubicBezTo>
                    <a:pt x="3215164" y="226219"/>
                    <a:pt x="3217069" y="215741"/>
                    <a:pt x="3217069" y="207169"/>
                  </a:cubicBezTo>
                  <a:close/>
                  <a:moveTo>
                    <a:pt x="3191351" y="249079"/>
                  </a:moveTo>
                  <a:cubicBezTo>
                    <a:pt x="3191351" y="242411"/>
                    <a:pt x="3192304" y="236696"/>
                    <a:pt x="3192304" y="232886"/>
                  </a:cubicBezTo>
                  <a:cubicBezTo>
                    <a:pt x="3193256" y="234791"/>
                    <a:pt x="3193256" y="235744"/>
                    <a:pt x="3194209" y="238601"/>
                  </a:cubicBezTo>
                  <a:cubicBezTo>
                    <a:pt x="3193256" y="247174"/>
                    <a:pt x="3192304" y="255746"/>
                    <a:pt x="3191351" y="265271"/>
                  </a:cubicBezTo>
                  <a:cubicBezTo>
                    <a:pt x="3191351" y="258604"/>
                    <a:pt x="3191351" y="253841"/>
                    <a:pt x="3191351" y="249079"/>
                  </a:cubicBezTo>
                  <a:close/>
                  <a:moveTo>
                    <a:pt x="3155156" y="313849"/>
                  </a:moveTo>
                  <a:cubicBezTo>
                    <a:pt x="3155156" y="315754"/>
                    <a:pt x="3156109" y="317659"/>
                    <a:pt x="3156109" y="320516"/>
                  </a:cubicBezTo>
                  <a:cubicBezTo>
                    <a:pt x="3156109" y="325279"/>
                    <a:pt x="3157061" y="330041"/>
                    <a:pt x="3158014" y="334804"/>
                  </a:cubicBezTo>
                  <a:cubicBezTo>
                    <a:pt x="3157061" y="341471"/>
                    <a:pt x="3155156" y="348139"/>
                    <a:pt x="3154204" y="354806"/>
                  </a:cubicBezTo>
                  <a:cubicBezTo>
                    <a:pt x="3153251" y="353854"/>
                    <a:pt x="3153251" y="352901"/>
                    <a:pt x="3152299" y="351949"/>
                  </a:cubicBezTo>
                  <a:cubicBezTo>
                    <a:pt x="3152299" y="350996"/>
                    <a:pt x="3152299" y="350044"/>
                    <a:pt x="3152299" y="350044"/>
                  </a:cubicBezTo>
                  <a:cubicBezTo>
                    <a:pt x="3152299" y="348139"/>
                    <a:pt x="3151346" y="347186"/>
                    <a:pt x="3151346" y="345281"/>
                  </a:cubicBezTo>
                  <a:cubicBezTo>
                    <a:pt x="3151346" y="345281"/>
                    <a:pt x="3151346" y="344329"/>
                    <a:pt x="3151346" y="344329"/>
                  </a:cubicBezTo>
                  <a:lnTo>
                    <a:pt x="3151346" y="338614"/>
                  </a:lnTo>
                  <a:cubicBezTo>
                    <a:pt x="3151346" y="329089"/>
                    <a:pt x="3153251" y="321469"/>
                    <a:pt x="3155156" y="313849"/>
                  </a:cubicBezTo>
                  <a:close/>
                  <a:moveTo>
                    <a:pt x="3139916" y="213836"/>
                  </a:moveTo>
                  <a:cubicBezTo>
                    <a:pt x="3140869" y="220504"/>
                    <a:pt x="3142774" y="228124"/>
                    <a:pt x="3143726" y="235744"/>
                  </a:cubicBezTo>
                  <a:cubicBezTo>
                    <a:pt x="3145631" y="246221"/>
                    <a:pt x="3147536" y="256699"/>
                    <a:pt x="3148489" y="267176"/>
                  </a:cubicBezTo>
                  <a:cubicBezTo>
                    <a:pt x="3146584" y="272891"/>
                    <a:pt x="3145631" y="278606"/>
                    <a:pt x="3143726" y="284321"/>
                  </a:cubicBezTo>
                  <a:cubicBezTo>
                    <a:pt x="3140869" y="251936"/>
                    <a:pt x="3138964" y="228124"/>
                    <a:pt x="3137059" y="216694"/>
                  </a:cubicBezTo>
                  <a:cubicBezTo>
                    <a:pt x="3138011" y="215741"/>
                    <a:pt x="3138964" y="214789"/>
                    <a:pt x="3139916" y="213836"/>
                  </a:cubicBezTo>
                  <a:close/>
                  <a:moveTo>
                    <a:pt x="3130391" y="337661"/>
                  </a:moveTo>
                  <a:cubicBezTo>
                    <a:pt x="3130391" y="336709"/>
                    <a:pt x="3130391" y="336709"/>
                    <a:pt x="3130391" y="335756"/>
                  </a:cubicBezTo>
                  <a:cubicBezTo>
                    <a:pt x="3130391" y="335756"/>
                    <a:pt x="3130391" y="335756"/>
                    <a:pt x="3130391" y="335756"/>
                  </a:cubicBezTo>
                  <a:cubicBezTo>
                    <a:pt x="3130391" y="336709"/>
                    <a:pt x="3130391" y="336709"/>
                    <a:pt x="3130391" y="337661"/>
                  </a:cubicBezTo>
                  <a:close/>
                  <a:moveTo>
                    <a:pt x="3130391" y="328136"/>
                  </a:moveTo>
                  <a:cubicBezTo>
                    <a:pt x="3130391" y="328136"/>
                    <a:pt x="3130391" y="327184"/>
                    <a:pt x="3130391" y="328136"/>
                  </a:cubicBezTo>
                  <a:cubicBezTo>
                    <a:pt x="3130391" y="327184"/>
                    <a:pt x="3130391" y="328136"/>
                    <a:pt x="3130391" y="328136"/>
                  </a:cubicBezTo>
                  <a:cubicBezTo>
                    <a:pt x="3130391" y="328136"/>
                    <a:pt x="3130391" y="328136"/>
                    <a:pt x="3130391" y="328136"/>
                  </a:cubicBezTo>
                  <a:close/>
                  <a:moveTo>
                    <a:pt x="3133249" y="276701"/>
                  </a:moveTo>
                  <a:cubicBezTo>
                    <a:pt x="3133249" y="276701"/>
                    <a:pt x="3133249" y="275749"/>
                    <a:pt x="3133249" y="276701"/>
                  </a:cubicBezTo>
                  <a:cubicBezTo>
                    <a:pt x="3131344" y="270034"/>
                    <a:pt x="3129439" y="264319"/>
                    <a:pt x="3128486" y="259556"/>
                  </a:cubicBezTo>
                  <a:cubicBezTo>
                    <a:pt x="3128486" y="254794"/>
                    <a:pt x="3128486" y="250031"/>
                    <a:pt x="3127534" y="246221"/>
                  </a:cubicBezTo>
                  <a:cubicBezTo>
                    <a:pt x="3131344" y="235744"/>
                    <a:pt x="3134201" y="228124"/>
                    <a:pt x="3135154" y="223361"/>
                  </a:cubicBezTo>
                  <a:cubicBezTo>
                    <a:pt x="3135154" y="235744"/>
                    <a:pt x="3134201" y="253841"/>
                    <a:pt x="3133249" y="276701"/>
                  </a:cubicBezTo>
                  <a:close/>
                  <a:moveTo>
                    <a:pt x="3130391" y="229076"/>
                  </a:moveTo>
                  <a:cubicBezTo>
                    <a:pt x="3132296" y="225266"/>
                    <a:pt x="3134201" y="222409"/>
                    <a:pt x="3136106" y="219551"/>
                  </a:cubicBezTo>
                  <a:cubicBezTo>
                    <a:pt x="3136106" y="220504"/>
                    <a:pt x="3136106" y="220504"/>
                    <a:pt x="3136106" y="221456"/>
                  </a:cubicBezTo>
                  <a:cubicBezTo>
                    <a:pt x="3134201" y="224314"/>
                    <a:pt x="3131344" y="229076"/>
                    <a:pt x="3127534" y="236696"/>
                  </a:cubicBezTo>
                  <a:cubicBezTo>
                    <a:pt x="3127534" y="235744"/>
                    <a:pt x="3127534" y="235744"/>
                    <a:pt x="3127534" y="234791"/>
                  </a:cubicBezTo>
                  <a:cubicBezTo>
                    <a:pt x="3128486" y="232886"/>
                    <a:pt x="3129439" y="230981"/>
                    <a:pt x="3130391" y="229076"/>
                  </a:cubicBezTo>
                  <a:close/>
                  <a:moveTo>
                    <a:pt x="3114199" y="290036"/>
                  </a:moveTo>
                  <a:cubicBezTo>
                    <a:pt x="3114199" y="289084"/>
                    <a:pt x="3113246" y="288131"/>
                    <a:pt x="3113246" y="287179"/>
                  </a:cubicBezTo>
                  <a:cubicBezTo>
                    <a:pt x="3113246" y="287179"/>
                    <a:pt x="3113246" y="287179"/>
                    <a:pt x="3113246" y="286226"/>
                  </a:cubicBezTo>
                  <a:cubicBezTo>
                    <a:pt x="3114199" y="284321"/>
                    <a:pt x="3114199" y="283369"/>
                    <a:pt x="3115151" y="281464"/>
                  </a:cubicBezTo>
                  <a:cubicBezTo>
                    <a:pt x="3114199" y="284321"/>
                    <a:pt x="3114199" y="287179"/>
                    <a:pt x="3114199" y="290036"/>
                  </a:cubicBezTo>
                  <a:close/>
                  <a:moveTo>
                    <a:pt x="3115151" y="257651"/>
                  </a:moveTo>
                  <a:cubicBezTo>
                    <a:pt x="3115151" y="256699"/>
                    <a:pt x="3116104" y="256699"/>
                    <a:pt x="3116104" y="255746"/>
                  </a:cubicBezTo>
                  <a:cubicBezTo>
                    <a:pt x="3116104" y="256699"/>
                    <a:pt x="3116104" y="257651"/>
                    <a:pt x="3115151" y="257651"/>
                  </a:cubicBezTo>
                  <a:cubicBezTo>
                    <a:pt x="3114199" y="261461"/>
                    <a:pt x="3111341" y="265271"/>
                    <a:pt x="3109436" y="270034"/>
                  </a:cubicBezTo>
                  <a:cubicBezTo>
                    <a:pt x="3111341" y="266224"/>
                    <a:pt x="3113246" y="261461"/>
                    <a:pt x="3115151" y="257651"/>
                  </a:cubicBezTo>
                  <a:close/>
                  <a:moveTo>
                    <a:pt x="3110389" y="292894"/>
                  </a:moveTo>
                  <a:cubicBezTo>
                    <a:pt x="3111341" y="297656"/>
                    <a:pt x="3112294" y="302419"/>
                    <a:pt x="3113246" y="309086"/>
                  </a:cubicBezTo>
                  <a:cubicBezTo>
                    <a:pt x="3113246" y="310039"/>
                    <a:pt x="3113246" y="310991"/>
                    <a:pt x="3114199" y="311944"/>
                  </a:cubicBezTo>
                  <a:cubicBezTo>
                    <a:pt x="3114199" y="314801"/>
                    <a:pt x="3114199" y="317659"/>
                    <a:pt x="3114199" y="321469"/>
                  </a:cubicBezTo>
                  <a:cubicBezTo>
                    <a:pt x="3114199" y="321469"/>
                    <a:pt x="3114199" y="320516"/>
                    <a:pt x="3114199" y="319564"/>
                  </a:cubicBezTo>
                  <a:cubicBezTo>
                    <a:pt x="3113246" y="315754"/>
                    <a:pt x="3112294" y="312896"/>
                    <a:pt x="3110389" y="309086"/>
                  </a:cubicBezTo>
                  <a:cubicBezTo>
                    <a:pt x="3110389" y="306229"/>
                    <a:pt x="3109436" y="303371"/>
                    <a:pt x="3109436" y="300514"/>
                  </a:cubicBezTo>
                  <a:cubicBezTo>
                    <a:pt x="3109436" y="300514"/>
                    <a:pt x="3109436" y="299561"/>
                    <a:pt x="3109436" y="299561"/>
                  </a:cubicBezTo>
                  <a:cubicBezTo>
                    <a:pt x="3108484" y="297656"/>
                    <a:pt x="3109436" y="295751"/>
                    <a:pt x="3110389" y="292894"/>
                  </a:cubicBezTo>
                  <a:close/>
                  <a:moveTo>
                    <a:pt x="3098006" y="350996"/>
                  </a:moveTo>
                  <a:cubicBezTo>
                    <a:pt x="3098006" y="350996"/>
                    <a:pt x="3098006" y="350996"/>
                    <a:pt x="3098006" y="350996"/>
                  </a:cubicBezTo>
                  <a:cubicBezTo>
                    <a:pt x="3098006" y="351949"/>
                    <a:pt x="3098006" y="352901"/>
                    <a:pt x="3098006" y="353854"/>
                  </a:cubicBezTo>
                  <a:cubicBezTo>
                    <a:pt x="3098006" y="353854"/>
                    <a:pt x="3098006" y="353854"/>
                    <a:pt x="3097054" y="354806"/>
                  </a:cubicBezTo>
                  <a:cubicBezTo>
                    <a:pt x="3097054" y="353854"/>
                    <a:pt x="3098006" y="351949"/>
                    <a:pt x="3098006" y="350996"/>
                  </a:cubicBezTo>
                  <a:close/>
                  <a:moveTo>
                    <a:pt x="3093244" y="377666"/>
                  </a:moveTo>
                  <a:cubicBezTo>
                    <a:pt x="3095149" y="372904"/>
                    <a:pt x="3097054" y="370046"/>
                    <a:pt x="3097054" y="370046"/>
                  </a:cubicBezTo>
                  <a:cubicBezTo>
                    <a:pt x="3097054" y="370046"/>
                    <a:pt x="3096101" y="371951"/>
                    <a:pt x="3094196" y="373856"/>
                  </a:cubicBezTo>
                  <a:cubicBezTo>
                    <a:pt x="3095149" y="368141"/>
                    <a:pt x="3096101" y="361474"/>
                    <a:pt x="3097054" y="355759"/>
                  </a:cubicBezTo>
                  <a:cubicBezTo>
                    <a:pt x="3097054" y="354806"/>
                    <a:pt x="3098006" y="354806"/>
                    <a:pt x="3098006" y="353854"/>
                  </a:cubicBezTo>
                  <a:cubicBezTo>
                    <a:pt x="3098006" y="359569"/>
                    <a:pt x="3098006" y="366236"/>
                    <a:pt x="3098006" y="371951"/>
                  </a:cubicBezTo>
                  <a:cubicBezTo>
                    <a:pt x="3098006" y="375761"/>
                    <a:pt x="3098006" y="379571"/>
                    <a:pt x="3098006" y="383381"/>
                  </a:cubicBezTo>
                  <a:lnTo>
                    <a:pt x="3095149" y="383381"/>
                  </a:lnTo>
                  <a:cubicBezTo>
                    <a:pt x="3095149" y="383381"/>
                    <a:pt x="3095149" y="383381"/>
                    <a:pt x="3095149" y="383381"/>
                  </a:cubicBezTo>
                  <a:cubicBezTo>
                    <a:pt x="3094196" y="381476"/>
                    <a:pt x="3094196" y="379571"/>
                    <a:pt x="3093244" y="378619"/>
                  </a:cubicBezTo>
                  <a:cubicBezTo>
                    <a:pt x="3093244" y="379571"/>
                    <a:pt x="3093244" y="378619"/>
                    <a:pt x="3093244" y="377666"/>
                  </a:cubicBezTo>
                  <a:close/>
                  <a:moveTo>
                    <a:pt x="3084671" y="293846"/>
                  </a:moveTo>
                  <a:cubicBezTo>
                    <a:pt x="3084671" y="288131"/>
                    <a:pt x="3085624" y="282416"/>
                    <a:pt x="3085624" y="276701"/>
                  </a:cubicBezTo>
                  <a:cubicBezTo>
                    <a:pt x="3085624" y="277654"/>
                    <a:pt x="3085624" y="277654"/>
                    <a:pt x="3085624" y="278606"/>
                  </a:cubicBezTo>
                  <a:cubicBezTo>
                    <a:pt x="3086576" y="281464"/>
                    <a:pt x="3087529" y="285274"/>
                    <a:pt x="3088481" y="289084"/>
                  </a:cubicBezTo>
                  <a:cubicBezTo>
                    <a:pt x="3087529" y="290036"/>
                    <a:pt x="3087529" y="290989"/>
                    <a:pt x="3086576" y="291941"/>
                  </a:cubicBezTo>
                  <a:cubicBezTo>
                    <a:pt x="3085624" y="292894"/>
                    <a:pt x="3084671" y="294799"/>
                    <a:pt x="3084671" y="296704"/>
                  </a:cubicBezTo>
                  <a:cubicBezTo>
                    <a:pt x="3084671" y="294799"/>
                    <a:pt x="3084671" y="294799"/>
                    <a:pt x="3084671" y="293846"/>
                  </a:cubicBezTo>
                  <a:close/>
                  <a:moveTo>
                    <a:pt x="3086576" y="348139"/>
                  </a:moveTo>
                  <a:cubicBezTo>
                    <a:pt x="3086576" y="349091"/>
                    <a:pt x="3086576" y="349091"/>
                    <a:pt x="3086576" y="350044"/>
                  </a:cubicBezTo>
                  <a:cubicBezTo>
                    <a:pt x="3085624" y="353854"/>
                    <a:pt x="3084671" y="357664"/>
                    <a:pt x="3083719" y="361474"/>
                  </a:cubicBezTo>
                  <a:cubicBezTo>
                    <a:pt x="3083719" y="360521"/>
                    <a:pt x="3083719" y="358616"/>
                    <a:pt x="3083719" y="357664"/>
                  </a:cubicBezTo>
                  <a:cubicBezTo>
                    <a:pt x="3084671" y="353854"/>
                    <a:pt x="3085624" y="350996"/>
                    <a:pt x="3086576" y="348139"/>
                  </a:cubicBezTo>
                  <a:close/>
                  <a:moveTo>
                    <a:pt x="3057049" y="235744"/>
                  </a:moveTo>
                  <a:cubicBezTo>
                    <a:pt x="3058001" y="227171"/>
                    <a:pt x="3058954" y="218599"/>
                    <a:pt x="3059906" y="210979"/>
                  </a:cubicBezTo>
                  <a:cubicBezTo>
                    <a:pt x="3060859" y="204311"/>
                    <a:pt x="3061811" y="197644"/>
                    <a:pt x="3062764" y="191929"/>
                  </a:cubicBezTo>
                  <a:cubicBezTo>
                    <a:pt x="3063716" y="195739"/>
                    <a:pt x="3065621" y="201454"/>
                    <a:pt x="3067526" y="209074"/>
                  </a:cubicBezTo>
                  <a:cubicBezTo>
                    <a:pt x="3067526" y="213836"/>
                    <a:pt x="3066574" y="217646"/>
                    <a:pt x="3066574" y="222409"/>
                  </a:cubicBezTo>
                  <a:cubicBezTo>
                    <a:pt x="3065621" y="231934"/>
                    <a:pt x="3064669" y="242411"/>
                    <a:pt x="3063716" y="253841"/>
                  </a:cubicBezTo>
                  <a:cubicBezTo>
                    <a:pt x="3062764" y="258604"/>
                    <a:pt x="3060859" y="263366"/>
                    <a:pt x="3059906" y="268129"/>
                  </a:cubicBezTo>
                  <a:cubicBezTo>
                    <a:pt x="3058954" y="262414"/>
                    <a:pt x="3058001" y="257651"/>
                    <a:pt x="3057049" y="252889"/>
                  </a:cubicBezTo>
                  <a:cubicBezTo>
                    <a:pt x="3057049" y="250984"/>
                    <a:pt x="3056096" y="250031"/>
                    <a:pt x="3056096" y="248126"/>
                  </a:cubicBezTo>
                  <a:cubicBezTo>
                    <a:pt x="3056096" y="244316"/>
                    <a:pt x="3056096" y="239554"/>
                    <a:pt x="3057049" y="235744"/>
                  </a:cubicBezTo>
                  <a:close/>
                  <a:moveTo>
                    <a:pt x="3002756" y="307181"/>
                  </a:moveTo>
                  <a:cubicBezTo>
                    <a:pt x="3002756" y="308134"/>
                    <a:pt x="3001804" y="309086"/>
                    <a:pt x="3001804" y="310039"/>
                  </a:cubicBezTo>
                  <a:cubicBezTo>
                    <a:pt x="3001804" y="308134"/>
                    <a:pt x="3002756" y="307181"/>
                    <a:pt x="3002756" y="305276"/>
                  </a:cubicBezTo>
                  <a:cubicBezTo>
                    <a:pt x="3004661" y="298609"/>
                    <a:pt x="3005614" y="292894"/>
                    <a:pt x="3006566" y="286226"/>
                  </a:cubicBezTo>
                  <a:cubicBezTo>
                    <a:pt x="3007519" y="287179"/>
                    <a:pt x="3007519" y="289084"/>
                    <a:pt x="3008471" y="290036"/>
                  </a:cubicBezTo>
                  <a:cubicBezTo>
                    <a:pt x="3006566" y="295751"/>
                    <a:pt x="3004661" y="301466"/>
                    <a:pt x="3002756" y="307181"/>
                  </a:cubicBezTo>
                  <a:close/>
                  <a:moveTo>
                    <a:pt x="3036094" y="249079"/>
                  </a:moveTo>
                  <a:cubicBezTo>
                    <a:pt x="3036094" y="254794"/>
                    <a:pt x="3036094" y="260509"/>
                    <a:pt x="3036094" y="266224"/>
                  </a:cubicBezTo>
                  <a:cubicBezTo>
                    <a:pt x="3035141" y="263366"/>
                    <a:pt x="3034189" y="260509"/>
                    <a:pt x="3033236" y="258604"/>
                  </a:cubicBezTo>
                  <a:cubicBezTo>
                    <a:pt x="3034189" y="255746"/>
                    <a:pt x="3035141" y="252889"/>
                    <a:pt x="3036094" y="249079"/>
                  </a:cubicBezTo>
                  <a:close/>
                  <a:moveTo>
                    <a:pt x="3030379" y="269081"/>
                  </a:moveTo>
                  <a:cubicBezTo>
                    <a:pt x="3030379" y="269081"/>
                    <a:pt x="3030379" y="270034"/>
                    <a:pt x="3030379" y="269081"/>
                  </a:cubicBezTo>
                  <a:cubicBezTo>
                    <a:pt x="3030379" y="270034"/>
                    <a:pt x="3030379" y="270034"/>
                    <a:pt x="3030379" y="269081"/>
                  </a:cubicBezTo>
                  <a:cubicBezTo>
                    <a:pt x="3030379" y="269081"/>
                    <a:pt x="3030379" y="269081"/>
                    <a:pt x="3030379" y="269081"/>
                  </a:cubicBezTo>
                  <a:close/>
                  <a:moveTo>
                    <a:pt x="3027521" y="353854"/>
                  </a:moveTo>
                  <a:cubicBezTo>
                    <a:pt x="3026569" y="356711"/>
                    <a:pt x="3024664" y="360521"/>
                    <a:pt x="3023711" y="364331"/>
                  </a:cubicBezTo>
                  <a:cubicBezTo>
                    <a:pt x="3021806" y="370046"/>
                    <a:pt x="3019901" y="376714"/>
                    <a:pt x="3017996" y="383381"/>
                  </a:cubicBezTo>
                  <a:cubicBezTo>
                    <a:pt x="3017996" y="384334"/>
                    <a:pt x="3017044" y="384334"/>
                    <a:pt x="3017044" y="385286"/>
                  </a:cubicBezTo>
                  <a:cubicBezTo>
                    <a:pt x="3016091" y="382429"/>
                    <a:pt x="3015139" y="379571"/>
                    <a:pt x="3015139" y="376714"/>
                  </a:cubicBezTo>
                  <a:cubicBezTo>
                    <a:pt x="3017044" y="372904"/>
                    <a:pt x="3018949" y="370046"/>
                    <a:pt x="3020854" y="366236"/>
                  </a:cubicBezTo>
                  <a:cubicBezTo>
                    <a:pt x="3023711" y="361474"/>
                    <a:pt x="3025616" y="357664"/>
                    <a:pt x="3028474" y="352901"/>
                  </a:cubicBezTo>
                  <a:cubicBezTo>
                    <a:pt x="3027521" y="352901"/>
                    <a:pt x="3027521" y="353854"/>
                    <a:pt x="3027521" y="353854"/>
                  </a:cubicBezTo>
                  <a:close/>
                  <a:moveTo>
                    <a:pt x="3021806" y="230029"/>
                  </a:moveTo>
                  <a:cubicBezTo>
                    <a:pt x="3022759" y="231934"/>
                    <a:pt x="3022759" y="235744"/>
                    <a:pt x="3024664" y="241459"/>
                  </a:cubicBezTo>
                  <a:cubicBezTo>
                    <a:pt x="3024664" y="241459"/>
                    <a:pt x="3024664" y="241459"/>
                    <a:pt x="3024664" y="241459"/>
                  </a:cubicBezTo>
                  <a:cubicBezTo>
                    <a:pt x="3022759" y="237649"/>
                    <a:pt x="3022759" y="233839"/>
                    <a:pt x="3021806" y="230029"/>
                  </a:cubicBezTo>
                  <a:cubicBezTo>
                    <a:pt x="3021806" y="230029"/>
                    <a:pt x="3021806" y="230029"/>
                    <a:pt x="3021806" y="230029"/>
                  </a:cubicBezTo>
                  <a:close/>
                  <a:moveTo>
                    <a:pt x="3020854" y="305276"/>
                  </a:moveTo>
                  <a:cubicBezTo>
                    <a:pt x="3020854" y="305276"/>
                    <a:pt x="3020854" y="305276"/>
                    <a:pt x="3020854" y="305276"/>
                  </a:cubicBezTo>
                  <a:cubicBezTo>
                    <a:pt x="3020854" y="306229"/>
                    <a:pt x="3020854" y="305276"/>
                    <a:pt x="3020854" y="305276"/>
                  </a:cubicBezTo>
                  <a:cubicBezTo>
                    <a:pt x="3020854" y="305276"/>
                    <a:pt x="3020854" y="305276"/>
                    <a:pt x="3020854" y="305276"/>
                  </a:cubicBezTo>
                  <a:close/>
                  <a:moveTo>
                    <a:pt x="3017996" y="317659"/>
                  </a:moveTo>
                  <a:cubicBezTo>
                    <a:pt x="3018949" y="321469"/>
                    <a:pt x="3020854" y="325279"/>
                    <a:pt x="3021806" y="329089"/>
                  </a:cubicBezTo>
                  <a:cubicBezTo>
                    <a:pt x="3022759" y="332899"/>
                    <a:pt x="3023711" y="336709"/>
                    <a:pt x="3025616" y="339566"/>
                  </a:cubicBezTo>
                  <a:cubicBezTo>
                    <a:pt x="3020854" y="345281"/>
                    <a:pt x="3016091" y="351949"/>
                    <a:pt x="3011329" y="359569"/>
                  </a:cubicBezTo>
                  <a:cubicBezTo>
                    <a:pt x="3011329" y="359569"/>
                    <a:pt x="3011329" y="359569"/>
                    <a:pt x="3011329" y="360521"/>
                  </a:cubicBezTo>
                  <a:cubicBezTo>
                    <a:pt x="3010376" y="357664"/>
                    <a:pt x="3009424" y="354806"/>
                    <a:pt x="3009424" y="351949"/>
                  </a:cubicBezTo>
                  <a:cubicBezTo>
                    <a:pt x="3011329" y="340519"/>
                    <a:pt x="3015139" y="329089"/>
                    <a:pt x="3017996" y="317659"/>
                  </a:cubicBezTo>
                  <a:close/>
                  <a:moveTo>
                    <a:pt x="3013234" y="257651"/>
                  </a:moveTo>
                  <a:cubicBezTo>
                    <a:pt x="3013234" y="258604"/>
                    <a:pt x="3013234" y="259556"/>
                    <a:pt x="3014186" y="261461"/>
                  </a:cubicBezTo>
                  <a:cubicBezTo>
                    <a:pt x="3014186" y="263366"/>
                    <a:pt x="3015139" y="266224"/>
                    <a:pt x="3015139" y="269081"/>
                  </a:cubicBezTo>
                  <a:cubicBezTo>
                    <a:pt x="3013234" y="273844"/>
                    <a:pt x="3012281" y="279559"/>
                    <a:pt x="3010376" y="284321"/>
                  </a:cubicBezTo>
                  <a:cubicBezTo>
                    <a:pt x="3010376" y="283369"/>
                    <a:pt x="3009424" y="283369"/>
                    <a:pt x="3009424" y="282416"/>
                  </a:cubicBezTo>
                  <a:cubicBezTo>
                    <a:pt x="3009424" y="281464"/>
                    <a:pt x="3008471" y="280511"/>
                    <a:pt x="3008471" y="279559"/>
                  </a:cubicBezTo>
                  <a:cubicBezTo>
                    <a:pt x="3008471" y="278606"/>
                    <a:pt x="3008471" y="277654"/>
                    <a:pt x="3009424" y="276701"/>
                  </a:cubicBezTo>
                  <a:cubicBezTo>
                    <a:pt x="3010376" y="270034"/>
                    <a:pt x="3011329" y="263366"/>
                    <a:pt x="3013234" y="257651"/>
                  </a:cubicBezTo>
                  <a:close/>
                  <a:moveTo>
                    <a:pt x="3008471" y="230029"/>
                  </a:moveTo>
                  <a:cubicBezTo>
                    <a:pt x="3009424" y="234791"/>
                    <a:pt x="3010376" y="239554"/>
                    <a:pt x="3010376" y="244316"/>
                  </a:cubicBezTo>
                  <a:cubicBezTo>
                    <a:pt x="3009424" y="246221"/>
                    <a:pt x="3008471" y="249079"/>
                    <a:pt x="3007519" y="250984"/>
                  </a:cubicBezTo>
                  <a:cubicBezTo>
                    <a:pt x="3005614" y="254794"/>
                    <a:pt x="3003709" y="259556"/>
                    <a:pt x="3001804" y="264319"/>
                  </a:cubicBezTo>
                  <a:cubicBezTo>
                    <a:pt x="3003709" y="251936"/>
                    <a:pt x="3005614" y="240506"/>
                    <a:pt x="3008471" y="230029"/>
                  </a:cubicBezTo>
                  <a:close/>
                  <a:moveTo>
                    <a:pt x="3003709" y="195739"/>
                  </a:moveTo>
                  <a:cubicBezTo>
                    <a:pt x="3003709" y="198596"/>
                    <a:pt x="3004661" y="202406"/>
                    <a:pt x="3004661" y="205264"/>
                  </a:cubicBezTo>
                  <a:cubicBezTo>
                    <a:pt x="3002756" y="210979"/>
                    <a:pt x="3000851" y="216694"/>
                    <a:pt x="2997994" y="223361"/>
                  </a:cubicBezTo>
                  <a:cubicBezTo>
                    <a:pt x="2993231" y="235744"/>
                    <a:pt x="2990374" y="248126"/>
                    <a:pt x="2986564" y="262414"/>
                  </a:cubicBezTo>
                  <a:cubicBezTo>
                    <a:pt x="2985611" y="265271"/>
                    <a:pt x="2985611" y="268129"/>
                    <a:pt x="2984659" y="270986"/>
                  </a:cubicBezTo>
                  <a:cubicBezTo>
                    <a:pt x="2984659" y="270986"/>
                    <a:pt x="2984659" y="270986"/>
                    <a:pt x="2984659" y="270986"/>
                  </a:cubicBezTo>
                  <a:cubicBezTo>
                    <a:pt x="2991326" y="243364"/>
                    <a:pt x="2997994" y="218599"/>
                    <a:pt x="3003709" y="195739"/>
                  </a:cubicBezTo>
                  <a:close/>
                  <a:moveTo>
                    <a:pt x="2974181" y="311944"/>
                  </a:moveTo>
                  <a:cubicBezTo>
                    <a:pt x="2976086" y="302419"/>
                    <a:pt x="2978944" y="292894"/>
                    <a:pt x="2980849" y="284321"/>
                  </a:cubicBezTo>
                  <a:cubicBezTo>
                    <a:pt x="2980849" y="284321"/>
                    <a:pt x="2980849" y="285274"/>
                    <a:pt x="2980849" y="285274"/>
                  </a:cubicBezTo>
                  <a:cubicBezTo>
                    <a:pt x="2978944" y="291941"/>
                    <a:pt x="2977991" y="299561"/>
                    <a:pt x="2976086" y="307181"/>
                  </a:cubicBezTo>
                  <a:cubicBezTo>
                    <a:pt x="2975134" y="313849"/>
                    <a:pt x="2973229" y="320516"/>
                    <a:pt x="2972276" y="327184"/>
                  </a:cubicBezTo>
                  <a:cubicBezTo>
                    <a:pt x="2971324" y="325279"/>
                    <a:pt x="2971324" y="324326"/>
                    <a:pt x="2970371" y="322421"/>
                  </a:cubicBezTo>
                  <a:cubicBezTo>
                    <a:pt x="2972276" y="318611"/>
                    <a:pt x="2973229" y="314801"/>
                    <a:pt x="2974181" y="311944"/>
                  </a:cubicBezTo>
                  <a:close/>
                  <a:moveTo>
                    <a:pt x="2964656" y="349091"/>
                  </a:moveTo>
                  <a:cubicBezTo>
                    <a:pt x="2965609" y="344329"/>
                    <a:pt x="2967514" y="339566"/>
                    <a:pt x="2968466" y="334804"/>
                  </a:cubicBezTo>
                  <a:cubicBezTo>
                    <a:pt x="2969419" y="337661"/>
                    <a:pt x="2970371" y="341471"/>
                    <a:pt x="2970371" y="344329"/>
                  </a:cubicBezTo>
                  <a:cubicBezTo>
                    <a:pt x="2970371" y="347186"/>
                    <a:pt x="2969419" y="350996"/>
                    <a:pt x="2969419" y="353854"/>
                  </a:cubicBezTo>
                  <a:cubicBezTo>
                    <a:pt x="2968466" y="361474"/>
                    <a:pt x="2967514" y="369094"/>
                    <a:pt x="2966561" y="377666"/>
                  </a:cubicBezTo>
                  <a:cubicBezTo>
                    <a:pt x="2965609" y="373856"/>
                    <a:pt x="2964656" y="369094"/>
                    <a:pt x="2963704" y="366236"/>
                  </a:cubicBezTo>
                  <a:cubicBezTo>
                    <a:pt x="2967514" y="350996"/>
                    <a:pt x="2969419" y="341471"/>
                    <a:pt x="2969419" y="341471"/>
                  </a:cubicBezTo>
                  <a:cubicBezTo>
                    <a:pt x="2969419" y="341471"/>
                    <a:pt x="2967514" y="344329"/>
                    <a:pt x="2964656" y="349091"/>
                  </a:cubicBezTo>
                  <a:close/>
                  <a:moveTo>
                    <a:pt x="2958941" y="383381"/>
                  </a:moveTo>
                  <a:cubicBezTo>
                    <a:pt x="2958941" y="383381"/>
                    <a:pt x="2958941" y="384334"/>
                    <a:pt x="2958941" y="383381"/>
                  </a:cubicBezTo>
                  <a:cubicBezTo>
                    <a:pt x="2958941" y="384334"/>
                    <a:pt x="2958941" y="384334"/>
                    <a:pt x="2958941" y="383381"/>
                  </a:cubicBezTo>
                  <a:cubicBezTo>
                    <a:pt x="2958941" y="384334"/>
                    <a:pt x="2958941" y="384334"/>
                    <a:pt x="2958941" y="383381"/>
                  </a:cubicBezTo>
                  <a:cubicBezTo>
                    <a:pt x="2958941" y="384334"/>
                    <a:pt x="2958941" y="383381"/>
                    <a:pt x="2958941" y="383381"/>
                  </a:cubicBezTo>
                  <a:close/>
                  <a:moveTo>
                    <a:pt x="2936081" y="284321"/>
                  </a:moveTo>
                  <a:cubicBezTo>
                    <a:pt x="2935129" y="280511"/>
                    <a:pt x="2935129" y="277654"/>
                    <a:pt x="2934176" y="273844"/>
                  </a:cubicBezTo>
                  <a:cubicBezTo>
                    <a:pt x="2935129" y="272891"/>
                    <a:pt x="2935129" y="271939"/>
                    <a:pt x="2936081" y="271939"/>
                  </a:cubicBezTo>
                  <a:cubicBezTo>
                    <a:pt x="2936081" y="276701"/>
                    <a:pt x="2936081" y="280511"/>
                    <a:pt x="2936081" y="284321"/>
                  </a:cubicBezTo>
                  <a:close/>
                  <a:moveTo>
                    <a:pt x="2936081" y="267176"/>
                  </a:moveTo>
                  <a:cubicBezTo>
                    <a:pt x="2936081" y="267176"/>
                    <a:pt x="2936081" y="267176"/>
                    <a:pt x="2936081" y="267176"/>
                  </a:cubicBezTo>
                  <a:cubicBezTo>
                    <a:pt x="2935129" y="268129"/>
                    <a:pt x="2935129" y="268129"/>
                    <a:pt x="2934176" y="269081"/>
                  </a:cubicBezTo>
                  <a:cubicBezTo>
                    <a:pt x="2935129" y="268129"/>
                    <a:pt x="2935129" y="266224"/>
                    <a:pt x="2936081" y="265271"/>
                  </a:cubicBezTo>
                  <a:cubicBezTo>
                    <a:pt x="2935129" y="265271"/>
                    <a:pt x="2936081" y="266224"/>
                    <a:pt x="2936081" y="267176"/>
                  </a:cubicBezTo>
                  <a:close/>
                  <a:moveTo>
                    <a:pt x="2929414" y="243364"/>
                  </a:moveTo>
                  <a:lnTo>
                    <a:pt x="2930366" y="243364"/>
                  </a:lnTo>
                  <a:lnTo>
                    <a:pt x="2933224" y="244316"/>
                  </a:lnTo>
                  <a:cubicBezTo>
                    <a:pt x="2933224" y="248126"/>
                    <a:pt x="2934176" y="251936"/>
                    <a:pt x="2934176" y="255746"/>
                  </a:cubicBezTo>
                  <a:cubicBezTo>
                    <a:pt x="2933224" y="257651"/>
                    <a:pt x="2932271" y="259556"/>
                    <a:pt x="2931319" y="261461"/>
                  </a:cubicBezTo>
                  <a:cubicBezTo>
                    <a:pt x="2930366" y="256699"/>
                    <a:pt x="2929414" y="251936"/>
                    <a:pt x="2927509" y="248126"/>
                  </a:cubicBezTo>
                  <a:cubicBezTo>
                    <a:pt x="2928461" y="246221"/>
                    <a:pt x="2929414" y="245269"/>
                    <a:pt x="2929414" y="243364"/>
                  </a:cubicBezTo>
                  <a:close/>
                  <a:moveTo>
                    <a:pt x="2917984" y="351949"/>
                  </a:moveTo>
                  <a:cubicBezTo>
                    <a:pt x="2917984" y="352901"/>
                    <a:pt x="2917984" y="352901"/>
                    <a:pt x="2918936" y="353854"/>
                  </a:cubicBezTo>
                  <a:cubicBezTo>
                    <a:pt x="2918936" y="356711"/>
                    <a:pt x="2919889" y="360521"/>
                    <a:pt x="2919889" y="363379"/>
                  </a:cubicBezTo>
                  <a:cubicBezTo>
                    <a:pt x="2920841" y="369094"/>
                    <a:pt x="2921794" y="374809"/>
                    <a:pt x="2922746" y="380524"/>
                  </a:cubicBezTo>
                  <a:cubicBezTo>
                    <a:pt x="2921794" y="380524"/>
                    <a:pt x="2921794" y="380524"/>
                    <a:pt x="2920841" y="380524"/>
                  </a:cubicBezTo>
                  <a:cubicBezTo>
                    <a:pt x="2918936" y="374809"/>
                    <a:pt x="2916079" y="368141"/>
                    <a:pt x="2913221" y="362426"/>
                  </a:cubicBezTo>
                  <a:cubicBezTo>
                    <a:pt x="2914174" y="358616"/>
                    <a:pt x="2916079" y="355759"/>
                    <a:pt x="2917984" y="351949"/>
                  </a:cubicBezTo>
                  <a:close/>
                  <a:moveTo>
                    <a:pt x="2904649" y="224314"/>
                  </a:moveTo>
                  <a:cubicBezTo>
                    <a:pt x="2904649" y="224314"/>
                    <a:pt x="2904649" y="224314"/>
                    <a:pt x="2904649" y="224314"/>
                  </a:cubicBezTo>
                  <a:cubicBezTo>
                    <a:pt x="2904649" y="228124"/>
                    <a:pt x="2903696" y="232886"/>
                    <a:pt x="2903696" y="237649"/>
                  </a:cubicBezTo>
                  <a:cubicBezTo>
                    <a:pt x="2903696" y="241459"/>
                    <a:pt x="2902744" y="245269"/>
                    <a:pt x="2902744" y="250031"/>
                  </a:cubicBezTo>
                  <a:cubicBezTo>
                    <a:pt x="2901791" y="245269"/>
                    <a:pt x="2901791" y="240506"/>
                    <a:pt x="2900839" y="235744"/>
                  </a:cubicBezTo>
                  <a:cubicBezTo>
                    <a:pt x="2901791" y="231934"/>
                    <a:pt x="2902744" y="228124"/>
                    <a:pt x="2904649" y="224314"/>
                  </a:cubicBezTo>
                  <a:close/>
                  <a:moveTo>
                    <a:pt x="2885599" y="294799"/>
                  </a:moveTo>
                  <a:cubicBezTo>
                    <a:pt x="2886551" y="290036"/>
                    <a:pt x="2887504" y="285274"/>
                    <a:pt x="2888456" y="280511"/>
                  </a:cubicBezTo>
                  <a:cubicBezTo>
                    <a:pt x="2888456" y="289084"/>
                    <a:pt x="2889409" y="298609"/>
                    <a:pt x="2889409" y="308134"/>
                  </a:cubicBezTo>
                  <a:cubicBezTo>
                    <a:pt x="2887504" y="304324"/>
                    <a:pt x="2886551" y="301466"/>
                    <a:pt x="2884646" y="297656"/>
                  </a:cubicBezTo>
                  <a:cubicBezTo>
                    <a:pt x="2884646" y="296704"/>
                    <a:pt x="2885599" y="295751"/>
                    <a:pt x="2885599" y="294799"/>
                  </a:cubicBezTo>
                  <a:close/>
                  <a:moveTo>
                    <a:pt x="2869406" y="301466"/>
                  </a:moveTo>
                  <a:cubicBezTo>
                    <a:pt x="2869406" y="302419"/>
                    <a:pt x="2869406" y="302419"/>
                    <a:pt x="2869406" y="301466"/>
                  </a:cubicBezTo>
                  <a:cubicBezTo>
                    <a:pt x="2869406" y="302419"/>
                    <a:pt x="2869406" y="302419"/>
                    <a:pt x="2869406" y="302419"/>
                  </a:cubicBezTo>
                  <a:cubicBezTo>
                    <a:pt x="2869406" y="303371"/>
                    <a:pt x="2868454" y="304324"/>
                    <a:pt x="2868454" y="305276"/>
                  </a:cubicBezTo>
                  <a:cubicBezTo>
                    <a:pt x="2864644" y="298609"/>
                    <a:pt x="2860834" y="290989"/>
                    <a:pt x="2856071" y="284321"/>
                  </a:cubicBezTo>
                  <a:cubicBezTo>
                    <a:pt x="2856071" y="283369"/>
                    <a:pt x="2855119" y="283369"/>
                    <a:pt x="2855119" y="282416"/>
                  </a:cubicBezTo>
                  <a:cubicBezTo>
                    <a:pt x="2856071" y="279559"/>
                    <a:pt x="2857024" y="276701"/>
                    <a:pt x="2857976" y="273844"/>
                  </a:cubicBezTo>
                  <a:cubicBezTo>
                    <a:pt x="2861786" y="283369"/>
                    <a:pt x="2865596" y="292894"/>
                    <a:pt x="2869406" y="301466"/>
                  </a:cubicBezTo>
                  <a:close/>
                  <a:moveTo>
                    <a:pt x="2851309" y="262414"/>
                  </a:moveTo>
                  <a:cubicBezTo>
                    <a:pt x="2851309" y="261461"/>
                    <a:pt x="2851309" y="260509"/>
                    <a:pt x="2851309" y="259556"/>
                  </a:cubicBezTo>
                  <a:cubicBezTo>
                    <a:pt x="2852261" y="262414"/>
                    <a:pt x="2853214" y="264319"/>
                    <a:pt x="2855119" y="267176"/>
                  </a:cubicBezTo>
                  <a:cubicBezTo>
                    <a:pt x="2855119" y="268129"/>
                    <a:pt x="2856071" y="268129"/>
                    <a:pt x="2856071" y="269081"/>
                  </a:cubicBezTo>
                  <a:cubicBezTo>
                    <a:pt x="2855119" y="270986"/>
                    <a:pt x="2853214" y="273844"/>
                    <a:pt x="2851309" y="276701"/>
                  </a:cubicBezTo>
                  <a:cubicBezTo>
                    <a:pt x="2851309" y="275749"/>
                    <a:pt x="2850356" y="275749"/>
                    <a:pt x="2850356" y="274796"/>
                  </a:cubicBezTo>
                  <a:cubicBezTo>
                    <a:pt x="2850356" y="270986"/>
                    <a:pt x="2851309" y="267176"/>
                    <a:pt x="2851309" y="262414"/>
                  </a:cubicBezTo>
                  <a:close/>
                  <a:moveTo>
                    <a:pt x="2848451" y="312896"/>
                  </a:moveTo>
                  <a:cubicBezTo>
                    <a:pt x="2848451" y="309086"/>
                    <a:pt x="2848451" y="306229"/>
                    <a:pt x="2848451" y="302419"/>
                  </a:cubicBezTo>
                  <a:cubicBezTo>
                    <a:pt x="2852261" y="310039"/>
                    <a:pt x="2857024" y="318611"/>
                    <a:pt x="2860834" y="327184"/>
                  </a:cubicBezTo>
                  <a:cubicBezTo>
                    <a:pt x="2858929" y="332899"/>
                    <a:pt x="2857024" y="338614"/>
                    <a:pt x="2856071" y="344329"/>
                  </a:cubicBezTo>
                  <a:cubicBezTo>
                    <a:pt x="2855119" y="348139"/>
                    <a:pt x="2854166" y="351949"/>
                    <a:pt x="2853214" y="355759"/>
                  </a:cubicBezTo>
                  <a:cubicBezTo>
                    <a:pt x="2852261" y="350996"/>
                    <a:pt x="2852261" y="346234"/>
                    <a:pt x="2851309" y="341471"/>
                  </a:cubicBezTo>
                  <a:cubicBezTo>
                    <a:pt x="2850356" y="332899"/>
                    <a:pt x="2849404" y="324326"/>
                    <a:pt x="2847499" y="316706"/>
                  </a:cubicBezTo>
                  <a:cubicBezTo>
                    <a:pt x="2848451" y="315754"/>
                    <a:pt x="2848451" y="313849"/>
                    <a:pt x="2848451" y="312896"/>
                  </a:cubicBezTo>
                  <a:close/>
                  <a:moveTo>
                    <a:pt x="2836069" y="226219"/>
                  </a:moveTo>
                  <a:cubicBezTo>
                    <a:pt x="2839879" y="234791"/>
                    <a:pt x="2843689" y="243364"/>
                    <a:pt x="2847499" y="251936"/>
                  </a:cubicBezTo>
                  <a:cubicBezTo>
                    <a:pt x="2846546" y="254794"/>
                    <a:pt x="2845594" y="257651"/>
                    <a:pt x="2844641" y="261461"/>
                  </a:cubicBezTo>
                  <a:cubicBezTo>
                    <a:pt x="2844641" y="262414"/>
                    <a:pt x="2843689" y="264319"/>
                    <a:pt x="2843689" y="266224"/>
                  </a:cubicBezTo>
                  <a:cubicBezTo>
                    <a:pt x="2841784" y="263366"/>
                    <a:pt x="2840831" y="261461"/>
                    <a:pt x="2838926" y="258604"/>
                  </a:cubicBezTo>
                  <a:cubicBezTo>
                    <a:pt x="2837974" y="249079"/>
                    <a:pt x="2836069" y="238601"/>
                    <a:pt x="2834164" y="229076"/>
                  </a:cubicBezTo>
                  <a:cubicBezTo>
                    <a:pt x="2836069" y="228124"/>
                    <a:pt x="2836069" y="227171"/>
                    <a:pt x="2836069" y="226219"/>
                  </a:cubicBezTo>
                  <a:close/>
                  <a:moveTo>
                    <a:pt x="2830354" y="305276"/>
                  </a:moveTo>
                  <a:cubicBezTo>
                    <a:pt x="2830354" y="308134"/>
                    <a:pt x="2830354" y="310039"/>
                    <a:pt x="2831306" y="312896"/>
                  </a:cubicBezTo>
                  <a:cubicBezTo>
                    <a:pt x="2831306" y="312896"/>
                    <a:pt x="2831306" y="312896"/>
                    <a:pt x="2831306" y="313849"/>
                  </a:cubicBezTo>
                  <a:cubicBezTo>
                    <a:pt x="2831306" y="311944"/>
                    <a:pt x="2831306" y="310039"/>
                    <a:pt x="2830354" y="308134"/>
                  </a:cubicBezTo>
                  <a:cubicBezTo>
                    <a:pt x="2830354" y="307181"/>
                    <a:pt x="2830354" y="306229"/>
                    <a:pt x="2830354" y="305276"/>
                  </a:cubicBezTo>
                  <a:close/>
                  <a:moveTo>
                    <a:pt x="2829401" y="292894"/>
                  </a:moveTo>
                  <a:cubicBezTo>
                    <a:pt x="2829401" y="294799"/>
                    <a:pt x="2829401" y="296704"/>
                    <a:pt x="2830354" y="299561"/>
                  </a:cubicBezTo>
                  <a:cubicBezTo>
                    <a:pt x="2830354" y="300514"/>
                    <a:pt x="2830354" y="300514"/>
                    <a:pt x="2829401" y="301466"/>
                  </a:cubicBezTo>
                  <a:cubicBezTo>
                    <a:pt x="2829401" y="300514"/>
                    <a:pt x="2829401" y="300514"/>
                    <a:pt x="2829401" y="299561"/>
                  </a:cubicBezTo>
                  <a:cubicBezTo>
                    <a:pt x="2828449" y="296704"/>
                    <a:pt x="2828449" y="294799"/>
                    <a:pt x="2829401" y="292894"/>
                  </a:cubicBezTo>
                  <a:close/>
                  <a:moveTo>
                    <a:pt x="2785586" y="268129"/>
                  </a:moveTo>
                  <a:cubicBezTo>
                    <a:pt x="2784634" y="269081"/>
                    <a:pt x="2783681" y="270034"/>
                    <a:pt x="2782729" y="271939"/>
                  </a:cubicBezTo>
                  <a:cubicBezTo>
                    <a:pt x="2782729" y="270986"/>
                    <a:pt x="2782729" y="270034"/>
                    <a:pt x="2782729" y="269081"/>
                  </a:cubicBezTo>
                  <a:cubicBezTo>
                    <a:pt x="2782729" y="268129"/>
                    <a:pt x="2782729" y="266224"/>
                    <a:pt x="2782729" y="265271"/>
                  </a:cubicBezTo>
                  <a:cubicBezTo>
                    <a:pt x="2783681" y="263366"/>
                    <a:pt x="2785586" y="260509"/>
                    <a:pt x="2786539" y="258604"/>
                  </a:cubicBezTo>
                  <a:cubicBezTo>
                    <a:pt x="2786539" y="259556"/>
                    <a:pt x="2786539" y="259556"/>
                    <a:pt x="2786539" y="260509"/>
                  </a:cubicBezTo>
                  <a:cubicBezTo>
                    <a:pt x="2785586" y="262414"/>
                    <a:pt x="2785586" y="265271"/>
                    <a:pt x="2785586" y="268129"/>
                  </a:cubicBezTo>
                  <a:close/>
                  <a:moveTo>
                    <a:pt x="2796064" y="268129"/>
                  </a:moveTo>
                  <a:cubicBezTo>
                    <a:pt x="2796064" y="267176"/>
                    <a:pt x="2796064" y="267176"/>
                    <a:pt x="2796064" y="268129"/>
                  </a:cubicBezTo>
                  <a:cubicBezTo>
                    <a:pt x="2797016" y="266224"/>
                    <a:pt x="2797969" y="264319"/>
                    <a:pt x="2798921" y="263366"/>
                  </a:cubicBezTo>
                  <a:cubicBezTo>
                    <a:pt x="2797969" y="264319"/>
                    <a:pt x="2797016" y="266224"/>
                    <a:pt x="2796064" y="268129"/>
                  </a:cubicBezTo>
                  <a:close/>
                  <a:moveTo>
                    <a:pt x="2803684" y="314801"/>
                  </a:moveTo>
                  <a:cubicBezTo>
                    <a:pt x="2803684" y="315754"/>
                    <a:pt x="2802731" y="317659"/>
                    <a:pt x="2802731" y="318611"/>
                  </a:cubicBezTo>
                  <a:cubicBezTo>
                    <a:pt x="2802731" y="320516"/>
                    <a:pt x="2801779" y="322421"/>
                    <a:pt x="2801779" y="325279"/>
                  </a:cubicBezTo>
                  <a:cubicBezTo>
                    <a:pt x="2800826" y="322421"/>
                    <a:pt x="2799874" y="320516"/>
                    <a:pt x="2798921" y="317659"/>
                  </a:cubicBezTo>
                  <a:cubicBezTo>
                    <a:pt x="2798921" y="316706"/>
                    <a:pt x="2798921" y="316706"/>
                    <a:pt x="2798921" y="315754"/>
                  </a:cubicBezTo>
                  <a:cubicBezTo>
                    <a:pt x="2798921" y="315754"/>
                    <a:pt x="2798921" y="315754"/>
                    <a:pt x="2798921" y="315754"/>
                  </a:cubicBezTo>
                  <a:cubicBezTo>
                    <a:pt x="2799874" y="311944"/>
                    <a:pt x="2800826" y="308134"/>
                    <a:pt x="2801779" y="304324"/>
                  </a:cubicBezTo>
                  <a:cubicBezTo>
                    <a:pt x="2802731" y="307181"/>
                    <a:pt x="2802731" y="310039"/>
                    <a:pt x="2803684" y="312896"/>
                  </a:cubicBezTo>
                  <a:cubicBezTo>
                    <a:pt x="2803684" y="313849"/>
                    <a:pt x="2803684" y="313849"/>
                    <a:pt x="2803684" y="314801"/>
                  </a:cubicBezTo>
                  <a:close/>
                  <a:moveTo>
                    <a:pt x="2810351" y="280511"/>
                  </a:moveTo>
                  <a:cubicBezTo>
                    <a:pt x="2808446" y="287179"/>
                    <a:pt x="2807494" y="294799"/>
                    <a:pt x="2805589" y="302419"/>
                  </a:cubicBezTo>
                  <a:cubicBezTo>
                    <a:pt x="2804636" y="301466"/>
                    <a:pt x="2804636" y="299561"/>
                    <a:pt x="2803684" y="298609"/>
                  </a:cubicBezTo>
                  <a:cubicBezTo>
                    <a:pt x="2803684" y="297656"/>
                    <a:pt x="2803684" y="297656"/>
                    <a:pt x="2802731" y="296704"/>
                  </a:cubicBezTo>
                  <a:cubicBezTo>
                    <a:pt x="2803684" y="292894"/>
                    <a:pt x="2804636" y="290036"/>
                    <a:pt x="2805589" y="287179"/>
                  </a:cubicBezTo>
                  <a:cubicBezTo>
                    <a:pt x="2806541" y="284321"/>
                    <a:pt x="2808446" y="280511"/>
                    <a:pt x="2809399" y="277654"/>
                  </a:cubicBezTo>
                  <a:cubicBezTo>
                    <a:pt x="2809399" y="276701"/>
                    <a:pt x="2810351" y="275749"/>
                    <a:pt x="2810351" y="275749"/>
                  </a:cubicBezTo>
                  <a:cubicBezTo>
                    <a:pt x="2811304" y="276701"/>
                    <a:pt x="2810351" y="278606"/>
                    <a:pt x="2810351" y="280511"/>
                  </a:cubicBezTo>
                  <a:close/>
                  <a:moveTo>
                    <a:pt x="2811304" y="276701"/>
                  </a:moveTo>
                  <a:cubicBezTo>
                    <a:pt x="2811304" y="275749"/>
                    <a:pt x="2811304" y="275749"/>
                    <a:pt x="2811304" y="274796"/>
                  </a:cubicBezTo>
                  <a:cubicBezTo>
                    <a:pt x="2812256" y="273844"/>
                    <a:pt x="2812256" y="271939"/>
                    <a:pt x="2813209" y="270986"/>
                  </a:cubicBezTo>
                  <a:cubicBezTo>
                    <a:pt x="2812256" y="272891"/>
                    <a:pt x="2812256" y="274796"/>
                    <a:pt x="2811304" y="276701"/>
                  </a:cubicBezTo>
                  <a:close/>
                  <a:moveTo>
                    <a:pt x="2812256" y="236696"/>
                  </a:moveTo>
                  <a:cubicBezTo>
                    <a:pt x="2810351" y="239554"/>
                    <a:pt x="2808446" y="243364"/>
                    <a:pt x="2806541" y="246221"/>
                  </a:cubicBezTo>
                  <a:cubicBezTo>
                    <a:pt x="2804636" y="248126"/>
                    <a:pt x="2802731" y="250031"/>
                    <a:pt x="2799874" y="251936"/>
                  </a:cubicBezTo>
                  <a:cubicBezTo>
                    <a:pt x="2797969" y="253841"/>
                    <a:pt x="2796064" y="255746"/>
                    <a:pt x="2794159" y="257651"/>
                  </a:cubicBezTo>
                  <a:cubicBezTo>
                    <a:pt x="2793206" y="252889"/>
                    <a:pt x="2792254" y="249079"/>
                    <a:pt x="2792254" y="245269"/>
                  </a:cubicBezTo>
                  <a:cubicBezTo>
                    <a:pt x="2793206" y="242411"/>
                    <a:pt x="2795111" y="240506"/>
                    <a:pt x="2796064" y="238601"/>
                  </a:cubicBezTo>
                  <a:cubicBezTo>
                    <a:pt x="2799874" y="231934"/>
                    <a:pt x="2802731" y="227171"/>
                    <a:pt x="2804636" y="224314"/>
                  </a:cubicBezTo>
                  <a:cubicBezTo>
                    <a:pt x="2807494" y="228124"/>
                    <a:pt x="2809399" y="232886"/>
                    <a:pt x="2812256" y="236696"/>
                  </a:cubicBezTo>
                  <a:close/>
                  <a:moveTo>
                    <a:pt x="2804636" y="223361"/>
                  </a:moveTo>
                  <a:cubicBezTo>
                    <a:pt x="2802731" y="225266"/>
                    <a:pt x="2798921" y="229076"/>
                    <a:pt x="2794159" y="235744"/>
                  </a:cubicBezTo>
                  <a:cubicBezTo>
                    <a:pt x="2793206" y="236696"/>
                    <a:pt x="2793206" y="237649"/>
                    <a:pt x="2792254" y="238601"/>
                  </a:cubicBezTo>
                  <a:cubicBezTo>
                    <a:pt x="2792254" y="238601"/>
                    <a:pt x="2792254" y="238601"/>
                    <a:pt x="2792254" y="238601"/>
                  </a:cubicBezTo>
                  <a:cubicBezTo>
                    <a:pt x="2794159" y="235744"/>
                    <a:pt x="2795111" y="232886"/>
                    <a:pt x="2796064" y="230981"/>
                  </a:cubicBezTo>
                  <a:cubicBezTo>
                    <a:pt x="2797969" y="226219"/>
                    <a:pt x="2800826" y="222409"/>
                    <a:pt x="2801779" y="219551"/>
                  </a:cubicBezTo>
                  <a:cubicBezTo>
                    <a:pt x="2802731" y="220504"/>
                    <a:pt x="2803684" y="222409"/>
                    <a:pt x="2804636" y="223361"/>
                  </a:cubicBezTo>
                  <a:close/>
                  <a:moveTo>
                    <a:pt x="2787491" y="196691"/>
                  </a:moveTo>
                  <a:cubicBezTo>
                    <a:pt x="2792254" y="203359"/>
                    <a:pt x="2796064" y="210026"/>
                    <a:pt x="2800826" y="217646"/>
                  </a:cubicBezTo>
                  <a:cubicBezTo>
                    <a:pt x="2798921" y="220504"/>
                    <a:pt x="2796064" y="224314"/>
                    <a:pt x="2792254" y="228124"/>
                  </a:cubicBezTo>
                  <a:cubicBezTo>
                    <a:pt x="2791301" y="229076"/>
                    <a:pt x="2790349" y="230029"/>
                    <a:pt x="2790349" y="230981"/>
                  </a:cubicBezTo>
                  <a:cubicBezTo>
                    <a:pt x="2789396" y="226219"/>
                    <a:pt x="2788444" y="222409"/>
                    <a:pt x="2787491" y="218599"/>
                  </a:cubicBezTo>
                  <a:cubicBezTo>
                    <a:pt x="2783681" y="205264"/>
                    <a:pt x="2781776" y="196691"/>
                    <a:pt x="2781776" y="196691"/>
                  </a:cubicBezTo>
                  <a:cubicBezTo>
                    <a:pt x="2781776" y="196691"/>
                    <a:pt x="2782729" y="204311"/>
                    <a:pt x="2783681" y="218599"/>
                  </a:cubicBezTo>
                  <a:cubicBezTo>
                    <a:pt x="2784634" y="224314"/>
                    <a:pt x="2784634" y="230981"/>
                    <a:pt x="2784634" y="237649"/>
                  </a:cubicBezTo>
                  <a:cubicBezTo>
                    <a:pt x="2783681" y="239554"/>
                    <a:pt x="2781776" y="241459"/>
                    <a:pt x="2780824" y="243364"/>
                  </a:cubicBezTo>
                  <a:cubicBezTo>
                    <a:pt x="2779871" y="227171"/>
                    <a:pt x="2779871" y="213836"/>
                    <a:pt x="2778919" y="204311"/>
                  </a:cubicBezTo>
                  <a:cubicBezTo>
                    <a:pt x="2777966" y="192881"/>
                    <a:pt x="2777966" y="186214"/>
                    <a:pt x="2777966" y="186214"/>
                  </a:cubicBezTo>
                  <a:cubicBezTo>
                    <a:pt x="2777966" y="186214"/>
                    <a:pt x="2777014" y="192881"/>
                    <a:pt x="2775109" y="204311"/>
                  </a:cubicBezTo>
                  <a:cubicBezTo>
                    <a:pt x="2775109" y="207169"/>
                    <a:pt x="2774156" y="210979"/>
                    <a:pt x="2774156" y="214789"/>
                  </a:cubicBezTo>
                  <a:cubicBezTo>
                    <a:pt x="2773204" y="206216"/>
                    <a:pt x="2772251" y="198596"/>
                    <a:pt x="2770346" y="190976"/>
                  </a:cubicBezTo>
                  <a:cubicBezTo>
                    <a:pt x="2770346" y="190024"/>
                    <a:pt x="2770346" y="190024"/>
                    <a:pt x="2770346" y="189071"/>
                  </a:cubicBezTo>
                  <a:cubicBezTo>
                    <a:pt x="2770346" y="188119"/>
                    <a:pt x="2770346" y="186214"/>
                    <a:pt x="2770346" y="185261"/>
                  </a:cubicBezTo>
                  <a:cubicBezTo>
                    <a:pt x="2769394" y="174784"/>
                    <a:pt x="2768441" y="168116"/>
                    <a:pt x="2768441" y="166211"/>
                  </a:cubicBezTo>
                  <a:cubicBezTo>
                    <a:pt x="2774156" y="174784"/>
                    <a:pt x="2779871" y="185261"/>
                    <a:pt x="2787491" y="196691"/>
                  </a:cubicBezTo>
                  <a:close/>
                  <a:moveTo>
                    <a:pt x="2767489" y="167164"/>
                  </a:moveTo>
                  <a:cubicBezTo>
                    <a:pt x="2767489" y="168116"/>
                    <a:pt x="2767489" y="169069"/>
                    <a:pt x="2767489" y="170974"/>
                  </a:cubicBezTo>
                  <a:cubicBezTo>
                    <a:pt x="2767489" y="169069"/>
                    <a:pt x="2767489" y="168116"/>
                    <a:pt x="2766536" y="166211"/>
                  </a:cubicBezTo>
                  <a:cubicBezTo>
                    <a:pt x="2767489" y="166211"/>
                    <a:pt x="2767489" y="166211"/>
                    <a:pt x="2767489" y="167164"/>
                  </a:cubicBezTo>
                  <a:close/>
                  <a:moveTo>
                    <a:pt x="2757964" y="342424"/>
                  </a:moveTo>
                  <a:cubicBezTo>
                    <a:pt x="2757011" y="340519"/>
                    <a:pt x="2756059" y="338614"/>
                    <a:pt x="2755106" y="336709"/>
                  </a:cubicBezTo>
                  <a:cubicBezTo>
                    <a:pt x="2756059" y="333851"/>
                    <a:pt x="2757964" y="331946"/>
                    <a:pt x="2758916" y="329089"/>
                  </a:cubicBezTo>
                  <a:cubicBezTo>
                    <a:pt x="2759869" y="330041"/>
                    <a:pt x="2759869" y="331946"/>
                    <a:pt x="2760821" y="332899"/>
                  </a:cubicBezTo>
                  <a:cubicBezTo>
                    <a:pt x="2759869" y="336709"/>
                    <a:pt x="2758916" y="339566"/>
                    <a:pt x="2757964" y="342424"/>
                  </a:cubicBezTo>
                  <a:close/>
                  <a:moveTo>
                    <a:pt x="2762726" y="327184"/>
                  </a:moveTo>
                  <a:cubicBezTo>
                    <a:pt x="2762726" y="328136"/>
                    <a:pt x="2761774" y="329089"/>
                    <a:pt x="2761774" y="330994"/>
                  </a:cubicBezTo>
                  <a:cubicBezTo>
                    <a:pt x="2760821" y="330041"/>
                    <a:pt x="2760821" y="329089"/>
                    <a:pt x="2759869" y="328136"/>
                  </a:cubicBezTo>
                  <a:cubicBezTo>
                    <a:pt x="2760821" y="327184"/>
                    <a:pt x="2760821" y="325279"/>
                    <a:pt x="2761774" y="324326"/>
                  </a:cubicBezTo>
                  <a:cubicBezTo>
                    <a:pt x="2762726" y="325279"/>
                    <a:pt x="2762726" y="326231"/>
                    <a:pt x="2762726" y="327184"/>
                  </a:cubicBezTo>
                  <a:cubicBezTo>
                    <a:pt x="2762726" y="327184"/>
                    <a:pt x="2762726" y="327184"/>
                    <a:pt x="2762726" y="327184"/>
                  </a:cubicBezTo>
                  <a:close/>
                  <a:moveTo>
                    <a:pt x="2762726" y="250031"/>
                  </a:moveTo>
                  <a:cubicBezTo>
                    <a:pt x="2762726" y="256699"/>
                    <a:pt x="2762726" y="263366"/>
                    <a:pt x="2762726" y="270034"/>
                  </a:cubicBezTo>
                  <a:cubicBezTo>
                    <a:pt x="2759869" y="273844"/>
                    <a:pt x="2757011" y="278606"/>
                    <a:pt x="2754154" y="282416"/>
                  </a:cubicBezTo>
                  <a:cubicBezTo>
                    <a:pt x="2754154" y="283369"/>
                    <a:pt x="2753201" y="283369"/>
                    <a:pt x="2753201" y="284321"/>
                  </a:cubicBezTo>
                  <a:cubicBezTo>
                    <a:pt x="2753201" y="283369"/>
                    <a:pt x="2752249" y="283369"/>
                    <a:pt x="2752249" y="282416"/>
                  </a:cubicBezTo>
                  <a:cubicBezTo>
                    <a:pt x="2752249" y="281464"/>
                    <a:pt x="2753201" y="280511"/>
                    <a:pt x="2753201" y="278606"/>
                  </a:cubicBezTo>
                  <a:cubicBezTo>
                    <a:pt x="2754154" y="274796"/>
                    <a:pt x="2755106" y="270986"/>
                    <a:pt x="2756059" y="267176"/>
                  </a:cubicBezTo>
                  <a:cubicBezTo>
                    <a:pt x="2757964" y="260509"/>
                    <a:pt x="2759869" y="255746"/>
                    <a:pt x="2761774" y="251936"/>
                  </a:cubicBezTo>
                  <a:cubicBezTo>
                    <a:pt x="2761774" y="251936"/>
                    <a:pt x="2761774" y="250031"/>
                    <a:pt x="2762726" y="250031"/>
                  </a:cubicBezTo>
                  <a:cubicBezTo>
                    <a:pt x="2762726" y="250031"/>
                    <a:pt x="2762726" y="250031"/>
                    <a:pt x="2762726" y="250031"/>
                  </a:cubicBezTo>
                  <a:close/>
                  <a:moveTo>
                    <a:pt x="2753201" y="250031"/>
                  </a:moveTo>
                  <a:cubicBezTo>
                    <a:pt x="2755106" y="242411"/>
                    <a:pt x="2756059" y="236696"/>
                    <a:pt x="2757011" y="230981"/>
                  </a:cubicBezTo>
                  <a:cubicBezTo>
                    <a:pt x="2758916" y="236696"/>
                    <a:pt x="2760821" y="242411"/>
                    <a:pt x="2762726" y="249079"/>
                  </a:cubicBezTo>
                  <a:cubicBezTo>
                    <a:pt x="2761774" y="250031"/>
                    <a:pt x="2761774" y="250984"/>
                    <a:pt x="2760821" y="252889"/>
                  </a:cubicBezTo>
                  <a:cubicBezTo>
                    <a:pt x="2758916" y="255746"/>
                    <a:pt x="2756059" y="260509"/>
                    <a:pt x="2752249" y="267176"/>
                  </a:cubicBezTo>
                  <a:cubicBezTo>
                    <a:pt x="2750344" y="270034"/>
                    <a:pt x="2749391" y="272891"/>
                    <a:pt x="2748439" y="275749"/>
                  </a:cubicBezTo>
                  <a:cubicBezTo>
                    <a:pt x="2748439" y="275749"/>
                    <a:pt x="2748439" y="274796"/>
                    <a:pt x="2747486" y="274796"/>
                  </a:cubicBezTo>
                  <a:cubicBezTo>
                    <a:pt x="2749391" y="265271"/>
                    <a:pt x="2751296" y="256699"/>
                    <a:pt x="2753201" y="250031"/>
                  </a:cubicBezTo>
                  <a:close/>
                  <a:moveTo>
                    <a:pt x="2749391" y="362426"/>
                  </a:moveTo>
                  <a:cubicBezTo>
                    <a:pt x="2748439" y="360521"/>
                    <a:pt x="2747486" y="359569"/>
                    <a:pt x="2746534" y="357664"/>
                  </a:cubicBezTo>
                  <a:cubicBezTo>
                    <a:pt x="2746534" y="356711"/>
                    <a:pt x="2746534" y="355759"/>
                    <a:pt x="2746534" y="354806"/>
                  </a:cubicBezTo>
                  <a:cubicBezTo>
                    <a:pt x="2747486" y="356711"/>
                    <a:pt x="2748439" y="359569"/>
                    <a:pt x="2749391" y="362426"/>
                  </a:cubicBezTo>
                  <a:close/>
                  <a:moveTo>
                    <a:pt x="2734151" y="258604"/>
                  </a:moveTo>
                  <a:cubicBezTo>
                    <a:pt x="2736056" y="262414"/>
                    <a:pt x="2737961" y="268129"/>
                    <a:pt x="2740819" y="273844"/>
                  </a:cubicBezTo>
                  <a:cubicBezTo>
                    <a:pt x="2738914" y="278606"/>
                    <a:pt x="2737009" y="284321"/>
                    <a:pt x="2735104" y="290036"/>
                  </a:cubicBezTo>
                  <a:cubicBezTo>
                    <a:pt x="2735104" y="288131"/>
                    <a:pt x="2734151" y="287179"/>
                    <a:pt x="2734151" y="287179"/>
                  </a:cubicBezTo>
                  <a:cubicBezTo>
                    <a:pt x="2734151" y="287179"/>
                    <a:pt x="2734151" y="289084"/>
                    <a:pt x="2734151" y="291941"/>
                  </a:cubicBezTo>
                  <a:cubicBezTo>
                    <a:pt x="2734151" y="291941"/>
                    <a:pt x="2734151" y="291941"/>
                    <a:pt x="2734151" y="291941"/>
                  </a:cubicBezTo>
                  <a:cubicBezTo>
                    <a:pt x="2733199" y="290989"/>
                    <a:pt x="2733199" y="290036"/>
                    <a:pt x="2732246" y="289084"/>
                  </a:cubicBezTo>
                  <a:cubicBezTo>
                    <a:pt x="2732246" y="288131"/>
                    <a:pt x="2731294" y="287179"/>
                    <a:pt x="2731294" y="286226"/>
                  </a:cubicBezTo>
                  <a:cubicBezTo>
                    <a:pt x="2733199" y="275749"/>
                    <a:pt x="2734151" y="266224"/>
                    <a:pt x="2734151" y="258604"/>
                  </a:cubicBezTo>
                  <a:close/>
                  <a:moveTo>
                    <a:pt x="2715101" y="290989"/>
                  </a:moveTo>
                  <a:cubicBezTo>
                    <a:pt x="2715101" y="284321"/>
                    <a:pt x="2715101" y="278606"/>
                    <a:pt x="2716054" y="273844"/>
                  </a:cubicBezTo>
                  <a:cubicBezTo>
                    <a:pt x="2717006" y="274796"/>
                    <a:pt x="2717006" y="276701"/>
                    <a:pt x="2717959" y="278606"/>
                  </a:cubicBezTo>
                  <a:cubicBezTo>
                    <a:pt x="2717006" y="287179"/>
                    <a:pt x="2717006" y="295751"/>
                    <a:pt x="2716054" y="304324"/>
                  </a:cubicBezTo>
                  <a:cubicBezTo>
                    <a:pt x="2716054" y="304324"/>
                    <a:pt x="2715101" y="303371"/>
                    <a:pt x="2715101" y="303371"/>
                  </a:cubicBezTo>
                  <a:cubicBezTo>
                    <a:pt x="2714149" y="298609"/>
                    <a:pt x="2715101" y="294799"/>
                    <a:pt x="2715101" y="290989"/>
                  </a:cubicBezTo>
                  <a:close/>
                  <a:moveTo>
                    <a:pt x="2705576" y="243364"/>
                  </a:moveTo>
                  <a:cubicBezTo>
                    <a:pt x="2705576" y="244316"/>
                    <a:pt x="2705576" y="246221"/>
                    <a:pt x="2704624" y="247174"/>
                  </a:cubicBezTo>
                  <a:lnTo>
                    <a:pt x="2703671" y="238601"/>
                  </a:lnTo>
                  <a:cubicBezTo>
                    <a:pt x="2704624" y="239554"/>
                    <a:pt x="2705576" y="241459"/>
                    <a:pt x="2705576" y="243364"/>
                  </a:cubicBezTo>
                  <a:close/>
                  <a:moveTo>
                    <a:pt x="2697956" y="312896"/>
                  </a:moveTo>
                  <a:cubicBezTo>
                    <a:pt x="2697956" y="312896"/>
                    <a:pt x="2697956" y="313849"/>
                    <a:pt x="2697956" y="313849"/>
                  </a:cubicBezTo>
                  <a:cubicBezTo>
                    <a:pt x="2697956" y="312896"/>
                    <a:pt x="2697956" y="311944"/>
                    <a:pt x="2697956" y="310991"/>
                  </a:cubicBezTo>
                  <a:lnTo>
                    <a:pt x="2697956" y="312896"/>
                  </a:lnTo>
                  <a:close/>
                  <a:moveTo>
                    <a:pt x="2664619" y="234791"/>
                  </a:moveTo>
                  <a:cubicBezTo>
                    <a:pt x="2665571" y="235744"/>
                    <a:pt x="2665571" y="237649"/>
                    <a:pt x="2666524" y="238601"/>
                  </a:cubicBezTo>
                  <a:cubicBezTo>
                    <a:pt x="2668429" y="253841"/>
                    <a:pt x="2670334" y="270034"/>
                    <a:pt x="2673191" y="287179"/>
                  </a:cubicBezTo>
                  <a:cubicBezTo>
                    <a:pt x="2672239" y="284321"/>
                    <a:pt x="2671286" y="282416"/>
                    <a:pt x="2670334" y="279559"/>
                  </a:cubicBezTo>
                  <a:cubicBezTo>
                    <a:pt x="2670334" y="279559"/>
                    <a:pt x="2670334" y="278606"/>
                    <a:pt x="2670334" y="278606"/>
                  </a:cubicBezTo>
                  <a:cubicBezTo>
                    <a:pt x="2670334" y="276701"/>
                    <a:pt x="2671286" y="276701"/>
                    <a:pt x="2671286" y="276701"/>
                  </a:cubicBezTo>
                  <a:cubicBezTo>
                    <a:pt x="2671286" y="276701"/>
                    <a:pt x="2671286" y="277654"/>
                    <a:pt x="2670334" y="278606"/>
                  </a:cubicBezTo>
                  <a:cubicBezTo>
                    <a:pt x="2669381" y="266224"/>
                    <a:pt x="2667476" y="255746"/>
                    <a:pt x="2664619" y="246221"/>
                  </a:cubicBezTo>
                  <a:cubicBezTo>
                    <a:pt x="2664619" y="244316"/>
                    <a:pt x="2663666" y="242411"/>
                    <a:pt x="2663666" y="240506"/>
                  </a:cubicBezTo>
                  <a:cubicBezTo>
                    <a:pt x="2663666" y="238601"/>
                    <a:pt x="2663666" y="236696"/>
                    <a:pt x="2664619" y="234791"/>
                  </a:cubicBezTo>
                  <a:close/>
                  <a:moveTo>
                    <a:pt x="2657951" y="339566"/>
                  </a:moveTo>
                  <a:cubicBezTo>
                    <a:pt x="2656999" y="338614"/>
                    <a:pt x="2656999" y="337661"/>
                    <a:pt x="2656046" y="336709"/>
                  </a:cubicBezTo>
                  <a:cubicBezTo>
                    <a:pt x="2656999" y="332899"/>
                    <a:pt x="2656999" y="329089"/>
                    <a:pt x="2657951" y="325279"/>
                  </a:cubicBezTo>
                  <a:cubicBezTo>
                    <a:pt x="2658904" y="330041"/>
                    <a:pt x="2657951" y="334804"/>
                    <a:pt x="2657951" y="339566"/>
                  </a:cubicBezTo>
                  <a:close/>
                  <a:moveTo>
                    <a:pt x="2654141" y="277654"/>
                  </a:moveTo>
                  <a:cubicBezTo>
                    <a:pt x="2656046" y="284321"/>
                    <a:pt x="2657951" y="291941"/>
                    <a:pt x="2659856" y="298609"/>
                  </a:cubicBezTo>
                  <a:cubicBezTo>
                    <a:pt x="2659856" y="298609"/>
                    <a:pt x="2659856" y="299561"/>
                    <a:pt x="2659856" y="299561"/>
                  </a:cubicBezTo>
                  <a:cubicBezTo>
                    <a:pt x="2657951" y="304324"/>
                    <a:pt x="2656046" y="310039"/>
                    <a:pt x="2653189" y="316706"/>
                  </a:cubicBezTo>
                  <a:cubicBezTo>
                    <a:pt x="2653189" y="317659"/>
                    <a:pt x="2652236" y="318611"/>
                    <a:pt x="2652236" y="319564"/>
                  </a:cubicBezTo>
                  <a:cubicBezTo>
                    <a:pt x="2651284" y="316706"/>
                    <a:pt x="2651284" y="313849"/>
                    <a:pt x="2650331" y="311944"/>
                  </a:cubicBezTo>
                  <a:cubicBezTo>
                    <a:pt x="2649379" y="308134"/>
                    <a:pt x="2648426" y="305276"/>
                    <a:pt x="2647474" y="301466"/>
                  </a:cubicBezTo>
                  <a:cubicBezTo>
                    <a:pt x="2649379" y="293846"/>
                    <a:pt x="2651284" y="286226"/>
                    <a:pt x="2654141" y="277654"/>
                  </a:cubicBezTo>
                  <a:close/>
                  <a:moveTo>
                    <a:pt x="2633186" y="283369"/>
                  </a:moveTo>
                  <a:cubicBezTo>
                    <a:pt x="2633186" y="284321"/>
                    <a:pt x="2633186" y="284321"/>
                    <a:pt x="2633186" y="285274"/>
                  </a:cubicBezTo>
                  <a:cubicBezTo>
                    <a:pt x="2633186" y="285274"/>
                    <a:pt x="2633186" y="286226"/>
                    <a:pt x="2633186" y="286226"/>
                  </a:cubicBezTo>
                  <a:cubicBezTo>
                    <a:pt x="2633186" y="287179"/>
                    <a:pt x="2632234" y="288131"/>
                    <a:pt x="2632234" y="290036"/>
                  </a:cubicBezTo>
                  <a:cubicBezTo>
                    <a:pt x="2633186" y="287179"/>
                    <a:pt x="2633186" y="285274"/>
                    <a:pt x="2633186" y="283369"/>
                  </a:cubicBezTo>
                  <a:close/>
                  <a:moveTo>
                    <a:pt x="2578894" y="242411"/>
                  </a:moveTo>
                  <a:cubicBezTo>
                    <a:pt x="2578894" y="242411"/>
                    <a:pt x="2578894" y="241459"/>
                    <a:pt x="2577941" y="241459"/>
                  </a:cubicBezTo>
                  <a:cubicBezTo>
                    <a:pt x="2578894" y="239554"/>
                    <a:pt x="2579846" y="237649"/>
                    <a:pt x="2580799" y="235744"/>
                  </a:cubicBezTo>
                  <a:cubicBezTo>
                    <a:pt x="2580799" y="235744"/>
                    <a:pt x="2580799" y="235744"/>
                    <a:pt x="2580799" y="235744"/>
                  </a:cubicBezTo>
                  <a:cubicBezTo>
                    <a:pt x="2580799" y="238601"/>
                    <a:pt x="2579846" y="240506"/>
                    <a:pt x="2578894" y="242411"/>
                  </a:cubicBezTo>
                  <a:close/>
                  <a:moveTo>
                    <a:pt x="2597944" y="275749"/>
                  </a:moveTo>
                  <a:cubicBezTo>
                    <a:pt x="2597944" y="275749"/>
                    <a:pt x="2597944" y="274796"/>
                    <a:pt x="2597944" y="274796"/>
                  </a:cubicBezTo>
                  <a:cubicBezTo>
                    <a:pt x="2597944" y="274796"/>
                    <a:pt x="2598896" y="275749"/>
                    <a:pt x="2597944" y="275749"/>
                  </a:cubicBezTo>
                  <a:cubicBezTo>
                    <a:pt x="2598896" y="275749"/>
                    <a:pt x="2597944" y="275749"/>
                    <a:pt x="2597944" y="275749"/>
                  </a:cubicBezTo>
                  <a:close/>
                  <a:moveTo>
                    <a:pt x="2616041" y="309086"/>
                  </a:moveTo>
                  <a:cubicBezTo>
                    <a:pt x="2615089" y="312896"/>
                    <a:pt x="2614136" y="315754"/>
                    <a:pt x="2613184" y="319564"/>
                  </a:cubicBezTo>
                  <a:cubicBezTo>
                    <a:pt x="2613184" y="318611"/>
                    <a:pt x="2613184" y="318611"/>
                    <a:pt x="2613184" y="318611"/>
                  </a:cubicBezTo>
                  <a:cubicBezTo>
                    <a:pt x="2613184" y="318611"/>
                    <a:pt x="2613184" y="319564"/>
                    <a:pt x="2613184" y="319564"/>
                  </a:cubicBezTo>
                  <a:cubicBezTo>
                    <a:pt x="2613184" y="319564"/>
                    <a:pt x="2613184" y="319564"/>
                    <a:pt x="2613184" y="319564"/>
                  </a:cubicBezTo>
                  <a:cubicBezTo>
                    <a:pt x="2609374" y="309086"/>
                    <a:pt x="2604611" y="298609"/>
                    <a:pt x="2600801" y="289084"/>
                  </a:cubicBezTo>
                  <a:cubicBezTo>
                    <a:pt x="2601754" y="287179"/>
                    <a:pt x="2602706" y="284321"/>
                    <a:pt x="2602706" y="282416"/>
                  </a:cubicBezTo>
                  <a:cubicBezTo>
                    <a:pt x="2605564" y="287179"/>
                    <a:pt x="2609374" y="292894"/>
                    <a:pt x="2612231" y="299561"/>
                  </a:cubicBezTo>
                  <a:cubicBezTo>
                    <a:pt x="2613184" y="302419"/>
                    <a:pt x="2615089" y="305276"/>
                    <a:pt x="2616041" y="308134"/>
                  </a:cubicBezTo>
                  <a:lnTo>
                    <a:pt x="2616041" y="309086"/>
                  </a:lnTo>
                  <a:lnTo>
                    <a:pt x="2616041" y="309086"/>
                  </a:lnTo>
                  <a:close/>
                  <a:moveTo>
                    <a:pt x="2604611" y="276701"/>
                  </a:moveTo>
                  <a:cubicBezTo>
                    <a:pt x="2605564" y="272891"/>
                    <a:pt x="2607469" y="270034"/>
                    <a:pt x="2608421" y="267176"/>
                  </a:cubicBezTo>
                  <a:cubicBezTo>
                    <a:pt x="2609374" y="271939"/>
                    <a:pt x="2612231" y="279559"/>
                    <a:pt x="2615089" y="290036"/>
                  </a:cubicBezTo>
                  <a:cubicBezTo>
                    <a:pt x="2611279" y="285274"/>
                    <a:pt x="2608421" y="280511"/>
                    <a:pt x="2604611" y="276701"/>
                  </a:cubicBezTo>
                  <a:close/>
                  <a:moveTo>
                    <a:pt x="2614136" y="276701"/>
                  </a:moveTo>
                  <a:cubicBezTo>
                    <a:pt x="2612231" y="271939"/>
                    <a:pt x="2610326" y="268129"/>
                    <a:pt x="2609374" y="266224"/>
                  </a:cubicBezTo>
                  <a:cubicBezTo>
                    <a:pt x="2610326" y="263366"/>
                    <a:pt x="2611279" y="260509"/>
                    <a:pt x="2612231" y="257651"/>
                  </a:cubicBezTo>
                  <a:cubicBezTo>
                    <a:pt x="2612231" y="263366"/>
                    <a:pt x="2613184" y="270034"/>
                    <a:pt x="2614136" y="276701"/>
                  </a:cubicBezTo>
                  <a:close/>
                  <a:moveTo>
                    <a:pt x="2606516" y="208121"/>
                  </a:moveTo>
                  <a:cubicBezTo>
                    <a:pt x="2607469" y="221456"/>
                    <a:pt x="2609374" y="235744"/>
                    <a:pt x="2611279" y="250984"/>
                  </a:cubicBezTo>
                  <a:cubicBezTo>
                    <a:pt x="2611279" y="250984"/>
                    <a:pt x="2611279" y="251936"/>
                    <a:pt x="2611279" y="251936"/>
                  </a:cubicBezTo>
                  <a:cubicBezTo>
                    <a:pt x="2608421" y="256699"/>
                    <a:pt x="2604611" y="263366"/>
                    <a:pt x="2600801" y="271939"/>
                  </a:cubicBezTo>
                  <a:cubicBezTo>
                    <a:pt x="2599849" y="270034"/>
                    <a:pt x="2598896" y="269081"/>
                    <a:pt x="2597944" y="268129"/>
                  </a:cubicBezTo>
                  <a:cubicBezTo>
                    <a:pt x="2596991" y="257651"/>
                    <a:pt x="2596039" y="247174"/>
                    <a:pt x="2595086" y="237649"/>
                  </a:cubicBezTo>
                  <a:cubicBezTo>
                    <a:pt x="2595086" y="234791"/>
                    <a:pt x="2594134" y="230981"/>
                    <a:pt x="2594134" y="228124"/>
                  </a:cubicBezTo>
                  <a:cubicBezTo>
                    <a:pt x="2598896" y="207169"/>
                    <a:pt x="2602706" y="190976"/>
                    <a:pt x="2605564" y="179546"/>
                  </a:cubicBezTo>
                  <a:cubicBezTo>
                    <a:pt x="2604611" y="188119"/>
                    <a:pt x="2605564" y="197644"/>
                    <a:pt x="2606516" y="208121"/>
                  </a:cubicBezTo>
                  <a:close/>
                  <a:moveTo>
                    <a:pt x="2586514" y="186214"/>
                  </a:moveTo>
                  <a:cubicBezTo>
                    <a:pt x="2591276" y="175736"/>
                    <a:pt x="2595086" y="167164"/>
                    <a:pt x="2598896" y="159544"/>
                  </a:cubicBezTo>
                  <a:cubicBezTo>
                    <a:pt x="2599849" y="157639"/>
                    <a:pt x="2600801" y="155734"/>
                    <a:pt x="2601754" y="153829"/>
                  </a:cubicBezTo>
                  <a:cubicBezTo>
                    <a:pt x="2602706" y="159544"/>
                    <a:pt x="2602706" y="166211"/>
                    <a:pt x="2603659" y="173831"/>
                  </a:cubicBezTo>
                  <a:cubicBezTo>
                    <a:pt x="2600801" y="182404"/>
                    <a:pt x="2596039" y="194786"/>
                    <a:pt x="2590324" y="210979"/>
                  </a:cubicBezTo>
                  <a:cubicBezTo>
                    <a:pt x="2589371" y="202406"/>
                    <a:pt x="2587466" y="194786"/>
                    <a:pt x="2586514" y="187166"/>
                  </a:cubicBezTo>
                  <a:cubicBezTo>
                    <a:pt x="2586514" y="187166"/>
                    <a:pt x="2586514" y="187166"/>
                    <a:pt x="2586514" y="186214"/>
                  </a:cubicBezTo>
                  <a:close/>
                  <a:moveTo>
                    <a:pt x="2584609" y="408146"/>
                  </a:moveTo>
                  <a:cubicBezTo>
                    <a:pt x="2584609" y="408146"/>
                    <a:pt x="2584609" y="409099"/>
                    <a:pt x="2584609" y="408146"/>
                  </a:cubicBezTo>
                  <a:cubicBezTo>
                    <a:pt x="2583656" y="403384"/>
                    <a:pt x="2582704" y="398621"/>
                    <a:pt x="2581751" y="393859"/>
                  </a:cubicBezTo>
                  <a:cubicBezTo>
                    <a:pt x="2582704" y="398621"/>
                    <a:pt x="2583656" y="403384"/>
                    <a:pt x="2584609" y="408146"/>
                  </a:cubicBezTo>
                  <a:close/>
                  <a:moveTo>
                    <a:pt x="2580799" y="199549"/>
                  </a:moveTo>
                  <a:cubicBezTo>
                    <a:pt x="2580799" y="208121"/>
                    <a:pt x="2581751" y="217646"/>
                    <a:pt x="2581751" y="228124"/>
                  </a:cubicBezTo>
                  <a:cubicBezTo>
                    <a:pt x="2580799" y="229076"/>
                    <a:pt x="2579846" y="230029"/>
                    <a:pt x="2578894" y="231934"/>
                  </a:cubicBezTo>
                  <a:cubicBezTo>
                    <a:pt x="2577941" y="232886"/>
                    <a:pt x="2576989" y="234791"/>
                    <a:pt x="2575084" y="236696"/>
                  </a:cubicBezTo>
                  <a:cubicBezTo>
                    <a:pt x="2574131" y="235744"/>
                    <a:pt x="2574131" y="234791"/>
                    <a:pt x="2573179" y="233839"/>
                  </a:cubicBezTo>
                  <a:cubicBezTo>
                    <a:pt x="2573179" y="231934"/>
                    <a:pt x="2573179" y="230981"/>
                    <a:pt x="2572226" y="229076"/>
                  </a:cubicBezTo>
                  <a:cubicBezTo>
                    <a:pt x="2572226" y="226219"/>
                    <a:pt x="2571274" y="222409"/>
                    <a:pt x="2571274" y="219551"/>
                  </a:cubicBezTo>
                  <a:cubicBezTo>
                    <a:pt x="2575084" y="211931"/>
                    <a:pt x="2577941" y="206216"/>
                    <a:pt x="2580799" y="199549"/>
                  </a:cubicBezTo>
                  <a:close/>
                  <a:moveTo>
                    <a:pt x="2569369" y="320516"/>
                  </a:moveTo>
                  <a:cubicBezTo>
                    <a:pt x="2569369" y="322421"/>
                    <a:pt x="2570321" y="325279"/>
                    <a:pt x="2570321" y="327184"/>
                  </a:cubicBezTo>
                  <a:cubicBezTo>
                    <a:pt x="2570321" y="328136"/>
                    <a:pt x="2570321" y="329089"/>
                    <a:pt x="2571274" y="330041"/>
                  </a:cubicBezTo>
                  <a:cubicBezTo>
                    <a:pt x="2568416" y="334804"/>
                    <a:pt x="2566511" y="339566"/>
                    <a:pt x="2563654" y="345281"/>
                  </a:cubicBezTo>
                  <a:cubicBezTo>
                    <a:pt x="2563654" y="344329"/>
                    <a:pt x="2562701" y="343376"/>
                    <a:pt x="2562701" y="342424"/>
                  </a:cubicBezTo>
                  <a:cubicBezTo>
                    <a:pt x="2565559" y="334804"/>
                    <a:pt x="2567464" y="328136"/>
                    <a:pt x="2569369" y="320516"/>
                  </a:cubicBezTo>
                  <a:close/>
                  <a:moveTo>
                    <a:pt x="2556034" y="262414"/>
                  </a:moveTo>
                  <a:cubicBezTo>
                    <a:pt x="2556986" y="258604"/>
                    <a:pt x="2558891" y="255746"/>
                    <a:pt x="2559844" y="251936"/>
                  </a:cubicBezTo>
                  <a:cubicBezTo>
                    <a:pt x="2559844" y="253841"/>
                    <a:pt x="2559844" y="255746"/>
                    <a:pt x="2560796" y="257651"/>
                  </a:cubicBezTo>
                  <a:cubicBezTo>
                    <a:pt x="2560796" y="258604"/>
                    <a:pt x="2559844" y="258604"/>
                    <a:pt x="2559844" y="259556"/>
                  </a:cubicBezTo>
                  <a:cubicBezTo>
                    <a:pt x="2557939" y="262414"/>
                    <a:pt x="2556034" y="266224"/>
                    <a:pt x="2554129" y="269081"/>
                  </a:cubicBezTo>
                  <a:cubicBezTo>
                    <a:pt x="2554129" y="266224"/>
                    <a:pt x="2555081" y="264319"/>
                    <a:pt x="2556034" y="262414"/>
                  </a:cubicBezTo>
                  <a:close/>
                  <a:moveTo>
                    <a:pt x="2561749" y="276701"/>
                  </a:moveTo>
                  <a:cubicBezTo>
                    <a:pt x="2561749" y="275749"/>
                    <a:pt x="2561749" y="275749"/>
                    <a:pt x="2562701" y="274796"/>
                  </a:cubicBezTo>
                  <a:cubicBezTo>
                    <a:pt x="2563654" y="278606"/>
                    <a:pt x="2563654" y="283369"/>
                    <a:pt x="2564606" y="287179"/>
                  </a:cubicBezTo>
                  <a:cubicBezTo>
                    <a:pt x="2562701" y="293846"/>
                    <a:pt x="2559844" y="301466"/>
                    <a:pt x="2557939" y="309086"/>
                  </a:cubicBezTo>
                  <a:cubicBezTo>
                    <a:pt x="2556986" y="310991"/>
                    <a:pt x="2556986" y="312896"/>
                    <a:pt x="2556034" y="313849"/>
                  </a:cubicBezTo>
                  <a:cubicBezTo>
                    <a:pt x="2555081" y="308134"/>
                    <a:pt x="2554129" y="302419"/>
                    <a:pt x="2553176" y="296704"/>
                  </a:cubicBezTo>
                  <a:cubicBezTo>
                    <a:pt x="2556034" y="290036"/>
                    <a:pt x="2558891" y="282416"/>
                    <a:pt x="2561749" y="276701"/>
                  </a:cubicBezTo>
                  <a:close/>
                  <a:moveTo>
                    <a:pt x="2538889" y="252889"/>
                  </a:moveTo>
                  <a:cubicBezTo>
                    <a:pt x="2539841" y="249079"/>
                    <a:pt x="2539841" y="245269"/>
                    <a:pt x="2540794" y="242411"/>
                  </a:cubicBezTo>
                  <a:cubicBezTo>
                    <a:pt x="2540794" y="241459"/>
                    <a:pt x="2541746" y="239554"/>
                    <a:pt x="2542699" y="238601"/>
                  </a:cubicBezTo>
                  <a:cubicBezTo>
                    <a:pt x="2543651" y="236696"/>
                    <a:pt x="2543651" y="234791"/>
                    <a:pt x="2544604" y="233839"/>
                  </a:cubicBezTo>
                  <a:cubicBezTo>
                    <a:pt x="2544604" y="237649"/>
                    <a:pt x="2543651" y="242411"/>
                    <a:pt x="2543651" y="248126"/>
                  </a:cubicBezTo>
                  <a:cubicBezTo>
                    <a:pt x="2543651" y="250984"/>
                    <a:pt x="2543651" y="253841"/>
                    <a:pt x="2542699" y="257651"/>
                  </a:cubicBezTo>
                  <a:cubicBezTo>
                    <a:pt x="2540794" y="261461"/>
                    <a:pt x="2539841" y="264319"/>
                    <a:pt x="2537936" y="268129"/>
                  </a:cubicBezTo>
                  <a:cubicBezTo>
                    <a:pt x="2537936" y="263366"/>
                    <a:pt x="2537936" y="257651"/>
                    <a:pt x="2538889" y="252889"/>
                  </a:cubicBezTo>
                  <a:close/>
                  <a:moveTo>
                    <a:pt x="2521744" y="475774"/>
                  </a:moveTo>
                  <a:cubicBezTo>
                    <a:pt x="2521744" y="478631"/>
                    <a:pt x="2522696" y="481489"/>
                    <a:pt x="2522696" y="484346"/>
                  </a:cubicBezTo>
                  <a:cubicBezTo>
                    <a:pt x="2521744" y="482441"/>
                    <a:pt x="2521744" y="481489"/>
                    <a:pt x="2520791" y="479584"/>
                  </a:cubicBezTo>
                  <a:cubicBezTo>
                    <a:pt x="2521744" y="478631"/>
                    <a:pt x="2521744" y="477679"/>
                    <a:pt x="2521744" y="475774"/>
                  </a:cubicBezTo>
                  <a:close/>
                  <a:moveTo>
                    <a:pt x="2514124" y="323374"/>
                  </a:moveTo>
                  <a:cubicBezTo>
                    <a:pt x="2514124" y="323374"/>
                    <a:pt x="2515076" y="323374"/>
                    <a:pt x="2514124" y="323374"/>
                  </a:cubicBezTo>
                  <a:cubicBezTo>
                    <a:pt x="2514124" y="325279"/>
                    <a:pt x="2513171" y="326231"/>
                    <a:pt x="2513171" y="328136"/>
                  </a:cubicBezTo>
                  <a:cubicBezTo>
                    <a:pt x="2513171" y="328136"/>
                    <a:pt x="2513171" y="328136"/>
                    <a:pt x="2513171" y="329089"/>
                  </a:cubicBezTo>
                  <a:cubicBezTo>
                    <a:pt x="2513171" y="326231"/>
                    <a:pt x="2514124" y="324326"/>
                    <a:pt x="2514124" y="323374"/>
                  </a:cubicBezTo>
                  <a:close/>
                  <a:moveTo>
                    <a:pt x="2509361" y="300514"/>
                  </a:moveTo>
                  <a:cubicBezTo>
                    <a:pt x="2509361" y="301466"/>
                    <a:pt x="2509361" y="301466"/>
                    <a:pt x="2508409" y="302419"/>
                  </a:cubicBezTo>
                  <a:cubicBezTo>
                    <a:pt x="2508409" y="302419"/>
                    <a:pt x="2508409" y="302419"/>
                    <a:pt x="2508409" y="302419"/>
                  </a:cubicBezTo>
                  <a:cubicBezTo>
                    <a:pt x="2508409" y="299561"/>
                    <a:pt x="2507456" y="297656"/>
                    <a:pt x="2507456" y="294799"/>
                  </a:cubicBezTo>
                  <a:cubicBezTo>
                    <a:pt x="2508409" y="296704"/>
                    <a:pt x="2509361" y="298609"/>
                    <a:pt x="2509361" y="300514"/>
                  </a:cubicBezTo>
                  <a:close/>
                  <a:moveTo>
                    <a:pt x="2496979" y="292894"/>
                  </a:moveTo>
                  <a:cubicBezTo>
                    <a:pt x="2497931" y="290989"/>
                    <a:pt x="2497931" y="290036"/>
                    <a:pt x="2497931" y="290036"/>
                  </a:cubicBezTo>
                  <a:cubicBezTo>
                    <a:pt x="2497931" y="290036"/>
                    <a:pt x="2497931" y="290989"/>
                    <a:pt x="2496979" y="290989"/>
                  </a:cubicBezTo>
                  <a:cubicBezTo>
                    <a:pt x="2496979" y="289084"/>
                    <a:pt x="2496979" y="286226"/>
                    <a:pt x="2497931" y="284321"/>
                  </a:cubicBezTo>
                  <a:cubicBezTo>
                    <a:pt x="2497931" y="278606"/>
                    <a:pt x="2498884" y="272891"/>
                    <a:pt x="2498884" y="269081"/>
                  </a:cubicBezTo>
                  <a:cubicBezTo>
                    <a:pt x="2498884" y="268129"/>
                    <a:pt x="2498884" y="267176"/>
                    <a:pt x="2498884" y="266224"/>
                  </a:cubicBezTo>
                  <a:cubicBezTo>
                    <a:pt x="2499836" y="270034"/>
                    <a:pt x="2500789" y="273844"/>
                    <a:pt x="2502694" y="277654"/>
                  </a:cubicBezTo>
                  <a:cubicBezTo>
                    <a:pt x="2502694" y="279559"/>
                    <a:pt x="2502694" y="281464"/>
                    <a:pt x="2502694" y="283369"/>
                  </a:cubicBezTo>
                  <a:cubicBezTo>
                    <a:pt x="2502694" y="288131"/>
                    <a:pt x="2501741" y="294799"/>
                    <a:pt x="2501741" y="302419"/>
                  </a:cubicBezTo>
                  <a:cubicBezTo>
                    <a:pt x="2501741" y="306229"/>
                    <a:pt x="2501741" y="310039"/>
                    <a:pt x="2501741" y="313849"/>
                  </a:cubicBezTo>
                  <a:cubicBezTo>
                    <a:pt x="2501741" y="317659"/>
                    <a:pt x="2500789" y="321469"/>
                    <a:pt x="2500789" y="325279"/>
                  </a:cubicBezTo>
                  <a:cubicBezTo>
                    <a:pt x="2500789" y="325279"/>
                    <a:pt x="2500789" y="326231"/>
                    <a:pt x="2500789" y="326231"/>
                  </a:cubicBezTo>
                  <a:cubicBezTo>
                    <a:pt x="2500789" y="322421"/>
                    <a:pt x="2499836" y="319564"/>
                    <a:pt x="2499836" y="315754"/>
                  </a:cubicBezTo>
                  <a:cubicBezTo>
                    <a:pt x="2499836" y="313849"/>
                    <a:pt x="2499836" y="311944"/>
                    <a:pt x="2499836" y="310039"/>
                  </a:cubicBezTo>
                  <a:cubicBezTo>
                    <a:pt x="2499836" y="305276"/>
                    <a:pt x="2500789" y="300514"/>
                    <a:pt x="2500789" y="297656"/>
                  </a:cubicBezTo>
                  <a:cubicBezTo>
                    <a:pt x="2500789" y="290989"/>
                    <a:pt x="2500789" y="286226"/>
                    <a:pt x="2500789" y="286226"/>
                  </a:cubicBezTo>
                  <a:cubicBezTo>
                    <a:pt x="2500789" y="286226"/>
                    <a:pt x="2498884" y="289084"/>
                    <a:pt x="2496979" y="292894"/>
                  </a:cubicBezTo>
                  <a:cubicBezTo>
                    <a:pt x="2496979" y="293846"/>
                    <a:pt x="2496979" y="293846"/>
                    <a:pt x="2496979" y="292894"/>
                  </a:cubicBezTo>
                  <a:close/>
                  <a:moveTo>
                    <a:pt x="2449354" y="334804"/>
                  </a:moveTo>
                  <a:cubicBezTo>
                    <a:pt x="2448401" y="332899"/>
                    <a:pt x="2448401" y="330041"/>
                    <a:pt x="2447449" y="328136"/>
                  </a:cubicBezTo>
                  <a:cubicBezTo>
                    <a:pt x="2448401" y="326231"/>
                    <a:pt x="2449354" y="323374"/>
                    <a:pt x="2450306" y="321469"/>
                  </a:cubicBezTo>
                  <a:cubicBezTo>
                    <a:pt x="2450306" y="321469"/>
                    <a:pt x="2450306" y="322421"/>
                    <a:pt x="2450306" y="322421"/>
                  </a:cubicBezTo>
                  <a:cubicBezTo>
                    <a:pt x="2450306" y="323374"/>
                    <a:pt x="2450306" y="323374"/>
                    <a:pt x="2451259" y="324326"/>
                  </a:cubicBezTo>
                  <a:cubicBezTo>
                    <a:pt x="2450306" y="327184"/>
                    <a:pt x="2449354" y="330994"/>
                    <a:pt x="2449354" y="334804"/>
                  </a:cubicBezTo>
                  <a:close/>
                  <a:moveTo>
                    <a:pt x="2450306" y="254794"/>
                  </a:moveTo>
                  <a:cubicBezTo>
                    <a:pt x="2450306" y="253841"/>
                    <a:pt x="2451259" y="252889"/>
                    <a:pt x="2451259" y="251936"/>
                  </a:cubicBezTo>
                  <a:cubicBezTo>
                    <a:pt x="2451259" y="251936"/>
                    <a:pt x="2451259" y="251936"/>
                    <a:pt x="2451259" y="250984"/>
                  </a:cubicBezTo>
                  <a:cubicBezTo>
                    <a:pt x="2451259" y="250984"/>
                    <a:pt x="2451259" y="251936"/>
                    <a:pt x="2451259" y="251936"/>
                  </a:cubicBezTo>
                  <a:cubicBezTo>
                    <a:pt x="2451259" y="252889"/>
                    <a:pt x="2451259" y="253841"/>
                    <a:pt x="2450306" y="254794"/>
                  </a:cubicBezTo>
                  <a:close/>
                  <a:moveTo>
                    <a:pt x="2452211" y="251936"/>
                  </a:moveTo>
                  <a:cubicBezTo>
                    <a:pt x="2452211" y="251936"/>
                    <a:pt x="2452211" y="250984"/>
                    <a:pt x="2451259" y="250984"/>
                  </a:cubicBezTo>
                  <a:cubicBezTo>
                    <a:pt x="2453164" y="246221"/>
                    <a:pt x="2454116" y="242411"/>
                    <a:pt x="2456021" y="238601"/>
                  </a:cubicBezTo>
                  <a:cubicBezTo>
                    <a:pt x="2457926" y="236696"/>
                    <a:pt x="2458879" y="233839"/>
                    <a:pt x="2460784" y="231934"/>
                  </a:cubicBezTo>
                  <a:cubicBezTo>
                    <a:pt x="2460784" y="232886"/>
                    <a:pt x="2459831" y="234791"/>
                    <a:pt x="2459831" y="235744"/>
                  </a:cubicBezTo>
                  <a:cubicBezTo>
                    <a:pt x="2458879" y="239554"/>
                    <a:pt x="2456974" y="243364"/>
                    <a:pt x="2456021" y="248126"/>
                  </a:cubicBezTo>
                  <a:cubicBezTo>
                    <a:pt x="2455069" y="248126"/>
                    <a:pt x="2454116" y="250031"/>
                    <a:pt x="2452211" y="251936"/>
                  </a:cubicBezTo>
                  <a:close/>
                  <a:moveTo>
                    <a:pt x="2457926" y="266224"/>
                  </a:moveTo>
                  <a:cubicBezTo>
                    <a:pt x="2457926" y="267176"/>
                    <a:pt x="2456974" y="267176"/>
                    <a:pt x="2456974" y="268129"/>
                  </a:cubicBezTo>
                  <a:cubicBezTo>
                    <a:pt x="2457926" y="267176"/>
                    <a:pt x="2457926" y="266224"/>
                    <a:pt x="2457926" y="266224"/>
                  </a:cubicBezTo>
                  <a:cubicBezTo>
                    <a:pt x="2457926" y="265271"/>
                    <a:pt x="2457926" y="266224"/>
                    <a:pt x="2457926" y="266224"/>
                  </a:cubicBezTo>
                  <a:close/>
                  <a:moveTo>
                    <a:pt x="2457926" y="374809"/>
                  </a:moveTo>
                  <a:cubicBezTo>
                    <a:pt x="2456974" y="371951"/>
                    <a:pt x="2456974" y="369094"/>
                    <a:pt x="2456021" y="367189"/>
                  </a:cubicBezTo>
                  <a:cubicBezTo>
                    <a:pt x="2456021" y="365284"/>
                    <a:pt x="2456021" y="364331"/>
                    <a:pt x="2456021" y="362426"/>
                  </a:cubicBezTo>
                  <a:cubicBezTo>
                    <a:pt x="2456021" y="355759"/>
                    <a:pt x="2456021" y="350044"/>
                    <a:pt x="2456021" y="344329"/>
                  </a:cubicBezTo>
                  <a:cubicBezTo>
                    <a:pt x="2456974" y="347186"/>
                    <a:pt x="2457926" y="350996"/>
                    <a:pt x="2458879" y="354806"/>
                  </a:cubicBezTo>
                  <a:cubicBezTo>
                    <a:pt x="2459831" y="361474"/>
                    <a:pt x="2458879" y="368141"/>
                    <a:pt x="2457926" y="374809"/>
                  </a:cubicBezTo>
                  <a:close/>
                  <a:moveTo>
                    <a:pt x="2456974" y="308134"/>
                  </a:moveTo>
                  <a:cubicBezTo>
                    <a:pt x="2456974" y="307181"/>
                    <a:pt x="2456974" y="306229"/>
                    <a:pt x="2456974" y="305276"/>
                  </a:cubicBezTo>
                  <a:cubicBezTo>
                    <a:pt x="2456974" y="304324"/>
                    <a:pt x="2457926" y="303371"/>
                    <a:pt x="2457926" y="302419"/>
                  </a:cubicBezTo>
                  <a:cubicBezTo>
                    <a:pt x="2458879" y="306229"/>
                    <a:pt x="2458879" y="310039"/>
                    <a:pt x="2459831" y="313849"/>
                  </a:cubicBezTo>
                  <a:cubicBezTo>
                    <a:pt x="2459831" y="314801"/>
                    <a:pt x="2459831" y="315754"/>
                    <a:pt x="2460784" y="317659"/>
                  </a:cubicBezTo>
                  <a:cubicBezTo>
                    <a:pt x="2458879" y="313849"/>
                    <a:pt x="2457926" y="310991"/>
                    <a:pt x="2456974" y="308134"/>
                  </a:cubicBezTo>
                  <a:close/>
                  <a:moveTo>
                    <a:pt x="2458879" y="290036"/>
                  </a:moveTo>
                  <a:cubicBezTo>
                    <a:pt x="2458879" y="289084"/>
                    <a:pt x="2459831" y="288131"/>
                    <a:pt x="2459831" y="287179"/>
                  </a:cubicBezTo>
                  <a:cubicBezTo>
                    <a:pt x="2460784" y="284321"/>
                    <a:pt x="2461736" y="280511"/>
                    <a:pt x="2463641" y="277654"/>
                  </a:cubicBezTo>
                  <a:cubicBezTo>
                    <a:pt x="2464594" y="278606"/>
                    <a:pt x="2464594" y="280511"/>
                    <a:pt x="2465546" y="281464"/>
                  </a:cubicBezTo>
                  <a:cubicBezTo>
                    <a:pt x="2463641" y="284321"/>
                    <a:pt x="2461736" y="287179"/>
                    <a:pt x="2458879" y="290036"/>
                  </a:cubicBezTo>
                  <a:close/>
                  <a:moveTo>
                    <a:pt x="2464594" y="305276"/>
                  </a:moveTo>
                  <a:cubicBezTo>
                    <a:pt x="2463641" y="301466"/>
                    <a:pt x="2462689" y="298609"/>
                    <a:pt x="2460784" y="295751"/>
                  </a:cubicBezTo>
                  <a:cubicBezTo>
                    <a:pt x="2460784" y="294799"/>
                    <a:pt x="2461736" y="293846"/>
                    <a:pt x="2462689" y="292894"/>
                  </a:cubicBezTo>
                  <a:cubicBezTo>
                    <a:pt x="2464594" y="290036"/>
                    <a:pt x="2465546" y="287179"/>
                    <a:pt x="2466499" y="285274"/>
                  </a:cubicBezTo>
                  <a:cubicBezTo>
                    <a:pt x="2465546" y="290989"/>
                    <a:pt x="2465546" y="297656"/>
                    <a:pt x="2464594" y="305276"/>
                  </a:cubicBezTo>
                  <a:close/>
                  <a:moveTo>
                    <a:pt x="2467451" y="274796"/>
                  </a:moveTo>
                  <a:cubicBezTo>
                    <a:pt x="2467451" y="273844"/>
                    <a:pt x="2466499" y="272891"/>
                    <a:pt x="2466499" y="272891"/>
                  </a:cubicBezTo>
                  <a:cubicBezTo>
                    <a:pt x="2467451" y="270986"/>
                    <a:pt x="2467451" y="270034"/>
                    <a:pt x="2468404" y="268129"/>
                  </a:cubicBezTo>
                  <a:cubicBezTo>
                    <a:pt x="2468404" y="270034"/>
                    <a:pt x="2467451" y="272891"/>
                    <a:pt x="2467451" y="274796"/>
                  </a:cubicBezTo>
                  <a:close/>
                  <a:moveTo>
                    <a:pt x="2471261" y="233839"/>
                  </a:moveTo>
                  <a:cubicBezTo>
                    <a:pt x="2471261" y="233839"/>
                    <a:pt x="2471261" y="237649"/>
                    <a:pt x="2470309" y="245269"/>
                  </a:cubicBezTo>
                  <a:cubicBezTo>
                    <a:pt x="2470309" y="245269"/>
                    <a:pt x="2470309" y="246221"/>
                    <a:pt x="2469356" y="246221"/>
                  </a:cubicBezTo>
                  <a:cubicBezTo>
                    <a:pt x="2466499" y="251936"/>
                    <a:pt x="2462689" y="256699"/>
                    <a:pt x="2459831" y="263366"/>
                  </a:cubicBezTo>
                  <a:cubicBezTo>
                    <a:pt x="2459831" y="262414"/>
                    <a:pt x="2458879" y="262414"/>
                    <a:pt x="2458879" y="261461"/>
                  </a:cubicBezTo>
                  <a:cubicBezTo>
                    <a:pt x="2459831" y="256699"/>
                    <a:pt x="2460784" y="250984"/>
                    <a:pt x="2461736" y="247174"/>
                  </a:cubicBezTo>
                  <a:cubicBezTo>
                    <a:pt x="2461736" y="246221"/>
                    <a:pt x="2462689" y="246221"/>
                    <a:pt x="2462689" y="245269"/>
                  </a:cubicBezTo>
                  <a:cubicBezTo>
                    <a:pt x="2466499" y="239554"/>
                    <a:pt x="2469356" y="234791"/>
                    <a:pt x="2472214" y="231934"/>
                  </a:cubicBezTo>
                  <a:cubicBezTo>
                    <a:pt x="2472214" y="231934"/>
                    <a:pt x="2472214" y="231934"/>
                    <a:pt x="2472214" y="231934"/>
                  </a:cubicBezTo>
                  <a:cubicBezTo>
                    <a:pt x="2472214" y="234791"/>
                    <a:pt x="2473166" y="237649"/>
                    <a:pt x="2473166" y="240506"/>
                  </a:cubicBezTo>
                  <a:cubicBezTo>
                    <a:pt x="2473166" y="241459"/>
                    <a:pt x="2472214" y="241459"/>
                    <a:pt x="2472214" y="242411"/>
                  </a:cubicBezTo>
                  <a:cubicBezTo>
                    <a:pt x="2472214" y="236696"/>
                    <a:pt x="2471261" y="233839"/>
                    <a:pt x="2471261" y="233839"/>
                  </a:cubicBezTo>
                  <a:close/>
                  <a:moveTo>
                    <a:pt x="2467451" y="211931"/>
                  </a:moveTo>
                  <a:cubicBezTo>
                    <a:pt x="2466499" y="212884"/>
                    <a:pt x="2466499" y="212884"/>
                    <a:pt x="2465546" y="213836"/>
                  </a:cubicBezTo>
                  <a:cubicBezTo>
                    <a:pt x="2465546" y="212884"/>
                    <a:pt x="2465546" y="212884"/>
                    <a:pt x="2466499" y="211931"/>
                  </a:cubicBezTo>
                  <a:cubicBezTo>
                    <a:pt x="2467451" y="210026"/>
                    <a:pt x="2467451" y="209074"/>
                    <a:pt x="2468404" y="208121"/>
                  </a:cubicBezTo>
                  <a:cubicBezTo>
                    <a:pt x="2468404" y="209074"/>
                    <a:pt x="2468404" y="210026"/>
                    <a:pt x="2468404" y="210979"/>
                  </a:cubicBezTo>
                  <a:cubicBezTo>
                    <a:pt x="2468404" y="210979"/>
                    <a:pt x="2468404" y="210979"/>
                    <a:pt x="2467451" y="211931"/>
                  </a:cubicBezTo>
                  <a:cubicBezTo>
                    <a:pt x="2468404" y="210979"/>
                    <a:pt x="2468404" y="210979"/>
                    <a:pt x="2467451" y="211931"/>
                  </a:cubicBezTo>
                  <a:cubicBezTo>
                    <a:pt x="2468404" y="210979"/>
                    <a:pt x="2467451" y="210979"/>
                    <a:pt x="2467451" y="211931"/>
                  </a:cubicBezTo>
                  <a:close/>
                  <a:moveTo>
                    <a:pt x="2470309" y="218599"/>
                  </a:moveTo>
                  <a:cubicBezTo>
                    <a:pt x="2471261" y="222409"/>
                    <a:pt x="2471261" y="226219"/>
                    <a:pt x="2472214" y="230029"/>
                  </a:cubicBezTo>
                  <a:cubicBezTo>
                    <a:pt x="2472214" y="230029"/>
                    <a:pt x="2472214" y="230029"/>
                    <a:pt x="2472214" y="230029"/>
                  </a:cubicBezTo>
                  <a:cubicBezTo>
                    <a:pt x="2470309" y="231934"/>
                    <a:pt x="2467451" y="234791"/>
                    <a:pt x="2463641" y="237649"/>
                  </a:cubicBezTo>
                  <a:cubicBezTo>
                    <a:pt x="2463641" y="236696"/>
                    <a:pt x="2463641" y="235744"/>
                    <a:pt x="2464594" y="234791"/>
                  </a:cubicBezTo>
                  <a:cubicBezTo>
                    <a:pt x="2465546" y="230981"/>
                    <a:pt x="2465546" y="227171"/>
                    <a:pt x="2466499" y="224314"/>
                  </a:cubicBezTo>
                  <a:cubicBezTo>
                    <a:pt x="2466499" y="224314"/>
                    <a:pt x="2466499" y="224314"/>
                    <a:pt x="2466499" y="224314"/>
                  </a:cubicBezTo>
                  <a:cubicBezTo>
                    <a:pt x="2467451" y="223361"/>
                    <a:pt x="2468404" y="220504"/>
                    <a:pt x="2470309" y="218599"/>
                  </a:cubicBezTo>
                  <a:close/>
                  <a:moveTo>
                    <a:pt x="2477929" y="223361"/>
                  </a:moveTo>
                  <a:cubicBezTo>
                    <a:pt x="2476976" y="219551"/>
                    <a:pt x="2476024" y="215741"/>
                    <a:pt x="2475071" y="212884"/>
                  </a:cubicBezTo>
                  <a:cubicBezTo>
                    <a:pt x="2476024" y="211931"/>
                    <a:pt x="2476976" y="210026"/>
                    <a:pt x="2477929" y="209074"/>
                  </a:cubicBezTo>
                  <a:cubicBezTo>
                    <a:pt x="2477929" y="211931"/>
                    <a:pt x="2477929" y="214789"/>
                    <a:pt x="2477929" y="217646"/>
                  </a:cubicBezTo>
                  <a:cubicBezTo>
                    <a:pt x="2477929" y="219551"/>
                    <a:pt x="2477929" y="221456"/>
                    <a:pt x="2477929" y="223361"/>
                  </a:cubicBezTo>
                  <a:close/>
                  <a:moveTo>
                    <a:pt x="2473166" y="206216"/>
                  </a:moveTo>
                  <a:cubicBezTo>
                    <a:pt x="2473166" y="205264"/>
                    <a:pt x="2472214" y="204311"/>
                    <a:pt x="2472214" y="203359"/>
                  </a:cubicBezTo>
                  <a:cubicBezTo>
                    <a:pt x="2472214" y="202406"/>
                    <a:pt x="2472214" y="202406"/>
                    <a:pt x="2471261" y="201454"/>
                  </a:cubicBezTo>
                  <a:cubicBezTo>
                    <a:pt x="2472214" y="199549"/>
                    <a:pt x="2473166" y="197644"/>
                    <a:pt x="2474119" y="195739"/>
                  </a:cubicBezTo>
                  <a:cubicBezTo>
                    <a:pt x="2475071" y="193834"/>
                    <a:pt x="2476976" y="190976"/>
                    <a:pt x="2477929" y="189071"/>
                  </a:cubicBezTo>
                  <a:cubicBezTo>
                    <a:pt x="2477929" y="192881"/>
                    <a:pt x="2477929" y="197644"/>
                    <a:pt x="2477929" y="201454"/>
                  </a:cubicBezTo>
                  <a:cubicBezTo>
                    <a:pt x="2476024" y="203359"/>
                    <a:pt x="2474119" y="205264"/>
                    <a:pt x="2473166" y="206216"/>
                  </a:cubicBezTo>
                  <a:close/>
                  <a:moveTo>
                    <a:pt x="2473166" y="255746"/>
                  </a:moveTo>
                  <a:cubicBezTo>
                    <a:pt x="2474119" y="254794"/>
                    <a:pt x="2474119" y="252889"/>
                    <a:pt x="2475071" y="251936"/>
                  </a:cubicBezTo>
                  <a:cubicBezTo>
                    <a:pt x="2476024" y="256699"/>
                    <a:pt x="2476024" y="261461"/>
                    <a:pt x="2476976" y="266224"/>
                  </a:cubicBezTo>
                  <a:cubicBezTo>
                    <a:pt x="2477929" y="274796"/>
                    <a:pt x="2478881" y="283369"/>
                    <a:pt x="2479834" y="292894"/>
                  </a:cubicBezTo>
                  <a:cubicBezTo>
                    <a:pt x="2479834" y="293846"/>
                    <a:pt x="2479834" y="295751"/>
                    <a:pt x="2479834" y="296704"/>
                  </a:cubicBezTo>
                  <a:cubicBezTo>
                    <a:pt x="2479834" y="296704"/>
                    <a:pt x="2479834" y="295751"/>
                    <a:pt x="2479834" y="295751"/>
                  </a:cubicBezTo>
                  <a:cubicBezTo>
                    <a:pt x="2477929" y="292894"/>
                    <a:pt x="2476976" y="290036"/>
                    <a:pt x="2475071" y="288131"/>
                  </a:cubicBezTo>
                  <a:cubicBezTo>
                    <a:pt x="2475071" y="275749"/>
                    <a:pt x="2474119" y="264319"/>
                    <a:pt x="2473166" y="255746"/>
                  </a:cubicBezTo>
                  <a:close/>
                  <a:moveTo>
                    <a:pt x="2481739" y="324326"/>
                  </a:moveTo>
                  <a:cubicBezTo>
                    <a:pt x="2481739" y="325279"/>
                    <a:pt x="2480786" y="325279"/>
                    <a:pt x="2480786" y="326231"/>
                  </a:cubicBezTo>
                  <a:cubicBezTo>
                    <a:pt x="2479834" y="330041"/>
                    <a:pt x="2477929" y="334804"/>
                    <a:pt x="2476024" y="340519"/>
                  </a:cubicBezTo>
                  <a:cubicBezTo>
                    <a:pt x="2476024" y="329089"/>
                    <a:pt x="2476024" y="317659"/>
                    <a:pt x="2476024" y="308134"/>
                  </a:cubicBezTo>
                  <a:cubicBezTo>
                    <a:pt x="2476024" y="308134"/>
                    <a:pt x="2476024" y="308134"/>
                    <a:pt x="2476024" y="308134"/>
                  </a:cubicBezTo>
                  <a:cubicBezTo>
                    <a:pt x="2476976" y="311944"/>
                    <a:pt x="2478881" y="314801"/>
                    <a:pt x="2479834" y="318611"/>
                  </a:cubicBezTo>
                  <a:cubicBezTo>
                    <a:pt x="2479834" y="319564"/>
                    <a:pt x="2480786" y="321469"/>
                    <a:pt x="2480786" y="322421"/>
                  </a:cubicBezTo>
                  <a:cubicBezTo>
                    <a:pt x="2480786" y="322421"/>
                    <a:pt x="2481739" y="323374"/>
                    <a:pt x="2481739" y="324326"/>
                  </a:cubicBezTo>
                  <a:cubicBezTo>
                    <a:pt x="2481739" y="324326"/>
                    <a:pt x="2481739" y="324326"/>
                    <a:pt x="2481739" y="324326"/>
                  </a:cubicBezTo>
                  <a:close/>
                  <a:moveTo>
                    <a:pt x="2436971" y="215741"/>
                  </a:moveTo>
                  <a:cubicBezTo>
                    <a:pt x="2440781" y="209074"/>
                    <a:pt x="2444591" y="202406"/>
                    <a:pt x="2447449" y="195739"/>
                  </a:cubicBezTo>
                  <a:cubicBezTo>
                    <a:pt x="2451259" y="190024"/>
                    <a:pt x="2454116" y="184309"/>
                    <a:pt x="2457926" y="178594"/>
                  </a:cubicBezTo>
                  <a:cubicBezTo>
                    <a:pt x="2464594" y="168116"/>
                    <a:pt x="2469356" y="157639"/>
                    <a:pt x="2475071" y="150971"/>
                  </a:cubicBezTo>
                  <a:cubicBezTo>
                    <a:pt x="2477929" y="146209"/>
                    <a:pt x="2480786" y="142399"/>
                    <a:pt x="2482691" y="138589"/>
                  </a:cubicBezTo>
                  <a:cubicBezTo>
                    <a:pt x="2481739" y="142399"/>
                    <a:pt x="2481739" y="148114"/>
                    <a:pt x="2480786" y="154781"/>
                  </a:cubicBezTo>
                  <a:cubicBezTo>
                    <a:pt x="2479834" y="162401"/>
                    <a:pt x="2479834" y="170974"/>
                    <a:pt x="2478881" y="181451"/>
                  </a:cubicBezTo>
                  <a:cubicBezTo>
                    <a:pt x="2476024" y="185261"/>
                    <a:pt x="2473166" y="189071"/>
                    <a:pt x="2470309" y="193834"/>
                  </a:cubicBezTo>
                  <a:cubicBezTo>
                    <a:pt x="2470309" y="193834"/>
                    <a:pt x="2470309" y="194786"/>
                    <a:pt x="2469356" y="194786"/>
                  </a:cubicBezTo>
                  <a:cubicBezTo>
                    <a:pt x="2466499" y="186214"/>
                    <a:pt x="2465546" y="181451"/>
                    <a:pt x="2465546" y="181451"/>
                  </a:cubicBezTo>
                  <a:cubicBezTo>
                    <a:pt x="2465546" y="181451"/>
                    <a:pt x="2466499" y="187166"/>
                    <a:pt x="2467451" y="197644"/>
                  </a:cubicBezTo>
                  <a:cubicBezTo>
                    <a:pt x="2465546" y="201454"/>
                    <a:pt x="2462689" y="205264"/>
                    <a:pt x="2460784" y="209074"/>
                  </a:cubicBezTo>
                  <a:cubicBezTo>
                    <a:pt x="2456021" y="216694"/>
                    <a:pt x="2452211" y="225266"/>
                    <a:pt x="2447449" y="234791"/>
                  </a:cubicBezTo>
                  <a:cubicBezTo>
                    <a:pt x="2443639" y="238601"/>
                    <a:pt x="2440781" y="243364"/>
                    <a:pt x="2436971" y="247174"/>
                  </a:cubicBezTo>
                  <a:cubicBezTo>
                    <a:pt x="2436971" y="248126"/>
                    <a:pt x="2436019" y="248126"/>
                    <a:pt x="2436019" y="249079"/>
                  </a:cubicBezTo>
                  <a:cubicBezTo>
                    <a:pt x="2436019" y="249079"/>
                    <a:pt x="2436019" y="249079"/>
                    <a:pt x="2436019" y="249079"/>
                  </a:cubicBezTo>
                  <a:cubicBezTo>
                    <a:pt x="2435066" y="240506"/>
                    <a:pt x="2434114" y="232886"/>
                    <a:pt x="2433161" y="225266"/>
                  </a:cubicBezTo>
                  <a:cubicBezTo>
                    <a:pt x="2433161" y="221456"/>
                    <a:pt x="2435066" y="218599"/>
                    <a:pt x="2436971" y="215741"/>
                  </a:cubicBezTo>
                  <a:close/>
                  <a:moveTo>
                    <a:pt x="2416016" y="313849"/>
                  </a:moveTo>
                  <a:cubicBezTo>
                    <a:pt x="2416016" y="313849"/>
                    <a:pt x="2416016" y="313849"/>
                    <a:pt x="2416016" y="313849"/>
                  </a:cubicBezTo>
                  <a:cubicBezTo>
                    <a:pt x="2415064" y="310039"/>
                    <a:pt x="2414111" y="307181"/>
                    <a:pt x="2413159" y="304324"/>
                  </a:cubicBezTo>
                  <a:cubicBezTo>
                    <a:pt x="2414111" y="303371"/>
                    <a:pt x="2414111" y="302419"/>
                    <a:pt x="2415064" y="301466"/>
                  </a:cubicBezTo>
                  <a:cubicBezTo>
                    <a:pt x="2415064" y="302419"/>
                    <a:pt x="2415064" y="302419"/>
                    <a:pt x="2415064" y="303371"/>
                  </a:cubicBezTo>
                  <a:cubicBezTo>
                    <a:pt x="2415064" y="306229"/>
                    <a:pt x="2416016" y="310039"/>
                    <a:pt x="2416016" y="313849"/>
                  </a:cubicBezTo>
                  <a:cubicBezTo>
                    <a:pt x="2416016" y="313849"/>
                    <a:pt x="2416016" y="313849"/>
                    <a:pt x="2416016" y="313849"/>
                  </a:cubicBezTo>
                  <a:close/>
                  <a:moveTo>
                    <a:pt x="2422684" y="288131"/>
                  </a:moveTo>
                  <a:cubicBezTo>
                    <a:pt x="2422684" y="290036"/>
                    <a:pt x="2422684" y="291941"/>
                    <a:pt x="2422684" y="293846"/>
                  </a:cubicBezTo>
                  <a:cubicBezTo>
                    <a:pt x="2421731" y="295751"/>
                    <a:pt x="2421731" y="297656"/>
                    <a:pt x="2420779" y="299561"/>
                  </a:cubicBezTo>
                  <a:cubicBezTo>
                    <a:pt x="2419826" y="297656"/>
                    <a:pt x="2419826" y="295751"/>
                    <a:pt x="2418874" y="293846"/>
                  </a:cubicBezTo>
                  <a:cubicBezTo>
                    <a:pt x="2419826" y="292894"/>
                    <a:pt x="2419826" y="291941"/>
                    <a:pt x="2420779" y="290989"/>
                  </a:cubicBezTo>
                  <a:cubicBezTo>
                    <a:pt x="2421731" y="290036"/>
                    <a:pt x="2421731" y="289084"/>
                    <a:pt x="2422684" y="288131"/>
                  </a:cubicBezTo>
                  <a:close/>
                  <a:moveTo>
                    <a:pt x="2414111" y="259556"/>
                  </a:moveTo>
                  <a:cubicBezTo>
                    <a:pt x="2416016" y="255746"/>
                    <a:pt x="2417921" y="251936"/>
                    <a:pt x="2419826" y="248126"/>
                  </a:cubicBezTo>
                  <a:cubicBezTo>
                    <a:pt x="2419826" y="253841"/>
                    <a:pt x="2420779" y="259556"/>
                    <a:pt x="2420779" y="266224"/>
                  </a:cubicBezTo>
                  <a:cubicBezTo>
                    <a:pt x="2417921" y="270034"/>
                    <a:pt x="2415064" y="273844"/>
                    <a:pt x="2412206" y="277654"/>
                  </a:cubicBezTo>
                  <a:cubicBezTo>
                    <a:pt x="2411254" y="276701"/>
                    <a:pt x="2411254" y="275749"/>
                    <a:pt x="2410301" y="273844"/>
                  </a:cubicBezTo>
                  <a:cubicBezTo>
                    <a:pt x="2409349" y="272891"/>
                    <a:pt x="2409349" y="271939"/>
                    <a:pt x="2408396" y="270986"/>
                  </a:cubicBezTo>
                  <a:cubicBezTo>
                    <a:pt x="2410301" y="268129"/>
                    <a:pt x="2412206" y="263366"/>
                    <a:pt x="2414111" y="259556"/>
                  </a:cubicBezTo>
                  <a:close/>
                  <a:moveTo>
                    <a:pt x="2406491" y="275749"/>
                  </a:moveTo>
                  <a:cubicBezTo>
                    <a:pt x="2406491" y="275749"/>
                    <a:pt x="2406491" y="275749"/>
                    <a:pt x="2406491" y="275749"/>
                  </a:cubicBezTo>
                  <a:cubicBezTo>
                    <a:pt x="2407444" y="277654"/>
                    <a:pt x="2408396" y="279559"/>
                    <a:pt x="2409349" y="282416"/>
                  </a:cubicBezTo>
                  <a:cubicBezTo>
                    <a:pt x="2408396" y="283369"/>
                    <a:pt x="2407444" y="285274"/>
                    <a:pt x="2406491" y="286226"/>
                  </a:cubicBezTo>
                  <a:cubicBezTo>
                    <a:pt x="2405539" y="284321"/>
                    <a:pt x="2405539" y="282416"/>
                    <a:pt x="2404586" y="280511"/>
                  </a:cubicBezTo>
                  <a:cubicBezTo>
                    <a:pt x="2405539" y="278606"/>
                    <a:pt x="2405539" y="276701"/>
                    <a:pt x="2406491" y="275749"/>
                  </a:cubicBezTo>
                  <a:close/>
                  <a:moveTo>
                    <a:pt x="2405539" y="317659"/>
                  </a:moveTo>
                  <a:cubicBezTo>
                    <a:pt x="2406491" y="321469"/>
                    <a:pt x="2407444" y="324326"/>
                    <a:pt x="2408396" y="328136"/>
                  </a:cubicBezTo>
                  <a:cubicBezTo>
                    <a:pt x="2408396" y="330041"/>
                    <a:pt x="2408396" y="331946"/>
                    <a:pt x="2408396" y="334804"/>
                  </a:cubicBezTo>
                  <a:cubicBezTo>
                    <a:pt x="2408396" y="333851"/>
                    <a:pt x="2407444" y="332899"/>
                    <a:pt x="2407444" y="332899"/>
                  </a:cubicBezTo>
                  <a:cubicBezTo>
                    <a:pt x="2407444" y="332899"/>
                    <a:pt x="2407444" y="335756"/>
                    <a:pt x="2407444" y="340519"/>
                  </a:cubicBezTo>
                  <a:cubicBezTo>
                    <a:pt x="2406491" y="344329"/>
                    <a:pt x="2405539" y="347186"/>
                    <a:pt x="2404586" y="350996"/>
                  </a:cubicBezTo>
                  <a:cubicBezTo>
                    <a:pt x="2403634" y="355759"/>
                    <a:pt x="2401729" y="359569"/>
                    <a:pt x="2400776" y="364331"/>
                  </a:cubicBezTo>
                  <a:cubicBezTo>
                    <a:pt x="2399824" y="357664"/>
                    <a:pt x="2398871" y="350044"/>
                    <a:pt x="2398871" y="343376"/>
                  </a:cubicBezTo>
                  <a:cubicBezTo>
                    <a:pt x="2398871" y="340519"/>
                    <a:pt x="2397919" y="336709"/>
                    <a:pt x="2397919" y="333851"/>
                  </a:cubicBezTo>
                  <a:cubicBezTo>
                    <a:pt x="2397919" y="332899"/>
                    <a:pt x="2397919" y="331946"/>
                    <a:pt x="2398871" y="330994"/>
                  </a:cubicBezTo>
                  <a:cubicBezTo>
                    <a:pt x="2399824" y="325279"/>
                    <a:pt x="2402681" y="321469"/>
                    <a:pt x="2405539" y="317659"/>
                  </a:cubicBezTo>
                  <a:close/>
                  <a:moveTo>
                    <a:pt x="2398871" y="291941"/>
                  </a:moveTo>
                  <a:cubicBezTo>
                    <a:pt x="2398871" y="292894"/>
                    <a:pt x="2399824" y="293846"/>
                    <a:pt x="2399824" y="295751"/>
                  </a:cubicBezTo>
                  <a:cubicBezTo>
                    <a:pt x="2397919" y="298609"/>
                    <a:pt x="2396014" y="300514"/>
                    <a:pt x="2394109" y="303371"/>
                  </a:cubicBezTo>
                  <a:cubicBezTo>
                    <a:pt x="2394109" y="303371"/>
                    <a:pt x="2394109" y="302419"/>
                    <a:pt x="2394109" y="302419"/>
                  </a:cubicBezTo>
                  <a:cubicBezTo>
                    <a:pt x="2396014" y="298609"/>
                    <a:pt x="2397919" y="295751"/>
                    <a:pt x="2398871" y="291941"/>
                  </a:cubicBezTo>
                  <a:close/>
                  <a:moveTo>
                    <a:pt x="2393156" y="267176"/>
                  </a:moveTo>
                  <a:cubicBezTo>
                    <a:pt x="2392204" y="268129"/>
                    <a:pt x="2392204" y="269081"/>
                    <a:pt x="2391251" y="270034"/>
                  </a:cubicBezTo>
                  <a:cubicBezTo>
                    <a:pt x="2390299" y="264319"/>
                    <a:pt x="2390299" y="259556"/>
                    <a:pt x="2389346" y="254794"/>
                  </a:cubicBezTo>
                  <a:cubicBezTo>
                    <a:pt x="2391251" y="258604"/>
                    <a:pt x="2392204" y="263366"/>
                    <a:pt x="2393156" y="267176"/>
                  </a:cubicBezTo>
                  <a:close/>
                  <a:moveTo>
                    <a:pt x="2351246" y="278606"/>
                  </a:moveTo>
                  <a:cubicBezTo>
                    <a:pt x="2351246" y="277654"/>
                    <a:pt x="2351246" y="277654"/>
                    <a:pt x="2351246" y="278606"/>
                  </a:cubicBezTo>
                  <a:lnTo>
                    <a:pt x="2351246" y="275749"/>
                  </a:lnTo>
                  <a:cubicBezTo>
                    <a:pt x="2351246" y="276701"/>
                    <a:pt x="2351246" y="277654"/>
                    <a:pt x="2351246" y="278606"/>
                  </a:cubicBezTo>
                  <a:close/>
                  <a:moveTo>
                    <a:pt x="2378869" y="295751"/>
                  </a:moveTo>
                  <a:cubicBezTo>
                    <a:pt x="2377916" y="298609"/>
                    <a:pt x="2376011" y="300514"/>
                    <a:pt x="2375059" y="303371"/>
                  </a:cubicBezTo>
                  <a:cubicBezTo>
                    <a:pt x="2375059" y="304324"/>
                    <a:pt x="2374106" y="304324"/>
                    <a:pt x="2374106" y="305276"/>
                  </a:cubicBezTo>
                  <a:cubicBezTo>
                    <a:pt x="2374106" y="305276"/>
                    <a:pt x="2374106" y="304324"/>
                    <a:pt x="2374106" y="304324"/>
                  </a:cubicBezTo>
                  <a:cubicBezTo>
                    <a:pt x="2376964" y="261461"/>
                    <a:pt x="2376011" y="231934"/>
                    <a:pt x="2376011" y="231934"/>
                  </a:cubicBezTo>
                  <a:cubicBezTo>
                    <a:pt x="2376011" y="231934"/>
                    <a:pt x="2372201" y="249079"/>
                    <a:pt x="2366486" y="277654"/>
                  </a:cubicBezTo>
                  <a:cubicBezTo>
                    <a:pt x="2365534" y="275749"/>
                    <a:pt x="2365534" y="273844"/>
                    <a:pt x="2364581" y="272891"/>
                  </a:cubicBezTo>
                  <a:cubicBezTo>
                    <a:pt x="2363629" y="270034"/>
                    <a:pt x="2362676" y="267176"/>
                    <a:pt x="2361724" y="264319"/>
                  </a:cubicBezTo>
                  <a:cubicBezTo>
                    <a:pt x="2361724" y="257651"/>
                    <a:pt x="2361724" y="250984"/>
                    <a:pt x="2361724" y="245269"/>
                  </a:cubicBezTo>
                  <a:lnTo>
                    <a:pt x="2365534" y="234791"/>
                  </a:lnTo>
                  <a:lnTo>
                    <a:pt x="2376011" y="211931"/>
                  </a:lnTo>
                  <a:cubicBezTo>
                    <a:pt x="2376011" y="221456"/>
                    <a:pt x="2376011" y="232886"/>
                    <a:pt x="2376011" y="244316"/>
                  </a:cubicBezTo>
                  <a:cubicBezTo>
                    <a:pt x="2376011" y="258604"/>
                    <a:pt x="2376011" y="274796"/>
                    <a:pt x="2376964" y="290989"/>
                  </a:cubicBezTo>
                  <a:cubicBezTo>
                    <a:pt x="2378869" y="292894"/>
                    <a:pt x="2378869" y="293846"/>
                    <a:pt x="2378869" y="295751"/>
                  </a:cubicBezTo>
                  <a:close/>
                  <a:moveTo>
                    <a:pt x="2362676" y="180499"/>
                  </a:moveTo>
                  <a:cubicBezTo>
                    <a:pt x="2364581" y="175736"/>
                    <a:pt x="2366486" y="170974"/>
                    <a:pt x="2368391" y="166211"/>
                  </a:cubicBezTo>
                  <a:cubicBezTo>
                    <a:pt x="2372201" y="157639"/>
                    <a:pt x="2375059" y="149066"/>
                    <a:pt x="2377916" y="140494"/>
                  </a:cubicBezTo>
                  <a:cubicBezTo>
                    <a:pt x="2377916" y="141446"/>
                    <a:pt x="2378869" y="142399"/>
                    <a:pt x="2378869" y="143351"/>
                  </a:cubicBezTo>
                  <a:cubicBezTo>
                    <a:pt x="2379821" y="146209"/>
                    <a:pt x="2379821" y="149066"/>
                    <a:pt x="2378869" y="152876"/>
                  </a:cubicBezTo>
                  <a:cubicBezTo>
                    <a:pt x="2377916" y="149066"/>
                    <a:pt x="2377916" y="147161"/>
                    <a:pt x="2377916" y="147161"/>
                  </a:cubicBezTo>
                  <a:cubicBezTo>
                    <a:pt x="2377916" y="147161"/>
                    <a:pt x="2377916" y="156686"/>
                    <a:pt x="2377916" y="173831"/>
                  </a:cubicBezTo>
                  <a:cubicBezTo>
                    <a:pt x="2377916" y="182404"/>
                    <a:pt x="2377916" y="191929"/>
                    <a:pt x="2377916" y="203359"/>
                  </a:cubicBezTo>
                  <a:cubicBezTo>
                    <a:pt x="2373154" y="210979"/>
                    <a:pt x="2368391" y="219551"/>
                    <a:pt x="2362676" y="227171"/>
                  </a:cubicBezTo>
                  <a:cubicBezTo>
                    <a:pt x="2361724" y="206216"/>
                    <a:pt x="2361724" y="190976"/>
                    <a:pt x="2360771" y="185261"/>
                  </a:cubicBezTo>
                  <a:cubicBezTo>
                    <a:pt x="2361724" y="183356"/>
                    <a:pt x="2361724" y="182404"/>
                    <a:pt x="2362676" y="180499"/>
                  </a:cubicBezTo>
                  <a:close/>
                  <a:moveTo>
                    <a:pt x="2340769" y="241459"/>
                  </a:moveTo>
                  <a:cubicBezTo>
                    <a:pt x="2341721" y="239554"/>
                    <a:pt x="2341721" y="237649"/>
                    <a:pt x="2342674" y="235744"/>
                  </a:cubicBezTo>
                  <a:cubicBezTo>
                    <a:pt x="2344579" y="230981"/>
                    <a:pt x="2345531" y="226219"/>
                    <a:pt x="2347436" y="221456"/>
                  </a:cubicBezTo>
                  <a:cubicBezTo>
                    <a:pt x="2352199" y="210026"/>
                    <a:pt x="2356009" y="198596"/>
                    <a:pt x="2359819" y="187166"/>
                  </a:cubicBezTo>
                  <a:cubicBezTo>
                    <a:pt x="2358866" y="194786"/>
                    <a:pt x="2356961" y="212884"/>
                    <a:pt x="2355056" y="236696"/>
                  </a:cubicBezTo>
                  <a:cubicBezTo>
                    <a:pt x="2354104" y="232886"/>
                    <a:pt x="2353151" y="230029"/>
                    <a:pt x="2353151" y="230029"/>
                  </a:cubicBezTo>
                  <a:cubicBezTo>
                    <a:pt x="2353151" y="230029"/>
                    <a:pt x="2354104" y="233839"/>
                    <a:pt x="2354104" y="241459"/>
                  </a:cubicBezTo>
                  <a:cubicBezTo>
                    <a:pt x="2351246" y="247174"/>
                    <a:pt x="2347436" y="253841"/>
                    <a:pt x="2344579" y="259556"/>
                  </a:cubicBezTo>
                  <a:cubicBezTo>
                    <a:pt x="2344579" y="259556"/>
                    <a:pt x="2344579" y="259556"/>
                    <a:pt x="2344579" y="259556"/>
                  </a:cubicBezTo>
                  <a:cubicBezTo>
                    <a:pt x="2342674" y="254794"/>
                    <a:pt x="2340769" y="250031"/>
                    <a:pt x="2339816" y="245269"/>
                  </a:cubicBezTo>
                  <a:lnTo>
                    <a:pt x="2340769" y="241459"/>
                  </a:lnTo>
                  <a:close/>
                  <a:moveTo>
                    <a:pt x="2344579" y="320516"/>
                  </a:moveTo>
                  <a:cubicBezTo>
                    <a:pt x="2342674" y="316706"/>
                    <a:pt x="2340769" y="313849"/>
                    <a:pt x="2339816" y="310991"/>
                  </a:cubicBezTo>
                  <a:lnTo>
                    <a:pt x="2339816" y="310039"/>
                  </a:lnTo>
                  <a:cubicBezTo>
                    <a:pt x="2341721" y="313849"/>
                    <a:pt x="2343626" y="317659"/>
                    <a:pt x="2344579" y="320516"/>
                  </a:cubicBezTo>
                  <a:close/>
                  <a:moveTo>
                    <a:pt x="2337911" y="317659"/>
                  </a:moveTo>
                  <a:cubicBezTo>
                    <a:pt x="2338864" y="320516"/>
                    <a:pt x="2339816" y="324326"/>
                    <a:pt x="2341721" y="327184"/>
                  </a:cubicBezTo>
                  <a:lnTo>
                    <a:pt x="2336959" y="321469"/>
                  </a:lnTo>
                  <a:lnTo>
                    <a:pt x="2337911" y="317659"/>
                  </a:lnTo>
                  <a:close/>
                  <a:moveTo>
                    <a:pt x="2332196" y="280511"/>
                  </a:moveTo>
                  <a:cubicBezTo>
                    <a:pt x="2332196" y="281464"/>
                    <a:pt x="2333149" y="282416"/>
                    <a:pt x="2333149" y="283369"/>
                  </a:cubicBezTo>
                  <a:cubicBezTo>
                    <a:pt x="2333149" y="282416"/>
                    <a:pt x="2332196" y="282416"/>
                    <a:pt x="2332196" y="281464"/>
                  </a:cubicBezTo>
                  <a:lnTo>
                    <a:pt x="2332196" y="280511"/>
                  </a:lnTo>
                  <a:close/>
                  <a:moveTo>
                    <a:pt x="2330291" y="289084"/>
                  </a:moveTo>
                  <a:cubicBezTo>
                    <a:pt x="2330291" y="290036"/>
                    <a:pt x="2331244" y="290989"/>
                    <a:pt x="2331244" y="290989"/>
                  </a:cubicBezTo>
                  <a:lnTo>
                    <a:pt x="2330291" y="292894"/>
                  </a:lnTo>
                  <a:cubicBezTo>
                    <a:pt x="2330291" y="291941"/>
                    <a:pt x="2329339" y="291941"/>
                    <a:pt x="2329339" y="290989"/>
                  </a:cubicBezTo>
                  <a:lnTo>
                    <a:pt x="2330291" y="289084"/>
                  </a:lnTo>
                  <a:close/>
                  <a:moveTo>
                    <a:pt x="2329339" y="293846"/>
                  </a:moveTo>
                  <a:lnTo>
                    <a:pt x="2329339" y="292894"/>
                  </a:lnTo>
                  <a:cubicBezTo>
                    <a:pt x="2329339" y="293846"/>
                    <a:pt x="2329339" y="293846"/>
                    <a:pt x="2330291" y="294799"/>
                  </a:cubicBezTo>
                  <a:lnTo>
                    <a:pt x="2328386" y="299561"/>
                  </a:lnTo>
                  <a:cubicBezTo>
                    <a:pt x="2328386" y="299561"/>
                    <a:pt x="2328386" y="299561"/>
                    <a:pt x="2328386" y="298609"/>
                  </a:cubicBezTo>
                  <a:lnTo>
                    <a:pt x="2329339" y="293846"/>
                  </a:lnTo>
                  <a:close/>
                  <a:moveTo>
                    <a:pt x="2313146" y="194786"/>
                  </a:moveTo>
                  <a:cubicBezTo>
                    <a:pt x="2314099" y="196691"/>
                    <a:pt x="2314099" y="199549"/>
                    <a:pt x="2315051" y="201454"/>
                  </a:cubicBezTo>
                  <a:cubicBezTo>
                    <a:pt x="2315051" y="202406"/>
                    <a:pt x="2316004" y="203359"/>
                    <a:pt x="2316004" y="205264"/>
                  </a:cubicBezTo>
                  <a:cubicBezTo>
                    <a:pt x="2315051" y="208121"/>
                    <a:pt x="2314099" y="211931"/>
                    <a:pt x="2314099" y="214789"/>
                  </a:cubicBezTo>
                  <a:cubicBezTo>
                    <a:pt x="2314099" y="214789"/>
                    <a:pt x="2314099" y="214789"/>
                    <a:pt x="2314099" y="214789"/>
                  </a:cubicBezTo>
                  <a:cubicBezTo>
                    <a:pt x="2313146" y="211931"/>
                    <a:pt x="2311241" y="210026"/>
                    <a:pt x="2310289" y="207169"/>
                  </a:cubicBezTo>
                  <a:cubicBezTo>
                    <a:pt x="2311241" y="202406"/>
                    <a:pt x="2312194" y="198596"/>
                    <a:pt x="2313146" y="194786"/>
                  </a:cubicBezTo>
                  <a:close/>
                  <a:moveTo>
                    <a:pt x="2304574" y="197644"/>
                  </a:moveTo>
                  <a:cubicBezTo>
                    <a:pt x="2304574" y="198596"/>
                    <a:pt x="2305526" y="199549"/>
                    <a:pt x="2305526" y="200501"/>
                  </a:cubicBezTo>
                  <a:cubicBezTo>
                    <a:pt x="2304574" y="202406"/>
                    <a:pt x="2304574" y="204311"/>
                    <a:pt x="2303621" y="205264"/>
                  </a:cubicBezTo>
                  <a:cubicBezTo>
                    <a:pt x="2304574" y="203359"/>
                    <a:pt x="2304574" y="200501"/>
                    <a:pt x="2304574" y="197644"/>
                  </a:cubicBezTo>
                  <a:close/>
                  <a:moveTo>
                    <a:pt x="2297906" y="272891"/>
                  </a:moveTo>
                  <a:cubicBezTo>
                    <a:pt x="2298859" y="267176"/>
                    <a:pt x="2298859" y="262414"/>
                    <a:pt x="2298859" y="256699"/>
                  </a:cubicBezTo>
                  <a:cubicBezTo>
                    <a:pt x="2298859" y="254794"/>
                    <a:pt x="2299811" y="252889"/>
                    <a:pt x="2299811" y="250984"/>
                  </a:cubicBezTo>
                  <a:cubicBezTo>
                    <a:pt x="2303621" y="236696"/>
                    <a:pt x="2306479" y="223361"/>
                    <a:pt x="2308384" y="211931"/>
                  </a:cubicBezTo>
                  <a:cubicBezTo>
                    <a:pt x="2308384" y="212884"/>
                    <a:pt x="2309336" y="214789"/>
                    <a:pt x="2309336" y="215741"/>
                  </a:cubicBezTo>
                  <a:cubicBezTo>
                    <a:pt x="2310289" y="217646"/>
                    <a:pt x="2310289" y="219551"/>
                    <a:pt x="2311241" y="221456"/>
                  </a:cubicBezTo>
                  <a:cubicBezTo>
                    <a:pt x="2311241" y="221456"/>
                    <a:pt x="2311241" y="221456"/>
                    <a:pt x="2311241" y="221456"/>
                  </a:cubicBezTo>
                  <a:cubicBezTo>
                    <a:pt x="2309336" y="231934"/>
                    <a:pt x="2306479" y="242411"/>
                    <a:pt x="2304574" y="253841"/>
                  </a:cubicBezTo>
                  <a:cubicBezTo>
                    <a:pt x="2302669" y="252889"/>
                    <a:pt x="2302669" y="251936"/>
                    <a:pt x="2302669" y="251936"/>
                  </a:cubicBezTo>
                  <a:cubicBezTo>
                    <a:pt x="2302669" y="251936"/>
                    <a:pt x="2303621" y="252889"/>
                    <a:pt x="2304574" y="253841"/>
                  </a:cubicBezTo>
                  <a:cubicBezTo>
                    <a:pt x="2302669" y="260509"/>
                    <a:pt x="2301716" y="268129"/>
                    <a:pt x="2299811" y="274796"/>
                  </a:cubicBezTo>
                  <a:cubicBezTo>
                    <a:pt x="2297906" y="283369"/>
                    <a:pt x="2296001" y="291941"/>
                    <a:pt x="2294096" y="300514"/>
                  </a:cubicBezTo>
                  <a:cubicBezTo>
                    <a:pt x="2296954" y="291941"/>
                    <a:pt x="2297906" y="282416"/>
                    <a:pt x="2297906" y="272891"/>
                  </a:cubicBezTo>
                  <a:close/>
                  <a:moveTo>
                    <a:pt x="2271236" y="369094"/>
                  </a:moveTo>
                  <a:cubicBezTo>
                    <a:pt x="2271236" y="371951"/>
                    <a:pt x="2271236" y="374809"/>
                    <a:pt x="2270284" y="376714"/>
                  </a:cubicBezTo>
                  <a:lnTo>
                    <a:pt x="2270284" y="376714"/>
                  </a:lnTo>
                  <a:cubicBezTo>
                    <a:pt x="2270284" y="375761"/>
                    <a:pt x="2270284" y="373856"/>
                    <a:pt x="2270284" y="372904"/>
                  </a:cubicBezTo>
                  <a:cubicBezTo>
                    <a:pt x="2270284" y="371951"/>
                    <a:pt x="2270284" y="370046"/>
                    <a:pt x="2271236" y="369094"/>
                  </a:cubicBezTo>
                  <a:close/>
                  <a:moveTo>
                    <a:pt x="2252186" y="297656"/>
                  </a:moveTo>
                  <a:cubicBezTo>
                    <a:pt x="2252186" y="302419"/>
                    <a:pt x="2251234" y="307181"/>
                    <a:pt x="2251234" y="311944"/>
                  </a:cubicBezTo>
                  <a:cubicBezTo>
                    <a:pt x="2251234" y="310991"/>
                    <a:pt x="2250281" y="310039"/>
                    <a:pt x="2250281" y="308134"/>
                  </a:cubicBezTo>
                  <a:cubicBezTo>
                    <a:pt x="2251234" y="305276"/>
                    <a:pt x="2252186" y="301466"/>
                    <a:pt x="2252186" y="297656"/>
                  </a:cubicBezTo>
                  <a:close/>
                  <a:moveTo>
                    <a:pt x="2215991" y="252889"/>
                  </a:moveTo>
                  <a:lnTo>
                    <a:pt x="2215991" y="256699"/>
                  </a:lnTo>
                  <a:cubicBezTo>
                    <a:pt x="2215991" y="256699"/>
                    <a:pt x="2215991" y="256699"/>
                    <a:pt x="2215991" y="256699"/>
                  </a:cubicBezTo>
                  <a:cubicBezTo>
                    <a:pt x="2215039" y="255746"/>
                    <a:pt x="2215991" y="254794"/>
                    <a:pt x="2215991" y="252889"/>
                  </a:cubicBezTo>
                  <a:close/>
                  <a:moveTo>
                    <a:pt x="2211229" y="281464"/>
                  </a:moveTo>
                  <a:cubicBezTo>
                    <a:pt x="2212181" y="273844"/>
                    <a:pt x="2213134" y="267176"/>
                    <a:pt x="2214086" y="260509"/>
                  </a:cubicBezTo>
                  <a:cubicBezTo>
                    <a:pt x="2214086" y="260509"/>
                    <a:pt x="2215039" y="261461"/>
                    <a:pt x="2215039" y="261461"/>
                  </a:cubicBezTo>
                  <a:lnTo>
                    <a:pt x="2215039" y="267176"/>
                  </a:lnTo>
                  <a:cubicBezTo>
                    <a:pt x="2214086" y="277654"/>
                    <a:pt x="2213134" y="289084"/>
                    <a:pt x="2212181" y="299561"/>
                  </a:cubicBezTo>
                  <a:cubicBezTo>
                    <a:pt x="2210276" y="302419"/>
                    <a:pt x="2208371" y="306229"/>
                    <a:pt x="2206466" y="309086"/>
                  </a:cubicBezTo>
                  <a:cubicBezTo>
                    <a:pt x="2208371" y="299561"/>
                    <a:pt x="2210276" y="290036"/>
                    <a:pt x="2211229" y="281464"/>
                  </a:cubicBezTo>
                  <a:close/>
                  <a:moveTo>
                    <a:pt x="2205514" y="337661"/>
                  </a:moveTo>
                  <a:cubicBezTo>
                    <a:pt x="2205514" y="338614"/>
                    <a:pt x="2204561" y="338614"/>
                    <a:pt x="2204561" y="339566"/>
                  </a:cubicBezTo>
                  <a:cubicBezTo>
                    <a:pt x="2204561" y="339566"/>
                    <a:pt x="2204561" y="339566"/>
                    <a:pt x="2204561" y="340519"/>
                  </a:cubicBezTo>
                  <a:cubicBezTo>
                    <a:pt x="2204561" y="339566"/>
                    <a:pt x="2204561" y="338614"/>
                    <a:pt x="2205514" y="337661"/>
                  </a:cubicBezTo>
                  <a:close/>
                  <a:moveTo>
                    <a:pt x="2183606" y="336709"/>
                  </a:moveTo>
                  <a:cubicBezTo>
                    <a:pt x="2183606" y="338614"/>
                    <a:pt x="2184559" y="341471"/>
                    <a:pt x="2185511" y="345281"/>
                  </a:cubicBezTo>
                  <a:cubicBezTo>
                    <a:pt x="2185511" y="347186"/>
                    <a:pt x="2184559" y="349091"/>
                    <a:pt x="2184559" y="350044"/>
                  </a:cubicBezTo>
                  <a:cubicBezTo>
                    <a:pt x="2184559" y="347186"/>
                    <a:pt x="2183606" y="343376"/>
                    <a:pt x="2183606" y="340519"/>
                  </a:cubicBezTo>
                  <a:cubicBezTo>
                    <a:pt x="2183606" y="339566"/>
                    <a:pt x="2183606" y="338614"/>
                    <a:pt x="2183606" y="337661"/>
                  </a:cubicBezTo>
                  <a:cubicBezTo>
                    <a:pt x="2182654" y="337661"/>
                    <a:pt x="2182654" y="337661"/>
                    <a:pt x="2183606" y="336709"/>
                  </a:cubicBezTo>
                  <a:close/>
                  <a:moveTo>
                    <a:pt x="2178844" y="345281"/>
                  </a:moveTo>
                  <a:cubicBezTo>
                    <a:pt x="2178844" y="349091"/>
                    <a:pt x="2178844" y="352901"/>
                    <a:pt x="2178844" y="357664"/>
                  </a:cubicBezTo>
                  <a:cubicBezTo>
                    <a:pt x="2177891" y="355759"/>
                    <a:pt x="2176939" y="352901"/>
                    <a:pt x="2175986" y="350996"/>
                  </a:cubicBezTo>
                  <a:cubicBezTo>
                    <a:pt x="2176939" y="348139"/>
                    <a:pt x="2177891" y="346234"/>
                    <a:pt x="2178844" y="345281"/>
                  </a:cubicBezTo>
                  <a:close/>
                  <a:moveTo>
                    <a:pt x="2150269" y="278606"/>
                  </a:moveTo>
                  <a:cubicBezTo>
                    <a:pt x="2155031" y="261461"/>
                    <a:pt x="2159794" y="246221"/>
                    <a:pt x="2162651" y="232886"/>
                  </a:cubicBezTo>
                  <a:cubicBezTo>
                    <a:pt x="2162651" y="233839"/>
                    <a:pt x="2162651" y="234791"/>
                    <a:pt x="2161699" y="235744"/>
                  </a:cubicBezTo>
                  <a:cubicBezTo>
                    <a:pt x="2160746" y="241459"/>
                    <a:pt x="2158841" y="248126"/>
                    <a:pt x="2157889" y="253841"/>
                  </a:cubicBezTo>
                  <a:cubicBezTo>
                    <a:pt x="2156936" y="260509"/>
                    <a:pt x="2155984" y="267176"/>
                    <a:pt x="2154079" y="274796"/>
                  </a:cubicBezTo>
                  <a:cubicBezTo>
                    <a:pt x="2153126" y="280511"/>
                    <a:pt x="2152174" y="287179"/>
                    <a:pt x="2151221" y="293846"/>
                  </a:cubicBezTo>
                  <a:cubicBezTo>
                    <a:pt x="2149316" y="290036"/>
                    <a:pt x="2148364" y="288131"/>
                    <a:pt x="2148364" y="288131"/>
                  </a:cubicBezTo>
                  <a:cubicBezTo>
                    <a:pt x="2148364" y="288131"/>
                    <a:pt x="2149316" y="290989"/>
                    <a:pt x="2150269" y="296704"/>
                  </a:cubicBezTo>
                  <a:cubicBezTo>
                    <a:pt x="2149316" y="302419"/>
                    <a:pt x="2148364" y="309086"/>
                    <a:pt x="2147411" y="314801"/>
                  </a:cubicBezTo>
                  <a:cubicBezTo>
                    <a:pt x="2143601" y="309086"/>
                    <a:pt x="2140744" y="305276"/>
                    <a:pt x="2140744" y="305276"/>
                  </a:cubicBezTo>
                  <a:cubicBezTo>
                    <a:pt x="2145506" y="296704"/>
                    <a:pt x="2147411" y="287179"/>
                    <a:pt x="2150269" y="278606"/>
                  </a:cubicBezTo>
                  <a:close/>
                  <a:moveTo>
                    <a:pt x="2142649" y="305276"/>
                  </a:moveTo>
                  <a:cubicBezTo>
                    <a:pt x="2142649" y="306229"/>
                    <a:pt x="2144554" y="310991"/>
                    <a:pt x="2148364" y="319564"/>
                  </a:cubicBezTo>
                  <a:cubicBezTo>
                    <a:pt x="2148364" y="319564"/>
                    <a:pt x="2148364" y="320516"/>
                    <a:pt x="2148364" y="320516"/>
                  </a:cubicBezTo>
                  <a:cubicBezTo>
                    <a:pt x="2148364" y="320516"/>
                    <a:pt x="2148364" y="321469"/>
                    <a:pt x="2148364" y="321469"/>
                  </a:cubicBezTo>
                  <a:cubicBezTo>
                    <a:pt x="2147411" y="328136"/>
                    <a:pt x="2146459" y="335756"/>
                    <a:pt x="2145506" y="343376"/>
                  </a:cubicBezTo>
                  <a:cubicBezTo>
                    <a:pt x="2143601" y="336709"/>
                    <a:pt x="2141696" y="330994"/>
                    <a:pt x="2139791" y="324326"/>
                  </a:cubicBezTo>
                  <a:cubicBezTo>
                    <a:pt x="2139791" y="323374"/>
                    <a:pt x="2138839" y="321469"/>
                    <a:pt x="2138839" y="320516"/>
                  </a:cubicBezTo>
                  <a:cubicBezTo>
                    <a:pt x="2138839" y="315754"/>
                    <a:pt x="2140744" y="310991"/>
                    <a:pt x="2142649" y="305276"/>
                  </a:cubicBezTo>
                  <a:close/>
                  <a:moveTo>
                    <a:pt x="2058829" y="353854"/>
                  </a:moveTo>
                  <a:cubicBezTo>
                    <a:pt x="2057876" y="357664"/>
                    <a:pt x="2056924" y="362426"/>
                    <a:pt x="2056924" y="366236"/>
                  </a:cubicBezTo>
                  <a:cubicBezTo>
                    <a:pt x="2056924" y="364331"/>
                    <a:pt x="2055971" y="363379"/>
                    <a:pt x="2055971" y="361474"/>
                  </a:cubicBezTo>
                  <a:cubicBezTo>
                    <a:pt x="2055019" y="358616"/>
                    <a:pt x="2055019" y="355759"/>
                    <a:pt x="2054066" y="352901"/>
                  </a:cubicBezTo>
                  <a:cubicBezTo>
                    <a:pt x="2054066" y="352901"/>
                    <a:pt x="2054066" y="352901"/>
                    <a:pt x="2054066" y="351949"/>
                  </a:cubicBezTo>
                  <a:cubicBezTo>
                    <a:pt x="2055971" y="347186"/>
                    <a:pt x="2057876" y="343376"/>
                    <a:pt x="2059781" y="338614"/>
                  </a:cubicBezTo>
                  <a:cubicBezTo>
                    <a:pt x="2059781" y="340519"/>
                    <a:pt x="2060734" y="341471"/>
                    <a:pt x="2060734" y="343376"/>
                  </a:cubicBezTo>
                  <a:cubicBezTo>
                    <a:pt x="2060734" y="347186"/>
                    <a:pt x="2059781" y="350044"/>
                    <a:pt x="2058829" y="353854"/>
                  </a:cubicBezTo>
                  <a:close/>
                  <a:moveTo>
                    <a:pt x="2081689" y="350044"/>
                  </a:moveTo>
                  <a:cubicBezTo>
                    <a:pt x="2080736" y="351949"/>
                    <a:pt x="2080736" y="352901"/>
                    <a:pt x="2079784" y="354806"/>
                  </a:cubicBezTo>
                  <a:cubicBezTo>
                    <a:pt x="2078831" y="351949"/>
                    <a:pt x="2078831" y="350044"/>
                    <a:pt x="2077879" y="347186"/>
                  </a:cubicBezTo>
                  <a:cubicBezTo>
                    <a:pt x="2077879" y="346234"/>
                    <a:pt x="2077879" y="345281"/>
                    <a:pt x="2077879" y="344329"/>
                  </a:cubicBezTo>
                  <a:cubicBezTo>
                    <a:pt x="2078831" y="345281"/>
                    <a:pt x="2079784" y="346234"/>
                    <a:pt x="2080736" y="348139"/>
                  </a:cubicBezTo>
                  <a:cubicBezTo>
                    <a:pt x="2080736" y="348139"/>
                    <a:pt x="2080736" y="349091"/>
                    <a:pt x="2081689" y="350044"/>
                  </a:cubicBezTo>
                  <a:cubicBezTo>
                    <a:pt x="2081689" y="350044"/>
                    <a:pt x="2081689" y="350044"/>
                    <a:pt x="2081689" y="350044"/>
                  </a:cubicBezTo>
                  <a:close/>
                  <a:moveTo>
                    <a:pt x="2081689" y="339566"/>
                  </a:moveTo>
                  <a:cubicBezTo>
                    <a:pt x="2081689" y="340519"/>
                    <a:pt x="2081689" y="341471"/>
                    <a:pt x="2081689" y="341471"/>
                  </a:cubicBezTo>
                  <a:cubicBezTo>
                    <a:pt x="2080736" y="340519"/>
                    <a:pt x="2079784" y="338614"/>
                    <a:pt x="2078831" y="337661"/>
                  </a:cubicBezTo>
                  <a:cubicBezTo>
                    <a:pt x="2078831" y="334804"/>
                    <a:pt x="2079784" y="331946"/>
                    <a:pt x="2079784" y="330041"/>
                  </a:cubicBezTo>
                  <a:cubicBezTo>
                    <a:pt x="2080736" y="332899"/>
                    <a:pt x="2081689" y="335756"/>
                    <a:pt x="2081689" y="339566"/>
                  </a:cubicBezTo>
                  <a:cubicBezTo>
                    <a:pt x="2081689" y="338614"/>
                    <a:pt x="2081689" y="338614"/>
                    <a:pt x="2081689" y="339566"/>
                  </a:cubicBezTo>
                  <a:close/>
                  <a:moveTo>
                    <a:pt x="2085499" y="290036"/>
                  </a:moveTo>
                  <a:cubicBezTo>
                    <a:pt x="2085499" y="295751"/>
                    <a:pt x="2084546" y="301466"/>
                    <a:pt x="2084546" y="307181"/>
                  </a:cubicBezTo>
                  <a:cubicBezTo>
                    <a:pt x="2084546" y="306229"/>
                    <a:pt x="2083594" y="305276"/>
                    <a:pt x="2083594" y="303371"/>
                  </a:cubicBezTo>
                  <a:cubicBezTo>
                    <a:pt x="2084546" y="292894"/>
                    <a:pt x="2085499" y="282416"/>
                    <a:pt x="2086451" y="273844"/>
                  </a:cubicBezTo>
                  <a:cubicBezTo>
                    <a:pt x="2086451" y="271939"/>
                    <a:pt x="2086451" y="269081"/>
                    <a:pt x="2087404" y="267176"/>
                  </a:cubicBezTo>
                  <a:cubicBezTo>
                    <a:pt x="2086451" y="274796"/>
                    <a:pt x="2085499" y="282416"/>
                    <a:pt x="2085499" y="290036"/>
                  </a:cubicBezTo>
                  <a:close/>
                  <a:moveTo>
                    <a:pt x="2089309" y="180499"/>
                  </a:moveTo>
                  <a:cubicBezTo>
                    <a:pt x="2089309" y="186214"/>
                    <a:pt x="2089309" y="192881"/>
                    <a:pt x="2089309" y="200501"/>
                  </a:cubicBezTo>
                  <a:cubicBezTo>
                    <a:pt x="2088356" y="197644"/>
                    <a:pt x="2086451" y="194786"/>
                    <a:pt x="2086451" y="192881"/>
                  </a:cubicBezTo>
                  <a:cubicBezTo>
                    <a:pt x="2087404" y="188119"/>
                    <a:pt x="2088356" y="184309"/>
                    <a:pt x="2089309" y="180499"/>
                  </a:cubicBezTo>
                  <a:close/>
                  <a:moveTo>
                    <a:pt x="2072164" y="241459"/>
                  </a:moveTo>
                  <a:cubicBezTo>
                    <a:pt x="2077879" y="223361"/>
                    <a:pt x="2082641" y="207169"/>
                    <a:pt x="2086451" y="193834"/>
                  </a:cubicBezTo>
                  <a:cubicBezTo>
                    <a:pt x="2087404" y="197644"/>
                    <a:pt x="2088356" y="201454"/>
                    <a:pt x="2090261" y="207169"/>
                  </a:cubicBezTo>
                  <a:cubicBezTo>
                    <a:pt x="2090261" y="207169"/>
                    <a:pt x="2090261" y="207169"/>
                    <a:pt x="2090261" y="208121"/>
                  </a:cubicBezTo>
                  <a:cubicBezTo>
                    <a:pt x="2087404" y="221456"/>
                    <a:pt x="2081689" y="244316"/>
                    <a:pt x="2075974" y="271939"/>
                  </a:cubicBezTo>
                  <a:cubicBezTo>
                    <a:pt x="2075021" y="274796"/>
                    <a:pt x="2075021" y="278606"/>
                    <a:pt x="2074069" y="282416"/>
                  </a:cubicBezTo>
                  <a:cubicBezTo>
                    <a:pt x="2072164" y="278606"/>
                    <a:pt x="2070259" y="274796"/>
                    <a:pt x="2068354" y="271939"/>
                  </a:cubicBezTo>
                  <a:cubicBezTo>
                    <a:pt x="2067401" y="270034"/>
                    <a:pt x="2066449" y="268129"/>
                    <a:pt x="2065496" y="266224"/>
                  </a:cubicBezTo>
                  <a:cubicBezTo>
                    <a:pt x="2067401" y="257651"/>
                    <a:pt x="2069306" y="249079"/>
                    <a:pt x="2072164" y="241459"/>
                  </a:cubicBezTo>
                  <a:close/>
                  <a:moveTo>
                    <a:pt x="2062639" y="270034"/>
                  </a:moveTo>
                  <a:cubicBezTo>
                    <a:pt x="2062639" y="270986"/>
                    <a:pt x="2063591" y="271939"/>
                    <a:pt x="2063591" y="272891"/>
                  </a:cubicBezTo>
                  <a:cubicBezTo>
                    <a:pt x="2065496" y="278606"/>
                    <a:pt x="2067401" y="285274"/>
                    <a:pt x="2069306" y="292894"/>
                  </a:cubicBezTo>
                  <a:cubicBezTo>
                    <a:pt x="2069306" y="293846"/>
                    <a:pt x="2069306" y="293846"/>
                    <a:pt x="2070259" y="294799"/>
                  </a:cubicBezTo>
                  <a:cubicBezTo>
                    <a:pt x="2069306" y="299561"/>
                    <a:pt x="2068354" y="305276"/>
                    <a:pt x="2067401" y="310039"/>
                  </a:cubicBezTo>
                  <a:cubicBezTo>
                    <a:pt x="2066449" y="308134"/>
                    <a:pt x="2066449" y="305276"/>
                    <a:pt x="2065496" y="303371"/>
                  </a:cubicBezTo>
                  <a:cubicBezTo>
                    <a:pt x="2063591" y="296704"/>
                    <a:pt x="2060734" y="290036"/>
                    <a:pt x="2058829" y="284321"/>
                  </a:cubicBezTo>
                  <a:cubicBezTo>
                    <a:pt x="2059781" y="279559"/>
                    <a:pt x="2061686" y="274796"/>
                    <a:pt x="2062639" y="270034"/>
                  </a:cubicBezTo>
                  <a:close/>
                  <a:moveTo>
                    <a:pt x="2053114" y="301466"/>
                  </a:moveTo>
                  <a:cubicBezTo>
                    <a:pt x="2053114" y="303371"/>
                    <a:pt x="2054066" y="304324"/>
                    <a:pt x="2054066" y="306229"/>
                  </a:cubicBezTo>
                  <a:cubicBezTo>
                    <a:pt x="2055019" y="310991"/>
                    <a:pt x="2055971" y="315754"/>
                    <a:pt x="2056924" y="320516"/>
                  </a:cubicBezTo>
                  <a:cubicBezTo>
                    <a:pt x="2056924" y="320516"/>
                    <a:pt x="2055971" y="320516"/>
                    <a:pt x="2055971" y="320516"/>
                  </a:cubicBezTo>
                  <a:cubicBezTo>
                    <a:pt x="2051209" y="318611"/>
                    <a:pt x="2049304" y="317659"/>
                    <a:pt x="2049304" y="317659"/>
                  </a:cubicBezTo>
                  <a:cubicBezTo>
                    <a:pt x="2049304" y="317659"/>
                    <a:pt x="2051209" y="319564"/>
                    <a:pt x="2055971" y="321469"/>
                  </a:cubicBezTo>
                  <a:cubicBezTo>
                    <a:pt x="2056924" y="321469"/>
                    <a:pt x="2056924" y="322421"/>
                    <a:pt x="2057876" y="322421"/>
                  </a:cubicBezTo>
                  <a:cubicBezTo>
                    <a:pt x="2058829" y="326231"/>
                    <a:pt x="2058829" y="329089"/>
                    <a:pt x="2059781" y="332899"/>
                  </a:cubicBezTo>
                  <a:cubicBezTo>
                    <a:pt x="2057876" y="335756"/>
                    <a:pt x="2055971" y="338614"/>
                    <a:pt x="2053114" y="342424"/>
                  </a:cubicBezTo>
                  <a:cubicBezTo>
                    <a:pt x="2052161" y="335756"/>
                    <a:pt x="2050256" y="328136"/>
                    <a:pt x="2049304" y="321469"/>
                  </a:cubicBezTo>
                  <a:cubicBezTo>
                    <a:pt x="2049304" y="319564"/>
                    <a:pt x="2049304" y="317659"/>
                    <a:pt x="2049304" y="315754"/>
                  </a:cubicBezTo>
                  <a:cubicBezTo>
                    <a:pt x="2050256" y="310991"/>
                    <a:pt x="2052161" y="305276"/>
                    <a:pt x="2053114" y="301466"/>
                  </a:cubicBezTo>
                  <a:close/>
                  <a:moveTo>
                    <a:pt x="2044541" y="260509"/>
                  </a:moveTo>
                  <a:cubicBezTo>
                    <a:pt x="2044541" y="260509"/>
                    <a:pt x="2044541" y="260509"/>
                    <a:pt x="2044541" y="260509"/>
                  </a:cubicBezTo>
                  <a:cubicBezTo>
                    <a:pt x="2044541" y="260509"/>
                    <a:pt x="2044541" y="259556"/>
                    <a:pt x="2044541" y="259556"/>
                  </a:cubicBezTo>
                  <a:cubicBezTo>
                    <a:pt x="2044541" y="259556"/>
                    <a:pt x="2044541" y="259556"/>
                    <a:pt x="2044541" y="260509"/>
                  </a:cubicBezTo>
                  <a:close/>
                  <a:moveTo>
                    <a:pt x="2019776" y="188119"/>
                  </a:moveTo>
                  <a:cubicBezTo>
                    <a:pt x="2019776" y="187166"/>
                    <a:pt x="2019776" y="186214"/>
                    <a:pt x="2019776" y="185261"/>
                  </a:cubicBezTo>
                  <a:cubicBezTo>
                    <a:pt x="2019776" y="182404"/>
                    <a:pt x="2020729" y="179546"/>
                    <a:pt x="2020729" y="177641"/>
                  </a:cubicBezTo>
                  <a:cubicBezTo>
                    <a:pt x="2020729" y="180499"/>
                    <a:pt x="2020729" y="184309"/>
                    <a:pt x="2020729" y="189071"/>
                  </a:cubicBezTo>
                  <a:cubicBezTo>
                    <a:pt x="2020729" y="197644"/>
                    <a:pt x="2021681" y="208121"/>
                    <a:pt x="2021681" y="220504"/>
                  </a:cubicBezTo>
                  <a:cubicBezTo>
                    <a:pt x="2021681" y="228124"/>
                    <a:pt x="2022634" y="235744"/>
                    <a:pt x="2023586" y="244316"/>
                  </a:cubicBezTo>
                  <a:cubicBezTo>
                    <a:pt x="2023586" y="245269"/>
                    <a:pt x="2022634" y="246221"/>
                    <a:pt x="2022634" y="247174"/>
                  </a:cubicBezTo>
                  <a:cubicBezTo>
                    <a:pt x="2020729" y="238601"/>
                    <a:pt x="2018824" y="230029"/>
                    <a:pt x="2016919" y="222409"/>
                  </a:cubicBezTo>
                  <a:cubicBezTo>
                    <a:pt x="2018824" y="209074"/>
                    <a:pt x="2018824" y="197644"/>
                    <a:pt x="2019776" y="188119"/>
                  </a:cubicBezTo>
                  <a:close/>
                  <a:moveTo>
                    <a:pt x="1999774" y="298609"/>
                  </a:moveTo>
                  <a:cubicBezTo>
                    <a:pt x="1999774" y="300514"/>
                    <a:pt x="1999774" y="302419"/>
                    <a:pt x="1999774" y="304324"/>
                  </a:cubicBezTo>
                  <a:cubicBezTo>
                    <a:pt x="1998821" y="306229"/>
                    <a:pt x="1998821" y="308134"/>
                    <a:pt x="1997869" y="310039"/>
                  </a:cubicBezTo>
                  <a:cubicBezTo>
                    <a:pt x="1998821" y="306229"/>
                    <a:pt x="1999774" y="302419"/>
                    <a:pt x="1999774" y="298609"/>
                  </a:cubicBezTo>
                  <a:close/>
                  <a:moveTo>
                    <a:pt x="1992154" y="349091"/>
                  </a:moveTo>
                  <a:cubicBezTo>
                    <a:pt x="1992154" y="351949"/>
                    <a:pt x="1992154" y="355759"/>
                    <a:pt x="1992154" y="359569"/>
                  </a:cubicBezTo>
                  <a:cubicBezTo>
                    <a:pt x="1992154" y="362426"/>
                    <a:pt x="1992154" y="366236"/>
                    <a:pt x="1992154" y="369094"/>
                  </a:cubicBezTo>
                  <a:cubicBezTo>
                    <a:pt x="1991201" y="370046"/>
                    <a:pt x="1990249" y="371951"/>
                    <a:pt x="1988344" y="373856"/>
                  </a:cubicBezTo>
                  <a:cubicBezTo>
                    <a:pt x="1990249" y="365284"/>
                    <a:pt x="1991201" y="356711"/>
                    <a:pt x="1992154" y="349091"/>
                  </a:cubicBezTo>
                  <a:close/>
                  <a:moveTo>
                    <a:pt x="1987391" y="381476"/>
                  </a:moveTo>
                  <a:cubicBezTo>
                    <a:pt x="1987391" y="381476"/>
                    <a:pt x="1987391" y="381476"/>
                    <a:pt x="1987391" y="381476"/>
                  </a:cubicBezTo>
                  <a:cubicBezTo>
                    <a:pt x="1989296" y="377666"/>
                    <a:pt x="1991201" y="374809"/>
                    <a:pt x="1992154" y="372904"/>
                  </a:cubicBezTo>
                  <a:cubicBezTo>
                    <a:pt x="1992154" y="374809"/>
                    <a:pt x="1992154" y="377666"/>
                    <a:pt x="1992154" y="379571"/>
                  </a:cubicBezTo>
                  <a:cubicBezTo>
                    <a:pt x="1992154" y="381476"/>
                    <a:pt x="1991201" y="384334"/>
                    <a:pt x="1991201" y="386239"/>
                  </a:cubicBezTo>
                  <a:cubicBezTo>
                    <a:pt x="1990249" y="391001"/>
                    <a:pt x="1989296" y="395764"/>
                    <a:pt x="1988344" y="400526"/>
                  </a:cubicBezTo>
                  <a:cubicBezTo>
                    <a:pt x="1988344" y="400526"/>
                    <a:pt x="1988344" y="399574"/>
                    <a:pt x="1988344" y="399574"/>
                  </a:cubicBezTo>
                  <a:cubicBezTo>
                    <a:pt x="1987391" y="397669"/>
                    <a:pt x="1986439" y="394811"/>
                    <a:pt x="1985486" y="392906"/>
                  </a:cubicBezTo>
                  <a:cubicBezTo>
                    <a:pt x="1986439" y="389096"/>
                    <a:pt x="1986439" y="385286"/>
                    <a:pt x="1987391" y="381476"/>
                  </a:cubicBezTo>
                  <a:close/>
                  <a:moveTo>
                    <a:pt x="1968341" y="290989"/>
                  </a:moveTo>
                  <a:cubicBezTo>
                    <a:pt x="1968341" y="292894"/>
                    <a:pt x="1968341" y="294799"/>
                    <a:pt x="1967389" y="297656"/>
                  </a:cubicBezTo>
                  <a:cubicBezTo>
                    <a:pt x="1967389" y="299561"/>
                    <a:pt x="1966436" y="302419"/>
                    <a:pt x="1966436" y="305276"/>
                  </a:cubicBezTo>
                  <a:cubicBezTo>
                    <a:pt x="1966436" y="309086"/>
                    <a:pt x="1965484" y="313849"/>
                    <a:pt x="1965484" y="318611"/>
                  </a:cubicBezTo>
                  <a:cubicBezTo>
                    <a:pt x="1965484" y="313849"/>
                    <a:pt x="1964531" y="309086"/>
                    <a:pt x="1964531" y="304324"/>
                  </a:cubicBezTo>
                  <a:cubicBezTo>
                    <a:pt x="1964531" y="303371"/>
                    <a:pt x="1964531" y="301466"/>
                    <a:pt x="1964531" y="300514"/>
                  </a:cubicBezTo>
                  <a:cubicBezTo>
                    <a:pt x="1965484" y="296704"/>
                    <a:pt x="1967389" y="293846"/>
                    <a:pt x="1968341" y="290989"/>
                  </a:cubicBezTo>
                  <a:close/>
                  <a:moveTo>
                    <a:pt x="1937861" y="310039"/>
                  </a:moveTo>
                  <a:cubicBezTo>
                    <a:pt x="1937861" y="307181"/>
                    <a:pt x="1937861" y="304324"/>
                    <a:pt x="1937861" y="302419"/>
                  </a:cubicBezTo>
                  <a:cubicBezTo>
                    <a:pt x="1937861" y="300514"/>
                    <a:pt x="1937861" y="297656"/>
                    <a:pt x="1937861" y="295751"/>
                  </a:cubicBezTo>
                  <a:cubicBezTo>
                    <a:pt x="1937861" y="299561"/>
                    <a:pt x="1938814" y="302419"/>
                    <a:pt x="1938814" y="306229"/>
                  </a:cubicBezTo>
                  <a:cubicBezTo>
                    <a:pt x="1938814" y="308134"/>
                    <a:pt x="1938814" y="309086"/>
                    <a:pt x="1937861" y="310039"/>
                  </a:cubicBezTo>
                  <a:close/>
                  <a:moveTo>
                    <a:pt x="1938814" y="272891"/>
                  </a:moveTo>
                  <a:cubicBezTo>
                    <a:pt x="1937861" y="270034"/>
                    <a:pt x="1937861" y="268129"/>
                    <a:pt x="1936909" y="266224"/>
                  </a:cubicBezTo>
                  <a:cubicBezTo>
                    <a:pt x="1936909" y="264319"/>
                    <a:pt x="1936909" y="262414"/>
                    <a:pt x="1936909" y="261461"/>
                  </a:cubicBezTo>
                  <a:cubicBezTo>
                    <a:pt x="1936909" y="256699"/>
                    <a:pt x="1936909" y="250984"/>
                    <a:pt x="1936909" y="246221"/>
                  </a:cubicBezTo>
                  <a:cubicBezTo>
                    <a:pt x="1936909" y="253841"/>
                    <a:pt x="1937861" y="263366"/>
                    <a:pt x="1938814" y="272891"/>
                  </a:cubicBezTo>
                  <a:close/>
                  <a:moveTo>
                    <a:pt x="1900714" y="338614"/>
                  </a:moveTo>
                  <a:cubicBezTo>
                    <a:pt x="1900714" y="336709"/>
                    <a:pt x="1900714" y="334804"/>
                    <a:pt x="1900714" y="333851"/>
                  </a:cubicBezTo>
                  <a:cubicBezTo>
                    <a:pt x="1901666" y="331946"/>
                    <a:pt x="1901666" y="330041"/>
                    <a:pt x="1902619" y="329089"/>
                  </a:cubicBezTo>
                  <a:cubicBezTo>
                    <a:pt x="1903571" y="328136"/>
                    <a:pt x="1904524" y="326231"/>
                    <a:pt x="1904524" y="325279"/>
                  </a:cubicBezTo>
                  <a:cubicBezTo>
                    <a:pt x="1902619" y="330041"/>
                    <a:pt x="1901666" y="333851"/>
                    <a:pt x="1900714" y="338614"/>
                  </a:cubicBezTo>
                  <a:close/>
                  <a:moveTo>
                    <a:pt x="1915954" y="436721"/>
                  </a:moveTo>
                  <a:cubicBezTo>
                    <a:pt x="1915954" y="435769"/>
                    <a:pt x="1915954" y="434816"/>
                    <a:pt x="1915954" y="433864"/>
                  </a:cubicBezTo>
                  <a:cubicBezTo>
                    <a:pt x="1915954" y="433864"/>
                    <a:pt x="1915954" y="434816"/>
                    <a:pt x="1916906" y="434816"/>
                  </a:cubicBezTo>
                  <a:cubicBezTo>
                    <a:pt x="1915954" y="435769"/>
                    <a:pt x="1915954" y="436721"/>
                    <a:pt x="1915954" y="436721"/>
                  </a:cubicBezTo>
                  <a:close/>
                  <a:moveTo>
                    <a:pt x="1920716" y="401479"/>
                  </a:moveTo>
                  <a:cubicBezTo>
                    <a:pt x="1920716" y="403384"/>
                    <a:pt x="1919764" y="405289"/>
                    <a:pt x="1919764" y="407194"/>
                  </a:cubicBezTo>
                  <a:cubicBezTo>
                    <a:pt x="1918811" y="406241"/>
                    <a:pt x="1918811" y="405289"/>
                    <a:pt x="1917859" y="404336"/>
                  </a:cubicBezTo>
                  <a:cubicBezTo>
                    <a:pt x="1918811" y="402431"/>
                    <a:pt x="1919764" y="400526"/>
                    <a:pt x="1919764" y="398621"/>
                  </a:cubicBezTo>
                  <a:cubicBezTo>
                    <a:pt x="1920716" y="399574"/>
                    <a:pt x="1920716" y="400526"/>
                    <a:pt x="1920716" y="401479"/>
                  </a:cubicBezTo>
                  <a:close/>
                  <a:moveTo>
                    <a:pt x="1917859" y="331946"/>
                  </a:moveTo>
                  <a:cubicBezTo>
                    <a:pt x="1918811" y="333851"/>
                    <a:pt x="1919764" y="335756"/>
                    <a:pt x="1919764" y="337661"/>
                  </a:cubicBezTo>
                  <a:cubicBezTo>
                    <a:pt x="1919764" y="337661"/>
                    <a:pt x="1919764" y="337661"/>
                    <a:pt x="1919764" y="337661"/>
                  </a:cubicBezTo>
                  <a:cubicBezTo>
                    <a:pt x="1919764" y="337661"/>
                    <a:pt x="1918811" y="338614"/>
                    <a:pt x="1918811" y="338614"/>
                  </a:cubicBezTo>
                  <a:cubicBezTo>
                    <a:pt x="1917859" y="339566"/>
                    <a:pt x="1916906" y="340519"/>
                    <a:pt x="1916906" y="342424"/>
                  </a:cubicBezTo>
                  <a:cubicBezTo>
                    <a:pt x="1916906" y="341471"/>
                    <a:pt x="1916906" y="341471"/>
                    <a:pt x="1916906" y="341471"/>
                  </a:cubicBezTo>
                  <a:cubicBezTo>
                    <a:pt x="1916906" y="341471"/>
                    <a:pt x="1916906" y="342424"/>
                    <a:pt x="1915954" y="344329"/>
                  </a:cubicBezTo>
                  <a:cubicBezTo>
                    <a:pt x="1915954" y="344329"/>
                    <a:pt x="1915001" y="345281"/>
                    <a:pt x="1915001" y="345281"/>
                  </a:cubicBezTo>
                  <a:cubicBezTo>
                    <a:pt x="1915954" y="340519"/>
                    <a:pt x="1916906" y="335756"/>
                    <a:pt x="1917859" y="331946"/>
                  </a:cubicBezTo>
                  <a:close/>
                  <a:moveTo>
                    <a:pt x="1919764" y="360521"/>
                  </a:moveTo>
                  <a:cubicBezTo>
                    <a:pt x="1919764" y="361474"/>
                    <a:pt x="1919764" y="362426"/>
                    <a:pt x="1919764" y="364331"/>
                  </a:cubicBezTo>
                  <a:cubicBezTo>
                    <a:pt x="1917859" y="367189"/>
                    <a:pt x="1916906" y="370999"/>
                    <a:pt x="1915001" y="373856"/>
                  </a:cubicBezTo>
                  <a:cubicBezTo>
                    <a:pt x="1913096" y="378619"/>
                    <a:pt x="1910239" y="383381"/>
                    <a:pt x="1908334" y="388144"/>
                  </a:cubicBezTo>
                  <a:cubicBezTo>
                    <a:pt x="1908334" y="388144"/>
                    <a:pt x="1907381" y="387191"/>
                    <a:pt x="1907381" y="387191"/>
                  </a:cubicBezTo>
                  <a:cubicBezTo>
                    <a:pt x="1907381" y="386239"/>
                    <a:pt x="1907381" y="386239"/>
                    <a:pt x="1907381" y="385286"/>
                  </a:cubicBezTo>
                  <a:cubicBezTo>
                    <a:pt x="1908334" y="383381"/>
                    <a:pt x="1909286" y="381476"/>
                    <a:pt x="1910239" y="380524"/>
                  </a:cubicBezTo>
                  <a:cubicBezTo>
                    <a:pt x="1913096" y="372904"/>
                    <a:pt x="1916906" y="366236"/>
                    <a:pt x="1919764" y="360521"/>
                  </a:cubicBezTo>
                  <a:close/>
                  <a:moveTo>
                    <a:pt x="1910239" y="299561"/>
                  </a:moveTo>
                  <a:cubicBezTo>
                    <a:pt x="1909286" y="301466"/>
                    <a:pt x="1909286" y="303371"/>
                    <a:pt x="1908334" y="305276"/>
                  </a:cubicBezTo>
                  <a:cubicBezTo>
                    <a:pt x="1908334" y="305276"/>
                    <a:pt x="1908334" y="305276"/>
                    <a:pt x="1908334" y="305276"/>
                  </a:cubicBezTo>
                  <a:cubicBezTo>
                    <a:pt x="1909286" y="302419"/>
                    <a:pt x="1910239" y="300514"/>
                    <a:pt x="1910239" y="299561"/>
                  </a:cubicBezTo>
                  <a:close/>
                  <a:moveTo>
                    <a:pt x="1906429" y="313849"/>
                  </a:moveTo>
                  <a:cubicBezTo>
                    <a:pt x="1907381" y="311944"/>
                    <a:pt x="1907381" y="310991"/>
                    <a:pt x="1908334" y="309086"/>
                  </a:cubicBezTo>
                  <a:cubicBezTo>
                    <a:pt x="1908334" y="309086"/>
                    <a:pt x="1908334" y="309086"/>
                    <a:pt x="1908334" y="310039"/>
                  </a:cubicBezTo>
                  <a:cubicBezTo>
                    <a:pt x="1907381" y="311944"/>
                    <a:pt x="1907381" y="313849"/>
                    <a:pt x="1906429" y="315754"/>
                  </a:cubicBezTo>
                  <a:cubicBezTo>
                    <a:pt x="1906429" y="315754"/>
                    <a:pt x="1905476" y="316706"/>
                    <a:pt x="1905476" y="316706"/>
                  </a:cubicBezTo>
                  <a:cubicBezTo>
                    <a:pt x="1905476" y="314801"/>
                    <a:pt x="1905476" y="314801"/>
                    <a:pt x="1906429" y="313849"/>
                  </a:cubicBezTo>
                  <a:close/>
                  <a:moveTo>
                    <a:pt x="1893094" y="259556"/>
                  </a:moveTo>
                  <a:cubicBezTo>
                    <a:pt x="1893094" y="258604"/>
                    <a:pt x="1894046" y="257651"/>
                    <a:pt x="1894046" y="256699"/>
                  </a:cubicBezTo>
                  <a:cubicBezTo>
                    <a:pt x="1894046" y="256699"/>
                    <a:pt x="1894999" y="256699"/>
                    <a:pt x="1894999" y="256699"/>
                  </a:cubicBezTo>
                  <a:cubicBezTo>
                    <a:pt x="1896904" y="257651"/>
                    <a:pt x="1897856" y="259556"/>
                    <a:pt x="1899761" y="260509"/>
                  </a:cubicBezTo>
                  <a:lnTo>
                    <a:pt x="1904524" y="275749"/>
                  </a:lnTo>
                  <a:cubicBezTo>
                    <a:pt x="1901666" y="283369"/>
                    <a:pt x="1898809" y="290036"/>
                    <a:pt x="1895951" y="297656"/>
                  </a:cubicBezTo>
                  <a:cubicBezTo>
                    <a:pt x="1894999" y="291941"/>
                    <a:pt x="1894999" y="286226"/>
                    <a:pt x="1894046" y="281464"/>
                  </a:cubicBezTo>
                  <a:cubicBezTo>
                    <a:pt x="1894046" y="277654"/>
                    <a:pt x="1893094" y="273844"/>
                    <a:pt x="1892141" y="270034"/>
                  </a:cubicBezTo>
                  <a:cubicBezTo>
                    <a:pt x="1892141" y="270986"/>
                    <a:pt x="1893094" y="271939"/>
                    <a:pt x="1893094" y="272891"/>
                  </a:cubicBezTo>
                  <a:cubicBezTo>
                    <a:pt x="1893094" y="269081"/>
                    <a:pt x="1892141" y="264319"/>
                    <a:pt x="1893094" y="259556"/>
                  </a:cubicBezTo>
                  <a:close/>
                  <a:moveTo>
                    <a:pt x="1841659" y="297656"/>
                  </a:moveTo>
                  <a:cubicBezTo>
                    <a:pt x="1841659" y="303371"/>
                    <a:pt x="1840706" y="308134"/>
                    <a:pt x="1840706" y="313849"/>
                  </a:cubicBezTo>
                  <a:cubicBezTo>
                    <a:pt x="1839754" y="307181"/>
                    <a:pt x="1839754" y="300514"/>
                    <a:pt x="1838801" y="294799"/>
                  </a:cubicBezTo>
                  <a:cubicBezTo>
                    <a:pt x="1838801" y="292894"/>
                    <a:pt x="1838801" y="291941"/>
                    <a:pt x="1838801" y="290989"/>
                  </a:cubicBezTo>
                  <a:cubicBezTo>
                    <a:pt x="1839754" y="292894"/>
                    <a:pt x="1840706" y="294799"/>
                    <a:pt x="1841659" y="297656"/>
                  </a:cubicBezTo>
                  <a:close/>
                  <a:moveTo>
                    <a:pt x="1822609" y="363379"/>
                  </a:moveTo>
                  <a:cubicBezTo>
                    <a:pt x="1823561" y="359569"/>
                    <a:pt x="1825466" y="356711"/>
                    <a:pt x="1826419" y="353854"/>
                  </a:cubicBezTo>
                  <a:cubicBezTo>
                    <a:pt x="1826419" y="357664"/>
                    <a:pt x="1826419" y="360521"/>
                    <a:pt x="1827371" y="364331"/>
                  </a:cubicBezTo>
                  <a:cubicBezTo>
                    <a:pt x="1826419" y="365284"/>
                    <a:pt x="1824514" y="367189"/>
                    <a:pt x="1823561" y="368141"/>
                  </a:cubicBezTo>
                  <a:cubicBezTo>
                    <a:pt x="1822609" y="366236"/>
                    <a:pt x="1822609" y="365284"/>
                    <a:pt x="1822609" y="363379"/>
                  </a:cubicBezTo>
                  <a:close/>
                  <a:moveTo>
                    <a:pt x="1828324" y="403384"/>
                  </a:moveTo>
                  <a:cubicBezTo>
                    <a:pt x="1828324" y="402431"/>
                    <a:pt x="1827371" y="401479"/>
                    <a:pt x="1827371" y="400526"/>
                  </a:cubicBezTo>
                  <a:cubicBezTo>
                    <a:pt x="1826419" y="393859"/>
                    <a:pt x="1825466" y="387191"/>
                    <a:pt x="1825466" y="381476"/>
                  </a:cubicBezTo>
                  <a:cubicBezTo>
                    <a:pt x="1826419" y="379571"/>
                    <a:pt x="1827371" y="378619"/>
                    <a:pt x="1828324" y="377666"/>
                  </a:cubicBezTo>
                  <a:cubicBezTo>
                    <a:pt x="1828324" y="385286"/>
                    <a:pt x="1828324" y="391954"/>
                    <a:pt x="1829276" y="399574"/>
                  </a:cubicBezTo>
                  <a:cubicBezTo>
                    <a:pt x="1828324" y="400526"/>
                    <a:pt x="1828324" y="402431"/>
                    <a:pt x="1828324" y="403384"/>
                  </a:cubicBezTo>
                  <a:close/>
                  <a:moveTo>
                    <a:pt x="1833086" y="339566"/>
                  </a:moveTo>
                  <a:cubicBezTo>
                    <a:pt x="1833086" y="339566"/>
                    <a:pt x="1833086" y="339566"/>
                    <a:pt x="1833086" y="339566"/>
                  </a:cubicBezTo>
                  <a:cubicBezTo>
                    <a:pt x="1833086" y="339566"/>
                    <a:pt x="1833086" y="340519"/>
                    <a:pt x="1833086" y="340519"/>
                  </a:cubicBezTo>
                  <a:cubicBezTo>
                    <a:pt x="1833086" y="340519"/>
                    <a:pt x="1833086" y="339566"/>
                    <a:pt x="1833086" y="339566"/>
                  </a:cubicBezTo>
                  <a:close/>
                  <a:moveTo>
                    <a:pt x="1824514" y="272891"/>
                  </a:moveTo>
                  <a:cubicBezTo>
                    <a:pt x="1824514" y="269081"/>
                    <a:pt x="1824514" y="266224"/>
                    <a:pt x="1824514" y="263366"/>
                  </a:cubicBezTo>
                  <a:cubicBezTo>
                    <a:pt x="1827371" y="269081"/>
                    <a:pt x="1831181" y="276701"/>
                    <a:pt x="1835944" y="285274"/>
                  </a:cubicBezTo>
                  <a:cubicBezTo>
                    <a:pt x="1835944" y="288131"/>
                    <a:pt x="1835944" y="290989"/>
                    <a:pt x="1834991" y="294799"/>
                  </a:cubicBezTo>
                  <a:cubicBezTo>
                    <a:pt x="1834991" y="302419"/>
                    <a:pt x="1834039" y="310991"/>
                    <a:pt x="1834039" y="320516"/>
                  </a:cubicBezTo>
                  <a:cubicBezTo>
                    <a:pt x="1834039" y="323374"/>
                    <a:pt x="1834039" y="327184"/>
                    <a:pt x="1834039" y="330994"/>
                  </a:cubicBezTo>
                  <a:cubicBezTo>
                    <a:pt x="1834039" y="330994"/>
                    <a:pt x="1833086" y="330994"/>
                    <a:pt x="1833086" y="331946"/>
                  </a:cubicBezTo>
                  <a:cubicBezTo>
                    <a:pt x="1833086" y="331946"/>
                    <a:pt x="1832134" y="332899"/>
                    <a:pt x="1832134" y="332899"/>
                  </a:cubicBezTo>
                  <a:cubicBezTo>
                    <a:pt x="1830229" y="326231"/>
                    <a:pt x="1829276" y="321469"/>
                    <a:pt x="1827371" y="316706"/>
                  </a:cubicBezTo>
                  <a:cubicBezTo>
                    <a:pt x="1825466" y="310991"/>
                    <a:pt x="1823561" y="306229"/>
                    <a:pt x="1822609" y="303371"/>
                  </a:cubicBezTo>
                  <a:cubicBezTo>
                    <a:pt x="1823561" y="292894"/>
                    <a:pt x="1823561" y="282416"/>
                    <a:pt x="1824514" y="272891"/>
                  </a:cubicBezTo>
                  <a:close/>
                  <a:moveTo>
                    <a:pt x="1822609" y="309086"/>
                  </a:moveTo>
                  <a:cubicBezTo>
                    <a:pt x="1822609" y="311944"/>
                    <a:pt x="1823561" y="314801"/>
                    <a:pt x="1823561" y="317659"/>
                  </a:cubicBezTo>
                  <a:cubicBezTo>
                    <a:pt x="1824514" y="323374"/>
                    <a:pt x="1824514" y="330994"/>
                    <a:pt x="1825466" y="338614"/>
                  </a:cubicBezTo>
                  <a:cubicBezTo>
                    <a:pt x="1825466" y="339566"/>
                    <a:pt x="1825466" y="340519"/>
                    <a:pt x="1825466" y="340519"/>
                  </a:cubicBezTo>
                  <a:cubicBezTo>
                    <a:pt x="1823561" y="342424"/>
                    <a:pt x="1822609" y="345281"/>
                    <a:pt x="1820704" y="348139"/>
                  </a:cubicBezTo>
                  <a:cubicBezTo>
                    <a:pt x="1820704" y="343376"/>
                    <a:pt x="1820704" y="337661"/>
                    <a:pt x="1820704" y="332899"/>
                  </a:cubicBezTo>
                  <a:cubicBezTo>
                    <a:pt x="1820704" y="332899"/>
                    <a:pt x="1820704" y="332899"/>
                    <a:pt x="1820704" y="331946"/>
                  </a:cubicBezTo>
                  <a:cubicBezTo>
                    <a:pt x="1821656" y="324326"/>
                    <a:pt x="1821656" y="316706"/>
                    <a:pt x="1822609" y="309086"/>
                  </a:cubicBezTo>
                  <a:close/>
                  <a:moveTo>
                    <a:pt x="1763554" y="411956"/>
                  </a:moveTo>
                  <a:cubicBezTo>
                    <a:pt x="1763554" y="410051"/>
                    <a:pt x="1762601" y="408146"/>
                    <a:pt x="1762601" y="406241"/>
                  </a:cubicBezTo>
                  <a:cubicBezTo>
                    <a:pt x="1762601" y="403384"/>
                    <a:pt x="1761649" y="400526"/>
                    <a:pt x="1761649" y="397669"/>
                  </a:cubicBezTo>
                  <a:cubicBezTo>
                    <a:pt x="1761649" y="397669"/>
                    <a:pt x="1761649" y="397669"/>
                    <a:pt x="1761649" y="397669"/>
                  </a:cubicBezTo>
                  <a:cubicBezTo>
                    <a:pt x="1762601" y="398621"/>
                    <a:pt x="1763554" y="399574"/>
                    <a:pt x="1764506" y="400526"/>
                  </a:cubicBezTo>
                  <a:cubicBezTo>
                    <a:pt x="1764506" y="404336"/>
                    <a:pt x="1764506" y="408146"/>
                    <a:pt x="1763554" y="411956"/>
                  </a:cubicBezTo>
                  <a:close/>
                  <a:moveTo>
                    <a:pt x="1766411" y="379571"/>
                  </a:moveTo>
                  <a:cubicBezTo>
                    <a:pt x="1766411" y="379571"/>
                    <a:pt x="1766411" y="379571"/>
                    <a:pt x="1766411" y="379571"/>
                  </a:cubicBezTo>
                  <a:cubicBezTo>
                    <a:pt x="1766411" y="378619"/>
                    <a:pt x="1766411" y="377666"/>
                    <a:pt x="1766411" y="377666"/>
                  </a:cubicBezTo>
                  <a:cubicBezTo>
                    <a:pt x="1766411" y="378619"/>
                    <a:pt x="1766411" y="379571"/>
                    <a:pt x="1766411" y="379571"/>
                  </a:cubicBezTo>
                  <a:close/>
                  <a:moveTo>
                    <a:pt x="1792129" y="251936"/>
                  </a:moveTo>
                  <a:lnTo>
                    <a:pt x="1802606" y="219551"/>
                  </a:lnTo>
                  <a:cubicBezTo>
                    <a:pt x="1802606" y="219551"/>
                    <a:pt x="1802606" y="219551"/>
                    <a:pt x="1802606" y="219551"/>
                  </a:cubicBezTo>
                  <a:cubicBezTo>
                    <a:pt x="1802606" y="237649"/>
                    <a:pt x="1801654" y="255746"/>
                    <a:pt x="1801654" y="274796"/>
                  </a:cubicBezTo>
                  <a:cubicBezTo>
                    <a:pt x="1801654" y="291941"/>
                    <a:pt x="1800701" y="309086"/>
                    <a:pt x="1800701" y="327184"/>
                  </a:cubicBezTo>
                  <a:cubicBezTo>
                    <a:pt x="1798796" y="321469"/>
                    <a:pt x="1796891" y="315754"/>
                    <a:pt x="1794034" y="310991"/>
                  </a:cubicBezTo>
                  <a:cubicBezTo>
                    <a:pt x="1792129" y="305276"/>
                    <a:pt x="1790224" y="299561"/>
                    <a:pt x="1788319" y="294799"/>
                  </a:cubicBezTo>
                  <a:cubicBezTo>
                    <a:pt x="1788319" y="293846"/>
                    <a:pt x="1787366" y="292894"/>
                    <a:pt x="1787366" y="292894"/>
                  </a:cubicBezTo>
                  <a:cubicBezTo>
                    <a:pt x="1787366" y="290989"/>
                    <a:pt x="1786414" y="289084"/>
                    <a:pt x="1786414" y="287179"/>
                  </a:cubicBezTo>
                  <a:cubicBezTo>
                    <a:pt x="1787366" y="284321"/>
                    <a:pt x="1788319" y="282416"/>
                    <a:pt x="1788319" y="279559"/>
                  </a:cubicBezTo>
                  <a:cubicBezTo>
                    <a:pt x="1788319" y="278606"/>
                    <a:pt x="1788319" y="277654"/>
                    <a:pt x="1787366" y="275749"/>
                  </a:cubicBezTo>
                  <a:cubicBezTo>
                    <a:pt x="1787366" y="274796"/>
                    <a:pt x="1785461" y="274796"/>
                    <a:pt x="1785461" y="274796"/>
                  </a:cubicBezTo>
                  <a:cubicBezTo>
                    <a:pt x="1785461" y="274796"/>
                    <a:pt x="1785461" y="274796"/>
                    <a:pt x="1785461" y="274796"/>
                  </a:cubicBezTo>
                  <a:lnTo>
                    <a:pt x="1792129" y="251936"/>
                  </a:lnTo>
                  <a:close/>
                  <a:moveTo>
                    <a:pt x="1785461" y="276701"/>
                  </a:moveTo>
                  <a:cubicBezTo>
                    <a:pt x="1785461" y="276701"/>
                    <a:pt x="1786414" y="277654"/>
                    <a:pt x="1786414" y="278606"/>
                  </a:cubicBezTo>
                  <a:cubicBezTo>
                    <a:pt x="1786414" y="279559"/>
                    <a:pt x="1786414" y="281464"/>
                    <a:pt x="1786414" y="282416"/>
                  </a:cubicBezTo>
                  <a:cubicBezTo>
                    <a:pt x="1785461" y="280511"/>
                    <a:pt x="1785461" y="278606"/>
                    <a:pt x="1785461" y="276701"/>
                  </a:cubicBezTo>
                  <a:cubicBezTo>
                    <a:pt x="1785461" y="276701"/>
                    <a:pt x="1785461" y="276701"/>
                    <a:pt x="1785461" y="276701"/>
                  </a:cubicBezTo>
                  <a:close/>
                  <a:moveTo>
                    <a:pt x="1776889" y="330994"/>
                  </a:moveTo>
                  <a:cubicBezTo>
                    <a:pt x="1779746" y="345281"/>
                    <a:pt x="1782604" y="360521"/>
                    <a:pt x="1785461" y="376714"/>
                  </a:cubicBezTo>
                  <a:cubicBezTo>
                    <a:pt x="1785461" y="379571"/>
                    <a:pt x="1786414" y="382429"/>
                    <a:pt x="1786414" y="385286"/>
                  </a:cubicBezTo>
                  <a:cubicBezTo>
                    <a:pt x="1785461" y="384334"/>
                    <a:pt x="1785461" y="383381"/>
                    <a:pt x="1784509" y="382429"/>
                  </a:cubicBezTo>
                  <a:cubicBezTo>
                    <a:pt x="1785461" y="377666"/>
                    <a:pt x="1785461" y="374809"/>
                    <a:pt x="1785461" y="374809"/>
                  </a:cubicBezTo>
                  <a:cubicBezTo>
                    <a:pt x="1785461" y="374809"/>
                    <a:pt x="1784509" y="376714"/>
                    <a:pt x="1783556" y="380524"/>
                  </a:cubicBezTo>
                  <a:cubicBezTo>
                    <a:pt x="1781651" y="376714"/>
                    <a:pt x="1778794" y="373856"/>
                    <a:pt x="1776889" y="370999"/>
                  </a:cubicBezTo>
                  <a:cubicBezTo>
                    <a:pt x="1776889" y="357664"/>
                    <a:pt x="1776889" y="346234"/>
                    <a:pt x="1776889" y="337661"/>
                  </a:cubicBezTo>
                  <a:cubicBezTo>
                    <a:pt x="1775936" y="334804"/>
                    <a:pt x="1775936" y="332899"/>
                    <a:pt x="1776889" y="330994"/>
                  </a:cubicBezTo>
                  <a:close/>
                  <a:moveTo>
                    <a:pt x="1755934" y="211931"/>
                  </a:moveTo>
                  <a:cubicBezTo>
                    <a:pt x="1756886" y="215741"/>
                    <a:pt x="1758791" y="223361"/>
                    <a:pt x="1761649" y="233839"/>
                  </a:cubicBezTo>
                  <a:cubicBezTo>
                    <a:pt x="1761649" y="234791"/>
                    <a:pt x="1762601" y="236696"/>
                    <a:pt x="1762601" y="238601"/>
                  </a:cubicBezTo>
                  <a:cubicBezTo>
                    <a:pt x="1761649" y="237649"/>
                    <a:pt x="1761649" y="235744"/>
                    <a:pt x="1760696" y="234791"/>
                  </a:cubicBezTo>
                  <a:cubicBezTo>
                    <a:pt x="1759744" y="232886"/>
                    <a:pt x="1759744" y="230981"/>
                    <a:pt x="1759744" y="230981"/>
                  </a:cubicBezTo>
                  <a:cubicBezTo>
                    <a:pt x="1759744" y="230981"/>
                    <a:pt x="1759744" y="231934"/>
                    <a:pt x="1759744" y="232886"/>
                  </a:cubicBezTo>
                  <a:cubicBezTo>
                    <a:pt x="1758791" y="230981"/>
                    <a:pt x="1757839" y="229076"/>
                    <a:pt x="1756886" y="227171"/>
                  </a:cubicBezTo>
                  <a:cubicBezTo>
                    <a:pt x="1755934" y="226219"/>
                    <a:pt x="1755934" y="225266"/>
                    <a:pt x="1754981" y="223361"/>
                  </a:cubicBezTo>
                  <a:cubicBezTo>
                    <a:pt x="1755934" y="219551"/>
                    <a:pt x="1755934" y="215741"/>
                    <a:pt x="1755934" y="211931"/>
                  </a:cubicBezTo>
                  <a:close/>
                  <a:moveTo>
                    <a:pt x="1754981" y="232886"/>
                  </a:moveTo>
                  <a:cubicBezTo>
                    <a:pt x="1754981" y="233839"/>
                    <a:pt x="1755934" y="234791"/>
                    <a:pt x="1755934" y="235744"/>
                  </a:cubicBezTo>
                  <a:cubicBezTo>
                    <a:pt x="1755934" y="236696"/>
                    <a:pt x="1754981" y="237649"/>
                    <a:pt x="1754981" y="240506"/>
                  </a:cubicBezTo>
                  <a:cubicBezTo>
                    <a:pt x="1754981" y="237649"/>
                    <a:pt x="1754981" y="234791"/>
                    <a:pt x="1754981" y="232886"/>
                  </a:cubicBezTo>
                  <a:close/>
                  <a:moveTo>
                    <a:pt x="1754029" y="281464"/>
                  </a:moveTo>
                  <a:cubicBezTo>
                    <a:pt x="1754029" y="270986"/>
                    <a:pt x="1754029" y="261461"/>
                    <a:pt x="1754981" y="252889"/>
                  </a:cubicBezTo>
                  <a:cubicBezTo>
                    <a:pt x="1755934" y="244316"/>
                    <a:pt x="1756886" y="238601"/>
                    <a:pt x="1756886" y="236696"/>
                  </a:cubicBezTo>
                  <a:cubicBezTo>
                    <a:pt x="1758791" y="242411"/>
                    <a:pt x="1761649" y="250031"/>
                    <a:pt x="1763554" y="256699"/>
                  </a:cubicBezTo>
                  <a:cubicBezTo>
                    <a:pt x="1764506" y="265271"/>
                    <a:pt x="1766411" y="274796"/>
                    <a:pt x="1768316" y="286226"/>
                  </a:cubicBezTo>
                  <a:cubicBezTo>
                    <a:pt x="1763554" y="298609"/>
                    <a:pt x="1758791" y="310991"/>
                    <a:pt x="1754981" y="322421"/>
                  </a:cubicBezTo>
                  <a:cubicBezTo>
                    <a:pt x="1754981" y="320516"/>
                    <a:pt x="1754981" y="318611"/>
                    <a:pt x="1754029" y="317659"/>
                  </a:cubicBezTo>
                  <a:cubicBezTo>
                    <a:pt x="1754029" y="317659"/>
                    <a:pt x="1754029" y="316706"/>
                    <a:pt x="1754029" y="316706"/>
                  </a:cubicBezTo>
                  <a:cubicBezTo>
                    <a:pt x="1754029" y="303371"/>
                    <a:pt x="1754029" y="291941"/>
                    <a:pt x="1754029" y="281464"/>
                  </a:cubicBezTo>
                  <a:close/>
                  <a:moveTo>
                    <a:pt x="1687354" y="295751"/>
                  </a:moveTo>
                  <a:cubicBezTo>
                    <a:pt x="1686401" y="302419"/>
                    <a:pt x="1685449" y="309086"/>
                    <a:pt x="1685449" y="314801"/>
                  </a:cubicBezTo>
                  <a:cubicBezTo>
                    <a:pt x="1685449" y="318611"/>
                    <a:pt x="1684496" y="321469"/>
                    <a:pt x="1684496" y="325279"/>
                  </a:cubicBezTo>
                  <a:cubicBezTo>
                    <a:pt x="1683544" y="320516"/>
                    <a:pt x="1682591" y="316706"/>
                    <a:pt x="1681639" y="311944"/>
                  </a:cubicBezTo>
                  <a:cubicBezTo>
                    <a:pt x="1681639" y="310039"/>
                    <a:pt x="1681639" y="309086"/>
                    <a:pt x="1681639" y="309086"/>
                  </a:cubicBezTo>
                  <a:cubicBezTo>
                    <a:pt x="1681639" y="309086"/>
                    <a:pt x="1681639" y="309086"/>
                    <a:pt x="1681639" y="310039"/>
                  </a:cubicBezTo>
                  <a:cubicBezTo>
                    <a:pt x="1681639" y="309086"/>
                    <a:pt x="1680686" y="307181"/>
                    <a:pt x="1680686" y="306229"/>
                  </a:cubicBezTo>
                  <a:cubicBezTo>
                    <a:pt x="1680686" y="305276"/>
                    <a:pt x="1680686" y="304324"/>
                    <a:pt x="1681639" y="303371"/>
                  </a:cubicBezTo>
                  <a:cubicBezTo>
                    <a:pt x="1682591" y="300514"/>
                    <a:pt x="1683544" y="297656"/>
                    <a:pt x="1684496" y="295751"/>
                  </a:cubicBezTo>
                  <a:cubicBezTo>
                    <a:pt x="1686401" y="290989"/>
                    <a:pt x="1687354" y="287179"/>
                    <a:pt x="1689259" y="282416"/>
                  </a:cubicBezTo>
                  <a:cubicBezTo>
                    <a:pt x="1687354" y="287179"/>
                    <a:pt x="1687354" y="291941"/>
                    <a:pt x="1687354" y="295751"/>
                  </a:cubicBezTo>
                  <a:close/>
                  <a:moveTo>
                    <a:pt x="1678781" y="276701"/>
                  </a:moveTo>
                  <a:cubicBezTo>
                    <a:pt x="1680686" y="266224"/>
                    <a:pt x="1682591" y="255746"/>
                    <a:pt x="1684496" y="245269"/>
                  </a:cubicBezTo>
                  <a:cubicBezTo>
                    <a:pt x="1685449" y="250031"/>
                    <a:pt x="1686401" y="254794"/>
                    <a:pt x="1686401" y="259556"/>
                  </a:cubicBezTo>
                  <a:cubicBezTo>
                    <a:pt x="1686401" y="262414"/>
                    <a:pt x="1686401" y="265271"/>
                    <a:pt x="1686401" y="268129"/>
                  </a:cubicBezTo>
                  <a:cubicBezTo>
                    <a:pt x="1686401" y="269081"/>
                    <a:pt x="1686401" y="270034"/>
                    <a:pt x="1686401" y="270986"/>
                  </a:cubicBezTo>
                  <a:cubicBezTo>
                    <a:pt x="1682591" y="276701"/>
                    <a:pt x="1679734" y="284321"/>
                    <a:pt x="1675924" y="292894"/>
                  </a:cubicBezTo>
                  <a:cubicBezTo>
                    <a:pt x="1675924" y="292894"/>
                    <a:pt x="1675924" y="291941"/>
                    <a:pt x="1675924" y="291941"/>
                  </a:cubicBezTo>
                  <a:cubicBezTo>
                    <a:pt x="1676876" y="287179"/>
                    <a:pt x="1677829" y="283369"/>
                    <a:pt x="1678781" y="278606"/>
                  </a:cubicBezTo>
                  <a:cubicBezTo>
                    <a:pt x="1679734" y="276701"/>
                    <a:pt x="1679734" y="275749"/>
                    <a:pt x="1679734" y="275749"/>
                  </a:cubicBezTo>
                  <a:cubicBezTo>
                    <a:pt x="1679734" y="275749"/>
                    <a:pt x="1679734" y="275749"/>
                    <a:pt x="1678781" y="276701"/>
                  </a:cubicBezTo>
                  <a:close/>
                  <a:moveTo>
                    <a:pt x="1677829" y="199549"/>
                  </a:moveTo>
                  <a:cubicBezTo>
                    <a:pt x="1677829" y="201454"/>
                    <a:pt x="1677829" y="202406"/>
                    <a:pt x="1678781" y="204311"/>
                  </a:cubicBezTo>
                  <a:cubicBezTo>
                    <a:pt x="1677829" y="207169"/>
                    <a:pt x="1676876" y="210979"/>
                    <a:pt x="1676876" y="213836"/>
                  </a:cubicBezTo>
                  <a:cubicBezTo>
                    <a:pt x="1676876" y="209074"/>
                    <a:pt x="1676876" y="204311"/>
                    <a:pt x="1677829" y="199549"/>
                  </a:cubicBezTo>
                  <a:close/>
                  <a:moveTo>
                    <a:pt x="1640681" y="226219"/>
                  </a:moveTo>
                  <a:cubicBezTo>
                    <a:pt x="1643539" y="233839"/>
                    <a:pt x="1646396" y="244316"/>
                    <a:pt x="1649254" y="254794"/>
                  </a:cubicBezTo>
                  <a:cubicBezTo>
                    <a:pt x="1651159" y="260509"/>
                    <a:pt x="1652111" y="267176"/>
                    <a:pt x="1654016" y="274796"/>
                  </a:cubicBezTo>
                  <a:cubicBezTo>
                    <a:pt x="1654016" y="276701"/>
                    <a:pt x="1653064" y="279559"/>
                    <a:pt x="1653064" y="281464"/>
                  </a:cubicBezTo>
                  <a:cubicBezTo>
                    <a:pt x="1653064" y="280511"/>
                    <a:pt x="1652111" y="279559"/>
                    <a:pt x="1652111" y="279559"/>
                  </a:cubicBezTo>
                  <a:cubicBezTo>
                    <a:pt x="1652111" y="279559"/>
                    <a:pt x="1652111" y="280511"/>
                    <a:pt x="1652111" y="282416"/>
                  </a:cubicBezTo>
                  <a:cubicBezTo>
                    <a:pt x="1651159" y="288131"/>
                    <a:pt x="1650206" y="293846"/>
                    <a:pt x="1649254" y="300514"/>
                  </a:cubicBezTo>
                  <a:cubicBezTo>
                    <a:pt x="1646396" y="293846"/>
                    <a:pt x="1644491" y="288131"/>
                    <a:pt x="1641634" y="281464"/>
                  </a:cubicBezTo>
                  <a:cubicBezTo>
                    <a:pt x="1642586" y="280511"/>
                    <a:pt x="1642586" y="280511"/>
                    <a:pt x="1643539" y="279559"/>
                  </a:cubicBezTo>
                  <a:cubicBezTo>
                    <a:pt x="1644491" y="278606"/>
                    <a:pt x="1646396" y="277654"/>
                    <a:pt x="1647349" y="277654"/>
                  </a:cubicBezTo>
                  <a:cubicBezTo>
                    <a:pt x="1651159" y="274796"/>
                    <a:pt x="1654016" y="273844"/>
                    <a:pt x="1654016" y="273844"/>
                  </a:cubicBezTo>
                  <a:cubicBezTo>
                    <a:pt x="1654016" y="273844"/>
                    <a:pt x="1652111" y="274796"/>
                    <a:pt x="1647349" y="276701"/>
                  </a:cubicBezTo>
                  <a:cubicBezTo>
                    <a:pt x="1646396" y="277654"/>
                    <a:pt x="1645444" y="277654"/>
                    <a:pt x="1643539" y="278606"/>
                  </a:cubicBezTo>
                  <a:cubicBezTo>
                    <a:pt x="1643539" y="278606"/>
                    <a:pt x="1642586" y="279559"/>
                    <a:pt x="1642586" y="279559"/>
                  </a:cubicBezTo>
                  <a:cubicBezTo>
                    <a:pt x="1642586" y="271939"/>
                    <a:pt x="1642586" y="263366"/>
                    <a:pt x="1642586" y="255746"/>
                  </a:cubicBezTo>
                  <a:cubicBezTo>
                    <a:pt x="1640681" y="246221"/>
                    <a:pt x="1640681" y="235744"/>
                    <a:pt x="1640681" y="226219"/>
                  </a:cubicBezTo>
                  <a:cubicBezTo>
                    <a:pt x="1639729" y="226219"/>
                    <a:pt x="1639729" y="226219"/>
                    <a:pt x="1640681" y="226219"/>
                  </a:cubicBezTo>
                  <a:close/>
                  <a:moveTo>
                    <a:pt x="1620679" y="348139"/>
                  </a:moveTo>
                  <a:cubicBezTo>
                    <a:pt x="1620679" y="349091"/>
                    <a:pt x="1620679" y="350044"/>
                    <a:pt x="1620679" y="351949"/>
                  </a:cubicBezTo>
                  <a:cubicBezTo>
                    <a:pt x="1620679" y="352901"/>
                    <a:pt x="1620679" y="353854"/>
                    <a:pt x="1620679" y="353854"/>
                  </a:cubicBezTo>
                  <a:cubicBezTo>
                    <a:pt x="1619726" y="354806"/>
                    <a:pt x="1619726" y="355759"/>
                    <a:pt x="1618774" y="356711"/>
                  </a:cubicBezTo>
                  <a:cubicBezTo>
                    <a:pt x="1619726" y="353854"/>
                    <a:pt x="1620679" y="350044"/>
                    <a:pt x="1620679" y="348139"/>
                  </a:cubicBezTo>
                  <a:close/>
                  <a:moveTo>
                    <a:pt x="1618774" y="311944"/>
                  </a:moveTo>
                  <a:cubicBezTo>
                    <a:pt x="1617821" y="312896"/>
                    <a:pt x="1617821" y="313849"/>
                    <a:pt x="1616869" y="315754"/>
                  </a:cubicBezTo>
                  <a:cubicBezTo>
                    <a:pt x="1613059" y="323374"/>
                    <a:pt x="1609249" y="332899"/>
                    <a:pt x="1605439" y="343376"/>
                  </a:cubicBezTo>
                  <a:cubicBezTo>
                    <a:pt x="1604486" y="345281"/>
                    <a:pt x="1603534" y="348139"/>
                    <a:pt x="1602581" y="350996"/>
                  </a:cubicBezTo>
                  <a:cubicBezTo>
                    <a:pt x="1602581" y="348139"/>
                    <a:pt x="1602581" y="345281"/>
                    <a:pt x="1602581" y="342424"/>
                  </a:cubicBezTo>
                  <a:cubicBezTo>
                    <a:pt x="1605439" y="334804"/>
                    <a:pt x="1609249" y="328136"/>
                    <a:pt x="1613059" y="321469"/>
                  </a:cubicBezTo>
                  <a:cubicBezTo>
                    <a:pt x="1614964" y="317659"/>
                    <a:pt x="1617821" y="313849"/>
                    <a:pt x="1619726" y="310039"/>
                  </a:cubicBezTo>
                  <a:cubicBezTo>
                    <a:pt x="1618774" y="310991"/>
                    <a:pt x="1618774" y="310991"/>
                    <a:pt x="1618774" y="311944"/>
                  </a:cubicBezTo>
                  <a:close/>
                  <a:moveTo>
                    <a:pt x="1610201" y="269081"/>
                  </a:moveTo>
                  <a:cubicBezTo>
                    <a:pt x="1612106" y="265271"/>
                    <a:pt x="1613059" y="261461"/>
                    <a:pt x="1614011" y="258604"/>
                  </a:cubicBezTo>
                  <a:cubicBezTo>
                    <a:pt x="1614964" y="256699"/>
                    <a:pt x="1615916" y="254794"/>
                    <a:pt x="1616869" y="252889"/>
                  </a:cubicBezTo>
                  <a:cubicBezTo>
                    <a:pt x="1616869" y="264319"/>
                    <a:pt x="1617821" y="277654"/>
                    <a:pt x="1617821" y="292894"/>
                  </a:cubicBezTo>
                  <a:cubicBezTo>
                    <a:pt x="1617821" y="292894"/>
                    <a:pt x="1617821" y="293846"/>
                    <a:pt x="1617821" y="293846"/>
                  </a:cubicBezTo>
                  <a:cubicBezTo>
                    <a:pt x="1616869" y="291941"/>
                    <a:pt x="1615916" y="290036"/>
                    <a:pt x="1614011" y="289084"/>
                  </a:cubicBezTo>
                  <a:cubicBezTo>
                    <a:pt x="1611154" y="284321"/>
                    <a:pt x="1608296" y="280511"/>
                    <a:pt x="1606391" y="277654"/>
                  </a:cubicBezTo>
                  <a:cubicBezTo>
                    <a:pt x="1608296" y="274796"/>
                    <a:pt x="1609249" y="271939"/>
                    <a:pt x="1610201" y="269081"/>
                  </a:cubicBezTo>
                  <a:close/>
                  <a:moveTo>
                    <a:pt x="1600676" y="297656"/>
                  </a:moveTo>
                  <a:cubicBezTo>
                    <a:pt x="1602581" y="290989"/>
                    <a:pt x="1604486" y="285274"/>
                    <a:pt x="1606391" y="279559"/>
                  </a:cubicBezTo>
                  <a:cubicBezTo>
                    <a:pt x="1607344" y="282416"/>
                    <a:pt x="1609249" y="286226"/>
                    <a:pt x="1611154" y="290989"/>
                  </a:cubicBezTo>
                  <a:cubicBezTo>
                    <a:pt x="1613059" y="294799"/>
                    <a:pt x="1614964" y="298609"/>
                    <a:pt x="1616869" y="303371"/>
                  </a:cubicBezTo>
                  <a:cubicBezTo>
                    <a:pt x="1613059" y="307181"/>
                    <a:pt x="1610201" y="312896"/>
                    <a:pt x="1606391" y="317659"/>
                  </a:cubicBezTo>
                  <a:cubicBezTo>
                    <a:pt x="1604486" y="320516"/>
                    <a:pt x="1602581" y="322421"/>
                    <a:pt x="1601629" y="325279"/>
                  </a:cubicBezTo>
                  <a:cubicBezTo>
                    <a:pt x="1601629" y="323374"/>
                    <a:pt x="1601629" y="321469"/>
                    <a:pt x="1600676" y="319564"/>
                  </a:cubicBezTo>
                  <a:cubicBezTo>
                    <a:pt x="1600676" y="314801"/>
                    <a:pt x="1599724" y="310039"/>
                    <a:pt x="1599724" y="305276"/>
                  </a:cubicBezTo>
                  <a:cubicBezTo>
                    <a:pt x="1599724" y="302419"/>
                    <a:pt x="1600676" y="300514"/>
                    <a:pt x="1600676" y="297656"/>
                  </a:cubicBezTo>
                  <a:close/>
                  <a:moveTo>
                    <a:pt x="1567339" y="315754"/>
                  </a:moveTo>
                  <a:cubicBezTo>
                    <a:pt x="1567339" y="320516"/>
                    <a:pt x="1568291" y="325279"/>
                    <a:pt x="1568291" y="330041"/>
                  </a:cubicBezTo>
                  <a:cubicBezTo>
                    <a:pt x="1567339" y="326231"/>
                    <a:pt x="1567339" y="323374"/>
                    <a:pt x="1566386" y="320516"/>
                  </a:cubicBezTo>
                  <a:cubicBezTo>
                    <a:pt x="1567339" y="319564"/>
                    <a:pt x="1567339" y="317659"/>
                    <a:pt x="1567339" y="315754"/>
                  </a:cubicBezTo>
                  <a:close/>
                  <a:moveTo>
                    <a:pt x="1547336" y="265271"/>
                  </a:moveTo>
                  <a:cubicBezTo>
                    <a:pt x="1547336" y="269081"/>
                    <a:pt x="1546384" y="271939"/>
                    <a:pt x="1546384" y="275749"/>
                  </a:cubicBezTo>
                  <a:cubicBezTo>
                    <a:pt x="1546384" y="274796"/>
                    <a:pt x="1545431" y="273844"/>
                    <a:pt x="1545431" y="272891"/>
                  </a:cubicBezTo>
                  <a:cubicBezTo>
                    <a:pt x="1546384" y="270986"/>
                    <a:pt x="1546384" y="268129"/>
                    <a:pt x="1547336" y="265271"/>
                  </a:cubicBezTo>
                  <a:close/>
                  <a:moveTo>
                    <a:pt x="1541621" y="286226"/>
                  </a:moveTo>
                  <a:cubicBezTo>
                    <a:pt x="1542574" y="289084"/>
                    <a:pt x="1543526" y="290989"/>
                    <a:pt x="1543526" y="293846"/>
                  </a:cubicBezTo>
                  <a:cubicBezTo>
                    <a:pt x="1543526" y="295751"/>
                    <a:pt x="1542574" y="298609"/>
                    <a:pt x="1542574" y="301466"/>
                  </a:cubicBezTo>
                  <a:cubicBezTo>
                    <a:pt x="1541621" y="298609"/>
                    <a:pt x="1540669" y="294799"/>
                    <a:pt x="1539716" y="291941"/>
                  </a:cubicBezTo>
                  <a:cubicBezTo>
                    <a:pt x="1540669" y="289084"/>
                    <a:pt x="1541621" y="288131"/>
                    <a:pt x="1541621" y="286226"/>
                  </a:cubicBezTo>
                  <a:close/>
                  <a:moveTo>
                    <a:pt x="1537811" y="271939"/>
                  </a:moveTo>
                  <a:cubicBezTo>
                    <a:pt x="1537811" y="273844"/>
                    <a:pt x="1538764" y="274796"/>
                    <a:pt x="1538764" y="276701"/>
                  </a:cubicBezTo>
                  <a:cubicBezTo>
                    <a:pt x="1537811" y="277654"/>
                    <a:pt x="1537811" y="278606"/>
                    <a:pt x="1536859" y="280511"/>
                  </a:cubicBezTo>
                  <a:cubicBezTo>
                    <a:pt x="1537811" y="276701"/>
                    <a:pt x="1537811" y="273844"/>
                    <a:pt x="1537811" y="271939"/>
                  </a:cubicBezTo>
                  <a:close/>
                  <a:moveTo>
                    <a:pt x="1533049" y="338614"/>
                  </a:moveTo>
                  <a:cubicBezTo>
                    <a:pt x="1533049" y="337661"/>
                    <a:pt x="1533049" y="336709"/>
                    <a:pt x="1533049" y="335756"/>
                  </a:cubicBezTo>
                  <a:cubicBezTo>
                    <a:pt x="1534001" y="340519"/>
                    <a:pt x="1534954" y="345281"/>
                    <a:pt x="1535906" y="350044"/>
                  </a:cubicBezTo>
                  <a:cubicBezTo>
                    <a:pt x="1536859" y="352901"/>
                    <a:pt x="1536859" y="354806"/>
                    <a:pt x="1536859" y="357664"/>
                  </a:cubicBezTo>
                  <a:cubicBezTo>
                    <a:pt x="1536859" y="359569"/>
                    <a:pt x="1536859" y="360521"/>
                    <a:pt x="1536859" y="362426"/>
                  </a:cubicBezTo>
                  <a:cubicBezTo>
                    <a:pt x="1536859" y="362426"/>
                    <a:pt x="1536859" y="362426"/>
                    <a:pt x="1536859" y="362426"/>
                  </a:cubicBezTo>
                  <a:cubicBezTo>
                    <a:pt x="1534954" y="356711"/>
                    <a:pt x="1533049" y="351949"/>
                    <a:pt x="1532096" y="346234"/>
                  </a:cubicBezTo>
                  <a:cubicBezTo>
                    <a:pt x="1533049" y="343376"/>
                    <a:pt x="1533049" y="341471"/>
                    <a:pt x="1533049" y="338614"/>
                  </a:cubicBezTo>
                  <a:close/>
                  <a:moveTo>
                    <a:pt x="1519714" y="270986"/>
                  </a:moveTo>
                  <a:cubicBezTo>
                    <a:pt x="1521619" y="279559"/>
                    <a:pt x="1523524" y="288131"/>
                    <a:pt x="1525429" y="297656"/>
                  </a:cubicBezTo>
                  <a:cubicBezTo>
                    <a:pt x="1525429" y="298609"/>
                    <a:pt x="1525429" y="299561"/>
                    <a:pt x="1524476" y="301466"/>
                  </a:cubicBezTo>
                  <a:cubicBezTo>
                    <a:pt x="1523524" y="306229"/>
                    <a:pt x="1522571" y="310991"/>
                    <a:pt x="1521619" y="315754"/>
                  </a:cubicBezTo>
                  <a:cubicBezTo>
                    <a:pt x="1520666" y="313849"/>
                    <a:pt x="1520666" y="311944"/>
                    <a:pt x="1519714" y="310991"/>
                  </a:cubicBezTo>
                  <a:cubicBezTo>
                    <a:pt x="1519714" y="295751"/>
                    <a:pt x="1518761" y="281464"/>
                    <a:pt x="1517809" y="268129"/>
                  </a:cubicBezTo>
                  <a:cubicBezTo>
                    <a:pt x="1519714" y="268129"/>
                    <a:pt x="1519714" y="269081"/>
                    <a:pt x="1519714" y="270986"/>
                  </a:cubicBezTo>
                  <a:close/>
                  <a:moveTo>
                    <a:pt x="1503521" y="302419"/>
                  </a:moveTo>
                  <a:cubicBezTo>
                    <a:pt x="1503521" y="306229"/>
                    <a:pt x="1503521" y="310039"/>
                    <a:pt x="1502569" y="313849"/>
                  </a:cubicBezTo>
                  <a:cubicBezTo>
                    <a:pt x="1502569" y="318611"/>
                    <a:pt x="1502569" y="324326"/>
                    <a:pt x="1502569" y="330041"/>
                  </a:cubicBezTo>
                  <a:cubicBezTo>
                    <a:pt x="1502569" y="330041"/>
                    <a:pt x="1502569" y="330041"/>
                    <a:pt x="1501616" y="329089"/>
                  </a:cubicBezTo>
                  <a:cubicBezTo>
                    <a:pt x="1500664" y="323374"/>
                    <a:pt x="1498759" y="317659"/>
                    <a:pt x="1497806" y="311944"/>
                  </a:cubicBezTo>
                  <a:cubicBezTo>
                    <a:pt x="1500664" y="309086"/>
                    <a:pt x="1502569" y="306229"/>
                    <a:pt x="1503521" y="302419"/>
                  </a:cubicBezTo>
                  <a:close/>
                  <a:moveTo>
                    <a:pt x="1477804" y="272891"/>
                  </a:moveTo>
                  <a:cubicBezTo>
                    <a:pt x="1477804" y="273844"/>
                    <a:pt x="1477804" y="273844"/>
                    <a:pt x="1477804" y="272891"/>
                  </a:cubicBezTo>
                  <a:cubicBezTo>
                    <a:pt x="1477804" y="275749"/>
                    <a:pt x="1477804" y="278606"/>
                    <a:pt x="1477804" y="282416"/>
                  </a:cubicBezTo>
                  <a:cubicBezTo>
                    <a:pt x="1477804" y="286226"/>
                    <a:pt x="1476851" y="290989"/>
                    <a:pt x="1476851" y="294799"/>
                  </a:cubicBezTo>
                  <a:cubicBezTo>
                    <a:pt x="1476851" y="294799"/>
                    <a:pt x="1476851" y="295751"/>
                    <a:pt x="1475899" y="295751"/>
                  </a:cubicBezTo>
                  <a:cubicBezTo>
                    <a:pt x="1475899" y="290989"/>
                    <a:pt x="1474946" y="286226"/>
                    <a:pt x="1474946" y="282416"/>
                  </a:cubicBezTo>
                  <a:cubicBezTo>
                    <a:pt x="1475899" y="279559"/>
                    <a:pt x="1476851" y="276701"/>
                    <a:pt x="1477804" y="272891"/>
                  </a:cubicBezTo>
                  <a:close/>
                  <a:moveTo>
                    <a:pt x="1461611" y="326231"/>
                  </a:moveTo>
                  <a:cubicBezTo>
                    <a:pt x="1461611" y="327184"/>
                    <a:pt x="1461611" y="327184"/>
                    <a:pt x="1461611" y="328136"/>
                  </a:cubicBezTo>
                  <a:cubicBezTo>
                    <a:pt x="1461611" y="329089"/>
                    <a:pt x="1460659" y="329089"/>
                    <a:pt x="1460659" y="330041"/>
                  </a:cubicBezTo>
                  <a:cubicBezTo>
                    <a:pt x="1460659" y="330041"/>
                    <a:pt x="1460659" y="330041"/>
                    <a:pt x="1460659" y="329089"/>
                  </a:cubicBezTo>
                  <a:cubicBezTo>
                    <a:pt x="1460659" y="328136"/>
                    <a:pt x="1460659" y="327184"/>
                    <a:pt x="1461611" y="326231"/>
                  </a:cubicBezTo>
                  <a:close/>
                  <a:moveTo>
                    <a:pt x="1457801" y="309086"/>
                  </a:moveTo>
                  <a:cubicBezTo>
                    <a:pt x="1456849" y="310039"/>
                    <a:pt x="1456849" y="310039"/>
                    <a:pt x="1457801" y="309086"/>
                  </a:cubicBezTo>
                  <a:cubicBezTo>
                    <a:pt x="1456849" y="307181"/>
                    <a:pt x="1456849" y="305276"/>
                    <a:pt x="1455896" y="302419"/>
                  </a:cubicBezTo>
                  <a:cubicBezTo>
                    <a:pt x="1455896" y="305276"/>
                    <a:pt x="1456849" y="307181"/>
                    <a:pt x="1457801" y="309086"/>
                  </a:cubicBezTo>
                  <a:close/>
                  <a:moveTo>
                    <a:pt x="1442561" y="328136"/>
                  </a:moveTo>
                  <a:cubicBezTo>
                    <a:pt x="1442561" y="324326"/>
                    <a:pt x="1442561" y="321469"/>
                    <a:pt x="1442561" y="318611"/>
                  </a:cubicBezTo>
                  <a:cubicBezTo>
                    <a:pt x="1443514" y="323374"/>
                    <a:pt x="1443514" y="329089"/>
                    <a:pt x="1444466" y="333851"/>
                  </a:cubicBezTo>
                  <a:cubicBezTo>
                    <a:pt x="1443514" y="332899"/>
                    <a:pt x="1443514" y="330994"/>
                    <a:pt x="1442561" y="330041"/>
                  </a:cubicBezTo>
                  <a:cubicBezTo>
                    <a:pt x="1442561" y="330041"/>
                    <a:pt x="1442561" y="329089"/>
                    <a:pt x="1442561" y="328136"/>
                  </a:cubicBezTo>
                  <a:close/>
                  <a:moveTo>
                    <a:pt x="1415891" y="281464"/>
                  </a:moveTo>
                  <a:cubicBezTo>
                    <a:pt x="1415891" y="284321"/>
                    <a:pt x="1415891" y="286226"/>
                    <a:pt x="1415891" y="289084"/>
                  </a:cubicBezTo>
                  <a:cubicBezTo>
                    <a:pt x="1415891" y="289084"/>
                    <a:pt x="1415891" y="289084"/>
                    <a:pt x="1415891" y="289084"/>
                  </a:cubicBezTo>
                  <a:cubicBezTo>
                    <a:pt x="1414939" y="288131"/>
                    <a:pt x="1413986" y="287179"/>
                    <a:pt x="1413034" y="286226"/>
                  </a:cubicBezTo>
                  <a:cubicBezTo>
                    <a:pt x="1414939" y="284321"/>
                    <a:pt x="1415891" y="282416"/>
                    <a:pt x="1415891" y="281464"/>
                  </a:cubicBezTo>
                  <a:close/>
                  <a:moveTo>
                    <a:pt x="1412081" y="290036"/>
                  </a:moveTo>
                  <a:cubicBezTo>
                    <a:pt x="1413034" y="290989"/>
                    <a:pt x="1413034" y="291941"/>
                    <a:pt x="1413986" y="292894"/>
                  </a:cubicBezTo>
                  <a:cubicBezTo>
                    <a:pt x="1414939" y="293846"/>
                    <a:pt x="1414939" y="294799"/>
                    <a:pt x="1415891" y="295751"/>
                  </a:cubicBezTo>
                  <a:cubicBezTo>
                    <a:pt x="1415891" y="297656"/>
                    <a:pt x="1415891" y="299561"/>
                    <a:pt x="1415891" y="300514"/>
                  </a:cubicBezTo>
                  <a:cubicBezTo>
                    <a:pt x="1413986" y="296704"/>
                    <a:pt x="1413034" y="293846"/>
                    <a:pt x="1412081" y="290036"/>
                  </a:cubicBezTo>
                  <a:cubicBezTo>
                    <a:pt x="1412081" y="290036"/>
                    <a:pt x="1412081" y="290036"/>
                    <a:pt x="1412081" y="290036"/>
                  </a:cubicBezTo>
                  <a:close/>
                  <a:moveTo>
                    <a:pt x="1383506" y="364331"/>
                  </a:moveTo>
                  <a:cubicBezTo>
                    <a:pt x="1383506" y="362426"/>
                    <a:pt x="1383506" y="360521"/>
                    <a:pt x="1382554" y="358616"/>
                  </a:cubicBezTo>
                  <a:cubicBezTo>
                    <a:pt x="1382554" y="358616"/>
                    <a:pt x="1382554" y="357664"/>
                    <a:pt x="1382554" y="357664"/>
                  </a:cubicBezTo>
                  <a:cubicBezTo>
                    <a:pt x="1382554" y="358616"/>
                    <a:pt x="1383506" y="360521"/>
                    <a:pt x="1383506" y="362426"/>
                  </a:cubicBezTo>
                  <a:cubicBezTo>
                    <a:pt x="1384459" y="363379"/>
                    <a:pt x="1384459" y="363379"/>
                    <a:pt x="1383506" y="364331"/>
                  </a:cubicBezTo>
                  <a:close/>
                  <a:moveTo>
                    <a:pt x="1386364" y="298609"/>
                  </a:moveTo>
                  <a:cubicBezTo>
                    <a:pt x="1386364" y="298609"/>
                    <a:pt x="1386364" y="298609"/>
                    <a:pt x="1386364" y="298609"/>
                  </a:cubicBezTo>
                  <a:cubicBezTo>
                    <a:pt x="1385411" y="296704"/>
                    <a:pt x="1385411" y="295751"/>
                    <a:pt x="1384459" y="293846"/>
                  </a:cubicBezTo>
                  <a:cubicBezTo>
                    <a:pt x="1385411" y="292894"/>
                    <a:pt x="1385411" y="291941"/>
                    <a:pt x="1386364" y="290989"/>
                  </a:cubicBezTo>
                  <a:cubicBezTo>
                    <a:pt x="1388269" y="289084"/>
                    <a:pt x="1389221" y="287179"/>
                    <a:pt x="1391126" y="286226"/>
                  </a:cubicBezTo>
                  <a:cubicBezTo>
                    <a:pt x="1389221" y="290036"/>
                    <a:pt x="1387316" y="293846"/>
                    <a:pt x="1386364" y="298609"/>
                  </a:cubicBezTo>
                  <a:close/>
                  <a:moveTo>
                    <a:pt x="1383506" y="287179"/>
                  </a:moveTo>
                  <a:cubicBezTo>
                    <a:pt x="1383506" y="287179"/>
                    <a:pt x="1382554" y="288131"/>
                    <a:pt x="1382554" y="288131"/>
                  </a:cubicBezTo>
                  <a:cubicBezTo>
                    <a:pt x="1380649" y="283369"/>
                    <a:pt x="1378744" y="278606"/>
                    <a:pt x="1376839" y="274796"/>
                  </a:cubicBezTo>
                  <a:cubicBezTo>
                    <a:pt x="1379696" y="262414"/>
                    <a:pt x="1382554" y="251936"/>
                    <a:pt x="1384459" y="242411"/>
                  </a:cubicBezTo>
                  <a:cubicBezTo>
                    <a:pt x="1385411" y="250031"/>
                    <a:pt x="1387316" y="263366"/>
                    <a:pt x="1390174" y="281464"/>
                  </a:cubicBezTo>
                  <a:cubicBezTo>
                    <a:pt x="1388269" y="283369"/>
                    <a:pt x="1386364" y="285274"/>
                    <a:pt x="1383506" y="287179"/>
                  </a:cubicBezTo>
                  <a:close/>
                  <a:moveTo>
                    <a:pt x="1391126" y="310991"/>
                  </a:moveTo>
                  <a:cubicBezTo>
                    <a:pt x="1392079" y="307181"/>
                    <a:pt x="1392079" y="303371"/>
                    <a:pt x="1393031" y="299561"/>
                  </a:cubicBezTo>
                  <a:cubicBezTo>
                    <a:pt x="1393031" y="299561"/>
                    <a:pt x="1393031" y="298609"/>
                    <a:pt x="1393031" y="298609"/>
                  </a:cubicBezTo>
                  <a:cubicBezTo>
                    <a:pt x="1393031" y="300514"/>
                    <a:pt x="1393984" y="303371"/>
                    <a:pt x="1393984" y="305276"/>
                  </a:cubicBezTo>
                  <a:cubicBezTo>
                    <a:pt x="1393984" y="308134"/>
                    <a:pt x="1392079" y="309086"/>
                    <a:pt x="1391126" y="310991"/>
                  </a:cubicBezTo>
                  <a:close/>
                  <a:moveTo>
                    <a:pt x="1397794" y="278606"/>
                  </a:moveTo>
                  <a:cubicBezTo>
                    <a:pt x="1397794" y="278606"/>
                    <a:pt x="1397794" y="278606"/>
                    <a:pt x="1397794" y="278606"/>
                  </a:cubicBezTo>
                  <a:cubicBezTo>
                    <a:pt x="1397794" y="278606"/>
                    <a:pt x="1397794" y="279559"/>
                    <a:pt x="1397794" y="279559"/>
                  </a:cubicBezTo>
                  <a:cubicBezTo>
                    <a:pt x="1397794" y="279559"/>
                    <a:pt x="1397794" y="279559"/>
                    <a:pt x="1397794" y="278606"/>
                  </a:cubicBezTo>
                  <a:cubicBezTo>
                    <a:pt x="1397794" y="278606"/>
                    <a:pt x="1397794" y="278606"/>
                    <a:pt x="1397794" y="278606"/>
                  </a:cubicBezTo>
                  <a:close/>
                  <a:moveTo>
                    <a:pt x="1397794" y="322421"/>
                  </a:moveTo>
                  <a:cubicBezTo>
                    <a:pt x="1398746" y="325279"/>
                    <a:pt x="1398746" y="328136"/>
                    <a:pt x="1399699" y="331946"/>
                  </a:cubicBezTo>
                  <a:cubicBezTo>
                    <a:pt x="1399699" y="332899"/>
                    <a:pt x="1399699" y="332899"/>
                    <a:pt x="1399699" y="333851"/>
                  </a:cubicBezTo>
                  <a:cubicBezTo>
                    <a:pt x="1398746" y="330994"/>
                    <a:pt x="1397794" y="328136"/>
                    <a:pt x="1396841" y="326231"/>
                  </a:cubicBezTo>
                  <a:cubicBezTo>
                    <a:pt x="1396841" y="324326"/>
                    <a:pt x="1396841" y="323374"/>
                    <a:pt x="1397794" y="322421"/>
                  </a:cubicBezTo>
                  <a:close/>
                  <a:moveTo>
                    <a:pt x="1387316" y="231934"/>
                  </a:moveTo>
                  <a:cubicBezTo>
                    <a:pt x="1389221" y="242411"/>
                    <a:pt x="1392079" y="255746"/>
                    <a:pt x="1395889" y="270986"/>
                  </a:cubicBezTo>
                  <a:cubicBezTo>
                    <a:pt x="1395889" y="271939"/>
                    <a:pt x="1395889" y="271939"/>
                    <a:pt x="1394936" y="272891"/>
                  </a:cubicBezTo>
                  <a:cubicBezTo>
                    <a:pt x="1390174" y="257651"/>
                    <a:pt x="1386364" y="246221"/>
                    <a:pt x="1384459" y="240506"/>
                  </a:cubicBezTo>
                  <a:cubicBezTo>
                    <a:pt x="1386364" y="237649"/>
                    <a:pt x="1387316" y="234791"/>
                    <a:pt x="1387316" y="231934"/>
                  </a:cubicBezTo>
                  <a:close/>
                  <a:moveTo>
                    <a:pt x="1380649" y="232886"/>
                  </a:moveTo>
                  <a:cubicBezTo>
                    <a:pt x="1382554" y="230029"/>
                    <a:pt x="1384459" y="227171"/>
                    <a:pt x="1386364" y="225266"/>
                  </a:cubicBezTo>
                  <a:cubicBezTo>
                    <a:pt x="1386364" y="225266"/>
                    <a:pt x="1386364" y="225266"/>
                    <a:pt x="1386364" y="225266"/>
                  </a:cubicBezTo>
                  <a:cubicBezTo>
                    <a:pt x="1382554" y="234791"/>
                    <a:pt x="1377791" y="247174"/>
                    <a:pt x="1372076" y="262414"/>
                  </a:cubicBezTo>
                  <a:cubicBezTo>
                    <a:pt x="1371124" y="260509"/>
                    <a:pt x="1371124" y="259556"/>
                    <a:pt x="1370171" y="257651"/>
                  </a:cubicBezTo>
                  <a:cubicBezTo>
                    <a:pt x="1369219" y="256699"/>
                    <a:pt x="1369219" y="255746"/>
                    <a:pt x="1369219" y="253841"/>
                  </a:cubicBezTo>
                  <a:cubicBezTo>
                    <a:pt x="1373029" y="245269"/>
                    <a:pt x="1376839" y="238601"/>
                    <a:pt x="1380649" y="232886"/>
                  </a:cubicBezTo>
                  <a:close/>
                  <a:moveTo>
                    <a:pt x="1356836" y="300514"/>
                  </a:moveTo>
                  <a:cubicBezTo>
                    <a:pt x="1356836" y="301466"/>
                    <a:pt x="1356836" y="301466"/>
                    <a:pt x="1356836" y="302419"/>
                  </a:cubicBezTo>
                  <a:cubicBezTo>
                    <a:pt x="1356836" y="303371"/>
                    <a:pt x="1356836" y="303371"/>
                    <a:pt x="1355884" y="304324"/>
                  </a:cubicBezTo>
                  <a:cubicBezTo>
                    <a:pt x="1355884" y="302419"/>
                    <a:pt x="1355884" y="301466"/>
                    <a:pt x="1355884" y="299561"/>
                  </a:cubicBezTo>
                  <a:cubicBezTo>
                    <a:pt x="1355884" y="299561"/>
                    <a:pt x="1356836" y="299561"/>
                    <a:pt x="1356836" y="300514"/>
                  </a:cubicBezTo>
                  <a:close/>
                  <a:moveTo>
                    <a:pt x="1339691" y="325279"/>
                  </a:moveTo>
                  <a:cubicBezTo>
                    <a:pt x="1339691" y="325279"/>
                    <a:pt x="1339691" y="324326"/>
                    <a:pt x="1339691" y="324326"/>
                  </a:cubicBezTo>
                  <a:cubicBezTo>
                    <a:pt x="1340644" y="322421"/>
                    <a:pt x="1341596" y="319564"/>
                    <a:pt x="1341596" y="317659"/>
                  </a:cubicBezTo>
                  <a:cubicBezTo>
                    <a:pt x="1341596" y="317659"/>
                    <a:pt x="1341596" y="317659"/>
                    <a:pt x="1341596" y="317659"/>
                  </a:cubicBezTo>
                  <a:cubicBezTo>
                    <a:pt x="1341596" y="322421"/>
                    <a:pt x="1341596" y="326231"/>
                    <a:pt x="1341596" y="330994"/>
                  </a:cubicBezTo>
                  <a:cubicBezTo>
                    <a:pt x="1341596" y="328136"/>
                    <a:pt x="1340644" y="326231"/>
                    <a:pt x="1339691" y="325279"/>
                  </a:cubicBezTo>
                  <a:close/>
                  <a:moveTo>
                    <a:pt x="1340644" y="226219"/>
                  </a:moveTo>
                  <a:cubicBezTo>
                    <a:pt x="1340644" y="225266"/>
                    <a:pt x="1340644" y="225266"/>
                    <a:pt x="1340644" y="226219"/>
                  </a:cubicBezTo>
                  <a:cubicBezTo>
                    <a:pt x="1341596" y="229076"/>
                    <a:pt x="1343501" y="232886"/>
                    <a:pt x="1344454" y="237649"/>
                  </a:cubicBezTo>
                  <a:cubicBezTo>
                    <a:pt x="1344454" y="239554"/>
                    <a:pt x="1344454" y="240506"/>
                    <a:pt x="1344454" y="242411"/>
                  </a:cubicBezTo>
                  <a:cubicBezTo>
                    <a:pt x="1344454" y="249079"/>
                    <a:pt x="1343501" y="256699"/>
                    <a:pt x="1343501" y="264319"/>
                  </a:cubicBezTo>
                  <a:cubicBezTo>
                    <a:pt x="1343501" y="267176"/>
                    <a:pt x="1343501" y="270034"/>
                    <a:pt x="1343501" y="272891"/>
                  </a:cubicBezTo>
                  <a:cubicBezTo>
                    <a:pt x="1341596" y="271939"/>
                    <a:pt x="1340644" y="270034"/>
                    <a:pt x="1339691" y="269081"/>
                  </a:cubicBezTo>
                  <a:cubicBezTo>
                    <a:pt x="1338739" y="252889"/>
                    <a:pt x="1339691" y="238601"/>
                    <a:pt x="1340644" y="226219"/>
                  </a:cubicBezTo>
                  <a:close/>
                  <a:moveTo>
                    <a:pt x="1337786" y="295751"/>
                  </a:moveTo>
                  <a:cubicBezTo>
                    <a:pt x="1337786" y="288131"/>
                    <a:pt x="1338739" y="279559"/>
                    <a:pt x="1338739" y="271939"/>
                  </a:cubicBezTo>
                  <a:cubicBezTo>
                    <a:pt x="1339691" y="272891"/>
                    <a:pt x="1341596" y="274796"/>
                    <a:pt x="1342549" y="276701"/>
                  </a:cubicBezTo>
                  <a:cubicBezTo>
                    <a:pt x="1342549" y="276701"/>
                    <a:pt x="1342549" y="276701"/>
                    <a:pt x="1342549" y="276701"/>
                  </a:cubicBezTo>
                  <a:cubicBezTo>
                    <a:pt x="1342549" y="279559"/>
                    <a:pt x="1342549" y="283369"/>
                    <a:pt x="1342549" y="286226"/>
                  </a:cubicBezTo>
                  <a:cubicBezTo>
                    <a:pt x="1340644" y="290036"/>
                    <a:pt x="1338739" y="292894"/>
                    <a:pt x="1337786" y="295751"/>
                  </a:cubicBezTo>
                  <a:cubicBezTo>
                    <a:pt x="1337786" y="296704"/>
                    <a:pt x="1337786" y="296704"/>
                    <a:pt x="1337786" y="296704"/>
                  </a:cubicBezTo>
                  <a:cubicBezTo>
                    <a:pt x="1337786" y="296704"/>
                    <a:pt x="1337786" y="295751"/>
                    <a:pt x="1337786" y="295751"/>
                  </a:cubicBezTo>
                  <a:close/>
                  <a:moveTo>
                    <a:pt x="1314926" y="320516"/>
                  </a:moveTo>
                  <a:cubicBezTo>
                    <a:pt x="1314926" y="320516"/>
                    <a:pt x="1314926" y="320516"/>
                    <a:pt x="1314926" y="320516"/>
                  </a:cubicBezTo>
                  <a:cubicBezTo>
                    <a:pt x="1314926" y="320516"/>
                    <a:pt x="1314926" y="320516"/>
                    <a:pt x="1314926" y="320516"/>
                  </a:cubicBezTo>
                  <a:cubicBezTo>
                    <a:pt x="1314926" y="320516"/>
                    <a:pt x="1314926" y="320516"/>
                    <a:pt x="1314926" y="320516"/>
                  </a:cubicBezTo>
                  <a:close/>
                  <a:moveTo>
                    <a:pt x="1311116" y="312896"/>
                  </a:moveTo>
                  <a:cubicBezTo>
                    <a:pt x="1311116" y="312896"/>
                    <a:pt x="1312069" y="313849"/>
                    <a:pt x="1311116" y="312896"/>
                  </a:cubicBezTo>
                  <a:cubicBezTo>
                    <a:pt x="1311116" y="313849"/>
                    <a:pt x="1311116" y="313849"/>
                    <a:pt x="1311116" y="314801"/>
                  </a:cubicBezTo>
                  <a:cubicBezTo>
                    <a:pt x="1311116" y="314801"/>
                    <a:pt x="1311116" y="314801"/>
                    <a:pt x="1311116" y="314801"/>
                  </a:cubicBezTo>
                  <a:cubicBezTo>
                    <a:pt x="1311116" y="313849"/>
                    <a:pt x="1311116" y="313849"/>
                    <a:pt x="1311116" y="312896"/>
                  </a:cubicBezTo>
                  <a:close/>
                  <a:moveTo>
                    <a:pt x="1242536" y="344329"/>
                  </a:moveTo>
                  <a:cubicBezTo>
                    <a:pt x="1241584" y="341471"/>
                    <a:pt x="1239679" y="339566"/>
                    <a:pt x="1238726" y="336709"/>
                  </a:cubicBezTo>
                  <a:cubicBezTo>
                    <a:pt x="1238726" y="328136"/>
                    <a:pt x="1238726" y="318611"/>
                    <a:pt x="1238726" y="310991"/>
                  </a:cubicBezTo>
                  <a:cubicBezTo>
                    <a:pt x="1238726" y="309086"/>
                    <a:pt x="1238726" y="308134"/>
                    <a:pt x="1238726" y="307181"/>
                  </a:cubicBezTo>
                  <a:cubicBezTo>
                    <a:pt x="1240631" y="317659"/>
                    <a:pt x="1241584" y="328136"/>
                    <a:pt x="1244441" y="339566"/>
                  </a:cubicBezTo>
                  <a:cubicBezTo>
                    <a:pt x="1244441" y="339566"/>
                    <a:pt x="1244441" y="340519"/>
                    <a:pt x="1244441" y="340519"/>
                  </a:cubicBezTo>
                  <a:cubicBezTo>
                    <a:pt x="1243489" y="341471"/>
                    <a:pt x="1242536" y="343376"/>
                    <a:pt x="1242536" y="344329"/>
                  </a:cubicBezTo>
                  <a:close/>
                  <a:moveTo>
                    <a:pt x="1279684" y="290989"/>
                  </a:moveTo>
                  <a:cubicBezTo>
                    <a:pt x="1279684" y="289084"/>
                    <a:pt x="1279684" y="286226"/>
                    <a:pt x="1279684" y="284321"/>
                  </a:cubicBezTo>
                  <a:cubicBezTo>
                    <a:pt x="1280636" y="285274"/>
                    <a:pt x="1280636" y="286226"/>
                    <a:pt x="1281589" y="287179"/>
                  </a:cubicBezTo>
                  <a:cubicBezTo>
                    <a:pt x="1280636" y="289084"/>
                    <a:pt x="1279684" y="290036"/>
                    <a:pt x="1279684" y="290989"/>
                  </a:cubicBezTo>
                  <a:close/>
                  <a:moveTo>
                    <a:pt x="1298734" y="332899"/>
                  </a:moveTo>
                  <a:cubicBezTo>
                    <a:pt x="1298734" y="332899"/>
                    <a:pt x="1298734" y="332899"/>
                    <a:pt x="1298734" y="332899"/>
                  </a:cubicBezTo>
                  <a:cubicBezTo>
                    <a:pt x="1298734" y="331946"/>
                    <a:pt x="1298734" y="331946"/>
                    <a:pt x="1298734" y="330994"/>
                  </a:cubicBezTo>
                  <a:cubicBezTo>
                    <a:pt x="1298734" y="331946"/>
                    <a:pt x="1298734" y="332899"/>
                    <a:pt x="1298734" y="332899"/>
                  </a:cubicBezTo>
                  <a:close/>
                  <a:moveTo>
                    <a:pt x="1295876" y="278606"/>
                  </a:moveTo>
                  <a:cubicBezTo>
                    <a:pt x="1298734" y="285274"/>
                    <a:pt x="1301591" y="291941"/>
                    <a:pt x="1305401" y="299561"/>
                  </a:cubicBezTo>
                  <a:cubicBezTo>
                    <a:pt x="1305401" y="299561"/>
                    <a:pt x="1305401" y="299561"/>
                    <a:pt x="1305401" y="300514"/>
                  </a:cubicBezTo>
                  <a:cubicBezTo>
                    <a:pt x="1305401" y="301466"/>
                    <a:pt x="1305401" y="302419"/>
                    <a:pt x="1304449" y="303371"/>
                  </a:cubicBezTo>
                  <a:cubicBezTo>
                    <a:pt x="1303496" y="300514"/>
                    <a:pt x="1301591" y="298609"/>
                    <a:pt x="1300639" y="295751"/>
                  </a:cubicBezTo>
                  <a:cubicBezTo>
                    <a:pt x="1298734" y="291941"/>
                    <a:pt x="1296829" y="288131"/>
                    <a:pt x="1293971" y="284321"/>
                  </a:cubicBezTo>
                  <a:cubicBezTo>
                    <a:pt x="1294924" y="282416"/>
                    <a:pt x="1295876" y="280511"/>
                    <a:pt x="1295876" y="278606"/>
                  </a:cubicBezTo>
                  <a:close/>
                  <a:moveTo>
                    <a:pt x="1299686" y="328136"/>
                  </a:moveTo>
                  <a:cubicBezTo>
                    <a:pt x="1299686" y="329089"/>
                    <a:pt x="1299686" y="329089"/>
                    <a:pt x="1299686" y="330041"/>
                  </a:cubicBezTo>
                  <a:cubicBezTo>
                    <a:pt x="1299686" y="330041"/>
                    <a:pt x="1298734" y="330994"/>
                    <a:pt x="1298734" y="331946"/>
                  </a:cubicBezTo>
                  <a:cubicBezTo>
                    <a:pt x="1296829" y="329089"/>
                    <a:pt x="1294924" y="326231"/>
                    <a:pt x="1293019" y="324326"/>
                  </a:cubicBezTo>
                  <a:cubicBezTo>
                    <a:pt x="1292066" y="322421"/>
                    <a:pt x="1290161" y="320516"/>
                    <a:pt x="1289209" y="318611"/>
                  </a:cubicBezTo>
                  <a:cubicBezTo>
                    <a:pt x="1289209" y="318611"/>
                    <a:pt x="1289209" y="318611"/>
                    <a:pt x="1289209" y="318611"/>
                  </a:cubicBezTo>
                  <a:cubicBezTo>
                    <a:pt x="1289209" y="314801"/>
                    <a:pt x="1289209" y="311944"/>
                    <a:pt x="1289209" y="309086"/>
                  </a:cubicBezTo>
                  <a:cubicBezTo>
                    <a:pt x="1289209" y="308134"/>
                    <a:pt x="1290161" y="306229"/>
                    <a:pt x="1290161" y="305276"/>
                  </a:cubicBezTo>
                  <a:cubicBezTo>
                    <a:pt x="1293019" y="311944"/>
                    <a:pt x="1296829" y="319564"/>
                    <a:pt x="1299686" y="328136"/>
                  </a:cubicBezTo>
                  <a:close/>
                  <a:moveTo>
                    <a:pt x="1289209" y="263366"/>
                  </a:moveTo>
                  <a:cubicBezTo>
                    <a:pt x="1288256" y="265271"/>
                    <a:pt x="1288256" y="266224"/>
                    <a:pt x="1287304" y="268129"/>
                  </a:cubicBezTo>
                  <a:cubicBezTo>
                    <a:pt x="1287304" y="265271"/>
                    <a:pt x="1287304" y="262414"/>
                    <a:pt x="1287304" y="259556"/>
                  </a:cubicBezTo>
                  <a:cubicBezTo>
                    <a:pt x="1287304" y="260509"/>
                    <a:pt x="1288256" y="262414"/>
                    <a:pt x="1289209" y="263366"/>
                  </a:cubicBezTo>
                  <a:close/>
                  <a:moveTo>
                    <a:pt x="1276826" y="238601"/>
                  </a:moveTo>
                  <a:cubicBezTo>
                    <a:pt x="1277779" y="239554"/>
                    <a:pt x="1277779" y="240506"/>
                    <a:pt x="1278731" y="242411"/>
                  </a:cubicBezTo>
                  <a:cubicBezTo>
                    <a:pt x="1280636" y="246221"/>
                    <a:pt x="1283494" y="251936"/>
                    <a:pt x="1286351" y="257651"/>
                  </a:cubicBezTo>
                  <a:cubicBezTo>
                    <a:pt x="1286351" y="260509"/>
                    <a:pt x="1285399" y="263366"/>
                    <a:pt x="1285399" y="267176"/>
                  </a:cubicBezTo>
                  <a:cubicBezTo>
                    <a:pt x="1282541" y="263366"/>
                    <a:pt x="1280636" y="259556"/>
                    <a:pt x="1277779" y="255746"/>
                  </a:cubicBezTo>
                  <a:cubicBezTo>
                    <a:pt x="1277779" y="250031"/>
                    <a:pt x="1276826" y="245269"/>
                    <a:pt x="1276826" y="242411"/>
                  </a:cubicBezTo>
                  <a:cubicBezTo>
                    <a:pt x="1276826" y="241459"/>
                    <a:pt x="1276826" y="239554"/>
                    <a:pt x="1276826" y="238601"/>
                  </a:cubicBezTo>
                  <a:close/>
                  <a:moveTo>
                    <a:pt x="1273016" y="271939"/>
                  </a:moveTo>
                  <a:cubicBezTo>
                    <a:pt x="1273016" y="271939"/>
                    <a:pt x="1273969" y="272891"/>
                    <a:pt x="1273969" y="272891"/>
                  </a:cubicBezTo>
                  <a:cubicBezTo>
                    <a:pt x="1273969" y="278606"/>
                    <a:pt x="1273016" y="284321"/>
                    <a:pt x="1273016" y="291941"/>
                  </a:cubicBezTo>
                  <a:cubicBezTo>
                    <a:pt x="1272064" y="290989"/>
                    <a:pt x="1272064" y="289084"/>
                    <a:pt x="1271111" y="288131"/>
                  </a:cubicBezTo>
                  <a:cubicBezTo>
                    <a:pt x="1271111" y="282416"/>
                    <a:pt x="1272064" y="276701"/>
                    <a:pt x="1273016" y="271939"/>
                  </a:cubicBezTo>
                  <a:close/>
                  <a:moveTo>
                    <a:pt x="1240631" y="229076"/>
                  </a:moveTo>
                  <a:cubicBezTo>
                    <a:pt x="1241584" y="226219"/>
                    <a:pt x="1243489" y="223361"/>
                    <a:pt x="1244441" y="220504"/>
                  </a:cubicBezTo>
                  <a:cubicBezTo>
                    <a:pt x="1247299" y="226219"/>
                    <a:pt x="1251109" y="230981"/>
                    <a:pt x="1253966" y="237649"/>
                  </a:cubicBezTo>
                  <a:cubicBezTo>
                    <a:pt x="1257776" y="244316"/>
                    <a:pt x="1260634" y="250031"/>
                    <a:pt x="1264444" y="257651"/>
                  </a:cubicBezTo>
                  <a:cubicBezTo>
                    <a:pt x="1265396" y="259556"/>
                    <a:pt x="1267301" y="262414"/>
                    <a:pt x="1268254" y="264319"/>
                  </a:cubicBezTo>
                  <a:cubicBezTo>
                    <a:pt x="1266349" y="270986"/>
                    <a:pt x="1264444" y="277654"/>
                    <a:pt x="1262539" y="286226"/>
                  </a:cubicBezTo>
                  <a:cubicBezTo>
                    <a:pt x="1259681" y="283369"/>
                    <a:pt x="1257776" y="280511"/>
                    <a:pt x="1254919" y="277654"/>
                  </a:cubicBezTo>
                  <a:cubicBezTo>
                    <a:pt x="1250156" y="268129"/>
                    <a:pt x="1246346" y="259556"/>
                    <a:pt x="1241584" y="251936"/>
                  </a:cubicBezTo>
                  <a:cubicBezTo>
                    <a:pt x="1239679" y="249079"/>
                    <a:pt x="1237774" y="246221"/>
                    <a:pt x="1235869" y="243364"/>
                  </a:cubicBezTo>
                  <a:cubicBezTo>
                    <a:pt x="1235869" y="243364"/>
                    <a:pt x="1235869" y="242411"/>
                    <a:pt x="1235869" y="242411"/>
                  </a:cubicBezTo>
                  <a:cubicBezTo>
                    <a:pt x="1237774" y="236696"/>
                    <a:pt x="1239679" y="232886"/>
                    <a:pt x="1240631" y="229076"/>
                  </a:cubicBezTo>
                  <a:close/>
                  <a:moveTo>
                    <a:pt x="1228249" y="304324"/>
                  </a:moveTo>
                  <a:cubicBezTo>
                    <a:pt x="1228249" y="298609"/>
                    <a:pt x="1227296" y="292894"/>
                    <a:pt x="1227296" y="288131"/>
                  </a:cubicBezTo>
                  <a:lnTo>
                    <a:pt x="1227296" y="281464"/>
                  </a:lnTo>
                  <a:cubicBezTo>
                    <a:pt x="1227296" y="280511"/>
                    <a:pt x="1228249" y="280511"/>
                    <a:pt x="1228249" y="279559"/>
                  </a:cubicBezTo>
                  <a:cubicBezTo>
                    <a:pt x="1228249" y="279559"/>
                    <a:pt x="1228249" y="278606"/>
                    <a:pt x="1228249" y="278606"/>
                  </a:cubicBezTo>
                  <a:cubicBezTo>
                    <a:pt x="1228249" y="278606"/>
                    <a:pt x="1229201" y="279559"/>
                    <a:pt x="1229201" y="279559"/>
                  </a:cubicBezTo>
                  <a:cubicBezTo>
                    <a:pt x="1230154" y="280511"/>
                    <a:pt x="1230154" y="282416"/>
                    <a:pt x="1231106" y="284321"/>
                  </a:cubicBezTo>
                  <a:cubicBezTo>
                    <a:pt x="1230154" y="290036"/>
                    <a:pt x="1229201" y="296704"/>
                    <a:pt x="1228249" y="304324"/>
                  </a:cubicBezTo>
                  <a:close/>
                  <a:moveTo>
                    <a:pt x="1232059" y="280511"/>
                  </a:moveTo>
                  <a:cubicBezTo>
                    <a:pt x="1232059" y="279559"/>
                    <a:pt x="1232059" y="279559"/>
                    <a:pt x="1232059" y="278606"/>
                  </a:cubicBezTo>
                  <a:cubicBezTo>
                    <a:pt x="1232059" y="277654"/>
                    <a:pt x="1231106" y="276701"/>
                    <a:pt x="1230154" y="275749"/>
                  </a:cubicBezTo>
                  <a:cubicBezTo>
                    <a:pt x="1229201" y="275749"/>
                    <a:pt x="1228249" y="274796"/>
                    <a:pt x="1227296" y="275749"/>
                  </a:cubicBezTo>
                  <a:cubicBezTo>
                    <a:pt x="1227296" y="275749"/>
                    <a:pt x="1227296" y="275749"/>
                    <a:pt x="1226344" y="275749"/>
                  </a:cubicBezTo>
                  <a:lnTo>
                    <a:pt x="1226344" y="269081"/>
                  </a:lnTo>
                  <a:cubicBezTo>
                    <a:pt x="1227296" y="270034"/>
                    <a:pt x="1228249" y="270986"/>
                    <a:pt x="1230154" y="272891"/>
                  </a:cubicBezTo>
                  <a:cubicBezTo>
                    <a:pt x="1231106" y="273844"/>
                    <a:pt x="1232059" y="274796"/>
                    <a:pt x="1233011" y="276701"/>
                  </a:cubicBezTo>
                  <a:cubicBezTo>
                    <a:pt x="1232059" y="278606"/>
                    <a:pt x="1232059" y="279559"/>
                    <a:pt x="1232059" y="280511"/>
                  </a:cubicBezTo>
                  <a:close/>
                  <a:moveTo>
                    <a:pt x="1230154" y="221456"/>
                  </a:moveTo>
                  <a:cubicBezTo>
                    <a:pt x="1232059" y="225266"/>
                    <a:pt x="1233011" y="229076"/>
                    <a:pt x="1233964" y="233839"/>
                  </a:cubicBezTo>
                  <a:cubicBezTo>
                    <a:pt x="1233964" y="233839"/>
                    <a:pt x="1233964" y="233839"/>
                    <a:pt x="1233964" y="233839"/>
                  </a:cubicBezTo>
                  <a:cubicBezTo>
                    <a:pt x="1233964" y="232886"/>
                    <a:pt x="1233011" y="230981"/>
                    <a:pt x="1233011" y="230029"/>
                  </a:cubicBezTo>
                  <a:cubicBezTo>
                    <a:pt x="1231106" y="226219"/>
                    <a:pt x="1230154" y="223361"/>
                    <a:pt x="1230154" y="221456"/>
                  </a:cubicBezTo>
                  <a:cubicBezTo>
                    <a:pt x="1229201" y="220504"/>
                    <a:pt x="1229201" y="220504"/>
                    <a:pt x="1230154" y="221456"/>
                  </a:cubicBezTo>
                  <a:close/>
                  <a:moveTo>
                    <a:pt x="1229201" y="257651"/>
                  </a:moveTo>
                  <a:cubicBezTo>
                    <a:pt x="1229201" y="257651"/>
                    <a:pt x="1229201" y="257651"/>
                    <a:pt x="1229201" y="257651"/>
                  </a:cubicBezTo>
                  <a:cubicBezTo>
                    <a:pt x="1229201" y="258604"/>
                    <a:pt x="1230154" y="258604"/>
                    <a:pt x="1230154" y="259556"/>
                  </a:cubicBezTo>
                  <a:cubicBezTo>
                    <a:pt x="1230154" y="260509"/>
                    <a:pt x="1230154" y="261461"/>
                    <a:pt x="1230154" y="262414"/>
                  </a:cubicBezTo>
                  <a:cubicBezTo>
                    <a:pt x="1231106" y="266224"/>
                    <a:pt x="1231106" y="270986"/>
                    <a:pt x="1232059" y="274796"/>
                  </a:cubicBezTo>
                  <a:cubicBezTo>
                    <a:pt x="1232059" y="274796"/>
                    <a:pt x="1232059" y="274796"/>
                    <a:pt x="1232059" y="274796"/>
                  </a:cubicBezTo>
                  <a:cubicBezTo>
                    <a:pt x="1231106" y="273844"/>
                    <a:pt x="1230154" y="272891"/>
                    <a:pt x="1229201" y="272891"/>
                  </a:cubicBezTo>
                  <a:cubicBezTo>
                    <a:pt x="1227296" y="270986"/>
                    <a:pt x="1225391" y="270034"/>
                    <a:pt x="1225391" y="269081"/>
                  </a:cubicBezTo>
                  <a:lnTo>
                    <a:pt x="1225391" y="265271"/>
                  </a:lnTo>
                  <a:cubicBezTo>
                    <a:pt x="1227296" y="263366"/>
                    <a:pt x="1228249" y="260509"/>
                    <a:pt x="1229201" y="257651"/>
                  </a:cubicBezTo>
                  <a:close/>
                  <a:moveTo>
                    <a:pt x="1226344" y="235744"/>
                  </a:moveTo>
                  <a:cubicBezTo>
                    <a:pt x="1227296" y="238601"/>
                    <a:pt x="1227296" y="241459"/>
                    <a:pt x="1228249" y="244316"/>
                  </a:cubicBezTo>
                  <a:cubicBezTo>
                    <a:pt x="1228249" y="245269"/>
                    <a:pt x="1227296" y="246221"/>
                    <a:pt x="1227296" y="246221"/>
                  </a:cubicBezTo>
                  <a:cubicBezTo>
                    <a:pt x="1226344" y="245269"/>
                    <a:pt x="1226344" y="245269"/>
                    <a:pt x="1225391" y="244316"/>
                  </a:cubicBezTo>
                  <a:lnTo>
                    <a:pt x="1225391" y="231934"/>
                  </a:lnTo>
                  <a:cubicBezTo>
                    <a:pt x="1225391" y="233839"/>
                    <a:pt x="1225391" y="234791"/>
                    <a:pt x="1226344" y="235744"/>
                  </a:cubicBezTo>
                  <a:close/>
                  <a:moveTo>
                    <a:pt x="1197769" y="293846"/>
                  </a:moveTo>
                  <a:cubicBezTo>
                    <a:pt x="1197769" y="292894"/>
                    <a:pt x="1198721" y="290989"/>
                    <a:pt x="1198721" y="290036"/>
                  </a:cubicBezTo>
                  <a:cubicBezTo>
                    <a:pt x="1198721" y="290989"/>
                    <a:pt x="1198721" y="290989"/>
                    <a:pt x="1198721" y="291941"/>
                  </a:cubicBezTo>
                  <a:cubicBezTo>
                    <a:pt x="1198721" y="293846"/>
                    <a:pt x="1199674" y="296704"/>
                    <a:pt x="1199674" y="299561"/>
                  </a:cubicBezTo>
                  <a:cubicBezTo>
                    <a:pt x="1198721" y="301466"/>
                    <a:pt x="1197769" y="304324"/>
                    <a:pt x="1196816" y="307181"/>
                  </a:cubicBezTo>
                  <a:cubicBezTo>
                    <a:pt x="1195864" y="304324"/>
                    <a:pt x="1195864" y="301466"/>
                    <a:pt x="1194911" y="299561"/>
                  </a:cubicBezTo>
                  <a:cubicBezTo>
                    <a:pt x="1195864" y="297656"/>
                    <a:pt x="1196816" y="295751"/>
                    <a:pt x="1197769" y="293846"/>
                  </a:cubicBezTo>
                  <a:close/>
                  <a:moveTo>
                    <a:pt x="1196816" y="459581"/>
                  </a:moveTo>
                  <a:lnTo>
                    <a:pt x="1196816" y="459581"/>
                  </a:lnTo>
                  <a:cubicBezTo>
                    <a:pt x="1195864" y="458629"/>
                    <a:pt x="1195864" y="457676"/>
                    <a:pt x="1195864" y="455771"/>
                  </a:cubicBezTo>
                  <a:cubicBezTo>
                    <a:pt x="1195864" y="456724"/>
                    <a:pt x="1195864" y="457676"/>
                    <a:pt x="1196816" y="459581"/>
                  </a:cubicBezTo>
                  <a:close/>
                  <a:moveTo>
                    <a:pt x="1190149" y="324326"/>
                  </a:moveTo>
                  <a:cubicBezTo>
                    <a:pt x="1190149" y="325279"/>
                    <a:pt x="1190149" y="325279"/>
                    <a:pt x="1190149" y="324326"/>
                  </a:cubicBezTo>
                  <a:cubicBezTo>
                    <a:pt x="1190149" y="323374"/>
                    <a:pt x="1190149" y="321469"/>
                    <a:pt x="1189196" y="320516"/>
                  </a:cubicBezTo>
                  <a:cubicBezTo>
                    <a:pt x="1190149" y="322421"/>
                    <a:pt x="1190149" y="323374"/>
                    <a:pt x="1190149" y="324326"/>
                  </a:cubicBezTo>
                  <a:close/>
                  <a:moveTo>
                    <a:pt x="1170146" y="270986"/>
                  </a:moveTo>
                  <a:cubicBezTo>
                    <a:pt x="1170146" y="270034"/>
                    <a:pt x="1170146" y="269081"/>
                    <a:pt x="1170146" y="268129"/>
                  </a:cubicBezTo>
                  <a:cubicBezTo>
                    <a:pt x="1170146" y="267176"/>
                    <a:pt x="1170146" y="265271"/>
                    <a:pt x="1170146" y="264319"/>
                  </a:cubicBezTo>
                  <a:cubicBezTo>
                    <a:pt x="1171099" y="253841"/>
                    <a:pt x="1172051" y="244316"/>
                    <a:pt x="1172051" y="235744"/>
                  </a:cubicBezTo>
                  <a:cubicBezTo>
                    <a:pt x="1173004" y="238601"/>
                    <a:pt x="1173956" y="241459"/>
                    <a:pt x="1174909" y="245269"/>
                  </a:cubicBezTo>
                  <a:cubicBezTo>
                    <a:pt x="1174909" y="249079"/>
                    <a:pt x="1175861" y="253841"/>
                    <a:pt x="1176814" y="260509"/>
                  </a:cubicBezTo>
                  <a:cubicBezTo>
                    <a:pt x="1177766" y="267176"/>
                    <a:pt x="1177766" y="275749"/>
                    <a:pt x="1177766" y="285274"/>
                  </a:cubicBezTo>
                  <a:cubicBezTo>
                    <a:pt x="1178719" y="291941"/>
                    <a:pt x="1177766" y="300514"/>
                    <a:pt x="1177766" y="308134"/>
                  </a:cubicBezTo>
                  <a:cubicBezTo>
                    <a:pt x="1177766" y="307181"/>
                    <a:pt x="1176814" y="306229"/>
                    <a:pt x="1176814" y="305276"/>
                  </a:cubicBezTo>
                  <a:cubicBezTo>
                    <a:pt x="1173956" y="298609"/>
                    <a:pt x="1171099" y="292894"/>
                    <a:pt x="1168241" y="287179"/>
                  </a:cubicBezTo>
                  <a:cubicBezTo>
                    <a:pt x="1169194" y="282416"/>
                    <a:pt x="1170146" y="275749"/>
                    <a:pt x="1170146" y="270986"/>
                  </a:cubicBezTo>
                  <a:close/>
                  <a:moveTo>
                    <a:pt x="1170146" y="309086"/>
                  </a:moveTo>
                  <a:cubicBezTo>
                    <a:pt x="1171099" y="312896"/>
                    <a:pt x="1173004" y="317659"/>
                    <a:pt x="1173956" y="321469"/>
                  </a:cubicBezTo>
                  <a:cubicBezTo>
                    <a:pt x="1173004" y="323374"/>
                    <a:pt x="1173004" y="325279"/>
                    <a:pt x="1172051" y="327184"/>
                  </a:cubicBezTo>
                  <a:cubicBezTo>
                    <a:pt x="1171099" y="325279"/>
                    <a:pt x="1171099" y="324326"/>
                    <a:pt x="1170146" y="322421"/>
                  </a:cubicBezTo>
                  <a:cubicBezTo>
                    <a:pt x="1170146" y="321469"/>
                    <a:pt x="1170146" y="319564"/>
                    <a:pt x="1170146" y="318611"/>
                  </a:cubicBezTo>
                  <a:cubicBezTo>
                    <a:pt x="1169194" y="313849"/>
                    <a:pt x="1169194" y="308134"/>
                    <a:pt x="1168241" y="303371"/>
                  </a:cubicBezTo>
                  <a:cubicBezTo>
                    <a:pt x="1168241" y="305276"/>
                    <a:pt x="1169194" y="307181"/>
                    <a:pt x="1170146" y="309086"/>
                  </a:cubicBezTo>
                  <a:close/>
                  <a:moveTo>
                    <a:pt x="1164431" y="236696"/>
                  </a:moveTo>
                  <a:cubicBezTo>
                    <a:pt x="1163479" y="242411"/>
                    <a:pt x="1162526" y="248126"/>
                    <a:pt x="1161574" y="253841"/>
                  </a:cubicBezTo>
                  <a:cubicBezTo>
                    <a:pt x="1161574" y="252889"/>
                    <a:pt x="1161574" y="252889"/>
                    <a:pt x="1161574" y="251936"/>
                  </a:cubicBezTo>
                  <a:cubicBezTo>
                    <a:pt x="1161574" y="251936"/>
                    <a:pt x="1161574" y="250984"/>
                    <a:pt x="1161574" y="250984"/>
                  </a:cubicBezTo>
                  <a:cubicBezTo>
                    <a:pt x="1162526" y="245269"/>
                    <a:pt x="1163479" y="240506"/>
                    <a:pt x="1164431" y="236696"/>
                  </a:cubicBezTo>
                  <a:close/>
                  <a:moveTo>
                    <a:pt x="1140619" y="290036"/>
                  </a:moveTo>
                  <a:cubicBezTo>
                    <a:pt x="1140619" y="290989"/>
                    <a:pt x="1139666" y="290989"/>
                    <a:pt x="1139666" y="291941"/>
                  </a:cubicBezTo>
                  <a:cubicBezTo>
                    <a:pt x="1138714" y="289084"/>
                    <a:pt x="1138714" y="286226"/>
                    <a:pt x="1137761" y="283369"/>
                  </a:cubicBezTo>
                  <a:cubicBezTo>
                    <a:pt x="1138714" y="286226"/>
                    <a:pt x="1139666" y="288131"/>
                    <a:pt x="1140619" y="290036"/>
                  </a:cubicBezTo>
                  <a:close/>
                  <a:moveTo>
                    <a:pt x="1114901" y="339566"/>
                  </a:moveTo>
                  <a:cubicBezTo>
                    <a:pt x="1115854" y="331946"/>
                    <a:pt x="1116806" y="323374"/>
                    <a:pt x="1117759" y="315754"/>
                  </a:cubicBezTo>
                  <a:cubicBezTo>
                    <a:pt x="1118711" y="318611"/>
                    <a:pt x="1118711" y="321469"/>
                    <a:pt x="1119664" y="325279"/>
                  </a:cubicBezTo>
                  <a:cubicBezTo>
                    <a:pt x="1120616" y="328136"/>
                    <a:pt x="1120616" y="331946"/>
                    <a:pt x="1121569" y="334804"/>
                  </a:cubicBezTo>
                  <a:cubicBezTo>
                    <a:pt x="1121569" y="336709"/>
                    <a:pt x="1120616" y="338614"/>
                    <a:pt x="1120616" y="341471"/>
                  </a:cubicBezTo>
                  <a:cubicBezTo>
                    <a:pt x="1120616" y="341471"/>
                    <a:pt x="1120616" y="341471"/>
                    <a:pt x="1120616" y="342424"/>
                  </a:cubicBezTo>
                  <a:cubicBezTo>
                    <a:pt x="1119664" y="344329"/>
                    <a:pt x="1118711" y="346234"/>
                    <a:pt x="1118711" y="348139"/>
                  </a:cubicBezTo>
                  <a:cubicBezTo>
                    <a:pt x="1117759" y="345281"/>
                    <a:pt x="1115854" y="343376"/>
                    <a:pt x="1114901" y="341471"/>
                  </a:cubicBezTo>
                  <a:cubicBezTo>
                    <a:pt x="1114901" y="340519"/>
                    <a:pt x="1114901" y="339566"/>
                    <a:pt x="1114901" y="339566"/>
                  </a:cubicBezTo>
                  <a:close/>
                  <a:moveTo>
                    <a:pt x="1111091" y="219551"/>
                  </a:moveTo>
                  <a:cubicBezTo>
                    <a:pt x="1111091" y="220504"/>
                    <a:pt x="1112044" y="221456"/>
                    <a:pt x="1112044" y="222409"/>
                  </a:cubicBezTo>
                  <a:cubicBezTo>
                    <a:pt x="1112044" y="225266"/>
                    <a:pt x="1112996" y="228124"/>
                    <a:pt x="1112996" y="230029"/>
                  </a:cubicBezTo>
                  <a:cubicBezTo>
                    <a:pt x="1112996" y="230029"/>
                    <a:pt x="1112996" y="230029"/>
                    <a:pt x="1112996" y="230029"/>
                  </a:cubicBezTo>
                  <a:cubicBezTo>
                    <a:pt x="1112996" y="226219"/>
                    <a:pt x="1112044" y="223361"/>
                    <a:pt x="1111091" y="219551"/>
                  </a:cubicBezTo>
                  <a:cubicBezTo>
                    <a:pt x="1111091" y="220504"/>
                    <a:pt x="1111091" y="219551"/>
                    <a:pt x="1111091" y="219551"/>
                  </a:cubicBezTo>
                  <a:close/>
                  <a:moveTo>
                    <a:pt x="1110139" y="217646"/>
                  </a:moveTo>
                  <a:cubicBezTo>
                    <a:pt x="1110139" y="217646"/>
                    <a:pt x="1110139" y="217646"/>
                    <a:pt x="1110139" y="217646"/>
                  </a:cubicBezTo>
                  <a:cubicBezTo>
                    <a:pt x="1110139" y="217646"/>
                    <a:pt x="1109186" y="216694"/>
                    <a:pt x="1109186" y="215741"/>
                  </a:cubicBezTo>
                  <a:cubicBezTo>
                    <a:pt x="1110139" y="216694"/>
                    <a:pt x="1110139" y="216694"/>
                    <a:pt x="1110139" y="217646"/>
                  </a:cubicBezTo>
                  <a:close/>
                  <a:moveTo>
                    <a:pt x="1101566" y="236696"/>
                  </a:moveTo>
                  <a:cubicBezTo>
                    <a:pt x="1104424" y="248126"/>
                    <a:pt x="1107281" y="262414"/>
                    <a:pt x="1111091" y="278606"/>
                  </a:cubicBezTo>
                  <a:cubicBezTo>
                    <a:pt x="1110139" y="283369"/>
                    <a:pt x="1109186" y="289084"/>
                    <a:pt x="1109186" y="293846"/>
                  </a:cubicBezTo>
                  <a:cubicBezTo>
                    <a:pt x="1108234" y="298609"/>
                    <a:pt x="1107281" y="304324"/>
                    <a:pt x="1106329" y="309086"/>
                  </a:cubicBezTo>
                  <a:cubicBezTo>
                    <a:pt x="1106329" y="309086"/>
                    <a:pt x="1106329" y="309086"/>
                    <a:pt x="1106329" y="308134"/>
                  </a:cubicBezTo>
                  <a:cubicBezTo>
                    <a:pt x="1105376" y="300514"/>
                    <a:pt x="1105376" y="295751"/>
                    <a:pt x="1105376" y="295751"/>
                  </a:cubicBezTo>
                  <a:cubicBezTo>
                    <a:pt x="1105376" y="295751"/>
                    <a:pt x="1105376" y="297656"/>
                    <a:pt x="1105376" y="300514"/>
                  </a:cubicBezTo>
                  <a:cubicBezTo>
                    <a:pt x="1103471" y="290989"/>
                    <a:pt x="1101566" y="282416"/>
                    <a:pt x="1099661" y="272891"/>
                  </a:cubicBezTo>
                  <a:cubicBezTo>
                    <a:pt x="1097756" y="265271"/>
                    <a:pt x="1096804" y="256699"/>
                    <a:pt x="1094899" y="249079"/>
                  </a:cubicBezTo>
                  <a:cubicBezTo>
                    <a:pt x="1096804" y="244316"/>
                    <a:pt x="1098709" y="240506"/>
                    <a:pt x="1101566" y="236696"/>
                  </a:cubicBezTo>
                  <a:close/>
                  <a:moveTo>
                    <a:pt x="1027271" y="325279"/>
                  </a:moveTo>
                  <a:cubicBezTo>
                    <a:pt x="1028224" y="319564"/>
                    <a:pt x="1029176" y="314801"/>
                    <a:pt x="1030129" y="310991"/>
                  </a:cubicBezTo>
                  <a:cubicBezTo>
                    <a:pt x="1031081" y="306229"/>
                    <a:pt x="1032986" y="301466"/>
                    <a:pt x="1034891" y="297656"/>
                  </a:cubicBezTo>
                  <a:cubicBezTo>
                    <a:pt x="1035844" y="293846"/>
                    <a:pt x="1037749" y="290989"/>
                    <a:pt x="1039654" y="288131"/>
                  </a:cubicBezTo>
                  <a:cubicBezTo>
                    <a:pt x="1040606" y="291941"/>
                    <a:pt x="1041559" y="295751"/>
                    <a:pt x="1042511" y="299561"/>
                  </a:cubicBezTo>
                  <a:cubicBezTo>
                    <a:pt x="1041559" y="301466"/>
                    <a:pt x="1040606" y="303371"/>
                    <a:pt x="1039654" y="305276"/>
                  </a:cubicBezTo>
                  <a:cubicBezTo>
                    <a:pt x="1034891" y="313849"/>
                    <a:pt x="1031081" y="322421"/>
                    <a:pt x="1028224" y="330994"/>
                  </a:cubicBezTo>
                  <a:cubicBezTo>
                    <a:pt x="1028224" y="329089"/>
                    <a:pt x="1028224" y="327184"/>
                    <a:pt x="1027271" y="325279"/>
                  </a:cubicBezTo>
                  <a:close/>
                  <a:moveTo>
                    <a:pt x="1040606" y="374809"/>
                  </a:moveTo>
                  <a:cubicBezTo>
                    <a:pt x="1040606" y="373856"/>
                    <a:pt x="1039654" y="371951"/>
                    <a:pt x="1039654" y="370999"/>
                  </a:cubicBezTo>
                  <a:cubicBezTo>
                    <a:pt x="1041559" y="366236"/>
                    <a:pt x="1043464" y="360521"/>
                    <a:pt x="1045369" y="355759"/>
                  </a:cubicBezTo>
                  <a:cubicBezTo>
                    <a:pt x="1046321" y="358616"/>
                    <a:pt x="1047274" y="361474"/>
                    <a:pt x="1047274" y="364331"/>
                  </a:cubicBezTo>
                  <a:cubicBezTo>
                    <a:pt x="1047274" y="371951"/>
                    <a:pt x="1047274" y="378619"/>
                    <a:pt x="1048226" y="386239"/>
                  </a:cubicBezTo>
                  <a:cubicBezTo>
                    <a:pt x="1046321" y="385286"/>
                    <a:pt x="1045369" y="384334"/>
                    <a:pt x="1044416" y="384334"/>
                  </a:cubicBezTo>
                  <a:cubicBezTo>
                    <a:pt x="1042511" y="381476"/>
                    <a:pt x="1041559" y="377666"/>
                    <a:pt x="1040606" y="374809"/>
                  </a:cubicBezTo>
                  <a:close/>
                  <a:moveTo>
                    <a:pt x="1046321" y="389096"/>
                  </a:moveTo>
                  <a:cubicBezTo>
                    <a:pt x="1047274" y="390049"/>
                    <a:pt x="1047274" y="390049"/>
                    <a:pt x="1048226" y="391001"/>
                  </a:cubicBezTo>
                  <a:cubicBezTo>
                    <a:pt x="1048226" y="391954"/>
                    <a:pt x="1048226" y="391954"/>
                    <a:pt x="1048226" y="392906"/>
                  </a:cubicBezTo>
                  <a:cubicBezTo>
                    <a:pt x="1047274" y="391954"/>
                    <a:pt x="1046321" y="390049"/>
                    <a:pt x="1046321" y="389096"/>
                  </a:cubicBezTo>
                  <a:close/>
                  <a:moveTo>
                    <a:pt x="1056799" y="292894"/>
                  </a:moveTo>
                  <a:cubicBezTo>
                    <a:pt x="1057751" y="289084"/>
                    <a:pt x="1059656" y="286226"/>
                    <a:pt x="1061561" y="282416"/>
                  </a:cubicBezTo>
                  <a:cubicBezTo>
                    <a:pt x="1063466" y="278606"/>
                    <a:pt x="1064419" y="274796"/>
                    <a:pt x="1066324" y="271939"/>
                  </a:cubicBezTo>
                  <a:cubicBezTo>
                    <a:pt x="1066324" y="272891"/>
                    <a:pt x="1066324" y="272891"/>
                    <a:pt x="1066324" y="273844"/>
                  </a:cubicBezTo>
                  <a:cubicBezTo>
                    <a:pt x="1066324" y="275749"/>
                    <a:pt x="1067276" y="276701"/>
                    <a:pt x="1067276" y="278606"/>
                  </a:cubicBezTo>
                  <a:cubicBezTo>
                    <a:pt x="1066324" y="280511"/>
                    <a:pt x="1064419" y="282416"/>
                    <a:pt x="1063466" y="285274"/>
                  </a:cubicBezTo>
                  <a:cubicBezTo>
                    <a:pt x="1061561" y="288131"/>
                    <a:pt x="1059656" y="291941"/>
                    <a:pt x="1057751" y="295751"/>
                  </a:cubicBezTo>
                  <a:cubicBezTo>
                    <a:pt x="1057751" y="294799"/>
                    <a:pt x="1056799" y="293846"/>
                    <a:pt x="1056799" y="292894"/>
                  </a:cubicBezTo>
                  <a:close/>
                  <a:moveTo>
                    <a:pt x="1059656" y="360521"/>
                  </a:moveTo>
                  <a:cubicBezTo>
                    <a:pt x="1059656" y="360521"/>
                    <a:pt x="1059656" y="359569"/>
                    <a:pt x="1059656" y="360521"/>
                  </a:cubicBezTo>
                  <a:cubicBezTo>
                    <a:pt x="1059656" y="359569"/>
                    <a:pt x="1059656" y="360521"/>
                    <a:pt x="1059656" y="360521"/>
                  </a:cubicBezTo>
                  <a:cubicBezTo>
                    <a:pt x="1059656" y="360521"/>
                    <a:pt x="1059656" y="360521"/>
                    <a:pt x="1059656" y="360521"/>
                  </a:cubicBezTo>
                  <a:close/>
                  <a:moveTo>
                    <a:pt x="1064419" y="383381"/>
                  </a:moveTo>
                  <a:cubicBezTo>
                    <a:pt x="1063466" y="381476"/>
                    <a:pt x="1063466" y="380524"/>
                    <a:pt x="1062514" y="379571"/>
                  </a:cubicBezTo>
                  <a:cubicBezTo>
                    <a:pt x="1062514" y="377666"/>
                    <a:pt x="1062514" y="376714"/>
                    <a:pt x="1063466" y="374809"/>
                  </a:cubicBezTo>
                  <a:cubicBezTo>
                    <a:pt x="1063466" y="375761"/>
                    <a:pt x="1064419" y="377666"/>
                    <a:pt x="1064419" y="378619"/>
                  </a:cubicBezTo>
                  <a:cubicBezTo>
                    <a:pt x="1064419" y="379571"/>
                    <a:pt x="1064419" y="379571"/>
                    <a:pt x="1064419" y="380524"/>
                  </a:cubicBezTo>
                  <a:cubicBezTo>
                    <a:pt x="1064419" y="382429"/>
                    <a:pt x="1065371" y="384334"/>
                    <a:pt x="1065371" y="386239"/>
                  </a:cubicBezTo>
                  <a:cubicBezTo>
                    <a:pt x="1065371" y="385286"/>
                    <a:pt x="1065371" y="384334"/>
                    <a:pt x="1064419" y="383381"/>
                  </a:cubicBezTo>
                  <a:close/>
                  <a:moveTo>
                    <a:pt x="1069181" y="330994"/>
                  </a:moveTo>
                  <a:cubicBezTo>
                    <a:pt x="1067276" y="325279"/>
                    <a:pt x="1065371" y="318611"/>
                    <a:pt x="1063466" y="312896"/>
                  </a:cubicBezTo>
                  <a:cubicBezTo>
                    <a:pt x="1065371" y="309086"/>
                    <a:pt x="1067276" y="304324"/>
                    <a:pt x="1069181" y="300514"/>
                  </a:cubicBezTo>
                  <a:cubicBezTo>
                    <a:pt x="1070134" y="308134"/>
                    <a:pt x="1069181" y="316706"/>
                    <a:pt x="1070134" y="326231"/>
                  </a:cubicBezTo>
                  <a:cubicBezTo>
                    <a:pt x="1069181" y="328136"/>
                    <a:pt x="1069181" y="329089"/>
                    <a:pt x="1069181" y="330994"/>
                  </a:cubicBezTo>
                  <a:close/>
                  <a:moveTo>
                    <a:pt x="1077754" y="262414"/>
                  </a:moveTo>
                  <a:cubicBezTo>
                    <a:pt x="1076801" y="263366"/>
                    <a:pt x="1076801" y="264319"/>
                    <a:pt x="1075849" y="264319"/>
                  </a:cubicBezTo>
                  <a:cubicBezTo>
                    <a:pt x="1074896" y="261461"/>
                    <a:pt x="1074896" y="259556"/>
                    <a:pt x="1073944" y="256699"/>
                  </a:cubicBezTo>
                  <a:lnTo>
                    <a:pt x="1074896" y="256699"/>
                  </a:lnTo>
                  <a:lnTo>
                    <a:pt x="1075849" y="256699"/>
                  </a:lnTo>
                  <a:cubicBezTo>
                    <a:pt x="1076801" y="259556"/>
                    <a:pt x="1077754" y="260509"/>
                    <a:pt x="1077754" y="262414"/>
                  </a:cubicBezTo>
                  <a:close/>
                  <a:moveTo>
                    <a:pt x="1045369" y="175736"/>
                  </a:moveTo>
                  <a:cubicBezTo>
                    <a:pt x="1048226" y="168116"/>
                    <a:pt x="1052036" y="160496"/>
                    <a:pt x="1054894" y="153829"/>
                  </a:cubicBezTo>
                  <a:cubicBezTo>
                    <a:pt x="1054894" y="154781"/>
                    <a:pt x="1054894" y="154781"/>
                    <a:pt x="1055846" y="155734"/>
                  </a:cubicBezTo>
                  <a:cubicBezTo>
                    <a:pt x="1056799" y="160496"/>
                    <a:pt x="1058704" y="166211"/>
                    <a:pt x="1059656" y="171926"/>
                  </a:cubicBezTo>
                  <a:cubicBezTo>
                    <a:pt x="1061561" y="178594"/>
                    <a:pt x="1063466" y="186214"/>
                    <a:pt x="1064419" y="193834"/>
                  </a:cubicBezTo>
                  <a:cubicBezTo>
                    <a:pt x="1066324" y="201454"/>
                    <a:pt x="1067276" y="208121"/>
                    <a:pt x="1069181" y="215741"/>
                  </a:cubicBezTo>
                  <a:cubicBezTo>
                    <a:pt x="1072039" y="228124"/>
                    <a:pt x="1073944" y="241459"/>
                    <a:pt x="1076801" y="253841"/>
                  </a:cubicBezTo>
                  <a:cubicBezTo>
                    <a:pt x="1075849" y="253841"/>
                    <a:pt x="1074896" y="252889"/>
                    <a:pt x="1074896" y="252889"/>
                  </a:cubicBezTo>
                  <a:cubicBezTo>
                    <a:pt x="1070134" y="230981"/>
                    <a:pt x="1067276" y="216694"/>
                    <a:pt x="1067276" y="216694"/>
                  </a:cubicBezTo>
                  <a:cubicBezTo>
                    <a:pt x="1067276" y="216694"/>
                    <a:pt x="1067276" y="232886"/>
                    <a:pt x="1068229" y="257651"/>
                  </a:cubicBezTo>
                  <a:cubicBezTo>
                    <a:pt x="1068229" y="258604"/>
                    <a:pt x="1067276" y="258604"/>
                    <a:pt x="1067276" y="259556"/>
                  </a:cubicBezTo>
                  <a:cubicBezTo>
                    <a:pt x="1065371" y="255746"/>
                    <a:pt x="1065371" y="252889"/>
                    <a:pt x="1065371" y="252889"/>
                  </a:cubicBezTo>
                  <a:cubicBezTo>
                    <a:pt x="1065371" y="252889"/>
                    <a:pt x="1065371" y="255746"/>
                    <a:pt x="1066324" y="261461"/>
                  </a:cubicBezTo>
                  <a:cubicBezTo>
                    <a:pt x="1062514" y="267176"/>
                    <a:pt x="1058704" y="272891"/>
                    <a:pt x="1055846" y="278606"/>
                  </a:cubicBezTo>
                  <a:cubicBezTo>
                    <a:pt x="1055846" y="279559"/>
                    <a:pt x="1054894" y="279559"/>
                    <a:pt x="1054894" y="280511"/>
                  </a:cubicBezTo>
                  <a:cubicBezTo>
                    <a:pt x="1054894" y="279559"/>
                    <a:pt x="1053941" y="278606"/>
                    <a:pt x="1053941" y="277654"/>
                  </a:cubicBezTo>
                  <a:cubicBezTo>
                    <a:pt x="1050131" y="266224"/>
                    <a:pt x="1046321" y="254794"/>
                    <a:pt x="1043464" y="245269"/>
                  </a:cubicBezTo>
                  <a:cubicBezTo>
                    <a:pt x="1040606" y="235744"/>
                    <a:pt x="1037749" y="227171"/>
                    <a:pt x="1035844" y="220504"/>
                  </a:cubicBezTo>
                  <a:cubicBezTo>
                    <a:pt x="1033939" y="215741"/>
                    <a:pt x="1032986" y="211931"/>
                    <a:pt x="1032034" y="209074"/>
                  </a:cubicBezTo>
                  <a:cubicBezTo>
                    <a:pt x="1034891" y="196691"/>
                    <a:pt x="1040606" y="186214"/>
                    <a:pt x="1045369" y="175736"/>
                  </a:cubicBezTo>
                  <a:close/>
                  <a:moveTo>
                    <a:pt x="1019651" y="267176"/>
                  </a:moveTo>
                  <a:cubicBezTo>
                    <a:pt x="1020604" y="251936"/>
                    <a:pt x="1022509" y="236696"/>
                    <a:pt x="1023461" y="221456"/>
                  </a:cubicBezTo>
                  <a:cubicBezTo>
                    <a:pt x="1023461" y="220504"/>
                    <a:pt x="1024414" y="219551"/>
                    <a:pt x="1024414" y="218599"/>
                  </a:cubicBezTo>
                  <a:cubicBezTo>
                    <a:pt x="1026319" y="229076"/>
                    <a:pt x="1028224" y="241459"/>
                    <a:pt x="1032034" y="253841"/>
                  </a:cubicBezTo>
                  <a:cubicBezTo>
                    <a:pt x="1033939" y="263366"/>
                    <a:pt x="1036796" y="272891"/>
                    <a:pt x="1038701" y="283369"/>
                  </a:cubicBezTo>
                  <a:cubicBezTo>
                    <a:pt x="1038701" y="283369"/>
                    <a:pt x="1038701" y="284321"/>
                    <a:pt x="1037749" y="284321"/>
                  </a:cubicBezTo>
                  <a:cubicBezTo>
                    <a:pt x="1035844" y="287179"/>
                    <a:pt x="1032986" y="290036"/>
                    <a:pt x="1031081" y="294799"/>
                  </a:cubicBezTo>
                  <a:cubicBezTo>
                    <a:pt x="1029176" y="298609"/>
                    <a:pt x="1027271" y="302419"/>
                    <a:pt x="1025366" y="306229"/>
                  </a:cubicBezTo>
                  <a:cubicBezTo>
                    <a:pt x="1024414" y="297656"/>
                    <a:pt x="1024414" y="290036"/>
                    <a:pt x="1023461" y="284321"/>
                  </a:cubicBezTo>
                  <a:cubicBezTo>
                    <a:pt x="1022509" y="274796"/>
                    <a:pt x="1022509" y="269081"/>
                    <a:pt x="1022509" y="269081"/>
                  </a:cubicBezTo>
                  <a:cubicBezTo>
                    <a:pt x="1022509" y="269081"/>
                    <a:pt x="1021556" y="274796"/>
                    <a:pt x="1019651" y="284321"/>
                  </a:cubicBezTo>
                  <a:cubicBezTo>
                    <a:pt x="1018699" y="291941"/>
                    <a:pt x="1016794" y="302419"/>
                    <a:pt x="1015841" y="314801"/>
                  </a:cubicBezTo>
                  <a:cubicBezTo>
                    <a:pt x="1015841" y="314801"/>
                    <a:pt x="1015841" y="315754"/>
                    <a:pt x="1015841" y="315754"/>
                  </a:cubicBezTo>
                  <a:cubicBezTo>
                    <a:pt x="1015841" y="315754"/>
                    <a:pt x="1015841" y="315754"/>
                    <a:pt x="1015841" y="315754"/>
                  </a:cubicBezTo>
                  <a:cubicBezTo>
                    <a:pt x="1020604" y="276701"/>
                    <a:pt x="1022509" y="251936"/>
                    <a:pt x="1022509" y="251936"/>
                  </a:cubicBezTo>
                  <a:cubicBezTo>
                    <a:pt x="1022509" y="251936"/>
                    <a:pt x="1021556" y="257651"/>
                    <a:pt x="1019651" y="267176"/>
                  </a:cubicBezTo>
                  <a:close/>
                  <a:moveTo>
                    <a:pt x="1011079" y="364331"/>
                  </a:moveTo>
                  <a:cubicBezTo>
                    <a:pt x="1011079" y="361474"/>
                    <a:pt x="1012031" y="358616"/>
                    <a:pt x="1012031" y="355759"/>
                  </a:cubicBezTo>
                  <a:cubicBezTo>
                    <a:pt x="1012984" y="350996"/>
                    <a:pt x="1012984" y="347186"/>
                    <a:pt x="1013936" y="342424"/>
                  </a:cubicBezTo>
                  <a:cubicBezTo>
                    <a:pt x="1013936" y="342424"/>
                    <a:pt x="1013936" y="342424"/>
                    <a:pt x="1013936" y="342424"/>
                  </a:cubicBezTo>
                  <a:cubicBezTo>
                    <a:pt x="1012984" y="349091"/>
                    <a:pt x="1012984" y="356711"/>
                    <a:pt x="1012031" y="364331"/>
                  </a:cubicBezTo>
                  <a:cubicBezTo>
                    <a:pt x="1012031" y="365284"/>
                    <a:pt x="1011079" y="365284"/>
                    <a:pt x="1011079" y="366236"/>
                  </a:cubicBezTo>
                  <a:cubicBezTo>
                    <a:pt x="1011079" y="366236"/>
                    <a:pt x="1011079" y="366236"/>
                    <a:pt x="1011079" y="366236"/>
                  </a:cubicBezTo>
                  <a:cubicBezTo>
                    <a:pt x="1011079" y="366236"/>
                    <a:pt x="1011079" y="365284"/>
                    <a:pt x="1011079" y="364331"/>
                  </a:cubicBezTo>
                  <a:close/>
                  <a:moveTo>
                    <a:pt x="1004411" y="257651"/>
                  </a:moveTo>
                  <a:cubicBezTo>
                    <a:pt x="1003459" y="265271"/>
                    <a:pt x="1002506" y="273844"/>
                    <a:pt x="1001554" y="281464"/>
                  </a:cubicBezTo>
                  <a:cubicBezTo>
                    <a:pt x="999649" y="277654"/>
                    <a:pt x="997744" y="273844"/>
                    <a:pt x="996791" y="271939"/>
                  </a:cubicBezTo>
                  <a:cubicBezTo>
                    <a:pt x="999649" y="268129"/>
                    <a:pt x="1001554" y="262414"/>
                    <a:pt x="1004411" y="257651"/>
                  </a:cubicBezTo>
                  <a:close/>
                  <a:moveTo>
                    <a:pt x="991076" y="283369"/>
                  </a:moveTo>
                  <a:cubicBezTo>
                    <a:pt x="992981" y="280511"/>
                    <a:pt x="994886" y="276701"/>
                    <a:pt x="995839" y="273844"/>
                  </a:cubicBezTo>
                  <a:cubicBezTo>
                    <a:pt x="996791" y="277654"/>
                    <a:pt x="997744" y="283369"/>
                    <a:pt x="999649" y="291941"/>
                  </a:cubicBezTo>
                  <a:cubicBezTo>
                    <a:pt x="998696" y="303371"/>
                    <a:pt x="996791" y="314801"/>
                    <a:pt x="995839" y="326231"/>
                  </a:cubicBezTo>
                  <a:cubicBezTo>
                    <a:pt x="994886" y="328136"/>
                    <a:pt x="994886" y="329089"/>
                    <a:pt x="993934" y="330994"/>
                  </a:cubicBezTo>
                  <a:cubicBezTo>
                    <a:pt x="992981" y="324326"/>
                    <a:pt x="992981" y="320516"/>
                    <a:pt x="992981" y="320516"/>
                  </a:cubicBezTo>
                  <a:cubicBezTo>
                    <a:pt x="992981" y="320516"/>
                    <a:pt x="992029" y="327184"/>
                    <a:pt x="991076" y="338614"/>
                  </a:cubicBezTo>
                  <a:cubicBezTo>
                    <a:pt x="991076" y="339566"/>
                    <a:pt x="990124" y="340519"/>
                    <a:pt x="990124" y="341471"/>
                  </a:cubicBezTo>
                  <a:cubicBezTo>
                    <a:pt x="987266" y="349091"/>
                    <a:pt x="984409" y="356711"/>
                    <a:pt x="981551" y="365284"/>
                  </a:cubicBezTo>
                  <a:cubicBezTo>
                    <a:pt x="981551" y="364331"/>
                    <a:pt x="981551" y="363379"/>
                    <a:pt x="980599" y="363379"/>
                  </a:cubicBezTo>
                  <a:cubicBezTo>
                    <a:pt x="979646" y="351949"/>
                    <a:pt x="978694" y="341471"/>
                    <a:pt x="977741" y="331946"/>
                  </a:cubicBezTo>
                  <a:cubicBezTo>
                    <a:pt x="976789" y="325279"/>
                    <a:pt x="976789" y="318611"/>
                    <a:pt x="975836" y="311944"/>
                  </a:cubicBezTo>
                  <a:cubicBezTo>
                    <a:pt x="980599" y="301466"/>
                    <a:pt x="986314" y="291941"/>
                    <a:pt x="991076" y="283369"/>
                  </a:cubicBezTo>
                  <a:close/>
                  <a:moveTo>
                    <a:pt x="960596" y="298609"/>
                  </a:moveTo>
                  <a:cubicBezTo>
                    <a:pt x="963454" y="291941"/>
                    <a:pt x="965359" y="286226"/>
                    <a:pt x="968216" y="280511"/>
                  </a:cubicBezTo>
                  <a:cubicBezTo>
                    <a:pt x="968216" y="284321"/>
                    <a:pt x="967264" y="289084"/>
                    <a:pt x="967264" y="294799"/>
                  </a:cubicBezTo>
                  <a:cubicBezTo>
                    <a:pt x="965359" y="297656"/>
                    <a:pt x="963454" y="301466"/>
                    <a:pt x="961549" y="304324"/>
                  </a:cubicBezTo>
                  <a:cubicBezTo>
                    <a:pt x="961549" y="304324"/>
                    <a:pt x="961549" y="304324"/>
                    <a:pt x="961549" y="303371"/>
                  </a:cubicBezTo>
                  <a:cubicBezTo>
                    <a:pt x="961549" y="302419"/>
                    <a:pt x="960596" y="302419"/>
                    <a:pt x="960596" y="301466"/>
                  </a:cubicBezTo>
                  <a:cubicBezTo>
                    <a:pt x="960596" y="299561"/>
                    <a:pt x="960596" y="299561"/>
                    <a:pt x="960596" y="298609"/>
                  </a:cubicBezTo>
                  <a:close/>
                  <a:moveTo>
                    <a:pt x="939641" y="258604"/>
                  </a:moveTo>
                  <a:cubicBezTo>
                    <a:pt x="939641" y="258604"/>
                    <a:pt x="939641" y="258604"/>
                    <a:pt x="939641" y="258604"/>
                  </a:cubicBezTo>
                  <a:cubicBezTo>
                    <a:pt x="941546" y="253841"/>
                    <a:pt x="942499" y="250031"/>
                    <a:pt x="943451" y="246221"/>
                  </a:cubicBezTo>
                  <a:cubicBezTo>
                    <a:pt x="943451" y="248126"/>
                    <a:pt x="943451" y="250031"/>
                    <a:pt x="943451" y="251936"/>
                  </a:cubicBezTo>
                  <a:cubicBezTo>
                    <a:pt x="942499" y="253841"/>
                    <a:pt x="941546" y="256699"/>
                    <a:pt x="939641" y="258604"/>
                  </a:cubicBezTo>
                  <a:lnTo>
                    <a:pt x="939641" y="258604"/>
                  </a:lnTo>
                  <a:close/>
                  <a:moveTo>
                    <a:pt x="944404" y="280511"/>
                  </a:moveTo>
                  <a:lnTo>
                    <a:pt x="943451" y="273844"/>
                  </a:lnTo>
                  <a:cubicBezTo>
                    <a:pt x="943451" y="272891"/>
                    <a:pt x="944404" y="271939"/>
                    <a:pt x="944404" y="270986"/>
                  </a:cubicBezTo>
                  <a:cubicBezTo>
                    <a:pt x="944404" y="270986"/>
                    <a:pt x="944404" y="271939"/>
                    <a:pt x="944404" y="271939"/>
                  </a:cubicBezTo>
                  <a:cubicBezTo>
                    <a:pt x="944404" y="272891"/>
                    <a:pt x="944404" y="274796"/>
                    <a:pt x="944404" y="275749"/>
                  </a:cubicBezTo>
                  <a:cubicBezTo>
                    <a:pt x="945356" y="277654"/>
                    <a:pt x="945356" y="279559"/>
                    <a:pt x="944404" y="280511"/>
                  </a:cubicBezTo>
                  <a:close/>
                  <a:moveTo>
                    <a:pt x="944404" y="270986"/>
                  </a:moveTo>
                  <a:cubicBezTo>
                    <a:pt x="944404" y="270986"/>
                    <a:pt x="944404" y="270986"/>
                    <a:pt x="944404" y="270986"/>
                  </a:cubicBezTo>
                  <a:cubicBezTo>
                    <a:pt x="945356" y="270986"/>
                    <a:pt x="945356" y="270986"/>
                    <a:pt x="944404" y="270986"/>
                  </a:cubicBezTo>
                  <a:cubicBezTo>
                    <a:pt x="945356" y="270986"/>
                    <a:pt x="944404" y="270986"/>
                    <a:pt x="944404" y="270986"/>
                  </a:cubicBezTo>
                  <a:close/>
                  <a:moveTo>
                    <a:pt x="933926" y="227171"/>
                  </a:moveTo>
                  <a:cubicBezTo>
                    <a:pt x="946309" y="185261"/>
                    <a:pt x="954881" y="153829"/>
                    <a:pt x="958691" y="138589"/>
                  </a:cubicBezTo>
                  <a:cubicBezTo>
                    <a:pt x="958691" y="141446"/>
                    <a:pt x="958691" y="143351"/>
                    <a:pt x="958691" y="146209"/>
                  </a:cubicBezTo>
                  <a:cubicBezTo>
                    <a:pt x="957739" y="159544"/>
                    <a:pt x="956786" y="179546"/>
                    <a:pt x="953929" y="203359"/>
                  </a:cubicBezTo>
                  <a:cubicBezTo>
                    <a:pt x="952976" y="215741"/>
                    <a:pt x="951071" y="228124"/>
                    <a:pt x="950119" y="242411"/>
                  </a:cubicBezTo>
                  <a:cubicBezTo>
                    <a:pt x="949166" y="243364"/>
                    <a:pt x="948214" y="245269"/>
                    <a:pt x="948214" y="246221"/>
                  </a:cubicBezTo>
                  <a:cubicBezTo>
                    <a:pt x="947261" y="244316"/>
                    <a:pt x="947261" y="241459"/>
                    <a:pt x="947261" y="240506"/>
                  </a:cubicBezTo>
                  <a:cubicBezTo>
                    <a:pt x="948214" y="235744"/>
                    <a:pt x="949166" y="233839"/>
                    <a:pt x="949166" y="233839"/>
                  </a:cubicBezTo>
                  <a:cubicBezTo>
                    <a:pt x="949166" y="233839"/>
                    <a:pt x="948214" y="235744"/>
                    <a:pt x="946309" y="238601"/>
                  </a:cubicBezTo>
                  <a:cubicBezTo>
                    <a:pt x="945356" y="232886"/>
                    <a:pt x="944404" y="230029"/>
                    <a:pt x="944404" y="230029"/>
                  </a:cubicBezTo>
                  <a:cubicBezTo>
                    <a:pt x="944404" y="230029"/>
                    <a:pt x="944404" y="233839"/>
                    <a:pt x="944404" y="241459"/>
                  </a:cubicBezTo>
                  <a:cubicBezTo>
                    <a:pt x="943451" y="244316"/>
                    <a:pt x="941546" y="248126"/>
                    <a:pt x="939641" y="251936"/>
                  </a:cubicBezTo>
                  <a:lnTo>
                    <a:pt x="938689" y="248126"/>
                  </a:lnTo>
                  <a:lnTo>
                    <a:pt x="936784" y="241459"/>
                  </a:lnTo>
                  <a:cubicBezTo>
                    <a:pt x="941546" y="226219"/>
                    <a:pt x="943451" y="217646"/>
                    <a:pt x="943451" y="217646"/>
                  </a:cubicBezTo>
                  <a:cubicBezTo>
                    <a:pt x="943451" y="217646"/>
                    <a:pt x="940594" y="224314"/>
                    <a:pt x="934879" y="235744"/>
                  </a:cubicBezTo>
                  <a:lnTo>
                    <a:pt x="932974" y="230029"/>
                  </a:lnTo>
                  <a:cubicBezTo>
                    <a:pt x="932974" y="230029"/>
                    <a:pt x="932974" y="228124"/>
                    <a:pt x="933926" y="227171"/>
                  </a:cubicBezTo>
                  <a:close/>
                  <a:moveTo>
                    <a:pt x="921544" y="452914"/>
                  </a:moveTo>
                  <a:cubicBezTo>
                    <a:pt x="921544" y="452914"/>
                    <a:pt x="920591" y="451961"/>
                    <a:pt x="920591" y="451961"/>
                  </a:cubicBezTo>
                  <a:cubicBezTo>
                    <a:pt x="920591" y="447199"/>
                    <a:pt x="920591" y="443389"/>
                    <a:pt x="919639" y="438626"/>
                  </a:cubicBezTo>
                  <a:cubicBezTo>
                    <a:pt x="920591" y="443389"/>
                    <a:pt x="921544" y="448151"/>
                    <a:pt x="921544" y="452914"/>
                  </a:cubicBezTo>
                  <a:close/>
                  <a:moveTo>
                    <a:pt x="912019" y="210979"/>
                  </a:moveTo>
                  <a:lnTo>
                    <a:pt x="915829" y="227171"/>
                  </a:lnTo>
                  <a:cubicBezTo>
                    <a:pt x="915829" y="228124"/>
                    <a:pt x="915829" y="229076"/>
                    <a:pt x="914876" y="230029"/>
                  </a:cubicBezTo>
                  <a:cubicBezTo>
                    <a:pt x="913924" y="231934"/>
                    <a:pt x="913924" y="234791"/>
                    <a:pt x="912971" y="236696"/>
                  </a:cubicBezTo>
                  <a:cubicBezTo>
                    <a:pt x="912971" y="235744"/>
                    <a:pt x="912019" y="233839"/>
                    <a:pt x="912019" y="232886"/>
                  </a:cubicBezTo>
                  <a:cubicBezTo>
                    <a:pt x="912019" y="231934"/>
                    <a:pt x="912019" y="230029"/>
                    <a:pt x="912019" y="228124"/>
                  </a:cubicBezTo>
                  <a:cubicBezTo>
                    <a:pt x="912019" y="222409"/>
                    <a:pt x="911066" y="216694"/>
                    <a:pt x="911066" y="210979"/>
                  </a:cubicBezTo>
                  <a:cubicBezTo>
                    <a:pt x="911066" y="209074"/>
                    <a:pt x="911066" y="206216"/>
                    <a:pt x="911066" y="204311"/>
                  </a:cubicBezTo>
                  <a:lnTo>
                    <a:pt x="912019" y="210979"/>
                  </a:lnTo>
                  <a:close/>
                  <a:moveTo>
                    <a:pt x="833914" y="333851"/>
                  </a:moveTo>
                  <a:cubicBezTo>
                    <a:pt x="833914" y="332899"/>
                    <a:pt x="833914" y="332899"/>
                    <a:pt x="834866" y="331946"/>
                  </a:cubicBezTo>
                  <a:cubicBezTo>
                    <a:pt x="834866" y="333851"/>
                    <a:pt x="834866" y="335756"/>
                    <a:pt x="834866" y="337661"/>
                  </a:cubicBezTo>
                  <a:cubicBezTo>
                    <a:pt x="834866" y="336709"/>
                    <a:pt x="833914" y="334804"/>
                    <a:pt x="833914" y="333851"/>
                  </a:cubicBezTo>
                  <a:close/>
                  <a:moveTo>
                    <a:pt x="847249" y="304324"/>
                  </a:moveTo>
                  <a:cubicBezTo>
                    <a:pt x="847249" y="303371"/>
                    <a:pt x="847249" y="302419"/>
                    <a:pt x="846296" y="301466"/>
                  </a:cubicBezTo>
                  <a:cubicBezTo>
                    <a:pt x="846296" y="300514"/>
                    <a:pt x="846296" y="300514"/>
                    <a:pt x="846296" y="299561"/>
                  </a:cubicBezTo>
                  <a:cubicBezTo>
                    <a:pt x="848201" y="294799"/>
                    <a:pt x="849154" y="290989"/>
                    <a:pt x="851059" y="286226"/>
                  </a:cubicBezTo>
                  <a:cubicBezTo>
                    <a:pt x="850106" y="292894"/>
                    <a:pt x="848201" y="298609"/>
                    <a:pt x="847249" y="304324"/>
                  </a:cubicBezTo>
                  <a:close/>
                  <a:moveTo>
                    <a:pt x="880586" y="300514"/>
                  </a:moveTo>
                  <a:cubicBezTo>
                    <a:pt x="878681" y="306229"/>
                    <a:pt x="877729" y="312896"/>
                    <a:pt x="876776" y="319564"/>
                  </a:cubicBezTo>
                  <a:cubicBezTo>
                    <a:pt x="874871" y="326231"/>
                    <a:pt x="873919" y="334804"/>
                    <a:pt x="872966" y="343376"/>
                  </a:cubicBezTo>
                  <a:cubicBezTo>
                    <a:pt x="872014" y="346234"/>
                    <a:pt x="870109" y="348139"/>
                    <a:pt x="869156" y="350996"/>
                  </a:cubicBezTo>
                  <a:cubicBezTo>
                    <a:pt x="869156" y="350996"/>
                    <a:pt x="868204" y="350044"/>
                    <a:pt x="868204" y="349091"/>
                  </a:cubicBezTo>
                  <a:cubicBezTo>
                    <a:pt x="868204" y="349091"/>
                    <a:pt x="868204" y="348139"/>
                    <a:pt x="867251" y="348139"/>
                  </a:cubicBezTo>
                  <a:cubicBezTo>
                    <a:pt x="867251" y="344329"/>
                    <a:pt x="867251" y="339566"/>
                    <a:pt x="867251" y="335756"/>
                  </a:cubicBezTo>
                  <a:cubicBezTo>
                    <a:pt x="867251" y="323374"/>
                    <a:pt x="867251" y="311944"/>
                    <a:pt x="866299" y="301466"/>
                  </a:cubicBezTo>
                  <a:cubicBezTo>
                    <a:pt x="866299" y="290989"/>
                    <a:pt x="864394" y="281464"/>
                    <a:pt x="863441" y="272891"/>
                  </a:cubicBezTo>
                  <a:cubicBezTo>
                    <a:pt x="862489" y="267176"/>
                    <a:pt x="862489" y="262414"/>
                    <a:pt x="861536" y="257651"/>
                  </a:cubicBezTo>
                  <a:cubicBezTo>
                    <a:pt x="861536" y="256699"/>
                    <a:pt x="861536" y="256699"/>
                    <a:pt x="862489" y="255746"/>
                  </a:cubicBezTo>
                  <a:cubicBezTo>
                    <a:pt x="862489" y="255746"/>
                    <a:pt x="862489" y="255746"/>
                    <a:pt x="862489" y="255746"/>
                  </a:cubicBezTo>
                  <a:cubicBezTo>
                    <a:pt x="867251" y="265271"/>
                    <a:pt x="871061" y="274796"/>
                    <a:pt x="876776" y="286226"/>
                  </a:cubicBezTo>
                  <a:cubicBezTo>
                    <a:pt x="878681" y="290036"/>
                    <a:pt x="880586" y="293846"/>
                    <a:pt x="881539" y="296704"/>
                  </a:cubicBezTo>
                  <a:cubicBezTo>
                    <a:pt x="881539" y="298609"/>
                    <a:pt x="881539" y="299561"/>
                    <a:pt x="880586" y="300514"/>
                  </a:cubicBezTo>
                  <a:close/>
                  <a:moveTo>
                    <a:pt x="885349" y="318611"/>
                  </a:moveTo>
                  <a:cubicBezTo>
                    <a:pt x="885349" y="318611"/>
                    <a:pt x="885349" y="319564"/>
                    <a:pt x="884396" y="319564"/>
                  </a:cubicBezTo>
                  <a:cubicBezTo>
                    <a:pt x="884396" y="319564"/>
                    <a:pt x="884396" y="320516"/>
                    <a:pt x="883444" y="320516"/>
                  </a:cubicBezTo>
                  <a:cubicBezTo>
                    <a:pt x="883444" y="313849"/>
                    <a:pt x="883444" y="308134"/>
                    <a:pt x="884396" y="303371"/>
                  </a:cubicBezTo>
                  <a:cubicBezTo>
                    <a:pt x="885349" y="305276"/>
                    <a:pt x="886301" y="308134"/>
                    <a:pt x="887254" y="310039"/>
                  </a:cubicBezTo>
                  <a:cubicBezTo>
                    <a:pt x="887254" y="312896"/>
                    <a:pt x="886301" y="315754"/>
                    <a:pt x="885349" y="318611"/>
                  </a:cubicBezTo>
                  <a:close/>
                  <a:moveTo>
                    <a:pt x="900589" y="246221"/>
                  </a:moveTo>
                  <a:cubicBezTo>
                    <a:pt x="900589" y="247174"/>
                    <a:pt x="899636" y="247174"/>
                    <a:pt x="900589" y="246221"/>
                  </a:cubicBezTo>
                  <a:cubicBezTo>
                    <a:pt x="899636" y="239554"/>
                    <a:pt x="898684" y="234791"/>
                    <a:pt x="898684" y="234791"/>
                  </a:cubicBezTo>
                  <a:cubicBezTo>
                    <a:pt x="898684" y="234791"/>
                    <a:pt x="898684" y="241459"/>
                    <a:pt x="897731" y="252889"/>
                  </a:cubicBezTo>
                  <a:cubicBezTo>
                    <a:pt x="897731" y="252889"/>
                    <a:pt x="897731" y="252889"/>
                    <a:pt x="897731" y="253841"/>
                  </a:cubicBezTo>
                  <a:cubicBezTo>
                    <a:pt x="895826" y="251936"/>
                    <a:pt x="894874" y="250031"/>
                    <a:pt x="894874" y="250031"/>
                  </a:cubicBezTo>
                  <a:cubicBezTo>
                    <a:pt x="894874" y="250031"/>
                    <a:pt x="895826" y="251936"/>
                    <a:pt x="897731" y="254794"/>
                  </a:cubicBezTo>
                  <a:cubicBezTo>
                    <a:pt x="897731" y="255746"/>
                    <a:pt x="897731" y="256699"/>
                    <a:pt x="897731" y="257651"/>
                  </a:cubicBezTo>
                  <a:cubicBezTo>
                    <a:pt x="897731" y="259556"/>
                    <a:pt x="897731" y="262414"/>
                    <a:pt x="896779" y="264319"/>
                  </a:cubicBezTo>
                  <a:cubicBezTo>
                    <a:pt x="896779" y="264319"/>
                    <a:pt x="896779" y="264319"/>
                    <a:pt x="896779" y="264319"/>
                  </a:cubicBezTo>
                  <a:cubicBezTo>
                    <a:pt x="896779" y="264319"/>
                    <a:pt x="896779" y="264319"/>
                    <a:pt x="896779" y="264319"/>
                  </a:cubicBezTo>
                  <a:cubicBezTo>
                    <a:pt x="896779" y="264319"/>
                    <a:pt x="896779" y="265271"/>
                    <a:pt x="896779" y="265271"/>
                  </a:cubicBezTo>
                  <a:cubicBezTo>
                    <a:pt x="896779" y="267176"/>
                    <a:pt x="896779" y="269081"/>
                    <a:pt x="896779" y="270986"/>
                  </a:cubicBezTo>
                  <a:cubicBezTo>
                    <a:pt x="896779" y="271939"/>
                    <a:pt x="896779" y="271939"/>
                    <a:pt x="896779" y="272891"/>
                  </a:cubicBezTo>
                  <a:cubicBezTo>
                    <a:pt x="896779" y="276701"/>
                    <a:pt x="895826" y="280511"/>
                    <a:pt x="895826" y="285274"/>
                  </a:cubicBezTo>
                  <a:cubicBezTo>
                    <a:pt x="895826" y="286226"/>
                    <a:pt x="895826" y="286226"/>
                    <a:pt x="895826" y="287179"/>
                  </a:cubicBezTo>
                  <a:cubicBezTo>
                    <a:pt x="893921" y="284321"/>
                    <a:pt x="892969" y="281464"/>
                    <a:pt x="891064" y="279559"/>
                  </a:cubicBezTo>
                  <a:cubicBezTo>
                    <a:pt x="885349" y="269081"/>
                    <a:pt x="879634" y="259556"/>
                    <a:pt x="873919" y="250984"/>
                  </a:cubicBezTo>
                  <a:cubicBezTo>
                    <a:pt x="872014" y="248126"/>
                    <a:pt x="871061" y="245269"/>
                    <a:pt x="869156" y="243364"/>
                  </a:cubicBezTo>
                  <a:cubicBezTo>
                    <a:pt x="869156" y="243364"/>
                    <a:pt x="869156" y="243364"/>
                    <a:pt x="869156" y="242411"/>
                  </a:cubicBezTo>
                  <a:cubicBezTo>
                    <a:pt x="872966" y="232886"/>
                    <a:pt x="875824" y="223361"/>
                    <a:pt x="878681" y="215741"/>
                  </a:cubicBezTo>
                  <a:cubicBezTo>
                    <a:pt x="881539" y="210979"/>
                    <a:pt x="884396" y="205264"/>
                    <a:pt x="887254" y="200501"/>
                  </a:cubicBezTo>
                  <a:lnTo>
                    <a:pt x="895826" y="223361"/>
                  </a:lnTo>
                  <a:lnTo>
                    <a:pt x="901541" y="240506"/>
                  </a:lnTo>
                  <a:cubicBezTo>
                    <a:pt x="900589" y="242411"/>
                    <a:pt x="900589" y="244316"/>
                    <a:pt x="900589" y="246221"/>
                  </a:cubicBezTo>
                  <a:close/>
                  <a:moveTo>
                    <a:pt x="891064" y="190976"/>
                  </a:moveTo>
                  <a:cubicBezTo>
                    <a:pt x="892016" y="190024"/>
                    <a:pt x="892969" y="188119"/>
                    <a:pt x="892969" y="187166"/>
                  </a:cubicBezTo>
                  <a:cubicBezTo>
                    <a:pt x="892969" y="189071"/>
                    <a:pt x="894874" y="194786"/>
                    <a:pt x="896779" y="202406"/>
                  </a:cubicBezTo>
                  <a:cubicBezTo>
                    <a:pt x="895826" y="199549"/>
                    <a:pt x="893921" y="195739"/>
                    <a:pt x="891064" y="190976"/>
                  </a:cubicBezTo>
                  <a:close/>
                  <a:moveTo>
                    <a:pt x="904399" y="181451"/>
                  </a:moveTo>
                  <a:cubicBezTo>
                    <a:pt x="904399" y="182404"/>
                    <a:pt x="904399" y="182404"/>
                    <a:pt x="904399" y="183356"/>
                  </a:cubicBezTo>
                  <a:cubicBezTo>
                    <a:pt x="904399" y="190976"/>
                    <a:pt x="903446" y="200501"/>
                    <a:pt x="903446" y="210979"/>
                  </a:cubicBezTo>
                  <a:cubicBezTo>
                    <a:pt x="903446" y="210979"/>
                    <a:pt x="903446" y="210026"/>
                    <a:pt x="903446" y="210026"/>
                  </a:cubicBezTo>
                  <a:cubicBezTo>
                    <a:pt x="898684" y="197644"/>
                    <a:pt x="894874" y="190024"/>
                    <a:pt x="894874" y="188119"/>
                  </a:cubicBezTo>
                  <a:cubicBezTo>
                    <a:pt x="897731" y="183356"/>
                    <a:pt x="900589" y="178594"/>
                    <a:pt x="903446" y="173831"/>
                  </a:cubicBezTo>
                  <a:lnTo>
                    <a:pt x="904399" y="181451"/>
                  </a:lnTo>
                  <a:close/>
                  <a:moveTo>
                    <a:pt x="888206" y="137636"/>
                  </a:moveTo>
                  <a:cubicBezTo>
                    <a:pt x="889159" y="135731"/>
                    <a:pt x="890111" y="134779"/>
                    <a:pt x="890111" y="132874"/>
                  </a:cubicBezTo>
                  <a:lnTo>
                    <a:pt x="898684" y="161449"/>
                  </a:lnTo>
                  <a:cubicBezTo>
                    <a:pt x="896779" y="163354"/>
                    <a:pt x="894874" y="166211"/>
                    <a:pt x="893921" y="168116"/>
                  </a:cubicBezTo>
                  <a:cubicBezTo>
                    <a:pt x="891064" y="171926"/>
                    <a:pt x="888206" y="175736"/>
                    <a:pt x="885349" y="180499"/>
                  </a:cubicBezTo>
                  <a:cubicBezTo>
                    <a:pt x="881539" y="174784"/>
                    <a:pt x="878681" y="169069"/>
                    <a:pt x="874871" y="163354"/>
                  </a:cubicBezTo>
                  <a:cubicBezTo>
                    <a:pt x="879634" y="154781"/>
                    <a:pt x="883444" y="146209"/>
                    <a:pt x="888206" y="137636"/>
                  </a:cubicBezTo>
                  <a:close/>
                  <a:moveTo>
                    <a:pt x="872966" y="169069"/>
                  </a:moveTo>
                  <a:lnTo>
                    <a:pt x="881539" y="188119"/>
                  </a:lnTo>
                  <a:cubicBezTo>
                    <a:pt x="880586" y="189071"/>
                    <a:pt x="879634" y="190976"/>
                    <a:pt x="878681" y="191929"/>
                  </a:cubicBezTo>
                  <a:cubicBezTo>
                    <a:pt x="871061" y="202406"/>
                    <a:pt x="864394" y="213836"/>
                    <a:pt x="856774" y="226219"/>
                  </a:cubicBezTo>
                  <a:cubicBezTo>
                    <a:pt x="854869" y="223361"/>
                    <a:pt x="852964" y="220504"/>
                    <a:pt x="851059" y="217646"/>
                  </a:cubicBezTo>
                  <a:cubicBezTo>
                    <a:pt x="858679" y="199549"/>
                    <a:pt x="865346" y="183356"/>
                    <a:pt x="872966" y="169069"/>
                  </a:cubicBezTo>
                  <a:close/>
                  <a:moveTo>
                    <a:pt x="847249" y="225266"/>
                  </a:moveTo>
                  <a:cubicBezTo>
                    <a:pt x="847249" y="224314"/>
                    <a:pt x="848201" y="223361"/>
                    <a:pt x="848201" y="223361"/>
                  </a:cubicBezTo>
                  <a:cubicBezTo>
                    <a:pt x="849154" y="226219"/>
                    <a:pt x="851059" y="229076"/>
                    <a:pt x="852011" y="232886"/>
                  </a:cubicBezTo>
                  <a:cubicBezTo>
                    <a:pt x="850106" y="236696"/>
                    <a:pt x="848201" y="239554"/>
                    <a:pt x="845344" y="243364"/>
                  </a:cubicBezTo>
                  <a:cubicBezTo>
                    <a:pt x="842486" y="248126"/>
                    <a:pt x="839629" y="252889"/>
                    <a:pt x="837724" y="256699"/>
                  </a:cubicBezTo>
                  <a:cubicBezTo>
                    <a:pt x="837724" y="254794"/>
                    <a:pt x="836771" y="252889"/>
                    <a:pt x="836771" y="250984"/>
                  </a:cubicBezTo>
                  <a:cubicBezTo>
                    <a:pt x="839629" y="242411"/>
                    <a:pt x="843439" y="233839"/>
                    <a:pt x="847249" y="225266"/>
                  </a:cubicBezTo>
                  <a:close/>
                  <a:moveTo>
                    <a:pt x="835819" y="195739"/>
                  </a:moveTo>
                  <a:cubicBezTo>
                    <a:pt x="835819" y="194786"/>
                    <a:pt x="835819" y="194786"/>
                    <a:pt x="835819" y="195739"/>
                  </a:cubicBezTo>
                  <a:cubicBezTo>
                    <a:pt x="836771" y="196691"/>
                    <a:pt x="838676" y="200501"/>
                    <a:pt x="840581" y="206216"/>
                  </a:cubicBezTo>
                  <a:cubicBezTo>
                    <a:pt x="838676" y="210979"/>
                    <a:pt x="835819" y="214789"/>
                    <a:pt x="833914" y="219551"/>
                  </a:cubicBezTo>
                  <a:cubicBezTo>
                    <a:pt x="833914" y="220504"/>
                    <a:pt x="832961" y="220504"/>
                    <a:pt x="832961" y="221456"/>
                  </a:cubicBezTo>
                  <a:cubicBezTo>
                    <a:pt x="833914" y="211931"/>
                    <a:pt x="834866" y="203359"/>
                    <a:pt x="835819" y="195739"/>
                  </a:cubicBezTo>
                  <a:close/>
                  <a:moveTo>
                    <a:pt x="826294" y="274796"/>
                  </a:moveTo>
                  <a:cubicBezTo>
                    <a:pt x="827246" y="273844"/>
                    <a:pt x="827246" y="271939"/>
                    <a:pt x="828199" y="270986"/>
                  </a:cubicBezTo>
                  <a:cubicBezTo>
                    <a:pt x="828199" y="271939"/>
                    <a:pt x="828199" y="272891"/>
                    <a:pt x="828199" y="272891"/>
                  </a:cubicBezTo>
                  <a:cubicBezTo>
                    <a:pt x="827246" y="273844"/>
                    <a:pt x="826294" y="275749"/>
                    <a:pt x="826294" y="276701"/>
                  </a:cubicBezTo>
                  <a:cubicBezTo>
                    <a:pt x="826294" y="275749"/>
                    <a:pt x="826294" y="274796"/>
                    <a:pt x="826294" y="274796"/>
                  </a:cubicBezTo>
                  <a:close/>
                  <a:moveTo>
                    <a:pt x="812006" y="448151"/>
                  </a:moveTo>
                  <a:cubicBezTo>
                    <a:pt x="812006" y="448151"/>
                    <a:pt x="812006" y="448151"/>
                    <a:pt x="812006" y="448151"/>
                  </a:cubicBezTo>
                  <a:cubicBezTo>
                    <a:pt x="812006" y="448151"/>
                    <a:pt x="812006" y="448151"/>
                    <a:pt x="812006" y="448151"/>
                  </a:cubicBezTo>
                  <a:cubicBezTo>
                    <a:pt x="812006" y="448151"/>
                    <a:pt x="812006" y="448151"/>
                    <a:pt x="812006" y="448151"/>
                  </a:cubicBezTo>
                  <a:close/>
                  <a:moveTo>
                    <a:pt x="785336" y="330041"/>
                  </a:moveTo>
                  <a:cubicBezTo>
                    <a:pt x="784384" y="329089"/>
                    <a:pt x="783431" y="327184"/>
                    <a:pt x="782479" y="325279"/>
                  </a:cubicBezTo>
                  <a:cubicBezTo>
                    <a:pt x="782479" y="321469"/>
                    <a:pt x="782479" y="318611"/>
                    <a:pt x="782479" y="315754"/>
                  </a:cubicBezTo>
                  <a:cubicBezTo>
                    <a:pt x="783431" y="319564"/>
                    <a:pt x="785336" y="322421"/>
                    <a:pt x="786289" y="326231"/>
                  </a:cubicBezTo>
                  <a:cubicBezTo>
                    <a:pt x="786289" y="328136"/>
                    <a:pt x="785336" y="329089"/>
                    <a:pt x="785336" y="330041"/>
                  </a:cubicBezTo>
                  <a:close/>
                  <a:moveTo>
                    <a:pt x="797719" y="271939"/>
                  </a:moveTo>
                  <a:cubicBezTo>
                    <a:pt x="799624" y="276701"/>
                    <a:pt x="801529" y="281464"/>
                    <a:pt x="803434" y="286226"/>
                  </a:cubicBezTo>
                  <a:cubicBezTo>
                    <a:pt x="803434" y="287179"/>
                    <a:pt x="802481" y="288131"/>
                    <a:pt x="802481" y="288131"/>
                  </a:cubicBezTo>
                  <a:cubicBezTo>
                    <a:pt x="799624" y="295751"/>
                    <a:pt x="796766" y="302419"/>
                    <a:pt x="792956" y="310039"/>
                  </a:cubicBezTo>
                  <a:cubicBezTo>
                    <a:pt x="792956" y="310039"/>
                    <a:pt x="792956" y="310039"/>
                    <a:pt x="792956" y="309086"/>
                  </a:cubicBezTo>
                  <a:cubicBezTo>
                    <a:pt x="791051" y="305276"/>
                    <a:pt x="789146" y="300514"/>
                    <a:pt x="787241" y="296704"/>
                  </a:cubicBezTo>
                  <a:cubicBezTo>
                    <a:pt x="790099" y="285274"/>
                    <a:pt x="792956" y="274796"/>
                    <a:pt x="795814" y="266224"/>
                  </a:cubicBezTo>
                  <a:cubicBezTo>
                    <a:pt x="796766" y="269081"/>
                    <a:pt x="796766" y="270034"/>
                    <a:pt x="797719" y="271939"/>
                  </a:cubicBezTo>
                  <a:close/>
                  <a:moveTo>
                    <a:pt x="790099" y="253841"/>
                  </a:moveTo>
                  <a:cubicBezTo>
                    <a:pt x="791051" y="255746"/>
                    <a:pt x="792004" y="258604"/>
                    <a:pt x="793909" y="261461"/>
                  </a:cubicBezTo>
                  <a:cubicBezTo>
                    <a:pt x="793909" y="261461"/>
                    <a:pt x="793909" y="261461"/>
                    <a:pt x="793909" y="262414"/>
                  </a:cubicBezTo>
                  <a:cubicBezTo>
                    <a:pt x="791051" y="269081"/>
                    <a:pt x="788194" y="276701"/>
                    <a:pt x="784384" y="286226"/>
                  </a:cubicBezTo>
                  <a:cubicBezTo>
                    <a:pt x="784384" y="282416"/>
                    <a:pt x="784384" y="277654"/>
                    <a:pt x="785336" y="273844"/>
                  </a:cubicBezTo>
                  <a:cubicBezTo>
                    <a:pt x="786289" y="267176"/>
                    <a:pt x="788194" y="260509"/>
                    <a:pt x="790099" y="253841"/>
                  </a:cubicBezTo>
                  <a:close/>
                  <a:moveTo>
                    <a:pt x="773906" y="236696"/>
                  </a:moveTo>
                  <a:cubicBezTo>
                    <a:pt x="774859" y="229076"/>
                    <a:pt x="775811" y="221456"/>
                    <a:pt x="776764" y="213836"/>
                  </a:cubicBezTo>
                  <a:cubicBezTo>
                    <a:pt x="778669" y="218599"/>
                    <a:pt x="781526" y="223361"/>
                    <a:pt x="783431" y="229076"/>
                  </a:cubicBezTo>
                  <a:cubicBezTo>
                    <a:pt x="782479" y="230981"/>
                    <a:pt x="781526" y="233839"/>
                    <a:pt x="780574" y="235744"/>
                  </a:cubicBezTo>
                  <a:cubicBezTo>
                    <a:pt x="778669" y="233839"/>
                    <a:pt x="777716" y="231934"/>
                    <a:pt x="777716" y="231934"/>
                  </a:cubicBezTo>
                  <a:cubicBezTo>
                    <a:pt x="777716" y="231934"/>
                    <a:pt x="778669" y="233839"/>
                    <a:pt x="780574" y="236696"/>
                  </a:cubicBezTo>
                  <a:cubicBezTo>
                    <a:pt x="778669" y="242411"/>
                    <a:pt x="775811" y="249079"/>
                    <a:pt x="773906" y="255746"/>
                  </a:cubicBezTo>
                  <a:cubicBezTo>
                    <a:pt x="773906" y="249079"/>
                    <a:pt x="773906" y="242411"/>
                    <a:pt x="773906" y="236696"/>
                  </a:cubicBezTo>
                  <a:close/>
                  <a:moveTo>
                    <a:pt x="724376" y="219551"/>
                  </a:moveTo>
                  <a:cubicBezTo>
                    <a:pt x="725329" y="212884"/>
                    <a:pt x="726281" y="207169"/>
                    <a:pt x="726281" y="203359"/>
                  </a:cubicBezTo>
                  <a:cubicBezTo>
                    <a:pt x="726281" y="210026"/>
                    <a:pt x="726281" y="218599"/>
                    <a:pt x="726281" y="229076"/>
                  </a:cubicBezTo>
                  <a:cubicBezTo>
                    <a:pt x="725329" y="226219"/>
                    <a:pt x="724376" y="224314"/>
                    <a:pt x="723424" y="223361"/>
                  </a:cubicBezTo>
                  <a:cubicBezTo>
                    <a:pt x="723424" y="222409"/>
                    <a:pt x="723424" y="220504"/>
                    <a:pt x="724376" y="219551"/>
                  </a:cubicBezTo>
                  <a:close/>
                  <a:moveTo>
                    <a:pt x="723424" y="224314"/>
                  </a:moveTo>
                  <a:cubicBezTo>
                    <a:pt x="723424" y="226219"/>
                    <a:pt x="724376" y="230029"/>
                    <a:pt x="724376" y="235744"/>
                  </a:cubicBezTo>
                  <a:cubicBezTo>
                    <a:pt x="725329" y="239554"/>
                    <a:pt x="725329" y="245269"/>
                    <a:pt x="726281" y="250984"/>
                  </a:cubicBezTo>
                  <a:cubicBezTo>
                    <a:pt x="726281" y="250984"/>
                    <a:pt x="726281" y="250984"/>
                    <a:pt x="726281" y="251936"/>
                  </a:cubicBezTo>
                  <a:cubicBezTo>
                    <a:pt x="726281" y="259556"/>
                    <a:pt x="726281" y="268129"/>
                    <a:pt x="727234" y="276701"/>
                  </a:cubicBezTo>
                  <a:cubicBezTo>
                    <a:pt x="727234" y="280511"/>
                    <a:pt x="727234" y="284321"/>
                    <a:pt x="727234" y="288131"/>
                  </a:cubicBezTo>
                  <a:cubicBezTo>
                    <a:pt x="726281" y="286226"/>
                    <a:pt x="726281" y="285274"/>
                    <a:pt x="725329" y="284321"/>
                  </a:cubicBezTo>
                  <a:cubicBezTo>
                    <a:pt x="722471" y="275749"/>
                    <a:pt x="720566" y="268129"/>
                    <a:pt x="717709" y="260509"/>
                  </a:cubicBezTo>
                  <a:cubicBezTo>
                    <a:pt x="719614" y="246221"/>
                    <a:pt x="721519" y="233839"/>
                    <a:pt x="723424" y="224314"/>
                  </a:cubicBezTo>
                  <a:close/>
                  <a:moveTo>
                    <a:pt x="710089" y="308134"/>
                  </a:moveTo>
                  <a:cubicBezTo>
                    <a:pt x="710089" y="311944"/>
                    <a:pt x="711041" y="315754"/>
                    <a:pt x="711041" y="320516"/>
                  </a:cubicBezTo>
                  <a:cubicBezTo>
                    <a:pt x="712946" y="336709"/>
                    <a:pt x="714851" y="354806"/>
                    <a:pt x="717709" y="373856"/>
                  </a:cubicBezTo>
                  <a:cubicBezTo>
                    <a:pt x="715804" y="378619"/>
                    <a:pt x="712946" y="384334"/>
                    <a:pt x="711041" y="389096"/>
                  </a:cubicBezTo>
                  <a:cubicBezTo>
                    <a:pt x="710089" y="387191"/>
                    <a:pt x="710089" y="385286"/>
                    <a:pt x="709136" y="383381"/>
                  </a:cubicBezTo>
                  <a:cubicBezTo>
                    <a:pt x="710089" y="379571"/>
                    <a:pt x="710089" y="375761"/>
                    <a:pt x="711041" y="372904"/>
                  </a:cubicBezTo>
                  <a:cubicBezTo>
                    <a:pt x="712946" y="359569"/>
                    <a:pt x="713899" y="352901"/>
                    <a:pt x="713899" y="352901"/>
                  </a:cubicBezTo>
                  <a:cubicBezTo>
                    <a:pt x="713899" y="352901"/>
                    <a:pt x="711994" y="360521"/>
                    <a:pt x="707231" y="372904"/>
                  </a:cubicBezTo>
                  <a:cubicBezTo>
                    <a:pt x="707231" y="373856"/>
                    <a:pt x="706279" y="374809"/>
                    <a:pt x="706279" y="374809"/>
                  </a:cubicBezTo>
                  <a:cubicBezTo>
                    <a:pt x="704374" y="369094"/>
                    <a:pt x="702469" y="363379"/>
                    <a:pt x="701516" y="357664"/>
                  </a:cubicBezTo>
                  <a:cubicBezTo>
                    <a:pt x="701516" y="357664"/>
                    <a:pt x="701516" y="357664"/>
                    <a:pt x="701516" y="357664"/>
                  </a:cubicBezTo>
                  <a:cubicBezTo>
                    <a:pt x="704374" y="339566"/>
                    <a:pt x="707231" y="323374"/>
                    <a:pt x="710089" y="308134"/>
                  </a:cubicBezTo>
                  <a:close/>
                  <a:moveTo>
                    <a:pt x="676751" y="253841"/>
                  </a:moveTo>
                  <a:cubicBezTo>
                    <a:pt x="676751" y="250984"/>
                    <a:pt x="676751" y="249079"/>
                    <a:pt x="676751" y="246221"/>
                  </a:cubicBezTo>
                  <a:cubicBezTo>
                    <a:pt x="677704" y="237649"/>
                    <a:pt x="678656" y="229076"/>
                    <a:pt x="679609" y="220504"/>
                  </a:cubicBezTo>
                  <a:cubicBezTo>
                    <a:pt x="680561" y="206216"/>
                    <a:pt x="681514" y="192881"/>
                    <a:pt x="682466" y="181451"/>
                  </a:cubicBezTo>
                  <a:cubicBezTo>
                    <a:pt x="682466" y="180499"/>
                    <a:pt x="682466" y="179546"/>
                    <a:pt x="682466" y="178594"/>
                  </a:cubicBezTo>
                  <a:cubicBezTo>
                    <a:pt x="687229" y="193834"/>
                    <a:pt x="691039" y="211931"/>
                    <a:pt x="696754" y="231934"/>
                  </a:cubicBezTo>
                  <a:cubicBezTo>
                    <a:pt x="699611" y="243364"/>
                    <a:pt x="702469" y="254794"/>
                    <a:pt x="705326" y="267176"/>
                  </a:cubicBezTo>
                  <a:cubicBezTo>
                    <a:pt x="704374" y="269081"/>
                    <a:pt x="704374" y="271939"/>
                    <a:pt x="703421" y="273844"/>
                  </a:cubicBezTo>
                  <a:cubicBezTo>
                    <a:pt x="700564" y="284321"/>
                    <a:pt x="697706" y="295751"/>
                    <a:pt x="694849" y="307181"/>
                  </a:cubicBezTo>
                  <a:cubicBezTo>
                    <a:pt x="693896" y="309086"/>
                    <a:pt x="693896" y="311944"/>
                    <a:pt x="692944" y="313849"/>
                  </a:cubicBezTo>
                  <a:cubicBezTo>
                    <a:pt x="691991" y="316706"/>
                    <a:pt x="691039" y="319564"/>
                    <a:pt x="690086" y="322421"/>
                  </a:cubicBezTo>
                  <a:cubicBezTo>
                    <a:pt x="684371" y="305276"/>
                    <a:pt x="679609" y="290036"/>
                    <a:pt x="673894" y="274796"/>
                  </a:cubicBezTo>
                  <a:cubicBezTo>
                    <a:pt x="675799" y="268129"/>
                    <a:pt x="676751" y="260509"/>
                    <a:pt x="676751" y="253841"/>
                  </a:cubicBezTo>
                  <a:close/>
                  <a:moveTo>
                    <a:pt x="668179" y="331946"/>
                  </a:moveTo>
                  <a:cubicBezTo>
                    <a:pt x="668179" y="330994"/>
                    <a:pt x="668179" y="330994"/>
                    <a:pt x="668179" y="330041"/>
                  </a:cubicBezTo>
                  <a:cubicBezTo>
                    <a:pt x="668179" y="331946"/>
                    <a:pt x="669131" y="332899"/>
                    <a:pt x="669131" y="334804"/>
                  </a:cubicBezTo>
                  <a:cubicBezTo>
                    <a:pt x="670084" y="338614"/>
                    <a:pt x="671036" y="342424"/>
                    <a:pt x="671989" y="346234"/>
                  </a:cubicBezTo>
                  <a:cubicBezTo>
                    <a:pt x="672941" y="350044"/>
                    <a:pt x="673894" y="354806"/>
                    <a:pt x="674846" y="359569"/>
                  </a:cubicBezTo>
                  <a:cubicBezTo>
                    <a:pt x="675799" y="363379"/>
                    <a:pt x="676751" y="367189"/>
                    <a:pt x="676751" y="370999"/>
                  </a:cubicBezTo>
                  <a:cubicBezTo>
                    <a:pt x="676751" y="371951"/>
                    <a:pt x="675799" y="372904"/>
                    <a:pt x="675799" y="373856"/>
                  </a:cubicBezTo>
                  <a:cubicBezTo>
                    <a:pt x="675799" y="374809"/>
                    <a:pt x="674846" y="375761"/>
                    <a:pt x="674846" y="377666"/>
                  </a:cubicBezTo>
                  <a:cubicBezTo>
                    <a:pt x="672941" y="374809"/>
                    <a:pt x="671989" y="370999"/>
                    <a:pt x="670084" y="368141"/>
                  </a:cubicBezTo>
                  <a:cubicBezTo>
                    <a:pt x="668179" y="364331"/>
                    <a:pt x="666274" y="361474"/>
                    <a:pt x="664369" y="358616"/>
                  </a:cubicBezTo>
                  <a:cubicBezTo>
                    <a:pt x="665321" y="349091"/>
                    <a:pt x="667226" y="340519"/>
                    <a:pt x="668179" y="331946"/>
                  </a:cubicBezTo>
                  <a:close/>
                  <a:moveTo>
                    <a:pt x="656749" y="266224"/>
                  </a:moveTo>
                  <a:cubicBezTo>
                    <a:pt x="656749" y="266224"/>
                    <a:pt x="656749" y="267176"/>
                    <a:pt x="656749" y="267176"/>
                  </a:cubicBezTo>
                  <a:cubicBezTo>
                    <a:pt x="656749" y="268129"/>
                    <a:pt x="656749" y="269081"/>
                    <a:pt x="656749" y="269081"/>
                  </a:cubicBezTo>
                  <a:cubicBezTo>
                    <a:pt x="656749" y="268129"/>
                    <a:pt x="656749" y="267176"/>
                    <a:pt x="656749" y="266224"/>
                  </a:cubicBezTo>
                  <a:close/>
                  <a:moveTo>
                    <a:pt x="608171" y="318611"/>
                  </a:moveTo>
                  <a:cubicBezTo>
                    <a:pt x="609124" y="305276"/>
                    <a:pt x="611029" y="291941"/>
                    <a:pt x="611981" y="279559"/>
                  </a:cubicBezTo>
                  <a:cubicBezTo>
                    <a:pt x="612934" y="282416"/>
                    <a:pt x="612934" y="285274"/>
                    <a:pt x="613886" y="288131"/>
                  </a:cubicBezTo>
                  <a:cubicBezTo>
                    <a:pt x="614839" y="301466"/>
                    <a:pt x="615791" y="314801"/>
                    <a:pt x="615791" y="327184"/>
                  </a:cubicBezTo>
                  <a:cubicBezTo>
                    <a:pt x="615791" y="329089"/>
                    <a:pt x="615791" y="330041"/>
                    <a:pt x="615791" y="331946"/>
                  </a:cubicBezTo>
                  <a:cubicBezTo>
                    <a:pt x="615791" y="333851"/>
                    <a:pt x="615791" y="335756"/>
                    <a:pt x="615791" y="337661"/>
                  </a:cubicBezTo>
                  <a:cubicBezTo>
                    <a:pt x="614839" y="336709"/>
                    <a:pt x="613886" y="334804"/>
                    <a:pt x="613886" y="333851"/>
                  </a:cubicBezTo>
                  <a:cubicBezTo>
                    <a:pt x="611981" y="330041"/>
                    <a:pt x="609124" y="325279"/>
                    <a:pt x="607219" y="321469"/>
                  </a:cubicBezTo>
                  <a:cubicBezTo>
                    <a:pt x="608171" y="320516"/>
                    <a:pt x="608171" y="319564"/>
                    <a:pt x="608171" y="318611"/>
                  </a:cubicBezTo>
                  <a:close/>
                  <a:moveTo>
                    <a:pt x="606266" y="341471"/>
                  </a:moveTo>
                  <a:cubicBezTo>
                    <a:pt x="609124" y="349091"/>
                    <a:pt x="612934" y="356711"/>
                    <a:pt x="615791" y="364331"/>
                  </a:cubicBezTo>
                  <a:cubicBezTo>
                    <a:pt x="615791" y="364331"/>
                    <a:pt x="615791" y="365284"/>
                    <a:pt x="615791" y="365284"/>
                  </a:cubicBezTo>
                  <a:cubicBezTo>
                    <a:pt x="614839" y="368141"/>
                    <a:pt x="612934" y="371951"/>
                    <a:pt x="611029" y="375761"/>
                  </a:cubicBezTo>
                  <a:cubicBezTo>
                    <a:pt x="610076" y="371951"/>
                    <a:pt x="609124" y="367189"/>
                    <a:pt x="608171" y="363379"/>
                  </a:cubicBezTo>
                  <a:cubicBezTo>
                    <a:pt x="607219" y="358616"/>
                    <a:pt x="606266" y="354806"/>
                    <a:pt x="605314" y="350996"/>
                  </a:cubicBezTo>
                  <a:cubicBezTo>
                    <a:pt x="605314" y="348139"/>
                    <a:pt x="605314" y="344329"/>
                    <a:pt x="606266" y="341471"/>
                  </a:cubicBezTo>
                  <a:close/>
                  <a:moveTo>
                    <a:pt x="606266" y="424339"/>
                  </a:moveTo>
                  <a:cubicBezTo>
                    <a:pt x="607219" y="427196"/>
                    <a:pt x="608171" y="430054"/>
                    <a:pt x="609124" y="433864"/>
                  </a:cubicBezTo>
                  <a:cubicBezTo>
                    <a:pt x="608171" y="434816"/>
                    <a:pt x="608171" y="435769"/>
                    <a:pt x="607219" y="436721"/>
                  </a:cubicBezTo>
                  <a:lnTo>
                    <a:pt x="601504" y="435769"/>
                  </a:lnTo>
                  <a:cubicBezTo>
                    <a:pt x="604361" y="432911"/>
                    <a:pt x="605314" y="428149"/>
                    <a:pt x="606266" y="424339"/>
                  </a:cubicBezTo>
                  <a:close/>
                  <a:moveTo>
                    <a:pt x="599599" y="401479"/>
                  </a:moveTo>
                  <a:cubicBezTo>
                    <a:pt x="599599" y="402431"/>
                    <a:pt x="599599" y="402431"/>
                    <a:pt x="599599" y="401479"/>
                  </a:cubicBezTo>
                  <a:cubicBezTo>
                    <a:pt x="599599" y="402431"/>
                    <a:pt x="599599" y="403384"/>
                    <a:pt x="599599" y="403384"/>
                  </a:cubicBezTo>
                  <a:cubicBezTo>
                    <a:pt x="599599" y="403384"/>
                    <a:pt x="599599" y="402431"/>
                    <a:pt x="599599" y="401479"/>
                  </a:cubicBezTo>
                  <a:close/>
                  <a:moveTo>
                    <a:pt x="587216" y="300514"/>
                  </a:moveTo>
                  <a:cubicBezTo>
                    <a:pt x="588169" y="303371"/>
                    <a:pt x="590074" y="307181"/>
                    <a:pt x="591979" y="310039"/>
                  </a:cubicBezTo>
                  <a:cubicBezTo>
                    <a:pt x="591979" y="311944"/>
                    <a:pt x="591026" y="314801"/>
                    <a:pt x="591026" y="316706"/>
                  </a:cubicBezTo>
                  <a:cubicBezTo>
                    <a:pt x="591026" y="316706"/>
                    <a:pt x="591026" y="316706"/>
                    <a:pt x="591026" y="316706"/>
                  </a:cubicBezTo>
                  <a:cubicBezTo>
                    <a:pt x="591026" y="317659"/>
                    <a:pt x="590074" y="318611"/>
                    <a:pt x="590074" y="319564"/>
                  </a:cubicBezTo>
                  <a:cubicBezTo>
                    <a:pt x="589121" y="316706"/>
                    <a:pt x="588169" y="313849"/>
                    <a:pt x="587216" y="311944"/>
                  </a:cubicBezTo>
                  <a:cubicBezTo>
                    <a:pt x="587216" y="308134"/>
                    <a:pt x="587216" y="303371"/>
                    <a:pt x="586264" y="299561"/>
                  </a:cubicBezTo>
                  <a:cubicBezTo>
                    <a:pt x="586264" y="299561"/>
                    <a:pt x="586264" y="299561"/>
                    <a:pt x="587216" y="300514"/>
                  </a:cubicBezTo>
                  <a:close/>
                  <a:moveTo>
                    <a:pt x="553879" y="257651"/>
                  </a:moveTo>
                  <a:cubicBezTo>
                    <a:pt x="554831" y="249079"/>
                    <a:pt x="554831" y="241459"/>
                    <a:pt x="555784" y="233839"/>
                  </a:cubicBezTo>
                  <a:cubicBezTo>
                    <a:pt x="556736" y="238601"/>
                    <a:pt x="557689" y="243364"/>
                    <a:pt x="558641" y="249079"/>
                  </a:cubicBezTo>
                  <a:cubicBezTo>
                    <a:pt x="557689" y="247174"/>
                    <a:pt x="556736" y="247174"/>
                    <a:pt x="556736" y="247174"/>
                  </a:cubicBezTo>
                  <a:cubicBezTo>
                    <a:pt x="556736" y="247174"/>
                    <a:pt x="557689" y="248126"/>
                    <a:pt x="558641" y="250984"/>
                  </a:cubicBezTo>
                  <a:cubicBezTo>
                    <a:pt x="561499" y="264319"/>
                    <a:pt x="565309" y="280511"/>
                    <a:pt x="570071" y="297656"/>
                  </a:cubicBezTo>
                  <a:cubicBezTo>
                    <a:pt x="570071" y="299561"/>
                    <a:pt x="571024" y="301466"/>
                    <a:pt x="571976" y="303371"/>
                  </a:cubicBezTo>
                  <a:cubicBezTo>
                    <a:pt x="571024" y="306229"/>
                    <a:pt x="570071" y="310039"/>
                    <a:pt x="569119" y="312896"/>
                  </a:cubicBezTo>
                  <a:cubicBezTo>
                    <a:pt x="567214" y="307181"/>
                    <a:pt x="566261" y="301466"/>
                    <a:pt x="564356" y="295751"/>
                  </a:cubicBezTo>
                  <a:cubicBezTo>
                    <a:pt x="560546" y="285274"/>
                    <a:pt x="557689" y="274796"/>
                    <a:pt x="553879" y="266224"/>
                  </a:cubicBezTo>
                  <a:cubicBezTo>
                    <a:pt x="553879" y="263366"/>
                    <a:pt x="553879" y="260509"/>
                    <a:pt x="553879" y="257651"/>
                  </a:cubicBezTo>
                  <a:close/>
                  <a:moveTo>
                    <a:pt x="551974" y="295751"/>
                  </a:moveTo>
                  <a:cubicBezTo>
                    <a:pt x="551974" y="294799"/>
                    <a:pt x="551974" y="294799"/>
                    <a:pt x="551974" y="295751"/>
                  </a:cubicBezTo>
                  <a:cubicBezTo>
                    <a:pt x="551974" y="295751"/>
                    <a:pt x="552926" y="297656"/>
                    <a:pt x="552926" y="298609"/>
                  </a:cubicBezTo>
                  <a:cubicBezTo>
                    <a:pt x="554831" y="304324"/>
                    <a:pt x="555784" y="310991"/>
                    <a:pt x="556736" y="317659"/>
                  </a:cubicBezTo>
                  <a:cubicBezTo>
                    <a:pt x="556736" y="318611"/>
                    <a:pt x="556736" y="319564"/>
                    <a:pt x="557689" y="321469"/>
                  </a:cubicBezTo>
                  <a:cubicBezTo>
                    <a:pt x="557689" y="321469"/>
                    <a:pt x="557689" y="321469"/>
                    <a:pt x="557689" y="322421"/>
                  </a:cubicBezTo>
                  <a:cubicBezTo>
                    <a:pt x="557689" y="323374"/>
                    <a:pt x="557689" y="324326"/>
                    <a:pt x="557689" y="326231"/>
                  </a:cubicBezTo>
                  <a:cubicBezTo>
                    <a:pt x="555784" y="319564"/>
                    <a:pt x="553879" y="312896"/>
                    <a:pt x="552926" y="306229"/>
                  </a:cubicBezTo>
                  <a:cubicBezTo>
                    <a:pt x="551974" y="301466"/>
                    <a:pt x="551974" y="298609"/>
                    <a:pt x="551974" y="295751"/>
                  </a:cubicBezTo>
                  <a:close/>
                  <a:moveTo>
                    <a:pt x="529114" y="290036"/>
                  </a:moveTo>
                  <a:cubicBezTo>
                    <a:pt x="529114" y="290036"/>
                    <a:pt x="529114" y="290989"/>
                    <a:pt x="529114" y="290036"/>
                  </a:cubicBezTo>
                  <a:cubicBezTo>
                    <a:pt x="529114" y="290989"/>
                    <a:pt x="529114" y="290989"/>
                    <a:pt x="529114" y="290036"/>
                  </a:cubicBezTo>
                  <a:cubicBezTo>
                    <a:pt x="529114" y="290989"/>
                    <a:pt x="529114" y="290036"/>
                    <a:pt x="529114" y="290036"/>
                  </a:cubicBezTo>
                  <a:close/>
                  <a:moveTo>
                    <a:pt x="522446" y="336709"/>
                  </a:moveTo>
                  <a:cubicBezTo>
                    <a:pt x="522446" y="333851"/>
                    <a:pt x="523399" y="331946"/>
                    <a:pt x="523399" y="329089"/>
                  </a:cubicBezTo>
                  <a:cubicBezTo>
                    <a:pt x="524351" y="331946"/>
                    <a:pt x="525304" y="333851"/>
                    <a:pt x="526256" y="336709"/>
                  </a:cubicBezTo>
                  <a:cubicBezTo>
                    <a:pt x="528161" y="341471"/>
                    <a:pt x="530066" y="346234"/>
                    <a:pt x="531019" y="350996"/>
                  </a:cubicBezTo>
                  <a:cubicBezTo>
                    <a:pt x="531019" y="358616"/>
                    <a:pt x="531019" y="366236"/>
                    <a:pt x="531971" y="374809"/>
                  </a:cubicBezTo>
                  <a:cubicBezTo>
                    <a:pt x="531971" y="384334"/>
                    <a:pt x="532924" y="393859"/>
                    <a:pt x="533876" y="403384"/>
                  </a:cubicBezTo>
                  <a:cubicBezTo>
                    <a:pt x="530066" y="397669"/>
                    <a:pt x="528161" y="394811"/>
                    <a:pt x="528161" y="394811"/>
                  </a:cubicBezTo>
                  <a:cubicBezTo>
                    <a:pt x="528161" y="394811"/>
                    <a:pt x="530066" y="400526"/>
                    <a:pt x="532924" y="410051"/>
                  </a:cubicBezTo>
                  <a:cubicBezTo>
                    <a:pt x="533876" y="411956"/>
                    <a:pt x="534829" y="414814"/>
                    <a:pt x="534829" y="417671"/>
                  </a:cubicBezTo>
                  <a:cubicBezTo>
                    <a:pt x="534829" y="421481"/>
                    <a:pt x="535781" y="426244"/>
                    <a:pt x="535781" y="430054"/>
                  </a:cubicBezTo>
                  <a:lnTo>
                    <a:pt x="523399" y="428149"/>
                  </a:lnTo>
                  <a:cubicBezTo>
                    <a:pt x="523399" y="428149"/>
                    <a:pt x="522446" y="427196"/>
                    <a:pt x="522446" y="427196"/>
                  </a:cubicBezTo>
                  <a:cubicBezTo>
                    <a:pt x="522446" y="426244"/>
                    <a:pt x="522446" y="424339"/>
                    <a:pt x="522446" y="423386"/>
                  </a:cubicBezTo>
                  <a:cubicBezTo>
                    <a:pt x="525304" y="414814"/>
                    <a:pt x="527209" y="410051"/>
                    <a:pt x="527209" y="410051"/>
                  </a:cubicBezTo>
                  <a:cubicBezTo>
                    <a:pt x="527209" y="410051"/>
                    <a:pt x="525304" y="412909"/>
                    <a:pt x="522446" y="418624"/>
                  </a:cubicBezTo>
                  <a:cubicBezTo>
                    <a:pt x="522446" y="413861"/>
                    <a:pt x="521494" y="409099"/>
                    <a:pt x="521494" y="405289"/>
                  </a:cubicBezTo>
                  <a:cubicBezTo>
                    <a:pt x="520541" y="392906"/>
                    <a:pt x="518636" y="380524"/>
                    <a:pt x="517684" y="369094"/>
                  </a:cubicBezTo>
                  <a:cubicBezTo>
                    <a:pt x="519589" y="356711"/>
                    <a:pt x="520541" y="347186"/>
                    <a:pt x="522446" y="336709"/>
                  </a:cubicBezTo>
                  <a:close/>
                  <a:moveTo>
                    <a:pt x="512921" y="271939"/>
                  </a:moveTo>
                  <a:cubicBezTo>
                    <a:pt x="511969" y="276701"/>
                    <a:pt x="511016" y="281464"/>
                    <a:pt x="509111" y="287179"/>
                  </a:cubicBezTo>
                  <a:cubicBezTo>
                    <a:pt x="509111" y="287179"/>
                    <a:pt x="509111" y="287179"/>
                    <a:pt x="509111" y="288131"/>
                  </a:cubicBezTo>
                  <a:cubicBezTo>
                    <a:pt x="508159" y="284321"/>
                    <a:pt x="508159" y="279559"/>
                    <a:pt x="507206" y="275749"/>
                  </a:cubicBezTo>
                  <a:cubicBezTo>
                    <a:pt x="507206" y="270986"/>
                    <a:pt x="508159" y="267176"/>
                    <a:pt x="508159" y="262414"/>
                  </a:cubicBezTo>
                  <a:lnTo>
                    <a:pt x="509111" y="262414"/>
                  </a:lnTo>
                  <a:cubicBezTo>
                    <a:pt x="511016" y="265271"/>
                    <a:pt x="511969" y="268129"/>
                    <a:pt x="512921" y="271939"/>
                  </a:cubicBezTo>
                  <a:close/>
                  <a:moveTo>
                    <a:pt x="497681" y="207169"/>
                  </a:moveTo>
                  <a:cubicBezTo>
                    <a:pt x="500539" y="217646"/>
                    <a:pt x="503396" y="230981"/>
                    <a:pt x="506254" y="245269"/>
                  </a:cubicBezTo>
                  <a:cubicBezTo>
                    <a:pt x="507206" y="249079"/>
                    <a:pt x="508159" y="252889"/>
                    <a:pt x="509111" y="256699"/>
                  </a:cubicBezTo>
                  <a:cubicBezTo>
                    <a:pt x="508159" y="256699"/>
                    <a:pt x="507206" y="256699"/>
                    <a:pt x="506254" y="256699"/>
                  </a:cubicBezTo>
                  <a:lnTo>
                    <a:pt x="505301" y="256699"/>
                  </a:lnTo>
                  <a:cubicBezTo>
                    <a:pt x="505301" y="256699"/>
                    <a:pt x="505301" y="256699"/>
                    <a:pt x="505301" y="256699"/>
                  </a:cubicBezTo>
                  <a:cubicBezTo>
                    <a:pt x="502444" y="238601"/>
                    <a:pt x="499586" y="220504"/>
                    <a:pt x="497681" y="207169"/>
                  </a:cubicBezTo>
                  <a:cubicBezTo>
                    <a:pt x="496729" y="207169"/>
                    <a:pt x="496729" y="207169"/>
                    <a:pt x="497681" y="207169"/>
                  </a:cubicBezTo>
                  <a:close/>
                  <a:moveTo>
                    <a:pt x="487204" y="419576"/>
                  </a:moveTo>
                  <a:cubicBezTo>
                    <a:pt x="487204" y="420529"/>
                    <a:pt x="486251" y="421481"/>
                    <a:pt x="486251" y="422434"/>
                  </a:cubicBezTo>
                  <a:lnTo>
                    <a:pt x="483394" y="422434"/>
                  </a:lnTo>
                  <a:cubicBezTo>
                    <a:pt x="483394" y="421481"/>
                    <a:pt x="483394" y="419576"/>
                    <a:pt x="483394" y="418624"/>
                  </a:cubicBezTo>
                  <a:cubicBezTo>
                    <a:pt x="483394" y="412909"/>
                    <a:pt x="482441" y="407194"/>
                    <a:pt x="481489" y="401479"/>
                  </a:cubicBezTo>
                  <a:cubicBezTo>
                    <a:pt x="483394" y="407194"/>
                    <a:pt x="485299" y="413861"/>
                    <a:pt x="487204" y="419576"/>
                  </a:cubicBezTo>
                  <a:close/>
                  <a:moveTo>
                    <a:pt x="437674" y="390049"/>
                  </a:moveTo>
                  <a:cubicBezTo>
                    <a:pt x="437674" y="390049"/>
                    <a:pt x="437674" y="390049"/>
                    <a:pt x="437674" y="390049"/>
                  </a:cubicBezTo>
                  <a:cubicBezTo>
                    <a:pt x="437674" y="389096"/>
                    <a:pt x="437674" y="389096"/>
                    <a:pt x="437674" y="388144"/>
                  </a:cubicBezTo>
                  <a:cubicBezTo>
                    <a:pt x="437674" y="388144"/>
                    <a:pt x="437674" y="388144"/>
                    <a:pt x="437674" y="388144"/>
                  </a:cubicBezTo>
                  <a:cubicBezTo>
                    <a:pt x="437674" y="389096"/>
                    <a:pt x="437674" y="390049"/>
                    <a:pt x="437674" y="390049"/>
                  </a:cubicBezTo>
                  <a:cubicBezTo>
                    <a:pt x="437674" y="391001"/>
                    <a:pt x="437674" y="390049"/>
                    <a:pt x="437674" y="390049"/>
                  </a:cubicBezTo>
                  <a:close/>
                  <a:moveTo>
                    <a:pt x="448151" y="362426"/>
                  </a:moveTo>
                  <a:cubicBezTo>
                    <a:pt x="447199" y="360521"/>
                    <a:pt x="446246" y="358616"/>
                    <a:pt x="446246" y="356711"/>
                  </a:cubicBezTo>
                  <a:cubicBezTo>
                    <a:pt x="447199" y="353854"/>
                    <a:pt x="448151" y="350044"/>
                    <a:pt x="449104" y="347186"/>
                  </a:cubicBezTo>
                  <a:cubicBezTo>
                    <a:pt x="448151" y="351949"/>
                    <a:pt x="448151" y="357664"/>
                    <a:pt x="448151" y="362426"/>
                  </a:cubicBezTo>
                  <a:close/>
                  <a:moveTo>
                    <a:pt x="436721" y="227171"/>
                  </a:moveTo>
                  <a:cubicBezTo>
                    <a:pt x="437674" y="233839"/>
                    <a:pt x="439579" y="239554"/>
                    <a:pt x="440531" y="246221"/>
                  </a:cubicBezTo>
                  <a:cubicBezTo>
                    <a:pt x="438626" y="242411"/>
                    <a:pt x="436721" y="238601"/>
                    <a:pt x="434816" y="234791"/>
                  </a:cubicBezTo>
                  <a:cubicBezTo>
                    <a:pt x="435769" y="231934"/>
                    <a:pt x="435769" y="230029"/>
                    <a:pt x="436721" y="227171"/>
                  </a:cubicBezTo>
                  <a:close/>
                  <a:moveTo>
                    <a:pt x="428149" y="280511"/>
                  </a:moveTo>
                  <a:cubicBezTo>
                    <a:pt x="430054" y="270986"/>
                    <a:pt x="431006" y="262414"/>
                    <a:pt x="431959" y="253841"/>
                  </a:cubicBezTo>
                  <a:cubicBezTo>
                    <a:pt x="431959" y="255746"/>
                    <a:pt x="432911" y="256699"/>
                    <a:pt x="432911" y="258604"/>
                  </a:cubicBezTo>
                  <a:cubicBezTo>
                    <a:pt x="434816" y="266224"/>
                    <a:pt x="436721" y="274796"/>
                    <a:pt x="438626" y="284321"/>
                  </a:cubicBezTo>
                  <a:cubicBezTo>
                    <a:pt x="438626" y="286226"/>
                    <a:pt x="439579" y="288131"/>
                    <a:pt x="439579" y="290036"/>
                  </a:cubicBezTo>
                  <a:cubicBezTo>
                    <a:pt x="434816" y="284321"/>
                    <a:pt x="432911" y="281464"/>
                    <a:pt x="432911" y="281464"/>
                  </a:cubicBezTo>
                  <a:cubicBezTo>
                    <a:pt x="432911" y="281464"/>
                    <a:pt x="435769" y="287179"/>
                    <a:pt x="439579" y="295751"/>
                  </a:cubicBezTo>
                  <a:cubicBezTo>
                    <a:pt x="440531" y="296704"/>
                    <a:pt x="440531" y="298609"/>
                    <a:pt x="441484" y="299561"/>
                  </a:cubicBezTo>
                  <a:cubicBezTo>
                    <a:pt x="442436" y="303371"/>
                    <a:pt x="443389" y="308134"/>
                    <a:pt x="443389" y="312896"/>
                  </a:cubicBezTo>
                  <a:cubicBezTo>
                    <a:pt x="444341" y="317659"/>
                    <a:pt x="445294" y="323374"/>
                    <a:pt x="446246" y="328136"/>
                  </a:cubicBezTo>
                  <a:cubicBezTo>
                    <a:pt x="446246" y="330994"/>
                    <a:pt x="447199" y="332899"/>
                    <a:pt x="447199" y="335756"/>
                  </a:cubicBezTo>
                  <a:cubicBezTo>
                    <a:pt x="446246" y="337661"/>
                    <a:pt x="445294" y="339566"/>
                    <a:pt x="445294" y="341471"/>
                  </a:cubicBezTo>
                  <a:cubicBezTo>
                    <a:pt x="444341" y="344329"/>
                    <a:pt x="443389" y="346234"/>
                    <a:pt x="442436" y="349091"/>
                  </a:cubicBezTo>
                  <a:cubicBezTo>
                    <a:pt x="439579" y="342424"/>
                    <a:pt x="437674" y="336709"/>
                    <a:pt x="434816" y="331946"/>
                  </a:cubicBezTo>
                  <a:cubicBezTo>
                    <a:pt x="434816" y="322421"/>
                    <a:pt x="434816" y="317659"/>
                    <a:pt x="434816" y="317659"/>
                  </a:cubicBezTo>
                  <a:cubicBezTo>
                    <a:pt x="434816" y="317659"/>
                    <a:pt x="433864" y="321469"/>
                    <a:pt x="432911" y="328136"/>
                  </a:cubicBezTo>
                  <a:cubicBezTo>
                    <a:pt x="430054" y="319564"/>
                    <a:pt x="426244" y="310991"/>
                    <a:pt x="423386" y="303371"/>
                  </a:cubicBezTo>
                  <a:cubicBezTo>
                    <a:pt x="426244" y="295751"/>
                    <a:pt x="427196" y="288131"/>
                    <a:pt x="428149" y="280511"/>
                  </a:cubicBezTo>
                  <a:close/>
                  <a:moveTo>
                    <a:pt x="418624" y="345281"/>
                  </a:moveTo>
                  <a:cubicBezTo>
                    <a:pt x="419576" y="337661"/>
                    <a:pt x="420529" y="330041"/>
                    <a:pt x="422434" y="322421"/>
                  </a:cubicBezTo>
                  <a:cubicBezTo>
                    <a:pt x="424339" y="328136"/>
                    <a:pt x="425291" y="333851"/>
                    <a:pt x="427196" y="339566"/>
                  </a:cubicBezTo>
                  <a:cubicBezTo>
                    <a:pt x="428149" y="343376"/>
                    <a:pt x="429101" y="347186"/>
                    <a:pt x="430054" y="350996"/>
                  </a:cubicBezTo>
                  <a:cubicBezTo>
                    <a:pt x="429101" y="354806"/>
                    <a:pt x="429101" y="358616"/>
                    <a:pt x="428149" y="362426"/>
                  </a:cubicBezTo>
                  <a:cubicBezTo>
                    <a:pt x="427196" y="360521"/>
                    <a:pt x="426244" y="358616"/>
                    <a:pt x="426244" y="356711"/>
                  </a:cubicBezTo>
                  <a:cubicBezTo>
                    <a:pt x="423386" y="349091"/>
                    <a:pt x="420529" y="344329"/>
                    <a:pt x="420529" y="344329"/>
                  </a:cubicBezTo>
                  <a:cubicBezTo>
                    <a:pt x="420529" y="344329"/>
                    <a:pt x="420529" y="349091"/>
                    <a:pt x="422434" y="357664"/>
                  </a:cubicBezTo>
                  <a:cubicBezTo>
                    <a:pt x="423386" y="361474"/>
                    <a:pt x="423386" y="367189"/>
                    <a:pt x="424339" y="372904"/>
                  </a:cubicBezTo>
                  <a:cubicBezTo>
                    <a:pt x="424339" y="374809"/>
                    <a:pt x="425291" y="375761"/>
                    <a:pt x="425291" y="377666"/>
                  </a:cubicBezTo>
                  <a:cubicBezTo>
                    <a:pt x="425291" y="376714"/>
                    <a:pt x="424339" y="375761"/>
                    <a:pt x="424339" y="375761"/>
                  </a:cubicBezTo>
                  <a:cubicBezTo>
                    <a:pt x="424339" y="375761"/>
                    <a:pt x="424339" y="374809"/>
                    <a:pt x="424339" y="374809"/>
                  </a:cubicBezTo>
                  <a:cubicBezTo>
                    <a:pt x="422434" y="367189"/>
                    <a:pt x="420529" y="359569"/>
                    <a:pt x="418624" y="351949"/>
                  </a:cubicBezTo>
                  <a:cubicBezTo>
                    <a:pt x="417671" y="349091"/>
                    <a:pt x="418624" y="347186"/>
                    <a:pt x="418624" y="345281"/>
                  </a:cubicBezTo>
                  <a:close/>
                  <a:moveTo>
                    <a:pt x="406241" y="261461"/>
                  </a:moveTo>
                  <a:cubicBezTo>
                    <a:pt x="408146" y="267176"/>
                    <a:pt x="410051" y="275749"/>
                    <a:pt x="411956" y="285274"/>
                  </a:cubicBezTo>
                  <a:cubicBezTo>
                    <a:pt x="410051" y="292894"/>
                    <a:pt x="409099" y="301466"/>
                    <a:pt x="407194" y="310039"/>
                  </a:cubicBezTo>
                  <a:cubicBezTo>
                    <a:pt x="406241" y="307181"/>
                    <a:pt x="406241" y="304324"/>
                    <a:pt x="405289" y="302419"/>
                  </a:cubicBezTo>
                  <a:cubicBezTo>
                    <a:pt x="406241" y="288131"/>
                    <a:pt x="406241" y="273844"/>
                    <a:pt x="406241" y="261461"/>
                  </a:cubicBezTo>
                  <a:close/>
                  <a:moveTo>
                    <a:pt x="382429" y="290036"/>
                  </a:moveTo>
                  <a:cubicBezTo>
                    <a:pt x="382429" y="290989"/>
                    <a:pt x="382429" y="292894"/>
                    <a:pt x="381476" y="293846"/>
                  </a:cubicBezTo>
                  <a:cubicBezTo>
                    <a:pt x="381476" y="290989"/>
                    <a:pt x="381476" y="288131"/>
                    <a:pt x="381476" y="285274"/>
                  </a:cubicBezTo>
                  <a:cubicBezTo>
                    <a:pt x="381476" y="287179"/>
                    <a:pt x="382429" y="288131"/>
                    <a:pt x="382429" y="290036"/>
                  </a:cubicBezTo>
                  <a:close/>
                  <a:moveTo>
                    <a:pt x="361474" y="394811"/>
                  </a:moveTo>
                  <a:cubicBezTo>
                    <a:pt x="361474" y="397669"/>
                    <a:pt x="361474" y="401479"/>
                    <a:pt x="361474" y="404336"/>
                  </a:cubicBezTo>
                  <a:cubicBezTo>
                    <a:pt x="361474" y="405289"/>
                    <a:pt x="361474" y="406241"/>
                    <a:pt x="361474" y="407194"/>
                  </a:cubicBezTo>
                  <a:cubicBezTo>
                    <a:pt x="359569" y="399574"/>
                    <a:pt x="357664" y="391001"/>
                    <a:pt x="354806" y="383381"/>
                  </a:cubicBezTo>
                  <a:cubicBezTo>
                    <a:pt x="354806" y="383381"/>
                    <a:pt x="354806" y="383381"/>
                    <a:pt x="354806" y="382429"/>
                  </a:cubicBezTo>
                  <a:cubicBezTo>
                    <a:pt x="353854" y="379571"/>
                    <a:pt x="353854" y="376714"/>
                    <a:pt x="352901" y="373856"/>
                  </a:cubicBezTo>
                  <a:cubicBezTo>
                    <a:pt x="355759" y="381476"/>
                    <a:pt x="358616" y="388144"/>
                    <a:pt x="361474" y="394811"/>
                  </a:cubicBezTo>
                  <a:close/>
                  <a:moveTo>
                    <a:pt x="347186" y="307181"/>
                  </a:moveTo>
                  <a:cubicBezTo>
                    <a:pt x="348139" y="309086"/>
                    <a:pt x="348139" y="310039"/>
                    <a:pt x="349091" y="311944"/>
                  </a:cubicBezTo>
                  <a:cubicBezTo>
                    <a:pt x="348139" y="310991"/>
                    <a:pt x="348139" y="310039"/>
                    <a:pt x="347186" y="309086"/>
                  </a:cubicBezTo>
                  <a:cubicBezTo>
                    <a:pt x="346234" y="309086"/>
                    <a:pt x="346234" y="308134"/>
                    <a:pt x="347186" y="307181"/>
                  </a:cubicBezTo>
                  <a:close/>
                  <a:moveTo>
                    <a:pt x="347186" y="429101"/>
                  </a:moveTo>
                  <a:cubicBezTo>
                    <a:pt x="347186" y="430054"/>
                    <a:pt x="348139" y="431959"/>
                    <a:pt x="348139" y="432911"/>
                  </a:cubicBezTo>
                  <a:lnTo>
                    <a:pt x="346234" y="432911"/>
                  </a:lnTo>
                  <a:cubicBezTo>
                    <a:pt x="346234" y="431006"/>
                    <a:pt x="346234" y="430054"/>
                    <a:pt x="347186" y="429101"/>
                  </a:cubicBezTo>
                  <a:close/>
                  <a:moveTo>
                    <a:pt x="310991" y="439579"/>
                  </a:moveTo>
                  <a:cubicBezTo>
                    <a:pt x="310991" y="434816"/>
                    <a:pt x="310991" y="429101"/>
                    <a:pt x="311944" y="424339"/>
                  </a:cubicBezTo>
                  <a:cubicBezTo>
                    <a:pt x="313849" y="429101"/>
                    <a:pt x="315754" y="433864"/>
                    <a:pt x="317659" y="438626"/>
                  </a:cubicBezTo>
                  <a:lnTo>
                    <a:pt x="310991" y="439579"/>
                  </a:lnTo>
                  <a:close/>
                  <a:moveTo>
                    <a:pt x="302419" y="230981"/>
                  </a:moveTo>
                  <a:cubicBezTo>
                    <a:pt x="303371" y="232886"/>
                    <a:pt x="303371" y="235744"/>
                    <a:pt x="304324" y="237649"/>
                  </a:cubicBezTo>
                  <a:cubicBezTo>
                    <a:pt x="305276" y="242411"/>
                    <a:pt x="306229" y="247174"/>
                    <a:pt x="307181" y="252889"/>
                  </a:cubicBezTo>
                  <a:cubicBezTo>
                    <a:pt x="303371" y="247174"/>
                    <a:pt x="300514" y="244316"/>
                    <a:pt x="300514" y="244316"/>
                  </a:cubicBezTo>
                  <a:cubicBezTo>
                    <a:pt x="300514" y="238601"/>
                    <a:pt x="301466" y="234791"/>
                    <a:pt x="302419" y="230981"/>
                  </a:cubicBezTo>
                  <a:close/>
                  <a:moveTo>
                    <a:pt x="295751" y="269081"/>
                  </a:moveTo>
                  <a:cubicBezTo>
                    <a:pt x="296704" y="264319"/>
                    <a:pt x="297656" y="262414"/>
                    <a:pt x="297656" y="262414"/>
                  </a:cubicBezTo>
                  <a:cubicBezTo>
                    <a:pt x="297656" y="262414"/>
                    <a:pt x="296704" y="263366"/>
                    <a:pt x="295751" y="265271"/>
                  </a:cubicBezTo>
                  <a:cubicBezTo>
                    <a:pt x="296704" y="260509"/>
                    <a:pt x="296704" y="256699"/>
                    <a:pt x="297656" y="251936"/>
                  </a:cubicBezTo>
                  <a:cubicBezTo>
                    <a:pt x="298609" y="249079"/>
                    <a:pt x="298609" y="246221"/>
                    <a:pt x="299561" y="243364"/>
                  </a:cubicBezTo>
                  <a:cubicBezTo>
                    <a:pt x="299561" y="244316"/>
                    <a:pt x="300514" y="245269"/>
                    <a:pt x="301466" y="247174"/>
                  </a:cubicBezTo>
                  <a:cubicBezTo>
                    <a:pt x="304324" y="254794"/>
                    <a:pt x="307181" y="262414"/>
                    <a:pt x="310039" y="270986"/>
                  </a:cubicBezTo>
                  <a:cubicBezTo>
                    <a:pt x="312896" y="285274"/>
                    <a:pt x="315754" y="298609"/>
                    <a:pt x="319564" y="312896"/>
                  </a:cubicBezTo>
                  <a:cubicBezTo>
                    <a:pt x="322421" y="328136"/>
                    <a:pt x="326231" y="343376"/>
                    <a:pt x="330041" y="358616"/>
                  </a:cubicBezTo>
                  <a:cubicBezTo>
                    <a:pt x="330041" y="359569"/>
                    <a:pt x="330041" y="360521"/>
                    <a:pt x="330041" y="362426"/>
                  </a:cubicBezTo>
                  <a:cubicBezTo>
                    <a:pt x="329089" y="375761"/>
                    <a:pt x="328136" y="390049"/>
                    <a:pt x="327184" y="404336"/>
                  </a:cubicBezTo>
                  <a:cubicBezTo>
                    <a:pt x="327184" y="404336"/>
                    <a:pt x="327184" y="404336"/>
                    <a:pt x="327184" y="404336"/>
                  </a:cubicBezTo>
                  <a:cubicBezTo>
                    <a:pt x="325279" y="400526"/>
                    <a:pt x="323374" y="396716"/>
                    <a:pt x="321469" y="392906"/>
                  </a:cubicBezTo>
                  <a:cubicBezTo>
                    <a:pt x="317659" y="382429"/>
                    <a:pt x="313849" y="371951"/>
                    <a:pt x="310991" y="362426"/>
                  </a:cubicBezTo>
                  <a:cubicBezTo>
                    <a:pt x="306229" y="347186"/>
                    <a:pt x="301466" y="332899"/>
                    <a:pt x="296704" y="318611"/>
                  </a:cubicBezTo>
                  <a:cubicBezTo>
                    <a:pt x="294799" y="312896"/>
                    <a:pt x="293846" y="308134"/>
                    <a:pt x="291941" y="302419"/>
                  </a:cubicBezTo>
                  <a:cubicBezTo>
                    <a:pt x="292894" y="290989"/>
                    <a:pt x="294799" y="279559"/>
                    <a:pt x="295751" y="269081"/>
                  </a:cubicBezTo>
                  <a:close/>
                  <a:moveTo>
                    <a:pt x="283369" y="378619"/>
                  </a:moveTo>
                  <a:cubicBezTo>
                    <a:pt x="283369" y="373856"/>
                    <a:pt x="284321" y="369094"/>
                    <a:pt x="284321" y="365284"/>
                  </a:cubicBezTo>
                  <a:cubicBezTo>
                    <a:pt x="284321" y="364331"/>
                    <a:pt x="284321" y="363379"/>
                    <a:pt x="285274" y="363379"/>
                  </a:cubicBezTo>
                  <a:cubicBezTo>
                    <a:pt x="289084" y="370999"/>
                    <a:pt x="291941" y="378619"/>
                    <a:pt x="295751" y="387191"/>
                  </a:cubicBezTo>
                  <a:cubicBezTo>
                    <a:pt x="297656" y="391954"/>
                    <a:pt x="300514" y="395764"/>
                    <a:pt x="302419" y="400526"/>
                  </a:cubicBezTo>
                  <a:cubicBezTo>
                    <a:pt x="302419" y="401479"/>
                    <a:pt x="303371" y="403384"/>
                    <a:pt x="303371" y="404336"/>
                  </a:cubicBezTo>
                  <a:cubicBezTo>
                    <a:pt x="302419" y="407194"/>
                    <a:pt x="302419" y="410051"/>
                    <a:pt x="301466" y="412909"/>
                  </a:cubicBezTo>
                  <a:cubicBezTo>
                    <a:pt x="299561" y="422434"/>
                    <a:pt x="297656" y="432911"/>
                    <a:pt x="295751" y="442436"/>
                  </a:cubicBezTo>
                  <a:lnTo>
                    <a:pt x="283369" y="444341"/>
                  </a:lnTo>
                  <a:cubicBezTo>
                    <a:pt x="282416" y="441484"/>
                    <a:pt x="282416" y="438626"/>
                    <a:pt x="281464" y="435769"/>
                  </a:cubicBezTo>
                  <a:cubicBezTo>
                    <a:pt x="281464" y="425291"/>
                    <a:pt x="281464" y="415766"/>
                    <a:pt x="281464" y="407194"/>
                  </a:cubicBezTo>
                  <a:cubicBezTo>
                    <a:pt x="281464" y="397669"/>
                    <a:pt x="282416" y="388144"/>
                    <a:pt x="283369" y="378619"/>
                  </a:cubicBezTo>
                  <a:close/>
                  <a:moveTo>
                    <a:pt x="237649" y="415766"/>
                  </a:moveTo>
                  <a:cubicBezTo>
                    <a:pt x="234791" y="409099"/>
                    <a:pt x="230981" y="402431"/>
                    <a:pt x="228124" y="395764"/>
                  </a:cubicBezTo>
                  <a:cubicBezTo>
                    <a:pt x="228124" y="391954"/>
                    <a:pt x="229076" y="387191"/>
                    <a:pt x="229076" y="383381"/>
                  </a:cubicBezTo>
                  <a:cubicBezTo>
                    <a:pt x="232886" y="391001"/>
                    <a:pt x="235744" y="398621"/>
                    <a:pt x="239554" y="406241"/>
                  </a:cubicBezTo>
                  <a:cubicBezTo>
                    <a:pt x="239554" y="410051"/>
                    <a:pt x="238601" y="412909"/>
                    <a:pt x="237649" y="415766"/>
                  </a:cubicBezTo>
                  <a:close/>
                  <a:moveTo>
                    <a:pt x="247174" y="431006"/>
                  </a:moveTo>
                  <a:cubicBezTo>
                    <a:pt x="247174" y="429101"/>
                    <a:pt x="247174" y="427196"/>
                    <a:pt x="248126" y="425291"/>
                  </a:cubicBezTo>
                  <a:cubicBezTo>
                    <a:pt x="248126" y="425291"/>
                    <a:pt x="248126" y="425291"/>
                    <a:pt x="248126" y="425291"/>
                  </a:cubicBezTo>
                  <a:cubicBezTo>
                    <a:pt x="248126" y="427196"/>
                    <a:pt x="247174" y="429101"/>
                    <a:pt x="247174" y="431006"/>
                  </a:cubicBezTo>
                  <a:close/>
                  <a:moveTo>
                    <a:pt x="264319" y="204311"/>
                  </a:moveTo>
                  <a:cubicBezTo>
                    <a:pt x="267176" y="195739"/>
                    <a:pt x="269081" y="189071"/>
                    <a:pt x="270986" y="185261"/>
                  </a:cubicBezTo>
                  <a:cubicBezTo>
                    <a:pt x="269081" y="194786"/>
                    <a:pt x="268129" y="204311"/>
                    <a:pt x="267176" y="214789"/>
                  </a:cubicBezTo>
                  <a:cubicBezTo>
                    <a:pt x="267176" y="212884"/>
                    <a:pt x="266224" y="211931"/>
                    <a:pt x="266224" y="210026"/>
                  </a:cubicBezTo>
                  <a:cubicBezTo>
                    <a:pt x="264319" y="207169"/>
                    <a:pt x="264319" y="206216"/>
                    <a:pt x="264319" y="204311"/>
                  </a:cubicBezTo>
                  <a:cubicBezTo>
                    <a:pt x="264319" y="204311"/>
                    <a:pt x="264319" y="204311"/>
                    <a:pt x="264319" y="204311"/>
                  </a:cubicBezTo>
                  <a:close/>
                  <a:moveTo>
                    <a:pt x="254794" y="235744"/>
                  </a:moveTo>
                  <a:cubicBezTo>
                    <a:pt x="256699" y="230029"/>
                    <a:pt x="257651" y="225266"/>
                    <a:pt x="258604" y="220504"/>
                  </a:cubicBezTo>
                  <a:cubicBezTo>
                    <a:pt x="259556" y="227171"/>
                    <a:pt x="260509" y="234791"/>
                    <a:pt x="261461" y="242411"/>
                  </a:cubicBezTo>
                  <a:cubicBezTo>
                    <a:pt x="261461" y="243364"/>
                    <a:pt x="261461" y="244316"/>
                    <a:pt x="262414" y="245269"/>
                  </a:cubicBezTo>
                  <a:cubicBezTo>
                    <a:pt x="261461" y="253841"/>
                    <a:pt x="260509" y="261461"/>
                    <a:pt x="260509" y="270034"/>
                  </a:cubicBezTo>
                  <a:cubicBezTo>
                    <a:pt x="259556" y="268129"/>
                    <a:pt x="258604" y="266224"/>
                    <a:pt x="257651" y="264319"/>
                  </a:cubicBezTo>
                  <a:cubicBezTo>
                    <a:pt x="254794" y="258604"/>
                    <a:pt x="252889" y="253841"/>
                    <a:pt x="250984" y="249079"/>
                  </a:cubicBezTo>
                  <a:cubicBezTo>
                    <a:pt x="252889" y="245269"/>
                    <a:pt x="253841" y="239554"/>
                    <a:pt x="254794" y="235744"/>
                  </a:cubicBezTo>
                  <a:close/>
                  <a:moveTo>
                    <a:pt x="245269" y="276701"/>
                  </a:moveTo>
                  <a:cubicBezTo>
                    <a:pt x="246221" y="270986"/>
                    <a:pt x="248126" y="265271"/>
                    <a:pt x="249079" y="260509"/>
                  </a:cubicBezTo>
                  <a:cubicBezTo>
                    <a:pt x="250031" y="262414"/>
                    <a:pt x="250031" y="265271"/>
                    <a:pt x="250984" y="268129"/>
                  </a:cubicBezTo>
                  <a:cubicBezTo>
                    <a:pt x="252889" y="275749"/>
                    <a:pt x="255746" y="284321"/>
                    <a:pt x="258604" y="292894"/>
                  </a:cubicBezTo>
                  <a:cubicBezTo>
                    <a:pt x="258604" y="293846"/>
                    <a:pt x="259556" y="294799"/>
                    <a:pt x="259556" y="294799"/>
                  </a:cubicBezTo>
                  <a:cubicBezTo>
                    <a:pt x="259556" y="295751"/>
                    <a:pt x="259556" y="296704"/>
                    <a:pt x="259556" y="297656"/>
                  </a:cubicBezTo>
                  <a:cubicBezTo>
                    <a:pt x="258604" y="310039"/>
                    <a:pt x="258604" y="321469"/>
                    <a:pt x="257651" y="333851"/>
                  </a:cubicBezTo>
                  <a:cubicBezTo>
                    <a:pt x="255746" y="325279"/>
                    <a:pt x="253841" y="317659"/>
                    <a:pt x="250984" y="309086"/>
                  </a:cubicBezTo>
                  <a:cubicBezTo>
                    <a:pt x="252889" y="304324"/>
                    <a:pt x="253841" y="301466"/>
                    <a:pt x="253841" y="301466"/>
                  </a:cubicBezTo>
                  <a:cubicBezTo>
                    <a:pt x="253841" y="301466"/>
                    <a:pt x="252889" y="303371"/>
                    <a:pt x="250984" y="307181"/>
                  </a:cubicBezTo>
                  <a:cubicBezTo>
                    <a:pt x="249079" y="299561"/>
                    <a:pt x="247174" y="291941"/>
                    <a:pt x="244316" y="284321"/>
                  </a:cubicBezTo>
                  <a:cubicBezTo>
                    <a:pt x="244316" y="281464"/>
                    <a:pt x="245269" y="279559"/>
                    <a:pt x="245269" y="276701"/>
                  </a:cubicBezTo>
                  <a:close/>
                  <a:moveTo>
                    <a:pt x="236696" y="325279"/>
                  </a:moveTo>
                  <a:cubicBezTo>
                    <a:pt x="236696" y="324326"/>
                    <a:pt x="236696" y="323374"/>
                    <a:pt x="237649" y="322421"/>
                  </a:cubicBezTo>
                  <a:cubicBezTo>
                    <a:pt x="237649" y="324326"/>
                    <a:pt x="238601" y="327184"/>
                    <a:pt x="238601" y="329089"/>
                  </a:cubicBezTo>
                  <a:cubicBezTo>
                    <a:pt x="237649" y="330994"/>
                    <a:pt x="236696" y="332899"/>
                    <a:pt x="235744" y="335756"/>
                  </a:cubicBezTo>
                  <a:cubicBezTo>
                    <a:pt x="235744" y="332899"/>
                    <a:pt x="235744" y="329089"/>
                    <a:pt x="236696" y="325279"/>
                  </a:cubicBezTo>
                  <a:close/>
                  <a:moveTo>
                    <a:pt x="234791" y="353854"/>
                  </a:moveTo>
                  <a:cubicBezTo>
                    <a:pt x="236696" y="348139"/>
                    <a:pt x="238601" y="342424"/>
                    <a:pt x="240506" y="337661"/>
                  </a:cubicBezTo>
                  <a:cubicBezTo>
                    <a:pt x="240506" y="339566"/>
                    <a:pt x="241459" y="340519"/>
                    <a:pt x="241459" y="342424"/>
                  </a:cubicBezTo>
                  <a:cubicBezTo>
                    <a:pt x="243364" y="352901"/>
                    <a:pt x="246221" y="362426"/>
                    <a:pt x="248126" y="372904"/>
                  </a:cubicBezTo>
                  <a:cubicBezTo>
                    <a:pt x="248126" y="374809"/>
                    <a:pt x="247174" y="376714"/>
                    <a:pt x="247174" y="378619"/>
                  </a:cubicBezTo>
                  <a:cubicBezTo>
                    <a:pt x="245269" y="375761"/>
                    <a:pt x="243364" y="371951"/>
                    <a:pt x="242411" y="369094"/>
                  </a:cubicBezTo>
                  <a:cubicBezTo>
                    <a:pt x="239554" y="364331"/>
                    <a:pt x="236696" y="359569"/>
                    <a:pt x="234791" y="353854"/>
                  </a:cubicBezTo>
                  <a:cubicBezTo>
                    <a:pt x="234791" y="354806"/>
                    <a:pt x="234791" y="353854"/>
                    <a:pt x="234791" y="353854"/>
                  </a:cubicBezTo>
                  <a:close/>
                  <a:moveTo>
                    <a:pt x="222409" y="297656"/>
                  </a:moveTo>
                  <a:cubicBezTo>
                    <a:pt x="224314" y="290036"/>
                    <a:pt x="226219" y="283369"/>
                    <a:pt x="227171" y="278606"/>
                  </a:cubicBezTo>
                  <a:cubicBezTo>
                    <a:pt x="227171" y="280511"/>
                    <a:pt x="228124" y="282416"/>
                    <a:pt x="228124" y="284321"/>
                  </a:cubicBezTo>
                  <a:cubicBezTo>
                    <a:pt x="229076" y="286226"/>
                    <a:pt x="229076" y="288131"/>
                    <a:pt x="230029" y="290989"/>
                  </a:cubicBezTo>
                  <a:cubicBezTo>
                    <a:pt x="227171" y="301466"/>
                    <a:pt x="225266" y="312896"/>
                    <a:pt x="222409" y="324326"/>
                  </a:cubicBezTo>
                  <a:cubicBezTo>
                    <a:pt x="222409" y="326231"/>
                    <a:pt x="221456" y="328136"/>
                    <a:pt x="221456" y="330041"/>
                  </a:cubicBezTo>
                  <a:cubicBezTo>
                    <a:pt x="221456" y="330041"/>
                    <a:pt x="221456" y="329089"/>
                    <a:pt x="220504" y="329089"/>
                  </a:cubicBezTo>
                  <a:cubicBezTo>
                    <a:pt x="219551" y="323374"/>
                    <a:pt x="219551" y="317659"/>
                    <a:pt x="218599" y="312896"/>
                  </a:cubicBezTo>
                  <a:cubicBezTo>
                    <a:pt x="220504" y="306229"/>
                    <a:pt x="221456" y="301466"/>
                    <a:pt x="222409" y="297656"/>
                  </a:cubicBezTo>
                  <a:close/>
                  <a:moveTo>
                    <a:pt x="169069" y="411956"/>
                  </a:moveTo>
                  <a:cubicBezTo>
                    <a:pt x="169069" y="411956"/>
                    <a:pt x="169069" y="412909"/>
                    <a:pt x="169069" y="412909"/>
                  </a:cubicBezTo>
                  <a:cubicBezTo>
                    <a:pt x="168116" y="407194"/>
                    <a:pt x="167164" y="401479"/>
                    <a:pt x="165259" y="396716"/>
                  </a:cubicBezTo>
                  <a:cubicBezTo>
                    <a:pt x="165259" y="389096"/>
                    <a:pt x="164306" y="382429"/>
                    <a:pt x="164306" y="375761"/>
                  </a:cubicBezTo>
                  <a:cubicBezTo>
                    <a:pt x="163354" y="365284"/>
                    <a:pt x="162401" y="354806"/>
                    <a:pt x="161449" y="345281"/>
                  </a:cubicBezTo>
                  <a:cubicBezTo>
                    <a:pt x="160496" y="336709"/>
                    <a:pt x="159544" y="329089"/>
                    <a:pt x="158591" y="321469"/>
                  </a:cubicBezTo>
                  <a:cubicBezTo>
                    <a:pt x="158591" y="322421"/>
                    <a:pt x="159544" y="322421"/>
                    <a:pt x="159544" y="323374"/>
                  </a:cubicBezTo>
                  <a:cubicBezTo>
                    <a:pt x="160496" y="325279"/>
                    <a:pt x="161449" y="326231"/>
                    <a:pt x="162401" y="328136"/>
                  </a:cubicBezTo>
                  <a:cubicBezTo>
                    <a:pt x="163354" y="342424"/>
                    <a:pt x="165259" y="359569"/>
                    <a:pt x="167164" y="376714"/>
                  </a:cubicBezTo>
                  <a:cubicBezTo>
                    <a:pt x="168116" y="385286"/>
                    <a:pt x="169069" y="393859"/>
                    <a:pt x="170021" y="402431"/>
                  </a:cubicBezTo>
                  <a:cubicBezTo>
                    <a:pt x="170021" y="405289"/>
                    <a:pt x="169069" y="408146"/>
                    <a:pt x="169069" y="411956"/>
                  </a:cubicBezTo>
                  <a:close/>
                  <a:moveTo>
                    <a:pt x="209074" y="350044"/>
                  </a:moveTo>
                  <a:cubicBezTo>
                    <a:pt x="209074" y="352901"/>
                    <a:pt x="209074" y="356711"/>
                    <a:pt x="209074" y="359569"/>
                  </a:cubicBezTo>
                  <a:cubicBezTo>
                    <a:pt x="208121" y="358616"/>
                    <a:pt x="208121" y="357664"/>
                    <a:pt x="207169" y="356711"/>
                  </a:cubicBezTo>
                  <a:cubicBezTo>
                    <a:pt x="208121" y="354806"/>
                    <a:pt x="209074" y="351949"/>
                    <a:pt x="209074" y="350044"/>
                  </a:cubicBezTo>
                  <a:close/>
                  <a:moveTo>
                    <a:pt x="170974" y="259556"/>
                  </a:moveTo>
                  <a:cubicBezTo>
                    <a:pt x="173831" y="264319"/>
                    <a:pt x="175736" y="270034"/>
                    <a:pt x="178594" y="274796"/>
                  </a:cubicBezTo>
                  <a:cubicBezTo>
                    <a:pt x="181451" y="280511"/>
                    <a:pt x="184309" y="286226"/>
                    <a:pt x="187166" y="291941"/>
                  </a:cubicBezTo>
                  <a:cubicBezTo>
                    <a:pt x="192881" y="304324"/>
                    <a:pt x="198596" y="316706"/>
                    <a:pt x="205264" y="330041"/>
                  </a:cubicBezTo>
                  <a:cubicBezTo>
                    <a:pt x="203359" y="333851"/>
                    <a:pt x="202406" y="338614"/>
                    <a:pt x="200501" y="343376"/>
                  </a:cubicBezTo>
                  <a:cubicBezTo>
                    <a:pt x="200501" y="343376"/>
                    <a:pt x="200501" y="342424"/>
                    <a:pt x="199549" y="342424"/>
                  </a:cubicBezTo>
                  <a:cubicBezTo>
                    <a:pt x="193834" y="330994"/>
                    <a:pt x="187166" y="320516"/>
                    <a:pt x="180499" y="310039"/>
                  </a:cubicBezTo>
                  <a:cubicBezTo>
                    <a:pt x="178594" y="301466"/>
                    <a:pt x="176689" y="296704"/>
                    <a:pt x="176689" y="296704"/>
                  </a:cubicBezTo>
                  <a:cubicBezTo>
                    <a:pt x="176689" y="296704"/>
                    <a:pt x="176689" y="299561"/>
                    <a:pt x="176689" y="305276"/>
                  </a:cubicBezTo>
                  <a:cubicBezTo>
                    <a:pt x="175736" y="303371"/>
                    <a:pt x="174784" y="301466"/>
                    <a:pt x="172879" y="299561"/>
                  </a:cubicBezTo>
                  <a:cubicBezTo>
                    <a:pt x="172879" y="299561"/>
                    <a:pt x="171926" y="298609"/>
                    <a:pt x="171926" y="298609"/>
                  </a:cubicBezTo>
                  <a:cubicBezTo>
                    <a:pt x="170974" y="291941"/>
                    <a:pt x="169069" y="285274"/>
                    <a:pt x="168116" y="279559"/>
                  </a:cubicBezTo>
                  <a:cubicBezTo>
                    <a:pt x="164306" y="262414"/>
                    <a:pt x="161449" y="247174"/>
                    <a:pt x="158591" y="235744"/>
                  </a:cubicBezTo>
                  <a:cubicBezTo>
                    <a:pt x="163354" y="243364"/>
                    <a:pt x="167164" y="250984"/>
                    <a:pt x="170974" y="259556"/>
                  </a:cubicBezTo>
                  <a:close/>
                  <a:moveTo>
                    <a:pt x="161449" y="307181"/>
                  </a:moveTo>
                  <a:cubicBezTo>
                    <a:pt x="159544" y="305276"/>
                    <a:pt x="157639" y="303371"/>
                    <a:pt x="156686" y="301466"/>
                  </a:cubicBezTo>
                  <a:cubicBezTo>
                    <a:pt x="156686" y="300514"/>
                    <a:pt x="156686" y="298609"/>
                    <a:pt x="155734" y="297656"/>
                  </a:cubicBezTo>
                  <a:cubicBezTo>
                    <a:pt x="156686" y="300514"/>
                    <a:pt x="158591" y="304324"/>
                    <a:pt x="161449" y="307181"/>
                  </a:cubicBezTo>
                  <a:close/>
                  <a:moveTo>
                    <a:pt x="130969" y="280511"/>
                  </a:moveTo>
                  <a:cubicBezTo>
                    <a:pt x="131921" y="281464"/>
                    <a:pt x="132874" y="282416"/>
                    <a:pt x="133826" y="284321"/>
                  </a:cubicBezTo>
                  <a:cubicBezTo>
                    <a:pt x="137636" y="289084"/>
                    <a:pt x="141446" y="294799"/>
                    <a:pt x="145256" y="301466"/>
                  </a:cubicBezTo>
                  <a:cubicBezTo>
                    <a:pt x="147161" y="304324"/>
                    <a:pt x="149066" y="307181"/>
                    <a:pt x="150971" y="310039"/>
                  </a:cubicBezTo>
                  <a:cubicBezTo>
                    <a:pt x="150971" y="318611"/>
                    <a:pt x="150019" y="329089"/>
                    <a:pt x="150019" y="341471"/>
                  </a:cubicBezTo>
                  <a:cubicBezTo>
                    <a:pt x="150019" y="341471"/>
                    <a:pt x="150019" y="340519"/>
                    <a:pt x="149066" y="339566"/>
                  </a:cubicBezTo>
                  <a:cubicBezTo>
                    <a:pt x="148114" y="335756"/>
                    <a:pt x="146209" y="331946"/>
                    <a:pt x="145256" y="328136"/>
                  </a:cubicBezTo>
                  <a:cubicBezTo>
                    <a:pt x="144304" y="324326"/>
                    <a:pt x="142399" y="321469"/>
                    <a:pt x="140494" y="317659"/>
                  </a:cubicBezTo>
                  <a:cubicBezTo>
                    <a:pt x="137636" y="310991"/>
                    <a:pt x="134779" y="306229"/>
                    <a:pt x="132874" y="301466"/>
                  </a:cubicBezTo>
                  <a:cubicBezTo>
                    <a:pt x="130969" y="296704"/>
                    <a:pt x="129064" y="292894"/>
                    <a:pt x="127159" y="290989"/>
                  </a:cubicBezTo>
                  <a:cubicBezTo>
                    <a:pt x="129064" y="287179"/>
                    <a:pt x="130016" y="283369"/>
                    <a:pt x="130969" y="280511"/>
                  </a:cubicBezTo>
                  <a:close/>
                  <a:moveTo>
                    <a:pt x="121444" y="318611"/>
                  </a:moveTo>
                  <a:cubicBezTo>
                    <a:pt x="123349" y="309086"/>
                    <a:pt x="124301" y="301466"/>
                    <a:pt x="127159" y="294799"/>
                  </a:cubicBezTo>
                  <a:cubicBezTo>
                    <a:pt x="127159" y="294799"/>
                    <a:pt x="127159" y="294799"/>
                    <a:pt x="127159" y="293846"/>
                  </a:cubicBezTo>
                  <a:cubicBezTo>
                    <a:pt x="128111" y="296704"/>
                    <a:pt x="128111" y="299561"/>
                    <a:pt x="129064" y="303371"/>
                  </a:cubicBezTo>
                  <a:cubicBezTo>
                    <a:pt x="130016" y="308134"/>
                    <a:pt x="131921" y="313849"/>
                    <a:pt x="133826" y="320516"/>
                  </a:cubicBezTo>
                  <a:cubicBezTo>
                    <a:pt x="135731" y="327184"/>
                    <a:pt x="137636" y="334804"/>
                    <a:pt x="138589" y="342424"/>
                  </a:cubicBezTo>
                  <a:cubicBezTo>
                    <a:pt x="140494" y="350996"/>
                    <a:pt x="141446" y="359569"/>
                    <a:pt x="143351" y="369094"/>
                  </a:cubicBezTo>
                  <a:cubicBezTo>
                    <a:pt x="145256" y="378619"/>
                    <a:pt x="146209" y="388144"/>
                    <a:pt x="148114" y="398621"/>
                  </a:cubicBezTo>
                  <a:cubicBezTo>
                    <a:pt x="148114" y="399574"/>
                    <a:pt x="148114" y="401479"/>
                    <a:pt x="149066" y="403384"/>
                  </a:cubicBezTo>
                  <a:cubicBezTo>
                    <a:pt x="149066" y="406241"/>
                    <a:pt x="149066" y="408146"/>
                    <a:pt x="149066" y="411004"/>
                  </a:cubicBezTo>
                  <a:cubicBezTo>
                    <a:pt x="149066" y="412909"/>
                    <a:pt x="149066" y="414814"/>
                    <a:pt x="149066" y="416719"/>
                  </a:cubicBezTo>
                  <a:cubicBezTo>
                    <a:pt x="145256" y="407194"/>
                    <a:pt x="142399" y="397669"/>
                    <a:pt x="138589" y="388144"/>
                  </a:cubicBezTo>
                  <a:cubicBezTo>
                    <a:pt x="135731" y="379571"/>
                    <a:pt x="132874" y="371951"/>
                    <a:pt x="129064" y="363379"/>
                  </a:cubicBezTo>
                  <a:cubicBezTo>
                    <a:pt x="130969" y="360521"/>
                    <a:pt x="131921" y="358616"/>
                    <a:pt x="131921" y="358616"/>
                  </a:cubicBezTo>
                  <a:cubicBezTo>
                    <a:pt x="131921" y="358616"/>
                    <a:pt x="130969" y="359569"/>
                    <a:pt x="129064" y="361474"/>
                  </a:cubicBezTo>
                  <a:cubicBezTo>
                    <a:pt x="127159" y="357664"/>
                    <a:pt x="126206" y="353854"/>
                    <a:pt x="124301" y="350044"/>
                  </a:cubicBezTo>
                  <a:cubicBezTo>
                    <a:pt x="124301" y="348139"/>
                    <a:pt x="125254" y="346234"/>
                    <a:pt x="125254" y="344329"/>
                  </a:cubicBezTo>
                  <a:cubicBezTo>
                    <a:pt x="128111" y="333851"/>
                    <a:pt x="129064" y="328136"/>
                    <a:pt x="129064" y="328136"/>
                  </a:cubicBezTo>
                  <a:cubicBezTo>
                    <a:pt x="129064" y="328136"/>
                    <a:pt x="126206" y="333851"/>
                    <a:pt x="121444" y="343376"/>
                  </a:cubicBezTo>
                  <a:cubicBezTo>
                    <a:pt x="121444" y="343376"/>
                    <a:pt x="121444" y="343376"/>
                    <a:pt x="121444" y="343376"/>
                  </a:cubicBezTo>
                  <a:cubicBezTo>
                    <a:pt x="121444" y="342424"/>
                    <a:pt x="121444" y="342424"/>
                    <a:pt x="120491" y="341471"/>
                  </a:cubicBezTo>
                  <a:cubicBezTo>
                    <a:pt x="119539" y="339566"/>
                    <a:pt x="118586" y="337661"/>
                    <a:pt x="117634" y="334804"/>
                  </a:cubicBezTo>
                  <a:cubicBezTo>
                    <a:pt x="119539" y="329089"/>
                    <a:pt x="120491" y="323374"/>
                    <a:pt x="121444" y="318611"/>
                  </a:cubicBezTo>
                  <a:close/>
                  <a:moveTo>
                    <a:pt x="116681" y="393859"/>
                  </a:moveTo>
                  <a:cubicBezTo>
                    <a:pt x="120491" y="402431"/>
                    <a:pt x="123349" y="411004"/>
                    <a:pt x="127159" y="419576"/>
                  </a:cubicBezTo>
                  <a:lnTo>
                    <a:pt x="113824" y="414814"/>
                  </a:lnTo>
                  <a:cubicBezTo>
                    <a:pt x="115729" y="408146"/>
                    <a:pt x="115729" y="400526"/>
                    <a:pt x="116681" y="393859"/>
                  </a:cubicBezTo>
                  <a:close/>
                  <a:moveTo>
                    <a:pt x="91916" y="341471"/>
                  </a:moveTo>
                  <a:cubicBezTo>
                    <a:pt x="91916" y="339566"/>
                    <a:pt x="92869" y="337661"/>
                    <a:pt x="92869" y="335756"/>
                  </a:cubicBezTo>
                  <a:cubicBezTo>
                    <a:pt x="93821" y="337661"/>
                    <a:pt x="93821" y="338614"/>
                    <a:pt x="94774" y="340519"/>
                  </a:cubicBezTo>
                  <a:cubicBezTo>
                    <a:pt x="97631" y="346234"/>
                    <a:pt x="99536" y="351949"/>
                    <a:pt x="102394" y="358616"/>
                  </a:cubicBezTo>
                  <a:cubicBezTo>
                    <a:pt x="100489" y="367189"/>
                    <a:pt x="98584" y="374809"/>
                    <a:pt x="96679" y="384334"/>
                  </a:cubicBezTo>
                  <a:cubicBezTo>
                    <a:pt x="95726" y="389096"/>
                    <a:pt x="94774" y="393859"/>
                    <a:pt x="94774" y="399574"/>
                  </a:cubicBezTo>
                  <a:cubicBezTo>
                    <a:pt x="94774" y="399574"/>
                    <a:pt x="93821" y="400526"/>
                    <a:pt x="93821" y="400526"/>
                  </a:cubicBezTo>
                  <a:cubicBezTo>
                    <a:pt x="92869" y="401479"/>
                    <a:pt x="91916" y="403384"/>
                    <a:pt x="90964" y="404336"/>
                  </a:cubicBezTo>
                  <a:cubicBezTo>
                    <a:pt x="90011" y="396716"/>
                    <a:pt x="89059" y="390049"/>
                    <a:pt x="88106" y="382429"/>
                  </a:cubicBezTo>
                  <a:cubicBezTo>
                    <a:pt x="87154" y="376714"/>
                    <a:pt x="86201" y="370999"/>
                    <a:pt x="85249" y="365284"/>
                  </a:cubicBezTo>
                  <a:cubicBezTo>
                    <a:pt x="87154" y="356711"/>
                    <a:pt x="89059" y="348139"/>
                    <a:pt x="91916" y="341471"/>
                  </a:cubicBezTo>
                  <a:close/>
                  <a:moveTo>
                    <a:pt x="72866" y="407194"/>
                  </a:moveTo>
                  <a:cubicBezTo>
                    <a:pt x="72866" y="408146"/>
                    <a:pt x="72866" y="408146"/>
                    <a:pt x="72866" y="409099"/>
                  </a:cubicBezTo>
                  <a:cubicBezTo>
                    <a:pt x="72866" y="409099"/>
                    <a:pt x="72866" y="409099"/>
                    <a:pt x="71914" y="409099"/>
                  </a:cubicBezTo>
                  <a:cubicBezTo>
                    <a:pt x="71914" y="408146"/>
                    <a:pt x="72866" y="408146"/>
                    <a:pt x="72866" y="407194"/>
                  </a:cubicBezTo>
                  <a:close/>
                </a:path>
              </a:pathLst>
            </a:custGeom>
            <a:solidFill>
              <a:schemeClr val="accent1"/>
            </a:solidFill>
            <a:ln w="9525" cap="flat">
              <a:noFill/>
              <a:prstDash val="solid"/>
              <a:miter/>
            </a:ln>
          </p:spPr>
          <p:txBody>
            <a:bodyPr rtlCol="0" anchor="ctr"/>
            <a:lstStyle/>
            <a:p>
              <a:pPr marL="0" marR="0" lvl="0" indent="0" algn="l" defTabSz="91376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Arial Unicode MS"/>
                <a:cs typeface="+mn-cs"/>
              </a:endParaRPr>
            </a:p>
          </p:txBody>
        </p:sp>
        <p:sp>
          <p:nvSpPr>
            <p:cNvPr id="8" name="Graphic 41">
              <a:extLst>
                <a:ext uri="{FF2B5EF4-FFF2-40B4-BE49-F238E27FC236}">
                  <a16:creationId xmlns:a16="http://schemas.microsoft.com/office/drawing/2014/main" id="{D99DEF50-1B12-45D7-8822-C1AF050634CB}"/>
                </a:ext>
              </a:extLst>
            </p:cNvPr>
            <p:cNvSpPr/>
            <p:nvPr userDrawn="1"/>
          </p:nvSpPr>
          <p:spPr>
            <a:xfrm>
              <a:off x="5489944" y="6411432"/>
              <a:ext cx="5608465" cy="446567"/>
            </a:xfrm>
            <a:custGeom>
              <a:avLst/>
              <a:gdLst>
                <a:gd name="connsiteX0" fmla="*/ 7144 w 6400800"/>
                <a:gd name="connsiteY0" fmla="*/ 511016 h 514350"/>
                <a:gd name="connsiteX1" fmla="*/ 6354604 w 6400800"/>
                <a:gd name="connsiteY1" fmla="*/ 511016 h 514350"/>
                <a:gd name="connsiteX2" fmla="*/ 6354604 w 6400800"/>
                <a:gd name="connsiteY2" fmla="*/ 409099 h 514350"/>
                <a:gd name="connsiteX3" fmla="*/ 6327934 w 6400800"/>
                <a:gd name="connsiteY3" fmla="*/ 415766 h 514350"/>
                <a:gd name="connsiteX4" fmla="*/ 6327934 w 6400800"/>
                <a:gd name="connsiteY4" fmla="*/ 404336 h 514350"/>
                <a:gd name="connsiteX5" fmla="*/ 6328887 w 6400800"/>
                <a:gd name="connsiteY5" fmla="*/ 383381 h 514350"/>
                <a:gd name="connsiteX6" fmla="*/ 6329839 w 6400800"/>
                <a:gd name="connsiteY6" fmla="*/ 365284 h 514350"/>
                <a:gd name="connsiteX7" fmla="*/ 6324124 w 6400800"/>
                <a:gd name="connsiteY7" fmla="*/ 383381 h 514350"/>
                <a:gd name="connsiteX8" fmla="*/ 6319362 w 6400800"/>
                <a:gd name="connsiteY8" fmla="*/ 404336 h 514350"/>
                <a:gd name="connsiteX9" fmla="*/ 6316504 w 6400800"/>
                <a:gd name="connsiteY9" fmla="*/ 419576 h 514350"/>
                <a:gd name="connsiteX10" fmla="*/ 6303169 w 6400800"/>
                <a:gd name="connsiteY10" fmla="*/ 423386 h 514350"/>
                <a:gd name="connsiteX11" fmla="*/ 6304121 w 6400800"/>
                <a:gd name="connsiteY11" fmla="*/ 405289 h 514350"/>
                <a:gd name="connsiteX12" fmla="*/ 6319362 w 6400800"/>
                <a:gd name="connsiteY12" fmla="*/ 358616 h 514350"/>
                <a:gd name="connsiteX13" fmla="*/ 6322219 w 6400800"/>
                <a:gd name="connsiteY13" fmla="*/ 349091 h 514350"/>
                <a:gd name="connsiteX14" fmla="*/ 6334601 w 6400800"/>
                <a:gd name="connsiteY14" fmla="*/ 312896 h 514350"/>
                <a:gd name="connsiteX15" fmla="*/ 6349842 w 6400800"/>
                <a:gd name="connsiteY15" fmla="*/ 269081 h 514350"/>
                <a:gd name="connsiteX16" fmla="*/ 6363176 w 6400800"/>
                <a:gd name="connsiteY16" fmla="*/ 228124 h 514350"/>
                <a:gd name="connsiteX17" fmla="*/ 6375559 w 6400800"/>
                <a:gd name="connsiteY17" fmla="*/ 190976 h 514350"/>
                <a:gd name="connsiteX18" fmla="*/ 6393656 w 6400800"/>
                <a:gd name="connsiteY18" fmla="*/ 134779 h 514350"/>
                <a:gd name="connsiteX19" fmla="*/ 6400324 w 6400800"/>
                <a:gd name="connsiteY19" fmla="*/ 113824 h 514350"/>
                <a:gd name="connsiteX20" fmla="*/ 6389846 w 6400800"/>
                <a:gd name="connsiteY20" fmla="*/ 133826 h 514350"/>
                <a:gd name="connsiteX21" fmla="*/ 6380321 w 6400800"/>
                <a:gd name="connsiteY21" fmla="*/ 153829 h 514350"/>
                <a:gd name="connsiteX22" fmla="*/ 6392704 w 6400800"/>
                <a:gd name="connsiteY22" fmla="*/ 110966 h 514350"/>
                <a:gd name="connsiteX23" fmla="*/ 6399371 w 6400800"/>
                <a:gd name="connsiteY23" fmla="*/ 87154 h 514350"/>
                <a:gd name="connsiteX24" fmla="*/ 6388894 w 6400800"/>
                <a:gd name="connsiteY24" fmla="*/ 109061 h 514350"/>
                <a:gd name="connsiteX25" fmla="*/ 6377464 w 6400800"/>
                <a:gd name="connsiteY25" fmla="*/ 134779 h 514350"/>
                <a:gd name="connsiteX26" fmla="*/ 6364129 w 6400800"/>
                <a:gd name="connsiteY26" fmla="*/ 168116 h 514350"/>
                <a:gd name="connsiteX27" fmla="*/ 6332696 w 6400800"/>
                <a:gd name="connsiteY27" fmla="*/ 253841 h 514350"/>
                <a:gd name="connsiteX28" fmla="*/ 6316504 w 6400800"/>
                <a:gd name="connsiteY28" fmla="*/ 302419 h 514350"/>
                <a:gd name="connsiteX29" fmla="*/ 6314599 w 6400800"/>
                <a:gd name="connsiteY29" fmla="*/ 308134 h 514350"/>
                <a:gd name="connsiteX30" fmla="*/ 6317456 w 6400800"/>
                <a:gd name="connsiteY30" fmla="*/ 287179 h 514350"/>
                <a:gd name="connsiteX31" fmla="*/ 6319362 w 6400800"/>
                <a:gd name="connsiteY31" fmla="*/ 267176 h 514350"/>
                <a:gd name="connsiteX32" fmla="*/ 6320314 w 6400800"/>
                <a:gd name="connsiteY32" fmla="*/ 250031 h 514350"/>
                <a:gd name="connsiteX33" fmla="*/ 6314599 w 6400800"/>
                <a:gd name="connsiteY33" fmla="*/ 266224 h 514350"/>
                <a:gd name="connsiteX34" fmla="*/ 6302217 w 6400800"/>
                <a:gd name="connsiteY34" fmla="*/ 310039 h 514350"/>
                <a:gd name="connsiteX35" fmla="*/ 6293644 w 6400800"/>
                <a:gd name="connsiteY35" fmla="*/ 339566 h 514350"/>
                <a:gd name="connsiteX36" fmla="*/ 6286976 w 6400800"/>
                <a:gd name="connsiteY36" fmla="*/ 362426 h 514350"/>
                <a:gd name="connsiteX37" fmla="*/ 6284119 w 6400800"/>
                <a:gd name="connsiteY37" fmla="*/ 335756 h 514350"/>
                <a:gd name="connsiteX38" fmla="*/ 6288881 w 6400800"/>
                <a:gd name="connsiteY38" fmla="*/ 318611 h 514350"/>
                <a:gd name="connsiteX39" fmla="*/ 6302217 w 6400800"/>
                <a:gd name="connsiteY39" fmla="*/ 274796 h 514350"/>
                <a:gd name="connsiteX40" fmla="*/ 6307931 w 6400800"/>
                <a:gd name="connsiteY40" fmla="*/ 255746 h 514350"/>
                <a:gd name="connsiteX41" fmla="*/ 6313646 w 6400800"/>
                <a:gd name="connsiteY41" fmla="*/ 238601 h 514350"/>
                <a:gd name="connsiteX42" fmla="*/ 6323171 w 6400800"/>
                <a:gd name="connsiteY42" fmla="*/ 210026 h 514350"/>
                <a:gd name="connsiteX43" fmla="*/ 6330792 w 6400800"/>
                <a:gd name="connsiteY43" fmla="*/ 185261 h 514350"/>
                <a:gd name="connsiteX44" fmla="*/ 6319362 w 6400800"/>
                <a:gd name="connsiteY44" fmla="*/ 208121 h 514350"/>
                <a:gd name="connsiteX45" fmla="*/ 6306026 w 6400800"/>
                <a:gd name="connsiteY45" fmla="*/ 234791 h 514350"/>
                <a:gd name="connsiteX46" fmla="*/ 6298406 w 6400800"/>
                <a:gd name="connsiteY46" fmla="*/ 250984 h 514350"/>
                <a:gd name="connsiteX47" fmla="*/ 6290787 w 6400800"/>
                <a:gd name="connsiteY47" fmla="*/ 270034 h 514350"/>
                <a:gd name="connsiteX48" fmla="*/ 6278404 w 6400800"/>
                <a:gd name="connsiteY48" fmla="*/ 301466 h 514350"/>
                <a:gd name="connsiteX49" fmla="*/ 6277451 w 6400800"/>
                <a:gd name="connsiteY49" fmla="*/ 292894 h 514350"/>
                <a:gd name="connsiteX50" fmla="*/ 6276499 w 6400800"/>
                <a:gd name="connsiteY50" fmla="*/ 306229 h 514350"/>
                <a:gd name="connsiteX51" fmla="*/ 6273642 w 6400800"/>
                <a:gd name="connsiteY51" fmla="*/ 312896 h 514350"/>
                <a:gd name="connsiteX52" fmla="*/ 6269831 w 6400800"/>
                <a:gd name="connsiteY52" fmla="*/ 322421 h 514350"/>
                <a:gd name="connsiteX53" fmla="*/ 6273642 w 6400800"/>
                <a:gd name="connsiteY53" fmla="*/ 300514 h 514350"/>
                <a:gd name="connsiteX54" fmla="*/ 6283167 w 6400800"/>
                <a:gd name="connsiteY54" fmla="*/ 252889 h 514350"/>
                <a:gd name="connsiteX55" fmla="*/ 6287929 w 6400800"/>
                <a:gd name="connsiteY55" fmla="*/ 231934 h 514350"/>
                <a:gd name="connsiteX56" fmla="*/ 6292692 w 6400800"/>
                <a:gd name="connsiteY56" fmla="*/ 212884 h 514350"/>
                <a:gd name="connsiteX57" fmla="*/ 6300312 w 6400800"/>
                <a:gd name="connsiteY57" fmla="*/ 181451 h 514350"/>
                <a:gd name="connsiteX58" fmla="*/ 6306026 w 6400800"/>
                <a:gd name="connsiteY58" fmla="*/ 153829 h 514350"/>
                <a:gd name="connsiteX59" fmla="*/ 6296501 w 6400800"/>
                <a:gd name="connsiteY59" fmla="*/ 180499 h 514350"/>
                <a:gd name="connsiteX60" fmla="*/ 6286024 w 6400800"/>
                <a:gd name="connsiteY60" fmla="*/ 210979 h 514350"/>
                <a:gd name="connsiteX61" fmla="*/ 6279356 w 6400800"/>
                <a:gd name="connsiteY61" fmla="*/ 230029 h 514350"/>
                <a:gd name="connsiteX62" fmla="*/ 6273642 w 6400800"/>
                <a:gd name="connsiteY62" fmla="*/ 250984 h 514350"/>
                <a:gd name="connsiteX63" fmla="*/ 6260306 w 6400800"/>
                <a:gd name="connsiteY63" fmla="*/ 298609 h 514350"/>
                <a:gd name="connsiteX64" fmla="*/ 6246971 w 6400800"/>
                <a:gd name="connsiteY64" fmla="*/ 351949 h 514350"/>
                <a:gd name="connsiteX65" fmla="*/ 6236494 w 6400800"/>
                <a:gd name="connsiteY65" fmla="*/ 396716 h 514350"/>
                <a:gd name="connsiteX66" fmla="*/ 6235542 w 6400800"/>
                <a:gd name="connsiteY66" fmla="*/ 394811 h 514350"/>
                <a:gd name="connsiteX67" fmla="*/ 6234589 w 6400800"/>
                <a:gd name="connsiteY67" fmla="*/ 370046 h 514350"/>
                <a:gd name="connsiteX68" fmla="*/ 6230779 w 6400800"/>
                <a:gd name="connsiteY68" fmla="*/ 389096 h 514350"/>
                <a:gd name="connsiteX69" fmla="*/ 6227921 w 6400800"/>
                <a:gd name="connsiteY69" fmla="*/ 384334 h 514350"/>
                <a:gd name="connsiteX70" fmla="*/ 6216492 w 6400800"/>
                <a:gd name="connsiteY70" fmla="*/ 367189 h 514350"/>
                <a:gd name="connsiteX71" fmla="*/ 6223159 w 6400800"/>
                <a:gd name="connsiteY71" fmla="*/ 348139 h 514350"/>
                <a:gd name="connsiteX72" fmla="*/ 6236494 w 6400800"/>
                <a:gd name="connsiteY72" fmla="*/ 310991 h 514350"/>
                <a:gd name="connsiteX73" fmla="*/ 6247924 w 6400800"/>
                <a:gd name="connsiteY73" fmla="*/ 279559 h 514350"/>
                <a:gd name="connsiteX74" fmla="*/ 6256496 w 6400800"/>
                <a:gd name="connsiteY74" fmla="*/ 254794 h 514350"/>
                <a:gd name="connsiteX75" fmla="*/ 6264117 w 6400800"/>
                <a:gd name="connsiteY75" fmla="*/ 233839 h 514350"/>
                <a:gd name="connsiteX76" fmla="*/ 6252687 w 6400800"/>
                <a:gd name="connsiteY76" fmla="*/ 253841 h 514350"/>
                <a:gd name="connsiteX77" fmla="*/ 6240304 w 6400800"/>
                <a:gd name="connsiteY77" fmla="*/ 276701 h 514350"/>
                <a:gd name="connsiteX78" fmla="*/ 6225064 w 6400800"/>
                <a:gd name="connsiteY78" fmla="*/ 307181 h 514350"/>
                <a:gd name="connsiteX79" fmla="*/ 6208871 w 6400800"/>
                <a:gd name="connsiteY79" fmla="*/ 343376 h 514350"/>
                <a:gd name="connsiteX80" fmla="*/ 6205062 w 6400800"/>
                <a:gd name="connsiteY80" fmla="*/ 351949 h 514350"/>
                <a:gd name="connsiteX81" fmla="*/ 6204109 w 6400800"/>
                <a:gd name="connsiteY81" fmla="*/ 350996 h 514350"/>
                <a:gd name="connsiteX82" fmla="*/ 6210776 w 6400800"/>
                <a:gd name="connsiteY82" fmla="*/ 320516 h 514350"/>
                <a:gd name="connsiteX83" fmla="*/ 6222206 w 6400800"/>
                <a:gd name="connsiteY83" fmla="*/ 268129 h 514350"/>
                <a:gd name="connsiteX84" fmla="*/ 6226017 w 6400800"/>
                <a:gd name="connsiteY84" fmla="*/ 248126 h 514350"/>
                <a:gd name="connsiteX85" fmla="*/ 6218396 w 6400800"/>
                <a:gd name="connsiteY85" fmla="*/ 267176 h 514350"/>
                <a:gd name="connsiteX86" fmla="*/ 6209824 w 6400800"/>
                <a:gd name="connsiteY86" fmla="*/ 289084 h 514350"/>
                <a:gd name="connsiteX87" fmla="*/ 6199346 w 6400800"/>
                <a:gd name="connsiteY87" fmla="*/ 317659 h 514350"/>
                <a:gd name="connsiteX88" fmla="*/ 6193631 w 6400800"/>
                <a:gd name="connsiteY88" fmla="*/ 335756 h 514350"/>
                <a:gd name="connsiteX89" fmla="*/ 6184106 w 6400800"/>
                <a:gd name="connsiteY89" fmla="*/ 322421 h 514350"/>
                <a:gd name="connsiteX90" fmla="*/ 6181249 w 6400800"/>
                <a:gd name="connsiteY90" fmla="*/ 318611 h 514350"/>
                <a:gd name="connsiteX91" fmla="*/ 6184106 w 6400800"/>
                <a:gd name="connsiteY91" fmla="*/ 302419 h 514350"/>
                <a:gd name="connsiteX92" fmla="*/ 6189821 w 6400800"/>
                <a:gd name="connsiteY92" fmla="*/ 274796 h 514350"/>
                <a:gd name="connsiteX93" fmla="*/ 6195537 w 6400800"/>
                <a:gd name="connsiteY93" fmla="*/ 250984 h 514350"/>
                <a:gd name="connsiteX94" fmla="*/ 6186012 w 6400800"/>
                <a:gd name="connsiteY94" fmla="*/ 273844 h 514350"/>
                <a:gd name="connsiteX95" fmla="*/ 6176487 w 6400800"/>
                <a:gd name="connsiteY95" fmla="*/ 300514 h 514350"/>
                <a:gd name="connsiteX96" fmla="*/ 6173629 w 6400800"/>
                <a:gd name="connsiteY96" fmla="*/ 309086 h 514350"/>
                <a:gd name="connsiteX97" fmla="*/ 6172676 w 6400800"/>
                <a:gd name="connsiteY97" fmla="*/ 308134 h 514350"/>
                <a:gd name="connsiteX98" fmla="*/ 6174581 w 6400800"/>
                <a:gd name="connsiteY98" fmla="*/ 294799 h 514350"/>
                <a:gd name="connsiteX99" fmla="*/ 6180296 w 6400800"/>
                <a:gd name="connsiteY99" fmla="*/ 263366 h 514350"/>
                <a:gd name="connsiteX100" fmla="*/ 6185059 w 6400800"/>
                <a:gd name="connsiteY100" fmla="*/ 236696 h 514350"/>
                <a:gd name="connsiteX101" fmla="*/ 6188869 w 6400800"/>
                <a:gd name="connsiteY101" fmla="*/ 215741 h 514350"/>
                <a:gd name="connsiteX102" fmla="*/ 6192679 w 6400800"/>
                <a:gd name="connsiteY102" fmla="*/ 197644 h 514350"/>
                <a:gd name="connsiteX103" fmla="*/ 6185059 w 6400800"/>
                <a:gd name="connsiteY103" fmla="*/ 214789 h 514350"/>
                <a:gd name="connsiteX104" fmla="*/ 6168867 w 6400800"/>
                <a:gd name="connsiteY104" fmla="*/ 260509 h 514350"/>
                <a:gd name="connsiteX105" fmla="*/ 6163151 w 6400800"/>
                <a:gd name="connsiteY105" fmla="*/ 280511 h 514350"/>
                <a:gd name="connsiteX106" fmla="*/ 6159342 w 6400800"/>
                <a:gd name="connsiteY106" fmla="*/ 253841 h 514350"/>
                <a:gd name="connsiteX107" fmla="*/ 6154579 w 6400800"/>
                <a:gd name="connsiteY107" fmla="*/ 225266 h 514350"/>
                <a:gd name="connsiteX108" fmla="*/ 6156484 w 6400800"/>
                <a:gd name="connsiteY108" fmla="*/ 285274 h 514350"/>
                <a:gd name="connsiteX109" fmla="*/ 6143149 w 6400800"/>
                <a:gd name="connsiteY109" fmla="*/ 268129 h 514350"/>
                <a:gd name="connsiteX110" fmla="*/ 6143149 w 6400800"/>
                <a:gd name="connsiteY110" fmla="*/ 267176 h 514350"/>
                <a:gd name="connsiteX111" fmla="*/ 6146006 w 6400800"/>
                <a:gd name="connsiteY111" fmla="*/ 256699 h 514350"/>
                <a:gd name="connsiteX112" fmla="*/ 6161246 w 6400800"/>
                <a:gd name="connsiteY112" fmla="*/ 178594 h 514350"/>
                <a:gd name="connsiteX113" fmla="*/ 6152674 w 6400800"/>
                <a:gd name="connsiteY113" fmla="*/ 200501 h 514350"/>
                <a:gd name="connsiteX114" fmla="*/ 6152674 w 6400800"/>
                <a:gd name="connsiteY114" fmla="*/ 197644 h 514350"/>
                <a:gd name="connsiteX115" fmla="*/ 6156484 w 6400800"/>
                <a:gd name="connsiteY115" fmla="*/ 172879 h 514350"/>
                <a:gd name="connsiteX116" fmla="*/ 6160294 w 6400800"/>
                <a:gd name="connsiteY116" fmla="*/ 150971 h 514350"/>
                <a:gd name="connsiteX117" fmla="*/ 6152674 w 6400800"/>
                <a:gd name="connsiteY117" fmla="*/ 171926 h 514350"/>
                <a:gd name="connsiteX118" fmla="*/ 6145054 w 6400800"/>
                <a:gd name="connsiteY118" fmla="*/ 196691 h 514350"/>
                <a:gd name="connsiteX119" fmla="*/ 6138387 w 6400800"/>
                <a:gd name="connsiteY119" fmla="*/ 220504 h 514350"/>
                <a:gd name="connsiteX120" fmla="*/ 6135529 w 6400800"/>
                <a:gd name="connsiteY120" fmla="*/ 202406 h 514350"/>
                <a:gd name="connsiteX121" fmla="*/ 6134576 w 6400800"/>
                <a:gd name="connsiteY121" fmla="*/ 221456 h 514350"/>
                <a:gd name="connsiteX122" fmla="*/ 6132671 w 6400800"/>
                <a:gd name="connsiteY122" fmla="*/ 242411 h 514350"/>
                <a:gd name="connsiteX123" fmla="*/ 6131719 w 6400800"/>
                <a:gd name="connsiteY123" fmla="*/ 249079 h 514350"/>
                <a:gd name="connsiteX124" fmla="*/ 6130767 w 6400800"/>
                <a:gd name="connsiteY124" fmla="*/ 253841 h 514350"/>
                <a:gd name="connsiteX125" fmla="*/ 6129814 w 6400800"/>
                <a:gd name="connsiteY125" fmla="*/ 251936 h 514350"/>
                <a:gd name="connsiteX126" fmla="*/ 6130767 w 6400800"/>
                <a:gd name="connsiteY126" fmla="*/ 254794 h 514350"/>
                <a:gd name="connsiteX127" fmla="*/ 6129814 w 6400800"/>
                <a:gd name="connsiteY127" fmla="*/ 261461 h 514350"/>
                <a:gd name="connsiteX128" fmla="*/ 6129814 w 6400800"/>
                <a:gd name="connsiteY128" fmla="*/ 243364 h 514350"/>
                <a:gd name="connsiteX129" fmla="*/ 6126004 w 6400800"/>
                <a:gd name="connsiteY129" fmla="*/ 274796 h 514350"/>
                <a:gd name="connsiteX130" fmla="*/ 6125051 w 6400800"/>
                <a:gd name="connsiteY130" fmla="*/ 281464 h 514350"/>
                <a:gd name="connsiteX131" fmla="*/ 6122194 w 6400800"/>
                <a:gd name="connsiteY131" fmla="*/ 267176 h 514350"/>
                <a:gd name="connsiteX132" fmla="*/ 6117431 w 6400800"/>
                <a:gd name="connsiteY132" fmla="*/ 243364 h 514350"/>
                <a:gd name="connsiteX133" fmla="*/ 6118384 w 6400800"/>
                <a:gd name="connsiteY133" fmla="*/ 267176 h 514350"/>
                <a:gd name="connsiteX134" fmla="*/ 6119337 w 6400800"/>
                <a:gd name="connsiteY134" fmla="*/ 300514 h 514350"/>
                <a:gd name="connsiteX135" fmla="*/ 6114574 w 6400800"/>
                <a:gd name="connsiteY135" fmla="*/ 317659 h 514350"/>
                <a:gd name="connsiteX136" fmla="*/ 6114574 w 6400800"/>
                <a:gd name="connsiteY136" fmla="*/ 307181 h 514350"/>
                <a:gd name="connsiteX137" fmla="*/ 6112669 w 6400800"/>
                <a:gd name="connsiteY137" fmla="*/ 286226 h 514350"/>
                <a:gd name="connsiteX138" fmla="*/ 6109812 w 6400800"/>
                <a:gd name="connsiteY138" fmla="*/ 270986 h 514350"/>
                <a:gd name="connsiteX139" fmla="*/ 6105049 w 6400800"/>
                <a:gd name="connsiteY139" fmla="*/ 258604 h 514350"/>
                <a:gd name="connsiteX140" fmla="*/ 6106001 w 6400800"/>
                <a:gd name="connsiteY140" fmla="*/ 272891 h 514350"/>
                <a:gd name="connsiteX141" fmla="*/ 6106001 w 6400800"/>
                <a:gd name="connsiteY141" fmla="*/ 282416 h 514350"/>
                <a:gd name="connsiteX142" fmla="*/ 6104096 w 6400800"/>
                <a:gd name="connsiteY142" fmla="*/ 273844 h 514350"/>
                <a:gd name="connsiteX143" fmla="*/ 6102192 w 6400800"/>
                <a:gd name="connsiteY143" fmla="*/ 268129 h 514350"/>
                <a:gd name="connsiteX144" fmla="*/ 6101239 w 6400800"/>
                <a:gd name="connsiteY144" fmla="*/ 253841 h 514350"/>
                <a:gd name="connsiteX145" fmla="*/ 6103144 w 6400800"/>
                <a:gd name="connsiteY145" fmla="*/ 247174 h 514350"/>
                <a:gd name="connsiteX146" fmla="*/ 6107906 w 6400800"/>
                <a:gd name="connsiteY146" fmla="*/ 225266 h 514350"/>
                <a:gd name="connsiteX147" fmla="*/ 6111717 w 6400800"/>
                <a:gd name="connsiteY147" fmla="*/ 205264 h 514350"/>
                <a:gd name="connsiteX148" fmla="*/ 6104096 w 6400800"/>
                <a:gd name="connsiteY148" fmla="*/ 223361 h 514350"/>
                <a:gd name="connsiteX149" fmla="*/ 6099334 w 6400800"/>
                <a:gd name="connsiteY149" fmla="*/ 234791 h 514350"/>
                <a:gd name="connsiteX150" fmla="*/ 6096476 w 6400800"/>
                <a:gd name="connsiteY150" fmla="*/ 206216 h 514350"/>
                <a:gd name="connsiteX151" fmla="*/ 6097429 w 6400800"/>
                <a:gd name="connsiteY151" fmla="*/ 199549 h 514350"/>
                <a:gd name="connsiteX152" fmla="*/ 6101239 w 6400800"/>
                <a:gd name="connsiteY152" fmla="*/ 177641 h 514350"/>
                <a:gd name="connsiteX153" fmla="*/ 6104096 w 6400800"/>
                <a:gd name="connsiteY153" fmla="*/ 157639 h 514350"/>
                <a:gd name="connsiteX154" fmla="*/ 6107906 w 6400800"/>
                <a:gd name="connsiteY154" fmla="*/ 124301 h 514350"/>
                <a:gd name="connsiteX155" fmla="*/ 6110764 w 6400800"/>
                <a:gd name="connsiteY155" fmla="*/ 95726 h 514350"/>
                <a:gd name="connsiteX156" fmla="*/ 6104096 w 6400800"/>
                <a:gd name="connsiteY156" fmla="*/ 124301 h 514350"/>
                <a:gd name="connsiteX157" fmla="*/ 6096476 w 6400800"/>
                <a:gd name="connsiteY157" fmla="*/ 156686 h 514350"/>
                <a:gd name="connsiteX158" fmla="*/ 6091714 w 6400800"/>
                <a:gd name="connsiteY158" fmla="*/ 176689 h 514350"/>
                <a:gd name="connsiteX159" fmla="*/ 6085999 w 6400800"/>
                <a:gd name="connsiteY159" fmla="*/ 198596 h 514350"/>
                <a:gd name="connsiteX160" fmla="*/ 6081237 w 6400800"/>
                <a:gd name="connsiteY160" fmla="*/ 214789 h 514350"/>
                <a:gd name="connsiteX161" fmla="*/ 6074569 w 6400800"/>
                <a:gd name="connsiteY161" fmla="*/ 201454 h 514350"/>
                <a:gd name="connsiteX162" fmla="*/ 6079331 w 6400800"/>
                <a:gd name="connsiteY162" fmla="*/ 219551 h 514350"/>
                <a:gd name="connsiteX163" fmla="*/ 6073617 w 6400800"/>
                <a:gd name="connsiteY163" fmla="*/ 230029 h 514350"/>
                <a:gd name="connsiteX164" fmla="*/ 6069806 w 6400800"/>
                <a:gd name="connsiteY164" fmla="*/ 237649 h 514350"/>
                <a:gd name="connsiteX165" fmla="*/ 6069806 w 6400800"/>
                <a:gd name="connsiteY165" fmla="*/ 228124 h 514350"/>
                <a:gd name="connsiteX166" fmla="*/ 6069806 w 6400800"/>
                <a:gd name="connsiteY166" fmla="*/ 205264 h 514350"/>
                <a:gd name="connsiteX167" fmla="*/ 6065996 w 6400800"/>
                <a:gd name="connsiteY167" fmla="*/ 228124 h 514350"/>
                <a:gd name="connsiteX168" fmla="*/ 6061234 w 6400800"/>
                <a:gd name="connsiteY168" fmla="*/ 253841 h 514350"/>
                <a:gd name="connsiteX169" fmla="*/ 6059329 w 6400800"/>
                <a:gd name="connsiteY169" fmla="*/ 263366 h 514350"/>
                <a:gd name="connsiteX170" fmla="*/ 6057424 w 6400800"/>
                <a:gd name="connsiteY170" fmla="*/ 268129 h 514350"/>
                <a:gd name="connsiteX171" fmla="*/ 6048851 w 6400800"/>
                <a:gd name="connsiteY171" fmla="*/ 294799 h 514350"/>
                <a:gd name="connsiteX172" fmla="*/ 6041231 w 6400800"/>
                <a:gd name="connsiteY172" fmla="*/ 324326 h 514350"/>
                <a:gd name="connsiteX173" fmla="*/ 6041231 w 6400800"/>
                <a:gd name="connsiteY173" fmla="*/ 325279 h 514350"/>
                <a:gd name="connsiteX174" fmla="*/ 6033612 w 6400800"/>
                <a:gd name="connsiteY174" fmla="*/ 306229 h 514350"/>
                <a:gd name="connsiteX175" fmla="*/ 6029801 w 6400800"/>
                <a:gd name="connsiteY175" fmla="*/ 296704 h 514350"/>
                <a:gd name="connsiteX176" fmla="*/ 6029801 w 6400800"/>
                <a:gd name="connsiteY176" fmla="*/ 295751 h 514350"/>
                <a:gd name="connsiteX177" fmla="*/ 6031706 w 6400800"/>
                <a:gd name="connsiteY177" fmla="*/ 281464 h 514350"/>
                <a:gd name="connsiteX178" fmla="*/ 6033612 w 6400800"/>
                <a:gd name="connsiteY178" fmla="*/ 269081 h 514350"/>
                <a:gd name="connsiteX179" fmla="*/ 6027896 w 6400800"/>
                <a:gd name="connsiteY179" fmla="*/ 280511 h 514350"/>
                <a:gd name="connsiteX180" fmla="*/ 6025039 w 6400800"/>
                <a:gd name="connsiteY180" fmla="*/ 286226 h 514350"/>
                <a:gd name="connsiteX181" fmla="*/ 6020276 w 6400800"/>
                <a:gd name="connsiteY181" fmla="*/ 272891 h 514350"/>
                <a:gd name="connsiteX182" fmla="*/ 6008846 w 6400800"/>
                <a:gd name="connsiteY182" fmla="*/ 244316 h 514350"/>
                <a:gd name="connsiteX183" fmla="*/ 6016467 w 6400800"/>
                <a:gd name="connsiteY183" fmla="*/ 273844 h 514350"/>
                <a:gd name="connsiteX184" fmla="*/ 6022181 w 6400800"/>
                <a:gd name="connsiteY184" fmla="*/ 293846 h 514350"/>
                <a:gd name="connsiteX185" fmla="*/ 6019324 w 6400800"/>
                <a:gd name="connsiteY185" fmla="*/ 302419 h 514350"/>
                <a:gd name="connsiteX186" fmla="*/ 6016467 w 6400800"/>
                <a:gd name="connsiteY186" fmla="*/ 311944 h 514350"/>
                <a:gd name="connsiteX187" fmla="*/ 6010751 w 6400800"/>
                <a:gd name="connsiteY187" fmla="*/ 333851 h 514350"/>
                <a:gd name="connsiteX188" fmla="*/ 6010751 w 6400800"/>
                <a:gd name="connsiteY188" fmla="*/ 334804 h 514350"/>
                <a:gd name="connsiteX189" fmla="*/ 6003131 w 6400800"/>
                <a:gd name="connsiteY189" fmla="*/ 320516 h 514350"/>
                <a:gd name="connsiteX190" fmla="*/ 5996464 w 6400800"/>
                <a:gd name="connsiteY190" fmla="*/ 308134 h 514350"/>
                <a:gd name="connsiteX191" fmla="*/ 5999321 w 6400800"/>
                <a:gd name="connsiteY191" fmla="*/ 302419 h 514350"/>
                <a:gd name="connsiteX192" fmla="*/ 6007894 w 6400800"/>
                <a:gd name="connsiteY192" fmla="*/ 283369 h 514350"/>
                <a:gd name="connsiteX193" fmla="*/ 6014562 w 6400800"/>
                <a:gd name="connsiteY193" fmla="*/ 267176 h 514350"/>
                <a:gd name="connsiteX194" fmla="*/ 6004084 w 6400800"/>
                <a:gd name="connsiteY194" fmla="*/ 281464 h 514350"/>
                <a:gd name="connsiteX195" fmla="*/ 5993606 w 6400800"/>
                <a:gd name="connsiteY195" fmla="*/ 297656 h 514350"/>
                <a:gd name="connsiteX196" fmla="*/ 5989796 w 6400800"/>
                <a:gd name="connsiteY196" fmla="*/ 273844 h 514350"/>
                <a:gd name="connsiteX197" fmla="*/ 5991701 w 6400800"/>
                <a:gd name="connsiteY197" fmla="*/ 250984 h 514350"/>
                <a:gd name="connsiteX198" fmla="*/ 5997417 w 6400800"/>
                <a:gd name="connsiteY198" fmla="*/ 212884 h 514350"/>
                <a:gd name="connsiteX199" fmla="*/ 6003131 w 6400800"/>
                <a:gd name="connsiteY199" fmla="*/ 179546 h 514350"/>
                <a:gd name="connsiteX200" fmla="*/ 5993606 w 6400800"/>
                <a:gd name="connsiteY200" fmla="*/ 211931 h 514350"/>
                <a:gd name="connsiteX201" fmla="*/ 5985034 w 6400800"/>
                <a:gd name="connsiteY201" fmla="*/ 248126 h 514350"/>
                <a:gd name="connsiteX202" fmla="*/ 5974556 w 6400800"/>
                <a:gd name="connsiteY202" fmla="*/ 206216 h 514350"/>
                <a:gd name="connsiteX203" fmla="*/ 5974556 w 6400800"/>
                <a:gd name="connsiteY203" fmla="*/ 206216 h 514350"/>
                <a:gd name="connsiteX204" fmla="*/ 5977414 w 6400800"/>
                <a:gd name="connsiteY204" fmla="*/ 178594 h 514350"/>
                <a:gd name="connsiteX205" fmla="*/ 5979319 w 6400800"/>
                <a:gd name="connsiteY205" fmla="*/ 153829 h 514350"/>
                <a:gd name="connsiteX206" fmla="*/ 5973604 w 6400800"/>
                <a:gd name="connsiteY206" fmla="*/ 177641 h 514350"/>
                <a:gd name="connsiteX207" fmla="*/ 5969794 w 6400800"/>
                <a:gd name="connsiteY207" fmla="*/ 191929 h 514350"/>
                <a:gd name="connsiteX208" fmla="*/ 5959317 w 6400800"/>
                <a:gd name="connsiteY208" fmla="*/ 160496 h 514350"/>
                <a:gd name="connsiteX209" fmla="*/ 5946934 w 6400800"/>
                <a:gd name="connsiteY209" fmla="*/ 130016 h 514350"/>
                <a:gd name="connsiteX210" fmla="*/ 5934551 w 6400800"/>
                <a:gd name="connsiteY210" fmla="*/ 104299 h 514350"/>
                <a:gd name="connsiteX211" fmla="*/ 5943124 w 6400800"/>
                <a:gd name="connsiteY211" fmla="*/ 131921 h 514350"/>
                <a:gd name="connsiteX212" fmla="*/ 5951696 w 6400800"/>
                <a:gd name="connsiteY212" fmla="*/ 163354 h 514350"/>
                <a:gd name="connsiteX213" fmla="*/ 5961221 w 6400800"/>
                <a:gd name="connsiteY213" fmla="*/ 204311 h 514350"/>
                <a:gd name="connsiteX214" fmla="*/ 5964079 w 6400800"/>
                <a:gd name="connsiteY214" fmla="*/ 216694 h 514350"/>
                <a:gd name="connsiteX215" fmla="*/ 5962174 w 6400800"/>
                <a:gd name="connsiteY215" fmla="*/ 222409 h 514350"/>
                <a:gd name="connsiteX216" fmla="*/ 5958364 w 6400800"/>
                <a:gd name="connsiteY216" fmla="*/ 235744 h 514350"/>
                <a:gd name="connsiteX217" fmla="*/ 5956459 w 6400800"/>
                <a:gd name="connsiteY217" fmla="*/ 232886 h 514350"/>
                <a:gd name="connsiteX218" fmla="*/ 5956459 w 6400800"/>
                <a:gd name="connsiteY218" fmla="*/ 231934 h 514350"/>
                <a:gd name="connsiteX219" fmla="*/ 5956459 w 6400800"/>
                <a:gd name="connsiteY219" fmla="*/ 232886 h 514350"/>
                <a:gd name="connsiteX220" fmla="*/ 5938362 w 6400800"/>
                <a:gd name="connsiteY220" fmla="*/ 199549 h 514350"/>
                <a:gd name="connsiteX221" fmla="*/ 5927884 w 6400800"/>
                <a:gd name="connsiteY221" fmla="*/ 180499 h 514350"/>
                <a:gd name="connsiteX222" fmla="*/ 5953601 w 6400800"/>
                <a:gd name="connsiteY222" fmla="*/ 250984 h 514350"/>
                <a:gd name="connsiteX223" fmla="*/ 5952649 w 6400800"/>
                <a:gd name="connsiteY223" fmla="*/ 255746 h 514350"/>
                <a:gd name="connsiteX224" fmla="*/ 5945029 w 6400800"/>
                <a:gd name="connsiteY224" fmla="*/ 282416 h 514350"/>
                <a:gd name="connsiteX225" fmla="*/ 5944076 w 6400800"/>
                <a:gd name="connsiteY225" fmla="*/ 285274 h 514350"/>
                <a:gd name="connsiteX226" fmla="*/ 5940267 w 6400800"/>
                <a:gd name="connsiteY226" fmla="*/ 271939 h 514350"/>
                <a:gd name="connsiteX227" fmla="*/ 5928837 w 6400800"/>
                <a:gd name="connsiteY227" fmla="*/ 237649 h 514350"/>
                <a:gd name="connsiteX228" fmla="*/ 5922169 w 6400800"/>
                <a:gd name="connsiteY228" fmla="*/ 220504 h 514350"/>
                <a:gd name="connsiteX229" fmla="*/ 5923121 w 6400800"/>
                <a:gd name="connsiteY229" fmla="*/ 216694 h 514350"/>
                <a:gd name="connsiteX230" fmla="*/ 5921217 w 6400800"/>
                <a:gd name="connsiteY230" fmla="*/ 219551 h 514350"/>
                <a:gd name="connsiteX231" fmla="*/ 5917406 w 6400800"/>
                <a:gd name="connsiteY231" fmla="*/ 211931 h 514350"/>
                <a:gd name="connsiteX232" fmla="*/ 5908834 w 6400800"/>
                <a:gd name="connsiteY232" fmla="*/ 194786 h 514350"/>
                <a:gd name="connsiteX233" fmla="*/ 5907881 w 6400800"/>
                <a:gd name="connsiteY233" fmla="*/ 183356 h 514350"/>
                <a:gd name="connsiteX234" fmla="*/ 5905024 w 6400800"/>
                <a:gd name="connsiteY234" fmla="*/ 159544 h 514350"/>
                <a:gd name="connsiteX235" fmla="*/ 5904071 w 6400800"/>
                <a:gd name="connsiteY235" fmla="*/ 184309 h 514350"/>
                <a:gd name="connsiteX236" fmla="*/ 5903119 w 6400800"/>
                <a:gd name="connsiteY236" fmla="*/ 211931 h 514350"/>
                <a:gd name="connsiteX237" fmla="*/ 5902167 w 6400800"/>
                <a:gd name="connsiteY237" fmla="*/ 229076 h 514350"/>
                <a:gd name="connsiteX238" fmla="*/ 5902167 w 6400800"/>
                <a:gd name="connsiteY238" fmla="*/ 248126 h 514350"/>
                <a:gd name="connsiteX239" fmla="*/ 5903119 w 6400800"/>
                <a:gd name="connsiteY239" fmla="*/ 270034 h 514350"/>
                <a:gd name="connsiteX240" fmla="*/ 5900262 w 6400800"/>
                <a:gd name="connsiteY240" fmla="*/ 285274 h 514350"/>
                <a:gd name="connsiteX241" fmla="*/ 5899309 w 6400800"/>
                <a:gd name="connsiteY241" fmla="*/ 282416 h 514350"/>
                <a:gd name="connsiteX242" fmla="*/ 5895499 w 6400800"/>
                <a:gd name="connsiteY242" fmla="*/ 263366 h 514350"/>
                <a:gd name="connsiteX243" fmla="*/ 5891689 w 6400800"/>
                <a:gd name="connsiteY243" fmla="*/ 248126 h 514350"/>
                <a:gd name="connsiteX244" fmla="*/ 5891689 w 6400800"/>
                <a:gd name="connsiteY244" fmla="*/ 245269 h 514350"/>
                <a:gd name="connsiteX245" fmla="*/ 5890737 w 6400800"/>
                <a:gd name="connsiteY245" fmla="*/ 247174 h 514350"/>
                <a:gd name="connsiteX246" fmla="*/ 5890737 w 6400800"/>
                <a:gd name="connsiteY246" fmla="*/ 247174 h 514350"/>
                <a:gd name="connsiteX247" fmla="*/ 5890737 w 6400800"/>
                <a:gd name="connsiteY247" fmla="*/ 248126 h 514350"/>
                <a:gd name="connsiteX248" fmla="*/ 5881212 w 6400800"/>
                <a:gd name="connsiteY248" fmla="*/ 275749 h 514350"/>
                <a:gd name="connsiteX249" fmla="*/ 5878354 w 6400800"/>
                <a:gd name="connsiteY249" fmla="*/ 262414 h 514350"/>
                <a:gd name="connsiteX250" fmla="*/ 5874544 w 6400800"/>
                <a:gd name="connsiteY250" fmla="*/ 240506 h 514350"/>
                <a:gd name="connsiteX251" fmla="*/ 5874544 w 6400800"/>
                <a:gd name="connsiteY251" fmla="*/ 262414 h 514350"/>
                <a:gd name="connsiteX252" fmla="*/ 5875496 w 6400800"/>
                <a:gd name="connsiteY252" fmla="*/ 290989 h 514350"/>
                <a:gd name="connsiteX253" fmla="*/ 5873592 w 6400800"/>
                <a:gd name="connsiteY253" fmla="*/ 298609 h 514350"/>
                <a:gd name="connsiteX254" fmla="*/ 5870734 w 6400800"/>
                <a:gd name="connsiteY254" fmla="*/ 271939 h 514350"/>
                <a:gd name="connsiteX255" fmla="*/ 5867876 w 6400800"/>
                <a:gd name="connsiteY255" fmla="*/ 292894 h 514350"/>
                <a:gd name="connsiteX256" fmla="*/ 5866924 w 6400800"/>
                <a:gd name="connsiteY256" fmla="*/ 269081 h 514350"/>
                <a:gd name="connsiteX257" fmla="*/ 5865971 w 6400800"/>
                <a:gd name="connsiteY257" fmla="*/ 243364 h 514350"/>
                <a:gd name="connsiteX258" fmla="*/ 5873592 w 6400800"/>
                <a:gd name="connsiteY258" fmla="*/ 225266 h 514350"/>
                <a:gd name="connsiteX259" fmla="*/ 5865971 w 6400800"/>
                <a:gd name="connsiteY259" fmla="*/ 237649 h 514350"/>
                <a:gd name="connsiteX260" fmla="*/ 5865971 w 6400800"/>
                <a:gd name="connsiteY260" fmla="*/ 230029 h 514350"/>
                <a:gd name="connsiteX261" fmla="*/ 5865019 w 6400800"/>
                <a:gd name="connsiteY261" fmla="*/ 194786 h 514350"/>
                <a:gd name="connsiteX262" fmla="*/ 5863114 w 6400800"/>
                <a:gd name="connsiteY262" fmla="*/ 141446 h 514350"/>
                <a:gd name="connsiteX263" fmla="*/ 5862162 w 6400800"/>
                <a:gd name="connsiteY263" fmla="*/ 121444 h 514350"/>
                <a:gd name="connsiteX264" fmla="*/ 5859304 w 6400800"/>
                <a:gd name="connsiteY264" fmla="*/ 141446 h 514350"/>
                <a:gd name="connsiteX265" fmla="*/ 5856446 w 6400800"/>
                <a:gd name="connsiteY265" fmla="*/ 161449 h 514350"/>
                <a:gd name="connsiteX266" fmla="*/ 5853589 w 6400800"/>
                <a:gd name="connsiteY266" fmla="*/ 120491 h 514350"/>
                <a:gd name="connsiteX267" fmla="*/ 5851684 w 6400800"/>
                <a:gd name="connsiteY267" fmla="*/ 98584 h 514350"/>
                <a:gd name="connsiteX268" fmla="*/ 5849779 w 6400800"/>
                <a:gd name="connsiteY268" fmla="*/ 120491 h 514350"/>
                <a:gd name="connsiteX269" fmla="*/ 5847874 w 6400800"/>
                <a:gd name="connsiteY269" fmla="*/ 146209 h 514350"/>
                <a:gd name="connsiteX270" fmla="*/ 5846921 w 6400800"/>
                <a:gd name="connsiteY270" fmla="*/ 179546 h 514350"/>
                <a:gd name="connsiteX271" fmla="*/ 5846921 w 6400800"/>
                <a:gd name="connsiteY271" fmla="*/ 262414 h 514350"/>
                <a:gd name="connsiteX272" fmla="*/ 5846921 w 6400800"/>
                <a:gd name="connsiteY272" fmla="*/ 269081 h 514350"/>
                <a:gd name="connsiteX273" fmla="*/ 5843112 w 6400800"/>
                <a:gd name="connsiteY273" fmla="*/ 274796 h 514350"/>
                <a:gd name="connsiteX274" fmla="*/ 5840254 w 6400800"/>
                <a:gd name="connsiteY274" fmla="*/ 261461 h 514350"/>
                <a:gd name="connsiteX275" fmla="*/ 5841206 w 6400800"/>
                <a:gd name="connsiteY275" fmla="*/ 242411 h 514350"/>
                <a:gd name="connsiteX276" fmla="*/ 5841206 w 6400800"/>
                <a:gd name="connsiteY276" fmla="*/ 223361 h 514350"/>
                <a:gd name="connsiteX277" fmla="*/ 5837396 w 6400800"/>
                <a:gd name="connsiteY277" fmla="*/ 242411 h 514350"/>
                <a:gd name="connsiteX278" fmla="*/ 5836444 w 6400800"/>
                <a:gd name="connsiteY278" fmla="*/ 245269 h 514350"/>
                <a:gd name="connsiteX279" fmla="*/ 5829776 w 6400800"/>
                <a:gd name="connsiteY279" fmla="*/ 215741 h 514350"/>
                <a:gd name="connsiteX280" fmla="*/ 5824062 w 6400800"/>
                <a:gd name="connsiteY280" fmla="*/ 189071 h 514350"/>
                <a:gd name="connsiteX281" fmla="*/ 5825967 w 6400800"/>
                <a:gd name="connsiteY281" fmla="*/ 215741 h 514350"/>
                <a:gd name="connsiteX282" fmla="*/ 5828824 w 6400800"/>
                <a:gd name="connsiteY282" fmla="*/ 246221 h 514350"/>
                <a:gd name="connsiteX283" fmla="*/ 5831681 w 6400800"/>
                <a:gd name="connsiteY283" fmla="*/ 268129 h 514350"/>
                <a:gd name="connsiteX284" fmla="*/ 5826919 w 6400800"/>
                <a:gd name="connsiteY284" fmla="*/ 276701 h 514350"/>
                <a:gd name="connsiteX285" fmla="*/ 5825967 w 6400800"/>
                <a:gd name="connsiteY285" fmla="*/ 270986 h 514350"/>
                <a:gd name="connsiteX286" fmla="*/ 5822156 w 6400800"/>
                <a:gd name="connsiteY286" fmla="*/ 250031 h 514350"/>
                <a:gd name="connsiteX287" fmla="*/ 5818346 w 6400800"/>
                <a:gd name="connsiteY287" fmla="*/ 231934 h 514350"/>
                <a:gd name="connsiteX288" fmla="*/ 5818346 w 6400800"/>
                <a:gd name="connsiteY288" fmla="*/ 250031 h 514350"/>
                <a:gd name="connsiteX289" fmla="*/ 5818346 w 6400800"/>
                <a:gd name="connsiteY289" fmla="*/ 270986 h 514350"/>
                <a:gd name="connsiteX290" fmla="*/ 5812631 w 6400800"/>
                <a:gd name="connsiteY290" fmla="*/ 262414 h 514350"/>
                <a:gd name="connsiteX291" fmla="*/ 5812631 w 6400800"/>
                <a:gd name="connsiteY291" fmla="*/ 246221 h 514350"/>
                <a:gd name="connsiteX292" fmla="*/ 5814537 w 6400800"/>
                <a:gd name="connsiteY292" fmla="*/ 220504 h 514350"/>
                <a:gd name="connsiteX293" fmla="*/ 5816442 w 6400800"/>
                <a:gd name="connsiteY293" fmla="*/ 221456 h 514350"/>
                <a:gd name="connsiteX294" fmla="*/ 5819299 w 6400800"/>
                <a:gd name="connsiteY294" fmla="*/ 224314 h 514350"/>
                <a:gd name="connsiteX295" fmla="*/ 5822156 w 6400800"/>
                <a:gd name="connsiteY295" fmla="*/ 231934 h 514350"/>
                <a:gd name="connsiteX296" fmla="*/ 5821204 w 6400800"/>
                <a:gd name="connsiteY296" fmla="*/ 223361 h 514350"/>
                <a:gd name="connsiteX297" fmla="*/ 5818346 w 6400800"/>
                <a:gd name="connsiteY297" fmla="*/ 219551 h 514350"/>
                <a:gd name="connsiteX298" fmla="*/ 5813584 w 6400800"/>
                <a:gd name="connsiteY298" fmla="*/ 217646 h 514350"/>
                <a:gd name="connsiteX299" fmla="*/ 5811679 w 6400800"/>
                <a:gd name="connsiteY299" fmla="*/ 217646 h 514350"/>
                <a:gd name="connsiteX300" fmla="*/ 5811679 w 6400800"/>
                <a:gd name="connsiteY300" fmla="*/ 219551 h 514350"/>
                <a:gd name="connsiteX301" fmla="*/ 5805012 w 6400800"/>
                <a:gd name="connsiteY301" fmla="*/ 246221 h 514350"/>
                <a:gd name="connsiteX302" fmla="*/ 5803106 w 6400800"/>
                <a:gd name="connsiteY302" fmla="*/ 256699 h 514350"/>
                <a:gd name="connsiteX303" fmla="*/ 5796439 w 6400800"/>
                <a:gd name="connsiteY303" fmla="*/ 264319 h 514350"/>
                <a:gd name="connsiteX304" fmla="*/ 5795487 w 6400800"/>
                <a:gd name="connsiteY304" fmla="*/ 253841 h 514350"/>
                <a:gd name="connsiteX305" fmla="*/ 5794534 w 6400800"/>
                <a:gd name="connsiteY305" fmla="*/ 248126 h 514350"/>
                <a:gd name="connsiteX306" fmla="*/ 5794534 w 6400800"/>
                <a:gd name="connsiteY306" fmla="*/ 253841 h 514350"/>
                <a:gd name="connsiteX307" fmla="*/ 5793581 w 6400800"/>
                <a:gd name="connsiteY307" fmla="*/ 268129 h 514350"/>
                <a:gd name="connsiteX308" fmla="*/ 5791676 w 6400800"/>
                <a:gd name="connsiteY308" fmla="*/ 270034 h 514350"/>
                <a:gd name="connsiteX309" fmla="*/ 5791676 w 6400800"/>
                <a:gd name="connsiteY309" fmla="*/ 270034 h 514350"/>
                <a:gd name="connsiteX310" fmla="*/ 5787867 w 6400800"/>
                <a:gd name="connsiteY310" fmla="*/ 239554 h 514350"/>
                <a:gd name="connsiteX311" fmla="*/ 5793581 w 6400800"/>
                <a:gd name="connsiteY311" fmla="*/ 224314 h 514350"/>
                <a:gd name="connsiteX312" fmla="*/ 5786914 w 6400800"/>
                <a:gd name="connsiteY312" fmla="*/ 234791 h 514350"/>
                <a:gd name="connsiteX313" fmla="*/ 5785009 w 6400800"/>
                <a:gd name="connsiteY313" fmla="*/ 205264 h 514350"/>
                <a:gd name="connsiteX314" fmla="*/ 5795487 w 6400800"/>
                <a:gd name="connsiteY314" fmla="*/ 183356 h 514350"/>
                <a:gd name="connsiteX315" fmla="*/ 5795487 w 6400800"/>
                <a:gd name="connsiteY315" fmla="*/ 184309 h 514350"/>
                <a:gd name="connsiteX316" fmla="*/ 5795487 w 6400800"/>
                <a:gd name="connsiteY316" fmla="*/ 183356 h 514350"/>
                <a:gd name="connsiteX317" fmla="*/ 5797392 w 6400800"/>
                <a:gd name="connsiteY317" fmla="*/ 178594 h 514350"/>
                <a:gd name="connsiteX318" fmla="*/ 5812631 w 6400800"/>
                <a:gd name="connsiteY318" fmla="*/ 145256 h 514350"/>
                <a:gd name="connsiteX319" fmla="*/ 5825967 w 6400800"/>
                <a:gd name="connsiteY319" fmla="*/ 115729 h 514350"/>
                <a:gd name="connsiteX320" fmla="*/ 5809774 w 6400800"/>
                <a:gd name="connsiteY320" fmla="*/ 143351 h 514350"/>
                <a:gd name="connsiteX321" fmla="*/ 5791676 w 6400800"/>
                <a:gd name="connsiteY321" fmla="*/ 173831 h 514350"/>
                <a:gd name="connsiteX322" fmla="*/ 5788819 w 6400800"/>
                <a:gd name="connsiteY322" fmla="*/ 170974 h 514350"/>
                <a:gd name="connsiteX323" fmla="*/ 5783104 w 6400800"/>
                <a:gd name="connsiteY323" fmla="*/ 169069 h 514350"/>
                <a:gd name="connsiteX324" fmla="*/ 5781199 w 6400800"/>
                <a:gd name="connsiteY324" fmla="*/ 169069 h 514350"/>
                <a:gd name="connsiteX325" fmla="*/ 5781199 w 6400800"/>
                <a:gd name="connsiteY325" fmla="*/ 170974 h 514350"/>
                <a:gd name="connsiteX326" fmla="*/ 5777389 w 6400800"/>
                <a:gd name="connsiteY326" fmla="*/ 197644 h 514350"/>
                <a:gd name="connsiteX327" fmla="*/ 5766912 w 6400800"/>
                <a:gd name="connsiteY327" fmla="*/ 217646 h 514350"/>
                <a:gd name="connsiteX328" fmla="*/ 5752624 w 6400800"/>
                <a:gd name="connsiteY328" fmla="*/ 244316 h 514350"/>
                <a:gd name="connsiteX329" fmla="*/ 5751671 w 6400800"/>
                <a:gd name="connsiteY329" fmla="*/ 233839 h 514350"/>
                <a:gd name="connsiteX330" fmla="*/ 5749767 w 6400800"/>
                <a:gd name="connsiteY330" fmla="*/ 216694 h 514350"/>
                <a:gd name="connsiteX331" fmla="*/ 5757387 w 6400800"/>
                <a:gd name="connsiteY331" fmla="*/ 190024 h 514350"/>
                <a:gd name="connsiteX332" fmla="*/ 5749767 w 6400800"/>
                <a:gd name="connsiteY332" fmla="*/ 210979 h 514350"/>
                <a:gd name="connsiteX333" fmla="*/ 5748814 w 6400800"/>
                <a:gd name="connsiteY333" fmla="*/ 204311 h 514350"/>
                <a:gd name="connsiteX334" fmla="*/ 5745004 w 6400800"/>
                <a:gd name="connsiteY334" fmla="*/ 178594 h 514350"/>
                <a:gd name="connsiteX335" fmla="*/ 5745004 w 6400800"/>
                <a:gd name="connsiteY335" fmla="*/ 204311 h 514350"/>
                <a:gd name="connsiteX336" fmla="*/ 5745004 w 6400800"/>
                <a:gd name="connsiteY336" fmla="*/ 222409 h 514350"/>
                <a:gd name="connsiteX337" fmla="*/ 5744051 w 6400800"/>
                <a:gd name="connsiteY337" fmla="*/ 225266 h 514350"/>
                <a:gd name="connsiteX338" fmla="*/ 5731669 w 6400800"/>
                <a:gd name="connsiteY338" fmla="*/ 259556 h 514350"/>
                <a:gd name="connsiteX339" fmla="*/ 5731669 w 6400800"/>
                <a:gd name="connsiteY339" fmla="*/ 258604 h 514350"/>
                <a:gd name="connsiteX340" fmla="*/ 5734526 w 6400800"/>
                <a:gd name="connsiteY340" fmla="*/ 238601 h 514350"/>
                <a:gd name="connsiteX341" fmla="*/ 5727859 w 6400800"/>
                <a:gd name="connsiteY341" fmla="*/ 258604 h 514350"/>
                <a:gd name="connsiteX342" fmla="*/ 5725954 w 6400800"/>
                <a:gd name="connsiteY342" fmla="*/ 264319 h 514350"/>
                <a:gd name="connsiteX343" fmla="*/ 5725954 w 6400800"/>
                <a:gd name="connsiteY343" fmla="*/ 263366 h 514350"/>
                <a:gd name="connsiteX344" fmla="*/ 5725954 w 6400800"/>
                <a:gd name="connsiteY344" fmla="*/ 262414 h 514350"/>
                <a:gd name="connsiteX345" fmla="*/ 5726906 w 6400800"/>
                <a:gd name="connsiteY345" fmla="*/ 256699 h 514350"/>
                <a:gd name="connsiteX346" fmla="*/ 5729764 w 6400800"/>
                <a:gd name="connsiteY346" fmla="*/ 242411 h 514350"/>
                <a:gd name="connsiteX347" fmla="*/ 5732621 w 6400800"/>
                <a:gd name="connsiteY347" fmla="*/ 230029 h 514350"/>
                <a:gd name="connsiteX348" fmla="*/ 5737384 w 6400800"/>
                <a:gd name="connsiteY348" fmla="*/ 210026 h 514350"/>
                <a:gd name="connsiteX349" fmla="*/ 5741194 w 6400800"/>
                <a:gd name="connsiteY349" fmla="*/ 191929 h 514350"/>
                <a:gd name="connsiteX350" fmla="*/ 5739289 w 6400800"/>
                <a:gd name="connsiteY350" fmla="*/ 196691 h 514350"/>
                <a:gd name="connsiteX351" fmla="*/ 5740242 w 6400800"/>
                <a:gd name="connsiteY351" fmla="*/ 190024 h 514350"/>
                <a:gd name="connsiteX352" fmla="*/ 5731669 w 6400800"/>
                <a:gd name="connsiteY352" fmla="*/ 211931 h 514350"/>
                <a:gd name="connsiteX353" fmla="*/ 5726906 w 6400800"/>
                <a:gd name="connsiteY353" fmla="*/ 224314 h 514350"/>
                <a:gd name="connsiteX354" fmla="*/ 5725001 w 6400800"/>
                <a:gd name="connsiteY354" fmla="*/ 228124 h 514350"/>
                <a:gd name="connsiteX355" fmla="*/ 5720239 w 6400800"/>
                <a:gd name="connsiteY355" fmla="*/ 240506 h 514350"/>
                <a:gd name="connsiteX356" fmla="*/ 5717381 w 6400800"/>
                <a:gd name="connsiteY356" fmla="*/ 250031 h 514350"/>
                <a:gd name="connsiteX357" fmla="*/ 5715476 w 6400800"/>
                <a:gd name="connsiteY357" fmla="*/ 254794 h 514350"/>
                <a:gd name="connsiteX358" fmla="*/ 5709762 w 6400800"/>
                <a:gd name="connsiteY358" fmla="*/ 272891 h 514350"/>
                <a:gd name="connsiteX359" fmla="*/ 5704046 w 6400800"/>
                <a:gd name="connsiteY359" fmla="*/ 290989 h 514350"/>
                <a:gd name="connsiteX360" fmla="*/ 5696426 w 6400800"/>
                <a:gd name="connsiteY360" fmla="*/ 275749 h 514350"/>
                <a:gd name="connsiteX361" fmla="*/ 5695474 w 6400800"/>
                <a:gd name="connsiteY361" fmla="*/ 269081 h 514350"/>
                <a:gd name="connsiteX362" fmla="*/ 5695474 w 6400800"/>
                <a:gd name="connsiteY362" fmla="*/ 272891 h 514350"/>
                <a:gd name="connsiteX363" fmla="*/ 5688806 w 6400800"/>
                <a:gd name="connsiteY363" fmla="*/ 259556 h 514350"/>
                <a:gd name="connsiteX364" fmla="*/ 5680234 w 6400800"/>
                <a:gd name="connsiteY364" fmla="*/ 243364 h 514350"/>
                <a:gd name="connsiteX365" fmla="*/ 5684996 w 6400800"/>
                <a:gd name="connsiteY365" fmla="*/ 260509 h 514350"/>
                <a:gd name="connsiteX366" fmla="*/ 5694521 w 6400800"/>
                <a:gd name="connsiteY366" fmla="*/ 292894 h 514350"/>
                <a:gd name="connsiteX367" fmla="*/ 5694521 w 6400800"/>
                <a:gd name="connsiteY367" fmla="*/ 309086 h 514350"/>
                <a:gd name="connsiteX368" fmla="*/ 5694521 w 6400800"/>
                <a:gd name="connsiteY368" fmla="*/ 323374 h 514350"/>
                <a:gd name="connsiteX369" fmla="*/ 5691664 w 6400800"/>
                <a:gd name="connsiteY369" fmla="*/ 331946 h 514350"/>
                <a:gd name="connsiteX370" fmla="*/ 5689759 w 6400800"/>
                <a:gd name="connsiteY370" fmla="*/ 329089 h 514350"/>
                <a:gd name="connsiteX371" fmla="*/ 5689759 w 6400800"/>
                <a:gd name="connsiteY371" fmla="*/ 320516 h 514350"/>
                <a:gd name="connsiteX372" fmla="*/ 5687854 w 6400800"/>
                <a:gd name="connsiteY372" fmla="*/ 286226 h 514350"/>
                <a:gd name="connsiteX373" fmla="*/ 5684996 w 6400800"/>
                <a:gd name="connsiteY373" fmla="*/ 319564 h 514350"/>
                <a:gd name="connsiteX374" fmla="*/ 5681187 w 6400800"/>
                <a:gd name="connsiteY374" fmla="*/ 312896 h 514350"/>
                <a:gd name="connsiteX375" fmla="*/ 5675471 w 6400800"/>
                <a:gd name="connsiteY375" fmla="*/ 273844 h 514350"/>
                <a:gd name="connsiteX376" fmla="*/ 5672614 w 6400800"/>
                <a:gd name="connsiteY376" fmla="*/ 253841 h 514350"/>
                <a:gd name="connsiteX377" fmla="*/ 5670709 w 6400800"/>
                <a:gd name="connsiteY377" fmla="*/ 235744 h 514350"/>
                <a:gd name="connsiteX378" fmla="*/ 5667851 w 6400800"/>
                <a:gd name="connsiteY378" fmla="*/ 207169 h 514350"/>
                <a:gd name="connsiteX379" fmla="*/ 5665946 w 6400800"/>
                <a:gd name="connsiteY379" fmla="*/ 188119 h 514350"/>
                <a:gd name="connsiteX380" fmla="*/ 5666899 w 6400800"/>
                <a:gd name="connsiteY380" fmla="*/ 183356 h 514350"/>
                <a:gd name="connsiteX381" fmla="*/ 5665946 w 6400800"/>
                <a:gd name="connsiteY381" fmla="*/ 186214 h 514350"/>
                <a:gd name="connsiteX382" fmla="*/ 5664994 w 6400800"/>
                <a:gd name="connsiteY382" fmla="*/ 181451 h 514350"/>
                <a:gd name="connsiteX383" fmla="*/ 5664994 w 6400800"/>
                <a:gd name="connsiteY383" fmla="*/ 188119 h 514350"/>
                <a:gd name="connsiteX384" fmla="*/ 5654517 w 6400800"/>
                <a:gd name="connsiteY384" fmla="*/ 211931 h 514350"/>
                <a:gd name="connsiteX385" fmla="*/ 5653564 w 6400800"/>
                <a:gd name="connsiteY385" fmla="*/ 205264 h 514350"/>
                <a:gd name="connsiteX386" fmla="*/ 5652612 w 6400800"/>
                <a:gd name="connsiteY386" fmla="*/ 189071 h 514350"/>
                <a:gd name="connsiteX387" fmla="*/ 5657374 w 6400800"/>
                <a:gd name="connsiteY387" fmla="*/ 179546 h 514350"/>
                <a:gd name="connsiteX388" fmla="*/ 5652612 w 6400800"/>
                <a:gd name="connsiteY388" fmla="*/ 187166 h 514350"/>
                <a:gd name="connsiteX389" fmla="*/ 5652612 w 6400800"/>
                <a:gd name="connsiteY389" fmla="*/ 185261 h 514350"/>
                <a:gd name="connsiteX390" fmla="*/ 5651659 w 6400800"/>
                <a:gd name="connsiteY390" fmla="*/ 167164 h 514350"/>
                <a:gd name="connsiteX391" fmla="*/ 5649754 w 6400800"/>
                <a:gd name="connsiteY391" fmla="*/ 179546 h 514350"/>
                <a:gd name="connsiteX392" fmla="*/ 5649754 w 6400800"/>
                <a:gd name="connsiteY392" fmla="*/ 178594 h 514350"/>
                <a:gd name="connsiteX393" fmla="*/ 5647849 w 6400800"/>
                <a:gd name="connsiteY393" fmla="*/ 159544 h 514350"/>
                <a:gd name="connsiteX394" fmla="*/ 5646896 w 6400800"/>
                <a:gd name="connsiteY394" fmla="*/ 142399 h 514350"/>
                <a:gd name="connsiteX395" fmla="*/ 5645944 w 6400800"/>
                <a:gd name="connsiteY395" fmla="*/ 114776 h 514350"/>
                <a:gd name="connsiteX396" fmla="*/ 5644992 w 6400800"/>
                <a:gd name="connsiteY396" fmla="*/ 90011 h 514350"/>
                <a:gd name="connsiteX397" fmla="*/ 5641181 w 6400800"/>
                <a:gd name="connsiteY397" fmla="*/ 113824 h 514350"/>
                <a:gd name="connsiteX398" fmla="*/ 5639276 w 6400800"/>
                <a:gd name="connsiteY398" fmla="*/ 141446 h 514350"/>
                <a:gd name="connsiteX399" fmla="*/ 5638324 w 6400800"/>
                <a:gd name="connsiteY399" fmla="*/ 158591 h 514350"/>
                <a:gd name="connsiteX400" fmla="*/ 5638324 w 6400800"/>
                <a:gd name="connsiteY400" fmla="*/ 177641 h 514350"/>
                <a:gd name="connsiteX401" fmla="*/ 5639276 w 6400800"/>
                <a:gd name="connsiteY401" fmla="*/ 205264 h 514350"/>
                <a:gd name="connsiteX402" fmla="*/ 5637371 w 6400800"/>
                <a:gd name="connsiteY402" fmla="*/ 208121 h 514350"/>
                <a:gd name="connsiteX403" fmla="*/ 5636419 w 6400800"/>
                <a:gd name="connsiteY403" fmla="*/ 209074 h 514350"/>
                <a:gd name="connsiteX404" fmla="*/ 5636419 w 6400800"/>
                <a:gd name="connsiteY404" fmla="*/ 208121 h 514350"/>
                <a:gd name="connsiteX405" fmla="*/ 5636419 w 6400800"/>
                <a:gd name="connsiteY405" fmla="*/ 209074 h 514350"/>
                <a:gd name="connsiteX406" fmla="*/ 5631656 w 6400800"/>
                <a:gd name="connsiteY406" fmla="*/ 215741 h 514350"/>
                <a:gd name="connsiteX407" fmla="*/ 5626894 w 6400800"/>
                <a:gd name="connsiteY407" fmla="*/ 192881 h 514350"/>
                <a:gd name="connsiteX408" fmla="*/ 5626894 w 6400800"/>
                <a:gd name="connsiteY408" fmla="*/ 222409 h 514350"/>
                <a:gd name="connsiteX409" fmla="*/ 5626894 w 6400800"/>
                <a:gd name="connsiteY409" fmla="*/ 223361 h 514350"/>
                <a:gd name="connsiteX410" fmla="*/ 5618321 w 6400800"/>
                <a:gd name="connsiteY410" fmla="*/ 211931 h 514350"/>
                <a:gd name="connsiteX411" fmla="*/ 5593556 w 6400800"/>
                <a:gd name="connsiteY411" fmla="*/ 181451 h 514350"/>
                <a:gd name="connsiteX412" fmla="*/ 5570696 w 6400800"/>
                <a:gd name="connsiteY412" fmla="*/ 155734 h 514350"/>
                <a:gd name="connsiteX413" fmla="*/ 5590699 w 6400800"/>
                <a:gd name="connsiteY413" fmla="*/ 184309 h 514350"/>
                <a:gd name="connsiteX414" fmla="*/ 5612606 w 6400800"/>
                <a:gd name="connsiteY414" fmla="*/ 217646 h 514350"/>
                <a:gd name="connsiteX415" fmla="*/ 5616417 w 6400800"/>
                <a:gd name="connsiteY415" fmla="*/ 223361 h 514350"/>
                <a:gd name="connsiteX416" fmla="*/ 5620226 w 6400800"/>
                <a:gd name="connsiteY416" fmla="*/ 233839 h 514350"/>
                <a:gd name="connsiteX417" fmla="*/ 5620226 w 6400800"/>
                <a:gd name="connsiteY417" fmla="*/ 234791 h 514350"/>
                <a:gd name="connsiteX418" fmla="*/ 5616417 w 6400800"/>
                <a:gd name="connsiteY418" fmla="*/ 241459 h 514350"/>
                <a:gd name="connsiteX419" fmla="*/ 5616417 w 6400800"/>
                <a:gd name="connsiteY419" fmla="*/ 240506 h 514350"/>
                <a:gd name="connsiteX420" fmla="*/ 5616417 w 6400800"/>
                <a:gd name="connsiteY420" fmla="*/ 241459 h 514350"/>
                <a:gd name="connsiteX421" fmla="*/ 5614512 w 6400800"/>
                <a:gd name="connsiteY421" fmla="*/ 245269 h 514350"/>
                <a:gd name="connsiteX422" fmla="*/ 5594509 w 6400800"/>
                <a:gd name="connsiteY422" fmla="*/ 280511 h 514350"/>
                <a:gd name="connsiteX423" fmla="*/ 5594509 w 6400800"/>
                <a:gd name="connsiteY423" fmla="*/ 275749 h 514350"/>
                <a:gd name="connsiteX424" fmla="*/ 5594509 w 6400800"/>
                <a:gd name="connsiteY424" fmla="*/ 268129 h 514350"/>
                <a:gd name="connsiteX425" fmla="*/ 5596414 w 6400800"/>
                <a:gd name="connsiteY425" fmla="*/ 256699 h 514350"/>
                <a:gd name="connsiteX426" fmla="*/ 5594509 w 6400800"/>
                <a:gd name="connsiteY426" fmla="*/ 263366 h 514350"/>
                <a:gd name="connsiteX427" fmla="*/ 5594509 w 6400800"/>
                <a:gd name="connsiteY427" fmla="*/ 262414 h 514350"/>
                <a:gd name="connsiteX428" fmla="*/ 5592604 w 6400800"/>
                <a:gd name="connsiteY428" fmla="*/ 250031 h 514350"/>
                <a:gd name="connsiteX429" fmla="*/ 5590699 w 6400800"/>
                <a:gd name="connsiteY429" fmla="*/ 232886 h 514350"/>
                <a:gd name="connsiteX430" fmla="*/ 5596414 w 6400800"/>
                <a:gd name="connsiteY430" fmla="*/ 217646 h 514350"/>
                <a:gd name="connsiteX431" fmla="*/ 5589746 w 6400800"/>
                <a:gd name="connsiteY431" fmla="*/ 230029 h 514350"/>
                <a:gd name="connsiteX432" fmla="*/ 5589746 w 6400800"/>
                <a:gd name="connsiteY432" fmla="*/ 230029 h 514350"/>
                <a:gd name="connsiteX433" fmla="*/ 5586889 w 6400800"/>
                <a:gd name="connsiteY433" fmla="*/ 211931 h 514350"/>
                <a:gd name="connsiteX434" fmla="*/ 5585937 w 6400800"/>
                <a:gd name="connsiteY434" fmla="*/ 230029 h 514350"/>
                <a:gd name="connsiteX435" fmla="*/ 5585937 w 6400800"/>
                <a:gd name="connsiteY435" fmla="*/ 230981 h 514350"/>
                <a:gd name="connsiteX436" fmla="*/ 5583079 w 6400800"/>
                <a:gd name="connsiteY436" fmla="*/ 213836 h 514350"/>
                <a:gd name="connsiteX437" fmla="*/ 5583079 w 6400800"/>
                <a:gd name="connsiteY437" fmla="*/ 242411 h 514350"/>
                <a:gd name="connsiteX438" fmla="*/ 5581174 w 6400800"/>
                <a:gd name="connsiteY438" fmla="*/ 246221 h 514350"/>
                <a:gd name="connsiteX439" fmla="*/ 5579269 w 6400800"/>
                <a:gd name="connsiteY439" fmla="*/ 250031 h 514350"/>
                <a:gd name="connsiteX440" fmla="*/ 5571649 w 6400800"/>
                <a:gd name="connsiteY440" fmla="*/ 209074 h 514350"/>
                <a:gd name="connsiteX441" fmla="*/ 5567839 w 6400800"/>
                <a:gd name="connsiteY441" fmla="*/ 189071 h 514350"/>
                <a:gd name="connsiteX442" fmla="*/ 5563076 w 6400800"/>
                <a:gd name="connsiteY442" fmla="*/ 170974 h 514350"/>
                <a:gd name="connsiteX443" fmla="*/ 5555456 w 6400800"/>
                <a:gd name="connsiteY443" fmla="*/ 141446 h 514350"/>
                <a:gd name="connsiteX444" fmla="*/ 5548789 w 6400800"/>
                <a:gd name="connsiteY444" fmla="*/ 115729 h 514350"/>
                <a:gd name="connsiteX445" fmla="*/ 5551646 w 6400800"/>
                <a:gd name="connsiteY445" fmla="*/ 142399 h 514350"/>
                <a:gd name="connsiteX446" fmla="*/ 5555456 w 6400800"/>
                <a:gd name="connsiteY446" fmla="*/ 172879 h 514350"/>
                <a:gd name="connsiteX447" fmla="*/ 5558314 w 6400800"/>
                <a:gd name="connsiteY447" fmla="*/ 190976 h 514350"/>
                <a:gd name="connsiteX448" fmla="*/ 5560219 w 6400800"/>
                <a:gd name="connsiteY448" fmla="*/ 211931 h 514350"/>
                <a:gd name="connsiteX449" fmla="*/ 5564981 w 6400800"/>
                <a:gd name="connsiteY449" fmla="*/ 257651 h 514350"/>
                <a:gd name="connsiteX450" fmla="*/ 5565934 w 6400800"/>
                <a:gd name="connsiteY450" fmla="*/ 274796 h 514350"/>
                <a:gd name="connsiteX451" fmla="*/ 5564029 w 6400800"/>
                <a:gd name="connsiteY451" fmla="*/ 278606 h 514350"/>
                <a:gd name="connsiteX452" fmla="*/ 5561171 w 6400800"/>
                <a:gd name="connsiteY452" fmla="*/ 284321 h 514350"/>
                <a:gd name="connsiteX453" fmla="*/ 5549742 w 6400800"/>
                <a:gd name="connsiteY453" fmla="*/ 264319 h 514350"/>
                <a:gd name="connsiteX454" fmla="*/ 5548789 w 6400800"/>
                <a:gd name="connsiteY454" fmla="*/ 261461 h 514350"/>
                <a:gd name="connsiteX455" fmla="*/ 5544026 w 6400800"/>
                <a:gd name="connsiteY455" fmla="*/ 247174 h 514350"/>
                <a:gd name="connsiteX456" fmla="*/ 5547837 w 6400800"/>
                <a:gd name="connsiteY456" fmla="*/ 228124 h 514350"/>
                <a:gd name="connsiteX457" fmla="*/ 5542121 w 6400800"/>
                <a:gd name="connsiteY457" fmla="*/ 241459 h 514350"/>
                <a:gd name="connsiteX458" fmla="*/ 5541169 w 6400800"/>
                <a:gd name="connsiteY458" fmla="*/ 238601 h 514350"/>
                <a:gd name="connsiteX459" fmla="*/ 5538312 w 6400800"/>
                <a:gd name="connsiteY459" fmla="*/ 230029 h 514350"/>
                <a:gd name="connsiteX460" fmla="*/ 5551646 w 6400800"/>
                <a:gd name="connsiteY460" fmla="*/ 167164 h 514350"/>
                <a:gd name="connsiteX461" fmla="*/ 5528787 w 6400800"/>
                <a:gd name="connsiteY461" fmla="*/ 225266 h 514350"/>
                <a:gd name="connsiteX462" fmla="*/ 5524976 w 6400800"/>
                <a:gd name="connsiteY462" fmla="*/ 217646 h 514350"/>
                <a:gd name="connsiteX463" fmla="*/ 5524024 w 6400800"/>
                <a:gd name="connsiteY463" fmla="*/ 207169 h 514350"/>
                <a:gd name="connsiteX464" fmla="*/ 5521167 w 6400800"/>
                <a:gd name="connsiteY464" fmla="*/ 185261 h 514350"/>
                <a:gd name="connsiteX465" fmla="*/ 5520214 w 6400800"/>
                <a:gd name="connsiteY465" fmla="*/ 207169 h 514350"/>
                <a:gd name="connsiteX466" fmla="*/ 5520214 w 6400800"/>
                <a:gd name="connsiteY466" fmla="*/ 232886 h 514350"/>
                <a:gd name="connsiteX467" fmla="*/ 5520214 w 6400800"/>
                <a:gd name="connsiteY467" fmla="*/ 248126 h 514350"/>
                <a:gd name="connsiteX468" fmla="*/ 5520214 w 6400800"/>
                <a:gd name="connsiteY468" fmla="*/ 250984 h 514350"/>
                <a:gd name="connsiteX469" fmla="*/ 5505926 w 6400800"/>
                <a:gd name="connsiteY469" fmla="*/ 291941 h 514350"/>
                <a:gd name="connsiteX470" fmla="*/ 5503069 w 6400800"/>
                <a:gd name="connsiteY470" fmla="*/ 300514 h 514350"/>
                <a:gd name="connsiteX471" fmla="*/ 5498306 w 6400800"/>
                <a:gd name="connsiteY471" fmla="*/ 290989 h 514350"/>
                <a:gd name="connsiteX472" fmla="*/ 5498306 w 6400800"/>
                <a:gd name="connsiteY472" fmla="*/ 285274 h 514350"/>
                <a:gd name="connsiteX473" fmla="*/ 5499259 w 6400800"/>
                <a:gd name="connsiteY473" fmla="*/ 269081 h 514350"/>
                <a:gd name="connsiteX474" fmla="*/ 5494496 w 6400800"/>
                <a:gd name="connsiteY474" fmla="*/ 284321 h 514350"/>
                <a:gd name="connsiteX475" fmla="*/ 5481162 w 6400800"/>
                <a:gd name="connsiteY475" fmla="*/ 257651 h 514350"/>
                <a:gd name="connsiteX476" fmla="*/ 5483067 w 6400800"/>
                <a:gd name="connsiteY476" fmla="*/ 251936 h 514350"/>
                <a:gd name="connsiteX477" fmla="*/ 5492592 w 6400800"/>
                <a:gd name="connsiteY477" fmla="*/ 224314 h 514350"/>
                <a:gd name="connsiteX478" fmla="*/ 5500212 w 6400800"/>
                <a:gd name="connsiteY478" fmla="*/ 200501 h 514350"/>
                <a:gd name="connsiteX479" fmla="*/ 5493544 w 6400800"/>
                <a:gd name="connsiteY479" fmla="*/ 212884 h 514350"/>
                <a:gd name="connsiteX480" fmla="*/ 5502117 w 6400800"/>
                <a:gd name="connsiteY480" fmla="*/ 188119 h 514350"/>
                <a:gd name="connsiteX481" fmla="*/ 5511642 w 6400800"/>
                <a:gd name="connsiteY481" fmla="*/ 160496 h 514350"/>
                <a:gd name="connsiteX482" fmla="*/ 5498306 w 6400800"/>
                <a:gd name="connsiteY482" fmla="*/ 186214 h 514350"/>
                <a:gd name="connsiteX483" fmla="*/ 5484019 w 6400800"/>
                <a:gd name="connsiteY483" fmla="*/ 215741 h 514350"/>
                <a:gd name="connsiteX484" fmla="*/ 5475446 w 6400800"/>
                <a:gd name="connsiteY484" fmla="*/ 233839 h 514350"/>
                <a:gd name="connsiteX485" fmla="*/ 5472589 w 6400800"/>
                <a:gd name="connsiteY485" fmla="*/ 241459 h 514350"/>
                <a:gd name="connsiteX486" fmla="*/ 5461159 w 6400800"/>
                <a:gd name="connsiteY486" fmla="*/ 221456 h 514350"/>
                <a:gd name="connsiteX487" fmla="*/ 5469731 w 6400800"/>
                <a:gd name="connsiteY487" fmla="*/ 248126 h 514350"/>
                <a:gd name="connsiteX488" fmla="*/ 5466874 w 6400800"/>
                <a:gd name="connsiteY488" fmla="*/ 254794 h 514350"/>
                <a:gd name="connsiteX489" fmla="*/ 5465921 w 6400800"/>
                <a:gd name="connsiteY489" fmla="*/ 257651 h 514350"/>
                <a:gd name="connsiteX490" fmla="*/ 5464969 w 6400800"/>
                <a:gd name="connsiteY490" fmla="*/ 256699 h 514350"/>
                <a:gd name="connsiteX491" fmla="*/ 5455444 w 6400800"/>
                <a:gd name="connsiteY491" fmla="*/ 246221 h 514350"/>
                <a:gd name="connsiteX492" fmla="*/ 5452587 w 6400800"/>
                <a:gd name="connsiteY492" fmla="*/ 230029 h 514350"/>
                <a:gd name="connsiteX493" fmla="*/ 5448776 w 6400800"/>
                <a:gd name="connsiteY493" fmla="*/ 214789 h 514350"/>
                <a:gd name="connsiteX494" fmla="*/ 5442109 w 6400800"/>
                <a:gd name="connsiteY494" fmla="*/ 190024 h 514350"/>
                <a:gd name="connsiteX495" fmla="*/ 5442109 w 6400800"/>
                <a:gd name="connsiteY495" fmla="*/ 190024 h 514350"/>
                <a:gd name="connsiteX496" fmla="*/ 5442109 w 6400800"/>
                <a:gd name="connsiteY496" fmla="*/ 180499 h 514350"/>
                <a:gd name="connsiteX497" fmla="*/ 5441156 w 6400800"/>
                <a:gd name="connsiteY497" fmla="*/ 186214 h 514350"/>
                <a:gd name="connsiteX498" fmla="*/ 5436394 w 6400800"/>
                <a:gd name="connsiteY498" fmla="*/ 169069 h 514350"/>
                <a:gd name="connsiteX499" fmla="*/ 5438299 w 6400800"/>
                <a:gd name="connsiteY499" fmla="*/ 190976 h 514350"/>
                <a:gd name="connsiteX500" fmla="*/ 5439251 w 6400800"/>
                <a:gd name="connsiteY500" fmla="*/ 195739 h 514350"/>
                <a:gd name="connsiteX501" fmla="*/ 5433537 w 6400800"/>
                <a:gd name="connsiteY501" fmla="*/ 225266 h 514350"/>
                <a:gd name="connsiteX502" fmla="*/ 5429726 w 6400800"/>
                <a:gd name="connsiteY502" fmla="*/ 221456 h 514350"/>
                <a:gd name="connsiteX503" fmla="*/ 5433537 w 6400800"/>
                <a:gd name="connsiteY503" fmla="*/ 225266 h 514350"/>
                <a:gd name="connsiteX504" fmla="*/ 5430679 w 6400800"/>
                <a:gd name="connsiteY504" fmla="*/ 240506 h 514350"/>
                <a:gd name="connsiteX505" fmla="*/ 5428774 w 6400800"/>
                <a:gd name="connsiteY505" fmla="*/ 228124 h 514350"/>
                <a:gd name="connsiteX506" fmla="*/ 5428774 w 6400800"/>
                <a:gd name="connsiteY506" fmla="*/ 242411 h 514350"/>
                <a:gd name="connsiteX507" fmla="*/ 5424012 w 6400800"/>
                <a:gd name="connsiteY507" fmla="*/ 222409 h 514350"/>
                <a:gd name="connsiteX508" fmla="*/ 5419249 w 6400800"/>
                <a:gd name="connsiteY508" fmla="*/ 200501 h 514350"/>
                <a:gd name="connsiteX509" fmla="*/ 5420201 w 6400800"/>
                <a:gd name="connsiteY509" fmla="*/ 223361 h 514350"/>
                <a:gd name="connsiteX510" fmla="*/ 5424964 w 6400800"/>
                <a:gd name="connsiteY510" fmla="*/ 274796 h 514350"/>
                <a:gd name="connsiteX511" fmla="*/ 5420201 w 6400800"/>
                <a:gd name="connsiteY511" fmla="*/ 299561 h 514350"/>
                <a:gd name="connsiteX512" fmla="*/ 5418296 w 6400800"/>
                <a:gd name="connsiteY512" fmla="*/ 305276 h 514350"/>
                <a:gd name="connsiteX513" fmla="*/ 5415439 w 6400800"/>
                <a:gd name="connsiteY513" fmla="*/ 298609 h 514350"/>
                <a:gd name="connsiteX514" fmla="*/ 5417344 w 6400800"/>
                <a:gd name="connsiteY514" fmla="*/ 291941 h 514350"/>
                <a:gd name="connsiteX515" fmla="*/ 5414487 w 6400800"/>
                <a:gd name="connsiteY515" fmla="*/ 296704 h 514350"/>
                <a:gd name="connsiteX516" fmla="*/ 5414487 w 6400800"/>
                <a:gd name="connsiteY516" fmla="*/ 295751 h 514350"/>
                <a:gd name="connsiteX517" fmla="*/ 5411629 w 6400800"/>
                <a:gd name="connsiteY517" fmla="*/ 287179 h 514350"/>
                <a:gd name="connsiteX518" fmla="*/ 5414487 w 6400800"/>
                <a:gd name="connsiteY518" fmla="*/ 268129 h 514350"/>
                <a:gd name="connsiteX519" fmla="*/ 5409724 w 6400800"/>
                <a:gd name="connsiteY519" fmla="*/ 282416 h 514350"/>
                <a:gd name="connsiteX520" fmla="*/ 5404009 w 6400800"/>
                <a:gd name="connsiteY520" fmla="*/ 267176 h 514350"/>
                <a:gd name="connsiteX521" fmla="*/ 5399246 w 6400800"/>
                <a:gd name="connsiteY521" fmla="*/ 253841 h 514350"/>
                <a:gd name="connsiteX522" fmla="*/ 5400199 w 6400800"/>
                <a:gd name="connsiteY522" fmla="*/ 232886 h 514350"/>
                <a:gd name="connsiteX523" fmla="*/ 5396389 w 6400800"/>
                <a:gd name="connsiteY523" fmla="*/ 247174 h 514350"/>
                <a:gd name="connsiteX524" fmla="*/ 5395437 w 6400800"/>
                <a:gd name="connsiteY524" fmla="*/ 244316 h 514350"/>
                <a:gd name="connsiteX525" fmla="*/ 5387817 w 6400800"/>
                <a:gd name="connsiteY525" fmla="*/ 224314 h 514350"/>
                <a:gd name="connsiteX526" fmla="*/ 5391626 w 6400800"/>
                <a:gd name="connsiteY526" fmla="*/ 245269 h 514350"/>
                <a:gd name="connsiteX527" fmla="*/ 5394484 w 6400800"/>
                <a:gd name="connsiteY527" fmla="*/ 257651 h 514350"/>
                <a:gd name="connsiteX528" fmla="*/ 5384959 w 6400800"/>
                <a:gd name="connsiteY528" fmla="*/ 300514 h 514350"/>
                <a:gd name="connsiteX529" fmla="*/ 5384006 w 6400800"/>
                <a:gd name="connsiteY529" fmla="*/ 297656 h 514350"/>
                <a:gd name="connsiteX530" fmla="*/ 5382101 w 6400800"/>
                <a:gd name="connsiteY530" fmla="*/ 283369 h 514350"/>
                <a:gd name="connsiteX531" fmla="*/ 5382101 w 6400800"/>
                <a:gd name="connsiteY531" fmla="*/ 287179 h 514350"/>
                <a:gd name="connsiteX532" fmla="*/ 5380196 w 6400800"/>
                <a:gd name="connsiteY532" fmla="*/ 276701 h 514350"/>
                <a:gd name="connsiteX533" fmla="*/ 5379244 w 6400800"/>
                <a:gd name="connsiteY533" fmla="*/ 272891 h 514350"/>
                <a:gd name="connsiteX534" fmla="*/ 5380196 w 6400800"/>
                <a:gd name="connsiteY534" fmla="*/ 269081 h 514350"/>
                <a:gd name="connsiteX535" fmla="*/ 5379244 w 6400800"/>
                <a:gd name="connsiteY535" fmla="*/ 271939 h 514350"/>
                <a:gd name="connsiteX536" fmla="*/ 5372576 w 6400800"/>
                <a:gd name="connsiteY536" fmla="*/ 241459 h 514350"/>
                <a:gd name="connsiteX537" fmla="*/ 5373529 w 6400800"/>
                <a:gd name="connsiteY537" fmla="*/ 232886 h 514350"/>
                <a:gd name="connsiteX538" fmla="*/ 5378292 w 6400800"/>
                <a:gd name="connsiteY538" fmla="*/ 190024 h 514350"/>
                <a:gd name="connsiteX539" fmla="*/ 5384006 w 6400800"/>
                <a:gd name="connsiteY539" fmla="*/ 153829 h 514350"/>
                <a:gd name="connsiteX540" fmla="*/ 5386864 w 6400800"/>
                <a:gd name="connsiteY540" fmla="*/ 138589 h 514350"/>
                <a:gd name="connsiteX541" fmla="*/ 5389721 w 6400800"/>
                <a:gd name="connsiteY541" fmla="*/ 126206 h 514350"/>
                <a:gd name="connsiteX542" fmla="*/ 5394484 w 6400800"/>
                <a:gd name="connsiteY542" fmla="*/ 102394 h 514350"/>
                <a:gd name="connsiteX543" fmla="*/ 5385912 w 6400800"/>
                <a:gd name="connsiteY543" fmla="*/ 125254 h 514350"/>
                <a:gd name="connsiteX544" fmla="*/ 5381149 w 6400800"/>
                <a:gd name="connsiteY544" fmla="*/ 137636 h 514350"/>
                <a:gd name="connsiteX545" fmla="*/ 5376387 w 6400800"/>
                <a:gd name="connsiteY545" fmla="*/ 151924 h 514350"/>
                <a:gd name="connsiteX546" fmla="*/ 5366862 w 6400800"/>
                <a:gd name="connsiteY546" fmla="*/ 188119 h 514350"/>
                <a:gd name="connsiteX547" fmla="*/ 5363051 w 6400800"/>
                <a:gd name="connsiteY547" fmla="*/ 205264 h 514350"/>
                <a:gd name="connsiteX548" fmla="*/ 5360194 w 6400800"/>
                <a:gd name="connsiteY548" fmla="*/ 196691 h 514350"/>
                <a:gd name="connsiteX549" fmla="*/ 5361146 w 6400800"/>
                <a:gd name="connsiteY549" fmla="*/ 210979 h 514350"/>
                <a:gd name="connsiteX550" fmla="*/ 5357337 w 6400800"/>
                <a:gd name="connsiteY550" fmla="*/ 230981 h 514350"/>
                <a:gd name="connsiteX551" fmla="*/ 5355431 w 6400800"/>
                <a:gd name="connsiteY551" fmla="*/ 245269 h 514350"/>
                <a:gd name="connsiteX552" fmla="*/ 5354479 w 6400800"/>
                <a:gd name="connsiteY552" fmla="*/ 235744 h 514350"/>
                <a:gd name="connsiteX553" fmla="*/ 5354479 w 6400800"/>
                <a:gd name="connsiteY553" fmla="*/ 230029 h 514350"/>
                <a:gd name="connsiteX554" fmla="*/ 5355431 w 6400800"/>
                <a:gd name="connsiteY554" fmla="*/ 210979 h 514350"/>
                <a:gd name="connsiteX555" fmla="*/ 5352574 w 6400800"/>
                <a:gd name="connsiteY555" fmla="*/ 222409 h 514350"/>
                <a:gd name="connsiteX556" fmla="*/ 5347812 w 6400800"/>
                <a:gd name="connsiteY556" fmla="*/ 190024 h 514350"/>
                <a:gd name="connsiteX557" fmla="*/ 5347812 w 6400800"/>
                <a:gd name="connsiteY557" fmla="*/ 179546 h 514350"/>
                <a:gd name="connsiteX558" fmla="*/ 5347812 w 6400800"/>
                <a:gd name="connsiteY558" fmla="*/ 160496 h 514350"/>
                <a:gd name="connsiteX559" fmla="*/ 5344954 w 6400800"/>
                <a:gd name="connsiteY559" fmla="*/ 173831 h 514350"/>
                <a:gd name="connsiteX560" fmla="*/ 5341144 w 6400800"/>
                <a:gd name="connsiteY560" fmla="*/ 150019 h 514350"/>
                <a:gd name="connsiteX561" fmla="*/ 5342096 w 6400800"/>
                <a:gd name="connsiteY561" fmla="*/ 177641 h 514350"/>
                <a:gd name="connsiteX562" fmla="*/ 5342096 w 6400800"/>
                <a:gd name="connsiteY562" fmla="*/ 187166 h 514350"/>
                <a:gd name="connsiteX563" fmla="*/ 5340192 w 6400800"/>
                <a:gd name="connsiteY563" fmla="*/ 200501 h 514350"/>
                <a:gd name="connsiteX564" fmla="*/ 5337334 w 6400800"/>
                <a:gd name="connsiteY564" fmla="*/ 229076 h 514350"/>
                <a:gd name="connsiteX565" fmla="*/ 5336381 w 6400800"/>
                <a:gd name="connsiteY565" fmla="*/ 263366 h 514350"/>
                <a:gd name="connsiteX566" fmla="*/ 5336381 w 6400800"/>
                <a:gd name="connsiteY566" fmla="*/ 282416 h 514350"/>
                <a:gd name="connsiteX567" fmla="*/ 5336381 w 6400800"/>
                <a:gd name="connsiteY567" fmla="*/ 282416 h 514350"/>
                <a:gd name="connsiteX568" fmla="*/ 5333524 w 6400800"/>
                <a:gd name="connsiteY568" fmla="*/ 293846 h 514350"/>
                <a:gd name="connsiteX569" fmla="*/ 5332571 w 6400800"/>
                <a:gd name="connsiteY569" fmla="*/ 291941 h 514350"/>
                <a:gd name="connsiteX570" fmla="*/ 5327809 w 6400800"/>
                <a:gd name="connsiteY570" fmla="*/ 278606 h 514350"/>
                <a:gd name="connsiteX571" fmla="*/ 5319237 w 6400800"/>
                <a:gd name="connsiteY571" fmla="*/ 252889 h 514350"/>
                <a:gd name="connsiteX572" fmla="*/ 5310664 w 6400800"/>
                <a:gd name="connsiteY572" fmla="*/ 230029 h 514350"/>
                <a:gd name="connsiteX573" fmla="*/ 5315426 w 6400800"/>
                <a:gd name="connsiteY573" fmla="*/ 253841 h 514350"/>
                <a:gd name="connsiteX574" fmla="*/ 5318284 w 6400800"/>
                <a:gd name="connsiteY574" fmla="*/ 267176 h 514350"/>
                <a:gd name="connsiteX575" fmla="*/ 5315426 w 6400800"/>
                <a:gd name="connsiteY575" fmla="*/ 263366 h 514350"/>
                <a:gd name="connsiteX576" fmla="*/ 5320189 w 6400800"/>
                <a:gd name="connsiteY576" fmla="*/ 276701 h 514350"/>
                <a:gd name="connsiteX577" fmla="*/ 5321142 w 6400800"/>
                <a:gd name="connsiteY577" fmla="*/ 281464 h 514350"/>
                <a:gd name="connsiteX578" fmla="*/ 5324951 w 6400800"/>
                <a:gd name="connsiteY578" fmla="*/ 297656 h 514350"/>
                <a:gd name="connsiteX579" fmla="*/ 5326856 w 6400800"/>
                <a:gd name="connsiteY579" fmla="*/ 306229 h 514350"/>
                <a:gd name="connsiteX580" fmla="*/ 5316379 w 6400800"/>
                <a:gd name="connsiteY580" fmla="*/ 322421 h 514350"/>
                <a:gd name="connsiteX581" fmla="*/ 5306854 w 6400800"/>
                <a:gd name="connsiteY581" fmla="*/ 338614 h 514350"/>
                <a:gd name="connsiteX582" fmla="*/ 5298281 w 6400800"/>
                <a:gd name="connsiteY582" fmla="*/ 354806 h 514350"/>
                <a:gd name="connsiteX583" fmla="*/ 5298281 w 6400800"/>
                <a:gd name="connsiteY583" fmla="*/ 344329 h 514350"/>
                <a:gd name="connsiteX584" fmla="*/ 5301139 w 6400800"/>
                <a:gd name="connsiteY584" fmla="*/ 318611 h 514350"/>
                <a:gd name="connsiteX585" fmla="*/ 5305901 w 6400800"/>
                <a:gd name="connsiteY585" fmla="*/ 291941 h 514350"/>
                <a:gd name="connsiteX586" fmla="*/ 5311617 w 6400800"/>
                <a:gd name="connsiteY586" fmla="*/ 269081 h 514350"/>
                <a:gd name="connsiteX587" fmla="*/ 5302092 w 6400800"/>
                <a:gd name="connsiteY587" fmla="*/ 290989 h 514350"/>
                <a:gd name="connsiteX588" fmla="*/ 5299234 w 6400800"/>
                <a:gd name="connsiteY588" fmla="*/ 298609 h 514350"/>
                <a:gd name="connsiteX589" fmla="*/ 5299234 w 6400800"/>
                <a:gd name="connsiteY589" fmla="*/ 263366 h 514350"/>
                <a:gd name="connsiteX590" fmla="*/ 5290662 w 6400800"/>
                <a:gd name="connsiteY590" fmla="*/ 317659 h 514350"/>
                <a:gd name="connsiteX591" fmla="*/ 5289709 w 6400800"/>
                <a:gd name="connsiteY591" fmla="*/ 312896 h 514350"/>
                <a:gd name="connsiteX592" fmla="*/ 5284946 w 6400800"/>
                <a:gd name="connsiteY592" fmla="*/ 295751 h 514350"/>
                <a:gd name="connsiteX593" fmla="*/ 5284946 w 6400800"/>
                <a:gd name="connsiteY593" fmla="*/ 295751 h 514350"/>
                <a:gd name="connsiteX594" fmla="*/ 5284946 w 6400800"/>
                <a:gd name="connsiteY594" fmla="*/ 295751 h 514350"/>
                <a:gd name="connsiteX595" fmla="*/ 5282089 w 6400800"/>
                <a:gd name="connsiteY595" fmla="*/ 284321 h 514350"/>
                <a:gd name="connsiteX596" fmla="*/ 5281137 w 6400800"/>
                <a:gd name="connsiteY596" fmla="*/ 282416 h 514350"/>
                <a:gd name="connsiteX597" fmla="*/ 5288756 w 6400800"/>
                <a:gd name="connsiteY597" fmla="*/ 252889 h 514350"/>
                <a:gd name="connsiteX598" fmla="*/ 5279231 w 6400800"/>
                <a:gd name="connsiteY598" fmla="*/ 273844 h 514350"/>
                <a:gd name="connsiteX599" fmla="*/ 5275421 w 6400800"/>
                <a:gd name="connsiteY599" fmla="*/ 262414 h 514350"/>
                <a:gd name="connsiteX600" fmla="*/ 5268754 w 6400800"/>
                <a:gd name="connsiteY600" fmla="*/ 243364 h 514350"/>
                <a:gd name="connsiteX601" fmla="*/ 5271612 w 6400800"/>
                <a:gd name="connsiteY601" fmla="*/ 262414 h 514350"/>
                <a:gd name="connsiteX602" fmla="*/ 5274469 w 6400800"/>
                <a:gd name="connsiteY602" fmla="*/ 283369 h 514350"/>
                <a:gd name="connsiteX603" fmla="*/ 5263039 w 6400800"/>
                <a:gd name="connsiteY603" fmla="*/ 310039 h 514350"/>
                <a:gd name="connsiteX604" fmla="*/ 5263039 w 6400800"/>
                <a:gd name="connsiteY604" fmla="*/ 302419 h 514350"/>
                <a:gd name="connsiteX605" fmla="*/ 5260181 w 6400800"/>
                <a:gd name="connsiteY605" fmla="*/ 310039 h 514350"/>
                <a:gd name="connsiteX606" fmla="*/ 5260181 w 6400800"/>
                <a:gd name="connsiteY606" fmla="*/ 309086 h 514350"/>
                <a:gd name="connsiteX607" fmla="*/ 5261134 w 6400800"/>
                <a:gd name="connsiteY607" fmla="*/ 301466 h 514350"/>
                <a:gd name="connsiteX608" fmla="*/ 5262087 w 6400800"/>
                <a:gd name="connsiteY608" fmla="*/ 284321 h 514350"/>
                <a:gd name="connsiteX609" fmla="*/ 5263039 w 6400800"/>
                <a:gd name="connsiteY609" fmla="*/ 269081 h 514350"/>
                <a:gd name="connsiteX610" fmla="*/ 5258276 w 6400800"/>
                <a:gd name="connsiteY610" fmla="*/ 283369 h 514350"/>
                <a:gd name="connsiteX611" fmla="*/ 5257324 w 6400800"/>
                <a:gd name="connsiteY611" fmla="*/ 287179 h 514350"/>
                <a:gd name="connsiteX612" fmla="*/ 5255419 w 6400800"/>
                <a:gd name="connsiteY612" fmla="*/ 273844 h 514350"/>
                <a:gd name="connsiteX613" fmla="*/ 5255419 w 6400800"/>
                <a:gd name="connsiteY613" fmla="*/ 271939 h 514350"/>
                <a:gd name="connsiteX614" fmla="*/ 5255419 w 6400800"/>
                <a:gd name="connsiteY614" fmla="*/ 270986 h 514350"/>
                <a:gd name="connsiteX615" fmla="*/ 5256371 w 6400800"/>
                <a:gd name="connsiteY615" fmla="*/ 266224 h 514350"/>
                <a:gd name="connsiteX616" fmla="*/ 5255419 w 6400800"/>
                <a:gd name="connsiteY616" fmla="*/ 268129 h 514350"/>
                <a:gd name="connsiteX617" fmla="*/ 5258276 w 6400800"/>
                <a:gd name="connsiteY617" fmla="*/ 232886 h 514350"/>
                <a:gd name="connsiteX618" fmla="*/ 5263039 w 6400800"/>
                <a:gd name="connsiteY618" fmla="*/ 158591 h 514350"/>
                <a:gd name="connsiteX619" fmla="*/ 5252562 w 6400800"/>
                <a:gd name="connsiteY619" fmla="*/ 204311 h 514350"/>
                <a:gd name="connsiteX620" fmla="*/ 5255419 w 6400800"/>
                <a:gd name="connsiteY620" fmla="*/ 173831 h 514350"/>
                <a:gd name="connsiteX621" fmla="*/ 5258276 w 6400800"/>
                <a:gd name="connsiteY621" fmla="*/ 140494 h 514350"/>
                <a:gd name="connsiteX622" fmla="*/ 5260181 w 6400800"/>
                <a:gd name="connsiteY622" fmla="*/ 110966 h 514350"/>
                <a:gd name="connsiteX623" fmla="*/ 5254467 w 6400800"/>
                <a:gd name="connsiteY623" fmla="*/ 139541 h 514350"/>
                <a:gd name="connsiteX624" fmla="*/ 5247799 w 6400800"/>
                <a:gd name="connsiteY624" fmla="*/ 172879 h 514350"/>
                <a:gd name="connsiteX625" fmla="*/ 5243989 w 6400800"/>
                <a:gd name="connsiteY625" fmla="*/ 192881 h 514350"/>
                <a:gd name="connsiteX626" fmla="*/ 5243037 w 6400800"/>
                <a:gd name="connsiteY626" fmla="*/ 201454 h 514350"/>
                <a:gd name="connsiteX627" fmla="*/ 5241131 w 6400800"/>
                <a:gd name="connsiteY627" fmla="*/ 194786 h 514350"/>
                <a:gd name="connsiteX628" fmla="*/ 5241131 w 6400800"/>
                <a:gd name="connsiteY628" fmla="*/ 209074 h 514350"/>
                <a:gd name="connsiteX629" fmla="*/ 5240179 w 6400800"/>
                <a:gd name="connsiteY629" fmla="*/ 215741 h 514350"/>
                <a:gd name="connsiteX630" fmla="*/ 5235417 w 6400800"/>
                <a:gd name="connsiteY630" fmla="*/ 246221 h 514350"/>
                <a:gd name="connsiteX631" fmla="*/ 5230654 w 6400800"/>
                <a:gd name="connsiteY631" fmla="*/ 252889 h 514350"/>
                <a:gd name="connsiteX632" fmla="*/ 5222081 w 6400800"/>
                <a:gd name="connsiteY632" fmla="*/ 266224 h 514350"/>
                <a:gd name="connsiteX633" fmla="*/ 5215414 w 6400800"/>
                <a:gd name="connsiteY633" fmla="*/ 279559 h 514350"/>
                <a:gd name="connsiteX634" fmla="*/ 5215414 w 6400800"/>
                <a:gd name="connsiteY634" fmla="*/ 278606 h 514350"/>
                <a:gd name="connsiteX635" fmla="*/ 5216367 w 6400800"/>
                <a:gd name="connsiteY635" fmla="*/ 275749 h 514350"/>
                <a:gd name="connsiteX636" fmla="*/ 5215414 w 6400800"/>
                <a:gd name="connsiteY636" fmla="*/ 277654 h 514350"/>
                <a:gd name="connsiteX637" fmla="*/ 5211604 w 6400800"/>
                <a:gd name="connsiteY637" fmla="*/ 249079 h 514350"/>
                <a:gd name="connsiteX638" fmla="*/ 5208746 w 6400800"/>
                <a:gd name="connsiteY638" fmla="*/ 224314 h 514350"/>
                <a:gd name="connsiteX639" fmla="*/ 5205889 w 6400800"/>
                <a:gd name="connsiteY639" fmla="*/ 202406 h 514350"/>
                <a:gd name="connsiteX640" fmla="*/ 5204937 w 6400800"/>
                <a:gd name="connsiteY640" fmla="*/ 224314 h 514350"/>
                <a:gd name="connsiteX641" fmla="*/ 5204937 w 6400800"/>
                <a:gd name="connsiteY641" fmla="*/ 249079 h 514350"/>
                <a:gd name="connsiteX642" fmla="*/ 5204937 w 6400800"/>
                <a:gd name="connsiteY642" fmla="*/ 264319 h 514350"/>
                <a:gd name="connsiteX643" fmla="*/ 5205889 w 6400800"/>
                <a:gd name="connsiteY643" fmla="*/ 281464 h 514350"/>
                <a:gd name="connsiteX644" fmla="*/ 5205889 w 6400800"/>
                <a:gd name="connsiteY644" fmla="*/ 289084 h 514350"/>
                <a:gd name="connsiteX645" fmla="*/ 5203984 w 6400800"/>
                <a:gd name="connsiteY645" fmla="*/ 286226 h 514350"/>
                <a:gd name="connsiteX646" fmla="*/ 5205889 w 6400800"/>
                <a:gd name="connsiteY646" fmla="*/ 290989 h 514350"/>
                <a:gd name="connsiteX647" fmla="*/ 5205889 w 6400800"/>
                <a:gd name="connsiteY647" fmla="*/ 291941 h 514350"/>
                <a:gd name="connsiteX648" fmla="*/ 5203984 w 6400800"/>
                <a:gd name="connsiteY648" fmla="*/ 287179 h 514350"/>
                <a:gd name="connsiteX649" fmla="*/ 5203984 w 6400800"/>
                <a:gd name="connsiteY649" fmla="*/ 287179 h 514350"/>
                <a:gd name="connsiteX650" fmla="*/ 5203984 w 6400800"/>
                <a:gd name="connsiteY650" fmla="*/ 287179 h 514350"/>
                <a:gd name="connsiteX651" fmla="*/ 5199221 w 6400800"/>
                <a:gd name="connsiteY651" fmla="*/ 278606 h 514350"/>
                <a:gd name="connsiteX652" fmla="*/ 5202079 w 6400800"/>
                <a:gd name="connsiteY652" fmla="*/ 290989 h 514350"/>
                <a:gd name="connsiteX653" fmla="*/ 5198269 w 6400800"/>
                <a:gd name="connsiteY653" fmla="*/ 300514 h 514350"/>
                <a:gd name="connsiteX654" fmla="*/ 5195412 w 6400800"/>
                <a:gd name="connsiteY654" fmla="*/ 295751 h 514350"/>
                <a:gd name="connsiteX655" fmla="*/ 5191601 w 6400800"/>
                <a:gd name="connsiteY655" fmla="*/ 263366 h 514350"/>
                <a:gd name="connsiteX656" fmla="*/ 5184934 w 6400800"/>
                <a:gd name="connsiteY656" fmla="*/ 190024 h 514350"/>
                <a:gd name="connsiteX657" fmla="*/ 5183981 w 6400800"/>
                <a:gd name="connsiteY657" fmla="*/ 169069 h 514350"/>
                <a:gd name="connsiteX658" fmla="*/ 5183981 w 6400800"/>
                <a:gd name="connsiteY658" fmla="*/ 161449 h 514350"/>
                <a:gd name="connsiteX659" fmla="*/ 5183029 w 6400800"/>
                <a:gd name="connsiteY659" fmla="*/ 169069 h 514350"/>
                <a:gd name="connsiteX660" fmla="*/ 5181124 w 6400800"/>
                <a:gd name="connsiteY660" fmla="*/ 190024 h 514350"/>
                <a:gd name="connsiteX661" fmla="*/ 5180171 w 6400800"/>
                <a:gd name="connsiteY661" fmla="*/ 211931 h 514350"/>
                <a:gd name="connsiteX662" fmla="*/ 5177314 w 6400800"/>
                <a:gd name="connsiteY662" fmla="*/ 215741 h 514350"/>
                <a:gd name="connsiteX663" fmla="*/ 5165884 w 6400800"/>
                <a:gd name="connsiteY663" fmla="*/ 231934 h 514350"/>
                <a:gd name="connsiteX664" fmla="*/ 5163979 w 6400800"/>
                <a:gd name="connsiteY664" fmla="*/ 235744 h 514350"/>
                <a:gd name="connsiteX665" fmla="*/ 5161121 w 6400800"/>
                <a:gd name="connsiteY665" fmla="*/ 230029 h 514350"/>
                <a:gd name="connsiteX666" fmla="*/ 5161121 w 6400800"/>
                <a:gd name="connsiteY666" fmla="*/ 229076 h 514350"/>
                <a:gd name="connsiteX667" fmla="*/ 5163026 w 6400800"/>
                <a:gd name="connsiteY667" fmla="*/ 213836 h 514350"/>
                <a:gd name="connsiteX668" fmla="*/ 5163979 w 6400800"/>
                <a:gd name="connsiteY668" fmla="*/ 208121 h 514350"/>
                <a:gd name="connsiteX669" fmla="*/ 5158264 w 6400800"/>
                <a:gd name="connsiteY669" fmla="*/ 224314 h 514350"/>
                <a:gd name="connsiteX670" fmla="*/ 5156359 w 6400800"/>
                <a:gd name="connsiteY670" fmla="*/ 220504 h 514350"/>
                <a:gd name="connsiteX671" fmla="*/ 5147787 w 6400800"/>
                <a:gd name="connsiteY671" fmla="*/ 205264 h 514350"/>
                <a:gd name="connsiteX672" fmla="*/ 5144929 w 6400800"/>
                <a:gd name="connsiteY672" fmla="*/ 178594 h 514350"/>
                <a:gd name="connsiteX673" fmla="*/ 5141119 w 6400800"/>
                <a:gd name="connsiteY673" fmla="*/ 149066 h 514350"/>
                <a:gd name="connsiteX674" fmla="*/ 5141119 w 6400800"/>
                <a:gd name="connsiteY674" fmla="*/ 178594 h 514350"/>
                <a:gd name="connsiteX675" fmla="*/ 5141119 w 6400800"/>
                <a:gd name="connsiteY675" fmla="*/ 255746 h 514350"/>
                <a:gd name="connsiteX676" fmla="*/ 5141119 w 6400800"/>
                <a:gd name="connsiteY676" fmla="*/ 258604 h 514350"/>
                <a:gd name="connsiteX677" fmla="*/ 5139214 w 6400800"/>
                <a:gd name="connsiteY677" fmla="*/ 260509 h 514350"/>
                <a:gd name="connsiteX678" fmla="*/ 5134451 w 6400800"/>
                <a:gd name="connsiteY678" fmla="*/ 265271 h 514350"/>
                <a:gd name="connsiteX679" fmla="*/ 5128737 w 6400800"/>
                <a:gd name="connsiteY679" fmla="*/ 184309 h 514350"/>
                <a:gd name="connsiteX680" fmla="*/ 5124926 w 6400800"/>
                <a:gd name="connsiteY680" fmla="*/ 236696 h 514350"/>
                <a:gd name="connsiteX681" fmla="*/ 5119212 w 6400800"/>
                <a:gd name="connsiteY681" fmla="*/ 219551 h 514350"/>
                <a:gd name="connsiteX682" fmla="*/ 5123974 w 6400800"/>
                <a:gd name="connsiteY682" fmla="*/ 249079 h 514350"/>
                <a:gd name="connsiteX683" fmla="*/ 5123021 w 6400800"/>
                <a:gd name="connsiteY683" fmla="*/ 258604 h 514350"/>
                <a:gd name="connsiteX684" fmla="*/ 5120164 w 6400800"/>
                <a:gd name="connsiteY684" fmla="*/ 279559 h 514350"/>
                <a:gd name="connsiteX685" fmla="*/ 5116354 w 6400800"/>
                <a:gd name="connsiteY685" fmla="*/ 285274 h 514350"/>
                <a:gd name="connsiteX686" fmla="*/ 5106829 w 6400800"/>
                <a:gd name="connsiteY686" fmla="*/ 298609 h 514350"/>
                <a:gd name="connsiteX687" fmla="*/ 5103971 w 6400800"/>
                <a:gd name="connsiteY687" fmla="*/ 303371 h 514350"/>
                <a:gd name="connsiteX688" fmla="*/ 5085874 w 6400800"/>
                <a:gd name="connsiteY688" fmla="*/ 261461 h 514350"/>
                <a:gd name="connsiteX689" fmla="*/ 5086826 w 6400800"/>
                <a:gd name="connsiteY689" fmla="*/ 261461 h 514350"/>
                <a:gd name="connsiteX690" fmla="*/ 5091589 w 6400800"/>
                <a:gd name="connsiteY690" fmla="*/ 260509 h 514350"/>
                <a:gd name="connsiteX691" fmla="*/ 5086826 w 6400800"/>
                <a:gd name="connsiteY691" fmla="*/ 260509 h 514350"/>
                <a:gd name="connsiteX692" fmla="*/ 5085874 w 6400800"/>
                <a:gd name="connsiteY692" fmla="*/ 260509 h 514350"/>
                <a:gd name="connsiteX693" fmla="*/ 5071587 w 6400800"/>
                <a:gd name="connsiteY693" fmla="*/ 230029 h 514350"/>
                <a:gd name="connsiteX694" fmla="*/ 5071587 w 6400800"/>
                <a:gd name="connsiteY694" fmla="*/ 222409 h 514350"/>
                <a:gd name="connsiteX695" fmla="*/ 5069681 w 6400800"/>
                <a:gd name="connsiteY695" fmla="*/ 227171 h 514350"/>
                <a:gd name="connsiteX696" fmla="*/ 5062062 w 6400800"/>
                <a:gd name="connsiteY696" fmla="*/ 192881 h 514350"/>
                <a:gd name="connsiteX697" fmla="*/ 5058251 w 6400800"/>
                <a:gd name="connsiteY697" fmla="*/ 174784 h 514350"/>
                <a:gd name="connsiteX698" fmla="*/ 5055394 w 6400800"/>
                <a:gd name="connsiteY698" fmla="*/ 159544 h 514350"/>
                <a:gd name="connsiteX699" fmla="*/ 5049679 w 6400800"/>
                <a:gd name="connsiteY699" fmla="*/ 130016 h 514350"/>
                <a:gd name="connsiteX700" fmla="*/ 5050631 w 6400800"/>
                <a:gd name="connsiteY700" fmla="*/ 159544 h 514350"/>
                <a:gd name="connsiteX701" fmla="*/ 5051584 w 6400800"/>
                <a:gd name="connsiteY701" fmla="*/ 174784 h 514350"/>
                <a:gd name="connsiteX702" fmla="*/ 5053489 w 6400800"/>
                <a:gd name="connsiteY702" fmla="*/ 192881 h 514350"/>
                <a:gd name="connsiteX703" fmla="*/ 5059204 w 6400800"/>
                <a:gd name="connsiteY703" fmla="*/ 236696 h 514350"/>
                <a:gd name="connsiteX704" fmla="*/ 5061109 w 6400800"/>
                <a:gd name="connsiteY704" fmla="*/ 249079 h 514350"/>
                <a:gd name="connsiteX705" fmla="*/ 5055394 w 6400800"/>
                <a:gd name="connsiteY705" fmla="*/ 270034 h 514350"/>
                <a:gd name="connsiteX706" fmla="*/ 5052537 w 6400800"/>
                <a:gd name="connsiteY706" fmla="*/ 271939 h 514350"/>
                <a:gd name="connsiteX707" fmla="*/ 5052537 w 6400800"/>
                <a:gd name="connsiteY707" fmla="*/ 271939 h 514350"/>
                <a:gd name="connsiteX708" fmla="*/ 5051584 w 6400800"/>
                <a:gd name="connsiteY708" fmla="*/ 267176 h 514350"/>
                <a:gd name="connsiteX709" fmla="*/ 5051584 w 6400800"/>
                <a:gd name="connsiteY709" fmla="*/ 269081 h 514350"/>
                <a:gd name="connsiteX710" fmla="*/ 5048726 w 6400800"/>
                <a:gd name="connsiteY710" fmla="*/ 261461 h 514350"/>
                <a:gd name="connsiteX711" fmla="*/ 5048726 w 6400800"/>
                <a:gd name="connsiteY711" fmla="*/ 261461 h 514350"/>
                <a:gd name="connsiteX712" fmla="*/ 5050631 w 6400800"/>
                <a:gd name="connsiteY712" fmla="*/ 252889 h 514350"/>
                <a:gd name="connsiteX713" fmla="*/ 5047774 w 6400800"/>
                <a:gd name="connsiteY713" fmla="*/ 259556 h 514350"/>
                <a:gd name="connsiteX714" fmla="*/ 5039201 w 6400800"/>
                <a:gd name="connsiteY714" fmla="*/ 236696 h 514350"/>
                <a:gd name="connsiteX715" fmla="*/ 5031581 w 6400800"/>
                <a:gd name="connsiteY715" fmla="*/ 214789 h 514350"/>
                <a:gd name="connsiteX716" fmla="*/ 5035392 w 6400800"/>
                <a:gd name="connsiteY716" fmla="*/ 237649 h 514350"/>
                <a:gd name="connsiteX717" fmla="*/ 5039201 w 6400800"/>
                <a:gd name="connsiteY717" fmla="*/ 256699 h 514350"/>
                <a:gd name="connsiteX718" fmla="*/ 5034439 w 6400800"/>
                <a:gd name="connsiteY718" fmla="*/ 265271 h 514350"/>
                <a:gd name="connsiteX719" fmla="*/ 5034439 w 6400800"/>
                <a:gd name="connsiteY719" fmla="*/ 262414 h 514350"/>
                <a:gd name="connsiteX720" fmla="*/ 5030629 w 6400800"/>
                <a:gd name="connsiteY720" fmla="*/ 241459 h 514350"/>
                <a:gd name="connsiteX721" fmla="*/ 5026819 w 6400800"/>
                <a:gd name="connsiteY721" fmla="*/ 223361 h 514350"/>
                <a:gd name="connsiteX722" fmla="*/ 5025867 w 6400800"/>
                <a:gd name="connsiteY722" fmla="*/ 242411 h 514350"/>
                <a:gd name="connsiteX723" fmla="*/ 5025867 w 6400800"/>
                <a:gd name="connsiteY723" fmla="*/ 263366 h 514350"/>
                <a:gd name="connsiteX724" fmla="*/ 5025867 w 6400800"/>
                <a:gd name="connsiteY724" fmla="*/ 276701 h 514350"/>
                <a:gd name="connsiteX725" fmla="*/ 5025867 w 6400800"/>
                <a:gd name="connsiteY725" fmla="*/ 281464 h 514350"/>
                <a:gd name="connsiteX726" fmla="*/ 5010626 w 6400800"/>
                <a:gd name="connsiteY726" fmla="*/ 263366 h 514350"/>
                <a:gd name="connsiteX727" fmla="*/ 4995387 w 6400800"/>
                <a:gd name="connsiteY727" fmla="*/ 248126 h 514350"/>
                <a:gd name="connsiteX728" fmla="*/ 4997292 w 6400800"/>
                <a:gd name="connsiteY728" fmla="*/ 243364 h 514350"/>
                <a:gd name="connsiteX729" fmla="*/ 4994434 w 6400800"/>
                <a:gd name="connsiteY729" fmla="*/ 248126 h 514350"/>
                <a:gd name="connsiteX730" fmla="*/ 4992529 w 6400800"/>
                <a:gd name="connsiteY730" fmla="*/ 246221 h 514350"/>
                <a:gd name="connsiteX731" fmla="*/ 4994434 w 6400800"/>
                <a:gd name="connsiteY731" fmla="*/ 190024 h 514350"/>
                <a:gd name="connsiteX732" fmla="*/ 4983004 w 6400800"/>
                <a:gd name="connsiteY732" fmla="*/ 240506 h 514350"/>
                <a:gd name="connsiteX733" fmla="*/ 4981099 w 6400800"/>
                <a:gd name="connsiteY733" fmla="*/ 238601 h 514350"/>
                <a:gd name="connsiteX734" fmla="*/ 4959192 w 6400800"/>
                <a:gd name="connsiteY734" fmla="*/ 219551 h 514350"/>
                <a:gd name="connsiteX735" fmla="*/ 4978242 w 6400800"/>
                <a:gd name="connsiteY735" fmla="*/ 241459 h 514350"/>
                <a:gd name="connsiteX736" fmla="*/ 4982051 w 6400800"/>
                <a:gd name="connsiteY736" fmla="*/ 246221 h 514350"/>
                <a:gd name="connsiteX737" fmla="*/ 4982051 w 6400800"/>
                <a:gd name="connsiteY737" fmla="*/ 248126 h 514350"/>
                <a:gd name="connsiteX738" fmla="*/ 4976337 w 6400800"/>
                <a:gd name="connsiteY738" fmla="*/ 279559 h 514350"/>
                <a:gd name="connsiteX739" fmla="*/ 4969669 w 6400800"/>
                <a:gd name="connsiteY739" fmla="*/ 290989 h 514350"/>
                <a:gd name="connsiteX740" fmla="*/ 4960144 w 6400800"/>
                <a:gd name="connsiteY740" fmla="*/ 265271 h 514350"/>
                <a:gd name="connsiteX741" fmla="*/ 4960144 w 6400800"/>
                <a:gd name="connsiteY741" fmla="*/ 264319 h 514350"/>
                <a:gd name="connsiteX742" fmla="*/ 4959192 w 6400800"/>
                <a:gd name="connsiteY742" fmla="*/ 237649 h 514350"/>
                <a:gd name="connsiteX743" fmla="*/ 4958239 w 6400800"/>
                <a:gd name="connsiteY743" fmla="*/ 214789 h 514350"/>
                <a:gd name="connsiteX744" fmla="*/ 4968717 w 6400800"/>
                <a:gd name="connsiteY744" fmla="*/ 164306 h 514350"/>
                <a:gd name="connsiteX745" fmla="*/ 4974431 w 6400800"/>
                <a:gd name="connsiteY745" fmla="*/ 134779 h 514350"/>
                <a:gd name="connsiteX746" fmla="*/ 4964906 w 6400800"/>
                <a:gd name="connsiteY746" fmla="*/ 163354 h 514350"/>
                <a:gd name="connsiteX747" fmla="*/ 4955381 w 6400800"/>
                <a:gd name="connsiteY747" fmla="*/ 191929 h 514350"/>
                <a:gd name="connsiteX748" fmla="*/ 4955381 w 6400800"/>
                <a:gd name="connsiteY748" fmla="*/ 176689 h 514350"/>
                <a:gd name="connsiteX749" fmla="*/ 4952524 w 6400800"/>
                <a:gd name="connsiteY749" fmla="*/ 202406 h 514350"/>
                <a:gd name="connsiteX750" fmla="*/ 4952524 w 6400800"/>
                <a:gd name="connsiteY750" fmla="*/ 203359 h 514350"/>
                <a:gd name="connsiteX751" fmla="*/ 4944904 w 6400800"/>
                <a:gd name="connsiteY751" fmla="*/ 227171 h 514350"/>
                <a:gd name="connsiteX752" fmla="*/ 4944904 w 6400800"/>
                <a:gd name="connsiteY752" fmla="*/ 226219 h 514350"/>
                <a:gd name="connsiteX753" fmla="*/ 4936331 w 6400800"/>
                <a:gd name="connsiteY753" fmla="*/ 199549 h 514350"/>
                <a:gd name="connsiteX754" fmla="*/ 4942046 w 6400800"/>
                <a:gd name="connsiteY754" fmla="*/ 236696 h 514350"/>
                <a:gd name="connsiteX755" fmla="*/ 4941094 w 6400800"/>
                <a:gd name="connsiteY755" fmla="*/ 239554 h 514350"/>
                <a:gd name="connsiteX756" fmla="*/ 4922996 w 6400800"/>
                <a:gd name="connsiteY756" fmla="*/ 292894 h 514350"/>
                <a:gd name="connsiteX757" fmla="*/ 4922996 w 6400800"/>
                <a:gd name="connsiteY757" fmla="*/ 289084 h 514350"/>
                <a:gd name="connsiteX758" fmla="*/ 4920139 w 6400800"/>
                <a:gd name="connsiteY758" fmla="*/ 269081 h 514350"/>
                <a:gd name="connsiteX759" fmla="*/ 4919187 w 6400800"/>
                <a:gd name="connsiteY759" fmla="*/ 290036 h 514350"/>
                <a:gd name="connsiteX760" fmla="*/ 4919187 w 6400800"/>
                <a:gd name="connsiteY760" fmla="*/ 296704 h 514350"/>
                <a:gd name="connsiteX761" fmla="*/ 4917281 w 6400800"/>
                <a:gd name="connsiteY761" fmla="*/ 289084 h 514350"/>
                <a:gd name="connsiteX762" fmla="*/ 4911567 w 6400800"/>
                <a:gd name="connsiteY762" fmla="*/ 266224 h 514350"/>
                <a:gd name="connsiteX763" fmla="*/ 4904899 w 6400800"/>
                <a:gd name="connsiteY763" fmla="*/ 246221 h 514350"/>
                <a:gd name="connsiteX764" fmla="*/ 4907756 w 6400800"/>
                <a:gd name="connsiteY764" fmla="*/ 267176 h 514350"/>
                <a:gd name="connsiteX765" fmla="*/ 4909662 w 6400800"/>
                <a:gd name="connsiteY765" fmla="*/ 290989 h 514350"/>
                <a:gd name="connsiteX766" fmla="*/ 4911567 w 6400800"/>
                <a:gd name="connsiteY766" fmla="*/ 321469 h 514350"/>
                <a:gd name="connsiteX767" fmla="*/ 4908709 w 6400800"/>
                <a:gd name="connsiteY767" fmla="*/ 327184 h 514350"/>
                <a:gd name="connsiteX768" fmla="*/ 4902042 w 6400800"/>
                <a:gd name="connsiteY768" fmla="*/ 313849 h 514350"/>
                <a:gd name="connsiteX769" fmla="*/ 4894421 w 6400800"/>
                <a:gd name="connsiteY769" fmla="*/ 298609 h 514350"/>
                <a:gd name="connsiteX770" fmla="*/ 4892517 w 6400800"/>
                <a:gd name="connsiteY770" fmla="*/ 285274 h 514350"/>
                <a:gd name="connsiteX771" fmla="*/ 4891564 w 6400800"/>
                <a:gd name="connsiteY771" fmla="*/ 293846 h 514350"/>
                <a:gd name="connsiteX772" fmla="*/ 4888706 w 6400800"/>
                <a:gd name="connsiteY772" fmla="*/ 289084 h 514350"/>
                <a:gd name="connsiteX773" fmla="*/ 4891564 w 6400800"/>
                <a:gd name="connsiteY773" fmla="*/ 295751 h 514350"/>
                <a:gd name="connsiteX774" fmla="*/ 4887754 w 6400800"/>
                <a:gd name="connsiteY774" fmla="*/ 348139 h 514350"/>
                <a:gd name="connsiteX775" fmla="*/ 4887754 w 6400800"/>
                <a:gd name="connsiteY775" fmla="*/ 357664 h 514350"/>
                <a:gd name="connsiteX776" fmla="*/ 4882991 w 6400800"/>
                <a:gd name="connsiteY776" fmla="*/ 350996 h 514350"/>
                <a:gd name="connsiteX777" fmla="*/ 4882039 w 6400800"/>
                <a:gd name="connsiteY777" fmla="*/ 338614 h 514350"/>
                <a:gd name="connsiteX778" fmla="*/ 4882039 w 6400800"/>
                <a:gd name="connsiteY778" fmla="*/ 337661 h 514350"/>
                <a:gd name="connsiteX779" fmla="*/ 4883944 w 6400800"/>
                <a:gd name="connsiteY779" fmla="*/ 327184 h 514350"/>
                <a:gd name="connsiteX780" fmla="*/ 4885849 w 6400800"/>
                <a:gd name="connsiteY780" fmla="*/ 319564 h 514350"/>
                <a:gd name="connsiteX781" fmla="*/ 4887754 w 6400800"/>
                <a:gd name="connsiteY781" fmla="*/ 312896 h 514350"/>
                <a:gd name="connsiteX782" fmla="*/ 4884896 w 6400800"/>
                <a:gd name="connsiteY782" fmla="*/ 318611 h 514350"/>
                <a:gd name="connsiteX783" fmla="*/ 4882039 w 6400800"/>
                <a:gd name="connsiteY783" fmla="*/ 326231 h 514350"/>
                <a:gd name="connsiteX784" fmla="*/ 4882039 w 6400800"/>
                <a:gd name="connsiteY784" fmla="*/ 328136 h 514350"/>
                <a:gd name="connsiteX785" fmla="*/ 4882039 w 6400800"/>
                <a:gd name="connsiteY785" fmla="*/ 326231 h 514350"/>
                <a:gd name="connsiteX786" fmla="*/ 4877276 w 6400800"/>
                <a:gd name="connsiteY786" fmla="*/ 288131 h 514350"/>
                <a:gd name="connsiteX787" fmla="*/ 4873466 w 6400800"/>
                <a:gd name="connsiteY787" fmla="*/ 263366 h 514350"/>
                <a:gd name="connsiteX788" fmla="*/ 4878229 w 6400800"/>
                <a:gd name="connsiteY788" fmla="*/ 238601 h 514350"/>
                <a:gd name="connsiteX789" fmla="*/ 4882039 w 6400800"/>
                <a:gd name="connsiteY789" fmla="*/ 211931 h 514350"/>
                <a:gd name="connsiteX790" fmla="*/ 4874419 w 6400800"/>
                <a:gd name="connsiteY790" fmla="*/ 237649 h 514350"/>
                <a:gd name="connsiteX791" fmla="*/ 4870609 w 6400800"/>
                <a:gd name="connsiteY791" fmla="*/ 249079 h 514350"/>
                <a:gd name="connsiteX792" fmla="*/ 4866799 w 6400800"/>
                <a:gd name="connsiteY792" fmla="*/ 231934 h 514350"/>
                <a:gd name="connsiteX793" fmla="*/ 4862037 w 6400800"/>
                <a:gd name="connsiteY793" fmla="*/ 210979 h 514350"/>
                <a:gd name="connsiteX794" fmla="*/ 4862989 w 6400800"/>
                <a:gd name="connsiteY794" fmla="*/ 232886 h 514350"/>
                <a:gd name="connsiteX795" fmla="*/ 4863941 w 6400800"/>
                <a:gd name="connsiteY795" fmla="*/ 248126 h 514350"/>
                <a:gd name="connsiteX796" fmla="*/ 4863941 w 6400800"/>
                <a:gd name="connsiteY796" fmla="*/ 261461 h 514350"/>
                <a:gd name="connsiteX797" fmla="*/ 4860131 w 6400800"/>
                <a:gd name="connsiteY797" fmla="*/ 264319 h 514350"/>
                <a:gd name="connsiteX798" fmla="*/ 4843939 w 6400800"/>
                <a:gd name="connsiteY798" fmla="*/ 281464 h 514350"/>
                <a:gd name="connsiteX799" fmla="*/ 4841081 w 6400800"/>
                <a:gd name="connsiteY799" fmla="*/ 270986 h 514350"/>
                <a:gd name="connsiteX800" fmla="*/ 4842987 w 6400800"/>
                <a:gd name="connsiteY800" fmla="*/ 266224 h 514350"/>
                <a:gd name="connsiteX801" fmla="*/ 4841081 w 6400800"/>
                <a:gd name="connsiteY801" fmla="*/ 269081 h 514350"/>
                <a:gd name="connsiteX802" fmla="*/ 4840129 w 6400800"/>
                <a:gd name="connsiteY802" fmla="*/ 262414 h 514350"/>
                <a:gd name="connsiteX803" fmla="*/ 4840129 w 6400800"/>
                <a:gd name="connsiteY803" fmla="*/ 270034 h 514350"/>
                <a:gd name="connsiteX804" fmla="*/ 4833462 w 6400800"/>
                <a:gd name="connsiteY804" fmla="*/ 278606 h 514350"/>
                <a:gd name="connsiteX805" fmla="*/ 4822984 w 6400800"/>
                <a:gd name="connsiteY805" fmla="*/ 294799 h 514350"/>
                <a:gd name="connsiteX806" fmla="*/ 4816316 w 6400800"/>
                <a:gd name="connsiteY806" fmla="*/ 304324 h 514350"/>
                <a:gd name="connsiteX807" fmla="*/ 4809649 w 6400800"/>
                <a:gd name="connsiteY807" fmla="*/ 315754 h 514350"/>
                <a:gd name="connsiteX808" fmla="*/ 4807744 w 6400800"/>
                <a:gd name="connsiteY808" fmla="*/ 318611 h 514350"/>
                <a:gd name="connsiteX809" fmla="*/ 4807744 w 6400800"/>
                <a:gd name="connsiteY809" fmla="*/ 304324 h 514350"/>
                <a:gd name="connsiteX810" fmla="*/ 4803934 w 6400800"/>
                <a:gd name="connsiteY810" fmla="*/ 327184 h 514350"/>
                <a:gd name="connsiteX811" fmla="*/ 4795362 w 6400800"/>
                <a:gd name="connsiteY811" fmla="*/ 342424 h 514350"/>
                <a:gd name="connsiteX812" fmla="*/ 4795362 w 6400800"/>
                <a:gd name="connsiteY812" fmla="*/ 324326 h 514350"/>
                <a:gd name="connsiteX813" fmla="*/ 4795362 w 6400800"/>
                <a:gd name="connsiteY813" fmla="*/ 311944 h 514350"/>
                <a:gd name="connsiteX814" fmla="*/ 4796314 w 6400800"/>
                <a:gd name="connsiteY814" fmla="*/ 302419 h 514350"/>
                <a:gd name="connsiteX815" fmla="*/ 4797266 w 6400800"/>
                <a:gd name="connsiteY815" fmla="*/ 297656 h 514350"/>
                <a:gd name="connsiteX816" fmla="*/ 4803934 w 6400800"/>
                <a:gd name="connsiteY816" fmla="*/ 264319 h 514350"/>
                <a:gd name="connsiteX817" fmla="*/ 4815364 w 6400800"/>
                <a:gd name="connsiteY817" fmla="*/ 192881 h 514350"/>
                <a:gd name="connsiteX818" fmla="*/ 4792504 w 6400800"/>
                <a:gd name="connsiteY818" fmla="*/ 262414 h 514350"/>
                <a:gd name="connsiteX819" fmla="*/ 4790599 w 6400800"/>
                <a:gd name="connsiteY819" fmla="*/ 268129 h 514350"/>
                <a:gd name="connsiteX820" fmla="*/ 4788694 w 6400800"/>
                <a:gd name="connsiteY820" fmla="*/ 250031 h 514350"/>
                <a:gd name="connsiteX821" fmla="*/ 4787741 w 6400800"/>
                <a:gd name="connsiteY821" fmla="*/ 270986 h 514350"/>
                <a:gd name="connsiteX822" fmla="*/ 4787741 w 6400800"/>
                <a:gd name="connsiteY822" fmla="*/ 281464 h 514350"/>
                <a:gd name="connsiteX823" fmla="*/ 4782979 w 6400800"/>
                <a:gd name="connsiteY823" fmla="*/ 299561 h 514350"/>
                <a:gd name="connsiteX824" fmla="*/ 4782979 w 6400800"/>
                <a:gd name="connsiteY824" fmla="*/ 293846 h 514350"/>
                <a:gd name="connsiteX825" fmla="*/ 4784884 w 6400800"/>
                <a:gd name="connsiteY825" fmla="*/ 263366 h 514350"/>
                <a:gd name="connsiteX826" fmla="*/ 4786789 w 6400800"/>
                <a:gd name="connsiteY826" fmla="*/ 239554 h 514350"/>
                <a:gd name="connsiteX827" fmla="*/ 4789647 w 6400800"/>
                <a:gd name="connsiteY827" fmla="*/ 218599 h 514350"/>
                <a:gd name="connsiteX828" fmla="*/ 4782979 w 6400800"/>
                <a:gd name="connsiteY828" fmla="*/ 238601 h 514350"/>
                <a:gd name="connsiteX829" fmla="*/ 4777264 w 6400800"/>
                <a:gd name="connsiteY829" fmla="*/ 262414 h 514350"/>
                <a:gd name="connsiteX830" fmla="*/ 4776312 w 6400800"/>
                <a:gd name="connsiteY830" fmla="*/ 269081 h 514350"/>
                <a:gd name="connsiteX831" fmla="*/ 4773454 w 6400800"/>
                <a:gd name="connsiteY831" fmla="*/ 251936 h 514350"/>
                <a:gd name="connsiteX832" fmla="*/ 4773454 w 6400800"/>
                <a:gd name="connsiteY832" fmla="*/ 284321 h 514350"/>
                <a:gd name="connsiteX833" fmla="*/ 4771549 w 6400800"/>
                <a:gd name="connsiteY833" fmla="*/ 293846 h 514350"/>
                <a:gd name="connsiteX834" fmla="*/ 4771549 w 6400800"/>
                <a:gd name="connsiteY834" fmla="*/ 295751 h 514350"/>
                <a:gd name="connsiteX835" fmla="*/ 4767739 w 6400800"/>
                <a:gd name="connsiteY835" fmla="*/ 260509 h 514350"/>
                <a:gd name="connsiteX836" fmla="*/ 4764881 w 6400800"/>
                <a:gd name="connsiteY836" fmla="*/ 297656 h 514350"/>
                <a:gd name="connsiteX837" fmla="*/ 4755356 w 6400800"/>
                <a:gd name="connsiteY837" fmla="*/ 276701 h 514350"/>
                <a:gd name="connsiteX838" fmla="*/ 4750594 w 6400800"/>
                <a:gd name="connsiteY838" fmla="*/ 270034 h 514350"/>
                <a:gd name="connsiteX839" fmla="*/ 4758214 w 6400800"/>
                <a:gd name="connsiteY839" fmla="*/ 243364 h 514350"/>
                <a:gd name="connsiteX840" fmla="*/ 4780122 w 6400800"/>
                <a:gd name="connsiteY840" fmla="*/ 161449 h 514350"/>
                <a:gd name="connsiteX841" fmla="*/ 4787741 w 6400800"/>
                <a:gd name="connsiteY841" fmla="*/ 130016 h 514350"/>
                <a:gd name="connsiteX842" fmla="*/ 4776312 w 6400800"/>
                <a:gd name="connsiteY842" fmla="*/ 160496 h 514350"/>
                <a:gd name="connsiteX843" fmla="*/ 4747737 w 6400800"/>
                <a:gd name="connsiteY843" fmla="*/ 240506 h 514350"/>
                <a:gd name="connsiteX844" fmla="*/ 4742022 w 6400800"/>
                <a:gd name="connsiteY844" fmla="*/ 257651 h 514350"/>
                <a:gd name="connsiteX845" fmla="*/ 4742022 w 6400800"/>
                <a:gd name="connsiteY845" fmla="*/ 257651 h 514350"/>
                <a:gd name="connsiteX846" fmla="*/ 4727734 w 6400800"/>
                <a:gd name="connsiteY846" fmla="*/ 244316 h 514350"/>
                <a:gd name="connsiteX847" fmla="*/ 4721066 w 6400800"/>
                <a:gd name="connsiteY847" fmla="*/ 240506 h 514350"/>
                <a:gd name="connsiteX848" fmla="*/ 4716304 w 6400800"/>
                <a:gd name="connsiteY848" fmla="*/ 238601 h 514350"/>
                <a:gd name="connsiteX849" fmla="*/ 4712494 w 6400800"/>
                <a:gd name="connsiteY849" fmla="*/ 237649 h 514350"/>
                <a:gd name="connsiteX850" fmla="*/ 4716304 w 6400800"/>
                <a:gd name="connsiteY850" fmla="*/ 239554 h 514350"/>
                <a:gd name="connsiteX851" fmla="*/ 4725829 w 6400800"/>
                <a:gd name="connsiteY851" fmla="*/ 246221 h 514350"/>
                <a:gd name="connsiteX852" fmla="*/ 4736306 w 6400800"/>
                <a:gd name="connsiteY852" fmla="*/ 260509 h 514350"/>
                <a:gd name="connsiteX853" fmla="*/ 4739164 w 6400800"/>
                <a:gd name="connsiteY853" fmla="*/ 266224 h 514350"/>
                <a:gd name="connsiteX854" fmla="*/ 4729639 w 6400800"/>
                <a:gd name="connsiteY854" fmla="*/ 293846 h 514350"/>
                <a:gd name="connsiteX855" fmla="*/ 4728687 w 6400800"/>
                <a:gd name="connsiteY855" fmla="*/ 295751 h 514350"/>
                <a:gd name="connsiteX856" fmla="*/ 4728687 w 6400800"/>
                <a:gd name="connsiteY856" fmla="*/ 294799 h 514350"/>
                <a:gd name="connsiteX857" fmla="*/ 4728687 w 6400800"/>
                <a:gd name="connsiteY857" fmla="*/ 290989 h 514350"/>
                <a:gd name="connsiteX858" fmla="*/ 4727734 w 6400800"/>
                <a:gd name="connsiteY858" fmla="*/ 293846 h 514350"/>
                <a:gd name="connsiteX859" fmla="*/ 4717256 w 6400800"/>
                <a:gd name="connsiteY859" fmla="*/ 270986 h 514350"/>
                <a:gd name="connsiteX860" fmla="*/ 4714399 w 6400800"/>
                <a:gd name="connsiteY860" fmla="*/ 265271 h 514350"/>
                <a:gd name="connsiteX861" fmla="*/ 4716304 w 6400800"/>
                <a:gd name="connsiteY861" fmla="*/ 252889 h 514350"/>
                <a:gd name="connsiteX862" fmla="*/ 4713447 w 6400800"/>
                <a:gd name="connsiteY862" fmla="*/ 262414 h 514350"/>
                <a:gd name="connsiteX863" fmla="*/ 4706779 w 6400800"/>
                <a:gd name="connsiteY863" fmla="*/ 248126 h 514350"/>
                <a:gd name="connsiteX864" fmla="*/ 4712494 w 6400800"/>
                <a:gd name="connsiteY864" fmla="*/ 267176 h 514350"/>
                <a:gd name="connsiteX865" fmla="*/ 4708684 w 6400800"/>
                <a:gd name="connsiteY865" fmla="*/ 277654 h 514350"/>
                <a:gd name="connsiteX866" fmla="*/ 4694397 w 6400800"/>
                <a:gd name="connsiteY866" fmla="*/ 236696 h 514350"/>
                <a:gd name="connsiteX867" fmla="*/ 4702969 w 6400800"/>
                <a:gd name="connsiteY867" fmla="*/ 293846 h 514350"/>
                <a:gd name="connsiteX868" fmla="*/ 4691539 w 6400800"/>
                <a:gd name="connsiteY868" fmla="*/ 331946 h 514350"/>
                <a:gd name="connsiteX869" fmla="*/ 4690587 w 6400800"/>
                <a:gd name="connsiteY869" fmla="*/ 329089 h 514350"/>
                <a:gd name="connsiteX870" fmla="*/ 4682966 w 6400800"/>
                <a:gd name="connsiteY870" fmla="*/ 313849 h 514350"/>
                <a:gd name="connsiteX871" fmla="*/ 4684872 w 6400800"/>
                <a:gd name="connsiteY871" fmla="*/ 322421 h 514350"/>
                <a:gd name="connsiteX872" fmla="*/ 4684872 w 6400800"/>
                <a:gd name="connsiteY872" fmla="*/ 322421 h 514350"/>
                <a:gd name="connsiteX873" fmla="*/ 4671537 w 6400800"/>
                <a:gd name="connsiteY873" fmla="*/ 304324 h 514350"/>
                <a:gd name="connsiteX874" fmla="*/ 4682014 w 6400800"/>
                <a:gd name="connsiteY874" fmla="*/ 324326 h 514350"/>
                <a:gd name="connsiteX875" fmla="*/ 4688681 w 6400800"/>
                <a:gd name="connsiteY875" fmla="*/ 337661 h 514350"/>
                <a:gd name="connsiteX876" fmla="*/ 4689634 w 6400800"/>
                <a:gd name="connsiteY876" fmla="*/ 340519 h 514350"/>
                <a:gd name="connsiteX877" fmla="*/ 4682966 w 6400800"/>
                <a:gd name="connsiteY877" fmla="*/ 366236 h 514350"/>
                <a:gd name="connsiteX878" fmla="*/ 4678204 w 6400800"/>
                <a:gd name="connsiteY878" fmla="*/ 359569 h 514350"/>
                <a:gd name="connsiteX879" fmla="*/ 4669631 w 6400800"/>
                <a:gd name="connsiteY879" fmla="*/ 349091 h 514350"/>
                <a:gd name="connsiteX880" fmla="*/ 4668679 w 6400800"/>
                <a:gd name="connsiteY880" fmla="*/ 348139 h 514350"/>
                <a:gd name="connsiteX881" fmla="*/ 4669631 w 6400800"/>
                <a:gd name="connsiteY881" fmla="*/ 330994 h 514350"/>
                <a:gd name="connsiteX882" fmla="*/ 4669631 w 6400800"/>
                <a:gd name="connsiteY882" fmla="*/ 310991 h 514350"/>
                <a:gd name="connsiteX883" fmla="*/ 4669631 w 6400800"/>
                <a:gd name="connsiteY883" fmla="*/ 313849 h 514350"/>
                <a:gd name="connsiteX884" fmla="*/ 4670584 w 6400800"/>
                <a:gd name="connsiteY884" fmla="*/ 301466 h 514350"/>
                <a:gd name="connsiteX885" fmla="*/ 4670584 w 6400800"/>
                <a:gd name="connsiteY885" fmla="*/ 287179 h 514350"/>
                <a:gd name="connsiteX886" fmla="*/ 4675347 w 6400800"/>
                <a:gd name="connsiteY886" fmla="*/ 274796 h 514350"/>
                <a:gd name="connsiteX887" fmla="*/ 4689634 w 6400800"/>
                <a:gd name="connsiteY887" fmla="*/ 250984 h 514350"/>
                <a:gd name="connsiteX888" fmla="*/ 4681062 w 6400800"/>
                <a:gd name="connsiteY888" fmla="*/ 262414 h 514350"/>
                <a:gd name="connsiteX889" fmla="*/ 4686776 w 6400800"/>
                <a:gd name="connsiteY889" fmla="*/ 248126 h 514350"/>
                <a:gd name="connsiteX890" fmla="*/ 4675347 w 6400800"/>
                <a:gd name="connsiteY890" fmla="*/ 265271 h 514350"/>
                <a:gd name="connsiteX891" fmla="*/ 4670584 w 6400800"/>
                <a:gd name="connsiteY891" fmla="*/ 272891 h 514350"/>
                <a:gd name="connsiteX892" fmla="*/ 4670584 w 6400800"/>
                <a:gd name="connsiteY892" fmla="*/ 268129 h 514350"/>
                <a:gd name="connsiteX893" fmla="*/ 4668679 w 6400800"/>
                <a:gd name="connsiteY893" fmla="*/ 250984 h 514350"/>
                <a:gd name="connsiteX894" fmla="*/ 4669631 w 6400800"/>
                <a:gd name="connsiteY894" fmla="*/ 247174 h 514350"/>
                <a:gd name="connsiteX895" fmla="*/ 4671537 w 6400800"/>
                <a:gd name="connsiteY895" fmla="*/ 222409 h 514350"/>
                <a:gd name="connsiteX896" fmla="*/ 4670584 w 6400800"/>
                <a:gd name="connsiteY896" fmla="*/ 229076 h 514350"/>
                <a:gd name="connsiteX897" fmla="*/ 4666774 w 6400800"/>
                <a:gd name="connsiteY897" fmla="*/ 242411 h 514350"/>
                <a:gd name="connsiteX898" fmla="*/ 4666774 w 6400800"/>
                <a:gd name="connsiteY898" fmla="*/ 241459 h 514350"/>
                <a:gd name="connsiteX899" fmla="*/ 4666774 w 6400800"/>
                <a:gd name="connsiteY899" fmla="*/ 241459 h 514350"/>
                <a:gd name="connsiteX900" fmla="*/ 4666774 w 6400800"/>
                <a:gd name="connsiteY900" fmla="*/ 241459 h 514350"/>
                <a:gd name="connsiteX901" fmla="*/ 4662012 w 6400800"/>
                <a:gd name="connsiteY901" fmla="*/ 228124 h 514350"/>
                <a:gd name="connsiteX902" fmla="*/ 4660106 w 6400800"/>
                <a:gd name="connsiteY902" fmla="*/ 222409 h 514350"/>
                <a:gd name="connsiteX903" fmla="*/ 4661059 w 6400800"/>
                <a:gd name="connsiteY903" fmla="*/ 228124 h 514350"/>
                <a:gd name="connsiteX904" fmla="*/ 4662964 w 6400800"/>
                <a:gd name="connsiteY904" fmla="*/ 244316 h 514350"/>
                <a:gd name="connsiteX905" fmla="*/ 4662964 w 6400800"/>
                <a:gd name="connsiteY905" fmla="*/ 246221 h 514350"/>
                <a:gd name="connsiteX906" fmla="*/ 4662964 w 6400800"/>
                <a:gd name="connsiteY906" fmla="*/ 246221 h 514350"/>
                <a:gd name="connsiteX907" fmla="*/ 4654391 w 6400800"/>
                <a:gd name="connsiteY907" fmla="*/ 262414 h 514350"/>
                <a:gd name="connsiteX908" fmla="*/ 4650581 w 6400800"/>
                <a:gd name="connsiteY908" fmla="*/ 271939 h 514350"/>
                <a:gd name="connsiteX909" fmla="*/ 4646772 w 6400800"/>
                <a:gd name="connsiteY909" fmla="*/ 261461 h 514350"/>
                <a:gd name="connsiteX910" fmla="*/ 4645819 w 6400800"/>
                <a:gd name="connsiteY910" fmla="*/ 259556 h 514350"/>
                <a:gd name="connsiteX911" fmla="*/ 4646772 w 6400800"/>
                <a:gd name="connsiteY911" fmla="*/ 253841 h 514350"/>
                <a:gd name="connsiteX912" fmla="*/ 4653439 w 6400800"/>
                <a:gd name="connsiteY912" fmla="*/ 227171 h 514350"/>
                <a:gd name="connsiteX913" fmla="*/ 4660106 w 6400800"/>
                <a:gd name="connsiteY913" fmla="*/ 204311 h 514350"/>
                <a:gd name="connsiteX914" fmla="*/ 4650581 w 6400800"/>
                <a:gd name="connsiteY914" fmla="*/ 226219 h 514350"/>
                <a:gd name="connsiteX915" fmla="*/ 4641056 w 6400800"/>
                <a:gd name="connsiteY915" fmla="*/ 251936 h 514350"/>
                <a:gd name="connsiteX916" fmla="*/ 4636294 w 6400800"/>
                <a:gd name="connsiteY916" fmla="*/ 267176 h 514350"/>
                <a:gd name="connsiteX917" fmla="*/ 4636294 w 6400800"/>
                <a:gd name="connsiteY917" fmla="*/ 259556 h 514350"/>
                <a:gd name="connsiteX918" fmla="*/ 4638199 w 6400800"/>
                <a:gd name="connsiteY918" fmla="*/ 242411 h 514350"/>
                <a:gd name="connsiteX919" fmla="*/ 4639151 w 6400800"/>
                <a:gd name="connsiteY919" fmla="*/ 235744 h 514350"/>
                <a:gd name="connsiteX920" fmla="*/ 4637247 w 6400800"/>
                <a:gd name="connsiteY920" fmla="*/ 241459 h 514350"/>
                <a:gd name="connsiteX921" fmla="*/ 4632484 w 6400800"/>
                <a:gd name="connsiteY921" fmla="*/ 258604 h 514350"/>
                <a:gd name="connsiteX922" fmla="*/ 4632484 w 6400800"/>
                <a:gd name="connsiteY922" fmla="*/ 258604 h 514350"/>
                <a:gd name="connsiteX923" fmla="*/ 4631531 w 6400800"/>
                <a:gd name="connsiteY923" fmla="*/ 254794 h 514350"/>
                <a:gd name="connsiteX924" fmla="*/ 4632484 w 6400800"/>
                <a:gd name="connsiteY924" fmla="*/ 259556 h 514350"/>
                <a:gd name="connsiteX925" fmla="*/ 4628674 w 6400800"/>
                <a:gd name="connsiteY925" fmla="*/ 285274 h 514350"/>
                <a:gd name="connsiteX926" fmla="*/ 4628674 w 6400800"/>
                <a:gd name="connsiteY926" fmla="*/ 293846 h 514350"/>
                <a:gd name="connsiteX927" fmla="*/ 4625816 w 6400800"/>
                <a:gd name="connsiteY927" fmla="*/ 303371 h 514350"/>
                <a:gd name="connsiteX928" fmla="*/ 4610576 w 6400800"/>
                <a:gd name="connsiteY928" fmla="*/ 293846 h 514350"/>
                <a:gd name="connsiteX929" fmla="*/ 4604862 w 6400800"/>
                <a:gd name="connsiteY929" fmla="*/ 290989 h 514350"/>
                <a:gd name="connsiteX930" fmla="*/ 4610576 w 6400800"/>
                <a:gd name="connsiteY930" fmla="*/ 294799 h 514350"/>
                <a:gd name="connsiteX931" fmla="*/ 4624864 w 6400800"/>
                <a:gd name="connsiteY931" fmla="*/ 307181 h 514350"/>
                <a:gd name="connsiteX932" fmla="*/ 4625816 w 6400800"/>
                <a:gd name="connsiteY932" fmla="*/ 308134 h 514350"/>
                <a:gd name="connsiteX933" fmla="*/ 4622006 w 6400800"/>
                <a:gd name="connsiteY933" fmla="*/ 325279 h 514350"/>
                <a:gd name="connsiteX934" fmla="*/ 4619149 w 6400800"/>
                <a:gd name="connsiteY934" fmla="*/ 343376 h 514350"/>
                <a:gd name="connsiteX935" fmla="*/ 4607719 w 6400800"/>
                <a:gd name="connsiteY935" fmla="*/ 306229 h 514350"/>
                <a:gd name="connsiteX936" fmla="*/ 4602956 w 6400800"/>
                <a:gd name="connsiteY936" fmla="*/ 290989 h 514350"/>
                <a:gd name="connsiteX937" fmla="*/ 4601051 w 6400800"/>
                <a:gd name="connsiteY937" fmla="*/ 269081 h 514350"/>
                <a:gd name="connsiteX938" fmla="*/ 4599147 w 6400800"/>
                <a:gd name="connsiteY938" fmla="*/ 248126 h 514350"/>
                <a:gd name="connsiteX939" fmla="*/ 4597241 w 6400800"/>
                <a:gd name="connsiteY939" fmla="*/ 269081 h 514350"/>
                <a:gd name="connsiteX940" fmla="*/ 4597241 w 6400800"/>
                <a:gd name="connsiteY940" fmla="*/ 271939 h 514350"/>
                <a:gd name="connsiteX941" fmla="*/ 4589622 w 6400800"/>
                <a:gd name="connsiteY941" fmla="*/ 250031 h 514350"/>
                <a:gd name="connsiteX942" fmla="*/ 4589622 w 6400800"/>
                <a:gd name="connsiteY942" fmla="*/ 240506 h 514350"/>
                <a:gd name="connsiteX943" fmla="*/ 4590574 w 6400800"/>
                <a:gd name="connsiteY943" fmla="*/ 197644 h 514350"/>
                <a:gd name="connsiteX944" fmla="*/ 4590574 w 6400800"/>
                <a:gd name="connsiteY944" fmla="*/ 109061 h 514350"/>
                <a:gd name="connsiteX945" fmla="*/ 4579144 w 6400800"/>
                <a:gd name="connsiteY945" fmla="*/ 197644 h 514350"/>
                <a:gd name="connsiteX946" fmla="*/ 4574381 w 6400800"/>
                <a:gd name="connsiteY946" fmla="*/ 240506 h 514350"/>
                <a:gd name="connsiteX947" fmla="*/ 4573429 w 6400800"/>
                <a:gd name="connsiteY947" fmla="*/ 256699 h 514350"/>
                <a:gd name="connsiteX948" fmla="*/ 4572476 w 6400800"/>
                <a:gd name="connsiteY948" fmla="*/ 257651 h 514350"/>
                <a:gd name="connsiteX949" fmla="*/ 4563904 w 6400800"/>
                <a:gd name="connsiteY949" fmla="*/ 265271 h 514350"/>
                <a:gd name="connsiteX950" fmla="*/ 4563904 w 6400800"/>
                <a:gd name="connsiteY950" fmla="*/ 264319 h 514350"/>
                <a:gd name="connsiteX951" fmla="*/ 4559141 w 6400800"/>
                <a:gd name="connsiteY951" fmla="*/ 255746 h 514350"/>
                <a:gd name="connsiteX952" fmla="*/ 4560094 w 6400800"/>
                <a:gd name="connsiteY952" fmla="*/ 249079 h 514350"/>
                <a:gd name="connsiteX953" fmla="*/ 4576287 w 6400800"/>
                <a:gd name="connsiteY953" fmla="*/ 159544 h 514350"/>
                <a:gd name="connsiteX954" fmla="*/ 4550569 w 6400800"/>
                <a:gd name="connsiteY954" fmla="*/ 243364 h 514350"/>
                <a:gd name="connsiteX955" fmla="*/ 4550569 w 6400800"/>
                <a:gd name="connsiteY955" fmla="*/ 243364 h 514350"/>
                <a:gd name="connsiteX956" fmla="*/ 4550569 w 6400800"/>
                <a:gd name="connsiteY956" fmla="*/ 243364 h 514350"/>
                <a:gd name="connsiteX957" fmla="*/ 4549616 w 6400800"/>
                <a:gd name="connsiteY957" fmla="*/ 246221 h 514350"/>
                <a:gd name="connsiteX958" fmla="*/ 4548664 w 6400800"/>
                <a:gd name="connsiteY958" fmla="*/ 248126 h 514350"/>
                <a:gd name="connsiteX959" fmla="*/ 4548664 w 6400800"/>
                <a:gd name="connsiteY959" fmla="*/ 248126 h 514350"/>
                <a:gd name="connsiteX960" fmla="*/ 4548664 w 6400800"/>
                <a:gd name="connsiteY960" fmla="*/ 248126 h 514350"/>
                <a:gd name="connsiteX961" fmla="*/ 4536281 w 6400800"/>
                <a:gd name="connsiteY961" fmla="*/ 292894 h 514350"/>
                <a:gd name="connsiteX962" fmla="*/ 4531519 w 6400800"/>
                <a:gd name="connsiteY962" fmla="*/ 241459 h 514350"/>
                <a:gd name="connsiteX963" fmla="*/ 4525804 w 6400800"/>
                <a:gd name="connsiteY963" fmla="*/ 303371 h 514350"/>
                <a:gd name="connsiteX964" fmla="*/ 4525804 w 6400800"/>
                <a:gd name="connsiteY964" fmla="*/ 309086 h 514350"/>
                <a:gd name="connsiteX965" fmla="*/ 4524851 w 6400800"/>
                <a:gd name="connsiteY965" fmla="*/ 308134 h 514350"/>
                <a:gd name="connsiteX966" fmla="*/ 4525804 w 6400800"/>
                <a:gd name="connsiteY966" fmla="*/ 310039 h 514350"/>
                <a:gd name="connsiteX967" fmla="*/ 4523899 w 6400800"/>
                <a:gd name="connsiteY967" fmla="*/ 333851 h 514350"/>
                <a:gd name="connsiteX968" fmla="*/ 4523899 w 6400800"/>
                <a:gd name="connsiteY968" fmla="*/ 337661 h 514350"/>
                <a:gd name="connsiteX969" fmla="*/ 4522947 w 6400800"/>
                <a:gd name="connsiteY969" fmla="*/ 339566 h 514350"/>
                <a:gd name="connsiteX970" fmla="*/ 4517231 w 6400800"/>
                <a:gd name="connsiteY970" fmla="*/ 322421 h 514350"/>
                <a:gd name="connsiteX971" fmla="*/ 4514374 w 6400800"/>
                <a:gd name="connsiteY971" fmla="*/ 301466 h 514350"/>
                <a:gd name="connsiteX972" fmla="*/ 4517231 w 6400800"/>
                <a:gd name="connsiteY972" fmla="*/ 297656 h 514350"/>
                <a:gd name="connsiteX973" fmla="*/ 4521041 w 6400800"/>
                <a:gd name="connsiteY973" fmla="*/ 291941 h 514350"/>
                <a:gd name="connsiteX974" fmla="*/ 4516279 w 6400800"/>
                <a:gd name="connsiteY974" fmla="*/ 297656 h 514350"/>
                <a:gd name="connsiteX975" fmla="*/ 4514374 w 6400800"/>
                <a:gd name="connsiteY975" fmla="*/ 300514 h 514350"/>
                <a:gd name="connsiteX976" fmla="*/ 4514374 w 6400800"/>
                <a:gd name="connsiteY976" fmla="*/ 298609 h 514350"/>
                <a:gd name="connsiteX977" fmla="*/ 4517231 w 6400800"/>
                <a:gd name="connsiteY977" fmla="*/ 293846 h 514350"/>
                <a:gd name="connsiteX978" fmla="*/ 4520089 w 6400800"/>
                <a:gd name="connsiteY978" fmla="*/ 288131 h 514350"/>
                <a:gd name="connsiteX979" fmla="*/ 4516279 w 6400800"/>
                <a:gd name="connsiteY979" fmla="*/ 292894 h 514350"/>
                <a:gd name="connsiteX980" fmla="*/ 4514374 w 6400800"/>
                <a:gd name="connsiteY980" fmla="*/ 295751 h 514350"/>
                <a:gd name="connsiteX981" fmla="*/ 4512469 w 6400800"/>
                <a:gd name="connsiteY981" fmla="*/ 281464 h 514350"/>
                <a:gd name="connsiteX982" fmla="*/ 4511516 w 6400800"/>
                <a:gd name="connsiteY982" fmla="*/ 268129 h 514350"/>
                <a:gd name="connsiteX983" fmla="*/ 4510564 w 6400800"/>
                <a:gd name="connsiteY983" fmla="*/ 272891 h 514350"/>
                <a:gd name="connsiteX984" fmla="*/ 4506754 w 6400800"/>
                <a:gd name="connsiteY984" fmla="*/ 250984 h 514350"/>
                <a:gd name="connsiteX985" fmla="*/ 4506754 w 6400800"/>
                <a:gd name="connsiteY985" fmla="*/ 292894 h 514350"/>
                <a:gd name="connsiteX986" fmla="*/ 4501991 w 6400800"/>
                <a:gd name="connsiteY986" fmla="*/ 282416 h 514350"/>
                <a:gd name="connsiteX987" fmla="*/ 4494372 w 6400800"/>
                <a:gd name="connsiteY987" fmla="*/ 267176 h 514350"/>
                <a:gd name="connsiteX988" fmla="*/ 4486751 w 6400800"/>
                <a:gd name="connsiteY988" fmla="*/ 254794 h 514350"/>
                <a:gd name="connsiteX989" fmla="*/ 4480084 w 6400800"/>
                <a:gd name="connsiteY989" fmla="*/ 245269 h 514350"/>
                <a:gd name="connsiteX990" fmla="*/ 4474369 w 6400800"/>
                <a:gd name="connsiteY990" fmla="*/ 238601 h 514350"/>
                <a:gd name="connsiteX991" fmla="*/ 4469606 w 6400800"/>
                <a:gd name="connsiteY991" fmla="*/ 233839 h 514350"/>
                <a:gd name="connsiteX992" fmla="*/ 4471512 w 6400800"/>
                <a:gd name="connsiteY992" fmla="*/ 225266 h 514350"/>
                <a:gd name="connsiteX993" fmla="*/ 4477226 w 6400800"/>
                <a:gd name="connsiteY993" fmla="*/ 198596 h 514350"/>
                <a:gd name="connsiteX994" fmla="*/ 4481037 w 6400800"/>
                <a:gd name="connsiteY994" fmla="*/ 175736 h 514350"/>
                <a:gd name="connsiteX995" fmla="*/ 4473416 w 6400800"/>
                <a:gd name="connsiteY995" fmla="*/ 197644 h 514350"/>
                <a:gd name="connsiteX996" fmla="*/ 4463891 w 6400800"/>
                <a:gd name="connsiteY996" fmla="*/ 222409 h 514350"/>
                <a:gd name="connsiteX997" fmla="*/ 4455319 w 6400800"/>
                <a:gd name="connsiteY997" fmla="*/ 244316 h 514350"/>
                <a:gd name="connsiteX998" fmla="*/ 4453414 w 6400800"/>
                <a:gd name="connsiteY998" fmla="*/ 237649 h 514350"/>
                <a:gd name="connsiteX999" fmla="*/ 4454366 w 6400800"/>
                <a:gd name="connsiteY999" fmla="*/ 247174 h 514350"/>
                <a:gd name="connsiteX1000" fmla="*/ 4451509 w 6400800"/>
                <a:gd name="connsiteY1000" fmla="*/ 253841 h 514350"/>
                <a:gd name="connsiteX1001" fmla="*/ 4436269 w 6400800"/>
                <a:gd name="connsiteY1001" fmla="*/ 289084 h 514350"/>
                <a:gd name="connsiteX1002" fmla="*/ 4435316 w 6400800"/>
                <a:gd name="connsiteY1002" fmla="*/ 287179 h 514350"/>
                <a:gd name="connsiteX1003" fmla="*/ 4438174 w 6400800"/>
                <a:gd name="connsiteY1003" fmla="*/ 274796 h 514350"/>
                <a:gd name="connsiteX1004" fmla="*/ 4444841 w 6400800"/>
                <a:gd name="connsiteY1004" fmla="*/ 247174 h 514350"/>
                <a:gd name="connsiteX1005" fmla="*/ 4454366 w 6400800"/>
                <a:gd name="connsiteY1005" fmla="*/ 195739 h 514350"/>
                <a:gd name="connsiteX1006" fmla="*/ 4460081 w 6400800"/>
                <a:gd name="connsiteY1006" fmla="*/ 151924 h 514350"/>
                <a:gd name="connsiteX1007" fmla="*/ 4461987 w 6400800"/>
                <a:gd name="connsiteY1007" fmla="*/ 133826 h 514350"/>
                <a:gd name="connsiteX1008" fmla="*/ 4462939 w 6400800"/>
                <a:gd name="connsiteY1008" fmla="*/ 118586 h 514350"/>
                <a:gd name="connsiteX1009" fmla="*/ 4463891 w 6400800"/>
                <a:gd name="connsiteY1009" fmla="*/ 89059 h 514350"/>
                <a:gd name="connsiteX1010" fmla="*/ 4458176 w 6400800"/>
                <a:gd name="connsiteY1010" fmla="*/ 118586 h 514350"/>
                <a:gd name="connsiteX1011" fmla="*/ 4455319 w 6400800"/>
                <a:gd name="connsiteY1011" fmla="*/ 133826 h 514350"/>
                <a:gd name="connsiteX1012" fmla="*/ 4451509 w 6400800"/>
                <a:gd name="connsiteY1012" fmla="*/ 151924 h 514350"/>
                <a:gd name="connsiteX1013" fmla="*/ 4441984 w 6400800"/>
                <a:gd name="connsiteY1013" fmla="*/ 194786 h 514350"/>
                <a:gd name="connsiteX1014" fmla="*/ 4428649 w 6400800"/>
                <a:gd name="connsiteY1014" fmla="*/ 245269 h 514350"/>
                <a:gd name="connsiteX1015" fmla="*/ 4421981 w 6400800"/>
                <a:gd name="connsiteY1015" fmla="*/ 269081 h 514350"/>
                <a:gd name="connsiteX1016" fmla="*/ 4414362 w 6400800"/>
                <a:gd name="connsiteY1016" fmla="*/ 258604 h 514350"/>
                <a:gd name="connsiteX1017" fmla="*/ 4394359 w 6400800"/>
                <a:gd name="connsiteY1017" fmla="*/ 230029 h 514350"/>
                <a:gd name="connsiteX1018" fmla="*/ 4387691 w 6400800"/>
                <a:gd name="connsiteY1018" fmla="*/ 221456 h 514350"/>
                <a:gd name="connsiteX1019" fmla="*/ 4395312 w 6400800"/>
                <a:gd name="connsiteY1019" fmla="*/ 180499 h 514350"/>
                <a:gd name="connsiteX1020" fmla="*/ 4382929 w 6400800"/>
                <a:gd name="connsiteY1020" fmla="*/ 215741 h 514350"/>
                <a:gd name="connsiteX1021" fmla="*/ 4375309 w 6400800"/>
                <a:gd name="connsiteY1021" fmla="*/ 206216 h 514350"/>
                <a:gd name="connsiteX1022" fmla="*/ 4381976 w 6400800"/>
                <a:gd name="connsiteY1022" fmla="*/ 218599 h 514350"/>
                <a:gd name="connsiteX1023" fmla="*/ 4369594 w 6400800"/>
                <a:gd name="connsiteY1023" fmla="*/ 259556 h 514350"/>
                <a:gd name="connsiteX1024" fmla="*/ 4368641 w 6400800"/>
                <a:gd name="connsiteY1024" fmla="*/ 241459 h 514350"/>
                <a:gd name="connsiteX1025" fmla="*/ 4366737 w 6400800"/>
                <a:gd name="connsiteY1025" fmla="*/ 263366 h 514350"/>
                <a:gd name="connsiteX1026" fmla="*/ 4365784 w 6400800"/>
                <a:gd name="connsiteY1026" fmla="*/ 274796 h 514350"/>
                <a:gd name="connsiteX1027" fmla="*/ 4362926 w 6400800"/>
                <a:gd name="connsiteY1027" fmla="*/ 285274 h 514350"/>
                <a:gd name="connsiteX1028" fmla="*/ 4362926 w 6400800"/>
                <a:gd name="connsiteY1028" fmla="*/ 282416 h 514350"/>
                <a:gd name="connsiteX1029" fmla="*/ 4361022 w 6400800"/>
                <a:gd name="connsiteY1029" fmla="*/ 261461 h 514350"/>
                <a:gd name="connsiteX1030" fmla="*/ 4359116 w 6400800"/>
                <a:gd name="connsiteY1030" fmla="*/ 283369 h 514350"/>
                <a:gd name="connsiteX1031" fmla="*/ 4359116 w 6400800"/>
                <a:gd name="connsiteY1031" fmla="*/ 290989 h 514350"/>
                <a:gd name="connsiteX1032" fmla="*/ 4357212 w 6400800"/>
                <a:gd name="connsiteY1032" fmla="*/ 295751 h 514350"/>
                <a:gd name="connsiteX1033" fmla="*/ 4351497 w 6400800"/>
                <a:gd name="connsiteY1033" fmla="*/ 284321 h 514350"/>
                <a:gd name="connsiteX1034" fmla="*/ 4351497 w 6400800"/>
                <a:gd name="connsiteY1034" fmla="*/ 257651 h 514350"/>
                <a:gd name="connsiteX1035" fmla="*/ 4351497 w 6400800"/>
                <a:gd name="connsiteY1035" fmla="*/ 238601 h 514350"/>
                <a:gd name="connsiteX1036" fmla="*/ 4349591 w 6400800"/>
                <a:gd name="connsiteY1036" fmla="*/ 221456 h 514350"/>
                <a:gd name="connsiteX1037" fmla="*/ 4345781 w 6400800"/>
                <a:gd name="connsiteY1037" fmla="*/ 194786 h 514350"/>
                <a:gd name="connsiteX1038" fmla="*/ 4342924 w 6400800"/>
                <a:gd name="connsiteY1038" fmla="*/ 170974 h 514350"/>
                <a:gd name="connsiteX1039" fmla="*/ 4341972 w 6400800"/>
                <a:gd name="connsiteY1039" fmla="*/ 194786 h 514350"/>
                <a:gd name="connsiteX1040" fmla="*/ 4341972 w 6400800"/>
                <a:gd name="connsiteY1040" fmla="*/ 217646 h 514350"/>
                <a:gd name="connsiteX1041" fmla="*/ 4340066 w 6400800"/>
                <a:gd name="connsiteY1041" fmla="*/ 205264 h 514350"/>
                <a:gd name="connsiteX1042" fmla="*/ 4339114 w 6400800"/>
                <a:gd name="connsiteY1042" fmla="*/ 226219 h 514350"/>
                <a:gd name="connsiteX1043" fmla="*/ 4338162 w 6400800"/>
                <a:gd name="connsiteY1043" fmla="*/ 250031 h 514350"/>
                <a:gd name="connsiteX1044" fmla="*/ 4338162 w 6400800"/>
                <a:gd name="connsiteY1044" fmla="*/ 252889 h 514350"/>
                <a:gd name="connsiteX1045" fmla="*/ 4337209 w 6400800"/>
                <a:gd name="connsiteY1045" fmla="*/ 250984 h 514350"/>
                <a:gd name="connsiteX1046" fmla="*/ 4318159 w 6400800"/>
                <a:gd name="connsiteY1046" fmla="*/ 196691 h 514350"/>
                <a:gd name="connsiteX1047" fmla="*/ 4289584 w 6400800"/>
                <a:gd name="connsiteY1047" fmla="*/ 116681 h 514350"/>
                <a:gd name="connsiteX1048" fmla="*/ 4278154 w 6400800"/>
                <a:gd name="connsiteY1048" fmla="*/ 86201 h 514350"/>
                <a:gd name="connsiteX1049" fmla="*/ 4285774 w 6400800"/>
                <a:gd name="connsiteY1049" fmla="*/ 117634 h 514350"/>
                <a:gd name="connsiteX1050" fmla="*/ 4307681 w 6400800"/>
                <a:gd name="connsiteY1050" fmla="*/ 199549 h 514350"/>
                <a:gd name="connsiteX1051" fmla="*/ 4334351 w 6400800"/>
                <a:gd name="connsiteY1051" fmla="*/ 295751 h 514350"/>
                <a:gd name="connsiteX1052" fmla="*/ 4334351 w 6400800"/>
                <a:gd name="connsiteY1052" fmla="*/ 296704 h 514350"/>
                <a:gd name="connsiteX1053" fmla="*/ 4334351 w 6400800"/>
                <a:gd name="connsiteY1053" fmla="*/ 294799 h 514350"/>
                <a:gd name="connsiteX1054" fmla="*/ 4334351 w 6400800"/>
                <a:gd name="connsiteY1054" fmla="*/ 301466 h 514350"/>
                <a:gd name="connsiteX1055" fmla="*/ 4333399 w 6400800"/>
                <a:gd name="connsiteY1055" fmla="*/ 315754 h 514350"/>
                <a:gd name="connsiteX1056" fmla="*/ 4329589 w 6400800"/>
                <a:gd name="connsiteY1056" fmla="*/ 344329 h 514350"/>
                <a:gd name="connsiteX1057" fmla="*/ 4328637 w 6400800"/>
                <a:gd name="connsiteY1057" fmla="*/ 343376 h 514350"/>
                <a:gd name="connsiteX1058" fmla="*/ 4326731 w 6400800"/>
                <a:gd name="connsiteY1058" fmla="*/ 340519 h 514350"/>
                <a:gd name="connsiteX1059" fmla="*/ 4325779 w 6400800"/>
                <a:gd name="connsiteY1059" fmla="*/ 333851 h 514350"/>
                <a:gd name="connsiteX1060" fmla="*/ 4315301 w 6400800"/>
                <a:gd name="connsiteY1060" fmla="*/ 267176 h 514350"/>
                <a:gd name="connsiteX1061" fmla="*/ 4301966 w 6400800"/>
                <a:gd name="connsiteY1061" fmla="*/ 202406 h 514350"/>
                <a:gd name="connsiteX1062" fmla="*/ 4303872 w 6400800"/>
                <a:gd name="connsiteY1062" fmla="*/ 268129 h 514350"/>
                <a:gd name="connsiteX1063" fmla="*/ 4303872 w 6400800"/>
                <a:gd name="connsiteY1063" fmla="*/ 274796 h 514350"/>
                <a:gd name="connsiteX1064" fmla="*/ 4301966 w 6400800"/>
                <a:gd name="connsiteY1064" fmla="*/ 290036 h 514350"/>
                <a:gd name="connsiteX1065" fmla="*/ 4300062 w 6400800"/>
                <a:gd name="connsiteY1065" fmla="*/ 300514 h 514350"/>
                <a:gd name="connsiteX1066" fmla="*/ 4288631 w 6400800"/>
                <a:gd name="connsiteY1066" fmla="*/ 286226 h 514350"/>
                <a:gd name="connsiteX1067" fmla="*/ 4299109 w 6400800"/>
                <a:gd name="connsiteY1067" fmla="*/ 305276 h 514350"/>
                <a:gd name="connsiteX1068" fmla="*/ 4296251 w 6400800"/>
                <a:gd name="connsiteY1068" fmla="*/ 323374 h 514350"/>
                <a:gd name="connsiteX1069" fmla="*/ 4292441 w 6400800"/>
                <a:gd name="connsiteY1069" fmla="*/ 346234 h 514350"/>
                <a:gd name="connsiteX1070" fmla="*/ 4290537 w 6400800"/>
                <a:gd name="connsiteY1070" fmla="*/ 343376 h 514350"/>
                <a:gd name="connsiteX1071" fmla="*/ 4288631 w 6400800"/>
                <a:gd name="connsiteY1071" fmla="*/ 308134 h 514350"/>
                <a:gd name="connsiteX1072" fmla="*/ 4281964 w 6400800"/>
                <a:gd name="connsiteY1072" fmla="*/ 231934 h 514350"/>
                <a:gd name="connsiteX1073" fmla="*/ 4277201 w 6400800"/>
                <a:gd name="connsiteY1073" fmla="*/ 309086 h 514350"/>
                <a:gd name="connsiteX1074" fmla="*/ 4277201 w 6400800"/>
                <a:gd name="connsiteY1074" fmla="*/ 318611 h 514350"/>
                <a:gd name="connsiteX1075" fmla="*/ 4273391 w 6400800"/>
                <a:gd name="connsiteY1075" fmla="*/ 310039 h 514350"/>
                <a:gd name="connsiteX1076" fmla="*/ 4272439 w 6400800"/>
                <a:gd name="connsiteY1076" fmla="*/ 303371 h 514350"/>
                <a:gd name="connsiteX1077" fmla="*/ 4270534 w 6400800"/>
                <a:gd name="connsiteY1077" fmla="*/ 273844 h 514350"/>
                <a:gd name="connsiteX1078" fmla="*/ 4269581 w 6400800"/>
                <a:gd name="connsiteY1078" fmla="*/ 260509 h 514350"/>
                <a:gd name="connsiteX1079" fmla="*/ 4269581 w 6400800"/>
                <a:gd name="connsiteY1079" fmla="*/ 255746 h 514350"/>
                <a:gd name="connsiteX1080" fmla="*/ 4270534 w 6400800"/>
                <a:gd name="connsiteY1080" fmla="*/ 234791 h 514350"/>
                <a:gd name="connsiteX1081" fmla="*/ 4273391 w 6400800"/>
                <a:gd name="connsiteY1081" fmla="*/ 155734 h 514350"/>
                <a:gd name="connsiteX1082" fmla="*/ 4259104 w 6400800"/>
                <a:gd name="connsiteY1082" fmla="*/ 233839 h 514350"/>
                <a:gd name="connsiteX1083" fmla="*/ 4253389 w 6400800"/>
                <a:gd name="connsiteY1083" fmla="*/ 271939 h 514350"/>
                <a:gd name="connsiteX1084" fmla="*/ 4252437 w 6400800"/>
                <a:gd name="connsiteY1084" fmla="*/ 270034 h 514350"/>
                <a:gd name="connsiteX1085" fmla="*/ 4253389 w 6400800"/>
                <a:gd name="connsiteY1085" fmla="*/ 262414 h 514350"/>
                <a:gd name="connsiteX1086" fmla="*/ 4255294 w 6400800"/>
                <a:gd name="connsiteY1086" fmla="*/ 240506 h 514350"/>
                <a:gd name="connsiteX1087" fmla="*/ 4249579 w 6400800"/>
                <a:gd name="connsiteY1087" fmla="*/ 262414 h 514350"/>
                <a:gd name="connsiteX1088" fmla="*/ 4248626 w 6400800"/>
                <a:gd name="connsiteY1088" fmla="*/ 264319 h 514350"/>
                <a:gd name="connsiteX1089" fmla="*/ 4246722 w 6400800"/>
                <a:gd name="connsiteY1089" fmla="*/ 261461 h 514350"/>
                <a:gd name="connsiteX1090" fmla="*/ 4244816 w 6400800"/>
                <a:gd name="connsiteY1090" fmla="*/ 257651 h 514350"/>
                <a:gd name="connsiteX1091" fmla="*/ 4244816 w 6400800"/>
                <a:gd name="connsiteY1091" fmla="*/ 251936 h 514350"/>
                <a:gd name="connsiteX1092" fmla="*/ 4243864 w 6400800"/>
                <a:gd name="connsiteY1092" fmla="*/ 256699 h 514350"/>
                <a:gd name="connsiteX1093" fmla="*/ 4240054 w 6400800"/>
                <a:gd name="connsiteY1093" fmla="*/ 251936 h 514350"/>
                <a:gd name="connsiteX1094" fmla="*/ 4229576 w 6400800"/>
                <a:gd name="connsiteY1094" fmla="*/ 235744 h 514350"/>
                <a:gd name="connsiteX1095" fmla="*/ 4220051 w 6400800"/>
                <a:gd name="connsiteY1095" fmla="*/ 222409 h 514350"/>
                <a:gd name="connsiteX1096" fmla="*/ 4226719 w 6400800"/>
                <a:gd name="connsiteY1096" fmla="*/ 237649 h 514350"/>
                <a:gd name="connsiteX1097" fmla="*/ 4234339 w 6400800"/>
                <a:gd name="connsiteY1097" fmla="*/ 254794 h 514350"/>
                <a:gd name="connsiteX1098" fmla="*/ 4236244 w 6400800"/>
                <a:gd name="connsiteY1098" fmla="*/ 258604 h 514350"/>
                <a:gd name="connsiteX1099" fmla="*/ 4231481 w 6400800"/>
                <a:gd name="connsiteY1099" fmla="*/ 251936 h 514350"/>
                <a:gd name="connsiteX1100" fmla="*/ 4220051 w 6400800"/>
                <a:gd name="connsiteY1100" fmla="*/ 237649 h 514350"/>
                <a:gd name="connsiteX1101" fmla="*/ 4202906 w 6400800"/>
                <a:gd name="connsiteY1101" fmla="*/ 219551 h 514350"/>
                <a:gd name="connsiteX1102" fmla="*/ 4196239 w 6400800"/>
                <a:gd name="connsiteY1102" fmla="*/ 213836 h 514350"/>
                <a:gd name="connsiteX1103" fmla="*/ 4201954 w 6400800"/>
                <a:gd name="connsiteY1103" fmla="*/ 220504 h 514350"/>
                <a:gd name="connsiteX1104" fmla="*/ 4216241 w 6400800"/>
                <a:gd name="connsiteY1104" fmla="*/ 240506 h 514350"/>
                <a:gd name="connsiteX1105" fmla="*/ 4225766 w 6400800"/>
                <a:gd name="connsiteY1105" fmla="*/ 255746 h 514350"/>
                <a:gd name="connsiteX1106" fmla="*/ 4235291 w 6400800"/>
                <a:gd name="connsiteY1106" fmla="*/ 273844 h 514350"/>
                <a:gd name="connsiteX1107" fmla="*/ 4235291 w 6400800"/>
                <a:gd name="connsiteY1107" fmla="*/ 274796 h 514350"/>
                <a:gd name="connsiteX1108" fmla="*/ 4235291 w 6400800"/>
                <a:gd name="connsiteY1108" fmla="*/ 282416 h 514350"/>
                <a:gd name="connsiteX1109" fmla="*/ 4234339 w 6400800"/>
                <a:gd name="connsiteY1109" fmla="*/ 281464 h 514350"/>
                <a:gd name="connsiteX1110" fmla="*/ 4229576 w 6400800"/>
                <a:gd name="connsiteY1110" fmla="*/ 276701 h 514350"/>
                <a:gd name="connsiteX1111" fmla="*/ 4233387 w 6400800"/>
                <a:gd name="connsiteY1111" fmla="*/ 282416 h 514350"/>
                <a:gd name="connsiteX1112" fmla="*/ 4235291 w 6400800"/>
                <a:gd name="connsiteY1112" fmla="*/ 284321 h 514350"/>
                <a:gd name="connsiteX1113" fmla="*/ 4235291 w 6400800"/>
                <a:gd name="connsiteY1113" fmla="*/ 285274 h 514350"/>
                <a:gd name="connsiteX1114" fmla="*/ 4229576 w 6400800"/>
                <a:gd name="connsiteY1114" fmla="*/ 310039 h 514350"/>
                <a:gd name="connsiteX1115" fmla="*/ 4222909 w 6400800"/>
                <a:gd name="connsiteY1115" fmla="*/ 295751 h 514350"/>
                <a:gd name="connsiteX1116" fmla="*/ 4228624 w 6400800"/>
                <a:gd name="connsiteY1116" fmla="*/ 316706 h 514350"/>
                <a:gd name="connsiteX1117" fmla="*/ 4226719 w 6400800"/>
                <a:gd name="connsiteY1117" fmla="*/ 327184 h 514350"/>
                <a:gd name="connsiteX1118" fmla="*/ 4223862 w 6400800"/>
                <a:gd name="connsiteY1118" fmla="*/ 341471 h 514350"/>
                <a:gd name="connsiteX1119" fmla="*/ 4222909 w 6400800"/>
                <a:gd name="connsiteY1119" fmla="*/ 334804 h 514350"/>
                <a:gd name="connsiteX1120" fmla="*/ 4219099 w 6400800"/>
                <a:gd name="connsiteY1120" fmla="*/ 311944 h 514350"/>
                <a:gd name="connsiteX1121" fmla="*/ 4219099 w 6400800"/>
                <a:gd name="connsiteY1121" fmla="*/ 331946 h 514350"/>
                <a:gd name="connsiteX1122" fmla="*/ 4217194 w 6400800"/>
                <a:gd name="connsiteY1122" fmla="*/ 322421 h 514350"/>
                <a:gd name="connsiteX1123" fmla="*/ 4198144 w 6400800"/>
                <a:gd name="connsiteY1123" fmla="*/ 240506 h 514350"/>
                <a:gd name="connsiteX1124" fmla="*/ 4205764 w 6400800"/>
                <a:gd name="connsiteY1124" fmla="*/ 323374 h 514350"/>
                <a:gd name="connsiteX1125" fmla="*/ 4210526 w 6400800"/>
                <a:gd name="connsiteY1125" fmla="*/ 364331 h 514350"/>
                <a:gd name="connsiteX1126" fmla="*/ 4210526 w 6400800"/>
                <a:gd name="connsiteY1126" fmla="*/ 363379 h 514350"/>
                <a:gd name="connsiteX1127" fmla="*/ 4206716 w 6400800"/>
                <a:gd name="connsiteY1127" fmla="*/ 350044 h 514350"/>
                <a:gd name="connsiteX1128" fmla="*/ 4202906 w 6400800"/>
                <a:gd name="connsiteY1128" fmla="*/ 338614 h 514350"/>
                <a:gd name="connsiteX1129" fmla="*/ 4202906 w 6400800"/>
                <a:gd name="connsiteY1129" fmla="*/ 350996 h 514350"/>
                <a:gd name="connsiteX1130" fmla="*/ 4202906 w 6400800"/>
                <a:gd name="connsiteY1130" fmla="*/ 365284 h 514350"/>
                <a:gd name="connsiteX1131" fmla="*/ 4202906 w 6400800"/>
                <a:gd name="connsiteY1131" fmla="*/ 373856 h 514350"/>
                <a:gd name="connsiteX1132" fmla="*/ 4202906 w 6400800"/>
                <a:gd name="connsiteY1132" fmla="*/ 380524 h 514350"/>
                <a:gd name="connsiteX1133" fmla="*/ 4201954 w 6400800"/>
                <a:gd name="connsiteY1133" fmla="*/ 378619 h 514350"/>
                <a:gd name="connsiteX1134" fmla="*/ 4201001 w 6400800"/>
                <a:gd name="connsiteY1134" fmla="*/ 361474 h 514350"/>
                <a:gd name="connsiteX1135" fmla="*/ 4196239 w 6400800"/>
                <a:gd name="connsiteY1135" fmla="*/ 290989 h 514350"/>
                <a:gd name="connsiteX1136" fmla="*/ 4191476 w 6400800"/>
                <a:gd name="connsiteY1136" fmla="*/ 343376 h 514350"/>
                <a:gd name="connsiteX1137" fmla="*/ 4188619 w 6400800"/>
                <a:gd name="connsiteY1137" fmla="*/ 335756 h 514350"/>
                <a:gd name="connsiteX1138" fmla="*/ 4181951 w 6400800"/>
                <a:gd name="connsiteY1138" fmla="*/ 319564 h 514350"/>
                <a:gd name="connsiteX1139" fmla="*/ 4180999 w 6400800"/>
                <a:gd name="connsiteY1139" fmla="*/ 316706 h 514350"/>
                <a:gd name="connsiteX1140" fmla="*/ 4180999 w 6400800"/>
                <a:gd name="connsiteY1140" fmla="*/ 256699 h 514350"/>
                <a:gd name="connsiteX1141" fmla="*/ 4180999 w 6400800"/>
                <a:gd name="connsiteY1141" fmla="*/ 230029 h 514350"/>
                <a:gd name="connsiteX1142" fmla="*/ 4177189 w 6400800"/>
                <a:gd name="connsiteY1142" fmla="*/ 256699 h 514350"/>
                <a:gd name="connsiteX1143" fmla="*/ 4175284 w 6400800"/>
                <a:gd name="connsiteY1143" fmla="*/ 270034 h 514350"/>
                <a:gd name="connsiteX1144" fmla="*/ 4174331 w 6400800"/>
                <a:gd name="connsiteY1144" fmla="*/ 251936 h 514350"/>
                <a:gd name="connsiteX1145" fmla="*/ 4168616 w 6400800"/>
                <a:gd name="connsiteY1145" fmla="*/ 176689 h 514350"/>
                <a:gd name="connsiteX1146" fmla="*/ 4162901 w 6400800"/>
                <a:gd name="connsiteY1146" fmla="*/ 251936 h 514350"/>
                <a:gd name="connsiteX1147" fmla="*/ 4160996 w 6400800"/>
                <a:gd name="connsiteY1147" fmla="*/ 287179 h 514350"/>
                <a:gd name="connsiteX1148" fmla="*/ 4154329 w 6400800"/>
                <a:gd name="connsiteY1148" fmla="*/ 303371 h 514350"/>
                <a:gd name="connsiteX1149" fmla="*/ 4146709 w 6400800"/>
                <a:gd name="connsiteY1149" fmla="*/ 280511 h 514350"/>
                <a:gd name="connsiteX1150" fmla="*/ 4140041 w 6400800"/>
                <a:gd name="connsiteY1150" fmla="*/ 246221 h 514350"/>
                <a:gd name="connsiteX1151" fmla="*/ 4133374 w 6400800"/>
                <a:gd name="connsiteY1151" fmla="*/ 224314 h 514350"/>
                <a:gd name="connsiteX1152" fmla="*/ 4134326 w 6400800"/>
                <a:gd name="connsiteY1152" fmla="*/ 230029 h 514350"/>
                <a:gd name="connsiteX1153" fmla="*/ 4136231 w 6400800"/>
                <a:gd name="connsiteY1153" fmla="*/ 247174 h 514350"/>
                <a:gd name="connsiteX1154" fmla="*/ 4136231 w 6400800"/>
                <a:gd name="connsiteY1154" fmla="*/ 250031 h 514350"/>
                <a:gd name="connsiteX1155" fmla="*/ 4118134 w 6400800"/>
                <a:gd name="connsiteY1155" fmla="*/ 197644 h 514350"/>
                <a:gd name="connsiteX1156" fmla="*/ 4093369 w 6400800"/>
                <a:gd name="connsiteY1156" fmla="*/ 121444 h 514350"/>
                <a:gd name="connsiteX1157" fmla="*/ 4083844 w 6400800"/>
                <a:gd name="connsiteY1157" fmla="*/ 92869 h 514350"/>
                <a:gd name="connsiteX1158" fmla="*/ 4089559 w 6400800"/>
                <a:gd name="connsiteY1158" fmla="*/ 122396 h 514350"/>
                <a:gd name="connsiteX1159" fmla="*/ 4106704 w 6400800"/>
                <a:gd name="connsiteY1159" fmla="*/ 200501 h 514350"/>
                <a:gd name="connsiteX1160" fmla="*/ 4119086 w 6400800"/>
                <a:gd name="connsiteY1160" fmla="*/ 248126 h 514350"/>
                <a:gd name="connsiteX1161" fmla="*/ 4117181 w 6400800"/>
                <a:gd name="connsiteY1161" fmla="*/ 262414 h 514350"/>
                <a:gd name="connsiteX1162" fmla="*/ 4114324 w 6400800"/>
                <a:gd name="connsiteY1162" fmla="*/ 290036 h 514350"/>
                <a:gd name="connsiteX1163" fmla="*/ 4110514 w 6400800"/>
                <a:gd name="connsiteY1163" fmla="*/ 284321 h 514350"/>
                <a:gd name="connsiteX1164" fmla="*/ 4114324 w 6400800"/>
                <a:gd name="connsiteY1164" fmla="*/ 269081 h 514350"/>
                <a:gd name="connsiteX1165" fmla="*/ 4108609 w 6400800"/>
                <a:gd name="connsiteY1165" fmla="*/ 282416 h 514350"/>
                <a:gd name="connsiteX1166" fmla="*/ 4102894 w 6400800"/>
                <a:gd name="connsiteY1166" fmla="*/ 273844 h 514350"/>
                <a:gd name="connsiteX1167" fmla="*/ 4096226 w 6400800"/>
                <a:gd name="connsiteY1167" fmla="*/ 263366 h 514350"/>
                <a:gd name="connsiteX1168" fmla="*/ 4097179 w 6400800"/>
                <a:gd name="connsiteY1168" fmla="*/ 262414 h 514350"/>
                <a:gd name="connsiteX1169" fmla="*/ 4096226 w 6400800"/>
                <a:gd name="connsiteY1169" fmla="*/ 263366 h 514350"/>
                <a:gd name="connsiteX1170" fmla="*/ 4090511 w 6400800"/>
                <a:gd name="connsiteY1170" fmla="*/ 253841 h 514350"/>
                <a:gd name="connsiteX1171" fmla="*/ 4090511 w 6400800"/>
                <a:gd name="connsiteY1171" fmla="*/ 252889 h 514350"/>
                <a:gd name="connsiteX1172" fmla="*/ 4090511 w 6400800"/>
                <a:gd name="connsiteY1172" fmla="*/ 238601 h 514350"/>
                <a:gd name="connsiteX1173" fmla="*/ 4090511 w 6400800"/>
                <a:gd name="connsiteY1173" fmla="*/ 215741 h 514350"/>
                <a:gd name="connsiteX1174" fmla="*/ 4089559 w 6400800"/>
                <a:gd name="connsiteY1174" fmla="*/ 195739 h 514350"/>
                <a:gd name="connsiteX1175" fmla="*/ 4086701 w 6400800"/>
                <a:gd name="connsiteY1175" fmla="*/ 214789 h 514350"/>
                <a:gd name="connsiteX1176" fmla="*/ 4083844 w 6400800"/>
                <a:gd name="connsiteY1176" fmla="*/ 236696 h 514350"/>
                <a:gd name="connsiteX1177" fmla="*/ 4083844 w 6400800"/>
                <a:gd name="connsiteY1177" fmla="*/ 239554 h 514350"/>
                <a:gd name="connsiteX1178" fmla="*/ 4081939 w 6400800"/>
                <a:gd name="connsiteY1178" fmla="*/ 236696 h 514350"/>
                <a:gd name="connsiteX1179" fmla="*/ 4081939 w 6400800"/>
                <a:gd name="connsiteY1179" fmla="*/ 234791 h 514350"/>
                <a:gd name="connsiteX1180" fmla="*/ 4081939 w 6400800"/>
                <a:gd name="connsiteY1180" fmla="*/ 210026 h 514350"/>
                <a:gd name="connsiteX1181" fmla="*/ 4081939 w 6400800"/>
                <a:gd name="connsiteY1181" fmla="*/ 188119 h 514350"/>
                <a:gd name="connsiteX1182" fmla="*/ 4078129 w 6400800"/>
                <a:gd name="connsiteY1182" fmla="*/ 210026 h 514350"/>
                <a:gd name="connsiteX1183" fmla="*/ 4075271 w 6400800"/>
                <a:gd name="connsiteY1183" fmla="*/ 227171 h 514350"/>
                <a:gd name="connsiteX1184" fmla="*/ 4059079 w 6400800"/>
                <a:gd name="connsiteY1184" fmla="*/ 202406 h 514350"/>
                <a:gd name="connsiteX1185" fmla="*/ 4073366 w 6400800"/>
                <a:gd name="connsiteY1185" fmla="*/ 236696 h 514350"/>
                <a:gd name="connsiteX1186" fmla="*/ 4071461 w 6400800"/>
                <a:gd name="connsiteY1186" fmla="*/ 250984 h 514350"/>
                <a:gd name="connsiteX1187" fmla="*/ 4067651 w 6400800"/>
                <a:gd name="connsiteY1187" fmla="*/ 268129 h 514350"/>
                <a:gd name="connsiteX1188" fmla="*/ 4064794 w 6400800"/>
                <a:gd name="connsiteY1188" fmla="*/ 279559 h 514350"/>
                <a:gd name="connsiteX1189" fmla="*/ 4061936 w 6400800"/>
                <a:gd name="connsiteY1189" fmla="*/ 253841 h 514350"/>
                <a:gd name="connsiteX1190" fmla="*/ 4054316 w 6400800"/>
                <a:gd name="connsiteY1190" fmla="*/ 207169 h 514350"/>
                <a:gd name="connsiteX1191" fmla="*/ 4050506 w 6400800"/>
                <a:gd name="connsiteY1191" fmla="*/ 186214 h 514350"/>
                <a:gd name="connsiteX1192" fmla="*/ 4046696 w 6400800"/>
                <a:gd name="connsiteY1192" fmla="*/ 168116 h 514350"/>
                <a:gd name="connsiteX1193" fmla="*/ 4040029 w 6400800"/>
                <a:gd name="connsiteY1193" fmla="*/ 137636 h 514350"/>
                <a:gd name="connsiteX1194" fmla="*/ 4034314 w 6400800"/>
                <a:gd name="connsiteY1194" fmla="*/ 111919 h 514350"/>
                <a:gd name="connsiteX1195" fmla="*/ 4036219 w 6400800"/>
                <a:gd name="connsiteY1195" fmla="*/ 138589 h 514350"/>
                <a:gd name="connsiteX1196" fmla="*/ 4039076 w 6400800"/>
                <a:gd name="connsiteY1196" fmla="*/ 169069 h 514350"/>
                <a:gd name="connsiteX1197" fmla="*/ 4042886 w 6400800"/>
                <a:gd name="connsiteY1197" fmla="*/ 208121 h 514350"/>
                <a:gd name="connsiteX1198" fmla="*/ 4044791 w 6400800"/>
                <a:gd name="connsiteY1198" fmla="*/ 238601 h 514350"/>
                <a:gd name="connsiteX1199" fmla="*/ 4031456 w 6400800"/>
                <a:gd name="connsiteY1199" fmla="*/ 170021 h 514350"/>
                <a:gd name="connsiteX1200" fmla="*/ 4036219 w 6400800"/>
                <a:gd name="connsiteY1200" fmla="*/ 252889 h 514350"/>
                <a:gd name="connsiteX1201" fmla="*/ 4037171 w 6400800"/>
                <a:gd name="connsiteY1201" fmla="*/ 264319 h 514350"/>
                <a:gd name="connsiteX1202" fmla="*/ 4035266 w 6400800"/>
                <a:gd name="connsiteY1202" fmla="*/ 271939 h 514350"/>
                <a:gd name="connsiteX1203" fmla="*/ 4030504 w 6400800"/>
                <a:gd name="connsiteY1203" fmla="*/ 266224 h 514350"/>
                <a:gd name="connsiteX1204" fmla="*/ 4023836 w 6400800"/>
                <a:gd name="connsiteY1204" fmla="*/ 258604 h 514350"/>
                <a:gd name="connsiteX1205" fmla="*/ 4009549 w 6400800"/>
                <a:gd name="connsiteY1205" fmla="*/ 229076 h 514350"/>
                <a:gd name="connsiteX1206" fmla="*/ 3996214 w 6400800"/>
                <a:gd name="connsiteY1206" fmla="*/ 203359 h 514350"/>
                <a:gd name="connsiteX1207" fmla="*/ 4005739 w 6400800"/>
                <a:gd name="connsiteY1207" fmla="*/ 230981 h 514350"/>
                <a:gd name="connsiteX1208" fmla="*/ 4014311 w 6400800"/>
                <a:gd name="connsiteY1208" fmla="*/ 255746 h 514350"/>
                <a:gd name="connsiteX1209" fmla="*/ 4007644 w 6400800"/>
                <a:gd name="connsiteY1209" fmla="*/ 243364 h 514350"/>
                <a:gd name="connsiteX1210" fmla="*/ 4015264 w 6400800"/>
                <a:gd name="connsiteY1210" fmla="*/ 267176 h 514350"/>
                <a:gd name="connsiteX1211" fmla="*/ 4024789 w 6400800"/>
                <a:gd name="connsiteY1211" fmla="*/ 294799 h 514350"/>
                <a:gd name="connsiteX1212" fmla="*/ 4026694 w 6400800"/>
                <a:gd name="connsiteY1212" fmla="*/ 301466 h 514350"/>
                <a:gd name="connsiteX1213" fmla="*/ 4017169 w 6400800"/>
                <a:gd name="connsiteY1213" fmla="*/ 329089 h 514350"/>
                <a:gd name="connsiteX1214" fmla="*/ 4016216 w 6400800"/>
                <a:gd name="connsiteY1214" fmla="*/ 328136 h 514350"/>
                <a:gd name="connsiteX1215" fmla="*/ 4005739 w 6400800"/>
                <a:gd name="connsiteY1215" fmla="*/ 320516 h 514350"/>
                <a:gd name="connsiteX1216" fmla="*/ 4005739 w 6400800"/>
                <a:gd name="connsiteY1216" fmla="*/ 318611 h 514350"/>
                <a:gd name="connsiteX1217" fmla="*/ 4004786 w 6400800"/>
                <a:gd name="connsiteY1217" fmla="*/ 310991 h 514350"/>
                <a:gd name="connsiteX1218" fmla="*/ 4002881 w 6400800"/>
                <a:gd name="connsiteY1218" fmla="*/ 269081 h 514350"/>
                <a:gd name="connsiteX1219" fmla="*/ 4000024 w 6400800"/>
                <a:gd name="connsiteY1219" fmla="*/ 284321 h 514350"/>
                <a:gd name="connsiteX1220" fmla="*/ 3993356 w 6400800"/>
                <a:gd name="connsiteY1220" fmla="*/ 248126 h 514350"/>
                <a:gd name="connsiteX1221" fmla="*/ 3993356 w 6400800"/>
                <a:gd name="connsiteY1221" fmla="*/ 286226 h 514350"/>
                <a:gd name="connsiteX1222" fmla="*/ 3992404 w 6400800"/>
                <a:gd name="connsiteY1222" fmla="*/ 286226 h 514350"/>
                <a:gd name="connsiteX1223" fmla="*/ 3990499 w 6400800"/>
                <a:gd name="connsiteY1223" fmla="*/ 287179 h 514350"/>
                <a:gd name="connsiteX1224" fmla="*/ 3985736 w 6400800"/>
                <a:gd name="connsiteY1224" fmla="*/ 292894 h 514350"/>
                <a:gd name="connsiteX1225" fmla="*/ 3985736 w 6400800"/>
                <a:gd name="connsiteY1225" fmla="*/ 292894 h 514350"/>
                <a:gd name="connsiteX1226" fmla="*/ 3985736 w 6400800"/>
                <a:gd name="connsiteY1226" fmla="*/ 293846 h 514350"/>
                <a:gd name="connsiteX1227" fmla="*/ 3983831 w 6400800"/>
                <a:gd name="connsiteY1227" fmla="*/ 313849 h 514350"/>
                <a:gd name="connsiteX1228" fmla="*/ 3978116 w 6400800"/>
                <a:gd name="connsiteY1228" fmla="*/ 303371 h 514350"/>
                <a:gd name="connsiteX1229" fmla="*/ 3987641 w 6400800"/>
                <a:gd name="connsiteY1229" fmla="*/ 272891 h 514350"/>
                <a:gd name="connsiteX1230" fmla="*/ 3976211 w 6400800"/>
                <a:gd name="connsiteY1230" fmla="*/ 298609 h 514350"/>
                <a:gd name="connsiteX1231" fmla="*/ 3973354 w 6400800"/>
                <a:gd name="connsiteY1231" fmla="*/ 293846 h 514350"/>
                <a:gd name="connsiteX1232" fmla="*/ 3973354 w 6400800"/>
                <a:gd name="connsiteY1232" fmla="*/ 288131 h 514350"/>
                <a:gd name="connsiteX1233" fmla="*/ 3973354 w 6400800"/>
                <a:gd name="connsiteY1233" fmla="*/ 287179 h 514350"/>
                <a:gd name="connsiteX1234" fmla="*/ 3977164 w 6400800"/>
                <a:gd name="connsiteY1234" fmla="*/ 278606 h 514350"/>
                <a:gd name="connsiteX1235" fmla="*/ 3980974 w 6400800"/>
                <a:gd name="connsiteY1235" fmla="*/ 270986 h 514350"/>
                <a:gd name="connsiteX1236" fmla="*/ 3976211 w 6400800"/>
                <a:gd name="connsiteY1236" fmla="*/ 277654 h 514350"/>
                <a:gd name="connsiteX1237" fmla="*/ 3973354 w 6400800"/>
                <a:gd name="connsiteY1237" fmla="*/ 282416 h 514350"/>
                <a:gd name="connsiteX1238" fmla="*/ 3974306 w 6400800"/>
                <a:gd name="connsiteY1238" fmla="*/ 254794 h 514350"/>
                <a:gd name="connsiteX1239" fmla="*/ 3975259 w 6400800"/>
                <a:gd name="connsiteY1239" fmla="*/ 230029 h 514350"/>
                <a:gd name="connsiteX1240" fmla="*/ 3970496 w 6400800"/>
                <a:gd name="connsiteY1240" fmla="*/ 254794 h 514350"/>
                <a:gd name="connsiteX1241" fmla="*/ 3965734 w 6400800"/>
                <a:gd name="connsiteY1241" fmla="*/ 281464 h 514350"/>
                <a:gd name="connsiteX1242" fmla="*/ 3961924 w 6400800"/>
                <a:gd name="connsiteY1242" fmla="*/ 274796 h 514350"/>
                <a:gd name="connsiteX1243" fmla="*/ 3962876 w 6400800"/>
                <a:gd name="connsiteY1243" fmla="*/ 269081 h 514350"/>
                <a:gd name="connsiteX1244" fmla="*/ 3966686 w 6400800"/>
                <a:gd name="connsiteY1244" fmla="*/ 245269 h 514350"/>
                <a:gd name="connsiteX1245" fmla="*/ 3959066 w 6400800"/>
                <a:gd name="connsiteY1245" fmla="*/ 268129 h 514350"/>
                <a:gd name="connsiteX1246" fmla="*/ 3959066 w 6400800"/>
                <a:gd name="connsiteY1246" fmla="*/ 269081 h 514350"/>
                <a:gd name="connsiteX1247" fmla="*/ 3958114 w 6400800"/>
                <a:gd name="connsiteY1247" fmla="*/ 267176 h 514350"/>
                <a:gd name="connsiteX1248" fmla="*/ 3958114 w 6400800"/>
                <a:gd name="connsiteY1248" fmla="*/ 269081 h 514350"/>
                <a:gd name="connsiteX1249" fmla="*/ 3955256 w 6400800"/>
                <a:gd name="connsiteY1249" fmla="*/ 264319 h 514350"/>
                <a:gd name="connsiteX1250" fmla="*/ 3954304 w 6400800"/>
                <a:gd name="connsiteY1250" fmla="*/ 247174 h 514350"/>
                <a:gd name="connsiteX1251" fmla="*/ 3951446 w 6400800"/>
                <a:gd name="connsiteY1251" fmla="*/ 214789 h 514350"/>
                <a:gd name="connsiteX1252" fmla="*/ 3947636 w 6400800"/>
                <a:gd name="connsiteY1252" fmla="*/ 190024 h 514350"/>
                <a:gd name="connsiteX1253" fmla="*/ 3943826 w 6400800"/>
                <a:gd name="connsiteY1253" fmla="*/ 169069 h 514350"/>
                <a:gd name="connsiteX1254" fmla="*/ 3943826 w 6400800"/>
                <a:gd name="connsiteY1254" fmla="*/ 190024 h 514350"/>
                <a:gd name="connsiteX1255" fmla="*/ 3943826 w 6400800"/>
                <a:gd name="connsiteY1255" fmla="*/ 214789 h 514350"/>
                <a:gd name="connsiteX1256" fmla="*/ 3943826 w 6400800"/>
                <a:gd name="connsiteY1256" fmla="*/ 225266 h 514350"/>
                <a:gd name="connsiteX1257" fmla="*/ 3940969 w 6400800"/>
                <a:gd name="connsiteY1257" fmla="*/ 215741 h 514350"/>
                <a:gd name="connsiteX1258" fmla="*/ 3939064 w 6400800"/>
                <a:gd name="connsiteY1258" fmla="*/ 207169 h 514350"/>
                <a:gd name="connsiteX1259" fmla="*/ 3940016 w 6400800"/>
                <a:gd name="connsiteY1259" fmla="*/ 205264 h 514350"/>
                <a:gd name="connsiteX1260" fmla="*/ 3939064 w 6400800"/>
                <a:gd name="connsiteY1260" fmla="*/ 206216 h 514350"/>
                <a:gd name="connsiteX1261" fmla="*/ 3936206 w 6400800"/>
                <a:gd name="connsiteY1261" fmla="*/ 197644 h 514350"/>
                <a:gd name="connsiteX1262" fmla="*/ 3937159 w 6400800"/>
                <a:gd name="connsiteY1262" fmla="*/ 208121 h 514350"/>
                <a:gd name="connsiteX1263" fmla="*/ 3929539 w 6400800"/>
                <a:gd name="connsiteY1263" fmla="*/ 216694 h 514350"/>
                <a:gd name="connsiteX1264" fmla="*/ 3925729 w 6400800"/>
                <a:gd name="connsiteY1264" fmla="*/ 197644 h 514350"/>
                <a:gd name="connsiteX1265" fmla="*/ 3916204 w 6400800"/>
                <a:gd name="connsiteY1265" fmla="*/ 158591 h 514350"/>
                <a:gd name="connsiteX1266" fmla="*/ 3912394 w 6400800"/>
                <a:gd name="connsiteY1266" fmla="*/ 144304 h 514350"/>
                <a:gd name="connsiteX1267" fmla="*/ 3915251 w 6400800"/>
                <a:gd name="connsiteY1267" fmla="*/ 139541 h 514350"/>
                <a:gd name="connsiteX1268" fmla="*/ 3935254 w 6400800"/>
                <a:gd name="connsiteY1268" fmla="*/ 110966 h 514350"/>
                <a:gd name="connsiteX1269" fmla="*/ 3912394 w 6400800"/>
                <a:gd name="connsiteY1269" fmla="*/ 136684 h 514350"/>
                <a:gd name="connsiteX1270" fmla="*/ 3910489 w 6400800"/>
                <a:gd name="connsiteY1270" fmla="*/ 138589 h 514350"/>
                <a:gd name="connsiteX1271" fmla="*/ 3906679 w 6400800"/>
                <a:gd name="connsiteY1271" fmla="*/ 128111 h 514350"/>
                <a:gd name="connsiteX1272" fmla="*/ 3898106 w 6400800"/>
                <a:gd name="connsiteY1272" fmla="*/ 102394 h 514350"/>
                <a:gd name="connsiteX1273" fmla="*/ 3902869 w 6400800"/>
                <a:gd name="connsiteY1273" fmla="*/ 129064 h 514350"/>
                <a:gd name="connsiteX1274" fmla="*/ 3905726 w 6400800"/>
                <a:gd name="connsiteY1274" fmla="*/ 143351 h 514350"/>
                <a:gd name="connsiteX1275" fmla="*/ 3905726 w 6400800"/>
                <a:gd name="connsiteY1275" fmla="*/ 143351 h 514350"/>
                <a:gd name="connsiteX1276" fmla="*/ 3887629 w 6400800"/>
                <a:gd name="connsiteY1276" fmla="*/ 167164 h 514350"/>
                <a:gd name="connsiteX1277" fmla="*/ 3866674 w 6400800"/>
                <a:gd name="connsiteY1277" fmla="*/ 195739 h 514350"/>
                <a:gd name="connsiteX1278" fmla="*/ 3862864 w 6400800"/>
                <a:gd name="connsiteY1278" fmla="*/ 182404 h 514350"/>
                <a:gd name="connsiteX1279" fmla="*/ 3854291 w 6400800"/>
                <a:gd name="connsiteY1279" fmla="*/ 155734 h 514350"/>
                <a:gd name="connsiteX1280" fmla="*/ 3859054 w 6400800"/>
                <a:gd name="connsiteY1280" fmla="*/ 183356 h 514350"/>
                <a:gd name="connsiteX1281" fmla="*/ 3862864 w 6400800"/>
                <a:gd name="connsiteY1281" fmla="*/ 202406 h 514350"/>
                <a:gd name="connsiteX1282" fmla="*/ 3858101 w 6400800"/>
                <a:gd name="connsiteY1282" fmla="*/ 209074 h 514350"/>
                <a:gd name="connsiteX1283" fmla="*/ 3853339 w 6400800"/>
                <a:gd name="connsiteY1283" fmla="*/ 216694 h 514350"/>
                <a:gd name="connsiteX1284" fmla="*/ 3849529 w 6400800"/>
                <a:gd name="connsiteY1284" fmla="*/ 195739 h 514350"/>
                <a:gd name="connsiteX1285" fmla="*/ 3852386 w 6400800"/>
                <a:gd name="connsiteY1285" fmla="*/ 178594 h 514350"/>
                <a:gd name="connsiteX1286" fmla="*/ 3855244 w 6400800"/>
                <a:gd name="connsiteY1286" fmla="*/ 158591 h 514350"/>
                <a:gd name="connsiteX1287" fmla="*/ 3848576 w 6400800"/>
                <a:gd name="connsiteY1287" fmla="*/ 177641 h 514350"/>
                <a:gd name="connsiteX1288" fmla="*/ 3841909 w 6400800"/>
                <a:gd name="connsiteY1288" fmla="*/ 199549 h 514350"/>
                <a:gd name="connsiteX1289" fmla="*/ 3838099 w 6400800"/>
                <a:gd name="connsiteY1289" fmla="*/ 212884 h 514350"/>
                <a:gd name="connsiteX1290" fmla="*/ 3835241 w 6400800"/>
                <a:gd name="connsiteY1290" fmla="*/ 225266 h 514350"/>
                <a:gd name="connsiteX1291" fmla="*/ 3834289 w 6400800"/>
                <a:gd name="connsiteY1291" fmla="*/ 222409 h 514350"/>
                <a:gd name="connsiteX1292" fmla="*/ 3825716 w 6400800"/>
                <a:gd name="connsiteY1292" fmla="*/ 209074 h 514350"/>
                <a:gd name="connsiteX1293" fmla="*/ 3809524 w 6400800"/>
                <a:gd name="connsiteY1293" fmla="*/ 184309 h 514350"/>
                <a:gd name="connsiteX1294" fmla="*/ 3821906 w 6400800"/>
                <a:gd name="connsiteY1294" fmla="*/ 210979 h 514350"/>
                <a:gd name="connsiteX1295" fmla="*/ 3828574 w 6400800"/>
                <a:gd name="connsiteY1295" fmla="*/ 224314 h 514350"/>
                <a:gd name="connsiteX1296" fmla="*/ 3832384 w 6400800"/>
                <a:gd name="connsiteY1296" fmla="*/ 234791 h 514350"/>
                <a:gd name="connsiteX1297" fmla="*/ 3828574 w 6400800"/>
                <a:gd name="connsiteY1297" fmla="*/ 254794 h 514350"/>
                <a:gd name="connsiteX1298" fmla="*/ 3825716 w 6400800"/>
                <a:gd name="connsiteY1298" fmla="*/ 259556 h 514350"/>
                <a:gd name="connsiteX1299" fmla="*/ 3820954 w 6400800"/>
                <a:gd name="connsiteY1299" fmla="*/ 269081 h 514350"/>
                <a:gd name="connsiteX1300" fmla="*/ 3820001 w 6400800"/>
                <a:gd name="connsiteY1300" fmla="*/ 267176 h 514350"/>
                <a:gd name="connsiteX1301" fmla="*/ 3804761 w 6400800"/>
                <a:gd name="connsiteY1301" fmla="*/ 249079 h 514350"/>
                <a:gd name="connsiteX1302" fmla="*/ 3817144 w 6400800"/>
                <a:gd name="connsiteY1302" fmla="*/ 270034 h 514350"/>
                <a:gd name="connsiteX1303" fmla="*/ 3819049 w 6400800"/>
                <a:gd name="connsiteY1303" fmla="*/ 272891 h 514350"/>
                <a:gd name="connsiteX1304" fmla="*/ 3806666 w 6400800"/>
                <a:gd name="connsiteY1304" fmla="*/ 294799 h 514350"/>
                <a:gd name="connsiteX1305" fmla="*/ 3806666 w 6400800"/>
                <a:gd name="connsiteY1305" fmla="*/ 294799 h 514350"/>
                <a:gd name="connsiteX1306" fmla="*/ 3803809 w 6400800"/>
                <a:gd name="connsiteY1306" fmla="*/ 290989 h 514350"/>
                <a:gd name="connsiteX1307" fmla="*/ 3802856 w 6400800"/>
                <a:gd name="connsiteY1307" fmla="*/ 287179 h 514350"/>
                <a:gd name="connsiteX1308" fmla="*/ 3799999 w 6400800"/>
                <a:gd name="connsiteY1308" fmla="*/ 276701 h 514350"/>
                <a:gd name="connsiteX1309" fmla="*/ 3795236 w 6400800"/>
                <a:gd name="connsiteY1309" fmla="*/ 260509 h 514350"/>
                <a:gd name="connsiteX1310" fmla="*/ 3790474 w 6400800"/>
                <a:gd name="connsiteY1310" fmla="*/ 246221 h 514350"/>
                <a:gd name="connsiteX1311" fmla="*/ 3791426 w 6400800"/>
                <a:gd name="connsiteY1311" fmla="*/ 260509 h 514350"/>
                <a:gd name="connsiteX1312" fmla="*/ 3792379 w 6400800"/>
                <a:gd name="connsiteY1312" fmla="*/ 273844 h 514350"/>
                <a:gd name="connsiteX1313" fmla="*/ 3787616 w 6400800"/>
                <a:gd name="connsiteY1313" fmla="*/ 268129 h 514350"/>
                <a:gd name="connsiteX1314" fmla="*/ 3777139 w 6400800"/>
                <a:gd name="connsiteY1314" fmla="*/ 255746 h 514350"/>
                <a:gd name="connsiteX1315" fmla="*/ 3773329 w 6400800"/>
                <a:gd name="connsiteY1315" fmla="*/ 246221 h 514350"/>
                <a:gd name="connsiteX1316" fmla="*/ 3764756 w 6400800"/>
                <a:gd name="connsiteY1316" fmla="*/ 224314 h 514350"/>
                <a:gd name="connsiteX1317" fmla="*/ 3769519 w 6400800"/>
                <a:gd name="connsiteY1317" fmla="*/ 247174 h 514350"/>
                <a:gd name="connsiteX1318" fmla="*/ 3776186 w 6400800"/>
                <a:gd name="connsiteY1318" fmla="*/ 273844 h 514350"/>
                <a:gd name="connsiteX1319" fmla="*/ 3781901 w 6400800"/>
                <a:gd name="connsiteY1319" fmla="*/ 299561 h 514350"/>
                <a:gd name="connsiteX1320" fmla="*/ 3760946 w 6400800"/>
                <a:gd name="connsiteY1320" fmla="*/ 234791 h 514350"/>
                <a:gd name="connsiteX1321" fmla="*/ 3755231 w 6400800"/>
                <a:gd name="connsiteY1321" fmla="*/ 218599 h 514350"/>
                <a:gd name="connsiteX1322" fmla="*/ 3759041 w 6400800"/>
                <a:gd name="connsiteY1322" fmla="*/ 211931 h 514350"/>
                <a:gd name="connsiteX1323" fmla="*/ 3754279 w 6400800"/>
                <a:gd name="connsiteY1323" fmla="*/ 217646 h 514350"/>
                <a:gd name="connsiteX1324" fmla="*/ 3750469 w 6400800"/>
                <a:gd name="connsiteY1324" fmla="*/ 208121 h 514350"/>
                <a:gd name="connsiteX1325" fmla="*/ 3752374 w 6400800"/>
                <a:gd name="connsiteY1325" fmla="*/ 197644 h 514350"/>
                <a:gd name="connsiteX1326" fmla="*/ 3748564 w 6400800"/>
                <a:gd name="connsiteY1326" fmla="*/ 205264 h 514350"/>
                <a:gd name="connsiteX1327" fmla="*/ 3734276 w 6400800"/>
                <a:gd name="connsiteY1327" fmla="*/ 167164 h 514350"/>
                <a:gd name="connsiteX1328" fmla="*/ 3742849 w 6400800"/>
                <a:gd name="connsiteY1328" fmla="*/ 217646 h 514350"/>
                <a:gd name="connsiteX1329" fmla="*/ 3736181 w 6400800"/>
                <a:gd name="connsiteY1329" fmla="*/ 236696 h 514350"/>
                <a:gd name="connsiteX1330" fmla="*/ 3735229 w 6400800"/>
                <a:gd name="connsiteY1330" fmla="*/ 238601 h 514350"/>
                <a:gd name="connsiteX1331" fmla="*/ 3730466 w 6400800"/>
                <a:gd name="connsiteY1331" fmla="*/ 245269 h 514350"/>
                <a:gd name="connsiteX1332" fmla="*/ 3726656 w 6400800"/>
                <a:gd name="connsiteY1332" fmla="*/ 236696 h 514350"/>
                <a:gd name="connsiteX1333" fmla="*/ 3726656 w 6400800"/>
                <a:gd name="connsiteY1333" fmla="*/ 232886 h 514350"/>
                <a:gd name="connsiteX1334" fmla="*/ 3725704 w 6400800"/>
                <a:gd name="connsiteY1334" fmla="*/ 214789 h 514350"/>
                <a:gd name="connsiteX1335" fmla="*/ 3722846 w 6400800"/>
                <a:gd name="connsiteY1335" fmla="*/ 230029 h 514350"/>
                <a:gd name="connsiteX1336" fmla="*/ 3721894 w 6400800"/>
                <a:gd name="connsiteY1336" fmla="*/ 229076 h 514350"/>
                <a:gd name="connsiteX1337" fmla="*/ 3721894 w 6400800"/>
                <a:gd name="connsiteY1337" fmla="*/ 229076 h 514350"/>
                <a:gd name="connsiteX1338" fmla="*/ 3725704 w 6400800"/>
                <a:gd name="connsiteY1338" fmla="*/ 190976 h 514350"/>
                <a:gd name="connsiteX1339" fmla="*/ 3727609 w 6400800"/>
                <a:gd name="connsiteY1339" fmla="*/ 172879 h 514350"/>
                <a:gd name="connsiteX1340" fmla="*/ 3730466 w 6400800"/>
                <a:gd name="connsiteY1340" fmla="*/ 155734 h 514350"/>
                <a:gd name="connsiteX1341" fmla="*/ 3734276 w 6400800"/>
                <a:gd name="connsiteY1341" fmla="*/ 128111 h 514350"/>
                <a:gd name="connsiteX1342" fmla="*/ 3737134 w 6400800"/>
                <a:gd name="connsiteY1342" fmla="*/ 104299 h 514350"/>
                <a:gd name="connsiteX1343" fmla="*/ 3730466 w 6400800"/>
                <a:gd name="connsiteY1343" fmla="*/ 127159 h 514350"/>
                <a:gd name="connsiteX1344" fmla="*/ 3722846 w 6400800"/>
                <a:gd name="connsiteY1344" fmla="*/ 153829 h 514350"/>
                <a:gd name="connsiteX1345" fmla="*/ 3718084 w 6400800"/>
                <a:gd name="connsiteY1345" fmla="*/ 170021 h 514350"/>
                <a:gd name="connsiteX1346" fmla="*/ 3714274 w 6400800"/>
                <a:gd name="connsiteY1346" fmla="*/ 188119 h 514350"/>
                <a:gd name="connsiteX1347" fmla="*/ 3710464 w 6400800"/>
                <a:gd name="connsiteY1347" fmla="*/ 208121 h 514350"/>
                <a:gd name="connsiteX1348" fmla="*/ 3710464 w 6400800"/>
                <a:gd name="connsiteY1348" fmla="*/ 207169 h 514350"/>
                <a:gd name="connsiteX1349" fmla="*/ 3691414 w 6400800"/>
                <a:gd name="connsiteY1349" fmla="*/ 174784 h 514350"/>
                <a:gd name="connsiteX1350" fmla="*/ 3677126 w 6400800"/>
                <a:gd name="connsiteY1350" fmla="*/ 150971 h 514350"/>
                <a:gd name="connsiteX1351" fmla="*/ 3678079 w 6400800"/>
                <a:gd name="connsiteY1351" fmla="*/ 137636 h 514350"/>
                <a:gd name="connsiteX1352" fmla="*/ 3675221 w 6400800"/>
                <a:gd name="connsiteY1352" fmla="*/ 149066 h 514350"/>
                <a:gd name="connsiteX1353" fmla="*/ 3674269 w 6400800"/>
                <a:gd name="connsiteY1353" fmla="*/ 147161 h 514350"/>
                <a:gd name="connsiteX1354" fmla="*/ 3675221 w 6400800"/>
                <a:gd name="connsiteY1354" fmla="*/ 150019 h 514350"/>
                <a:gd name="connsiteX1355" fmla="*/ 3672364 w 6400800"/>
                <a:gd name="connsiteY1355" fmla="*/ 164306 h 514350"/>
                <a:gd name="connsiteX1356" fmla="*/ 3665696 w 6400800"/>
                <a:gd name="connsiteY1356" fmla="*/ 194786 h 514350"/>
                <a:gd name="connsiteX1357" fmla="*/ 3662839 w 6400800"/>
                <a:gd name="connsiteY1357" fmla="*/ 209074 h 514350"/>
                <a:gd name="connsiteX1358" fmla="*/ 3661886 w 6400800"/>
                <a:gd name="connsiteY1358" fmla="*/ 210026 h 514350"/>
                <a:gd name="connsiteX1359" fmla="*/ 3658076 w 6400800"/>
                <a:gd name="connsiteY1359" fmla="*/ 216694 h 514350"/>
                <a:gd name="connsiteX1360" fmla="*/ 3658076 w 6400800"/>
                <a:gd name="connsiteY1360" fmla="*/ 174784 h 514350"/>
                <a:gd name="connsiteX1361" fmla="*/ 3645694 w 6400800"/>
                <a:gd name="connsiteY1361" fmla="*/ 239554 h 514350"/>
                <a:gd name="connsiteX1362" fmla="*/ 3644741 w 6400800"/>
                <a:gd name="connsiteY1362" fmla="*/ 246221 h 514350"/>
                <a:gd name="connsiteX1363" fmla="*/ 3643789 w 6400800"/>
                <a:gd name="connsiteY1363" fmla="*/ 249079 h 514350"/>
                <a:gd name="connsiteX1364" fmla="*/ 3640931 w 6400800"/>
                <a:gd name="connsiteY1364" fmla="*/ 259556 h 514350"/>
                <a:gd name="connsiteX1365" fmla="*/ 3633311 w 6400800"/>
                <a:gd name="connsiteY1365" fmla="*/ 243364 h 514350"/>
                <a:gd name="connsiteX1366" fmla="*/ 3639979 w 6400800"/>
                <a:gd name="connsiteY1366" fmla="*/ 265271 h 514350"/>
                <a:gd name="connsiteX1367" fmla="*/ 3637121 w 6400800"/>
                <a:gd name="connsiteY1367" fmla="*/ 275749 h 514350"/>
                <a:gd name="connsiteX1368" fmla="*/ 3627596 w 6400800"/>
                <a:gd name="connsiteY1368" fmla="*/ 261461 h 514350"/>
                <a:gd name="connsiteX1369" fmla="*/ 3635216 w 6400800"/>
                <a:gd name="connsiteY1369" fmla="*/ 280511 h 514350"/>
                <a:gd name="connsiteX1370" fmla="*/ 3635216 w 6400800"/>
                <a:gd name="connsiteY1370" fmla="*/ 281464 h 514350"/>
                <a:gd name="connsiteX1371" fmla="*/ 3630454 w 6400800"/>
                <a:gd name="connsiteY1371" fmla="*/ 309086 h 514350"/>
                <a:gd name="connsiteX1372" fmla="*/ 3627596 w 6400800"/>
                <a:gd name="connsiteY1372" fmla="*/ 332899 h 514350"/>
                <a:gd name="connsiteX1373" fmla="*/ 3620929 w 6400800"/>
                <a:gd name="connsiteY1373" fmla="*/ 312896 h 514350"/>
                <a:gd name="connsiteX1374" fmla="*/ 3620929 w 6400800"/>
                <a:gd name="connsiteY1374" fmla="*/ 309086 h 514350"/>
                <a:gd name="connsiteX1375" fmla="*/ 3619976 w 6400800"/>
                <a:gd name="connsiteY1375" fmla="*/ 310991 h 514350"/>
                <a:gd name="connsiteX1376" fmla="*/ 3619024 w 6400800"/>
                <a:gd name="connsiteY1376" fmla="*/ 308134 h 514350"/>
                <a:gd name="connsiteX1377" fmla="*/ 3622834 w 6400800"/>
                <a:gd name="connsiteY1377" fmla="*/ 272891 h 514350"/>
                <a:gd name="connsiteX1378" fmla="*/ 3626644 w 6400800"/>
                <a:gd name="connsiteY1378" fmla="*/ 221456 h 514350"/>
                <a:gd name="connsiteX1379" fmla="*/ 3630454 w 6400800"/>
                <a:gd name="connsiteY1379" fmla="*/ 211931 h 514350"/>
                <a:gd name="connsiteX1380" fmla="*/ 3626644 w 6400800"/>
                <a:gd name="connsiteY1380" fmla="*/ 216694 h 514350"/>
                <a:gd name="connsiteX1381" fmla="*/ 3626644 w 6400800"/>
                <a:gd name="connsiteY1381" fmla="*/ 214789 h 514350"/>
                <a:gd name="connsiteX1382" fmla="*/ 3626644 w 6400800"/>
                <a:gd name="connsiteY1382" fmla="*/ 192881 h 514350"/>
                <a:gd name="connsiteX1383" fmla="*/ 3622834 w 6400800"/>
                <a:gd name="connsiteY1383" fmla="*/ 214789 h 514350"/>
                <a:gd name="connsiteX1384" fmla="*/ 3620929 w 6400800"/>
                <a:gd name="connsiteY1384" fmla="*/ 226219 h 514350"/>
                <a:gd name="connsiteX1385" fmla="*/ 3620929 w 6400800"/>
                <a:gd name="connsiteY1385" fmla="*/ 227171 h 514350"/>
                <a:gd name="connsiteX1386" fmla="*/ 3609499 w 6400800"/>
                <a:gd name="connsiteY1386" fmla="*/ 243364 h 514350"/>
                <a:gd name="connsiteX1387" fmla="*/ 3603784 w 6400800"/>
                <a:gd name="connsiteY1387" fmla="*/ 251936 h 514350"/>
                <a:gd name="connsiteX1388" fmla="*/ 3613309 w 6400800"/>
                <a:gd name="connsiteY1388" fmla="*/ 225266 h 514350"/>
                <a:gd name="connsiteX1389" fmla="*/ 3619024 w 6400800"/>
                <a:gd name="connsiteY1389" fmla="*/ 208121 h 514350"/>
                <a:gd name="connsiteX1390" fmla="*/ 3624739 w 6400800"/>
                <a:gd name="connsiteY1390" fmla="*/ 192881 h 514350"/>
                <a:gd name="connsiteX1391" fmla="*/ 3634264 w 6400800"/>
                <a:gd name="connsiteY1391" fmla="*/ 168116 h 514350"/>
                <a:gd name="connsiteX1392" fmla="*/ 3642836 w 6400800"/>
                <a:gd name="connsiteY1392" fmla="*/ 146209 h 514350"/>
                <a:gd name="connsiteX1393" fmla="*/ 3631406 w 6400800"/>
                <a:gd name="connsiteY1393" fmla="*/ 166211 h 514350"/>
                <a:gd name="connsiteX1394" fmla="*/ 3618071 w 6400800"/>
                <a:gd name="connsiteY1394" fmla="*/ 189071 h 514350"/>
                <a:gd name="connsiteX1395" fmla="*/ 3610451 w 6400800"/>
                <a:gd name="connsiteY1395" fmla="*/ 203359 h 514350"/>
                <a:gd name="connsiteX1396" fmla="*/ 3602831 w 6400800"/>
                <a:gd name="connsiteY1396" fmla="*/ 219551 h 514350"/>
                <a:gd name="connsiteX1397" fmla="*/ 3588544 w 6400800"/>
                <a:gd name="connsiteY1397" fmla="*/ 250031 h 514350"/>
                <a:gd name="connsiteX1398" fmla="*/ 3588544 w 6400800"/>
                <a:gd name="connsiteY1398" fmla="*/ 242411 h 514350"/>
                <a:gd name="connsiteX1399" fmla="*/ 3585686 w 6400800"/>
                <a:gd name="connsiteY1399" fmla="*/ 256699 h 514350"/>
                <a:gd name="connsiteX1400" fmla="*/ 3585686 w 6400800"/>
                <a:gd name="connsiteY1400" fmla="*/ 257651 h 514350"/>
                <a:gd name="connsiteX1401" fmla="*/ 3579971 w 6400800"/>
                <a:gd name="connsiteY1401" fmla="*/ 270986 h 514350"/>
                <a:gd name="connsiteX1402" fmla="*/ 3573304 w 6400800"/>
                <a:gd name="connsiteY1402" fmla="*/ 282416 h 514350"/>
                <a:gd name="connsiteX1403" fmla="*/ 3568541 w 6400800"/>
                <a:gd name="connsiteY1403" fmla="*/ 263366 h 514350"/>
                <a:gd name="connsiteX1404" fmla="*/ 3564731 w 6400800"/>
                <a:gd name="connsiteY1404" fmla="*/ 248126 h 514350"/>
                <a:gd name="connsiteX1405" fmla="*/ 3564731 w 6400800"/>
                <a:gd name="connsiteY1405" fmla="*/ 248126 h 514350"/>
                <a:gd name="connsiteX1406" fmla="*/ 3562826 w 6400800"/>
                <a:gd name="connsiteY1406" fmla="*/ 237649 h 514350"/>
                <a:gd name="connsiteX1407" fmla="*/ 3561874 w 6400800"/>
                <a:gd name="connsiteY1407" fmla="*/ 233839 h 514350"/>
                <a:gd name="connsiteX1408" fmla="*/ 3566636 w 6400800"/>
                <a:gd name="connsiteY1408" fmla="*/ 227171 h 514350"/>
                <a:gd name="connsiteX1409" fmla="*/ 3561874 w 6400800"/>
                <a:gd name="connsiteY1409" fmla="*/ 230981 h 514350"/>
                <a:gd name="connsiteX1410" fmla="*/ 3559016 w 6400800"/>
                <a:gd name="connsiteY1410" fmla="*/ 218599 h 514350"/>
                <a:gd name="connsiteX1411" fmla="*/ 3559016 w 6400800"/>
                <a:gd name="connsiteY1411" fmla="*/ 231934 h 514350"/>
                <a:gd name="connsiteX1412" fmla="*/ 3554254 w 6400800"/>
                <a:gd name="connsiteY1412" fmla="*/ 220504 h 514350"/>
                <a:gd name="connsiteX1413" fmla="*/ 3569494 w 6400800"/>
                <a:gd name="connsiteY1413" fmla="*/ 197644 h 514350"/>
                <a:gd name="connsiteX1414" fmla="*/ 3585686 w 6400800"/>
                <a:gd name="connsiteY1414" fmla="*/ 174784 h 514350"/>
                <a:gd name="connsiteX1415" fmla="*/ 3600926 w 6400800"/>
                <a:gd name="connsiteY1415" fmla="*/ 154781 h 514350"/>
                <a:gd name="connsiteX1416" fmla="*/ 3582829 w 6400800"/>
                <a:gd name="connsiteY1416" fmla="*/ 171926 h 514350"/>
                <a:gd name="connsiteX1417" fmla="*/ 3562826 w 6400800"/>
                <a:gd name="connsiteY1417" fmla="*/ 192881 h 514350"/>
                <a:gd name="connsiteX1418" fmla="*/ 3549491 w 6400800"/>
                <a:gd name="connsiteY1418" fmla="*/ 209074 h 514350"/>
                <a:gd name="connsiteX1419" fmla="*/ 3542824 w 6400800"/>
                <a:gd name="connsiteY1419" fmla="*/ 193834 h 514350"/>
                <a:gd name="connsiteX1420" fmla="*/ 3546634 w 6400800"/>
                <a:gd name="connsiteY1420" fmla="*/ 212884 h 514350"/>
                <a:gd name="connsiteX1421" fmla="*/ 3539966 w 6400800"/>
                <a:gd name="connsiteY1421" fmla="*/ 222409 h 514350"/>
                <a:gd name="connsiteX1422" fmla="*/ 3539014 w 6400800"/>
                <a:gd name="connsiteY1422" fmla="*/ 223361 h 514350"/>
                <a:gd name="connsiteX1423" fmla="*/ 3539014 w 6400800"/>
                <a:gd name="connsiteY1423" fmla="*/ 210979 h 514350"/>
                <a:gd name="connsiteX1424" fmla="*/ 3539014 w 6400800"/>
                <a:gd name="connsiteY1424" fmla="*/ 184309 h 514350"/>
                <a:gd name="connsiteX1425" fmla="*/ 3539014 w 6400800"/>
                <a:gd name="connsiteY1425" fmla="*/ 173831 h 514350"/>
                <a:gd name="connsiteX1426" fmla="*/ 3540919 w 6400800"/>
                <a:gd name="connsiteY1426" fmla="*/ 170021 h 514350"/>
                <a:gd name="connsiteX1427" fmla="*/ 3539014 w 6400800"/>
                <a:gd name="connsiteY1427" fmla="*/ 172879 h 514350"/>
                <a:gd name="connsiteX1428" fmla="*/ 3539014 w 6400800"/>
                <a:gd name="connsiteY1428" fmla="*/ 162401 h 514350"/>
                <a:gd name="connsiteX1429" fmla="*/ 3537109 w 6400800"/>
                <a:gd name="connsiteY1429" fmla="*/ 176689 h 514350"/>
                <a:gd name="connsiteX1430" fmla="*/ 3527584 w 6400800"/>
                <a:gd name="connsiteY1430" fmla="*/ 190976 h 514350"/>
                <a:gd name="connsiteX1431" fmla="*/ 3511391 w 6400800"/>
                <a:gd name="connsiteY1431" fmla="*/ 214789 h 514350"/>
                <a:gd name="connsiteX1432" fmla="*/ 3510439 w 6400800"/>
                <a:gd name="connsiteY1432" fmla="*/ 215741 h 514350"/>
                <a:gd name="connsiteX1433" fmla="*/ 3508534 w 6400800"/>
                <a:gd name="connsiteY1433" fmla="*/ 201454 h 514350"/>
                <a:gd name="connsiteX1434" fmla="*/ 3505676 w 6400800"/>
                <a:gd name="connsiteY1434" fmla="*/ 180499 h 514350"/>
                <a:gd name="connsiteX1435" fmla="*/ 3504724 w 6400800"/>
                <a:gd name="connsiteY1435" fmla="*/ 202406 h 514350"/>
                <a:gd name="connsiteX1436" fmla="*/ 3503771 w 6400800"/>
                <a:gd name="connsiteY1436" fmla="*/ 226219 h 514350"/>
                <a:gd name="connsiteX1437" fmla="*/ 3500914 w 6400800"/>
                <a:gd name="connsiteY1437" fmla="*/ 230981 h 514350"/>
                <a:gd name="connsiteX1438" fmla="*/ 3491389 w 6400800"/>
                <a:gd name="connsiteY1438" fmla="*/ 247174 h 514350"/>
                <a:gd name="connsiteX1439" fmla="*/ 3483769 w 6400800"/>
                <a:gd name="connsiteY1439" fmla="*/ 230029 h 514350"/>
                <a:gd name="connsiteX1440" fmla="*/ 3469481 w 6400800"/>
                <a:gd name="connsiteY1440" fmla="*/ 200501 h 514350"/>
                <a:gd name="connsiteX1441" fmla="*/ 3471386 w 6400800"/>
                <a:gd name="connsiteY1441" fmla="*/ 190976 h 514350"/>
                <a:gd name="connsiteX1442" fmla="*/ 3477101 w 6400800"/>
                <a:gd name="connsiteY1442" fmla="*/ 167164 h 514350"/>
                <a:gd name="connsiteX1443" fmla="*/ 3482816 w 6400800"/>
                <a:gd name="connsiteY1443" fmla="*/ 146209 h 514350"/>
                <a:gd name="connsiteX1444" fmla="*/ 3492341 w 6400800"/>
                <a:gd name="connsiteY1444" fmla="*/ 111919 h 514350"/>
                <a:gd name="connsiteX1445" fmla="*/ 3499961 w 6400800"/>
                <a:gd name="connsiteY1445" fmla="*/ 82391 h 514350"/>
                <a:gd name="connsiteX1446" fmla="*/ 3488531 w 6400800"/>
                <a:gd name="connsiteY1446" fmla="*/ 110966 h 514350"/>
                <a:gd name="connsiteX1447" fmla="*/ 3476149 w 6400800"/>
                <a:gd name="connsiteY1447" fmla="*/ 144304 h 514350"/>
                <a:gd name="connsiteX1448" fmla="*/ 3468529 w 6400800"/>
                <a:gd name="connsiteY1448" fmla="*/ 164306 h 514350"/>
                <a:gd name="connsiteX1449" fmla="*/ 3461861 w 6400800"/>
                <a:gd name="connsiteY1449" fmla="*/ 185261 h 514350"/>
                <a:gd name="connsiteX1450" fmla="*/ 3452336 w 6400800"/>
                <a:gd name="connsiteY1450" fmla="*/ 168116 h 514350"/>
                <a:gd name="connsiteX1451" fmla="*/ 3460909 w 6400800"/>
                <a:gd name="connsiteY1451" fmla="*/ 189071 h 514350"/>
                <a:gd name="connsiteX1452" fmla="*/ 3450431 w 6400800"/>
                <a:gd name="connsiteY1452" fmla="*/ 225266 h 514350"/>
                <a:gd name="connsiteX1453" fmla="*/ 3441859 w 6400800"/>
                <a:gd name="connsiteY1453" fmla="*/ 210026 h 514350"/>
                <a:gd name="connsiteX1454" fmla="*/ 3442811 w 6400800"/>
                <a:gd name="connsiteY1454" fmla="*/ 208121 h 514350"/>
                <a:gd name="connsiteX1455" fmla="*/ 3445669 w 6400800"/>
                <a:gd name="connsiteY1455" fmla="*/ 190976 h 514350"/>
                <a:gd name="connsiteX1456" fmla="*/ 3439001 w 6400800"/>
                <a:gd name="connsiteY1456" fmla="*/ 205264 h 514350"/>
                <a:gd name="connsiteX1457" fmla="*/ 3439001 w 6400800"/>
                <a:gd name="connsiteY1457" fmla="*/ 205264 h 514350"/>
                <a:gd name="connsiteX1458" fmla="*/ 3438049 w 6400800"/>
                <a:gd name="connsiteY1458" fmla="*/ 165259 h 514350"/>
                <a:gd name="connsiteX1459" fmla="*/ 3437096 w 6400800"/>
                <a:gd name="connsiteY1459" fmla="*/ 135731 h 514350"/>
                <a:gd name="connsiteX1460" fmla="*/ 3435191 w 6400800"/>
                <a:gd name="connsiteY1460" fmla="*/ 112871 h 514350"/>
                <a:gd name="connsiteX1461" fmla="*/ 3433286 w 6400800"/>
                <a:gd name="connsiteY1461" fmla="*/ 92869 h 514350"/>
                <a:gd name="connsiteX1462" fmla="*/ 3431381 w 6400800"/>
                <a:gd name="connsiteY1462" fmla="*/ 112871 h 514350"/>
                <a:gd name="connsiteX1463" fmla="*/ 3428524 w 6400800"/>
                <a:gd name="connsiteY1463" fmla="*/ 149066 h 514350"/>
                <a:gd name="connsiteX1464" fmla="*/ 3428524 w 6400800"/>
                <a:gd name="connsiteY1464" fmla="*/ 150019 h 514350"/>
                <a:gd name="connsiteX1465" fmla="*/ 3426619 w 6400800"/>
                <a:gd name="connsiteY1465" fmla="*/ 131921 h 514350"/>
                <a:gd name="connsiteX1466" fmla="*/ 3423761 w 6400800"/>
                <a:gd name="connsiteY1466" fmla="*/ 113824 h 514350"/>
                <a:gd name="connsiteX1467" fmla="*/ 3422809 w 6400800"/>
                <a:gd name="connsiteY1467" fmla="*/ 131921 h 514350"/>
                <a:gd name="connsiteX1468" fmla="*/ 3420904 w 6400800"/>
                <a:gd name="connsiteY1468" fmla="*/ 174784 h 514350"/>
                <a:gd name="connsiteX1469" fmla="*/ 3412331 w 6400800"/>
                <a:gd name="connsiteY1469" fmla="*/ 162401 h 514350"/>
                <a:gd name="connsiteX1470" fmla="*/ 3398044 w 6400800"/>
                <a:gd name="connsiteY1470" fmla="*/ 141446 h 514350"/>
                <a:gd name="connsiteX1471" fmla="*/ 3401854 w 6400800"/>
                <a:gd name="connsiteY1471" fmla="*/ 123349 h 514350"/>
                <a:gd name="connsiteX1472" fmla="*/ 3396139 w 6400800"/>
                <a:gd name="connsiteY1472" fmla="*/ 139541 h 514350"/>
                <a:gd name="connsiteX1473" fmla="*/ 3391376 w 6400800"/>
                <a:gd name="connsiteY1473" fmla="*/ 132874 h 514350"/>
                <a:gd name="connsiteX1474" fmla="*/ 3395186 w 6400800"/>
                <a:gd name="connsiteY1474" fmla="*/ 139541 h 514350"/>
                <a:gd name="connsiteX1475" fmla="*/ 3395186 w 6400800"/>
                <a:gd name="connsiteY1475" fmla="*/ 141446 h 514350"/>
                <a:gd name="connsiteX1476" fmla="*/ 3382804 w 6400800"/>
                <a:gd name="connsiteY1476" fmla="*/ 177641 h 514350"/>
                <a:gd name="connsiteX1477" fmla="*/ 3382804 w 6400800"/>
                <a:gd name="connsiteY1477" fmla="*/ 172879 h 514350"/>
                <a:gd name="connsiteX1478" fmla="*/ 3381851 w 6400800"/>
                <a:gd name="connsiteY1478" fmla="*/ 150971 h 514350"/>
                <a:gd name="connsiteX1479" fmla="*/ 3378994 w 6400800"/>
                <a:gd name="connsiteY1479" fmla="*/ 172879 h 514350"/>
                <a:gd name="connsiteX1480" fmla="*/ 3376136 w 6400800"/>
                <a:gd name="connsiteY1480" fmla="*/ 197644 h 514350"/>
                <a:gd name="connsiteX1481" fmla="*/ 3365659 w 6400800"/>
                <a:gd name="connsiteY1481" fmla="*/ 234791 h 514350"/>
                <a:gd name="connsiteX1482" fmla="*/ 3358991 w 6400800"/>
                <a:gd name="connsiteY1482" fmla="*/ 253841 h 514350"/>
                <a:gd name="connsiteX1483" fmla="*/ 3358039 w 6400800"/>
                <a:gd name="connsiteY1483" fmla="*/ 257651 h 514350"/>
                <a:gd name="connsiteX1484" fmla="*/ 3351371 w 6400800"/>
                <a:gd name="connsiteY1484" fmla="*/ 239554 h 514350"/>
                <a:gd name="connsiteX1485" fmla="*/ 3351371 w 6400800"/>
                <a:gd name="connsiteY1485" fmla="*/ 237649 h 514350"/>
                <a:gd name="connsiteX1486" fmla="*/ 3351371 w 6400800"/>
                <a:gd name="connsiteY1486" fmla="*/ 238601 h 514350"/>
                <a:gd name="connsiteX1487" fmla="*/ 3344704 w 6400800"/>
                <a:gd name="connsiteY1487" fmla="*/ 221456 h 514350"/>
                <a:gd name="connsiteX1488" fmla="*/ 3349466 w 6400800"/>
                <a:gd name="connsiteY1488" fmla="*/ 248126 h 514350"/>
                <a:gd name="connsiteX1489" fmla="*/ 3347561 w 6400800"/>
                <a:gd name="connsiteY1489" fmla="*/ 265271 h 514350"/>
                <a:gd name="connsiteX1490" fmla="*/ 3345656 w 6400800"/>
                <a:gd name="connsiteY1490" fmla="*/ 283369 h 514350"/>
                <a:gd name="connsiteX1491" fmla="*/ 3343751 w 6400800"/>
                <a:gd name="connsiteY1491" fmla="*/ 287179 h 514350"/>
                <a:gd name="connsiteX1492" fmla="*/ 3339941 w 6400800"/>
                <a:gd name="connsiteY1492" fmla="*/ 274796 h 514350"/>
                <a:gd name="connsiteX1493" fmla="*/ 3325654 w 6400800"/>
                <a:gd name="connsiteY1493" fmla="*/ 231934 h 514350"/>
                <a:gd name="connsiteX1494" fmla="*/ 3328511 w 6400800"/>
                <a:gd name="connsiteY1494" fmla="*/ 216694 h 514350"/>
                <a:gd name="connsiteX1495" fmla="*/ 3338036 w 6400800"/>
                <a:gd name="connsiteY1495" fmla="*/ 170974 h 514350"/>
                <a:gd name="connsiteX1496" fmla="*/ 3346609 w 6400800"/>
                <a:gd name="connsiteY1496" fmla="*/ 136684 h 514350"/>
                <a:gd name="connsiteX1497" fmla="*/ 3355181 w 6400800"/>
                <a:gd name="connsiteY1497" fmla="*/ 106204 h 514350"/>
                <a:gd name="connsiteX1498" fmla="*/ 3342799 w 6400800"/>
                <a:gd name="connsiteY1498" fmla="*/ 134779 h 514350"/>
                <a:gd name="connsiteX1499" fmla="*/ 3330416 w 6400800"/>
                <a:gd name="connsiteY1499" fmla="*/ 169069 h 514350"/>
                <a:gd name="connsiteX1500" fmla="*/ 3318986 w 6400800"/>
                <a:gd name="connsiteY1500" fmla="*/ 208121 h 514350"/>
                <a:gd name="connsiteX1501" fmla="*/ 3318986 w 6400800"/>
                <a:gd name="connsiteY1501" fmla="*/ 203359 h 514350"/>
                <a:gd name="connsiteX1502" fmla="*/ 3320891 w 6400800"/>
                <a:gd name="connsiteY1502" fmla="*/ 195739 h 514350"/>
                <a:gd name="connsiteX1503" fmla="*/ 3327559 w 6400800"/>
                <a:gd name="connsiteY1503" fmla="*/ 170021 h 514350"/>
                <a:gd name="connsiteX1504" fmla="*/ 3332321 w 6400800"/>
                <a:gd name="connsiteY1504" fmla="*/ 147161 h 514350"/>
                <a:gd name="connsiteX1505" fmla="*/ 3323749 w 6400800"/>
                <a:gd name="connsiteY1505" fmla="*/ 169069 h 514350"/>
                <a:gd name="connsiteX1506" fmla="*/ 3322796 w 6400800"/>
                <a:gd name="connsiteY1506" fmla="*/ 171926 h 514350"/>
                <a:gd name="connsiteX1507" fmla="*/ 3323749 w 6400800"/>
                <a:gd name="connsiteY1507" fmla="*/ 165259 h 514350"/>
                <a:gd name="connsiteX1508" fmla="*/ 3328511 w 6400800"/>
                <a:gd name="connsiteY1508" fmla="*/ 147161 h 514350"/>
                <a:gd name="connsiteX1509" fmla="*/ 3336131 w 6400800"/>
                <a:gd name="connsiteY1509" fmla="*/ 116681 h 514350"/>
                <a:gd name="connsiteX1510" fmla="*/ 3341846 w 6400800"/>
                <a:gd name="connsiteY1510" fmla="*/ 90011 h 514350"/>
                <a:gd name="connsiteX1511" fmla="*/ 3332321 w 6400800"/>
                <a:gd name="connsiteY1511" fmla="*/ 114776 h 514350"/>
                <a:gd name="connsiteX1512" fmla="*/ 3321844 w 6400800"/>
                <a:gd name="connsiteY1512" fmla="*/ 143351 h 514350"/>
                <a:gd name="connsiteX1513" fmla="*/ 3315176 w 6400800"/>
                <a:gd name="connsiteY1513" fmla="*/ 161449 h 514350"/>
                <a:gd name="connsiteX1514" fmla="*/ 3308509 w 6400800"/>
                <a:gd name="connsiteY1514" fmla="*/ 181451 h 514350"/>
                <a:gd name="connsiteX1515" fmla="*/ 3308509 w 6400800"/>
                <a:gd name="connsiteY1515" fmla="*/ 181451 h 514350"/>
                <a:gd name="connsiteX1516" fmla="*/ 3306604 w 6400800"/>
                <a:gd name="connsiteY1516" fmla="*/ 176689 h 514350"/>
                <a:gd name="connsiteX1517" fmla="*/ 3292316 w 6400800"/>
                <a:gd name="connsiteY1517" fmla="*/ 140494 h 514350"/>
                <a:gd name="connsiteX1518" fmla="*/ 3305651 w 6400800"/>
                <a:gd name="connsiteY1518" fmla="*/ 189071 h 514350"/>
                <a:gd name="connsiteX1519" fmla="*/ 3294221 w 6400800"/>
                <a:gd name="connsiteY1519" fmla="*/ 227171 h 514350"/>
                <a:gd name="connsiteX1520" fmla="*/ 3293269 w 6400800"/>
                <a:gd name="connsiteY1520" fmla="*/ 230981 h 514350"/>
                <a:gd name="connsiteX1521" fmla="*/ 3292316 w 6400800"/>
                <a:gd name="connsiteY1521" fmla="*/ 229076 h 514350"/>
                <a:gd name="connsiteX1522" fmla="*/ 3277076 w 6400800"/>
                <a:gd name="connsiteY1522" fmla="*/ 197644 h 514350"/>
                <a:gd name="connsiteX1523" fmla="*/ 3291364 w 6400800"/>
                <a:gd name="connsiteY1523" fmla="*/ 237649 h 514350"/>
                <a:gd name="connsiteX1524" fmla="*/ 3285649 w 6400800"/>
                <a:gd name="connsiteY1524" fmla="*/ 257651 h 514350"/>
                <a:gd name="connsiteX1525" fmla="*/ 3277076 w 6400800"/>
                <a:gd name="connsiteY1525" fmla="*/ 246221 h 514350"/>
                <a:gd name="connsiteX1526" fmla="*/ 3274219 w 6400800"/>
                <a:gd name="connsiteY1526" fmla="*/ 242411 h 514350"/>
                <a:gd name="connsiteX1527" fmla="*/ 3277076 w 6400800"/>
                <a:gd name="connsiteY1527" fmla="*/ 199549 h 514350"/>
                <a:gd name="connsiteX1528" fmla="*/ 3272314 w 6400800"/>
                <a:gd name="connsiteY1528" fmla="*/ 217646 h 514350"/>
                <a:gd name="connsiteX1529" fmla="*/ 3268504 w 6400800"/>
                <a:gd name="connsiteY1529" fmla="*/ 234791 h 514350"/>
                <a:gd name="connsiteX1530" fmla="*/ 3258979 w 6400800"/>
                <a:gd name="connsiteY1530" fmla="*/ 223361 h 514350"/>
                <a:gd name="connsiteX1531" fmla="*/ 3241834 w 6400800"/>
                <a:gd name="connsiteY1531" fmla="*/ 203359 h 514350"/>
                <a:gd name="connsiteX1532" fmla="*/ 3256121 w 6400800"/>
                <a:gd name="connsiteY1532" fmla="*/ 226219 h 514350"/>
                <a:gd name="connsiteX1533" fmla="*/ 3266599 w 6400800"/>
                <a:gd name="connsiteY1533" fmla="*/ 243364 h 514350"/>
                <a:gd name="connsiteX1534" fmla="*/ 3260884 w 6400800"/>
                <a:gd name="connsiteY1534" fmla="*/ 265271 h 514350"/>
                <a:gd name="connsiteX1535" fmla="*/ 3256121 w 6400800"/>
                <a:gd name="connsiteY1535" fmla="*/ 288131 h 514350"/>
                <a:gd name="connsiteX1536" fmla="*/ 3256121 w 6400800"/>
                <a:gd name="connsiteY1536" fmla="*/ 287179 h 514350"/>
                <a:gd name="connsiteX1537" fmla="*/ 3256121 w 6400800"/>
                <a:gd name="connsiteY1537" fmla="*/ 289084 h 514350"/>
                <a:gd name="connsiteX1538" fmla="*/ 3255169 w 6400800"/>
                <a:gd name="connsiteY1538" fmla="*/ 293846 h 514350"/>
                <a:gd name="connsiteX1539" fmla="*/ 3253264 w 6400800"/>
                <a:gd name="connsiteY1539" fmla="*/ 290036 h 514350"/>
                <a:gd name="connsiteX1540" fmla="*/ 3254216 w 6400800"/>
                <a:gd name="connsiteY1540" fmla="*/ 280511 h 514350"/>
                <a:gd name="connsiteX1541" fmla="*/ 3252311 w 6400800"/>
                <a:gd name="connsiteY1541" fmla="*/ 287179 h 514350"/>
                <a:gd name="connsiteX1542" fmla="*/ 3246596 w 6400800"/>
                <a:gd name="connsiteY1542" fmla="*/ 276701 h 514350"/>
                <a:gd name="connsiteX1543" fmla="*/ 3251359 w 6400800"/>
                <a:gd name="connsiteY1543" fmla="*/ 290989 h 514350"/>
                <a:gd name="connsiteX1544" fmla="*/ 3249454 w 6400800"/>
                <a:gd name="connsiteY1544" fmla="*/ 298609 h 514350"/>
                <a:gd name="connsiteX1545" fmla="*/ 3247549 w 6400800"/>
                <a:gd name="connsiteY1545" fmla="*/ 304324 h 514350"/>
                <a:gd name="connsiteX1546" fmla="*/ 3246596 w 6400800"/>
                <a:gd name="connsiteY1546" fmla="*/ 301466 h 514350"/>
                <a:gd name="connsiteX1547" fmla="*/ 3246596 w 6400800"/>
                <a:gd name="connsiteY1547" fmla="*/ 306229 h 514350"/>
                <a:gd name="connsiteX1548" fmla="*/ 3243739 w 6400800"/>
                <a:gd name="connsiteY1548" fmla="*/ 317659 h 514350"/>
                <a:gd name="connsiteX1549" fmla="*/ 3239929 w 6400800"/>
                <a:gd name="connsiteY1549" fmla="*/ 304324 h 514350"/>
                <a:gd name="connsiteX1550" fmla="*/ 3242786 w 6400800"/>
                <a:gd name="connsiteY1550" fmla="*/ 296704 h 514350"/>
                <a:gd name="connsiteX1551" fmla="*/ 3238976 w 6400800"/>
                <a:gd name="connsiteY1551" fmla="*/ 302419 h 514350"/>
                <a:gd name="connsiteX1552" fmla="*/ 3236119 w 6400800"/>
                <a:gd name="connsiteY1552" fmla="*/ 293846 h 514350"/>
                <a:gd name="connsiteX1553" fmla="*/ 3235166 w 6400800"/>
                <a:gd name="connsiteY1553" fmla="*/ 290036 h 514350"/>
                <a:gd name="connsiteX1554" fmla="*/ 3241834 w 6400800"/>
                <a:gd name="connsiteY1554" fmla="*/ 273844 h 514350"/>
                <a:gd name="connsiteX1555" fmla="*/ 3249454 w 6400800"/>
                <a:gd name="connsiteY1555" fmla="*/ 256699 h 514350"/>
                <a:gd name="connsiteX1556" fmla="*/ 3256121 w 6400800"/>
                <a:gd name="connsiteY1556" fmla="*/ 242411 h 514350"/>
                <a:gd name="connsiteX1557" fmla="*/ 3245644 w 6400800"/>
                <a:gd name="connsiteY1557" fmla="*/ 254794 h 514350"/>
                <a:gd name="connsiteX1558" fmla="*/ 3235166 w 6400800"/>
                <a:gd name="connsiteY1558" fmla="*/ 270034 h 514350"/>
                <a:gd name="connsiteX1559" fmla="*/ 3230404 w 6400800"/>
                <a:gd name="connsiteY1559" fmla="*/ 276701 h 514350"/>
                <a:gd name="connsiteX1560" fmla="*/ 3229451 w 6400800"/>
                <a:gd name="connsiteY1560" fmla="*/ 272891 h 514350"/>
                <a:gd name="connsiteX1561" fmla="*/ 3222784 w 6400800"/>
                <a:gd name="connsiteY1561" fmla="*/ 253841 h 514350"/>
                <a:gd name="connsiteX1562" fmla="*/ 3218021 w 6400800"/>
                <a:gd name="connsiteY1562" fmla="*/ 241459 h 514350"/>
                <a:gd name="connsiteX1563" fmla="*/ 3218021 w 6400800"/>
                <a:gd name="connsiteY1563" fmla="*/ 236696 h 514350"/>
                <a:gd name="connsiteX1564" fmla="*/ 3222784 w 6400800"/>
                <a:gd name="connsiteY1564" fmla="*/ 206216 h 514350"/>
                <a:gd name="connsiteX1565" fmla="*/ 3229451 w 6400800"/>
                <a:gd name="connsiteY1565" fmla="*/ 166211 h 514350"/>
                <a:gd name="connsiteX1566" fmla="*/ 3235166 w 6400800"/>
                <a:gd name="connsiteY1566" fmla="*/ 135731 h 514350"/>
                <a:gd name="connsiteX1567" fmla="*/ 3239929 w 6400800"/>
                <a:gd name="connsiteY1567" fmla="*/ 109061 h 514350"/>
                <a:gd name="connsiteX1568" fmla="*/ 3231356 w 6400800"/>
                <a:gd name="connsiteY1568" fmla="*/ 134779 h 514350"/>
                <a:gd name="connsiteX1569" fmla="*/ 3212306 w 6400800"/>
                <a:gd name="connsiteY1569" fmla="*/ 204311 h 514350"/>
                <a:gd name="connsiteX1570" fmla="*/ 3209449 w 6400800"/>
                <a:gd name="connsiteY1570" fmla="*/ 215741 h 514350"/>
                <a:gd name="connsiteX1571" fmla="*/ 3204686 w 6400800"/>
                <a:gd name="connsiteY1571" fmla="*/ 204311 h 514350"/>
                <a:gd name="connsiteX1572" fmla="*/ 3203734 w 6400800"/>
                <a:gd name="connsiteY1572" fmla="*/ 175736 h 514350"/>
                <a:gd name="connsiteX1573" fmla="*/ 3200876 w 6400800"/>
                <a:gd name="connsiteY1573" fmla="*/ 206216 h 514350"/>
                <a:gd name="connsiteX1574" fmla="*/ 3196114 w 6400800"/>
                <a:gd name="connsiteY1574" fmla="*/ 240506 h 514350"/>
                <a:gd name="connsiteX1575" fmla="*/ 3195161 w 6400800"/>
                <a:gd name="connsiteY1575" fmla="*/ 243364 h 514350"/>
                <a:gd name="connsiteX1576" fmla="*/ 3196114 w 6400800"/>
                <a:gd name="connsiteY1576" fmla="*/ 217646 h 514350"/>
                <a:gd name="connsiteX1577" fmla="*/ 3198019 w 6400800"/>
                <a:gd name="connsiteY1577" fmla="*/ 180499 h 514350"/>
                <a:gd name="connsiteX1578" fmla="*/ 3199924 w 6400800"/>
                <a:gd name="connsiteY1578" fmla="*/ 151924 h 514350"/>
                <a:gd name="connsiteX1579" fmla="*/ 3200876 w 6400800"/>
                <a:gd name="connsiteY1579" fmla="*/ 127159 h 514350"/>
                <a:gd name="connsiteX1580" fmla="*/ 3195161 w 6400800"/>
                <a:gd name="connsiteY1580" fmla="*/ 151924 h 514350"/>
                <a:gd name="connsiteX1581" fmla="*/ 3184684 w 6400800"/>
                <a:gd name="connsiteY1581" fmla="*/ 217646 h 514350"/>
                <a:gd name="connsiteX1582" fmla="*/ 3181826 w 6400800"/>
                <a:gd name="connsiteY1582" fmla="*/ 235744 h 514350"/>
                <a:gd name="connsiteX1583" fmla="*/ 3179921 w 6400800"/>
                <a:gd name="connsiteY1583" fmla="*/ 231934 h 514350"/>
                <a:gd name="connsiteX1584" fmla="*/ 3179921 w 6400800"/>
                <a:gd name="connsiteY1584" fmla="*/ 224314 h 514350"/>
                <a:gd name="connsiteX1585" fmla="*/ 3178969 w 6400800"/>
                <a:gd name="connsiteY1585" fmla="*/ 230029 h 514350"/>
                <a:gd name="connsiteX1586" fmla="*/ 3177064 w 6400800"/>
                <a:gd name="connsiteY1586" fmla="*/ 227171 h 514350"/>
                <a:gd name="connsiteX1587" fmla="*/ 3178016 w 6400800"/>
                <a:gd name="connsiteY1587" fmla="*/ 231934 h 514350"/>
                <a:gd name="connsiteX1588" fmla="*/ 3174206 w 6400800"/>
                <a:gd name="connsiteY1588" fmla="*/ 250984 h 514350"/>
                <a:gd name="connsiteX1589" fmla="*/ 3170396 w 6400800"/>
                <a:gd name="connsiteY1589" fmla="*/ 277654 h 514350"/>
                <a:gd name="connsiteX1590" fmla="*/ 3169444 w 6400800"/>
                <a:gd name="connsiteY1590" fmla="*/ 275749 h 514350"/>
                <a:gd name="connsiteX1591" fmla="*/ 3163729 w 6400800"/>
                <a:gd name="connsiteY1591" fmla="*/ 215741 h 514350"/>
                <a:gd name="connsiteX1592" fmla="*/ 3162776 w 6400800"/>
                <a:gd name="connsiteY1592" fmla="*/ 207169 h 514350"/>
                <a:gd name="connsiteX1593" fmla="*/ 3163729 w 6400800"/>
                <a:gd name="connsiteY1593" fmla="*/ 203359 h 514350"/>
                <a:gd name="connsiteX1594" fmla="*/ 3174206 w 6400800"/>
                <a:gd name="connsiteY1594" fmla="*/ 132874 h 514350"/>
                <a:gd name="connsiteX1595" fmla="*/ 3178016 w 6400800"/>
                <a:gd name="connsiteY1595" fmla="*/ 106204 h 514350"/>
                <a:gd name="connsiteX1596" fmla="*/ 3170396 w 6400800"/>
                <a:gd name="connsiteY1596" fmla="*/ 131921 h 514350"/>
                <a:gd name="connsiteX1597" fmla="*/ 3158014 w 6400800"/>
                <a:gd name="connsiteY1597" fmla="*/ 177641 h 514350"/>
                <a:gd name="connsiteX1598" fmla="*/ 3154204 w 6400800"/>
                <a:gd name="connsiteY1598" fmla="*/ 159544 h 514350"/>
                <a:gd name="connsiteX1599" fmla="*/ 3149441 w 6400800"/>
                <a:gd name="connsiteY1599" fmla="*/ 134779 h 514350"/>
                <a:gd name="connsiteX1600" fmla="*/ 3143726 w 6400800"/>
                <a:gd name="connsiteY1600" fmla="*/ 112871 h 514350"/>
                <a:gd name="connsiteX1601" fmla="*/ 3133249 w 6400800"/>
                <a:gd name="connsiteY1601" fmla="*/ 77629 h 514350"/>
                <a:gd name="connsiteX1602" fmla="*/ 3122771 w 6400800"/>
                <a:gd name="connsiteY1602" fmla="*/ 47149 h 514350"/>
                <a:gd name="connsiteX1603" fmla="*/ 3129439 w 6400800"/>
                <a:gd name="connsiteY1603" fmla="*/ 78581 h 514350"/>
                <a:gd name="connsiteX1604" fmla="*/ 3136106 w 6400800"/>
                <a:gd name="connsiteY1604" fmla="*/ 114776 h 514350"/>
                <a:gd name="connsiteX1605" fmla="*/ 3139916 w 6400800"/>
                <a:gd name="connsiteY1605" fmla="*/ 136684 h 514350"/>
                <a:gd name="connsiteX1606" fmla="*/ 3142774 w 6400800"/>
                <a:gd name="connsiteY1606" fmla="*/ 161449 h 514350"/>
                <a:gd name="connsiteX1607" fmla="*/ 3147536 w 6400800"/>
                <a:gd name="connsiteY1607" fmla="*/ 213836 h 514350"/>
                <a:gd name="connsiteX1608" fmla="*/ 3146584 w 6400800"/>
                <a:gd name="connsiteY1608" fmla="*/ 217646 h 514350"/>
                <a:gd name="connsiteX1609" fmla="*/ 3143726 w 6400800"/>
                <a:gd name="connsiteY1609" fmla="*/ 210026 h 514350"/>
                <a:gd name="connsiteX1610" fmla="*/ 3138964 w 6400800"/>
                <a:gd name="connsiteY1610" fmla="*/ 196691 h 514350"/>
                <a:gd name="connsiteX1611" fmla="*/ 3134201 w 6400800"/>
                <a:gd name="connsiteY1611" fmla="*/ 179546 h 514350"/>
                <a:gd name="connsiteX1612" fmla="*/ 3126581 w 6400800"/>
                <a:gd name="connsiteY1612" fmla="*/ 155734 h 514350"/>
                <a:gd name="connsiteX1613" fmla="*/ 3129439 w 6400800"/>
                <a:gd name="connsiteY1613" fmla="*/ 172879 h 514350"/>
                <a:gd name="connsiteX1614" fmla="*/ 3118961 w 6400800"/>
                <a:gd name="connsiteY1614" fmla="*/ 150019 h 514350"/>
                <a:gd name="connsiteX1615" fmla="*/ 3112294 w 6400800"/>
                <a:gd name="connsiteY1615" fmla="*/ 136684 h 514350"/>
                <a:gd name="connsiteX1616" fmla="*/ 3102769 w 6400800"/>
                <a:gd name="connsiteY1616" fmla="*/ 113824 h 514350"/>
                <a:gd name="connsiteX1617" fmla="*/ 3090386 w 6400800"/>
                <a:gd name="connsiteY1617" fmla="*/ 87154 h 514350"/>
                <a:gd name="connsiteX1618" fmla="*/ 3099911 w 6400800"/>
                <a:gd name="connsiteY1618" fmla="*/ 114776 h 514350"/>
                <a:gd name="connsiteX1619" fmla="*/ 3109436 w 6400800"/>
                <a:gd name="connsiteY1619" fmla="*/ 146209 h 514350"/>
                <a:gd name="connsiteX1620" fmla="*/ 3115151 w 6400800"/>
                <a:gd name="connsiteY1620" fmla="*/ 167164 h 514350"/>
                <a:gd name="connsiteX1621" fmla="*/ 3109436 w 6400800"/>
                <a:gd name="connsiteY1621" fmla="*/ 155734 h 514350"/>
                <a:gd name="connsiteX1622" fmla="*/ 3116104 w 6400800"/>
                <a:gd name="connsiteY1622" fmla="*/ 176689 h 514350"/>
                <a:gd name="connsiteX1623" fmla="*/ 3121819 w 6400800"/>
                <a:gd name="connsiteY1623" fmla="*/ 194786 h 514350"/>
                <a:gd name="connsiteX1624" fmla="*/ 3125629 w 6400800"/>
                <a:gd name="connsiteY1624" fmla="*/ 213836 h 514350"/>
                <a:gd name="connsiteX1625" fmla="*/ 3123724 w 6400800"/>
                <a:gd name="connsiteY1625" fmla="*/ 215741 h 514350"/>
                <a:gd name="connsiteX1626" fmla="*/ 3122771 w 6400800"/>
                <a:gd name="connsiteY1626" fmla="*/ 210979 h 514350"/>
                <a:gd name="connsiteX1627" fmla="*/ 3122771 w 6400800"/>
                <a:gd name="connsiteY1627" fmla="*/ 216694 h 514350"/>
                <a:gd name="connsiteX1628" fmla="*/ 3113246 w 6400800"/>
                <a:gd name="connsiteY1628" fmla="*/ 228124 h 514350"/>
                <a:gd name="connsiteX1629" fmla="*/ 3113246 w 6400800"/>
                <a:gd name="connsiteY1629" fmla="*/ 228124 h 514350"/>
                <a:gd name="connsiteX1630" fmla="*/ 3110389 w 6400800"/>
                <a:gd name="connsiteY1630" fmla="*/ 191929 h 514350"/>
                <a:gd name="connsiteX1631" fmla="*/ 3108484 w 6400800"/>
                <a:gd name="connsiteY1631" fmla="*/ 171926 h 514350"/>
                <a:gd name="connsiteX1632" fmla="*/ 3106579 w 6400800"/>
                <a:gd name="connsiteY1632" fmla="*/ 192881 h 514350"/>
                <a:gd name="connsiteX1633" fmla="*/ 3104674 w 6400800"/>
                <a:gd name="connsiteY1633" fmla="*/ 228124 h 514350"/>
                <a:gd name="connsiteX1634" fmla="*/ 3104674 w 6400800"/>
                <a:gd name="connsiteY1634" fmla="*/ 227171 h 514350"/>
                <a:gd name="connsiteX1635" fmla="*/ 3097054 w 6400800"/>
                <a:gd name="connsiteY1635" fmla="*/ 208121 h 514350"/>
                <a:gd name="connsiteX1636" fmla="*/ 3100864 w 6400800"/>
                <a:gd name="connsiteY1636" fmla="*/ 228124 h 514350"/>
                <a:gd name="connsiteX1637" fmla="*/ 3103721 w 6400800"/>
                <a:gd name="connsiteY1637" fmla="*/ 244316 h 514350"/>
                <a:gd name="connsiteX1638" fmla="*/ 3096101 w 6400800"/>
                <a:gd name="connsiteY1638" fmla="*/ 255746 h 514350"/>
                <a:gd name="connsiteX1639" fmla="*/ 3087529 w 6400800"/>
                <a:gd name="connsiteY1639" fmla="*/ 270034 h 514350"/>
                <a:gd name="connsiteX1640" fmla="*/ 3082766 w 6400800"/>
                <a:gd name="connsiteY1640" fmla="*/ 252889 h 514350"/>
                <a:gd name="connsiteX1641" fmla="*/ 3077051 w 6400800"/>
                <a:gd name="connsiteY1641" fmla="*/ 233839 h 514350"/>
                <a:gd name="connsiteX1642" fmla="*/ 3078956 w 6400800"/>
                <a:gd name="connsiteY1642" fmla="*/ 252889 h 514350"/>
                <a:gd name="connsiteX1643" fmla="*/ 3079909 w 6400800"/>
                <a:gd name="connsiteY1643" fmla="*/ 264319 h 514350"/>
                <a:gd name="connsiteX1644" fmla="*/ 3077051 w 6400800"/>
                <a:gd name="connsiteY1644" fmla="*/ 255746 h 514350"/>
                <a:gd name="connsiteX1645" fmla="*/ 3074194 w 6400800"/>
                <a:gd name="connsiteY1645" fmla="*/ 248126 h 514350"/>
                <a:gd name="connsiteX1646" fmla="*/ 3074194 w 6400800"/>
                <a:gd name="connsiteY1646" fmla="*/ 242411 h 514350"/>
                <a:gd name="connsiteX1647" fmla="*/ 3075146 w 6400800"/>
                <a:gd name="connsiteY1647" fmla="*/ 229076 h 514350"/>
                <a:gd name="connsiteX1648" fmla="*/ 3077051 w 6400800"/>
                <a:gd name="connsiteY1648" fmla="*/ 220504 h 514350"/>
                <a:gd name="connsiteX1649" fmla="*/ 3086576 w 6400800"/>
                <a:gd name="connsiteY1649" fmla="*/ 189071 h 514350"/>
                <a:gd name="connsiteX1650" fmla="*/ 3096101 w 6400800"/>
                <a:gd name="connsiteY1650" fmla="*/ 161449 h 514350"/>
                <a:gd name="connsiteX1651" fmla="*/ 3083719 w 6400800"/>
                <a:gd name="connsiteY1651" fmla="*/ 188119 h 514350"/>
                <a:gd name="connsiteX1652" fmla="*/ 3071336 w 6400800"/>
                <a:gd name="connsiteY1652" fmla="*/ 218599 h 514350"/>
                <a:gd name="connsiteX1653" fmla="*/ 3068479 w 6400800"/>
                <a:gd name="connsiteY1653" fmla="*/ 224314 h 514350"/>
                <a:gd name="connsiteX1654" fmla="*/ 3068479 w 6400800"/>
                <a:gd name="connsiteY1654" fmla="*/ 216694 h 514350"/>
                <a:gd name="connsiteX1655" fmla="*/ 3069431 w 6400800"/>
                <a:gd name="connsiteY1655" fmla="*/ 209074 h 514350"/>
                <a:gd name="connsiteX1656" fmla="*/ 3072289 w 6400800"/>
                <a:gd name="connsiteY1656" fmla="*/ 181451 h 514350"/>
                <a:gd name="connsiteX1657" fmla="*/ 3073241 w 6400800"/>
                <a:gd name="connsiteY1657" fmla="*/ 157639 h 514350"/>
                <a:gd name="connsiteX1658" fmla="*/ 3067526 w 6400800"/>
                <a:gd name="connsiteY1658" fmla="*/ 180499 h 514350"/>
                <a:gd name="connsiteX1659" fmla="*/ 3066574 w 6400800"/>
                <a:gd name="connsiteY1659" fmla="*/ 183356 h 514350"/>
                <a:gd name="connsiteX1660" fmla="*/ 3064669 w 6400800"/>
                <a:gd name="connsiteY1660" fmla="*/ 148114 h 514350"/>
                <a:gd name="connsiteX1661" fmla="*/ 3064669 w 6400800"/>
                <a:gd name="connsiteY1661" fmla="*/ 145256 h 514350"/>
                <a:gd name="connsiteX1662" fmla="*/ 3064669 w 6400800"/>
                <a:gd name="connsiteY1662" fmla="*/ 146209 h 514350"/>
                <a:gd name="connsiteX1663" fmla="*/ 3063716 w 6400800"/>
                <a:gd name="connsiteY1663" fmla="*/ 131921 h 514350"/>
                <a:gd name="connsiteX1664" fmla="*/ 3058954 w 6400800"/>
                <a:gd name="connsiteY1664" fmla="*/ 174784 h 514350"/>
                <a:gd name="connsiteX1665" fmla="*/ 3056096 w 6400800"/>
                <a:gd name="connsiteY1665" fmla="*/ 190976 h 514350"/>
                <a:gd name="connsiteX1666" fmla="*/ 3054191 w 6400800"/>
                <a:gd name="connsiteY1666" fmla="*/ 201454 h 514350"/>
                <a:gd name="connsiteX1667" fmla="*/ 3049429 w 6400800"/>
                <a:gd name="connsiteY1667" fmla="*/ 189071 h 514350"/>
                <a:gd name="connsiteX1668" fmla="*/ 3049429 w 6400800"/>
                <a:gd name="connsiteY1668" fmla="*/ 188119 h 514350"/>
                <a:gd name="connsiteX1669" fmla="*/ 3056096 w 6400800"/>
                <a:gd name="connsiteY1669" fmla="*/ 151924 h 514350"/>
                <a:gd name="connsiteX1670" fmla="*/ 3062764 w 6400800"/>
                <a:gd name="connsiteY1670" fmla="*/ 120491 h 514350"/>
                <a:gd name="connsiteX1671" fmla="*/ 3052286 w 6400800"/>
                <a:gd name="connsiteY1671" fmla="*/ 150971 h 514350"/>
                <a:gd name="connsiteX1672" fmla="*/ 3041809 w 6400800"/>
                <a:gd name="connsiteY1672" fmla="*/ 186214 h 514350"/>
                <a:gd name="connsiteX1673" fmla="*/ 3036094 w 6400800"/>
                <a:gd name="connsiteY1673" fmla="*/ 208121 h 514350"/>
                <a:gd name="connsiteX1674" fmla="*/ 3034189 w 6400800"/>
                <a:gd name="connsiteY1674" fmla="*/ 215741 h 514350"/>
                <a:gd name="connsiteX1675" fmla="*/ 3032284 w 6400800"/>
                <a:gd name="connsiteY1675" fmla="*/ 205264 h 514350"/>
                <a:gd name="connsiteX1676" fmla="*/ 3048476 w 6400800"/>
                <a:gd name="connsiteY1676" fmla="*/ 148114 h 514350"/>
                <a:gd name="connsiteX1677" fmla="*/ 3057049 w 6400800"/>
                <a:gd name="connsiteY1677" fmla="*/ 123349 h 514350"/>
                <a:gd name="connsiteX1678" fmla="*/ 3054191 w 6400800"/>
                <a:gd name="connsiteY1678" fmla="*/ 129064 h 514350"/>
                <a:gd name="connsiteX1679" fmla="*/ 3045619 w 6400800"/>
                <a:gd name="connsiteY1679" fmla="*/ 146209 h 514350"/>
                <a:gd name="connsiteX1680" fmla="*/ 3029426 w 6400800"/>
                <a:gd name="connsiteY1680" fmla="*/ 184309 h 514350"/>
                <a:gd name="connsiteX1681" fmla="*/ 3029426 w 6400800"/>
                <a:gd name="connsiteY1681" fmla="*/ 167164 h 514350"/>
                <a:gd name="connsiteX1682" fmla="*/ 3030379 w 6400800"/>
                <a:gd name="connsiteY1682" fmla="*/ 140494 h 514350"/>
                <a:gd name="connsiteX1683" fmla="*/ 3025616 w 6400800"/>
                <a:gd name="connsiteY1683" fmla="*/ 166211 h 514350"/>
                <a:gd name="connsiteX1684" fmla="*/ 3022759 w 6400800"/>
                <a:gd name="connsiteY1684" fmla="*/ 196691 h 514350"/>
                <a:gd name="connsiteX1685" fmla="*/ 3022759 w 6400800"/>
                <a:gd name="connsiteY1685" fmla="*/ 202406 h 514350"/>
                <a:gd name="connsiteX1686" fmla="*/ 3019901 w 6400800"/>
                <a:gd name="connsiteY1686" fmla="*/ 210979 h 514350"/>
                <a:gd name="connsiteX1687" fmla="*/ 3011329 w 6400800"/>
                <a:gd name="connsiteY1687" fmla="*/ 234791 h 514350"/>
                <a:gd name="connsiteX1688" fmla="*/ 3007519 w 6400800"/>
                <a:gd name="connsiteY1688" fmla="*/ 226219 h 514350"/>
                <a:gd name="connsiteX1689" fmla="*/ 3011329 w 6400800"/>
                <a:gd name="connsiteY1689" fmla="*/ 215741 h 514350"/>
                <a:gd name="connsiteX1690" fmla="*/ 3006566 w 6400800"/>
                <a:gd name="connsiteY1690" fmla="*/ 222409 h 514350"/>
                <a:gd name="connsiteX1691" fmla="*/ 3001804 w 6400800"/>
                <a:gd name="connsiteY1691" fmla="*/ 202406 h 514350"/>
                <a:gd name="connsiteX1692" fmla="*/ 3000851 w 6400800"/>
                <a:gd name="connsiteY1692" fmla="*/ 197644 h 514350"/>
                <a:gd name="connsiteX1693" fmla="*/ 3003709 w 6400800"/>
                <a:gd name="connsiteY1693" fmla="*/ 189071 h 514350"/>
                <a:gd name="connsiteX1694" fmla="*/ 3011329 w 6400800"/>
                <a:gd name="connsiteY1694" fmla="*/ 164306 h 514350"/>
                <a:gd name="connsiteX1695" fmla="*/ 3018949 w 6400800"/>
                <a:gd name="connsiteY1695" fmla="*/ 142399 h 514350"/>
                <a:gd name="connsiteX1696" fmla="*/ 3007519 w 6400800"/>
                <a:gd name="connsiteY1696" fmla="*/ 162401 h 514350"/>
                <a:gd name="connsiteX1697" fmla="*/ 2997994 w 6400800"/>
                <a:gd name="connsiteY1697" fmla="*/ 182404 h 514350"/>
                <a:gd name="connsiteX1698" fmla="*/ 2995136 w 6400800"/>
                <a:gd name="connsiteY1698" fmla="*/ 169069 h 514350"/>
                <a:gd name="connsiteX1699" fmla="*/ 3014186 w 6400800"/>
                <a:gd name="connsiteY1699" fmla="*/ 100489 h 514350"/>
                <a:gd name="connsiteX1700" fmla="*/ 3021806 w 6400800"/>
                <a:gd name="connsiteY1700" fmla="*/ 76676 h 514350"/>
                <a:gd name="connsiteX1701" fmla="*/ 3024664 w 6400800"/>
                <a:gd name="connsiteY1701" fmla="*/ 68104 h 514350"/>
                <a:gd name="connsiteX1702" fmla="*/ 3020854 w 6400800"/>
                <a:gd name="connsiteY1702" fmla="*/ 75724 h 514350"/>
                <a:gd name="connsiteX1703" fmla="*/ 3010376 w 6400800"/>
                <a:gd name="connsiteY1703" fmla="*/ 98584 h 514350"/>
                <a:gd name="connsiteX1704" fmla="*/ 2996089 w 6400800"/>
                <a:gd name="connsiteY1704" fmla="*/ 134779 h 514350"/>
                <a:gd name="connsiteX1705" fmla="*/ 2991326 w 6400800"/>
                <a:gd name="connsiteY1705" fmla="*/ 148114 h 514350"/>
                <a:gd name="connsiteX1706" fmla="*/ 2987516 w 6400800"/>
                <a:gd name="connsiteY1706" fmla="*/ 122396 h 514350"/>
                <a:gd name="connsiteX1707" fmla="*/ 2984659 w 6400800"/>
                <a:gd name="connsiteY1707" fmla="*/ 91916 h 514350"/>
                <a:gd name="connsiteX1708" fmla="*/ 2983706 w 6400800"/>
                <a:gd name="connsiteY1708" fmla="*/ 122396 h 514350"/>
                <a:gd name="connsiteX1709" fmla="*/ 2985611 w 6400800"/>
                <a:gd name="connsiteY1709" fmla="*/ 157639 h 514350"/>
                <a:gd name="connsiteX1710" fmla="*/ 2985611 w 6400800"/>
                <a:gd name="connsiteY1710" fmla="*/ 163354 h 514350"/>
                <a:gd name="connsiteX1711" fmla="*/ 2978944 w 6400800"/>
                <a:gd name="connsiteY1711" fmla="*/ 182404 h 514350"/>
                <a:gd name="connsiteX1712" fmla="*/ 2960846 w 6400800"/>
                <a:gd name="connsiteY1712" fmla="*/ 238601 h 514350"/>
                <a:gd name="connsiteX1713" fmla="*/ 2959894 w 6400800"/>
                <a:gd name="connsiteY1713" fmla="*/ 234791 h 514350"/>
                <a:gd name="connsiteX1714" fmla="*/ 2960846 w 6400800"/>
                <a:gd name="connsiteY1714" fmla="*/ 239554 h 514350"/>
                <a:gd name="connsiteX1715" fmla="*/ 2950369 w 6400800"/>
                <a:gd name="connsiteY1715" fmla="*/ 274796 h 514350"/>
                <a:gd name="connsiteX1716" fmla="*/ 2952274 w 6400800"/>
                <a:gd name="connsiteY1716" fmla="*/ 264319 h 514350"/>
                <a:gd name="connsiteX1717" fmla="*/ 2944654 w 6400800"/>
                <a:gd name="connsiteY1717" fmla="*/ 284321 h 514350"/>
                <a:gd name="connsiteX1718" fmla="*/ 2944654 w 6400800"/>
                <a:gd name="connsiteY1718" fmla="*/ 283369 h 514350"/>
                <a:gd name="connsiteX1719" fmla="*/ 2945606 w 6400800"/>
                <a:gd name="connsiteY1719" fmla="*/ 277654 h 514350"/>
                <a:gd name="connsiteX1720" fmla="*/ 2949416 w 6400800"/>
                <a:gd name="connsiteY1720" fmla="*/ 238601 h 514350"/>
                <a:gd name="connsiteX1721" fmla="*/ 2951321 w 6400800"/>
                <a:gd name="connsiteY1721" fmla="*/ 221456 h 514350"/>
                <a:gd name="connsiteX1722" fmla="*/ 2953226 w 6400800"/>
                <a:gd name="connsiteY1722" fmla="*/ 205264 h 514350"/>
                <a:gd name="connsiteX1723" fmla="*/ 2956084 w 6400800"/>
                <a:gd name="connsiteY1723" fmla="*/ 179546 h 514350"/>
                <a:gd name="connsiteX1724" fmla="*/ 2958941 w 6400800"/>
                <a:gd name="connsiteY1724" fmla="*/ 156686 h 514350"/>
                <a:gd name="connsiteX1725" fmla="*/ 2952274 w 6400800"/>
                <a:gd name="connsiteY1725" fmla="*/ 178594 h 514350"/>
                <a:gd name="connsiteX1726" fmla="*/ 2945606 w 6400800"/>
                <a:gd name="connsiteY1726" fmla="*/ 203359 h 514350"/>
                <a:gd name="connsiteX1727" fmla="*/ 2941796 w 6400800"/>
                <a:gd name="connsiteY1727" fmla="*/ 218599 h 514350"/>
                <a:gd name="connsiteX1728" fmla="*/ 2937986 w 6400800"/>
                <a:gd name="connsiteY1728" fmla="*/ 235744 h 514350"/>
                <a:gd name="connsiteX1729" fmla="*/ 2931319 w 6400800"/>
                <a:gd name="connsiteY1729" fmla="*/ 270034 h 514350"/>
                <a:gd name="connsiteX1730" fmla="*/ 2929414 w 6400800"/>
                <a:gd name="connsiteY1730" fmla="*/ 260509 h 514350"/>
                <a:gd name="connsiteX1731" fmla="*/ 2928461 w 6400800"/>
                <a:gd name="connsiteY1731" fmla="*/ 256699 h 514350"/>
                <a:gd name="connsiteX1732" fmla="*/ 2931319 w 6400800"/>
                <a:gd name="connsiteY1732" fmla="*/ 251936 h 514350"/>
                <a:gd name="connsiteX1733" fmla="*/ 2927509 w 6400800"/>
                <a:gd name="connsiteY1733" fmla="*/ 254794 h 514350"/>
                <a:gd name="connsiteX1734" fmla="*/ 2925604 w 6400800"/>
                <a:gd name="connsiteY1734" fmla="*/ 247174 h 514350"/>
                <a:gd name="connsiteX1735" fmla="*/ 2931319 w 6400800"/>
                <a:gd name="connsiteY1735" fmla="*/ 231934 h 514350"/>
                <a:gd name="connsiteX1736" fmla="*/ 2924651 w 6400800"/>
                <a:gd name="connsiteY1736" fmla="*/ 243364 h 514350"/>
                <a:gd name="connsiteX1737" fmla="*/ 2922746 w 6400800"/>
                <a:gd name="connsiteY1737" fmla="*/ 237649 h 514350"/>
                <a:gd name="connsiteX1738" fmla="*/ 2922746 w 6400800"/>
                <a:gd name="connsiteY1738" fmla="*/ 236696 h 514350"/>
                <a:gd name="connsiteX1739" fmla="*/ 2921794 w 6400800"/>
                <a:gd name="connsiteY1739" fmla="*/ 236696 h 514350"/>
                <a:gd name="connsiteX1740" fmla="*/ 2916079 w 6400800"/>
                <a:gd name="connsiteY1740" fmla="*/ 236696 h 514350"/>
                <a:gd name="connsiteX1741" fmla="*/ 2916079 w 6400800"/>
                <a:gd name="connsiteY1741" fmla="*/ 236696 h 514350"/>
                <a:gd name="connsiteX1742" fmla="*/ 2935129 w 6400800"/>
                <a:gd name="connsiteY1742" fmla="*/ 176689 h 514350"/>
                <a:gd name="connsiteX1743" fmla="*/ 2909411 w 6400800"/>
                <a:gd name="connsiteY1743" fmla="*/ 230029 h 514350"/>
                <a:gd name="connsiteX1744" fmla="*/ 2902744 w 6400800"/>
                <a:gd name="connsiteY1744" fmla="*/ 211931 h 514350"/>
                <a:gd name="connsiteX1745" fmla="*/ 2900839 w 6400800"/>
                <a:gd name="connsiteY1745" fmla="*/ 195739 h 514350"/>
                <a:gd name="connsiteX1746" fmla="*/ 2897981 w 6400800"/>
                <a:gd name="connsiteY1746" fmla="*/ 173831 h 514350"/>
                <a:gd name="connsiteX1747" fmla="*/ 2896076 w 6400800"/>
                <a:gd name="connsiteY1747" fmla="*/ 153829 h 514350"/>
                <a:gd name="connsiteX1748" fmla="*/ 2893219 w 6400800"/>
                <a:gd name="connsiteY1748" fmla="*/ 121444 h 514350"/>
                <a:gd name="connsiteX1749" fmla="*/ 2890361 w 6400800"/>
                <a:gd name="connsiteY1749" fmla="*/ 93821 h 514350"/>
                <a:gd name="connsiteX1750" fmla="*/ 2889409 w 6400800"/>
                <a:gd name="connsiteY1750" fmla="*/ 121444 h 514350"/>
                <a:gd name="connsiteX1751" fmla="*/ 2889409 w 6400800"/>
                <a:gd name="connsiteY1751" fmla="*/ 153829 h 514350"/>
                <a:gd name="connsiteX1752" fmla="*/ 2889409 w 6400800"/>
                <a:gd name="connsiteY1752" fmla="*/ 173831 h 514350"/>
                <a:gd name="connsiteX1753" fmla="*/ 2890361 w 6400800"/>
                <a:gd name="connsiteY1753" fmla="*/ 195739 h 514350"/>
                <a:gd name="connsiteX1754" fmla="*/ 2891314 w 6400800"/>
                <a:gd name="connsiteY1754" fmla="*/ 211931 h 514350"/>
                <a:gd name="connsiteX1755" fmla="*/ 2887504 w 6400800"/>
                <a:gd name="connsiteY1755" fmla="*/ 217646 h 514350"/>
                <a:gd name="connsiteX1756" fmla="*/ 2885599 w 6400800"/>
                <a:gd name="connsiteY1756" fmla="*/ 221456 h 514350"/>
                <a:gd name="connsiteX1757" fmla="*/ 2880836 w 6400800"/>
                <a:gd name="connsiteY1757" fmla="*/ 195739 h 514350"/>
                <a:gd name="connsiteX1758" fmla="*/ 2874169 w 6400800"/>
                <a:gd name="connsiteY1758" fmla="*/ 166211 h 514350"/>
                <a:gd name="connsiteX1759" fmla="*/ 2867501 w 6400800"/>
                <a:gd name="connsiteY1759" fmla="*/ 144304 h 514350"/>
                <a:gd name="connsiteX1760" fmla="*/ 2860834 w 6400800"/>
                <a:gd name="connsiteY1760" fmla="*/ 125254 h 514350"/>
                <a:gd name="connsiteX1761" fmla="*/ 2863691 w 6400800"/>
                <a:gd name="connsiteY1761" fmla="*/ 145256 h 514350"/>
                <a:gd name="connsiteX1762" fmla="*/ 2866549 w 6400800"/>
                <a:gd name="connsiteY1762" fmla="*/ 168116 h 514350"/>
                <a:gd name="connsiteX1763" fmla="*/ 2869406 w 6400800"/>
                <a:gd name="connsiteY1763" fmla="*/ 197644 h 514350"/>
                <a:gd name="connsiteX1764" fmla="*/ 2872264 w 6400800"/>
                <a:gd name="connsiteY1764" fmla="*/ 232886 h 514350"/>
                <a:gd name="connsiteX1765" fmla="*/ 2873216 w 6400800"/>
                <a:gd name="connsiteY1765" fmla="*/ 247174 h 514350"/>
                <a:gd name="connsiteX1766" fmla="*/ 2864644 w 6400800"/>
                <a:gd name="connsiteY1766" fmla="*/ 270034 h 514350"/>
                <a:gd name="connsiteX1767" fmla="*/ 2863691 w 6400800"/>
                <a:gd name="connsiteY1767" fmla="*/ 274796 h 514350"/>
                <a:gd name="connsiteX1768" fmla="*/ 2855119 w 6400800"/>
                <a:gd name="connsiteY1768" fmla="*/ 257651 h 514350"/>
                <a:gd name="connsiteX1769" fmla="*/ 2841784 w 6400800"/>
                <a:gd name="connsiteY1769" fmla="*/ 230029 h 514350"/>
                <a:gd name="connsiteX1770" fmla="*/ 2855119 w 6400800"/>
                <a:gd name="connsiteY1770" fmla="*/ 226219 h 514350"/>
                <a:gd name="connsiteX1771" fmla="*/ 2853214 w 6400800"/>
                <a:gd name="connsiteY1771" fmla="*/ 231934 h 514350"/>
                <a:gd name="connsiteX1772" fmla="*/ 2840831 w 6400800"/>
                <a:gd name="connsiteY1772" fmla="*/ 209074 h 514350"/>
                <a:gd name="connsiteX1773" fmla="*/ 2866549 w 6400800"/>
                <a:gd name="connsiteY1773" fmla="*/ 150971 h 514350"/>
                <a:gd name="connsiteX1774" fmla="*/ 2835116 w 6400800"/>
                <a:gd name="connsiteY1774" fmla="*/ 198596 h 514350"/>
                <a:gd name="connsiteX1775" fmla="*/ 2829401 w 6400800"/>
                <a:gd name="connsiteY1775" fmla="*/ 188119 h 514350"/>
                <a:gd name="connsiteX1776" fmla="*/ 2820829 w 6400800"/>
                <a:gd name="connsiteY1776" fmla="*/ 132874 h 514350"/>
                <a:gd name="connsiteX1777" fmla="*/ 2821781 w 6400800"/>
                <a:gd name="connsiteY1777" fmla="*/ 173831 h 514350"/>
                <a:gd name="connsiteX1778" fmla="*/ 2807494 w 6400800"/>
                <a:gd name="connsiteY1778" fmla="*/ 151924 h 514350"/>
                <a:gd name="connsiteX1779" fmla="*/ 2782729 w 6400800"/>
                <a:gd name="connsiteY1779" fmla="*/ 115729 h 514350"/>
                <a:gd name="connsiteX1780" fmla="*/ 2759869 w 6400800"/>
                <a:gd name="connsiteY1780" fmla="*/ 85249 h 514350"/>
                <a:gd name="connsiteX1781" fmla="*/ 2778919 w 6400800"/>
                <a:gd name="connsiteY1781" fmla="*/ 118586 h 514350"/>
                <a:gd name="connsiteX1782" fmla="*/ 2799874 w 6400800"/>
                <a:gd name="connsiteY1782" fmla="*/ 156686 h 514350"/>
                <a:gd name="connsiteX1783" fmla="*/ 2812256 w 6400800"/>
                <a:gd name="connsiteY1783" fmla="*/ 180499 h 514350"/>
                <a:gd name="connsiteX1784" fmla="*/ 2820829 w 6400800"/>
                <a:gd name="connsiteY1784" fmla="*/ 197644 h 514350"/>
                <a:gd name="connsiteX1785" fmla="*/ 2820829 w 6400800"/>
                <a:gd name="connsiteY1785" fmla="*/ 204311 h 514350"/>
                <a:gd name="connsiteX1786" fmla="*/ 2821781 w 6400800"/>
                <a:gd name="connsiteY1786" fmla="*/ 218599 h 514350"/>
                <a:gd name="connsiteX1787" fmla="*/ 2817019 w 6400800"/>
                <a:gd name="connsiteY1787" fmla="*/ 227171 h 514350"/>
                <a:gd name="connsiteX1788" fmla="*/ 2806541 w 6400800"/>
                <a:gd name="connsiteY1788" fmla="*/ 211931 h 514350"/>
                <a:gd name="connsiteX1789" fmla="*/ 2805589 w 6400800"/>
                <a:gd name="connsiteY1789" fmla="*/ 210026 h 514350"/>
                <a:gd name="connsiteX1790" fmla="*/ 2806541 w 6400800"/>
                <a:gd name="connsiteY1790" fmla="*/ 208121 h 514350"/>
                <a:gd name="connsiteX1791" fmla="*/ 2805589 w 6400800"/>
                <a:gd name="connsiteY1791" fmla="*/ 209074 h 514350"/>
                <a:gd name="connsiteX1792" fmla="*/ 2792254 w 6400800"/>
                <a:gd name="connsiteY1792" fmla="*/ 191929 h 514350"/>
                <a:gd name="connsiteX1793" fmla="*/ 2767489 w 6400800"/>
                <a:gd name="connsiteY1793" fmla="*/ 161449 h 514350"/>
                <a:gd name="connsiteX1794" fmla="*/ 2765584 w 6400800"/>
                <a:gd name="connsiteY1794" fmla="*/ 158591 h 514350"/>
                <a:gd name="connsiteX1795" fmla="*/ 2765584 w 6400800"/>
                <a:gd name="connsiteY1795" fmla="*/ 155734 h 514350"/>
                <a:gd name="connsiteX1796" fmla="*/ 2762726 w 6400800"/>
                <a:gd name="connsiteY1796" fmla="*/ 128111 h 514350"/>
                <a:gd name="connsiteX1797" fmla="*/ 2759869 w 6400800"/>
                <a:gd name="connsiteY1797" fmla="*/ 103346 h 514350"/>
                <a:gd name="connsiteX1798" fmla="*/ 2758916 w 6400800"/>
                <a:gd name="connsiteY1798" fmla="*/ 128111 h 514350"/>
                <a:gd name="connsiteX1799" fmla="*/ 2758916 w 6400800"/>
                <a:gd name="connsiteY1799" fmla="*/ 150019 h 514350"/>
                <a:gd name="connsiteX1800" fmla="*/ 2745581 w 6400800"/>
                <a:gd name="connsiteY1800" fmla="*/ 135731 h 514350"/>
                <a:gd name="connsiteX1801" fmla="*/ 2758916 w 6400800"/>
                <a:gd name="connsiteY1801" fmla="*/ 153829 h 514350"/>
                <a:gd name="connsiteX1802" fmla="*/ 2758916 w 6400800"/>
                <a:gd name="connsiteY1802" fmla="*/ 155734 h 514350"/>
                <a:gd name="connsiteX1803" fmla="*/ 2758916 w 6400800"/>
                <a:gd name="connsiteY1803" fmla="*/ 172879 h 514350"/>
                <a:gd name="connsiteX1804" fmla="*/ 2759869 w 6400800"/>
                <a:gd name="connsiteY1804" fmla="*/ 191929 h 514350"/>
                <a:gd name="connsiteX1805" fmla="*/ 2761774 w 6400800"/>
                <a:gd name="connsiteY1805" fmla="*/ 219551 h 514350"/>
                <a:gd name="connsiteX1806" fmla="*/ 2760821 w 6400800"/>
                <a:gd name="connsiteY1806" fmla="*/ 217646 h 514350"/>
                <a:gd name="connsiteX1807" fmla="*/ 2760821 w 6400800"/>
                <a:gd name="connsiteY1807" fmla="*/ 216694 h 514350"/>
                <a:gd name="connsiteX1808" fmla="*/ 2760821 w 6400800"/>
                <a:gd name="connsiteY1808" fmla="*/ 217646 h 514350"/>
                <a:gd name="connsiteX1809" fmla="*/ 2741771 w 6400800"/>
                <a:gd name="connsiteY1809" fmla="*/ 172879 h 514350"/>
                <a:gd name="connsiteX1810" fmla="*/ 2757011 w 6400800"/>
                <a:gd name="connsiteY1810" fmla="*/ 228124 h 514350"/>
                <a:gd name="connsiteX1811" fmla="*/ 2743676 w 6400800"/>
                <a:gd name="connsiteY1811" fmla="*/ 268129 h 514350"/>
                <a:gd name="connsiteX1812" fmla="*/ 2736056 w 6400800"/>
                <a:gd name="connsiteY1812" fmla="*/ 254794 h 514350"/>
                <a:gd name="connsiteX1813" fmla="*/ 2737009 w 6400800"/>
                <a:gd name="connsiteY1813" fmla="*/ 232886 h 514350"/>
                <a:gd name="connsiteX1814" fmla="*/ 2732246 w 6400800"/>
                <a:gd name="connsiteY1814" fmla="*/ 249079 h 514350"/>
                <a:gd name="connsiteX1815" fmla="*/ 2730341 w 6400800"/>
                <a:gd name="connsiteY1815" fmla="*/ 246221 h 514350"/>
                <a:gd name="connsiteX1816" fmla="*/ 2731294 w 6400800"/>
                <a:gd name="connsiteY1816" fmla="*/ 250031 h 514350"/>
                <a:gd name="connsiteX1817" fmla="*/ 2729389 w 6400800"/>
                <a:gd name="connsiteY1817" fmla="*/ 258604 h 514350"/>
                <a:gd name="connsiteX1818" fmla="*/ 2729389 w 6400800"/>
                <a:gd name="connsiteY1818" fmla="*/ 247174 h 514350"/>
                <a:gd name="connsiteX1819" fmla="*/ 2731294 w 6400800"/>
                <a:gd name="connsiteY1819" fmla="*/ 218599 h 514350"/>
                <a:gd name="connsiteX1820" fmla="*/ 2733199 w 6400800"/>
                <a:gd name="connsiteY1820" fmla="*/ 219551 h 514350"/>
                <a:gd name="connsiteX1821" fmla="*/ 2736056 w 6400800"/>
                <a:gd name="connsiteY1821" fmla="*/ 222409 h 514350"/>
                <a:gd name="connsiteX1822" fmla="*/ 2738914 w 6400800"/>
                <a:gd name="connsiteY1822" fmla="*/ 230981 h 514350"/>
                <a:gd name="connsiteX1823" fmla="*/ 2737961 w 6400800"/>
                <a:gd name="connsiteY1823" fmla="*/ 222409 h 514350"/>
                <a:gd name="connsiteX1824" fmla="*/ 2735104 w 6400800"/>
                <a:gd name="connsiteY1824" fmla="*/ 218599 h 514350"/>
                <a:gd name="connsiteX1825" fmla="*/ 2730341 w 6400800"/>
                <a:gd name="connsiteY1825" fmla="*/ 216694 h 514350"/>
                <a:gd name="connsiteX1826" fmla="*/ 2728436 w 6400800"/>
                <a:gd name="connsiteY1826" fmla="*/ 216694 h 514350"/>
                <a:gd name="connsiteX1827" fmla="*/ 2728436 w 6400800"/>
                <a:gd name="connsiteY1827" fmla="*/ 218599 h 514350"/>
                <a:gd name="connsiteX1828" fmla="*/ 2721769 w 6400800"/>
                <a:gd name="connsiteY1828" fmla="*/ 248126 h 514350"/>
                <a:gd name="connsiteX1829" fmla="*/ 2719864 w 6400800"/>
                <a:gd name="connsiteY1829" fmla="*/ 260509 h 514350"/>
                <a:gd name="connsiteX1830" fmla="*/ 2717006 w 6400800"/>
                <a:gd name="connsiteY1830" fmla="*/ 254794 h 514350"/>
                <a:gd name="connsiteX1831" fmla="*/ 2717006 w 6400800"/>
                <a:gd name="connsiteY1831" fmla="*/ 253841 h 514350"/>
                <a:gd name="connsiteX1832" fmla="*/ 2718911 w 6400800"/>
                <a:gd name="connsiteY1832" fmla="*/ 238601 h 514350"/>
                <a:gd name="connsiteX1833" fmla="*/ 2716054 w 6400800"/>
                <a:gd name="connsiteY1833" fmla="*/ 247174 h 514350"/>
                <a:gd name="connsiteX1834" fmla="*/ 2716054 w 6400800"/>
                <a:gd name="connsiteY1834" fmla="*/ 176689 h 514350"/>
                <a:gd name="connsiteX1835" fmla="*/ 2713196 w 6400800"/>
                <a:gd name="connsiteY1835" fmla="*/ 198596 h 514350"/>
                <a:gd name="connsiteX1836" fmla="*/ 2709386 w 6400800"/>
                <a:gd name="connsiteY1836" fmla="*/ 230029 h 514350"/>
                <a:gd name="connsiteX1837" fmla="*/ 2704624 w 6400800"/>
                <a:gd name="connsiteY1837" fmla="*/ 218599 h 514350"/>
                <a:gd name="connsiteX1838" fmla="*/ 2703671 w 6400800"/>
                <a:gd name="connsiteY1838" fmla="*/ 199549 h 514350"/>
                <a:gd name="connsiteX1839" fmla="*/ 2703671 w 6400800"/>
                <a:gd name="connsiteY1839" fmla="*/ 163354 h 514350"/>
                <a:gd name="connsiteX1840" fmla="*/ 2706529 w 6400800"/>
                <a:gd name="connsiteY1840" fmla="*/ 164306 h 514350"/>
                <a:gd name="connsiteX1841" fmla="*/ 2710339 w 6400800"/>
                <a:gd name="connsiteY1841" fmla="*/ 167164 h 514350"/>
                <a:gd name="connsiteX1842" fmla="*/ 2714149 w 6400800"/>
                <a:gd name="connsiteY1842" fmla="*/ 176689 h 514350"/>
                <a:gd name="connsiteX1843" fmla="*/ 2712244 w 6400800"/>
                <a:gd name="connsiteY1843" fmla="*/ 166211 h 514350"/>
                <a:gd name="connsiteX1844" fmla="*/ 2708434 w 6400800"/>
                <a:gd name="connsiteY1844" fmla="*/ 161449 h 514350"/>
                <a:gd name="connsiteX1845" fmla="*/ 2702719 w 6400800"/>
                <a:gd name="connsiteY1845" fmla="*/ 159544 h 514350"/>
                <a:gd name="connsiteX1846" fmla="*/ 2700814 w 6400800"/>
                <a:gd name="connsiteY1846" fmla="*/ 159544 h 514350"/>
                <a:gd name="connsiteX1847" fmla="*/ 2700814 w 6400800"/>
                <a:gd name="connsiteY1847" fmla="*/ 161449 h 514350"/>
                <a:gd name="connsiteX1848" fmla="*/ 2697004 w 6400800"/>
                <a:gd name="connsiteY1848" fmla="*/ 193834 h 514350"/>
                <a:gd name="connsiteX1849" fmla="*/ 2693194 w 6400800"/>
                <a:gd name="connsiteY1849" fmla="*/ 181451 h 514350"/>
                <a:gd name="connsiteX1850" fmla="*/ 2697004 w 6400800"/>
                <a:gd name="connsiteY1850" fmla="*/ 198596 h 514350"/>
                <a:gd name="connsiteX1851" fmla="*/ 2697004 w 6400800"/>
                <a:gd name="connsiteY1851" fmla="*/ 198596 h 514350"/>
                <a:gd name="connsiteX1852" fmla="*/ 2696051 w 6400800"/>
                <a:gd name="connsiteY1852" fmla="*/ 236696 h 514350"/>
                <a:gd name="connsiteX1853" fmla="*/ 2697004 w 6400800"/>
                <a:gd name="connsiteY1853" fmla="*/ 262414 h 514350"/>
                <a:gd name="connsiteX1854" fmla="*/ 2697004 w 6400800"/>
                <a:gd name="connsiteY1854" fmla="*/ 263366 h 514350"/>
                <a:gd name="connsiteX1855" fmla="*/ 2696051 w 6400800"/>
                <a:gd name="connsiteY1855" fmla="*/ 265271 h 514350"/>
                <a:gd name="connsiteX1856" fmla="*/ 2694146 w 6400800"/>
                <a:gd name="connsiteY1856" fmla="*/ 261461 h 514350"/>
                <a:gd name="connsiteX1857" fmla="*/ 2685574 w 6400800"/>
                <a:gd name="connsiteY1857" fmla="*/ 246221 h 514350"/>
                <a:gd name="connsiteX1858" fmla="*/ 2677954 w 6400800"/>
                <a:gd name="connsiteY1858" fmla="*/ 210979 h 514350"/>
                <a:gd name="connsiteX1859" fmla="*/ 2676049 w 6400800"/>
                <a:gd name="connsiteY1859" fmla="*/ 200501 h 514350"/>
                <a:gd name="connsiteX1860" fmla="*/ 2681764 w 6400800"/>
                <a:gd name="connsiteY1860" fmla="*/ 173831 h 514350"/>
                <a:gd name="connsiteX1861" fmla="*/ 2687479 w 6400800"/>
                <a:gd name="connsiteY1861" fmla="*/ 144304 h 514350"/>
                <a:gd name="connsiteX1862" fmla="*/ 2691289 w 6400800"/>
                <a:gd name="connsiteY1862" fmla="*/ 118586 h 514350"/>
                <a:gd name="connsiteX1863" fmla="*/ 2683669 w 6400800"/>
                <a:gd name="connsiteY1863" fmla="*/ 143351 h 514350"/>
                <a:gd name="connsiteX1864" fmla="*/ 2677954 w 6400800"/>
                <a:gd name="connsiteY1864" fmla="*/ 162401 h 514350"/>
                <a:gd name="connsiteX1865" fmla="*/ 2673191 w 6400800"/>
                <a:gd name="connsiteY1865" fmla="*/ 176689 h 514350"/>
                <a:gd name="connsiteX1866" fmla="*/ 2673191 w 6400800"/>
                <a:gd name="connsiteY1866" fmla="*/ 177641 h 514350"/>
                <a:gd name="connsiteX1867" fmla="*/ 2672239 w 6400800"/>
                <a:gd name="connsiteY1867" fmla="*/ 173831 h 514350"/>
                <a:gd name="connsiteX1868" fmla="*/ 2666524 w 6400800"/>
                <a:gd name="connsiteY1868" fmla="*/ 146209 h 514350"/>
                <a:gd name="connsiteX1869" fmla="*/ 2661761 w 6400800"/>
                <a:gd name="connsiteY1869" fmla="*/ 121444 h 514350"/>
                <a:gd name="connsiteX1870" fmla="*/ 2662714 w 6400800"/>
                <a:gd name="connsiteY1870" fmla="*/ 146209 h 514350"/>
                <a:gd name="connsiteX1871" fmla="*/ 2666524 w 6400800"/>
                <a:gd name="connsiteY1871" fmla="*/ 196691 h 514350"/>
                <a:gd name="connsiteX1872" fmla="*/ 2665571 w 6400800"/>
                <a:gd name="connsiteY1872" fmla="*/ 200501 h 514350"/>
                <a:gd name="connsiteX1873" fmla="*/ 2664619 w 6400800"/>
                <a:gd name="connsiteY1873" fmla="*/ 204311 h 514350"/>
                <a:gd name="connsiteX1874" fmla="*/ 2649379 w 6400800"/>
                <a:gd name="connsiteY1874" fmla="*/ 174784 h 514350"/>
                <a:gd name="connsiteX1875" fmla="*/ 2634139 w 6400800"/>
                <a:gd name="connsiteY1875" fmla="*/ 141446 h 514350"/>
                <a:gd name="connsiteX1876" fmla="*/ 2646521 w 6400800"/>
                <a:gd name="connsiteY1876" fmla="*/ 176689 h 514350"/>
                <a:gd name="connsiteX1877" fmla="*/ 2661761 w 6400800"/>
                <a:gd name="connsiteY1877" fmla="*/ 214789 h 514350"/>
                <a:gd name="connsiteX1878" fmla="*/ 2660809 w 6400800"/>
                <a:gd name="connsiteY1878" fmla="*/ 216694 h 514350"/>
                <a:gd name="connsiteX1879" fmla="*/ 2652236 w 6400800"/>
                <a:gd name="connsiteY1879" fmla="*/ 201454 h 514350"/>
                <a:gd name="connsiteX1880" fmla="*/ 2648426 w 6400800"/>
                <a:gd name="connsiteY1880" fmla="*/ 196691 h 514350"/>
                <a:gd name="connsiteX1881" fmla="*/ 2651284 w 6400800"/>
                <a:gd name="connsiteY1881" fmla="*/ 202406 h 514350"/>
                <a:gd name="connsiteX1882" fmla="*/ 2657951 w 6400800"/>
                <a:gd name="connsiteY1882" fmla="*/ 218599 h 514350"/>
                <a:gd name="connsiteX1883" fmla="*/ 2658904 w 6400800"/>
                <a:gd name="connsiteY1883" fmla="*/ 223361 h 514350"/>
                <a:gd name="connsiteX1884" fmla="*/ 2657951 w 6400800"/>
                <a:gd name="connsiteY1884" fmla="*/ 226219 h 514350"/>
                <a:gd name="connsiteX1885" fmla="*/ 2647474 w 6400800"/>
                <a:gd name="connsiteY1885" fmla="*/ 193834 h 514350"/>
                <a:gd name="connsiteX1886" fmla="*/ 2638901 w 6400800"/>
                <a:gd name="connsiteY1886" fmla="*/ 169069 h 514350"/>
                <a:gd name="connsiteX1887" fmla="*/ 2631281 w 6400800"/>
                <a:gd name="connsiteY1887" fmla="*/ 147161 h 514350"/>
                <a:gd name="connsiteX1888" fmla="*/ 2635091 w 6400800"/>
                <a:gd name="connsiteY1888" fmla="*/ 170021 h 514350"/>
                <a:gd name="connsiteX1889" fmla="*/ 2647474 w 6400800"/>
                <a:gd name="connsiteY1889" fmla="*/ 230029 h 514350"/>
                <a:gd name="connsiteX1890" fmla="*/ 2651284 w 6400800"/>
                <a:gd name="connsiteY1890" fmla="*/ 247174 h 514350"/>
                <a:gd name="connsiteX1891" fmla="*/ 2642711 w 6400800"/>
                <a:gd name="connsiteY1891" fmla="*/ 273844 h 514350"/>
                <a:gd name="connsiteX1892" fmla="*/ 2640806 w 6400800"/>
                <a:gd name="connsiteY1892" fmla="*/ 270034 h 514350"/>
                <a:gd name="connsiteX1893" fmla="*/ 2639854 w 6400800"/>
                <a:gd name="connsiteY1893" fmla="*/ 268129 h 514350"/>
                <a:gd name="connsiteX1894" fmla="*/ 2643664 w 6400800"/>
                <a:gd name="connsiteY1894" fmla="*/ 220504 h 514350"/>
                <a:gd name="connsiteX1895" fmla="*/ 2636996 w 6400800"/>
                <a:gd name="connsiteY1895" fmla="*/ 247174 h 514350"/>
                <a:gd name="connsiteX1896" fmla="*/ 2636044 w 6400800"/>
                <a:gd name="connsiteY1896" fmla="*/ 204311 h 514350"/>
                <a:gd name="connsiteX1897" fmla="*/ 2630329 w 6400800"/>
                <a:gd name="connsiteY1897" fmla="*/ 240506 h 514350"/>
                <a:gd name="connsiteX1898" fmla="*/ 2623661 w 6400800"/>
                <a:gd name="connsiteY1898" fmla="*/ 206216 h 514350"/>
                <a:gd name="connsiteX1899" fmla="*/ 2610326 w 6400800"/>
                <a:gd name="connsiteY1899" fmla="*/ 147161 h 514350"/>
                <a:gd name="connsiteX1900" fmla="*/ 2615089 w 6400800"/>
                <a:gd name="connsiteY1900" fmla="*/ 137636 h 514350"/>
                <a:gd name="connsiteX1901" fmla="*/ 2610326 w 6400800"/>
                <a:gd name="connsiteY1901" fmla="*/ 145256 h 514350"/>
                <a:gd name="connsiteX1902" fmla="*/ 2609374 w 6400800"/>
                <a:gd name="connsiteY1902" fmla="*/ 143351 h 514350"/>
                <a:gd name="connsiteX1903" fmla="*/ 2603659 w 6400800"/>
                <a:gd name="connsiteY1903" fmla="*/ 119539 h 514350"/>
                <a:gd name="connsiteX1904" fmla="*/ 2605564 w 6400800"/>
                <a:gd name="connsiteY1904" fmla="*/ 144304 h 514350"/>
                <a:gd name="connsiteX1905" fmla="*/ 2606516 w 6400800"/>
                <a:gd name="connsiteY1905" fmla="*/ 150971 h 514350"/>
                <a:gd name="connsiteX1906" fmla="*/ 2600801 w 6400800"/>
                <a:gd name="connsiteY1906" fmla="*/ 158591 h 514350"/>
                <a:gd name="connsiteX1907" fmla="*/ 2589371 w 6400800"/>
                <a:gd name="connsiteY1907" fmla="*/ 175736 h 514350"/>
                <a:gd name="connsiteX1908" fmla="*/ 2588419 w 6400800"/>
                <a:gd name="connsiteY1908" fmla="*/ 171926 h 514350"/>
                <a:gd name="connsiteX1909" fmla="*/ 2583656 w 6400800"/>
                <a:gd name="connsiteY1909" fmla="*/ 147161 h 514350"/>
                <a:gd name="connsiteX1910" fmla="*/ 2584609 w 6400800"/>
                <a:gd name="connsiteY1910" fmla="*/ 171926 h 514350"/>
                <a:gd name="connsiteX1911" fmla="*/ 2585561 w 6400800"/>
                <a:gd name="connsiteY1911" fmla="*/ 182404 h 514350"/>
                <a:gd name="connsiteX1912" fmla="*/ 2585561 w 6400800"/>
                <a:gd name="connsiteY1912" fmla="*/ 182404 h 514350"/>
                <a:gd name="connsiteX1913" fmla="*/ 2576036 w 6400800"/>
                <a:gd name="connsiteY1913" fmla="*/ 198596 h 514350"/>
                <a:gd name="connsiteX1914" fmla="*/ 2574131 w 6400800"/>
                <a:gd name="connsiteY1914" fmla="*/ 177641 h 514350"/>
                <a:gd name="connsiteX1915" fmla="*/ 2573179 w 6400800"/>
                <a:gd name="connsiteY1915" fmla="*/ 157639 h 514350"/>
                <a:gd name="connsiteX1916" fmla="*/ 2571274 w 6400800"/>
                <a:gd name="connsiteY1916" fmla="*/ 170974 h 514350"/>
                <a:gd name="connsiteX1917" fmla="*/ 2571274 w 6400800"/>
                <a:gd name="connsiteY1917" fmla="*/ 170021 h 514350"/>
                <a:gd name="connsiteX1918" fmla="*/ 2569369 w 6400800"/>
                <a:gd name="connsiteY1918" fmla="*/ 149066 h 514350"/>
                <a:gd name="connsiteX1919" fmla="*/ 2568416 w 6400800"/>
                <a:gd name="connsiteY1919" fmla="*/ 130016 h 514350"/>
                <a:gd name="connsiteX1920" fmla="*/ 2567464 w 6400800"/>
                <a:gd name="connsiteY1920" fmla="*/ 99536 h 514350"/>
                <a:gd name="connsiteX1921" fmla="*/ 2566511 w 6400800"/>
                <a:gd name="connsiteY1921" fmla="*/ 72866 h 514350"/>
                <a:gd name="connsiteX1922" fmla="*/ 2562701 w 6400800"/>
                <a:gd name="connsiteY1922" fmla="*/ 99536 h 514350"/>
                <a:gd name="connsiteX1923" fmla="*/ 2560796 w 6400800"/>
                <a:gd name="connsiteY1923" fmla="*/ 130016 h 514350"/>
                <a:gd name="connsiteX1924" fmla="*/ 2559844 w 6400800"/>
                <a:gd name="connsiteY1924" fmla="*/ 149066 h 514350"/>
                <a:gd name="connsiteX1925" fmla="*/ 2559844 w 6400800"/>
                <a:gd name="connsiteY1925" fmla="*/ 170021 h 514350"/>
                <a:gd name="connsiteX1926" fmla="*/ 2560796 w 6400800"/>
                <a:gd name="connsiteY1926" fmla="*/ 195739 h 514350"/>
                <a:gd name="connsiteX1927" fmla="*/ 2558891 w 6400800"/>
                <a:gd name="connsiteY1927" fmla="*/ 191929 h 514350"/>
                <a:gd name="connsiteX1928" fmla="*/ 2561749 w 6400800"/>
                <a:gd name="connsiteY1928" fmla="*/ 200501 h 514350"/>
                <a:gd name="connsiteX1929" fmla="*/ 2562701 w 6400800"/>
                <a:gd name="connsiteY1929" fmla="*/ 217646 h 514350"/>
                <a:gd name="connsiteX1930" fmla="*/ 2562701 w 6400800"/>
                <a:gd name="connsiteY1930" fmla="*/ 223361 h 514350"/>
                <a:gd name="connsiteX1931" fmla="*/ 2551271 w 6400800"/>
                <a:gd name="connsiteY1931" fmla="*/ 247174 h 514350"/>
                <a:gd name="connsiteX1932" fmla="*/ 2549366 w 6400800"/>
                <a:gd name="connsiteY1932" fmla="*/ 230029 h 514350"/>
                <a:gd name="connsiteX1933" fmla="*/ 2555081 w 6400800"/>
                <a:gd name="connsiteY1933" fmla="*/ 212884 h 514350"/>
                <a:gd name="connsiteX1934" fmla="*/ 2546509 w 6400800"/>
                <a:gd name="connsiteY1934" fmla="*/ 228124 h 514350"/>
                <a:gd name="connsiteX1935" fmla="*/ 2547461 w 6400800"/>
                <a:gd name="connsiteY1935" fmla="*/ 222409 h 514350"/>
                <a:gd name="connsiteX1936" fmla="*/ 2553176 w 6400800"/>
                <a:gd name="connsiteY1936" fmla="*/ 196691 h 514350"/>
                <a:gd name="connsiteX1937" fmla="*/ 2543651 w 6400800"/>
                <a:gd name="connsiteY1937" fmla="*/ 221456 h 514350"/>
                <a:gd name="connsiteX1938" fmla="*/ 2536984 w 6400800"/>
                <a:gd name="connsiteY1938" fmla="*/ 246221 h 514350"/>
                <a:gd name="connsiteX1939" fmla="*/ 2536984 w 6400800"/>
                <a:gd name="connsiteY1939" fmla="*/ 244316 h 514350"/>
                <a:gd name="connsiteX1940" fmla="*/ 2534126 w 6400800"/>
                <a:gd name="connsiteY1940" fmla="*/ 221456 h 514350"/>
                <a:gd name="connsiteX1941" fmla="*/ 2533174 w 6400800"/>
                <a:gd name="connsiteY1941" fmla="*/ 244316 h 514350"/>
                <a:gd name="connsiteX1942" fmla="*/ 2533174 w 6400800"/>
                <a:gd name="connsiteY1942" fmla="*/ 250984 h 514350"/>
                <a:gd name="connsiteX1943" fmla="*/ 2532221 w 6400800"/>
                <a:gd name="connsiteY1943" fmla="*/ 245269 h 514350"/>
                <a:gd name="connsiteX1944" fmla="*/ 2524601 w 6400800"/>
                <a:gd name="connsiteY1944" fmla="*/ 213836 h 514350"/>
                <a:gd name="connsiteX1945" fmla="*/ 2517934 w 6400800"/>
                <a:gd name="connsiteY1945" fmla="*/ 190024 h 514350"/>
                <a:gd name="connsiteX1946" fmla="*/ 2511266 w 6400800"/>
                <a:gd name="connsiteY1946" fmla="*/ 169069 h 514350"/>
                <a:gd name="connsiteX1947" fmla="*/ 2514124 w 6400800"/>
                <a:gd name="connsiteY1947" fmla="*/ 190976 h 514350"/>
                <a:gd name="connsiteX1948" fmla="*/ 2516981 w 6400800"/>
                <a:gd name="connsiteY1948" fmla="*/ 215741 h 514350"/>
                <a:gd name="connsiteX1949" fmla="*/ 2520791 w 6400800"/>
                <a:gd name="connsiteY1949" fmla="*/ 248126 h 514350"/>
                <a:gd name="connsiteX1950" fmla="*/ 2523649 w 6400800"/>
                <a:gd name="connsiteY1950" fmla="*/ 277654 h 514350"/>
                <a:gd name="connsiteX1951" fmla="*/ 2521744 w 6400800"/>
                <a:gd name="connsiteY1951" fmla="*/ 282416 h 514350"/>
                <a:gd name="connsiteX1952" fmla="*/ 2516981 w 6400800"/>
                <a:gd name="connsiteY1952" fmla="*/ 263366 h 514350"/>
                <a:gd name="connsiteX1953" fmla="*/ 2511266 w 6400800"/>
                <a:gd name="connsiteY1953" fmla="*/ 243364 h 514350"/>
                <a:gd name="connsiteX1954" fmla="*/ 2513171 w 6400800"/>
                <a:gd name="connsiteY1954" fmla="*/ 264319 h 514350"/>
                <a:gd name="connsiteX1955" fmla="*/ 2514124 w 6400800"/>
                <a:gd name="connsiteY1955" fmla="*/ 277654 h 514350"/>
                <a:gd name="connsiteX1956" fmla="*/ 2504599 w 6400800"/>
                <a:gd name="connsiteY1956" fmla="*/ 256699 h 514350"/>
                <a:gd name="connsiteX1957" fmla="*/ 2504599 w 6400800"/>
                <a:gd name="connsiteY1957" fmla="*/ 253841 h 514350"/>
                <a:gd name="connsiteX1958" fmla="*/ 2503646 w 6400800"/>
                <a:gd name="connsiteY1958" fmla="*/ 255746 h 514350"/>
                <a:gd name="connsiteX1959" fmla="*/ 2497931 w 6400800"/>
                <a:gd name="connsiteY1959" fmla="*/ 243364 h 514350"/>
                <a:gd name="connsiteX1960" fmla="*/ 2502694 w 6400800"/>
                <a:gd name="connsiteY1960" fmla="*/ 259556 h 514350"/>
                <a:gd name="connsiteX1961" fmla="*/ 2499836 w 6400800"/>
                <a:gd name="connsiteY1961" fmla="*/ 267176 h 514350"/>
                <a:gd name="connsiteX1962" fmla="*/ 2498884 w 6400800"/>
                <a:gd name="connsiteY1962" fmla="*/ 270034 h 514350"/>
                <a:gd name="connsiteX1963" fmla="*/ 2494121 w 6400800"/>
                <a:gd name="connsiteY1963" fmla="*/ 223361 h 514350"/>
                <a:gd name="connsiteX1964" fmla="*/ 2496026 w 6400800"/>
                <a:gd name="connsiteY1964" fmla="*/ 220504 h 514350"/>
                <a:gd name="connsiteX1965" fmla="*/ 2506504 w 6400800"/>
                <a:gd name="connsiteY1965" fmla="*/ 203359 h 514350"/>
                <a:gd name="connsiteX1966" fmla="*/ 2510314 w 6400800"/>
                <a:gd name="connsiteY1966" fmla="*/ 197644 h 514350"/>
                <a:gd name="connsiteX1967" fmla="*/ 2505551 w 6400800"/>
                <a:gd name="connsiteY1967" fmla="*/ 203359 h 514350"/>
                <a:gd name="connsiteX1968" fmla="*/ 2493169 w 6400800"/>
                <a:gd name="connsiteY1968" fmla="*/ 217646 h 514350"/>
                <a:gd name="connsiteX1969" fmla="*/ 2493169 w 6400800"/>
                <a:gd name="connsiteY1969" fmla="*/ 216694 h 514350"/>
                <a:gd name="connsiteX1970" fmla="*/ 2491264 w 6400800"/>
                <a:gd name="connsiteY1970" fmla="*/ 196691 h 514350"/>
                <a:gd name="connsiteX1971" fmla="*/ 2501741 w 6400800"/>
                <a:gd name="connsiteY1971" fmla="*/ 183356 h 514350"/>
                <a:gd name="connsiteX1972" fmla="*/ 2490311 w 6400800"/>
                <a:gd name="connsiteY1972" fmla="*/ 192881 h 514350"/>
                <a:gd name="connsiteX1973" fmla="*/ 2489359 w 6400800"/>
                <a:gd name="connsiteY1973" fmla="*/ 176689 h 514350"/>
                <a:gd name="connsiteX1974" fmla="*/ 2497931 w 6400800"/>
                <a:gd name="connsiteY1974" fmla="*/ 165259 h 514350"/>
                <a:gd name="connsiteX1975" fmla="*/ 2502694 w 6400800"/>
                <a:gd name="connsiteY1975" fmla="*/ 159544 h 514350"/>
                <a:gd name="connsiteX1976" fmla="*/ 2496979 w 6400800"/>
                <a:gd name="connsiteY1976" fmla="*/ 164306 h 514350"/>
                <a:gd name="connsiteX1977" fmla="*/ 2489359 w 6400800"/>
                <a:gd name="connsiteY1977" fmla="*/ 171926 h 514350"/>
                <a:gd name="connsiteX1978" fmla="*/ 2488406 w 6400800"/>
                <a:gd name="connsiteY1978" fmla="*/ 153829 h 514350"/>
                <a:gd name="connsiteX1979" fmla="*/ 2487454 w 6400800"/>
                <a:gd name="connsiteY1979" fmla="*/ 135731 h 514350"/>
                <a:gd name="connsiteX1980" fmla="*/ 2494121 w 6400800"/>
                <a:gd name="connsiteY1980" fmla="*/ 125254 h 514350"/>
                <a:gd name="connsiteX1981" fmla="*/ 2487454 w 6400800"/>
                <a:gd name="connsiteY1981" fmla="*/ 132874 h 514350"/>
                <a:gd name="connsiteX1982" fmla="*/ 2487454 w 6400800"/>
                <a:gd name="connsiteY1982" fmla="*/ 129064 h 514350"/>
                <a:gd name="connsiteX1983" fmla="*/ 2486501 w 6400800"/>
                <a:gd name="connsiteY1983" fmla="*/ 132874 h 514350"/>
                <a:gd name="connsiteX1984" fmla="*/ 2475071 w 6400800"/>
                <a:gd name="connsiteY1984" fmla="*/ 146209 h 514350"/>
                <a:gd name="connsiteX1985" fmla="*/ 2455069 w 6400800"/>
                <a:gd name="connsiteY1985" fmla="*/ 171926 h 514350"/>
                <a:gd name="connsiteX1986" fmla="*/ 2442686 w 6400800"/>
                <a:gd name="connsiteY1986" fmla="*/ 188119 h 514350"/>
                <a:gd name="connsiteX1987" fmla="*/ 2433161 w 6400800"/>
                <a:gd name="connsiteY1987" fmla="*/ 203359 h 514350"/>
                <a:gd name="connsiteX1988" fmla="*/ 2432209 w 6400800"/>
                <a:gd name="connsiteY1988" fmla="*/ 191929 h 514350"/>
                <a:gd name="connsiteX1989" fmla="*/ 2425541 w 6400800"/>
                <a:gd name="connsiteY1989" fmla="*/ 110966 h 514350"/>
                <a:gd name="connsiteX1990" fmla="*/ 2424589 w 6400800"/>
                <a:gd name="connsiteY1990" fmla="*/ 88106 h 514350"/>
                <a:gd name="connsiteX1991" fmla="*/ 2424589 w 6400800"/>
                <a:gd name="connsiteY1991" fmla="*/ 80486 h 514350"/>
                <a:gd name="connsiteX1992" fmla="*/ 2423636 w 6400800"/>
                <a:gd name="connsiteY1992" fmla="*/ 88106 h 514350"/>
                <a:gd name="connsiteX1993" fmla="*/ 2421731 w 6400800"/>
                <a:gd name="connsiteY1993" fmla="*/ 110966 h 514350"/>
                <a:gd name="connsiteX1994" fmla="*/ 2420779 w 6400800"/>
                <a:gd name="connsiteY1994" fmla="*/ 146209 h 514350"/>
                <a:gd name="connsiteX1995" fmla="*/ 2421731 w 6400800"/>
                <a:gd name="connsiteY1995" fmla="*/ 191929 h 514350"/>
                <a:gd name="connsiteX1996" fmla="*/ 2422684 w 6400800"/>
                <a:gd name="connsiteY1996" fmla="*/ 220504 h 514350"/>
                <a:gd name="connsiteX1997" fmla="*/ 2405539 w 6400800"/>
                <a:gd name="connsiteY1997" fmla="*/ 250031 h 514350"/>
                <a:gd name="connsiteX1998" fmla="*/ 2401729 w 6400800"/>
                <a:gd name="connsiteY1998" fmla="*/ 256699 h 514350"/>
                <a:gd name="connsiteX1999" fmla="*/ 2400776 w 6400800"/>
                <a:gd name="connsiteY1999" fmla="*/ 255746 h 514350"/>
                <a:gd name="connsiteX2000" fmla="*/ 2392204 w 6400800"/>
                <a:gd name="connsiteY2000" fmla="*/ 233839 h 514350"/>
                <a:gd name="connsiteX2001" fmla="*/ 2385536 w 6400800"/>
                <a:gd name="connsiteY2001" fmla="*/ 170974 h 514350"/>
                <a:gd name="connsiteX2002" fmla="*/ 2382679 w 6400800"/>
                <a:gd name="connsiteY2002" fmla="*/ 150971 h 514350"/>
                <a:gd name="connsiteX2003" fmla="*/ 2384584 w 6400800"/>
                <a:gd name="connsiteY2003" fmla="*/ 140494 h 514350"/>
                <a:gd name="connsiteX2004" fmla="*/ 2382679 w 6400800"/>
                <a:gd name="connsiteY2004" fmla="*/ 135731 h 514350"/>
                <a:gd name="connsiteX2005" fmla="*/ 2390299 w 6400800"/>
                <a:gd name="connsiteY2005" fmla="*/ 114776 h 514350"/>
                <a:gd name="connsiteX2006" fmla="*/ 2427446 w 6400800"/>
                <a:gd name="connsiteY2006" fmla="*/ 12859 h 514350"/>
                <a:gd name="connsiteX2007" fmla="*/ 2380774 w 6400800"/>
                <a:gd name="connsiteY2007" fmla="*/ 110014 h 514350"/>
                <a:gd name="connsiteX2008" fmla="*/ 2358866 w 6400800"/>
                <a:gd name="connsiteY2008" fmla="*/ 157639 h 514350"/>
                <a:gd name="connsiteX2009" fmla="*/ 2355056 w 6400800"/>
                <a:gd name="connsiteY2009" fmla="*/ 166211 h 514350"/>
                <a:gd name="connsiteX2010" fmla="*/ 2357914 w 6400800"/>
                <a:gd name="connsiteY2010" fmla="*/ 155734 h 514350"/>
                <a:gd name="connsiteX2011" fmla="*/ 2362676 w 6400800"/>
                <a:gd name="connsiteY2011" fmla="*/ 132874 h 514350"/>
                <a:gd name="connsiteX2012" fmla="*/ 2354104 w 6400800"/>
                <a:gd name="connsiteY2012" fmla="*/ 154781 h 514350"/>
                <a:gd name="connsiteX2013" fmla="*/ 2344579 w 6400800"/>
                <a:gd name="connsiteY2013" fmla="*/ 179546 h 514350"/>
                <a:gd name="connsiteX2014" fmla="*/ 2334101 w 6400800"/>
                <a:gd name="connsiteY2014" fmla="*/ 211931 h 514350"/>
                <a:gd name="connsiteX2015" fmla="*/ 2334101 w 6400800"/>
                <a:gd name="connsiteY2015" fmla="*/ 211931 h 514350"/>
                <a:gd name="connsiteX2016" fmla="*/ 2340769 w 6400800"/>
                <a:gd name="connsiteY2016" fmla="*/ 171926 h 514350"/>
                <a:gd name="connsiteX2017" fmla="*/ 2347436 w 6400800"/>
                <a:gd name="connsiteY2017" fmla="*/ 130969 h 514350"/>
                <a:gd name="connsiteX2018" fmla="*/ 2354104 w 6400800"/>
                <a:gd name="connsiteY2018" fmla="*/ 99536 h 514350"/>
                <a:gd name="connsiteX2019" fmla="*/ 2358866 w 6400800"/>
                <a:gd name="connsiteY2019" fmla="*/ 71914 h 514350"/>
                <a:gd name="connsiteX2020" fmla="*/ 2350294 w 6400800"/>
                <a:gd name="connsiteY2020" fmla="*/ 98584 h 514350"/>
                <a:gd name="connsiteX2021" fmla="*/ 2340769 w 6400800"/>
                <a:gd name="connsiteY2021" fmla="*/ 129064 h 514350"/>
                <a:gd name="connsiteX2022" fmla="*/ 2330291 w 6400800"/>
                <a:gd name="connsiteY2022" fmla="*/ 170021 h 514350"/>
                <a:gd name="connsiteX2023" fmla="*/ 2324576 w 6400800"/>
                <a:gd name="connsiteY2023" fmla="*/ 193834 h 514350"/>
                <a:gd name="connsiteX2024" fmla="*/ 2320766 w 6400800"/>
                <a:gd name="connsiteY2024" fmla="*/ 185261 h 514350"/>
                <a:gd name="connsiteX2025" fmla="*/ 2326481 w 6400800"/>
                <a:gd name="connsiteY2025" fmla="*/ 157639 h 514350"/>
                <a:gd name="connsiteX2026" fmla="*/ 2318861 w 6400800"/>
                <a:gd name="connsiteY2026" fmla="*/ 179546 h 514350"/>
                <a:gd name="connsiteX2027" fmla="*/ 2315051 w 6400800"/>
                <a:gd name="connsiteY2027" fmla="*/ 170974 h 514350"/>
                <a:gd name="connsiteX2028" fmla="*/ 2317909 w 6400800"/>
                <a:gd name="connsiteY2028" fmla="*/ 181451 h 514350"/>
                <a:gd name="connsiteX2029" fmla="*/ 2313146 w 6400800"/>
                <a:gd name="connsiteY2029" fmla="*/ 193834 h 514350"/>
                <a:gd name="connsiteX2030" fmla="*/ 2311241 w 6400800"/>
                <a:gd name="connsiteY2030" fmla="*/ 190976 h 514350"/>
                <a:gd name="connsiteX2031" fmla="*/ 2314099 w 6400800"/>
                <a:gd name="connsiteY2031" fmla="*/ 141446 h 514350"/>
                <a:gd name="connsiteX2032" fmla="*/ 2298859 w 6400800"/>
                <a:gd name="connsiteY2032" fmla="*/ 202406 h 514350"/>
                <a:gd name="connsiteX2033" fmla="*/ 2292191 w 6400800"/>
                <a:gd name="connsiteY2033" fmla="*/ 231934 h 514350"/>
                <a:gd name="connsiteX2034" fmla="*/ 2289334 w 6400800"/>
                <a:gd name="connsiteY2034" fmla="*/ 250031 h 514350"/>
                <a:gd name="connsiteX2035" fmla="*/ 2285524 w 6400800"/>
                <a:gd name="connsiteY2035" fmla="*/ 259556 h 514350"/>
                <a:gd name="connsiteX2036" fmla="*/ 2275999 w 6400800"/>
                <a:gd name="connsiteY2036" fmla="*/ 287179 h 514350"/>
                <a:gd name="connsiteX2037" fmla="*/ 2275999 w 6400800"/>
                <a:gd name="connsiteY2037" fmla="*/ 288131 h 514350"/>
                <a:gd name="connsiteX2038" fmla="*/ 2275999 w 6400800"/>
                <a:gd name="connsiteY2038" fmla="*/ 282416 h 514350"/>
                <a:gd name="connsiteX2039" fmla="*/ 2276951 w 6400800"/>
                <a:gd name="connsiteY2039" fmla="*/ 265271 h 514350"/>
                <a:gd name="connsiteX2040" fmla="*/ 2272189 w 6400800"/>
                <a:gd name="connsiteY2040" fmla="*/ 281464 h 514350"/>
                <a:gd name="connsiteX2041" fmla="*/ 2269331 w 6400800"/>
                <a:gd name="connsiteY2041" fmla="*/ 290989 h 514350"/>
                <a:gd name="connsiteX2042" fmla="*/ 2269331 w 6400800"/>
                <a:gd name="connsiteY2042" fmla="*/ 290989 h 514350"/>
                <a:gd name="connsiteX2043" fmla="*/ 2269331 w 6400800"/>
                <a:gd name="connsiteY2043" fmla="*/ 261461 h 514350"/>
                <a:gd name="connsiteX2044" fmla="*/ 2270284 w 6400800"/>
                <a:gd name="connsiteY2044" fmla="*/ 238601 h 514350"/>
                <a:gd name="connsiteX2045" fmla="*/ 2272189 w 6400800"/>
                <a:gd name="connsiteY2045" fmla="*/ 225266 h 514350"/>
                <a:gd name="connsiteX2046" fmla="*/ 2275999 w 6400800"/>
                <a:gd name="connsiteY2046" fmla="*/ 210979 h 514350"/>
                <a:gd name="connsiteX2047" fmla="*/ 2266474 w 6400800"/>
                <a:gd name="connsiteY2047" fmla="*/ 232886 h 514350"/>
                <a:gd name="connsiteX2048" fmla="*/ 2267426 w 6400800"/>
                <a:gd name="connsiteY2048" fmla="*/ 228124 h 514350"/>
                <a:gd name="connsiteX2049" fmla="*/ 2263616 w 6400800"/>
                <a:gd name="connsiteY2049" fmla="*/ 235744 h 514350"/>
                <a:gd name="connsiteX2050" fmla="*/ 2265521 w 6400800"/>
                <a:gd name="connsiteY2050" fmla="*/ 220504 h 514350"/>
                <a:gd name="connsiteX2051" fmla="*/ 2256949 w 6400800"/>
                <a:gd name="connsiteY2051" fmla="*/ 247174 h 514350"/>
                <a:gd name="connsiteX2052" fmla="*/ 2252186 w 6400800"/>
                <a:gd name="connsiteY2052" fmla="*/ 258604 h 514350"/>
                <a:gd name="connsiteX2053" fmla="*/ 2250281 w 6400800"/>
                <a:gd name="connsiteY2053" fmla="*/ 262414 h 514350"/>
                <a:gd name="connsiteX2054" fmla="*/ 2255044 w 6400800"/>
                <a:gd name="connsiteY2054" fmla="*/ 243364 h 514350"/>
                <a:gd name="connsiteX2055" fmla="*/ 2267426 w 6400800"/>
                <a:gd name="connsiteY2055" fmla="*/ 178594 h 514350"/>
                <a:gd name="connsiteX2056" fmla="*/ 2270284 w 6400800"/>
                <a:gd name="connsiteY2056" fmla="*/ 153829 h 514350"/>
                <a:gd name="connsiteX2057" fmla="*/ 2262664 w 6400800"/>
                <a:gd name="connsiteY2057" fmla="*/ 177641 h 514350"/>
                <a:gd name="connsiteX2058" fmla="*/ 2254091 w 6400800"/>
                <a:gd name="connsiteY2058" fmla="*/ 205264 h 514350"/>
                <a:gd name="connsiteX2059" fmla="*/ 2246471 w 6400800"/>
                <a:gd name="connsiteY2059" fmla="*/ 230981 h 514350"/>
                <a:gd name="connsiteX2060" fmla="*/ 2241709 w 6400800"/>
                <a:gd name="connsiteY2060" fmla="*/ 244316 h 514350"/>
                <a:gd name="connsiteX2061" fmla="*/ 2239804 w 6400800"/>
                <a:gd name="connsiteY2061" fmla="*/ 233839 h 514350"/>
                <a:gd name="connsiteX2062" fmla="*/ 2233136 w 6400800"/>
                <a:gd name="connsiteY2062" fmla="*/ 205264 h 514350"/>
                <a:gd name="connsiteX2063" fmla="*/ 2237899 w 6400800"/>
                <a:gd name="connsiteY2063" fmla="*/ 255746 h 514350"/>
                <a:gd name="connsiteX2064" fmla="*/ 2234089 w 6400800"/>
                <a:gd name="connsiteY2064" fmla="*/ 269081 h 514350"/>
                <a:gd name="connsiteX2065" fmla="*/ 2233136 w 6400800"/>
                <a:gd name="connsiteY2065" fmla="*/ 270034 h 514350"/>
                <a:gd name="connsiteX2066" fmla="*/ 2233136 w 6400800"/>
                <a:gd name="connsiteY2066" fmla="*/ 263366 h 514350"/>
                <a:gd name="connsiteX2067" fmla="*/ 2231231 w 6400800"/>
                <a:gd name="connsiteY2067" fmla="*/ 234791 h 514350"/>
                <a:gd name="connsiteX2068" fmla="*/ 2228374 w 6400800"/>
                <a:gd name="connsiteY2068" fmla="*/ 207169 h 514350"/>
                <a:gd name="connsiteX2069" fmla="*/ 2230279 w 6400800"/>
                <a:gd name="connsiteY2069" fmla="*/ 193834 h 514350"/>
                <a:gd name="connsiteX2070" fmla="*/ 2226469 w 6400800"/>
                <a:gd name="connsiteY2070" fmla="*/ 204311 h 514350"/>
                <a:gd name="connsiteX2071" fmla="*/ 2222659 w 6400800"/>
                <a:gd name="connsiteY2071" fmla="*/ 200501 h 514350"/>
                <a:gd name="connsiteX2072" fmla="*/ 2220754 w 6400800"/>
                <a:gd name="connsiteY2072" fmla="*/ 199549 h 514350"/>
                <a:gd name="connsiteX2073" fmla="*/ 2217896 w 6400800"/>
                <a:gd name="connsiteY2073" fmla="*/ 199549 h 514350"/>
                <a:gd name="connsiteX2074" fmla="*/ 2215039 w 6400800"/>
                <a:gd name="connsiteY2074" fmla="*/ 202406 h 514350"/>
                <a:gd name="connsiteX2075" fmla="*/ 2213134 w 6400800"/>
                <a:gd name="connsiteY2075" fmla="*/ 214789 h 514350"/>
                <a:gd name="connsiteX2076" fmla="*/ 2217896 w 6400800"/>
                <a:gd name="connsiteY2076" fmla="*/ 203359 h 514350"/>
                <a:gd name="connsiteX2077" fmla="*/ 2219801 w 6400800"/>
                <a:gd name="connsiteY2077" fmla="*/ 201454 h 514350"/>
                <a:gd name="connsiteX2078" fmla="*/ 2220754 w 6400800"/>
                <a:gd name="connsiteY2078" fmla="*/ 202406 h 514350"/>
                <a:gd name="connsiteX2079" fmla="*/ 2223611 w 6400800"/>
                <a:gd name="connsiteY2079" fmla="*/ 207169 h 514350"/>
                <a:gd name="connsiteX2080" fmla="*/ 2223611 w 6400800"/>
                <a:gd name="connsiteY2080" fmla="*/ 215741 h 514350"/>
                <a:gd name="connsiteX2081" fmla="*/ 2223611 w 6400800"/>
                <a:gd name="connsiteY2081" fmla="*/ 215741 h 514350"/>
                <a:gd name="connsiteX2082" fmla="*/ 2215991 w 6400800"/>
                <a:gd name="connsiteY2082" fmla="*/ 241459 h 514350"/>
                <a:gd name="connsiteX2083" fmla="*/ 2206466 w 6400800"/>
                <a:gd name="connsiteY2083" fmla="*/ 274796 h 514350"/>
                <a:gd name="connsiteX2084" fmla="*/ 2196941 w 6400800"/>
                <a:gd name="connsiteY2084" fmla="*/ 313849 h 514350"/>
                <a:gd name="connsiteX2085" fmla="*/ 2195989 w 6400800"/>
                <a:gd name="connsiteY2085" fmla="*/ 305276 h 514350"/>
                <a:gd name="connsiteX2086" fmla="*/ 2195036 w 6400800"/>
                <a:gd name="connsiteY2086" fmla="*/ 317659 h 514350"/>
                <a:gd name="connsiteX2087" fmla="*/ 2193131 w 6400800"/>
                <a:gd name="connsiteY2087" fmla="*/ 314801 h 514350"/>
                <a:gd name="connsiteX2088" fmla="*/ 2195036 w 6400800"/>
                <a:gd name="connsiteY2088" fmla="*/ 318611 h 514350"/>
                <a:gd name="connsiteX2089" fmla="*/ 2195036 w 6400800"/>
                <a:gd name="connsiteY2089" fmla="*/ 323374 h 514350"/>
                <a:gd name="connsiteX2090" fmla="*/ 2192179 w 6400800"/>
                <a:gd name="connsiteY2090" fmla="*/ 334804 h 514350"/>
                <a:gd name="connsiteX2091" fmla="*/ 2190274 w 6400800"/>
                <a:gd name="connsiteY2091" fmla="*/ 330994 h 514350"/>
                <a:gd name="connsiteX2092" fmla="*/ 2191226 w 6400800"/>
                <a:gd name="connsiteY2092" fmla="*/ 330041 h 514350"/>
                <a:gd name="connsiteX2093" fmla="*/ 2190274 w 6400800"/>
                <a:gd name="connsiteY2093" fmla="*/ 330994 h 514350"/>
                <a:gd name="connsiteX2094" fmla="*/ 2188369 w 6400800"/>
                <a:gd name="connsiteY2094" fmla="*/ 326231 h 514350"/>
                <a:gd name="connsiteX2095" fmla="*/ 2189321 w 6400800"/>
                <a:gd name="connsiteY2095" fmla="*/ 331946 h 514350"/>
                <a:gd name="connsiteX2096" fmla="*/ 2188369 w 6400800"/>
                <a:gd name="connsiteY2096" fmla="*/ 332899 h 514350"/>
                <a:gd name="connsiteX2097" fmla="*/ 2185511 w 6400800"/>
                <a:gd name="connsiteY2097" fmla="*/ 315754 h 514350"/>
                <a:gd name="connsiteX2098" fmla="*/ 2184559 w 6400800"/>
                <a:gd name="connsiteY2098" fmla="*/ 336709 h 514350"/>
                <a:gd name="connsiteX2099" fmla="*/ 2184559 w 6400800"/>
                <a:gd name="connsiteY2099" fmla="*/ 337661 h 514350"/>
                <a:gd name="connsiteX2100" fmla="*/ 2179796 w 6400800"/>
                <a:gd name="connsiteY2100" fmla="*/ 343376 h 514350"/>
                <a:gd name="connsiteX2101" fmla="*/ 2178844 w 6400800"/>
                <a:gd name="connsiteY2101" fmla="*/ 340519 h 514350"/>
                <a:gd name="connsiteX2102" fmla="*/ 2192179 w 6400800"/>
                <a:gd name="connsiteY2102" fmla="*/ 283369 h 514350"/>
                <a:gd name="connsiteX2103" fmla="*/ 2212181 w 6400800"/>
                <a:gd name="connsiteY2103" fmla="*/ 190024 h 514350"/>
                <a:gd name="connsiteX2104" fmla="*/ 2183606 w 6400800"/>
                <a:gd name="connsiteY2104" fmla="*/ 272891 h 514350"/>
                <a:gd name="connsiteX2105" fmla="*/ 2187416 w 6400800"/>
                <a:gd name="connsiteY2105" fmla="*/ 253841 h 514350"/>
                <a:gd name="connsiteX2106" fmla="*/ 2192179 w 6400800"/>
                <a:gd name="connsiteY2106" fmla="*/ 231934 h 514350"/>
                <a:gd name="connsiteX2107" fmla="*/ 2196941 w 6400800"/>
                <a:gd name="connsiteY2107" fmla="*/ 210026 h 514350"/>
                <a:gd name="connsiteX2108" fmla="*/ 2200751 w 6400800"/>
                <a:gd name="connsiteY2108" fmla="*/ 193834 h 514350"/>
                <a:gd name="connsiteX2109" fmla="*/ 2204561 w 6400800"/>
                <a:gd name="connsiteY2109" fmla="*/ 179546 h 514350"/>
                <a:gd name="connsiteX2110" fmla="*/ 2211229 w 6400800"/>
                <a:gd name="connsiteY2110" fmla="*/ 155734 h 514350"/>
                <a:gd name="connsiteX2111" fmla="*/ 2217896 w 6400800"/>
                <a:gd name="connsiteY2111" fmla="*/ 134779 h 514350"/>
                <a:gd name="connsiteX2112" fmla="*/ 2211229 w 6400800"/>
                <a:gd name="connsiteY2112" fmla="*/ 148114 h 514350"/>
                <a:gd name="connsiteX2113" fmla="*/ 2211229 w 6400800"/>
                <a:gd name="connsiteY2113" fmla="*/ 147161 h 514350"/>
                <a:gd name="connsiteX2114" fmla="*/ 2216944 w 6400800"/>
                <a:gd name="connsiteY2114" fmla="*/ 125254 h 514350"/>
                <a:gd name="connsiteX2115" fmla="*/ 2222659 w 6400800"/>
                <a:gd name="connsiteY2115" fmla="*/ 105251 h 514350"/>
                <a:gd name="connsiteX2116" fmla="*/ 2233136 w 6400800"/>
                <a:gd name="connsiteY2116" fmla="*/ 72866 h 514350"/>
                <a:gd name="connsiteX2117" fmla="*/ 2242661 w 6400800"/>
                <a:gd name="connsiteY2117" fmla="*/ 45244 h 514350"/>
                <a:gd name="connsiteX2118" fmla="*/ 2229326 w 6400800"/>
                <a:gd name="connsiteY2118" fmla="*/ 71914 h 514350"/>
                <a:gd name="connsiteX2119" fmla="*/ 2215991 w 6400800"/>
                <a:gd name="connsiteY2119" fmla="*/ 103346 h 514350"/>
                <a:gd name="connsiteX2120" fmla="*/ 2208371 w 6400800"/>
                <a:gd name="connsiteY2120" fmla="*/ 122396 h 514350"/>
                <a:gd name="connsiteX2121" fmla="*/ 2200751 w 6400800"/>
                <a:gd name="connsiteY2121" fmla="*/ 144304 h 514350"/>
                <a:gd name="connsiteX2122" fmla="*/ 2184559 w 6400800"/>
                <a:gd name="connsiteY2122" fmla="*/ 193834 h 514350"/>
                <a:gd name="connsiteX2123" fmla="*/ 2175034 w 6400800"/>
                <a:gd name="connsiteY2123" fmla="*/ 228124 h 514350"/>
                <a:gd name="connsiteX2124" fmla="*/ 2177891 w 6400800"/>
                <a:gd name="connsiteY2124" fmla="*/ 203359 h 514350"/>
                <a:gd name="connsiteX2125" fmla="*/ 2178844 w 6400800"/>
                <a:gd name="connsiteY2125" fmla="*/ 190024 h 514350"/>
                <a:gd name="connsiteX2126" fmla="*/ 2180749 w 6400800"/>
                <a:gd name="connsiteY2126" fmla="*/ 184309 h 514350"/>
                <a:gd name="connsiteX2127" fmla="*/ 2179796 w 6400800"/>
                <a:gd name="connsiteY2127" fmla="*/ 187166 h 514350"/>
                <a:gd name="connsiteX2128" fmla="*/ 2180749 w 6400800"/>
                <a:gd name="connsiteY2128" fmla="*/ 176689 h 514350"/>
                <a:gd name="connsiteX2129" fmla="*/ 2175986 w 6400800"/>
                <a:gd name="connsiteY2129" fmla="*/ 194786 h 514350"/>
                <a:gd name="connsiteX2130" fmla="*/ 2170271 w 6400800"/>
                <a:gd name="connsiteY2130" fmla="*/ 208121 h 514350"/>
                <a:gd name="connsiteX2131" fmla="*/ 2144554 w 6400800"/>
                <a:gd name="connsiteY2131" fmla="*/ 271939 h 514350"/>
                <a:gd name="connsiteX2132" fmla="*/ 2135029 w 6400800"/>
                <a:gd name="connsiteY2132" fmla="*/ 296704 h 514350"/>
                <a:gd name="connsiteX2133" fmla="*/ 2135029 w 6400800"/>
                <a:gd name="connsiteY2133" fmla="*/ 295751 h 514350"/>
                <a:gd name="connsiteX2134" fmla="*/ 2129314 w 6400800"/>
                <a:gd name="connsiteY2134" fmla="*/ 282416 h 514350"/>
                <a:gd name="connsiteX2135" fmla="*/ 2137886 w 6400800"/>
                <a:gd name="connsiteY2135" fmla="*/ 231934 h 514350"/>
                <a:gd name="connsiteX2136" fmla="*/ 2141696 w 6400800"/>
                <a:gd name="connsiteY2136" fmla="*/ 210026 h 514350"/>
                <a:gd name="connsiteX2137" fmla="*/ 2134076 w 6400800"/>
                <a:gd name="connsiteY2137" fmla="*/ 230981 h 514350"/>
                <a:gd name="connsiteX2138" fmla="*/ 2123599 w 6400800"/>
                <a:gd name="connsiteY2138" fmla="*/ 263366 h 514350"/>
                <a:gd name="connsiteX2139" fmla="*/ 2122646 w 6400800"/>
                <a:gd name="connsiteY2139" fmla="*/ 253841 h 514350"/>
                <a:gd name="connsiteX2140" fmla="*/ 2117884 w 6400800"/>
                <a:gd name="connsiteY2140" fmla="*/ 211931 h 514350"/>
                <a:gd name="connsiteX2141" fmla="*/ 2112169 w 6400800"/>
                <a:gd name="connsiteY2141" fmla="*/ 176689 h 514350"/>
                <a:gd name="connsiteX2142" fmla="*/ 2107406 w 6400800"/>
                <a:gd name="connsiteY2142" fmla="*/ 150019 h 514350"/>
                <a:gd name="connsiteX2143" fmla="*/ 2102644 w 6400800"/>
                <a:gd name="connsiteY2143" fmla="*/ 127159 h 514350"/>
                <a:gd name="connsiteX2144" fmla="*/ 2103596 w 6400800"/>
                <a:gd name="connsiteY2144" fmla="*/ 150971 h 514350"/>
                <a:gd name="connsiteX2145" fmla="*/ 2104549 w 6400800"/>
                <a:gd name="connsiteY2145" fmla="*/ 168116 h 514350"/>
                <a:gd name="connsiteX2146" fmla="*/ 2104549 w 6400800"/>
                <a:gd name="connsiteY2146" fmla="*/ 183356 h 514350"/>
                <a:gd name="connsiteX2147" fmla="*/ 2105501 w 6400800"/>
                <a:gd name="connsiteY2147" fmla="*/ 207169 h 514350"/>
                <a:gd name="connsiteX2148" fmla="*/ 2106454 w 6400800"/>
                <a:gd name="connsiteY2148" fmla="*/ 225266 h 514350"/>
                <a:gd name="connsiteX2149" fmla="*/ 2104549 w 6400800"/>
                <a:gd name="connsiteY2149" fmla="*/ 221456 h 514350"/>
                <a:gd name="connsiteX2150" fmla="*/ 2104549 w 6400800"/>
                <a:gd name="connsiteY2150" fmla="*/ 221456 h 514350"/>
                <a:gd name="connsiteX2151" fmla="*/ 2104549 w 6400800"/>
                <a:gd name="connsiteY2151" fmla="*/ 221456 h 514350"/>
                <a:gd name="connsiteX2152" fmla="*/ 2102644 w 6400800"/>
                <a:gd name="connsiteY2152" fmla="*/ 215741 h 514350"/>
                <a:gd name="connsiteX2153" fmla="*/ 2101691 w 6400800"/>
                <a:gd name="connsiteY2153" fmla="*/ 205264 h 514350"/>
                <a:gd name="connsiteX2154" fmla="*/ 2098834 w 6400800"/>
                <a:gd name="connsiteY2154" fmla="*/ 176689 h 514350"/>
                <a:gd name="connsiteX2155" fmla="*/ 2097881 w 6400800"/>
                <a:gd name="connsiteY2155" fmla="*/ 168116 h 514350"/>
                <a:gd name="connsiteX2156" fmla="*/ 2102644 w 6400800"/>
                <a:gd name="connsiteY2156" fmla="*/ 149066 h 514350"/>
                <a:gd name="connsiteX2157" fmla="*/ 2096929 w 6400800"/>
                <a:gd name="connsiteY2157" fmla="*/ 162401 h 514350"/>
                <a:gd name="connsiteX2158" fmla="*/ 2095024 w 6400800"/>
                <a:gd name="connsiteY2158" fmla="*/ 151924 h 514350"/>
                <a:gd name="connsiteX2159" fmla="*/ 2095024 w 6400800"/>
                <a:gd name="connsiteY2159" fmla="*/ 167164 h 514350"/>
                <a:gd name="connsiteX2160" fmla="*/ 2066449 w 6400800"/>
                <a:gd name="connsiteY2160" fmla="*/ 235744 h 514350"/>
                <a:gd name="connsiteX2161" fmla="*/ 2056924 w 6400800"/>
                <a:gd name="connsiteY2161" fmla="*/ 259556 h 514350"/>
                <a:gd name="connsiteX2162" fmla="*/ 2063591 w 6400800"/>
                <a:gd name="connsiteY2162" fmla="*/ 219551 h 514350"/>
                <a:gd name="connsiteX2163" fmla="*/ 2052161 w 6400800"/>
                <a:gd name="connsiteY2163" fmla="*/ 252889 h 514350"/>
                <a:gd name="connsiteX2164" fmla="*/ 2050256 w 6400800"/>
                <a:gd name="connsiteY2164" fmla="*/ 248126 h 514350"/>
                <a:gd name="connsiteX2165" fmla="*/ 2050256 w 6400800"/>
                <a:gd name="connsiteY2165" fmla="*/ 233839 h 514350"/>
                <a:gd name="connsiteX2166" fmla="*/ 2048351 w 6400800"/>
                <a:gd name="connsiteY2166" fmla="*/ 244316 h 514350"/>
                <a:gd name="connsiteX2167" fmla="*/ 2046446 w 6400800"/>
                <a:gd name="connsiteY2167" fmla="*/ 240506 h 514350"/>
                <a:gd name="connsiteX2168" fmla="*/ 2047399 w 6400800"/>
                <a:gd name="connsiteY2168" fmla="*/ 247174 h 514350"/>
                <a:gd name="connsiteX2169" fmla="*/ 2044541 w 6400800"/>
                <a:gd name="connsiteY2169" fmla="*/ 266224 h 514350"/>
                <a:gd name="connsiteX2170" fmla="*/ 2043589 w 6400800"/>
                <a:gd name="connsiteY2170" fmla="*/ 259556 h 514350"/>
                <a:gd name="connsiteX2171" fmla="*/ 2041684 w 6400800"/>
                <a:gd name="connsiteY2171" fmla="*/ 249079 h 514350"/>
                <a:gd name="connsiteX2172" fmla="*/ 2048351 w 6400800"/>
                <a:gd name="connsiteY2172" fmla="*/ 184309 h 514350"/>
                <a:gd name="connsiteX2173" fmla="*/ 2039779 w 6400800"/>
                <a:gd name="connsiteY2173" fmla="*/ 216694 h 514350"/>
                <a:gd name="connsiteX2174" fmla="*/ 2036921 w 6400800"/>
                <a:gd name="connsiteY2174" fmla="*/ 223361 h 514350"/>
                <a:gd name="connsiteX2175" fmla="*/ 2035969 w 6400800"/>
                <a:gd name="connsiteY2175" fmla="*/ 218599 h 514350"/>
                <a:gd name="connsiteX2176" fmla="*/ 2031206 w 6400800"/>
                <a:gd name="connsiteY2176" fmla="*/ 187166 h 514350"/>
                <a:gd name="connsiteX2177" fmla="*/ 2028349 w 6400800"/>
                <a:gd name="connsiteY2177" fmla="*/ 169069 h 514350"/>
                <a:gd name="connsiteX2178" fmla="*/ 2031206 w 6400800"/>
                <a:gd name="connsiteY2178" fmla="*/ 147161 h 514350"/>
                <a:gd name="connsiteX2179" fmla="*/ 2028349 w 6400800"/>
                <a:gd name="connsiteY2179" fmla="*/ 157639 h 514350"/>
                <a:gd name="connsiteX2180" fmla="*/ 2030254 w 6400800"/>
                <a:gd name="connsiteY2180" fmla="*/ 138589 h 514350"/>
                <a:gd name="connsiteX2181" fmla="*/ 2023586 w 6400800"/>
                <a:gd name="connsiteY2181" fmla="*/ 160496 h 514350"/>
                <a:gd name="connsiteX2182" fmla="*/ 2017871 w 6400800"/>
                <a:gd name="connsiteY2182" fmla="*/ 186214 h 514350"/>
                <a:gd name="connsiteX2183" fmla="*/ 2016919 w 6400800"/>
                <a:gd name="connsiteY2183" fmla="*/ 191929 h 514350"/>
                <a:gd name="connsiteX2184" fmla="*/ 2016919 w 6400800"/>
                <a:gd name="connsiteY2184" fmla="*/ 190976 h 514350"/>
                <a:gd name="connsiteX2185" fmla="*/ 2019776 w 6400800"/>
                <a:gd name="connsiteY2185" fmla="*/ 158591 h 514350"/>
                <a:gd name="connsiteX2186" fmla="*/ 2015014 w 6400800"/>
                <a:gd name="connsiteY2186" fmla="*/ 178594 h 514350"/>
                <a:gd name="connsiteX2187" fmla="*/ 2014061 w 6400800"/>
                <a:gd name="connsiteY2187" fmla="*/ 174784 h 514350"/>
                <a:gd name="connsiteX2188" fmla="*/ 2014061 w 6400800"/>
                <a:gd name="connsiteY2188" fmla="*/ 177641 h 514350"/>
                <a:gd name="connsiteX2189" fmla="*/ 2011204 w 6400800"/>
                <a:gd name="connsiteY2189" fmla="*/ 163354 h 514350"/>
                <a:gd name="connsiteX2190" fmla="*/ 2003584 w 6400800"/>
                <a:gd name="connsiteY2190" fmla="*/ 125254 h 514350"/>
                <a:gd name="connsiteX2191" fmla="*/ 1996916 w 6400800"/>
                <a:gd name="connsiteY2191" fmla="*/ 91916 h 514350"/>
                <a:gd name="connsiteX2192" fmla="*/ 1999774 w 6400800"/>
                <a:gd name="connsiteY2192" fmla="*/ 125254 h 514350"/>
                <a:gd name="connsiteX2193" fmla="*/ 2003584 w 6400800"/>
                <a:gd name="connsiteY2193" fmla="*/ 164306 h 514350"/>
                <a:gd name="connsiteX2194" fmla="*/ 2008346 w 6400800"/>
                <a:gd name="connsiteY2194" fmla="*/ 203359 h 514350"/>
                <a:gd name="connsiteX2195" fmla="*/ 1999774 w 6400800"/>
                <a:gd name="connsiteY2195" fmla="*/ 240506 h 514350"/>
                <a:gd name="connsiteX2196" fmla="*/ 1984534 w 6400800"/>
                <a:gd name="connsiteY2196" fmla="*/ 314801 h 514350"/>
                <a:gd name="connsiteX2197" fmla="*/ 1984534 w 6400800"/>
                <a:gd name="connsiteY2197" fmla="*/ 283369 h 514350"/>
                <a:gd name="connsiteX2198" fmla="*/ 1984534 w 6400800"/>
                <a:gd name="connsiteY2198" fmla="*/ 267176 h 514350"/>
                <a:gd name="connsiteX2199" fmla="*/ 1986439 w 6400800"/>
                <a:gd name="connsiteY2199" fmla="*/ 263366 h 514350"/>
                <a:gd name="connsiteX2200" fmla="*/ 1984534 w 6400800"/>
                <a:gd name="connsiteY2200" fmla="*/ 265271 h 514350"/>
                <a:gd name="connsiteX2201" fmla="*/ 1985486 w 6400800"/>
                <a:gd name="connsiteY2201" fmla="*/ 243364 h 514350"/>
                <a:gd name="connsiteX2202" fmla="*/ 1987391 w 6400800"/>
                <a:gd name="connsiteY2202" fmla="*/ 212884 h 514350"/>
                <a:gd name="connsiteX2203" fmla="*/ 1989296 w 6400800"/>
                <a:gd name="connsiteY2203" fmla="*/ 186214 h 514350"/>
                <a:gd name="connsiteX2204" fmla="*/ 1983581 w 6400800"/>
                <a:gd name="connsiteY2204" fmla="*/ 211931 h 514350"/>
                <a:gd name="connsiteX2205" fmla="*/ 1978819 w 6400800"/>
                <a:gd name="connsiteY2205" fmla="*/ 242411 h 514350"/>
                <a:gd name="connsiteX2206" fmla="*/ 1974056 w 6400800"/>
                <a:gd name="connsiteY2206" fmla="*/ 281464 h 514350"/>
                <a:gd name="connsiteX2207" fmla="*/ 1973104 w 6400800"/>
                <a:gd name="connsiteY2207" fmla="*/ 282416 h 514350"/>
                <a:gd name="connsiteX2208" fmla="*/ 1968341 w 6400800"/>
                <a:gd name="connsiteY2208" fmla="*/ 289084 h 514350"/>
                <a:gd name="connsiteX2209" fmla="*/ 1968341 w 6400800"/>
                <a:gd name="connsiteY2209" fmla="*/ 283369 h 514350"/>
                <a:gd name="connsiteX2210" fmla="*/ 1973104 w 6400800"/>
                <a:gd name="connsiteY2210" fmla="*/ 274796 h 514350"/>
                <a:gd name="connsiteX2211" fmla="*/ 1968341 w 6400800"/>
                <a:gd name="connsiteY2211" fmla="*/ 280511 h 514350"/>
                <a:gd name="connsiteX2212" fmla="*/ 1973104 w 6400800"/>
                <a:gd name="connsiteY2212" fmla="*/ 224314 h 514350"/>
                <a:gd name="connsiteX2213" fmla="*/ 1976914 w 6400800"/>
                <a:gd name="connsiteY2213" fmla="*/ 187166 h 514350"/>
                <a:gd name="connsiteX2214" fmla="*/ 1967389 w 6400800"/>
                <a:gd name="connsiteY2214" fmla="*/ 218599 h 514350"/>
                <a:gd name="connsiteX2215" fmla="*/ 1967389 w 6400800"/>
                <a:gd name="connsiteY2215" fmla="*/ 216694 h 514350"/>
                <a:gd name="connsiteX2216" fmla="*/ 1966436 w 6400800"/>
                <a:gd name="connsiteY2216" fmla="*/ 220504 h 514350"/>
                <a:gd name="connsiteX2217" fmla="*/ 1957864 w 6400800"/>
                <a:gd name="connsiteY2217" fmla="*/ 250031 h 514350"/>
                <a:gd name="connsiteX2218" fmla="*/ 1952149 w 6400800"/>
                <a:gd name="connsiteY2218" fmla="*/ 271939 h 514350"/>
                <a:gd name="connsiteX2219" fmla="*/ 1941671 w 6400800"/>
                <a:gd name="connsiteY2219" fmla="*/ 221456 h 514350"/>
                <a:gd name="connsiteX2220" fmla="*/ 1942624 w 6400800"/>
                <a:gd name="connsiteY2220" fmla="*/ 213836 h 514350"/>
                <a:gd name="connsiteX2221" fmla="*/ 1952149 w 6400800"/>
                <a:gd name="connsiteY2221" fmla="*/ 186214 h 514350"/>
                <a:gd name="connsiteX2222" fmla="*/ 1962626 w 6400800"/>
                <a:gd name="connsiteY2222" fmla="*/ 157639 h 514350"/>
                <a:gd name="connsiteX2223" fmla="*/ 1948339 w 6400800"/>
                <a:gd name="connsiteY2223" fmla="*/ 185261 h 514350"/>
                <a:gd name="connsiteX2224" fmla="*/ 1945481 w 6400800"/>
                <a:gd name="connsiteY2224" fmla="*/ 190976 h 514350"/>
                <a:gd name="connsiteX2225" fmla="*/ 1945481 w 6400800"/>
                <a:gd name="connsiteY2225" fmla="*/ 189071 h 514350"/>
                <a:gd name="connsiteX2226" fmla="*/ 1944529 w 6400800"/>
                <a:gd name="connsiteY2226" fmla="*/ 192881 h 514350"/>
                <a:gd name="connsiteX2227" fmla="*/ 1938814 w 6400800"/>
                <a:gd name="connsiteY2227" fmla="*/ 205264 h 514350"/>
                <a:gd name="connsiteX2228" fmla="*/ 1935004 w 6400800"/>
                <a:gd name="connsiteY2228" fmla="*/ 148114 h 514350"/>
                <a:gd name="connsiteX2229" fmla="*/ 1928336 w 6400800"/>
                <a:gd name="connsiteY2229" fmla="*/ 224314 h 514350"/>
                <a:gd name="connsiteX2230" fmla="*/ 1928336 w 6400800"/>
                <a:gd name="connsiteY2230" fmla="*/ 229076 h 514350"/>
                <a:gd name="connsiteX2231" fmla="*/ 1924526 w 6400800"/>
                <a:gd name="connsiteY2231" fmla="*/ 236696 h 514350"/>
                <a:gd name="connsiteX2232" fmla="*/ 1915001 w 6400800"/>
                <a:gd name="connsiteY2232" fmla="*/ 258604 h 514350"/>
                <a:gd name="connsiteX2233" fmla="*/ 1911191 w 6400800"/>
                <a:gd name="connsiteY2233" fmla="*/ 268129 h 514350"/>
                <a:gd name="connsiteX2234" fmla="*/ 1907381 w 6400800"/>
                <a:gd name="connsiteY2234" fmla="*/ 259556 h 514350"/>
                <a:gd name="connsiteX2235" fmla="*/ 1907381 w 6400800"/>
                <a:gd name="connsiteY2235" fmla="*/ 258604 h 514350"/>
                <a:gd name="connsiteX2236" fmla="*/ 1907381 w 6400800"/>
                <a:gd name="connsiteY2236" fmla="*/ 258604 h 514350"/>
                <a:gd name="connsiteX2237" fmla="*/ 1900714 w 6400800"/>
                <a:gd name="connsiteY2237" fmla="*/ 253841 h 514350"/>
                <a:gd name="connsiteX2238" fmla="*/ 1897856 w 6400800"/>
                <a:gd name="connsiteY2238" fmla="*/ 252889 h 514350"/>
                <a:gd name="connsiteX2239" fmla="*/ 1896904 w 6400800"/>
                <a:gd name="connsiteY2239" fmla="*/ 252889 h 514350"/>
                <a:gd name="connsiteX2240" fmla="*/ 1896904 w 6400800"/>
                <a:gd name="connsiteY2240" fmla="*/ 250984 h 514350"/>
                <a:gd name="connsiteX2241" fmla="*/ 1897856 w 6400800"/>
                <a:gd name="connsiteY2241" fmla="*/ 246221 h 514350"/>
                <a:gd name="connsiteX2242" fmla="*/ 1902619 w 6400800"/>
                <a:gd name="connsiteY2242" fmla="*/ 230029 h 514350"/>
                <a:gd name="connsiteX2243" fmla="*/ 1903571 w 6400800"/>
                <a:gd name="connsiteY2243" fmla="*/ 226219 h 514350"/>
                <a:gd name="connsiteX2244" fmla="*/ 1902619 w 6400800"/>
                <a:gd name="connsiteY2244" fmla="*/ 227171 h 514350"/>
                <a:gd name="connsiteX2245" fmla="*/ 1906429 w 6400800"/>
                <a:gd name="connsiteY2245" fmla="*/ 214789 h 514350"/>
                <a:gd name="connsiteX2246" fmla="*/ 1915001 w 6400800"/>
                <a:gd name="connsiteY2246" fmla="*/ 190976 h 514350"/>
                <a:gd name="connsiteX2247" fmla="*/ 1922621 w 6400800"/>
                <a:gd name="connsiteY2247" fmla="*/ 170021 h 514350"/>
                <a:gd name="connsiteX2248" fmla="*/ 1911191 w 6400800"/>
                <a:gd name="connsiteY2248" fmla="*/ 189071 h 514350"/>
                <a:gd name="connsiteX2249" fmla="*/ 1899761 w 6400800"/>
                <a:gd name="connsiteY2249" fmla="*/ 211931 h 514350"/>
                <a:gd name="connsiteX2250" fmla="*/ 1893094 w 6400800"/>
                <a:gd name="connsiteY2250" fmla="*/ 226219 h 514350"/>
                <a:gd name="connsiteX2251" fmla="*/ 1889284 w 6400800"/>
                <a:gd name="connsiteY2251" fmla="*/ 235744 h 514350"/>
                <a:gd name="connsiteX2252" fmla="*/ 1888331 w 6400800"/>
                <a:gd name="connsiteY2252" fmla="*/ 232886 h 514350"/>
                <a:gd name="connsiteX2253" fmla="*/ 1889284 w 6400800"/>
                <a:gd name="connsiteY2253" fmla="*/ 216694 h 514350"/>
                <a:gd name="connsiteX2254" fmla="*/ 1891189 w 6400800"/>
                <a:gd name="connsiteY2254" fmla="*/ 200501 h 514350"/>
                <a:gd name="connsiteX2255" fmla="*/ 1894046 w 6400800"/>
                <a:gd name="connsiteY2255" fmla="*/ 187166 h 514350"/>
                <a:gd name="connsiteX2256" fmla="*/ 1899761 w 6400800"/>
                <a:gd name="connsiteY2256" fmla="*/ 169069 h 514350"/>
                <a:gd name="connsiteX2257" fmla="*/ 1902619 w 6400800"/>
                <a:gd name="connsiteY2257" fmla="*/ 162401 h 514350"/>
                <a:gd name="connsiteX2258" fmla="*/ 1898809 w 6400800"/>
                <a:gd name="connsiteY2258" fmla="*/ 168116 h 514350"/>
                <a:gd name="connsiteX2259" fmla="*/ 1890236 w 6400800"/>
                <a:gd name="connsiteY2259" fmla="*/ 186214 h 514350"/>
                <a:gd name="connsiteX2260" fmla="*/ 1885474 w 6400800"/>
                <a:gd name="connsiteY2260" fmla="*/ 199549 h 514350"/>
                <a:gd name="connsiteX2261" fmla="*/ 1882616 w 6400800"/>
                <a:gd name="connsiteY2261" fmla="*/ 213836 h 514350"/>
                <a:gd name="connsiteX2262" fmla="*/ 1882616 w 6400800"/>
                <a:gd name="connsiteY2262" fmla="*/ 210026 h 514350"/>
                <a:gd name="connsiteX2263" fmla="*/ 1878806 w 6400800"/>
                <a:gd name="connsiteY2263" fmla="*/ 228124 h 514350"/>
                <a:gd name="connsiteX2264" fmla="*/ 1874996 w 6400800"/>
                <a:gd name="connsiteY2264" fmla="*/ 243364 h 514350"/>
                <a:gd name="connsiteX2265" fmla="*/ 1874996 w 6400800"/>
                <a:gd name="connsiteY2265" fmla="*/ 237649 h 514350"/>
                <a:gd name="connsiteX2266" fmla="*/ 1872139 w 6400800"/>
                <a:gd name="connsiteY2266" fmla="*/ 255746 h 514350"/>
                <a:gd name="connsiteX2267" fmla="*/ 1868329 w 6400800"/>
                <a:gd name="connsiteY2267" fmla="*/ 270986 h 514350"/>
                <a:gd name="connsiteX2268" fmla="*/ 1869281 w 6400800"/>
                <a:gd name="connsiteY2268" fmla="*/ 259556 h 514350"/>
                <a:gd name="connsiteX2269" fmla="*/ 1874996 w 6400800"/>
                <a:gd name="connsiteY2269" fmla="*/ 213836 h 514350"/>
                <a:gd name="connsiteX2270" fmla="*/ 1877854 w 6400800"/>
                <a:gd name="connsiteY2270" fmla="*/ 193834 h 514350"/>
                <a:gd name="connsiteX2271" fmla="*/ 1881664 w 6400800"/>
                <a:gd name="connsiteY2271" fmla="*/ 175736 h 514350"/>
                <a:gd name="connsiteX2272" fmla="*/ 1888331 w 6400800"/>
                <a:gd name="connsiteY2272" fmla="*/ 146209 h 514350"/>
                <a:gd name="connsiteX2273" fmla="*/ 1894999 w 6400800"/>
                <a:gd name="connsiteY2273" fmla="*/ 120491 h 514350"/>
                <a:gd name="connsiteX2274" fmla="*/ 1885474 w 6400800"/>
                <a:gd name="connsiteY2274" fmla="*/ 144304 h 514350"/>
                <a:gd name="connsiteX2275" fmla="*/ 1875949 w 6400800"/>
                <a:gd name="connsiteY2275" fmla="*/ 172879 h 514350"/>
                <a:gd name="connsiteX2276" fmla="*/ 1870234 w 6400800"/>
                <a:gd name="connsiteY2276" fmla="*/ 190976 h 514350"/>
                <a:gd name="connsiteX2277" fmla="*/ 1865471 w 6400800"/>
                <a:gd name="connsiteY2277" fmla="*/ 210979 h 514350"/>
                <a:gd name="connsiteX2278" fmla="*/ 1858804 w 6400800"/>
                <a:gd name="connsiteY2278" fmla="*/ 238601 h 514350"/>
                <a:gd name="connsiteX2279" fmla="*/ 1856899 w 6400800"/>
                <a:gd name="connsiteY2279" fmla="*/ 194786 h 514350"/>
                <a:gd name="connsiteX2280" fmla="*/ 1854994 w 6400800"/>
                <a:gd name="connsiteY2280" fmla="*/ 172879 h 514350"/>
                <a:gd name="connsiteX2281" fmla="*/ 1853089 w 6400800"/>
                <a:gd name="connsiteY2281" fmla="*/ 194786 h 514350"/>
                <a:gd name="connsiteX2282" fmla="*/ 1848326 w 6400800"/>
                <a:gd name="connsiteY2282" fmla="*/ 250984 h 514350"/>
                <a:gd name="connsiteX2283" fmla="*/ 1845469 w 6400800"/>
                <a:gd name="connsiteY2283" fmla="*/ 282416 h 514350"/>
                <a:gd name="connsiteX2284" fmla="*/ 1839754 w 6400800"/>
                <a:gd name="connsiteY2284" fmla="*/ 273844 h 514350"/>
                <a:gd name="connsiteX2285" fmla="*/ 1838801 w 6400800"/>
                <a:gd name="connsiteY2285" fmla="*/ 269081 h 514350"/>
                <a:gd name="connsiteX2286" fmla="*/ 1838801 w 6400800"/>
                <a:gd name="connsiteY2286" fmla="*/ 272891 h 514350"/>
                <a:gd name="connsiteX2287" fmla="*/ 1827371 w 6400800"/>
                <a:gd name="connsiteY2287" fmla="*/ 256699 h 514350"/>
                <a:gd name="connsiteX2288" fmla="*/ 1828324 w 6400800"/>
                <a:gd name="connsiteY2288" fmla="*/ 190976 h 514350"/>
                <a:gd name="connsiteX2289" fmla="*/ 1822609 w 6400800"/>
                <a:gd name="connsiteY2289" fmla="*/ 222409 h 514350"/>
                <a:gd name="connsiteX2290" fmla="*/ 1822609 w 6400800"/>
                <a:gd name="connsiteY2290" fmla="*/ 214789 h 514350"/>
                <a:gd name="connsiteX2291" fmla="*/ 1822609 w 6400800"/>
                <a:gd name="connsiteY2291" fmla="*/ 161449 h 514350"/>
                <a:gd name="connsiteX2292" fmla="*/ 1823561 w 6400800"/>
                <a:gd name="connsiteY2292" fmla="*/ 113824 h 514350"/>
                <a:gd name="connsiteX2293" fmla="*/ 1823561 w 6400800"/>
                <a:gd name="connsiteY2293" fmla="*/ 15716 h 514350"/>
                <a:gd name="connsiteX2294" fmla="*/ 1812131 w 6400800"/>
                <a:gd name="connsiteY2294" fmla="*/ 112871 h 514350"/>
                <a:gd name="connsiteX2295" fmla="*/ 1807369 w 6400800"/>
                <a:gd name="connsiteY2295" fmla="*/ 160496 h 514350"/>
                <a:gd name="connsiteX2296" fmla="*/ 1805464 w 6400800"/>
                <a:gd name="connsiteY2296" fmla="*/ 209074 h 514350"/>
                <a:gd name="connsiteX2297" fmla="*/ 1801654 w 6400800"/>
                <a:gd name="connsiteY2297" fmla="*/ 211931 h 514350"/>
                <a:gd name="connsiteX2298" fmla="*/ 1801654 w 6400800"/>
                <a:gd name="connsiteY2298" fmla="*/ 211931 h 514350"/>
                <a:gd name="connsiteX2299" fmla="*/ 1801654 w 6400800"/>
                <a:gd name="connsiteY2299" fmla="*/ 212884 h 514350"/>
                <a:gd name="connsiteX2300" fmla="*/ 1790224 w 6400800"/>
                <a:gd name="connsiteY2300" fmla="*/ 237649 h 514350"/>
                <a:gd name="connsiteX2301" fmla="*/ 1790224 w 6400800"/>
                <a:gd name="connsiteY2301" fmla="*/ 207169 h 514350"/>
                <a:gd name="connsiteX2302" fmla="*/ 1786414 w 6400800"/>
                <a:gd name="connsiteY2302" fmla="*/ 239554 h 514350"/>
                <a:gd name="connsiteX2303" fmla="*/ 1784509 w 6400800"/>
                <a:gd name="connsiteY2303" fmla="*/ 250984 h 514350"/>
                <a:gd name="connsiteX2304" fmla="*/ 1783556 w 6400800"/>
                <a:gd name="connsiteY2304" fmla="*/ 252889 h 514350"/>
                <a:gd name="connsiteX2305" fmla="*/ 1776889 w 6400800"/>
                <a:gd name="connsiteY2305" fmla="*/ 226219 h 514350"/>
                <a:gd name="connsiteX2306" fmla="*/ 1777841 w 6400800"/>
                <a:gd name="connsiteY2306" fmla="*/ 253841 h 514350"/>
                <a:gd name="connsiteX2307" fmla="*/ 1768316 w 6400800"/>
                <a:gd name="connsiteY2307" fmla="*/ 230029 h 514350"/>
                <a:gd name="connsiteX2308" fmla="*/ 1759744 w 6400800"/>
                <a:gd name="connsiteY2308" fmla="*/ 209074 h 514350"/>
                <a:gd name="connsiteX2309" fmla="*/ 1759744 w 6400800"/>
                <a:gd name="connsiteY2309" fmla="*/ 208121 h 514350"/>
                <a:gd name="connsiteX2310" fmla="*/ 1761649 w 6400800"/>
                <a:gd name="connsiteY2310" fmla="*/ 198596 h 514350"/>
                <a:gd name="connsiteX2311" fmla="*/ 1759744 w 6400800"/>
                <a:gd name="connsiteY2311" fmla="*/ 203359 h 514350"/>
                <a:gd name="connsiteX2312" fmla="*/ 1759744 w 6400800"/>
                <a:gd name="connsiteY2312" fmla="*/ 195739 h 514350"/>
                <a:gd name="connsiteX2313" fmla="*/ 1761649 w 6400800"/>
                <a:gd name="connsiteY2313" fmla="*/ 171926 h 514350"/>
                <a:gd name="connsiteX2314" fmla="*/ 1762601 w 6400800"/>
                <a:gd name="connsiteY2314" fmla="*/ 151924 h 514350"/>
                <a:gd name="connsiteX2315" fmla="*/ 1756886 w 6400800"/>
                <a:gd name="connsiteY2315" fmla="*/ 171926 h 514350"/>
                <a:gd name="connsiteX2316" fmla="*/ 1749266 w 6400800"/>
                <a:gd name="connsiteY2316" fmla="*/ 205264 h 514350"/>
                <a:gd name="connsiteX2317" fmla="*/ 1745456 w 6400800"/>
                <a:gd name="connsiteY2317" fmla="*/ 197644 h 514350"/>
                <a:gd name="connsiteX2318" fmla="*/ 1749266 w 6400800"/>
                <a:gd name="connsiteY2318" fmla="*/ 208121 h 514350"/>
                <a:gd name="connsiteX2319" fmla="*/ 1746409 w 6400800"/>
                <a:gd name="connsiteY2319" fmla="*/ 225266 h 514350"/>
                <a:gd name="connsiteX2320" fmla="*/ 1746409 w 6400800"/>
                <a:gd name="connsiteY2320" fmla="*/ 228124 h 514350"/>
                <a:gd name="connsiteX2321" fmla="*/ 1737836 w 6400800"/>
                <a:gd name="connsiteY2321" fmla="*/ 171926 h 514350"/>
                <a:gd name="connsiteX2322" fmla="*/ 1738789 w 6400800"/>
                <a:gd name="connsiteY2322" fmla="*/ 252889 h 514350"/>
                <a:gd name="connsiteX2323" fmla="*/ 1736884 w 6400800"/>
                <a:gd name="connsiteY2323" fmla="*/ 256699 h 514350"/>
                <a:gd name="connsiteX2324" fmla="*/ 1735931 w 6400800"/>
                <a:gd name="connsiteY2324" fmla="*/ 252889 h 514350"/>
                <a:gd name="connsiteX2325" fmla="*/ 1735931 w 6400800"/>
                <a:gd name="connsiteY2325" fmla="*/ 257651 h 514350"/>
                <a:gd name="connsiteX2326" fmla="*/ 1733074 w 6400800"/>
                <a:gd name="connsiteY2326" fmla="*/ 264319 h 514350"/>
                <a:gd name="connsiteX2327" fmla="*/ 1727359 w 6400800"/>
                <a:gd name="connsiteY2327" fmla="*/ 283369 h 514350"/>
                <a:gd name="connsiteX2328" fmla="*/ 1722596 w 6400800"/>
                <a:gd name="connsiteY2328" fmla="*/ 299561 h 514350"/>
                <a:gd name="connsiteX2329" fmla="*/ 1718786 w 6400800"/>
                <a:gd name="connsiteY2329" fmla="*/ 267176 h 514350"/>
                <a:gd name="connsiteX2330" fmla="*/ 1716881 w 6400800"/>
                <a:gd name="connsiteY2330" fmla="*/ 317659 h 514350"/>
                <a:gd name="connsiteX2331" fmla="*/ 1716881 w 6400800"/>
                <a:gd name="connsiteY2331" fmla="*/ 318611 h 514350"/>
                <a:gd name="connsiteX2332" fmla="*/ 1714976 w 6400800"/>
                <a:gd name="connsiteY2332" fmla="*/ 316706 h 514350"/>
                <a:gd name="connsiteX2333" fmla="*/ 1707356 w 6400800"/>
                <a:gd name="connsiteY2333" fmla="*/ 288131 h 514350"/>
                <a:gd name="connsiteX2334" fmla="*/ 1709261 w 6400800"/>
                <a:gd name="connsiteY2334" fmla="*/ 237649 h 514350"/>
                <a:gd name="connsiteX2335" fmla="*/ 1710214 w 6400800"/>
                <a:gd name="connsiteY2335" fmla="*/ 163354 h 514350"/>
                <a:gd name="connsiteX2336" fmla="*/ 1698784 w 6400800"/>
                <a:gd name="connsiteY2336" fmla="*/ 229076 h 514350"/>
                <a:gd name="connsiteX2337" fmla="*/ 1694021 w 6400800"/>
                <a:gd name="connsiteY2337" fmla="*/ 203359 h 514350"/>
                <a:gd name="connsiteX2338" fmla="*/ 1699736 w 6400800"/>
                <a:gd name="connsiteY2338" fmla="*/ 170021 h 514350"/>
                <a:gd name="connsiteX2339" fmla="*/ 1706404 w 6400800"/>
                <a:gd name="connsiteY2339" fmla="*/ 119539 h 514350"/>
                <a:gd name="connsiteX2340" fmla="*/ 1710214 w 6400800"/>
                <a:gd name="connsiteY2340" fmla="*/ 80486 h 514350"/>
                <a:gd name="connsiteX2341" fmla="*/ 1713071 w 6400800"/>
                <a:gd name="connsiteY2341" fmla="*/ 47149 h 514350"/>
                <a:gd name="connsiteX2342" fmla="*/ 1706404 w 6400800"/>
                <a:gd name="connsiteY2342" fmla="*/ 80486 h 514350"/>
                <a:gd name="connsiteX2343" fmla="*/ 1698784 w 6400800"/>
                <a:gd name="connsiteY2343" fmla="*/ 118586 h 514350"/>
                <a:gd name="connsiteX2344" fmla="*/ 1688306 w 6400800"/>
                <a:gd name="connsiteY2344" fmla="*/ 168116 h 514350"/>
                <a:gd name="connsiteX2345" fmla="*/ 1687354 w 6400800"/>
                <a:gd name="connsiteY2345" fmla="*/ 171926 h 514350"/>
                <a:gd name="connsiteX2346" fmla="*/ 1684496 w 6400800"/>
                <a:gd name="connsiteY2346" fmla="*/ 160496 h 514350"/>
                <a:gd name="connsiteX2347" fmla="*/ 1685449 w 6400800"/>
                <a:gd name="connsiteY2347" fmla="*/ 179546 h 514350"/>
                <a:gd name="connsiteX2348" fmla="*/ 1681639 w 6400800"/>
                <a:gd name="connsiteY2348" fmla="*/ 197644 h 514350"/>
                <a:gd name="connsiteX2349" fmla="*/ 1680686 w 6400800"/>
                <a:gd name="connsiteY2349" fmla="*/ 192881 h 514350"/>
                <a:gd name="connsiteX2350" fmla="*/ 1681639 w 6400800"/>
                <a:gd name="connsiteY2350" fmla="*/ 174784 h 514350"/>
                <a:gd name="connsiteX2351" fmla="*/ 1682591 w 6400800"/>
                <a:gd name="connsiteY2351" fmla="*/ 143351 h 514350"/>
                <a:gd name="connsiteX2352" fmla="*/ 1683544 w 6400800"/>
                <a:gd name="connsiteY2352" fmla="*/ 115729 h 514350"/>
                <a:gd name="connsiteX2353" fmla="*/ 1678781 w 6400800"/>
                <a:gd name="connsiteY2353" fmla="*/ 143351 h 514350"/>
                <a:gd name="connsiteX2354" fmla="*/ 1674019 w 6400800"/>
                <a:gd name="connsiteY2354" fmla="*/ 174784 h 514350"/>
                <a:gd name="connsiteX2355" fmla="*/ 1666399 w 6400800"/>
                <a:gd name="connsiteY2355" fmla="*/ 215741 h 514350"/>
                <a:gd name="connsiteX2356" fmla="*/ 1663541 w 6400800"/>
                <a:gd name="connsiteY2356" fmla="*/ 231934 h 514350"/>
                <a:gd name="connsiteX2357" fmla="*/ 1661636 w 6400800"/>
                <a:gd name="connsiteY2357" fmla="*/ 225266 h 514350"/>
                <a:gd name="connsiteX2358" fmla="*/ 1662589 w 6400800"/>
                <a:gd name="connsiteY2358" fmla="*/ 236696 h 514350"/>
                <a:gd name="connsiteX2359" fmla="*/ 1659731 w 6400800"/>
                <a:gd name="connsiteY2359" fmla="*/ 253841 h 514350"/>
                <a:gd name="connsiteX2360" fmla="*/ 1658779 w 6400800"/>
                <a:gd name="connsiteY2360" fmla="*/ 251936 h 514350"/>
                <a:gd name="connsiteX2361" fmla="*/ 1646396 w 6400800"/>
                <a:gd name="connsiteY2361" fmla="*/ 223361 h 514350"/>
                <a:gd name="connsiteX2362" fmla="*/ 1642586 w 6400800"/>
                <a:gd name="connsiteY2362" fmla="*/ 215741 h 514350"/>
                <a:gd name="connsiteX2363" fmla="*/ 1642586 w 6400800"/>
                <a:gd name="connsiteY2363" fmla="*/ 202406 h 514350"/>
                <a:gd name="connsiteX2364" fmla="*/ 1640681 w 6400800"/>
                <a:gd name="connsiteY2364" fmla="*/ 154781 h 514350"/>
                <a:gd name="connsiteX2365" fmla="*/ 1635919 w 6400800"/>
                <a:gd name="connsiteY2365" fmla="*/ 111919 h 514350"/>
                <a:gd name="connsiteX2366" fmla="*/ 1624489 w 6400800"/>
                <a:gd name="connsiteY2366" fmla="*/ 23336 h 514350"/>
                <a:gd name="connsiteX2367" fmla="*/ 1624489 w 6400800"/>
                <a:gd name="connsiteY2367" fmla="*/ 111919 h 514350"/>
                <a:gd name="connsiteX2368" fmla="*/ 1625441 w 6400800"/>
                <a:gd name="connsiteY2368" fmla="*/ 154781 h 514350"/>
                <a:gd name="connsiteX2369" fmla="*/ 1625441 w 6400800"/>
                <a:gd name="connsiteY2369" fmla="*/ 202406 h 514350"/>
                <a:gd name="connsiteX2370" fmla="*/ 1625441 w 6400800"/>
                <a:gd name="connsiteY2370" fmla="*/ 225266 h 514350"/>
                <a:gd name="connsiteX2371" fmla="*/ 1625441 w 6400800"/>
                <a:gd name="connsiteY2371" fmla="*/ 230981 h 514350"/>
                <a:gd name="connsiteX2372" fmla="*/ 1623536 w 6400800"/>
                <a:gd name="connsiteY2372" fmla="*/ 227171 h 514350"/>
                <a:gd name="connsiteX2373" fmla="*/ 1619726 w 6400800"/>
                <a:gd name="connsiteY2373" fmla="*/ 203359 h 514350"/>
                <a:gd name="connsiteX2374" fmla="*/ 1619726 w 6400800"/>
                <a:gd name="connsiteY2374" fmla="*/ 217646 h 514350"/>
                <a:gd name="connsiteX2375" fmla="*/ 1608296 w 6400800"/>
                <a:gd name="connsiteY2375" fmla="*/ 190976 h 514350"/>
                <a:gd name="connsiteX2376" fmla="*/ 1619726 w 6400800"/>
                <a:gd name="connsiteY2376" fmla="*/ 233839 h 514350"/>
                <a:gd name="connsiteX2377" fmla="*/ 1619726 w 6400800"/>
                <a:gd name="connsiteY2377" fmla="*/ 242411 h 514350"/>
                <a:gd name="connsiteX2378" fmla="*/ 1613059 w 6400800"/>
                <a:gd name="connsiteY2378" fmla="*/ 233839 h 514350"/>
                <a:gd name="connsiteX2379" fmla="*/ 1619726 w 6400800"/>
                <a:gd name="connsiteY2379" fmla="*/ 247174 h 514350"/>
                <a:gd name="connsiteX2380" fmla="*/ 1610201 w 6400800"/>
                <a:gd name="connsiteY2380" fmla="*/ 264319 h 514350"/>
                <a:gd name="connsiteX2381" fmla="*/ 1607344 w 6400800"/>
                <a:gd name="connsiteY2381" fmla="*/ 270034 h 514350"/>
                <a:gd name="connsiteX2382" fmla="*/ 1606391 w 6400800"/>
                <a:gd name="connsiteY2382" fmla="*/ 269081 h 514350"/>
                <a:gd name="connsiteX2383" fmla="*/ 1607344 w 6400800"/>
                <a:gd name="connsiteY2383" fmla="*/ 270034 h 514350"/>
                <a:gd name="connsiteX2384" fmla="*/ 1601629 w 6400800"/>
                <a:gd name="connsiteY2384" fmla="*/ 282416 h 514350"/>
                <a:gd name="connsiteX2385" fmla="*/ 1600676 w 6400800"/>
                <a:gd name="connsiteY2385" fmla="*/ 269081 h 514350"/>
                <a:gd name="connsiteX2386" fmla="*/ 1595914 w 6400800"/>
                <a:gd name="connsiteY2386" fmla="*/ 207169 h 514350"/>
                <a:gd name="connsiteX2387" fmla="*/ 1594009 w 6400800"/>
                <a:gd name="connsiteY2387" fmla="*/ 183356 h 514350"/>
                <a:gd name="connsiteX2388" fmla="*/ 1592104 w 6400800"/>
                <a:gd name="connsiteY2388" fmla="*/ 207169 h 514350"/>
                <a:gd name="connsiteX2389" fmla="*/ 1591151 w 6400800"/>
                <a:gd name="connsiteY2389" fmla="*/ 227171 h 514350"/>
                <a:gd name="connsiteX2390" fmla="*/ 1583531 w 6400800"/>
                <a:gd name="connsiteY2390" fmla="*/ 197644 h 514350"/>
                <a:gd name="connsiteX2391" fmla="*/ 1578769 w 6400800"/>
                <a:gd name="connsiteY2391" fmla="*/ 179546 h 514350"/>
                <a:gd name="connsiteX2392" fmla="*/ 1573054 w 6400800"/>
                <a:gd name="connsiteY2392" fmla="*/ 163354 h 514350"/>
                <a:gd name="connsiteX2393" fmla="*/ 1563529 w 6400800"/>
                <a:gd name="connsiteY2393" fmla="*/ 137636 h 514350"/>
                <a:gd name="connsiteX2394" fmla="*/ 1554004 w 6400800"/>
                <a:gd name="connsiteY2394" fmla="*/ 115729 h 514350"/>
                <a:gd name="connsiteX2395" fmla="*/ 1560671 w 6400800"/>
                <a:gd name="connsiteY2395" fmla="*/ 138589 h 514350"/>
                <a:gd name="connsiteX2396" fmla="*/ 1567339 w 6400800"/>
                <a:gd name="connsiteY2396" fmla="*/ 165259 h 514350"/>
                <a:gd name="connsiteX2397" fmla="*/ 1571149 w 6400800"/>
                <a:gd name="connsiteY2397" fmla="*/ 181451 h 514350"/>
                <a:gd name="connsiteX2398" fmla="*/ 1574006 w 6400800"/>
                <a:gd name="connsiteY2398" fmla="*/ 199549 h 514350"/>
                <a:gd name="connsiteX2399" fmla="*/ 1579721 w 6400800"/>
                <a:gd name="connsiteY2399" fmla="*/ 240506 h 514350"/>
                <a:gd name="connsiteX2400" fmla="*/ 1584484 w 6400800"/>
                <a:gd name="connsiteY2400" fmla="*/ 283369 h 514350"/>
                <a:gd name="connsiteX2401" fmla="*/ 1576864 w 6400800"/>
                <a:gd name="connsiteY2401" fmla="*/ 258604 h 514350"/>
                <a:gd name="connsiteX2402" fmla="*/ 1573054 w 6400800"/>
                <a:gd name="connsiteY2402" fmla="*/ 249079 h 514350"/>
                <a:gd name="connsiteX2403" fmla="*/ 1573054 w 6400800"/>
                <a:gd name="connsiteY2403" fmla="*/ 247174 h 514350"/>
                <a:gd name="connsiteX2404" fmla="*/ 1572101 w 6400800"/>
                <a:gd name="connsiteY2404" fmla="*/ 234791 h 514350"/>
                <a:gd name="connsiteX2405" fmla="*/ 1567339 w 6400800"/>
                <a:gd name="connsiteY2405" fmla="*/ 198596 h 514350"/>
                <a:gd name="connsiteX2406" fmla="*/ 1563529 w 6400800"/>
                <a:gd name="connsiteY2406" fmla="*/ 184309 h 514350"/>
                <a:gd name="connsiteX2407" fmla="*/ 1558766 w 6400800"/>
                <a:gd name="connsiteY2407" fmla="*/ 171926 h 514350"/>
                <a:gd name="connsiteX2408" fmla="*/ 1550194 w 6400800"/>
                <a:gd name="connsiteY2408" fmla="*/ 155734 h 514350"/>
                <a:gd name="connsiteX2409" fmla="*/ 1546384 w 6400800"/>
                <a:gd name="connsiteY2409" fmla="*/ 150019 h 514350"/>
                <a:gd name="connsiteX2410" fmla="*/ 1549241 w 6400800"/>
                <a:gd name="connsiteY2410" fmla="*/ 155734 h 514350"/>
                <a:gd name="connsiteX2411" fmla="*/ 1554956 w 6400800"/>
                <a:gd name="connsiteY2411" fmla="*/ 171926 h 514350"/>
                <a:gd name="connsiteX2412" fmla="*/ 1557814 w 6400800"/>
                <a:gd name="connsiteY2412" fmla="*/ 184309 h 514350"/>
                <a:gd name="connsiteX2413" fmla="*/ 1559719 w 6400800"/>
                <a:gd name="connsiteY2413" fmla="*/ 198596 h 514350"/>
                <a:gd name="connsiteX2414" fmla="*/ 1560671 w 6400800"/>
                <a:gd name="connsiteY2414" fmla="*/ 213836 h 514350"/>
                <a:gd name="connsiteX2415" fmla="*/ 1559719 w 6400800"/>
                <a:gd name="connsiteY2415" fmla="*/ 216694 h 514350"/>
                <a:gd name="connsiteX2416" fmla="*/ 1555909 w 6400800"/>
                <a:gd name="connsiteY2416" fmla="*/ 208121 h 514350"/>
                <a:gd name="connsiteX2417" fmla="*/ 1549241 w 6400800"/>
                <a:gd name="connsiteY2417" fmla="*/ 194786 h 514350"/>
                <a:gd name="connsiteX2418" fmla="*/ 1537811 w 6400800"/>
                <a:gd name="connsiteY2418" fmla="*/ 173831 h 514350"/>
                <a:gd name="connsiteX2419" fmla="*/ 1526381 w 6400800"/>
                <a:gd name="connsiteY2419" fmla="*/ 156686 h 514350"/>
                <a:gd name="connsiteX2420" fmla="*/ 1534001 w 6400800"/>
                <a:gd name="connsiteY2420" fmla="*/ 175736 h 514350"/>
                <a:gd name="connsiteX2421" fmla="*/ 1542574 w 6400800"/>
                <a:gd name="connsiteY2421" fmla="*/ 197644 h 514350"/>
                <a:gd name="connsiteX2422" fmla="*/ 1546384 w 6400800"/>
                <a:gd name="connsiteY2422" fmla="*/ 209074 h 514350"/>
                <a:gd name="connsiteX2423" fmla="*/ 1545431 w 6400800"/>
                <a:gd name="connsiteY2423" fmla="*/ 208121 h 514350"/>
                <a:gd name="connsiteX2424" fmla="*/ 1546384 w 6400800"/>
                <a:gd name="connsiteY2424" fmla="*/ 210979 h 514350"/>
                <a:gd name="connsiteX2425" fmla="*/ 1551146 w 6400800"/>
                <a:gd name="connsiteY2425" fmla="*/ 226219 h 514350"/>
                <a:gd name="connsiteX2426" fmla="*/ 1552099 w 6400800"/>
                <a:gd name="connsiteY2426" fmla="*/ 230981 h 514350"/>
                <a:gd name="connsiteX2427" fmla="*/ 1553051 w 6400800"/>
                <a:gd name="connsiteY2427" fmla="*/ 235744 h 514350"/>
                <a:gd name="connsiteX2428" fmla="*/ 1554004 w 6400800"/>
                <a:gd name="connsiteY2428" fmla="*/ 241459 h 514350"/>
                <a:gd name="connsiteX2429" fmla="*/ 1554004 w 6400800"/>
                <a:gd name="connsiteY2429" fmla="*/ 244316 h 514350"/>
                <a:gd name="connsiteX2430" fmla="*/ 1553051 w 6400800"/>
                <a:gd name="connsiteY2430" fmla="*/ 250031 h 514350"/>
                <a:gd name="connsiteX2431" fmla="*/ 1547336 w 6400800"/>
                <a:gd name="connsiteY2431" fmla="*/ 263366 h 514350"/>
                <a:gd name="connsiteX2432" fmla="*/ 1542574 w 6400800"/>
                <a:gd name="connsiteY2432" fmla="*/ 251936 h 514350"/>
                <a:gd name="connsiteX2433" fmla="*/ 1542574 w 6400800"/>
                <a:gd name="connsiteY2433" fmla="*/ 243364 h 514350"/>
                <a:gd name="connsiteX2434" fmla="*/ 1542574 w 6400800"/>
                <a:gd name="connsiteY2434" fmla="*/ 222409 h 514350"/>
                <a:gd name="connsiteX2435" fmla="*/ 1538764 w 6400800"/>
                <a:gd name="connsiteY2435" fmla="*/ 243364 h 514350"/>
                <a:gd name="connsiteX2436" fmla="*/ 1538764 w 6400800"/>
                <a:gd name="connsiteY2436" fmla="*/ 243364 h 514350"/>
                <a:gd name="connsiteX2437" fmla="*/ 1531144 w 6400800"/>
                <a:gd name="connsiteY2437" fmla="*/ 226219 h 514350"/>
                <a:gd name="connsiteX2438" fmla="*/ 1537811 w 6400800"/>
                <a:gd name="connsiteY2438" fmla="*/ 250031 h 514350"/>
                <a:gd name="connsiteX2439" fmla="*/ 1536859 w 6400800"/>
                <a:gd name="connsiteY2439" fmla="*/ 258604 h 514350"/>
                <a:gd name="connsiteX2440" fmla="*/ 1531144 w 6400800"/>
                <a:gd name="connsiteY2440" fmla="*/ 239554 h 514350"/>
                <a:gd name="connsiteX2441" fmla="*/ 1525429 w 6400800"/>
                <a:gd name="connsiteY2441" fmla="*/ 220504 h 514350"/>
                <a:gd name="connsiteX2442" fmla="*/ 1521619 w 6400800"/>
                <a:gd name="connsiteY2442" fmla="*/ 211931 h 514350"/>
                <a:gd name="connsiteX2443" fmla="*/ 1515904 w 6400800"/>
                <a:gd name="connsiteY2443" fmla="*/ 150019 h 514350"/>
                <a:gd name="connsiteX2444" fmla="*/ 1513046 w 6400800"/>
                <a:gd name="connsiteY2444" fmla="*/ 192881 h 514350"/>
                <a:gd name="connsiteX2445" fmla="*/ 1506379 w 6400800"/>
                <a:gd name="connsiteY2445" fmla="*/ 177641 h 514350"/>
                <a:gd name="connsiteX2446" fmla="*/ 1495901 w 6400800"/>
                <a:gd name="connsiteY2446" fmla="*/ 154781 h 514350"/>
                <a:gd name="connsiteX2447" fmla="*/ 1502569 w 6400800"/>
                <a:gd name="connsiteY2447" fmla="*/ 178594 h 514350"/>
                <a:gd name="connsiteX2448" fmla="*/ 1505426 w 6400800"/>
                <a:gd name="connsiteY2448" fmla="*/ 190024 h 514350"/>
                <a:gd name="connsiteX2449" fmla="*/ 1504474 w 6400800"/>
                <a:gd name="connsiteY2449" fmla="*/ 189071 h 514350"/>
                <a:gd name="connsiteX2450" fmla="*/ 1510189 w 6400800"/>
                <a:gd name="connsiteY2450" fmla="*/ 210026 h 514350"/>
                <a:gd name="connsiteX2451" fmla="*/ 1511141 w 6400800"/>
                <a:gd name="connsiteY2451" fmla="*/ 213836 h 514350"/>
                <a:gd name="connsiteX2452" fmla="*/ 1510189 w 6400800"/>
                <a:gd name="connsiteY2452" fmla="*/ 233839 h 514350"/>
                <a:gd name="connsiteX2453" fmla="*/ 1509236 w 6400800"/>
                <a:gd name="connsiteY2453" fmla="*/ 258604 h 514350"/>
                <a:gd name="connsiteX2454" fmla="*/ 1498759 w 6400800"/>
                <a:gd name="connsiteY2454" fmla="*/ 230981 h 514350"/>
                <a:gd name="connsiteX2455" fmla="*/ 1508284 w 6400800"/>
                <a:gd name="connsiteY2455" fmla="*/ 275749 h 514350"/>
                <a:gd name="connsiteX2456" fmla="*/ 1507331 w 6400800"/>
                <a:gd name="connsiteY2456" fmla="*/ 288131 h 514350"/>
                <a:gd name="connsiteX2457" fmla="*/ 1504474 w 6400800"/>
                <a:gd name="connsiteY2457" fmla="*/ 292894 h 514350"/>
                <a:gd name="connsiteX2458" fmla="*/ 1500664 w 6400800"/>
                <a:gd name="connsiteY2458" fmla="*/ 298609 h 514350"/>
                <a:gd name="connsiteX2459" fmla="*/ 1493044 w 6400800"/>
                <a:gd name="connsiteY2459" fmla="*/ 266224 h 514350"/>
                <a:gd name="connsiteX2460" fmla="*/ 1497806 w 6400800"/>
                <a:gd name="connsiteY2460" fmla="*/ 246221 h 514350"/>
                <a:gd name="connsiteX2461" fmla="*/ 1491139 w 6400800"/>
                <a:gd name="connsiteY2461" fmla="*/ 260509 h 514350"/>
                <a:gd name="connsiteX2462" fmla="*/ 1491139 w 6400800"/>
                <a:gd name="connsiteY2462" fmla="*/ 259556 h 514350"/>
                <a:gd name="connsiteX2463" fmla="*/ 1490186 w 6400800"/>
                <a:gd name="connsiteY2463" fmla="*/ 244316 h 514350"/>
                <a:gd name="connsiteX2464" fmla="*/ 1489234 w 6400800"/>
                <a:gd name="connsiteY2464" fmla="*/ 238601 h 514350"/>
                <a:gd name="connsiteX2465" fmla="*/ 1489234 w 6400800"/>
                <a:gd name="connsiteY2465" fmla="*/ 237649 h 514350"/>
                <a:gd name="connsiteX2466" fmla="*/ 1489234 w 6400800"/>
                <a:gd name="connsiteY2466" fmla="*/ 238601 h 514350"/>
                <a:gd name="connsiteX2467" fmla="*/ 1486376 w 6400800"/>
                <a:gd name="connsiteY2467" fmla="*/ 219551 h 514350"/>
                <a:gd name="connsiteX2468" fmla="*/ 1482566 w 6400800"/>
                <a:gd name="connsiteY2468" fmla="*/ 198596 h 514350"/>
                <a:gd name="connsiteX2469" fmla="*/ 1482566 w 6400800"/>
                <a:gd name="connsiteY2469" fmla="*/ 220504 h 514350"/>
                <a:gd name="connsiteX2470" fmla="*/ 1482566 w 6400800"/>
                <a:gd name="connsiteY2470" fmla="*/ 228124 h 514350"/>
                <a:gd name="connsiteX2471" fmla="*/ 1473041 w 6400800"/>
                <a:gd name="connsiteY2471" fmla="*/ 193834 h 514350"/>
                <a:gd name="connsiteX2472" fmla="*/ 1479709 w 6400800"/>
                <a:gd name="connsiteY2472" fmla="*/ 259556 h 514350"/>
                <a:gd name="connsiteX2473" fmla="*/ 1478756 w 6400800"/>
                <a:gd name="connsiteY2473" fmla="*/ 262414 h 514350"/>
                <a:gd name="connsiteX2474" fmla="*/ 1476851 w 6400800"/>
                <a:gd name="connsiteY2474" fmla="*/ 266224 h 514350"/>
                <a:gd name="connsiteX2475" fmla="*/ 1475899 w 6400800"/>
                <a:gd name="connsiteY2475" fmla="*/ 257651 h 514350"/>
                <a:gd name="connsiteX2476" fmla="*/ 1471136 w 6400800"/>
                <a:gd name="connsiteY2476" fmla="*/ 221456 h 514350"/>
                <a:gd name="connsiteX2477" fmla="*/ 1466374 w 6400800"/>
                <a:gd name="connsiteY2477" fmla="*/ 193834 h 514350"/>
                <a:gd name="connsiteX2478" fmla="*/ 1460659 w 6400800"/>
                <a:gd name="connsiteY2478" fmla="*/ 170021 h 514350"/>
                <a:gd name="connsiteX2479" fmla="*/ 1462564 w 6400800"/>
                <a:gd name="connsiteY2479" fmla="*/ 193834 h 514350"/>
                <a:gd name="connsiteX2480" fmla="*/ 1464469 w 6400800"/>
                <a:gd name="connsiteY2480" fmla="*/ 221456 h 514350"/>
                <a:gd name="connsiteX2481" fmla="*/ 1465421 w 6400800"/>
                <a:gd name="connsiteY2481" fmla="*/ 257651 h 514350"/>
                <a:gd name="connsiteX2482" fmla="*/ 1465421 w 6400800"/>
                <a:gd name="connsiteY2482" fmla="*/ 275749 h 514350"/>
                <a:gd name="connsiteX2483" fmla="*/ 1455896 w 6400800"/>
                <a:gd name="connsiteY2483" fmla="*/ 246221 h 514350"/>
                <a:gd name="connsiteX2484" fmla="*/ 1447324 w 6400800"/>
                <a:gd name="connsiteY2484" fmla="*/ 218599 h 514350"/>
                <a:gd name="connsiteX2485" fmla="*/ 1439704 w 6400800"/>
                <a:gd name="connsiteY2485" fmla="*/ 194786 h 514350"/>
                <a:gd name="connsiteX2486" fmla="*/ 1442561 w 6400800"/>
                <a:gd name="connsiteY2486" fmla="*/ 215741 h 514350"/>
                <a:gd name="connsiteX2487" fmla="*/ 1435894 w 6400800"/>
                <a:gd name="connsiteY2487" fmla="*/ 185261 h 514350"/>
                <a:gd name="connsiteX2488" fmla="*/ 1435894 w 6400800"/>
                <a:gd name="connsiteY2488" fmla="*/ 159544 h 514350"/>
                <a:gd name="connsiteX2489" fmla="*/ 1433036 w 6400800"/>
                <a:gd name="connsiteY2489" fmla="*/ 173831 h 514350"/>
                <a:gd name="connsiteX2490" fmla="*/ 1430179 w 6400800"/>
                <a:gd name="connsiteY2490" fmla="*/ 160496 h 514350"/>
                <a:gd name="connsiteX2491" fmla="*/ 1430179 w 6400800"/>
                <a:gd name="connsiteY2491" fmla="*/ 166211 h 514350"/>
                <a:gd name="connsiteX2492" fmla="*/ 1425416 w 6400800"/>
                <a:gd name="connsiteY2492" fmla="*/ 147161 h 514350"/>
                <a:gd name="connsiteX2493" fmla="*/ 1418749 w 6400800"/>
                <a:gd name="connsiteY2493" fmla="*/ 127159 h 514350"/>
                <a:gd name="connsiteX2494" fmla="*/ 1421606 w 6400800"/>
                <a:gd name="connsiteY2494" fmla="*/ 148114 h 514350"/>
                <a:gd name="connsiteX2495" fmla="*/ 1423511 w 6400800"/>
                <a:gd name="connsiteY2495" fmla="*/ 171926 h 514350"/>
                <a:gd name="connsiteX2496" fmla="*/ 1425416 w 6400800"/>
                <a:gd name="connsiteY2496" fmla="*/ 202406 h 514350"/>
                <a:gd name="connsiteX2497" fmla="*/ 1426369 w 6400800"/>
                <a:gd name="connsiteY2497" fmla="*/ 218599 h 514350"/>
                <a:gd name="connsiteX2498" fmla="*/ 1424464 w 6400800"/>
                <a:gd name="connsiteY2498" fmla="*/ 235744 h 514350"/>
                <a:gd name="connsiteX2499" fmla="*/ 1421606 w 6400800"/>
                <a:gd name="connsiteY2499" fmla="*/ 226219 h 514350"/>
                <a:gd name="connsiteX2500" fmla="*/ 1415891 w 6400800"/>
                <a:gd name="connsiteY2500" fmla="*/ 210026 h 514350"/>
                <a:gd name="connsiteX2501" fmla="*/ 1410176 w 6400800"/>
                <a:gd name="connsiteY2501" fmla="*/ 195739 h 514350"/>
                <a:gd name="connsiteX2502" fmla="*/ 1412081 w 6400800"/>
                <a:gd name="connsiteY2502" fmla="*/ 210979 h 514350"/>
                <a:gd name="connsiteX2503" fmla="*/ 1414939 w 6400800"/>
                <a:gd name="connsiteY2503" fmla="*/ 228124 h 514350"/>
                <a:gd name="connsiteX2504" fmla="*/ 1416844 w 6400800"/>
                <a:gd name="connsiteY2504" fmla="*/ 250031 h 514350"/>
                <a:gd name="connsiteX2505" fmla="*/ 1418749 w 6400800"/>
                <a:gd name="connsiteY2505" fmla="*/ 268129 h 514350"/>
                <a:gd name="connsiteX2506" fmla="*/ 1413034 w 6400800"/>
                <a:gd name="connsiteY2506" fmla="*/ 277654 h 514350"/>
                <a:gd name="connsiteX2507" fmla="*/ 1411129 w 6400800"/>
                <a:gd name="connsiteY2507" fmla="*/ 271939 h 514350"/>
                <a:gd name="connsiteX2508" fmla="*/ 1401604 w 6400800"/>
                <a:gd name="connsiteY2508" fmla="*/ 215741 h 514350"/>
                <a:gd name="connsiteX2509" fmla="*/ 1400651 w 6400800"/>
                <a:gd name="connsiteY2509" fmla="*/ 243364 h 514350"/>
                <a:gd name="connsiteX2510" fmla="*/ 1392079 w 6400800"/>
                <a:gd name="connsiteY2510" fmla="*/ 219551 h 514350"/>
                <a:gd name="connsiteX2511" fmla="*/ 1393031 w 6400800"/>
                <a:gd name="connsiteY2511" fmla="*/ 213836 h 514350"/>
                <a:gd name="connsiteX2512" fmla="*/ 1395889 w 6400800"/>
                <a:gd name="connsiteY2512" fmla="*/ 210979 h 514350"/>
                <a:gd name="connsiteX2513" fmla="*/ 1400651 w 6400800"/>
                <a:gd name="connsiteY2513" fmla="*/ 205264 h 514350"/>
                <a:gd name="connsiteX2514" fmla="*/ 1394936 w 6400800"/>
                <a:gd name="connsiteY2514" fmla="*/ 210026 h 514350"/>
                <a:gd name="connsiteX2515" fmla="*/ 1393031 w 6400800"/>
                <a:gd name="connsiteY2515" fmla="*/ 210979 h 514350"/>
                <a:gd name="connsiteX2516" fmla="*/ 1394936 w 6400800"/>
                <a:gd name="connsiteY2516" fmla="*/ 202406 h 514350"/>
                <a:gd name="connsiteX2517" fmla="*/ 1391126 w 6400800"/>
                <a:gd name="connsiteY2517" fmla="*/ 212884 h 514350"/>
                <a:gd name="connsiteX2518" fmla="*/ 1390174 w 6400800"/>
                <a:gd name="connsiteY2518" fmla="*/ 213836 h 514350"/>
                <a:gd name="connsiteX2519" fmla="*/ 1384459 w 6400800"/>
                <a:gd name="connsiteY2519" fmla="*/ 199549 h 514350"/>
                <a:gd name="connsiteX2520" fmla="*/ 1387316 w 6400800"/>
                <a:gd name="connsiteY2520" fmla="*/ 215741 h 514350"/>
                <a:gd name="connsiteX2521" fmla="*/ 1378744 w 6400800"/>
                <a:gd name="connsiteY2521" fmla="*/ 224314 h 514350"/>
                <a:gd name="connsiteX2522" fmla="*/ 1367314 w 6400800"/>
                <a:gd name="connsiteY2522" fmla="*/ 240506 h 514350"/>
                <a:gd name="connsiteX2523" fmla="*/ 1354931 w 6400800"/>
                <a:gd name="connsiteY2523" fmla="*/ 209074 h 514350"/>
                <a:gd name="connsiteX2524" fmla="*/ 1354931 w 6400800"/>
                <a:gd name="connsiteY2524" fmla="*/ 185261 h 514350"/>
                <a:gd name="connsiteX2525" fmla="*/ 1354931 w 6400800"/>
                <a:gd name="connsiteY2525" fmla="*/ 157639 h 514350"/>
                <a:gd name="connsiteX2526" fmla="*/ 1351121 w 6400800"/>
                <a:gd name="connsiteY2526" fmla="*/ 185261 h 514350"/>
                <a:gd name="connsiteX2527" fmla="*/ 1349216 w 6400800"/>
                <a:gd name="connsiteY2527" fmla="*/ 197644 h 514350"/>
                <a:gd name="connsiteX2528" fmla="*/ 1343501 w 6400800"/>
                <a:gd name="connsiteY2528" fmla="*/ 186214 h 514350"/>
                <a:gd name="connsiteX2529" fmla="*/ 1344454 w 6400800"/>
                <a:gd name="connsiteY2529" fmla="*/ 171926 h 514350"/>
                <a:gd name="connsiteX2530" fmla="*/ 1344454 w 6400800"/>
                <a:gd name="connsiteY2530" fmla="*/ 157639 h 514350"/>
                <a:gd name="connsiteX2531" fmla="*/ 1345406 w 6400800"/>
                <a:gd name="connsiteY2531" fmla="*/ 142399 h 514350"/>
                <a:gd name="connsiteX2532" fmla="*/ 1346359 w 6400800"/>
                <a:gd name="connsiteY2532" fmla="*/ 120491 h 514350"/>
                <a:gd name="connsiteX2533" fmla="*/ 1341596 w 6400800"/>
                <a:gd name="connsiteY2533" fmla="*/ 141446 h 514350"/>
                <a:gd name="connsiteX2534" fmla="*/ 1336834 w 6400800"/>
                <a:gd name="connsiteY2534" fmla="*/ 166211 h 514350"/>
                <a:gd name="connsiteX2535" fmla="*/ 1335881 w 6400800"/>
                <a:gd name="connsiteY2535" fmla="*/ 169069 h 514350"/>
                <a:gd name="connsiteX2536" fmla="*/ 1327309 w 6400800"/>
                <a:gd name="connsiteY2536" fmla="*/ 150971 h 514350"/>
                <a:gd name="connsiteX2537" fmla="*/ 1280636 w 6400800"/>
                <a:gd name="connsiteY2537" fmla="*/ 53816 h 514350"/>
                <a:gd name="connsiteX2538" fmla="*/ 1317784 w 6400800"/>
                <a:gd name="connsiteY2538" fmla="*/ 155734 h 514350"/>
                <a:gd name="connsiteX2539" fmla="*/ 1332071 w 6400800"/>
                <a:gd name="connsiteY2539" fmla="*/ 193834 h 514350"/>
                <a:gd name="connsiteX2540" fmla="*/ 1331119 w 6400800"/>
                <a:gd name="connsiteY2540" fmla="*/ 197644 h 514350"/>
                <a:gd name="connsiteX2541" fmla="*/ 1326356 w 6400800"/>
                <a:gd name="connsiteY2541" fmla="*/ 235744 h 514350"/>
                <a:gd name="connsiteX2542" fmla="*/ 1321594 w 6400800"/>
                <a:gd name="connsiteY2542" fmla="*/ 277654 h 514350"/>
                <a:gd name="connsiteX2543" fmla="*/ 1319689 w 6400800"/>
                <a:gd name="connsiteY2543" fmla="*/ 293846 h 514350"/>
                <a:gd name="connsiteX2544" fmla="*/ 1317784 w 6400800"/>
                <a:gd name="connsiteY2544" fmla="*/ 290989 h 514350"/>
                <a:gd name="connsiteX2545" fmla="*/ 1317784 w 6400800"/>
                <a:gd name="connsiteY2545" fmla="*/ 289084 h 514350"/>
                <a:gd name="connsiteX2546" fmla="*/ 1316831 w 6400800"/>
                <a:gd name="connsiteY2546" fmla="*/ 290989 h 514350"/>
                <a:gd name="connsiteX2547" fmla="*/ 1315879 w 6400800"/>
                <a:gd name="connsiteY2547" fmla="*/ 288131 h 514350"/>
                <a:gd name="connsiteX2548" fmla="*/ 1313974 w 6400800"/>
                <a:gd name="connsiteY2548" fmla="*/ 285274 h 514350"/>
                <a:gd name="connsiteX2549" fmla="*/ 1316831 w 6400800"/>
                <a:gd name="connsiteY2549" fmla="*/ 244316 h 514350"/>
                <a:gd name="connsiteX2550" fmla="*/ 1309211 w 6400800"/>
                <a:gd name="connsiteY2550" fmla="*/ 277654 h 514350"/>
                <a:gd name="connsiteX2551" fmla="*/ 1298734 w 6400800"/>
                <a:gd name="connsiteY2551" fmla="*/ 260509 h 514350"/>
                <a:gd name="connsiteX2552" fmla="*/ 1313974 w 6400800"/>
                <a:gd name="connsiteY2552" fmla="*/ 199549 h 514350"/>
                <a:gd name="connsiteX2553" fmla="*/ 1319689 w 6400800"/>
                <a:gd name="connsiteY2553" fmla="*/ 172879 h 514350"/>
                <a:gd name="connsiteX2554" fmla="*/ 1291114 w 6400800"/>
                <a:gd name="connsiteY2554" fmla="*/ 249079 h 514350"/>
                <a:gd name="connsiteX2555" fmla="*/ 1281589 w 6400800"/>
                <a:gd name="connsiteY2555" fmla="*/ 234791 h 514350"/>
                <a:gd name="connsiteX2556" fmla="*/ 1267301 w 6400800"/>
                <a:gd name="connsiteY2556" fmla="*/ 215741 h 514350"/>
                <a:gd name="connsiteX2557" fmla="*/ 1275874 w 6400800"/>
                <a:gd name="connsiteY2557" fmla="*/ 232886 h 514350"/>
                <a:gd name="connsiteX2558" fmla="*/ 1272064 w 6400800"/>
                <a:gd name="connsiteY2558" fmla="*/ 243364 h 514350"/>
                <a:gd name="connsiteX2559" fmla="*/ 1261586 w 6400800"/>
                <a:gd name="connsiteY2559" fmla="*/ 227171 h 514350"/>
                <a:gd name="connsiteX2560" fmla="*/ 1249204 w 6400800"/>
                <a:gd name="connsiteY2560" fmla="*/ 210979 h 514350"/>
                <a:gd name="connsiteX2561" fmla="*/ 1247299 w 6400800"/>
                <a:gd name="connsiteY2561" fmla="*/ 208121 h 514350"/>
                <a:gd name="connsiteX2562" fmla="*/ 1251109 w 6400800"/>
                <a:gd name="connsiteY2562" fmla="*/ 199549 h 514350"/>
                <a:gd name="connsiteX2563" fmla="*/ 1246346 w 6400800"/>
                <a:gd name="connsiteY2563" fmla="*/ 206216 h 514350"/>
                <a:gd name="connsiteX2564" fmla="*/ 1229201 w 6400800"/>
                <a:gd name="connsiteY2564" fmla="*/ 184309 h 514350"/>
                <a:gd name="connsiteX2565" fmla="*/ 1211104 w 6400800"/>
                <a:gd name="connsiteY2565" fmla="*/ 162401 h 514350"/>
                <a:gd name="connsiteX2566" fmla="*/ 1226344 w 6400800"/>
                <a:gd name="connsiteY2566" fmla="*/ 186214 h 514350"/>
                <a:gd name="connsiteX2567" fmla="*/ 1242536 w 6400800"/>
                <a:gd name="connsiteY2567" fmla="*/ 211931 h 514350"/>
                <a:gd name="connsiteX2568" fmla="*/ 1236821 w 6400800"/>
                <a:gd name="connsiteY2568" fmla="*/ 220504 h 514350"/>
                <a:gd name="connsiteX2569" fmla="*/ 1233011 w 6400800"/>
                <a:gd name="connsiteY2569" fmla="*/ 226219 h 514350"/>
                <a:gd name="connsiteX2570" fmla="*/ 1231106 w 6400800"/>
                <a:gd name="connsiteY2570" fmla="*/ 212884 h 514350"/>
                <a:gd name="connsiteX2571" fmla="*/ 1228249 w 6400800"/>
                <a:gd name="connsiteY2571" fmla="*/ 209074 h 514350"/>
                <a:gd name="connsiteX2572" fmla="*/ 1226344 w 6400800"/>
                <a:gd name="connsiteY2572" fmla="*/ 209074 h 514350"/>
                <a:gd name="connsiteX2573" fmla="*/ 1223486 w 6400800"/>
                <a:gd name="connsiteY2573" fmla="*/ 199549 h 514350"/>
                <a:gd name="connsiteX2574" fmla="*/ 1215866 w 6400800"/>
                <a:gd name="connsiteY2574" fmla="*/ 179546 h 514350"/>
                <a:gd name="connsiteX2575" fmla="*/ 1219676 w 6400800"/>
                <a:gd name="connsiteY2575" fmla="*/ 200501 h 514350"/>
                <a:gd name="connsiteX2576" fmla="*/ 1221581 w 6400800"/>
                <a:gd name="connsiteY2576" fmla="*/ 211931 h 514350"/>
                <a:gd name="connsiteX2577" fmla="*/ 1220629 w 6400800"/>
                <a:gd name="connsiteY2577" fmla="*/ 213836 h 514350"/>
                <a:gd name="connsiteX2578" fmla="*/ 1207294 w 6400800"/>
                <a:gd name="connsiteY2578" fmla="*/ 200501 h 514350"/>
                <a:gd name="connsiteX2579" fmla="*/ 1201579 w 6400800"/>
                <a:gd name="connsiteY2579" fmla="*/ 195739 h 514350"/>
                <a:gd name="connsiteX2580" fmla="*/ 1206341 w 6400800"/>
                <a:gd name="connsiteY2580" fmla="*/ 201454 h 514350"/>
                <a:gd name="connsiteX2581" fmla="*/ 1217771 w 6400800"/>
                <a:gd name="connsiteY2581" fmla="*/ 217646 h 514350"/>
                <a:gd name="connsiteX2582" fmla="*/ 1217771 w 6400800"/>
                <a:gd name="connsiteY2582" fmla="*/ 217646 h 514350"/>
                <a:gd name="connsiteX2583" fmla="*/ 1216819 w 6400800"/>
                <a:gd name="connsiteY2583" fmla="*/ 231934 h 514350"/>
                <a:gd name="connsiteX2584" fmla="*/ 1202531 w 6400800"/>
                <a:gd name="connsiteY2584" fmla="*/ 219551 h 514350"/>
                <a:gd name="connsiteX2585" fmla="*/ 1215866 w 6400800"/>
                <a:gd name="connsiteY2585" fmla="*/ 236696 h 514350"/>
                <a:gd name="connsiteX2586" fmla="*/ 1214914 w 6400800"/>
                <a:gd name="connsiteY2586" fmla="*/ 249079 h 514350"/>
                <a:gd name="connsiteX2587" fmla="*/ 1214914 w 6400800"/>
                <a:gd name="connsiteY2587" fmla="*/ 255746 h 514350"/>
                <a:gd name="connsiteX2588" fmla="*/ 1213961 w 6400800"/>
                <a:gd name="connsiteY2588" fmla="*/ 250984 h 514350"/>
                <a:gd name="connsiteX2589" fmla="*/ 1213961 w 6400800"/>
                <a:gd name="connsiteY2589" fmla="*/ 250031 h 514350"/>
                <a:gd name="connsiteX2590" fmla="*/ 1214914 w 6400800"/>
                <a:gd name="connsiteY2590" fmla="*/ 249079 h 514350"/>
                <a:gd name="connsiteX2591" fmla="*/ 1213961 w 6400800"/>
                <a:gd name="connsiteY2591" fmla="*/ 250031 h 514350"/>
                <a:gd name="connsiteX2592" fmla="*/ 1207294 w 6400800"/>
                <a:gd name="connsiteY2592" fmla="*/ 229076 h 514350"/>
                <a:gd name="connsiteX2593" fmla="*/ 1200626 w 6400800"/>
                <a:gd name="connsiteY2593" fmla="*/ 212884 h 514350"/>
                <a:gd name="connsiteX2594" fmla="*/ 1193959 w 6400800"/>
                <a:gd name="connsiteY2594" fmla="*/ 198596 h 514350"/>
                <a:gd name="connsiteX2595" fmla="*/ 1196816 w 6400800"/>
                <a:gd name="connsiteY2595" fmla="*/ 213836 h 514350"/>
                <a:gd name="connsiteX2596" fmla="*/ 1200626 w 6400800"/>
                <a:gd name="connsiteY2596" fmla="*/ 230981 h 514350"/>
                <a:gd name="connsiteX2597" fmla="*/ 1204436 w 6400800"/>
                <a:gd name="connsiteY2597" fmla="*/ 252889 h 514350"/>
                <a:gd name="connsiteX2598" fmla="*/ 1205389 w 6400800"/>
                <a:gd name="connsiteY2598" fmla="*/ 258604 h 514350"/>
                <a:gd name="connsiteX2599" fmla="*/ 1196816 w 6400800"/>
                <a:gd name="connsiteY2599" fmla="*/ 239554 h 514350"/>
                <a:gd name="connsiteX2600" fmla="*/ 1189196 w 6400800"/>
                <a:gd name="connsiteY2600" fmla="*/ 224314 h 514350"/>
                <a:gd name="connsiteX2601" fmla="*/ 1181576 w 6400800"/>
                <a:gd name="connsiteY2601" fmla="*/ 211931 h 514350"/>
                <a:gd name="connsiteX2602" fmla="*/ 1185386 w 6400800"/>
                <a:gd name="connsiteY2602" fmla="*/ 225266 h 514350"/>
                <a:gd name="connsiteX2603" fmla="*/ 1190149 w 6400800"/>
                <a:gd name="connsiteY2603" fmla="*/ 241459 h 514350"/>
                <a:gd name="connsiteX2604" fmla="*/ 1194911 w 6400800"/>
                <a:gd name="connsiteY2604" fmla="*/ 262414 h 514350"/>
                <a:gd name="connsiteX2605" fmla="*/ 1197769 w 6400800"/>
                <a:gd name="connsiteY2605" fmla="*/ 276701 h 514350"/>
                <a:gd name="connsiteX2606" fmla="*/ 1193959 w 6400800"/>
                <a:gd name="connsiteY2606" fmla="*/ 284321 h 514350"/>
                <a:gd name="connsiteX2607" fmla="*/ 1193959 w 6400800"/>
                <a:gd name="connsiteY2607" fmla="*/ 283369 h 514350"/>
                <a:gd name="connsiteX2608" fmla="*/ 1193006 w 6400800"/>
                <a:gd name="connsiteY2608" fmla="*/ 279559 h 514350"/>
                <a:gd name="connsiteX2609" fmla="*/ 1193959 w 6400800"/>
                <a:gd name="connsiteY2609" fmla="*/ 276701 h 514350"/>
                <a:gd name="connsiteX2610" fmla="*/ 1193006 w 6400800"/>
                <a:gd name="connsiteY2610" fmla="*/ 278606 h 514350"/>
                <a:gd name="connsiteX2611" fmla="*/ 1184434 w 6400800"/>
                <a:gd name="connsiteY2611" fmla="*/ 250984 h 514350"/>
                <a:gd name="connsiteX2612" fmla="*/ 1174909 w 6400800"/>
                <a:gd name="connsiteY2612" fmla="*/ 227171 h 514350"/>
                <a:gd name="connsiteX2613" fmla="*/ 1174909 w 6400800"/>
                <a:gd name="connsiteY2613" fmla="*/ 223361 h 514350"/>
                <a:gd name="connsiteX2614" fmla="*/ 1175861 w 6400800"/>
                <a:gd name="connsiteY2614" fmla="*/ 196691 h 514350"/>
                <a:gd name="connsiteX2615" fmla="*/ 1174909 w 6400800"/>
                <a:gd name="connsiteY2615" fmla="*/ 173831 h 514350"/>
                <a:gd name="connsiteX2616" fmla="*/ 1172051 w 6400800"/>
                <a:gd name="connsiteY2616" fmla="*/ 196691 h 514350"/>
                <a:gd name="connsiteX2617" fmla="*/ 1168241 w 6400800"/>
                <a:gd name="connsiteY2617" fmla="*/ 223361 h 514350"/>
                <a:gd name="connsiteX2618" fmla="*/ 1168241 w 6400800"/>
                <a:gd name="connsiteY2618" fmla="*/ 226219 h 514350"/>
                <a:gd name="connsiteX2619" fmla="*/ 1162526 w 6400800"/>
                <a:gd name="connsiteY2619" fmla="*/ 238601 h 514350"/>
                <a:gd name="connsiteX2620" fmla="*/ 1158716 w 6400800"/>
                <a:gd name="connsiteY2620" fmla="*/ 215741 h 514350"/>
                <a:gd name="connsiteX2621" fmla="*/ 1152049 w 6400800"/>
                <a:gd name="connsiteY2621" fmla="*/ 189071 h 514350"/>
                <a:gd name="connsiteX2622" fmla="*/ 1136809 w 6400800"/>
                <a:gd name="connsiteY2622" fmla="*/ 133826 h 514350"/>
                <a:gd name="connsiteX2623" fmla="*/ 1140619 w 6400800"/>
                <a:gd name="connsiteY2623" fmla="*/ 190024 h 514350"/>
                <a:gd name="connsiteX2624" fmla="*/ 1143476 w 6400800"/>
                <a:gd name="connsiteY2624" fmla="*/ 217646 h 514350"/>
                <a:gd name="connsiteX2625" fmla="*/ 1146334 w 6400800"/>
                <a:gd name="connsiteY2625" fmla="*/ 248126 h 514350"/>
                <a:gd name="connsiteX2626" fmla="*/ 1147286 w 6400800"/>
                <a:gd name="connsiteY2626" fmla="*/ 261461 h 514350"/>
                <a:gd name="connsiteX2627" fmla="*/ 1147286 w 6400800"/>
                <a:gd name="connsiteY2627" fmla="*/ 261461 h 514350"/>
                <a:gd name="connsiteX2628" fmla="*/ 1147286 w 6400800"/>
                <a:gd name="connsiteY2628" fmla="*/ 258604 h 514350"/>
                <a:gd name="connsiteX2629" fmla="*/ 1147286 w 6400800"/>
                <a:gd name="connsiteY2629" fmla="*/ 260509 h 514350"/>
                <a:gd name="connsiteX2630" fmla="*/ 1143476 w 6400800"/>
                <a:gd name="connsiteY2630" fmla="*/ 251936 h 514350"/>
                <a:gd name="connsiteX2631" fmla="*/ 1141571 w 6400800"/>
                <a:gd name="connsiteY2631" fmla="*/ 249079 h 514350"/>
                <a:gd name="connsiteX2632" fmla="*/ 1141571 w 6400800"/>
                <a:gd name="connsiteY2632" fmla="*/ 237649 h 514350"/>
                <a:gd name="connsiteX2633" fmla="*/ 1139666 w 6400800"/>
                <a:gd name="connsiteY2633" fmla="*/ 246221 h 514350"/>
                <a:gd name="connsiteX2634" fmla="*/ 1132046 w 6400800"/>
                <a:gd name="connsiteY2634" fmla="*/ 231934 h 514350"/>
                <a:gd name="connsiteX2635" fmla="*/ 1132046 w 6400800"/>
                <a:gd name="connsiteY2635" fmla="*/ 230981 h 514350"/>
                <a:gd name="connsiteX2636" fmla="*/ 1120616 w 6400800"/>
                <a:gd name="connsiteY2636" fmla="*/ 177641 h 514350"/>
                <a:gd name="connsiteX2637" fmla="*/ 1110139 w 6400800"/>
                <a:gd name="connsiteY2637" fmla="*/ 132874 h 514350"/>
                <a:gd name="connsiteX2638" fmla="*/ 1100614 w 6400800"/>
                <a:gd name="connsiteY2638" fmla="*/ 98584 h 514350"/>
                <a:gd name="connsiteX2639" fmla="*/ 1092041 w 6400800"/>
                <a:gd name="connsiteY2639" fmla="*/ 69056 h 514350"/>
                <a:gd name="connsiteX2640" fmla="*/ 1096804 w 6400800"/>
                <a:gd name="connsiteY2640" fmla="*/ 99536 h 514350"/>
                <a:gd name="connsiteX2641" fmla="*/ 1103471 w 6400800"/>
                <a:gd name="connsiteY2641" fmla="*/ 134779 h 514350"/>
                <a:gd name="connsiteX2642" fmla="*/ 1110139 w 6400800"/>
                <a:gd name="connsiteY2642" fmla="*/ 180499 h 514350"/>
                <a:gd name="connsiteX2643" fmla="*/ 1112996 w 6400800"/>
                <a:gd name="connsiteY2643" fmla="*/ 199549 h 514350"/>
                <a:gd name="connsiteX2644" fmla="*/ 1110139 w 6400800"/>
                <a:gd name="connsiteY2644" fmla="*/ 194786 h 514350"/>
                <a:gd name="connsiteX2645" fmla="*/ 1106329 w 6400800"/>
                <a:gd name="connsiteY2645" fmla="*/ 190024 h 514350"/>
                <a:gd name="connsiteX2646" fmla="*/ 1105376 w 6400800"/>
                <a:gd name="connsiteY2646" fmla="*/ 188119 h 514350"/>
                <a:gd name="connsiteX2647" fmla="*/ 1095851 w 6400800"/>
                <a:gd name="connsiteY2647" fmla="*/ 160496 h 514350"/>
                <a:gd name="connsiteX2648" fmla="*/ 1087279 w 6400800"/>
                <a:gd name="connsiteY2648" fmla="*/ 136684 h 514350"/>
                <a:gd name="connsiteX2649" fmla="*/ 1092041 w 6400800"/>
                <a:gd name="connsiteY2649" fmla="*/ 161449 h 514350"/>
                <a:gd name="connsiteX2650" fmla="*/ 1098709 w 6400800"/>
                <a:gd name="connsiteY2650" fmla="*/ 190024 h 514350"/>
                <a:gd name="connsiteX2651" fmla="*/ 1103471 w 6400800"/>
                <a:gd name="connsiteY2651" fmla="*/ 215741 h 514350"/>
                <a:gd name="connsiteX2652" fmla="*/ 1097756 w 6400800"/>
                <a:gd name="connsiteY2652" fmla="*/ 200501 h 514350"/>
                <a:gd name="connsiteX2653" fmla="*/ 1102519 w 6400800"/>
                <a:gd name="connsiteY2653" fmla="*/ 224314 h 514350"/>
                <a:gd name="connsiteX2654" fmla="*/ 1094899 w 6400800"/>
                <a:gd name="connsiteY2654" fmla="*/ 233839 h 514350"/>
                <a:gd name="connsiteX2655" fmla="*/ 1089184 w 6400800"/>
                <a:gd name="connsiteY2655" fmla="*/ 209074 h 514350"/>
                <a:gd name="connsiteX2656" fmla="*/ 1084421 w 6400800"/>
                <a:gd name="connsiteY2656" fmla="*/ 166211 h 514350"/>
                <a:gd name="connsiteX2657" fmla="*/ 1083469 w 6400800"/>
                <a:gd name="connsiteY2657" fmla="*/ 184309 h 514350"/>
                <a:gd name="connsiteX2658" fmla="*/ 1073944 w 6400800"/>
                <a:gd name="connsiteY2658" fmla="*/ 149066 h 514350"/>
                <a:gd name="connsiteX2659" fmla="*/ 1066324 w 6400800"/>
                <a:gd name="connsiteY2659" fmla="*/ 123349 h 514350"/>
                <a:gd name="connsiteX2660" fmla="*/ 1075849 w 6400800"/>
                <a:gd name="connsiteY2660" fmla="*/ 94774 h 514350"/>
                <a:gd name="connsiteX2661" fmla="*/ 1064419 w 6400800"/>
                <a:gd name="connsiteY2661" fmla="*/ 119539 h 514350"/>
                <a:gd name="connsiteX2662" fmla="*/ 1057751 w 6400800"/>
                <a:gd name="connsiteY2662" fmla="*/ 100489 h 514350"/>
                <a:gd name="connsiteX2663" fmla="*/ 1050131 w 6400800"/>
                <a:gd name="connsiteY2663" fmla="*/ 78581 h 514350"/>
                <a:gd name="connsiteX2664" fmla="*/ 1042511 w 6400800"/>
                <a:gd name="connsiteY2664" fmla="*/ 59531 h 514350"/>
                <a:gd name="connsiteX2665" fmla="*/ 1029176 w 6400800"/>
                <a:gd name="connsiteY2665" fmla="*/ 28099 h 514350"/>
                <a:gd name="connsiteX2666" fmla="*/ 1012984 w 6400800"/>
                <a:gd name="connsiteY2666" fmla="*/ 7144 h 514350"/>
                <a:gd name="connsiteX2667" fmla="*/ 1022509 w 6400800"/>
                <a:gd name="connsiteY2667" fmla="*/ 34766 h 514350"/>
                <a:gd name="connsiteX2668" fmla="*/ 1032986 w 6400800"/>
                <a:gd name="connsiteY2668" fmla="*/ 67151 h 514350"/>
                <a:gd name="connsiteX2669" fmla="*/ 1038701 w 6400800"/>
                <a:gd name="connsiteY2669" fmla="*/ 87154 h 514350"/>
                <a:gd name="connsiteX2670" fmla="*/ 1044416 w 6400800"/>
                <a:gd name="connsiteY2670" fmla="*/ 109061 h 514350"/>
                <a:gd name="connsiteX2671" fmla="*/ 1044416 w 6400800"/>
                <a:gd name="connsiteY2671" fmla="*/ 110014 h 514350"/>
                <a:gd name="connsiteX2672" fmla="*/ 1037749 w 6400800"/>
                <a:gd name="connsiteY2672" fmla="*/ 96679 h 514350"/>
                <a:gd name="connsiteX2673" fmla="*/ 1044416 w 6400800"/>
                <a:gd name="connsiteY2673" fmla="*/ 117634 h 514350"/>
                <a:gd name="connsiteX2674" fmla="*/ 1051084 w 6400800"/>
                <a:gd name="connsiteY2674" fmla="*/ 141446 h 514350"/>
                <a:gd name="connsiteX2675" fmla="*/ 1052036 w 6400800"/>
                <a:gd name="connsiteY2675" fmla="*/ 146209 h 514350"/>
                <a:gd name="connsiteX2676" fmla="*/ 1037749 w 6400800"/>
                <a:gd name="connsiteY2676" fmla="*/ 172879 h 514350"/>
                <a:gd name="connsiteX2677" fmla="*/ 1024414 w 6400800"/>
                <a:gd name="connsiteY2677" fmla="*/ 195739 h 514350"/>
                <a:gd name="connsiteX2678" fmla="*/ 1023461 w 6400800"/>
                <a:gd name="connsiteY2678" fmla="*/ 192881 h 514350"/>
                <a:gd name="connsiteX2679" fmla="*/ 1023461 w 6400800"/>
                <a:gd name="connsiteY2679" fmla="*/ 184309 h 514350"/>
                <a:gd name="connsiteX2680" fmla="*/ 1024414 w 6400800"/>
                <a:gd name="connsiteY2680" fmla="*/ 142399 h 514350"/>
                <a:gd name="connsiteX2681" fmla="*/ 1023461 w 6400800"/>
                <a:gd name="connsiteY2681" fmla="*/ 110014 h 514350"/>
                <a:gd name="connsiteX2682" fmla="*/ 1021556 w 6400800"/>
                <a:gd name="connsiteY2682" fmla="*/ 89059 h 514350"/>
                <a:gd name="connsiteX2683" fmla="*/ 1020604 w 6400800"/>
                <a:gd name="connsiteY2683" fmla="*/ 81439 h 514350"/>
                <a:gd name="connsiteX2684" fmla="*/ 1020604 w 6400800"/>
                <a:gd name="connsiteY2684" fmla="*/ 89059 h 514350"/>
                <a:gd name="connsiteX2685" fmla="*/ 1019651 w 6400800"/>
                <a:gd name="connsiteY2685" fmla="*/ 110014 h 514350"/>
                <a:gd name="connsiteX2686" fmla="*/ 1014889 w 6400800"/>
                <a:gd name="connsiteY2686" fmla="*/ 165259 h 514350"/>
                <a:gd name="connsiteX2687" fmla="*/ 1013936 w 6400800"/>
                <a:gd name="connsiteY2687" fmla="*/ 161449 h 514350"/>
                <a:gd name="connsiteX2688" fmla="*/ 1014889 w 6400800"/>
                <a:gd name="connsiteY2688" fmla="*/ 168116 h 514350"/>
                <a:gd name="connsiteX2689" fmla="*/ 1012984 w 6400800"/>
                <a:gd name="connsiteY2689" fmla="*/ 183356 h 514350"/>
                <a:gd name="connsiteX2690" fmla="*/ 1007269 w 6400800"/>
                <a:gd name="connsiteY2690" fmla="*/ 224314 h 514350"/>
                <a:gd name="connsiteX2691" fmla="*/ 972026 w 6400800"/>
                <a:gd name="connsiteY2691" fmla="*/ 283369 h 514350"/>
                <a:gd name="connsiteX2692" fmla="*/ 971074 w 6400800"/>
                <a:gd name="connsiteY2692" fmla="*/ 269081 h 514350"/>
                <a:gd name="connsiteX2693" fmla="*/ 977741 w 6400800"/>
                <a:gd name="connsiteY2693" fmla="*/ 251936 h 514350"/>
                <a:gd name="connsiteX2694" fmla="*/ 992981 w 6400800"/>
                <a:gd name="connsiteY2694" fmla="*/ 206216 h 514350"/>
                <a:gd name="connsiteX2695" fmla="*/ 1002506 w 6400800"/>
                <a:gd name="connsiteY2695" fmla="*/ 170974 h 514350"/>
                <a:gd name="connsiteX2696" fmla="*/ 1009174 w 6400800"/>
                <a:gd name="connsiteY2696" fmla="*/ 139541 h 514350"/>
                <a:gd name="connsiteX2697" fmla="*/ 998696 w 6400800"/>
                <a:gd name="connsiteY2697" fmla="*/ 170021 h 514350"/>
                <a:gd name="connsiteX2698" fmla="*/ 985361 w 6400800"/>
                <a:gd name="connsiteY2698" fmla="*/ 204311 h 514350"/>
                <a:gd name="connsiteX2699" fmla="*/ 966311 w 6400800"/>
                <a:gd name="connsiteY2699" fmla="*/ 248126 h 514350"/>
                <a:gd name="connsiteX2700" fmla="*/ 960596 w 6400800"/>
                <a:gd name="connsiteY2700" fmla="*/ 260509 h 514350"/>
                <a:gd name="connsiteX2701" fmla="*/ 961549 w 6400800"/>
                <a:gd name="connsiteY2701" fmla="*/ 225266 h 514350"/>
                <a:gd name="connsiteX2702" fmla="*/ 969169 w 6400800"/>
                <a:gd name="connsiteY2702" fmla="*/ 206216 h 514350"/>
                <a:gd name="connsiteX2703" fmla="*/ 961549 w 6400800"/>
                <a:gd name="connsiteY2703" fmla="*/ 218599 h 514350"/>
                <a:gd name="connsiteX2704" fmla="*/ 961549 w 6400800"/>
                <a:gd name="connsiteY2704" fmla="*/ 206216 h 514350"/>
                <a:gd name="connsiteX2705" fmla="*/ 958691 w 6400800"/>
                <a:gd name="connsiteY2705" fmla="*/ 149066 h 514350"/>
                <a:gd name="connsiteX2706" fmla="*/ 956786 w 6400800"/>
                <a:gd name="connsiteY2706" fmla="*/ 134779 h 514350"/>
                <a:gd name="connsiteX2707" fmla="*/ 957739 w 6400800"/>
                <a:gd name="connsiteY2707" fmla="*/ 131921 h 514350"/>
                <a:gd name="connsiteX2708" fmla="*/ 956786 w 6400800"/>
                <a:gd name="connsiteY2708" fmla="*/ 133826 h 514350"/>
                <a:gd name="connsiteX2709" fmla="*/ 956786 w 6400800"/>
                <a:gd name="connsiteY2709" fmla="*/ 132874 h 514350"/>
                <a:gd name="connsiteX2710" fmla="*/ 955834 w 6400800"/>
                <a:gd name="connsiteY2710" fmla="*/ 127159 h 514350"/>
                <a:gd name="connsiteX2711" fmla="*/ 955834 w 6400800"/>
                <a:gd name="connsiteY2711" fmla="*/ 136684 h 514350"/>
                <a:gd name="connsiteX2712" fmla="*/ 927259 w 6400800"/>
                <a:gd name="connsiteY2712" fmla="*/ 206216 h 514350"/>
                <a:gd name="connsiteX2713" fmla="*/ 927259 w 6400800"/>
                <a:gd name="connsiteY2713" fmla="*/ 205264 h 514350"/>
                <a:gd name="connsiteX2714" fmla="*/ 930116 w 6400800"/>
                <a:gd name="connsiteY2714" fmla="*/ 183356 h 514350"/>
                <a:gd name="connsiteX2715" fmla="*/ 932974 w 6400800"/>
                <a:gd name="connsiteY2715" fmla="*/ 164306 h 514350"/>
                <a:gd name="connsiteX2716" fmla="*/ 926306 w 6400800"/>
                <a:gd name="connsiteY2716" fmla="*/ 183356 h 514350"/>
                <a:gd name="connsiteX2717" fmla="*/ 920591 w 6400800"/>
                <a:gd name="connsiteY2717" fmla="*/ 203359 h 514350"/>
                <a:gd name="connsiteX2718" fmla="*/ 910114 w 6400800"/>
                <a:gd name="connsiteY2718" fmla="*/ 171926 h 514350"/>
                <a:gd name="connsiteX2719" fmla="*/ 907256 w 6400800"/>
                <a:gd name="connsiteY2719" fmla="*/ 164306 h 514350"/>
                <a:gd name="connsiteX2720" fmla="*/ 912019 w 6400800"/>
                <a:gd name="connsiteY2720" fmla="*/ 157639 h 514350"/>
                <a:gd name="connsiteX2721" fmla="*/ 933926 w 6400800"/>
                <a:gd name="connsiteY2721" fmla="*/ 124301 h 514350"/>
                <a:gd name="connsiteX2722" fmla="*/ 953929 w 6400800"/>
                <a:gd name="connsiteY2722" fmla="*/ 95726 h 514350"/>
                <a:gd name="connsiteX2723" fmla="*/ 931069 w 6400800"/>
                <a:gd name="connsiteY2723" fmla="*/ 121444 h 514350"/>
                <a:gd name="connsiteX2724" fmla="*/ 906304 w 6400800"/>
                <a:gd name="connsiteY2724" fmla="*/ 151924 h 514350"/>
                <a:gd name="connsiteX2725" fmla="*/ 904399 w 6400800"/>
                <a:gd name="connsiteY2725" fmla="*/ 154781 h 514350"/>
                <a:gd name="connsiteX2726" fmla="*/ 894874 w 6400800"/>
                <a:gd name="connsiteY2726" fmla="*/ 131921 h 514350"/>
                <a:gd name="connsiteX2727" fmla="*/ 892016 w 6400800"/>
                <a:gd name="connsiteY2727" fmla="*/ 126206 h 514350"/>
                <a:gd name="connsiteX2728" fmla="*/ 897731 w 6400800"/>
                <a:gd name="connsiteY2728" fmla="*/ 115729 h 514350"/>
                <a:gd name="connsiteX2729" fmla="*/ 918686 w 6400800"/>
                <a:gd name="connsiteY2729" fmla="*/ 77629 h 514350"/>
                <a:gd name="connsiteX2730" fmla="*/ 937736 w 6400800"/>
                <a:gd name="connsiteY2730" fmla="*/ 44291 h 514350"/>
                <a:gd name="connsiteX2731" fmla="*/ 914876 w 6400800"/>
                <a:gd name="connsiteY2731" fmla="*/ 74771 h 514350"/>
                <a:gd name="connsiteX2732" fmla="*/ 890111 w 6400800"/>
                <a:gd name="connsiteY2732" fmla="*/ 110966 h 514350"/>
                <a:gd name="connsiteX2733" fmla="*/ 886301 w 6400800"/>
                <a:gd name="connsiteY2733" fmla="*/ 116681 h 514350"/>
                <a:gd name="connsiteX2734" fmla="*/ 874871 w 6400800"/>
                <a:gd name="connsiteY2734" fmla="*/ 92869 h 514350"/>
                <a:gd name="connsiteX2735" fmla="*/ 873919 w 6400800"/>
                <a:gd name="connsiteY2735" fmla="*/ 90964 h 514350"/>
                <a:gd name="connsiteX2736" fmla="*/ 872966 w 6400800"/>
                <a:gd name="connsiteY2736" fmla="*/ 91916 h 514350"/>
                <a:gd name="connsiteX2737" fmla="*/ 868204 w 6400800"/>
                <a:gd name="connsiteY2737" fmla="*/ 95726 h 514350"/>
                <a:gd name="connsiteX2738" fmla="*/ 866299 w 6400800"/>
                <a:gd name="connsiteY2738" fmla="*/ 101441 h 514350"/>
                <a:gd name="connsiteX2739" fmla="*/ 868204 w 6400800"/>
                <a:gd name="connsiteY2739" fmla="*/ 113824 h 514350"/>
                <a:gd name="connsiteX2740" fmla="*/ 868204 w 6400800"/>
                <a:gd name="connsiteY2740" fmla="*/ 102394 h 514350"/>
                <a:gd name="connsiteX2741" fmla="*/ 870109 w 6400800"/>
                <a:gd name="connsiteY2741" fmla="*/ 97631 h 514350"/>
                <a:gd name="connsiteX2742" fmla="*/ 872966 w 6400800"/>
                <a:gd name="connsiteY2742" fmla="*/ 95726 h 514350"/>
                <a:gd name="connsiteX2743" fmla="*/ 882491 w 6400800"/>
                <a:gd name="connsiteY2743" fmla="*/ 122396 h 514350"/>
                <a:gd name="connsiteX2744" fmla="*/ 875824 w 6400800"/>
                <a:gd name="connsiteY2744" fmla="*/ 132874 h 514350"/>
                <a:gd name="connsiteX2745" fmla="*/ 860584 w 6400800"/>
                <a:gd name="connsiteY2745" fmla="*/ 159544 h 514350"/>
                <a:gd name="connsiteX2746" fmla="*/ 837724 w 6400800"/>
                <a:gd name="connsiteY2746" fmla="*/ 203359 h 514350"/>
                <a:gd name="connsiteX2747" fmla="*/ 832009 w 6400800"/>
                <a:gd name="connsiteY2747" fmla="*/ 194786 h 514350"/>
                <a:gd name="connsiteX2748" fmla="*/ 838676 w 6400800"/>
                <a:gd name="connsiteY2748" fmla="*/ 137636 h 514350"/>
                <a:gd name="connsiteX2749" fmla="*/ 840581 w 6400800"/>
                <a:gd name="connsiteY2749" fmla="*/ 115729 h 514350"/>
                <a:gd name="connsiteX2750" fmla="*/ 834866 w 6400800"/>
                <a:gd name="connsiteY2750" fmla="*/ 137636 h 514350"/>
                <a:gd name="connsiteX2751" fmla="*/ 820579 w 6400800"/>
                <a:gd name="connsiteY2751" fmla="*/ 194786 h 514350"/>
                <a:gd name="connsiteX2752" fmla="*/ 818674 w 6400800"/>
                <a:gd name="connsiteY2752" fmla="*/ 204311 h 514350"/>
                <a:gd name="connsiteX2753" fmla="*/ 815816 w 6400800"/>
                <a:gd name="connsiteY2753" fmla="*/ 197644 h 514350"/>
                <a:gd name="connsiteX2754" fmla="*/ 807244 w 6400800"/>
                <a:gd name="connsiteY2754" fmla="*/ 174784 h 514350"/>
                <a:gd name="connsiteX2755" fmla="*/ 812006 w 6400800"/>
                <a:gd name="connsiteY2755" fmla="*/ 198596 h 514350"/>
                <a:gd name="connsiteX2756" fmla="*/ 814864 w 6400800"/>
                <a:gd name="connsiteY2756" fmla="*/ 210979 h 514350"/>
                <a:gd name="connsiteX2757" fmla="*/ 815816 w 6400800"/>
                <a:gd name="connsiteY2757" fmla="*/ 216694 h 514350"/>
                <a:gd name="connsiteX2758" fmla="*/ 811054 w 6400800"/>
                <a:gd name="connsiteY2758" fmla="*/ 239554 h 514350"/>
                <a:gd name="connsiteX2759" fmla="*/ 808196 w 6400800"/>
                <a:gd name="connsiteY2759" fmla="*/ 219551 h 514350"/>
                <a:gd name="connsiteX2760" fmla="*/ 807244 w 6400800"/>
                <a:gd name="connsiteY2760" fmla="*/ 264319 h 514350"/>
                <a:gd name="connsiteX2761" fmla="*/ 807244 w 6400800"/>
                <a:gd name="connsiteY2761" fmla="*/ 266224 h 514350"/>
                <a:gd name="connsiteX2762" fmla="*/ 798671 w 6400800"/>
                <a:gd name="connsiteY2762" fmla="*/ 246221 h 514350"/>
                <a:gd name="connsiteX2763" fmla="*/ 800576 w 6400800"/>
                <a:gd name="connsiteY2763" fmla="*/ 239554 h 514350"/>
                <a:gd name="connsiteX2764" fmla="*/ 797719 w 6400800"/>
                <a:gd name="connsiteY2764" fmla="*/ 245269 h 514350"/>
                <a:gd name="connsiteX2765" fmla="*/ 796766 w 6400800"/>
                <a:gd name="connsiteY2765" fmla="*/ 242411 h 514350"/>
                <a:gd name="connsiteX2766" fmla="*/ 792956 w 6400800"/>
                <a:gd name="connsiteY2766" fmla="*/ 233839 h 514350"/>
                <a:gd name="connsiteX2767" fmla="*/ 796766 w 6400800"/>
                <a:gd name="connsiteY2767" fmla="*/ 218599 h 514350"/>
                <a:gd name="connsiteX2768" fmla="*/ 809149 w 6400800"/>
                <a:gd name="connsiteY2768" fmla="*/ 164306 h 514350"/>
                <a:gd name="connsiteX2769" fmla="*/ 812959 w 6400800"/>
                <a:gd name="connsiteY2769" fmla="*/ 143351 h 514350"/>
                <a:gd name="connsiteX2770" fmla="*/ 805339 w 6400800"/>
                <a:gd name="connsiteY2770" fmla="*/ 163354 h 514350"/>
                <a:gd name="connsiteX2771" fmla="*/ 796766 w 6400800"/>
                <a:gd name="connsiteY2771" fmla="*/ 186214 h 514350"/>
                <a:gd name="connsiteX2772" fmla="*/ 785336 w 6400800"/>
                <a:gd name="connsiteY2772" fmla="*/ 215741 h 514350"/>
                <a:gd name="connsiteX2773" fmla="*/ 784384 w 6400800"/>
                <a:gd name="connsiteY2773" fmla="*/ 218599 h 514350"/>
                <a:gd name="connsiteX2774" fmla="*/ 776764 w 6400800"/>
                <a:gd name="connsiteY2774" fmla="*/ 205264 h 514350"/>
                <a:gd name="connsiteX2775" fmla="*/ 774859 w 6400800"/>
                <a:gd name="connsiteY2775" fmla="*/ 202406 h 514350"/>
                <a:gd name="connsiteX2776" fmla="*/ 774859 w 6400800"/>
                <a:gd name="connsiteY2776" fmla="*/ 201454 h 514350"/>
                <a:gd name="connsiteX2777" fmla="*/ 780574 w 6400800"/>
                <a:gd name="connsiteY2777" fmla="*/ 142399 h 514350"/>
                <a:gd name="connsiteX2778" fmla="*/ 781526 w 6400800"/>
                <a:gd name="connsiteY2778" fmla="*/ 119539 h 514350"/>
                <a:gd name="connsiteX2779" fmla="*/ 776764 w 6400800"/>
                <a:gd name="connsiteY2779" fmla="*/ 141446 h 514350"/>
                <a:gd name="connsiteX2780" fmla="*/ 771049 w 6400800"/>
                <a:gd name="connsiteY2780" fmla="*/ 167164 h 514350"/>
                <a:gd name="connsiteX2781" fmla="*/ 766286 w 6400800"/>
                <a:gd name="connsiteY2781" fmla="*/ 189071 h 514350"/>
                <a:gd name="connsiteX2782" fmla="*/ 758666 w 6400800"/>
                <a:gd name="connsiteY2782" fmla="*/ 178594 h 514350"/>
                <a:gd name="connsiteX2783" fmla="*/ 745331 w 6400800"/>
                <a:gd name="connsiteY2783" fmla="*/ 163354 h 514350"/>
                <a:gd name="connsiteX2784" fmla="*/ 740569 w 6400800"/>
                <a:gd name="connsiteY2784" fmla="*/ 157639 h 514350"/>
                <a:gd name="connsiteX2785" fmla="*/ 744379 w 6400800"/>
                <a:gd name="connsiteY2785" fmla="*/ 163354 h 514350"/>
                <a:gd name="connsiteX2786" fmla="*/ 754856 w 6400800"/>
                <a:gd name="connsiteY2786" fmla="*/ 180499 h 514350"/>
                <a:gd name="connsiteX2787" fmla="*/ 763429 w 6400800"/>
                <a:gd name="connsiteY2787" fmla="*/ 196691 h 514350"/>
                <a:gd name="connsiteX2788" fmla="*/ 762476 w 6400800"/>
                <a:gd name="connsiteY2788" fmla="*/ 199549 h 514350"/>
                <a:gd name="connsiteX2789" fmla="*/ 753904 w 6400800"/>
                <a:gd name="connsiteY2789" fmla="*/ 238601 h 514350"/>
                <a:gd name="connsiteX2790" fmla="*/ 747236 w 6400800"/>
                <a:gd name="connsiteY2790" fmla="*/ 224314 h 514350"/>
                <a:gd name="connsiteX2791" fmla="*/ 752951 w 6400800"/>
                <a:gd name="connsiteY2791" fmla="*/ 241459 h 514350"/>
                <a:gd name="connsiteX2792" fmla="*/ 751046 w 6400800"/>
                <a:gd name="connsiteY2792" fmla="*/ 243364 h 514350"/>
                <a:gd name="connsiteX2793" fmla="*/ 749141 w 6400800"/>
                <a:gd name="connsiteY2793" fmla="*/ 252889 h 514350"/>
                <a:gd name="connsiteX2794" fmla="*/ 752951 w 6400800"/>
                <a:gd name="connsiteY2794" fmla="*/ 244316 h 514350"/>
                <a:gd name="connsiteX2795" fmla="*/ 752951 w 6400800"/>
                <a:gd name="connsiteY2795" fmla="*/ 244316 h 514350"/>
                <a:gd name="connsiteX2796" fmla="*/ 744379 w 6400800"/>
                <a:gd name="connsiteY2796" fmla="*/ 282416 h 514350"/>
                <a:gd name="connsiteX2797" fmla="*/ 741521 w 6400800"/>
                <a:gd name="connsiteY2797" fmla="*/ 296704 h 514350"/>
                <a:gd name="connsiteX2798" fmla="*/ 738664 w 6400800"/>
                <a:gd name="connsiteY2798" fmla="*/ 306229 h 514350"/>
                <a:gd name="connsiteX2799" fmla="*/ 738664 w 6400800"/>
                <a:gd name="connsiteY2799" fmla="*/ 306229 h 514350"/>
                <a:gd name="connsiteX2800" fmla="*/ 737711 w 6400800"/>
                <a:gd name="connsiteY2800" fmla="*/ 293846 h 514350"/>
                <a:gd name="connsiteX2801" fmla="*/ 733901 w 6400800"/>
                <a:gd name="connsiteY2801" fmla="*/ 270034 h 514350"/>
                <a:gd name="connsiteX2802" fmla="*/ 731996 w 6400800"/>
                <a:gd name="connsiteY2802" fmla="*/ 259556 h 514350"/>
                <a:gd name="connsiteX2803" fmla="*/ 731044 w 6400800"/>
                <a:gd name="connsiteY2803" fmla="*/ 257651 h 514350"/>
                <a:gd name="connsiteX2804" fmla="*/ 725329 w 6400800"/>
                <a:gd name="connsiteY2804" fmla="*/ 210979 h 514350"/>
                <a:gd name="connsiteX2805" fmla="*/ 722471 w 6400800"/>
                <a:gd name="connsiteY2805" fmla="*/ 186214 h 514350"/>
                <a:gd name="connsiteX2806" fmla="*/ 722471 w 6400800"/>
                <a:gd name="connsiteY2806" fmla="*/ 199549 h 514350"/>
                <a:gd name="connsiteX2807" fmla="*/ 709136 w 6400800"/>
                <a:gd name="connsiteY2807" fmla="*/ 243364 h 514350"/>
                <a:gd name="connsiteX2808" fmla="*/ 704374 w 6400800"/>
                <a:gd name="connsiteY2808" fmla="*/ 229076 h 514350"/>
                <a:gd name="connsiteX2809" fmla="*/ 687229 w 6400800"/>
                <a:gd name="connsiteY2809" fmla="*/ 181451 h 514350"/>
                <a:gd name="connsiteX2810" fmla="*/ 679609 w 6400800"/>
                <a:gd name="connsiteY2810" fmla="*/ 161449 h 514350"/>
                <a:gd name="connsiteX2811" fmla="*/ 679609 w 6400800"/>
                <a:gd name="connsiteY2811" fmla="*/ 148114 h 514350"/>
                <a:gd name="connsiteX2812" fmla="*/ 679609 w 6400800"/>
                <a:gd name="connsiteY2812" fmla="*/ 122396 h 514350"/>
                <a:gd name="connsiteX2813" fmla="*/ 678656 w 6400800"/>
                <a:gd name="connsiteY2813" fmla="*/ 100489 h 514350"/>
                <a:gd name="connsiteX2814" fmla="*/ 675799 w 6400800"/>
                <a:gd name="connsiteY2814" fmla="*/ 122396 h 514350"/>
                <a:gd name="connsiteX2815" fmla="*/ 672941 w 6400800"/>
                <a:gd name="connsiteY2815" fmla="*/ 144304 h 514350"/>
                <a:gd name="connsiteX2816" fmla="*/ 663416 w 6400800"/>
                <a:gd name="connsiteY2816" fmla="*/ 122396 h 514350"/>
                <a:gd name="connsiteX2817" fmla="*/ 659606 w 6400800"/>
                <a:gd name="connsiteY2817" fmla="*/ 114776 h 514350"/>
                <a:gd name="connsiteX2818" fmla="*/ 662464 w 6400800"/>
                <a:gd name="connsiteY2818" fmla="*/ 123349 h 514350"/>
                <a:gd name="connsiteX2819" fmla="*/ 670084 w 6400800"/>
                <a:gd name="connsiteY2819" fmla="*/ 147161 h 514350"/>
                <a:gd name="connsiteX2820" fmla="*/ 671989 w 6400800"/>
                <a:gd name="connsiteY2820" fmla="*/ 153829 h 514350"/>
                <a:gd name="connsiteX2821" fmla="*/ 671036 w 6400800"/>
                <a:gd name="connsiteY2821" fmla="*/ 164306 h 514350"/>
                <a:gd name="connsiteX2822" fmla="*/ 668179 w 6400800"/>
                <a:gd name="connsiteY2822" fmla="*/ 181451 h 514350"/>
                <a:gd name="connsiteX2823" fmla="*/ 662464 w 6400800"/>
                <a:gd name="connsiteY2823" fmla="*/ 219551 h 514350"/>
                <a:gd name="connsiteX2824" fmla="*/ 658654 w 6400800"/>
                <a:gd name="connsiteY2824" fmla="*/ 239554 h 514350"/>
                <a:gd name="connsiteX2825" fmla="*/ 655796 w 6400800"/>
                <a:gd name="connsiteY2825" fmla="*/ 231934 h 514350"/>
                <a:gd name="connsiteX2826" fmla="*/ 657701 w 6400800"/>
                <a:gd name="connsiteY2826" fmla="*/ 210026 h 514350"/>
                <a:gd name="connsiteX2827" fmla="*/ 653891 w 6400800"/>
                <a:gd name="connsiteY2827" fmla="*/ 226219 h 514350"/>
                <a:gd name="connsiteX2828" fmla="*/ 638651 w 6400800"/>
                <a:gd name="connsiteY2828" fmla="*/ 191929 h 514350"/>
                <a:gd name="connsiteX2829" fmla="*/ 630079 w 6400800"/>
                <a:gd name="connsiteY2829" fmla="*/ 174784 h 514350"/>
                <a:gd name="connsiteX2830" fmla="*/ 627221 w 6400800"/>
                <a:gd name="connsiteY2830" fmla="*/ 169069 h 514350"/>
                <a:gd name="connsiteX2831" fmla="*/ 635794 w 6400800"/>
                <a:gd name="connsiteY2831" fmla="*/ 193834 h 514350"/>
                <a:gd name="connsiteX2832" fmla="*/ 649129 w 6400800"/>
                <a:gd name="connsiteY2832" fmla="*/ 240506 h 514350"/>
                <a:gd name="connsiteX2833" fmla="*/ 650081 w 6400800"/>
                <a:gd name="connsiteY2833" fmla="*/ 244316 h 514350"/>
                <a:gd name="connsiteX2834" fmla="*/ 647224 w 6400800"/>
                <a:gd name="connsiteY2834" fmla="*/ 262414 h 514350"/>
                <a:gd name="connsiteX2835" fmla="*/ 644366 w 6400800"/>
                <a:gd name="connsiteY2835" fmla="*/ 279559 h 514350"/>
                <a:gd name="connsiteX2836" fmla="*/ 642461 w 6400800"/>
                <a:gd name="connsiteY2836" fmla="*/ 298609 h 514350"/>
                <a:gd name="connsiteX2837" fmla="*/ 642461 w 6400800"/>
                <a:gd name="connsiteY2837" fmla="*/ 298609 h 514350"/>
                <a:gd name="connsiteX2838" fmla="*/ 642461 w 6400800"/>
                <a:gd name="connsiteY2838" fmla="*/ 294799 h 514350"/>
                <a:gd name="connsiteX2839" fmla="*/ 641509 w 6400800"/>
                <a:gd name="connsiteY2839" fmla="*/ 315754 h 514350"/>
                <a:gd name="connsiteX2840" fmla="*/ 641509 w 6400800"/>
                <a:gd name="connsiteY2840" fmla="*/ 317659 h 514350"/>
                <a:gd name="connsiteX2841" fmla="*/ 639604 w 6400800"/>
                <a:gd name="connsiteY2841" fmla="*/ 309086 h 514350"/>
                <a:gd name="connsiteX2842" fmla="*/ 640556 w 6400800"/>
                <a:gd name="connsiteY2842" fmla="*/ 304324 h 514350"/>
                <a:gd name="connsiteX2843" fmla="*/ 638651 w 6400800"/>
                <a:gd name="connsiteY2843" fmla="*/ 307181 h 514350"/>
                <a:gd name="connsiteX2844" fmla="*/ 632936 w 6400800"/>
                <a:gd name="connsiteY2844" fmla="*/ 284321 h 514350"/>
                <a:gd name="connsiteX2845" fmla="*/ 624364 w 6400800"/>
                <a:gd name="connsiteY2845" fmla="*/ 250031 h 514350"/>
                <a:gd name="connsiteX2846" fmla="*/ 617696 w 6400800"/>
                <a:gd name="connsiteY2846" fmla="*/ 223361 h 514350"/>
                <a:gd name="connsiteX2847" fmla="*/ 614839 w 6400800"/>
                <a:gd name="connsiteY2847" fmla="*/ 210979 h 514350"/>
                <a:gd name="connsiteX2848" fmla="*/ 615791 w 6400800"/>
                <a:gd name="connsiteY2848" fmla="*/ 190024 h 514350"/>
                <a:gd name="connsiteX2849" fmla="*/ 617696 w 6400800"/>
                <a:gd name="connsiteY2849" fmla="*/ 126206 h 514350"/>
                <a:gd name="connsiteX2850" fmla="*/ 607219 w 6400800"/>
                <a:gd name="connsiteY2850" fmla="*/ 187166 h 514350"/>
                <a:gd name="connsiteX2851" fmla="*/ 606266 w 6400800"/>
                <a:gd name="connsiteY2851" fmla="*/ 184309 h 514350"/>
                <a:gd name="connsiteX2852" fmla="*/ 606266 w 6400800"/>
                <a:gd name="connsiteY2852" fmla="*/ 189071 h 514350"/>
                <a:gd name="connsiteX2853" fmla="*/ 601504 w 6400800"/>
                <a:gd name="connsiteY2853" fmla="*/ 215741 h 514350"/>
                <a:gd name="connsiteX2854" fmla="*/ 599599 w 6400800"/>
                <a:gd name="connsiteY2854" fmla="*/ 210979 h 514350"/>
                <a:gd name="connsiteX2855" fmla="*/ 591026 w 6400800"/>
                <a:gd name="connsiteY2855" fmla="*/ 191929 h 514350"/>
                <a:gd name="connsiteX2856" fmla="*/ 595789 w 6400800"/>
                <a:gd name="connsiteY2856" fmla="*/ 212884 h 514350"/>
                <a:gd name="connsiteX2857" fmla="*/ 599599 w 6400800"/>
                <a:gd name="connsiteY2857" fmla="*/ 230029 h 514350"/>
                <a:gd name="connsiteX2858" fmla="*/ 595789 w 6400800"/>
                <a:gd name="connsiteY2858" fmla="*/ 251936 h 514350"/>
                <a:gd name="connsiteX2859" fmla="*/ 589121 w 6400800"/>
                <a:gd name="connsiteY2859" fmla="*/ 294799 h 514350"/>
                <a:gd name="connsiteX2860" fmla="*/ 582454 w 6400800"/>
                <a:gd name="connsiteY2860" fmla="*/ 284321 h 514350"/>
                <a:gd name="connsiteX2861" fmla="*/ 585311 w 6400800"/>
                <a:gd name="connsiteY2861" fmla="*/ 265271 h 514350"/>
                <a:gd name="connsiteX2862" fmla="*/ 588169 w 6400800"/>
                <a:gd name="connsiteY2862" fmla="*/ 244316 h 514350"/>
                <a:gd name="connsiteX2863" fmla="*/ 591026 w 6400800"/>
                <a:gd name="connsiteY2863" fmla="*/ 225266 h 514350"/>
                <a:gd name="connsiteX2864" fmla="*/ 584359 w 6400800"/>
                <a:gd name="connsiteY2864" fmla="*/ 243364 h 514350"/>
                <a:gd name="connsiteX2865" fmla="*/ 579596 w 6400800"/>
                <a:gd name="connsiteY2865" fmla="*/ 258604 h 514350"/>
                <a:gd name="connsiteX2866" fmla="*/ 577691 w 6400800"/>
                <a:gd name="connsiteY2866" fmla="*/ 231934 h 514350"/>
                <a:gd name="connsiteX2867" fmla="*/ 575786 w 6400800"/>
                <a:gd name="connsiteY2867" fmla="*/ 210979 h 514350"/>
                <a:gd name="connsiteX2868" fmla="*/ 573881 w 6400800"/>
                <a:gd name="connsiteY2868" fmla="*/ 230981 h 514350"/>
                <a:gd name="connsiteX2869" fmla="*/ 571024 w 6400800"/>
                <a:gd name="connsiteY2869" fmla="*/ 267176 h 514350"/>
                <a:gd name="connsiteX2870" fmla="*/ 571024 w 6400800"/>
                <a:gd name="connsiteY2870" fmla="*/ 267176 h 514350"/>
                <a:gd name="connsiteX2871" fmla="*/ 567214 w 6400800"/>
                <a:gd name="connsiteY2871" fmla="*/ 262414 h 514350"/>
                <a:gd name="connsiteX2872" fmla="*/ 552926 w 6400800"/>
                <a:gd name="connsiteY2872" fmla="*/ 219551 h 514350"/>
                <a:gd name="connsiteX2873" fmla="*/ 552926 w 6400800"/>
                <a:gd name="connsiteY2873" fmla="*/ 218599 h 514350"/>
                <a:gd name="connsiteX2874" fmla="*/ 555784 w 6400800"/>
                <a:gd name="connsiteY2874" fmla="*/ 189071 h 514350"/>
                <a:gd name="connsiteX2875" fmla="*/ 558641 w 6400800"/>
                <a:gd name="connsiteY2875" fmla="*/ 162401 h 514350"/>
                <a:gd name="connsiteX2876" fmla="*/ 561499 w 6400800"/>
                <a:gd name="connsiteY2876" fmla="*/ 141446 h 514350"/>
                <a:gd name="connsiteX2877" fmla="*/ 564356 w 6400800"/>
                <a:gd name="connsiteY2877" fmla="*/ 123349 h 514350"/>
                <a:gd name="connsiteX2878" fmla="*/ 557689 w 6400800"/>
                <a:gd name="connsiteY2878" fmla="*/ 140494 h 514350"/>
                <a:gd name="connsiteX2879" fmla="*/ 551021 w 6400800"/>
                <a:gd name="connsiteY2879" fmla="*/ 160496 h 514350"/>
                <a:gd name="connsiteX2880" fmla="*/ 544354 w 6400800"/>
                <a:gd name="connsiteY2880" fmla="*/ 187166 h 514350"/>
                <a:gd name="connsiteX2881" fmla="*/ 537686 w 6400800"/>
                <a:gd name="connsiteY2881" fmla="*/ 218599 h 514350"/>
                <a:gd name="connsiteX2882" fmla="*/ 535781 w 6400800"/>
                <a:gd name="connsiteY2882" fmla="*/ 231934 h 514350"/>
                <a:gd name="connsiteX2883" fmla="*/ 534829 w 6400800"/>
                <a:gd name="connsiteY2883" fmla="*/ 220504 h 514350"/>
                <a:gd name="connsiteX2884" fmla="*/ 532924 w 6400800"/>
                <a:gd name="connsiteY2884" fmla="*/ 205264 h 514350"/>
                <a:gd name="connsiteX2885" fmla="*/ 533876 w 6400800"/>
                <a:gd name="connsiteY2885" fmla="*/ 186214 h 514350"/>
                <a:gd name="connsiteX2886" fmla="*/ 534829 w 6400800"/>
                <a:gd name="connsiteY2886" fmla="*/ 166211 h 514350"/>
                <a:gd name="connsiteX2887" fmla="*/ 534829 w 6400800"/>
                <a:gd name="connsiteY2887" fmla="*/ 148114 h 514350"/>
                <a:gd name="connsiteX2888" fmla="*/ 534829 w 6400800"/>
                <a:gd name="connsiteY2888" fmla="*/ 118586 h 514350"/>
                <a:gd name="connsiteX2889" fmla="*/ 533876 w 6400800"/>
                <a:gd name="connsiteY2889" fmla="*/ 92869 h 514350"/>
                <a:gd name="connsiteX2890" fmla="*/ 531019 w 6400800"/>
                <a:gd name="connsiteY2890" fmla="*/ 118586 h 514350"/>
                <a:gd name="connsiteX2891" fmla="*/ 528161 w 6400800"/>
                <a:gd name="connsiteY2891" fmla="*/ 147161 h 514350"/>
                <a:gd name="connsiteX2892" fmla="*/ 526256 w 6400800"/>
                <a:gd name="connsiteY2892" fmla="*/ 165259 h 514350"/>
                <a:gd name="connsiteX2893" fmla="*/ 523399 w 6400800"/>
                <a:gd name="connsiteY2893" fmla="*/ 185261 h 514350"/>
                <a:gd name="connsiteX2894" fmla="*/ 521494 w 6400800"/>
                <a:gd name="connsiteY2894" fmla="*/ 197644 h 514350"/>
                <a:gd name="connsiteX2895" fmla="*/ 513874 w 6400800"/>
                <a:gd name="connsiteY2895" fmla="*/ 170021 h 514350"/>
                <a:gd name="connsiteX2896" fmla="*/ 506254 w 6400800"/>
                <a:gd name="connsiteY2896" fmla="*/ 144304 h 514350"/>
                <a:gd name="connsiteX2897" fmla="*/ 510064 w 6400800"/>
                <a:gd name="connsiteY2897" fmla="*/ 170974 h 514350"/>
                <a:gd name="connsiteX2898" fmla="*/ 517684 w 6400800"/>
                <a:gd name="connsiteY2898" fmla="*/ 222409 h 514350"/>
                <a:gd name="connsiteX2899" fmla="*/ 516731 w 6400800"/>
                <a:gd name="connsiteY2899" fmla="*/ 230029 h 514350"/>
                <a:gd name="connsiteX2900" fmla="*/ 512921 w 6400800"/>
                <a:gd name="connsiteY2900" fmla="*/ 251936 h 514350"/>
                <a:gd name="connsiteX2901" fmla="*/ 487204 w 6400800"/>
                <a:gd name="connsiteY2901" fmla="*/ 172879 h 514350"/>
                <a:gd name="connsiteX2902" fmla="*/ 485299 w 6400800"/>
                <a:gd name="connsiteY2902" fmla="*/ 164306 h 514350"/>
                <a:gd name="connsiteX2903" fmla="*/ 486251 w 6400800"/>
                <a:gd name="connsiteY2903" fmla="*/ 189071 h 514350"/>
                <a:gd name="connsiteX2904" fmla="*/ 488156 w 6400800"/>
                <a:gd name="connsiteY2904" fmla="*/ 217646 h 514350"/>
                <a:gd name="connsiteX2905" fmla="*/ 489109 w 6400800"/>
                <a:gd name="connsiteY2905" fmla="*/ 238601 h 514350"/>
                <a:gd name="connsiteX2906" fmla="*/ 486251 w 6400800"/>
                <a:gd name="connsiteY2906" fmla="*/ 223361 h 514350"/>
                <a:gd name="connsiteX2907" fmla="*/ 482441 w 6400800"/>
                <a:gd name="connsiteY2907" fmla="*/ 207169 h 514350"/>
                <a:gd name="connsiteX2908" fmla="*/ 478631 w 6400800"/>
                <a:gd name="connsiteY2908" fmla="*/ 192881 h 514350"/>
                <a:gd name="connsiteX2909" fmla="*/ 471964 w 6400800"/>
                <a:gd name="connsiteY2909" fmla="*/ 170021 h 514350"/>
                <a:gd name="connsiteX2910" fmla="*/ 465296 w 6400800"/>
                <a:gd name="connsiteY2910" fmla="*/ 150019 h 514350"/>
                <a:gd name="connsiteX2911" fmla="*/ 468154 w 6400800"/>
                <a:gd name="connsiteY2911" fmla="*/ 170021 h 514350"/>
                <a:gd name="connsiteX2912" fmla="*/ 471011 w 6400800"/>
                <a:gd name="connsiteY2912" fmla="*/ 193834 h 514350"/>
                <a:gd name="connsiteX2913" fmla="*/ 472916 w 6400800"/>
                <a:gd name="connsiteY2913" fmla="*/ 208121 h 514350"/>
                <a:gd name="connsiteX2914" fmla="*/ 474821 w 6400800"/>
                <a:gd name="connsiteY2914" fmla="*/ 224314 h 514350"/>
                <a:gd name="connsiteX2915" fmla="*/ 478631 w 6400800"/>
                <a:gd name="connsiteY2915" fmla="*/ 255746 h 514350"/>
                <a:gd name="connsiteX2916" fmla="*/ 474821 w 6400800"/>
                <a:gd name="connsiteY2916" fmla="*/ 240506 h 514350"/>
                <a:gd name="connsiteX2917" fmla="*/ 455771 w 6400800"/>
                <a:gd name="connsiteY2917" fmla="*/ 170974 h 514350"/>
                <a:gd name="connsiteX2918" fmla="*/ 447199 w 6400800"/>
                <a:gd name="connsiteY2918" fmla="*/ 145256 h 514350"/>
                <a:gd name="connsiteX2919" fmla="*/ 451961 w 6400800"/>
                <a:gd name="connsiteY2919" fmla="*/ 171926 h 514350"/>
                <a:gd name="connsiteX2920" fmla="*/ 457676 w 6400800"/>
                <a:gd name="connsiteY2920" fmla="*/ 202406 h 514350"/>
                <a:gd name="connsiteX2921" fmla="*/ 464344 w 6400800"/>
                <a:gd name="connsiteY2921" fmla="*/ 242411 h 514350"/>
                <a:gd name="connsiteX2922" fmla="*/ 471011 w 6400800"/>
                <a:gd name="connsiteY2922" fmla="*/ 282416 h 514350"/>
                <a:gd name="connsiteX2923" fmla="*/ 467201 w 6400800"/>
                <a:gd name="connsiteY2923" fmla="*/ 272891 h 514350"/>
                <a:gd name="connsiteX2924" fmla="*/ 459581 w 6400800"/>
                <a:gd name="connsiteY2924" fmla="*/ 255746 h 514350"/>
                <a:gd name="connsiteX2925" fmla="*/ 463391 w 6400800"/>
                <a:gd name="connsiteY2925" fmla="*/ 273844 h 514350"/>
                <a:gd name="connsiteX2926" fmla="*/ 468154 w 6400800"/>
                <a:gd name="connsiteY2926" fmla="*/ 293846 h 514350"/>
                <a:gd name="connsiteX2927" fmla="*/ 471011 w 6400800"/>
                <a:gd name="connsiteY2927" fmla="*/ 306229 h 514350"/>
                <a:gd name="connsiteX2928" fmla="*/ 473869 w 6400800"/>
                <a:gd name="connsiteY2928" fmla="*/ 320516 h 514350"/>
                <a:gd name="connsiteX2929" fmla="*/ 479584 w 6400800"/>
                <a:gd name="connsiteY2929" fmla="*/ 351949 h 514350"/>
                <a:gd name="connsiteX2930" fmla="*/ 479584 w 6400800"/>
                <a:gd name="connsiteY2930" fmla="*/ 353854 h 514350"/>
                <a:gd name="connsiteX2931" fmla="*/ 478631 w 6400800"/>
                <a:gd name="connsiteY2931" fmla="*/ 351949 h 514350"/>
                <a:gd name="connsiteX2932" fmla="*/ 471964 w 6400800"/>
                <a:gd name="connsiteY2932" fmla="*/ 338614 h 514350"/>
                <a:gd name="connsiteX2933" fmla="*/ 470059 w 6400800"/>
                <a:gd name="connsiteY2933" fmla="*/ 324326 h 514350"/>
                <a:gd name="connsiteX2934" fmla="*/ 462439 w 6400800"/>
                <a:gd name="connsiteY2934" fmla="*/ 280511 h 514350"/>
                <a:gd name="connsiteX2935" fmla="*/ 452914 w 6400800"/>
                <a:gd name="connsiteY2935" fmla="*/ 240506 h 514350"/>
                <a:gd name="connsiteX2936" fmla="*/ 441484 w 6400800"/>
                <a:gd name="connsiteY2936" fmla="*/ 205264 h 514350"/>
                <a:gd name="connsiteX2937" fmla="*/ 437674 w 6400800"/>
                <a:gd name="connsiteY2937" fmla="*/ 194786 h 514350"/>
                <a:gd name="connsiteX2938" fmla="*/ 440531 w 6400800"/>
                <a:gd name="connsiteY2938" fmla="*/ 167164 h 514350"/>
                <a:gd name="connsiteX2939" fmla="*/ 442436 w 6400800"/>
                <a:gd name="connsiteY2939" fmla="*/ 128111 h 514350"/>
                <a:gd name="connsiteX2940" fmla="*/ 441484 w 6400800"/>
                <a:gd name="connsiteY2940" fmla="*/ 94774 h 514350"/>
                <a:gd name="connsiteX2941" fmla="*/ 438626 w 6400800"/>
                <a:gd name="connsiteY2941" fmla="*/ 128111 h 514350"/>
                <a:gd name="connsiteX2942" fmla="*/ 433864 w 6400800"/>
                <a:gd name="connsiteY2942" fmla="*/ 166211 h 514350"/>
                <a:gd name="connsiteX2943" fmla="*/ 431959 w 6400800"/>
                <a:gd name="connsiteY2943" fmla="*/ 178594 h 514350"/>
                <a:gd name="connsiteX2944" fmla="*/ 431006 w 6400800"/>
                <a:gd name="connsiteY2944" fmla="*/ 175736 h 514350"/>
                <a:gd name="connsiteX2945" fmla="*/ 419576 w 6400800"/>
                <a:gd name="connsiteY2945" fmla="*/ 153829 h 514350"/>
                <a:gd name="connsiteX2946" fmla="*/ 408146 w 6400800"/>
                <a:gd name="connsiteY2946" fmla="*/ 135731 h 514350"/>
                <a:gd name="connsiteX2947" fmla="*/ 415766 w 6400800"/>
                <a:gd name="connsiteY2947" fmla="*/ 155734 h 514350"/>
                <a:gd name="connsiteX2948" fmla="*/ 423386 w 6400800"/>
                <a:gd name="connsiteY2948" fmla="*/ 178594 h 514350"/>
                <a:gd name="connsiteX2949" fmla="*/ 428149 w 6400800"/>
                <a:gd name="connsiteY2949" fmla="*/ 195739 h 514350"/>
                <a:gd name="connsiteX2950" fmla="*/ 424339 w 6400800"/>
                <a:gd name="connsiteY2950" fmla="*/ 214789 h 514350"/>
                <a:gd name="connsiteX2951" fmla="*/ 424339 w 6400800"/>
                <a:gd name="connsiteY2951" fmla="*/ 214789 h 514350"/>
                <a:gd name="connsiteX2952" fmla="*/ 415766 w 6400800"/>
                <a:gd name="connsiteY2952" fmla="*/ 202406 h 514350"/>
                <a:gd name="connsiteX2953" fmla="*/ 421481 w 6400800"/>
                <a:gd name="connsiteY2953" fmla="*/ 216694 h 514350"/>
                <a:gd name="connsiteX2954" fmla="*/ 423386 w 6400800"/>
                <a:gd name="connsiteY2954" fmla="*/ 223361 h 514350"/>
                <a:gd name="connsiteX2955" fmla="*/ 412909 w 6400800"/>
                <a:gd name="connsiteY2955" fmla="*/ 272891 h 514350"/>
                <a:gd name="connsiteX2956" fmla="*/ 405289 w 6400800"/>
                <a:gd name="connsiteY2956" fmla="*/ 253841 h 514350"/>
                <a:gd name="connsiteX2957" fmla="*/ 405289 w 6400800"/>
                <a:gd name="connsiteY2957" fmla="*/ 253841 h 514350"/>
                <a:gd name="connsiteX2958" fmla="*/ 404336 w 6400800"/>
                <a:gd name="connsiteY2958" fmla="*/ 210026 h 514350"/>
                <a:gd name="connsiteX2959" fmla="*/ 401479 w 6400800"/>
                <a:gd name="connsiteY2959" fmla="*/ 176689 h 514350"/>
                <a:gd name="connsiteX2960" fmla="*/ 396716 w 6400800"/>
                <a:gd name="connsiteY2960" fmla="*/ 148114 h 514350"/>
                <a:gd name="connsiteX2961" fmla="*/ 397669 w 6400800"/>
                <a:gd name="connsiteY2961" fmla="*/ 177641 h 514350"/>
                <a:gd name="connsiteX2962" fmla="*/ 396716 w 6400800"/>
                <a:gd name="connsiteY2962" fmla="*/ 206216 h 514350"/>
                <a:gd name="connsiteX2963" fmla="*/ 389096 w 6400800"/>
                <a:gd name="connsiteY2963" fmla="*/ 244316 h 514350"/>
                <a:gd name="connsiteX2964" fmla="*/ 381476 w 6400800"/>
                <a:gd name="connsiteY2964" fmla="*/ 219551 h 514350"/>
                <a:gd name="connsiteX2965" fmla="*/ 374809 w 6400800"/>
                <a:gd name="connsiteY2965" fmla="*/ 199549 h 514350"/>
                <a:gd name="connsiteX2966" fmla="*/ 372904 w 6400800"/>
                <a:gd name="connsiteY2966" fmla="*/ 194786 h 514350"/>
                <a:gd name="connsiteX2967" fmla="*/ 372904 w 6400800"/>
                <a:gd name="connsiteY2967" fmla="*/ 190976 h 514350"/>
                <a:gd name="connsiteX2968" fmla="*/ 370046 w 6400800"/>
                <a:gd name="connsiteY2968" fmla="*/ 177641 h 514350"/>
                <a:gd name="connsiteX2969" fmla="*/ 366236 w 6400800"/>
                <a:gd name="connsiteY2969" fmla="*/ 155734 h 514350"/>
                <a:gd name="connsiteX2970" fmla="*/ 364331 w 6400800"/>
                <a:gd name="connsiteY2970" fmla="*/ 148114 h 514350"/>
                <a:gd name="connsiteX2971" fmla="*/ 363379 w 6400800"/>
                <a:gd name="connsiteY2971" fmla="*/ 135731 h 514350"/>
                <a:gd name="connsiteX2972" fmla="*/ 363379 w 6400800"/>
                <a:gd name="connsiteY2972" fmla="*/ 140494 h 514350"/>
                <a:gd name="connsiteX2973" fmla="*/ 362426 w 6400800"/>
                <a:gd name="connsiteY2973" fmla="*/ 136684 h 514350"/>
                <a:gd name="connsiteX2974" fmla="*/ 362426 w 6400800"/>
                <a:gd name="connsiteY2974" fmla="*/ 151924 h 514350"/>
                <a:gd name="connsiteX2975" fmla="*/ 361474 w 6400800"/>
                <a:gd name="connsiteY2975" fmla="*/ 163354 h 514350"/>
                <a:gd name="connsiteX2976" fmla="*/ 357664 w 6400800"/>
                <a:gd name="connsiteY2976" fmla="*/ 151924 h 514350"/>
                <a:gd name="connsiteX2977" fmla="*/ 348139 w 6400800"/>
                <a:gd name="connsiteY2977" fmla="*/ 127159 h 514350"/>
                <a:gd name="connsiteX2978" fmla="*/ 353854 w 6400800"/>
                <a:gd name="connsiteY2978" fmla="*/ 153829 h 514350"/>
                <a:gd name="connsiteX2979" fmla="*/ 361474 w 6400800"/>
                <a:gd name="connsiteY2979" fmla="*/ 183356 h 514350"/>
                <a:gd name="connsiteX2980" fmla="*/ 361474 w 6400800"/>
                <a:gd name="connsiteY2980" fmla="*/ 192881 h 514350"/>
                <a:gd name="connsiteX2981" fmla="*/ 357664 w 6400800"/>
                <a:gd name="connsiteY2981" fmla="*/ 184309 h 514350"/>
                <a:gd name="connsiteX2982" fmla="*/ 360521 w 6400800"/>
                <a:gd name="connsiteY2982" fmla="*/ 198596 h 514350"/>
                <a:gd name="connsiteX2983" fmla="*/ 359569 w 6400800"/>
                <a:gd name="connsiteY2983" fmla="*/ 221456 h 514350"/>
                <a:gd name="connsiteX2984" fmla="*/ 355759 w 6400800"/>
                <a:gd name="connsiteY2984" fmla="*/ 208121 h 514350"/>
                <a:gd name="connsiteX2985" fmla="*/ 350996 w 6400800"/>
                <a:gd name="connsiteY2985" fmla="*/ 193834 h 514350"/>
                <a:gd name="connsiteX2986" fmla="*/ 351949 w 6400800"/>
                <a:gd name="connsiteY2986" fmla="*/ 208121 h 514350"/>
                <a:gd name="connsiteX2987" fmla="*/ 352901 w 6400800"/>
                <a:gd name="connsiteY2987" fmla="*/ 224314 h 514350"/>
                <a:gd name="connsiteX2988" fmla="*/ 353854 w 6400800"/>
                <a:gd name="connsiteY2988" fmla="*/ 246221 h 514350"/>
                <a:gd name="connsiteX2989" fmla="*/ 354806 w 6400800"/>
                <a:gd name="connsiteY2989" fmla="*/ 270986 h 514350"/>
                <a:gd name="connsiteX2990" fmla="*/ 355759 w 6400800"/>
                <a:gd name="connsiteY2990" fmla="*/ 299561 h 514350"/>
                <a:gd name="connsiteX2991" fmla="*/ 356711 w 6400800"/>
                <a:gd name="connsiteY2991" fmla="*/ 316706 h 514350"/>
                <a:gd name="connsiteX2992" fmla="*/ 346234 w 6400800"/>
                <a:gd name="connsiteY2992" fmla="*/ 298609 h 514350"/>
                <a:gd name="connsiteX2993" fmla="*/ 345281 w 6400800"/>
                <a:gd name="connsiteY2993" fmla="*/ 296704 h 514350"/>
                <a:gd name="connsiteX2994" fmla="*/ 345281 w 6400800"/>
                <a:gd name="connsiteY2994" fmla="*/ 291941 h 514350"/>
                <a:gd name="connsiteX2995" fmla="*/ 348139 w 6400800"/>
                <a:gd name="connsiteY2995" fmla="*/ 267176 h 514350"/>
                <a:gd name="connsiteX2996" fmla="*/ 350044 w 6400800"/>
                <a:gd name="connsiteY2996" fmla="*/ 246221 h 514350"/>
                <a:gd name="connsiteX2997" fmla="*/ 344329 w 6400800"/>
                <a:gd name="connsiteY2997" fmla="*/ 267176 h 514350"/>
                <a:gd name="connsiteX2998" fmla="*/ 339566 w 6400800"/>
                <a:gd name="connsiteY2998" fmla="*/ 287179 h 514350"/>
                <a:gd name="connsiteX2999" fmla="*/ 339566 w 6400800"/>
                <a:gd name="connsiteY2999" fmla="*/ 287179 h 514350"/>
                <a:gd name="connsiteX3000" fmla="*/ 339566 w 6400800"/>
                <a:gd name="connsiteY3000" fmla="*/ 288131 h 514350"/>
                <a:gd name="connsiteX3001" fmla="*/ 338614 w 6400800"/>
                <a:gd name="connsiteY3001" fmla="*/ 291941 h 514350"/>
                <a:gd name="connsiteX3002" fmla="*/ 337661 w 6400800"/>
                <a:gd name="connsiteY3002" fmla="*/ 297656 h 514350"/>
                <a:gd name="connsiteX3003" fmla="*/ 324326 w 6400800"/>
                <a:gd name="connsiteY3003" fmla="*/ 277654 h 514350"/>
                <a:gd name="connsiteX3004" fmla="*/ 310991 w 6400800"/>
                <a:gd name="connsiteY3004" fmla="*/ 233839 h 514350"/>
                <a:gd name="connsiteX3005" fmla="*/ 303371 w 6400800"/>
                <a:gd name="connsiteY3005" fmla="*/ 211931 h 514350"/>
                <a:gd name="connsiteX3006" fmla="*/ 306229 w 6400800"/>
                <a:gd name="connsiteY3006" fmla="*/ 196691 h 514350"/>
                <a:gd name="connsiteX3007" fmla="*/ 316706 w 6400800"/>
                <a:gd name="connsiteY3007" fmla="*/ 150971 h 514350"/>
                <a:gd name="connsiteX3008" fmla="*/ 326231 w 6400800"/>
                <a:gd name="connsiteY3008" fmla="*/ 115729 h 514350"/>
                <a:gd name="connsiteX3009" fmla="*/ 335756 w 6400800"/>
                <a:gd name="connsiteY3009" fmla="*/ 85249 h 514350"/>
                <a:gd name="connsiteX3010" fmla="*/ 323374 w 6400800"/>
                <a:gd name="connsiteY3010" fmla="*/ 113824 h 514350"/>
                <a:gd name="connsiteX3011" fmla="*/ 310991 w 6400800"/>
                <a:gd name="connsiteY3011" fmla="*/ 148114 h 514350"/>
                <a:gd name="connsiteX3012" fmla="*/ 303371 w 6400800"/>
                <a:gd name="connsiteY3012" fmla="*/ 169069 h 514350"/>
                <a:gd name="connsiteX3013" fmla="*/ 297656 w 6400800"/>
                <a:gd name="connsiteY3013" fmla="*/ 190024 h 514350"/>
                <a:gd name="connsiteX3014" fmla="*/ 287179 w 6400800"/>
                <a:gd name="connsiteY3014" fmla="*/ 159544 h 514350"/>
                <a:gd name="connsiteX3015" fmla="*/ 294799 w 6400800"/>
                <a:gd name="connsiteY3015" fmla="*/ 198596 h 514350"/>
                <a:gd name="connsiteX3016" fmla="*/ 283369 w 6400800"/>
                <a:gd name="connsiteY3016" fmla="*/ 247174 h 514350"/>
                <a:gd name="connsiteX3017" fmla="*/ 279559 w 6400800"/>
                <a:gd name="connsiteY3017" fmla="*/ 264319 h 514350"/>
                <a:gd name="connsiteX3018" fmla="*/ 276701 w 6400800"/>
                <a:gd name="connsiteY3018" fmla="*/ 253841 h 514350"/>
                <a:gd name="connsiteX3019" fmla="*/ 278606 w 6400800"/>
                <a:gd name="connsiteY3019" fmla="*/ 227171 h 514350"/>
                <a:gd name="connsiteX3020" fmla="*/ 284321 w 6400800"/>
                <a:gd name="connsiteY3020" fmla="*/ 166211 h 514350"/>
                <a:gd name="connsiteX3021" fmla="*/ 287179 w 6400800"/>
                <a:gd name="connsiteY3021" fmla="*/ 139541 h 514350"/>
                <a:gd name="connsiteX3022" fmla="*/ 290989 w 6400800"/>
                <a:gd name="connsiteY3022" fmla="*/ 115729 h 514350"/>
                <a:gd name="connsiteX3023" fmla="*/ 297656 w 6400800"/>
                <a:gd name="connsiteY3023" fmla="*/ 76676 h 514350"/>
                <a:gd name="connsiteX3024" fmla="*/ 304324 w 6400800"/>
                <a:gd name="connsiteY3024" fmla="*/ 42386 h 514350"/>
                <a:gd name="connsiteX3025" fmla="*/ 293846 w 6400800"/>
                <a:gd name="connsiteY3025" fmla="*/ 75724 h 514350"/>
                <a:gd name="connsiteX3026" fmla="*/ 283369 w 6400800"/>
                <a:gd name="connsiteY3026" fmla="*/ 114776 h 514350"/>
                <a:gd name="connsiteX3027" fmla="*/ 277654 w 6400800"/>
                <a:gd name="connsiteY3027" fmla="*/ 138589 h 514350"/>
                <a:gd name="connsiteX3028" fmla="*/ 272891 w 6400800"/>
                <a:gd name="connsiteY3028" fmla="*/ 165259 h 514350"/>
                <a:gd name="connsiteX3029" fmla="*/ 270034 w 6400800"/>
                <a:gd name="connsiteY3029" fmla="*/ 178594 h 514350"/>
                <a:gd name="connsiteX3030" fmla="*/ 261461 w 6400800"/>
                <a:gd name="connsiteY3030" fmla="*/ 196691 h 514350"/>
                <a:gd name="connsiteX3031" fmla="*/ 258604 w 6400800"/>
                <a:gd name="connsiteY3031" fmla="*/ 183356 h 514350"/>
                <a:gd name="connsiteX3032" fmla="*/ 253841 w 6400800"/>
                <a:gd name="connsiteY3032" fmla="*/ 161449 h 514350"/>
                <a:gd name="connsiteX3033" fmla="*/ 254794 w 6400800"/>
                <a:gd name="connsiteY3033" fmla="*/ 183356 h 514350"/>
                <a:gd name="connsiteX3034" fmla="*/ 256699 w 6400800"/>
                <a:gd name="connsiteY3034" fmla="*/ 207169 h 514350"/>
                <a:gd name="connsiteX3035" fmla="*/ 247174 w 6400800"/>
                <a:gd name="connsiteY3035" fmla="*/ 231934 h 514350"/>
                <a:gd name="connsiteX3036" fmla="*/ 245269 w 6400800"/>
                <a:gd name="connsiteY3036" fmla="*/ 236696 h 514350"/>
                <a:gd name="connsiteX3037" fmla="*/ 242411 w 6400800"/>
                <a:gd name="connsiteY3037" fmla="*/ 230029 h 514350"/>
                <a:gd name="connsiteX3038" fmla="*/ 244316 w 6400800"/>
                <a:gd name="connsiteY3038" fmla="*/ 240506 h 514350"/>
                <a:gd name="connsiteX3039" fmla="*/ 236696 w 6400800"/>
                <a:gd name="connsiteY3039" fmla="*/ 262414 h 514350"/>
                <a:gd name="connsiteX3040" fmla="*/ 226219 w 6400800"/>
                <a:gd name="connsiteY3040" fmla="*/ 227171 h 514350"/>
                <a:gd name="connsiteX3041" fmla="*/ 218599 w 6400800"/>
                <a:gd name="connsiteY3041" fmla="*/ 204311 h 514350"/>
                <a:gd name="connsiteX3042" fmla="*/ 210979 w 6400800"/>
                <a:gd name="connsiteY3042" fmla="*/ 184309 h 514350"/>
                <a:gd name="connsiteX3043" fmla="*/ 198596 w 6400800"/>
                <a:gd name="connsiteY3043" fmla="*/ 150971 h 514350"/>
                <a:gd name="connsiteX3044" fmla="*/ 187166 w 6400800"/>
                <a:gd name="connsiteY3044" fmla="*/ 122396 h 514350"/>
                <a:gd name="connsiteX3045" fmla="*/ 194786 w 6400800"/>
                <a:gd name="connsiteY3045" fmla="*/ 151924 h 514350"/>
                <a:gd name="connsiteX3046" fmla="*/ 204311 w 6400800"/>
                <a:gd name="connsiteY3046" fmla="*/ 186214 h 514350"/>
                <a:gd name="connsiteX3047" fmla="*/ 210026 w 6400800"/>
                <a:gd name="connsiteY3047" fmla="*/ 207169 h 514350"/>
                <a:gd name="connsiteX3048" fmla="*/ 215741 w 6400800"/>
                <a:gd name="connsiteY3048" fmla="*/ 230981 h 514350"/>
                <a:gd name="connsiteX3049" fmla="*/ 226219 w 6400800"/>
                <a:gd name="connsiteY3049" fmla="*/ 275749 h 514350"/>
                <a:gd name="connsiteX3050" fmla="*/ 218599 w 6400800"/>
                <a:gd name="connsiteY3050" fmla="*/ 295751 h 514350"/>
                <a:gd name="connsiteX3051" fmla="*/ 217646 w 6400800"/>
                <a:gd name="connsiteY3051" fmla="*/ 298609 h 514350"/>
                <a:gd name="connsiteX3052" fmla="*/ 214789 w 6400800"/>
                <a:gd name="connsiteY3052" fmla="*/ 266224 h 514350"/>
                <a:gd name="connsiteX3053" fmla="*/ 212884 w 6400800"/>
                <a:gd name="connsiteY3053" fmla="*/ 241459 h 514350"/>
                <a:gd name="connsiteX3054" fmla="*/ 210979 w 6400800"/>
                <a:gd name="connsiteY3054" fmla="*/ 266224 h 514350"/>
                <a:gd name="connsiteX3055" fmla="*/ 209074 w 6400800"/>
                <a:gd name="connsiteY3055" fmla="*/ 309086 h 514350"/>
                <a:gd name="connsiteX3056" fmla="*/ 196691 w 6400800"/>
                <a:gd name="connsiteY3056" fmla="*/ 287179 h 514350"/>
                <a:gd name="connsiteX3057" fmla="*/ 187166 w 6400800"/>
                <a:gd name="connsiteY3057" fmla="*/ 270034 h 514350"/>
                <a:gd name="connsiteX3058" fmla="*/ 177641 w 6400800"/>
                <a:gd name="connsiteY3058" fmla="*/ 255746 h 514350"/>
                <a:gd name="connsiteX3059" fmla="*/ 161449 w 6400800"/>
                <a:gd name="connsiteY3059" fmla="*/ 231934 h 514350"/>
                <a:gd name="connsiteX3060" fmla="*/ 156686 w 6400800"/>
                <a:gd name="connsiteY3060" fmla="*/ 225266 h 514350"/>
                <a:gd name="connsiteX3061" fmla="*/ 152876 w 6400800"/>
                <a:gd name="connsiteY3061" fmla="*/ 209074 h 514350"/>
                <a:gd name="connsiteX3062" fmla="*/ 152876 w 6400800"/>
                <a:gd name="connsiteY3062" fmla="*/ 219551 h 514350"/>
                <a:gd name="connsiteX3063" fmla="*/ 146209 w 6400800"/>
                <a:gd name="connsiteY3063" fmla="*/ 210979 h 514350"/>
                <a:gd name="connsiteX3064" fmla="*/ 152876 w 6400800"/>
                <a:gd name="connsiteY3064" fmla="*/ 224314 h 514350"/>
                <a:gd name="connsiteX3065" fmla="*/ 156686 w 6400800"/>
                <a:gd name="connsiteY3065" fmla="*/ 275749 h 514350"/>
                <a:gd name="connsiteX3066" fmla="*/ 148114 w 6400800"/>
                <a:gd name="connsiteY3066" fmla="*/ 263366 h 514350"/>
                <a:gd name="connsiteX3067" fmla="*/ 124301 w 6400800"/>
                <a:gd name="connsiteY3067" fmla="*/ 233839 h 514350"/>
                <a:gd name="connsiteX3068" fmla="*/ 104299 w 6400800"/>
                <a:gd name="connsiteY3068" fmla="*/ 212884 h 514350"/>
                <a:gd name="connsiteX3069" fmla="*/ 88106 w 6400800"/>
                <a:gd name="connsiteY3069" fmla="*/ 197644 h 514350"/>
                <a:gd name="connsiteX3070" fmla="*/ 103346 w 6400800"/>
                <a:gd name="connsiteY3070" fmla="*/ 217646 h 514350"/>
                <a:gd name="connsiteX3071" fmla="*/ 119539 w 6400800"/>
                <a:gd name="connsiteY3071" fmla="*/ 240506 h 514350"/>
                <a:gd name="connsiteX3072" fmla="*/ 139541 w 6400800"/>
                <a:gd name="connsiteY3072" fmla="*/ 271939 h 514350"/>
                <a:gd name="connsiteX3073" fmla="*/ 151924 w 6400800"/>
                <a:gd name="connsiteY3073" fmla="*/ 292894 h 514350"/>
                <a:gd name="connsiteX3074" fmla="*/ 151924 w 6400800"/>
                <a:gd name="connsiteY3074" fmla="*/ 297656 h 514350"/>
                <a:gd name="connsiteX3075" fmla="*/ 150971 w 6400800"/>
                <a:gd name="connsiteY3075" fmla="*/ 296704 h 514350"/>
                <a:gd name="connsiteX3076" fmla="*/ 136684 w 6400800"/>
                <a:gd name="connsiteY3076" fmla="*/ 282416 h 514350"/>
                <a:gd name="connsiteX3077" fmla="*/ 131921 w 6400800"/>
                <a:gd name="connsiteY3077" fmla="*/ 278606 h 514350"/>
                <a:gd name="connsiteX3078" fmla="*/ 132874 w 6400800"/>
                <a:gd name="connsiteY3078" fmla="*/ 274796 h 514350"/>
                <a:gd name="connsiteX3079" fmla="*/ 130969 w 6400800"/>
                <a:gd name="connsiteY3079" fmla="*/ 278606 h 514350"/>
                <a:gd name="connsiteX3080" fmla="*/ 122396 w 6400800"/>
                <a:gd name="connsiteY3080" fmla="*/ 270986 h 514350"/>
                <a:gd name="connsiteX3081" fmla="*/ 130016 w 6400800"/>
                <a:gd name="connsiteY3081" fmla="*/ 280511 h 514350"/>
                <a:gd name="connsiteX3082" fmla="*/ 123349 w 6400800"/>
                <a:gd name="connsiteY3082" fmla="*/ 293846 h 514350"/>
                <a:gd name="connsiteX3083" fmla="*/ 114776 w 6400800"/>
                <a:gd name="connsiteY3083" fmla="*/ 316706 h 514350"/>
                <a:gd name="connsiteX3084" fmla="*/ 112871 w 6400800"/>
                <a:gd name="connsiteY3084" fmla="*/ 321469 h 514350"/>
                <a:gd name="connsiteX3085" fmla="*/ 103346 w 6400800"/>
                <a:gd name="connsiteY3085" fmla="*/ 299561 h 514350"/>
                <a:gd name="connsiteX3086" fmla="*/ 86201 w 6400800"/>
                <a:gd name="connsiteY3086" fmla="*/ 262414 h 514350"/>
                <a:gd name="connsiteX3087" fmla="*/ 78581 w 6400800"/>
                <a:gd name="connsiteY3087" fmla="*/ 245269 h 514350"/>
                <a:gd name="connsiteX3088" fmla="*/ 70961 w 6400800"/>
                <a:gd name="connsiteY3088" fmla="*/ 230981 h 514350"/>
                <a:gd name="connsiteX3089" fmla="*/ 57626 w 6400800"/>
                <a:gd name="connsiteY3089" fmla="*/ 208121 h 514350"/>
                <a:gd name="connsiteX3090" fmla="*/ 46196 w 6400800"/>
                <a:gd name="connsiteY3090" fmla="*/ 188119 h 514350"/>
                <a:gd name="connsiteX3091" fmla="*/ 54769 w 6400800"/>
                <a:gd name="connsiteY3091" fmla="*/ 210026 h 514350"/>
                <a:gd name="connsiteX3092" fmla="*/ 64294 w 6400800"/>
                <a:gd name="connsiteY3092" fmla="*/ 234791 h 514350"/>
                <a:gd name="connsiteX3093" fmla="*/ 70009 w 6400800"/>
                <a:gd name="connsiteY3093" fmla="*/ 250031 h 514350"/>
                <a:gd name="connsiteX3094" fmla="*/ 75724 w 6400800"/>
                <a:gd name="connsiteY3094" fmla="*/ 266224 h 514350"/>
                <a:gd name="connsiteX3095" fmla="*/ 85249 w 6400800"/>
                <a:gd name="connsiteY3095" fmla="*/ 292894 h 514350"/>
                <a:gd name="connsiteX3096" fmla="*/ 79534 w 6400800"/>
                <a:gd name="connsiteY3096" fmla="*/ 284321 h 514350"/>
                <a:gd name="connsiteX3097" fmla="*/ 68104 w 6400800"/>
                <a:gd name="connsiteY3097" fmla="*/ 268129 h 514350"/>
                <a:gd name="connsiteX3098" fmla="*/ 57626 w 6400800"/>
                <a:gd name="connsiteY3098" fmla="*/ 253841 h 514350"/>
                <a:gd name="connsiteX3099" fmla="*/ 64294 w 6400800"/>
                <a:gd name="connsiteY3099" fmla="*/ 270034 h 514350"/>
                <a:gd name="connsiteX3100" fmla="*/ 71914 w 6400800"/>
                <a:gd name="connsiteY3100" fmla="*/ 288131 h 514350"/>
                <a:gd name="connsiteX3101" fmla="*/ 83344 w 6400800"/>
                <a:gd name="connsiteY3101" fmla="*/ 311944 h 514350"/>
                <a:gd name="connsiteX3102" fmla="*/ 90964 w 6400800"/>
                <a:gd name="connsiteY3102" fmla="*/ 330994 h 514350"/>
                <a:gd name="connsiteX3103" fmla="*/ 87154 w 6400800"/>
                <a:gd name="connsiteY3103" fmla="*/ 339566 h 514350"/>
                <a:gd name="connsiteX3104" fmla="*/ 81439 w 6400800"/>
                <a:gd name="connsiteY3104" fmla="*/ 352901 h 514350"/>
                <a:gd name="connsiteX3105" fmla="*/ 78581 w 6400800"/>
                <a:gd name="connsiteY3105" fmla="*/ 339566 h 514350"/>
                <a:gd name="connsiteX3106" fmla="*/ 70009 w 6400800"/>
                <a:gd name="connsiteY3106" fmla="*/ 301466 h 514350"/>
                <a:gd name="connsiteX3107" fmla="*/ 61436 w 6400800"/>
                <a:gd name="connsiteY3107" fmla="*/ 269081 h 514350"/>
                <a:gd name="connsiteX3108" fmla="*/ 53816 w 6400800"/>
                <a:gd name="connsiteY3108" fmla="*/ 244316 h 514350"/>
                <a:gd name="connsiteX3109" fmla="*/ 46196 w 6400800"/>
                <a:gd name="connsiteY3109" fmla="*/ 223361 h 514350"/>
                <a:gd name="connsiteX3110" fmla="*/ 50006 w 6400800"/>
                <a:gd name="connsiteY3110" fmla="*/ 245269 h 514350"/>
                <a:gd name="connsiteX3111" fmla="*/ 53816 w 6400800"/>
                <a:gd name="connsiteY3111" fmla="*/ 270034 h 514350"/>
                <a:gd name="connsiteX3112" fmla="*/ 58579 w 6400800"/>
                <a:gd name="connsiteY3112" fmla="*/ 302419 h 514350"/>
                <a:gd name="connsiteX3113" fmla="*/ 64294 w 6400800"/>
                <a:gd name="connsiteY3113" fmla="*/ 340519 h 514350"/>
                <a:gd name="connsiteX3114" fmla="*/ 69056 w 6400800"/>
                <a:gd name="connsiteY3114" fmla="*/ 381476 h 514350"/>
                <a:gd name="connsiteX3115" fmla="*/ 67151 w 6400800"/>
                <a:gd name="connsiteY3115" fmla="*/ 385286 h 514350"/>
                <a:gd name="connsiteX3116" fmla="*/ 60484 w 6400800"/>
                <a:gd name="connsiteY3116" fmla="*/ 405289 h 514350"/>
                <a:gd name="connsiteX3117" fmla="*/ 59531 w 6400800"/>
                <a:gd name="connsiteY3117" fmla="*/ 407194 h 514350"/>
                <a:gd name="connsiteX3118" fmla="*/ 56674 w 6400800"/>
                <a:gd name="connsiteY3118" fmla="*/ 407194 h 514350"/>
                <a:gd name="connsiteX3119" fmla="*/ 54769 w 6400800"/>
                <a:gd name="connsiteY3119" fmla="*/ 399574 h 514350"/>
                <a:gd name="connsiteX3120" fmla="*/ 46196 w 6400800"/>
                <a:gd name="connsiteY3120" fmla="*/ 364331 h 514350"/>
                <a:gd name="connsiteX3121" fmla="*/ 37624 w 6400800"/>
                <a:gd name="connsiteY3121" fmla="*/ 332899 h 514350"/>
                <a:gd name="connsiteX3122" fmla="*/ 21431 w 6400800"/>
                <a:gd name="connsiteY3122" fmla="*/ 287179 h 514350"/>
                <a:gd name="connsiteX3123" fmla="*/ 13811 w 6400800"/>
                <a:gd name="connsiteY3123" fmla="*/ 270034 h 514350"/>
                <a:gd name="connsiteX3124" fmla="*/ 17621 w 6400800"/>
                <a:gd name="connsiteY3124" fmla="*/ 288131 h 514350"/>
                <a:gd name="connsiteX3125" fmla="*/ 21431 w 6400800"/>
                <a:gd name="connsiteY3125" fmla="*/ 309086 h 514350"/>
                <a:gd name="connsiteX3126" fmla="*/ 26194 w 6400800"/>
                <a:gd name="connsiteY3126" fmla="*/ 335756 h 514350"/>
                <a:gd name="connsiteX3127" fmla="*/ 31909 w 6400800"/>
                <a:gd name="connsiteY3127" fmla="*/ 367189 h 514350"/>
                <a:gd name="connsiteX3128" fmla="*/ 39529 w 6400800"/>
                <a:gd name="connsiteY3128" fmla="*/ 402431 h 514350"/>
                <a:gd name="connsiteX3129" fmla="*/ 39529 w 6400800"/>
                <a:gd name="connsiteY3129" fmla="*/ 404336 h 514350"/>
                <a:gd name="connsiteX3130" fmla="*/ 7144 w 6400800"/>
                <a:gd name="connsiteY3130" fmla="*/ 399574 h 514350"/>
                <a:gd name="connsiteX3131" fmla="*/ 7144 w 6400800"/>
                <a:gd name="connsiteY3131" fmla="*/ 511016 h 514350"/>
                <a:gd name="connsiteX3132" fmla="*/ 6277451 w 6400800"/>
                <a:gd name="connsiteY3132" fmla="*/ 364331 h 514350"/>
                <a:gd name="connsiteX3133" fmla="*/ 6279356 w 6400800"/>
                <a:gd name="connsiteY3133" fmla="*/ 357664 h 514350"/>
                <a:gd name="connsiteX3134" fmla="*/ 6279356 w 6400800"/>
                <a:gd name="connsiteY3134" fmla="*/ 361474 h 514350"/>
                <a:gd name="connsiteX3135" fmla="*/ 6277451 w 6400800"/>
                <a:gd name="connsiteY3135" fmla="*/ 399574 h 514350"/>
                <a:gd name="connsiteX3136" fmla="*/ 6267926 w 6400800"/>
                <a:gd name="connsiteY3136" fmla="*/ 430054 h 514350"/>
                <a:gd name="connsiteX3137" fmla="*/ 6266021 w 6400800"/>
                <a:gd name="connsiteY3137" fmla="*/ 430054 h 514350"/>
                <a:gd name="connsiteX3138" fmla="*/ 6260306 w 6400800"/>
                <a:gd name="connsiteY3138" fmla="*/ 421481 h 514350"/>
                <a:gd name="connsiteX3139" fmla="*/ 6277451 w 6400800"/>
                <a:gd name="connsiteY3139" fmla="*/ 364331 h 514350"/>
                <a:gd name="connsiteX3140" fmla="*/ 6211729 w 6400800"/>
                <a:gd name="connsiteY3140" fmla="*/ 425291 h 514350"/>
                <a:gd name="connsiteX3141" fmla="*/ 6212681 w 6400800"/>
                <a:gd name="connsiteY3141" fmla="*/ 398621 h 514350"/>
                <a:gd name="connsiteX3142" fmla="*/ 6213634 w 6400800"/>
                <a:gd name="connsiteY3142" fmla="*/ 390049 h 514350"/>
                <a:gd name="connsiteX3143" fmla="*/ 6216492 w 6400800"/>
                <a:gd name="connsiteY3143" fmla="*/ 393859 h 514350"/>
                <a:gd name="connsiteX3144" fmla="*/ 6227921 w 6400800"/>
                <a:gd name="connsiteY3144" fmla="*/ 408146 h 514350"/>
                <a:gd name="connsiteX3145" fmla="*/ 6225064 w 6400800"/>
                <a:gd name="connsiteY3145" fmla="*/ 412909 h 514350"/>
                <a:gd name="connsiteX3146" fmla="*/ 6221254 w 6400800"/>
                <a:gd name="connsiteY3146" fmla="*/ 420529 h 514350"/>
                <a:gd name="connsiteX3147" fmla="*/ 6218396 w 6400800"/>
                <a:gd name="connsiteY3147" fmla="*/ 429101 h 514350"/>
                <a:gd name="connsiteX3148" fmla="*/ 6217444 w 6400800"/>
                <a:gd name="connsiteY3148" fmla="*/ 431006 h 514350"/>
                <a:gd name="connsiteX3149" fmla="*/ 6217444 w 6400800"/>
                <a:gd name="connsiteY3149" fmla="*/ 429101 h 514350"/>
                <a:gd name="connsiteX3150" fmla="*/ 6215539 w 6400800"/>
                <a:gd name="connsiteY3150" fmla="*/ 413861 h 514350"/>
                <a:gd name="connsiteX3151" fmla="*/ 6213634 w 6400800"/>
                <a:gd name="connsiteY3151" fmla="*/ 429101 h 514350"/>
                <a:gd name="connsiteX3152" fmla="*/ 6211729 w 6400800"/>
                <a:gd name="connsiteY3152" fmla="*/ 441484 h 514350"/>
                <a:gd name="connsiteX3153" fmla="*/ 6211729 w 6400800"/>
                <a:gd name="connsiteY3153" fmla="*/ 425291 h 514350"/>
                <a:gd name="connsiteX3154" fmla="*/ 6183154 w 6400800"/>
                <a:gd name="connsiteY3154" fmla="*/ 343376 h 514350"/>
                <a:gd name="connsiteX3155" fmla="*/ 6187917 w 6400800"/>
                <a:gd name="connsiteY3155" fmla="*/ 350996 h 514350"/>
                <a:gd name="connsiteX3156" fmla="*/ 6191726 w 6400800"/>
                <a:gd name="connsiteY3156" fmla="*/ 356711 h 514350"/>
                <a:gd name="connsiteX3157" fmla="*/ 6183154 w 6400800"/>
                <a:gd name="connsiteY3157" fmla="*/ 388144 h 514350"/>
                <a:gd name="connsiteX3158" fmla="*/ 6182201 w 6400800"/>
                <a:gd name="connsiteY3158" fmla="*/ 391954 h 514350"/>
                <a:gd name="connsiteX3159" fmla="*/ 6181249 w 6400800"/>
                <a:gd name="connsiteY3159" fmla="*/ 375761 h 514350"/>
                <a:gd name="connsiteX3160" fmla="*/ 6181249 w 6400800"/>
                <a:gd name="connsiteY3160" fmla="*/ 372904 h 514350"/>
                <a:gd name="connsiteX3161" fmla="*/ 6183154 w 6400800"/>
                <a:gd name="connsiteY3161" fmla="*/ 343376 h 514350"/>
                <a:gd name="connsiteX3162" fmla="*/ 6144101 w 6400800"/>
                <a:gd name="connsiteY3162" fmla="*/ 308134 h 514350"/>
                <a:gd name="connsiteX3163" fmla="*/ 6147912 w 6400800"/>
                <a:gd name="connsiteY3163" fmla="*/ 276701 h 514350"/>
                <a:gd name="connsiteX3164" fmla="*/ 6153626 w 6400800"/>
                <a:gd name="connsiteY3164" fmla="*/ 289084 h 514350"/>
                <a:gd name="connsiteX3165" fmla="*/ 6161246 w 6400800"/>
                <a:gd name="connsiteY3165" fmla="*/ 305276 h 514350"/>
                <a:gd name="connsiteX3166" fmla="*/ 6157437 w 6400800"/>
                <a:gd name="connsiteY3166" fmla="*/ 319564 h 514350"/>
                <a:gd name="connsiteX3167" fmla="*/ 6152674 w 6400800"/>
                <a:gd name="connsiteY3167" fmla="*/ 342424 h 514350"/>
                <a:gd name="connsiteX3168" fmla="*/ 6150769 w 6400800"/>
                <a:gd name="connsiteY3168" fmla="*/ 356711 h 514350"/>
                <a:gd name="connsiteX3169" fmla="*/ 6149817 w 6400800"/>
                <a:gd name="connsiteY3169" fmla="*/ 360521 h 514350"/>
                <a:gd name="connsiteX3170" fmla="*/ 6148864 w 6400800"/>
                <a:gd name="connsiteY3170" fmla="*/ 365284 h 514350"/>
                <a:gd name="connsiteX3171" fmla="*/ 6146006 w 6400800"/>
                <a:gd name="connsiteY3171" fmla="*/ 360521 h 514350"/>
                <a:gd name="connsiteX3172" fmla="*/ 6147912 w 6400800"/>
                <a:gd name="connsiteY3172" fmla="*/ 368141 h 514350"/>
                <a:gd name="connsiteX3173" fmla="*/ 6145054 w 6400800"/>
                <a:gd name="connsiteY3173" fmla="*/ 389096 h 514350"/>
                <a:gd name="connsiteX3174" fmla="*/ 6144101 w 6400800"/>
                <a:gd name="connsiteY3174" fmla="*/ 386239 h 514350"/>
                <a:gd name="connsiteX3175" fmla="*/ 6143149 w 6400800"/>
                <a:gd name="connsiteY3175" fmla="*/ 384334 h 514350"/>
                <a:gd name="connsiteX3176" fmla="*/ 6142196 w 6400800"/>
                <a:gd name="connsiteY3176" fmla="*/ 369094 h 514350"/>
                <a:gd name="connsiteX3177" fmla="*/ 6139339 w 6400800"/>
                <a:gd name="connsiteY3177" fmla="*/ 343376 h 514350"/>
                <a:gd name="connsiteX3178" fmla="*/ 6144101 w 6400800"/>
                <a:gd name="connsiteY3178" fmla="*/ 308134 h 514350"/>
                <a:gd name="connsiteX3179" fmla="*/ 6095524 w 6400800"/>
                <a:gd name="connsiteY3179" fmla="*/ 384334 h 514350"/>
                <a:gd name="connsiteX3180" fmla="*/ 6088856 w 6400800"/>
                <a:gd name="connsiteY3180" fmla="*/ 412909 h 514350"/>
                <a:gd name="connsiteX3181" fmla="*/ 6083142 w 6400800"/>
                <a:gd name="connsiteY3181" fmla="*/ 435769 h 514350"/>
                <a:gd name="connsiteX3182" fmla="*/ 6076474 w 6400800"/>
                <a:gd name="connsiteY3182" fmla="*/ 411956 h 514350"/>
                <a:gd name="connsiteX3183" fmla="*/ 6079331 w 6400800"/>
                <a:gd name="connsiteY3183" fmla="*/ 391001 h 514350"/>
                <a:gd name="connsiteX3184" fmla="*/ 6084094 w 6400800"/>
                <a:gd name="connsiteY3184" fmla="*/ 368141 h 514350"/>
                <a:gd name="connsiteX3185" fmla="*/ 6088856 w 6400800"/>
                <a:gd name="connsiteY3185" fmla="*/ 347186 h 514350"/>
                <a:gd name="connsiteX3186" fmla="*/ 6091714 w 6400800"/>
                <a:gd name="connsiteY3186" fmla="*/ 348139 h 514350"/>
                <a:gd name="connsiteX3187" fmla="*/ 6095524 w 6400800"/>
                <a:gd name="connsiteY3187" fmla="*/ 350996 h 514350"/>
                <a:gd name="connsiteX3188" fmla="*/ 6100287 w 6400800"/>
                <a:gd name="connsiteY3188" fmla="*/ 359569 h 514350"/>
                <a:gd name="connsiteX3189" fmla="*/ 6095524 w 6400800"/>
                <a:gd name="connsiteY3189" fmla="*/ 384334 h 514350"/>
                <a:gd name="connsiteX3190" fmla="*/ 6102192 w 6400800"/>
                <a:gd name="connsiteY3190" fmla="*/ 206216 h 514350"/>
                <a:gd name="connsiteX3191" fmla="*/ 6101239 w 6400800"/>
                <a:gd name="connsiteY3191" fmla="*/ 235744 h 514350"/>
                <a:gd name="connsiteX3192" fmla="*/ 6101239 w 6400800"/>
                <a:gd name="connsiteY3192" fmla="*/ 241459 h 514350"/>
                <a:gd name="connsiteX3193" fmla="*/ 6101239 w 6400800"/>
                <a:gd name="connsiteY3193" fmla="*/ 242411 h 514350"/>
                <a:gd name="connsiteX3194" fmla="*/ 6101239 w 6400800"/>
                <a:gd name="connsiteY3194" fmla="*/ 242411 h 514350"/>
                <a:gd name="connsiteX3195" fmla="*/ 6100287 w 6400800"/>
                <a:gd name="connsiteY3195" fmla="*/ 239554 h 514350"/>
                <a:gd name="connsiteX3196" fmla="*/ 6097429 w 6400800"/>
                <a:gd name="connsiteY3196" fmla="*/ 230981 h 514350"/>
                <a:gd name="connsiteX3197" fmla="*/ 6102192 w 6400800"/>
                <a:gd name="connsiteY3197" fmla="*/ 206216 h 514350"/>
                <a:gd name="connsiteX3198" fmla="*/ 6100287 w 6400800"/>
                <a:gd name="connsiteY3198" fmla="*/ 284321 h 514350"/>
                <a:gd name="connsiteX3199" fmla="*/ 6098381 w 6400800"/>
                <a:gd name="connsiteY3199" fmla="*/ 279559 h 514350"/>
                <a:gd name="connsiteX3200" fmla="*/ 6099334 w 6400800"/>
                <a:gd name="connsiteY3200" fmla="*/ 277654 h 514350"/>
                <a:gd name="connsiteX3201" fmla="*/ 6100287 w 6400800"/>
                <a:gd name="connsiteY3201" fmla="*/ 284321 h 514350"/>
                <a:gd name="connsiteX3202" fmla="*/ 6093619 w 6400800"/>
                <a:gd name="connsiteY3202" fmla="*/ 247174 h 514350"/>
                <a:gd name="connsiteX3203" fmla="*/ 6095524 w 6400800"/>
                <a:gd name="connsiteY3203" fmla="*/ 255746 h 514350"/>
                <a:gd name="connsiteX3204" fmla="*/ 6091714 w 6400800"/>
                <a:gd name="connsiteY3204" fmla="*/ 264319 h 514350"/>
                <a:gd name="connsiteX3205" fmla="*/ 6090762 w 6400800"/>
                <a:gd name="connsiteY3205" fmla="*/ 262414 h 514350"/>
                <a:gd name="connsiteX3206" fmla="*/ 6093619 w 6400800"/>
                <a:gd name="connsiteY3206" fmla="*/ 247174 h 514350"/>
                <a:gd name="connsiteX3207" fmla="*/ 6088856 w 6400800"/>
                <a:gd name="connsiteY3207" fmla="*/ 269081 h 514350"/>
                <a:gd name="connsiteX3208" fmla="*/ 6088856 w 6400800"/>
                <a:gd name="connsiteY3208" fmla="*/ 270034 h 514350"/>
                <a:gd name="connsiteX3209" fmla="*/ 6088856 w 6400800"/>
                <a:gd name="connsiteY3209" fmla="*/ 270034 h 514350"/>
                <a:gd name="connsiteX3210" fmla="*/ 6087904 w 6400800"/>
                <a:gd name="connsiteY3210" fmla="*/ 272891 h 514350"/>
                <a:gd name="connsiteX3211" fmla="*/ 6088856 w 6400800"/>
                <a:gd name="connsiteY3211" fmla="*/ 269081 h 514350"/>
                <a:gd name="connsiteX3212" fmla="*/ 6067901 w 6400800"/>
                <a:gd name="connsiteY3212" fmla="*/ 369094 h 514350"/>
                <a:gd name="connsiteX3213" fmla="*/ 6080284 w 6400800"/>
                <a:gd name="connsiteY3213" fmla="*/ 339566 h 514350"/>
                <a:gd name="connsiteX3214" fmla="*/ 6085046 w 6400800"/>
                <a:gd name="connsiteY3214" fmla="*/ 326231 h 514350"/>
                <a:gd name="connsiteX3215" fmla="*/ 6088856 w 6400800"/>
                <a:gd name="connsiteY3215" fmla="*/ 313849 h 514350"/>
                <a:gd name="connsiteX3216" fmla="*/ 6093619 w 6400800"/>
                <a:gd name="connsiteY3216" fmla="*/ 293846 h 514350"/>
                <a:gd name="connsiteX3217" fmla="*/ 6093619 w 6400800"/>
                <a:gd name="connsiteY3217" fmla="*/ 293846 h 514350"/>
                <a:gd name="connsiteX3218" fmla="*/ 6096476 w 6400800"/>
                <a:gd name="connsiteY3218" fmla="*/ 310991 h 514350"/>
                <a:gd name="connsiteX3219" fmla="*/ 6100287 w 6400800"/>
                <a:gd name="connsiteY3219" fmla="*/ 339566 h 514350"/>
                <a:gd name="connsiteX3220" fmla="*/ 6101239 w 6400800"/>
                <a:gd name="connsiteY3220" fmla="*/ 355759 h 514350"/>
                <a:gd name="connsiteX3221" fmla="*/ 6101239 w 6400800"/>
                <a:gd name="connsiteY3221" fmla="*/ 355759 h 514350"/>
                <a:gd name="connsiteX3222" fmla="*/ 6100287 w 6400800"/>
                <a:gd name="connsiteY3222" fmla="*/ 359569 h 514350"/>
                <a:gd name="connsiteX3223" fmla="*/ 6097429 w 6400800"/>
                <a:gd name="connsiteY3223" fmla="*/ 350044 h 514350"/>
                <a:gd name="connsiteX3224" fmla="*/ 6093619 w 6400800"/>
                <a:gd name="connsiteY3224" fmla="*/ 345281 h 514350"/>
                <a:gd name="connsiteX3225" fmla="*/ 6087904 w 6400800"/>
                <a:gd name="connsiteY3225" fmla="*/ 342424 h 514350"/>
                <a:gd name="connsiteX3226" fmla="*/ 6085999 w 6400800"/>
                <a:gd name="connsiteY3226" fmla="*/ 341471 h 514350"/>
                <a:gd name="connsiteX3227" fmla="*/ 6085046 w 6400800"/>
                <a:gd name="connsiteY3227" fmla="*/ 343376 h 514350"/>
                <a:gd name="connsiteX3228" fmla="*/ 6076474 w 6400800"/>
                <a:gd name="connsiteY3228" fmla="*/ 365284 h 514350"/>
                <a:gd name="connsiteX3229" fmla="*/ 6069806 w 6400800"/>
                <a:gd name="connsiteY3229" fmla="*/ 384334 h 514350"/>
                <a:gd name="connsiteX3230" fmla="*/ 6065996 w 6400800"/>
                <a:gd name="connsiteY3230" fmla="*/ 372904 h 514350"/>
                <a:gd name="connsiteX3231" fmla="*/ 6067901 w 6400800"/>
                <a:gd name="connsiteY3231" fmla="*/ 369094 h 514350"/>
                <a:gd name="connsiteX3232" fmla="*/ 6035517 w 6400800"/>
                <a:gd name="connsiteY3232" fmla="*/ 310039 h 514350"/>
                <a:gd name="connsiteX3233" fmla="*/ 6035517 w 6400800"/>
                <a:gd name="connsiteY3233" fmla="*/ 308134 h 514350"/>
                <a:gd name="connsiteX3234" fmla="*/ 6040279 w 6400800"/>
                <a:gd name="connsiteY3234" fmla="*/ 324326 h 514350"/>
                <a:gd name="connsiteX3235" fmla="*/ 6044089 w 6400800"/>
                <a:gd name="connsiteY3235" fmla="*/ 338614 h 514350"/>
                <a:gd name="connsiteX3236" fmla="*/ 6038374 w 6400800"/>
                <a:gd name="connsiteY3236" fmla="*/ 355759 h 514350"/>
                <a:gd name="connsiteX3237" fmla="*/ 6033612 w 6400800"/>
                <a:gd name="connsiteY3237" fmla="*/ 330041 h 514350"/>
                <a:gd name="connsiteX3238" fmla="*/ 6035517 w 6400800"/>
                <a:gd name="connsiteY3238" fmla="*/ 310039 h 514350"/>
                <a:gd name="connsiteX3239" fmla="*/ 6012656 w 6400800"/>
                <a:gd name="connsiteY3239" fmla="*/ 361474 h 514350"/>
                <a:gd name="connsiteX3240" fmla="*/ 6012656 w 6400800"/>
                <a:gd name="connsiteY3240" fmla="*/ 363379 h 514350"/>
                <a:gd name="connsiteX3241" fmla="*/ 6012656 w 6400800"/>
                <a:gd name="connsiteY3241" fmla="*/ 359569 h 514350"/>
                <a:gd name="connsiteX3242" fmla="*/ 6012656 w 6400800"/>
                <a:gd name="connsiteY3242" fmla="*/ 361474 h 514350"/>
                <a:gd name="connsiteX3243" fmla="*/ 6007894 w 6400800"/>
                <a:gd name="connsiteY3243" fmla="*/ 351949 h 514350"/>
                <a:gd name="connsiteX3244" fmla="*/ 6007894 w 6400800"/>
                <a:gd name="connsiteY3244" fmla="*/ 352901 h 514350"/>
                <a:gd name="connsiteX3245" fmla="*/ 6007894 w 6400800"/>
                <a:gd name="connsiteY3245" fmla="*/ 351949 h 514350"/>
                <a:gd name="connsiteX3246" fmla="*/ 6007894 w 6400800"/>
                <a:gd name="connsiteY3246" fmla="*/ 351949 h 514350"/>
                <a:gd name="connsiteX3247" fmla="*/ 5976462 w 6400800"/>
                <a:gd name="connsiteY3247" fmla="*/ 410051 h 514350"/>
                <a:gd name="connsiteX3248" fmla="*/ 5973604 w 6400800"/>
                <a:gd name="connsiteY3248" fmla="*/ 402431 h 514350"/>
                <a:gd name="connsiteX3249" fmla="*/ 5972651 w 6400800"/>
                <a:gd name="connsiteY3249" fmla="*/ 398621 h 514350"/>
                <a:gd name="connsiteX3250" fmla="*/ 5971699 w 6400800"/>
                <a:gd name="connsiteY3250" fmla="*/ 391001 h 514350"/>
                <a:gd name="connsiteX3251" fmla="*/ 5973604 w 6400800"/>
                <a:gd name="connsiteY3251" fmla="*/ 386239 h 514350"/>
                <a:gd name="connsiteX3252" fmla="*/ 5977414 w 6400800"/>
                <a:gd name="connsiteY3252" fmla="*/ 374809 h 514350"/>
                <a:gd name="connsiteX3253" fmla="*/ 5976462 w 6400800"/>
                <a:gd name="connsiteY3253" fmla="*/ 410051 h 514350"/>
                <a:gd name="connsiteX3254" fmla="*/ 5976462 w 6400800"/>
                <a:gd name="connsiteY3254" fmla="*/ 239554 h 514350"/>
                <a:gd name="connsiteX3255" fmla="*/ 5978367 w 6400800"/>
                <a:gd name="connsiteY3255" fmla="*/ 250031 h 514350"/>
                <a:gd name="connsiteX3256" fmla="*/ 5979319 w 6400800"/>
                <a:gd name="connsiteY3256" fmla="*/ 256699 h 514350"/>
                <a:gd name="connsiteX3257" fmla="*/ 5974556 w 6400800"/>
                <a:gd name="connsiteY3257" fmla="*/ 248126 h 514350"/>
                <a:gd name="connsiteX3258" fmla="*/ 5976462 w 6400800"/>
                <a:gd name="connsiteY3258" fmla="*/ 239554 h 514350"/>
                <a:gd name="connsiteX3259" fmla="*/ 5965984 w 6400800"/>
                <a:gd name="connsiteY3259" fmla="*/ 291941 h 514350"/>
                <a:gd name="connsiteX3260" fmla="*/ 5966937 w 6400800"/>
                <a:gd name="connsiteY3260" fmla="*/ 286226 h 514350"/>
                <a:gd name="connsiteX3261" fmla="*/ 5967889 w 6400800"/>
                <a:gd name="connsiteY3261" fmla="*/ 282416 h 514350"/>
                <a:gd name="connsiteX3262" fmla="*/ 5970746 w 6400800"/>
                <a:gd name="connsiteY3262" fmla="*/ 269081 h 514350"/>
                <a:gd name="connsiteX3263" fmla="*/ 5983129 w 6400800"/>
                <a:gd name="connsiteY3263" fmla="*/ 298609 h 514350"/>
                <a:gd name="connsiteX3264" fmla="*/ 5980271 w 6400800"/>
                <a:gd name="connsiteY3264" fmla="*/ 330994 h 514350"/>
                <a:gd name="connsiteX3265" fmla="*/ 5979319 w 6400800"/>
                <a:gd name="connsiteY3265" fmla="*/ 331946 h 514350"/>
                <a:gd name="connsiteX3266" fmla="*/ 5976462 w 6400800"/>
                <a:gd name="connsiteY3266" fmla="*/ 328136 h 514350"/>
                <a:gd name="connsiteX3267" fmla="*/ 5979319 w 6400800"/>
                <a:gd name="connsiteY3267" fmla="*/ 332899 h 514350"/>
                <a:gd name="connsiteX3268" fmla="*/ 5972651 w 6400800"/>
                <a:gd name="connsiteY3268" fmla="*/ 346234 h 514350"/>
                <a:gd name="connsiteX3269" fmla="*/ 5967889 w 6400800"/>
                <a:gd name="connsiteY3269" fmla="*/ 355759 h 514350"/>
                <a:gd name="connsiteX3270" fmla="*/ 5967889 w 6400800"/>
                <a:gd name="connsiteY3270" fmla="*/ 355759 h 514350"/>
                <a:gd name="connsiteX3271" fmla="*/ 5966937 w 6400800"/>
                <a:gd name="connsiteY3271" fmla="*/ 351949 h 514350"/>
                <a:gd name="connsiteX3272" fmla="*/ 5965031 w 6400800"/>
                <a:gd name="connsiteY3272" fmla="*/ 333851 h 514350"/>
                <a:gd name="connsiteX3273" fmla="*/ 5963126 w 6400800"/>
                <a:gd name="connsiteY3273" fmla="*/ 299561 h 514350"/>
                <a:gd name="connsiteX3274" fmla="*/ 5965984 w 6400800"/>
                <a:gd name="connsiteY3274" fmla="*/ 291941 h 514350"/>
                <a:gd name="connsiteX3275" fmla="*/ 5952649 w 6400800"/>
                <a:gd name="connsiteY3275" fmla="*/ 385286 h 514350"/>
                <a:gd name="connsiteX3276" fmla="*/ 5952649 w 6400800"/>
                <a:gd name="connsiteY3276" fmla="*/ 385286 h 514350"/>
                <a:gd name="connsiteX3277" fmla="*/ 5952649 w 6400800"/>
                <a:gd name="connsiteY3277" fmla="*/ 385286 h 514350"/>
                <a:gd name="connsiteX3278" fmla="*/ 5952649 w 6400800"/>
                <a:gd name="connsiteY3278" fmla="*/ 385286 h 514350"/>
                <a:gd name="connsiteX3279" fmla="*/ 5934551 w 6400800"/>
                <a:gd name="connsiteY3279" fmla="*/ 339566 h 514350"/>
                <a:gd name="connsiteX3280" fmla="*/ 5933599 w 6400800"/>
                <a:gd name="connsiteY3280" fmla="*/ 332899 h 514350"/>
                <a:gd name="connsiteX3281" fmla="*/ 5933599 w 6400800"/>
                <a:gd name="connsiteY3281" fmla="*/ 330994 h 514350"/>
                <a:gd name="connsiteX3282" fmla="*/ 5935504 w 6400800"/>
                <a:gd name="connsiteY3282" fmla="*/ 336709 h 514350"/>
                <a:gd name="connsiteX3283" fmla="*/ 5934551 w 6400800"/>
                <a:gd name="connsiteY3283" fmla="*/ 339566 h 514350"/>
                <a:gd name="connsiteX3284" fmla="*/ 5948839 w 6400800"/>
                <a:gd name="connsiteY3284" fmla="*/ 371951 h 514350"/>
                <a:gd name="connsiteX3285" fmla="*/ 5945981 w 6400800"/>
                <a:gd name="connsiteY3285" fmla="*/ 382429 h 514350"/>
                <a:gd name="connsiteX3286" fmla="*/ 5943124 w 6400800"/>
                <a:gd name="connsiteY3286" fmla="*/ 392906 h 514350"/>
                <a:gd name="connsiteX3287" fmla="*/ 5943124 w 6400800"/>
                <a:gd name="connsiteY3287" fmla="*/ 378619 h 514350"/>
                <a:gd name="connsiteX3288" fmla="*/ 5943124 w 6400800"/>
                <a:gd name="connsiteY3288" fmla="*/ 378619 h 514350"/>
                <a:gd name="connsiteX3289" fmla="*/ 5946934 w 6400800"/>
                <a:gd name="connsiteY3289" fmla="*/ 365284 h 514350"/>
                <a:gd name="connsiteX3290" fmla="*/ 5948839 w 6400800"/>
                <a:gd name="connsiteY3290" fmla="*/ 371951 h 514350"/>
                <a:gd name="connsiteX3291" fmla="*/ 5930742 w 6400800"/>
                <a:gd name="connsiteY3291" fmla="*/ 234791 h 514350"/>
                <a:gd name="connsiteX3292" fmla="*/ 5938362 w 6400800"/>
                <a:gd name="connsiteY3292" fmla="*/ 269081 h 514350"/>
                <a:gd name="connsiteX3293" fmla="*/ 5945029 w 6400800"/>
                <a:gd name="connsiteY3293" fmla="*/ 307181 h 514350"/>
                <a:gd name="connsiteX3294" fmla="*/ 5940267 w 6400800"/>
                <a:gd name="connsiteY3294" fmla="*/ 323374 h 514350"/>
                <a:gd name="connsiteX3295" fmla="*/ 5940267 w 6400800"/>
                <a:gd name="connsiteY3295" fmla="*/ 324326 h 514350"/>
                <a:gd name="connsiteX3296" fmla="*/ 5931694 w 6400800"/>
                <a:gd name="connsiteY3296" fmla="*/ 307181 h 514350"/>
                <a:gd name="connsiteX3297" fmla="*/ 5928837 w 6400800"/>
                <a:gd name="connsiteY3297" fmla="*/ 284321 h 514350"/>
                <a:gd name="connsiteX3298" fmla="*/ 5926931 w 6400800"/>
                <a:gd name="connsiteY3298" fmla="*/ 266224 h 514350"/>
                <a:gd name="connsiteX3299" fmla="*/ 5929789 w 6400800"/>
                <a:gd name="connsiteY3299" fmla="*/ 259556 h 514350"/>
                <a:gd name="connsiteX3300" fmla="*/ 5926931 w 6400800"/>
                <a:gd name="connsiteY3300" fmla="*/ 264319 h 514350"/>
                <a:gd name="connsiteX3301" fmla="*/ 5925026 w 6400800"/>
                <a:gd name="connsiteY3301" fmla="*/ 245269 h 514350"/>
                <a:gd name="connsiteX3302" fmla="*/ 5926931 w 6400800"/>
                <a:gd name="connsiteY3302" fmla="*/ 233839 h 514350"/>
                <a:gd name="connsiteX3303" fmla="*/ 5928837 w 6400800"/>
                <a:gd name="connsiteY3303" fmla="*/ 226219 h 514350"/>
                <a:gd name="connsiteX3304" fmla="*/ 5930742 w 6400800"/>
                <a:gd name="connsiteY3304" fmla="*/ 234791 h 514350"/>
                <a:gd name="connsiteX3305" fmla="*/ 5923121 w 6400800"/>
                <a:gd name="connsiteY3305" fmla="*/ 209074 h 514350"/>
                <a:gd name="connsiteX3306" fmla="*/ 5926931 w 6400800"/>
                <a:gd name="connsiteY3306" fmla="*/ 222409 h 514350"/>
                <a:gd name="connsiteX3307" fmla="*/ 5922169 w 6400800"/>
                <a:gd name="connsiteY3307" fmla="*/ 232886 h 514350"/>
                <a:gd name="connsiteX3308" fmla="*/ 5919312 w 6400800"/>
                <a:gd name="connsiteY3308" fmla="*/ 206216 h 514350"/>
                <a:gd name="connsiteX3309" fmla="*/ 5918359 w 6400800"/>
                <a:gd name="connsiteY3309" fmla="*/ 193834 h 514350"/>
                <a:gd name="connsiteX3310" fmla="*/ 5923121 w 6400800"/>
                <a:gd name="connsiteY3310" fmla="*/ 209074 h 514350"/>
                <a:gd name="connsiteX3311" fmla="*/ 5901214 w 6400800"/>
                <a:gd name="connsiteY3311" fmla="*/ 244316 h 514350"/>
                <a:gd name="connsiteX3312" fmla="*/ 5901214 w 6400800"/>
                <a:gd name="connsiteY3312" fmla="*/ 258604 h 514350"/>
                <a:gd name="connsiteX3313" fmla="*/ 5902167 w 6400800"/>
                <a:gd name="connsiteY3313" fmla="*/ 278606 h 514350"/>
                <a:gd name="connsiteX3314" fmla="*/ 5904071 w 6400800"/>
                <a:gd name="connsiteY3314" fmla="*/ 302419 h 514350"/>
                <a:gd name="connsiteX3315" fmla="*/ 5900262 w 6400800"/>
                <a:gd name="connsiteY3315" fmla="*/ 310039 h 514350"/>
                <a:gd name="connsiteX3316" fmla="*/ 5895499 w 6400800"/>
                <a:gd name="connsiteY3316" fmla="*/ 284321 h 514350"/>
                <a:gd name="connsiteX3317" fmla="*/ 5901214 w 6400800"/>
                <a:gd name="connsiteY3317" fmla="*/ 244316 h 514350"/>
                <a:gd name="connsiteX3318" fmla="*/ 5903119 w 6400800"/>
                <a:gd name="connsiteY3318" fmla="*/ 324326 h 514350"/>
                <a:gd name="connsiteX3319" fmla="*/ 5903119 w 6400800"/>
                <a:gd name="connsiteY3319" fmla="*/ 328136 h 514350"/>
                <a:gd name="connsiteX3320" fmla="*/ 5902167 w 6400800"/>
                <a:gd name="connsiteY3320" fmla="*/ 325279 h 514350"/>
                <a:gd name="connsiteX3321" fmla="*/ 5903119 w 6400800"/>
                <a:gd name="connsiteY3321" fmla="*/ 324326 h 514350"/>
                <a:gd name="connsiteX3322" fmla="*/ 5892642 w 6400800"/>
                <a:gd name="connsiteY3322" fmla="*/ 348139 h 514350"/>
                <a:gd name="connsiteX3323" fmla="*/ 5893594 w 6400800"/>
                <a:gd name="connsiteY3323" fmla="*/ 352901 h 514350"/>
                <a:gd name="connsiteX3324" fmla="*/ 5893594 w 6400800"/>
                <a:gd name="connsiteY3324" fmla="*/ 355759 h 514350"/>
                <a:gd name="connsiteX3325" fmla="*/ 5891689 w 6400800"/>
                <a:gd name="connsiteY3325" fmla="*/ 350996 h 514350"/>
                <a:gd name="connsiteX3326" fmla="*/ 5892642 w 6400800"/>
                <a:gd name="connsiteY3326" fmla="*/ 348139 h 514350"/>
                <a:gd name="connsiteX3327" fmla="*/ 5893594 w 6400800"/>
                <a:gd name="connsiteY3327" fmla="*/ 373856 h 514350"/>
                <a:gd name="connsiteX3328" fmla="*/ 5898356 w 6400800"/>
                <a:gd name="connsiteY3328" fmla="*/ 391954 h 514350"/>
                <a:gd name="connsiteX3329" fmla="*/ 5902167 w 6400800"/>
                <a:gd name="connsiteY3329" fmla="*/ 408146 h 514350"/>
                <a:gd name="connsiteX3330" fmla="*/ 5904071 w 6400800"/>
                <a:gd name="connsiteY3330" fmla="*/ 417671 h 514350"/>
                <a:gd name="connsiteX3331" fmla="*/ 5904071 w 6400800"/>
                <a:gd name="connsiteY3331" fmla="*/ 417671 h 514350"/>
                <a:gd name="connsiteX3332" fmla="*/ 5890737 w 6400800"/>
                <a:gd name="connsiteY3332" fmla="*/ 387191 h 514350"/>
                <a:gd name="connsiteX3333" fmla="*/ 5888831 w 6400800"/>
                <a:gd name="connsiteY3333" fmla="*/ 383381 h 514350"/>
                <a:gd name="connsiteX3334" fmla="*/ 5887879 w 6400800"/>
                <a:gd name="connsiteY3334" fmla="*/ 357664 h 514350"/>
                <a:gd name="connsiteX3335" fmla="*/ 5888831 w 6400800"/>
                <a:gd name="connsiteY3335" fmla="*/ 356711 h 514350"/>
                <a:gd name="connsiteX3336" fmla="*/ 5893594 w 6400800"/>
                <a:gd name="connsiteY3336" fmla="*/ 373856 h 514350"/>
                <a:gd name="connsiteX3337" fmla="*/ 5886926 w 6400800"/>
                <a:gd name="connsiteY3337" fmla="*/ 321469 h 514350"/>
                <a:gd name="connsiteX3338" fmla="*/ 5888831 w 6400800"/>
                <a:gd name="connsiteY3338" fmla="*/ 311944 h 514350"/>
                <a:gd name="connsiteX3339" fmla="*/ 5888831 w 6400800"/>
                <a:gd name="connsiteY3339" fmla="*/ 314801 h 514350"/>
                <a:gd name="connsiteX3340" fmla="*/ 5889784 w 6400800"/>
                <a:gd name="connsiteY3340" fmla="*/ 326231 h 514350"/>
                <a:gd name="connsiteX3341" fmla="*/ 5885974 w 6400800"/>
                <a:gd name="connsiteY3341" fmla="*/ 332899 h 514350"/>
                <a:gd name="connsiteX3342" fmla="*/ 5885974 w 6400800"/>
                <a:gd name="connsiteY3342" fmla="*/ 325279 h 514350"/>
                <a:gd name="connsiteX3343" fmla="*/ 5886926 w 6400800"/>
                <a:gd name="connsiteY3343" fmla="*/ 321469 h 514350"/>
                <a:gd name="connsiteX3344" fmla="*/ 5858351 w 6400800"/>
                <a:gd name="connsiteY3344" fmla="*/ 279559 h 514350"/>
                <a:gd name="connsiteX3345" fmla="*/ 5858351 w 6400800"/>
                <a:gd name="connsiteY3345" fmla="*/ 284321 h 514350"/>
                <a:gd name="connsiteX3346" fmla="*/ 5858351 w 6400800"/>
                <a:gd name="connsiteY3346" fmla="*/ 285274 h 514350"/>
                <a:gd name="connsiteX3347" fmla="*/ 5857399 w 6400800"/>
                <a:gd name="connsiteY3347" fmla="*/ 281464 h 514350"/>
                <a:gd name="connsiteX3348" fmla="*/ 5858351 w 6400800"/>
                <a:gd name="connsiteY3348" fmla="*/ 279559 h 514350"/>
                <a:gd name="connsiteX3349" fmla="*/ 5841206 w 6400800"/>
                <a:gd name="connsiteY3349" fmla="*/ 264319 h 514350"/>
                <a:gd name="connsiteX3350" fmla="*/ 5840254 w 6400800"/>
                <a:gd name="connsiteY3350" fmla="*/ 270034 h 514350"/>
                <a:gd name="connsiteX3351" fmla="*/ 5839301 w 6400800"/>
                <a:gd name="connsiteY3351" fmla="*/ 277654 h 514350"/>
                <a:gd name="connsiteX3352" fmla="*/ 5838349 w 6400800"/>
                <a:gd name="connsiteY3352" fmla="*/ 271939 h 514350"/>
                <a:gd name="connsiteX3353" fmla="*/ 5841206 w 6400800"/>
                <a:gd name="connsiteY3353" fmla="*/ 264319 h 514350"/>
                <a:gd name="connsiteX3354" fmla="*/ 5828824 w 6400800"/>
                <a:gd name="connsiteY3354" fmla="*/ 305276 h 514350"/>
                <a:gd name="connsiteX3355" fmla="*/ 5826919 w 6400800"/>
                <a:gd name="connsiteY3355" fmla="*/ 308134 h 514350"/>
                <a:gd name="connsiteX3356" fmla="*/ 5826919 w 6400800"/>
                <a:gd name="connsiteY3356" fmla="*/ 306229 h 514350"/>
                <a:gd name="connsiteX3357" fmla="*/ 5829776 w 6400800"/>
                <a:gd name="connsiteY3357" fmla="*/ 299561 h 514350"/>
                <a:gd name="connsiteX3358" fmla="*/ 5828824 w 6400800"/>
                <a:gd name="connsiteY3358" fmla="*/ 305276 h 514350"/>
                <a:gd name="connsiteX3359" fmla="*/ 5823109 w 6400800"/>
                <a:gd name="connsiteY3359" fmla="*/ 259556 h 514350"/>
                <a:gd name="connsiteX3360" fmla="*/ 5827871 w 6400800"/>
                <a:gd name="connsiteY3360" fmla="*/ 270986 h 514350"/>
                <a:gd name="connsiteX3361" fmla="*/ 5828824 w 6400800"/>
                <a:gd name="connsiteY3361" fmla="*/ 273844 h 514350"/>
                <a:gd name="connsiteX3362" fmla="*/ 5828824 w 6400800"/>
                <a:gd name="connsiteY3362" fmla="*/ 286226 h 514350"/>
                <a:gd name="connsiteX3363" fmla="*/ 5824062 w 6400800"/>
                <a:gd name="connsiteY3363" fmla="*/ 295751 h 514350"/>
                <a:gd name="connsiteX3364" fmla="*/ 5824062 w 6400800"/>
                <a:gd name="connsiteY3364" fmla="*/ 294799 h 514350"/>
                <a:gd name="connsiteX3365" fmla="*/ 5823109 w 6400800"/>
                <a:gd name="connsiteY3365" fmla="*/ 267176 h 514350"/>
                <a:gd name="connsiteX3366" fmla="*/ 5823109 w 6400800"/>
                <a:gd name="connsiteY3366" fmla="*/ 259556 h 514350"/>
                <a:gd name="connsiteX3367" fmla="*/ 5813584 w 6400800"/>
                <a:gd name="connsiteY3367" fmla="*/ 252889 h 514350"/>
                <a:gd name="connsiteX3368" fmla="*/ 5812631 w 6400800"/>
                <a:gd name="connsiteY3368" fmla="*/ 258604 h 514350"/>
                <a:gd name="connsiteX3369" fmla="*/ 5811679 w 6400800"/>
                <a:gd name="connsiteY3369" fmla="*/ 255746 h 514350"/>
                <a:gd name="connsiteX3370" fmla="*/ 5811679 w 6400800"/>
                <a:gd name="connsiteY3370" fmla="*/ 262414 h 514350"/>
                <a:gd name="connsiteX3371" fmla="*/ 5810726 w 6400800"/>
                <a:gd name="connsiteY3371" fmla="*/ 267176 h 514350"/>
                <a:gd name="connsiteX3372" fmla="*/ 5808821 w 6400800"/>
                <a:gd name="connsiteY3372" fmla="*/ 294799 h 514350"/>
                <a:gd name="connsiteX3373" fmla="*/ 5808821 w 6400800"/>
                <a:gd name="connsiteY3373" fmla="*/ 304324 h 514350"/>
                <a:gd name="connsiteX3374" fmla="*/ 5807869 w 6400800"/>
                <a:gd name="connsiteY3374" fmla="*/ 300514 h 514350"/>
                <a:gd name="connsiteX3375" fmla="*/ 5806917 w 6400800"/>
                <a:gd name="connsiteY3375" fmla="*/ 264319 h 514350"/>
                <a:gd name="connsiteX3376" fmla="*/ 5806917 w 6400800"/>
                <a:gd name="connsiteY3376" fmla="*/ 262414 h 514350"/>
                <a:gd name="connsiteX3377" fmla="*/ 5813584 w 6400800"/>
                <a:gd name="connsiteY3377" fmla="*/ 252889 h 514350"/>
                <a:gd name="connsiteX3378" fmla="*/ 5804059 w 6400800"/>
                <a:gd name="connsiteY3378" fmla="*/ 268129 h 514350"/>
                <a:gd name="connsiteX3379" fmla="*/ 5804059 w 6400800"/>
                <a:gd name="connsiteY3379" fmla="*/ 269081 h 514350"/>
                <a:gd name="connsiteX3380" fmla="*/ 5804059 w 6400800"/>
                <a:gd name="connsiteY3380" fmla="*/ 268129 h 514350"/>
                <a:gd name="connsiteX3381" fmla="*/ 5804059 w 6400800"/>
                <a:gd name="connsiteY3381" fmla="*/ 268129 h 514350"/>
                <a:gd name="connsiteX3382" fmla="*/ 5799296 w 6400800"/>
                <a:gd name="connsiteY3382" fmla="*/ 164306 h 514350"/>
                <a:gd name="connsiteX3383" fmla="*/ 5802154 w 6400800"/>
                <a:gd name="connsiteY3383" fmla="*/ 166211 h 514350"/>
                <a:gd name="connsiteX3384" fmla="*/ 5796439 w 6400800"/>
                <a:gd name="connsiteY3384" fmla="*/ 176689 h 514350"/>
                <a:gd name="connsiteX3385" fmla="*/ 5796439 w 6400800"/>
                <a:gd name="connsiteY3385" fmla="*/ 163354 h 514350"/>
                <a:gd name="connsiteX3386" fmla="*/ 5799296 w 6400800"/>
                <a:gd name="connsiteY3386" fmla="*/ 164306 h 514350"/>
                <a:gd name="connsiteX3387" fmla="*/ 5770721 w 6400800"/>
                <a:gd name="connsiteY3387" fmla="*/ 386239 h 514350"/>
                <a:gd name="connsiteX3388" fmla="*/ 5770721 w 6400800"/>
                <a:gd name="connsiteY3388" fmla="*/ 383381 h 514350"/>
                <a:gd name="connsiteX3389" fmla="*/ 5770721 w 6400800"/>
                <a:gd name="connsiteY3389" fmla="*/ 382429 h 514350"/>
                <a:gd name="connsiteX3390" fmla="*/ 5771674 w 6400800"/>
                <a:gd name="connsiteY3390" fmla="*/ 387191 h 514350"/>
                <a:gd name="connsiteX3391" fmla="*/ 5770721 w 6400800"/>
                <a:gd name="connsiteY3391" fmla="*/ 386239 h 514350"/>
                <a:gd name="connsiteX3392" fmla="*/ 5782151 w 6400800"/>
                <a:gd name="connsiteY3392" fmla="*/ 253841 h 514350"/>
                <a:gd name="connsiteX3393" fmla="*/ 5780246 w 6400800"/>
                <a:gd name="connsiteY3393" fmla="*/ 258604 h 514350"/>
                <a:gd name="connsiteX3394" fmla="*/ 5777389 w 6400800"/>
                <a:gd name="connsiteY3394" fmla="*/ 267176 h 514350"/>
                <a:gd name="connsiteX3395" fmla="*/ 5773579 w 6400800"/>
                <a:gd name="connsiteY3395" fmla="*/ 275749 h 514350"/>
                <a:gd name="connsiteX3396" fmla="*/ 5772626 w 6400800"/>
                <a:gd name="connsiteY3396" fmla="*/ 273844 h 514350"/>
                <a:gd name="connsiteX3397" fmla="*/ 5771674 w 6400800"/>
                <a:gd name="connsiteY3397" fmla="*/ 272891 h 514350"/>
                <a:gd name="connsiteX3398" fmla="*/ 5783104 w 6400800"/>
                <a:gd name="connsiteY3398" fmla="*/ 241459 h 514350"/>
                <a:gd name="connsiteX3399" fmla="*/ 5782151 w 6400800"/>
                <a:gd name="connsiteY3399" fmla="*/ 253841 h 514350"/>
                <a:gd name="connsiteX3400" fmla="*/ 5785962 w 6400800"/>
                <a:gd name="connsiteY3400" fmla="*/ 221456 h 514350"/>
                <a:gd name="connsiteX3401" fmla="*/ 5784056 w 6400800"/>
                <a:gd name="connsiteY3401" fmla="*/ 239554 h 514350"/>
                <a:gd name="connsiteX3402" fmla="*/ 5784056 w 6400800"/>
                <a:gd name="connsiteY3402" fmla="*/ 240506 h 514350"/>
                <a:gd name="connsiteX3403" fmla="*/ 5770721 w 6400800"/>
                <a:gd name="connsiteY3403" fmla="*/ 267176 h 514350"/>
                <a:gd name="connsiteX3404" fmla="*/ 5769769 w 6400800"/>
                <a:gd name="connsiteY3404" fmla="*/ 261461 h 514350"/>
                <a:gd name="connsiteX3405" fmla="*/ 5769769 w 6400800"/>
                <a:gd name="connsiteY3405" fmla="*/ 258604 h 514350"/>
                <a:gd name="connsiteX3406" fmla="*/ 5785962 w 6400800"/>
                <a:gd name="connsiteY3406" fmla="*/ 221456 h 514350"/>
                <a:gd name="connsiteX3407" fmla="*/ 5754529 w 6400800"/>
                <a:gd name="connsiteY3407" fmla="*/ 333851 h 514350"/>
                <a:gd name="connsiteX3408" fmla="*/ 5746909 w 6400800"/>
                <a:gd name="connsiteY3408" fmla="*/ 348139 h 514350"/>
                <a:gd name="connsiteX3409" fmla="*/ 5745956 w 6400800"/>
                <a:gd name="connsiteY3409" fmla="*/ 346234 h 514350"/>
                <a:gd name="connsiteX3410" fmla="*/ 5754529 w 6400800"/>
                <a:gd name="connsiteY3410" fmla="*/ 322421 h 514350"/>
                <a:gd name="connsiteX3411" fmla="*/ 5754529 w 6400800"/>
                <a:gd name="connsiteY3411" fmla="*/ 333851 h 514350"/>
                <a:gd name="connsiteX3412" fmla="*/ 5754529 w 6400800"/>
                <a:gd name="connsiteY3412" fmla="*/ 333851 h 514350"/>
                <a:gd name="connsiteX3413" fmla="*/ 5762149 w 6400800"/>
                <a:gd name="connsiteY3413" fmla="*/ 302419 h 514350"/>
                <a:gd name="connsiteX3414" fmla="*/ 5762149 w 6400800"/>
                <a:gd name="connsiteY3414" fmla="*/ 302419 h 514350"/>
                <a:gd name="connsiteX3415" fmla="*/ 5762149 w 6400800"/>
                <a:gd name="connsiteY3415" fmla="*/ 302419 h 514350"/>
                <a:gd name="connsiteX3416" fmla="*/ 5762149 w 6400800"/>
                <a:gd name="connsiteY3416" fmla="*/ 302419 h 514350"/>
                <a:gd name="connsiteX3417" fmla="*/ 5761196 w 6400800"/>
                <a:gd name="connsiteY3417" fmla="*/ 304324 h 514350"/>
                <a:gd name="connsiteX3418" fmla="*/ 5762149 w 6400800"/>
                <a:gd name="connsiteY3418" fmla="*/ 305276 h 514350"/>
                <a:gd name="connsiteX3419" fmla="*/ 5762149 w 6400800"/>
                <a:gd name="connsiteY3419" fmla="*/ 308134 h 514350"/>
                <a:gd name="connsiteX3420" fmla="*/ 5762149 w 6400800"/>
                <a:gd name="connsiteY3420" fmla="*/ 310039 h 514350"/>
                <a:gd name="connsiteX3421" fmla="*/ 5759292 w 6400800"/>
                <a:gd name="connsiteY3421" fmla="*/ 320516 h 514350"/>
                <a:gd name="connsiteX3422" fmla="*/ 5757387 w 6400800"/>
                <a:gd name="connsiteY3422" fmla="*/ 328136 h 514350"/>
                <a:gd name="connsiteX3423" fmla="*/ 5755481 w 6400800"/>
                <a:gd name="connsiteY3423" fmla="*/ 320516 h 514350"/>
                <a:gd name="connsiteX3424" fmla="*/ 5761196 w 6400800"/>
                <a:gd name="connsiteY3424" fmla="*/ 304324 h 514350"/>
                <a:gd name="connsiteX3425" fmla="*/ 5760244 w 6400800"/>
                <a:gd name="connsiteY3425" fmla="*/ 289084 h 514350"/>
                <a:gd name="connsiteX3426" fmla="*/ 5759292 w 6400800"/>
                <a:gd name="connsiteY3426" fmla="*/ 290989 h 514350"/>
                <a:gd name="connsiteX3427" fmla="*/ 5751671 w 6400800"/>
                <a:gd name="connsiteY3427" fmla="*/ 301466 h 514350"/>
                <a:gd name="connsiteX3428" fmla="*/ 5748814 w 6400800"/>
                <a:gd name="connsiteY3428" fmla="*/ 305276 h 514350"/>
                <a:gd name="connsiteX3429" fmla="*/ 5759292 w 6400800"/>
                <a:gd name="connsiteY3429" fmla="*/ 280511 h 514350"/>
                <a:gd name="connsiteX3430" fmla="*/ 5760244 w 6400800"/>
                <a:gd name="connsiteY3430" fmla="*/ 289084 h 514350"/>
                <a:gd name="connsiteX3431" fmla="*/ 5756434 w 6400800"/>
                <a:gd name="connsiteY3431" fmla="*/ 227171 h 514350"/>
                <a:gd name="connsiteX3432" fmla="*/ 5756434 w 6400800"/>
                <a:gd name="connsiteY3432" fmla="*/ 243364 h 514350"/>
                <a:gd name="connsiteX3433" fmla="*/ 5757387 w 6400800"/>
                <a:gd name="connsiteY3433" fmla="*/ 250984 h 514350"/>
                <a:gd name="connsiteX3434" fmla="*/ 5753576 w 6400800"/>
                <a:gd name="connsiteY3434" fmla="*/ 259556 h 514350"/>
                <a:gd name="connsiteX3435" fmla="*/ 5741194 w 6400800"/>
                <a:gd name="connsiteY3435" fmla="*/ 285274 h 514350"/>
                <a:gd name="connsiteX3436" fmla="*/ 5756434 w 6400800"/>
                <a:gd name="connsiteY3436" fmla="*/ 227171 h 514350"/>
                <a:gd name="connsiteX3437" fmla="*/ 5676424 w 6400800"/>
                <a:gd name="connsiteY3437" fmla="*/ 184309 h 514350"/>
                <a:gd name="connsiteX3438" fmla="*/ 5676424 w 6400800"/>
                <a:gd name="connsiteY3438" fmla="*/ 198596 h 514350"/>
                <a:gd name="connsiteX3439" fmla="*/ 5676424 w 6400800"/>
                <a:gd name="connsiteY3439" fmla="*/ 228124 h 514350"/>
                <a:gd name="connsiteX3440" fmla="*/ 5676424 w 6400800"/>
                <a:gd name="connsiteY3440" fmla="*/ 246221 h 514350"/>
                <a:gd name="connsiteX3441" fmla="*/ 5677376 w 6400800"/>
                <a:gd name="connsiteY3441" fmla="*/ 266224 h 514350"/>
                <a:gd name="connsiteX3442" fmla="*/ 5678329 w 6400800"/>
                <a:gd name="connsiteY3442" fmla="*/ 276701 h 514350"/>
                <a:gd name="connsiteX3443" fmla="*/ 5678329 w 6400800"/>
                <a:gd name="connsiteY3443" fmla="*/ 276701 h 514350"/>
                <a:gd name="connsiteX3444" fmla="*/ 5675471 w 6400800"/>
                <a:gd name="connsiteY3444" fmla="*/ 259556 h 514350"/>
                <a:gd name="connsiteX3445" fmla="*/ 5672614 w 6400800"/>
                <a:gd name="connsiteY3445" fmla="*/ 242411 h 514350"/>
                <a:gd name="connsiteX3446" fmla="*/ 5669756 w 6400800"/>
                <a:gd name="connsiteY3446" fmla="*/ 223361 h 514350"/>
                <a:gd name="connsiteX3447" fmla="*/ 5668804 w 6400800"/>
                <a:gd name="connsiteY3447" fmla="*/ 216694 h 514350"/>
                <a:gd name="connsiteX3448" fmla="*/ 5676424 w 6400800"/>
                <a:gd name="connsiteY3448" fmla="*/ 184309 h 514350"/>
                <a:gd name="connsiteX3449" fmla="*/ 5652612 w 6400800"/>
                <a:gd name="connsiteY3449" fmla="*/ 263366 h 514350"/>
                <a:gd name="connsiteX3450" fmla="*/ 5653564 w 6400800"/>
                <a:gd name="connsiteY3450" fmla="*/ 261461 h 514350"/>
                <a:gd name="connsiteX3451" fmla="*/ 5655469 w 6400800"/>
                <a:gd name="connsiteY3451" fmla="*/ 264319 h 514350"/>
                <a:gd name="connsiteX3452" fmla="*/ 5655469 w 6400800"/>
                <a:gd name="connsiteY3452" fmla="*/ 268129 h 514350"/>
                <a:gd name="connsiteX3453" fmla="*/ 5657374 w 6400800"/>
                <a:gd name="connsiteY3453" fmla="*/ 286226 h 514350"/>
                <a:gd name="connsiteX3454" fmla="*/ 5652612 w 6400800"/>
                <a:gd name="connsiteY3454" fmla="*/ 269081 h 514350"/>
                <a:gd name="connsiteX3455" fmla="*/ 5651659 w 6400800"/>
                <a:gd name="connsiteY3455" fmla="*/ 267176 h 514350"/>
                <a:gd name="connsiteX3456" fmla="*/ 5652612 w 6400800"/>
                <a:gd name="connsiteY3456" fmla="*/ 263366 h 514350"/>
                <a:gd name="connsiteX3457" fmla="*/ 5650706 w 6400800"/>
                <a:gd name="connsiteY3457" fmla="*/ 205264 h 514350"/>
                <a:gd name="connsiteX3458" fmla="*/ 5651659 w 6400800"/>
                <a:gd name="connsiteY3458" fmla="*/ 212884 h 514350"/>
                <a:gd name="connsiteX3459" fmla="*/ 5649754 w 6400800"/>
                <a:gd name="connsiteY3459" fmla="*/ 207169 h 514350"/>
                <a:gd name="connsiteX3460" fmla="*/ 5650706 w 6400800"/>
                <a:gd name="connsiteY3460" fmla="*/ 205264 h 514350"/>
                <a:gd name="connsiteX3461" fmla="*/ 5647849 w 6400800"/>
                <a:gd name="connsiteY3461" fmla="*/ 209074 h 514350"/>
                <a:gd name="connsiteX3462" fmla="*/ 5649754 w 6400800"/>
                <a:gd name="connsiteY3462" fmla="*/ 219551 h 514350"/>
                <a:gd name="connsiteX3463" fmla="*/ 5651659 w 6400800"/>
                <a:gd name="connsiteY3463" fmla="*/ 235744 h 514350"/>
                <a:gd name="connsiteX3464" fmla="*/ 5651659 w 6400800"/>
                <a:gd name="connsiteY3464" fmla="*/ 236696 h 514350"/>
                <a:gd name="connsiteX3465" fmla="*/ 5645944 w 6400800"/>
                <a:gd name="connsiteY3465" fmla="*/ 228124 h 514350"/>
                <a:gd name="connsiteX3466" fmla="*/ 5644039 w 6400800"/>
                <a:gd name="connsiteY3466" fmla="*/ 216694 h 514350"/>
                <a:gd name="connsiteX3467" fmla="*/ 5647849 w 6400800"/>
                <a:gd name="connsiteY3467" fmla="*/ 209074 h 514350"/>
                <a:gd name="connsiteX3468" fmla="*/ 5642134 w 6400800"/>
                <a:gd name="connsiteY3468" fmla="*/ 370046 h 514350"/>
                <a:gd name="connsiteX3469" fmla="*/ 5643087 w 6400800"/>
                <a:gd name="connsiteY3469" fmla="*/ 377666 h 514350"/>
                <a:gd name="connsiteX3470" fmla="*/ 5641181 w 6400800"/>
                <a:gd name="connsiteY3470" fmla="*/ 385286 h 514350"/>
                <a:gd name="connsiteX3471" fmla="*/ 5642134 w 6400800"/>
                <a:gd name="connsiteY3471" fmla="*/ 370046 h 514350"/>
                <a:gd name="connsiteX3472" fmla="*/ 5624037 w 6400800"/>
                <a:gd name="connsiteY3472" fmla="*/ 272891 h 514350"/>
                <a:gd name="connsiteX3473" fmla="*/ 5625942 w 6400800"/>
                <a:gd name="connsiteY3473" fmla="*/ 258604 h 514350"/>
                <a:gd name="connsiteX3474" fmla="*/ 5625942 w 6400800"/>
                <a:gd name="connsiteY3474" fmla="*/ 254794 h 514350"/>
                <a:gd name="connsiteX3475" fmla="*/ 5632609 w 6400800"/>
                <a:gd name="connsiteY3475" fmla="*/ 241459 h 514350"/>
                <a:gd name="connsiteX3476" fmla="*/ 5634514 w 6400800"/>
                <a:gd name="connsiteY3476" fmla="*/ 236696 h 514350"/>
                <a:gd name="connsiteX3477" fmla="*/ 5637371 w 6400800"/>
                <a:gd name="connsiteY3477" fmla="*/ 245269 h 514350"/>
                <a:gd name="connsiteX3478" fmla="*/ 5640229 w 6400800"/>
                <a:gd name="connsiteY3478" fmla="*/ 259556 h 514350"/>
                <a:gd name="connsiteX3479" fmla="*/ 5640229 w 6400800"/>
                <a:gd name="connsiteY3479" fmla="*/ 266224 h 514350"/>
                <a:gd name="connsiteX3480" fmla="*/ 5631656 w 6400800"/>
                <a:gd name="connsiteY3480" fmla="*/ 288131 h 514350"/>
                <a:gd name="connsiteX3481" fmla="*/ 5624037 w 6400800"/>
                <a:gd name="connsiteY3481" fmla="*/ 277654 h 514350"/>
                <a:gd name="connsiteX3482" fmla="*/ 5624037 w 6400800"/>
                <a:gd name="connsiteY3482" fmla="*/ 272891 h 514350"/>
                <a:gd name="connsiteX3483" fmla="*/ 5623084 w 6400800"/>
                <a:gd name="connsiteY3483" fmla="*/ 289084 h 514350"/>
                <a:gd name="connsiteX3484" fmla="*/ 5623084 w 6400800"/>
                <a:gd name="connsiteY3484" fmla="*/ 287179 h 514350"/>
                <a:gd name="connsiteX3485" fmla="*/ 5624989 w 6400800"/>
                <a:gd name="connsiteY3485" fmla="*/ 290989 h 514350"/>
                <a:gd name="connsiteX3486" fmla="*/ 5626894 w 6400800"/>
                <a:gd name="connsiteY3486" fmla="*/ 298609 h 514350"/>
                <a:gd name="connsiteX3487" fmla="*/ 5625942 w 6400800"/>
                <a:gd name="connsiteY3487" fmla="*/ 300514 h 514350"/>
                <a:gd name="connsiteX3488" fmla="*/ 5625942 w 6400800"/>
                <a:gd name="connsiteY3488" fmla="*/ 300514 h 514350"/>
                <a:gd name="connsiteX3489" fmla="*/ 5622131 w 6400800"/>
                <a:gd name="connsiteY3489" fmla="*/ 295751 h 514350"/>
                <a:gd name="connsiteX3490" fmla="*/ 5623084 w 6400800"/>
                <a:gd name="connsiteY3490" fmla="*/ 289084 h 514350"/>
                <a:gd name="connsiteX3491" fmla="*/ 5621179 w 6400800"/>
                <a:gd name="connsiteY3491" fmla="*/ 310991 h 514350"/>
                <a:gd name="connsiteX3492" fmla="*/ 5621179 w 6400800"/>
                <a:gd name="connsiteY3492" fmla="*/ 310991 h 514350"/>
                <a:gd name="connsiteX3493" fmla="*/ 5621179 w 6400800"/>
                <a:gd name="connsiteY3493" fmla="*/ 310991 h 514350"/>
                <a:gd name="connsiteX3494" fmla="*/ 5621179 w 6400800"/>
                <a:gd name="connsiteY3494" fmla="*/ 310991 h 514350"/>
                <a:gd name="connsiteX3495" fmla="*/ 5618321 w 6400800"/>
                <a:gd name="connsiteY3495" fmla="*/ 270034 h 514350"/>
                <a:gd name="connsiteX3496" fmla="*/ 5618321 w 6400800"/>
                <a:gd name="connsiteY3496" fmla="*/ 270034 h 514350"/>
                <a:gd name="connsiteX3497" fmla="*/ 5618321 w 6400800"/>
                <a:gd name="connsiteY3497" fmla="*/ 270034 h 514350"/>
                <a:gd name="connsiteX3498" fmla="*/ 5618321 w 6400800"/>
                <a:gd name="connsiteY3498" fmla="*/ 270034 h 514350"/>
                <a:gd name="connsiteX3499" fmla="*/ 5617369 w 6400800"/>
                <a:gd name="connsiteY3499" fmla="*/ 272891 h 514350"/>
                <a:gd name="connsiteX3500" fmla="*/ 5618321 w 6400800"/>
                <a:gd name="connsiteY3500" fmla="*/ 273844 h 514350"/>
                <a:gd name="connsiteX3501" fmla="*/ 5616417 w 6400800"/>
                <a:gd name="connsiteY3501" fmla="*/ 286226 h 514350"/>
                <a:gd name="connsiteX3502" fmla="*/ 5613559 w 6400800"/>
                <a:gd name="connsiteY3502" fmla="*/ 282416 h 514350"/>
                <a:gd name="connsiteX3503" fmla="*/ 5617369 w 6400800"/>
                <a:gd name="connsiteY3503" fmla="*/ 272891 h 514350"/>
                <a:gd name="connsiteX3504" fmla="*/ 5608796 w 6400800"/>
                <a:gd name="connsiteY3504" fmla="*/ 290989 h 514350"/>
                <a:gd name="connsiteX3505" fmla="*/ 5608796 w 6400800"/>
                <a:gd name="connsiteY3505" fmla="*/ 290989 h 514350"/>
                <a:gd name="connsiteX3506" fmla="*/ 5611654 w 6400800"/>
                <a:gd name="connsiteY3506" fmla="*/ 294799 h 514350"/>
                <a:gd name="connsiteX3507" fmla="*/ 5613559 w 6400800"/>
                <a:gd name="connsiteY3507" fmla="*/ 297656 h 514350"/>
                <a:gd name="connsiteX3508" fmla="*/ 5611654 w 6400800"/>
                <a:gd name="connsiteY3508" fmla="*/ 310991 h 514350"/>
                <a:gd name="connsiteX3509" fmla="*/ 5608796 w 6400800"/>
                <a:gd name="connsiteY3509" fmla="*/ 292894 h 514350"/>
                <a:gd name="connsiteX3510" fmla="*/ 5608796 w 6400800"/>
                <a:gd name="connsiteY3510" fmla="*/ 290989 h 514350"/>
                <a:gd name="connsiteX3511" fmla="*/ 5594509 w 6400800"/>
                <a:gd name="connsiteY3511" fmla="*/ 241459 h 514350"/>
                <a:gd name="connsiteX3512" fmla="*/ 5595462 w 6400800"/>
                <a:gd name="connsiteY3512" fmla="*/ 258604 h 514350"/>
                <a:gd name="connsiteX3513" fmla="*/ 5595462 w 6400800"/>
                <a:gd name="connsiteY3513" fmla="*/ 259556 h 514350"/>
                <a:gd name="connsiteX3514" fmla="*/ 5595462 w 6400800"/>
                <a:gd name="connsiteY3514" fmla="*/ 261461 h 514350"/>
                <a:gd name="connsiteX3515" fmla="*/ 5593556 w 6400800"/>
                <a:gd name="connsiteY3515" fmla="*/ 259556 h 514350"/>
                <a:gd name="connsiteX3516" fmla="*/ 5592604 w 6400800"/>
                <a:gd name="connsiteY3516" fmla="*/ 250031 h 514350"/>
                <a:gd name="connsiteX3517" fmla="*/ 5594509 w 6400800"/>
                <a:gd name="connsiteY3517" fmla="*/ 241459 h 514350"/>
                <a:gd name="connsiteX3518" fmla="*/ 5578317 w 6400800"/>
                <a:gd name="connsiteY3518" fmla="*/ 284321 h 514350"/>
                <a:gd name="connsiteX3519" fmla="*/ 5578317 w 6400800"/>
                <a:gd name="connsiteY3519" fmla="*/ 286226 h 514350"/>
                <a:gd name="connsiteX3520" fmla="*/ 5577364 w 6400800"/>
                <a:gd name="connsiteY3520" fmla="*/ 285274 h 514350"/>
                <a:gd name="connsiteX3521" fmla="*/ 5578317 w 6400800"/>
                <a:gd name="connsiteY3521" fmla="*/ 284321 h 514350"/>
                <a:gd name="connsiteX3522" fmla="*/ 5573554 w 6400800"/>
                <a:gd name="connsiteY3522" fmla="*/ 299561 h 514350"/>
                <a:gd name="connsiteX3523" fmla="*/ 5576412 w 6400800"/>
                <a:gd name="connsiteY3523" fmla="*/ 305276 h 514350"/>
                <a:gd name="connsiteX3524" fmla="*/ 5577364 w 6400800"/>
                <a:gd name="connsiteY3524" fmla="*/ 307181 h 514350"/>
                <a:gd name="connsiteX3525" fmla="*/ 5576412 w 6400800"/>
                <a:gd name="connsiteY3525" fmla="*/ 325279 h 514350"/>
                <a:gd name="connsiteX3526" fmla="*/ 5576412 w 6400800"/>
                <a:gd name="connsiteY3526" fmla="*/ 328136 h 514350"/>
                <a:gd name="connsiteX3527" fmla="*/ 5575459 w 6400800"/>
                <a:gd name="connsiteY3527" fmla="*/ 319564 h 514350"/>
                <a:gd name="connsiteX3528" fmla="*/ 5573554 w 6400800"/>
                <a:gd name="connsiteY3528" fmla="*/ 303371 h 514350"/>
                <a:gd name="connsiteX3529" fmla="*/ 5573554 w 6400800"/>
                <a:gd name="connsiteY3529" fmla="*/ 299561 h 514350"/>
                <a:gd name="connsiteX3530" fmla="*/ 5550694 w 6400800"/>
                <a:gd name="connsiteY3530" fmla="*/ 308134 h 514350"/>
                <a:gd name="connsiteX3531" fmla="*/ 5549742 w 6400800"/>
                <a:gd name="connsiteY3531" fmla="*/ 301466 h 514350"/>
                <a:gd name="connsiteX3532" fmla="*/ 5551646 w 6400800"/>
                <a:gd name="connsiteY3532" fmla="*/ 294799 h 514350"/>
                <a:gd name="connsiteX3533" fmla="*/ 5552599 w 6400800"/>
                <a:gd name="connsiteY3533" fmla="*/ 291941 h 514350"/>
                <a:gd name="connsiteX3534" fmla="*/ 5554504 w 6400800"/>
                <a:gd name="connsiteY3534" fmla="*/ 302419 h 514350"/>
                <a:gd name="connsiteX3535" fmla="*/ 5552599 w 6400800"/>
                <a:gd name="connsiteY3535" fmla="*/ 306229 h 514350"/>
                <a:gd name="connsiteX3536" fmla="*/ 5550694 w 6400800"/>
                <a:gd name="connsiteY3536" fmla="*/ 308134 h 514350"/>
                <a:gd name="connsiteX3537" fmla="*/ 5557362 w 6400800"/>
                <a:gd name="connsiteY3537" fmla="*/ 313849 h 514350"/>
                <a:gd name="connsiteX3538" fmla="*/ 5557362 w 6400800"/>
                <a:gd name="connsiteY3538" fmla="*/ 313849 h 514350"/>
                <a:gd name="connsiteX3539" fmla="*/ 5553551 w 6400800"/>
                <a:gd name="connsiteY3539" fmla="*/ 318611 h 514350"/>
                <a:gd name="connsiteX3540" fmla="*/ 5556409 w 6400800"/>
                <a:gd name="connsiteY3540" fmla="*/ 310039 h 514350"/>
                <a:gd name="connsiteX3541" fmla="*/ 5557362 w 6400800"/>
                <a:gd name="connsiteY3541" fmla="*/ 313849 h 514350"/>
                <a:gd name="connsiteX3542" fmla="*/ 5557362 w 6400800"/>
                <a:gd name="connsiteY3542" fmla="*/ 313849 h 514350"/>
                <a:gd name="connsiteX3543" fmla="*/ 5561171 w 6400800"/>
                <a:gd name="connsiteY3543" fmla="*/ 359569 h 514350"/>
                <a:gd name="connsiteX3544" fmla="*/ 5561171 w 6400800"/>
                <a:gd name="connsiteY3544" fmla="*/ 361474 h 514350"/>
                <a:gd name="connsiteX3545" fmla="*/ 5560219 w 6400800"/>
                <a:gd name="connsiteY3545" fmla="*/ 360521 h 514350"/>
                <a:gd name="connsiteX3546" fmla="*/ 5558314 w 6400800"/>
                <a:gd name="connsiteY3546" fmla="*/ 350996 h 514350"/>
                <a:gd name="connsiteX3547" fmla="*/ 5560219 w 6400800"/>
                <a:gd name="connsiteY3547" fmla="*/ 342424 h 514350"/>
                <a:gd name="connsiteX3548" fmla="*/ 5561171 w 6400800"/>
                <a:gd name="connsiteY3548" fmla="*/ 359569 h 514350"/>
                <a:gd name="connsiteX3549" fmla="*/ 5559267 w 6400800"/>
                <a:gd name="connsiteY3549" fmla="*/ 303371 h 514350"/>
                <a:gd name="connsiteX3550" fmla="*/ 5559267 w 6400800"/>
                <a:gd name="connsiteY3550" fmla="*/ 303371 h 514350"/>
                <a:gd name="connsiteX3551" fmla="*/ 5559267 w 6400800"/>
                <a:gd name="connsiteY3551" fmla="*/ 303371 h 514350"/>
                <a:gd name="connsiteX3552" fmla="*/ 5559267 w 6400800"/>
                <a:gd name="connsiteY3552" fmla="*/ 303371 h 514350"/>
                <a:gd name="connsiteX3553" fmla="*/ 5557362 w 6400800"/>
                <a:gd name="connsiteY3553" fmla="*/ 277654 h 514350"/>
                <a:gd name="connsiteX3554" fmla="*/ 5558314 w 6400800"/>
                <a:gd name="connsiteY3554" fmla="*/ 283369 h 514350"/>
                <a:gd name="connsiteX3555" fmla="*/ 5559267 w 6400800"/>
                <a:gd name="connsiteY3555" fmla="*/ 293846 h 514350"/>
                <a:gd name="connsiteX3556" fmla="*/ 5557362 w 6400800"/>
                <a:gd name="connsiteY3556" fmla="*/ 296704 h 514350"/>
                <a:gd name="connsiteX3557" fmla="*/ 5554504 w 6400800"/>
                <a:gd name="connsiteY3557" fmla="*/ 287179 h 514350"/>
                <a:gd name="connsiteX3558" fmla="*/ 5557362 w 6400800"/>
                <a:gd name="connsiteY3558" fmla="*/ 277654 h 514350"/>
                <a:gd name="connsiteX3559" fmla="*/ 5553551 w 6400800"/>
                <a:gd name="connsiteY3559" fmla="*/ 252889 h 514350"/>
                <a:gd name="connsiteX3560" fmla="*/ 5553551 w 6400800"/>
                <a:gd name="connsiteY3560" fmla="*/ 252889 h 514350"/>
                <a:gd name="connsiteX3561" fmla="*/ 5553551 w 6400800"/>
                <a:gd name="connsiteY3561" fmla="*/ 253841 h 514350"/>
                <a:gd name="connsiteX3562" fmla="*/ 5555456 w 6400800"/>
                <a:gd name="connsiteY3562" fmla="*/ 268129 h 514350"/>
                <a:gd name="connsiteX3563" fmla="*/ 5555456 w 6400800"/>
                <a:gd name="connsiteY3563" fmla="*/ 270986 h 514350"/>
                <a:gd name="connsiteX3564" fmla="*/ 5552599 w 6400800"/>
                <a:gd name="connsiteY3564" fmla="*/ 275749 h 514350"/>
                <a:gd name="connsiteX3565" fmla="*/ 5549742 w 6400800"/>
                <a:gd name="connsiteY3565" fmla="*/ 280511 h 514350"/>
                <a:gd name="connsiteX3566" fmla="*/ 5549742 w 6400800"/>
                <a:gd name="connsiteY3566" fmla="*/ 280511 h 514350"/>
                <a:gd name="connsiteX3567" fmla="*/ 5549742 w 6400800"/>
                <a:gd name="connsiteY3567" fmla="*/ 280511 h 514350"/>
                <a:gd name="connsiteX3568" fmla="*/ 5545931 w 6400800"/>
                <a:gd name="connsiteY3568" fmla="*/ 286226 h 514350"/>
                <a:gd name="connsiteX3569" fmla="*/ 5544979 w 6400800"/>
                <a:gd name="connsiteY3569" fmla="*/ 281464 h 514350"/>
                <a:gd name="connsiteX3570" fmla="*/ 5546884 w 6400800"/>
                <a:gd name="connsiteY3570" fmla="*/ 275749 h 514350"/>
                <a:gd name="connsiteX3571" fmla="*/ 5549742 w 6400800"/>
                <a:gd name="connsiteY3571" fmla="*/ 261461 h 514350"/>
                <a:gd name="connsiteX3572" fmla="*/ 5553551 w 6400800"/>
                <a:gd name="connsiteY3572" fmla="*/ 252889 h 514350"/>
                <a:gd name="connsiteX3573" fmla="*/ 5548789 w 6400800"/>
                <a:gd name="connsiteY3573" fmla="*/ 226219 h 514350"/>
                <a:gd name="connsiteX3574" fmla="*/ 5549742 w 6400800"/>
                <a:gd name="connsiteY3574" fmla="*/ 230029 h 514350"/>
                <a:gd name="connsiteX3575" fmla="*/ 5550694 w 6400800"/>
                <a:gd name="connsiteY3575" fmla="*/ 234791 h 514350"/>
                <a:gd name="connsiteX3576" fmla="*/ 5547837 w 6400800"/>
                <a:gd name="connsiteY3576" fmla="*/ 230029 h 514350"/>
                <a:gd name="connsiteX3577" fmla="*/ 5548789 w 6400800"/>
                <a:gd name="connsiteY3577" fmla="*/ 226219 h 514350"/>
                <a:gd name="connsiteX3578" fmla="*/ 5546884 w 6400800"/>
                <a:gd name="connsiteY3578" fmla="*/ 235744 h 514350"/>
                <a:gd name="connsiteX3579" fmla="*/ 5550694 w 6400800"/>
                <a:gd name="connsiteY3579" fmla="*/ 244316 h 514350"/>
                <a:gd name="connsiteX3580" fmla="*/ 5544979 w 6400800"/>
                <a:gd name="connsiteY3580" fmla="*/ 259556 h 514350"/>
                <a:gd name="connsiteX3581" fmla="*/ 5544026 w 6400800"/>
                <a:gd name="connsiteY3581" fmla="*/ 262414 h 514350"/>
                <a:gd name="connsiteX3582" fmla="*/ 5543074 w 6400800"/>
                <a:gd name="connsiteY3582" fmla="*/ 257651 h 514350"/>
                <a:gd name="connsiteX3583" fmla="*/ 5542121 w 6400800"/>
                <a:gd name="connsiteY3583" fmla="*/ 254794 h 514350"/>
                <a:gd name="connsiteX3584" fmla="*/ 5546884 w 6400800"/>
                <a:gd name="connsiteY3584" fmla="*/ 235744 h 514350"/>
                <a:gd name="connsiteX3585" fmla="*/ 5540217 w 6400800"/>
                <a:gd name="connsiteY3585" fmla="*/ 218599 h 514350"/>
                <a:gd name="connsiteX3586" fmla="*/ 5539264 w 6400800"/>
                <a:gd name="connsiteY3586" fmla="*/ 220504 h 514350"/>
                <a:gd name="connsiteX3587" fmla="*/ 5538312 w 6400800"/>
                <a:gd name="connsiteY3587" fmla="*/ 223361 h 514350"/>
                <a:gd name="connsiteX3588" fmla="*/ 5536406 w 6400800"/>
                <a:gd name="connsiteY3588" fmla="*/ 210026 h 514350"/>
                <a:gd name="connsiteX3589" fmla="*/ 5540217 w 6400800"/>
                <a:gd name="connsiteY3589" fmla="*/ 218599 h 514350"/>
                <a:gd name="connsiteX3590" fmla="*/ 5507831 w 6400800"/>
                <a:gd name="connsiteY3590" fmla="*/ 312896 h 514350"/>
                <a:gd name="connsiteX3591" fmla="*/ 5507831 w 6400800"/>
                <a:gd name="connsiteY3591" fmla="*/ 312896 h 514350"/>
                <a:gd name="connsiteX3592" fmla="*/ 5507831 w 6400800"/>
                <a:gd name="connsiteY3592" fmla="*/ 313849 h 514350"/>
                <a:gd name="connsiteX3593" fmla="*/ 5507831 w 6400800"/>
                <a:gd name="connsiteY3593" fmla="*/ 312896 h 514350"/>
                <a:gd name="connsiteX3594" fmla="*/ 5481162 w 6400800"/>
                <a:gd name="connsiteY3594" fmla="*/ 326231 h 514350"/>
                <a:gd name="connsiteX3595" fmla="*/ 5480209 w 6400800"/>
                <a:gd name="connsiteY3595" fmla="*/ 330994 h 514350"/>
                <a:gd name="connsiteX3596" fmla="*/ 5479256 w 6400800"/>
                <a:gd name="connsiteY3596" fmla="*/ 324326 h 514350"/>
                <a:gd name="connsiteX3597" fmla="*/ 5479256 w 6400800"/>
                <a:gd name="connsiteY3597" fmla="*/ 322421 h 514350"/>
                <a:gd name="connsiteX3598" fmla="*/ 5478304 w 6400800"/>
                <a:gd name="connsiteY3598" fmla="*/ 311944 h 514350"/>
                <a:gd name="connsiteX3599" fmla="*/ 5482114 w 6400800"/>
                <a:gd name="connsiteY3599" fmla="*/ 325279 h 514350"/>
                <a:gd name="connsiteX3600" fmla="*/ 5481162 w 6400800"/>
                <a:gd name="connsiteY3600" fmla="*/ 326231 h 514350"/>
                <a:gd name="connsiteX3601" fmla="*/ 5493544 w 6400800"/>
                <a:gd name="connsiteY3601" fmla="*/ 339566 h 514350"/>
                <a:gd name="connsiteX3602" fmla="*/ 5493544 w 6400800"/>
                <a:gd name="connsiteY3602" fmla="*/ 339566 h 514350"/>
                <a:gd name="connsiteX3603" fmla="*/ 5493544 w 6400800"/>
                <a:gd name="connsiteY3603" fmla="*/ 339566 h 514350"/>
                <a:gd name="connsiteX3604" fmla="*/ 5493544 w 6400800"/>
                <a:gd name="connsiteY3604" fmla="*/ 339566 h 514350"/>
                <a:gd name="connsiteX3605" fmla="*/ 5488781 w 6400800"/>
                <a:gd name="connsiteY3605" fmla="*/ 261461 h 514350"/>
                <a:gd name="connsiteX3606" fmla="*/ 5488781 w 6400800"/>
                <a:gd name="connsiteY3606" fmla="*/ 261461 h 514350"/>
                <a:gd name="connsiteX3607" fmla="*/ 5490687 w 6400800"/>
                <a:gd name="connsiteY3607" fmla="*/ 267176 h 514350"/>
                <a:gd name="connsiteX3608" fmla="*/ 5487829 w 6400800"/>
                <a:gd name="connsiteY3608" fmla="*/ 264319 h 514350"/>
                <a:gd name="connsiteX3609" fmla="*/ 5488781 w 6400800"/>
                <a:gd name="connsiteY3609" fmla="*/ 261461 h 514350"/>
                <a:gd name="connsiteX3610" fmla="*/ 5483067 w 6400800"/>
                <a:gd name="connsiteY3610" fmla="*/ 280511 h 514350"/>
                <a:gd name="connsiteX3611" fmla="*/ 5484971 w 6400800"/>
                <a:gd name="connsiteY3611" fmla="*/ 272891 h 514350"/>
                <a:gd name="connsiteX3612" fmla="*/ 5496401 w 6400800"/>
                <a:gd name="connsiteY3612" fmla="*/ 291941 h 514350"/>
                <a:gd name="connsiteX3613" fmla="*/ 5500212 w 6400800"/>
                <a:gd name="connsiteY3613" fmla="*/ 297656 h 514350"/>
                <a:gd name="connsiteX3614" fmla="*/ 5497354 w 6400800"/>
                <a:gd name="connsiteY3614" fmla="*/ 307181 h 514350"/>
                <a:gd name="connsiteX3615" fmla="*/ 5496401 w 6400800"/>
                <a:gd name="connsiteY3615" fmla="*/ 310991 h 514350"/>
                <a:gd name="connsiteX3616" fmla="*/ 5493544 w 6400800"/>
                <a:gd name="connsiteY3616" fmla="*/ 307181 h 514350"/>
                <a:gd name="connsiteX3617" fmla="*/ 5495449 w 6400800"/>
                <a:gd name="connsiteY3617" fmla="*/ 311944 h 514350"/>
                <a:gd name="connsiteX3618" fmla="*/ 5494496 w 6400800"/>
                <a:gd name="connsiteY3618" fmla="*/ 319564 h 514350"/>
                <a:gd name="connsiteX3619" fmla="*/ 5492592 w 6400800"/>
                <a:gd name="connsiteY3619" fmla="*/ 330041 h 514350"/>
                <a:gd name="connsiteX3620" fmla="*/ 5488781 w 6400800"/>
                <a:gd name="connsiteY3620" fmla="*/ 333851 h 514350"/>
                <a:gd name="connsiteX3621" fmla="*/ 5485924 w 6400800"/>
                <a:gd name="connsiteY3621" fmla="*/ 327184 h 514350"/>
                <a:gd name="connsiteX3622" fmla="*/ 5487829 w 6400800"/>
                <a:gd name="connsiteY3622" fmla="*/ 312896 h 514350"/>
                <a:gd name="connsiteX3623" fmla="*/ 5489734 w 6400800"/>
                <a:gd name="connsiteY3623" fmla="*/ 299561 h 514350"/>
                <a:gd name="connsiteX3624" fmla="*/ 5484019 w 6400800"/>
                <a:gd name="connsiteY3624" fmla="*/ 311944 h 514350"/>
                <a:gd name="connsiteX3625" fmla="*/ 5483067 w 6400800"/>
                <a:gd name="connsiteY3625" fmla="*/ 313849 h 514350"/>
                <a:gd name="connsiteX3626" fmla="*/ 5483067 w 6400800"/>
                <a:gd name="connsiteY3626" fmla="*/ 312896 h 514350"/>
                <a:gd name="connsiteX3627" fmla="*/ 5478304 w 6400800"/>
                <a:gd name="connsiteY3627" fmla="*/ 292894 h 514350"/>
                <a:gd name="connsiteX3628" fmla="*/ 5479256 w 6400800"/>
                <a:gd name="connsiteY3628" fmla="*/ 309086 h 514350"/>
                <a:gd name="connsiteX3629" fmla="*/ 5479256 w 6400800"/>
                <a:gd name="connsiteY3629" fmla="*/ 308134 h 514350"/>
                <a:gd name="connsiteX3630" fmla="*/ 5476399 w 6400800"/>
                <a:gd name="connsiteY3630" fmla="*/ 300514 h 514350"/>
                <a:gd name="connsiteX3631" fmla="*/ 5483067 w 6400800"/>
                <a:gd name="connsiteY3631" fmla="*/ 280511 h 514350"/>
                <a:gd name="connsiteX3632" fmla="*/ 5472589 w 6400800"/>
                <a:gd name="connsiteY3632" fmla="*/ 254794 h 514350"/>
                <a:gd name="connsiteX3633" fmla="*/ 5475446 w 6400800"/>
                <a:gd name="connsiteY3633" fmla="*/ 258604 h 514350"/>
                <a:gd name="connsiteX3634" fmla="*/ 5471637 w 6400800"/>
                <a:gd name="connsiteY3634" fmla="*/ 268129 h 514350"/>
                <a:gd name="connsiteX3635" fmla="*/ 5468779 w 6400800"/>
                <a:gd name="connsiteY3635" fmla="*/ 249079 h 514350"/>
                <a:gd name="connsiteX3636" fmla="*/ 5472589 w 6400800"/>
                <a:gd name="connsiteY3636" fmla="*/ 254794 h 514350"/>
                <a:gd name="connsiteX3637" fmla="*/ 5452587 w 6400800"/>
                <a:gd name="connsiteY3637" fmla="*/ 208121 h 514350"/>
                <a:gd name="connsiteX3638" fmla="*/ 5452587 w 6400800"/>
                <a:gd name="connsiteY3638" fmla="*/ 210026 h 514350"/>
                <a:gd name="connsiteX3639" fmla="*/ 5454492 w 6400800"/>
                <a:gd name="connsiteY3639" fmla="*/ 225266 h 514350"/>
                <a:gd name="connsiteX3640" fmla="*/ 5454492 w 6400800"/>
                <a:gd name="connsiteY3640" fmla="*/ 228124 h 514350"/>
                <a:gd name="connsiteX3641" fmla="*/ 5450681 w 6400800"/>
                <a:gd name="connsiteY3641" fmla="*/ 225266 h 514350"/>
                <a:gd name="connsiteX3642" fmla="*/ 5452587 w 6400800"/>
                <a:gd name="connsiteY3642" fmla="*/ 208121 h 514350"/>
                <a:gd name="connsiteX3643" fmla="*/ 5449729 w 6400800"/>
                <a:gd name="connsiteY3643" fmla="*/ 250031 h 514350"/>
                <a:gd name="connsiteX3644" fmla="*/ 5451634 w 6400800"/>
                <a:gd name="connsiteY3644" fmla="*/ 228124 h 514350"/>
                <a:gd name="connsiteX3645" fmla="*/ 5453539 w 6400800"/>
                <a:gd name="connsiteY3645" fmla="*/ 230029 h 514350"/>
                <a:gd name="connsiteX3646" fmla="*/ 5455444 w 6400800"/>
                <a:gd name="connsiteY3646" fmla="*/ 232886 h 514350"/>
                <a:gd name="connsiteX3647" fmla="*/ 5456396 w 6400800"/>
                <a:gd name="connsiteY3647" fmla="*/ 243364 h 514350"/>
                <a:gd name="connsiteX3648" fmla="*/ 5459254 w 6400800"/>
                <a:gd name="connsiteY3648" fmla="*/ 282416 h 514350"/>
                <a:gd name="connsiteX3649" fmla="*/ 5460206 w 6400800"/>
                <a:gd name="connsiteY3649" fmla="*/ 299561 h 514350"/>
                <a:gd name="connsiteX3650" fmla="*/ 5455444 w 6400800"/>
                <a:gd name="connsiteY3650" fmla="*/ 313849 h 514350"/>
                <a:gd name="connsiteX3651" fmla="*/ 5447824 w 6400800"/>
                <a:gd name="connsiteY3651" fmla="*/ 280511 h 514350"/>
                <a:gd name="connsiteX3652" fmla="*/ 5446871 w 6400800"/>
                <a:gd name="connsiteY3652" fmla="*/ 276701 h 514350"/>
                <a:gd name="connsiteX3653" fmla="*/ 5449729 w 6400800"/>
                <a:gd name="connsiteY3653" fmla="*/ 250031 h 514350"/>
                <a:gd name="connsiteX3654" fmla="*/ 5443062 w 6400800"/>
                <a:gd name="connsiteY3654" fmla="*/ 327184 h 514350"/>
                <a:gd name="connsiteX3655" fmla="*/ 5445919 w 6400800"/>
                <a:gd name="connsiteY3655" fmla="*/ 343376 h 514350"/>
                <a:gd name="connsiteX3656" fmla="*/ 5443062 w 6400800"/>
                <a:gd name="connsiteY3656" fmla="*/ 334804 h 514350"/>
                <a:gd name="connsiteX3657" fmla="*/ 5443062 w 6400800"/>
                <a:gd name="connsiteY3657" fmla="*/ 327184 h 514350"/>
                <a:gd name="connsiteX3658" fmla="*/ 5417344 w 6400800"/>
                <a:gd name="connsiteY3658" fmla="*/ 318611 h 514350"/>
                <a:gd name="connsiteX3659" fmla="*/ 5419249 w 6400800"/>
                <a:gd name="connsiteY3659" fmla="*/ 312896 h 514350"/>
                <a:gd name="connsiteX3660" fmla="*/ 5421154 w 6400800"/>
                <a:gd name="connsiteY3660" fmla="*/ 320516 h 514350"/>
                <a:gd name="connsiteX3661" fmla="*/ 5421154 w 6400800"/>
                <a:gd name="connsiteY3661" fmla="*/ 321469 h 514350"/>
                <a:gd name="connsiteX3662" fmla="*/ 5421154 w 6400800"/>
                <a:gd name="connsiteY3662" fmla="*/ 320516 h 514350"/>
                <a:gd name="connsiteX3663" fmla="*/ 5421154 w 6400800"/>
                <a:gd name="connsiteY3663" fmla="*/ 322421 h 514350"/>
                <a:gd name="connsiteX3664" fmla="*/ 5418296 w 6400800"/>
                <a:gd name="connsiteY3664" fmla="*/ 331946 h 514350"/>
                <a:gd name="connsiteX3665" fmla="*/ 5417344 w 6400800"/>
                <a:gd name="connsiteY3665" fmla="*/ 329089 h 514350"/>
                <a:gd name="connsiteX3666" fmla="*/ 5417344 w 6400800"/>
                <a:gd name="connsiteY3666" fmla="*/ 318611 h 514350"/>
                <a:gd name="connsiteX3667" fmla="*/ 5416392 w 6400800"/>
                <a:gd name="connsiteY3667" fmla="*/ 334804 h 514350"/>
                <a:gd name="connsiteX3668" fmla="*/ 5417344 w 6400800"/>
                <a:gd name="connsiteY3668" fmla="*/ 335756 h 514350"/>
                <a:gd name="connsiteX3669" fmla="*/ 5416392 w 6400800"/>
                <a:gd name="connsiteY3669" fmla="*/ 337661 h 514350"/>
                <a:gd name="connsiteX3670" fmla="*/ 5416392 w 6400800"/>
                <a:gd name="connsiteY3670" fmla="*/ 334804 h 514350"/>
                <a:gd name="connsiteX3671" fmla="*/ 5405914 w 6400800"/>
                <a:gd name="connsiteY3671" fmla="*/ 325279 h 514350"/>
                <a:gd name="connsiteX3672" fmla="*/ 5407819 w 6400800"/>
                <a:gd name="connsiteY3672" fmla="*/ 271939 h 514350"/>
                <a:gd name="connsiteX3673" fmla="*/ 5407819 w 6400800"/>
                <a:gd name="connsiteY3673" fmla="*/ 267176 h 514350"/>
                <a:gd name="connsiteX3674" fmla="*/ 5414487 w 6400800"/>
                <a:gd name="connsiteY3674" fmla="*/ 292894 h 514350"/>
                <a:gd name="connsiteX3675" fmla="*/ 5414487 w 6400800"/>
                <a:gd name="connsiteY3675" fmla="*/ 293846 h 514350"/>
                <a:gd name="connsiteX3676" fmla="*/ 5411629 w 6400800"/>
                <a:gd name="connsiteY3676" fmla="*/ 303371 h 514350"/>
                <a:gd name="connsiteX3677" fmla="*/ 5404962 w 6400800"/>
                <a:gd name="connsiteY3677" fmla="*/ 331946 h 514350"/>
                <a:gd name="connsiteX3678" fmla="*/ 5404962 w 6400800"/>
                <a:gd name="connsiteY3678" fmla="*/ 332899 h 514350"/>
                <a:gd name="connsiteX3679" fmla="*/ 5405914 w 6400800"/>
                <a:gd name="connsiteY3679" fmla="*/ 325279 h 514350"/>
                <a:gd name="connsiteX3680" fmla="*/ 5384006 w 6400800"/>
                <a:gd name="connsiteY3680" fmla="*/ 310991 h 514350"/>
                <a:gd name="connsiteX3681" fmla="*/ 5386864 w 6400800"/>
                <a:gd name="connsiteY3681" fmla="*/ 334804 h 514350"/>
                <a:gd name="connsiteX3682" fmla="*/ 5384959 w 6400800"/>
                <a:gd name="connsiteY3682" fmla="*/ 341471 h 514350"/>
                <a:gd name="connsiteX3683" fmla="*/ 5382101 w 6400800"/>
                <a:gd name="connsiteY3683" fmla="*/ 325279 h 514350"/>
                <a:gd name="connsiteX3684" fmla="*/ 5378292 w 6400800"/>
                <a:gd name="connsiteY3684" fmla="*/ 305276 h 514350"/>
                <a:gd name="connsiteX3685" fmla="*/ 5381149 w 6400800"/>
                <a:gd name="connsiteY3685" fmla="*/ 294799 h 514350"/>
                <a:gd name="connsiteX3686" fmla="*/ 5384006 w 6400800"/>
                <a:gd name="connsiteY3686" fmla="*/ 310991 h 514350"/>
                <a:gd name="connsiteX3687" fmla="*/ 5379244 w 6400800"/>
                <a:gd name="connsiteY3687" fmla="*/ 274796 h 514350"/>
                <a:gd name="connsiteX3688" fmla="*/ 5379244 w 6400800"/>
                <a:gd name="connsiteY3688" fmla="*/ 271939 h 514350"/>
                <a:gd name="connsiteX3689" fmla="*/ 5381149 w 6400800"/>
                <a:gd name="connsiteY3689" fmla="*/ 284321 h 514350"/>
                <a:gd name="connsiteX3690" fmla="*/ 5380196 w 6400800"/>
                <a:gd name="connsiteY3690" fmla="*/ 285274 h 514350"/>
                <a:gd name="connsiteX3691" fmla="*/ 5378292 w 6400800"/>
                <a:gd name="connsiteY3691" fmla="*/ 290036 h 514350"/>
                <a:gd name="connsiteX3692" fmla="*/ 5379244 w 6400800"/>
                <a:gd name="connsiteY3692" fmla="*/ 274796 h 514350"/>
                <a:gd name="connsiteX3693" fmla="*/ 5332571 w 6400800"/>
                <a:gd name="connsiteY3693" fmla="*/ 321469 h 514350"/>
                <a:gd name="connsiteX3694" fmla="*/ 5338287 w 6400800"/>
                <a:gd name="connsiteY3694" fmla="*/ 309086 h 514350"/>
                <a:gd name="connsiteX3695" fmla="*/ 5338287 w 6400800"/>
                <a:gd name="connsiteY3695" fmla="*/ 310039 h 514350"/>
                <a:gd name="connsiteX3696" fmla="*/ 5326856 w 6400800"/>
                <a:gd name="connsiteY3696" fmla="*/ 351949 h 514350"/>
                <a:gd name="connsiteX3697" fmla="*/ 5323999 w 6400800"/>
                <a:gd name="connsiteY3697" fmla="*/ 336709 h 514350"/>
                <a:gd name="connsiteX3698" fmla="*/ 5332571 w 6400800"/>
                <a:gd name="connsiteY3698" fmla="*/ 321469 h 514350"/>
                <a:gd name="connsiteX3699" fmla="*/ 5319237 w 6400800"/>
                <a:gd name="connsiteY3699" fmla="*/ 350996 h 514350"/>
                <a:gd name="connsiteX3700" fmla="*/ 5323046 w 6400800"/>
                <a:gd name="connsiteY3700" fmla="*/ 342424 h 514350"/>
                <a:gd name="connsiteX3701" fmla="*/ 5322094 w 6400800"/>
                <a:gd name="connsiteY3701" fmla="*/ 371951 h 514350"/>
                <a:gd name="connsiteX3702" fmla="*/ 5319237 w 6400800"/>
                <a:gd name="connsiteY3702" fmla="*/ 362426 h 514350"/>
                <a:gd name="connsiteX3703" fmla="*/ 5319237 w 6400800"/>
                <a:gd name="connsiteY3703" fmla="*/ 350996 h 514350"/>
                <a:gd name="connsiteX3704" fmla="*/ 5316379 w 6400800"/>
                <a:gd name="connsiteY3704" fmla="*/ 392906 h 514350"/>
                <a:gd name="connsiteX3705" fmla="*/ 5317331 w 6400800"/>
                <a:gd name="connsiteY3705" fmla="*/ 382429 h 514350"/>
                <a:gd name="connsiteX3706" fmla="*/ 5318284 w 6400800"/>
                <a:gd name="connsiteY3706" fmla="*/ 390049 h 514350"/>
                <a:gd name="connsiteX3707" fmla="*/ 5315426 w 6400800"/>
                <a:gd name="connsiteY3707" fmla="*/ 399574 h 514350"/>
                <a:gd name="connsiteX3708" fmla="*/ 5316379 w 6400800"/>
                <a:gd name="connsiteY3708" fmla="*/ 392906 h 514350"/>
                <a:gd name="connsiteX3709" fmla="*/ 5285899 w 6400800"/>
                <a:gd name="connsiteY3709" fmla="*/ 293846 h 514350"/>
                <a:gd name="connsiteX3710" fmla="*/ 5286851 w 6400800"/>
                <a:gd name="connsiteY3710" fmla="*/ 298609 h 514350"/>
                <a:gd name="connsiteX3711" fmla="*/ 5283994 w 6400800"/>
                <a:gd name="connsiteY3711" fmla="*/ 302419 h 514350"/>
                <a:gd name="connsiteX3712" fmla="*/ 5285899 w 6400800"/>
                <a:gd name="connsiteY3712" fmla="*/ 293846 h 514350"/>
                <a:gd name="connsiteX3713" fmla="*/ 5279231 w 6400800"/>
                <a:gd name="connsiteY3713" fmla="*/ 319564 h 514350"/>
                <a:gd name="connsiteX3714" fmla="*/ 5282089 w 6400800"/>
                <a:gd name="connsiteY3714" fmla="*/ 311944 h 514350"/>
                <a:gd name="connsiteX3715" fmla="*/ 5287804 w 6400800"/>
                <a:gd name="connsiteY3715" fmla="*/ 302419 h 514350"/>
                <a:gd name="connsiteX3716" fmla="*/ 5288756 w 6400800"/>
                <a:gd name="connsiteY3716" fmla="*/ 309086 h 514350"/>
                <a:gd name="connsiteX3717" fmla="*/ 5292567 w 6400800"/>
                <a:gd name="connsiteY3717" fmla="*/ 340519 h 514350"/>
                <a:gd name="connsiteX3718" fmla="*/ 5287804 w 6400800"/>
                <a:gd name="connsiteY3718" fmla="*/ 363379 h 514350"/>
                <a:gd name="connsiteX3719" fmla="*/ 5287804 w 6400800"/>
                <a:gd name="connsiteY3719" fmla="*/ 351949 h 514350"/>
                <a:gd name="connsiteX3720" fmla="*/ 5287804 w 6400800"/>
                <a:gd name="connsiteY3720" fmla="*/ 335756 h 514350"/>
                <a:gd name="connsiteX3721" fmla="*/ 5283994 w 6400800"/>
                <a:gd name="connsiteY3721" fmla="*/ 350996 h 514350"/>
                <a:gd name="connsiteX3722" fmla="*/ 5280184 w 6400800"/>
                <a:gd name="connsiteY3722" fmla="*/ 369094 h 514350"/>
                <a:gd name="connsiteX3723" fmla="*/ 5280184 w 6400800"/>
                <a:gd name="connsiteY3723" fmla="*/ 370046 h 514350"/>
                <a:gd name="connsiteX3724" fmla="*/ 5277326 w 6400800"/>
                <a:gd name="connsiteY3724" fmla="*/ 350044 h 514350"/>
                <a:gd name="connsiteX3725" fmla="*/ 5275421 w 6400800"/>
                <a:gd name="connsiteY3725" fmla="*/ 335756 h 514350"/>
                <a:gd name="connsiteX3726" fmla="*/ 5279231 w 6400800"/>
                <a:gd name="connsiteY3726" fmla="*/ 319564 h 514350"/>
                <a:gd name="connsiteX3727" fmla="*/ 5236369 w 6400800"/>
                <a:gd name="connsiteY3727" fmla="*/ 318611 h 514350"/>
                <a:gd name="connsiteX3728" fmla="*/ 5235417 w 6400800"/>
                <a:gd name="connsiteY3728" fmla="*/ 320516 h 514350"/>
                <a:gd name="connsiteX3729" fmla="*/ 5230654 w 6400800"/>
                <a:gd name="connsiteY3729" fmla="*/ 311944 h 514350"/>
                <a:gd name="connsiteX3730" fmla="*/ 5230654 w 6400800"/>
                <a:gd name="connsiteY3730" fmla="*/ 310991 h 514350"/>
                <a:gd name="connsiteX3731" fmla="*/ 5239226 w 6400800"/>
                <a:gd name="connsiteY3731" fmla="*/ 295751 h 514350"/>
                <a:gd name="connsiteX3732" fmla="*/ 5236369 w 6400800"/>
                <a:gd name="connsiteY3732" fmla="*/ 318611 h 514350"/>
                <a:gd name="connsiteX3733" fmla="*/ 5230654 w 6400800"/>
                <a:gd name="connsiteY3733" fmla="*/ 281464 h 514350"/>
                <a:gd name="connsiteX3734" fmla="*/ 5237321 w 6400800"/>
                <a:gd name="connsiteY3734" fmla="*/ 265271 h 514350"/>
                <a:gd name="connsiteX3735" fmla="*/ 5243989 w 6400800"/>
                <a:gd name="connsiteY3735" fmla="*/ 251936 h 514350"/>
                <a:gd name="connsiteX3736" fmla="*/ 5242084 w 6400800"/>
                <a:gd name="connsiteY3736" fmla="*/ 264319 h 514350"/>
                <a:gd name="connsiteX3737" fmla="*/ 5240179 w 6400800"/>
                <a:gd name="connsiteY3737" fmla="*/ 283369 h 514350"/>
                <a:gd name="connsiteX3738" fmla="*/ 5228749 w 6400800"/>
                <a:gd name="connsiteY3738" fmla="*/ 299561 h 514350"/>
                <a:gd name="connsiteX3739" fmla="*/ 5227796 w 6400800"/>
                <a:gd name="connsiteY3739" fmla="*/ 290036 h 514350"/>
                <a:gd name="connsiteX3740" fmla="*/ 5230654 w 6400800"/>
                <a:gd name="connsiteY3740" fmla="*/ 281464 h 514350"/>
                <a:gd name="connsiteX3741" fmla="*/ 5211604 w 6400800"/>
                <a:gd name="connsiteY3741" fmla="*/ 344329 h 514350"/>
                <a:gd name="connsiteX3742" fmla="*/ 5213509 w 6400800"/>
                <a:gd name="connsiteY3742" fmla="*/ 341471 h 514350"/>
                <a:gd name="connsiteX3743" fmla="*/ 5213509 w 6400800"/>
                <a:gd name="connsiteY3743" fmla="*/ 341471 h 514350"/>
                <a:gd name="connsiteX3744" fmla="*/ 5213509 w 6400800"/>
                <a:gd name="connsiteY3744" fmla="*/ 342424 h 514350"/>
                <a:gd name="connsiteX3745" fmla="*/ 5211604 w 6400800"/>
                <a:gd name="connsiteY3745" fmla="*/ 344329 h 514350"/>
                <a:gd name="connsiteX3746" fmla="*/ 5211604 w 6400800"/>
                <a:gd name="connsiteY3746" fmla="*/ 344329 h 514350"/>
                <a:gd name="connsiteX3747" fmla="*/ 5214462 w 6400800"/>
                <a:gd name="connsiteY3747" fmla="*/ 343376 h 514350"/>
                <a:gd name="connsiteX3748" fmla="*/ 5216367 w 6400800"/>
                <a:gd name="connsiteY3748" fmla="*/ 348139 h 514350"/>
                <a:gd name="connsiteX3749" fmla="*/ 5213509 w 6400800"/>
                <a:gd name="connsiteY3749" fmla="*/ 352901 h 514350"/>
                <a:gd name="connsiteX3750" fmla="*/ 5212556 w 6400800"/>
                <a:gd name="connsiteY3750" fmla="*/ 350996 h 514350"/>
                <a:gd name="connsiteX3751" fmla="*/ 5212556 w 6400800"/>
                <a:gd name="connsiteY3751" fmla="*/ 349091 h 514350"/>
                <a:gd name="connsiteX3752" fmla="*/ 5214462 w 6400800"/>
                <a:gd name="connsiteY3752" fmla="*/ 343376 h 514350"/>
                <a:gd name="connsiteX3753" fmla="*/ 5214462 w 6400800"/>
                <a:gd name="connsiteY3753" fmla="*/ 343376 h 514350"/>
                <a:gd name="connsiteX3754" fmla="*/ 5211604 w 6400800"/>
                <a:gd name="connsiteY3754" fmla="*/ 290989 h 514350"/>
                <a:gd name="connsiteX3755" fmla="*/ 5211604 w 6400800"/>
                <a:gd name="connsiteY3755" fmla="*/ 290989 h 514350"/>
                <a:gd name="connsiteX3756" fmla="*/ 5213509 w 6400800"/>
                <a:gd name="connsiteY3756" fmla="*/ 296704 h 514350"/>
                <a:gd name="connsiteX3757" fmla="*/ 5210651 w 6400800"/>
                <a:gd name="connsiteY3757" fmla="*/ 302419 h 514350"/>
                <a:gd name="connsiteX3758" fmla="*/ 5211604 w 6400800"/>
                <a:gd name="connsiteY3758" fmla="*/ 290989 h 514350"/>
                <a:gd name="connsiteX3759" fmla="*/ 5189696 w 6400800"/>
                <a:gd name="connsiteY3759" fmla="*/ 260509 h 514350"/>
                <a:gd name="connsiteX3760" fmla="*/ 5189696 w 6400800"/>
                <a:gd name="connsiteY3760" fmla="*/ 264319 h 514350"/>
                <a:gd name="connsiteX3761" fmla="*/ 5186839 w 6400800"/>
                <a:gd name="connsiteY3761" fmla="*/ 258604 h 514350"/>
                <a:gd name="connsiteX3762" fmla="*/ 5187792 w 6400800"/>
                <a:gd name="connsiteY3762" fmla="*/ 257651 h 514350"/>
                <a:gd name="connsiteX3763" fmla="*/ 5189696 w 6400800"/>
                <a:gd name="connsiteY3763" fmla="*/ 253841 h 514350"/>
                <a:gd name="connsiteX3764" fmla="*/ 5189696 w 6400800"/>
                <a:gd name="connsiteY3764" fmla="*/ 260509 h 514350"/>
                <a:gd name="connsiteX3765" fmla="*/ 5178267 w 6400800"/>
                <a:gd name="connsiteY3765" fmla="*/ 230981 h 514350"/>
                <a:gd name="connsiteX3766" fmla="*/ 5186839 w 6400800"/>
                <a:gd name="connsiteY3766" fmla="*/ 213836 h 514350"/>
                <a:gd name="connsiteX3767" fmla="*/ 5188744 w 6400800"/>
                <a:gd name="connsiteY3767" fmla="*/ 210026 h 514350"/>
                <a:gd name="connsiteX3768" fmla="*/ 5188744 w 6400800"/>
                <a:gd name="connsiteY3768" fmla="*/ 219551 h 514350"/>
                <a:gd name="connsiteX3769" fmla="*/ 5188744 w 6400800"/>
                <a:gd name="connsiteY3769" fmla="*/ 254794 h 514350"/>
                <a:gd name="connsiteX3770" fmla="*/ 5185887 w 6400800"/>
                <a:gd name="connsiteY3770" fmla="*/ 258604 h 514350"/>
                <a:gd name="connsiteX3771" fmla="*/ 5185887 w 6400800"/>
                <a:gd name="connsiteY3771" fmla="*/ 258604 h 514350"/>
                <a:gd name="connsiteX3772" fmla="*/ 5178267 w 6400800"/>
                <a:gd name="connsiteY3772" fmla="*/ 243364 h 514350"/>
                <a:gd name="connsiteX3773" fmla="*/ 5175409 w 6400800"/>
                <a:gd name="connsiteY3773" fmla="*/ 238601 h 514350"/>
                <a:gd name="connsiteX3774" fmla="*/ 5178267 w 6400800"/>
                <a:gd name="connsiteY3774" fmla="*/ 230981 h 514350"/>
                <a:gd name="connsiteX3775" fmla="*/ 5168742 w 6400800"/>
                <a:gd name="connsiteY3775" fmla="*/ 238601 h 514350"/>
                <a:gd name="connsiteX3776" fmla="*/ 5168742 w 6400800"/>
                <a:gd name="connsiteY3776" fmla="*/ 238601 h 514350"/>
                <a:gd name="connsiteX3777" fmla="*/ 5168742 w 6400800"/>
                <a:gd name="connsiteY3777" fmla="*/ 238601 h 514350"/>
                <a:gd name="connsiteX3778" fmla="*/ 5168742 w 6400800"/>
                <a:gd name="connsiteY3778" fmla="*/ 238601 h 514350"/>
                <a:gd name="connsiteX3779" fmla="*/ 5166837 w 6400800"/>
                <a:gd name="connsiteY3779" fmla="*/ 280511 h 514350"/>
                <a:gd name="connsiteX3780" fmla="*/ 5167789 w 6400800"/>
                <a:gd name="connsiteY3780" fmla="*/ 259556 h 514350"/>
                <a:gd name="connsiteX3781" fmla="*/ 5167789 w 6400800"/>
                <a:gd name="connsiteY3781" fmla="*/ 259556 h 514350"/>
                <a:gd name="connsiteX3782" fmla="*/ 5171599 w 6400800"/>
                <a:gd name="connsiteY3782" fmla="*/ 248126 h 514350"/>
                <a:gd name="connsiteX3783" fmla="*/ 5177314 w 6400800"/>
                <a:gd name="connsiteY3783" fmla="*/ 263366 h 514350"/>
                <a:gd name="connsiteX3784" fmla="*/ 5179219 w 6400800"/>
                <a:gd name="connsiteY3784" fmla="*/ 267176 h 514350"/>
                <a:gd name="connsiteX3785" fmla="*/ 5176362 w 6400800"/>
                <a:gd name="connsiteY3785" fmla="*/ 271939 h 514350"/>
                <a:gd name="connsiteX3786" fmla="*/ 5166837 w 6400800"/>
                <a:gd name="connsiteY3786" fmla="*/ 287179 h 514350"/>
                <a:gd name="connsiteX3787" fmla="*/ 5166837 w 6400800"/>
                <a:gd name="connsiteY3787" fmla="*/ 280511 h 514350"/>
                <a:gd name="connsiteX3788" fmla="*/ 5166837 w 6400800"/>
                <a:gd name="connsiteY3788" fmla="*/ 307181 h 514350"/>
                <a:gd name="connsiteX3789" fmla="*/ 5170646 w 6400800"/>
                <a:gd name="connsiteY3789" fmla="*/ 296704 h 514350"/>
                <a:gd name="connsiteX3790" fmla="*/ 5171599 w 6400800"/>
                <a:gd name="connsiteY3790" fmla="*/ 293846 h 514350"/>
                <a:gd name="connsiteX3791" fmla="*/ 5176362 w 6400800"/>
                <a:gd name="connsiteY3791" fmla="*/ 289084 h 514350"/>
                <a:gd name="connsiteX3792" fmla="*/ 5181124 w 6400800"/>
                <a:gd name="connsiteY3792" fmla="*/ 284321 h 514350"/>
                <a:gd name="connsiteX3793" fmla="*/ 5175409 w 6400800"/>
                <a:gd name="connsiteY3793" fmla="*/ 288131 h 514350"/>
                <a:gd name="connsiteX3794" fmla="*/ 5172551 w 6400800"/>
                <a:gd name="connsiteY3794" fmla="*/ 290036 h 514350"/>
                <a:gd name="connsiteX3795" fmla="*/ 5179219 w 6400800"/>
                <a:gd name="connsiteY3795" fmla="*/ 272891 h 514350"/>
                <a:gd name="connsiteX3796" fmla="*/ 5180171 w 6400800"/>
                <a:gd name="connsiteY3796" fmla="*/ 270034 h 514350"/>
                <a:gd name="connsiteX3797" fmla="*/ 5184934 w 6400800"/>
                <a:gd name="connsiteY3797" fmla="*/ 280511 h 514350"/>
                <a:gd name="connsiteX3798" fmla="*/ 5190649 w 6400800"/>
                <a:gd name="connsiteY3798" fmla="*/ 292894 h 514350"/>
                <a:gd name="connsiteX3799" fmla="*/ 5190649 w 6400800"/>
                <a:gd name="connsiteY3799" fmla="*/ 298609 h 514350"/>
                <a:gd name="connsiteX3800" fmla="*/ 5192554 w 6400800"/>
                <a:gd name="connsiteY3800" fmla="*/ 330041 h 514350"/>
                <a:gd name="connsiteX3801" fmla="*/ 5192554 w 6400800"/>
                <a:gd name="connsiteY3801" fmla="*/ 335756 h 514350"/>
                <a:gd name="connsiteX3802" fmla="*/ 5192554 w 6400800"/>
                <a:gd name="connsiteY3802" fmla="*/ 336709 h 514350"/>
                <a:gd name="connsiteX3803" fmla="*/ 5191601 w 6400800"/>
                <a:gd name="connsiteY3803" fmla="*/ 338614 h 514350"/>
                <a:gd name="connsiteX3804" fmla="*/ 5187792 w 6400800"/>
                <a:gd name="connsiteY3804" fmla="*/ 348139 h 514350"/>
                <a:gd name="connsiteX3805" fmla="*/ 5183981 w 6400800"/>
                <a:gd name="connsiteY3805" fmla="*/ 309086 h 514350"/>
                <a:gd name="connsiteX3806" fmla="*/ 5177314 w 6400800"/>
                <a:gd name="connsiteY3806" fmla="*/ 348139 h 514350"/>
                <a:gd name="connsiteX3807" fmla="*/ 5176362 w 6400800"/>
                <a:gd name="connsiteY3807" fmla="*/ 354806 h 514350"/>
                <a:gd name="connsiteX3808" fmla="*/ 5174456 w 6400800"/>
                <a:gd name="connsiteY3808" fmla="*/ 349091 h 514350"/>
                <a:gd name="connsiteX3809" fmla="*/ 5171599 w 6400800"/>
                <a:gd name="connsiteY3809" fmla="*/ 341471 h 514350"/>
                <a:gd name="connsiteX3810" fmla="*/ 5173504 w 6400800"/>
                <a:gd name="connsiteY3810" fmla="*/ 328136 h 514350"/>
                <a:gd name="connsiteX3811" fmla="*/ 5169694 w 6400800"/>
                <a:gd name="connsiteY3811" fmla="*/ 338614 h 514350"/>
                <a:gd name="connsiteX3812" fmla="*/ 5167789 w 6400800"/>
                <a:gd name="connsiteY3812" fmla="*/ 334804 h 514350"/>
                <a:gd name="connsiteX3813" fmla="*/ 5165884 w 6400800"/>
                <a:gd name="connsiteY3813" fmla="*/ 312896 h 514350"/>
                <a:gd name="connsiteX3814" fmla="*/ 5166837 w 6400800"/>
                <a:gd name="connsiteY3814" fmla="*/ 307181 h 514350"/>
                <a:gd name="connsiteX3815" fmla="*/ 5161121 w 6400800"/>
                <a:gd name="connsiteY3815" fmla="*/ 218599 h 514350"/>
                <a:gd name="connsiteX3816" fmla="*/ 5164931 w 6400800"/>
                <a:gd name="connsiteY3816" fmla="*/ 229076 h 514350"/>
                <a:gd name="connsiteX3817" fmla="*/ 5161121 w 6400800"/>
                <a:gd name="connsiteY3817" fmla="*/ 248126 h 514350"/>
                <a:gd name="connsiteX3818" fmla="*/ 5157312 w 6400800"/>
                <a:gd name="connsiteY3818" fmla="*/ 206216 h 514350"/>
                <a:gd name="connsiteX3819" fmla="*/ 5161121 w 6400800"/>
                <a:gd name="connsiteY3819" fmla="*/ 218599 h 514350"/>
                <a:gd name="connsiteX3820" fmla="*/ 5148739 w 6400800"/>
                <a:gd name="connsiteY3820" fmla="*/ 256699 h 514350"/>
                <a:gd name="connsiteX3821" fmla="*/ 5149692 w 6400800"/>
                <a:gd name="connsiteY3821" fmla="*/ 255746 h 514350"/>
                <a:gd name="connsiteX3822" fmla="*/ 5149692 w 6400800"/>
                <a:gd name="connsiteY3822" fmla="*/ 283369 h 514350"/>
                <a:gd name="connsiteX3823" fmla="*/ 5149692 w 6400800"/>
                <a:gd name="connsiteY3823" fmla="*/ 284321 h 514350"/>
                <a:gd name="connsiteX3824" fmla="*/ 5143024 w 6400800"/>
                <a:gd name="connsiteY3824" fmla="*/ 263366 h 514350"/>
                <a:gd name="connsiteX3825" fmla="*/ 5148739 w 6400800"/>
                <a:gd name="connsiteY3825" fmla="*/ 256699 h 514350"/>
                <a:gd name="connsiteX3826" fmla="*/ 5087779 w 6400800"/>
                <a:gd name="connsiteY3826" fmla="*/ 317659 h 514350"/>
                <a:gd name="connsiteX3827" fmla="*/ 5087779 w 6400800"/>
                <a:gd name="connsiteY3827" fmla="*/ 315754 h 514350"/>
                <a:gd name="connsiteX3828" fmla="*/ 5087779 w 6400800"/>
                <a:gd name="connsiteY3828" fmla="*/ 317659 h 514350"/>
                <a:gd name="connsiteX3829" fmla="*/ 5087779 w 6400800"/>
                <a:gd name="connsiteY3829" fmla="*/ 317659 h 514350"/>
                <a:gd name="connsiteX3830" fmla="*/ 5122069 w 6400800"/>
                <a:gd name="connsiteY3830" fmla="*/ 298609 h 514350"/>
                <a:gd name="connsiteX3831" fmla="*/ 5128737 w 6400800"/>
                <a:gd name="connsiteY3831" fmla="*/ 287179 h 514350"/>
                <a:gd name="connsiteX3832" fmla="*/ 5124926 w 6400800"/>
                <a:gd name="connsiteY3832" fmla="*/ 327184 h 514350"/>
                <a:gd name="connsiteX3833" fmla="*/ 5121117 w 6400800"/>
                <a:gd name="connsiteY3833" fmla="*/ 318611 h 514350"/>
                <a:gd name="connsiteX3834" fmla="*/ 5117306 w 6400800"/>
                <a:gd name="connsiteY3834" fmla="*/ 308134 h 514350"/>
                <a:gd name="connsiteX3835" fmla="*/ 5122069 w 6400800"/>
                <a:gd name="connsiteY3835" fmla="*/ 298609 h 514350"/>
                <a:gd name="connsiteX3836" fmla="*/ 5110639 w 6400800"/>
                <a:gd name="connsiteY3836" fmla="*/ 321469 h 514350"/>
                <a:gd name="connsiteX3837" fmla="*/ 5110639 w 6400800"/>
                <a:gd name="connsiteY3837" fmla="*/ 321469 h 514350"/>
                <a:gd name="connsiteX3838" fmla="*/ 5118259 w 6400800"/>
                <a:gd name="connsiteY3838" fmla="*/ 344329 h 514350"/>
                <a:gd name="connsiteX3839" fmla="*/ 5116354 w 6400800"/>
                <a:gd name="connsiteY3839" fmla="*/ 347186 h 514350"/>
                <a:gd name="connsiteX3840" fmla="*/ 5114449 w 6400800"/>
                <a:gd name="connsiteY3840" fmla="*/ 349091 h 514350"/>
                <a:gd name="connsiteX3841" fmla="*/ 5110639 w 6400800"/>
                <a:gd name="connsiteY3841" fmla="*/ 335756 h 514350"/>
                <a:gd name="connsiteX3842" fmla="*/ 5107781 w 6400800"/>
                <a:gd name="connsiteY3842" fmla="*/ 327184 h 514350"/>
                <a:gd name="connsiteX3843" fmla="*/ 5110639 w 6400800"/>
                <a:gd name="connsiteY3843" fmla="*/ 321469 h 514350"/>
                <a:gd name="connsiteX3844" fmla="*/ 5105876 w 6400800"/>
                <a:gd name="connsiteY3844" fmla="*/ 308134 h 514350"/>
                <a:gd name="connsiteX3845" fmla="*/ 5103019 w 6400800"/>
                <a:gd name="connsiteY3845" fmla="*/ 311944 h 514350"/>
                <a:gd name="connsiteX3846" fmla="*/ 5101114 w 6400800"/>
                <a:gd name="connsiteY3846" fmla="*/ 306229 h 514350"/>
                <a:gd name="connsiteX3847" fmla="*/ 5101114 w 6400800"/>
                <a:gd name="connsiteY3847" fmla="*/ 304324 h 514350"/>
                <a:gd name="connsiteX3848" fmla="*/ 5101114 w 6400800"/>
                <a:gd name="connsiteY3848" fmla="*/ 305276 h 514350"/>
                <a:gd name="connsiteX3849" fmla="*/ 5096351 w 6400800"/>
                <a:gd name="connsiteY3849" fmla="*/ 288131 h 514350"/>
                <a:gd name="connsiteX3850" fmla="*/ 5097304 w 6400800"/>
                <a:gd name="connsiteY3850" fmla="*/ 281464 h 514350"/>
                <a:gd name="connsiteX3851" fmla="*/ 5105876 w 6400800"/>
                <a:gd name="connsiteY3851" fmla="*/ 308134 h 514350"/>
                <a:gd name="connsiteX3852" fmla="*/ 5097304 w 6400800"/>
                <a:gd name="connsiteY3852" fmla="*/ 282416 h 514350"/>
                <a:gd name="connsiteX3853" fmla="*/ 5095399 w 6400800"/>
                <a:gd name="connsiteY3853" fmla="*/ 286226 h 514350"/>
                <a:gd name="connsiteX3854" fmla="*/ 5093494 w 6400800"/>
                <a:gd name="connsiteY3854" fmla="*/ 279559 h 514350"/>
                <a:gd name="connsiteX3855" fmla="*/ 5087779 w 6400800"/>
                <a:gd name="connsiteY3855" fmla="*/ 258604 h 514350"/>
                <a:gd name="connsiteX3856" fmla="*/ 5089684 w 6400800"/>
                <a:gd name="connsiteY3856" fmla="*/ 257651 h 514350"/>
                <a:gd name="connsiteX3857" fmla="*/ 5097304 w 6400800"/>
                <a:gd name="connsiteY3857" fmla="*/ 282416 h 514350"/>
                <a:gd name="connsiteX3858" fmla="*/ 5080159 w 6400800"/>
                <a:gd name="connsiteY3858" fmla="*/ 224314 h 514350"/>
                <a:gd name="connsiteX3859" fmla="*/ 5089684 w 6400800"/>
                <a:gd name="connsiteY3859" fmla="*/ 254794 h 514350"/>
                <a:gd name="connsiteX3860" fmla="*/ 5087779 w 6400800"/>
                <a:gd name="connsiteY3860" fmla="*/ 254794 h 514350"/>
                <a:gd name="connsiteX3861" fmla="*/ 5081112 w 6400800"/>
                <a:gd name="connsiteY3861" fmla="*/ 228124 h 514350"/>
                <a:gd name="connsiteX3862" fmla="*/ 5080159 w 6400800"/>
                <a:gd name="connsiteY3862" fmla="*/ 224314 h 514350"/>
                <a:gd name="connsiteX3863" fmla="*/ 5080159 w 6400800"/>
                <a:gd name="connsiteY3863" fmla="*/ 224314 h 514350"/>
                <a:gd name="connsiteX3864" fmla="*/ 5076349 w 6400800"/>
                <a:gd name="connsiteY3864" fmla="*/ 272891 h 514350"/>
                <a:gd name="connsiteX3865" fmla="*/ 5076349 w 6400800"/>
                <a:gd name="connsiteY3865" fmla="*/ 268129 h 514350"/>
                <a:gd name="connsiteX3866" fmla="*/ 5079206 w 6400800"/>
                <a:gd name="connsiteY3866" fmla="*/ 283369 h 514350"/>
                <a:gd name="connsiteX3867" fmla="*/ 5083017 w 6400800"/>
                <a:gd name="connsiteY3867" fmla="*/ 301466 h 514350"/>
                <a:gd name="connsiteX3868" fmla="*/ 5083017 w 6400800"/>
                <a:gd name="connsiteY3868" fmla="*/ 304324 h 514350"/>
                <a:gd name="connsiteX3869" fmla="*/ 5082064 w 6400800"/>
                <a:gd name="connsiteY3869" fmla="*/ 311944 h 514350"/>
                <a:gd name="connsiteX3870" fmla="*/ 5073492 w 6400800"/>
                <a:gd name="connsiteY3870" fmla="*/ 292894 h 514350"/>
                <a:gd name="connsiteX3871" fmla="*/ 5076349 w 6400800"/>
                <a:gd name="connsiteY3871" fmla="*/ 272891 h 514350"/>
                <a:gd name="connsiteX3872" fmla="*/ 5066824 w 6400800"/>
                <a:gd name="connsiteY3872" fmla="*/ 377666 h 514350"/>
                <a:gd name="connsiteX3873" fmla="*/ 5066824 w 6400800"/>
                <a:gd name="connsiteY3873" fmla="*/ 380524 h 514350"/>
                <a:gd name="connsiteX3874" fmla="*/ 5066824 w 6400800"/>
                <a:gd name="connsiteY3874" fmla="*/ 383381 h 514350"/>
                <a:gd name="connsiteX3875" fmla="*/ 5065871 w 6400800"/>
                <a:gd name="connsiteY3875" fmla="*/ 384334 h 514350"/>
                <a:gd name="connsiteX3876" fmla="*/ 5064919 w 6400800"/>
                <a:gd name="connsiteY3876" fmla="*/ 381476 h 514350"/>
                <a:gd name="connsiteX3877" fmla="*/ 5066824 w 6400800"/>
                <a:gd name="connsiteY3877" fmla="*/ 377666 h 514350"/>
                <a:gd name="connsiteX3878" fmla="*/ 5057299 w 6400800"/>
                <a:gd name="connsiteY3878" fmla="*/ 303371 h 514350"/>
                <a:gd name="connsiteX3879" fmla="*/ 5051584 w 6400800"/>
                <a:gd name="connsiteY3879" fmla="*/ 294799 h 514350"/>
                <a:gd name="connsiteX3880" fmla="*/ 5052537 w 6400800"/>
                <a:gd name="connsiteY3880" fmla="*/ 290989 h 514350"/>
                <a:gd name="connsiteX3881" fmla="*/ 5055394 w 6400800"/>
                <a:gd name="connsiteY3881" fmla="*/ 287179 h 514350"/>
                <a:gd name="connsiteX3882" fmla="*/ 5057299 w 6400800"/>
                <a:gd name="connsiteY3882" fmla="*/ 303371 h 514350"/>
                <a:gd name="connsiteX3883" fmla="*/ 5050631 w 6400800"/>
                <a:gd name="connsiteY3883" fmla="*/ 252889 h 514350"/>
                <a:gd name="connsiteX3884" fmla="*/ 5052537 w 6400800"/>
                <a:gd name="connsiteY3884" fmla="*/ 258604 h 514350"/>
                <a:gd name="connsiteX3885" fmla="*/ 5053489 w 6400800"/>
                <a:gd name="connsiteY3885" fmla="*/ 260509 h 514350"/>
                <a:gd name="connsiteX3886" fmla="*/ 5054442 w 6400800"/>
                <a:gd name="connsiteY3886" fmla="*/ 268129 h 514350"/>
                <a:gd name="connsiteX3887" fmla="*/ 5052537 w 6400800"/>
                <a:gd name="connsiteY3887" fmla="*/ 273844 h 514350"/>
                <a:gd name="connsiteX3888" fmla="*/ 5051584 w 6400800"/>
                <a:gd name="connsiteY3888" fmla="*/ 276701 h 514350"/>
                <a:gd name="connsiteX3889" fmla="*/ 5048726 w 6400800"/>
                <a:gd name="connsiteY3889" fmla="*/ 279559 h 514350"/>
                <a:gd name="connsiteX3890" fmla="*/ 5048726 w 6400800"/>
                <a:gd name="connsiteY3890" fmla="*/ 278606 h 514350"/>
                <a:gd name="connsiteX3891" fmla="*/ 5048726 w 6400800"/>
                <a:gd name="connsiteY3891" fmla="*/ 274796 h 514350"/>
                <a:gd name="connsiteX3892" fmla="*/ 5049679 w 6400800"/>
                <a:gd name="connsiteY3892" fmla="*/ 268129 h 514350"/>
                <a:gd name="connsiteX3893" fmla="*/ 5050631 w 6400800"/>
                <a:gd name="connsiteY3893" fmla="*/ 262414 h 514350"/>
                <a:gd name="connsiteX3894" fmla="*/ 5048726 w 6400800"/>
                <a:gd name="connsiteY3894" fmla="*/ 268129 h 514350"/>
                <a:gd name="connsiteX3895" fmla="*/ 5048726 w 6400800"/>
                <a:gd name="connsiteY3895" fmla="*/ 269081 h 514350"/>
                <a:gd name="connsiteX3896" fmla="*/ 5048726 w 6400800"/>
                <a:gd name="connsiteY3896" fmla="*/ 266224 h 514350"/>
                <a:gd name="connsiteX3897" fmla="*/ 5050631 w 6400800"/>
                <a:gd name="connsiteY3897" fmla="*/ 252889 h 514350"/>
                <a:gd name="connsiteX3898" fmla="*/ 5020151 w 6400800"/>
                <a:gd name="connsiteY3898" fmla="*/ 390049 h 514350"/>
                <a:gd name="connsiteX3899" fmla="*/ 5014437 w 6400800"/>
                <a:gd name="connsiteY3899" fmla="*/ 376714 h 514350"/>
                <a:gd name="connsiteX3900" fmla="*/ 5014437 w 6400800"/>
                <a:gd name="connsiteY3900" fmla="*/ 375761 h 514350"/>
                <a:gd name="connsiteX3901" fmla="*/ 5022056 w 6400800"/>
                <a:gd name="connsiteY3901" fmla="*/ 347186 h 514350"/>
                <a:gd name="connsiteX3902" fmla="*/ 5022056 w 6400800"/>
                <a:gd name="connsiteY3902" fmla="*/ 348139 h 514350"/>
                <a:gd name="connsiteX3903" fmla="*/ 5022056 w 6400800"/>
                <a:gd name="connsiteY3903" fmla="*/ 363379 h 514350"/>
                <a:gd name="connsiteX3904" fmla="*/ 5023009 w 6400800"/>
                <a:gd name="connsiteY3904" fmla="*/ 379571 h 514350"/>
                <a:gd name="connsiteX3905" fmla="*/ 5023962 w 6400800"/>
                <a:gd name="connsiteY3905" fmla="*/ 386239 h 514350"/>
                <a:gd name="connsiteX3906" fmla="*/ 5020151 w 6400800"/>
                <a:gd name="connsiteY3906" fmla="*/ 390049 h 514350"/>
                <a:gd name="connsiteX3907" fmla="*/ 5024914 w 6400800"/>
                <a:gd name="connsiteY3907" fmla="*/ 400526 h 514350"/>
                <a:gd name="connsiteX3908" fmla="*/ 5024914 w 6400800"/>
                <a:gd name="connsiteY3908" fmla="*/ 400526 h 514350"/>
                <a:gd name="connsiteX3909" fmla="*/ 5024914 w 6400800"/>
                <a:gd name="connsiteY3909" fmla="*/ 400526 h 514350"/>
                <a:gd name="connsiteX3910" fmla="*/ 5024914 w 6400800"/>
                <a:gd name="connsiteY3910" fmla="*/ 400526 h 514350"/>
                <a:gd name="connsiteX3911" fmla="*/ 5035392 w 6400800"/>
                <a:gd name="connsiteY3911" fmla="*/ 314801 h 514350"/>
                <a:gd name="connsiteX3912" fmla="*/ 5035392 w 6400800"/>
                <a:gd name="connsiteY3912" fmla="*/ 317659 h 514350"/>
                <a:gd name="connsiteX3913" fmla="*/ 5031581 w 6400800"/>
                <a:gd name="connsiteY3913" fmla="*/ 353854 h 514350"/>
                <a:gd name="connsiteX3914" fmla="*/ 5031581 w 6400800"/>
                <a:gd name="connsiteY3914" fmla="*/ 353854 h 514350"/>
                <a:gd name="connsiteX3915" fmla="*/ 5031581 w 6400800"/>
                <a:gd name="connsiteY3915" fmla="*/ 354806 h 514350"/>
                <a:gd name="connsiteX3916" fmla="*/ 5030629 w 6400800"/>
                <a:gd name="connsiteY3916" fmla="*/ 347186 h 514350"/>
                <a:gd name="connsiteX3917" fmla="*/ 5027771 w 6400800"/>
                <a:gd name="connsiteY3917" fmla="*/ 329089 h 514350"/>
                <a:gd name="connsiteX3918" fmla="*/ 5028724 w 6400800"/>
                <a:gd name="connsiteY3918" fmla="*/ 325279 h 514350"/>
                <a:gd name="connsiteX3919" fmla="*/ 5032534 w 6400800"/>
                <a:gd name="connsiteY3919" fmla="*/ 319564 h 514350"/>
                <a:gd name="connsiteX3920" fmla="*/ 5035392 w 6400800"/>
                <a:gd name="connsiteY3920" fmla="*/ 314801 h 514350"/>
                <a:gd name="connsiteX3921" fmla="*/ 5006817 w 6400800"/>
                <a:gd name="connsiteY3921" fmla="*/ 242411 h 514350"/>
                <a:gd name="connsiteX3922" fmla="*/ 5019199 w 6400800"/>
                <a:gd name="connsiteY3922" fmla="*/ 259556 h 514350"/>
                <a:gd name="connsiteX3923" fmla="*/ 5025867 w 6400800"/>
                <a:gd name="connsiteY3923" fmla="*/ 270034 h 514350"/>
                <a:gd name="connsiteX3924" fmla="*/ 5021104 w 6400800"/>
                <a:gd name="connsiteY3924" fmla="*/ 263366 h 514350"/>
                <a:gd name="connsiteX3925" fmla="*/ 5014437 w 6400800"/>
                <a:gd name="connsiteY3925" fmla="*/ 255746 h 514350"/>
                <a:gd name="connsiteX3926" fmla="*/ 5004912 w 6400800"/>
                <a:gd name="connsiteY3926" fmla="*/ 245269 h 514350"/>
                <a:gd name="connsiteX3927" fmla="*/ 5006817 w 6400800"/>
                <a:gd name="connsiteY3927" fmla="*/ 242411 h 514350"/>
                <a:gd name="connsiteX3928" fmla="*/ 5004912 w 6400800"/>
                <a:gd name="connsiteY3928" fmla="*/ 242411 h 514350"/>
                <a:gd name="connsiteX3929" fmla="*/ 5004912 w 6400800"/>
                <a:gd name="connsiteY3929" fmla="*/ 238601 h 514350"/>
                <a:gd name="connsiteX3930" fmla="*/ 5006817 w 6400800"/>
                <a:gd name="connsiteY3930" fmla="*/ 241459 h 514350"/>
                <a:gd name="connsiteX3931" fmla="*/ 5004912 w 6400800"/>
                <a:gd name="connsiteY3931" fmla="*/ 244316 h 514350"/>
                <a:gd name="connsiteX3932" fmla="*/ 5004912 w 6400800"/>
                <a:gd name="connsiteY3932" fmla="*/ 243364 h 514350"/>
                <a:gd name="connsiteX3933" fmla="*/ 5004912 w 6400800"/>
                <a:gd name="connsiteY3933" fmla="*/ 242411 h 514350"/>
                <a:gd name="connsiteX3934" fmla="*/ 4999196 w 6400800"/>
                <a:gd name="connsiteY3934" fmla="*/ 303371 h 514350"/>
                <a:gd name="connsiteX3935" fmla="*/ 5003006 w 6400800"/>
                <a:gd name="connsiteY3935" fmla="*/ 252889 h 514350"/>
                <a:gd name="connsiteX3936" fmla="*/ 5008721 w 6400800"/>
                <a:gd name="connsiteY3936" fmla="*/ 260509 h 514350"/>
                <a:gd name="connsiteX3937" fmla="*/ 5014437 w 6400800"/>
                <a:gd name="connsiteY3937" fmla="*/ 268129 h 514350"/>
                <a:gd name="connsiteX3938" fmla="*/ 5020151 w 6400800"/>
                <a:gd name="connsiteY3938" fmla="*/ 276701 h 514350"/>
                <a:gd name="connsiteX3939" fmla="*/ 5029676 w 6400800"/>
                <a:gd name="connsiteY3939" fmla="*/ 292894 h 514350"/>
                <a:gd name="connsiteX3940" fmla="*/ 5029676 w 6400800"/>
                <a:gd name="connsiteY3940" fmla="*/ 293846 h 514350"/>
                <a:gd name="connsiteX3941" fmla="*/ 5025867 w 6400800"/>
                <a:gd name="connsiteY3941" fmla="*/ 302419 h 514350"/>
                <a:gd name="connsiteX3942" fmla="*/ 5023009 w 6400800"/>
                <a:gd name="connsiteY3942" fmla="*/ 305276 h 514350"/>
                <a:gd name="connsiteX3943" fmla="*/ 5022056 w 6400800"/>
                <a:gd name="connsiteY3943" fmla="*/ 301466 h 514350"/>
                <a:gd name="connsiteX3944" fmla="*/ 5022056 w 6400800"/>
                <a:gd name="connsiteY3944" fmla="*/ 306229 h 514350"/>
                <a:gd name="connsiteX3945" fmla="*/ 5019199 w 6400800"/>
                <a:gd name="connsiteY3945" fmla="*/ 309086 h 514350"/>
                <a:gd name="connsiteX3946" fmla="*/ 5012531 w 6400800"/>
                <a:gd name="connsiteY3946" fmla="*/ 318611 h 514350"/>
                <a:gd name="connsiteX3947" fmla="*/ 5013484 w 6400800"/>
                <a:gd name="connsiteY3947" fmla="*/ 311944 h 514350"/>
                <a:gd name="connsiteX3948" fmla="*/ 5017294 w 6400800"/>
                <a:gd name="connsiteY3948" fmla="*/ 294799 h 514350"/>
                <a:gd name="connsiteX3949" fmla="*/ 5020151 w 6400800"/>
                <a:gd name="connsiteY3949" fmla="*/ 279559 h 514350"/>
                <a:gd name="connsiteX3950" fmla="*/ 5013484 w 6400800"/>
                <a:gd name="connsiteY3950" fmla="*/ 293846 h 514350"/>
                <a:gd name="connsiteX3951" fmla="*/ 5006817 w 6400800"/>
                <a:gd name="connsiteY3951" fmla="*/ 310039 h 514350"/>
                <a:gd name="connsiteX3952" fmla="*/ 4999196 w 6400800"/>
                <a:gd name="connsiteY3952" fmla="*/ 331946 h 514350"/>
                <a:gd name="connsiteX3953" fmla="*/ 4999196 w 6400800"/>
                <a:gd name="connsiteY3953" fmla="*/ 332899 h 514350"/>
                <a:gd name="connsiteX3954" fmla="*/ 4997292 w 6400800"/>
                <a:gd name="connsiteY3954" fmla="*/ 327184 h 514350"/>
                <a:gd name="connsiteX3955" fmla="*/ 4999196 w 6400800"/>
                <a:gd name="connsiteY3955" fmla="*/ 303371 h 514350"/>
                <a:gd name="connsiteX3956" fmla="*/ 4968717 w 6400800"/>
                <a:gd name="connsiteY3956" fmla="*/ 208121 h 514350"/>
                <a:gd name="connsiteX3957" fmla="*/ 4967764 w 6400800"/>
                <a:gd name="connsiteY3957" fmla="*/ 212884 h 514350"/>
                <a:gd name="connsiteX3958" fmla="*/ 4966812 w 6400800"/>
                <a:gd name="connsiteY3958" fmla="*/ 217646 h 514350"/>
                <a:gd name="connsiteX3959" fmla="*/ 4966812 w 6400800"/>
                <a:gd name="connsiteY3959" fmla="*/ 215741 h 514350"/>
                <a:gd name="connsiteX3960" fmla="*/ 4968717 w 6400800"/>
                <a:gd name="connsiteY3960" fmla="*/ 208121 h 514350"/>
                <a:gd name="connsiteX3961" fmla="*/ 4960144 w 6400800"/>
                <a:gd name="connsiteY3961" fmla="*/ 364331 h 514350"/>
                <a:gd name="connsiteX3962" fmla="*/ 4961096 w 6400800"/>
                <a:gd name="connsiteY3962" fmla="*/ 381476 h 514350"/>
                <a:gd name="connsiteX3963" fmla="*/ 4958239 w 6400800"/>
                <a:gd name="connsiteY3963" fmla="*/ 391001 h 514350"/>
                <a:gd name="connsiteX3964" fmla="*/ 4957287 w 6400800"/>
                <a:gd name="connsiteY3964" fmla="*/ 386239 h 514350"/>
                <a:gd name="connsiteX3965" fmla="*/ 4957287 w 6400800"/>
                <a:gd name="connsiteY3965" fmla="*/ 380524 h 514350"/>
                <a:gd name="connsiteX3966" fmla="*/ 4956334 w 6400800"/>
                <a:gd name="connsiteY3966" fmla="*/ 356711 h 514350"/>
                <a:gd name="connsiteX3967" fmla="*/ 4956334 w 6400800"/>
                <a:gd name="connsiteY3967" fmla="*/ 351949 h 514350"/>
                <a:gd name="connsiteX3968" fmla="*/ 4958239 w 6400800"/>
                <a:gd name="connsiteY3968" fmla="*/ 348139 h 514350"/>
                <a:gd name="connsiteX3969" fmla="*/ 4960144 w 6400800"/>
                <a:gd name="connsiteY3969" fmla="*/ 364331 h 514350"/>
                <a:gd name="connsiteX3970" fmla="*/ 4957287 w 6400800"/>
                <a:gd name="connsiteY3970" fmla="*/ 256699 h 514350"/>
                <a:gd name="connsiteX3971" fmla="*/ 4957287 w 6400800"/>
                <a:gd name="connsiteY3971" fmla="*/ 258604 h 514350"/>
                <a:gd name="connsiteX3972" fmla="*/ 4957287 w 6400800"/>
                <a:gd name="connsiteY3972" fmla="*/ 259556 h 514350"/>
                <a:gd name="connsiteX3973" fmla="*/ 4955381 w 6400800"/>
                <a:gd name="connsiteY3973" fmla="*/ 267176 h 514350"/>
                <a:gd name="connsiteX3974" fmla="*/ 4954429 w 6400800"/>
                <a:gd name="connsiteY3974" fmla="*/ 265271 h 514350"/>
                <a:gd name="connsiteX3975" fmla="*/ 4957287 w 6400800"/>
                <a:gd name="connsiteY3975" fmla="*/ 256699 h 514350"/>
                <a:gd name="connsiteX3976" fmla="*/ 4954429 w 6400800"/>
                <a:gd name="connsiteY3976" fmla="*/ 268129 h 514350"/>
                <a:gd name="connsiteX3977" fmla="*/ 4955381 w 6400800"/>
                <a:gd name="connsiteY3977" fmla="*/ 270986 h 514350"/>
                <a:gd name="connsiteX3978" fmla="*/ 4951571 w 6400800"/>
                <a:gd name="connsiteY3978" fmla="*/ 290036 h 514350"/>
                <a:gd name="connsiteX3979" fmla="*/ 4944904 w 6400800"/>
                <a:gd name="connsiteY3979" fmla="*/ 316706 h 514350"/>
                <a:gd name="connsiteX3980" fmla="*/ 4943951 w 6400800"/>
                <a:gd name="connsiteY3980" fmla="*/ 310991 h 514350"/>
                <a:gd name="connsiteX3981" fmla="*/ 4943951 w 6400800"/>
                <a:gd name="connsiteY3981" fmla="*/ 320516 h 514350"/>
                <a:gd name="connsiteX3982" fmla="*/ 4940142 w 6400800"/>
                <a:gd name="connsiteY3982" fmla="*/ 336709 h 514350"/>
                <a:gd name="connsiteX3983" fmla="*/ 4940142 w 6400800"/>
                <a:gd name="connsiteY3983" fmla="*/ 335756 h 514350"/>
                <a:gd name="connsiteX3984" fmla="*/ 4938237 w 6400800"/>
                <a:gd name="connsiteY3984" fmla="*/ 325279 h 514350"/>
                <a:gd name="connsiteX3985" fmla="*/ 4954429 w 6400800"/>
                <a:gd name="connsiteY3985" fmla="*/ 268129 h 514350"/>
                <a:gd name="connsiteX3986" fmla="*/ 4922044 w 6400800"/>
                <a:gd name="connsiteY3986" fmla="*/ 378619 h 514350"/>
                <a:gd name="connsiteX3987" fmla="*/ 4922044 w 6400800"/>
                <a:gd name="connsiteY3987" fmla="*/ 378619 h 514350"/>
                <a:gd name="connsiteX3988" fmla="*/ 4922044 w 6400800"/>
                <a:gd name="connsiteY3988" fmla="*/ 378619 h 514350"/>
                <a:gd name="connsiteX3989" fmla="*/ 4922044 w 6400800"/>
                <a:gd name="connsiteY3989" fmla="*/ 378619 h 514350"/>
                <a:gd name="connsiteX3990" fmla="*/ 4908709 w 6400800"/>
                <a:gd name="connsiteY3990" fmla="*/ 307181 h 514350"/>
                <a:gd name="connsiteX3991" fmla="*/ 4915376 w 6400800"/>
                <a:gd name="connsiteY3991" fmla="*/ 326231 h 514350"/>
                <a:gd name="connsiteX3992" fmla="*/ 4909662 w 6400800"/>
                <a:gd name="connsiteY3992" fmla="*/ 338614 h 514350"/>
                <a:gd name="connsiteX3993" fmla="*/ 4906804 w 6400800"/>
                <a:gd name="connsiteY3993" fmla="*/ 308134 h 514350"/>
                <a:gd name="connsiteX3994" fmla="*/ 4906804 w 6400800"/>
                <a:gd name="connsiteY3994" fmla="*/ 305276 h 514350"/>
                <a:gd name="connsiteX3995" fmla="*/ 4905851 w 6400800"/>
                <a:gd name="connsiteY3995" fmla="*/ 307181 h 514350"/>
                <a:gd name="connsiteX3996" fmla="*/ 4904899 w 6400800"/>
                <a:gd name="connsiteY3996" fmla="*/ 297656 h 514350"/>
                <a:gd name="connsiteX3997" fmla="*/ 4908709 w 6400800"/>
                <a:gd name="connsiteY3997" fmla="*/ 307181 h 514350"/>
                <a:gd name="connsiteX3998" fmla="*/ 4897279 w 6400800"/>
                <a:gd name="connsiteY3998" fmla="*/ 351949 h 514350"/>
                <a:gd name="connsiteX3999" fmla="*/ 4896326 w 6400800"/>
                <a:gd name="connsiteY3999" fmla="*/ 365284 h 514350"/>
                <a:gd name="connsiteX4000" fmla="*/ 4895374 w 6400800"/>
                <a:gd name="connsiteY4000" fmla="*/ 368141 h 514350"/>
                <a:gd name="connsiteX4001" fmla="*/ 4894421 w 6400800"/>
                <a:gd name="connsiteY4001" fmla="*/ 357664 h 514350"/>
                <a:gd name="connsiteX4002" fmla="*/ 4892517 w 6400800"/>
                <a:gd name="connsiteY4002" fmla="*/ 341471 h 514350"/>
                <a:gd name="connsiteX4003" fmla="*/ 4897279 w 6400800"/>
                <a:gd name="connsiteY4003" fmla="*/ 351949 h 514350"/>
                <a:gd name="connsiteX4004" fmla="*/ 4822984 w 6400800"/>
                <a:gd name="connsiteY4004" fmla="*/ 387191 h 514350"/>
                <a:gd name="connsiteX4005" fmla="*/ 4822984 w 6400800"/>
                <a:gd name="connsiteY4005" fmla="*/ 385286 h 514350"/>
                <a:gd name="connsiteX4006" fmla="*/ 4822984 w 6400800"/>
                <a:gd name="connsiteY4006" fmla="*/ 387191 h 514350"/>
                <a:gd name="connsiteX4007" fmla="*/ 4822984 w 6400800"/>
                <a:gd name="connsiteY4007" fmla="*/ 387191 h 514350"/>
                <a:gd name="connsiteX4008" fmla="*/ 4842987 w 6400800"/>
                <a:gd name="connsiteY4008" fmla="*/ 338614 h 514350"/>
                <a:gd name="connsiteX4009" fmla="*/ 4842987 w 6400800"/>
                <a:gd name="connsiteY4009" fmla="*/ 356711 h 514350"/>
                <a:gd name="connsiteX4010" fmla="*/ 4842987 w 6400800"/>
                <a:gd name="connsiteY4010" fmla="*/ 360521 h 514350"/>
                <a:gd name="connsiteX4011" fmla="*/ 4840129 w 6400800"/>
                <a:gd name="connsiteY4011" fmla="*/ 382429 h 514350"/>
                <a:gd name="connsiteX4012" fmla="*/ 4838224 w 6400800"/>
                <a:gd name="connsiteY4012" fmla="*/ 390049 h 514350"/>
                <a:gd name="connsiteX4013" fmla="*/ 4826794 w 6400800"/>
                <a:gd name="connsiteY4013" fmla="*/ 387191 h 514350"/>
                <a:gd name="connsiteX4014" fmla="*/ 4824889 w 6400800"/>
                <a:gd name="connsiteY4014" fmla="*/ 379571 h 514350"/>
                <a:gd name="connsiteX4015" fmla="*/ 4827747 w 6400800"/>
                <a:gd name="connsiteY4015" fmla="*/ 370999 h 514350"/>
                <a:gd name="connsiteX4016" fmla="*/ 4838224 w 6400800"/>
                <a:gd name="connsiteY4016" fmla="*/ 346234 h 514350"/>
                <a:gd name="connsiteX4017" fmla="*/ 4843939 w 6400800"/>
                <a:gd name="connsiteY4017" fmla="*/ 336709 h 514350"/>
                <a:gd name="connsiteX4018" fmla="*/ 4842987 w 6400800"/>
                <a:gd name="connsiteY4018" fmla="*/ 338614 h 514350"/>
                <a:gd name="connsiteX4019" fmla="*/ 4842987 w 6400800"/>
                <a:gd name="connsiteY4019" fmla="*/ 338614 h 514350"/>
                <a:gd name="connsiteX4020" fmla="*/ 4843939 w 6400800"/>
                <a:gd name="connsiteY4020" fmla="*/ 329089 h 514350"/>
                <a:gd name="connsiteX4021" fmla="*/ 4843939 w 6400800"/>
                <a:gd name="connsiteY4021" fmla="*/ 329089 h 514350"/>
                <a:gd name="connsiteX4022" fmla="*/ 4836319 w 6400800"/>
                <a:gd name="connsiteY4022" fmla="*/ 318611 h 514350"/>
                <a:gd name="connsiteX4023" fmla="*/ 4836319 w 6400800"/>
                <a:gd name="connsiteY4023" fmla="*/ 318611 h 514350"/>
                <a:gd name="connsiteX4024" fmla="*/ 4839176 w 6400800"/>
                <a:gd name="connsiteY4024" fmla="*/ 314801 h 514350"/>
                <a:gd name="connsiteX4025" fmla="*/ 4842987 w 6400800"/>
                <a:gd name="connsiteY4025" fmla="*/ 321469 h 514350"/>
                <a:gd name="connsiteX4026" fmla="*/ 4843939 w 6400800"/>
                <a:gd name="connsiteY4026" fmla="*/ 323374 h 514350"/>
                <a:gd name="connsiteX4027" fmla="*/ 4843939 w 6400800"/>
                <a:gd name="connsiteY4027" fmla="*/ 329089 h 514350"/>
                <a:gd name="connsiteX4028" fmla="*/ 4845844 w 6400800"/>
                <a:gd name="connsiteY4028" fmla="*/ 296704 h 514350"/>
                <a:gd name="connsiteX4029" fmla="*/ 4844891 w 6400800"/>
                <a:gd name="connsiteY4029" fmla="*/ 316706 h 514350"/>
                <a:gd name="connsiteX4030" fmla="*/ 4840129 w 6400800"/>
                <a:gd name="connsiteY4030" fmla="*/ 310039 h 514350"/>
                <a:gd name="connsiteX4031" fmla="*/ 4837272 w 6400800"/>
                <a:gd name="connsiteY4031" fmla="*/ 306229 h 514350"/>
                <a:gd name="connsiteX4032" fmla="*/ 4845844 w 6400800"/>
                <a:gd name="connsiteY4032" fmla="*/ 290989 h 514350"/>
                <a:gd name="connsiteX4033" fmla="*/ 4847749 w 6400800"/>
                <a:gd name="connsiteY4033" fmla="*/ 288131 h 514350"/>
                <a:gd name="connsiteX4034" fmla="*/ 4845844 w 6400800"/>
                <a:gd name="connsiteY4034" fmla="*/ 296704 h 514350"/>
                <a:gd name="connsiteX4035" fmla="*/ 4869656 w 6400800"/>
                <a:gd name="connsiteY4035" fmla="*/ 325279 h 514350"/>
                <a:gd name="connsiteX4036" fmla="*/ 4869656 w 6400800"/>
                <a:gd name="connsiteY4036" fmla="*/ 327184 h 514350"/>
                <a:gd name="connsiteX4037" fmla="*/ 4869656 w 6400800"/>
                <a:gd name="connsiteY4037" fmla="*/ 325279 h 514350"/>
                <a:gd name="connsiteX4038" fmla="*/ 4869656 w 6400800"/>
                <a:gd name="connsiteY4038" fmla="*/ 318611 h 514350"/>
                <a:gd name="connsiteX4039" fmla="*/ 4869656 w 6400800"/>
                <a:gd name="connsiteY4039" fmla="*/ 325279 h 514350"/>
                <a:gd name="connsiteX4040" fmla="*/ 4854416 w 6400800"/>
                <a:gd name="connsiteY4040" fmla="*/ 276701 h 514350"/>
                <a:gd name="connsiteX4041" fmla="*/ 4868704 w 6400800"/>
                <a:gd name="connsiteY4041" fmla="*/ 256699 h 514350"/>
                <a:gd name="connsiteX4042" fmla="*/ 4871562 w 6400800"/>
                <a:gd name="connsiteY4042" fmla="*/ 252889 h 514350"/>
                <a:gd name="connsiteX4043" fmla="*/ 4871562 w 6400800"/>
                <a:gd name="connsiteY4043" fmla="*/ 259556 h 514350"/>
                <a:gd name="connsiteX4044" fmla="*/ 4861084 w 6400800"/>
                <a:gd name="connsiteY4044" fmla="*/ 296704 h 514350"/>
                <a:gd name="connsiteX4045" fmla="*/ 4860131 w 6400800"/>
                <a:gd name="connsiteY4045" fmla="*/ 300514 h 514350"/>
                <a:gd name="connsiteX4046" fmla="*/ 4853464 w 6400800"/>
                <a:gd name="connsiteY4046" fmla="*/ 278606 h 514350"/>
                <a:gd name="connsiteX4047" fmla="*/ 4854416 w 6400800"/>
                <a:gd name="connsiteY4047" fmla="*/ 276701 h 514350"/>
                <a:gd name="connsiteX4048" fmla="*/ 4854416 w 6400800"/>
                <a:gd name="connsiteY4048" fmla="*/ 276701 h 514350"/>
                <a:gd name="connsiteX4049" fmla="*/ 4850606 w 6400800"/>
                <a:gd name="connsiteY4049" fmla="*/ 281464 h 514350"/>
                <a:gd name="connsiteX4050" fmla="*/ 4857274 w 6400800"/>
                <a:gd name="connsiteY4050" fmla="*/ 316706 h 514350"/>
                <a:gd name="connsiteX4051" fmla="*/ 4854416 w 6400800"/>
                <a:gd name="connsiteY4051" fmla="*/ 330041 h 514350"/>
                <a:gd name="connsiteX4052" fmla="*/ 4852512 w 6400800"/>
                <a:gd name="connsiteY4052" fmla="*/ 326231 h 514350"/>
                <a:gd name="connsiteX4053" fmla="*/ 4852512 w 6400800"/>
                <a:gd name="connsiteY4053" fmla="*/ 322421 h 514350"/>
                <a:gd name="connsiteX4054" fmla="*/ 4850606 w 6400800"/>
                <a:gd name="connsiteY4054" fmla="*/ 295751 h 514350"/>
                <a:gd name="connsiteX4055" fmla="*/ 4849654 w 6400800"/>
                <a:gd name="connsiteY4055" fmla="*/ 284321 h 514350"/>
                <a:gd name="connsiteX4056" fmla="*/ 4850606 w 6400800"/>
                <a:gd name="connsiteY4056" fmla="*/ 281464 h 514350"/>
                <a:gd name="connsiteX4057" fmla="*/ 4838224 w 6400800"/>
                <a:gd name="connsiteY4057" fmla="*/ 290036 h 514350"/>
                <a:gd name="connsiteX4058" fmla="*/ 4845844 w 6400800"/>
                <a:gd name="connsiteY4058" fmla="*/ 272891 h 514350"/>
                <a:gd name="connsiteX4059" fmla="*/ 4848701 w 6400800"/>
                <a:gd name="connsiteY4059" fmla="*/ 265271 h 514350"/>
                <a:gd name="connsiteX4060" fmla="*/ 4849654 w 6400800"/>
                <a:gd name="connsiteY4060" fmla="*/ 275749 h 514350"/>
                <a:gd name="connsiteX4061" fmla="*/ 4847749 w 6400800"/>
                <a:gd name="connsiteY4061" fmla="*/ 277654 h 514350"/>
                <a:gd name="connsiteX4062" fmla="*/ 4847749 w 6400800"/>
                <a:gd name="connsiteY4062" fmla="*/ 273844 h 514350"/>
                <a:gd name="connsiteX4063" fmla="*/ 4847749 w 6400800"/>
                <a:gd name="connsiteY4063" fmla="*/ 278606 h 514350"/>
                <a:gd name="connsiteX4064" fmla="*/ 4841081 w 6400800"/>
                <a:gd name="connsiteY4064" fmla="*/ 288131 h 514350"/>
                <a:gd name="connsiteX4065" fmla="*/ 4836319 w 6400800"/>
                <a:gd name="connsiteY4065" fmla="*/ 294799 h 514350"/>
                <a:gd name="connsiteX4066" fmla="*/ 4838224 w 6400800"/>
                <a:gd name="connsiteY4066" fmla="*/ 290036 h 514350"/>
                <a:gd name="connsiteX4067" fmla="*/ 4835366 w 6400800"/>
                <a:gd name="connsiteY4067" fmla="*/ 309086 h 514350"/>
                <a:gd name="connsiteX4068" fmla="*/ 4836319 w 6400800"/>
                <a:gd name="connsiteY4068" fmla="*/ 308134 h 514350"/>
                <a:gd name="connsiteX4069" fmla="*/ 4838224 w 6400800"/>
                <a:gd name="connsiteY4069" fmla="*/ 311944 h 514350"/>
                <a:gd name="connsiteX4070" fmla="*/ 4839176 w 6400800"/>
                <a:gd name="connsiteY4070" fmla="*/ 313849 h 514350"/>
                <a:gd name="connsiteX4071" fmla="*/ 4835366 w 6400800"/>
                <a:gd name="connsiteY4071" fmla="*/ 317659 h 514350"/>
                <a:gd name="connsiteX4072" fmla="*/ 4835366 w 6400800"/>
                <a:gd name="connsiteY4072" fmla="*/ 317659 h 514350"/>
                <a:gd name="connsiteX4073" fmla="*/ 4834414 w 6400800"/>
                <a:gd name="connsiteY4073" fmla="*/ 316706 h 514350"/>
                <a:gd name="connsiteX4074" fmla="*/ 4832509 w 6400800"/>
                <a:gd name="connsiteY4074" fmla="*/ 314801 h 514350"/>
                <a:gd name="connsiteX4075" fmla="*/ 4835366 w 6400800"/>
                <a:gd name="connsiteY4075" fmla="*/ 309086 h 514350"/>
                <a:gd name="connsiteX4076" fmla="*/ 4830604 w 6400800"/>
                <a:gd name="connsiteY4076" fmla="*/ 319564 h 514350"/>
                <a:gd name="connsiteX4077" fmla="*/ 4832509 w 6400800"/>
                <a:gd name="connsiteY4077" fmla="*/ 314801 h 514350"/>
                <a:gd name="connsiteX4078" fmla="*/ 4833462 w 6400800"/>
                <a:gd name="connsiteY4078" fmla="*/ 316706 h 514350"/>
                <a:gd name="connsiteX4079" fmla="*/ 4834414 w 6400800"/>
                <a:gd name="connsiteY4079" fmla="*/ 318611 h 514350"/>
                <a:gd name="connsiteX4080" fmla="*/ 4828699 w 6400800"/>
                <a:gd name="connsiteY4080" fmla="*/ 324326 h 514350"/>
                <a:gd name="connsiteX4081" fmla="*/ 4830604 w 6400800"/>
                <a:gd name="connsiteY4081" fmla="*/ 319564 h 514350"/>
                <a:gd name="connsiteX4082" fmla="*/ 4817269 w 6400800"/>
                <a:gd name="connsiteY4082" fmla="*/ 364331 h 514350"/>
                <a:gd name="connsiteX4083" fmla="*/ 4817269 w 6400800"/>
                <a:gd name="connsiteY4083" fmla="*/ 356711 h 514350"/>
                <a:gd name="connsiteX4084" fmla="*/ 4824889 w 6400800"/>
                <a:gd name="connsiteY4084" fmla="*/ 335756 h 514350"/>
                <a:gd name="connsiteX4085" fmla="*/ 4825841 w 6400800"/>
                <a:gd name="connsiteY4085" fmla="*/ 334804 h 514350"/>
                <a:gd name="connsiteX4086" fmla="*/ 4835366 w 6400800"/>
                <a:gd name="connsiteY4086" fmla="*/ 319564 h 514350"/>
                <a:gd name="connsiteX4087" fmla="*/ 4837272 w 6400800"/>
                <a:gd name="connsiteY4087" fmla="*/ 322421 h 514350"/>
                <a:gd name="connsiteX4088" fmla="*/ 4841081 w 6400800"/>
                <a:gd name="connsiteY4088" fmla="*/ 330994 h 514350"/>
                <a:gd name="connsiteX4089" fmla="*/ 4842987 w 6400800"/>
                <a:gd name="connsiteY4089" fmla="*/ 335756 h 514350"/>
                <a:gd name="connsiteX4090" fmla="*/ 4835366 w 6400800"/>
                <a:gd name="connsiteY4090" fmla="*/ 345281 h 514350"/>
                <a:gd name="connsiteX4091" fmla="*/ 4822984 w 6400800"/>
                <a:gd name="connsiteY4091" fmla="*/ 366236 h 514350"/>
                <a:gd name="connsiteX4092" fmla="*/ 4820126 w 6400800"/>
                <a:gd name="connsiteY4092" fmla="*/ 369094 h 514350"/>
                <a:gd name="connsiteX4093" fmla="*/ 4817269 w 6400800"/>
                <a:gd name="connsiteY4093" fmla="*/ 371951 h 514350"/>
                <a:gd name="connsiteX4094" fmla="*/ 4817269 w 6400800"/>
                <a:gd name="connsiteY4094" fmla="*/ 364331 h 514350"/>
                <a:gd name="connsiteX4095" fmla="*/ 4816316 w 6400800"/>
                <a:gd name="connsiteY4095" fmla="*/ 376714 h 514350"/>
                <a:gd name="connsiteX4096" fmla="*/ 4820126 w 6400800"/>
                <a:gd name="connsiteY4096" fmla="*/ 370046 h 514350"/>
                <a:gd name="connsiteX4097" fmla="*/ 4820126 w 6400800"/>
                <a:gd name="connsiteY4097" fmla="*/ 370046 h 514350"/>
                <a:gd name="connsiteX4098" fmla="*/ 4820126 w 6400800"/>
                <a:gd name="connsiteY4098" fmla="*/ 370046 h 514350"/>
                <a:gd name="connsiteX4099" fmla="*/ 4816316 w 6400800"/>
                <a:gd name="connsiteY4099" fmla="*/ 378619 h 514350"/>
                <a:gd name="connsiteX4100" fmla="*/ 4816316 w 6400800"/>
                <a:gd name="connsiteY4100" fmla="*/ 376714 h 514350"/>
                <a:gd name="connsiteX4101" fmla="*/ 4762024 w 6400800"/>
                <a:gd name="connsiteY4101" fmla="*/ 305276 h 514350"/>
                <a:gd name="connsiteX4102" fmla="*/ 4763929 w 6400800"/>
                <a:gd name="connsiteY4102" fmla="*/ 322421 h 514350"/>
                <a:gd name="connsiteX4103" fmla="*/ 4760119 w 6400800"/>
                <a:gd name="connsiteY4103" fmla="*/ 309086 h 514350"/>
                <a:gd name="connsiteX4104" fmla="*/ 4762024 w 6400800"/>
                <a:gd name="connsiteY4104" fmla="*/ 300514 h 514350"/>
                <a:gd name="connsiteX4105" fmla="*/ 4762024 w 6400800"/>
                <a:gd name="connsiteY4105" fmla="*/ 305276 h 514350"/>
                <a:gd name="connsiteX4106" fmla="*/ 4755356 w 6400800"/>
                <a:gd name="connsiteY4106" fmla="*/ 279559 h 514350"/>
                <a:gd name="connsiteX4107" fmla="*/ 4760119 w 6400800"/>
                <a:gd name="connsiteY4107" fmla="*/ 294799 h 514350"/>
                <a:gd name="connsiteX4108" fmla="*/ 4761072 w 6400800"/>
                <a:gd name="connsiteY4108" fmla="*/ 297656 h 514350"/>
                <a:gd name="connsiteX4109" fmla="*/ 4758214 w 6400800"/>
                <a:gd name="connsiteY4109" fmla="*/ 304324 h 514350"/>
                <a:gd name="connsiteX4110" fmla="*/ 4754404 w 6400800"/>
                <a:gd name="connsiteY4110" fmla="*/ 292894 h 514350"/>
                <a:gd name="connsiteX4111" fmla="*/ 4755356 w 6400800"/>
                <a:gd name="connsiteY4111" fmla="*/ 279559 h 514350"/>
                <a:gd name="connsiteX4112" fmla="*/ 4759166 w 6400800"/>
                <a:gd name="connsiteY4112" fmla="*/ 342424 h 514350"/>
                <a:gd name="connsiteX4113" fmla="*/ 4755356 w 6400800"/>
                <a:gd name="connsiteY4113" fmla="*/ 331946 h 514350"/>
                <a:gd name="connsiteX4114" fmla="*/ 4756309 w 6400800"/>
                <a:gd name="connsiteY4114" fmla="*/ 326231 h 514350"/>
                <a:gd name="connsiteX4115" fmla="*/ 4759166 w 6400800"/>
                <a:gd name="connsiteY4115" fmla="*/ 342424 h 514350"/>
                <a:gd name="connsiteX4116" fmla="*/ 4753451 w 6400800"/>
                <a:gd name="connsiteY4116" fmla="*/ 312896 h 514350"/>
                <a:gd name="connsiteX4117" fmla="*/ 4754404 w 6400800"/>
                <a:gd name="connsiteY4117" fmla="*/ 315754 h 514350"/>
                <a:gd name="connsiteX4118" fmla="*/ 4753451 w 6400800"/>
                <a:gd name="connsiteY4118" fmla="*/ 317659 h 514350"/>
                <a:gd name="connsiteX4119" fmla="*/ 4753451 w 6400800"/>
                <a:gd name="connsiteY4119" fmla="*/ 312896 h 514350"/>
                <a:gd name="connsiteX4120" fmla="*/ 4755356 w 6400800"/>
                <a:gd name="connsiteY4120" fmla="*/ 373856 h 514350"/>
                <a:gd name="connsiteX4121" fmla="*/ 4756309 w 6400800"/>
                <a:gd name="connsiteY4121" fmla="*/ 375761 h 514350"/>
                <a:gd name="connsiteX4122" fmla="*/ 4754404 w 6400800"/>
                <a:gd name="connsiteY4122" fmla="*/ 379571 h 514350"/>
                <a:gd name="connsiteX4123" fmla="*/ 4752499 w 6400800"/>
                <a:gd name="connsiteY4123" fmla="*/ 379571 h 514350"/>
                <a:gd name="connsiteX4124" fmla="*/ 4755356 w 6400800"/>
                <a:gd name="connsiteY4124" fmla="*/ 373856 h 514350"/>
                <a:gd name="connsiteX4125" fmla="*/ 4748689 w 6400800"/>
                <a:gd name="connsiteY4125" fmla="*/ 291941 h 514350"/>
                <a:gd name="connsiteX4126" fmla="*/ 4746784 w 6400800"/>
                <a:gd name="connsiteY4126" fmla="*/ 303371 h 514350"/>
                <a:gd name="connsiteX4127" fmla="*/ 4746784 w 6400800"/>
                <a:gd name="connsiteY4127" fmla="*/ 303371 h 514350"/>
                <a:gd name="connsiteX4128" fmla="*/ 4746784 w 6400800"/>
                <a:gd name="connsiteY4128" fmla="*/ 299561 h 514350"/>
                <a:gd name="connsiteX4129" fmla="*/ 4748689 w 6400800"/>
                <a:gd name="connsiteY4129" fmla="*/ 291941 h 514350"/>
                <a:gd name="connsiteX4130" fmla="*/ 4738212 w 6400800"/>
                <a:gd name="connsiteY4130" fmla="*/ 327184 h 514350"/>
                <a:gd name="connsiteX4131" fmla="*/ 4737259 w 6400800"/>
                <a:gd name="connsiteY4131" fmla="*/ 341471 h 514350"/>
                <a:gd name="connsiteX4132" fmla="*/ 4736306 w 6400800"/>
                <a:gd name="connsiteY4132" fmla="*/ 336709 h 514350"/>
                <a:gd name="connsiteX4133" fmla="*/ 4738212 w 6400800"/>
                <a:gd name="connsiteY4133" fmla="*/ 327184 h 514350"/>
                <a:gd name="connsiteX4134" fmla="*/ 4720114 w 6400800"/>
                <a:gd name="connsiteY4134" fmla="*/ 261461 h 514350"/>
                <a:gd name="connsiteX4135" fmla="*/ 4720114 w 6400800"/>
                <a:gd name="connsiteY4135" fmla="*/ 261461 h 514350"/>
                <a:gd name="connsiteX4136" fmla="*/ 4729639 w 6400800"/>
                <a:gd name="connsiteY4136" fmla="*/ 290989 h 514350"/>
                <a:gd name="connsiteX4137" fmla="*/ 4731544 w 6400800"/>
                <a:gd name="connsiteY4137" fmla="*/ 296704 h 514350"/>
                <a:gd name="connsiteX4138" fmla="*/ 4727734 w 6400800"/>
                <a:gd name="connsiteY4138" fmla="*/ 308134 h 514350"/>
                <a:gd name="connsiteX4139" fmla="*/ 4723924 w 6400800"/>
                <a:gd name="connsiteY4139" fmla="*/ 295751 h 514350"/>
                <a:gd name="connsiteX4140" fmla="*/ 4718209 w 6400800"/>
                <a:gd name="connsiteY4140" fmla="*/ 276701 h 514350"/>
                <a:gd name="connsiteX4141" fmla="*/ 4720114 w 6400800"/>
                <a:gd name="connsiteY4141" fmla="*/ 261461 h 514350"/>
                <a:gd name="connsiteX4142" fmla="*/ 4709637 w 6400800"/>
                <a:gd name="connsiteY4142" fmla="*/ 324326 h 514350"/>
                <a:gd name="connsiteX4143" fmla="*/ 4713447 w 6400800"/>
                <a:gd name="connsiteY4143" fmla="*/ 301466 h 514350"/>
                <a:gd name="connsiteX4144" fmla="*/ 4719162 w 6400800"/>
                <a:gd name="connsiteY4144" fmla="*/ 331946 h 514350"/>
                <a:gd name="connsiteX4145" fmla="*/ 4715351 w 6400800"/>
                <a:gd name="connsiteY4145" fmla="*/ 343376 h 514350"/>
                <a:gd name="connsiteX4146" fmla="*/ 4715351 w 6400800"/>
                <a:gd name="connsiteY4146" fmla="*/ 343376 h 514350"/>
                <a:gd name="connsiteX4147" fmla="*/ 4707731 w 6400800"/>
                <a:gd name="connsiteY4147" fmla="*/ 332899 h 514350"/>
                <a:gd name="connsiteX4148" fmla="*/ 4709637 w 6400800"/>
                <a:gd name="connsiteY4148" fmla="*/ 324326 h 514350"/>
                <a:gd name="connsiteX4149" fmla="*/ 4703922 w 6400800"/>
                <a:gd name="connsiteY4149" fmla="*/ 355759 h 514350"/>
                <a:gd name="connsiteX4150" fmla="*/ 4705826 w 6400800"/>
                <a:gd name="connsiteY4150" fmla="*/ 360521 h 514350"/>
                <a:gd name="connsiteX4151" fmla="*/ 4708684 w 6400800"/>
                <a:gd name="connsiteY4151" fmla="*/ 369094 h 514350"/>
                <a:gd name="connsiteX4152" fmla="*/ 4704874 w 6400800"/>
                <a:gd name="connsiteY4152" fmla="*/ 377666 h 514350"/>
                <a:gd name="connsiteX4153" fmla="*/ 4704874 w 6400800"/>
                <a:gd name="connsiteY4153" fmla="*/ 376714 h 514350"/>
                <a:gd name="connsiteX4154" fmla="*/ 4702016 w 6400800"/>
                <a:gd name="connsiteY4154" fmla="*/ 371951 h 514350"/>
                <a:gd name="connsiteX4155" fmla="*/ 4703922 w 6400800"/>
                <a:gd name="connsiteY4155" fmla="*/ 355759 h 514350"/>
                <a:gd name="connsiteX4156" fmla="*/ 4682966 w 6400800"/>
                <a:gd name="connsiteY4156" fmla="*/ 380524 h 514350"/>
                <a:gd name="connsiteX4157" fmla="*/ 4680109 w 6400800"/>
                <a:gd name="connsiteY4157" fmla="*/ 392906 h 514350"/>
                <a:gd name="connsiteX4158" fmla="*/ 4676299 w 6400800"/>
                <a:gd name="connsiteY4158" fmla="*/ 393859 h 514350"/>
                <a:gd name="connsiteX4159" fmla="*/ 4675347 w 6400800"/>
                <a:gd name="connsiteY4159" fmla="*/ 388144 h 514350"/>
                <a:gd name="connsiteX4160" fmla="*/ 4682966 w 6400800"/>
                <a:gd name="connsiteY4160" fmla="*/ 378619 h 514350"/>
                <a:gd name="connsiteX4161" fmla="*/ 4682966 w 6400800"/>
                <a:gd name="connsiteY4161" fmla="*/ 380524 h 514350"/>
                <a:gd name="connsiteX4162" fmla="*/ 4672489 w 6400800"/>
                <a:gd name="connsiteY4162" fmla="*/ 361474 h 514350"/>
                <a:gd name="connsiteX4163" fmla="*/ 4679156 w 6400800"/>
                <a:gd name="connsiteY4163" fmla="*/ 373856 h 514350"/>
                <a:gd name="connsiteX4164" fmla="*/ 4672489 w 6400800"/>
                <a:gd name="connsiteY4164" fmla="*/ 379571 h 514350"/>
                <a:gd name="connsiteX4165" fmla="*/ 4671537 w 6400800"/>
                <a:gd name="connsiteY4165" fmla="*/ 376714 h 514350"/>
                <a:gd name="connsiteX4166" fmla="*/ 4670584 w 6400800"/>
                <a:gd name="connsiteY4166" fmla="*/ 370999 h 514350"/>
                <a:gd name="connsiteX4167" fmla="*/ 4672489 w 6400800"/>
                <a:gd name="connsiteY4167" fmla="*/ 361474 h 514350"/>
                <a:gd name="connsiteX4168" fmla="*/ 4661059 w 6400800"/>
                <a:gd name="connsiteY4168" fmla="*/ 265271 h 514350"/>
                <a:gd name="connsiteX4169" fmla="*/ 4663916 w 6400800"/>
                <a:gd name="connsiteY4169" fmla="*/ 252889 h 514350"/>
                <a:gd name="connsiteX4170" fmla="*/ 4669631 w 6400800"/>
                <a:gd name="connsiteY4170" fmla="*/ 237649 h 514350"/>
                <a:gd name="connsiteX4171" fmla="*/ 4669631 w 6400800"/>
                <a:gd name="connsiteY4171" fmla="*/ 242411 h 514350"/>
                <a:gd name="connsiteX4172" fmla="*/ 4661059 w 6400800"/>
                <a:gd name="connsiteY4172" fmla="*/ 269081 h 514350"/>
                <a:gd name="connsiteX4173" fmla="*/ 4661059 w 6400800"/>
                <a:gd name="connsiteY4173" fmla="*/ 265271 h 514350"/>
                <a:gd name="connsiteX4174" fmla="*/ 4645819 w 6400800"/>
                <a:gd name="connsiteY4174" fmla="*/ 278606 h 514350"/>
                <a:gd name="connsiteX4175" fmla="*/ 4648676 w 6400800"/>
                <a:gd name="connsiteY4175" fmla="*/ 260509 h 514350"/>
                <a:gd name="connsiteX4176" fmla="*/ 4650581 w 6400800"/>
                <a:gd name="connsiteY4176" fmla="*/ 250984 h 514350"/>
                <a:gd name="connsiteX4177" fmla="*/ 4650581 w 6400800"/>
                <a:gd name="connsiteY4177" fmla="*/ 251936 h 514350"/>
                <a:gd name="connsiteX4178" fmla="*/ 4652487 w 6400800"/>
                <a:gd name="connsiteY4178" fmla="*/ 265271 h 514350"/>
                <a:gd name="connsiteX4179" fmla="*/ 4652487 w 6400800"/>
                <a:gd name="connsiteY4179" fmla="*/ 270034 h 514350"/>
                <a:gd name="connsiteX4180" fmla="*/ 4650581 w 6400800"/>
                <a:gd name="connsiteY4180" fmla="*/ 278606 h 514350"/>
                <a:gd name="connsiteX4181" fmla="*/ 4648676 w 6400800"/>
                <a:gd name="connsiteY4181" fmla="*/ 290989 h 514350"/>
                <a:gd name="connsiteX4182" fmla="*/ 4645819 w 6400800"/>
                <a:gd name="connsiteY4182" fmla="*/ 278606 h 514350"/>
                <a:gd name="connsiteX4183" fmla="*/ 4645819 w 6400800"/>
                <a:gd name="connsiteY4183" fmla="*/ 278606 h 514350"/>
                <a:gd name="connsiteX4184" fmla="*/ 4642962 w 6400800"/>
                <a:gd name="connsiteY4184" fmla="*/ 293846 h 514350"/>
                <a:gd name="connsiteX4185" fmla="*/ 4644866 w 6400800"/>
                <a:gd name="connsiteY4185" fmla="*/ 302419 h 514350"/>
                <a:gd name="connsiteX4186" fmla="*/ 4645819 w 6400800"/>
                <a:gd name="connsiteY4186" fmla="*/ 309086 h 514350"/>
                <a:gd name="connsiteX4187" fmla="*/ 4645819 w 6400800"/>
                <a:gd name="connsiteY4187" fmla="*/ 309086 h 514350"/>
                <a:gd name="connsiteX4188" fmla="*/ 4642962 w 6400800"/>
                <a:gd name="connsiteY4188" fmla="*/ 306229 h 514350"/>
                <a:gd name="connsiteX4189" fmla="*/ 4642009 w 6400800"/>
                <a:gd name="connsiteY4189" fmla="*/ 299561 h 514350"/>
                <a:gd name="connsiteX4190" fmla="*/ 4642962 w 6400800"/>
                <a:gd name="connsiteY4190" fmla="*/ 293846 h 514350"/>
                <a:gd name="connsiteX4191" fmla="*/ 4595337 w 6400800"/>
                <a:gd name="connsiteY4191" fmla="*/ 280511 h 514350"/>
                <a:gd name="connsiteX4192" fmla="*/ 4598194 w 6400800"/>
                <a:gd name="connsiteY4192" fmla="*/ 293846 h 514350"/>
                <a:gd name="connsiteX4193" fmla="*/ 4598194 w 6400800"/>
                <a:gd name="connsiteY4193" fmla="*/ 300514 h 514350"/>
                <a:gd name="connsiteX4194" fmla="*/ 4598194 w 6400800"/>
                <a:gd name="connsiteY4194" fmla="*/ 311944 h 514350"/>
                <a:gd name="connsiteX4195" fmla="*/ 4596289 w 6400800"/>
                <a:gd name="connsiteY4195" fmla="*/ 319564 h 514350"/>
                <a:gd name="connsiteX4196" fmla="*/ 4593431 w 6400800"/>
                <a:gd name="connsiteY4196" fmla="*/ 311944 h 514350"/>
                <a:gd name="connsiteX4197" fmla="*/ 4593431 w 6400800"/>
                <a:gd name="connsiteY4197" fmla="*/ 305276 h 514350"/>
                <a:gd name="connsiteX4198" fmla="*/ 4593431 w 6400800"/>
                <a:gd name="connsiteY4198" fmla="*/ 286226 h 514350"/>
                <a:gd name="connsiteX4199" fmla="*/ 4595337 w 6400800"/>
                <a:gd name="connsiteY4199" fmla="*/ 280511 h 514350"/>
                <a:gd name="connsiteX4200" fmla="*/ 4595337 w 6400800"/>
                <a:gd name="connsiteY4200" fmla="*/ 280511 h 514350"/>
                <a:gd name="connsiteX4201" fmla="*/ 4595337 w 6400800"/>
                <a:gd name="connsiteY4201" fmla="*/ 277654 h 514350"/>
                <a:gd name="connsiteX4202" fmla="*/ 4593431 w 6400800"/>
                <a:gd name="connsiteY4202" fmla="*/ 279559 h 514350"/>
                <a:gd name="connsiteX4203" fmla="*/ 4592479 w 6400800"/>
                <a:gd name="connsiteY4203" fmla="*/ 280511 h 514350"/>
                <a:gd name="connsiteX4204" fmla="*/ 4592479 w 6400800"/>
                <a:gd name="connsiteY4204" fmla="*/ 263366 h 514350"/>
                <a:gd name="connsiteX4205" fmla="*/ 4595337 w 6400800"/>
                <a:gd name="connsiteY4205" fmla="*/ 277654 h 514350"/>
                <a:gd name="connsiteX4206" fmla="*/ 4576287 w 6400800"/>
                <a:gd name="connsiteY4206" fmla="*/ 253841 h 514350"/>
                <a:gd name="connsiteX4207" fmla="*/ 4575334 w 6400800"/>
                <a:gd name="connsiteY4207" fmla="*/ 273844 h 514350"/>
                <a:gd name="connsiteX4208" fmla="*/ 4569619 w 6400800"/>
                <a:gd name="connsiteY4208" fmla="*/ 262414 h 514350"/>
                <a:gd name="connsiteX4209" fmla="*/ 4576287 w 6400800"/>
                <a:gd name="connsiteY4209" fmla="*/ 253841 h 514350"/>
                <a:gd name="connsiteX4210" fmla="*/ 4566762 w 6400800"/>
                <a:gd name="connsiteY4210" fmla="*/ 268129 h 514350"/>
                <a:gd name="connsiteX4211" fmla="*/ 4566762 w 6400800"/>
                <a:gd name="connsiteY4211" fmla="*/ 268129 h 514350"/>
                <a:gd name="connsiteX4212" fmla="*/ 4571524 w 6400800"/>
                <a:gd name="connsiteY4212" fmla="*/ 284321 h 514350"/>
                <a:gd name="connsiteX4213" fmla="*/ 4574381 w 6400800"/>
                <a:gd name="connsiteY4213" fmla="*/ 296704 h 514350"/>
                <a:gd name="connsiteX4214" fmla="*/ 4574381 w 6400800"/>
                <a:gd name="connsiteY4214" fmla="*/ 301466 h 514350"/>
                <a:gd name="connsiteX4215" fmla="*/ 4568666 w 6400800"/>
                <a:gd name="connsiteY4215" fmla="*/ 289084 h 514350"/>
                <a:gd name="connsiteX4216" fmla="*/ 4574381 w 6400800"/>
                <a:gd name="connsiteY4216" fmla="*/ 309086 h 514350"/>
                <a:gd name="connsiteX4217" fmla="*/ 4571524 w 6400800"/>
                <a:gd name="connsiteY4217" fmla="*/ 314801 h 514350"/>
                <a:gd name="connsiteX4218" fmla="*/ 4571524 w 6400800"/>
                <a:gd name="connsiteY4218" fmla="*/ 315754 h 514350"/>
                <a:gd name="connsiteX4219" fmla="*/ 4564856 w 6400800"/>
                <a:gd name="connsiteY4219" fmla="*/ 271939 h 514350"/>
                <a:gd name="connsiteX4220" fmla="*/ 4566762 w 6400800"/>
                <a:gd name="connsiteY4220" fmla="*/ 268129 h 514350"/>
                <a:gd name="connsiteX4221" fmla="*/ 4560094 w 6400800"/>
                <a:gd name="connsiteY4221" fmla="*/ 254794 h 514350"/>
                <a:gd name="connsiteX4222" fmla="*/ 4562951 w 6400800"/>
                <a:gd name="connsiteY4222" fmla="*/ 260509 h 514350"/>
                <a:gd name="connsiteX4223" fmla="*/ 4561047 w 6400800"/>
                <a:gd name="connsiteY4223" fmla="*/ 263366 h 514350"/>
                <a:gd name="connsiteX4224" fmla="*/ 4557237 w 6400800"/>
                <a:gd name="connsiteY4224" fmla="*/ 268129 h 514350"/>
                <a:gd name="connsiteX4225" fmla="*/ 4560094 w 6400800"/>
                <a:gd name="connsiteY4225" fmla="*/ 254794 h 514350"/>
                <a:gd name="connsiteX4226" fmla="*/ 4548664 w 6400800"/>
                <a:gd name="connsiteY4226" fmla="*/ 317659 h 514350"/>
                <a:gd name="connsiteX4227" fmla="*/ 4557237 w 6400800"/>
                <a:gd name="connsiteY4227" fmla="*/ 290036 h 514350"/>
                <a:gd name="connsiteX4228" fmla="*/ 4562951 w 6400800"/>
                <a:gd name="connsiteY4228" fmla="*/ 275749 h 514350"/>
                <a:gd name="connsiteX4229" fmla="*/ 4560094 w 6400800"/>
                <a:gd name="connsiteY4229" fmla="*/ 318611 h 514350"/>
                <a:gd name="connsiteX4230" fmla="*/ 4555331 w 6400800"/>
                <a:gd name="connsiteY4230" fmla="*/ 310991 h 514350"/>
                <a:gd name="connsiteX4231" fmla="*/ 4560094 w 6400800"/>
                <a:gd name="connsiteY4231" fmla="*/ 321469 h 514350"/>
                <a:gd name="connsiteX4232" fmla="*/ 4560094 w 6400800"/>
                <a:gd name="connsiteY4232" fmla="*/ 321469 h 514350"/>
                <a:gd name="connsiteX4233" fmla="*/ 4559141 w 6400800"/>
                <a:gd name="connsiteY4233" fmla="*/ 342424 h 514350"/>
                <a:gd name="connsiteX4234" fmla="*/ 4555331 w 6400800"/>
                <a:gd name="connsiteY4234" fmla="*/ 352901 h 514350"/>
                <a:gd name="connsiteX4235" fmla="*/ 4552474 w 6400800"/>
                <a:gd name="connsiteY4235" fmla="*/ 361474 h 514350"/>
                <a:gd name="connsiteX4236" fmla="*/ 4547712 w 6400800"/>
                <a:gd name="connsiteY4236" fmla="*/ 343376 h 514350"/>
                <a:gd name="connsiteX4237" fmla="*/ 4547712 w 6400800"/>
                <a:gd name="connsiteY4237" fmla="*/ 328136 h 514350"/>
                <a:gd name="connsiteX4238" fmla="*/ 4545806 w 6400800"/>
                <a:gd name="connsiteY4238" fmla="*/ 338614 h 514350"/>
                <a:gd name="connsiteX4239" fmla="*/ 4545806 w 6400800"/>
                <a:gd name="connsiteY4239" fmla="*/ 337661 h 514350"/>
                <a:gd name="connsiteX4240" fmla="*/ 4544854 w 6400800"/>
                <a:gd name="connsiteY4240" fmla="*/ 335756 h 514350"/>
                <a:gd name="connsiteX4241" fmla="*/ 4548664 w 6400800"/>
                <a:gd name="connsiteY4241" fmla="*/ 317659 h 514350"/>
                <a:gd name="connsiteX4242" fmla="*/ 4457224 w 6400800"/>
                <a:gd name="connsiteY4242" fmla="*/ 306229 h 514350"/>
                <a:gd name="connsiteX4243" fmla="*/ 4457224 w 6400800"/>
                <a:gd name="connsiteY4243" fmla="*/ 306229 h 514350"/>
                <a:gd name="connsiteX4244" fmla="*/ 4457224 w 6400800"/>
                <a:gd name="connsiteY4244" fmla="*/ 304324 h 514350"/>
                <a:gd name="connsiteX4245" fmla="*/ 4457224 w 6400800"/>
                <a:gd name="connsiteY4245" fmla="*/ 306229 h 514350"/>
                <a:gd name="connsiteX4246" fmla="*/ 4478179 w 6400800"/>
                <a:gd name="connsiteY4246" fmla="*/ 359569 h 514350"/>
                <a:gd name="connsiteX4247" fmla="*/ 4476274 w 6400800"/>
                <a:gd name="connsiteY4247" fmla="*/ 339566 h 514350"/>
                <a:gd name="connsiteX4248" fmla="*/ 4476274 w 6400800"/>
                <a:gd name="connsiteY4248" fmla="*/ 336709 h 514350"/>
                <a:gd name="connsiteX4249" fmla="*/ 4483894 w 6400800"/>
                <a:gd name="connsiteY4249" fmla="*/ 347186 h 514350"/>
                <a:gd name="connsiteX4250" fmla="*/ 4478179 w 6400800"/>
                <a:gd name="connsiteY4250" fmla="*/ 359569 h 514350"/>
                <a:gd name="connsiteX4251" fmla="*/ 4497229 w 6400800"/>
                <a:gd name="connsiteY4251" fmla="*/ 371951 h 514350"/>
                <a:gd name="connsiteX4252" fmla="*/ 4497229 w 6400800"/>
                <a:gd name="connsiteY4252" fmla="*/ 367189 h 514350"/>
                <a:gd name="connsiteX4253" fmla="*/ 4498181 w 6400800"/>
                <a:gd name="connsiteY4253" fmla="*/ 370046 h 514350"/>
                <a:gd name="connsiteX4254" fmla="*/ 4497229 w 6400800"/>
                <a:gd name="connsiteY4254" fmla="*/ 371951 h 514350"/>
                <a:gd name="connsiteX4255" fmla="*/ 4504849 w 6400800"/>
                <a:gd name="connsiteY4255" fmla="*/ 322421 h 514350"/>
                <a:gd name="connsiteX4256" fmla="*/ 4504849 w 6400800"/>
                <a:gd name="connsiteY4256" fmla="*/ 330994 h 514350"/>
                <a:gd name="connsiteX4257" fmla="*/ 4501991 w 6400800"/>
                <a:gd name="connsiteY4257" fmla="*/ 341471 h 514350"/>
                <a:gd name="connsiteX4258" fmla="*/ 4501039 w 6400800"/>
                <a:gd name="connsiteY4258" fmla="*/ 348139 h 514350"/>
                <a:gd name="connsiteX4259" fmla="*/ 4499134 w 6400800"/>
                <a:gd name="connsiteY4259" fmla="*/ 345281 h 514350"/>
                <a:gd name="connsiteX4260" fmla="*/ 4498181 w 6400800"/>
                <a:gd name="connsiteY4260" fmla="*/ 342424 h 514350"/>
                <a:gd name="connsiteX4261" fmla="*/ 4501991 w 6400800"/>
                <a:gd name="connsiteY4261" fmla="*/ 326231 h 514350"/>
                <a:gd name="connsiteX4262" fmla="*/ 4506754 w 6400800"/>
                <a:gd name="connsiteY4262" fmla="*/ 310991 h 514350"/>
                <a:gd name="connsiteX4263" fmla="*/ 4504849 w 6400800"/>
                <a:gd name="connsiteY4263" fmla="*/ 322421 h 514350"/>
                <a:gd name="connsiteX4264" fmla="*/ 4462939 w 6400800"/>
                <a:gd name="connsiteY4264" fmla="*/ 250984 h 514350"/>
                <a:gd name="connsiteX4265" fmla="*/ 4470559 w 6400800"/>
                <a:gd name="connsiteY4265" fmla="*/ 226219 h 514350"/>
                <a:gd name="connsiteX4266" fmla="*/ 4474369 w 6400800"/>
                <a:gd name="connsiteY4266" fmla="*/ 231934 h 514350"/>
                <a:gd name="connsiteX4267" fmla="*/ 4479131 w 6400800"/>
                <a:gd name="connsiteY4267" fmla="*/ 238601 h 514350"/>
                <a:gd name="connsiteX4268" fmla="*/ 4483894 w 6400800"/>
                <a:gd name="connsiteY4268" fmla="*/ 248126 h 514350"/>
                <a:gd name="connsiteX4269" fmla="*/ 4489609 w 6400800"/>
                <a:gd name="connsiteY4269" fmla="*/ 260509 h 514350"/>
                <a:gd name="connsiteX4270" fmla="*/ 4495324 w 6400800"/>
                <a:gd name="connsiteY4270" fmla="*/ 275749 h 514350"/>
                <a:gd name="connsiteX4271" fmla="*/ 4501039 w 6400800"/>
                <a:gd name="connsiteY4271" fmla="*/ 293846 h 514350"/>
                <a:gd name="connsiteX4272" fmla="*/ 4503897 w 6400800"/>
                <a:gd name="connsiteY4272" fmla="*/ 303371 h 514350"/>
                <a:gd name="connsiteX4273" fmla="*/ 4497229 w 6400800"/>
                <a:gd name="connsiteY4273" fmla="*/ 317659 h 514350"/>
                <a:gd name="connsiteX4274" fmla="*/ 4493419 w 6400800"/>
                <a:gd name="connsiteY4274" fmla="*/ 326231 h 514350"/>
                <a:gd name="connsiteX4275" fmla="*/ 4488656 w 6400800"/>
                <a:gd name="connsiteY4275" fmla="*/ 280511 h 514350"/>
                <a:gd name="connsiteX4276" fmla="*/ 4487704 w 6400800"/>
                <a:gd name="connsiteY4276" fmla="*/ 319564 h 514350"/>
                <a:gd name="connsiteX4277" fmla="*/ 4483894 w 6400800"/>
                <a:gd name="connsiteY4277" fmla="*/ 311944 h 514350"/>
                <a:gd name="connsiteX4278" fmla="*/ 4473416 w 6400800"/>
                <a:gd name="connsiteY4278" fmla="*/ 289084 h 514350"/>
                <a:gd name="connsiteX4279" fmla="*/ 4481037 w 6400800"/>
                <a:gd name="connsiteY4279" fmla="*/ 312896 h 514350"/>
                <a:gd name="connsiteX4280" fmla="*/ 4486751 w 6400800"/>
                <a:gd name="connsiteY4280" fmla="*/ 330041 h 514350"/>
                <a:gd name="connsiteX4281" fmla="*/ 4484847 w 6400800"/>
                <a:gd name="connsiteY4281" fmla="*/ 328136 h 514350"/>
                <a:gd name="connsiteX4282" fmla="*/ 4475322 w 6400800"/>
                <a:gd name="connsiteY4282" fmla="*/ 318611 h 514350"/>
                <a:gd name="connsiteX4283" fmla="*/ 4473416 w 6400800"/>
                <a:gd name="connsiteY4283" fmla="*/ 304324 h 514350"/>
                <a:gd name="connsiteX4284" fmla="*/ 4468654 w 6400800"/>
                <a:gd name="connsiteY4284" fmla="*/ 278606 h 514350"/>
                <a:gd name="connsiteX4285" fmla="*/ 4477226 w 6400800"/>
                <a:gd name="connsiteY4285" fmla="*/ 256699 h 514350"/>
                <a:gd name="connsiteX4286" fmla="*/ 4466749 w 6400800"/>
                <a:gd name="connsiteY4286" fmla="*/ 273844 h 514350"/>
                <a:gd name="connsiteX4287" fmla="*/ 4462939 w 6400800"/>
                <a:gd name="connsiteY4287" fmla="*/ 258604 h 514350"/>
                <a:gd name="connsiteX4288" fmla="*/ 4462939 w 6400800"/>
                <a:gd name="connsiteY4288" fmla="*/ 256699 h 514350"/>
                <a:gd name="connsiteX4289" fmla="*/ 4462939 w 6400800"/>
                <a:gd name="connsiteY4289" fmla="*/ 250984 h 514350"/>
                <a:gd name="connsiteX4290" fmla="*/ 4461034 w 6400800"/>
                <a:gd name="connsiteY4290" fmla="*/ 255746 h 514350"/>
                <a:gd name="connsiteX4291" fmla="*/ 4461034 w 6400800"/>
                <a:gd name="connsiteY4291" fmla="*/ 255746 h 514350"/>
                <a:gd name="connsiteX4292" fmla="*/ 4461034 w 6400800"/>
                <a:gd name="connsiteY4292" fmla="*/ 255746 h 514350"/>
                <a:gd name="connsiteX4293" fmla="*/ 4461034 w 6400800"/>
                <a:gd name="connsiteY4293" fmla="*/ 255746 h 514350"/>
                <a:gd name="connsiteX4294" fmla="*/ 4455319 w 6400800"/>
                <a:gd name="connsiteY4294" fmla="*/ 274796 h 514350"/>
                <a:gd name="connsiteX4295" fmla="*/ 4457224 w 6400800"/>
                <a:gd name="connsiteY4295" fmla="*/ 268129 h 514350"/>
                <a:gd name="connsiteX4296" fmla="*/ 4457224 w 6400800"/>
                <a:gd name="connsiteY4296" fmla="*/ 273844 h 514350"/>
                <a:gd name="connsiteX4297" fmla="*/ 4458176 w 6400800"/>
                <a:gd name="connsiteY4297" fmla="*/ 284321 h 514350"/>
                <a:gd name="connsiteX4298" fmla="*/ 4454366 w 6400800"/>
                <a:gd name="connsiteY4298" fmla="*/ 292894 h 514350"/>
                <a:gd name="connsiteX4299" fmla="*/ 4455319 w 6400800"/>
                <a:gd name="connsiteY4299" fmla="*/ 274796 h 514350"/>
                <a:gd name="connsiteX4300" fmla="*/ 4449604 w 6400800"/>
                <a:gd name="connsiteY4300" fmla="*/ 361474 h 514350"/>
                <a:gd name="connsiteX4301" fmla="*/ 4451509 w 6400800"/>
                <a:gd name="connsiteY4301" fmla="*/ 339566 h 514350"/>
                <a:gd name="connsiteX4302" fmla="*/ 4453414 w 6400800"/>
                <a:gd name="connsiteY4302" fmla="*/ 343376 h 514350"/>
                <a:gd name="connsiteX4303" fmla="*/ 4453414 w 6400800"/>
                <a:gd name="connsiteY4303" fmla="*/ 344329 h 514350"/>
                <a:gd name="connsiteX4304" fmla="*/ 4453414 w 6400800"/>
                <a:gd name="connsiteY4304" fmla="*/ 344329 h 514350"/>
                <a:gd name="connsiteX4305" fmla="*/ 4451509 w 6400800"/>
                <a:gd name="connsiteY4305" fmla="*/ 366236 h 514350"/>
                <a:gd name="connsiteX4306" fmla="*/ 4448651 w 6400800"/>
                <a:gd name="connsiteY4306" fmla="*/ 388144 h 514350"/>
                <a:gd name="connsiteX4307" fmla="*/ 4446747 w 6400800"/>
                <a:gd name="connsiteY4307" fmla="*/ 386239 h 514350"/>
                <a:gd name="connsiteX4308" fmla="*/ 4449604 w 6400800"/>
                <a:gd name="connsiteY4308" fmla="*/ 361474 h 514350"/>
                <a:gd name="connsiteX4309" fmla="*/ 4386739 w 6400800"/>
                <a:gd name="connsiteY4309" fmla="*/ 331946 h 514350"/>
                <a:gd name="connsiteX4310" fmla="*/ 4390549 w 6400800"/>
                <a:gd name="connsiteY4310" fmla="*/ 335756 h 514350"/>
                <a:gd name="connsiteX4311" fmla="*/ 4390549 w 6400800"/>
                <a:gd name="connsiteY4311" fmla="*/ 342424 h 514350"/>
                <a:gd name="connsiteX4312" fmla="*/ 4386739 w 6400800"/>
                <a:gd name="connsiteY4312" fmla="*/ 347186 h 514350"/>
                <a:gd name="connsiteX4313" fmla="*/ 4386739 w 6400800"/>
                <a:gd name="connsiteY4313" fmla="*/ 331946 h 514350"/>
                <a:gd name="connsiteX4314" fmla="*/ 4389597 w 6400800"/>
                <a:gd name="connsiteY4314" fmla="*/ 376714 h 514350"/>
                <a:gd name="connsiteX4315" fmla="*/ 4388644 w 6400800"/>
                <a:gd name="connsiteY4315" fmla="*/ 375761 h 514350"/>
                <a:gd name="connsiteX4316" fmla="*/ 4387691 w 6400800"/>
                <a:gd name="connsiteY4316" fmla="*/ 370046 h 514350"/>
                <a:gd name="connsiteX4317" fmla="*/ 4387691 w 6400800"/>
                <a:gd name="connsiteY4317" fmla="*/ 360521 h 514350"/>
                <a:gd name="connsiteX4318" fmla="*/ 4387691 w 6400800"/>
                <a:gd name="connsiteY4318" fmla="*/ 351949 h 514350"/>
                <a:gd name="connsiteX4319" fmla="*/ 4391501 w 6400800"/>
                <a:gd name="connsiteY4319" fmla="*/ 345281 h 514350"/>
                <a:gd name="connsiteX4320" fmla="*/ 4391501 w 6400800"/>
                <a:gd name="connsiteY4320" fmla="*/ 349091 h 514350"/>
                <a:gd name="connsiteX4321" fmla="*/ 4392454 w 6400800"/>
                <a:gd name="connsiteY4321" fmla="*/ 370046 h 514350"/>
                <a:gd name="connsiteX4322" fmla="*/ 4389597 w 6400800"/>
                <a:gd name="connsiteY4322" fmla="*/ 376714 h 514350"/>
                <a:gd name="connsiteX4323" fmla="*/ 4424839 w 6400800"/>
                <a:gd name="connsiteY4323" fmla="*/ 351949 h 514350"/>
                <a:gd name="connsiteX4324" fmla="*/ 4424839 w 6400800"/>
                <a:gd name="connsiteY4324" fmla="*/ 354806 h 514350"/>
                <a:gd name="connsiteX4325" fmla="*/ 4422934 w 6400800"/>
                <a:gd name="connsiteY4325" fmla="*/ 356711 h 514350"/>
                <a:gd name="connsiteX4326" fmla="*/ 4424839 w 6400800"/>
                <a:gd name="connsiteY4326" fmla="*/ 351949 h 514350"/>
                <a:gd name="connsiteX4327" fmla="*/ 4415314 w 6400800"/>
                <a:gd name="connsiteY4327" fmla="*/ 411004 h 514350"/>
                <a:gd name="connsiteX4328" fmla="*/ 4415314 w 6400800"/>
                <a:gd name="connsiteY4328" fmla="*/ 411956 h 514350"/>
                <a:gd name="connsiteX4329" fmla="*/ 4412456 w 6400800"/>
                <a:gd name="connsiteY4329" fmla="*/ 409099 h 514350"/>
                <a:gd name="connsiteX4330" fmla="*/ 4411504 w 6400800"/>
                <a:gd name="connsiteY4330" fmla="*/ 385286 h 514350"/>
                <a:gd name="connsiteX4331" fmla="*/ 4420076 w 6400800"/>
                <a:gd name="connsiteY4331" fmla="*/ 372904 h 514350"/>
                <a:gd name="connsiteX4332" fmla="*/ 4421029 w 6400800"/>
                <a:gd name="connsiteY4332" fmla="*/ 374809 h 514350"/>
                <a:gd name="connsiteX4333" fmla="*/ 4415314 w 6400800"/>
                <a:gd name="connsiteY4333" fmla="*/ 411004 h 514350"/>
                <a:gd name="connsiteX4334" fmla="*/ 4410551 w 6400800"/>
                <a:gd name="connsiteY4334" fmla="*/ 254794 h 514350"/>
                <a:gd name="connsiteX4335" fmla="*/ 4421029 w 6400800"/>
                <a:gd name="connsiteY4335" fmla="*/ 273844 h 514350"/>
                <a:gd name="connsiteX4336" fmla="*/ 4415314 w 6400800"/>
                <a:gd name="connsiteY4336" fmla="*/ 293846 h 514350"/>
                <a:gd name="connsiteX4337" fmla="*/ 4408647 w 6400800"/>
                <a:gd name="connsiteY4337" fmla="*/ 316706 h 514350"/>
                <a:gd name="connsiteX4338" fmla="*/ 4406741 w 6400800"/>
                <a:gd name="connsiteY4338" fmla="*/ 297656 h 514350"/>
                <a:gd name="connsiteX4339" fmla="*/ 4402931 w 6400800"/>
                <a:gd name="connsiteY4339" fmla="*/ 331946 h 514350"/>
                <a:gd name="connsiteX4340" fmla="*/ 4401026 w 6400800"/>
                <a:gd name="connsiteY4340" fmla="*/ 337661 h 514350"/>
                <a:gd name="connsiteX4341" fmla="*/ 4400074 w 6400800"/>
                <a:gd name="connsiteY4341" fmla="*/ 336709 h 514350"/>
                <a:gd name="connsiteX4342" fmla="*/ 4388644 w 6400800"/>
                <a:gd name="connsiteY4342" fmla="*/ 270034 h 514350"/>
                <a:gd name="connsiteX4343" fmla="*/ 4389597 w 6400800"/>
                <a:gd name="connsiteY4343" fmla="*/ 328136 h 514350"/>
                <a:gd name="connsiteX4344" fmla="*/ 4386739 w 6400800"/>
                <a:gd name="connsiteY4344" fmla="*/ 325279 h 514350"/>
                <a:gd name="connsiteX4345" fmla="*/ 4386739 w 6400800"/>
                <a:gd name="connsiteY4345" fmla="*/ 323374 h 514350"/>
                <a:gd name="connsiteX4346" fmla="*/ 4387691 w 6400800"/>
                <a:gd name="connsiteY4346" fmla="*/ 290989 h 514350"/>
                <a:gd name="connsiteX4347" fmla="*/ 4389597 w 6400800"/>
                <a:gd name="connsiteY4347" fmla="*/ 263366 h 514350"/>
                <a:gd name="connsiteX4348" fmla="*/ 4391501 w 6400800"/>
                <a:gd name="connsiteY4348" fmla="*/ 242411 h 514350"/>
                <a:gd name="connsiteX4349" fmla="*/ 4393406 w 6400800"/>
                <a:gd name="connsiteY4349" fmla="*/ 225266 h 514350"/>
                <a:gd name="connsiteX4350" fmla="*/ 4410551 w 6400800"/>
                <a:gd name="connsiteY4350" fmla="*/ 254794 h 514350"/>
                <a:gd name="connsiteX4351" fmla="*/ 4389597 w 6400800"/>
                <a:gd name="connsiteY4351" fmla="*/ 217646 h 514350"/>
                <a:gd name="connsiteX4352" fmla="*/ 4393406 w 6400800"/>
                <a:gd name="connsiteY4352" fmla="*/ 224314 h 514350"/>
                <a:gd name="connsiteX4353" fmla="*/ 4387691 w 6400800"/>
                <a:gd name="connsiteY4353" fmla="*/ 240506 h 514350"/>
                <a:gd name="connsiteX4354" fmla="*/ 4381976 w 6400800"/>
                <a:gd name="connsiteY4354" fmla="*/ 260509 h 514350"/>
                <a:gd name="connsiteX4355" fmla="*/ 4381976 w 6400800"/>
                <a:gd name="connsiteY4355" fmla="*/ 256699 h 514350"/>
                <a:gd name="connsiteX4356" fmla="*/ 4389597 w 6400800"/>
                <a:gd name="connsiteY4356" fmla="*/ 217646 h 514350"/>
                <a:gd name="connsiteX4357" fmla="*/ 4374356 w 6400800"/>
                <a:gd name="connsiteY4357" fmla="*/ 291941 h 514350"/>
                <a:gd name="connsiteX4358" fmla="*/ 4374356 w 6400800"/>
                <a:gd name="connsiteY4358" fmla="*/ 292894 h 514350"/>
                <a:gd name="connsiteX4359" fmla="*/ 4374356 w 6400800"/>
                <a:gd name="connsiteY4359" fmla="*/ 291941 h 514350"/>
                <a:gd name="connsiteX4360" fmla="*/ 4374356 w 6400800"/>
                <a:gd name="connsiteY4360" fmla="*/ 291941 h 514350"/>
                <a:gd name="connsiteX4361" fmla="*/ 4360069 w 6400800"/>
                <a:gd name="connsiteY4361" fmla="*/ 282416 h 514350"/>
                <a:gd name="connsiteX4362" fmla="*/ 4360069 w 6400800"/>
                <a:gd name="connsiteY4362" fmla="*/ 290036 h 514350"/>
                <a:gd name="connsiteX4363" fmla="*/ 4359116 w 6400800"/>
                <a:gd name="connsiteY4363" fmla="*/ 288131 h 514350"/>
                <a:gd name="connsiteX4364" fmla="*/ 4360069 w 6400800"/>
                <a:gd name="connsiteY4364" fmla="*/ 282416 h 514350"/>
                <a:gd name="connsiteX4365" fmla="*/ 4313397 w 6400800"/>
                <a:gd name="connsiteY4365" fmla="*/ 387191 h 514350"/>
                <a:gd name="connsiteX4366" fmla="*/ 4311491 w 6400800"/>
                <a:gd name="connsiteY4366" fmla="*/ 391001 h 514350"/>
                <a:gd name="connsiteX4367" fmla="*/ 4313397 w 6400800"/>
                <a:gd name="connsiteY4367" fmla="*/ 387191 h 514350"/>
                <a:gd name="connsiteX4368" fmla="*/ 4313397 w 6400800"/>
                <a:gd name="connsiteY4368" fmla="*/ 387191 h 514350"/>
                <a:gd name="connsiteX4369" fmla="*/ 4311491 w 6400800"/>
                <a:gd name="connsiteY4369" fmla="*/ 351949 h 514350"/>
                <a:gd name="connsiteX4370" fmla="*/ 4312444 w 6400800"/>
                <a:gd name="connsiteY4370" fmla="*/ 365284 h 514350"/>
                <a:gd name="connsiteX4371" fmla="*/ 4311491 w 6400800"/>
                <a:gd name="connsiteY4371" fmla="*/ 363379 h 514350"/>
                <a:gd name="connsiteX4372" fmla="*/ 4311491 w 6400800"/>
                <a:gd name="connsiteY4372" fmla="*/ 351949 h 514350"/>
                <a:gd name="connsiteX4373" fmla="*/ 4247674 w 6400800"/>
                <a:gd name="connsiteY4373" fmla="*/ 313849 h 514350"/>
                <a:gd name="connsiteX4374" fmla="*/ 4247674 w 6400800"/>
                <a:gd name="connsiteY4374" fmla="*/ 311944 h 514350"/>
                <a:gd name="connsiteX4375" fmla="*/ 4247674 w 6400800"/>
                <a:gd name="connsiteY4375" fmla="*/ 313849 h 514350"/>
                <a:gd name="connsiteX4376" fmla="*/ 4246722 w 6400800"/>
                <a:gd name="connsiteY4376" fmla="*/ 324326 h 514350"/>
                <a:gd name="connsiteX4377" fmla="*/ 4246722 w 6400800"/>
                <a:gd name="connsiteY4377" fmla="*/ 322421 h 514350"/>
                <a:gd name="connsiteX4378" fmla="*/ 4247674 w 6400800"/>
                <a:gd name="connsiteY4378" fmla="*/ 313849 h 514350"/>
                <a:gd name="connsiteX4379" fmla="*/ 4181951 w 6400800"/>
                <a:gd name="connsiteY4379" fmla="*/ 367189 h 514350"/>
                <a:gd name="connsiteX4380" fmla="*/ 4182904 w 6400800"/>
                <a:gd name="connsiteY4380" fmla="*/ 324326 h 514350"/>
                <a:gd name="connsiteX4381" fmla="*/ 4183856 w 6400800"/>
                <a:gd name="connsiteY4381" fmla="*/ 330041 h 514350"/>
                <a:gd name="connsiteX4382" fmla="*/ 4185761 w 6400800"/>
                <a:gd name="connsiteY4382" fmla="*/ 340519 h 514350"/>
                <a:gd name="connsiteX4383" fmla="*/ 4185761 w 6400800"/>
                <a:gd name="connsiteY4383" fmla="*/ 342424 h 514350"/>
                <a:gd name="connsiteX4384" fmla="*/ 4183856 w 6400800"/>
                <a:gd name="connsiteY4384" fmla="*/ 338614 h 514350"/>
                <a:gd name="connsiteX4385" fmla="*/ 4187666 w 6400800"/>
                <a:gd name="connsiteY4385" fmla="*/ 357664 h 514350"/>
                <a:gd name="connsiteX4386" fmla="*/ 4189571 w 6400800"/>
                <a:gd name="connsiteY4386" fmla="*/ 365284 h 514350"/>
                <a:gd name="connsiteX4387" fmla="*/ 4191476 w 6400800"/>
                <a:gd name="connsiteY4387" fmla="*/ 373856 h 514350"/>
                <a:gd name="connsiteX4388" fmla="*/ 4190524 w 6400800"/>
                <a:gd name="connsiteY4388" fmla="*/ 386239 h 514350"/>
                <a:gd name="connsiteX4389" fmla="*/ 4190524 w 6400800"/>
                <a:gd name="connsiteY4389" fmla="*/ 391954 h 514350"/>
                <a:gd name="connsiteX4390" fmla="*/ 4181951 w 6400800"/>
                <a:gd name="connsiteY4390" fmla="*/ 367189 h 514350"/>
                <a:gd name="connsiteX4391" fmla="*/ 4181951 w 6400800"/>
                <a:gd name="connsiteY4391" fmla="*/ 367189 h 514350"/>
                <a:gd name="connsiteX4392" fmla="*/ 4161949 w 6400800"/>
                <a:gd name="connsiteY4392" fmla="*/ 401479 h 514350"/>
                <a:gd name="connsiteX4393" fmla="*/ 4161949 w 6400800"/>
                <a:gd name="connsiteY4393" fmla="*/ 399574 h 514350"/>
                <a:gd name="connsiteX4394" fmla="*/ 4161949 w 6400800"/>
                <a:gd name="connsiteY4394" fmla="*/ 399574 h 514350"/>
                <a:gd name="connsiteX4395" fmla="*/ 4161949 w 6400800"/>
                <a:gd name="connsiteY4395" fmla="*/ 401479 h 514350"/>
                <a:gd name="connsiteX4396" fmla="*/ 4160044 w 6400800"/>
                <a:gd name="connsiteY4396" fmla="*/ 306229 h 514350"/>
                <a:gd name="connsiteX4397" fmla="*/ 4160996 w 6400800"/>
                <a:gd name="connsiteY4397" fmla="*/ 292894 h 514350"/>
                <a:gd name="connsiteX4398" fmla="*/ 4163854 w 6400800"/>
                <a:gd name="connsiteY4398" fmla="*/ 282416 h 514350"/>
                <a:gd name="connsiteX4399" fmla="*/ 4162901 w 6400800"/>
                <a:gd name="connsiteY4399" fmla="*/ 313849 h 514350"/>
                <a:gd name="connsiteX4400" fmla="*/ 4160044 w 6400800"/>
                <a:gd name="connsiteY4400" fmla="*/ 306229 h 514350"/>
                <a:gd name="connsiteX4401" fmla="*/ 4160044 w 6400800"/>
                <a:gd name="connsiteY4401" fmla="*/ 306229 h 514350"/>
                <a:gd name="connsiteX4402" fmla="*/ 4128611 w 6400800"/>
                <a:gd name="connsiteY4402" fmla="*/ 354806 h 514350"/>
                <a:gd name="connsiteX4403" fmla="*/ 4127659 w 6400800"/>
                <a:gd name="connsiteY4403" fmla="*/ 343376 h 514350"/>
                <a:gd name="connsiteX4404" fmla="*/ 4128611 w 6400800"/>
                <a:gd name="connsiteY4404" fmla="*/ 350044 h 514350"/>
                <a:gd name="connsiteX4405" fmla="*/ 4130516 w 6400800"/>
                <a:gd name="connsiteY4405" fmla="*/ 365284 h 514350"/>
                <a:gd name="connsiteX4406" fmla="*/ 4128611 w 6400800"/>
                <a:gd name="connsiteY4406" fmla="*/ 354806 h 514350"/>
                <a:gd name="connsiteX4407" fmla="*/ 4124801 w 6400800"/>
                <a:gd name="connsiteY4407" fmla="*/ 255746 h 514350"/>
                <a:gd name="connsiteX4408" fmla="*/ 4124801 w 6400800"/>
                <a:gd name="connsiteY4408" fmla="*/ 248126 h 514350"/>
                <a:gd name="connsiteX4409" fmla="*/ 4140041 w 6400800"/>
                <a:gd name="connsiteY4409" fmla="*/ 303371 h 514350"/>
                <a:gd name="connsiteX4410" fmla="*/ 4140994 w 6400800"/>
                <a:gd name="connsiteY4410" fmla="*/ 307181 h 514350"/>
                <a:gd name="connsiteX4411" fmla="*/ 4140994 w 6400800"/>
                <a:gd name="connsiteY4411" fmla="*/ 321469 h 514350"/>
                <a:gd name="connsiteX4412" fmla="*/ 4133374 w 6400800"/>
                <a:gd name="connsiteY4412" fmla="*/ 305276 h 514350"/>
                <a:gd name="connsiteX4413" fmla="*/ 4135279 w 6400800"/>
                <a:gd name="connsiteY4413" fmla="*/ 312896 h 514350"/>
                <a:gd name="connsiteX4414" fmla="*/ 4127659 w 6400800"/>
                <a:gd name="connsiteY4414" fmla="*/ 300514 h 514350"/>
                <a:gd name="connsiteX4415" fmla="*/ 4123849 w 6400800"/>
                <a:gd name="connsiteY4415" fmla="*/ 284321 h 514350"/>
                <a:gd name="connsiteX4416" fmla="*/ 4124801 w 6400800"/>
                <a:gd name="connsiteY4416" fmla="*/ 255746 h 514350"/>
                <a:gd name="connsiteX4417" fmla="*/ 4095274 w 6400800"/>
                <a:gd name="connsiteY4417" fmla="*/ 395764 h 514350"/>
                <a:gd name="connsiteX4418" fmla="*/ 4095274 w 6400800"/>
                <a:gd name="connsiteY4418" fmla="*/ 395764 h 514350"/>
                <a:gd name="connsiteX4419" fmla="*/ 4095274 w 6400800"/>
                <a:gd name="connsiteY4419" fmla="*/ 394811 h 514350"/>
                <a:gd name="connsiteX4420" fmla="*/ 4095274 w 6400800"/>
                <a:gd name="connsiteY4420" fmla="*/ 395764 h 514350"/>
                <a:gd name="connsiteX4421" fmla="*/ 4093369 w 6400800"/>
                <a:gd name="connsiteY4421" fmla="*/ 386239 h 514350"/>
                <a:gd name="connsiteX4422" fmla="*/ 4093369 w 6400800"/>
                <a:gd name="connsiteY4422" fmla="*/ 376714 h 514350"/>
                <a:gd name="connsiteX4423" fmla="*/ 4096226 w 6400800"/>
                <a:gd name="connsiteY4423" fmla="*/ 382429 h 514350"/>
                <a:gd name="connsiteX4424" fmla="*/ 4093369 w 6400800"/>
                <a:gd name="connsiteY4424" fmla="*/ 386239 h 514350"/>
                <a:gd name="connsiteX4425" fmla="*/ 4097179 w 6400800"/>
                <a:gd name="connsiteY4425" fmla="*/ 342424 h 514350"/>
                <a:gd name="connsiteX4426" fmla="*/ 4099084 w 6400800"/>
                <a:gd name="connsiteY4426" fmla="*/ 334804 h 514350"/>
                <a:gd name="connsiteX4427" fmla="*/ 4099084 w 6400800"/>
                <a:gd name="connsiteY4427" fmla="*/ 337661 h 514350"/>
                <a:gd name="connsiteX4428" fmla="*/ 4097179 w 6400800"/>
                <a:gd name="connsiteY4428" fmla="*/ 342424 h 514350"/>
                <a:gd name="connsiteX4429" fmla="*/ 4100989 w 6400800"/>
                <a:gd name="connsiteY4429" fmla="*/ 353854 h 514350"/>
                <a:gd name="connsiteX4430" fmla="*/ 4100989 w 6400800"/>
                <a:gd name="connsiteY4430" fmla="*/ 351949 h 514350"/>
                <a:gd name="connsiteX4431" fmla="*/ 4100989 w 6400800"/>
                <a:gd name="connsiteY4431" fmla="*/ 351949 h 514350"/>
                <a:gd name="connsiteX4432" fmla="*/ 4100989 w 6400800"/>
                <a:gd name="connsiteY4432" fmla="*/ 353854 h 514350"/>
                <a:gd name="connsiteX4433" fmla="*/ 4100989 w 6400800"/>
                <a:gd name="connsiteY4433" fmla="*/ 353854 h 514350"/>
                <a:gd name="connsiteX4434" fmla="*/ 4115276 w 6400800"/>
                <a:gd name="connsiteY4434" fmla="*/ 322421 h 514350"/>
                <a:gd name="connsiteX4435" fmla="*/ 4114324 w 6400800"/>
                <a:gd name="connsiteY4435" fmla="*/ 350996 h 514350"/>
                <a:gd name="connsiteX4436" fmla="*/ 4111466 w 6400800"/>
                <a:gd name="connsiteY4436" fmla="*/ 327184 h 514350"/>
                <a:gd name="connsiteX4437" fmla="*/ 4108609 w 6400800"/>
                <a:gd name="connsiteY4437" fmla="*/ 342424 h 514350"/>
                <a:gd name="connsiteX4438" fmla="*/ 4107656 w 6400800"/>
                <a:gd name="connsiteY4438" fmla="*/ 341471 h 514350"/>
                <a:gd name="connsiteX4439" fmla="*/ 4106704 w 6400800"/>
                <a:gd name="connsiteY4439" fmla="*/ 336709 h 514350"/>
                <a:gd name="connsiteX4440" fmla="*/ 4113371 w 6400800"/>
                <a:gd name="connsiteY4440" fmla="*/ 322421 h 514350"/>
                <a:gd name="connsiteX4441" fmla="*/ 4115276 w 6400800"/>
                <a:gd name="connsiteY4441" fmla="*/ 318611 h 514350"/>
                <a:gd name="connsiteX4442" fmla="*/ 4115276 w 6400800"/>
                <a:gd name="connsiteY4442" fmla="*/ 322421 h 514350"/>
                <a:gd name="connsiteX4443" fmla="*/ 4109561 w 6400800"/>
                <a:gd name="connsiteY4443" fmla="*/ 295751 h 514350"/>
                <a:gd name="connsiteX4444" fmla="*/ 4116229 w 6400800"/>
                <a:gd name="connsiteY4444" fmla="*/ 308134 h 514350"/>
                <a:gd name="connsiteX4445" fmla="*/ 4116229 w 6400800"/>
                <a:gd name="connsiteY4445" fmla="*/ 311944 h 514350"/>
                <a:gd name="connsiteX4446" fmla="*/ 4110514 w 6400800"/>
                <a:gd name="connsiteY4446" fmla="*/ 320516 h 514350"/>
                <a:gd name="connsiteX4447" fmla="*/ 4104799 w 6400800"/>
                <a:gd name="connsiteY4447" fmla="*/ 329089 h 514350"/>
                <a:gd name="connsiteX4448" fmla="*/ 4102894 w 6400800"/>
                <a:gd name="connsiteY4448" fmla="*/ 322421 h 514350"/>
                <a:gd name="connsiteX4449" fmla="*/ 4109561 w 6400800"/>
                <a:gd name="connsiteY4449" fmla="*/ 295751 h 514350"/>
                <a:gd name="connsiteX4450" fmla="*/ 4092416 w 6400800"/>
                <a:gd name="connsiteY4450" fmla="*/ 294799 h 514350"/>
                <a:gd name="connsiteX4451" fmla="*/ 4094321 w 6400800"/>
                <a:gd name="connsiteY4451" fmla="*/ 265271 h 514350"/>
                <a:gd name="connsiteX4452" fmla="*/ 4098131 w 6400800"/>
                <a:gd name="connsiteY4452" fmla="*/ 272891 h 514350"/>
                <a:gd name="connsiteX4453" fmla="*/ 4106704 w 6400800"/>
                <a:gd name="connsiteY4453" fmla="*/ 290989 h 514350"/>
                <a:gd name="connsiteX4454" fmla="*/ 4098131 w 6400800"/>
                <a:gd name="connsiteY4454" fmla="*/ 311944 h 514350"/>
                <a:gd name="connsiteX4455" fmla="*/ 4096226 w 6400800"/>
                <a:gd name="connsiteY4455" fmla="*/ 306229 h 514350"/>
                <a:gd name="connsiteX4456" fmla="*/ 4097179 w 6400800"/>
                <a:gd name="connsiteY4456" fmla="*/ 315754 h 514350"/>
                <a:gd name="connsiteX4457" fmla="*/ 4092416 w 6400800"/>
                <a:gd name="connsiteY4457" fmla="*/ 329089 h 514350"/>
                <a:gd name="connsiteX4458" fmla="*/ 4091464 w 6400800"/>
                <a:gd name="connsiteY4458" fmla="*/ 325279 h 514350"/>
                <a:gd name="connsiteX4459" fmla="*/ 4090511 w 6400800"/>
                <a:gd name="connsiteY4459" fmla="*/ 321469 h 514350"/>
                <a:gd name="connsiteX4460" fmla="*/ 4092416 w 6400800"/>
                <a:gd name="connsiteY4460" fmla="*/ 294799 h 514350"/>
                <a:gd name="connsiteX4461" fmla="*/ 4085749 w 6400800"/>
                <a:gd name="connsiteY4461" fmla="*/ 244316 h 514350"/>
                <a:gd name="connsiteX4462" fmla="*/ 4085749 w 6400800"/>
                <a:gd name="connsiteY4462" fmla="*/ 244316 h 514350"/>
                <a:gd name="connsiteX4463" fmla="*/ 4084796 w 6400800"/>
                <a:gd name="connsiteY4463" fmla="*/ 250031 h 514350"/>
                <a:gd name="connsiteX4464" fmla="*/ 4085749 w 6400800"/>
                <a:gd name="connsiteY4464" fmla="*/ 244316 h 514350"/>
                <a:gd name="connsiteX4465" fmla="*/ 4043839 w 6400800"/>
                <a:gd name="connsiteY4465" fmla="*/ 279559 h 514350"/>
                <a:gd name="connsiteX4466" fmla="*/ 4043839 w 6400800"/>
                <a:gd name="connsiteY4466" fmla="*/ 279559 h 514350"/>
                <a:gd name="connsiteX4467" fmla="*/ 4044791 w 6400800"/>
                <a:gd name="connsiteY4467" fmla="*/ 283369 h 514350"/>
                <a:gd name="connsiteX4468" fmla="*/ 4043839 w 6400800"/>
                <a:gd name="connsiteY4468" fmla="*/ 281464 h 514350"/>
                <a:gd name="connsiteX4469" fmla="*/ 4044791 w 6400800"/>
                <a:gd name="connsiteY4469" fmla="*/ 286226 h 514350"/>
                <a:gd name="connsiteX4470" fmla="*/ 4044791 w 6400800"/>
                <a:gd name="connsiteY4470" fmla="*/ 290036 h 514350"/>
                <a:gd name="connsiteX4471" fmla="*/ 4042886 w 6400800"/>
                <a:gd name="connsiteY4471" fmla="*/ 284321 h 514350"/>
                <a:gd name="connsiteX4472" fmla="*/ 4043839 w 6400800"/>
                <a:gd name="connsiteY4472" fmla="*/ 279559 h 514350"/>
                <a:gd name="connsiteX4473" fmla="*/ 4044791 w 6400800"/>
                <a:gd name="connsiteY4473" fmla="*/ 333851 h 514350"/>
                <a:gd name="connsiteX4474" fmla="*/ 4044791 w 6400800"/>
                <a:gd name="connsiteY4474" fmla="*/ 333851 h 514350"/>
                <a:gd name="connsiteX4475" fmla="*/ 4044791 w 6400800"/>
                <a:gd name="connsiteY4475" fmla="*/ 339566 h 514350"/>
                <a:gd name="connsiteX4476" fmla="*/ 4042886 w 6400800"/>
                <a:gd name="connsiteY4476" fmla="*/ 337661 h 514350"/>
                <a:gd name="connsiteX4477" fmla="*/ 4044791 w 6400800"/>
                <a:gd name="connsiteY4477" fmla="*/ 333851 h 514350"/>
                <a:gd name="connsiteX4478" fmla="*/ 4039076 w 6400800"/>
                <a:gd name="connsiteY4478" fmla="*/ 271939 h 514350"/>
                <a:gd name="connsiteX4479" fmla="*/ 4039076 w 6400800"/>
                <a:gd name="connsiteY4479" fmla="*/ 273844 h 514350"/>
                <a:gd name="connsiteX4480" fmla="*/ 4038124 w 6400800"/>
                <a:gd name="connsiteY4480" fmla="*/ 270034 h 514350"/>
                <a:gd name="connsiteX4481" fmla="*/ 4036219 w 6400800"/>
                <a:gd name="connsiteY4481" fmla="*/ 265271 h 514350"/>
                <a:gd name="connsiteX4482" fmla="*/ 4039076 w 6400800"/>
                <a:gd name="connsiteY4482" fmla="*/ 271939 h 514350"/>
                <a:gd name="connsiteX4483" fmla="*/ 4033361 w 6400800"/>
                <a:gd name="connsiteY4483" fmla="*/ 358616 h 514350"/>
                <a:gd name="connsiteX4484" fmla="*/ 4034314 w 6400800"/>
                <a:gd name="connsiteY4484" fmla="*/ 351949 h 514350"/>
                <a:gd name="connsiteX4485" fmla="*/ 4038124 w 6400800"/>
                <a:gd name="connsiteY4485" fmla="*/ 345281 h 514350"/>
                <a:gd name="connsiteX4486" fmla="*/ 4043839 w 6400800"/>
                <a:gd name="connsiteY4486" fmla="*/ 351949 h 514350"/>
                <a:gd name="connsiteX4487" fmla="*/ 4040981 w 6400800"/>
                <a:gd name="connsiteY4487" fmla="*/ 391954 h 514350"/>
                <a:gd name="connsiteX4488" fmla="*/ 4035266 w 6400800"/>
                <a:gd name="connsiteY4488" fmla="*/ 413861 h 514350"/>
                <a:gd name="connsiteX4489" fmla="*/ 4029551 w 6400800"/>
                <a:gd name="connsiteY4489" fmla="*/ 395764 h 514350"/>
                <a:gd name="connsiteX4490" fmla="*/ 4027646 w 6400800"/>
                <a:gd name="connsiteY4490" fmla="*/ 388144 h 514350"/>
                <a:gd name="connsiteX4491" fmla="*/ 4033361 w 6400800"/>
                <a:gd name="connsiteY4491" fmla="*/ 358616 h 514350"/>
                <a:gd name="connsiteX4492" fmla="*/ 4020026 w 6400800"/>
                <a:gd name="connsiteY4492" fmla="*/ 324326 h 514350"/>
                <a:gd name="connsiteX4493" fmla="*/ 4021931 w 6400800"/>
                <a:gd name="connsiteY4493" fmla="*/ 326231 h 514350"/>
                <a:gd name="connsiteX4494" fmla="*/ 4019074 w 6400800"/>
                <a:gd name="connsiteY4494" fmla="*/ 334804 h 514350"/>
                <a:gd name="connsiteX4495" fmla="*/ 4017169 w 6400800"/>
                <a:gd name="connsiteY4495" fmla="*/ 341471 h 514350"/>
                <a:gd name="connsiteX4496" fmla="*/ 4016216 w 6400800"/>
                <a:gd name="connsiteY4496" fmla="*/ 342424 h 514350"/>
                <a:gd name="connsiteX4497" fmla="*/ 4015264 w 6400800"/>
                <a:gd name="connsiteY4497" fmla="*/ 344329 h 514350"/>
                <a:gd name="connsiteX4498" fmla="*/ 4011454 w 6400800"/>
                <a:gd name="connsiteY4498" fmla="*/ 315754 h 514350"/>
                <a:gd name="connsiteX4499" fmla="*/ 4020026 w 6400800"/>
                <a:gd name="connsiteY4499" fmla="*/ 324326 h 514350"/>
                <a:gd name="connsiteX4500" fmla="*/ 3999071 w 6400800"/>
                <a:gd name="connsiteY4500" fmla="*/ 282416 h 514350"/>
                <a:gd name="connsiteX4501" fmla="*/ 3999071 w 6400800"/>
                <a:gd name="connsiteY4501" fmla="*/ 282416 h 514350"/>
                <a:gd name="connsiteX4502" fmla="*/ 4000024 w 6400800"/>
                <a:gd name="connsiteY4502" fmla="*/ 310991 h 514350"/>
                <a:gd name="connsiteX4503" fmla="*/ 4000024 w 6400800"/>
                <a:gd name="connsiteY4503" fmla="*/ 316706 h 514350"/>
                <a:gd name="connsiteX4504" fmla="*/ 3999071 w 6400800"/>
                <a:gd name="connsiteY4504" fmla="*/ 325279 h 514350"/>
                <a:gd name="connsiteX4505" fmla="*/ 3999071 w 6400800"/>
                <a:gd name="connsiteY4505" fmla="*/ 327184 h 514350"/>
                <a:gd name="connsiteX4506" fmla="*/ 3998119 w 6400800"/>
                <a:gd name="connsiteY4506" fmla="*/ 324326 h 514350"/>
                <a:gd name="connsiteX4507" fmla="*/ 3997166 w 6400800"/>
                <a:gd name="connsiteY4507" fmla="*/ 314801 h 514350"/>
                <a:gd name="connsiteX4508" fmla="*/ 3996214 w 6400800"/>
                <a:gd name="connsiteY4508" fmla="*/ 286226 h 514350"/>
                <a:gd name="connsiteX4509" fmla="*/ 3999071 w 6400800"/>
                <a:gd name="connsiteY4509" fmla="*/ 282416 h 514350"/>
                <a:gd name="connsiteX4510" fmla="*/ 3983831 w 6400800"/>
                <a:gd name="connsiteY4510" fmla="*/ 405289 h 514350"/>
                <a:gd name="connsiteX4511" fmla="*/ 3980021 w 6400800"/>
                <a:gd name="connsiteY4511" fmla="*/ 412909 h 514350"/>
                <a:gd name="connsiteX4512" fmla="*/ 3980021 w 6400800"/>
                <a:gd name="connsiteY4512" fmla="*/ 412909 h 514350"/>
                <a:gd name="connsiteX4513" fmla="*/ 3982879 w 6400800"/>
                <a:gd name="connsiteY4513" fmla="*/ 402431 h 514350"/>
                <a:gd name="connsiteX4514" fmla="*/ 3983831 w 6400800"/>
                <a:gd name="connsiteY4514" fmla="*/ 405289 h 514350"/>
                <a:gd name="connsiteX4515" fmla="*/ 3980974 w 6400800"/>
                <a:gd name="connsiteY4515" fmla="*/ 395764 h 514350"/>
                <a:gd name="connsiteX4516" fmla="*/ 3982879 w 6400800"/>
                <a:gd name="connsiteY4516" fmla="*/ 401479 h 514350"/>
                <a:gd name="connsiteX4517" fmla="*/ 3979069 w 6400800"/>
                <a:gd name="connsiteY4517" fmla="*/ 407194 h 514350"/>
                <a:gd name="connsiteX4518" fmla="*/ 3979069 w 6400800"/>
                <a:gd name="connsiteY4518" fmla="*/ 406241 h 514350"/>
                <a:gd name="connsiteX4519" fmla="*/ 3980974 w 6400800"/>
                <a:gd name="connsiteY4519" fmla="*/ 395764 h 514350"/>
                <a:gd name="connsiteX4520" fmla="*/ 3976211 w 6400800"/>
                <a:gd name="connsiteY4520" fmla="*/ 378619 h 514350"/>
                <a:gd name="connsiteX4521" fmla="*/ 3976211 w 6400800"/>
                <a:gd name="connsiteY4521" fmla="*/ 378619 h 514350"/>
                <a:gd name="connsiteX4522" fmla="*/ 3976211 w 6400800"/>
                <a:gd name="connsiteY4522" fmla="*/ 380524 h 514350"/>
                <a:gd name="connsiteX4523" fmla="*/ 3976211 w 6400800"/>
                <a:gd name="connsiteY4523" fmla="*/ 378619 h 514350"/>
                <a:gd name="connsiteX4524" fmla="*/ 3948589 w 6400800"/>
                <a:gd name="connsiteY4524" fmla="*/ 255746 h 514350"/>
                <a:gd name="connsiteX4525" fmla="*/ 3946684 w 6400800"/>
                <a:gd name="connsiteY4525" fmla="*/ 277654 h 514350"/>
                <a:gd name="connsiteX4526" fmla="*/ 3945731 w 6400800"/>
                <a:gd name="connsiteY4526" fmla="*/ 285274 h 514350"/>
                <a:gd name="connsiteX4527" fmla="*/ 3943826 w 6400800"/>
                <a:gd name="connsiteY4527" fmla="*/ 266224 h 514350"/>
                <a:gd name="connsiteX4528" fmla="*/ 3940016 w 6400800"/>
                <a:gd name="connsiteY4528" fmla="*/ 240506 h 514350"/>
                <a:gd name="connsiteX4529" fmla="*/ 3940016 w 6400800"/>
                <a:gd name="connsiteY4529" fmla="*/ 239554 h 514350"/>
                <a:gd name="connsiteX4530" fmla="*/ 3940016 w 6400800"/>
                <a:gd name="connsiteY4530" fmla="*/ 236696 h 514350"/>
                <a:gd name="connsiteX4531" fmla="*/ 3942874 w 6400800"/>
                <a:gd name="connsiteY4531" fmla="*/ 240506 h 514350"/>
                <a:gd name="connsiteX4532" fmla="*/ 3947636 w 6400800"/>
                <a:gd name="connsiteY4532" fmla="*/ 248126 h 514350"/>
                <a:gd name="connsiteX4533" fmla="*/ 3948589 w 6400800"/>
                <a:gd name="connsiteY4533" fmla="*/ 255746 h 514350"/>
                <a:gd name="connsiteX4534" fmla="*/ 3943826 w 6400800"/>
                <a:gd name="connsiteY4534" fmla="*/ 205264 h 514350"/>
                <a:gd name="connsiteX4535" fmla="*/ 3943826 w 6400800"/>
                <a:gd name="connsiteY4535" fmla="*/ 210979 h 514350"/>
                <a:gd name="connsiteX4536" fmla="*/ 3945731 w 6400800"/>
                <a:gd name="connsiteY4536" fmla="*/ 230981 h 514350"/>
                <a:gd name="connsiteX4537" fmla="*/ 3946684 w 6400800"/>
                <a:gd name="connsiteY4537" fmla="*/ 236696 h 514350"/>
                <a:gd name="connsiteX4538" fmla="*/ 3939064 w 6400800"/>
                <a:gd name="connsiteY4538" fmla="*/ 228124 h 514350"/>
                <a:gd name="connsiteX4539" fmla="*/ 3937159 w 6400800"/>
                <a:gd name="connsiteY4539" fmla="*/ 215741 h 514350"/>
                <a:gd name="connsiteX4540" fmla="*/ 3943826 w 6400800"/>
                <a:gd name="connsiteY4540" fmla="*/ 205264 h 514350"/>
                <a:gd name="connsiteX4541" fmla="*/ 3866674 w 6400800"/>
                <a:gd name="connsiteY4541" fmla="*/ 369094 h 514350"/>
                <a:gd name="connsiteX4542" fmla="*/ 3867626 w 6400800"/>
                <a:gd name="connsiteY4542" fmla="*/ 368141 h 514350"/>
                <a:gd name="connsiteX4543" fmla="*/ 3867626 w 6400800"/>
                <a:gd name="connsiteY4543" fmla="*/ 370999 h 514350"/>
                <a:gd name="connsiteX4544" fmla="*/ 3866674 w 6400800"/>
                <a:gd name="connsiteY4544" fmla="*/ 369094 h 514350"/>
                <a:gd name="connsiteX4545" fmla="*/ 3886676 w 6400800"/>
                <a:gd name="connsiteY4545" fmla="*/ 354806 h 514350"/>
                <a:gd name="connsiteX4546" fmla="*/ 3882866 w 6400800"/>
                <a:gd name="connsiteY4546" fmla="*/ 348139 h 514350"/>
                <a:gd name="connsiteX4547" fmla="*/ 3881914 w 6400800"/>
                <a:gd name="connsiteY4547" fmla="*/ 338614 h 514350"/>
                <a:gd name="connsiteX4548" fmla="*/ 3886676 w 6400800"/>
                <a:gd name="connsiteY4548" fmla="*/ 354806 h 514350"/>
                <a:gd name="connsiteX4549" fmla="*/ 3887629 w 6400800"/>
                <a:gd name="connsiteY4549" fmla="*/ 356711 h 514350"/>
                <a:gd name="connsiteX4550" fmla="*/ 3886676 w 6400800"/>
                <a:gd name="connsiteY4550" fmla="*/ 354806 h 514350"/>
                <a:gd name="connsiteX4551" fmla="*/ 3897154 w 6400800"/>
                <a:gd name="connsiteY4551" fmla="*/ 278606 h 514350"/>
                <a:gd name="connsiteX4552" fmla="*/ 3901916 w 6400800"/>
                <a:gd name="connsiteY4552" fmla="*/ 270986 h 514350"/>
                <a:gd name="connsiteX4553" fmla="*/ 3901916 w 6400800"/>
                <a:gd name="connsiteY4553" fmla="*/ 270986 h 514350"/>
                <a:gd name="connsiteX4554" fmla="*/ 3897154 w 6400800"/>
                <a:gd name="connsiteY4554" fmla="*/ 278606 h 514350"/>
                <a:gd name="connsiteX4555" fmla="*/ 3897154 w 6400800"/>
                <a:gd name="connsiteY4555" fmla="*/ 278606 h 514350"/>
                <a:gd name="connsiteX4556" fmla="*/ 3900011 w 6400800"/>
                <a:gd name="connsiteY4556" fmla="*/ 291941 h 514350"/>
                <a:gd name="connsiteX4557" fmla="*/ 3901916 w 6400800"/>
                <a:gd name="connsiteY4557" fmla="*/ 288131 h 514350"/>
                <a:gd name="connsiteX4558" fmla="*/ 3902869 w 6400800"/>
                <a:gd name="connsiteY4558" fmla="*/ 286226 h 514350"/>
                <a:gd name="connsiteX4559" fmla="*/ 3903821 w 6400800"/>
                <a:gd name="connsiteY4559" fmla="*/ 297656 h 514350"/>
                <a:gd name="connsiteX4560" fmla="*/ 3902869 w 6400800"/>
                <a:gd name="connsiteY4560" fmla="*/ 301466 h 514350"/>
                <a:gd name="connsiteX4561" fmla="*/ 3901916 w 6400800"/>
                <a:gd name="connsiteY4561" fmla="*/ 298609 h 514350"/>
                <a:gd name="connsiteX4562" fmla="*/ 3900011 w 6400800"/>
                <a:gd name="connsiteY4562" fmla="*/ 291941 h 514350"/>
                <a:gd name="connsiteX4563" fmla="*/ 3903821 w 6400800"/>
                <a:gd name="connsiteY4563" fmla="*/ 431006 h 514350"/>
                <a:gd name="connsiteX4564" fmla="*/ 3902869 w 6400800"/>
                <a:gd name="connsiteY4564" fmla="*/ 431959 h 514350"/>
                <a:gd name="connsiteX4565" fmla="*/ 3901916 w 6400800"/>
                <a:gd name="connsiteY4565" fmla="*/ 431959 h 514350"/>
                <a:gd name="connsiteX4566" fmla="*/ 3903821 w 6400800"/>
                <a:gd name="connsiteY4566" fmla="*/ 426244 h 514350"/>
                <a:gd name="connsiteX4567" fmla="*/ 3904774 w 6400800"/>
                <a:gd name="connsiteY4567" fmla="*/ 428149 h 514350"/>
                <a:gd name="connsiteX4568" fmla="*/ 3903821 w 6400800"/>
                <a:gd name="connsiteY4568" fmla="*/ 431006 h 514350"/>
                <a:gd name="connsiteX4569" fmla="*/ 3925729 w 6400800"/>
                <a:gd name="connsiteY4569" fmla="*/ 309086 h 514350"/>
                <a:gd name="connsiteX4570" fmla="*/ 3922871 w 6400800"/>
                <a:gd name="connsiteY4570" fmla="*/ 297656 h 514350"/>
                <a:gd name="connsiteX4571" fmla="*/ 3923824 w 6400800"/>
                <a:gd name="connsiteY4571" fmla="*/ 308134 h 514350"/>
                <a:gd name="connsiteX4572" fmla="*/ 3919061 w 6400800"/>
                <a:gd name="connsiteY4572" fmla="*/ 291941 h 514350"/>
                <a:gd name="connsiteX4573" fmla="*/ 3922871 w 6400800"/>
                <a:gd name="connsiteY4573" fmla="*/ 317659 h 514350"/>
                <a:gd name="connsiteX4574" fmla="*/ 3923824 w 6400800"/>
                <a:gd name="connsiteY4574" fmla="*/ 325279 h 514350"/>
                <a:gd name="connsiteX4575" fmla="*/ 3921919 w 6400800"/>
                <a:gd name="connsiteY4575" fmla="*/ 334804 h 514350"/>
                <a:gd name="connsiteX4576" fmla="*/ 3921919 w 6400800"/>
                <a:gd name="connsiteY4576" fmla="*/ 335756 h 514350"/>
                <a:gd name="connsiteX4577" fmla="*/ 3920966 w 6400800"/>
                <a:gd name="connsiteY4577" fmla="*/ 330041 h 514350"/>
                <a:gd name="connsiteX4578" fmla="*/ 3915251 w 6400800"/>
                <a:gd name="connsiteY4578" fmla="*/ 301466 h 514350"/>
                <a:gd name="connsiteX4579" fmla="*/ 3911441 w 6400800"/>
                <a:gd name="connsiteY4579" fmla="*/ 281464 h 514350"/>
                <a:gd name="connsiteX4580" fmla="*/ 3912394 w 6400800"/>
                <a:gd name="connsiteY4580" fmla="*/ 264319 h 514350"/>
                <a:gd name="connsiteX4581" fmla="*/ 3912394 w 6400800"/>
                <a:gd name="connsiteY4581" fmla="*/ 263366 h 514350"/>
                <a:gd name="connsiteX4582" fmla="*/ 3919061 w 6400800"/>
                <a:gd name="connsiteY4582" fmla="*/ 270986 h 514350"/>
                <a:gd name="connsiteX4583" fmla="*/ 3923824 w 6400800"/>
                <a:gd name="connsiteY4583" fmla="*/ 277654 h 514350"/>
                <a:gd name="connsiteX4584" fmla="*/ 3924776 w 6400800"/>
                <a:gd name="connsiteY4584" fmla="*/ 284321 h 514350"/>
                <a:gd name="connsiteX4585" fmla="*/ 3921919 w 6400800"/>
                <a:gd name="connsiteY4585" fmla="*/ 277654 h 514350"/>
                <a:gd name="connsiteX4586" fmla="*/ 3926681 w 6400800"/>
                <a:gd name="connsiteY4586" fmla="*/ 296704 h 514350"/>
                <a:gd name="connsiteX4587" fmla="*/ 3927634 w 6400800"/>
                <a:gd name="connsiteY4587" fmla="*/ 304324 h 514350"/>
                <a:gd name="connsiteX4588" fmla="*/ 3927634 w 6400800"/>
                <a:gd name="connsiteY4588" fmla="*/ 305276 h 514350"/>
                <a:gd name="connsiteX4589" fmla="*/ 3925729 w 6400800"/>
                <a:gd name="connsiteY4589" fmla="*/ 309086 h 514350"/>
                <a:gd name="connsiteX4590" fmla="*/ 3929539 w 6400800"/>
                <a:gd name="connsiteY4590" fmla="*/ 287179 h 514350"/>
                <a:gd name="connsiteX4591" fmla="*/ 3928586 w 6400800"/>
                <a:gd name="connsiteY4591" fmla="*/ 292894 h 514350"/>
                <a:gd name="connsiteX4592" fmla="*/ 3927634 w 6400800"/>
                <a:gd name="connsiteY4592" fmla="*/ 290036 h 514350"/>
                <a:gd name="connsiteX4593" fmla="*/ 3923824 w 6400800"/>
                <a:gd name="connsiteY4593" fmla="*/ 275749 h 514350"/>
                <a:gd name="connsiteX4594" fmla="*/ 3927634 w 6400800"/>
                <a:gd name="connsiteY4594" fmla="*/ 281464 h 514350"/>
                <a:gd name="connsiteX4595" fmla="*/ 3929539 w 6400800"/>
                <a:gd name="connsiteY4595" fmla="*/ 284321 h 514350"/>
                <a:gd name="connsiteX4596" fmla="*/ 3929539 w 6400800"/>
                <a:gd name="connsiteY4596" fmla="*/ 287179 h 514350"/>
                <a:gd name="connsiteX4597" fmla="*/ 3926681 w 6400800"/>
                <a:gd name="connsiteY4597" fmla="*/ 242411 h 514350"/>
                <a:gd name="connsiteX4598" fmla="*/ 3928586 w 6400800"/>
                <a:gd name="connsiteY4598" fmla="*/ 270986 h 514350"/>
                <a:gd name="connsiteX4599" fmla="*/ 3921919 w 6400800"/>
                <a:gd name="connsiteY4599" fmla="*/ 265271 h 514350"/>
                <a:gd name="connsiteX4600" fmla="*/ 3913346 w 6400800"/>
                <a:gd name="connsiteY4600" fmla="*/ 257651 h 514350"/>
                <a:gd name="connsiteX4601" fmla="*/ 3917156 w 6400800"/>
                <a:gd name="connsiteY4601" fmla="*/ 246221 h 514350"/>
                <a:gd name="connsiteX4602" fmla="*/ 3925729 w 6400800"/>
                <a:gd name="connsiteY4602" fmla="*/ 232886 h 514350"/>
                <a:gd name="connsiteX4603" fmla="*/ 3926681 w 6400800"/>
                <a:gd name="connsiteY4603" fmla="*/ 242411 h 514350"/>
                <a:gd name="connsiteX4604" fmla="*/ 3900964 w 6400800"/>
                <a:gd name="connsiteY4604" fmla="*/ 168116 h 514350"/>
                <a:gd name="connsiteX4605" fmla="*/ 3914299 w 6400800"/>
                <a:gd name="connsiteY4605" fmla="*/ 147161 h 514350"/>
                <a:gd name="connsiteX4606" fmla="*/ 3915251 w 6400800"/>
                <a:gd name="connsiteY4606" fmla="*/ 156686 h 514350"/>
                <a:gd name="connsiteX4607" fmla="*/ 3920966 w 6400800"/>
                <a:gd name="connsiteY4607" fmla="*/ 196691 h 514350"/>
                <a:gd name="connsiteX4608" fmla="*/ 3922871 w 6400800"/>
                <a:gd name="connsiteY4608" fmla="*/ 213836 h 514350"/>
                <a:gd name="connsiteX4609" fmla="*/ 3920014 w 6400800"/>
                <a:gd name="connsiteY4609" fmla="*/ 210979 h 514350"/>
                <a:gd name="connsiteX4610" fmla="*/ 3923824 w 6400800"/>
                <a:gd name="connsiteY4610" fmla="*/ 214789 h 514350"/>
                <a:gd name="connsiteX4611" fmla="*/ 3924776 w 6400800"/>
                <a:gd name="connsiteY4611" fmla="*/ 226219 h 514350"/>
                <a:gd name="connsiteX4612" fmla="*/ 3906679 w 6400800"/>
                <a:gd name="connsiteY4612" fmla="*/ 249079 h 514350"/>
                <a:gd name="connsiteX4613" fmla="*/ 3904774 w 6400800"/>
                <a:gd name="connsiteY4613" fmla="*/ 251936 h 514350"/>
                <a:gd name="connsiteX4614" fmla="*/ 3902869 w 6400800"/>
                <a:gd name="connsiteY4614" fmla="*/ 250984 h 514350"/>
                <a:gd name="connsiteX4615" fmla="*/ 3900964 w 6400800"/>
                <a:gd name="connsiteY4615" fmla="*/ 242411 h 514350"/>
                <a:gd name="connsiteX4616" fmla="*/ 3900964 w 6400800"/>
                <a:gd name="connsiteY4616" fmla="*/ 249079 h 514350"/>
                <a:gd name="connsiteX4617" fmla="*/ 3897154 w 6400800"/>
                <a:gd name="connsiteY4617" fmla="*/ 247174 h 514350"/>
                <a:gd name="connsiteX4618" fmla="*/ 3891439 w 6400800"/>
                <a:gd name="connsiteY4618" fmla="*/ 243364 h 514350"/>
                <a:gd name="connsiteX4619" fmla="*/ 3896201 w 6400800"/>
                <a:gd name="connsiteY4619" fmla="*/ 248126 h 514350"/>
                <a:gd name="connsiteX4620" fmla="*/ 3900964 w 6400800"/>
                <a:gd name="connsiteY4620" fmla="*/ 251936 h 514350"/>
                <a:gd name="connsiteX4621" fmla="*/ 3900964 w 6400800"/>
                <a:gd name="connsiteY4621" fmla="*/ 256699 h 514350"/>
                <a:gd name="connsiteX4622" fmla="*/ 3894296 w 6400800"/>
                <a:gd name="connsiteY4622" fmla="*/ 266224 h 514350"/>
                <a:gd name="connsiteX4623" fmla="*/ 3890486 w 6400800"/>
                <a:gd name="connsiteY4623" fmla="*/ 250984 h 514350"/>
                <a:gd name="connsiteX4624" fmla="*/ 3880009 w 6400800"/>
                <a:gd name="connsiteY4624" fmla="*/ 210026 h 514350"/>
                <a:gd name="connsiteX4625" fmla="*/ 3879056 w 6400800"/>
                <a:gd name="connsiteY4625" fmla="*/ 206216 h 514350"/>
                <a:gd name="connsiteX4626" fmla="*/ 3900964 w 6400800"/>
                <a:gd name="connsiteY4626" fmla="*/ 168116 h 514350"/>
                <a:gd name="connsiteX4627" fmla="*/ 3873341 w 6400800"/>
                <a:gd name="connsiteY4627" fmla="*/ 214789 h 514350"/>
                <a:gd name="connsiteX4628" fmla="*/ 3879056 w 6400800"/>
                <a:gd name="connsiteY4628" fmla="*/ 251936 h 514350"/>
                <a:gd name="connsiteX4629" fmla="*/ 3883819 w 6400800"/>
                <a:gd name="connsiteY4629" fmla="*/ 280511 h 514350"/>
                <a:gd name="connsiteX4630" fmla="*/ 3882866 w 6400800"/>
                <a:gd name="connsiteY4630" fmla="*/ 282416 h 514350"/>
                <a:gd name="connsiteX4631" fmla="*/ 3875246 w 6400800"/>
                <a:gd name="connsiteY4631" fmla="*/ 259556 h 514350"/>
                <a:gd name="connsiteX4632" fmla="*/ 3865721 w 6400800"/>
                <a:gd name="connsiteY4632" fmla="*/ 234791 h 514350"/>
                <a:gd name="connsiteX4633" fmla="*/ 3864769 w 6400800"/>
                <a:gd name="connsiteY4633" fmla="*/ 231934 h 514350"/>
                <a:gd name="connsiteX4634" fmla="*/ 3873341 w 6400800"/>
                <a:gd name="connsiteY4634" fmla="*/ 214789 h 514350"/>
                <a:gd name="connsiteX4635" fmla="*/ 3864769 w 6400800"/>
                <a:gd name="connsiteY4635" fmla="*/ 341471 h 514350"/>
                <a:gd name="connsiteX4636" fmla="*/ 3862864 w 6400800"/>
                <a:gd name="connsiteY4636" fmla="*/ 345281 h 514350"/>
                <a:gd name="connsiteX4637" fmla="*/ 3864769 w 6400800"/>
                <a:gd name="connsiteY4637" fmla="*/ 341471 h 514350"/>
                <a:gd name="connsiteX4638" fmla="*/ 3864769 w 6400800"/>
                <a:gd name="connsiteY4638" fmla="*/ 341471 h 514350"/>
                <a:gd name="connsiteX4639" fmla="*/ 3854291 w 6400800"/>
                <a:gd name="connsiteY4639" fmla="*/ 211931 h 514350"/>
                <a:gd name="connsiteX4640" fmla="*/ 3856196 w 6400800"/>
                <a:gd name="connsiteY4640" fmla="*/ 201454 h 514350"/>
                <a:gd name="connsiteX4641" fmla="*/ 3857149 w 6400800"/>
                <a:gd name="connsiteY4641" fmla="*/ 220504 h 514350"/>
                <a:gd name="connsiteX4642" fmla="*/ 3854291 w 6400800"/>
                <a:gd name="connsiteY4642" fmla="*/ 226219 h 514350"/>
                <a:gd name="connsiteX4643" fmla="*/ 3854291 w 6400800"/>
                <a:gd name="connsiteY4643" fmla="*/ 211931 h 514350"/>
                <a:gd name="connsiteX4644" fmla="*/ 3849529 w 6400800"/>
                <a:gd name="connsiteY4644" fmla="*/ 262414 h 514350"/>
                <a:gd name="connsiteX4645" fmla="*/ 3849529 w 6400800"/>
                <a:gd name="connsiteY4645" fmla="*/ 257651 h 514350"/>
                <a:gd name="connsiteX4646" fmla="*/ 3850481 w 6400800"/>
                <a:gd name="connsiteY4646" fmla="*/ 256699 h 514350"/>
                <a:gd name="connsiteX4647" fmla="*/ 3859054 w 6400800"/>
                <a:gd name="connsiteY4647" fmla="*/ 278606 h 514350"/>
                <a:gd name="connsiteX4648" fmla="*/ 3860006 w 6400800"/>
                <a:gd name="connsiteY4648" fmla="*/ 280511 h 514350"/>
                <a:gd name="connsiteX4649" fmla="*/ 3862864 w 6400800"/>
                <a:gd name="connsiteY4649" fmla="*/ 313849 h 514350"/>
                <a:gd name="connsiteX4650" fmla="*/ 3862864 w 6400800"/>
                <a:gd name="connsiteY4650" fmla="*/ 313849 h 514350"/>
                <a:gd name="connsiteX4651" fmla="*/ 3847624 w 6400800"/>
                <a:gd name="connsiteY4651" fmla="*/ 291941 h 514350"/>
                <a:gd name="connsiteX4652" fmla="*/ 3849529 w 6400800"/>
                <a:gd name="connsiteY4652" fmla="*/ 262414 h 514350"/>
                <a:gd name="connsiteX4653" fmla="*/ 3846671 w 6400800"/>
                <a:gd name="connsiteY4653" fmla="*/ 308134 h 514350"/>
                <a:gd name="connsiteX4654" fmla="*/ 3855244 w 6400800"/>
                <a:gd name="connsiteY4654" fmla="*/ 323374 h 514350"/>
                <a:gd name="connsiteX4655" fmla="*/ 3856196 w 6400800"/>
                <a:gd name="connsiteY4655" fmla="*/ 325279 h 514350"/>
                <a:gd name="connsiteX4656" fmla="*/ 3855244 w 6400800"/>
                <a:gd name="connsiteY4656" fmla="*/ 327184 h 514350"/>
                <a:gd name="connsiteX4657" fmla="*/ 3849529 w 6400800"/>
                <a:gd name="connsiteY4657" fmla="*/ 336709 h 514350"/>
                <a:gd name="connsiteX4658" fmla="*/ 3845719 w 6400800"/>
                <a:gd name="connsiteY4658" fmla="*/ 330041 h 514350"/>
                <a:gd name="connsiteX4659" fmla="*/ 3846671 w 6400800"/>
                <a:gd name="connsiteY4659" fmla="*/ 308134 h 514350"/>
                <a:gd name="connsiteX4660" fmla="*/ 3843814 w 6400800"/>
                <a:gd name="connsiteY4660" fmla="*/ 415766 h 514350"/>
                <a:gd name="connsiteX4661" fmla="*/ 3846671 w 6400800"/>
                <a:gd name="connsiteY4661" fmla="*/ 410051 h 514350"/>
                <a:gd name="connsiteX4662" fmla="*/ 3847624 w 6400800"/>
                <a:gd name="connsiteY4662" fmla="*/ 416719 h 514350"/>
                <a:gd name="connsiteX4663" fmla="*/ 3847624 w 6400800"/>
                <a:gd name="connsiteY4663" fmla="*/ 419576 h 514350"/>
                <a:gd name="connsiteX4664" fmla="*/ 3846671 w 6400800"/>
                <a:gd name="connsiteY4664" fmla="*/ 422434 h 514350"/>
                <a:gd name="connsiteX4665" fmla="*/ 3844766 w 6400800"/>
                <a:gd name="connsiteY4665" fmla="*/ 426244 h 514350"/>
                <a:gd name="connsiteX4666" fmla="*/ 3842861 w 6400800"/>
                <a:gd name="connsiteY4666" fmla="*/ 426244 h 514350"/>
                <a:gd name="connsiteX4667" fmla="*/ 3843814 w 6400800"/>
                <a:gd name="connsiteY4667" fmla="*/ 415766 h 514350"/>
                <a:gd name="connsiteX4668" fmla="*/ 3830479 w 6400800"/>
                <a:gd name="connsiteY4668" fmla="*/ 297656 h 514350"/>
                <a:gd name="connsiteX4669" fmla="*/ 3830479 w 6400800"/>
                <a:gd name="connsiteY4669" fmla="*/ 299561 h 514350"/>
                <a:gd name="connsiteX4670" fmla="*/ 3830479 w 6400800"/>
                <a:gd name="connsiteY4670" fmla="*/ 301466 h 514350"/>
                <a:gd name="connsiteX4671" fmla="*/ 3829526 w 6400800"/>
                <a:gd name="connsiteY4671" fmla="*/ 307181 h 514350"/>
                <a:gd name="connsiteX4672" fmla="*/ 3827621 w 6400800"/>
                <a:gd name="connsiteY4672" fmla="*/ 304324 h 514350"/>
                <a:gd name="connsiteX4673" fmla="*/ 3830479 w 6400800"/>
                <a:gd name="connsiteY4673" fmla="*/ 297656 h 514350"/>
                <a:gd name="connsiteX4674" fmla="*/ 3826669 w 6400800"/>
                <a:gd name="connsiteY4674" fmla="*/ 305276 h 514350"/>
                <a:gd name="connsiteX4675" fmla="*/ 3828574 w 6400800"/>
                <a:gd name="connsiteY4675" fmla="*/ 310039 h 514350"/>
                <a:gd name="connsiteX4676" fmla="*/ 3827621 w 6400800"/>
                <a:gd name="connsiteY4676" fmla="*/ 314801 h 514350"/>
                <a:gd name="connsiteX4677" fmla="*/ 3823811 w 6400800"/>
                <a:gd name="connsiteY4677" fmla="*/ 309086 h 514350"/>
                <a:gd name="connsiteX4678" fmla="*/ 3826669 w 6400800"/>
                <a:gd name="connsiteY4678" fmla="*/ 305276 h 514350"/>
                <a:gd name="connsiteX4679" fmla="*/ 3820001 w 6400800"/>
                <a:gd name="connsiteY4679" fmla="*/ 319564 h 514350"/>
                <a:gd name="connsiteX4680" fmla="*/ 3826669 w 6400800"/>
                <a:gd name="connsiteY4680" fmla="*/ 332899 h 514350"/>
                <a:gd name="connsiteX4681" fmla="*/ 3827621 w 6400800"/>
                <a:gd name="connsiteY4681" fmla="*/ 333851 h 514350"/>
                <a:gd name="connsiteX4682" fmla="*/ 3826669 w 6400800"/>
                <a:gd name="connsiteY4682" fmla="*/ 343376 h 514350"/>
                <a:gd name="connsiteX4683" fmla="*/ 3824764 w 6400800"/>
                <a:gd name="connsiteY4683" fmla="*/ 377666 h 514350"/>
                <a:gd name="connsiteX4684" fmla="*/ 3820954 w 6400800"/>
                <a:gd name="connsiteY4684" fmla="*/ 364331 h 514350"/>
                <a:gd name="connsiteX4685" fmla="*/ 3820001 w 6400800"/>
                <a:gd name="connsiteY4685" fmla="*/ 352901 h 514350"/>
                <a:gd name="connsiteX4686" fmla="*/ 3818096 w 6400800"/>
                <a:gd name="connsiteY4686" fmla="*/ 336709 h 514350"/>
                <a:gd name="connsiteX4687" fmla="*/ 3821906 w 6400800"/>
                <a:gd name="connsiteY4687" fmla="*/ 332899 h 514350"/>
                <a:gd name="connsiteX4688" fmla="*/ 3818096 w 6400800"/>
                <a:gd name="connsiteY4688" fmla="*/ 335756 h 514350"/>
                <a:gd name="connsiteX4689" fmla="*/ 3817144 w 6400800"/>
                <a:gd name="connsiteY4689" fmla="*/ 326231 h 514350"/>
                <a:gd name="connsiteX4690" fmla="*/ 3820001 w 6400800"/>
                <a:gd name="connsiteY4690" fmla="*/ 319564 h 514350"/>
                <a:gd name="connsiteX4691" fmla="*/ 3788569 w 6400800"/>
                <a:gd name="connsiteY4691" fmla="*/ 264319 h 514350"/>
                <a:gd name="connsiteX4692" fmla="*/ 3792379 w 6400800"/>
                <a:gd name="connsiteY4692" fmla="*/ 270986 h 514350"/>
                <a:gd name="connsiteX4693" fmla="*/ 3800951 w 6400800"/>
                <a:gd name="connsiteY4693" fmla="*/ 285274 h 514350"/>
                <a:gd name="connsiteX4694" fmla="*/ 3800951 w 6400800"/>
                <a:gd name="connsiteY4694" fmla="*/ 287179 h 514350"/>
                <a:gd name="connsiteX4695" fmla="*/ 3800951 w 6400800"/>
                <a:gd name="connsiteY4695" fmla="*/ 298609 h 514350"/>
                <a:gd name="connsiteX4696" fmla="*/ 3800951 w 6400800"/>
                <a:gd name="connsiteY4696" fmla="*/ 300514 h 514350"/>
                <a:gd name="connsiteX4697" fmla="*/ 3797141 w 6400800"/>
                <a:gd name="connsiteY4697" fmla="*/ 287179 h 514350"/>
                <a:gd name="connsiteX4698" fmla="*/ 3796189 w 6400800"/>
                <a:gd name="connsiteY4698" fmla="*/ 285274 h 514350"/>
                <a:gd name="connsiteX4699" fmla="*/ 3796189 w 6400800"/>
                <a:gd name="connsiteY4699" fmla="*/ 280511 h 514350"/>
                <a:gd name="connsiteX4700" fmla="*/ 3795236 w 6400800"/>
                <a:gd name="connsiteY4700" fmla="*/ 283369 h 514350"/>
                <a:gd name="connsiteX4701" fmla="*/ 3791426 w 6400800"/>
                <a:gd name="connsiteY4701" fmla="*/ 271939 h 514350"/>
                <a:gd name="connsiteX4702" fmla="*/ 3788569 w 6400800"/>
                <a:gd name="connsiteY4702" fmla="*/ 264319 h 514350"/>
                <a:gd name="connsiteX4703" fmla="*/ 3748564 w 6400800"/>
                <a:gd name="connsiteY4703" fmla="*/ 364331 h 514350"/>
                <a:gd name="connsiteX4704" fmla="*/ 3748564 w 6400800"/>
                <a:gd name="connsiteY4704" fmla="*/ 351949 h 514350"/>
                <a:gd name="connsiteX4705" fmla="*/ 3750469 w 6400800"/>
                <a:gd name="connsiteY4705" fmla="*/ 358616 h 514350"/>
                <a:gd name="connsiteX4706" fmla="*/ 3748564 w 6400800"/>
                <a:gd name="connsiteY4706" fmla="*/ 364331 h 514350"/>
                <a:gd name="connsiteX4707" fmla="*/ 3762851 w 6400800"/>
                <a:gd name="connsiteY4707" fmla="*/ 399574 h 514350"/>
                <a:gd name="connsiteX4708" fmla="*/ 3759994 w 6400800"/>
                <a:gd name="connsiteY4708" fmla="*/ 405289 h 514350"/>
                <a:gd name="connsiteX4709" fmla="*/ 3760946 w 6400800"/>
                <a:gd name="connsiteY4709" fmla="*/ 391954 h 514350"/>
                <a:gd name="connsiteX4710" fmla="*/ 3760946 w 6400800"/>
                <a:gd name="connsiteY4710" fmla="*/ 391001 h 514350"/>
                <a:gd name="connsiteX4711" fmla="*/ 3762851 w 6400800"/>
                <a:gd name="connsiteY4711" fmla="*/ 396716 h 514350"/>
                <a:gd name="connsiteX4712" fmla="*/ 3762851 w 6400800"/>
                <a:gd name="connsiteY4712" fmla="*/ 399574 h 514350"/>
                <a:gd name="connsiteX4713" fmla="*/ 3770471 w 6400800"/>
                <a:gd name="connsiteY4713" fmla="*/ 290036 h 514350"/>
                <a:gd name="connsiteX4714" fmla="*/ 3775234 w 6400800"/>
                <a:gd name="connsiteY4714" fmla="*/ 309086 h 514350"/>
                <a:gd name="connsiteX4715" fmla="*/ 3771424 w 6400800"/>
                <a:gd name="connsiteY4715" fmla="*/ 301466 h 514350"/>
                <a:gd name="connsiteX4716" fmla="*/ 3770471 w 6400800"/>
                <a:gd name="connsiteY4716" fmla="*/ 299561 h 514350"/>
                <a:gd name="connsiteX4717" fmla="*/ 3770471 w 6400800"/>
                <a:gd name="connsiteY4717" fmla="*/ 290989 h 514350"/>
                <a:gd name="connsiteX4718" fmla="*/ 3770471 w 6400800"/>
                <a:gd name="connsiteY4718" fmla="*/ 290036 h 514350"/>
                <a:gd name="connsiteX4719" fmla="*/ 3769519 w 6400800"/>
                <a:gd name="connsiteY4719" fmla="*/ 370046 h 514350"/>
                <a:gd name="connsiteX4720" fmla="*/ 3770471 w 6400800"/>
                <a:gd name="connsiteY4720" fmla="*/ 372904 h 514350"/>
                <a:gd name="connsiteX4721" fmla="*/ 3767614 w 6400800"/>
                <a:gd name="connsiteY4721" fmla="*/ 366236 h 514350"/>
                <a:gd name="connsiteX4722" fmla="*/ 3767614 w 6400800"/>
                <a:gd name="connsiteY4722" fmla="*/ 359569 h 514350"/>
                <a:gd name="connsiteX4723" fmla="*/ 3766661 w 6400800"/>
                <a:gd name="connsiteY4723" fmla="*/ 364331 h 514350"/>
                <a:gd name="connsiteX4724" fmla="*/ 3764756 w 6400800"/>
                <a:gd name="connsiteY4724" fmla="*/ 360521 h 514350"/>
                <a:gd name="connsiteX4725" fmla="*/ 3764756 w 6400800"/>
                <a:gd name="connsiteY4725" fmla="*/ 357664 h 514350"/>
                <a:gd name="connsiteX4726" fmla="*/ 3765709 w 6400800"/>
                <a:gd name="connsiteY4726" fmla="*/ 351949 h 514350"/>
                <a:gd name="connsiteX4727" fmla="*/ 3769519 w 6400800"/>
                <a:gd name="connsiteY4727" fmla="*/ 370046 h 514350"/>
                <a:gd name="connsiteX4728" fmla="*/ 3753326 w 6400800"/>
                <a:gd name="connsiteY4728" fmla="*/ 250031 h 514350"/>
                <a:gd name="connsiteX4729" fmla="*/ 3755231 w 6400800"/>
                <a:gd name="connsiteY4729" fmla="*/ 236696 h 514350"/>
                <a:gd name="connsiteX4730" fmla="*/ 3756184 w 6400800"/>
                <a:gd name="connsiteY4730" fmla="*/ 232886 h 514350"/>
                <a:gd name="connsiteX4731" fmla="*/ 3758089 w 6400800"/>
                <a:gd name="connsiteY4731" fmla="*/ 230029 h 514350"/>
                <a:gd name="connsiteX4732" fmla="*/ 3759994 w 6400800"/>
                <a:gd name="connsiteY4732" fmla="*/ 237649 h 514350"/>
                <a:gd name="connsiteX4733" fmla="*/ 3769519 w 6400800"/>
                <a:gd name="connsiteY4733" fmla="*/ 281464 h 514350"/>
                <a:gd name="connsiteX4734" fmla="*/ 3767614 w 6400800"/>
                <a:gd name="connsiteY4734" fmla="*/ 290036 h 514350"/>
                <a:gd name="connsiteX4735" fmla="*/ 3767614 w 6400800"/>
                <a:gd name="connsiteY4735" fmla="*/ 290989 h 514350"/>
                <a:gd name="connsiteX4736" fmla="*/ 3752374 w 6400800"/>
                <a:gd name="connsiteY4736" fmla="*/ 261461 h 514350"/>
                <a:gd name="connsiteX4737" fmla="*/ 3753326 w 6400800"/>
                <a:gd name="connsiteY4737" fmla="*/ 250031 h 514350"/>
                <a:gd name="connsiteX4738" fmla="*/ 3748564 w 6400800"/>
                <a:gd name="connsiteY4738" fmla="*/ 296704 h 514350"/>
                <a:gd name="connsiteX4739" fmla="*/ 3748564 w 6400800"/>
                <a:gd name="connsiteY4739" fmla="*/ 296704 h 514350"/>
                <a:gd name="connsiteX4740" fmla="*/ 3756184 w 6400800"/>
                <a:gd name="connsiteY4740" fmla="*/ 313849 h 514350"/>
                <a:gd name="connsiteX4741" fmla="*/ 3757136 w 6400800"/>
                <a:gd name="connsiteY4741" fmla="*/ 316706 h 514350"/>
                <a:gd name="connsiteX4742" fmla="*/ 3759041 w 6400800"/>
                <a:gd name="connsiteY4742" fmla="*/ 323374 h 514350"/>
                <a:gd name="connsiteX4743" fmla="*/ 3757136 w 6400800"/>
                <a:gd name="connsiteY4743" fmla="*/ 330041 h 514350"/>
                <a:gd name="connsiteX4744" fmla="*/ 3754279 w 6400800"/>
                <a:gd name="connsiteY4744" fmla="*/ 341471 h 514350"/>
                <a:gd name="connsiteX4745" fmla="*/ 3750469 w 6400800"/>
                <a:gd name="connsiteY4745" fmla="*/ 335756 h 514350"/>
                <a:gd name="connsiteX4746" fmla="*/ 3747611 w 6400800"/>
                <a:gd name="connsiteY4746" fmla="*/ 331946 h 514350"/>
                <a:gd name="connsiteX4747" fmla="*/ 3748564 w 6400800"/>
                <a:gd name="connsiteY4747" fmla="*/ 296704 h 514350"/>
                <a:gd name="connsiteX4748" fmla="*/ 3738086 w 6400800"/>
                <a:gd name="connsiteY4748" fmla="*/ 273844 h 514350"/>
                <a:gd name="connsiteX4749" fmla="*/ 3738086 w 6400800"/>
                <a:gd name="connsiteY4749" fmla="*/ 273844 h 514350"/>
                <a:gd name="connsiteX4750" fmla="*/ 3738086 w 6400800"/>
                <a:gd name="connsiteY4750" fmla="*/ 274796 h 514350"/>
                <a:gd name="connsiteX4751" fmla="*/ 3738086 w 6400800"/>
                <a:gd name="connsiteY4751" fmla="*/ 273844 h 514350"/>
                <a:gd name="connsiteX4752" fmla="*/ 3689509 w 6400800"/>
                <a:gd name="connsiteY4752" fmla="*/ 326231 h 514350"/>
                <a:gd name="connsiteX4753" fmla="*/ 3686651 w 6400800"/>
                <a:gd name="connsiteY4753" fmla="*/ 331946 h 514350"/>
                <a:gd name="connsiteX4754" fmla="*/ 3685699 w 6400800"/>
                <a:gd name="connsiteY4754" fmla="*/ 330994 h 514350"/>
                <a:gd name="connsiteX4755" fmla="*/ 3685699 w 6400800"/>
                <a:gd name="connsiteY4755" fmla="*/ 322421 h 514350"/>
                <a:gd name="connsiteX4756" fmla="*/ 3685699 w 6400800"/>
                <a:gd name="connsiteY4756" fmla="*/ 313849 h 514350"/>
                <a:gd name="connsiteX4757" fmla="*/ 3689509 w 6400800"/>
                <a:gd name="connsiteY4757" fmla="*/ 325279 h 514350"/>
                <a:gd name="connsiteX4758" fmla="*/ 3689509 w 6400800"/>
                <a:gd name="connsiteY4758" fmla="*/ 326231 h 514350"/>
                <a:gd name="connsiteX4759" fmla="*/ 3716179 w 6400800"/>
                <a:gd name="connsiteY4759" fmla="*/ 211931 h 514350"/>
                <a:gd name="connsiteX4760" fmla="*/ 3720941 w 6400800"/>
                <a:gd name="connsiteY4760" fmla="*/ 221456 h 514350"/>
                <a:gd name="connsiteX4761" fmla="*/ 3719036 w 6400800"/>
                <a:gd name="connsiteY4761" fmla="*/ 230029 h 514350"/>
                <a:gd name="connsiteX4762" fmla="*/ 3718084 w 6400800"/>
                <a:gd name="connsiteY4762" fmla="*/ 233839 h 514350"/>
                <a:gd name="connsiteX4763" fmla="*/ 3713321 w 6400800"/>
                <a:gd name="connsiteY4763" fmla="*/ 228124 h 514350"/>
                <a:gd name="connsiteX4764" fmla="*/ 3717131 w 6400800"/>
                <a:gd name="connsiteY4764" fmla="*/ 235744 h 514350"/>
                <a:gd name="connsiteX4765" fmla="*/ 3714274 w 6400800"/>
                <a:gd name="connsiteY4765" fmla="*/ 253841 h 514350"/>
                <a:gd name="connsiteX4766" fmla="*/ 3714274 w 6400800"/>
                <a:gd name="connsiteY4766" fmla="*/ 250984 h 514350"/>
                <a:gd name="connsiteX4767" fmla="*/ 3713321 w 6400800"/>
                <a:gd name="connsiteY4767" fmla="*/ 238601 h 514350"/>
                <a:gd name="connsiteX4768" fmla="*/ 3713321 w 6400800"/>
                <a:gd name="connsiteY4768" fmla="*/ 227171 h 514350"/>
                <a:gd name="connsiteX4769" fmla="*/ 3712369 w 6400800"/>
                <a:gd name="connsiteY4769" fmla="*/ 208121 h 514350"/>
                <a:gd name="connsiteX4770" fmla="*/ 3712369 w 6400800"/>
                <a:gd name="connsiteY4770" fmla="*/ 205264 h 514350"/>
                <a:gd name="connsiteX4771" fmla="*/ 3716179 w 6400800"/>
                <a:gd name="connsiteY4771" fmla="*/ 211931 h 514350"/>
                <a:gd name="connsiteX4772" fmla="*/ 3679984 w 6400800"/>
                <a:gd name="connsiteY4772" fmla="*/ 236696 h 514350"/>
                <a:gd name="connsiteX4773" fmla="*/ 3684746 w 6400800"/>
                <a:gd name="connsiteY4773" fmla="*/ 196691 h 514350"/>
                <a:gd name="connsiteX4774" fmla="*/ 3687604 w 6400800"/>
                <a:gd name="connsiteY4774" fmla="*/ 166211 h 514350"/>
                <a:gd name="connsiteX4775" fmla="*/ 3688556 w 6400800"/>
                <a:gd name="connsiteY4775" fmla="*/ 154781 h 514350"/>
                <a:gd name="connsiteX4776" fmla="*/ 3699034 w 6400800"/>
                <a:gd name="connsiteY4776" fmla="*/ 178594 h 514350"/>
                <a:gd name="connsiteX4777" fmla="*/ 3708559 w 6400800"/>
                <a:gd name="connsiteY4777" fmla="*/ 199549 h 514350"/>
                <a:gd name="connsiteX4778" fmla="*/ 3707606 w 6400800"/>
                <a:gd name="connsiteY4778" fmla="*/ 207169 h 514350"/>
                <a:gd name="connsiteX4779" fmla="*/ 3704749 w 6400800"/>
                <a:gd name="connsiteY4779" fmla="*/ 226219 h 514350"/>
                <a:gd name="connsiteX4780" fmla="*/ 3702844 w 6400800"/>
                <a:gd name="connsiteY4780" fmla="*/ 237649 h 514350"/>
                <a:gd name="connsiteX4781" fmla="*/ 3701891 w 6400800"/>
                <a:gd name="connsiteY4781" fmla="*/ 250984 h 514350"/>
                <a:gd name="connsiteX4782" fmla="*/ 3700939 w 6400800"/>
                <a:gd name="connsiteY4782" fmla="*/ 280511 h 514350"/>
                <a:gd name="connsiteX4783" fmla="*/ 3700939 w 6400800"/>
                <a:gd name="connsiteY4783" fmla="*/ 300514 h 514350"/>
                <a:gd name="connsiteX4784" fmla="*/ 3697129 w 6400800"/>
                <a:gd name="connsiteY4784" fmla="*/ 290036 h 514350"/>
                <a:gd name="connsiteX4785" fmla="*/ 3699034 w 6400800"/>
                <a:gd name="connsiteY4785" fmla="*/ 308134 h 514350"/>
                <a:gd name="connsiteX4786" fmla="*/ 3690461 w 6400800"/>
                <a:gd name="connsiteY4786" fmla="*/ 322421 h 514350"/>
                <a:gd name="connsiteX4787" fmla="*/ 3683794 w 6400800"/>
                <a:gd name="connsiteY4787" fmla="*/ 310991 h 514350"/>
                <a:gd name="connsiteX4788" fmla="*/ 3683794 w 6400800"/>
                <a:gd name="connsiteY4788" fmla="*/ 302419 h 514350"/>
                <a:gd name="connsiteX4789" fmla="*/ 3682841 w 6400800"/>
                <a:gd name="connsiteY4789" fmla="*/ 308134 h 514350"/>
                <a:gd name="connsiteX4790" fmla="*/ 3679031 w 6400800"/>
                <a:gd name="connsiteY4790" fmla="*/ 302419 h 514350"/>
                <a:gd name="connsiteX4791" fmla="*/ 3681889 w 6400800"/>
                <a:gd name="connsiteY4791" fmla="*/ 310991 h 514350"/>
                <a:gd name="connsiteX4792" fmla="*/ 3679984 w 6400800"/>
                <a:gd name="connsiteY4792" fmla="*/ 323374 h 514350"/>
                <a:gd name="connsiteX4793" fmla="*/ 3672364 w 6400800"/>
                <a:gd name="connsiteY4793" fmla="*/ 307181 h 514350"/>
                <a:gd name="connsiteX4794" fmla="*/ 3677126 w 6400800"/>
                <a:gd name="connsiteY4794" fmla="*/ 289084 h 514350"/>
                <a:gd name="connsiteX4795" fmla="*/ 3681889 w 6400800"/>
                <a:gd name="connsiteY4795" fmla="*/ 272891 h 514350"/>
                <a:gd name="connsiteX4796" fmla="*/ 3686651 w 6400800"/>
                <a:gd name="connsiteY4796" fmla="*/ 260509 h 514350"/>
                <a:gd name="connsiteX4797" fmla="*/ 3692366 w 6400800"/>
                <a:gd name="connsiteY4797" fmla="*/ 250031 h 514350"/>
                <a:gd name="connsiteX4798" fmla="*/ 3683794 w 6400800"/>
                <a:gd name="connsiteY4798" fmla="*/ 258604 h 514350"/>
                <a:gd name="connsiteX4799" fmla="*/ 3675221 w 6400800"/>
                <a:gd name="connsiteY4799" fmla="*/ 270034 h 514350"/>
                <a:gd name="connsiteX4800" fmla="*/ 3671411 w 6400800"/>
                <a:gd name="connsiteY4800" fmla="*/ 275749 h 514350"/>
                <a:gd name="connsiteX4801" fmla="*/ 3679984 w 6400800"/>
                <a:gd name="connsiteY4801" fmla="*/ 236696 h 514350"/>
                <a:gd name="connsiteX4802" fmla="*/ 3678079 w 6400800"/>
                <a:gd name="connsiteY4802" fmla="*/ 342424 h 514350"/>
                <a:gd name="connsiteX4803" fmla="*/ 3677126 w 6400800"/>
                <a:gd name="connsiteY4803" fmla="*/ 349091 h 514350"/>
                <a:gd name="connsiteX4804" fmla="*/ 3676174 w 6400800"/>
                <a:gd name="connsiteY4804" fmla="*/ 343376 h 514350"/>
                <a:gd name="connsiteX4805" fmla="*/ 3674269 w 6400800"/>
                <a:gd name="connsiteY4805" fmla="*/ 335756 h 514350"/>
                <a:gd name="connsiteX4806" fmla="*/ 3678079 w 6400800"/>
                <a:gd name="connsiteY4806" fmla="*/ 342424 h 514350"/>
                <a:gd name="connsiteX4807" fmla="*/ 3664744 w 6400800"/>
                <a:gd name="connsiteY4807" fmla="*/ 355759 h 514350"/>
                <a:gd name="connsiteX4808" fmla="*/ 3664744 w 6400800"/>
                <a:gd name="connsiteY4808" fmla="*/ 362426 h 514350"/>
                <a:gd name="connsiteX4809" fmla="*/ 3663791 w 6400800"/>
                <a:gd name="connsiteY4809" fmla="*/ 371951 h 514350"/>
                <a:gd name="connsiteX4810" fmla="*/ 3663791 w 6400800"/>
                <a:gd name="connsiteY4810" fmla="*/ 371951 h 514350"/>
                <a:gd name="connsiteX4811" fmla="*/ 3662839 w 6400800"/>
                <a:gd name="connsiteY4811" fmla="*/ 367189 h 514350"/>
                <a:gd name="connsiteX4812" fmla="*/ 3662839 w 6400800"/>
                <a:gd name="connsiteY4812" fmla="*/ 366236 h 514350"/>
                <a:gd name="connsiteX4813" fmla="*/ 3664744 w 6400800"/>
                <a:gd name="connsiteY4813" fmla="*/ 355759 h 514350"/>
                <a:gd name="connsiteX4814" fmla="*/ 3603784 w 6400800"/>
                <a:gd name="connsiteY4814" fmla="*/ 369094 h 514350"/>
                <a:gd name="connsiteX4815" fmla="*/ 3602831 w 6400800"/>
                <a:gd name="connsiteY4815" fmla="*/ 363379 h 514350"/>
                <a:gd name="connsiteX4816" fmla="*/ 3605689 w 6400800"/>
                <a:gd name="connsiteY4816" fmla="*/ 352901 h 514350"/>
                <a:gd name="connsiteX4817" fmla="*/ 3606641 w 6400800"/>
                <a:gd name="connsiteY4817" fmla="*/ 350044 h 514350"/>
                <a:gd name="connsiteX4818" fmla="*/ 3607594 w 6400800"/>
                <a:gd name="connsiteY4818" fmla="*/ 352901 h 514350"/>
                <a:gd name="connsiteX4819" fmla="*/ 3607594 w 6400800"/>
                <a:gd name="connsiteY4819" fmla="*/ 353854 h 514350"/>
                <a:gd name="connsiteX4820" fmla="*/ 3603784 w 6400800"/>
                <a:gd name="connsiteY4820" fmla="*/ 369094 h 514350"/>
                <a:gd name="connsiteX4821" fmla="*/ 3612356 w 6400800"/>
                <a:gd name="connsiteY4821" fmla="*/ 329089 h 514350"/>
                <a:gd name="connsiteX4822" fmla="*/ 3611404 w 6400800"/>
                <a:gd name="connsiteY4822" fmla="*/ 327184 h 514350"/>
                <a:gd name="connsiteX4823" fmla="*/ 3610451 w 6400800"/>
                <a:gd name="connsiteY4823" fmla="*/ 321469 h 514350"/>
                <a:gd name="connsiteX4824" fmla="*/ 3613309 w 6400800"/>
                <a:gd name="connsiteY4824" fmla="*/ 324326 h 514350"/>
                <a:gd name="connsiteX4825" fmla="*/ 3612356 w 6400800"/>
                <a:gd name="connsiteY4825" fmla="*/ 329089 h 514350"/>
                <a:gd name="connsiteX4826" fmla="*/ 3633311 w 6400800"/>
                <a:gd name="connsiteY4826" fmla="*/ 366236 h 514350"/>
                <a:gd name="connsiteX4827" fmla="*/ 3629501 w 6400800"/>
                <a:gd name="connsiteY4827" fmla="*/ 358616 h 514350"/>
                <a:gd name="connsiteX4828" fmla="*/ 3629501 w 6400800"/>
                <a:gd name="connsiteY4828" fmla="*/ 354806 h 514350"/>
                <a:gd name="connsiteX4829" fmla="*/ 3633311 w 6400800"/>
                <a:gd name="connsiteY4829" fmla="*/ 366236 h 514350"/>
                <a:gd name="connsiteX4830" fmla="*/ 3633311 w 6400800"/>
                <a:gd name="connsiteY4830" fmla="*/ 366236 h 514350"/>
                <a:gd name="connsiteX4831" fmla="*/ 3633311 w 6400800"/>
                <a:gd name="connsiteY4831" fmla="*/ 366236 h 514350"/>
                <a:gd name="connsiteX4832" fmla="*/ 3632359 w 6400800"/>
                <a:gd name="connsiteY4832" fmla="*/ 331946 h 514350"/>
                <a:gd name="connsiteX4833" fmla="*/ 3635216 w 6400800"/>
                <a:gd name="connsiteY4833" fmla="*/ 348139 h 514350"/>
                <a:gd name="connsiteX4834" fmla="*/ 3631406 w 6400800"/>
                <a:gd name="connsiteY4834" fmla="*/ 341471 h 514350"/>
                <a:gd name="connsiteX4835" fmla="*/ 3632359 w 6400800"/>
                <a:gd name="connsiteY4835" fmla="*/ 331946 h 514350"/>
                <a:gd name="connsiteX4836" fmla="*/ 3618071 w 6400800"/>
                <a:gd name="connsiteY4836" fmla="*/ 270034 h 514350"/>
                <a:gd name="connsiteX4837" fmla="*/ 3628549 w 6400800"/>
                <a:gd name="connsiteY4837" fmla="*/ 246221 h 514350"/>
                <a:gd name="connsiteX4838" fmla="*/ 3630454 w 6400800"/>
                <a:gd name="connsiteY4838" fmla="*/ 242411 h 514350"/>
                <a:gd name="connsiteX4839" fmla="*/ 3625691 w 6400800"/>
                <a:gd name="connsiteY4839" fmla="*/ 265271 h 514350"/>
                <a:gd name="connsiteX4840" fmla="*/ 3618071 w 6400800"/>
                <a:gd name="connsiteY4840" fmla="*/ 271939 h 514350"/>
                <a:gd name="connsiteX4841" fmla="*/ 3618071 w 6400800"/>
                <a:gd name="connsiteY4841" fmla="*/ 270034 h 514350"/>
                <a:gd name="connsiteX4842" fmla="*/ 3601879 w 6400800"/>
                <a:gd name="connsiteY4842" fmla="*/ 310039 h 514350"/>
                <a:gd name="connsiteX4843" fmla="*/ 3606641 w 6400800"/>
                <a:gd name="connsiteY4843" fmla="*/ 298609 h 514350"/>
                <a:gd name="connsiteX4844" fmla="*/ 3615214 w 6400800"/>
                <a:gd name="connsiteY4844" fmla="*/ 278606 h 514350"/>
                <a:gd name="connsiteX4845" fmla="*/ 3619976 w 6400800"/>
                <a:gd name="connsiteY4845" fmla="*/ 271939 h 514350"/>
                <a:gd name="connsiteX4846" fmla="*/ 3625691 w 6400800"/>
                <a:gd name="connsiteY4846" fmla="*/ 266224 h 514350"/>
                <a:gd name="connsiteX4847" fmla="*/ 3624739 w 6400800"/>
                <a:gd name="connsiteY4847" fmla="*/ 270986 h 514350"/>
                <a:gd name="connsiteX4848" fmla="*/ 3617119 w 6400800"/>
                <a:gd name="connsiteY4848" fmla="*/ 309086 h 514350"/>
                <a:gd name="connsiteX4849" fmla="*/ 3614261 w 6400800"/>
                <a:gd name="connsiteY4849" fmla="*/ 322421 h 514350"/>
                <a:gd name="connsiteX4850" fmla="*/ 3611404 w 6400800"/>
                <a:gd name="connsiteY4850" fmla="*/ 320516 h 514350"/>
                <a:gd name="connsiteX4851" fmla="*/ 3609499 w 6400800"/>
                <a:gd name="connsiteY4851" fmla="*/ 298609 h 514350"/>
                <a:gd name="connsiteX4852" fmla="*/ 3608546 w 6400800"/>
                <a:gd name="connsiteY4852" fmla="*/ 318611 h 514350"/>
                <a:gd name="connsiteX4853" fmla="*/ 3606641 w 6400800"/>
                <a:gd name="connsiteY4853" fmla="*/ 317659 h 514350"/>
                <a:gd name="connsiteX4854" fmla="*/ 3608546 w 6400800"/>
                <a:gd name="connsiteY4854" fmla="*/ 319564 h 514350"/>
                <a:gd name="connsiteX4855" fmla="*/ 3608546 w 6400800"/>
                <a:gd name="connsiteY4855" fmla="*/ 322421 h 514350"/>
                <a:gd name="connsiteX4856" fmla="*/ 3602831 w 6400800"/>
                <a:gd name="connsiteY4856" fmla="*/ 312896 h 514350"/>
                <a:gd name="connsiteX4857" fmla="*/ 3601879 w 6400800"/>
                <a:gd name="connsiteY4857" fmla="*/ 310039 h 514350"/>
                <a:gd name="connsiteX4858" fmla="*/ 3600926 w 6400800"/>
                <a:gd name="connsiteY4858" fmla="*/ 335756 h 514350"/>
                <a:gd name="connsiteX4859" fmla="*/ 3604736 w 6400800"/>
                <a:gd name="connsiteY4859" fmla="*/ 346234 h 514350"/>
                <a:gd name="connsiteX4860" fmla="*/ 3601879 w 6400800"/>
                <a:gd name="connsiteY4860" fmla="*/ 351949 h 514350"/>
                <a:gd name="connsiteX4861" fmla="*/ 3600926 w 6400800"/>
                <a:gd name="connsiteY4861" fmla="*/ 352901 h 514350"/>
                <a:gd name="connsiteX4862" fmla="*/ 3599974 w 6400800"/>
                <a:gd name="connsiteY4862" fmla="*/ 345281 h 514350"/>
                <a:gd name="connsiteX4863" fmla="*/ 3600926 w 6400800"/>
                <a:gd name="connsiteY4863" fmla="*/ 335756 h 514350"/>
                <a:gd name="connsiteX4864" fmla="*/ 3556159 w 6400800"/>
                <a:gd name="connsiteY4864" fmla="*/ 342424 h 514350"/>
                <a:gd name="connsiteX4865" fmla="*/ 3557111 w 6400800"/>
                <a:gd name="connsiteY4865" fmla="*/ 324326 h 514350"/>
                <a:gd name="connsiteX4866" fmla="*/ 3558064 w 6400800"/>
                <a:gd name="connsiteY4866" fmla="*/ 328136 h 514350"/>
                <a:gd name="connsiteX4867" fmla="*/ 3559016 w 6400800"/>
                <a:gd name="connsiteY4867" fmla="*/ 333851 h 514350"/>
                <a:gd name="connsiteX4868" fmla="*/ 3559016 w 6400800"/>
                <a:gd name="connsiteY4868" fmla="*/ 334804 h 514350"/>
                <a:gd name="connsiteX4869" fmla="*/ 3556159 w 6400800"/>
                <a:gd name="connsiteY4869" fmla="*/ 342424 h 514350"/>
                <a:gd name="connsiteX4870" fmla="*/ 3559969 w 6400800"/>
                <a:gd name="connsiteY4870" fmla="*/ 279559 h 514350"/>
                <a:gd name="connsiteX4871" fmla="*/ 3559016 w 6400800"/>
                <a:gd name="connsiteY4871" fmla="*/ 274796 h 514350"/>
                <a:gd name="connsiteX4872" fmla="*/ 3561874 w 6400800"/>
                <a:gd name="connsiteY4872" fmla="*/ 276701 h 514350"/>
                <a:gd name="connsiteX4873" fmla="*/ 3566636 w 6400800"/>
                <a:gd name="connsiteY4873" fmla="*/ 280511 h 514350"/>
                <a:gd name="connsiteX4874" fmla="*/ 3562826 w 6400800"/>
                <a:gd name="connsiteY4874" fmla="*/ 287179 h 514350"/>
                <a:gd name="connsiteX4875" fmla="*/ 3559969 w 6400800"/>
                <a:gd name="connsiteY4875" fmla="*/ 279559 h 514350"/>
                <a:gd name="connsiteX4876" fmla="*/ 3571399 w 6400800"/>
                <a:gd name="connsiteY4876" fmla="*/ 287179 h 514350"/>
                <a:gd name="connsiteX4877" fmla="*/ 3571399 w 6400800"/>
                <a:gd name="connsiteY4877" fmla="*/ 311944 h 514350"/>
                <a:gd name="connsiteX4878" fmla="*/ 3569494 w 6400800"/>
                <a:gd name="connsiteY4878" fmla="*/ 314801 h 514350"/>
                <a:gd name="connsiteX4879" fmla="*/ 3562826 w 6400800"/>
                <a:gd name="connsiteY4879" fmla="*/ 292894 h 514350"/>
                <a:gd name="connsiteX4880" fmla="*/ 3566636 w 6400800"/>
                <a:gd name="connsiteY4880" fmla="*/ 282416 h 514350"/>
                <a:gd name="connsiteX4881" fmla="*/ 3571399 w 6400800"/>
                <a:gd name="connsiteY4881" fmla="*/ 287179 h 514350"/>
                <a:gd name="connsiteX4882" fmla="*/ 3571399 w 6400800"/>
                <a:gd name="connsiteY4882" fmla="*/ 287179 h 514350"/>
                <a:gd name="connsiteX4883" fmla="*/ 3571399 w 6400800"/>
                <a:gd name="connsiteY4883" fmla="*/ 281464 h 514350"/>
                <a:gd name="connsiteX4884" fmla="*/ 3568541 w 6400800"/>
                <a:gd name="connsiteY4884" fmla="*/ 279559 h 514350"/>
                <a:gd name="connsiteX4885" fmla="*/ 3568541 w 6400800"/>
                <a:gd name="connsiteY4885" fmla="*/ 279559 h 514350"/>
                <a:gd name="connsiteX4886" fmla="*/ 3571399 w 6400800"/>
                <a:gd name="connsiteY4886" fmla="*/ 273844 h 514350"/>
                <a:gd name="connsiteX4887" fmla="*/ 3571399 w 6400800"/>
                <a:gd name="connsiteY4887" fmla="*/ 281464 h 514350"/>
                <a:gd name="connsiteX4888" fmla="*/ 3567589 w 6400800"/>
                <a:gd name="connsiteY4888" fmla="*/ 250031 h 514350"/>
                <a:gd name="connsiteX4889" fmla="*/ 3570446 w 6400800"/>
                <a:gd name="connsiteY4889" fmla="*/ 265271 h 514350"/>
                <a:gd name="connsiteX4890" fmla="*/ 3571399 w 6400800"/>
                <a:gd name="connsiteY4890" fmla="*/ 271939 h 514350"/>
                <a:gd name="connsiteX4891" fmla="*/ 3571399 w 6400800"/>
                <a:gd name="connsiteY4891" fmla="*/ 272891 h 514350"/>
                <a:gd name="connsiteX4892" fmla="*/ 3567589 w 6400800"/>
                <a:gd name="connsiteY4892" fmla="*/ 277654 h 514350"/>
                <a:gd name="connsiteX4893" fmla="*/ 3567589 w 6400800"/>
                <a:gd name="connsiteY4893" fmla="*/ 277654 h 514350"/>
                <a:gd name="connsiteX4894" fmla="*/ 3561874 w 6400800"/>
                <a:gd name="connsiteY4894" fmla="*/ 274796 h 514350"/>
                <a:gd name="connsiteX4895" fmla="*/ 3558064 w 6400800"/>
                <a:gd name="connsiteY4895" fmla="*/ 272891 h 514350"/>
                <a:gd name="connsiteX4896" fmla="*/ 3554254 w 6400800"/>
                <a:gd name="connsiteY4896" fmla="*/ 260509 h 514350"/>
                <a:gd name="connsiteX4897" fmla="*/ 3556159 w 6400800"/>
                <a:gd name="connsiteY4897" fmla="*/ 257651 h 514350"/>
                <a:gd name="connsiteX4898" fmla="*/ 3566636 w 6400800"/>
                <a:gd name="connsiteY4898" fmla="*/ 243364 h 514350"/>
                <a:gd name="connsiteX4899" fmla="*/ 3567589 w 6400800"/>
                <a:gd name="connsiteY4899" fmla="*/ 250031 h 514350"/>
                <a:gd name="connsiteX4900" fmla="*/ 3561874 w 6400800"/>
                <a:gd name="connsiteY4900" fmla="*/ 229076 h 514350"/>
                <a:gd name="connsiteX4901" fmla="*/ 3562826 w 6400800"/>
                <a:gd name="connsiteY4901" fmla="*/ 227171 h 514350"/>
                <a:gd name="connsiteX4902" fmla="*/ 3564731 w 6400800"/>
                <a:gd name="connsiteY4902" fmla="*/ 235744 h 514350"/>
                <a:gd name="connsiteX4903" fmla="*/ 3565684 w 6400800"/>
                <a:gd name="connsiteY4903" fmla="*/ 238601 h 514350"/>
                <a:gd name="connsiteX4904" fmla="*/ 3552349 w 6400800"/>
                <a:gd name="connsiteY4904" fmla="*/ 251936 h 514350"/>
                <a:gd name="connsiteX4905" fmla="*/ 3551396 w 6400800"/>
                <a:gd name="connsiteY4905" fmla="*/ 247174 h 514350"/>
                <a:gd name="connsiteX4906" fmla="*/ 3561874 w 6400800"/>
                <a:gd name="connsiteY4906" fmla="*/ 229076 h 514350"/>
                <a:gd name="connsiteX4907" fmla="*/ 3551396 w 6400800"/>
                <a:gd name="connsiteY4907" fmla="*/ 293846 h 514350"/>
                <a:gd name="connsiteX4908" fmla="*/ 3554254 w 6400800"/>
                <a:gd name="connsiteY4908" fmla="*/ 307181 h 514350"/>
                <a:gd name="connsiteX4909" fmla="*/ 3550444 w 6400800"/>
                <a:gd name="connsiteY4909" fmla="*/ 321469 h 514350"/>
                <a:gd name="connsiteX4910" fmla="*/ 3547586 w 6400800"/>
                <a:gd name="connsiteY4910" fmla="*/ 333851 h 514350"/>
                <a:gd name="connsiteX4911" fmla="*/ 3546634 w 6400800"/>
                <a:gd name="connsiteY4911" fmla="*/ 331946 h 514350"/>
                <a:gd name="connsiteX4912" fmla="*/ 3543776 w 6400800"/>
                <a:gd name="connsiteY4912" fmla="*/ 327184 h 514350"/>
                <a:gd name="connsiteX4913" fmla="*/ 3544729 w 6400800"/>
                <a:gd name="connsiteY4913" fmla="*/ 306229 h 514350"/>
                <a:gd name="connsiteX4914" fmla="*/ 3547586 w 6400800"/>
                <a:gd name="connsiteY4914" fmla="*/ 286226 h 514350"/>
                <a:gd name="connsiteX4915" fmla="*/ 3548539 w 6400800"/>
                <a:gd name="connsiteY4915" fmla="*/ 276701 h 514350"/>
                <a:gd name="connsiteX4916" fmla="*/ 3551396 w 6400800"/>
                <a:gd name="connsiteY4916" fmla="*/ 293846 h 514350"/>
                <a:gd name="connsiteX4917" fmla="*/ 3543776 w 6400800"/>
                <a:gd name="connsiteY4917" fmla="*/ 191929 h 514350"/>
                <a:gd name="connsiteX4918" fmla="*/ 3549491 w 6400800"/>
                <a:gd name="connsiteY4918" fmla="*/ 180499 h 514350"/>
                <a:gd name="connsiteX4919" fmla="*/ 3548539 w 6400800"/>
                <a:gd name="connsiteY4919" fmla="*/ 185261 h 514350"/>
                <a:gd name="connsiteX4920" fmla="*/ 3544729 w 6400800"/>
                <a:gd name="connsiteY4920" fmla="*/ 211931 h 514350"/>
                <a:gd name="connsiteX4921" fmla="*/ 3543776 w 6400800"/>
                <a:gd name="connsiteY4921" fmla="*/ 217646 h 514350"/>
                <a:gd name="connsiteX4922" fmla="*/ 3539014 w 6400800"/>
                <a:gd name="connsiteY4922" fmla="*/ 200501 h 514350"/>
                <a:gd name="connsiteX4923" fmla="*/ 3543776 w 6400800"/>
                <a:gd name="connsiteY4923" fmla="*/ 191929 h 514350"/>
                <a:gd name="connsiteX4924" fmla="*/ 3530441 w 6400800"/>
                <a:gd name="connsiteY4924" fmla="*/ 217646 h 514350"/>
                <a:gd name="connsiteX4925" fmla="*/ 3539014 w 6400800"/>
                <a:gd name="connsiteY4925" fmla="*/ 201454 h 514350"/>
                <a:gd name="connsiteX4926" fmla="*/ 3540919 w 6400800"/>
                <a:gd name="connsiteY4926" fmla="*/ 217646 h 514350"/>
                <a:gd name="connsiteX4927" fmla="*/ 3542824 w 6400800"/>
                <a:gd name="connsiteY4927" fmla="*/ 231934 h 514350"/>
                <a:gd name="connsiteX4928" fmla="*/ 3540919 w 6400800"/>
                <a:gd name="connsiteY4928" fmla="*/ 240506 h 514350"/>
                <a:gd name="connsiteX4929" fmla="*/ 3528536 w 6400800"/>
                <a:gd name="connsiteY4929" fmla="*/ 259556 h 514350"/>
                <a:gd name="connsiteX4930" fmla="*/ 3528536 w 6400800"/>
                <a:gd name="connsiteY4930" fmla="*/ 257651 h 514350"/>
                <a:gd name="connsiteX4931" fmla="*/ 3527584 w 6400800"/>
                <a:gd name="connsiteY4931" fmla="*/ 240506 h 514350"/>
                <a:gd name="connsiteX4932" fmla="*/ 3526631 w 6400800"/>
                <a:gd name="connsiteY4932" fmla="*/ 229076 h 514350"/>
                <a:gd name="connsiteX4933" fmla="*/ 3530441 w 6400800"/>
                <a:gd name="connsiteY4933" fmla="*/ 217646 h 514350"/>
                <a:gd name="connsiteX4934" fmla="*/ 3490436 w 6400800"/>
                <a:gd name="connsiteY4934" fmla="*/ 321469 h 514350"/>
                <a:gd name="connsiteX4935" fmla="*/ 3490436 w 6400800"/>
                <a:gd name="connsiteY4935" fmla="*/ 317659 h 514350"/>
                <a:gd name="connsiteX4936" fmla="*/ 3491389 w 6400800"/>
                <a:gd name="connsiteY4936" fmla="*/ 319564 h 514350"/>
                <a:gd name="connsiteX4937" fmla="*/ 3490436 w 6400800"/>
                <a:gd name="connsiteY4937" fmla="*/ 321469 h 514350"/>
                <a:gd name="connsiteX4938" fmla="*/ 3514249 w 6400800"/>
                <a:gd name="connsiteY4938" fmla="*/ 250984 h 514350"/>
                <a:gd name="connsiteX4939" fmla="*/ 3516154 w 6400800"/>
                <a:gd name="connsiteY4939" fmla="*/ 246221 h 514350"/>
                <a:gd name="connsiteX4940" fmla="*/ 3515201 w 6400800"/>
                <a:gd name="connsiteY4940" fmla="*/ 257651 h 514350"/>
                <a:gd name="connsiteX4941" fmla="*/ 3514249 w 6400800"/>
                <a:gd name="connsiteY4941" fmla="*/ 270986 h 514350"/>
                <a:gd name="connsiteX4942" fmla="*/ 3509486 w 6400800"/>
                <a:gd name="connsiteY4942" fmla="*/ 259556 h 514350"/>
                <a:gd name="connsiteX4943" fmla="*/ 3514249 w 6400800"/>
                <a:gd name="connsiteY4943" fmla="*/ 250984 h 514350"/>
                <a:gd name="connsiteX4944" fmla="*/ 3504724 w 6400800"/>
                <a:gd name="connsiteY4944" fmla="*/ 271939 h 514350"/>
                <a:gd name="connsiteX4945" fmla="*/ 3505676 w 6400800"/>
                <a:gd name="connsiteY4945" fmla="*/ 274796 h 514350"/>
                <a:gd name="connsiteX4946" fmla="*/ 3509486 w 6400800"/>
                <a:gd name="connsiteY4946" fmla="*/ 288131 h 514350"/>
                <a:gd name="connsiteX4947" fmla="*/ 3505676 w 6400800"/>
                <a:gd name="connsiteY4947" fmla="*/ 293846 h 514350"/>
                <a:gd name="connsiteX4948" fmla="*/ 3504724 w 6400800"/>
                <a:gd name="connsiteY4948" fmla="*/ 282416 h 514350"/>
                <a:gd name="connsiteX4949" fmla="*/ 3504724 w 6400800"/>
                <a:gd name="connsiteY4949" fmla="*/ 271939 h 514350"/>
                <a:gd name="connsiteX4950" fmla="*/ 3504724 w 6400800"/>
                <a:gd name="connsiteY4950" fmla="*/ 271939 h 514350"/>
                <a:gd name="connsiteX4951" fmla="*/ 3501866 w 6400800"/>
                <a:gd name="connsiteY4951" fmla="*/ 398621 h 514350"/>
                <a:gd name="connsiteX4952" fmla="*/ 3495199 w 6400800"/>
                <a:gd name="connsiteY4952" fmla="*/ 371951 h 514350"/>
                <a:gd name="connsiteX4953" fmla="*/ 3494246 w 6400800"/>
                <a:gd name="connsiteY4953" fmla="*/ 369094 h 514350"/>
                <a:gd name="connsiteX4954" fmla="*/ 3499961 w 6400800"/>
                <a:gd name="connsiteY4954" fmla="*/ 357664 h 514350"/>
                <a:gd name="connsiteX4955" fmla="*/ 3501866 w 6400800"/>
                <a:gd name="connsiteY4955" fmla="*/ 398621 h 514350"/>
                <a:gd name="connsiteX4956" fmla="*/ 3496151 w 6400800"/>
                <a:gd name="connsiteY4956" fmla="*/ 290036 h 514350"/>
                <a:gd name="connsiteX4957" fmla="*/ 3499009 w 6400800"/>
                <a:gd name="connsiteY4957" fmla="*/ 284321 h 514350"/>
                <a:gd name="connsiteX4958" fmla="*/ 3499009 w 6400800"/>
                <a:gd name="connsiteY4958" fmla="*/ 295751 h 514350"/>
                <a:gd name="connsiteX4959" fmla="*/ 3496151 w 6400800"/>
                <a:gd name="connsiteY4959" fmla="*/ 290036 h 514350"/>
                <a:gd name="connsiteX4960" fmla="*/ 3496151 w 6400800"/>
                <a:gd name="connsiteY4960" fmla="*/ 252889 h 514350"/>
                <a:gd name="connsiteX4961" fmla="*/ 3496151 w 6400800"/>
                <a:gd name="connsiteY4961" fmla="*/ 247174 h 514350"/>
                <a:gd name="connsiteX4962" fmla="*/ 3499009 w 6400800"/>
                <a:gd name="connsiteY4962" fmla="*/ 254794 h 514350"/>
                <a:gd name="connsiteX4963" fmla="*/ 3495199 w 6400800"/>
                <a:gd name="connsiteY4963" fmla="*/ 261461 h 514350"/>
                <a:gd name="connsiteX4964" fmla="*/ 3496151 w 6400800"/>
                <a:gd name="connsiteY4964" fmla="*/ 252889 h 514350"/>
                <a:gd name="connsiteX4965" fmla="*/ 3481864 w 6400800"/>
                <a:gd name="connsiteY4965" fmla="*/ 205264 h 514350"/>
                <a:gd name="connsiteX4966" fmla="*/ 3491389 w 6400800"/>
                <a:gd name="connsiteY4966" fmla="*/ 230029 h 514350"/>
                <a:gd name="connsiteX4967" fmla="*/ 3495199 w 6400800"/>
                <a:gd name="connsiteY4967" fmla="*/ 243364 h 514350"/>
                <a:gd name="connsiteX4968" fmla="*/ 3492341 w 6400800"/>
                <a:gd name="connsiteY4968" fmla="*/ 251936 h 514350"/>
                <a:gd name="connsiteX4969" fmla="*/ 3487579 w 6400800"/>
                <a:gd name="connsiteY4969" fmla="*/ 268129 h 514350"/>
                <a:gd name="connsiteX4970" fmla="*/ 3486626 w 6400800"/>
                <a:gd name="connsiteY4970" fmla="*/ 270034 h 514350"/>
                <a:gd name="connsiteX4971" fmla="*/ 3479959 w 6400800"/>
                <a:gd name="connsiteY4971" fmla="*/ 255746 h 514350"/>
                <a:gd name="connsiteX4972" fmla="*/ 3479959 w 6400800"/>
                <a:gd name="connsiteY4972" fmla="*/ 228124 h 514350"/>
                <a:gd name="connsiteX4973" fmla="*/ 3479959 w 6400800"/>
                <a:gd name="connsiteY4973" fmla="*/ 213836 h 514350"/>
                <a:gd name="connsiteX4974" fmla="*/ 3481864 w 6400800"/>
                <a:gd name="connsiteY4974" fmla="*/ 205264 h 514350"/>
                <a:gd name="connsiteX4975" fmla="*/ 3473291 w 6400800"/>
                <a:gd name="connsiteY4975" fmla="*/ 241459 h 514350"/>
                <a:gd name="connsiteX4976" fmla="*/ 3475196 w 6400800"/>
                <a:gd name="connsiteY4976" fmla="*/ 234791 h 514350"/>
                <a:gd name="connsiteX4977" fmla="*/ 3473291 w 6400800"/>
                <a:gd name="connsiteY4977" fmla="*/ 241459 h 514350"/>
                <a:gd name="connsiteX4978" fmla="*/ 3473291 w 6400800"/>
                <a:gd name="connsiteY4978" fmla="*/ 241459 h 514350"/>
                <a:gd name="connsiteX4979" fmla="*/ 3473291 w 6400800"/>
                <a:gd name="connsiteY4979" fmla="*/ 241459 h 514350"/>
                <a:gd name="connsiteX4980" fmla="*/ 3468529 w 6400800"/>
                <a:gd name="connsiteY4980" fmla="*/ 260509 h 514350"/>
                <a:gd name="connsiteX4981" fmla="*/ 3469481 w 6400800"/>
                <a:gd name="connsiteY4981" fmla="*/ 263366 h 514350"/>
                <a:gd name="connsiteX4982" fmla="*/ 3468529 w 6400800"/>
                <a:gd name="connsiteY4982" fmla="*/ 270986 h 514350"/>
                <a:gd name="connsiteX4983" fmla="*/ 3465671 w 6400800"/>
                <a:gd name="connsiteY4983" fmla="*/ 300514 h 514350"/>
                <a:gd name="connsiteX4984" fmla="*/ 3464719 w 6400800"/>
                <a:gd name="connsiteY4984" fmla="*/ 318611 h 514350"/>
                <a:gd name="connsiteX4985" fmla="*/ 3463766 w 6400800"/>
                <a:gd name="connsiteY4985" fmla="*/ 321469 h 514350"/>
                <a:gd name="connsiteX4986" fmla="*/ 3459956 w 6400800"/>
                <a:gd name="connsiteY4986" fmla="*/ 307181 h 514350"/>
                <a:gd name="connsiteX4987" fmla="*/ 3459956 w 6400800"/>
                <a:gd name="connsiteY4987" fmla="*/ 306229 h 514350"/>
                <a:gd name="connsiteX4988" fmla="*/ 3460909 w 6400800"/>
                <a:gd name="connsiteY4988" fmla="*/ 300514 h 514350"/>
                <a:gd name="connsiteX4989" fmla="*/ 3468529 w 6400800"/>
                <a:gd name="connsiteY4989" fmla="*/ 260509 h 514350"/>
                <a:gd name="connsiteX4990" fmla="*/ 3451384 w 6400800"/>
                <a:gd name="connsiteY4990" fmla="*/ 237649 h 514350"/>
                <a:gd name="connsiteX4991" fmla="*/ 3451384 w 6400800"/>
                <a:gd name="connsiteY4991" fmla="*/ 221456 h 514350"/>
                <a:gd name="connsiteX4992" fmla="*/ 3451384 w 6400800"/>
                <a:gd name="connsiteY4992" fmla="*/ 222409 h 514350"/>
                <a:gd name="connsiteX4993" fmla="*/ 3458051 w 6400800"/>
                <a:gd name="connsiteY4993" fmla="*/ 237649 h 514350"/>
                <a:gd name="connsiteX4994" fmla="*/ 3458051 w 6400800"/>
                <a:gd name="connsiteY4994" fmla="*/ 238601 h 514350"/>
                <a:gd name="connsiteX4995" fmla="*/ 3450431 w 6400800"/>
                <a:gd name="connsiteY4995" fmla="*/ 267176 h 514350"/>
                <a:gd name="connsiteX4996" fmla="*/ 3450431 w 6400800"/>
                <a:gd name="connsiteY4996" fmla="*/ 267176 h 514350"/>
                <a:gd name="connsiteX4997" fmla="*/ 3451384 w 6400800"/>
                <a:gd name="connsiteY4997" fmla="*/ 237649 h 514350"/>
                <a:gd name="connsiteX4998" fmla="*/ 3405664 w 6400800"/>
                <a:gd name="connsiteY4998" fmla="*/ 273844 h 514350"/>
                <a:gd name="connsiteX4999" fmla="*/ 3406616 w 6400800"/>
                <a:gd name="connsiteY4999" fmla="*/ 258604 h 514350"/>
                <a:gd name="connsiteX5000" fmla="*/ 3406616 w 6400800"/>
                <a:gd name="connsiteY5000" fmla="*/ 245269 h 514350"/>
                <a:gd name="connsiteX5001" fmla="*/ 3409474 w 6400800"/>
                <a:gd name="connsiteY5001" fmla="*/ 259556 h 514350"/>
                <a:gd name="connsiteX5002" fmla="*/ 3405664 w 6400800"/>
                <a:gd name="connsiteY5002" fmla="*/ 273844 h 514350"/>
                <a:gd name="connsiteX5003" fmla="*/ 3416141 w 6400800"/>
                <a:gd name="connsiteY5003" fmla="*/ 335756 h 514350"/>
                <a:gd name="connsiteX5004" fmla="*/ 3416141 w 6400800"/>
                <a:gd name="connsiteY5004" fmla="*/ 353854 h 514350"/>
                <a:gd name="connsiteX5005" fmla="*/ 3415189 w 6400800"/>
                <a:gd name="connsiteY5005" fmla="*/ 348139 h 514350"/>
                <a:gd name="connsiteX5006" fmla="*/ 3413284 w 6400800"/>
                <a:gd name="connsiteY5006" fmla="*/ 328136 h 514350"/>
                <a:gd name="connsiteX5007" fmla="*/ 3413284 w 6400800"/>
                <a:gd name="connsiteY5007" fmla="*/ 328136 h 514350"/>
                <a:gd name="connsiteX5008" fmla="*/ 3417094 w 6400800"/>
                <a:gd name="connsiteY5008" fmla="*/ 320516 h 514350"/>
                <a:gd name="connsiteX5009" fmla="*/ 3416141 w 6400800"/>
                <a:gd name="connsiteY5009" fmla="*/ 335756 h 514350"/>
                <a:gd name="connsiteX5010" fmla="*/ 3421856 w 6400800"/>
                <a:gd name="connsiteY5010" fmla="*/ 320516 h 514350"/>
                <a:gd name="connsiteX5011" fmla="*/ 3419951 w 6400800"/>
                <a:gd name="connsiteY5011" fmla="*/ 332899 h 514350"/>
                <a:gd name="connsiteX5012" fmla="*/ 3418046 w 6400800"/>
                <a:gd name="connsiteY5012" fmla="*/ 316706 h 514350"/>
                <a:gd name="connsiteX5013" fmla="*/ 3420904 w 6400800"/>
                <a:gd name="connsiteY5013" fmla="*/ 310991 h 514350"/>
                <a:gd name="connsiteX5014" fmla="*/ 3421856 w 6400800"/>
                <a:gd name="connsiteY5014" fmla="*/ 308134 h 514350"/>
                <a:gd name="connsiteX5015" fmla="*/ 3422809 w 6400800"/>
                <a:gd name="connsiteY5015" fmla="*/ 312896 h 514350"/>
                <a:gd name="connsiteX5016" fmla="*/ 3421856 w 6400800"/>
                <a:gd name="connsiteY5016" fmla="*/ 320516 h 514350"/>
                <a:gd name="connsiteX5017" fmla="*/ 3410426 w 6400800"/>
                <a:gd name="connsiteY5017" fmla="*/ 139541 h 514350"/>
                <a:gd name="connsiteX5018" fmla="*/ 3421856 w 6400800"/>
                <a:gd name="connsiteY5018" fmla="*/ 161449 h 514350"/>
                <a:gd name="connsiteX5019" fmla="*/ 3433286 w 6400800"/>
                <a:gd name="connsiteY5019" fmla="*/ 181451 h 514350"/>
                <a:gd name="connsiteX5020" fmla="*/ 3428524 w 6400800"/>
                <a:gd name="connsiteY5020" fmla="*/ 198596 h 514350"/>
                <a:gd name="connsiteX5021" fmla="*/ 3425666 w 6400800"/>
                <a:gd name="connsiteY5021" fmla="*/ 210026 h 514350"/>
                <a:gd name="connsiteX5022" fmla="*/ 3422809 w 6400800"/>
                <a:gd name="connsiteY5022" fmla="*/ 195739 h 514350"/>
                <a:gd name="connsiteX5023" fmla="*/ 3415189 w 6400800"/>
                <a:gd name="connsiteY5023" fmla="*/ 163354 h 514350"/>
                <a:gd name="connsiteX5024" fmla="*/ 3410426 w 6400800"/>
                <a:gd name="connsiteY5024" fmla="*/ 143351 h 514350"/>
                <a:gd name="connsiteX5025" fmla="*/ 3410426 w 6400800"/>
                <a:gd name="connsiteY5025" fmla="*/ 139541 h 514350"/>
                <a:gd name="connsiteX5026" fmla="*/ 3408521 w 6400800"/>
                <a:gd name="connsiteY5026" fmla="*/ 136684 h 514350"/>
                <a:gd name="connsiteX5027" fmla="*/ 3408521 w 6400800"/>
                <a:gd name="connsiteY5027" fmla="*/ 136684 h 514350"/>
                <a:gd name="connsiteX5028" fmla="*/ 3408521 w 6400800"/>
                <a:gd name="connsiteY5028" fmla="*/ 136684 h 514350"/>
                <a:gd name="connsiteX5029" fmla="*/ 3408521 w 6400800"/>
                <a:gd name="connsiteY5029" fmla="*/ 136684 h 514350"/>
                <a:gd name="connsiteX5030" fmla="*/ 3395186 w 6400800"/>
                <a:gd name="connsiteY5030" fmla="*/ 266224 h 514350"/>
                <a:gd name="connsiteX5031" fmla="*/ 3396139 w 6400800"/>
                <a:gd name="connsiteY5031" fmla="*/ 227171 h 514350"/>
                <a:gd name="connsiteX5032" fmla="*/ 3396139 w 6400800"/>
                <a:gd name="connsiteY5032" fmla="*/ 212884 h 514350"/>
                <a:gd name="connsiteX5033" fmla="*/ 3398996 w 6400800"/>
                <a:gd name="connsiteY5033" fmla="*/ 204311 h 514350"/>
                <a:gd name="connsiteX5034" fmla="*/ 3396139 w 6400800"/>
                <a:gd name="connsiteY5034" fmla="*/ 210026 h 514350"/>
                <a:gd name="connsiteX5035" fmla="*/ 3396139 w 6400800"/>
                <a:gd name="connsiteY5035" fmla="*/ 202406 h 514350"/>
                <a:gd name="connsiteX5036" fmla="*/ 3398044 w 6400800"/>
                <a:gd name="connsiteY5036" fmla="*/ 194786 h 514350"/>
                <a:gd name="connsiteX5037" fmla="*/ 3408521 w 6400800"/>
                <a:gd name="connsiteY5037" fmla="*/ 145256 h 514350"/>
                <a:gd name="connsiteX5038" fmla="*/ 3410426 w 6400800"/>
                <a:gd name="connsiteY5038" fmla="*/ 162401 h 514350"/>
                <a:gd name="connsiteX5039" fmla="*/ 3414236 w 6400800"/>
                <a:gd name="connsiteY5039" fmla="*/ 195739 h 514350"/>
                <a:gd name="connsiteX5040" fmla="*/ 3417094 w 6400800"/>
                <a:gd name="connsiteY5040" fmla="*/ 215741 h 514350"/>
                <a:gd name="connsiteX5041" fmla="*/ 3419951 w 6400800"/>
                <a:gd name="connsiteY5041" fmla="*/ 229076 h 514350"/>
                <a:gd name="connsiteX5042" fmla="*/ 3418046 w 6400800"/>
                <a:gd name="connsiteY5042" fmla="*/ 233839 h 514350"/>
                <a:gd name="connsiteX5043" fmla="*/ 3411379 w 6400800"/>
                <a:gd name="connsiteY5043" fmla="*/ 253841 h 514350"/>
                <a:gd name="connsiteX5044" fmla="*/ 3407569 w 6400800"/>
                <a:gd name="connsiteY5044" fmla="*/ 244316 h 514350"/>
                <a:gd name="connsiteX5045" fmla="*/ 3407569 w 6400800"/>
                <a:gd name="connsiteY5045" fmla="*/ 239554 h 514350"/>
                <a:gd name="connsiteX5046" fmla="*/ 3407569 w 6400800"/>
                <a:gd name="connsiteY5046" fmla="*/ 224314 h 514350"/>
                <a:gd name="connsiteX5047" fmla="*/ 3403759 w 6400800"/>
                <a:gd name="connsiteY5047" fmla="*/ 239554 h 514350"/>
                <a:gd name="connsiteX5048" fmla="*/ 3399949 w 6400800"/>
                <a:gd name="connsiteY5048" fmla="*/ 256699 h 514350"/>
                <a:gd name="connsiteX5049" fmla="*/ 3395186 w 6400800"/>
                <a:gd name="connsiteY5049" fmla="*/ 275749 h 514350"/>
                <a:gd name="connsiteX5050" fmla="*/ 3395186 w 6400800"/>
                <a:gd name="connsiteY5050" fmla="*/ 266224 h 514350"/>
                <a:gd name="connsiteX5051" fmla="*/ 3363754 w 6400800"/>
                <a:gd name="connsiteY5051" fmla="*/ 252889 h 514350"/>
                <a:gd name="connsiteX5052" fmla="*/ 3365659 w 6400800"/>
                <a:gd name="connsiteY5052" fmla="*/ 264319 h 514350"/>
                <a:gd name="connsiteX5053" fmla="*/ 3363754 w 6400800"/>
                <a:gd name="connsiteY5053" fmla="*/ 269081 h 514350"/>
                <a:gd name="connsiteX5054" fmla="*/ 3363754 w 6400800"/>
                <a:gd name="connsiteY5054" fmla="*/ 252889 h 514350"/>
                <a:gd name="connsiteX5055" fmla="*/ 3321844 w 6400800"/>
                <a:gd name="connsiteY5055" fmla="*/ 351949 h 514350"/>
                <a:gd name="connsiteX5056" fmla="*/ 3322796 w 6400800"/>
                <a:gd name="connsiteY5056" fmla="*/ 342424 h 514350"/>
                <a:gd name="connsiteX5057" fmla="*/ 3323749 w 6400800"/>
                <a:gd name="connsiteY5057" fmla="*/ 347186 h 514350"/>
                <a:gd name="connsiteX5058" fmla="*/ 3321844 w 6400800"/>
                <a:gd name="connsiteY5058" fmla="*/ 351949 h 514350"/>
                <a:gd name="connsiteX5059" fmla="*/ 3340894 w 6400800"/>
                <a:gd name="connsiteY5059" fmla="*/ 273844 h 514350"/>
                <a:gd name="connsiteX5060" fmla="*/ 3347561 w 6400800"/>
                <a:gd name="connsiteY5060" fmla="*/ 298609 h 514350"/>
                <a:gd name="connsiteX5061" fmla="*/ 3344704 w 6400800"/>
                <a:gd name="connsiteY5061" fmla="*/ 304324 h 514350"/>
                <a:gd name="connsiteX5062" fmla="*/ 3338989 w 6400800"/>
                <a:gd name="connsiteY5062" fmla="*/ 290989 h 514350"/>
                <a:gd name="connsiteX5063" fmla="*/ 3335179 w 6400800"/>
                <a:gd name="connsiteY5063" fmla="*/ 251936 h 514350"/>
                <a:gd name="connsiteX5064" fmla="*/ 3340894 w 6400800"/>
                <a:gd name="connsiteY5064" fmla="*/ 273844 h 514350"/>
                <a:gd name="connsiteX5065" fmla="*/ 3330416 w 6400800"/>
                <a:gd name="connsiteY5065" fmla="*/ 376714 h 514350"/>
                <a:gd name="connsiteX5066" fmla="*/ 3331369 w 6400800"/>
                <a:gd name="connsiteY5066" fmla="*/ 379571 h 514350"/>
                <a:gd name="connsiteX5067" fmla="*/ 3329464 w 6400800"/>
                <a:gd name="connsiteY5067" fmla="*/ 384334 h 514350"/>
                <a:gd name="connsiteX5068" fmla="*/ 3328511 w 6400800"/>
                <a:gd name="connsiteY5068" fmla="*/ 381476 h 514350"/>
                <a:gd name="connsiteX5069" fmla="*/ 3330416 w 6400800"/>
                <a:gd name="connsiteY5069" fmla="*/ 376714 h 514350"/>
                <a:gd name="connsiteX5070" fmla="*/ 3329464 w 6400800"/>
                <a:gd name="connsiteY5070" fmla="*/ 202406 h 514350"/>
                <a:gd name="connsiteX5071" fmla="*/ 3329464 w 6400800"/>
                <a:gd name="connsiteY5071" fmla="*/ 207169 h 514350"/>
                <a:gd name="connsiteX5072" fmla="*/ 3328511 w 6400800"/>
                <a:gd name="connsiteY5072" fmla="*/ 205264 h 514350"/>
                <a:gd name="connsiteX5073" fmla="*/ 3329464 w 6400800"/>
                <a:gd name="connsiteY5073" fmla="*/ 202406 h 514350"/>
                <a:gd name="connsiteX5074" fmla="*/ 3326606 w 6400800"/>
                <a:gd name="connsiteY5074" fmla="*/ 302419 h 514350"/>
                <a:gd name="connsiteX5075" fmla="*/ 3329464 w 6400800"/>
                <a:gd name="connsiteY5075" fmla="*/ 310039 h 514350"/>
                <a:gd name="connsiteX5076" fmla="*/ 3329464 w 6400800"/>
                <a:gd name="connsiteY5076" fmla="*/ 311944 h 514350"/>
                <a:gd name="connsiteX5077" fmla="*/ 3326606 w 6400800"/>
                <a:gd name="connsiteY5077" fmla="*/ 306229 h 514350"/>
                <a:gd name="connsiteX5078" fmla="*/ 3326606 w 6400800"/>
                <a:gd name="connsiteY5078" fmla="*/ 302419 h 514350"/>
                <a:gd name="connsiteX5079" fmla="*/ 3323749 w 6400800"/>
                <a:gd name="connsiteY5079" fmla="*/ 227171 h 514350"/>
                <a:gd name="connsiteX5080" fmla="*/ 3325654 w 6400800"/>
                <a:gd name="connsiteY5080" fmla="*/ 219551 h 514350"/>
                <a:gd name="connsiteX5081" fmla="*/ 3325654 w 6400800"/>
                <a:gd name="connsiteY5081" fmla="*/ 221456 h 514350"/>
                <a:gd name="connsiteX5082" fmla="*/ 3318034 w 6400800"/>
                <a:gd name="connsiteY5082" fmla="*/ 256699 h 514350"/>
                <a:gd name="connsiteX5083" fmla="*/ 3317081 w 6400800"/>
                <a:gd name="connsiteY5083" fmla="*/ 255746 h 514350"/>
                <a:gd name="connsiteX5084" fmla="*/ 3323749 w 6400800"/>
                <a:gd name="connsiteY5084" fmla="*/ 227171 h 514350"/>
                <a:gd name="connsiteX5085" fmla="*/ 3315176 w 6400800"/>
                <a:gd name="connsiteY5085" fmla="*/ 269081 h 514350"/>
                <a:gd name="connsiteX5086" fmla="*/ 3316129 w 6400800"/>
                <a:gd name="connsiteY5086" fmla="*/ 270986 h 514350"/>
                <a:gd name="connsiteX5087" fmla="*/ 3314224 w 6400800"/>
                <a:gd name="connsiteY5087" fmla="*/ 282416 h 514350"/>
                <a:gd name="connsiteX5088" fmla="*/ 3313271 w 6400800"/>
                <a:gd name="connsiteY5088" fmla="*/ 280511 h 514350"/>
                <a:gd name="connsiteX5089" fmla="*/ 3315176 w 6400800"/>
                <a:gd name="connsiteY5089" fmla="*/ 269081 h 514350"/>
                <a:gd name="connsiteX5090" fmla="*/ 3305651 w 6400800"/>
                <a:gd name="connsiteY5090" fmla="*/ 310991 h 514350"/>
                <a:gd name="connsiteX5091" fmla="*/ 3308509 w 6400800"/>
                <a:gd name="connsiteY5091" fmla="*/ 298609 h 514350"/>
                <a:gd name="connsiteX5092" fmla="*/ 3310414 w 6400800"/>
                <a:gd name="connsiteY5092" fmla="*/ 302419 h 514350"/>
                <a:gd name="connsiteX5093" fmla="*/ 3307556 w 6400800"/>
                <a:gd name="connsiteY5093" fmla="*/ 320516 h 514350"/>
                <a:gd name="connsiteX5094" fmla="*/ 3304699 w 6400800"/>
                <a:gd name="connsiteY5094" fmla="*/ 313849 h 514350"/>
                <a:gd name="connsiteX5095" fmla="*/ 3305651 w 6400800"/>
                <a:gd name="connsiteY5095" fmla="*/ 310991 h 514350"/>
                <a:gd name="connsiteX5096" fmla="*/ 3302794 w 6400800"/>
                <a:gd name="connsiteY5096" fmla="*/ 327184 h 514350"/>
                <a:gd name="connsiteX5097" fmla="*/ 3304699 w 6400800"/>
                <a:gd name="connsiteY5097" fmla="*/ 335756 h 514350"/>
                <a:gd name="connsiteX5098" fmla="*/ 3300889 w 6400800"/>
                <a:gd name="connsiteY5098" fmla="*/ 349091 h 514350"/>
                <a:gd name="connsiteX5099" fmla="*/ 3298984 w 6400800"/>
                <a:gd name="connsiteY5099" fmla="*/ 355759 h 514350"/>
                <a:gd name="connsiteX5100" fmla="*/ 3297079 w 6400800"/>
                <a:gd name="connsiteY5100" fmla="*/ 351949 h 514350"/>
                <a:gd name="connsiteX5101" fmla="*/ 3302794 w 6400800"/>
                <a:gd name="connsiteY5101" fmla="*/ 327184 h 514350"/>
                <a:gd name="connsiteX5102" fmla="*/ 3279934 w 6400800"/>
                <a:gd name="connsiteY5102" fmla="*/ 297656 h 514350"/>
                <a:gd name="connsiteX5103" fmla="*/ 3280886 w 6400800"/>
                <a:gd name="connsiteY5103" fmla="*/ 289084 h 514350"/>
                <a:gd name="connsiteX5104" fmla="*/ 3283744 w 6400800"/>
                <a:gd name="connsiteY5104" fmla="*/ 263366 h 514350"/>
                <a:gd name="connsiteX5105" fmla="*/ 3284696 w 6400800"/>
                <a:gd name="connsiteY5105" fmla="*/ 252889 h 514350"/>
                <a:gd name="connsiteX5106" fmla="*/ 3293269 w 6400800"/>
                <a:gd name="connsiteY5106" fmla="*/ 270034 h 514350"/>
                <a:gd name="connsiteX5107" fmla="*/ 3291364 w 6400800"/>
                <a:gd name="connsiteY5107" fmla="*/ 277654 h 514350"/>
                <a:gd name="connsiteX5108" fmla="*/ 3290411 w 6400800"/>
                <a:gd name="connsiteY5108" fmla="*/ 283369 h 514350"/>
                <a:gd name="connsiteX5109" fmla="*/ 3289459 w 6400800"/>
                <a:gd name="connsiteY5109" fmla="*/ 264319 h 514350"/>
                <a:gd name="connsiteX5110" fmla="*/ 3281839 w 6400800"/>
                <a:gd name="connsiteY5110" fmla="*/ 317659 h 514350"/>
                <a:gd name="connsiteX5111" fmla="*/ 3280886 w 6400800"/>
                <a:gd name="connsiteY5111" fmla="*/ 317659 h 514350"/>
                <a:gd name="connsiteX5112" fmla="*/ 3280886 w 6400800"/>
                <a:gd name="connsiteY5112" fmla="*/ 316706 h 514350"/>
                <a:gd name="connsiteX5113" fmla="*/ 3279934 w 6400800"/>
                <a:gd name="connsiteY5113" fmla="*/ 315754 h 514350"/>
                <a:gd name="connsiteX5114" fmla="*/ 3278981 w 6400800"/>
                <a:gd name="connsiteY5114" fmla="*/ 313849 h 514350"/>
                <a:gd name="connsiteX5115" fmla="*/ 3279934 w 6400800"/>
                <a:gd name="connsiteY5115" fmla="*/ 297656 h 514350"/>
                <a:gd name="connsiteX5116" fmla="*/ 3263741 w 6400800"/>
                <a:gd name="connsiteY5116" fmla="*/ 295751 h 514350"/>
                <a:gd name="connsiteX5117" fmla="*/ 3263741 w 6400800"/>
                <a:gd name="connsiteY5117" fmla="*/ 293846 h 514350"/>
                <a:gd name="connsiteX5118" fmla="*/ 3263741 w 6400800"/>
                <a:gd name="connsiteY5118" fmla="*/ 295751 h 514350"/>
                <a:gd name="connsiteX5119" fmla="*/ 3264694 w 6400800"/>
                <a:gd name="connsiteY5119" fmla="*/ 296704 h 514350"/>
                <a:gd name="connsiteX5120" fmla="*/ 3262789 w 6400800"/>
                <a:gd name="connsiteY5120" fmla="*/ 306229 h 514350"/>
                <a:gd name="connsiteX5121" fmla="*/ 3263741 w 6400800"/>
                <a:gd name="connsiteY5121" fmla="*/ 295751 h 514350"/>
                <a:gd name="connsiteX5122" fmla="*/ 3232309 w 6400800"/>
                <a:gd name="connsiteY5122" fmla="*/ 381476 h 514350"/>
                <a:gd name="connsiteX5123" fmla="*/ 3232309 w 6400800"/>
                <a:gd name="connsiteY5123" fmla="*/ 357664 h 514350"/>
                <a:gd name="connsiteX5124" fmla="*/ 3232309 w 6400800"/>
                <a:gd name="connsiteY5124" fmla="*/ 358616 h 514350"/>
                <a:gd name="connsiteX5125" fmla="*/ 3233261 w 6400800"/>
                <a:gd name="connsiteY5125" fmla="*/ 360521 h 514350"/>
                <a:gd name="connsiteX5126" fmla="*/ 3232309 w 6400800"/>
                <a:gd name="connsiteY5126" fmla="*/ 381476 h 514350"/>
                <a:gd name="connsiteX5127" fmla="*/ 3239929 w 6400800"/>
                <a:gd name="connsiteY5127" fmla="*/ 327184 h 514350"/>
                <a:gd name="connsiteX5128" fmla="*/ 3241834 w 6400800"/>
                <a:gd name="connsiteY5128" fmla="*/ 339566 h 514350"/>
                <a:gd name="connsiteX5129" fmla="*/ 3239929 w 6400800"/>
                <a:gd name="connsiteY5129" fmla="*/ 333851 h 514350"/>
                <a:gd name="connsiteX5130" fmla="*/ 3239929 w 6400800"/>
                <a:gd name="connsiteY5130" fmla="*/ 329089 h 514350"/>
                <a:gd name="connsiteX5131" fmla="*/ 3239929 w 6400800"/>
                <a:gd name="connsiteY5131" fmla="*/ 327184 h 514350"/>
                <a:gd name="connsiteX5132" fmla="*/ 3234214 w 6400800"/>
                <a:gd name="connsiteY5132" fmla="*/ 318611 h 514350"/>
                <a:gd name="connsiteX5133" fmla="*/ 3237071 w 6400800"/>
                <a:gd name="connsiteY5133" fmla="*/ 310039 h 514350"/>
                <a:gd name="connsiteX5134" fmla="*/ 3238024 w 6400800"/>
                <a:gd name="connsiteY5134" fmla="*/ 314801 h 514350"/>
                <a:gd name="connsiteX5135" fmla="*/ 3238024 w 6400800"/>
                <a:gd name="connsiteY5135" fmla="*/ 316706 h 514350"/>
                <a:gd name="connsiteX5136" fmla="*/ 3237071 w 6400800"/>
                <a:gd name="connsiteY5136" fmla="*/ 317659 h 514350"/>
                <a:gd name="connsiteX5137" fmla="*/ 3237071 w 6400800"/>
                <a:gd name="connsiteY5137" fmla="*/ 311944 h 514350"/>
                <a:gd name="connsiteX5138" fmla="*/ 3236119 w 6400800"/>
                <a:gd name="connsiteY5138" fmla="*/ 319564 h 514350"/>
                <a:gd name="connsiteX5139" fmla="*/ 3234214 w 6400800"/>
                <a:gd name="connsiteY5139" fmla="*/ 322421 h 514350"/>
                <a:gd name="connsiteX5140" fmla="*/ 3233261 w 6400800"/>
                <a:gd name="connsiteY5140" fmla="*/ 319564 h 514350"/>
                <a:gd name="connsiteX5141" fmla="*/ 3234214 w 6400800"/>
                <a:gd name="connsiteY5141" fmla="*/ 318611 h 514350"/>
                <a:gd name="connsiteX5142" fmla="*/ 3233261 w 6400800"/>
                <a:gd name="connsiteY5142" fmla="*/ 286226 h 514350"/>
                <a:gd name="connsiteX5143" fmla="*/ 3233261 w 6400800"/>
                <a:gd name="connsiteY5143" fmla="*/ 288131 h 514350"/>
                <a:gd name="connsiteX5144" fmla="*/ 3232309 w 6400800"/>
                <a:gd name="connsiteY5144" fmla="*/ 290036 h 514350"/>
                <a:gd name="connsiteX5145" fmla="*/ 3232309 w 6400800"/>
                <a:gd name="connsiteY5145" fmla="*/ 282416 h 514350"/>
                <a:gd name="connsiteX5146" fmla="*/ 3233261 w 6400800"/>
                <a:gd name="connsiteY5146" fmla="*/ 286226 h 514350"/>
                <a:gd name="connsiteX5147" fmla="*/ 3222784 w 6400800"/>
                <a:gd name="connsiteY5147" fmla="*/ 285274 h 514350"/>
                <a:gd name="connsiteX5148" fmla="*/ 3223736 w 6400800"/>
                <a:gd name="connsiteY5148" fmla="*/ 273844 h 514350"/>
                <a:gd name="connsiteX5149" fmla="*/ 3224689 w 6400800"/>
                <a:gd name="connsiteY5149" fmla="*/ 270034 h 514350"/>
                <a:gd name="connsiteX5150" fmla="*/ 3224689 w 6400800"/>
                <a:gd name="connsiteY5150" fmla="*/ 270986 h 514350"/>
                <a:gd name="connsiteX5151" fmla="*/ 3227546 w 6400800"/>
                <a:gd name="connsiteY5151" fmla="*/ 253841 h 514350"/>
                <a:gd name="connsiteX5152" fmla="*/ 3227546 w 6400800"/>
                <a:gd name="connsiteY5152" fmla="*/ 253841 h 514350"/>
                <a:gd name="connsiteX5153" fmla="*/ 3223736 w 6400800"/>
                <a:gd name="connsiteY5153" fmla="*/ 292894 h 514350"/>
                <a:gd name="connsiteX5154" fmla="*/ 3222784 w 6400800"/>
                <a:gd name="connsiteY5154" fmla="*/ 291941 h 514350"/>
                <a:gd name="connsiteX5155" fmla="*/ 3222784 w 6400800"/>
                <a:gd name="connsiteY5155" fmla="*/ 290989 h 514350"/>
                <a:gd name="connsiteX5156" fmla="*/ 3222784 w 6400800"/>
                <a:gd name="connsiteY5156" fmla="*/ 285274 h 514350"/>
                <a:gd name="connsiteX5157" fmla="*/ 3217069 w 6400800"/>
                <a:gd name="connsiteY5157" fmla="*/ 207169 h 514350"/>
                <a:gd name="connsiteX5158" fmla="*/ 3219926 w 6400800"/>
                <a:gd name="connsiteY5158" fmla="*/ 219551 h 514350"/>
                <a:gd name="connsiteX5159" fmla="*/ 3215164 w 6400800"/>
                <a:gd name="connsiteY5159" fmla="*/ 238601 h 514350"/>
                <a:gd name="connsiteX5160" fmla="*/ 3217069 w 6400800"/>
                <a:gd name="connsiteY5160" fmla="*/ 207169 h 514350"/>
                <a:gd name="connsiteX5161" fmla="*/ 3191351 w 6400800"/>
                <a:gd name="connsiteY5161" fmla="*/ 249079 h 514350"/>
                <a:gd name="connsiteX5162" fmla="*/ 3192304 w 6400800"/>
                <a:gd name="connsiteY5162" fmla="*/ 232886 h 514350"/>
                <a:gd name="connsiteX5163" fmla="*/ 3194209 w 6400800"/>
                <a:gd name="connsiteY5163" fmla="*/ 238601 h 514350"/>
                <a:gd name="connsiteX5164" fmla="*/ 3191351 w 6400800"/>
                <a:gd name="connsiteY5164" fmla="*/ 265271 h 514350"/>
                <a:gd name="connsiteX5165" fmla="*/ 3191351 w 6400800"/>
                <a:gd name="connsiteY5165" fmla="*/ 249079 h 514350"/>
                <a:gd name="connsiteX5166" fmla="*/ 3155156 w 6400800"/>
                <a:gd name="connsiteY5166" fmla="*/ 313849 h 514350"/>
                <a:gd name="connsiteX5167" fmla="*/ 3156109 w 6400800"/>
                <a:gd name="connsiteY5167" fmla="*/ 320516 h 514350"/>
                <a:gd name="connsiteX5168" fmla="*/ 3158014 w 6400800"/>
                <a:gd name="connsiteY5168" fmla="*/ 334804 h 514350"/>
                <a:gd name="connsiteX5169" fmla="*/ 3154204 w 6400800"/>
                <a:gd name="connsiteY5169" fmla="*/ 354806 h 514350"/>
                <a:gd name="connsiteX5170" fmla="*/ 3152299 w 6400800"/>
                <a:gd name="connsiteY5170" fmla="*/ 351949 h 514350"/>
                <a:gd name="connsiteX5171" fmla="*/ 3152299 w 6400800"/>
                <a:gd name="connsiteY5171" fmla="*/ 350044 h 514350"/>
                <a:gd name="connsiteX5172" fmla="*/ 3151346 w 6400800"/>
                <a:gd name="connsiteY5172" fmla="*/ 345281 h 514350"/>
                <a:gd name="connsiteX5173" fmla="*/ 3151346 w 6400800"/>
                <a:gd name="connsiteY5173" fmla="*/ 344329 h 514350"/>
                <a:gd name="connsiteX5174" fmla="*/ 3151346 w 6400800"/>
                <a:gd name="connsiteY5174" fmla="*/ 338614 h 514350"/>
                <a:gd name="connsiteX5175" fmla="*/ 3155156 w 6400800"/>
                <a:gd name="connsiteY5175" fmla="*/ 313849 h 514350"/>
                <a:gd name="connsiteX5176" fmla="*/ 3139916 w 6400800"/>
                <a:gd name="connsiteY5176" fmla="*/ 213836 h 514350"/>
                <a:gd name="connsiteX5177" fmla="*/ 3143726 w 6400800"/>
                <a:gd name="connsiteY5177" fmla="*/ 235744 h 514350"/>
                <a:gd name="connsiteX5178" fmla="*/ 3148489 w 6400800"/>
                <a:gd name="connsiteY5178" fmla="*/ 267176 h 514350"/>
                <a:gd name="connsiteX5179" fmla="*/ 3143726 w 6400800"/>
                <a:gd name="connsiteY5179" fmla="*/ 284321 h 514350"/>
                <a:gd name="connsiteX5180" fmla="*/ 3137059 w 6400800"/>
                <a:gd name="connsiteY5180" fmla="*/ 216694 h 514350"/>
                <a:gd name="connsiteX5181" fmla="*/ 3139916 w 6400800"/>
                <a:gd name="connsiteY5181" fmla="*/ 213836 h 514350"/>
                <a:gd name="connsiteX5182" fmla="*/ 3130391 w 6400800"/>
                <a:gd name="connsiteY5182" fmla="*/ 337661 h 514350"/>
                <a:gd name="connsiteX5183" fmla="*/ 3130391 w 6400800"/>
                <a:gd name="connsiteY5183" fmla="*/ 335756 h 514350"/>
                <a:gd name="connsiteX5184" fmla="*/ 3130391 w 6400800"/>
                <a:gd name="connsiteY5184" fmla="*/ 335756 h 514350"/>
                <a:gd name="connsiteX5185" fmla="*/ 3130391 w 6400800"/>
                <a:gd name="connsiteY5185" fmla="*/ 337661 h 514350"/>
                <a:gd name="connsiteX5186" fmla="*/ 3130391 w 6400800"/>
                <a:gd name="connsiteY5186" fmla="*/ 328136 h 514350"/>
                <a:gd name="connsiteX5187" fmla="*/ 3130391 w 6400800"/>
                <a:gd name="connsiteY5187" fmla="*/ 328136 h 514350"/>
                <a:gd name="connsiteX5188" fmla="*/ 3130391 w 6400800"/>
                <a:gd name="connsiteY5188" fmla="*/ 328136 h 514350"/>
                <a:gd name="connsiteX5189" fmla="*/ 3130391 w 6400800"/>
                <a:gd name="connsiteY5189" fmla="*/ 328136 h 514350"/>
                <a:gd name="connsiteX5190" fmla="*/ 3133249 w 6400800"/>
                <a:gd name="connsiteY5190" fmla="*/ 276701 h 514350"/>
                <a:gd name="connsiteX5191" fmla="*/ 3133249 w 6400800"/>
                <a:gd name="connsiteY5191" fmla="*/ 276701 h 514350"/>
                <a:gd name="connsiteX5192" fmla="*/ 3128486 w 6400800"/>
                <a:gd name="connsiteY5192" fmla="*/ 259556 h 514350"/>
                <a:gd name="connsiteX5193" fmla="*/ 3127534 w 6400800"/>
                <a:gd name="connsiteY5193" fmla="*/ 246221 h 514350"/>
                <a:gd name="connsiteX5194" fmla="*/ 3135154 w 6400800"/>
                <a:gd name="connsiteY5194" fmla="*/ 223361 h 514350"/>
                <a:gd name="connsiteX5195" fmla="*/ 3133249 w 6400800"/>
                <a:gd name="connsiteY5195" fmla="*/ 276701 h 514350"/>
                <a:gd name="connsiteX5196" fmla="*/ 3130391 w 6400800"/>
                <a:gd name="connsiteY5196" fmla="*/ 229076 h 514350"/>
                <a:gd name="connsiteX5197" fmla="*/ 3136106 w 6400800"/>
                <a:gd name="connsiteY5197" fmla="*/ 219551 h 514350"/>
                <a:gd name="connsiteX5198" fmla="*/ 3136106 w 6400800"/>
                <a:gd name="connsiteY5198" fmla="*/ 221456 h 514350"/>
                <a:gd name="connsiteX5199" fmla="*/ 3127534 w 6400800"/>
                <a:gd name="connsiteY5199" fmla="*/ 236696 h 514350"/>
                <a:gd name="connsiteX5200" fmla="*/ 3127534 w 6400800"/>
                <a:gd name="connsiteY5200" fmla="*/ 234791 h 514350"/>
                <a:gd name="connsiteX5201" fmla="*/ 3130391 w 6400800"/>
                <a:gd name="connsiteY5201" fmla="*/ 229076 h 514350"/>
                <a:gd name="connsiteX5202" fmla="*/ 3114199 w 6400800"/>
                <a:gd name="connsiteY5202" fmla="*/ 290036 h 514350"/>
                <a:gd name="connsiteX5203" fmla="*/ 3113246 w 6400800"/>
                <a:gd name="connsiteY5203" fmla="*/ 287179 h 514350"/>
                <a:gd name="connsiteX5204" fmla="*/ 3113246 w 6400800"/>
                <a:gd name="connsiteY5204" fmla="*/ 286226 h 514350"/>
                <a:gd name="connsiteX5205" fmla="*/ 3115151 w 6400800"/>
                <a:gd name="connsiteY5205" fmla="*/ 281464 h 514350"/>
                <a:gd name="connsiteX5206" fmla="*/ 3114199 w 6400800"/>
                <a:gd name="connsiteY5206" fmla="*/ 290036 h 514350"/>
                <a:gd name="connsiteX5207" fmla="*/ 3115151 w 6400800"/>
                <a:gd name="connsiteY5207" fmla="*/ 257651 h 514350"/>
                <a:gd name="connsiteX5208" fmla="*/ 3116104 w 6400800"/>
                <a:gd name="connsiteY5208" fmla="*/ 255746 h 514350"/>
                <a:gd name="connsiteX5209" fmla="*/ 3115151 w 6400800"/>
                <a:gd name="connsiteY5209" fmla="*/ 257651 h 514350"/>
                <a:gd name="connsiteX5210" fmla="*/ 3109436 w 6400800"/>
                <a:gd name="connsiteY5210" fmla="*/ 270034 h 514350"/>
                <a:gd name="connsiteX5211" fmla="*/ 3115151 w 6400800"/>
                <a:gd name="connsiteY5211" fmla="*/ 257651 h 514350"/>
                <a:gd name="connsiteX5212" fmla="*/ 3110389 w 6400800"/>
                <a:gd name="connsiteY5212" fmla="*/ 292894 h 514350"/>
                <a:gd name="connsiteX5213" fmla="*/ 3113246 w 6400800"/>
                <a:gd name="connsiteY5213" fmla="*/ 309086 h 514350"/>
                <a:gd name="connsiteX5214" fmla="*/ 3114199 w 6400800"/>
                <a:gd name="connsiteY5214" fmla="*/ 311944 h 514350"/>
                <a:gd name="connsiteX5215" fmla="*/ 3114199 w 6400800"/>
                <a:gd name="connsiteY5215" fmla="*/ 321469 h 514350"/>
                <a:gd name="connsiteX5216" fmla="*/ 3114199 w 6400800"/>
                <a:gd name="connsiteY5216" fmla="*/ 319564 h 514350"/>
                <a:gd name="connsiteX5217" fmla="*/ 3110389 w 6400800"/>
                <a:gd name="connsiteY5217" fmla="*/ 309086 h 514350"/>
                <a:gd name="connsiteX5218" fmla="*/ 3109436 w 6400800"/>
                <a:gd name="connsiteY5218" fmla="*/ 300514 h 514350"/>
                <a:gd name="connsiteX5219" fmla="*/ 3109436 w 6400800"/>
                <a:gd name="connsiteY5219" fmla="*/ 299561 h 514350"/>
                <a:gd name="connsiteX5220" fmla="*/ 3110389 w 6400800"/>
                <a:gd name="connsiteY5220" fmla="*/ 292894 h 514350"/>
                <a:gd name="connsiteX5221" fmla="*/ 3098006 w 6400800"/>
                <a:gd name="connsiteY5221" fmla="*/ 350996 h 514350"/>
                <a:gd name="connsiteX5222" fmla="*/ 3098006 w 6400800"/>
                <a:gd name="connsiteY5222" fmla="*/ 350996 h 514350"/>
                <a:gd name="connsiteX5223" fmla="*/ 3098006 w 6400800"/>
                <a:gd name="connsiteY5223" fmla="*/ 353854 h 514350"/>
                <a:gd name="connsiteX5224" fmla="*/ 3097054 w 6400800"/>
                <a:gd name="connsiteY5224" fmla="*/ 354806 h 514350"/>
                <a:gd name="connsiteX5225" fmla="*/ 3098006 w 6400800"/>
                <a:gd name="connsiteY5225" fmla="*/ 350996 h 514350"/>
                <a:gd name="connsiteX5226" fmla="*/ 3093244 w 6400800"/>
                <a:gd name="connsiteY5226" fmla="*/ 377666 h 514350"/>
                <a:gd name="connsiteX5227" fmla="*/ 3097054 w 6400800"/>
                <a:gd name="connsiteY5227" fmla="*/ 370046 h 514350"/>
                <a:gd name="connsiteX5228" fmla="*/ 3094196 w 6400800"/>
                <a:gd name="connsiteY5228" fmla="*/ 373856 h 514350"/>
                <a:gd name="connsiteX5229" fmla="*/ 3097054 w 6400800"/>
                <a:gd name="connsiteY5229" fmla="*/ 355759 h 514350"/>
                <a:gd name="connsiteX5230" fmla="*/ 3098006 w 6400800"/>
                <a:gd name="connsiteY5230" fmla="*/ 353854 h 514350"/>
                <a:gd name="connsiteX5231" fmla="*/ 3098006 w 6400800"/>
                <a:gd name="connsiteY5231" fmla="*/ 371951 h 514350"/>
                <a:gd name="connsiteX5232" fmla="*/ 3098006 w 6400800"/>
                <a:gd name="connsiteY5232" fmla="*/ 383381 h 514350"/>
                <a:gd name="connsiteX5233" fmla="*/ 3095149 w 6400800"/>
                <a:gd name="connsiteY5233" fmla="*/ 383381 h 514350"/>
                <a:gd name="connsiteX5234" fmla="*/ 3095149 w 6400800"/>
                <a:gd name="connsiteY5234" fmla="*/ 383381 h 514350"/>
                <a:gd name="connsiteX5235" fmla="*/ 3093244 w 6400800"/>
                <a:gd name="connsiteY5235" fmla="*/ 378619 h 514350"/>
                <a:gd name="connsiteX5236" fmla="*/ 3093244 w 6400800"/>
                <a:gd name="connsiteY5236" fmla="*/ 377666 h 514350"/>
                <a:gd name="connsiteX5237" fmla="*/ 3084671 w 6400800"/>
                <a:gd name="connsiteY5237" fmla="*/ 293846 h 514350"/>
                <a:gd name="connsiteX5238" fmla="*/ 3085624 w 6400800"/>
                <a:gd name="connsiteY5238" fmla="*/ 276701 h 514350"/>
                <a:gd name="connsiteX5239" fmla="*/ 3085624 w 6400800"/>
                <a:gd name="connsiteY5239" fmla="*/ 278606 h 514350"/>
                <a:gd name="connsiteX5240" fmla="*/ 3088481 w 6400800"/>
                <a:gd name="connsiteY5240" fmla="*/ 289084 h 514350"/>
                <a:gd name="connsiteX5241" fmla="*/ 3086576 w 6400800"/>
                <a:gd name="connsiteY5241" fmla="*/ 291941 h 514350"/>
                <a:gd name="connsiteX5242" fmla="*/ 3084671 w 6400800"/>
                <a:gd name="connsiteY5242" fmla="*/ 296704 h 514350"/>
                <a:gd name="connsiteX5243" fmla="*/ 3084671 w 6400800"/>
                <a:gd name="connsiteY5243" fmla="*/ 293846 h 514350"/>
                <a:gd name="connsiteX5244" fmla="*/ 3086576 w 6400800"/>
                <a:gd name="connsiteY5244" fmla="*/ 348139 h 514350"/>
                <a:gd name="connsiteX5245" fmla="*/ 3086576 w 6400800"/>
                <a:gd name="connsiteY5245" fmla="*/ 350044 h 514350"/>
                <a:gd name="connsiteX5246" fmla="*/ 3083719 w 6400800"/>
                <a:gd name="connsiteY5246" fmla="*/ 361474 h 514350"/>
                <a:gd name="connsiteX5247" fmla="*/ 3083719 w 6400800"/>
                <a:gd name="connsiteY5247" fmla="*/ 357664 h 514350"/>
                <a:gd name="connsiteX5248" fmla="*/ 3086576 w 6400800"/>
                <a:gd name="connsiteY5248" fmla="*/ 348139 h 514350"/>
                <a:gd name="connsiteX5249" fmla="*/ 3057049 w 6400800"/>
                <a:gd name="connsiteY5249" fmla="*/ 235744 h 514350"/>
                <a:gd name="connsiteX5250" fmla="*/ 3059906 w 6400800"/>
                <a:gd name="connsiteY5250" fmla="*/ 210979 h 514350"/>
                <a:gd name="connsiteX5251" fmla="*/ 3062764 w 6400800"/>
                <a:gd name="connsiteY5251" fmla="*/ 191929 h 514350"/>
                <a:gd name="connsiteX5252" fmla="*/ 3067526 w 6400800"/>
                <a:gd name="connsiteY5252" fmla="*/ 209074 h 514350"/>
                <a:gd name="connsiteX5253" fmla="*/ 3066574 w 6400800"/>
                <a:gd name="connsiteY5253" fmla="*/ 222409 h 514350"/>
                <a:gd name="connsiteX5254" fmla="*/ 3063716 w 6400800"/>
                <a:gd name="connsiteY5254" fmla="*/ 253841 h 514350"/>
                <a:gd name="connsiteX5255" fmla="*/ 3059906 w 6400800"/>
                <a:gd name="connsiteY5255" fmla="*/ 268129 h 514350"/>
                <a:gd name="connsiteX5256" fmla="*/ 3057049 w 6400800"/>
                <a:gd name="connsiteY5256" fmla="*/ 252889 h 514350"/>
                <a:gd name="connsiteX5257" fmla="*/ 3056096 w 6400800"/>
                <a:gd name="connsiteY5257" fmla="*/ 248126 h 514350"/>
                <a:gd name="connsiteX5258" fmla="*/ 3057049 w 6400800"/>
                <a:gd name="connsiteY5258" fmla="*/ 235744 h 514350"/>
                <a:gd name="connsiteX5259" fmla="*/ 3002756 w 6400800"/>
                <a:gd name="connsiteY5259" fmla="*/ 307181 h 514350"/>
                <a:gd name="connsiteX5260" fmla="*/ 3001804 w 6400800"/>
                <a:gd name="connsiteY5260" fmla="*/ 310039 h 514350"/>
                <a:gd name="connsiteX5261" fmla="*/ 3002756 w 6400800"/>
                <a:gd name="connsiteY5261" fmla="*/ 305276 h 514350"/>
                <a:gd name="connsiteX5262" fmla="*/ 3006566 w 6400800"/>
                <a:gd name="connsiteY5262" fmla="*/ 286226 h 514350"/>
                <a:gd name="connsiteX5263" fmla="*/ 3008471 w 6400800"/>
                <a:gd name="connsiteY5263" fmla="*/ 290036 h 514350"/>
                <a:gd name="connsiteX5264" fmla="*/ 3002756 w 6400800"/>
                <a:gd name="connsiteY5264" fmla="*/ 307181 h 514350"/>
                <a:gd name="connsiteX5265" fmla="*/ 3036094 w 6400800"/>
                <a:gd name="connsiteY5265" fmla="*/ 249079 h 514350"/>
                <a:gd name="connsiteX5266" fmla="*/ 3036094 w 6400800"/>
                <a:gd name="connsiteY5266" fmla="*/ 266224 h 514350"/>
                <a:gd name="connsiteX5267" fmla="*/ 3033236 w 6400800"/>
                <a:gd name="connsiteY5267" fmla="*/ 258604 h 514350"/>
                <a:gd name="connsiteX5268" fmla="*/ 3036094 w 6400800"/>
                <a:gd name="connsiteY5268" fmla="*/ 249079 h 514350"/>
                <a:gd name="connsiteX5269" fmla="*/ 3030379 w 6400800"/>
                <a:gd name="connsiteY5269" fmla="*/ 269081 h 514350"/>
                <a:gd name="connsiteX5270" fmla="*/ 3030379 w 6400800"/>
                <a:gd name="connsiteY5270" fmla="*/ 269081 h 514350"/>
                <a:gd name="connsiteX5271" fmla="*/ 3030379 w 6400800"/>
                <a:gd name="connsiteY5271" fmla="*/ 269081 h 514350"/>
                <a:gd name="connsiteX5272" fmla="*/ 3030379 w 6400800"/>
                <a:gd name="connsiteY5272" fmla="*/ 269081 h 514350"/>
                <a:gd name="connsiteX5273" fmla="*/ 3027521 w 6400800"/>
                <a:gd name="connsiteY5273" fmla="*/ 353854 h 514350"/>
                <a:gd name="connsiteX5274" fmla="*/ 3023711 w 6400800"/>
                <a:gd name="connsiteY5274" fmla="*/ 364331 h 514350"/>
                <a:gd name="connsiteX5275" fmla="*/ 3017996 w 6400800"/>
                <a:gd name="connsiteY5275" fmla="*/ 383381 h 514350"/>
                <a:gd name="connsiteX5276" fmla="*/ 3017044 w 6400800"/>
                <a:gd name="connsiteY5276" fmla="*/ 385286 h 514350"/>
                <a:gd name="connsiteX5277" fmla="*/ 3015139 w 6400800"/>
                <a:gd name="connsiteY5277" fmla="*/ 376714 h 514350"/>
                <a:gd name="connsiteX5278" fmla="*/ 3020854 w 6400800"/>
                <a:gd name="connsiteY5278" fmla="*/ 366236 h 514350"/>
                <a:gd name="connsiteX5279" fmla="*/ 3028474 w 6400800"/>
                <a:gd name="connsiteY5279" fmla="*/ 352901 h 514350"/>
                <a:gd name="connsiteX5280" fmla="*/ 3027521 w 6400800"/>
                <a:gd name="connsiteY5280" fmla="*/ 353854 h 514350"/>
                <a:gd name="connsiteX5281" fmla="*/ 3021806 w 6400800"/>
                <a:gd name="connsiteY5281" fmla="*/ 230029 h 514350"/>
                <a:gd name="connsiteX5282" fmla="*/ 3024664 w 6400800"/>
                <a:gd name="connsiteY5282" fmla="*/ 241459 h 514350"/>
                <a:gd name="connsiteX5283" fmla="*/ 3024664 w 6400800"/>
                <a:gd name="connsiteY5283" fmla="*/ 241459 h 514350"/>
                <a:gd name="connsiteX5284" fmla="*/ 3021806 w 6400800"/>
                <a:gd name="connsiteY5284" fmla="*/ 230029 h 514350"/>
                <a:gd name="connsiteX5285" fmla="*/ 3021806 w 6400800"/>
                <a:gd name="connsiteY5285" fmla="*/ 230029 h 514350"/>
                <a:gd name="connsiteX5286" fmla="*/ 3020854 w 6400800"/>
                <a:gd name="connsiteY5286" fmla="*/ 305276 h 514350"/>
                <a:gd name="connsiteX5287" fmla="*/ 3020854 w 6400800"/>
                <a:gd name="connsiteY5287" fmla="*/ 305276 h 514350"/>
                <a:gd name="connsiteX5288" fmla="*/ 3020854 w 6400800"/>
                <a:gd name="connsiteY5288" fmla="*/ 305276 h 514350"/>
                <a:gd name="connsiteX5289" fmla="*/ 3020854 w 6400800"/>
                <a:gd name="connsiteY5289" fmla="*/ 305276 h 514350"/>
                <a:gd name="connsiteX5290" fmla="*/ 3017996 w 6400800"/>
                <a:gd name="connsiteY5290" fmla="*/ 317659 h 514350"/>
                <a:gd name="connsiteX5291" fmla="*/ 3021806 w 6400800"/>
                <a:gd name="connsiteY5291" fmla="*/ 329089 h 514350"/>
                <a:gd name="connsiteX5292" fmla="*/ 3025616 w 6400800"/>
                <a:gd name="connsiteY5292" fmla="*/ 339566 h 514350"/>
                <a:gd name="connsiteX5293" fmla="*/ 3011329 w 6400800"/>
                <a:gd name="connsiteY5293" fmla="*/ 359569 h 514350"/>
                <a:gd name="connsiteX5294" fmla="*/ 3011329 w 6400800"/>
                <a:gd name="connsiteY5294" fmla="*/ 360521 h 514350"/>
                <a:gd name="connsiteX5295" fmla="*/ 3009424 w 6400800"/>
                <a:gd name="connsiteY5295" fmla="*/ 351949 h 514350"/>
                <a:gd name="connsiteX5296" fmla="*/ 3017996 w 6400800"/>
                <a:gd name="connsiteY5296" fmla="*/ 317659 h 514350"/>
                <a:gd name="connsiteX5297" fmla="*/ 3013234 w 6400800"/>
                <a:gd name="connsiteY5297" fmla="*/ 257651 h 514350"/>
                <a:gd name="connsiteX5298" fmla="*/ 3014186 w 6400800"/>
                <a:gd name="connsiteY5298" fmla="*/ 261461 h 514350"/>
                <a:gd name="connsiteX5299" fmla="*/ 3015139 w 6400800"/>
                <a:gd name="connsiteY5299" fmla="*/ 269081 h 514350"/>
                <a:gd name="connsiteX5300" fmla="*/ 3010376 w 6400800"/>
                <a:gd name="connsiteY5300" fmla="*/ 284321 h 514350"/>
                <a:gd name="connsiteX5301" fmla="*/ 3009424 w 6400800"/>
                <a:gd name="connsiteY5301" fmla="*/ 282416 h 514350"/>
                <a:gd name="connsiteX5302" fmla="*/ 3008471 w 6400800"/>
                <a:gd name="connsiteY5302" fmla="*/ 279559 h 514350"/>
                <a:gd name="connsiteX5303" fmla="*/ 3009424 w 6400800"/>
                <a:gd name="connsiteY5303" fmla="*/ 276701 h 514350"/>
                <a:gd name="connsiteX5304" fmla="*/ 3013234 w 6400800"/>
                <a:gd name="connsiteY5304" fmla="*/ 257651 h 514350"/>
                <a:gd name="connsiteX5305" fmla="*/ 3008471 w 6400800"/>
                <a:gd name="connsiteY5305" fmla="*/ 230029 h 514350"/>
                <a:gd name="connsiteX5306" fmla="*/ 3010376 w 6400800"/>
                <a:gd name="connsiteY5306" fmla="*/ 244316 h 514350"/>
                <a:gd name="connsiteX5307" fmla="*/ 3007519 w 6400800"/>
                <a:gd name="connsiteY5307" fmla="*/ 250984 h 514350"/>
                <a:gd name="connsiteX5308" fmla="*/ 3001804 w 6400800"/>
                <a:gd name="connsiteY5308" fmla="*/ 264319 h 514350"/>
                <a:gd name="connsiteX5309" fmla="*/ 3008471 w 6400800"/>
                <a:gd name="connsiteY5309" fmla="*/ 230029 h 514350"/>
                <a:gd name="connsiteX5310" fmla="*/ 3003709 w 6400800"/>
                <a:gd name="connsiteY5310" fmla="*/ 195739 h 514350"/>
                <a:gd name="connsiteX5311" fmla="*/ 3004661 w 6400800"/>
                <a:gd name="connsiteY5311" fmla="*/ 205264 h 514350"/>
                <a:gd name="connsiteX5312" fmla="*/ 2997994 w 6400800"/>
                <a:gd name="connsiteY5312" fmla="*/ 223361 h 514350"/>
                <a:gd name="connsiteX5313" fmla="*/ 2986564 w 6400800"/>
                <a:gd name="connsiteY5313" fmla="*/ 262414 h 514350"/>
                <a:gd name="connsiteX5314" fmla="*/ 2984659 w 6400800"/>
                <a:gd name="connsiteY5314" fmla="*/ 270986 h 514350"/>
                <a:gd name="connsiteX5315" fmla="*/ 2984659 w 6400800"/>
                <a:gd name="connsiteY5315" fmla="*/ 270986 h 514350"/>
                <a:gd name="connsiteX5316" fmla="*/ 3003709 w 6400800"/>
                <a:gd name="connsiteY5316" fmla="*/ 195739 h 514350"/>
                <a:gd name="connsiteX5317" fmla="*/ 2974181 w 6400800"/>
                <a:gd name="connsiteY5317" fmla="*/ 311944 h 514350"/>
                <a:gd name="connsiteX5318" fmla="*/ 2980849 w 6400800"/>
                <a:gd name="connsiteY5318" fmla="*/ 284321 h 514350"/>
                <a:gd name="connsiteX5319" fmla="*/ 2980849 w 6400800"/>
                <a:gd name="connsiteY5319" fmla="*/ 285274 h 514350"/>
                <a:gd name="connsiteX5320" fmla="*/ 2976086 w 6400800"/>
                <a:gd name="connsiteY5320" fmla="*/ 307181 h 514350"/>
                <a:gd name="connsiteX5321" fmla="*/ 2972276 w 6400800"/>
                <a:gd name="connsiteY5321" fmla="*/ 327184 h 514350"/>
                <a:gd name="connsiteX5322" fmla="*/ 2970371 w 6400800"/>
                <a:gd name="connsiteY5322" fmla="*/ 322421 h 514350"/>
                <a:gd name="connsiteX5323" fmla="*/ 2974181 w 6400800"/>
                <a:gd name="connsiteY5323" fmla="*/ 311944 h 514350"/>
                <a:gd name="connsiteX5324" fmla="*/ 2964656 w 6400800"/>
                <a:gd name="connsiteY5324" fmla="*/ 349091 h 514350"/>
                <a:gd name="connsiteX5325" fmla="*/ 2968466 w 6400800"/>
                <a:gd name="connsiteY5325" fmla="*/ 334804 h 514350"/>
                <a:gd name="connsiteX5326" fmla="*/ 2970371 w 6400800"/>
                <a:gd name="connsiteY5326" fmla="*/ 344329 h 514350"/>
                <a:gd name="connsiteX5327" fmla="*/ 2969419 w 6400800"/>
                <a:gd name="connsiteY5327" fmla="*/ 353854 h 514350"/>
                <a:gd name="connsiteX5328" fmla="*/ 2966561 w 6400800"/>
                <a:gd name="connsiteY5328" fmla="*/ 377666 h 514350"/>
                <a:gd name="connsiteX5329" fmla="*/ 2963704 w 6400800"/>
                <a:gd name="connsiteY5329" fmla="*/ 366236 h 514350"/>
                <a:gd name="connsiteX5330" fmla="*/ 2969419 w 6400800"/>
                <a:gd name="connsiteY5330" fmla="*/ 341471 h 514350"/>
                <a:gd name="connsiteX5331" fmla="*/ 2964656 w 6400800"/>
                <a:gd name="connsiteY5331" fmla="*/ 349091 h 514350"/>
                <a:gd name="connsiteX5332" fmla="*/ 2958941 w 6400800"/>
                <a:gd name="connsiteY5332" fmla="*/ 383381 h 514350"/>
                <a:gd name="connsiteX5333" fmla="*/ 2958941 w 6400800"/>
                <a:gd name="connsiteY5333" fmla="*/ 383381 h 514350"/>
                <a:gd name="connsiteX5334" fmla="*/ 2958941 w 6400800"/>
                <a:gd name="connsiteY5334" fmla="*/ 383381 h 514350"/>
                <a:gd name="connsiteX5335" fmla="*/ 2958941 w 6400800"/>
                <a:gd name="connsiteY5335" fmla="*/ 383381 h 514350"/>
                <a:gd name="connsiteX5336" fmla="*/ 2958941 w 6400800"/>
                <a:gd name="connsiteY5336" fmla="*/ 383381 h 514350"/>
                <a:gd name="connsiteX5337" fmla="*/ 2936081 w 6400800"/>
                <a:gd name="connsiteY5337" fmla="*/ 284321 h 514350"/>
                <a:gd name="connsiteX5338" fmla="*/ 2934176 w 6400800"/>
                <a:gd name="connsiteY5338" fmla="*/ 273844 h 514350"/>
                <a:gd name="connsiteX5339" fmla="*/ 2936081 w 6400800"/>
                <a:gd name="connsiteY5339" fmla="*/ 271939 h 514350"/>
                <a:gd name="connsiteX5340" fmla="*/ 2936081 w 6400800"/>
                <a:gd name="connsiteY5340" fmla="*/ 284321 h 514350"/>
                <a:gd name="connsiteX5341" fmla="*/ 2936081 w 6400800"/>
                <a:gd name="connsiteY5341" fmla="*/ 267176 h 514350"/>
                <a:gd name="connsiteX5342" fmla="*/ 2936081 w 6400800"/>
                <a:gd name="connsiteY5342" fmla="*/ 267176 h 514350"/>
                <a:gd name="connsiteX5343" fmla="*/ 2934176 w 6400800"/>
                <a:gd name="connsiteY5343" fmla="*/ 269081 h 514350"/>
                <a:gd name="connsiteX5344" fmla="*/ 2936081 w 6400800"/>
                <a:gd name="connsiteY5344" fmla="*/ 265271 h 514350"/>
                <a:gd name="connsiteX5345" fmla="*/ 2936081 w 6400800"/>
                <a:gd name="connsiteY5345" fmla="*/ 267176 h 514350"/>
                <a:gd name="connsiteX5346" fmla="*/ 2929414 w 6400800"/>
                <a:gd name="connsiteY5346" fmla="*/ 243364 h 514350"/>
                <a:gd name="connsiteX5347" fmla="*/ 2930366 w 6400800"/>
                <a:gd name="connsiteY5347" fmla="*/ 243364 h 514350"/>
                <a:gd name="connsiteX5348" fmla="*/ 2933224 w 6400800"/>
                <a:gd name="connsiteY5348" fmla="*/ 244316 h 514350"/>
                <a:gd name="connsiteX5349" fmla="*/ 2934176 w 6400800"/>
                <a:gd name="connsiteY5349" fmla="*/ 255746 h 514350"/>
                <a:gd name="connsiteX5350" fmla="*/ 2931319 w 6400800"/>
                <a:gd name="connsiteY5350" fmla="*/ 261461 h 514350"/>
                <a:gd name="connsiteX5351" fmla="*/ 2927509 w 6400800"/>
                <a:gd name="connsiteY5351" fmla="*/ 248126 h 514350"/>
                <a:gd name="connsiteX5352" fmla="*/ 2929414 w 6400800"/>
                <a:gd name="connsiteY5352" fmla="*/ 243364 h 514350"/>
                <a:gd name="connsiteX5353" fmla="*/ 2917984 w 6400800"/>
                <a:gd name="connsiteY5353" fmla="*/ 351949 h 514350"/>
                <a:gd name="connsiteX5354" fmla="*/ 2918936 w 6400800"/>
                <a:gd name="connsiteY5354" fmla="*/ 353854 h 514350"/>
                <a:gd name="connsiteX5355" fmla="*/ 2919889 w 6400800"/>
                <a:gd name="connsiteY5355" fmla="*/ 363379 h 514350"/>
                <a:gd name="connsiteX5356" fmla="*/ 2922746 w 6400800"/>
                <a:gd name="connsiteY5356" fmla="*/ 380524 h 514350"/>
                <a:gd name="connsiteX5357" fmla="*/ 2920841 w 6400800"/>
                <a:gd name="connsiteY5357" fmla="*/ 380524 h 514350"/>
                <a:gd name="connsiteX5358" fmla="*/ 2913221 w 6400800"/>
                <a:gd name="connsiteY5358" fmla="*/ 362426 h 514350"/>
                <a:gd name="connsiteX5359" fmla="*/ 2917984 w 6400800"/>
                <a:gd name="connsiteY5359" fmla="*/ 351949 h 514350"/>
                <a:gd name="connsiteX5360" fmla="*/ 2904649 w 6400800"/>
                <a:gd name="connsiteY5360" fmla="*/ 224314 h 514350"/>
                <a:gd name="connsiteX5361" fmla="*/ 2904649 w 6400800"/>
                <a:gd name="connsiteY5361" fmla="*/ 224314 h 514350"/>
                <a:gd name="connsiteX5362" fmla="*/ 2903696 w 6400800"/>
                <a:gd name="connsiteY5362" fmla="*/ 237649 h 514350"/>
                <a:gd name="connsiteX5363" fmla="*/ 2902744 w 6400800"/>
                <a:gd name="connsiteY5363" fmla="*/ 250031 h 514350"/>
                <a:gd name="connsiteX5364" fmla="*/ 2900839 w 6400800"/>
                <a:gd name="connsiteY5364" fmla="*/ 235744 h 514350"/>
                <a:gd name="connsiteX5365" fmla="*/ 2904649 w 6400800"/>
                <a:gd name="connsiteY5365" fmla="*/ 224314 h 514350"/>
                <a:gd name="connsiteX5366" fmla="*/ 2885599 w 6400800"/>
                <a:gd name="connsiteY5366" fmla="*/ 294799 h 514350"/>
                <a:gd name="connsiteX5367" fmla="*/ 2888456 w 6400800"/>
                <a:gd name="connsiteY5367" fmla="*/ 280511 h 514350"/>
                <a:gd name="connsiteX5368" fmla="*/ 2889409 w 6400800"/>
                <a:gd name="connsiteY5368" fmla="*/ 308134 h 514350"/>
                <a:gd name="connsiteX5369" fmla="*/ 2884646 w 6400800"/>
                <a:gd name="connsiteY5369" fmla="*/ 297656 h 514350"/>
                <a:gd name="connsiteX5370" fmla="*/ 2885599 w 6400800"/>
                <a:gd name="connsiteY5370" fmla="*/ 294799 h 514350"/>
                <a:gd name="connsiteX5371" fmla="*/ 2869406 w 6400800"/>
                <a:gd name="connsiteY5371" fmla="*/ 301466 h 514350"/>
                <a:gd name="connsiteX5372" fmla="*/ 2869406 w 6400800"/>
                <a:gd name="connsiteY5372" fmla="*/ 301466 h 514350"/>
                <a:gd name="connsiteX5373" fmla="*/ 2869406 w 6400800"/>
                <a:gd name="connsiteY5373" fmla="*/ 302419 h 514350"/>
                <a:gd name="connsiteX5374" fmla="*/ 2868454 w 6400800"/>
                <a:gd name="connsiteY5374" fmla="*/ 305276 h 514350"/>
                <a:gd name="connsiteX5375" fmla="*/ 2856071 w 6400800"/>
                <a:gd name="connsiteY5375" fmla="*/ 284321 h 514350"/>
                <a:gd name="connsiteX5376" fmla="*/ 2855119 w 6400800"/>
                <a:gd name="connsiteY5376" fmla="*/ 282416 h 514350"/>
                <a:gd name="connsiteX5377" fmla="*/ 2857976 w 6400800"/>
                <a:gd name="connsiteY5377" fmla="*/ 273844 h 514350"/>
                <a:gd name="connsiteX5378" fmla="*/ 2869406 w 6400800"/>
                <a:gd name="connsiteY5378" fmla="*/ 301466 h 514350"/>
                <a:gd name="connsiteX5379" fmla="*/ 2851309 w 6400800"/>
                <a:gd name="connsiteY5379" fmla="*/ 262414 h 514350"/>
                <a:gd name="connsiteX5380" fmla="*/ 2851309 w 6400800"/>
                <a:gd name="connsiteY5380" fmla="*/ 259556 h 514350"/>
                <a:gd name="connsiteX5381" fmla="*/ 2855119 w 6400800"/>
                <a:gd name="connsiteY5381" fmla="*/ 267176 h 514350"/>
                <a:gd name="connsiteX5382" fmla="*/ 2856071 w 6400800"/>
                <a:gd name="connsiteY5382" fmla="*/ 269081 h 514350"/>
                <a:gd name="connsiteX5383" fmla="*/ 2851309 w 6400800"/>
                <a:gd name="connsiteY5383" fmla="*/ 276701 h 514350"/>
                <a:gd name="connsiteX5384" fmla="*/ 2850356 w 6400800"/>
                <a:gd name="connsiteY5384" fmla="*/ 274796 h 514350"/>
                <a:gd name="connsiteX5385" fmla="*/ 2851309 w 6400800"/>
                <a:gd name="connsiteY5385" fmla="*/ 262414 h 514350"/>
                <a:gd name="connsiteX5386" fmla="*/ 2848451 w 6400800"/>
                <a:gd name="connsiteY5386" fmla="*/ 312896 h 514350"/>
                <a:gd name="connsiteX5387" fmla="*/ 2848451 w 6400800"/>
                <a:gd name="connsiteY5387" fmla="*/ 302419 h 514350"/>
                <a:gd name="connsiteX5388" fmla="*/ 2860834 w 6400800"/>
                <a:gd name="connsiteY5388" fmla="*/ 327184 h 514350"/>
                <a:gd name="connsiteX5389" fmla="*/ 2856071 w 6400800"/>
                <a:gd name="connsiteY5389" fmla="*/ 344329 h 514350"/>
                <a:gd name="connsiteX5390" fmla="*/ 2853214 w 6400800"/>
                <a:gd name="connsiteY5390" fmla="*/ 355759 h 514350"/>
                <a:gd name="connsiteX5391" fmla="*/ 2851309 w 6400800"/>
                <a:gd name="connsiteY5391" fmla="*/ 341471 h 514350"/>
                <a:gd name="connsiteX5392" fmla="*/ 2847499 w 6400800"/>
                <a:gd name="connsiteY5392" fmla="*/ 316706 h 514350"/>
                <a:gd name="connsiteX5393" fmla="*/ 2848451 w 6400800"/>
                <a:gd name="connsiteY5393" fmla="*/ 312896 h 514350"/>
                <a:gd name="connsiteX5394" fmla="*/ 2836069 w 6400800"/>
                <a:gd name="connsiteY5394" fmla="*/ 226219 h 514350"/>
                <a:gd name="connsiteX5395" fmla="*/ 2847499 w 6400800"/>
                <a:gd name="connsiteY5395" fmla="*/ 251936 h 514350"/>
                <a:gd name="connsiteX5396" fmla="*/ 2844641 w 6400800"/>
                <a:gd name="connsiteY5396" fmla="*/ 261461 h 514350"/>
                <a:gd name="connsiteX5397" fmla="*/ 2843689 w 6400800"/>
                <a:gd name="connsiteY5397" fmla="*/ 266224 h 514350"/>
                <a:gd name="connsiteX5398" fmla="*/ 2838926 w 6400800"/>
                <a:gd name="connsiteY5398" fmla="*/ 258604 h 514350"/>
                <a:gd name="connsiteX5399" fmla="*/ 2834164 w 6400800"/>
                <a:gd name="connsiteY5399" fmla="*/ 229076 h 514350"/>
                <a:gd name="connsiteX5400" fmla="*/ 2836069 w 6400800"/>
                <a:gd name="connsiteY5400" fmla="*/ 226219 h 514350"/>
                <a:gd name="connsiteX5401" fmla="*/ 2830354 w 6400800"/>
                <a:gd name="connsiteY5401" fmla="*/ 305276 h 514350"/>
                <a:gd name="connsiteX5402" fmla="*/ 2831306 w 6400800"/>
                <a:gd name="connsiteY5402" fmla="*/ 312896 h 514350"/>
                <a:gd name="connsiteX5403" fmla="*/ 2831306 w 6400800"/>
                <a:gd name="connsiteY5403" fmla="*/ 313849 h 514350"/>
                <a:gd name="connsiteX5404" fmla="*/ 2830354 w 6400800"/>
                <a:gd name="connsiteY5404" fmla="*/ 308134 h 514350"/>
                <a:gd name="connsiteX5405" fmla="*/ 2830354 w 6400800"/>
                <a:gd name="connsiteY5405" fmla="*/ 305276 h 514350"/>
                <a:gd name="connsiteX5406" fmla="*/ 2829401 w 6400800"/>
                <a:gd name="connsiteY5406" fmla="*/ 292894 h 514350"/>
                <a:gd name="connsiteX5407" fmla="*/ 2830354 w 6400800"/>
                <a:gd name="connsiteY5407" fmla="*/ 299561 h 514350"/>
                <a:gd name="connsiteX5408" fmla="*/ 2829401 w 6400800"/>
                <a:gd name="connsiteY5408" fmla="*/ 301466 h 514350"/>
                <a:gd name="connsiteX5409" fmla="*/ 2829401 w 6400800"/>
                <a:gd name="connsiteY5409" fmla="*/ 299561 h 514350"/>
                <a:gd name="connsiteX5410" fmla="*/ 2829401 w 6400800"/>
                <a:gd name="connsiteY5410" fmla="*/ 292894 h 514350"/>
                <a:gd name="connsiteX5411" fmla="*/ 2785586 w 6400800"/>
                <a:gd name="connsiteY5411" fmla="*/ 268129 h 514350"/>
                <a:gd name="connsiteX5412" fmla="*/ 2782729 w 6400800"/>
                <a:gd name="connsiteY5412" fmla="*/ 271939 h 514350"/>
                <a:gd name="connsiteX5413" fmla="*/ 2782729 w 6400800"/>
                <a:gd name="connsiteY5413" fmla="*/ 269081 h 514350"/>
                <a:gd name="connsiteX5414" fmla="*/ 2782729 w 6400800"/>
                <a:gd name="connsiteY5414" fmla="*/ 265271 h 514350"/>
                <a:gd name="connsiteX5415" fmla="*/ 2786539 w 6400800"/>
                <a:gd name="connsiteY5415" fmla="*/ 258604 h 514350"/>
                <a:gd name="connsiteX5416" fmla="*/ 2786539 w 6400800"/>
                <a:gd name="connsiteY5416" fmla="*/ 260509 h 514350"/>
                <a:gd name="connsiteX5417" fmla="*/ 2785586 w 6400800"/>
                <a:gd name="connsiteY5417" fmla="*/ 268129 h 514350"/>
                <a:gd name="connsiteX5418" fmla="*/ 2796064 w 6400800"/>
                <a:gd name="connsiteY5418" fmla="*/ 268129 h 514350"/>
                <a:gd name="connsiteX5419" fmla="*/ 2796064 w 6400800"/>
                <a:gd name="connsiteY5419" fmla="*/ 268129 h 514350"/>
                <a:gd name="connsiteX5420" fmla="*/ 2798921 w 6400800"/>
                <a:gd name="connsiteY5420" fmla="*/ 263366 h 514350"/>
                <a:gd name="connsiteX5421" fmla="*/ 2796064 w 6400800"/>
                <a:gd name="connsiteY5421" fmla="*/ 268129 h 514350"/>
                <a:gd name="connsiteX5422" fmla="*/ 2803684 w 6400800"/>
                <a:gd name="connsiteY5422" fmla="*/ 314801 h 514350"/>
                <a:gd name="connsiteX5423" fmla="*/ 2802731 w 6400800"/>
                <a:gd name="connsiteY5423" fmla="*/ 318611 h 514350"/>
                <a:gd name="connsiteX5424" fmla="*/ 2801779 w 6400800"/>
                <a:gd name="connsiteY5424" fmla="*/ 325279 h 514350"/>
                <a:gd name="connsiteX5425" fmla="*/ 2798921 w 6400800"/>
                <a:gd name="connsiteY5425" fmla="*/ 317659 h 514350"/>
                <a:gd name="connsiteX5426" fmla="*/ 2798921 w 6400800"/>
                <a:gd name="connsiteY5426" fmla="*/ 315754 h 514350"/>
                <a:gd name="connsiteX5427" fmla="*/ 2798921 w 6400800"/>
                <a:gd name="connsiteY5427" fmla="*/ 315754 h 514350"/>
                <a:gd name="connsiteX5428" fmla="*/ 2801779 w 6400800"/>
                <a:gd name="connsiteY5428" fmla="*/ 304324 h 514350"/>
                <a:gd name="connsiteX5429" fmla="*/ 2803684 w 6400800"/>
                <a:gd name="connsiteY5429" fmla="*/ 312896 h 514350"/>
                <a:gd name="connsiteX5430" fmla="*/ 2803684 w 6400800"/>
                <a:gd name="connsiteY5430" fmla="*/ 314801 h 514350"/>
                <a:gd name="connsiteX5431" fmla="*/ 2810351 w 6400800"/>
                <a:gd name="connsiteY5431" fmla="*/ 280511 h 514350"/>
                <a:gd name="connsiteX5432" fmla="*/ 2805589 w 6400800"/>
                <a:gd name="connsiteY5432" fmla="*/ 302419 h 514350"/>
                <a:gd name="connsiteX5433" fmla="*/ 2803684 w 6400800"/>
                <a:gd name="connsiteY5433" fmla="*/ 298609 h 514350"/>
                <a:gd name="connsiteX5434" fmla="*/ 2802731 w 6400800"/>
                <a:gd name="connsiteY5434" fmla="*/ 296704 h 514350"/>
                <a:gd name="connsiteX5435" fmla="*/ 2805589 w 6400800"/>
                <a:gd name="connsiteY5435" fmla="*/ 287179 h 514350"/>
                <a:gd name="connsiteX5436" fmla="*/ 2809399 w 6400800"/>
                <a:gd name="connsiteY5436" fmla="*/ 277654 h 514350"/>
                <a:gd name="connsiteX5437" fmla="*/ 2810351 w 6400800"/>
                <a:gd name="connsiteY5437" fmla="*/ 275749 h 514350"/>
                <a:gd name="connsiteX5438" fmla="*/ 2810351 w 6400800"/>
                <a:gd name="connsiteY5438" fmla="*/ 280511 h 514350"/>
                <a:gd name="connsiteX5439" fmla="*/ 2811304 w 6400800"/>
                <a:gd name="connsiteY5439" fmla="*/ 276701 h 514350"/>
                <a:gd name="connsiteX5440" fmla="*/ 2811304 w 6400800"/>
                <a:gd name="connsiteY5440" fmla="*/ 274796 h 514350"/>
                <a:gd name="connsiteX5441" fmla="*/ 2813209 w 6400800"/>
                <a:gd name="connsiteY5441" fmla="*/ 270986 h 514350"/>
                <a:gd name="connsiteX5442" fmla="*/ 2811304 w 6400800"/>
                <a:gd name="connsiteY5442" fmla="*/ 276701 h 514350"/>
                <a:gd name="connsiteX5443" fmla="*/ 2812256 w 6400800"/>
                <a:gd name="connsiteY5443" fmla="*/ 236696 h 514350"/>
                <a:gd name="connsiteX5444" fmla="*/ 2806541 w 6400800"/>
                <a:gd name="connsiteY5444" fmla="*/ 246221 h 514350"/>
                <a:gd name="connsiteX5445" fmla="*/ 2799874 w 6400800"/>
                <a:gd name="connsiteY5445" fmla="*/ 251936 h 514350"/>
                <a:gd name="connsiteX5446" fmla="*/ 2794159 w 6400800"/>
                <a:gd name="connsiteY5446" fmla="*/ 257651 h 514350"/>
                <a:gd name="connsiteX5447" fmla="*/ 2792254 w 6400800"/>
                <a:gd name="connsiteY5447" fmla="*/ 245269 h 514350"/>
                <a:gd name="connsiteX5448" fmla="*/ 2796064 w 6400800"/>
                <a:gd name="connsiteY5448" fmla="*/ 238601 h 514350"/>
                <a:gd name="connsiteX5449" fmla="*/ 2804636 w 6400800"/>
                <a:gd name="connsiteY5449" fmla="*/ 224314 h 514350"/>
                <a:gd name="connsiteX5450" fmla="*/ 2812256 w 6400800"/>
                <a:gd name="connsiteY5450" fmla="*/ 236696 h 514350"/>
                <a:gd name="connsiteX5451" fmla="*/ 2804636 w 6400800"/>
                <a:gd name="connsiteY5451" fmla="*/ 223361 h 514350"/>
                <a:gd name="connsiteX5452" fmla="*/ 2794159 w 6400800"/>
                <a:gd name="connsiteY5452" fmla="*/ 235744 h 514350"/>
                <a:gd name="connsiteX5453" fmla="*/ 2792254 w 6400800"/>
                <a:gd name="connsiteY5453" fmla="*/ 238601 h 514350"/>
                <a:gd name="connsiteX5454" fmla="*/ 2792254 w 6400800"/>
                <a:gd name="connsiteY5454" fmla="*/ 238601 h 514350"/>
                <a:gd name="connsiteX5455" fmla="*/ 2796064 w 6400800"/>
                <a:gd name="connsiteY5455" fmla="*/ 230981 h 514350"/>
                <a:gd name="connsiteX5456" fmla="*/ 2801779 w 6400800"/>
                <a:gd name="connsiteY5456" fmla="*/ 219551 h 514350"/>
                <a:gd name="connsiteX5457" fmla="*/ 2804636 w 6400800"/>
                <a:gd name="connsiteY5457" fmla="*/ 223361 h 514350"/>
                <a:gd name="connsiteX5458" fmla="*/ 2787491 w 6400800"/>
                <a:gd name="connsiteY5458" fmla="*/ 196691 h 514350"/>
                <a:gd name="connsiteX5459" fmla="*/ 2800826 w 6400800"/>
                <a:gd name="connsiteY5459" fmla="*/ 217646 h 514350"/>
                <a:gd name="connsiteX5460" fmla="*/ 2792254 w 6400800"/>
                <a:gd name="connsiteY5460" fmla="*/ 228124 h 514350"/>
                <a:gd name="connsiteX5461" fmla="*/ 2790349 w 6400800"/>
                <a:gd name="connsiteY5461" fmla="*/ 230981 h 514350"/>
                <a:gd name="connsiteX5462" fmla="*/ 2787491 w 6400800"/>
                <a:gd name="connsiteY5462" fmla="*/ 218599 h 514350"/>
                <a:gd name="connsiteX5463" fmla="*/ 2781776 w 6400800"/>
                <a:gd name="connsiteY5463" fmla="*/ 196691 h 514350"/>
                <a:gd name="connsiteX5464" fmla="*/ 2783681 w 6400800"/>
                <a:gd name="connsiteY5464" fmla="*/ 218599 h 514350"/>
                <a:gd name="connsiteX5465" fmla="*/ 2784634 w 6400800"/>
                <a:gd name="connsiteY5465" fmla="*/ 237649 h 514350"/>
                <a:gd name="connsiteX5466" fmla="*/ 2780824 w 6400800"/>
                <a:gd name="connsiteY5466" fmla="*/ 243364 h 514350"/>
                <a:gd name="connsiteX5467" fmla="*/ 2778919 w 6400800"/>
                <a:gd name="connsiteY5467" fmla="*/ 204311 h 514350"/>
                <a:gd name="connsiteX5468" fmla="*/ 2777966 w 6400800"/>
                <a:gd name="connsiteY5468" fmla="*/ 186214 h 514350"/>
                <a:gd name="connsiteX5469" fmla="*/ 2775109 w 6400800"/>
                <a:gd name="connsiteY5469" fmla="*/ 204311 h 514350"/>
                <a:gd name="connsiteX5470" fmla="*/ 2774156 w 6400800"/>
                <a:gd name="connsiteY5470" fmla="*/ 214789 h 514350"/>
                <a:gd name="connsiteX5471" fmla="*/ 2770346 w 6400800"/>
                <a:gd name="connsiteY5471" fmla="*/ 190976 h 514350"/>
                <a:gd name="connsiteX5472" fmla="*/ 2770346 w 6400800"/>
                <a:gd name="connsiteY5472" fmla="*/ 189071 h 514350"/>
                <a:gd name="connsiteX5473" fmla="*/ 2770346 w 6400800"/>
                <a:gd name="connsiteY5473" fmla="*/ 185261 h 514350"/>
                <a:gd name="connsiteX5474" fmla="*/ 2768441 w 6400800"/>
                <a:gd name="connsiteY5474" fmla="*/ 166211 h 514350"/>
                <a:gd name="connsiteX5475" fmla="*/ 2787491 w 6400800"/>
                <a:gd name="connsiteY5475" fmla="*/ 196691 h 514350"/>
                <a:gd name="connsiteX5476" fmla="*/ 2767489 w 6400800"/>
                <a:gd name="connsiteY5476" fmla="*/ 167164 h 514350"/>
                <a:gd name="connsiteX5477" fmla="*/ 2767489 w 6400800"/>
                <a:gd name="connsiteY5477" fmla="*/ 170974 h 514350"/>
                <a:gd name="connsiteX5478" fmla="*/ 2766536 w 6400800"/>
                <a:gd name="connsiteY5478" fmla="*/ 166211 h 514350"/>
                <a:gd name="connsiteX5479" fmla="*/ 2767489 w 6400800"/>
                <a:gd name="connsiteY5479" fmla="*/ 167164 h 514350"/>
                <a:gd name="connsiteX5480" fmla="*/ 2757964 w 6400800"/>
                <a:gd name="connsiteY5480" fmla="*/ 342424 h 514350"/>
                <a:gd name="connsiteX5481" fmla="*/ 2755106 w 6400800"/>
                <a:gd name="connsiteY5481" fmla="*/ 336709 h 514350"/>
                <a:gd name="connsiteX5482" fmla="*/ 2758916 w 6400800"/>
                <a:gd name="connsiteY5482" fmla="*/ 329089 h 514350"/>
                <a:gd name="connsiteX5483" fmla="*/ 2760821 w 6400800"/>
                <a:gd name="connsiteY5483" fmla="*/ 332899 h 514350"/>
                <a:gd name="connsiteX5484" fmla="*/ 2757964 w 6400800"/>
                <a:gd name="connsiteY5484" fmla="*/ 342424 h 514350"/>
                <a:gd name="connsiteX5485" fmla="*/ 2762726 w 6400800"/>
                <a:gd name="connsiteY5485" fmla="*/ 327184 h 514350"/>
                <a:gd name="connsiteX5486" fmla="*/ 2761774 w 6400800"/>
                <a:gd name="connsiteY5486" fmla="*/ 330994 h 514350"/>
                <a:gd name="connsiteX5487" fmla="*/ 2759869 w 6400800"/>
                <a:gd name="connsiteY5487" fmla="*/ 328136 h 514350"/>
                <a:gd name="connsiteX5488" fmla="*/ 2761774 w 6400800"/>
                <a:gd name="connsiteY5488" fmla="*/ 324326 h 514350"/>
                <a:gd name="connsiteX5489" fmla="*/ 2762726 w 6400800"/>
                <a:gd name="connsiteY5489" fmla="*/ 327184 h 514350"/>
                <a:gd name="connsiteX5490" fmla="*/ 2762726 w 6400800"/>
                <a:gd name="connsiteY5490" fmla="*/ 327184 h 514350"/>
                <a:gd name="connsiteX5491" fmla="*/ 2762726 w 6400800"/>
                <a:gd name="connsiteY5491" fmla="*/ 250031 h 514350"/>
                <a:gd name="connsiteX5492" fmla="*/ 2762726 w 6400800"/>
                <a:gd name="connsiteY5492" fmla="*/ 270034 h 514350"/>
                <a:gd name="connsiteX5493" fmla="*/ 2754154 w 6400800"/>
                <a:gd name="connsiteY5493" fmla="*/ 282416 h 514350"/>
                <a:gd name="connsiteX5494" fmla="*/ 2753201 w 6400800"/>
                <a:gd name="connsiteY5494" fmla="*/ 284321 h 514350"/>
                <a:gd name="connsiteX5495" fmla="*/ 2752249 w 6400800"/>
                <a:gd name="connsiteY5495" fmla="*/ 282416 h 514350"/>
                <a:gd name="connsiteX5496" fmla="*/ 2753201 w 6400800"/>
                <a:gd name="connsiteY5496" fmla="*/ 278606 h 514350"/>
                <a:gd name="connsiteX5497" fmla="*/ 2756059 w 6400800"/>
                <a:gd name="connsiteY5497" fmla="*/ 267176 h 514350"/>
                <a:gd name="connsiteX5498" fmla="*/ 2761774 w 6400800"/>
                <a:gd name="connsiteY5498" fmla="*/ 251936 h 514350"/>
                <a:gd name="connsiteX5499" fmla="*/ 2762726 w 6400800"/>
                <a:gd name="connsiteY5499" fmla="*/ 250031 h 514350"/>
                <a:gd name="connsiteX5500" fmla="*/ 2762726 w 6400800"/>
                <a:gd name="connsiteY5500" fmla="*/ 250031 h 514350"/>
                <a:gd name="connsiteX5501" fmla="*/ 2753201 w 6400800"/>
                <a:gd name="connsiteY5501" fmla="*/ 250031 h 514350"/>
                <a:gd name="connsiteX5502" fmla="*/ 2757011 w 6400800"/>
                <a:gd name="connsiteY5502" fmla="*/ 230981 h 514350"/>
                <a:gd name="connsiteX5503" fmla="*/ 2762726 w 6400800"/>
                <a:gd name="connsiteY5503" fmla="*/ 249079 h 514350"/>
                <a:gd name="connsiteX5504" fmla="*/ 2760821 w 6400800"/>
                <a:gd name="connsiteY5504" fmla="*/ 252889 h 514350"/>
                <a:gd name="connsiteX5505" fmla="*/ 2752249 w 6400800"/>
                <a:gd name="connsiteY5505" fmla="*/ 267176 h 514350"/>
                <a:gd name="connsiteX5506" fmla="*/ 2748439 w 6400800"/>
                <a:gd name="connsiteY5506" fmla="*/ 275749 h 514350"/>
                <a:gd name="connsiteX5507" fmla="*/ 2747486 w 6400800"/>
                <a:gd name="connsiteY5507" fmla="*/ 274796 h 514350"/>
                <a:gd name="connsiteX5508" fmla="*/ 2753201 w 6400800"/>
                <a:gd name="connsiteY5508" fmla="*/ 250031 h 514350"/>
                <a:gd name="connsiteX5509" fmla="*/ 2749391 w 6400800"/>
                <a:gd name="connsiteY5509" fmla="*/ 362426 h 514350"/>
                <a:gd name="connsiteX5510" fmla="*/ 2746534 w 6400800"/>
                <a:gd name="connsiteY5510" fmla="*/ 357664 h 514350"/>
                <a:gd name="connsiteX5511" fmla="*/ 2746534 w 6400800"/>
                <a:gd name="connsiteY5511" fmla="*/ 354806 h 514350"/>
                <a:gd name="connsiteX5512" fmla="*/ 2749391 w 6400800"/>
                <a:gd name="connsiteY5512" fmla="*/ 362426 h 514350"/>
                <a:gd name="connsiteX5513" fmla="*/ 2734151 w 6400800"/>
                <a:gd name="connsiteY5513" fmla="*/ 258604 h 514350"/>
                <a:gd name="connsiteX5514" fmla="*/ 2740819 w 6400800"/>
                <a:gd name="connsiteY5514" fmla="*/ 273844 h 514350"/>
                <a:gd name="connsiteX5515" fmla="*/ 2735104 w 6400800"/>
                <a:gd name="connsiteY5515" fmla="*/ 290036 h 514350"/>
                <a:gd name="connsiteX5516" fmla="*/ 2734151 w 6400800"/>
                <a:gd name="connsiteY5516" fmla="*/ 287179 h 514350"/>
                <a:gd name="connsiteX5517" fmla="*/ 2734151 w 6400800"/>
                <a:gd name="connsiteY5517" fmla="*/ 291941 h 514350"/>
                <a:gd name="connsiteX5518" fmla="*/ 2734151 w 6400800"/>
                <a:gd name="connsiteY5518" fmla="*/ 291941 h 514350"/>
                <a:gd name="connsiteX5519" fmla="*/ 2732246 w 6400800"/>
                <a:gd name="connsiteY5519" fmla="*/ 289084 h 514350"/>
                <a:gd name="connsiteX5520" fmla="*/ 2731294 w 6400800"/>
                <a:gd name="connsiteY5520" fmla="*/ 286226 h 514350"/>
                <a:gd name="connsiteX5521" fmla="*/ 2734151 w 6400800"/>
                <a:gd name="connsiteY5521" fmla="*/ 258604 h 514350"/>
                <a:gd name="connsiteX5522" fmla="*/ 2715101 w 6400800"/>
                <a:gd name="connsiteY5522" fmla="*/ 290989 h 514350"/>
                <a:gd name="connsiteX5523" fmla="*/ 2716054 w 6400800"/>
                <a:gd name="connsiteY5523" fmla="*/ 273844 h 514350"/>
                <a:gd name="connsiteX5524" fmla="*/ 2717959 w 6400800"/>
                <a:gd name="connsiteY5524" fmla="*/ 278606 h 514350"/>
                <a:gd name="connsiteX5525" fmla="*/ 2716054 w 6400800"/>
                <a:gd name="connsiteY5525" fmla="*/ 304324 h 514350"/>
                <a:gd name="connsiteX5526" fmla="*/ 2715101 w 6400800"/>
                <a:gd name="connsiteY5526" fmla="*/ 303371 h 514350"/>
                <a:gd name="connsiteX5527" fmla="*/ 2715101 w 6400800"/>
                <a:gd name="connsiteY5527" fmla="*/ 290989 h 514350"/>
                <a:gd name="connsiteX5528" fmla="*/ 2705576 w 6400800"/>
                <a:gd name="connsiteY5528" fmla="*/ 243364 h 514350"/>
                <a:gd name="connsiteX5529" fmla="*/ 2704624 w 6400800"/>
                <a:gd name="connsiteY5529" fmla="*/ 247174 h 514350"/>
                <a:gd name="connsiteX5530" fmla="*/ 2703671 w 6400800"/>
                <a:gd name="connsiteY5530" fmla="*/ 238601 h 514350"/>
                <a:gd name="connsiteX5531" fmla="*/ 2705576 w 6400800"/>
                <a:gd name="connsiteY5531" fmla="*/ 243364 h 514350"/>
                <a:gd name="connsiteX5532" fmla="*/ 2697956 w 6400800"/>
                <a:gd name="connsiteY5532" fmla="*/ 312896 h 514350"/>
                <a:gd name="connsiteX5533" fmla="*/ 2697956 w 6400800"/>
                <a:gd name="connsiteY5533" fmla="*/ 313849 h 514350"/>
                <a:gd name="connsiteX5534" fmla="*/ 2697956 w 6400800"/>
                <a:gd name="connsiteY5534" fmla="*/ 310991 h 514350"/>
                <a:gd name="connsiteX5535" fmla="*/ 2697956 w 6400800"/>
                <a:gd name="connsiteY5535" fmla="*/ 312896 h 514350"/>
                <a:gd name="connsiteX5536" fmla="*/ 2664619 w 6400800"/>
                <a:gd name="connsiteY5536" fmla="*/ 234791 h 514350"/>
                <a:gd name="connsiteX5537" fmla="*/ 2666524 w 6400800"/>
                <a:gd name="connsiteY5537" fmla="*/ 238601 h 514350"/>
                <a:gd name="connsiteX5538" fmla="*/ 2673191 w 6400800"/>
                <a:gd name="connsiteY5538" fmla="*/ 287179 h 514350"/>
                <a:gd name="connsiteX5539" fmla="*/ 2670334 w 6400800"/>
                <a:gd name="connsiteY5539" fmla="*/ 279559 h 514350"/>
                <a:gd name="connsiteX5540" fmla="*/ 2670334 w 6400800"/>
                <a:gd name="connsiteY5540" fmla="*/ 278606 h 514350"/>
                <a:gd name="connsiteX5541" fmla="*/ 2671286 w 6400800"/>
                <a:gd name="connsiteY5541" fmla="*/ 276701 h 514350"/>
                <a:gd name="connsiteX5542" fmla="*/ 2670334 w 6400800"/>
                <a:gd name="connsiteY5542" fmla="*/ 278606 h 514350"/>
                <a:gd name="connsiteX5543" fmla="*/ 2664619 w 6400800"/>
                <a:gd name="connsiteY5543" fmla="*/ 246221 h 514350"/>
                <a:gd name="connsiteX5544" fmla="*/ 2663666 w 6400800"/>
                <a:gd name="connsiteY5544" fmla="*/ 240506 h 514350"/>
                <a:gd name="connsiteX5545" fmla="*/ 2664619 w 6400800"/>
                <a:gd name="connsiteY5545" fmla="*/ 234791 h 514350"/>
                <a:gd name="connsiteX5546" fmla="*/ 2657951 w 6400800"/>
                <a:gd name="connsiteY5546" fmla="*/ 339566 h 514350"/>
                <a:gd name="connsiteX5547" fmla="*/ 2656046 w 6400800"/>
                <a:gd name="connsiteY5547" fmla="*/ 336709 h 514350"/>
                <a:gd name="connsiteX5548" fmla="*/ 2657951 w 6400800"/>
                <a:gd name="connsiteY5548" fmla="*/ 325279 h 514350"/>
                <a:gd name="connsiteX5549" fmla="*/ 2657951 w 6400800"/>
                <a:gd name="connsiteY5549" fmla="*/ 339566 h 514350"/>
                <a:gd name="connsiteX5550" fmla="*/ 2654141 w 6400800"/>
                <a:gd name="connsiteY5550" fmla="*/ 277654 h 514350"/>
                <a:gd name="connsiteX5551" fmla="*/ 2659856 w 6400800"/>
                <a:gd name="connsiteY5551" fmla="*/ 298609 h 514350"/>
                <a:gd name="connsiteX5552" fmla="*/ 2659856 w 6400800"/>
                <a:gd name="connsiteY5552" fmla="*/ 299561 h 514350"/>
                <a:gd name="connsiteX5553" fmla="*/ 2653189 w 6400800"/>
                <a:gd name="connsiteY5553" fmla="*/ 316706 h 514350"/>
                <a:gd name="connsiteX5554" fmla="*/ 2652236 w 6400800"/>
                <a:gd name="connsiteY5554" fmla="*/ 319564 h 514350"/>
                <a:gd name="connsiteX5555" fmla="*/ 2650331 w 6400800"/>
                <a:gd name="connsiteY5555" fmla="*/ 311944 h 514350"/>
                <a:gd name="connsiteX5556" fmla="*/ 2647474 w 6400800"/>
                <a:gd name="connsiteY5556" fmla="*/ 301466 h 514350"/>
                <a:gd name="connsiteX5557" fmla="*/ 2654141 w 6400800"/>
                <a:gd name="connsiteY5557" fmla="*/ 277654 h 514350"/>
                <a:gd name="connsiteX5558" fmla="*/ 2633186 w 6400800"/>
                <a:gd name="connsiteY5558" fmla="*/ 283369 h 514350"/>
                <a:gd name="connsiteX5559" fmla="*/ 2633186 w 6400800"/>
                <a:gd name="connsiteY5559" fmla="*/ 285274 h 514350"/>
                <a:gd name="connsiteX5560" fmla="*/ 2633186 w 6400800"/>
                <a:gd name="connsiteY5560" fmla="*/ 286226 h 514350"/>
                <a:gd name="connsiteX5561" fmla="*/ 2632234 w 6400800"/>
                <a:gd name="connsiteY5561" fmla="*/ 290036 h 514350"/>
                <a:gd name="connsiteX5562" fmla="*/ 2633186 w 6400800"/>
                <a:gd name="connsiteY5562" fmla="*/ 283369 h 514350"/>
                <a:gd name="connsiteX5563" fmla="*/ 2578894 w 6400800"/>
                <a:gd name="connsiteY5563" fmla="*/ 242411 h 514350"/>
                <a:gd name="connsiteX5564" fmla="*/ 2577941 w 6400800"/>
                <a:gd name="connsiteY5564" fmla="*/ 241459 h 514350"/>
                <a:gd name="connsiteX5565" fmla="*/ 2580799 w 6400800"/>
                <a:gd name="connsiteY5565" fmla="*/ 235744 h 514350"/>
                <a:gd name="connsiteX5566" fmla="*/ 2580799 w 6400800"/>
                <a:gd name="connsiteY5566" fmla="*/ 235744 h 514350"/>
                <a:gd name="connsiteX5567" fmla="*/ 2578894 w 6400800"/>
                <a:gd name="connsiteY5567" fmla="*/ 242411 h 514350"/>
                <a:gd name="connsiteX5568" fmla="*/ 2597944 w 6400800"/>
                <a:gd name="connsiteY5568" fmla="*/ 275749 h 514350"/>
                <a:gd name="connsiteX5569" fmla="*/ 2597944 w 6400800"/>
                <a:gd name="connsiteY5569" fmla="*/ 274796 h 514350"/>
                <a:gd name="connsiteX5570" fmla="*/ 2597944 w 6400800"/>
                <a:gd name="connsiteY5570" fmla="*/ 275749 h 514350"/>
                <a:gd name="connsiteX5571" fmla="*/ 2597944 w 6400800"/>
                <a:gd name="connsiteY5571" fmla="*/ 275749 h 514350"/>
                <a:gd name="connsiteX5572" fmla="*/ 2616041 w 6400800"/>
                <a:gd name="connsiteY5572" fmla="*/ 309086 h 514350"/>
                <a:gd name="connsiteX5573" fmla="*/ 2613184 w 6400800"/>
                <a:gd name="connsiteY5573" fmla="*/ 319564 h 514350"/>
                <a:gd name="connsiteX5574" fmla="*/ 2613184 w 6400800"/>
                <a:gd name="connsiteY5574" fmla="*/ 318611 h 514350"/>
                <a:gd name="connsiteX5575" fmla="*/ 2613184 w 6400800"/>
                <a:gd name="connsiteY5575" fmla="*/ 319564 h 514350"/>
                <a:gd name="connsiteX5576" fmla="*/ 2613184 w 6400800"/>
                <a:gd name="connsiteY5576" fmla="*/ 319564 h 514350"/>
                <a:gd name="connsiteX5577" fmla="*/ 2600801 w 6400800"/>
                <a:gd name="connsiteY5577" fmla="*/ 289084 h 514350"/>
                <a:gd name="connsiteX5578" fmla="*/ 2602706 w 6400800"/>
                <a:gd name="connsiteY5578" fmla="*/ 282416 h 514350"/>
                <a:gd name="connsiteX5579" fmla="*/ 2612231 w 6400800"/>
                <a:gd name="connsiteY5579" fmla="*/ 299561 h 514350"/>
                <a:gd name="connsiteX5580" fmla="*/ 2616041 w 6400800"/>
                <a:gd name="connsiteY5580" fmla="*/ 308134 h 514350"/>
                <a:gd name="connsiteX5581" fmla="*/ 2616041 w 6400800"/>
                <a:gd name="connsiteY5581" fmla="*/ 309086 h 514350"/>
                <a:gd name="connsiteX5582" fmla="*/ 2616041 w 6400800"/>
                <a:gd name="connsiteY5582" fmla="*/ 309086 h 514350"/>
                <a:gd name="connsiteX5583" fmla="*/ 2604611 w 6400800"/>
                <a:gd name="connsiteY5583" fmla="*/ 276701 h 514350"/>
                <a:gd name="connsiteX5584" fmla="*/ 2608421 w 6400800"/>
                <a:gd name="connsiteY5584" fmla="*/ 267176 h 514350"/>
                <a:gd name="connsiteX5585" fmla="*/ 2615089 w 6400800"/>
                <a:gd name="connsiteY5585" fmla="*/ 290036 h 514350"/>
                <a:gd name="connsiteX5586" fmla="*/ 2604611 w 6400800"/>
                <a:gd name="connsiteY5586" fmla="*/ 276701 h 514350"/>
                <a:gd name="connsiteX5587" fmla="*/ 2614136 w 6400800"/>
                <a:gd name="connsiteY5587" fmla="*/ 276701 h 514350"/>
                <a:gd name="connsiteX5588" fmla="*/ 2609374 w 6400800"/>
                <a:gd name="connsiteY5588" fmla="*/ 266224 h 514350"/>
                <a:gd name="connsiteX5589" fmla="*/ 2612231 w 6400800"/>
                <a:gd name="connsiteY5589" fmla="*/ 257651 h 514350"/>
                <a:gd name="connsiteX5590" fmla="*/ 2614136 w 6400800"/>
                <a:gd name="connsiteY5590" fmla="*/ 276701 h 514350"/>
                <a:gd name="connsiteX5591" fmla="*/ 2606516 w 6400800"/>
                <a:gd name="connsiteY5591" fmla="*/ 208121 h 514350"/>
                <a:gd name="connsiteX5592" fmla="*/ 2611279 w 6400800"/>
                <a:gd name="connsiteY5592" fmla="*/ 250984 h 514350"/>
                <a:gd name="connsiteX5593" fmla="*/ 2611279 w 6400800"/>
                <a:gd name="connsiteY5593" fmla="*/ 251936 h 514350"/>
                <a:gd name="connsiteX5594" fmla="*/ 2600801 w 6400800"/>
                <a:gd name="connsiteY5594" fmla="*/ 271939 h 514350"/>
                <a:gd name="connsiteX5595" fmla="*/ 2597944 w 6400800"/>
                <a:gd name="connsiteY5595" fmla="*/ 268129 h 514350"/>
                <a:gd name="connsiteX5596" fmla="*/ 2595086 w 6400800"/>
                <a:gd name="connsiteY5596" fmla="*/ 237649 h 514350"/>
                <a:gd name="connsiteX5597" fmla="*/ 2594134 w 6400800"/>
                <a:gd name="connsiteY5597" fmla="*/ 228124 h 514350"/>
                <a:gd name="connsiteX5598" fmla="*/ 2605564 w 6400800"/>
                <a:gd name="connsiteY5598" fmla="*/ 179546 h 514350"/>
                <a:gd name="connsiteX5599" fmla="*/ 2606516 w 6400800"/>
                <a:gd name="connsiteY5599" fmla="*/ 208121 h 514350"/>
                <a:gd name="connsiteX5600" fmla="*/ 2586514 w 6400800"/>
                <a:gd name="connsiteY5600" fmla="*/ 186214 h 514350"/>
                <a:gd name="connsiteX5601" fmla="*/ 2598896 w 6400800"/>
                <a:gd name="connsiteY5601" fmla="*/ 159544 h 514350"/>
                <a:gd name="connsiteX5602" fmla="*/ 2601754 w 6400800"/>
                <a:gd name="connsiteY5602" fmla="*/ 153829 h 514350"/>
                <a:gd name="connsiteX5603" fmla="*/ 2603659 w 6400800"/>
                <a:gd name="connsiteY5603" fmla="*/ 173831 h 514350"/>
                <a:gd name="connsiteX5604" fmla="*/ 2590324 w 6400800"/>
                <a:gd name="connsiteY5604" fmla="*/ 210979 h 514350"/>
                <a:gd name="connsiteX5605" fmla="*/ 2586514 w 6400800"/>
                <a:gd name="connsiteY5605" fmla="*/ 187166 h 514350"/>
                <a:gd name="connsiteX5606" fmla="*/ 2586514 w 6400800"/>
                <a:gd name="connsiteY5606" fmla="*/ 186214 h 514350"/>
                <a:gd name="connsiteX5607" fmla="*/ 2584609 w 6400800"/>
                <a:gd name="connsiteY5607" fmla="*/ 408146 h 514350"/>
                <a:gd name="connsiteX5608" fmla="*/ 2584609 w 6400800"/>
                <a:gd name="connsiteY5608" fmla="*/ 408146 h 514350"/>
                <a:gd name="connsiteX5609" fmla="*/ 2581751 w 6400800"/>
                <a:gd name="connsiteY5609" fmla="*/ 393859 h 514350"/>
                <a:gd name="connsiteX5610" fmla="*/ 2584609 w 6400800"/>
                <a:gd name="connsiteY5610" fmla="*/ 408146 h 514350"/>
                <a:gd name="connsiteX5611" fmla="*/ 2580799 w 6400800"/>
                <a:gd name="connsiteY5611" fmla="*/ 199549 h 514350"/>
                <a:gd name="connsiteX5612" fmla="*/ 2581751 w 6400800"/>
                <a:gd name="connsiteY5612" fmla="*/ 228124 h 514350"/>
                <a:gd name="connsiteX5613" fmla="*/ 2578894 w 6400800"/>
                <a:gd name="connsiteY5613" fmla="*/ 231934 h 514350"/>
                <a:gd name="connsiteX5614" fmla="*/ 2575084 w 6400800"/>
                <a:gd name="connsiteY5614" fmla="*/ 236696 h 514350"/>
                <a:gd name="connsiteX5615" fmla="*/ 2573179 w 6400800"/>
                <a:gd name="connsiteY5615" fmla="*/ 233839 h 514350"/>
                <a:gd name="connsiteX5616" fmla="*/ 2572226 w 6400800"/>
                <a:gd name="connsiteY5616" fmla="*/ 229076 h 514350"/>
                <a:gd name="connsiteX5617" fmla="*/ 2571274 w 6400800"/>
                <a:gd name="connsiteY5617" fmla="*/ 219551 h 514350"/>
                <a:gd name="connsiteX5618" fmla="*/ 2580799 w 6400800"/>
                <a:gd name="connsiteY5618" fmla="*/ 199549 h 514350"/>
                <a:gd name="connsiteX5619" fmla="*/ 2569369 w 6400800"/>
                <a:gd name="connsiteY5619" fmla="*/ 320516 h 514350"/>
                <a:gd name="connsiteX5620" fmla="*/ 2570321 w 6400800"/>
                <a:gd name="connsiteY5620" fmla="*/ 327184 h 514350"/>
                <a:gd name="connsiteX5621" fmla="*/ 2571274 w 6400800"/>
                <a:gd name="connsiteY5621" fmla="*/ 330041 h 514350"/>
                <a:gd name="connsiteX5622" fmla="*/ 2563654 w 6400800"/>
                <a:gd name="connsiteY5622" fmla="*/ 345281 h 514350"/>
                <a:gd name="connsiteX5623" fmla="*/ 2562701 w 6400800"/>
                <a:gd name="connsiteY5623" fmla="*/ 342424 h 514350"/>
                <a:gd name="connsiteX5624" fmla="*/ 2569369 w 6400800"/>
                <a:gd name="connsiteY5624" fmla="*/ 320516 h 514350"/>
                <a:gd name="connsiteX5625" fmla="*/ 2556034 w 6400800"/>
                <a:gd name="connsiteY5625" fmla="*/ 262414 h 514350"/>
                <a:gd name="connsiteX5626" fmla="*/ 2559844 w 6400800"/>
                <a:gd name="connsiteY5626" fmla="*/ 251936 h 514350"/>
                <a:gd name="connsiteX5627" fmla="*/ 2560796 w 6400800"/>
                <a:gd name="connsiteY5627" fmla="*/ 257651 h 514350"/>
                <a:gd name="connsiteX5628" fmla="*/ 2559844 w 6400800"/>
                <a:gd name="connsiteY5628" fmla="*/ 259556 h 514350"/>
                <a:gd name="connsiteX5629" fmla="*/ 2554129 w 6400800"/>
                <a:gd name="connsiteY5629" fmla="*/ 269081 h 514350"/>
                <a:gd name="connsiteX5630" fmla="*/ 2556034 w 6400800"/>
                <a:gd name="connsiteY5630" fmla="*/ 262414 h 514350"/>
                <a:gd name="connsiteX5631" fmla="*/ 2561749 w 6400800"/>
                <a:gd name="connsiteY5631" fmla="*/ 276701 h 514350"/>
                <a:gd name="connsiteX5632" fmla="*/ 2562701 w 6400800"/>
                <a:gd name="connsiteY5632" fmla="*/ 274796 h 514350"/>
                <a:gd name="connsiteX5633" fmla="*/ 2564606 w 6400800"/>
                <a:gd name="connsiteY5633" fmla="*/ 287179 h 514350"/>
                <a:gd name="connsiteX5634" fmla="*/ 2557939 w 6400800"/>
                <a:gd name="connsiteY5634" fmla="*/ 309086 h 514350"/>
                <a:gd name="connsiteX5635" fmla="*/ 2556034 w 6400800"/>
                <a:gd name="connsiteY5635" fmla="*/ 313849 h 514350"/>
                <a:gd name="connsiteX5636" fmla="*/ 2553176 w 6400800"/>
                <a:gd name="connsiteY5636" fmla="*/ 296704 h 514350"/>
                <a:gd name="connsiteX5637" fmla="*/ 2561749 w 6400800"/>
                <a:gd name="connsiteY5637" fmla="*/ 276701 h 514350"/>
                <a:gd name="connsiteX5638" fmla="*/ 2538889 w 6400800"/>
                <a:gd name="connsiteY5638" fmla="*/ 252889 h 514350"/>
                <a:gd name="connsiteX5639" fmla="*/ 2540794 w 6400800"/>
                <a:gd name="connsiteY5639" fmla="*/ 242411 h 514350"/>
                <a:gd name="connsiteX5640" fmla="*/ 2542699 w 6400800"/>
                <a:gd name="connsiteY5640" fmla="*/ 238601 h 514350"/>
                <a:gd name="connsiteX5641" fmla="*/ 2544604 w 6400800"/>
                <a:gd name="connsiteY5641" fmla="*/ 233839 h 514350"/>
                <a:gd name="connsiteX5642" fmla="*/ 2543651 w 6400800"/>
                <a:gd name="connsiteY5642" fmla="*/ 248126 h 514350"/>
                <a:gd name="connsiteX5643" fmla="*/ 2542699 w 6400800"/>
                <a:gd name="connsiteY5643" fmla="*/ 257651 h 514350"/>
                <a:gd name="connsiteX5644" fmla="*/ 2537936 w 6400800"/>
                <a:gd name="connsiteY5644" fmla="*/ 268129 h 514350"/>
                <a:gd name="connsiteX5645" fmla="*/ 2538889 w 6400800"/>
                <a:gd name="connsiteY5645" fmla="*/ 252889 h 514350"/>
                <a:gd name="connsiteX5646" fmla="*/ 2521744 w 6400800"/>
                <a:gd name="connsiteY5646" fmla="*/ 475774 h 514350"/>
                <a:gd name="connsiteX5647" fmla="*/ 2522696 w 6400800"/>
                <a:gd name="connsiteY5647" fmla="*/ 484346 h 514350"/>
                <a:gd name="connsiteX5648" fmla="*/ 2520791 w 6400800"/>
                <a:gd name="connsiteY5648" fmla="*/ 479584 h 514350"/>
                <a:gd name="connsiteX5649" fmla="*/ 2521744 w 6400800"/>
                <a:gd name="connsiteY5649" fmla="*/ 475774 h 514350"/>
                <a:gd name="connsiteX5650" fmla="*/ 2514124 w 6400800"/>
                <a:gd name="connsiteY5650" fmla="*/ 323374 h 514350"/>
                <a:gd name="connsiteX5651" fmla="*/ 2514124 w 6400800"/>
                <a:gd name="connsiteY5651" fmla="*/ 323374 h 514350"/>
                <a:gd name="connsiteX5652" fmla="*/ 2513171 w 6400800"/>
                <a:gd name="connsiteY5652" fmla="*/ 328136 h 514350"/>
                <a:gd name="connsiteX5653" fmla="*/ 2513171 w 6400800"/>
                <a:gd name="connsiteY5653" fmla="*/ 329089 h 514350"/>
                <a:gd name="connsiteX5654" fmla="*/ 2514124 w 6400800"/>
                <a:gd name="connsiteY5654" fmla="*/ 323374 h 514350"/>
                <a:gd name="connsiteX5655" fmla="*/ 2509361 w 6400800"/>
                <a:gd name="connsiteY5655" fmla="*/ 300514 h 514350"/>
                <a:gd name="connsiteX5656" fmla="*/ 2508409 w 6400800"/>
                <a:gd name="connsiteY5656" fmla="*/ 302419 h 514350"/>
                <a:gd name="connsiteX5657" fmla="*/ 2508409 w 6400800"/>
                <a:gd name="connsiteY5657" fmla="*/ 302419 h 514350"/>
                <a:gd name="connsiteX5658" fmla="*/ 2507456 w 6400800"/>
                <a:gd name="connsiteY5658" fmla="*/ 294799 h 514350"/>
                <a:gd name="connsiteX5659" fmla="*/ 2509361 w 6400800"/>
                <a:gd name="connsiteY5659" fmla="*/ 300514 h 514350"/>
                <a:gd name="connsiteX5660" fmla="*/ 2496979 w 6400800"/>
                <a:gd name="connsiteY5660" fmla="*/ 292894 h 514350"/>
                <a:gd name="connsiteX5661" fmla="*/ 2497931 w 6400800"/>
                <a:gd name="connsiteY5661" fmla="*/ 290036 h 514350"/>
                <a:gd name="connsiteX5662" fmla="*/ 2496979 w 6400800"/>
                <a:gd name="connsiteY5662" fmla="*/ 290989 h 514350"/>
                <a:gd name="connsiteX5663" fmla="*/ 2497931 w 6400800"/>
                <a:gd name="connsiteY5663" fmla="*/ 284321 h 514350"/>
                <a:gd name="connsiteX5664" fmla="*/ 2498884 w 6400800"/>
                <a:gd name="connsiteY5664" fmla="*/ 269081 h 514350"/>
                <a:gd name="connsiteX5665" fmla="*/ 2498884 w 6400800"/>
                <a:gd name="connsiteY5665" fmla="*/ 266224 h 514350"/>
                <a:gd name="connsiteX5666" fmla="*/ 2502694 w 6400800"/>
                <a:gd name="connsiteY5666" fmla="*/ 277654 h 514350"/>
                <a:gd name="connsiteX5667" fmla="*/ 2502694 w 6400800"/>
                <a:gd name="connsiteY5667" fmla="*/ 283369 h 514350"/>
                <a:gd name="connsiteX5668" fmla="*/ 2501741 w 6400800"/>
                <a:gd name="connsiteY5668" fmla="*/ 302419 h 514350"/>
                <a:gd name="connsiteX5669" fmla="*/ 2501741 w 6400800"/>
                <a:gd name="connsiteY5669" fmla="*/ 313849 h 514350"/>
                <a:gd name="connsiteX5670" fmla="*/ 2500789 w 6400800"/>
                <a:gd name="connsiteY5670" fmla="*/ 325279 h 514350"/>
                <a:gd name="connsiteX5671" fmla="*/ 2500789 w 6400800"/>
                <a:gd name="connsiteY5671" fmla="*/ 326231 h 514350"/>
                <a:gd name="connsiteX5672" fmla="*/ 2499836 w 6400800"/>
                <a:gd name="connsiteY5672" fmla="*/ 315754 h 514350"/>
                <a:gd name="connsiteX5673" fmla="*/ 2499836 w 6400800"/>
                <a:gd name="connsiteY5673" fmla="*/ 310039 h 514350"/>
                <a:gd name="connsiteX5674" fmla="*/ 2500789 w 6400800"/>
                <a:gd name="connsiteY5674" fmla="*/ 297656 h 514350"/>
                <a:gd name="connsiteX5675" fmla="*/ 2500789 w 6400800"/>
                <a:gd name="connsiteY5675" fmla="*/ 286226 h 514350"/>
                <a:gd name="connsiteX5676" fmla="*/ 2496979 w 6400800"/>
                <a:gd name="connsiteY5676" fmla="*/ 292894 h 514350"/>
                <a:gd name="connsiteX5677" fmla="*/ 2496979 w 6400800"/>
                <a:gd name="connsiteY5677" fmla="*/ 292894 h 514350"/>
                <a:gd name="connsiteX5678" fmla="*/ 2449354 w 6400800"/>
                <a:gd name="connsiteY5678" fmla="*/ 334804 h 514350"/>
                <a:gd name="connsiteX5679" fmla="*/ 2447449 w 6400800"/>
                <a:gd name="connsiteY5679" fmla="*/ 328136 h 514350"/>
                <a:gd name="connsiteX5680" fmla="*/ 2450306 w 6400800"/>
                <a:gd name="connsiteY5680" fmla="*/ 321469 h 514350"/>
                <a:gd name="connsiteX5681" fmla="*/ 2450306 w 6400800"/>
                <a:gd name="connsiteY5681" fmla="*/ 322421 h 514350"/>
                <a:gd name="connsiteX5682" fmla="*/ 2451259 w 6400800"/>
                <a:gd name="connsiteY5682" fmla="*/ 324326 h 514350"/>
                <a:gd name="connsiteX5683" fmla="*/ 2449354 w 6400800"/>
                <a:gd name="connsiteY5683" fmla="*/ 334804 h 514350"/>
                <a:gd name="connsiteX5684" fmla="*/ 2450306 w 6400800"/>
                <a:gd name="connsiteY5684" fmla="*/ 254794 h 514350"/>
                <a:gd name="connsiteX5685" fmla="*/ 2451259 w 6400800"/>
                <a:gd name="connsiteY5685" fmla="*/ 251936 h 514350"/>
                <a:gd name="connsiteX5686" fmla="*/ 2451259 w 6400800"/>
                <a:gd name="connsiteY5686" fmla="*/ 250984 h 514350"/>
                <a:gd name="connsiteX5687" fmla="*/ 2451259 w 6400800"/>
                <a:gd name="connsiteY5687" fmla="*/ 251936 h 514350"/>
                <a:gd name="connsiteX5688" fmla="*/ 2450306 w 6400800"/>
                <a:gd name="connsiteY5688" fmla="*/ 254794 h 514350"/>
                <a:gd name="connsiteX5689" fmla="*/ 2452211 w 6400800"/>
                <a:gd name="connsiteY5689" fmla="*/ 251936 h 514350"/>
                <a:gd name="connsiteX5690" fmla="*/ 2451259 w 6400800"/>
                <a:gd name="connsiteY5690" fmla="*/ 250984 h 514350"/>
                <a:gd name="connsiteX5691" fmla="*/ 2456021 w 6400800"/>
                <a:gd name="connsiteY5691" fmla="*/ 238601 h 514350"/>
                <a:gd name="connsiteX5692" fmla="*/ 2460784 w 6400800"/>
                <a:gd name="connsiteY5692" fmla="*/ 231934 h 514350"/>
                <a:gd name="connsiteX5693" fmla="*/ 2459831 w 6400800"/>
                <a:gd name="connsiteY5693" fmla="*/ 235744 h 514350"/>
                <a:gd name="connsiteX5694" fmla="*/ 2456021 w 6400800"/>
                <a:gd name="connsiteY5694" fmla="*/ 248126 h 514350"/>
                <a:gd name="connsiteX5695" fmla="*/ 2452211 w 6400800"/>
                <a:gd name="connsiteY5695" fmla="*/ 251936 h 514350"/>
                <a:gd name="connsiteX5696" fmla="*/ 2457926 w 6400800"/>
                <a:gd name="connsiteY5696" fmla="*/ 266224 h 514350"/>
                <a:gd name="connsiteX5697" fmla="*/ 2456974 w 6400800"/>
                <a:gd name="connsiteY5697" fmla="*/ 268129 h 514350"/>
                <a:gd name="connsiteX5698" fmla="*/ 2457926 w 6400800"/>
                <a:gd name="connsiteY5698" fmla="*/ 266224 h 514350"/>
                <a:gd name="connsiteX5699" fmla="*/ 2457926 w 6400800"/>
                <a:gd name="connsiteY5699" fmla="*/ 266224 h 514350"/>
                <a:gd name="connsiteX5700" fmla="*/ 2457926 w 6400800"/>
                <a:gd name="connsiteY5700" fmla="*/ 374809 h 514350"/>
                <a:gd name="connsiteX5701" fmla="*/ 2456021 w 6400800"/>
                <a:gd name="connsiteY5701" fmla="*/ 367189 h 514350"/>
                <a:gd name="connsiteX5702" fmla="*/ 2456021 w 6400800"/>
                <a:gd name="connsiteY5702" fmla="*/ 362426 h 514350"/>
                <a:gd name="connsiteX5703" fmla="*/ 2456021 w 6400800"/>
                <a:gd name="connsiteY5703" fmla="*/ 344329 h 514350"/>
                <a:gd name="connsiteX5704" fmla="*/ 2458879 w 6400800"/>
                <a:gd name="connsiteY5704" fmla="*/ 354806 h 514350"/>
                <a:gd name="connsiteX5705" fmla="*/ 2457926 w 6400800"/>
                <a:gd name="connsiteY5705" fmla="*/ 374809 h 514350"/>
                <a:gd name="connsiteX5706" fmla="*/ 2456974 w 6400800"/>
                <a:gd name="connsiteY5706" fmla="*/ 308134 h 514350"/>
                <a:gd name="connsiteX5707" fmla="*/ 2456974 w 6400800"/>
                <a:gd name="connsiteY5707" fmla="*/ 305276 h 514350"/>
                <a:gd name="connsiteX5708" fmla="*/ 2457926 w 6400800"/>
                <a:gd name="connsiteY5708" fmla="*/ 302419 h 514350"/>
                <a:gd name="connsiteX5709" fmla="*/ 2459831 w 6400800"/>
                <a:gd name="connsiteY5709" fmla="*/ 313849 h 514350"/>
                <a:gd name="connsiteX5710" fmla="*/ 2460784 w 6400800"/>
                <a:gd name="connsiteY5710" fmla="*/ 317659 h 514350"/>
                <a:gd name="connsiteX5711" fmla="*/ 2456974 w 6400800"/>
                <a:gd name="connsiteY5711" fmla="*/ 308134 h 514350"/>
                <a:gd name="connsiteX5712" fmla="*/ 2458879 w 6400800"/>
                <a:gd name="connsiteY5712" fmla="*/ 290036 h 514350"/>
                <a:gd name="connsiteX5713" fmla="*/ 2459831 w 6400800"/>
                <a:gd name="connsiteY5713" fmla="*/ 287179 h 514350"/>
                <a:gd name="connsiteX5714" fmla="*/ 2463641 w 6400800"/>
                <a:gd name="connsiteY5714" fmla="*/ 277654 h 514350"/>
                <a:gd name="connsiteX5715" fmla="*/ 2465546 w 6400800"/>
                <a:gd name="connsiteY5715" fmla="*/ 281464 h 514350"/>
                <a:gd name="connsiteX5716" fmla="*/ 2458879 w 6400800"/>
                <a:gd name="connsiteY5716" fmla="*/ 290036 h 514350"/>
                <a:gd name="connsiteX5717" fmla="*/ 2464594 w 6400800"/>
                <a:gd name="connsiteY5717" fmla="*/ 305276 h 514350"/>
                <a:gd name="connsiteX5718" fmla="*/ 2460784 w 6400800"/>
                <a:gd name="connsiteY5718" fmla="*/ 295751 h 514350"/>
                <a:gd name="connsiteX5719" fmla="*/ 2462689 w 6400800"/>
                <a:gd name="connsiteY5719" fmla="*/ 292894 h 514350"/>
                <a:gd name="connsiteX5720" fmla="*/ 2466499 w 6400800"/>
                <a:gd name="connsiteY5720" fmla="*/ 285274 h 514350"/>
                <a:gd name="connsiteX5721" fmla="*/ 2464594 w 6400800"/>
                <a:gd name="connsiteY5721" fmla="*/ 305276 h 514350"/>
                <a:gd name="connsiteX5722" fmla="*/ 2467451 w 6400800"/>
                <a:gd name="connsiteY5722" fmla="*/ 274796 h 514350"/>
                <a:gd name="connsiteX5723" fmla="*/ 2466499 w 6400800"/>
                <a:gd name="connsiteY5723" fmla="*/ 272891 h 514350"/>
                <a:gd name="connsiteX5724" fmla="*/ 2468404 w 6400800"/>
                <a:gd name="connsiteY5724" fmla="*/ 268129 h 514350"/>
                <a:gd name="connsiteX5725" fmla="*/ 2467451 w 6400800"/>
                <a:gd name="connsiteY5725" fmla="*/ 274796 h 514350"/>
                <a:gd name="connsiteX5726" fmla="*/ 2471261 w 6400800"/>
                <a:gd name="connsiteY5726" fmla="*/ 233839 h 514350"/>
                <a:gd name="connsiteX5727" fmla="*/ 2470309 w 6400800"/>
                <a:gd name="connsiteY5727" fmla="*/ 245269 h 514350"/>
                <a:gd name="connsiteX5728" fmla="*/ 2469356 w 6400800"/>
                <a:gd name="connsiteY5728" fmla="*/ 246221 h 514350"/>
                <a:gd name="connsiteX5729" fmla="*/ 2459831 w 6400800"/>
                <a:gd name="connsiteY5729" fmla="*/ 263366 h 514350"/>
                <a:gd name="connsiteX5730" fmla="*/ 2458879 w 6400800"/>
                <a:gd name="connsiteY5730" fmla="*/ 261461 h 514350"/>
                <a:gd name="connsiteX5731" fmla="*/ 2461736 w 6400800"/>
                <a:gd name="connsiteY5731" fmla="*/ 247174 h 514350"/>
                <a:gd name="connsiteX5732" fmla="*/ 2462689 w 6400800"/>
                <a:gd name="connsiteY5732" fmla="*/ 245269 h 514350"/>
                <a:gd name="connsiteX5733" fmla="*/ 2472214 w 6400800"/>
                <a:gd name="connsiteY5733" fmla="*/ 231934 h 514350"/>
                <a:gd name="connsiteX5734" fmla="*/ 2472214 w 6400800"/>
                <a:gd name="connsiteY5734" fmla="*/ 231934 h 514350"/>
                <a:gd name="connsiteX5735" fmla="*/ 2473166 w 6400800"/>
                <a:gd name="connsiteY5735" fmla="*/ 240506 h 514350"/>
                <a:gd name="connsiteX5736" fmla="*/ 2472214 w 6400800"/>
                <a:gd name="connsiteY5736" fmla="*/ 242411 h 514350"/>
                <a:gd name="connsiteX5737" fmla="*/ 2471261 w 6400800"/>
                <a:gd name="connsiteY5737" fmla="*/ 233839 h 514350"/>
                <a:gd name="connsiteX5738" fmla="*/ 2467451 w 6400800"/>
                <a:gd name="connsiteY5738" fmla="*/ 211931 h 514350"/>
                <a:gd name="connsiteX5739" fmla="*/ 2465546 w 6400800"/>
                <a:gd name="connsiteY5739" fmla="*/ 213836 h 514350"/>
                <a:gd name="connsiteX5740" fmla="*/ 2466499 w 6400800"/>
                <a:gd name="connsiteY5740" fmla="*/ 211931 h 514350"/>
                <a:gd name="connsiteX5741" fmla="*/ 2468404 w 6400800"/>
                <a:gd name="connsiteY5741" fmla="*/ 208121 h 514350"/>
                <a:gd name="connsiteX5742" fmla="*/ 2468404 w 6400800"/>
                <a:gd name="connsiteY5742" fmla="*/ 210979 h 514350"/>
                <a:gd name="connsiteX5743" fmla="*/ 2467451 w 6400800"/>
                <a:gd name="connsiteY5743" fmla="*/ 211931 h 514350"/>
                <a:gd name="connsiteX5744" fmla="*/ 2467451 w 6400800"/>
                <a:gd name="connsiteY5744" fmla="*/ 211931 h 514350"/>
                <a:gd name="connsiteX5745" fmla="*/ 2467451 w 6400800"/>
                <a:gd name="connsiteY5745" fmla="*/ 211931 h 514350"/>
                <a:gd name="connsiteX5746" fmla="*/ 2470309 w 6400800"/>
                <a:gd name="connsiteY5746" fmla="*/ 218599 h 514350"/>
                <a:gd name="connsiteX5747" fmla="*/ 2472214 w 6400800"/>
                <a:gd name="connsiteY5747" fmla="*/ 230029 h 514350"/>
                <a:gd name="connsiteX5748" fmla="*/ 2472214 w 6400800"/>
                <a:gd name="connsiteY5748" fmla="*/ 230029 h 514350"/>
                <a:gd name="connsiteX5749" fmla="*/ 2463641 w 6400800"/>
                <a:gd name="connsiteY5749" fmla="*/ 237649 h 514350"/>
                <a:gd name="connsiteX5750" fmla="*/ 2464594 w 6400800"/>
                <a:gd name="connsiteY5750" fmla="*/ 234791 h 514350"/>
                <a:gd name="connsiteX5751" fmla="*/ 2466499 w 6400800"/>
                <a:gd name="connsiteY5751" fmla="*/ 224314 h 514350"/>
                <a:gd name="connsiteX5752" fmla="*/ 2466499 w 6400800"/>
                <a:gd name="connsiteY5752" fmla="*/ 224314 h 514350"/>
                <a:gd name="connsiteX5753" fmla="*/ 2470309 w 6400800"/>
                <a:gd name="connsiteY5753" fmla="*/ 218599 h 514350"/>
                <a:gd name="connsiteX5754" fmla="*/ 2477929 w 6400800"/>
                <a:gd name="connsiteY5754" fmla="*/ 223361 h 514350"/>
                <a:gd name="connsiteX5755" fmla="*/ 2475071 w 6400800"/>
                <a:gd name="connsiteY5755" fmla="*/ 212884 h 514350"/>
                <a:gd name="connsiteX5756" fmla="*/ 2477929 w 6400800"/>
                <a:gd name="connsiteY5756" fmla="*/ 209074 h 514350"/>
                <a:gd name="connsiteX5757" fmla="*/ 2477929 w 6400800"/>
                <a:gd name="connsiteY5757" fmla="*/ 217646 h 514350"/>
                <a:gd name="connsiteX5758" fmla="*/ 2477929 w 6400800"/>
                <a:gd name="connsiteY5758" fmla="*/ 223361 h 514350"/>
                <a:gd name="connsiteX5759" fmla="*/ 2473166 w 6400800"/>
                <a:gd name="connsiteY5759" fmla="*/ 206216 h 514350"/>
                <a:gd name="connsiteX5760" fmla="*/ 2472214 w 6400800"/>
                <a:gd name="connsiteY5760" fmla="*/ 203359 h 514350"/>
                <a:gd name="connsiteX5761" fmla="*/ 2471261 w 6400800"/>
                <a:gd name="connsiteY5761" fmla="*/ 201454 h 514350"/>
                <a:gd name="connsiteX5762" fmla="*/ 2474119 w 6400800"/>
                <a:gd name="connsiteY5762" fmla="*/ 195739 h 514350"/>
                <a:gd name="connsiteX5763" fmla="*/ 2477929 w 6400800"/>
                <a:gd name="connsiteY5763" fmla="*/ 189071 h 514350"/>
                <a:gd name="connsiteX5764" fmla="*/ 2477929 w 6400800"/>
                <a:gd name="connsiteY5764" fmla="*/ 201454 h 514350"/>
                <a:gd name="connsiteX5765" fmla="*/ 2473166 w 6400800"/>
                <a:gd name="connsiteY5765" fmla="*/ 206216 h 514350"/>
                <a:gd name="connsiteX5766" fmla="*/ 2473166 w 6400800"/>
                <a:gd name="connsiteY5766" fmla="*/ 255746 h 514350"/>
                <a:gd name="connsiteX5767" fmla="*/ 2475071 w 6400800"/>
                <a:gd name="connsiteY5767" fmla="*/ 251936 h 514350"/>
                <a:gd name="connsiteX5768" fmla="*/ 2476976 w 6400800"/>
                <a:gd name="connsiteY5768" fmla="*/ 266224 h 514350"/>
                <a:gd name="connsiteX5769" fmla="*/ 2479834 w 6400800"/>
                <a:gd name="connsiteY5769" fmla="*/ 292894 h 514350"/>
                <a:gd name="connsiteX5770" fmla="*/ 2479834 w 6400800"/>
                <a:gd name="connsiteY5770" fmla="*/ 296704 h 514350"/>
                <a:gd name="connsiteX5771" fmla="*/ 2479834 w 6400800"/>
                <a:gd name="connsiteY5771" fmla="*/ 295751 h 514350"/>
                <a:gd name="connsiteX5772" fmla="*/ 2475071 w 6400800"/>
                <a:gd name="connsiteY5772" fmla="*/ 288131 h 514350"/>
                <a:gd name="connsiteX5773" fmla="*/ 2473166 w 6400800"/>
                <a:gd name="connsiteY5773" fmla="*/ 255746 h 514350"/>
                <a:gd name="connsiteX5774" fmla="*/ 2481739 w 6400800"/>
                <a:gd name="connsiteY5774" fmla="*/ 324326 h 514350"/>
                <a:gd name="connsiteX5775" fmla="*/ 2480786 w 6400800"/>
                <a:gd name="connsiteY5775" fmla="*/ 326231 h 514350"/>
                <a:gd name="connsiteX5776" fmla="*/ 2476024 w 6400800"/>
                <a:gd name="connsiteY5776" fmla="*/ 340519 h 514350"/>
                <a:gd name="connsiteX5777" fmla="*/ 2476024 w 6400800"/>
                <a:gd name="connsiteY5777" fmla="*/ 308134 h 514350"/>
                <a:gd name="connsiteX5778" fmla="*/ 2476024 w 6400800"/>
                <a:gd name="connsiteY5778" fmla="*/ 308134 h 514350"/>
                <a:gd name="connsiteX5779" fmla="*/ 2479834 w 6400800"/>
                <a:gd name="connsiteY5779" fmla="*/ 318611 h 514350"/>
                <a:gd name="connsiteX5780" fmla="*/ 2480786 w 6400800"/>
                <a:gd name="connsiteY5780" fmla="*/ 322421 h 514350"/>
                <a:gd name="connsiteX5781" fmla="*/ 2481739 w 6400800"/>
                <a:gd name="connsiteY5781" fmla="*/ 324326 h 514350"/>
                <a:gd name="connsiteX5782" fmla="*/ 2481739 w 6400800"/>
                <a:gd name="connsiteY5782" fmla="*/ 324326 h 514350"/>
                <a:gd name="connsiteX5783" fmla="*/ 2436971 w 6400800"/>
                <a:gd name="connsiteY5783" fmla="*/ 215741 h 514350"/>
                <a:gd name="connsiteX5784" fmla="*/ 2447449 w 6400800"/>
                <a:gd name="connsiteY5784" fmla="*/ 195739 h 514350"/>
                <a:gd name="connsiteX5785" fmla="*/ 2457926 w 6400800"/>
                <a:gd name="connsiteY5785" fmla="*/ 178594 h 514350"/>
                <a:gd name="connsiteX5786" fmla="*/ 2475071 w 6400800"/>
                <a:gd name="connsiteY5786" fmla="*/ 150971 h 514350"/>
                <a:gd name="connsiteX5787" fmla="*/ 2482691 w 6400800"/>
                <a:gd name="connsiteY5787" fmla="*/ 138589 h 514350"/>
                <a:gd name="connsiteX5788" fmla="*/ 2480786 w 6400800"/>
                <a:gd name="connsiteY5788" fmla="*/ 154781 h 514350"/>
                <a:gd name="connsiteX5789" fmla="*/ 2478881 w 6400800"/>
                <a:gd name="connsiteY5789" fmla="*/ 181451 h 514350"/>
                <a:gd name="connsiteX5790" fmla="*/ 2470309 w 6400800"/>
                <a:gd name="connsiteY5790" fmla="*/ 193834 h 514350"/>
                <a:gd name="connsiteX5791" fmla="*/ 2469356 w 6400800"/>
                <a:gd name="connsiteY5791" fmla="*/ 194786 h 514350"/>
                <a:gd name="connsiteX5792" fmla="*/ 2465546 w 6400800"/>
                <a:gd name="connsiteY5792" fmla="*/ 181451 h 514350"/>
                <a:gd name="connsiteX5793" fmla="*/ 2467451 w 6400800"/>
                <a:gd name="connsiteY5793" fmla="*/ 197644 h 514350"/>
                <a:gd name="connsiteX5794" fmla="*/ 2460784 w 6400800"/>
                <a:gd name="connsiteY5794" fmla="*/ 209074 h 514350"/>
                <a:gd name="connsiteX5795" fmla="*/ 2447449 w 6400800"/>
                <a:gd name="connsiteY5795" fmla="*/ 234791 h 514350"/>
                <a:gd name="connsiteX5796" fmla="*/ 2436971 w 6400800"/>
                <a:gd name="connsiteY5796" fmla="*/ 247174 h 514350"/>
                <a:gd name="connsiteX5797" fmla="*/ 2436019 w 6400800"/>
                <a:gd name="connsiteY5797" fmla="*/ 249079 h 514350"/>
                <a:gd name="connsiteX5798" fmla="*/ 2436019 w 6400800"/>
                <a:gd name="connsiteY5798" fmla="*/ 249079 h 514350"/>
                <a:gd name="connsiteX5799" fmla="*/ 2433161 w 6400800"/>
                <a:gd name="connsiteY5799" fmla="*/ 225266 h 514350"/>
                <a:gd name="connsiteX5800" fmla="*/ 2436971 w 6400800"/>
                <a:gd name="connsiteY5800" fmla="*/ 215741 h 514350"/>
                <a:gd name="connsiteX5801" fmla="*/ 2416016 w 6400800"/>
                <a:gd name="connsiteY5801" fmla="*/ 313849 h 514350"/>
                <a:gd name="connsiteX5802" fmla="*/ 2416016 w 6400800"/>
                <a:gd name="connsiteY5802" fmla="*/ 313849 h 514350"/>
                <a:gd name="connsiteX5803" fmla="*/ 2413159 w 6400800"/>
                <a:gd name="connsiteY5803" fmla="*/ 304324 h 514350"/>
                <a:gd name="connsiteX5804" fmla="*/ 2415064 w 6400800"/>
                <a:gd name="connsiteY5804" fmla="*/ 301466 h 514350"/>
                <a:gd name="connsiteX5805" fmla="*/ 2415064 w 6400800"/>
                <a:gd name="connsiteY5805" fmla="*/ 303371 h 514350"/>
                <a:gd name="connsiteX5806" fmla="*/ 2416016 w 6400800"/>
                <a:gd name="connsiteY5806" fmla="*/ 313849 h 514350"/>
                <a:gd name="connsiteX5807" fmla="*/ 2416016 w 6400800"/>
                <a:gd name="connsiteY5807" fmla="*/ 313849 h 514350"/>
                <a:gd name="connsiteX5808" fmla="*/ 2422684 w 6400800"/>
                <a:gd name="connsiteY5808" fmla="*/ 288131 h 514350"/>
                <a:gd name="connsiteX5809" fmla="*/ 2422684 w 6400800"/>
                <a:gd name="connsiteY5809" fmla="*/ 293846 h 514350"/>
                <a:gd name="connsiteX5810" fmla="*/ 2420779 w 6400800"/>
                <a:gd name="connsiteY5810" fmla="*/ 299561 h 514350"/>
                <a:gd name="connsiteX5811" fmla="*/ 2418874 w 6400800"/>
                <a:gd name="connsiteY5811" fmla="*/ 293846 h 514350"/>
                <a:gd name="connsiteX5812" fmla="*/ 2420779 w 6400800"/>
                <a:gd name="connsiteY5812" fmla="*/ 290989 h 514350"/>
                <a:gd name="connsiteX5813" fmla="*/ 2422684 w 6400800"/>
                <a:gd name="connsiteY5813" fmla="*/ 288131 h 514350"/>
                <a:gd name="connsiteX5814" fmla="*/ 2414111 w 6400800"/>
                <a:gd name="connsiteY5814" fmla="*/ 259556 h 514350"/>
                <a:gd name="connsiteX5815" fmla="*/ 2419826 w 6400800"/>
                <a:gd name="connsiteY5815" fmla="*/ 248126 h 514350"/>
                <a:gd name="connsiteX5816" fmla="*/ 2420779 w 6400800"/>
                <a:gd name="connsiteY5816" fmla="*/ 266224 h 514350"/>
                <a:gd name="connsiteX5817" fmla="*/ 2412206 w 6400800"/>
                <a:gd name="connsiteY5817" fmla="*/ 277654 h 514350"/>
                <a:gd name="connsiteX5818" fmla="*/ 2410301 w 6400800"/>
                <a:gd name="connsiteY5818" fmla="*/ 273844 h 514350"/>
                <a:gd name="connsiteX5819" fmla="*/ 2408396 w 6400800"/>
                <a:gd name="connsiteY5819" fmla="*/ 270986 h 514350"/>
                <a:gd name="connsiteX5820" fmla="*/ 2414111 w 6400800"/>
                <a:gd name="connsiteY5820" fmla="*/ 259556 h 514350"/>
                <a:gd name="connsiteX5821" fmla="*/ 2406491 w 6400800"/>
                <a:gd name="connsiteY5821" fmla="*/ 275749 h 514350"/>
                <a:gd name="connsiteX5822" fmla="*/ 2406491 w 6400800"/>
                <a:gd name="connsiteY5822" fmla="*/ 275749 h 514350"/>
                <a:gd name="connsiteX5823" fmla="*/ 2409349 w 6400800"/>
                <a:gd name="connsiteY5823" fmla="*/ 282416 h 514350"/>
                <a:gd name="connsiteX5824" fmla="*/ 2406491 w 6400800"/>
                <a:gd name="connsiteY5824" fmla="*/ 286226 h 514350"/>
                <a:gd name="connsiteX5825" fmla="*/ 2404586 w 6400800"/>
                <a:gd name="connsiteY5825" fmla="*/ 280511 h 514350"/>
                <a:gd name="connsiteX5826" fmla="*/ 2406491 w 6400800"/>
                <a:gd name="connsiteY5826" fmla="*/ 275749 h 514350"/>
                <a:gd name="connsiteX5827" fmla="*/ 2405539 w 6400800"/>
                <a:gd name="connsiteY5827" fmla="*/ 317659 h 514350"/>
                <a:gd name="connsiteX5828" fmla="*/ 2408396 w 6400800"/>
                <a:gd name="connsiteY5828" fmla="*/ 328136 h 514350"/>
                <a:gd name="connsiteX5829" fmla="*/ 2408396 w 6400800"/>
                <a:gd name="connsiteY5829" fmla="*/ 334804 h 514350"/>
                <a:gd name="connsiteX5830" fmla="*/ 2407444 w 6400800"/>
                <a:gd name="connsiteY5830" fmla="*/ 332899 h 514350"/>
                <a:gd name="connsiteX5831" fmla="*/ 2407444 w 6400800"/>
                <a:gd name="connsiteY5831" fmla="*/ 340519 h 514350"/>
                <a:gd name="connsiteX5832" fmla="*/ 2404586 w 6400800"/>
                <a:gd name="connsiteY5832" fmla="*/ 350996 h 514350"/>
                <a:gd name="connsiteX5833" fmla="*/ 2400776 w 6400800"/>
                <a:gd name="connsiteY5833" fmla="*/ 364331 h 514350"/>
                <a:gd name="connsiteX5834" fmla="*/ 2398871 w 6400800"/>
                <a:gd name="connsiteY5834" fmla="*/ 343376 h 514350"/>
                <a:gd name="connsiteX5835" fmla="*/ 2397919 w 6400800"/>
                <a:gd name="connsiteY5835" fmla="*/ 333851 h 514350"/>
                <a:gd name="connsiteX5836" fmla="*/ 2398871 w 6400800"/>
                <a:gd name="connsiteY5836" fmla="*/ 330994 h 514350"/>
                <a:gd name="connsiteX5837" fmla="*/ 2405539 w 6400800"/>
                <a:gd name="connsiteY5837" fmla="*/ 317659 h 514350"/>
                <a:gd name="connsiteX5838" fmla="*/ 2398871 w 6400800"/>
                <a:gd name="connsiteY5838" fmla="*/ 291941 h 514350"/>
                <a:gd name="connsiteX5839" fmla="*/ 2399824 w 6400800"/>
                <a:gd name="connsiteY5839" fmla="*/ 295751 h 514350"/>
                <a:gd name="connsiteX5840" fmla="*/ 2394109 w 6400800"/>
                <a:gd name="connsiteY5840" fmla="*/ 303371 h 514350"/>
                <a:gd name="connsiteX5841" fmla="*/ 2394109 w 6400800"/>
                <a:gd name="connsiteY5841" fmla="*/ 302419 h 514350"/>
                <a:gd name="connsiteX5842" fmla="*/ 2398871 w 6400800"/>
                <a:gd name="connsiteY5842" fmla="*/ 291941 h 514350"/>
                <a:gd name="connsiteX5843" fmla="*/ 2393156 w 6400800"/>
                <a:gd name="connsiteY5843" fmla="*/ 267176 h 514350"/>
                <a:gd name="connsiteX5844" fmla="*/ 2391251 w 6400800"/>
                <a:gd name="connsiteY5844" fmla="*/ 270034 h 514350"/>
                <a:gd name="connsiteX5845" fmla="*/ 2389346 w 6400800"/>
                <a:gd name="connsiteY5845" fmla="*/ 254794 h 514350"/>
                <a:gd name="connsiteX5846" fmla="*/ 2393156 w 6400800"/>
                <a:gd name="connsiteY5846" fmla="*/ 267176 h 514350"/>
                <a:gd name="connsiteX5847" fmla="*/ 2351246 w 6400800"/>
                <a:gd name="connsiteY5847" fmla="*/ 278606 h 514350"/>
                <a:gd name="connsiteX5848" fmla="*/ 2351246 w 6400800"/>
                <a:gd name="connsiteY5848" fmla="*/ 278606 h 514350"/>
                <a:gd name="connsiteX5849" fmla="*/ 2351246 w 6400800"/>
                <a:gd name="connsiteY5849" fmla="*/ 275749 h 514350"/>
                <a:gd name="connsiteX5850" fmla="*/ 2351246 w 6400800"/>
                <a:gd name="connsiteY5850" fmla="*/ 278606 h 514350"/>
                <a:gd name="connsiteX5851" fmla="*/ 2378869 w 6400800"/>
                <a:gd name="connsiteY5851" fmla="*/ 295751 h 514350"/>
                <a:gd name="connsiteX5852" fmla="*/ 2375059 w 6400800"/>
                <a:gd name="connsiteY5852" fmla="*/ 303371 h 514350"/>
                <a:gd name="connsiteX5853" fmla="*/ 2374106 w 6400800"/>
                <a:gd name="connsiteY5853" fmla="*/ 305276 h 514350"/>
                <a:gd name="connsiteX5854" fmla="*/ 2374106 w 6400800"/>
                <a:gd name="connsiteY5854" fmla="*/ 304324 h 514350"/>
                <a:gd name="connsiteX5855" fmla="*/ 2376011 w 6400800"/>
                <a:gd name="connsiteY5855" fmla="*/ 231934 h 514350"/>
                <a:gd name="connsiteX5856" fmla="*/ 2366486 w 6400800"/>
                <a:gd name="connsiteY5856" fmla="*/ 277654 h 514350"/>
                <a:gd name="connsiteX5857" fmla="*/ 2364581 w 6400800"/>
                <a:gd name="connsiteY5857" fmla="*/ 272891 h 514350"/>
                <a:gd name="connsiteX5858" fmla="*/ 2361724 w 6400800"/>
                <a:gd name="connsiteY5858" fmla="*/ 264319 h 514350"/>
                <a:gd name="connsiteX5859" fmla="*/ 2361724 w 6400800"/>
                <a:gd name="connsiteY5859" fmla="*/ 245269 h 514350"/>
                <a:gd name="connsiteX5860" fmla="*/ 2365534 w 6400800"/>
                <a:gd name="connsiteY5860" fmla="*/ 234791 h 514350"/>
                <a:gd name="connsiteX5861" fmla="*/ 2376011 w 6400800"/>
                <a:gd name="connsiteY5861" fmla="*/ 211931 h 514350"/>
                <a:gd name="connsiteX5862" fmla="*/ 2376011 w 6400800"/>
                <a:gd name="connsiteY5862" fmla="*/ 244316 h 514350"/>
                <a:gd name="connsiteX5863" fmla="*/ 2376964 w 6400800"/>
                <a:gd name="connsiteY5863" fmla="*/ 290989 h 514350"/>
                <a:gd name="connsiteX5864" fmla="*/ 2378869 w 6400800"/>
                <a:gd name="connsiteY5864" fmla="*/ 295751 h 514350"/>
                <a:gd name="connsiteX5865" fmla="*/ 2362676 w 6400800"/>
                <a:gd name="connsiteY5865" fmla="*/ 180499 h 514350"/>
                <a:gd name="connsiteX5866" fmla="*/ 2368391 w 6400800"/>
                <a:gd name="connsiteY5866" fmla="*/ 166211 h 514350"/>
                <a:gd name="connsiteX5867" fmla="*/ 2377916 w 6400800"/>
                <a:gd name="connsiteY5867" fmla="*/ 140494 h 514350"/>
                <a:gd name="connsiteX5868" fmla="*/ 2378869 w 6400800"/>
                <a:gd name="connsiteY5868" fmla="*/ 143351 h 514350"/>
                <a:gd name="connsiteX5869" fmla="*/ 2378869 w 6400800"/>
                <a:gd name="connsiteY5869" fmla="*/ 152876 h 514350"/>
                <a:gd name="connsiteX5870" fmla="*/ 2377916 w 6400800"/>
                <a:gd name="connsiteY5870" fmla="*/ 147161 h 514350"/>
                <a:gd name="connsiteX5871" fmla="*/ 2377916 w 6400800"/>
                <a:gd name="connsiteY5871" fmla="*/ 173831 h 514350"/>
                <a:gd name="connsiteX5872" fmla="*/ 2377916 w 6400800"/>
                <a:gd name="connsiteY5872" fmla="*/ 203359 h 514350"/>
                <a:gd name="connsiteX5873" fmla="*/ 2362676 w 6400800"/>
                <a:gd name="connsiteY5873" fmla="*/ 227171 h 514350"/>
                <a:gd name="connsiteX5874" fmla="*/ 2360771 w 6400800"/>
                <a:gd name="connsiteY5874" fmla="*/ 185261 h 514350"/>
                <a:gd name="connsiteX5875" fmla="*/ 2362676 w 6400800"/>
                <a:gd name="connsiteY5875" fmla="*/ 180499 h 514350"/>
                <a:gd name="connsiteX5876" fmla="*/ 2340769 w 6400800"/>
                <a:gd name="connsiteY5876" fmla="*/ 241459 h 514350"/>
                <a:gd name="connsiteX5877" fmla="*/ 2342674 w 6400800"/>
                <a:gd name="connsiteY5877" fmla="*/ 235744 h 514350"/>
                <a:gd name="connsiteX5878" fmla="*/ 2347436 w 6400800"/>
                <a:gd name="connsiteY5878" fmla="*/ 221456 h 514350"/>
                <a:gd name="connsiteX5879" fmla="*/ 2359819 w 6400800"/>
                <a:gd name="connsiteY5879" fmla="*/ 187166 h 514350"/>
                <a:gd name="connsiteX5880" fmla="*/ 2355056 w 6400800"/>
                <a:gd name="connsiteY5880" fmla="*/ 236696 h 514350"/>
                <a:gd name="connsiteX5881" fmla="*/ 2353151 w 6400800"/>
                <a:gd name="connsiteY5881" fmla="*/ 230029 h 514350"/>
                <a:gd name="connsiteX5882" fmla="*/ 2354104 w 6400800"/>
                <a:gd name="connsiteY5882" fmla="*/ 241459 h 514350"/>
                <a:gd name="connsiteX5883" fmla="*/ 2344579 w 6400800"/>
                <a:gd name="connsiteY5883" fmla="*/ 259556 h 514350"/>
                <a:gd name="connsiteX5884" fmla="*/ 2344579 w 6400800"/>
                <a:gd name="connsiteY5884" fmla="*/ 259556 h 514350"/>
                <a:gd name="connsiteX5885" fmla="*/ 2339816 w 6400800"/>
                <a:gd name="connsiteY5885" fmla="*/ 245269 h 514350"/>
                <a:gd name="connsiteX5886" fmla="*/ 2340769 w 6400800"/>
                <a:gd name="connsiteY5886" fmla="*/ 241459 h 514350"/>
                <a:gd name="connsiteX5887" fmla="*/ 2344579 w 6400800"/>
                <a:gd name="connsiteY5887" fmla="*/ 320516 h 514350"/>
                <a:gd name="connsiteX5888" fmla="*/ 2339816 w 6400800"/>
                <a:gd name="connsiteY5888" fmla="*/ 310991 h 514350"/>
                <a:gd name="connsiteX5889" fmla="*/ 2339816 w 6400800"/>
                <a:gd name="connsiteY5889" fmla="*/ 310039 h 514350"/>
                <a:gd name="connsiteX5890" fmla="*/ 2344579 w 6400800"/>
                <a:gd name="connsiteY5890" fmla="*/ 320516 h 514350"/>
                <a:gd name="connsiteX5891" fmla="*/ 2337911 w 6400800"/>
                <a:gd name="connsiteY5891" fmla="*/ 317659 h 514350"/>
                <a:gd name="connsiteX5892" fmla="*/ 2341721 w 6400800"/>
                <a:gd name="connsiteY5892" fmla="*/ 327184 h 514350"/>
                <a:gd name="connsiteX5893" fmla="*/ 2336959 w 6400800"/>
                <a:gd name="connsiteY5893" fmla="*/ 321469 h 514350"/>
                <a:gd name="connsiteX5894" fmla="*/ 2337911 w 6400800"/>
                <a:gd name="connsiteY5894" fmla="*/ 317659 h 514350"/>
                <a:gd name="connsiteX5895" fmla="*/ 2332196 w 6400800"/>
                <a:gd name="connsiteY5895" fmla="*/ 280511 h 514350"/>
                <a:gd name="connsiteX5896" fmla="*/ 2333149 w 6400800"/>
                <a:gd name="connsiteY5896" fmla="*/ 283369 h 514350"/>
                <a:gd name="connsiteX5897" fmla="*/ 2332196 w 6400800"/>
                <a:gd name="connsiteY5897" fmla="*/ 281464 h 514350"/>
                <a:gd name="connsiteX5898" fmla="*/ 2332196 w 6400800"/>
                <a:gd name="connsiteY5898" fmla="*/ 280511 h 514350"/>
                <a:gd name="connsiteX5899" fmla="*/ 2330291 w 6400800"/>
                <a:gd name="connsiteY5899" fmla="*/ 289084 h 514350"/>
                <a:gd name="connsiteX5900" fmla="*/ 2331244 w 6400800"/>
                <a:gd name="connsiteY5900" fmla="*/ 290989 h 514350"/>
                <a:gd name="connsiteX5901" fmla="*/ 2330291 w 6400800"/>
                <a:gd name="connsiteY5901" fmla="*/ 292894 h 514350"/>
                <a:gd name="connsiteX5902" fmla="*/ 2329339 w 6400800"/>
                <a:gd name="connsiteY5902" fmla="*/ 290989 h 514350"/>
                <a:gd name="connsiteX5903" fmla="*/ 2330291 w 6400800"/>
                <a:gd name="connsiteY5903" fmla="*/ 289084 h 514350"/>
                <a:gd name="connsiteX5904" fmla="*/ 2329339 w 6400800"/>
                <a:gd name="connsiteY5904" fmla="*/ 293846 h 514350"/>
                <a:gd name="connsiteX5905" fmla="*/ 2329339 w 6400800"/>
                <a:gd name="connsiteY5905" fmla="*/ 292894 h 514350"/>
                <a:gd name="connsiteX5906" fmla="*/ 2330291 w 6400800"/>
                <a:gd name="connsiteY5906" fmla="*/ 294799 h 514350"/>
                <a:gd name="connsiteX5907" fmla="*/ 2328386 w 6400800"/>
                <a:gd name="connsiteY5907" fmla="*/ 299561 h 514350"/>
                <a:gd name="connsiteX5908" fmla="*/ 2328386 w 6400800"/>
                <a:gd name="connsiteY5908" fmla="*/ 298609 h 514350"/>
                <a:gd name="connsiteX5909" fmla="*/ 2329339 w 6400800"/>
                <a:gd name="connsiteY5909" fmla="*/ 293846 h 514350"/>
                <a:gd name="connsiteX5910" fmla="*/ 2313146 w 6400800"/>
                <a:gd name="connsiteY5910" fmla="*/ 194786 h 514350"/>
                <a:gd name="connsiteX5911" fmla="*/ 2315051 w 6400800"/>
                <a:gd name="connsiteY5911" fmla="*/ 201454 h 514350"/>
                <a:gd name="connsiteX5912" fmla="*/ 2316004 w 6400800"/>
                <a:gd name="connsiteY5912" fmla="*/ 205264 h 514350"/>
                <a:gd name="connsiteX5913" fmla="*/ 2314099 w 6400800"/>
                <a:gd name="connsiteY5913" fmla="*/ 214789 h 514350"/>
                <a:gd name="connsiteX5914" fmla="*/ 2314099 w 6400800"/>
                <a:gd name="connsiteY5914" fmla="*/ 214789 h 514350"/>
                <a:gd name="connsiteX5915" fmla="*/ 2310289 w 6400800"/>
                <a:gd name="connsiteY5915" fmla="*/ 207169 h 514350"/>
                <a:gd name="connsiteX5916" fmla="*/ 2313146 w 6400800"/>
                <a:gd name="connsiteY5916" fmla="*/ 194786 h 514350"/>
                <a:gd name="connsiteX5917" fmla="*/ 2304574 w 6400800"/>
                <a:gd name="connsiteY5917" fmla="*/ 197644 h 514350"/>
                <a:gd name="connsiteX5918" fmla="*/ 2305526 w 6400800"/>
                <a:gd name="connsiteY5918" fmla="*/ 200501 h 514350"/>
                <a:gd name="connsiteX5919" fmla="*/ 2303621 w 6400800"/>
                <a:gd name="connsiteY5919" fmla="*/ 205264 h 514350"/>
                <a:gd name="connsiteX5920" fmla="*/ 2304574 w 6400800"/>
                <a:gd name="connsiteY5920" fmla="*/ 197644 h 514350"/>
                <a:gd name="connsiteX5921" fmla="*/ 2297906 w 6400800"/>
                <a:gd name="connsiteY5921" fmla="*/ 272891 h 514350"/>
                <a:gd name="connsiteX5922" fmla="*/ 2298859 w 6400800"/>
                <a:gd name="connsiteY5922" fmla="*/ 256699 h 514350"/>
                <a:gd name="connsiteX5923" fmla="*/ 2299811 w 6400800"/>
                <a:gd name="connsiteY5923" fmla="*/ 250984 h 514350"/>
                <a:gd name="connsiteX5924" fmla="*/ 2308384 w 6400800"/>
                <a:gd name="connsiteY5924" fmla="*/ 211931 h 514350"/>
                <a:gd name="connsiteX5925" fmla="*/ 2309336 w 6400800"/>
                <a:gd name="connsiteY5925" fmla="*/ 215741 h 514350"/>
                <a:gd name="connsiteX5926" fmla="*/ 2311241 w 6400800"/>
                <a:gd name="connsiteY5926" fmla="*/ 221456 h 514350"/>
                <a:gd name="connsiteX5927" fmla="*/ 2311241 w 6400800"/>
                <a:gd name="connsiteY5927" fmla="*/ 221456 h 514350"/>
                <a:gd name="connsiteX5928" fmla="*/ 2304574 w 6400800"/>
                <a:gd name="connsiteY5928" fmla="*/ 253841 h 514350"/>
                <a:gd name="connsiteX5929" fmla="*/ 2302669 w 6400800"/>
                <a:gd name="connsiteY5929" fmla="*/ 251936 h 514350"/>
                <a:gd name="connsiteX5930" fmla="*/ 2304574 w 6400800"/>
                <a:gd name="connsiteY5930" fmla="*/ 253841 h 514350"/>
                <a:gd name="connsiteX5931" fmla="*/ 2299811 w 6400800"/>
                <a:gd name="connsiteY5931" fmla="*/ 274796 h 514350"/>
                <a:gd name="connsiteX5932" fmla="*/ 2294096 w 6400800"/>
                <a:gd name="connsiteY5932" fmla="*/ 300514 h 514350"/>
                <a:gd name="connsiteX5933" fmla="*/ 2297906 w 6400800"/>
                <a:gd name="connsiteY5933" fmla="*/ 272891 h 514350"/>
                <a:gd name="connsiteX5934" fmla="*/ 2271236 w 6400800"/>
                <a:gd name="connsiteY5934" fmla="*/ 369094 h 514350"/>
                <a:gd name="connsiteX5935" fmla="*/ 2270284 w 6400800"/>
                <a:gd name="connsiteY5935" fmla="*/ 376714 h 514350"/>
                <a:gd name="connsiteX5936" fmla="*/ 2270284 w 6400800"/>
                <a:gd name="connsiteY5936" fmla="*/ 376714 h 514350"/>
                <a:gd name="connsiteX5937" fmla="*/ 2270284 w 6400800"/>
                <a:gd name="connsiteY5937" fmla="*/ 372904 h 514350"/>
                <a:gd name="connsiteX5938" fmla="*/ 2271236 w 6400800"/>
                <a:gd name="connsiteY5938" fmla="*/ 369094 h 514350"/>
                <a:gd name="connsiteX5939" fmla="*/ 2252186 w 6400800"/>
                <a:gd name="connsiteY5939" fmla="*/ 297656 h 514350"/>
                <a:gd name="connsiteX5940" fmla="*/ 2251234 w 6400800"/>
                <a:gd name="connsiteY5940" fmla="*/ 311944 h 514350"/>
                <a:gd name="connsiteX5941" fmla="*/ 2250281 w 6400800"/>
                <a:gd name="connsiteY5941" fmla="*/ 308134 h 514350"/>
                <a:gd name="connsiteX5942" fmla="*/ 2252186 w 6400800"/>
                <a:gd name="connsiteY5942" fmla="*/ 297656 h 514350"/>
                <a:gd name="connsiteX5943" fmla="*/ 2215991 w 6400800"/>
                <a:gd name="connsiteY5943" fmla="*/ 252889 h 514350"/>
                <a:gd name="connsiteX5944" fmla="*/ 2215991 w 6400800"/>
                <a:gd name="connsiteY5944" fmla="*/ 256699 h 514350"/>
                <a:gd name="connsiteX5945" fmla="*/ 2215991 w 6400800"/>
                <a:gd name="connsiteY5945" fmla="*/ 256699 h 514350"/>
                <a:gd name="connsiteX5946" fmla="*/ 2215991 w 6400800"/>
                <a:gd name="connsiteY5946" fmla="*/ 252889 h 514350"/>
                <a:gd name="connsiteX5947" fmla="*/ 2211229 w 6400800"/>
                <a:gd name="connsiteY5947" fmla="*/ 281464 h 514350"/>
                <a:gd name="connsiteX5948" fmla="*/ 2214086 w 6400800"/>
                <a:gd name="connsiteY5948" fmla="*/ 260509 h 514350"/>
                <a:gd name="connsiteX5949" fmla="*/ 2215039 w 6400800"/>
                <a:gd name="connsiteY5949" fmla="*/ 261461 h 514350"/>
                <a:gd name="connsiteX5950" fmla="*/ 2215039 w 6400800"/>
                <a:gd name="connsiteY5950" fmla="*/ 267176 h 514350"/>
                <a:gd name="connsiteX5951" fmla="*/ 2212181 w 6400800"/>
                <a:gd name="connsiteY5951" fmla="*/ 299561 h 514350"/>
                <a:gd name="connsiteX5952" fmla="*/ 2206466 w 6400800"/>
                <a:gd name="connsiteY5952" fmla="*/ 309086 h 514350"/>
                <a:gd name="connsiteX5953" fmla="*/ 2211229 w 6400800"/>
                <a:gd name="connsiteY5953" fmla="*/ 281464 h 514350"/>
                <a:gd name="connsiteX5954" fmla="*/ 2205514 w 6400800"/>
                <a:gd name="connsiteY5954" fmla="*/ 337661 h 514350"/>
                <a:gd name="connsiteX5955" fmla="*/ 2204561 w 6400800"/>
                <a:gd name="connsiteY5955" fmla="*/ 339566 h 514350"/>
                <a:gd name="connsiteX5956" fmla="*/ 2204561 w 6400800"/>
                <a:gd name="connsiteY5956" fmla="*/ 340519 h 514350"/>
                <a:gd name="connsiteX5957" fmla="*/ 2205514 w 6400800"/>
                <a:gd name="connsiteY5957" fmla="*/ 337661 h 514350"/>
                <a:gd name="connsiteX5958" fmla="*/ 2183606 w 6400800"/>
                <a:gd name="connsiteY5958" fmla="*/ 336709 h 514350"/>
                <a:gd name="connsiteX5959" fmla="*/ 2185511 w 6400800"/>
                <a:gd name="connsiteY5959" fmla="*/ 345281 h 514350"/>
                <a:gd name="connsiteX5960" fmla="*/ 2184559 w 6400800"/>
                <a:gd name="connsiteY5960" fmla="*/ 350044 h 514350"/>
                <a:gd name="connsiteX5961" fmla="*/ 2183606 w 6400800"/>
                <a:gd name="connsiteY5961" fmla="*/ 340519 h 514350"/>
                <a:gd name="connsiteX5962" fmla="*/ 2183606 w 6400800"/>
                <a:gd name="connsiteY5962" fmla="*/ 337661 h 514350"/>
                <a:gd name="connsiteX5963" fmla="*/ 2183606 w 6400800"/>
                <a:gd name="connsiteY5963" fmla="*/ 336709 h 514350"/>
                <a:gd name="connsiteX5964" fmla="*/ 2178844 w 6400800"/>
                <a:gd name="connsiteY5964" fmla="*/ 345281 h 514350"/>
                <a:gd name="connsiteX5965" fmla="*/ 2178844 w 6400800"/>
                <a:gd name="connsiteY5965" fmla="*/ 357664 h 514350"/>
                <a:gd name="connsiteX5966" fmla="*/ 2175986 w 6400800"/>
                <a:gd name="connsiteY5966" fmla="*/ 350996 h 514350"/>
                <a:gd name="connsiteX5967" fmla="*/ 2178844 w 6400800"/>
                <a:gd name="connsiteY5967" fmla="*/ 345281 h 514350"/>
                <a:gd name="connsiteX5968" fmla="*/ 2150269 w 6400800"/>
                <a:gd name="connsiteY5968" fmla="*/ 278606 h 514350"/>
                <a:gd name="connsiteX5969" fmla="*/ 2162651 w 6400800"/>
                <a:gd name="connsiteY5969" fmla="*/ 232886 h 514350"/>
                <a:gd name="connsiteX5970" fmla="*/ 2161699 w 6400800"/>
                <a:gd name="connsiteY5970" fmla="*/ 235744 h 514350"/>
                <a:gd name="connsiteX5971" fmla="*/ 2157889 w 6400800"/>
                <a:gd name="connsiteY5971" fmla="*/ 253841 h 514350"/>
                <a:gd name="connsiteX5972" fmla="*/ 2154079 w 6400800"/>
                <a:gd name="connsiteY5972" fmla="*/ 274796 h 514350"/>
                <a:gd name="connsiteX5973" fmla="*/ 2151221 w 6400800"/>
                <a:gd name="connsiteY5973" fmla="*/ 293846 h 514350"/>
                <a:gd name="connsiteX5974" fmla="*/ 2148364 w 6400800"/>
                <a:gd name="connsiteY5974" fmla="*/ 288131 h 514350"/>
                <a:gd name="connsiteX5975" fmla="*/ 2150269 w 6400800"/>
                <a:gd name="connsiteY5975" fmla="*/ 296704 h 514350"/>
                <a:gd name="connsiteX5976" fmla="*/ 2147411 w 6400800"/>
                <a:gd name="connsiteY5976" fmla="*/ 314801 h 514350"/>
                <a:gd name="connsiteX5977" fmla="*/ 2140744 w 6400800"/>
                <a:gd name="connsiteY5977" fmla="*/ 305276 h 514350"/>
                <a:gd name="connsiteX5978" fmla="*/ 2150269 w 6400800"/>
                <a:gd name="connsiteY5978" fmla="*/ 278606 h 514350"/>
                <a:gd name="connsiteX5979" fmla="*/ 2142649 w 6400800"/>
                <a:gd name="connsiteY5979" fmla="*/ 305276 h 514350"/>
                <a:gd name="connsiteX5980" fmla="*/ 2148364 w 6400800"/>
                <a:gd name="connsiteY5980" fmla="*/ 319564 h 514350"/>
                <a:gd name="connsiteX5981" fmla="*/ 2148364 w 6400800"/>
                <a:gd name="connsiteY5981" fmla="*/ 320516 h 514350"/>
                <a:gd name="connsiteX5982" fmla="*/ 2148364 w 6400800"/>
                <a:gd name="connsiteY5982" fmla="*/ 321469 h 514350"/>
                <a:gd name="connsiteX5983" fmla="*/ 2145506 w 6400800"/>
                <a:gd name="connsiteY5983" fmla="*/ 343376 h 514350"/>
                <a:gd name="connsiteX5984" fmla="*/ 2139791 w 6400800"/>
                <a:gd name="connsiteY5984" fmla="*/ 324326 h 514350"/>
                <a:gd name="connsiteX5985" fmla="*/ 2138839 w 6400800"/>
                <a:gd name="connsiteY5985" fmla="*/ 320516 h 514350"/>
                <a:gd name="connsiteX5986" fmla="*/ 2142649 w 6400800"/>
                <a:gd name="connsiteY5986" fmla="*/ 305276 h 514350"/>
                <a:gd name="connsiteX5987" fmla="*/ 2058829 w 6400800"/>
                <a:gd name="connsiteY5987" fmla="*/ 353854 h 514350"/>
                <a:gd name="connsiteX5988" fmla="*/ 2056924 w 6400800"/>
                <a:gd name="connsiteY5988" fmla="*/ 366236 h 514350"/>
                <a:gd name="connsiteX5989" fmla="*/ 2055971 w 6400800"/>
                <a:gd name="connsiteY5989" fmla="*/ 361474 h 514350"/>
                <a:gd name="connsiteX5990" fmla="*/ 2054066 w 6400800"/>
                <a:gd name="connsiteY5990" fmla="*/ 352901 h 514350"/>
                <a:gd name="connsiteX5991" fmla="*/ 2054066 w 6400800"/>
                <a:gd name="connsiteY5991" fmla="*/ 351949 h 514350"/>
                <a:gd name="connsiteX5992" fmla="*/ 2059781 w 6400800"/>
                <a:gd name="connsiteY5992" fmla="*/ 338614 h 514350"/>
                <a:gd name="connsiteX5993" fmla="*/ 2060734 w 6400800"/>
                <a:gd name="connsiteY5993" fmla="*/ 343376 h 514350"/>
                <a:gd name="connsiteX5994" fmla="*/ 2058829 w 6400800"/>
                <a:gd name="connsiteY5994" fmla="*/ 353854 h 514350"/>
                <a:gd name="connsiteX5995" fmla="*/ 2081689 w 6400800"/>
                <a:gd name="connsiteY5995" fmla="*/ 350044 h 514350"/>
                <a:gd name="connsiteX5996" fmla="*/ 2079784 w 6400800"/>
                <a:gd name="connsiteY5996" fmla="*/ 354806 h 514350"/>
                <a:gd name="connsiteX5997" fmla="*/ 2077879 w 6400800"/>
                <a:gd name="connsiteY5997" fmla="*/ 347186 h 514350"/>
                <a:gd name="connsiteX5998" fmla="*/ 2077879 w 6400800"/>
                <a:gd name="connsiteY5998" fmla="*/ 344329 h 514350"/>
                <a:gd name="connsiteX5999" fmla="*/ 2080736 w 6400800"/>
                <a:gd name="connsiteY5999" fmla="*/ 348139 h 514350"/>
                <a:gd name="connsiteX6000" fmla="*/ 2081689 w 6400800"/>
                <a:gd name="connsiteY6000" fmla="*/ 350044 h 514350"/>
                <a:gd name="connsiteX6001" fmla="*/ 2081689 w 6400800"/>
                <a:gd name="connsiteY6001" fmla="*/ 350044 h 514350"/>
                <a:gd name="connsiteX6002" fmla="*/ 2081689 w 6400800"/>
                <a:gd name="connsiteY6002" fmla="*/ 339566 h 514350"/>
                <a:gd name="connsiteX6003" fmla="*/ 2081689 w 6400800"/>
                <a:gd name="connsiteY6003" fmla="*/ 341471 h 514350"/>
                <a:gd name="connsiteX6004" fmla="*/ 2078831 w 6400800"/>
                <a:gd name="connsiteY6004" fmla="*/ 337661 h 514350"/>
                <a:gd name="connsiteX6005" fmla="*/ 2079784 w 6400800"/>
                <a:gd name="connsiteY6005" fmla="*/ 330041 h 514350"/>
                <a:gd name="connsiteX6006" fmla="*/ 2081689 w 6400800"/>
                <a:gd name="connsiteY6006" fmla="*/ 339566 h 514350"/>
                <a:gd name="connsiteX6007" fmla="*/ 2081689 w 6400800"/>
                <a:gd name="connsiteY6007" fmla="*/ 339566 h 514350"/>
                <a:gd name="connsiteX6008" fmla="*/ 2085499 w 6400800"/>
                <a:gd name="connsiteY6008" fmla="*/ 290036 h 514350"/>
                <a:gd name="connsiteX6009" fmla="*/ 2084546 w 6400800"/>
                <a:gd name="connsiteY6009" fmla="*/ 307181 h 514350"/>
                <a:gd name="connsiteX6010" fmla="*/ 2083594 w 6400800"/>
                <a:gd name="connsiteY6010" fmla="*/ 303371 h 514350"/>
                <a:gd name="connsiteX6011" fmla="*/ 2086451 w 6400800"/>
                <a:gd name="connsiteY6011" fmla="*/ 273844 h 514350"/>
                <a:gd name="connsiteX6012" fmla="*/ 2087404 w 6400800"/>
                <a:gd name="connsiteY6012" fmla="*/ 267176 h 514350"/>
                <a:gd name="connsiteX6013" fmla="*/ 2085499 w 6400800"/>
                <a:gd name="connsiteY6013" fmla="*/ 290036 h 514350"/>
                <a:gd name="connsiteX6014" fmla="*/ 2089309 w 6400800"/>
                <a:gd name="connsiteY6014" fmla="*/ 180499 h 514350"/>
                <a:gd name="connsiteX6015" fmla="*/ 2089309 w 6400800"/>
                <a:gd name="connsiteY6015" fmla="*/ 200501 h 514350"/>
                <a:gd name="connsiteX6016" fmla="*/ 2086451 w 6400800"/>
                <a:gd name="connsiteY6016" fmla="*/ 192881 h 514350"/>
                <a:gd name="connsiteX6017" fmla="*/ 2089309 w 6400800"/>
                <a:gd name="connsiteY6017" fmla="*/ 180499 h 514350"/>
                <a:gd name="connsiteX6018" fmla="*/ 2072164 w 6400800"/>
                <a:gd name="connsiteY6018" fmla="*/ 241459 h 514350"/>
                <a:gd name="connsiteX6019" fmla="*/ 2086451 w 6400800"/>
                <a:gd name="connsiteY6019" fmla="*/ 193834 h 514350"/>
                <a:gd name="connsiteX6020" fmla="*/ 2090261 w 6400800"/>
                <a:gd name="connsiteY6020" fmla="*/ 207169 h 514350"/>
                <a:gd name="connsiteX6021" fmla="*/ 2090261 w 6400800"/>
                <a:gd name="connsiteY6021" fmla="*/ 208121 h 514350"/>
                <a:gd name="connsiteX6022" fmla="*/ 2075974 w 6400800"/>
                <a:gd name="connsiteY6022" fmla="*/ 271939 h 514350"/>
                <a:gd name="connsiteX6023" fmla="*/ 2074069 w 6400800"/>
                <a:gd name="connsiteY6023" fmla="*/ 282416 h 514350"/>
                <a:gd name="connsiteX6024" fmla="*/ 2068354 w 6400800"/>
                <a:gd name="connsiteY6024" fmla="*/ 271939 h 514350"/>
                <a:gd name="connsiteX6025" fmla="*/ 2065496 w 6400800"/>
                <a:gd name="connsiteY6025" fmla="*/ 266224 h 514350"/>
                <a:gd name="connsiteX6026" fmla="*/ 2072164 w 6400800"/>
                <a:gd name="connsiteY6026" fmla="*/ 241459 h 514350"/>
                <a:gd name="connsiteX6027" fmla="*/ 2062639 w 6400800"/>
                <a:gd name="connsiteY6027" fmla="*/ 270034 h 514350"/>
                <a:gd name="connsiteX6028" fmla="*/ 2063591 w 6400800"/>
                <a:gd name="connsiteY6028" fmla="*/ 272891 h 514350"/>
                <a:gd name="connsiteX6029" fmla="*/ 2069306 w 6400800"/>
                <a:gd name="connsiteY6029" fmla="*/ 292894 h 514350"/>
                <a:gd name="connsiteX6030" fmla="*/ 2070259 w 6400800"/>
                <a:gd name="connsiteY6030" fmla="*/ 294799 h 514350"/>
                <a:gd name="connsiteX6031" fmla="*/ 2067401 w 6400800"/>
                <a:gd name="connsiteY6031" fmla="*/ 310039 h 514350"/>
                <a:gd name="connsiteX6032" fmla="*/ 2065496 w 6400800"/>
                <a:gd name="connsiteY6032" fmla="*/ 303371 h 514350"/>
                <a:gd name="connsiteX6033" fmla="*/ 2058829 w 6400800"/>
                <a:gd name="connsiteY6033" fmla="*/ 284321 h 514350"/>
                <a:gd name="connsiteX6034" fmla="*/ 2062639 w 6400800"/>
                <a:gd name="connsiteY6034" fmla="*/ 270034 h 514350"/>
                <a:gd name="connsiteX6035" fmla="*/ 2053114 w 6400800"/>
                <a:gd name="connsiteY6035" fmla="*/ 301466 h 514350"/>
                <a:gd name="connsiteX6036" fmla="*/ 2054066 w 6400800"/>
                <a:gd name="connsiteY6036" fmla="*/ 306229 h 514350"/>
                <a:gd name="connsiteX6037" fmla="*/ 2056924 w 6400800"/>
                <a:gd name="connsiteY6037" fmla="*/ 320516 h 514350"/>
                <a:gd name="connsiteX6038" fmla="*/ 2055971 w 6400800"/>
                <a:gd name="connsiteY6038" fmla="*/ 320516 h 514350"/>
                <a:gd name="connsiteX6039" fmla="*/ 2049304 w 6400800"/>
                <a:gd name="connsiteY6039" fmla="*/ 317659 h 514350"/>
                <a:gd name="connsiteX6040" fmla="*/ 2055971 w 6400800"/>
                <a:gd name="connsiteY6040" fmla="*/ 321469 h 514350"/>
                <a:gd name="connsiteX6041" fmla="*/ 2057876 w 6400800"/>
                <a:gd name="connsiteY6041" fmla="*/ 322421 h 514350"/>
                <a:gd name="connsiteX6042" fmla="*/ 2059781 w 6400800"/>
                <a:gd name="connsiteY6042" fmla="*/ 332899 h 514350"/>
                <a:gd name="connsiteX6043" fmla="*/ 2053114 w 6400800"/>
                <a:gd name="connsiteY6043" fmla="*/ 342424 h 514350"/>
                <a:gd name="connsiteX6044" fmla="*/ 2049304 w 6400800"/>
                <a:gd name="connsiteY6044" fmla="*/ 321469 h 514350"/>
                <a:gd name="connsiteX6045" fmla="*/ 2049304 w 6400800"/>
                <a:gd name="connsiteY6045" fmla="*/ 315754 h 514350"/>
                <a:gd name="connsiteX6046" fmla="*/ 2053114 w 6400800"/>
                <a:gd name="connsiteY6046" fmla="*/ 301466 h 514350"/>
                <a:gd name="connsiteX6047" fmla="*/ 2044541 w 6400800"/>
                <a:gd name="connsiteY6047" fmla="*/ 260509 h 514350"/>
                <a:gd name="connsiteX6048" fmla="*/ 2044541 w 6400800"/>
                <a:gd name="connsiteY6048" fmla="*/ 260509 h 514350"/>
                <a:gd name="connsiteX6049" fmla="*/ 2044541 w 6400800"/>
                <a:gd name="connsiteY6049" fmla="*/ 259556 h 514350"/>
                <a:gd name="connsiteX6050" fmla="*/ 2044541 w 6400800"/>
                <a:gd name="connsiteY6050" fmla="*/ 260509 h 514350"/>
                <a:gd name="connsiteX6051" fmla="*/ 2019776 w 6400800"/>
                <a:gd name="connsiteY6051" fmla="*/ 188119 h 514350"/>
                <a:gd name="connsiteX6052" fmla="*/ 2019776 w 6400800"/>
                <a:gd name="connsiteY6052" fmla="*/ 185261 h 514350"/>
                <a:gd name="connsiteX6053" fmla="*/ 2020729 w 6400800"/>
                <a:gd name="connsiteY6053" fmla="*/ 177641 h 514350"/>
                <a:gd name="connsiteX6054" fmla="*/ 2020729 w 6400800"/>
                <a:gd name="connsiteY6054" fmla="*/ 189071 h 514350"/>
                <a:gd name="connsiteX6055" fmla="*/ 2021681 w 6400800"/>
                <a:gd name="connsiteY6055" fmla="*/ 220504 h 514350"/>
                <a:gd name="connsiteX6056" fmla="*/ 2023586 w 6400800"/>
                <a:gd name="connsiteY6056" fmla="*/ 244316 h 514350"/>
                <a:gd name="connsiteX6057" fmla="*/ 2022634 w 6400800"/>
                <a:gd name="connsiteY6057" fmla="*/ 247174 h 514350"/>
                <a:gd name="connsiteX6058" fmla="*/ 2016919 w 6400800"/>
                <a:gd name="connsiteY6058" fmla="*/ 222409 h 514350"/>
                <a:gd name="connsiteX6059" fmla="*/ 2019776 w 6400800"/>
                <a:gd name="connsiteY6059" fmla="*/ 188119 h 514350"/>
                <a:gd name="connsiteX6060" fmla="*/ 1999774 w 6400800"/>
                <a:gd name="connsiteY6060" fmla="*/ 298609 h 514350"/>
                <a:gd name="connsiteX6061" fmla="*/ 1999774 w 6400800"/>
                <a:gd name="connsiteY6061" fmla="*/ 304324 h 514350"/>
                <a:gd name="connsiteX6062" fmla="*/ 1997869 w 6400800"/>
                <a:gd name="connsiteY6062" fmla="*/ 310039 h 514350"/>
                <a:gd name="connsiteX6063" fmla="*/ 1999774 w 6400800"/>
                <a:gd name="connsiteY6063" fmla="*/ 298609 h 514350"/>
                <a:gd name="connsiteX6064" fmla="*/ 1992154 w 6400800"/>
                <a:gd name="connsiteY6064" fmla="*/ 349091 h 514350"/>
                <a:gd name="connsiteX6065" fmla="*/ 1992154 w 6400800"/>
                <a:gd name="connsiteY6065" fmla="*/ 359569 h 514350"/>
                <a:gd name="connsiteX6066" fmla="*/ 1992154 w 6400800"/>
                <a:gd name="connsiteY6066" fmla="*/ 369094 h 514350"/>
                <a:gd name="connsiteX6067" fmla="*/ 1988344 w 6400800"/>
                <a:gd name="connsiteY6067" fmla="*/ 373856 h 514350"/>
                <a:gd name="connsiteX6068" fmla="*/ 1992154 w 6400800"/>
                <a:gd name="connsiteY6068" fmla="*/ 349091 h 514350"/>
                <a:gd name="connsiteX6069" fmla="*/ 1987391 w 6400800"/>
                <a:gd name="connsiteY6069" fmla="*/ 381476 h 514350"/>
                <a:gd name="connsiteX6070" fmla="*/ 1987391 w 6400800"/>
                <a:gd name="connsiteY6070" fmla="*/ 381476 h 514350"/>
                <a:gd name="connsiteX6071" fmla="*/ 1992154 w 6400800"/>
                <a:gd name="connsiteY6071" fmla="*/ 372904 h 514350"/>
                <a:gd name="connsiteX6072" fmla="*/ 1992154 w 6400800"/>
                <a:gd name="connsiteY6072" fmla="*/ 379571 h 514350"/>
                <a:gd name="connsiteX6073" fmla="*/ 1991201 w 6400800"/>
                <a:gd name="connsiteY6073" fmla="*/ 386239 h 514350"/>
                <a:gd name="connsiteX6074" fmla="*/ 1988344 w 6400800"/>
                <a:gd name="connsiteY6074" fmla="*/ 400526 h 514350"/>
                <a:gd name="connsiteX6075" fmla="*/ 1988344 w 6400800"/>
                <a:gd name="connsiteY6075" fmla="*/ 399574 h 514350"/>
                <a:gd name="connsiteX6076" fmla="*/ 1985486 w 6400800"/>
                <a:gd name="connsiteY6076" fmla="*/ 392906 h 514350"/>
                <a:gd name="connsiteX6077" fmla="*/ 1987391 w 6400800"/>
                <a:gd name="connsiteY6077" fmla="*/ 381476 h 514350"/>
                <a:gd name="connsiteX6078" fmla="*/ 1968341 w 6400800"/>
                <a:gd name="connsiteY6078" fmla="*/ 290989 h 514350"/>
                <a:gd name="connsiteX6079" fmla="*/ 1967389 w 6400800"/>
                <a:gd name="connsiteY6079" fmla="*/ 297656 h 514350"/>
                <a:gd name="connsiteX6080" fmla="*/ 1966436 w 6400800"/>
                <a:gd name="connsiteY6080" fmla="*/ 305276 h 514350"/>
                <a:gd name="connsiteX6081" fmla="*/ 1965484 w 6400800"/>
                <a:gd name="connsiteY6081" fmla="*/ 318611 h 514350"/>
                <a:gd name="connsiteX6082" fmla="*/ 1964531 w 6400800"/>
                <a:gd name="connsiteY6082" fmla="*/ 304324 h 514350"/>
                <a:gd name="connsiteX6083" fmla="*/ 1964531 w 6400800"/>
                <a:gd name="connsiteY6083" fmla="*/ 300514 h 514350"/>
                <a:gd name="connsiteX6084" fmla="*/ 1968341 w 6400800"/>
                <a:gd name="connsiteY6084" fmla="*/ 290989 h 514350"/>
                <a:gd name="connsiteX6085" fmla="*/ 1937861 w 6400800"/>
                <a:gd name="connsiteY6085" fmla="*/ 310039 h 514350"/>
                <a:gd name="connsiteX6086" fmla="*/ 1937861 w 6400800"/>
                <a:gd name="connsiteY6086" fmla="*/ 302419 h 514350"/>
                <a:gd name="connsiteX6087" fmla="*/ 1937861 w 6400800"/>
                <a:gd name="connsiteY6087" fmla="*/ 295751 h 514350"/>
                <a:gd name="connsiteX6088" fmla="*/ 1938814 w 6400800"/>
                <a:gd name="connsiteY6088" fmla="*/ 306229 h 514350"/>
                <a:gd name="connsiteX6089" fmla="*/ 1937861 w 6400800"/>
                <a:gd name="connsiteY6089" fmla="*/ 310039 h 514350"/>
                <a:gd name="connsiteX6090" fmla="*/ 1938814 w 6400800"/>
                <a:gd name="connsiteY6090" fmla="*/ 272891 h 514350"/>
                <a:gd name="connsiteX6091" fmla="*/ 1936909 w 6400800"/>
                <a:gd name="connsiteY6091" fmla="*/ 266224 h 514350"/>
                <a:gd name="connsiteX6092" fmla="*/ 1936909 w 6400800"/>
                <a:gd name="connsiteY6092" fmla="*/ 261461 h 514350"/>
                <a:gd name="connsiteX6093" fmla="*/ 1936909 w 6400800"/>
                <a:gd name="connsiteY6093" fmla="*/ 246221 h 514350"/>
                <a:gd name="connsiteX6094" fmla="*/ 1938814 w 6400800"/>
                <a:gd name="connsiteY6094" fmla="*/ 272891 h 514350"/>
                <a:gd name="connsiteX6095" fmla="*/ 1900714 w 6400800"/>
                <a:gd name="connsiteY6095" fmla="*/ 338614 h 514350"/>
                <a:gd name="connsiteX6096" fmla="*/ 1900714 w 6400800"/>
                <a:gd name="connsiteY6096" fmla="*/ 333851 h 514350"/>
                <a:gd name="connsiteX6097" fmla="*/ 1902619 w 6400800"/>
                <a:gd name="connsiteY6097" fmla="*/ 329089 h 514350"/>
                <a:gd name="connsiteX6098" fmla="*/ 1904524 w 6400800"/>
                <a:gd name="connsiteY6098" fmla="*/ 325279 h 514350"/>
                <a:gd name="connsiteX6099" fmla="*/ 1900714 w 6400800"/>
                <a:gd name="connsiteY6099" fmla="*/ 338614 h 514350"/>
                <a:gd name="connsiteX6100" fmla="*/ 1915954 w 6400800"/>
                <a:gd name="connsiteY6100" fmla="*/ 436721 h 514350"/>
                <a:gd name="connsiteX6101" fmla="*/ 1915954 w 6400800"/>
                <a:gd name="connsiteY6101" fmla="*/ 433864 h 514350"/>
                <a:gd name="connsiteX6102" fmla="*/ 1916906 w 6400800"/>
                <a:gd name="connsiteY6102" fmla="*/ 434816 h 514350"/>
                <a:gd name="connsiteX6103" fmla="*/ 1915954 w 6400800"/>
                <a:gd name="connsiteY6103" fmla="*/ 436721 h 514350"/>
                <a:gd name="connsiteX6104" fmla="*/ 1920716 w 6400800"/>
                <a:gd name="connsiteY6104" fmla="*/ 401479 h 514350"/>
                <a:gd name="connsiteX6105" fmla="*/ 1919764 w 6400800"/>
                <a:gd name="connsiteY6105" fmla="*/ 407194 h 514350"/>
                <a:gd name="connsiteX6106" fmla="*/ 1917859 w 6400800"/>
                <a:gd name="connsiteY6106" fmla="*/ 404336 h 514350"/>
                <a:gd name="connsiteX6107" fmla="*/ 1919764 w 6400800"/>
                <a:gd name="connsiteY6107" fmla="*/ 398621 h 514350"/>
                <a:gd name="connsiteX6108" fmla="*/ 1920716 w 6400800"/>
                <a:gd name="connsiteY6108" fmla="*/ 401479 h 514350"/>
                <a:gd name="connsiteX6109" fmla="*/ 1917859 w 6400800"/>
                <a:gd name="connsiteY6109" fmla="*/ 331946 h 514350"/>
                <a:gd name="connsiteX6110" fmla="*/ 1919764 w 6400800"/>
                <a:gd name="connsiteY6110" fmla="*/ 337661 h 514350"/>
                <a:gd name="connsiteX6111" fmla="*/ 1919764 w 6400800"/>
                <a:gd name="connsiteY6111" fmla="*/ 337661 h 514350"/>
                <a:gd name="connsiteX6112" fmla="*/ 1918811 w 6400800"/>
                <a:gd name="connsiteY6112" fmla="*/ 338614 h 514350"/>
                <a:gd name="connsiteX6113" fmla="*/ 1916906 w 6400800"/>
                <a:gd name="connsiteY6113" fmla="*/ 342424 h 514350"/>
                <a:gd name="connsiteX6114" fmla="*/ 1916906 w 6400800"/>
                <a:gd name="connsiteY6114" fmla="*/ 341471 h 514350"/>
                <a:gd name="connsiteX6115" fmla="*/ 1915954 w 6400800"/>
                <a:gd name="connsiteY6115" fmla="*/ 344329 h 514350"/>
                <a:gd name="connsiteX6116" fmla="*/ 1915001 w 6400800"/>
                <a:gd name="connsiteY6116" fmla="*/ 345281 h 514350"/>
                <a:gd name="connsiteX6117" fmla="*/ 1917859 w 6400800"/>
                <a:gd name="connsiteY6117" fmla="*/ 331946 h 514350"/>
                <a:gd name="connsiteX6118" fmla="*/ 1919764 w 6400800"/>
                <a:gd name="connsiteY6118" fmla="*/ 360521 h 514350"/>
                <a:gd name="connsiteX6119" fmla="*/ 1919764 w 6400800"/>
                <a:gd name="connsiteY6119" fmla="*/ 364331 h 514350"/>
                <a:gd name="connsiteX6120" fmla="*/ 1915001 w 6400800"/>
                <a:gd name="connsiteY6120" fmla="*/ 373856 h 514350"/>
                <a:gd name="connsiteX6121" fmla="*/ 1908334 w 6400800"/>
                <a:gd name="connsiteY6121" fmla="*/ 388144 h 514350"/>
                <a:gd name="connsiteX6122" fmla="*/ 1907381 w 6400800"/>
                <a:gd name="connsiteY6122" fmla="*/ 387191 h 514350"/>
                <a:gd name="connsiteX6123" fmla="*/ 1907381 w 6400800"/>
                <a:gd name="connsiteY6123" fmla="*/ 385286 h 514350"/>
                <a:gd name="connsiteX6124" fmla="*/ 1910239 w 6400800"/>
                <a:gd name="connsiteY6124" fmla="*/ 380524 h 514350"/>
                <a:gd name="connsiteX6125" fmla="*/ 1919764 w 6400800"/>
                <a:gd name="connsiteY6125" fmla="*/ 360521 h 514350"/>
                <a:gd name="connsiteX6126" fmla="*/ 1910239 w 6400800"/>
                <a:gd name="connsiteY6126" fmla="*/ 299561 h 514350"/>
                <a:gd name="connsiteX6127" fmla="*/ 1908334 w 6400800"/>
                <a:gd name="connsiteY6127" fmla="*/ 305276 h 514350"/>
                <a:gd name="connsiteX6128" fmla="*/ 1908334 w 6400800"/>
                <a:gd name="connsiteY6128" fmla="*/ 305276 h 514350"/>
                <a:gd name="connsiteX6129" fmla="*/ 1910239 w 6400800"/>
                <a:gd name="connsiteY6129" fmla="*/ 299561 h 514350"/>
                <a:gd name="connsiteX6130" fmla="*/ 1906429 w 6400800"/>
                <a:gd name="connsiteY6130" fmla="*/ 313849 h 514350"/>
                <a:gd name="connsiteX6131" fmla="*/ 1908334 w 6400800"/>
                <a:gd name="connsiteY6131" fmla="*/ 309086 h 514350"/>
                <a:gd name="connsiteX6132" fmla="*/ 1908334 w 6400800"/>
                <a:gd name="connsiteY6132" fmla="*/ 310039 h 514350"/>
                <a:gd name="connsiteX6133" fmla="*/ 1906429 w 6400800"/>
                <a:gd name="connsiteY6133" fmla="*/ 315754 h 514350"/>
                <a:gd name="connsiteX6134" fmla="*/ 1905476 w 6400800"/>
                <a:gd name="connsiteY6134" fmla="*/ 316706 h 514350"/>
                <a:gd name="connsiteX6135" fmla="*/ 1906429 w 6400800"/>
                <a:gd name="connsiteY6135" fmla="*/ 313849 h 514350"/>
                <a:gd name="connsiteX6136" fmla="*/ 1893094 w 6400800"/>
                <a:gd name="connsiteY6136" fmla="*/ 259556 h 514350"/>
                <a:gd name="connsiteX6137" fmla="*/ 1894046 w 6400800"/>
                <a:gd name="connsiteY6137" fmla="*/ 256699 h 514350"/>
                <a:gd name="connsiteX6138" fmla="*/ 1894999 w 6400800"/>
                <a:gd name="connsiteY6138" fmla="*/ 256699 h 514350"/>
                <a:gd name="connsiteX6139" fmla="*/ 1899761 w 6400800"/>
                <a:gd name="connsiteY6139" fmla="*/ 260509 h 514350"/>
                <a:gd name="connsiteX6140" fmla="*/ 1904524 w 6400800"/>
                <a:gd name="connsiteY6140" fmla="*/ 275749 h 514350"/>
                <a:gd name="connsiteX6141" fmla="*/ 1895951 w 6400800"/>
                <a:gd name="connsiteY6141" fmla="*/ 297656 h 514350"/>
                <a:gd name="connsiteX6142" fmla="*/ 1894046 w 6400800"/>
                <a:gd name="connsiteY6142" fmla="*/ 281464 h 514350"/>
                <a:gd name="connsiteX6143" fmla="*/ 1892141 w 6400800"/>
                <a:gd name="connsiteY6143" fmla="*/ 270034 h 514350"/>
                <a:gd name="connsiteX6144" fmla="*/ 1893094 w 6400800"/>
                <a:gd name="connsiteY6144" fmla="*/ 272891 h 514350"/>
                <a:gd name="connsiteX6145" fmla="*/ 1893094 w 6400800"/>
                <a:gd name="connsiteY6145" fmla="*/ 259556 h 514350"/>
                <a:gd name="connsiteX6146" fmla="*/ 1841659 w 6400800"/>
                <a:gd name="connsiteY6146" fmla="*/ 297656 h 514350"/>
                <a:gd name="connsiteX6147" fmla="*/ 1840706 w 6400800"/>
                <a:gd name="connsiteY6147" fmla="*/ 313849 h 514350"/>
                <a:gd name="connsiteX6148" fmla="*/ 1838801 w 6400800"/>
                <a:gd name="connsiteY6148" fmla="*/ 294799 h 514350"/>
                <a:gd name="connsiteX6149" fmla="*/ 1838801 w 6400800"/>
                <a:gd name="connsiteY6149" fmla="*/ 290989 h 514350"/>
                <a:gd name="connsiteX6150" fmla="*/ 1841659 w 6400800"/>
                <a:gd name="connsiteY6150" fmla="*/ 297656 h 514350"/>
                <a:gd name="connsiteX6151" fmla="*/ 1822609 w 6400800"/>
                <a:gd name="connsiteY6151" fmla="*/ 363379 h 514350"/>
                <a:gd name="connsiteX6152" fmla="*/ 1826419 w 6400800"/>
                <a:gd name="connsiteY6152" fmla="*/ 353854 h 514350"/>
                <a:gd name="connsiteX6153" fmla="*/ 1827371 w 6400800"/>
                <a:gd name="connsiteY6153" fmla="*/ 364331 h 514350"/>
                <a:gd name="connsiteX6154" fmla="*/ 1823561 w 6400800"/>
                <a:gd name="connsiteY6154" fmla="*/ 368141 h 514350"/>
                <a:gd name="connsiteX6155" fmla="*/ 1822609 w 6400800"/>
                <a:gd name="connsiteY6155" fmla="*/ 363379 h 514350"/>
                <a:gd name="connsiteX6156" fmla="*/ 1828324 w 6400800"/>
                <a:gd name="connsiteY6156" fmla="*/ 403384 h 514350"/>
                <a:gd name="connsiteX6157" fmla="*/ 1827371 w 6400800"/>
                <a:gd name="connsiteY6157" fmla="*/ 400526 h 514350"/>
                <a:gd name="connsiteX6158" fmla="*/ 1825466 w 6400800"/>
                <a:gd name="connsiteY6158" fmla="*/ 381476 h 514350"/>
                <a:gd name="connsiteX6159" fmla="*/ 1828324 w 6400800"/>
                <a:gd name="connsiteY6159" fmla="*/ 377666 h 514350"/>
                <a:gd name="connsiteX6160" fmla="*/ 1829276 w 6400800"/>
                <a:gd name="connsiteY6160" fmla="*/ 399574 h 514350"/>
                <a:gd name="connsiteX6161" fmla="*/ 1828324 w 6400800"/>
                <a:gd name="connsiteY6161" fmla="*/ 403384 h 514350"/>
                <a:gd name="connsiteX6162" fmla="*/ 1833086 w 6400800"/>
                <a:gd name="connsiteY6162" fmla="*/ 339566 h 514350"/>
                <a:gd name="connsiteX6163" fmla="*/ 1833086 w 6400800"/>
                <a:gd name="connsiteY6163" fmla="*/ 339566 h 514350"/>
                <a:gd name="connsiteX6164" fmla="*/ 1833086 w 6400800"/>
                <a:gd name="connsiteY6164" fmla="*/ 340519 h 514350"/>
                <a:gd name="connsiteX6165" fmla="*/ 1833086 w 6400800"/>
                <a:gd name="connsiteY6165" fmla="*/ 339566 h 514350"/>
                <a:gd name="connsiteX6166" fmla="*/ 1824514 w 6400800"/>
                <a:gd name="connsiteY6166" fmla="*/ 272891 h 514350"/>
                <a:gd name="connsiteX6167" fmla="*/ 1824514 w 6400800"/>
                <a:gd name="connsiteY6167" fmla="*/ 263366 h 514350"/>
                <a:gd name="connsiteX6168" fmla="*/ 1835944 w 6400800"/>
                <a:gd name="connsiteY6168" fmla="*/ 285274 h 514350"/>
                <a:gd name="connsiteX6169" fmla="*/ 1834991 w 6400800"/>
                <a:gd name="connsiteY6169" fmla="*/ 294799 h 514350"/>
                <a:gd name="connsiteX6170" fmla="*/ 1834039 w 6400800"/>
                <a:gd name="connsiteY6170" fmla="*/ 320516 h 514350"/>
                <a:gd name="connsiteX6171" fmla="*/ 1834039 w 6400800"/>
                <a:gd name="connsiteY6171" fmla="*/ 330994 h 514350"/>
                <a:gd name="connsiteX6172" fmla="*/ 1833086 w 6400800"/>
                <a:gd name="connsiteY6172" fmla="*/ 331946 h 514350"/>
                <a:gd name="connsiteX6173" fmla="*/ 1832134 w 6400800"/>
                <a:gd name="connsiteY6173" fmla="*/ 332899 h 514350"/>
                <a:gd name="connsiteX6174" fmla="*/ 1827371 w 6400800"/>
                <a:gd name="connsiteY6174" fmla="*/ 316706 h 514350"/>
                <a:gd name="connsiteX6175" fmla="*/ 1822609 w 6400800"/>
                <a:gd name="connsiteY6175" fmla="*/ 303371 h 514350"/>
                <a:gd name="connsiteX6176" fmla="*/ 1824514 w 6400800"/>
                <a:gd name="connsiteY6176" fmla="*/ 272891 h 514350"/>
                <a:gd name="connsiteX6177" fmla="*/ 1822609 w 6400800"/>
                <a:gd name="connsiteY6177" fmla="*/ 309086 h 514350"/>
                <a:gd name="connsiteX6178" fmla="*/ 1823561 w 6400800"/>
                <a:gd name="connsiteY6178" fmla="*/ 317659 h 514350"/>
                <a:gd name="connsiteX6179" fmla="*/ 1825466 w 6400800"/>
                <a:gd name="connsiteY6179" fmla="*/ 338614 h 514350"/>
                <a:gd name="connsiteX6180" fmla="*/ 1825466 w 6400800"/>
                <a:gd name="connsiteY6180" fmla="*/ 340519 h 514350"/>
                <a:gd name="connsiteX6181" fmla="*/ 1820704 w 6400800"/>
                <a:gd name="connsiteY6181" fmla="*/ 348139 h 514350"/>
                <a:gd name="connsiteX6182" fmla="*/ 1820704 w 6400800"/>
                <a:gd name="connsiteY6182" fmla="*/ 332899 h 514350"/>
                <a:gd name="connsiteX6183" fmla="*/ 1820704 w 6400800"/>
                <a:gd name="connsiteY6183" fmla="*/ 331946 h 514350"/>
                <a:gd name="connsiteX6184" fmla="*/ 1822609 w 6400800"/>
                <a:gd name="connsiteY6184" fmla="*/ 309086 h 514350"/>
                <a:gd name="connsiteX6185" fmla="*/ 1763554 w 6400800"/>
                <a:gd name="connsiteY6185" fmla="*/ 411956 h 514350"/>
                <a:gd name="connsiteX6186" fmla="*/ 1762601 w 6400800"/>
                <a:gd name="connsiteY6186" fmla="*/ 406241 h 514350"/>
                <a:gd name="connsiteX6187" fmla="*/ 1761649 w 6400800"/>
                <a:gd name="connsiteY6187" fmla="*/ 397669 h 514350"/>
                <a:gd name="connsiteX6188" fmla="*/ 1761649 w 6400800"/>
                <a:gd name="connsiteY6188" fmla="*/ 397669 h 514350"/>
                <a:gd name="connsiteX6189" fmla="*/ 1764506 w 6400800"/>
                <a:gd name="connsiteY6189" fmla="*/ 400526 h 514350"/>
                <a:gd name="connsiteX6190" fmla="*/ 1763554 w 6400800"/>
                <a:gd name="connsiteY6190" fmla="*/ 411956 h 514350"/>
                <a:gd name="connsiteX6191" fmla="*/ 1766411 w 6400800"/>
                <a:gd name="connsiteY6191" fmla="*/ 379571 h 514350"/>
                <a:gd name="connsiteX6192" fmla="*/ 1766411 w 6400800"/>
                <a:gd name="connsiteY6192" fmla="*/ 379571 h 514350"/>
                <a:gd name="connsiteX6193" fmla="*/ 1766411 w 6400800"/>
                <a:gd name="connsiteY6193" fmla="*/ 377666 h 514350"/>
                <a:gd name="connsiteX6194" fmla="*/ 1766411 w 6400800"/>
                <a:gd name="connsiteY6194" fmla="*/ 379571 h 514350"/>
                <a:gd name="connsiteX6195" fmla="*/ 1792129 w 6400800"/>
                <a:gd name="connsiteY6195" fmla="*/ 251936 h 514350"/>
                <a:gd name="connsiteX6196" fmla="*/ 1802606 w 6400800"/>
                <a:gd name="connsiteY6196" fmla="*/ 219551 h 514350"/>
                <a:gd name="connsiteX6197" fmla="*/ 1802606 w 6400800"/>
                <a:gd name="connsiteY6197" fmla="*/ 219551 h 514350"/>
                <a:gd name="connsiteX6198" fmla="*/ 1801654 w 6400800"/>
                <a:gd name="connsiteY6198" fmla="*/ 274796 h 514350"/>
                <a:gd name="connsiteX6199" fmla="*/ 1800701 w 6400800"/>
                <a:gd name="connsiteY6199" fmla="*/ 327184 h 514350"/>
                <a:gd name="connsiteX6200" fmla="*/ 1794034 w 6400800"/>
                <a:gd name="connsiteY6200" fmla="*/ 310991 h 514350"/>
                <a:gd name="connsiteX6201" fmla="*/ 1788319 w 6400800"/>
                <a:gd name="connsiteY6201" fmla="*/ 294799 h 514350"/>
                <a:gd name="connsiteX6202" fmla="*/ 1787366 w 6400800"/>
                <a:gd name="connsiteY6202" fmla="*/ 292894 h 514350"/>
                <a:gd name="connsiteX6203" fmla="*/ 1786414 w 6400800"/>
                <a:gd name="connsiteY6203" fmla="*/ 287179 h 514350"/>
                <a:gd name="connsiteX6204" fmla="*/ 1788319 w 6400800"/>
                <a:gd name="connsiteY6204" fmla="*/ 279559 h 514350"/>
                <a:gd name="connsiteX6205" fmla="*/ 1787366 w 6400800"/>
                <a:gd name="connsiteY6205" fmla="*/ 275749 h 514350"/>
                <a:gd name="connsiteX6206" fmla="*/ 1785461 w 6400800"/>
                <a:gd name="connsiteY6206" fmla="*/ 274796 h 514350"/>
                <a:gd name="connsiteX6207" fmla="*/ 1785461 w 6400800"/>
                <a:gd name="connsiteY6207" fmla="*/ 274796 h 514350"/>
                <a:gd name="connsiteX6208" fmla="*/ 1792129 w 6400800"/>
                <a:gd name="connsiteY6208" fmla="*/ 251936 h 514350"/>
                <a:gd name="connsiteX6209" fmla="*/ 1785461 w 6400800"/>
                <a:gd name="connsiteY6209" fmla="*/ 276701 h 514350"/>
                <a:gd name="connsiteX6210" fmla="*/ 1786414 w 6400800"/>
                <a:gd name="connsiteY6210" fmla="*/ 278606 h 514350"/>
                <a:gd name="connsiteX6211" fmla="*/ 1786414 w 6400800"/>
                <a:gd name="connsiteY6211" fmla="*/ 282416 h 514350"/>
                <a:gd name="connsiteX6212" fmla="*/ 1785461 w 6400800"/>
                <a:gd name="connsiteY6212" fmla="*/ 276701 h 514350"/>
                <a:gd name="connsiteX6213" fmla="*/ 1785461 w 6400800"/>
                <a:gd name="connsiteY6213" fmla="*/ 276701 h 514350"/>
                <a:gd name="connsiteX6214" fmla="*/ 1776889 w 6400800"/>
                <a:gd name="connsiteY6214" fmla="*/ 330994 h 514350"/>
                <a:gd name="connsiteX6215" fmla="*/ 1785461 w 6400800"/>
                <a:gd name="connsiteY6215" fmla="*/ 376714 h 514350"/>
                <a:gd name="connsiteX6216" fmla="*/ 1786414 w 6400800"/>
                <a:gd name="connsiteY6216" fmla="*/ 385286 h 514350"/>
                <a:gd name="connsiteX6217" fmla="*/ 1784509 w 6400800"/>
                <a:gd name="connsiteY6217" fmla="*/ 382429 h 514350"/>
                <a:gd name="connsiteX6218" fmla="*/ 1785461 w 6400800"/>
                <a:gd name="connsiteY6218" fmla="*/ 374809 h 514350"/>
                <a:gd name="connsiteX6219" fmla="*/ 1783556 w 6400800"/>
                <a:gd name="connsiteY6219" fmla="*/ 380524 h 514350"/>
                <a:gd name="connsiteX6220" fmla="*/ 1776889 w 6400800"/>
                <a:gd name="connsiteY6220" fmla="*/ 370999 h 514350"/>
                <a:gd name="connsiteX6221" fmla="*/ 1776889 w 6400800"/>
                <a:gd name="connsiteY6221" fmla="*/ 337661 h 514350"/>
                <a:gd name="connsiteX6222" fmla="*/ 1776889 w 6400800"/>
                <a:gd name="connsiteY6222" fmla="*/ 330994 h 514350"/>
                <a:gd name="connsiteX6223" fmla="*/ 1755934 w 6400800"/>
                <a:gd name="connsiteY6223" fmla="*/ 211931 h 514350"/>
                <a:gd name="connsiteX6224" fmla="*/ 1761649 w 6400800"/>
                <a:gd name="connsiteY6224" fmla="*/ 233839 h 514350"/>
                <a:gd name="connsiteX6225" fmla="*/ 1762601 w 6400800"/>
                <a:gd name="connsiteY6225" fmla="*/ 238601 h 514350"/>
                <a:gd name="connsiteX6226" fmla="*/ 1760696 w 6400800"/>
                <a:gd name="connsiteY6226" fmla="*/ 234791 h 514350"/>
                <a:gd name="connsiteX6227" fmla="*/ 1759744 w 6400800"/>
                <a:gd name="connsiteY6227" fmla="*/ 230981 h 514350"/>
                <a:gd name="connsiteX6228" fmla="*/ 1759744 w 6400800"/>
                <a:gd name="connsiteY6228" fmla="*/ 232886 h 514350"/>
                <a:gd name="connsiteX6229" fmla="*/ 1756886 w 6400800"/>
                <a:gd name="connsiteY6229" fmla="*/ 227171 h 514350"/>
                <a:gd name="connsiteX6230" fmla="*/ 1754981 w 6400800"/>
                <a:gd name="connsiteY6230" fmla="*/ 223361 h 514350"/>
                <a:gd name="connsiteX6231" fmla="*/ 1755934 w 6400800"/>
                <a:gd name="connsiteY6231" fmla="*/ 211931 h 514350"/>
                <a:gd name="connsiteX6232" fmla="*/ 1754981 w 6400800"/>
                <a:gd name="connsiteY6232" fmla="*/ 232886 h 514350"/>
                <a:gd name="connsiteX6233" fmla="*/ 1755934 w 6400800"/>
                <a:gd name="connsiteY6233" fmla="*/ 235744 h 514350"/>
                <a:gd name="connsiteX6234" fmla="*/ 1754981 w 6400800"/>
                <a:gd name="connsiteY6234" fmla="*/ 240506 h 514350"/>
                <a:gd name="connsiteX6235" fmla="*/ 1754981 w 6400800"/>
                <a:gd name="connsiteY6235" fmla="*/ 232886 h 514350"/>
                <a:gd name="connsiteX6236" fmla="*/ 1754029 w 6400800"/>
                <a:gd name="connsiteY6236" fmla="*/ 281464 h 514350"/>
                <a:gd name="connsiteX6237" fmla="*/ 1754981 w 6400800"/>
                <a:gd name="connsiteY6237" fmla="*/ 252889 h 514350"/>
                <a:gd name="connsiteX6238" fmla="*/ 1756886 w 6400800"/>
                <a:gd name="connsiteY6238" fmla="*/ 236696 h 514350"/>
                <a:gd name="connsiteX6239" fmla="*/ 1763554 w 6400800"/>
                <a:gd name="connsiteY6239" fmla="*/ 256699 h 514350"/>
                <a:gd name="connsiteX6240" fmla="*/ 1768316 w 6400800"/>
                <a:gd name="connsiteY6240" fmla="*/ 286226 h 514350"/>
                <a:gd name="connsiteX6241" fmla="*/ 1754981 w 6400800"/>
                <a:gd name="connsiteY6241" fmla="*/ 322421 h 514350"/>
                <a:gd name="connsiteX6242" fmla="*/ 1754029 w 6400800"/>
                <a:gd name="connsiteY6242" fmla="*/ 317659 h 514350"/>
                <a:gd name="connsiteX6243" fmla="*/ 1754029 w 6400800"/>
                <a:gd name="connsiteY6243" fmla="*/ 316706 h 514350"/>
                <a:gd name="connsiteX6244" fmla="*/ 1754029 w 6400800"/>
                <a:gd name="connsiteY6244" fmla="*/ 281464 h 514350"/>
                <a:gd name="connsiteX6245" fmla="*/ 1687354 w 6400800"/>
                <a:gd name="connsiteY6245" fmla="*/ 295751 h 514350"/>
                <a:gd name="connsiteX6246" fmla="*/ 1685449 w 6400800"/>
                <a:gd name="connsiteY6246" fmla="*/ 314801 h 514350"/>
                <a:gd name="connsiteX6247" fmla="*/ 1684496 w 6400800"/>
                <a:gd name="connsiteY6247" fmla="*/ 325279 h 514350"/>
                <a:gd name="connsiteX6248" fmla="*/ 1681639 w 6400800"/>
                <a:gd name="connsiteY6248" fmla="*/ 311944 h 514350"/>
                <a:gd name="connsiteX6249" fmla="*/ 1681639 w 6400800"/>
                <a:gd name="connsiteY6249" fmla="*/ 309086 h 514350"/>
                <a:gd name="connsiteX6250" fmla="*/ 1681639 w 6400800"/>
                <a:gd name="connsiteY6250" fmla="*/ 310039 h 514350"/>
                <a:gd name="connsiteX6251" fmla="*/ 1680686 w 6400800"/>
                <a:gd name="connsiteY6251" fmla="*/ 306229 h 514350"/>
                <a:gd name="connsiteX6252" fmla="*/ 1681639 w 6400800"/>
                <a:gd name="connsiteY6252" fmla="*/ 303371 h 514350"/>
                <a:gd name="connsiteX6253" fmla="*/ 1684496 w 6400800"/>
                <a:gd name="connsiteY6253" fmla="*/ 295751 h 514350"/>
                <a:gd name="connsiteX6254" fmla="*/ 1689259 w 6400800"/>
                <a:gd name="connsiteY6254" fmla="*/ 282416 h 514350"/>
                <a:gd name="connsiteX6255" fmla="*/ 1687354 w 6400800"/>
                <a:gd name="connsiteY6255" fmla="*/ 295751 h 514350"/>
                <a:gd name="connsiteX6256" fmla="*/ 1678781 w 6400800"/>
                <a:gd name="connsiteY6256" fmla="*/ 276701 h 514350"/>
                <a:gd name="connsiteX6257" fmla="*/ 1684496 w 6400800"/>
                <a:gd name="connsiteY6257" fmla="*/ 245269 h 514350"/>
                <a:gd name="connsiteX6258" fmla="*/ 1686401 w 6400800"/>
                <a:gd name="connsiteY6258" fmla="*/ 259556 h 514350"/>
                <a:gd name="connsiteX6259" fmla="*/ 1686401 w 6400800"/>
                <a:gd name="connsiteY6259" fmla="*/ 268129 h 514350"/>
                <a:gd name="connsiteX6260" fmla="*/ 1686401 w 6400800"/>
                <a:gd name="connsiteY6260" fmla="*/ 270986 h 514350"/>
                <a:gd name="connsiteX6261" fmla="*/ 1675924 w 6400800"/>
                <a:gd name="connsiteY6261" fmla="*/ 292894 h 514350"/>
                <a:gd name="connsiteX6262" fmla="*/ 1675924 w 6400800"/>
                <a:gd name="connsiteY6262" fmla="*/ 291941 h 514350"/>
                <a:gd name="connsiteX6263" fmla="*/ 1678781 w 6400800"/>
                <a:gd name="connsiteY6263" fmla="*/ 278606 h 514350"/>
                <a:gd name="connsiteX6264" fmla="*/ 1679734 w 6400800"/>
                <a:gd name="connsiteY6264" fmla="*/ 275749 h 514350"/>
                <a:gd name="connsiteX6265" fmla="*/ 1678781 w 6400800"/>
                <a:gd name="connsiteY6265" fmla="*/ 276701 h 514350"/>
                <a:gd name="connsiteX6266" fmla="*/ 1677829 w 6400800"/>
                <a:gd name="connsiteY6266" fmla="*/ 199549 h 514350"/>
                <a:gd name="connsiteX6267" fmla="*/ 1678781 w 6400800"/>
                <a:gd name="connsiteY6267" fmla="*/ 204311 h 514350"/>
                <a:gd name="connsiteX6268" fmla="*/ 1676876 w 6400800"/>
                <a:gd name="connsiteY6268" fmla="*/ 213836 h 514350"/>
                <a:gd name="connsiteX6269" fmla="*/ 1677829 w 6400800"/>
                <a:gd name="connsiteY6269" fmla="*/ 199549 h 514350"/>
                <a:gd name="connsiteX6270" fmla="*/ 1640681 w 6400800"/>
                <a:gd name="connsiteY6270" fmla="*/ 226219 h 514350"/>
                <a:gd name="connsiteX6271" fmla="*/ 1649254 w 6400800"/>
                <a:gd name="connsiteY6271" fmla="*/ 254794 h 514350"/>
                <a:gd name="connsiteX6272" fmla="*/ 1654016 w 6400800"/>
                <a:gd name="connsiteY6272" fmla="*/ 274796 h 514350"/>
                <a:gd name="connsiteX6273" fmla="*/ 1653064 w 6400800"/>
                <a:gd name="connsiteY6273" fmla="*/ 281464 h 514350"/>
                <a:gd name="connsiteX6274" fmla="*/ 1652111 w 6400800"/>
                <a:gd name="connsiteY6274" fmla="*/ 279559 h 514350"/>
                <a:gd name="connsiteX6275" fmla="*/ 1652111 w 6400800"/>
                <a:gd name="connsiteY6275" fmla="*/ 282416 h 514350"/>
                <a:gd name="connsiteX6276" fmla="*/ 1649254 w 6400800"/>
                <a:gd name="connsiteY6276" fmla="*/ 300514 h 514350"/>
                <a:gd name="connsiteX6277" fmla="*/ 1641634 w 6400800"/>
                <a:gd name="connsiteY6277" fmla="*/ 281464 h 514350"/>
                <a:gd name="connsiteX6278" fmla="*/ 1643539 w 6400800"/>
                <a:gd name="connsiteY6278" fmla="*/ 279559 h 514350"/>
                <a:gd name="connsiteX6279" fmla="*/ 1647349 w 6400800"/>
                <a:gd name="connsiteY6279" fmla="*/ 277654 h 514350"/>
                <a:gd name="connsiteX6280" fmla="*/ 1654016 w 6400800"/>
                <a:gd name="connsiteY6280" fmla="*/ 273844 h 514350"/>
                <a:gd name="connsiteX6281" fmla="*/ 1647349 w 6400800"/>
                <a:gd name="connsiteY6281" fmla="*/ 276701 h 514350"/>
                <a:gd name="connsiteX6282" fmla="*/ 1643539 w 6400800"/>
                <a:gd name="connsiteY6282" fmla="*/ 278606 h 514350"/>
                <a:gd name="connsiteX6283" fmla="*/ 1642586 w 6400800"/>
                <a:gd name="connsiteY6283" fmla="*/ 279559 h 514350"/>
                <a:gd name="connsiteX6284" fmla="*/ 1642586 w 6400800"/>
                <a:gd name="connsiteY6284" fmla="*/ 255746 h 514350"/>
                <a:gd name="connsiteX6285" fmla="*/ 1640681 w 6400800"/>
                <a:gd name="connsiteY6285" fmla="*/ 226219 h 514350"/>
                <a:gd name="connsiteX6286" fmla="*/ 1640681 w 6400800"/>
                <a:gd name="connsiteY6286" fmla="*/ 226219 h 514350"/>
                <a:gd name="connsiteX6287" fmla="*/ 1620679 w 6400800"/>
                <a:gd name="connsiteY6287" fmla="*/ 348139 h 514350"/>
                <a:gd name="connsiteX6288" fmla="*/ 1620679 w 6400800"/>
                <a:gd name="connsiteY6288" fmla="*/ 351949 h 514350"/>
                <a:gd name="connsiteX6289" fmla="*/ 1620679 w 6400800"/>
                <a:gd name="connsiteY6289" fmla="*/ 353854 h 514350"/>
                <a:gd name="connsiteX6290" fmla="*/ 1618774 w 6400800"/>
                <a:gd name="connsiteY6290" fmla="*/ 356711 h 514350"/>
                <a:gd name="connsiteX6291" fmla="*/ 1620679 w 6400800"/>
                <a:gd name="connsiteY6291" fmla="*/ 348139 h 514350"/>
                <a:gd name="connsiteX6292" fmla="*/ 1618774 w 6400800"/>
                <a:gd name="connsiteY6292" fmla="*/ 311944 h 514350"/>
                <a:gd name="connsiteX6293" fmla="*/ 1616869 w 6400800"/>
                <a:gd name="connsiteY6293" fmla="*/ 315754 h 514350"/>
                <a:gd name="connsiteX6294" fmla="*/ 1605439 w 6400800"/>
                <a:gd name="connsiteY6294" fmla="*/ 343376 h 514350"/>
                <a:gd name="connsiteX6295" fmla="*/ 1602581 w 6400800"/>
                <a:gd name="connsiteY6295" fmla="*/ 350996 h 514350"/>
                <a:gd name="connsiteX6296" fmla="*/ 1602581 w 6400800"/>
                <a:gd name="connsiteY6296" fmla="*/ 342424 h 514350"/>
                <a:gd name="connsiteX6297" fmla="*/ 1613059 w 6400800"/>
                <a:gd name="connsiteY6297" fmla="*/ 321469 h 514350"/>
                <a:gd name="connsiteX6298" fmla="*/ 1619726 w 6400800"/>
                <a:gd name="connsiteY6298" fmla="*/ 310039 h 514350"/>
                <a:gd name="connsiteX6299" fmla="*/ 1618774 w 6400800"/>
                <a:gd name="connsiteY6299" fmla="*/ 311944 h 514350"/>
                <a:gd name="connsiteX6300" fmla="*/ 1610201 w 6400800"/>
                <a:gd name="connsiteY6300" fmla="*/ 269081 h 514350"/>
                <a:gd name="connsiteX6301" fmla="*/ 1614011 w 6400800"/>
                <a:gd name="connsiteY6301" fmla="*/ 258604 h 514350"/>
                <a:gd name="connsiteX6302" fmla="*/ 1616869 w 6400800"/>
                <a:gd name="connsiteY6302" fmla="*/ 252889 h 514350"/>
                <a:gd name="connsiteX6303" fmla="*/ 1617821 w 6400800"/>
                <a:gd name="connsiteY6303" fmla="*/ 292894 h 514350"/>
                <a:gd name="connsiteX6304" fmla="*/ 1617821 w 6400800"/>
                <a:gd name="connsiteY6304" fmla="*/ 293846 h 514350"/>
                <a:gd name="connsiteX6305" fmla="*/ 1614011 w 6400800"/>
                <a:gd name="connsiteY6305" fmla="*/ 289084 h 514350"/>
                <a:gd name="connsiteX6306" fmla="*/ 1606391 w 6400800"/>
                <a:gd name="connsiteY6306" fmla="*/ 277654 h 514350"/>
                <a:gd name="connsiteX6307" fmla="*/ 1610201 w 6400800"/>
                <a:gd name="connsiteY6307" fmla="*/ 269081 h 514350"/>
                <a:gd name="connsiteX6308" fmla="*/ 1600676 w 6400800"/>
                <a:gd name="connsiteY6308" fmla="*/ 297656 h 514350"/>
                <a:gd name="connsiteX6309" fmla="*/ 1606391 w 6400800"/>
                <a:gd name="connsiteY6309" fmla="*/ 279559 h 514350"/>
                <a:gd name="connsiteX6310" fmla="*/ 1611154 w 6400800"/>
                <a:gd name="connsiteY6310" fmla="*/ 290989 h 514350"/>
                <a:gd name="connsiteX6311" fmla="*/ 1616869 w 6400800"/>
                <a:gd name="connsiteY6311" fmla="*/ 303371 h 514350"/>
                <a:gd name="connsiteX6312" fmla="*/ 1606391 w 6400800"/>
                <a:gd name="connsiteY6312" fmla="*/ 317659 h 514350"/>
                <a:gd name="connsiteX6313" fmla="*/ 1601629 w 6400800"/>
                <a:gd name="connsiteY6313" fmla="*/ 325279 h 514350"/>
                <a:gd name="connsiteX6314" fmla="*/ 1600676 w 6400800"/>
                <a:gd name="connsiteY6314" fmla="*/ 319564 h 514350"/>
                <a:gd name="connsiteX6315" fmla="*/ 1599724 w 6400800"/>
                <a:gd name="connsiteY6315" fmla="*/ 305276 h 514350"/>
                <a:gd name="connsiteX6316" fmla="*/ 1600676 w 6400800"/>
                <a:gd name="connsiteY6316" fmla="*/ 297656 h 514350"/>
                <a:gd name="connsiteX6317" fmla="*/ 1567339 w 6400800"/>
                <a:gd name="connsiteY6317" fmla="*/ 315754 h 514350"/>
                <a:gd name="connsiteX6318" fmla="*/ 1568291 w 6400800"/>
                <a:gd name="connsiteY6318" fmla="*/ 330041 h 514350"/>
                <a:gd name="connsiteX6319" fmla="*/ 1566386 w 6400800"/>
                <a:gd name="connsiteY6319" fmla="*/ 320516 h 514350"/>
                <a:gd name="connsiteX6320" fmla="*/ 1567339 w 6400800"/>
                <a:gd name="connsiteY6320" fmla="*/ 315754 h 514350"/>
                <a:gd name="connsiteX6321" fmla="*/ 1547336 w 6400800"/>
                <a:gd name="connsiteY6321" fmla="*/ 265271 h 514350"/>
                <a:gd name="connsiteX6322" fmla="*/ 1546384 w 6400800"/>
                <a:gd name="connsiteY6322" fmla="*/ 275749 h 514350"/>
                <a:gd name="connsiteX6323" fmla="*/ 1545431 w 6400800"/>
                <a:gd name="connsiteY6323" fmla="*/ 272891 h 514350"/>
                <a:gd name="connsiteX6324" fmla="*/ 1547336 w 6400800"/>
                <a:gd name="connsiteY6324" fmla="*/ 265271 h 514350"/>
                <a:gd name="connsiteX6325" fmla="*/ 1541621 w 6400800"/>
                <a:gd name="connsiteY6325" fmla="*/ 286226 h 514350"/>
                <a:gd name="connsiteX6326" fmla="*/ 1543526 w 6400800"/>
                <a:gd name="connsiteY6326" fmla="*/ 293846 h 514350"/>
                <a:gd name="connsiteX6327" fmla="*/ 1542574 w 6400800"/>
                <a:gd name="connsiteY6327" fmla="*/ 301466 h 514350"/>
                <a:gd name="connsiteX6328" fmla="*/ 1539716 w 6400800"/>
                <a:gd name="connsiteY6328" fmla="*/ 291941 h 514350"/>
                <a:gd name="connsiteX6329" fmla="*/ 1541621 w 6400800"/>
                <a:gd name="connsiteY6329" fmla="*/ 286226 h 514350"/>
                <a:gd name="connsiteX6330" fmla="*/ 1537811 w 6400800"/>
                <a:gd name="connsiteY6330" fmla="*/ 271939 h 514350"/>
                <a:gd name="connsiteX6331" fmla="*/ 1538764 w 6400800"/>
                <a:gd name="connsiteY6331" fmla="*/ 276701 h 514350"/>
                <a:gd name="connsiteX6332" fmla="*/ 1536859 w 6400800"/>
                <a:gd name="connsiteY6332" fmla="*/ 280511 h 514350"/>
                <a:gd name="connsiteX6333" fmla="*/ 1537811 w 6400800"/>
                <a:gd name="connsiteY6333" fmla="*/ 271939 h 514350"/>
                <a:gd name="connsiteX6334" fmla="*/ 1533049 w 6400800"/>
                <a:gd name="connsiteY6334" fmla="*/ 338614 h 514350"/>
                <a:gd name="connsiteX6335" fmla="*/ 1533049 w 6400800"/>
                <a:gd name="connsiteY6335" fmla="*/ 335756 h 514350"/>
                <a:gd name="connsiteX6336" fmla="*/ 1535906 w 6400800"/>
                <a:gd name="connsiteY6336" fmla="*/ 350044 h 514350"/>
                <a:gd name="connsiteX6337" fmla="*/ 1536859 w 6400800"/>
                <a:gd name="connsiteY6337" fmla="*/ 357664 h 514350"/>
                <a:gd name="connsiteX6338" fmla="*/ 1536859 w 6400800"/>
                <a:gd name="connsiteY6338" fmla="*/ 362426 h 514350"/>
                <a:gd name="connsiteX6339" fmla="*/ 1536859 w 6400800"/>
                <a:gd name="connsiteY6339" fmla="*/ 362426 h 514350"/>
                <a:gd name="connsiteX6340" fmla="*/ 1532096 w 6400800"/>
                <a:gd name="connsiteY6340" fmla="*/ 346234 h 514350"/>
                <a:gd name="connsiteX6341" fmla="*/ 1533049 w 6400800"/>
                <a:gd name="connsiteY6341" fmla="*/ 338614 h 514350"/>
                <a:gd name="connsiteX6342" fmla="*/ 1519714 w 6400800"/>
                <a:gd name="connsiteY6342" fmla="*/ 270986 h 514350"/>
                <a:gd name="connsiteX6343" fmla="*/ 1525429 w 6400800"/>
                <a:gd name="connsiteY6343" fmla="*/ 297656 h 514350"/>
                <a:gd name="connsiteX6344" fmla="*/ 1524476 w 6400800"/>
                <a:gd name="connsiteY6344" fmla="*/ 301466 h 514350"/>
                <a:gd name="connsiteX6345" fmla="*/ 1521619 w 6400800"/>
                <a:gd name="connsiteY6345" fmla="*/ 315754 h 514350"/>
                <a:gd name="connsiteX6346" fmla="*/ 1519714 w 6400800"/>
                <a:gd name="connsiteY6346" fmla="*/ 310991 h 514350"/>
                <a:gd name="connsiteX6347" fmla="*/ 1517809 w 6400800"/>
                <a:gd name="connsiteY6347" fmla="*/ 268129 h 514350"/>
                <a:gd name="connsiteX6348" fmla="*/ 1519714 w 6400800"/>
                <a:gd name="connsiteY6348" fmla="*/ 270986 h 514350"/>
                <a:gd name="connsiteX6349" fmla="*/ 1503521 w 6400800"/>
                <a:gd name="connsiteY6349" fmla="*/ 302419 h 514350"/>
                <a:gd name="connsiteX6350" fmla="*/ 1502569 w 6400800"/>
                <a:gd name="connsiteY6350" fmla="*/ 313849 h 514350"/>
                <a:gd name="connsiteX6351" fmla="*/ 1502569 w 6400800"/>
                <a:gd name="connsiteY6351" fmla="*/ 330041 h 514350"/>
                <a:gd name="connsiteX6352" fmla="*/ 1501616 w 6400800"/>
                <a:gd name="connsiteY6352" fmla="*/ 329089 h 514350"/>
                <a:gd name="connsiteX6353" fmla="*/ 1497806 w 6400800"/>
                <a:gd name="connsiteY6353" fmla="*/ 311944 h 514350"/>
                <a:gd name="connsiteX6354" fmla="*/ 1503521 w 6400800"/>
                <a:gd name="connsiteY6354" fmla="*/ 302419 h 514350"/>
                <a:gd name="connsiteX6355" fmla="*/ 1477804 w 6400800"/>
                <a:gd name="connsiteY6355" fmla="*/ 272891 h 514350"/>
                <a:gd name="connsiteX6356" fmla="*/ 1477804 w 6400800"/>
                <a:gd name="connsiteY6356" fmla="*/ 272891 h 514350"/>
                <a:gd name="connsiteX6357" fmla="*/ 1477804 w 6400800"/>
                <a:gd name="connsiteY6357" fmla="*/ 282416 h 514350"/>
                <a:gd name="connsiteX6358" fmla="*/ 1476851 w 6400800"/>
                <a:gd name="connsiteY6358" fmla="*/ 294799 h 514350"/>
                <a:gd name="connsiteX6359" fmla="*/ 1475899 w 6400800"/>
                <a:gd name="connsiteY6359" fmla="*/ 295751 h 514350"/>
                <a:gd name="connsiteX6360" fmla="*/ 1474946 w 6400800"/>
                <a:gd name="connsiteY6360" fmla="*/ 282416 h 514350"/>
                <a:gd name="connsiteX6361" fmla="*/ 1477804 w 6400800"/>
                <a:gd name="connsiteY6361" fmla="*/ 272891 h 514350"/>
                <a:gd name="connsiteX6362" fmla="*/ 1461611 w 6400800"/>
                <a:gd name="connsiteY6362" fmla="*/ 326231 h 514350"/>
                <a:gd name="connsiteX6363" fmla="*/ 1461611 w 6400800"/>
                <a:gd name="connsiteY6363" fmla="*/ 328136 h 514350"/>
                <a:gd name="connsiteX6364" fmla="*/ 1460659 w 6400800"/>
                <a:gd name="connsiteY6364" fmla="*/ 330041 h 514350"/>
                <a:gd name="connsiteX6365" fmla="*/ 1460659 w 6400800"/>
                <a:gd name="connsiteY6365" fmla="*/ 329089 h 514350"/>
                <a:gd name="connsiteX6366" fmla="*/ 1461611 w 6400800"/>
                <a:gd name="connsiteY6366" fmla="*/ 326231 h 514350"/>
                <a:gd name="connsiteX6367" fmla="*/ 1457801 w 6400800"/>
                <a:gd name="connsiteY6367" fmla="*/ 309086 h 514350"/>
                <a:gd name="connsiteX6368" fmla="*/ 1457801 w 6400800"/>
                <a:gd name="connsiteY6368" fmla="*/ 309086 h 514350"/>
                <a:gd name="connsiteX6369" fmla="*/ 1455896 w 6400800"/>
                <a:gd name="connsiteY6369" fmla="*/ 302419 h 514350"/>
                <a:gd name="connsiteX6370" fmla="*/ 1457801 w 6400800"/>
                <a:gd name="connsiteY6370" fmla="*/ 309086 h 514350"/>
                <a:gd name="connsiteX6371" fmla="*/ 1442561 w 6400800"/>
                <a:gd name="connsiteY6371" fmla="*/ 328136 h 514350"/>
                <a:gd name="connsiteX6372" fmla="*/ 1442561 w 6400800"/>
                <a:gd name="connsiteY6372" fmla="*/ 318611 h 514350"/>
                <a:gd name="connsiteX6373" fmla="*/ 1444466 w 6400800"/>
                <a:gd name="connsiteY6373" fmla="*/ 333851 h 514350"/>
                <a:gd name="connsiteX6374" fmla="*/ 1442561 w 6400800"/>
                <a:gd name="connsiteY6374" fmla="*/ 330041 h 514350"/>
                <a:gd name="connsiteX6375" fmla="*/ 1442561 w 6400800"/>
                <a:gd name="connsiteY6375" fmla="*/ 328136 h 514350"/>
                <a:gd name="connsiteX6376" fmla="*/ 1415891 w 6400800"/>
                <a:gd name="connsiteY6376" fmla="*/ 281464 h 514350"/>
                <a:gd name="connsiteX6377" fmla="*/ 1415891 w 6400800"/>
                <a:gd name="connsiteY6377" fmla="*/ 289084 h 514350"/>
                <a:gd name="connsiteX6378" fmla="*/ 1415891 w 6400800"/>
                <a:gd name="connsiteY6378" fmla="*/ 289084 h 514350"/>
                <a:gd name="connsiteX6379" fmla="*/ 1413034 w 6400800"/>
                <a:gd name="connsiteY6379" fmla="*/ 286226 h 514350"/>
                <a:gd name="connsiteX6380" fmla="*/ 1415891 w 6400800"/>
                <a:gd name="connsiteY6380" fmla="*/ 281464 h 514350"/>
                <a:gd name="connsiteX6381" fmla="*/ 1412081 w 6400800"/>
                <a:gd name="connsiteY6381" fmla="*/ 290036 h 514350"/>
                <a:gd name="connsiteX6382" fmla="*/ 1413986 w 6400800"/>
                <a:gd name="connsiteY6382" fmla="*/ 292894 h 514350"/>
                <a:gd name="connsiteX6383" fmla="*/ 1415891 w 6400800"/>
                <a:gd name="connsiteY6383" fmla="*/ 295751 h 514350"/>
                <a:gd name="connsiteX6384" fmla="*/ 1415891 w 6400800"/>
                <a:gd name="connsiteY6384" fmla="*/ 300514 h 514350"/>
                <a:gd name="connsiteX6385" fmla="*/ 1412081 w 6400800"/>
                <a:gd name="connsiteY6385" fmla="*/ 290036 h 514350"/>
                <a:gd name="connsiteX6386" fmla="*/ 1412081 w 6400800"/>
                <a:gd name="connsiteY6386" fmla="*/ 290036 h 514350"/>
                <a:gd name="connsiteX6387" fmla="*/ 1383506 w 6400800"/>
                <a:gd name="connsiteY6387" fmla="*/ 364331 h 514350"/>
                <a:gd name="connsiteX6388" fmla="*/ 1382554 w 6400800"/>
                <a:gd name="connsiteY6388" fmla="*/ 358616 h 514350"/>
                <a:gd name="connsiteX6389" fmla="*/ 1382554 w 6400800"/>
                <a:gd name="connsiteY6389" fmla="*/ 357664 h 514350"/>
                <a:gd name="connsiteX6390" fmla="*/ 1383506 w 6400800"/>
                <a:gd name="connsiteY6390" fmla="*/ 362426 h 514350"/>
                <a:gd name="connsiteX6391" fmla="*/ 1383506 w 6400800"/>
                <a:gd name="connsiteY6391" fmla="*/ 364331 h 514350"/>
                <a:gd name="connsiteX6392" fmla="*/ 1386364 w 6400800"/>
                <a:gd name="connsiteY6392" fmla="*/ 298609 h 514350"/>
                <a:gd name="connsiteX6393" fmla="*/ 1386364 w 6400800"/>
                <a:gd name="connsiteY6393" fmla="*/ 298609 h 514350"/>
                <a:gd name="connsiteX6394" fmla="*/ 1384459 w 6400800"/>
                <a:gd name="connsiteY6394" fmla="*/ 293846 h 514350"/>
                <a:gd name="connsiteX6395" fmla="*/ 1386364 w 6400800"/>
                <a:gd name="connsiteY6395" fmla="*/ 290989 h 514350"/>
                <a:gd name="connsiteX6396" fmla="*/ 1391126 w 6400800"/>
                <a:gd name="connsiteY6396" fmla="*/ 286226 h 514350"/>
                <a:gd name="connsiteX6397" fmla="*/ 1386364 w 6400800"/>
                <a:gd name="connsiteY6397" fmla="*/ 298609 h 514350"/>
                <a:gd name="connsiteX6398" fmla="*/ 1383506 w 6400800"/>
                <a:gd name="connsiteY6398" fmla="*/ 287179 h 514350"/>
                <a:gd name="connsiteX6399" fmla="*/ 1382554 w 6400800"/>
                <a:gd name="connsiteY6399" fmla="*/ 288131 h 514350"/>
                <a:gd name="connsiteX6400" fmla="*/ 1376839 w 6400800"/>
                <a:gd name="connsiteY6400" fmla="*/ 274796 h 514350"/>
                <a:gd name="connsiteX6401" fmla="*/ 1384459 w 6400800"/>
                <a:gd name="connsiteY6401" fmla="*/ 242411 h 514350"/>
                <a:gd name="connsiteX6402" fmla="*/ 1390174 w 6400800"/>
                <a:gd name="connsiteY6402" fmla="*/ 281464 h 514350"/>
                <a:gd name="connsiteX6403" fmla="*/ 1383506 w 6400800"/>
                <a:gd name="connsiteY6403" fmla="*/ 287179 h 514350"/>
                <a:gd name="connsiteX6404" fmla="*/ 1391126 w 6400800"/>
                <a:gd name="connsiteY6404" fmla="*/ 310991 h 514350"/>
                <a:gd name="connsiteX6405" fmla="*/ 1393031 w 6400800"/>
                <a:gd name="connsiteY6405" fmla="*/ 299561 h 514350"/>
                <a:gd name="connsiteX6406" fmla="*/ 1393031 w 6400800"/>
                <a:gd name="connsiteY6406" fmla="*/ 298609 h 514350"/>
                <a:gd name="connsiteX6407" fmla="*/ 1393984 w 6400800"/>
                <a:gd name="connsiteY6407" fmla="*/ 305276 h 514350"/>
                <a:gd name="connsiteX6408" fmla="*/ 1391126 w 6400800"/>
                <a:gd name="connsiteY6408" fmla="*/ 310991 h 514350"/>
                <a:gd name="connsiteX6409" fmla="*/ 1397794 w 6400800"/>
                <a:gd name="connsiteY6409" fmla="*/ 278606 h 514350"/>
                <a:gd name="connsiteX6410" fmla="*/ 1397794 w 6400800"/>
                <a:gd name="connsiteY6410" fmla="*/ 278606 h 514350"/>
                <a:gd name="connsiteX6411" fmla="*/ 1397794 w 6400800"/>
                <a:gd name="connsiteY6411" fmla="*/ 279559 h 514350"/>
                <a:gd name="connsiteX6412" fmla="*/ 1397794 w 6400800"/>
                <a:gd name="connsiteY6412" fmla="*/ 278606 h 514350"/>
                <a:gd name="connsiteX6413" fmla="*/ 1397794 w 6400800"/>
                <a:gd name="connsiteY6413" fmla="*/ 278606 h 514350"/>
                <a:gd name="connsiteX6414" fmla="*/ 1397794 w 6400800"/>
                <a:gd name="connsiteY6414" fmla="*/ 322421 h 514350"/>
                <a:gd name="connsiteX6415" fmla="*/ 1399699 w 6400800"/>
                <a:gd name="connsiteY6415" fmla="*/ 331946 h 514350"/>
                <a:gd name="connsiteX6416" fmla="*/ 1399699 w 6400800"/>
                <a:gd name="connsiteY6416" fmla="*/ 333851 h 514350"/>
                <a:gd name="connsiteX6417" fmla="*/ 1396841 w 6400800"/>
                <a:gd name="connsiteY6417" fmla="*/ 326231 h 514350"/>
                <a:gd name="connsiteX6418" fmla="*/ 1397794 w 6400800"/>
                <a:gd name="connsiteY6418" fmla="*/ 322421 h 514350"/>
                <a:gd name="connsiteX6419" fmla="*/ 1387316 w 6400800"/>
                <a:gd name="connsiteY6419" fmla="*/ 231934 h 514350"/>
                <a:gd name="connsiteX6420" fmla="*/ 1395889 w 6400800"/>
                <a:gd name="connsiteY6420" fmla="*/ 270986 h 514350"/>
                <a:gd name="connsiteX6421" fmla="*/ 1394936 w 6400800"/>
                <a:gd name="connsiteY6421" fmla="*/ 272891 h 514350"/>
                <a:gd name="connsiteX6422" fmla="*/ 1384459 w 6400800"/>
                <a:gd name="connsiteY6422" fmla="*/ 240506 h 514350"/>
                <a:gd name="connsiteX6423" fmla="*/ 1387316 w 6400800"/>
                <a:gd name="connsiteY6423" fmla="*/ 231934 h 514350"/>
                <a:gd name="connsiteX6424" fmla="*/ 1380649 w 6400800"/>
                <a:gd name="connsiteY6424" fmla="*/ 232886 h 514350"/>
                <a:gd name="connsiteX6425" fmla="*/ 1386364 w 6400800"/>
                <a:gd name="connsiteY6425" fmla="*/ 225266 h 514350"/>
                <a:gd name="connsiteX6426" fmla="*/ 1386364 w 6400800"/>
                <a:gd name="connsiteY6426" fmla="*/ 225266 h 514350"/>
                <a:gd name="connsiteX6427" fmla="*/ 1372076 w 6400800"/>
                <a:gd name="connsiteY6427" fmla="*/ 262414 h 514350"/>
                <a:gd name="connsiteX6428" fmla="*/ 1370171 w 6400800"/>
                <a:gd name="connsiteY6428" fmla="*/ 257651 h 514350"/>
                <a:gd name="connsiteX6429" fmla="*/ 1369219 w 6400800"/>
                <a:gd name="connsiteY6429" fmla="*/ 253841 h 514350"/>
                <a:gd name="connsiteX6430" fmla="*/ 1380649 w 6400800"/>
                <a:gd name="connsiteY6430" fmla="*/ 232886 h 514350"/>
                <a:gd name="connsiteX6431" fmla="*/ 1356836 w 6400800"/>
                <a:gd name="connsiteY6431" fmla="*/ 300514 h 514350"/>
                <a:gd name="connsiteX6432" fmla="*/ 1356836 w 6400800"/>
                <a:gd name="connsiteY6432" fmla="*/ 302419 h 514350"/>
                <a:gd name="connsiteX6433" fmla="*/ 1355884 w 6400800"/>
                <a:gd name="connsiteY6433" fmla="*/ 304324 h 514350"/>
                <a:gd name="connsiteX6434" fmla="*/ 1355884 w 6400800"/>
                <a:gd name="connsiteY6434" fmla="*/ 299561 h 514350"/>
                <a:gd name="connsiteX6435" fmla="*/ 1356836 w 6400800"/>
                <a:gd name="connsiteY6435" fmla="*/ 300514 h 514350"/>
                <a:gd name="connsiteX6436" fmla="*/ 1339691 w 6400800"/>
                <a:gd name="connsiteY6436" fmla="*/ 325279 h 514350"/>
                <a:gd name="connsiteX6437" fmla="*/ 1339691 w 6400800"/>
                <a:gd name="connsiteY6437" fmla="*/ 324326 h 514350"/>
                <a:gd name="connsiteX6438" fmla="*/ 1341596 w 6400800"/>
                <a:gd name="connsiteY6438" fmla="*/ 317659 h 514350"/>
                <a:gd name="connsiteX6439" fmla="*/ 1341596 w 6400800"/>
                <a:gd name="connsiteY6439" fmla="*/ 317659 h 514350"/>
                <a:gd name="connsiteX6440" fmla="*/ 1341596 w 6400800"/>
                <a:gd name="connsiteY6440" fmla="*/ 330994 h 514350"/>
                <a:gd name="connsiteX6441" fmla="*/ 1339691 w 6400800"/>
                <a:gd name="connsiteY6441" fmla="*/ 325279 h 514350"/>
                <a:gd name="connsiteX6442" fmla="*/ 1340644 w 6400800"/>
                <a:gd name="connsiteY6442" fmla="*/ 226219 h 514350"/>
                <a:gd name="connsiteX6443" fmla="*/ 1340644 w 6400800"/>
                <a:gd name="connsiteY6443" fmla="*/ 226219 h 514350"/>
                <a:gd name="connsiteX6444" fmla="*/ 1344454 w 6400800"/>
                <a:gd name="connsiteY6444" fmla="*/ 237649 h 514350"/>
                <a:gd name="connsiteX6445" fmla="*/ 1344454 w 6400800"/>
                <a:gd name="connsiteY6445" fmla="*/ 242411 h 514350"/>
                <a:gd name="connsiteX6446" fmla="*/ 1343501 w 6400800"/>
                <a:gd name="connsiteY6446" fmla="*/ 264319 h 514350"/>
                <a:gd name="connsiteX6447" fmla="*/ 1343501 w 6400800"/>
                <a:gd name="connsiteY6447" fmla="*/ 272891 h 514350"/>
                <a:gd name="connsiteX6448" fmla="*/ 1339691 w 6400800"/>
                <a:gd name="connsiteY6448" fmla="*/ 269081 h 514350"/>
                <a:gd name="connsiteX6449" fmla="*/ 1340644 w 6400800"/>
                <a:gd name="connsiteY6449" fmla="*/ 226219 h 514350"/>
                <a:gd name="connsiteX6450" fmla="*/ 1337786 w 6400800"/>
                <a:gd name="connsiteY6450" fmla="*/ 295751 h 514350"/>
                <a:gd name="connsiteX6451" fmla="*/ 1338739 w 6400800"/>
                <a:gd name="connsiteY6451" fmla="*/ 271939 h 514350"/>
                <a:gd name="connsiteX6452" fmla="*/ 1342549 w 6400800"/>
                <a:gd name="connsiteY6452" fmla="*/ 276701 h 514350"/>
                <a:gd name="connsiteX6453" fmla="*/ 1342549 w 6400800"/>
                <a:gd name="connsiteY6453" fmla="*/ 276701 h 514350"/>
                <a:gd name="connsiteX6454" fmla="*/ 1342549 w 6400800"/>
                <a:gd name="connsiteY6454" fmla="*/ 286226 h 514350"/>
                <a:gd name="connsiteX6455" fmla="*/ 1337786 w 6400800"/>
                <a:gd name="connsiteY6455" fmla="*/ 295751 h 514350"/>
                <a:gd name="connsiteX6456" fmla="*/ 1337786 w 6400800"/>
                <a:gd name="connsiteY6456" fmla="*/ 296704 h 514350"/>
                <a:gd name="connsiteX6457" fmla="*/ 1337786 w 6400800"/>
                <a:gd name="connsiteY6457" fmla="*/ 295751 h 514350"/>
                <a:gd name="connsiteX6458" fmla="*/ 1314926 w 6400800"/>
                <a:gd name="connsiteY6458" fmla="*/ 320516 h 514350"/>
                <a:gd name="connsiteX6459" fmla="*/ 1314926 w 6400800"/>
                <a:gd name="connsiteY6459" fmla="*/ 320516 h 514350"/>
                <a:gd name="connsiteX6460" fmla="*/ 1314926 w 6400800"/>
                <a:gd name="connsiteY6460" fmla="*/ 320516 h 514350"/>
                <a:gd name="connsiteX6461" fmla="*/ 1314926 w 6400800"/>
                <a:gd name="connsiteY6461" fmla="*/ 320516 h 514350"/>
                <a:gd name="connsiteX6462" fmla="*/ 1311116 w 6400800"/>
                <a:gd name="connsiteY6462" fmla="*/ 312896 h 514350"/>
                <a:gd name="connsiteX6463" fmla="*/ 1311116 w 6400800"/>
                <a:gd name="connsiteY6463" fmla="*/ 312896 h 514350"/>
                <a:gd name="connsiteX6464" fmla="*/ 1311116 w 6400800"/>
                <a:gd name="connsiteY6464" fmla="*/ 314801 h 514350"/>
                <a:gd name="connsiteX6465" fmla="*/ 1311116 w 6400800"/>
                <a:gd name="connsiteY6465" fmla="*/ 314801 h 514350"/>
                <a:gd name="connsiteX6466" fmla="*/ 1311116 w 6400800"/>
                <a:gd name="connsiteY6466" fmla="*/ 312896 h 514350"/>
                <a:gd name="connsiteX6467" fmla="*/ 1242536 w 6400800"/>
                <a:gd name="connsiteY6467" fmla="*/ 344329 h 514350"/>
                <a:gd name="connsiteX6468" fmla="*/ 1238726 w 6400800"/>
                <a:gd name="connsiteY6468" fmla="*/ 336709 h 514350"/>
                <a:gd name="connsiteX6469" fmla="*/ 1238726 w 6400800"/>
                <a:gd name="connsiteY6469" fmla="*/ 310991 h 514350"/>
                <a:gd name="connsiteX6470" fmla="*/ 1238726 w 6400800"/>
                <a:gd name="connsiteY6470" fmla="*/ 307181 h 514350"/>
                <a:gd name="connsiteX6471" fmla="*/ 1244441 w 6400800"/>
                <a:gd name="connsiteY6471" fmla="*/ 339566 h 514350"/>
                <a:gd name="connsiteX6472" fmla="*/ 1244441 w 6400800"/>
                <a:gd name="connsiteY6472" fmla="*/ 340519 h 514350"/>
                <a:gd name="connsiteX6473" fmla="*/ 1242536 w 6400800"/>
                <a:gd name="connsiteY6473" fmla="*/ 344329 h 514350"/>
                <a:gd name="connsiteX6474" fmla="*/ 1279684 w 6400800"/>
                <a:gd name="connsiteY6474" fmla="*/ 290989 h 514350"/>
                <a:gd name="connsiteX6475" fmla="*/ 1279684 w 6400800"/>
                <a:gd name="connsiteY6475" fmla="*/ 284321 h 514350"/>
                <a:gd name="connsiteX6476" fmla="*/ 1281589 w 6400800"/>
                <a:gd name="connsiteY6476" fmla="*/ 287179 h 514350"/>
                <a:gd name="connsiteX6477" fmla="*/ 1279684 w 6400800"/>
                <a:gd name="connsiteY6477" fmla="*/ 290989 h 514350"/>
                <a:gd name="connsiteX6478" fmla="*/ 1298734 w 6400800"/>
                <a:gd name="connsiteY6478" fmla="*/ 332899 h 514350"/>
                <a:gd name="connsiteX6479" fmla="*/ 1298734 w 6400800"/>
                <a:gd name="connsiteY6479" fmla="*/ 332899 h 514350"/>
                <a:gd name="connsiteX6480" fmla="*/ 1298734 w 6400800"/>
                <a:gd name="connsiteY6480" fmla="*/ 330994 h 514350"/>
                <a:gd name="connsiteX6481" fmla="*/ 1298734 w 6400800"/>
                <a:gd name="connsiteY6481" fmla="*/ 332899 h 514350"/>
                <a:gd name="connsiteX6482" fmla="*/ 1295876 w 6400800"/>
                <a:gd name="connsiteY6482" fmla="*/ 278606 h 514350"/>
                <a:gd name="connsiteX6483" fmla="*/ 1305401 w 6400800"/>
                <a:gd name="connsiteY6483" fmla="*/ 299561 h 514350"/>
                <a:gd name="connsiteX6484" fmla="*/ 1305401 w 6400800"/>
                <a:gd name="connsiteY6484" fmla="*/ 300514 h 514350"/>
                <a:gd name="connsiteX6485" fmla="*/ 1304449 w 6400800"/>
                <a:gd name="connsiteY6485" fmla="*/ 303371 h 514350"/>
                <a:gd name="connsiteX6486" fmla="*/ 1300639 w 6400800"/>
                <a:gd name="connsiteY6486" fmla="*/ 295751 h 514350"/>
                <a:gd name="connsiteX6487" fmla="*/ 1293971 w 6400800"/>
                <a:gd name="connsiteY6487" fmla="*/ 284321 h 514350"/>
                <a:gd name="connsiteX6488" fmla="*/ 1295876 w 6400800"/>
                <a:gd name="connsiteY6488" fmla="*/ 278606 h 514350"/>
                <a:gd name="connsiteX6489" fmla="*/ 1299686 w 6400800"/>
                <a:gd name="connsiteY6489" fmla="*/ 328136 h 514350"/>
                <a:gd name="connsiteX6490" fmla="*/ 1299686 w 6400800"/>
                <a:gd name="connsiteY6490" fmla="*/ 330041 h 514350"/>
                <a:gd name="connsiteX6491" fmla="*/ 1298734 w 6400800"/>
                <a:gd name="connsiteY6491" fmla="*/ 331946 h 514350"/>
                <a:gd name="connsiteX6492" fmla="*/ 1293019 w 6400800"/>
                <a:gd name="connsiteY6492" fmla="*/ 324326 h 514350"/>
                <a:gd name="connsiteX6493" fmla="*/ 1289209 w 6400800"/>
                <a:gd name="connsiteY6493" fmla="*/ 318611 h 514350"/>
                <a:gd name="connsiteX6494" fmla="*/ 1289209 w 6400800"/>
                <a:gd name="connsiteY6494" fmla="*/ 318611 h 514350"/>
                <a:gd name="connsiteX6495" fmla="*/ 1289209 w 6400800"/>
                <a:gd name="connsiteY6495" fmla="*/ 309086 h 514350"/>
                <a:gd name="connsiteX6496" fmla="*/ 1290161 w 6400800"/>
                <a:gd name="connsiteY6496" fmla="*/ 305276 h 514350"/>
                <a:gd name="connsiteX6497" fmla="*/ 1299686 w 6400800"/>
                <a:gd name="connsiteY6497" fmla="*/ 328136 h 514350"/>
                <a:gd name="connsiteX6498" fmla="*/ 1289209 w 6400800"/>
                <a:gd name="connsiteY6498" fmla="*/ 263366 h 514350"/>
                <a:gd name="connsiteX6499" fmla="*/ 1287304 w 6400800"/>
                <a:gd name="connsiteY6499" fmla="*/ 268129 h 514350"/>
                <a:gd name="connsiteX6500" fmla="*/ 1287304 w 6400800"/>
                <a:gd name="connsiteY6500" fmla="*/ 259556 h 514350"/>
                <a:gd name="connsiteX6501" fmla="*/ 1289209 w 6400800"/>
                <a:gd name="connsiteY6501" fmla="*/ 263366 h 514350"/>
                <a:gd name="connsiteX6502" fmla="*/ 1276826 w 6400800"/>
                <a:gd name="connsiteY6502" fmla="*/ 238601 h 514350"/>
                <a:gd name="connsiteX6503" fmla="*/ 1278731 w 6400800"/>
                <a:gd name="connsiteY6503" fmla="*/ 242411 h 514350"/>
                <a:gd name="connsiteX6504" fmla="*/ 1286351 w 6400800"/>
                <a:gd name="connsiteY6504" fmla="*/ 257651 h 514350"/>
                <a:gd name="connsiteX6505" fmla="*/ 1285399 w 6400800"/>
                <a:gd name="connsiteY6505" fmla="*/ 267176 h 514350"/>
                <a:gd name="connsiteX6506" fmla="*/ 1277779 w 6400800"/>
                <a:gd name="connsiteY6506" fmla="*/ 255746 h 514350"/>
                <a:gd name="connsiteX6507" fmla="*/ 1276826 w 6400800"/>
                <a:gd name="connsiteY6507" fmla="*/ 242411 h 514350"/>
                <a:gd name="connsiteX6508" fmla="*/ 1276826 w 6400800"/>
                <a:gd name="connsiteY6508" fmla="*/ 238601 h 514350"/>
                <a:gd name="connsiteX6509" fmla="*/ 1273016 w 6400800"/>
                <a:gd name="connsiteY6509" fmla="*/ 271939 h 514350"/>
                <a:gd name="connsiteX6510" fmla="*/ 1273969 w 6400800"/>
                <a:gd name="connsiteY6510" fmla="*/ 272891 h 514350"/>
                <a:gd name="connsiteX6511" fmla="*/ 1273016 w 6400800"/>
                <a:gd name="connsiteY6511" fmla="*/ 291941 h 514350"/>
                <a:gd name="connsiteX6512" fmla="*/ 1271111 w 6400800"/>
                <a:gd name="connsiteY6512" fmla="*/ 288131 h 514350"/>
                <a:gd name="connsiteX6513" fmla="*/ 1273016 w 6400800"/>
                <a:gd name="connsiteY6513" fmla="*/ 271939 h 514350"/>
                <a:gd name="connsiteX6514" fmla="*/ 1240631 w 6400800"/>
                <a:gd name="connsiteY6514" fmla="*/ 229076 h 514350"/>
                <a:gd name="connsiteX6515" fmla="*/ 1244441 w 6400800"/>
                <a:gd name="connsiteY6515" fmla="*/ 220504 h 514350"/>
                <a:gd name="connsiteX6516" fmla="*/ 1253966 w 6400800"/>
                <a:gd name="connsiteY6516" fmla="*/ 237649 h 514350"/>
                <a:gd name="connsiteX6517" fmla="*/ 1264444 w 6400800"/>
                <a:gd name="connsiteY6517" fmla="*/ 257651 h 514350"/>
                <a:gd name="connsiteX6518" fmla="*/ 1268254 w 6400800"/>
                <a:gd name="connsiteY6518" fmla="*/ 264319 h 514350"/>
                <a:gd name="connsiteX6519" fmla="*/ 1262539 w 6400800"/>
                <a:gd name="connsiteY6519" fmla="*/ 286226 h 514350"/>
                <a:gd name="connsiteX6520" fmla="*/ 1254919 w 6400800"/>
                <a:gd name="connsiteY6520" fmla="*/ 277654 h 514350"/>
                <a:gd name="connsiteX6521" fmla="*/ 1241584 w 6400800"/>
                <a:gd name="connsiteY6521" fmla="*/ 251936 h 514350"/>
                <a:gd name="connsiteX6522" fmla="*/ 1235869 w 6400800"/>
                <a:gd name="connsiteY6522" fmla="*/ 243364 h 514350"/>
                <a:gd name="connsiteX6523" fmla="*/ 1235869 w 6400800"/>
                <a:gd name="connsiteY6523" fmla="*/ 242411 h 514350"/>
                <a:gd name="connsiteX6524" fmla="*/ 1240631 w 6400800"/>
                <a:gd name="connsiteY6524" fmla="*/ 229076 h 514350"/>
                <a:gd name="connsiteX6525" fmla="*/ 1228249 w 6400800"/>
                <a:gd name="connsiteY6525" fmla="*/ 304324 h 514350"/>
                <a:gd name="connsiteX6526" fmla="*/ 1227296 w 6400800"/>
                <a:gd name="connsiteY6526" fmla="*/ 288131 h 514350"/>
                <a:gd name="connsiteX6527" fmla="*/ 1227296 w 6400800"/>
                <a:gd name="connsiteY6527" fmla="*/ 281464 h 514350"/>
                <a:gd name="connsiteX6528" fmla="*/ 1228249 w 6400800"/>
                <a:gd name="connsiteY6528" fmla="*/ 279559 h 514350"/>
                <a:gd name="connsiteX6529" fmla="*/ 1228249 w 6400800"/>
                <a:gd name="connsiteY6529" fmla="*/ 278606 h 514350"/>
                <a:gd name="connsiteX6530" fmla="*/ 1229201 w 6400800"/>
                <a:gd name="connsiteY6530" fmla="*/ 279559 h 514350"/>
                <a:gd name="connsiteX6531" fmla="*/ 1231106 w 6400800"/>
                <a:gd name="connsiteY6531" fmla="*/ 284321 h 514350"/>
                <a:gd name="connsiteX6532" fmla="*/ 1228249 w 6400800"/>
                <a:gd name="connsiteY6532" fmla="*/ 304324 h 514350"/>
                <a:gd name="connsiteX6533" fmla="*/ 1232059 w 6400800"/>
                <a:gd name="connsiteY6533" fmla="*/ 280511 h 514350"/>
                <a:gd name="connsiteX6534" fmla="*/ 1232059 w 6400800"/>
                <a:gd name="connsiteY6534" fmla="*/ 278606 h 514350"/>
                <a:gd name="connsiteX6535" fmla="*/ 1230154 w 6400800"/>
                <a:gd name="connsiteY6535" fmla="*/ 275749 h 514350"/>
                <a:gd name="connsiteX6536" fmla="*/ 1227296 w 6400800"/>
                <a:gd name="connsiteY6536" fmla="*/ 275749 h 514350"/>
                <a:gd name="connsiteX6537" fmla="*/ 1226344 w 6400800"/>
                <a:gd name="connsiteY6537" fmla="*/ 275749 h 514350"/>
                <a:gd name="connsiteX6538" fmla="*/ 1226344 w 6400800"/>
                <a:gd name="connsiteY6538" fmla="*/ 269081 h 514350"/>
                <a:gd name="connsiteX6539" fmla="*/ 1230154 w 6400800"/>
                <a:gd name="connsiteY6539" fmla="*/ 272891 h 514350"/>
                <a:gd name="connsiteX6540" fmla="*/ 1233011 w 6400800"/>
                <a:gd name="connsiteY6540" fmla="*/ 276701 h 514350"/>
                <a:gd name="connsiteX6541" fmla="*/ 1232059 w 6400800"/>
                <a:gd name="connsiteY6541" fmla="*/ 280511 h 514350"/>
                <a:gd name="connsiteX6542" fmla="*/ 1230154 w 6400800"/>
                <a:gd name="connsiteY6542" fmla="*/ 221456 h 514350"/>
                <a:gd name="connsiteX6543" fmla="*/ 1233964 w 6400800"/>
                <a:gd name="connsiteY6543" fmla="*/ 233839 h 514350"/>
                <a:gd name="connsiteX6544" fmla="*/ 1233964 w 6400800"/>
                <a:gd name="connsiteY6544" fmla="*/ 233839 h 514350"/>
                <a:gd name="connsiteX6545" fmla="*/ 1233011 w 6400800"/>
                <a:gd name="connsiteY6545" fmla="*/ 230029 h 514350"/>
                <a:gd name="connsiteX6546" fmla="*/ 1230154 w 6400800"/>
                <a:gd name="connsiteY6546" fmla="*/ 221456 h 514350"/>
                <a:gd name="connsiteX6547" fmla="*/ 1230154 w 6400800"/>
                <a:gd name="connsiteY6547" fmla="*/ 221456 h 514350"/>
                <a:gd name="connsiteX6548" fmla="*/ 1229201 w 6400800"/>
                <a:gd name="connsiteY6548" fmla="*/ 257651 h 514350"/>
                <a:gd name="connsiteX6549" fmla="*/ 1229201 w 6400800"/>
                <a:gd name="connsiteY6549" fmla="*/ 257651 h 514350"/>
                <a:gd name="connsiteX6550" fmla="*/ 1230154 w 6400800"/>
                <a:gd name="connsiteY6550" fmla="*/ 259556 h 514350"/>
                <a:gd name="connsiteX6551" fmla="*/ 1230154 w 6400800"/>
                <a:gd name="connsiteY6551" fmla="*/ 262414 h 514350"/>
                <a:gd name="connsiteX6552" fmla="*/ 1232059 w 6400800"/>
                <a:gd name="connsiteY6552" fmla="*/ 274796 h 514350"/>
                <a:gd name="connsiteX6553" fmla="*/ 1232059 w 6400800"/>
                <a:gd name="connsiteY6553" fmla="*/ 274796 h 514350"/>
                <a:gd name="connsiteX6554" fmla="*/ 1229201 w 6400800"/>
                <a:gd name="connsiteY6554" fmla="*/ 272891 h 514350"/>
                <a:gd name="connsiteX6555" fmla="*/ 1225391 w 6400800"/>
                <a:gd name="connsiteY6555" fmla="*/ 269081 h 514350"/>
                <a:gd name="connsiteX6556" fmla="*/ 1225391 w 6400800"/>
                <a:gd name="connsiteY6556" fmla="*/ 265271 h 514350"/>
                <a:gd name="connsiteX6557" fmla="*/ 1229201 w 6400800"/>
                <a:gd name="connsiteY6557" fmla="*/ 257651 h 514350"/>
                <a:gd name="connsiteX6558" fmla="*/ 1226344 w 6400800"/>
                <a:gd name="connsiteY6558" fmla="*/ 235744 h 514350"/>
                <a:gd name="connsiteX6559" fmla="*/ 1228249 w 6400800"/>
                <a:gd name="connsiteY6559" fmla="*/ 244316 h 514350"/>
                <a:gd name="connsiteX6560" fmla="*/ 1227296 w 6400800"/>
                <a:gd name="connsiteY6560" fmla="*/ 246221 h 514350"/>
                <a:gd name="connsiteX6561" fmla="*/ 1225391 w 6400800"/>
                <a:gd name="connsiteY6561" fmla="*/ 244316 h 514350"/>
                <a:gd name="connsiteX6562" fmla="*/ 1225391 w 6400800"/>
                <a:gd name="connsiteY6562" fmla="*/ 231934 h 514350"/>
                <a:gd name="connsiteX6563" fmla="*/ 1226344 w 6400800"/>
                <a:gd name="connsiteY6563" fmla="*/ 235744 h 514350"/>
                <a:gd name="connsiteX6564" fmla="*/ 1197769 w 6400800"/>
                <a:gd name="connsiteY6564" fmla="*/ 293846 h 514350"/>
                <a:gd name="connsiteX6565" fmla="*/ 1198721 w 6400800"/>
                <a:gd name="connsiteY6565" fmla="*/ 290036 h 514350"/>
                <a:gd name="connsiteX6566" fmla="*/ 1198721 w 6400800"/>
                <a:gd name="connsiteY6566" fmla="*/ 291941 h 514350"/>
                <a:gd name="connsiteX6567" fmla="*/ 1199674 w 6400800"/>
                <a:gd name="connsiteY6567" fmla="*/ 299561 h 514350"/>
                <a:gd name="connsiteX6568" fmla="*/ 1196816 w 6400800"/>
                <a:gd name="connsiteY6568" fmla="*/ 307181 h 514350"/>
                <a:gd name="connsiteX6569" fmla="*/ 1194911 w 6400800"/>
                <a:gd name="connsiteY6569" fmla="*/ 299561 h 514350"/>
                <a:gd name="connsiteX6570" fmla="*/ 1197769 w 6400800"/>
                <a:gd name="connsiteY6570" fmla="*/ 293846 h 514350"/>
                <a:gd name="connsiteX6571" fmla="*/ 1196816 w 6400800"/>
                <a:gd name="connsiteY6571" fmla="*/ 459581 h 514350"/>
                <a:gd name="connsiteX6572" fmla="*/ 1196816 w 6400800"/>
                <a:gd name="connsiteY6572" fmla="*/ 459581 h 514350"/>
                <a:gd name="connsiteX6573" fmla="*/ 1195864 w 6400800"/>
                <a:gd name="connsiteY6573" fmla="*/ 455771 h 514350"/>
                <a:gd name="connsiteX6574" fmla="*/ 1196816 w 6400800"/>
                <a:gd name="connsiteY6574" fmla="*/ 459581 h 514350"/>
                <a:gd name="connsiteX6575" fmla="*/ 1190149 w 6400800"/>
                <a:gd name="connsiteY6575" fmla="*/ 324326 h 514350"/>
                <a:gd name="connsiteX6576" fmla="*/ 1190149 w 6400800"/>
                <a:gd name="connsiteY6576" fmla="*/ 324326 h 514350"/>
                <a:gd name="connsiteX6577" fmla="*/ 1189196 w 6400800"/>
                <a:gd name="connsiteY6577" fmla="*/ 320516 h 514350"/>
                <a:gd name="connsiteX6578" fmla="*/ 1190149 w 6400800"/>
                <a:gd name="connsiteY6578" fmla="*/ 324326 h 514350"/>
                <a:gd name="connsiteX6579" fmla="*/ 1170146 w 6400800"/>
                <a:gd name="connsiteY6579" fmla="*/ 270986 h 514350"/>
                <a:gd name="connsiteX6580" fmla="*/ 1170146 w 6400800"/>
                <a:gd name="connsiteY6580" fmla="*/ 268129 h 514350"/>
                <a:gd name="connsiteX6581" fmla="*/ 1170146 w 6400800"/>
                <a:gd name="connsiteY6581" fmla="*/ 264319 h 514350"/>
                <a:gd name="connsiteX6582" fmla="*/ 1172051 w 6400800"/>
                <a:gd name="connsiteY6582" fmla="*/ 235744 h 514350"/>
                <a:gd name="connsiteX6583" fmla="*/ 1174909 w 6400800"/>
                <a:gd name="connsiteY6583" fmla="*/ 245269 h 514350"/>
                <a:gd name="connsiteX6584" fmla="*/ 1176814 w 6400800"/>
                <a:gd name="connsiteY6584" fmla="*/ 260509 h 514350"/>
                <a:gd name="connsiteX6585" fmla="*/ 1177766 w 6400800"/>
                <a:gd name="connsiteY6585" fmla="*/ 285274 h 514350"/>
                <a:gd name="connsiteX6586" fmla="*/ 1177766 w 6400800"/>
                <a:gd name="connsiteY6586" fmla="*/ 308134 h 514350"/>
                <a:gd name="connsiteX6587" fmla="*/ 1176814 w 6400800"/>
                <a:gd name="connsiteY6587" fmla="*/ 305276 h 514350"/>
                <a:gd name="connsiteX6588" fmla="*/ 1168241 w 6400800"/>
                <a:gd name="connsiteY6588" fmla="*/ 287179 h 514350"/>
                <a:gd name="connsiteX6589" fmla="*/ 1170146 w 6400800"/>
                <a:gd name="connsiteY6589" fmla="*/ 270986 h 514350"/>
                <a:gd name="connsiteX6590" fmla="*/ 1170146 w 6400800"/>
                <a:gd name="connsiteY6590" fmla="*/ 309086 h 514350"/>
                <a:gd name="connsiteX6591" fmla="*/ 1173956 w 6400800"/>
                <a:gd name="connsiteY6591" fmla="*/ 321469 h 514350"/>
                <a:gd name="connsiteX6592" fmla="*/ 1172051 w 6400800"/>
                <a:gd name="connsiteY6592" fmla="*/ 327184 h 514350"/>
                <a:gd name="connsiteX6593" fmla="*/ 1170146 w 6400800"/>
                <a:gd name="connsiteY6593" fmla="*/ 322421 h 514350"/>
                <a:gd name="connsiteX6594" fmla="*/ 1170146 w 6400800"/>
                <a:gd name="connsiteY6594" fmla="*/ 318611 h 514350"/>
                <a:gd name="connsiteX6595" fmla="*/ 1168241 w 6400800"/>
                <a:gd name="connsiteY6595" fmla="*/ 303371 h 514350"/>
                <a:gd name="connsiteX6596" fmla="*/ 1170146 w 6400800"/>
                <a:gd name="connsiteY6596" fmla="*/ 309086 h 514350"/>
                <a:gd name="connsiteX6597" fmla="*/ 1164431 w 6400800"/>
                <a:gd name="connsiteY6597" fmla="*/ 236696 h 514350"/>
                <a:gd name="connsiteX6598" fmla="*/ 1161574 w 6400800"/>
                <a:gd name="connsiteY6598" fmla="*/ 253841 h 514350"/>
                <a:gd name="connsiteX6599" fmla="*/ 1161574 w 6400800"/>
                <a:gd name="connsiteY6599" fmla="*/ 251936 h 514350"/>
                <a:gd name="connsiteX6600" fmla="*/ 1161574 w 6400800"/>
                <a:gd name="connsiteY6600" fmla="*/ 250984 h 514350"/>
                <a:gd name="connsiteX6601" fmla="*/ 1164431 w 6400800"/>
                <a:gd name="connsiteY6601" fmla="*/ 236696 h 514350"/>
                <a:gd name="connsiteX6602" fmla="*/ 1140619 w 6400800"/>
                <a:gd name="connsiteY6602" fmla="*/ 290036 h 514350"/>
                <a:gd name="connsiteX6603" fmla="*/ 1139666 w 6400800"/>
                <a:gd name="connsiteY6603" fmla="*/ 291941 h 514350"/>
                <a:gd name="connsiteX6604" fmla="*/ 1137761 w 6400800"/>
                <a:gd name="connsiteY6604" fmla="*/ 283369 h 514350"/>
                <a:gd name="connsiteX6605" fmla="*/ 1140619 w 6400800"/>
                <a:gd name="connsiteY6605" fmla="*/ 290036 h 514350"/>
                <a:gd name="connsiteX6606" fmla="*/ 1114901 w 6400800"/>
                <a:gd name="connsiteY6606" fmla="*/ 339566 h 514350"/>
                <a:gd name="connsiteX6607" fmla="*/ 1117759 w 6400800"/>
                <a:gd name="connsiteY6607" fmla="*/ 315754 h 514350"/>
                <a:gd name="connsiteX6608" fmla="*/ 1119664 w 6400800"/>
                <a:gd name="connsiteY6608" fmla="*/ 325279 h 514350"/>
                <a:gd name="connsiteX6609" fmla="*/ 1121569 w 6400800"/>
                <a:gd name="connsiteY6609" fmla="*/ 334804 h 514350"/>
                <a:gd name="connsiteX6610" fmla="*/ 1120616 w 6400800"/>
                <a:gd name="connsiteY6610" fmla="*/ 341471 h 514350"/>
                <a:gd name="connsiteX6611" fmla="*/ 1120616 w 6400800"/>
                <a:gd name="connsiteY6611" fmla="*/ 342424 h 514350"/>
                <a:gd name="connsiteX6612" fmla="*/ 1118711 w 6400800"/>
                <a:gd name="connsiteY6612" fmla="*/ 348139 h 514350"/>
                <a:gd name="connsiteX6613" fmla="*/ 1114901 w 6400800"/>
                <a:gd name="connsiteY6613" fmla="*/ 341471 h 514350"/>
                <a:gd name="connsiteX6614" fmla="*/ 1114901 w 6400800"/>
                <a:gd name="connsiteY6614" fmla="*/ 339566 h 514350"/>
                <a:gd name="connsiteX6615" fmla="*/ 1111091 w 6400800"/>
                <a:gd name="connsiteY6615" fmla="*/ 219551 h 514350"/>
                <a:gd name="connsiteX6616" fmla="*/ 1112044 w 6400800"/>
                <a:gd name="connsiteY6616" fmla="*/ 222409 h 514350"/>
                <a:gd name="connsiteX6617" fmla="*/ 1112996 w 6400800"/>
                <a:gd name="connsiteY6617" fmla="*/ 230029 h 514350"/>
                <a:gd name="connsiteX6618" fmla="*/ 1112996 w 6400800"/>
                <a:gd name="connsiteY6618" fmla="*/ 230029 h 514350"/>
                <a:gd name="connsiteX6619" fmla="*/ 1111091 w 6400800"/>
                <a:gd name="connsiteY6619" fmla="*/ 219551 h 514350"/>
                <a:gd name="connsiteX6620" fmla="*/ 1111091 w 6400800"/>
                <a:gd name="connsiteY6620" fmla="*/ 219551 h 514350"/>
                <a:gd name="connsiteX6621" fmla="*/ 1110139 w 6400800"/>
                <a:gd name="connsiteY6621" fmla="*/ 217646 h 514350"/>
                <a:gd name="connsiteX6622" fmla="*/ 1110139 w 6400800"/>
                <a:gd name="connsiteY6622" fmla="*/ 217646 h 514350"/>
                <a:gd name="connsiteX6623" fmla="*/ 1109186 w 6400800"/>
                <a:gd name="connsiteY6623" fmla="*/ 215741 h 514350"/>
                <a:gd name="connsiteX6624" fmla="*/ 1110139 w 6400800"/>
                <a:gd name="connsiteY6624" fmla="*/ 217646 h 514350"/>
                <a:gd name="connsiteX6625" fmla="*/ 1101566 w 6400800"/>
                <a:gd name="connsiteY6625" fmla="*/ 236696 h 514350"/>
                <a:gd name="connsiteX6626" fmla="*/ 1111091 w 6400800"/>
                <a:gd name="connsiteY6626" fmla="*/ 278606 h 514350"/>
                <a:gd name="connsiteX6627" fmla="*/ 1109186 w 6400800"/>
                <a:gd name="connsiteY6627" fmla="*/ 293846 h 514350"/>
                <a:gd name="connsiteX6628" fmla="*/ 1106329 w 6400800"/>
                <a:gd name="connsiteY6628" fmla="*/ 309086 h 514350"/>
                <a:gd name="connsiteX6629" fmla="*/ 1106329 w 6400800"/>
                <a:gd name="connsiteY6629" fmla="*/ 308134 h 514350"/>
                <a:gd name="connsiteX6630" fmla="*/ 1105376 w 6400800"/>
                <a:gd name="connsiteY6630" fmla="*/ 295751 h 514350"/>
                <a:gd name="connsiteX6631" fmla="*/ 1105376 w 6400800"/>
                <a:gd name="connsiteY6631" fmla="*/ 300514 h 514350"/>
                <a:gd name="connsiteX6632" fmla="*/ 1099661 w 6400800"/>
                <a:gd name="connsiteY6632" fmla="*/ 272891 h 514350"/>
                <a:gd name="connsiteX6633" fmla="*/ 1094899 w 6400800"/>
                <a:gd name="connsiteY6633" fmla="*/ 249079 h 514350"/>
                <a:gd name="connsiteX6634" fmla="*/ 1101566 w 6400800"/>
                <a:gd name="connsiteY6634" fmla="*/ 236696 h 514350"/>
                <a:gd name="connsiteX6635" fmla="*/ 1027271 w 6400800"/>
                <a:gd name="connsiteY6635" fmla="*/ 325279 h 514350"/>
                <a:gd name="connsiteX6636" fmla="*/ 1030129 w 6400800"/>
                <a:gd name="connsiteY6636" fmla="*/ 310991 h 514350"/>
                <a:gd name="connsiteX6637" fmla="*/ 1034891 w 6400800"/>
                <a:gd name="connsiteY6637" fmla="*/ 297656 h 514350"/>
                <a:gd name="connsiteX6638" fmla="*/ 1039654 w 6400800"/>
                <a:gd name="connsiteY6638" fmla="*/ 288131 h 514350"/>
                <a:gd name="connsiteX6639" fmla="*/ 1042511 w 6400800"/>
                <a:gd name="connsiteY6639" fmla="*/ 299561 h 514350"/>
                <a:gd name="connsiteX6640" fmla="*/ 1039654 w 6400800"/>
                <a:gd name="connsiteY6640" fmla="*/ 305276 h 514350"/>
                <a:gd name="connsiteX6641" fmla="*/ 1028224 w 6400800"/>
                <a:gd name="connsiteY6641" fmla="*/ 330994 h 514350"/>
                <a:gd name="connsiteX6642" fmla="*/ 1027271 w 6400800"/>
                <a:gd name="connsiteY6642" fmla="*/ 325279 h 514350"/>
                <a:gd name="connsiteX6643" fmla="*/ 1040606 w 6400800"/>
                <a:gd name="connsiteY6643" fmla="*/ 374809 h 514350"/>
                <a:gd name="connsiteX6644" fmla="*/ 1039654 w 6400800"/>
                <a:gd name="connsiteY6644" fmla="*/ 370999 h 514350"/>
                <a:gd name="connsiteX6645" fmla="*/ 1045369 w 6400800"/>
                <a:gd name="connsiteY6645" fmla="*/ 355759 h 514350"/>
                <a:gd name="connsiteX6646" fmla="*/ 1047274 w 6400800"/>
                <a:gd name="connsiteY6646" fmla="*/ 364331 h 514350"/>
                <a:gd name="connsiteX6647" fmla="*/ 1048226 w 6400800"/>
                <a:gd name="connsiteY6647" fmla="*/ 386239 h 514350"/>
                <a:gd name="connsiteX6648" fmla="*/ 1044416 w 6400800"/>
                <a:gd name="connsiteY6648" fmla="*/ 384334 h 514350"/>
                <a:gd name="connsiteX6649" fmla="*/ 1040606 w 6400800"/>
                <a:gd name="connsiteY6649" fmla="*/ 374809 h 514350"/>
                <a:gd name="connsiteX6650" fmla="*/ 1046321 w 6400800"/>
                <a:gd name="connsiteY6650" fmla="*/ 389096 h 514350"/>
                <a:gd name="connsiteX6651" fmla="*/ 1048226 w 6400800"/>
                <a:gd name="connsiteY6651" fmla="*/ 391001 h 514350"/>
                <a:gd name="connsiteX6652" fmla="*/ 1048226 w 6400800"/>
                <a:gd name="connsiteY6652" fmla="*/ 392906 h 514350"/>
                <a:gd name="connsiteX6653" fmla="*/ 1046321 w 6400800"/>
                <a:gd name="connsiteY6653" fmla="*/ 389096 h 514350"/>
                <a:gd name="connsiteX6654" fmla="*/ 1056799 w 6400800"/>
                <a:gd name="connsiteY6654" fmla="*/ 292894 h 514350"/>
                <a:gd name="connsiteX6655" fmla="*/ 1061561 w 6400800"/>
                <a:gd name="connsiteY6655" fmla="*/ 282416 h 514350"/>
                <a:gd name="connsiteX6656" fmla="*/ 1066324 w 6400800"/>
                <a:gd name="connsiteY6656" fmla="*/ 271939 h 514350"/>
                <a:gd name="connsiteX6657" fmla="*/ 1066324 w 6400800"/>
                <a:gd name="connsiteY6657" fmla="*/ 273844 h 514350"/>
                <a:gd name="connsiteX6658" fmla="*/ 1067276 w 6400800"/>
                <a:gd name="connsiteY6658" fmla="*/ 278606 h 514350"/>
                <a:gd name="connsiteX6659" fmla="*/ 1063466 w 6400800"/>
                <a:gd name="connsiteY6659" fmla="*/ 285274 h 514350"/>
                <a:gd name="connsiteX6660" fmla="*/ 1057751 w 6400800"/>
                <a:gd name="connsiteY6660" fmla="*/ 295751 h 514350"/>
                <a:gd name="connsiteX6661" fmla="*/ 1056799 w 6400800"/>
                <a:gd name="connsiteY6661" fmla="*/ 292894 h 514350"/>
                <a:gd name="connsiteX6662" fmla="*/ 1059656 w 6400800"/>
                <a:gd name="connsiteY6662" fmla="*/ 360521 h 514350"/>
                <a:gd name="connsiteX6663" fmla="*/ 1059656 w 6400800"/>
                <a:gd name="connsiteY6663" fmla="*/ 360521 h 514350"/>
                <a:gd name="connsiteX6664" fmla="*/ 1059656 w 6400800"/>
                <a:gd name="connsiteY6664" fmla="*/ 360521 h 514350"/>
                <a:gd name="connsiteX6665" fmla="*/ 1059656 w 6400800"/>
                <a:gd name="connsiteY6665" fmla="*/ 360521 h 514350"/>
                <a:gd name="connsiteX6666" fmla="*/ 1064419 w 6400800"/>
                <a:gd name="connsiteY6666" fmla="*/ 383381 h 514350"/>
                <a:gd name="connsiteX6667" fmla="*/ 1062514 w 6400800"/>
                <a:gd name="connsiteY6667" fmla="*/ 379571 h 514350"/>
                <a:gd name="connsiteX6668" fmla="*/ 1063466 w 6400800"/>
                <a:gd name="connsiteY6668" fmla="*/ 374809 h 514350"/>
                <a:gd name="connsiteX6669" fmla="*/ 1064419 w 6400800"/>
                <a:gd name="connsiteY6669" fmla="*/ 378619 h 514350"/>
                <a:gd name="connsiteX6670" fmla="*/ 1064419 w 6400800"/>
                <a:gd name="connsiteY6670" fmla="*/ 380524 h 514350"/>
                <a:gd name="connsiteX6671" fmla="*/ 1065371 w 6400800"/>
                <a:gd name="connsiteY6671" fmla="*/ 386239 h 514350"/>
                <a:gd name="connsiteX6672" fmla="*/ 1064419 w 6400800"/>
                <a:gd name="connsiteY6672" fmla="*/ 383381 h 514350"/>
                <a:gd name="connsiteX6673" fmla="*/ 1069181 w 6400800"/>
                <a:gd name="connsiteY6673" fmla="*/ 330994 h 514350"/>
                <a:gd name="connsiteX6674" fmla="*/ 1063466 w 6400800"/>
                <a:gd name="connsiteY6674" fmla="*/ 312896 h 514350"/>
                <a:gd name="connsiteX6675" fmla="*/ 1069181 w 6400800"/>
                <a:gd name="connsiteY6675" fmla="*/ 300514 h 514350"/>
                <a:gd name="connsiteX6676" fmla="*/ 1070134 w 6400800"/>
                <a:gd name="connsiteY6676" fmla="*/ 326231 h 514350"/>
                <a:gd name="connsiteX6677" fmla="*/ 1069181 w 6400800"/>
                <a:gd name="connsiteY6677" fmla="*/ 330994 h 514350"/>
                <a:gd name="connsiteX6678" fmla="*/ 1077754 w 6400800"/>
                <a:gd name="connsiteY6678" fmla="*/ 262414 h 514350"/>
                <a:gd name="connsiteX6679" fmla="*/ 1075849 w 6400800"/>
                <a:gd name="connsiteY6679" fmla="*/ 264319 h 514350"/>
                <a:gd name="connsiteX6680" fmla="*/ 1073944 w 6400800"/>
                <a:gd name="connsiteY6680" fmla="*/ 256699 h 514350"/>
                <a:gd name="connsiteX6681" fmla="*/ 1074896 w 6400800"/>
                <a:gd name="connsiteY6681" fmla="*/ 256699 h 514350"/>
                <a:gd name="connsiteX6682" fmla="*/ 1075849 w 6400800"/>
                <a:gd name="connsiteY6682" fmla="*/ 256699 h 514350"/>
                <a:gd name="connsiteX6683" fmla="*/ 1077754 w 6400800"/>
                <a:gd name="connsiteY6683" fmla="*/ 262414 h 514350"/>
                <a:gd name="connsiteX6684" fmla="*/ 1045369 w 6400800"/>
                <a:gd name="connsiteY6684" fmla="*/ 175736 h 514350"/>
                <a:gd name="connsiteX6685" fmla="*/ 1054894 w 6400800"/>
                <a:gd name="connsiteY6685" fmla="*/ 153829 h 514350"/>
                <a:gd name="connsiteX6686" fmla="*/ 1055846 w 6400800"/>
                <a:gd name="connsiteY6686" fmla="*/ 155734 h 514350"/>
                <a:gd name="connsiteX6687" fmla="*/ 1059656 w 6400800"/>
                <a:gd name="connsiteY6687" fmla="*/ 171926 h 514350"/>
                <a:gd name="connsiteX6688" fmla="*/ 1064419 w 6400800"/>
                <a:gd name="connsiteY6688" fmla="*/ 193834 h 514350"/>
                <a:gd name="connsiteX6689" fmla="*/ 1069181 w 6400800"/>
                <a:gd name="connsiteY6689" fmla="*/ 215741 h 514350"/>
                <a:gd name="connsiteX6690" fmla="*/ 1076801 w 6400800"/>
                <a:gd name="connsiteY6690" fmla="*/ 253841 h 514350"/>
                <a:gd name="connsiteX6691" fmla="*/ 1074896 w 6400800"/>
                <a:gd name="connsiteY6691" fmla="*/ 252889 h 514350"/>
                <a:gd name="connsiteX6692" fmla="*/ 1067276 w 6400800"/>
                <a:gd name="connsiteY6692" fmla="*/ 216694 h 514350"/>
                <a:gd name="connsiteX6693" fmla="*/ 1068229 w 6400800"/>
                <a:gd name="connsiteY6693" fmla="*/ 257651 h 514350"/>
                <a:gd name="connsiteX6694" fmla="*/ 1067276 w 6400800"/>
                <a:gd name="connsiteY6694" fmla="*/ 259556 h 514350"/>
                <a:gd name="connsiteX6695" fmla="*/ 1065371 w 6400800"/>
                <a:gd name="connsiteY6695" fmla="*/ 252889 h 514350"/>
                <a:gd name="connsiteX6696" fmla="*/ 1066324 w 6400800"/>
                <a:gd name="connsiteY6696" fmla="*/ 261461 h 514350"/>
                <a:gd name="connsiteX6697" fmla="*/ 1055846 w 6400800"/>
                <a:gd name="connsiteY6697" fmla="*/ 278606 h 514350"/>
                <a:gd name="connsiteX6698" fmla="*/ 1054894 w 6400800"/>
                <a:gd name="connsiteY6698" fmla="*/ 280511 h 514350"/>
                <a:gd name="connsiteX6699" fmla="*/ 1053941 w 6400800"/>
                <a:gd name="connsiteY6699" fmla="*/ 277654 h 514350"/>
                <a:gd name="connsiteX6700" fmla="*/ 1043464 w 6400800"/>
                <a:gd name="connsiteY6700" fmla="*/ 245269 h 514350"/>
                <a:gd name="connsiteX6701" fmla="*/ 1035844 w 6400800"/>
                <a:gd name="connsiteY6701" fmla="*/ 220504 h 514350"/>
                <a:gd name="connsiteX6702" fmla="*/ 1032034 w 6400800"/>
                <a:gd name="connsiteY6702" fmla="*/ 209074 h 514350"/>
                <a:gd name="connsiteX6703" fmla="*/ 1045369 w 6400800"/>
                <a:gd name="connsiteY6703" fmla="*/ 175736 h 514350"/>
                <a:gd name="connsiteX6704" fmla="*/ 1019651 w 6400800"/>
                <a:gd name="connsiteY6704" fmla="*/ 267176 h 514350"/>
                <a:gd name="connsiteX6705" fmla="*/ 1023461 w 6400800"/>
                <a:gd name="connsiteY6705" fmla="*/ 221456 h 514350"/>
                <a:gd name="connsiteX6706" fmla="*/ 1024414 w 6400800"/>
                <a:gd name="connsiteY6706" fmla="*/ 218599 h 514350"/>
                <a:gd name="connsiteX6707" fmla="*/ 1032034 w 6400800"/>
                <a:gd name="connsiteY6707" fmla="*/ 253841 h 514350"/>
                <a:gd name="connsiteX6708" fmla="*/ 1038701 w 6400800"/>
                <a:gd name="connsiteY6708" fmla="*/ 283369 h 514350"/>
                <a:gd name="connsiteX6709" fmla="*/ 1037749 w 6400800"/>
                <a:gd name="connsiteY6709" fmla="*/ 284321 h 514350"/>
                <a:gd name="connsiteX6710" fmla="*/ 1031081 w 6400800"/>
                <a:gd name="connsiteY6710" fmla="*/ 294799 h 514350"/>
                <a:gd name="connsiteX6711" fmla="*/ 1025366 w 6400800"/>
                <a:gd name="connsiteY6711" fmla="*/ 306229 h 514350"/>
                <a:gd name="connsiteX6712" fmla="*/ 1023461 w 6400800"/>
                <a:gd name="connsiteY6712" fmla="*/ 284321 h 514350"/>
                <a:gd name="connsiteX6713" fmla="*/ 1022509 w 6400800"/>
                <a:gd name="connsiteY6713" fmla="*/ 269081 h 514350"/>
                <a:gd name="connsiteX6714" fmla="*/ 1019651 w 6400800"/>
                <a:gd name="connsiteY6714" fmla="*/ 284321 h 514350"/>
                <a:gd name="connsiteX6715" fmla="*/ 1015841 w 6400800"/>
                <a:gd name="connsiteY6715" fmla="*/ 314801 h 514350"/>
                <a:gd name="connsiteX6716" fmla="*/ 1015841 w 6400800"/>
                <a:gd name="connsiteY6716" fmla="*/ 315754 h 514350"/>
                <a:gd name="connsiteX6717" fmla="*/ 1015841 w 6400800"/>
                <a:gd name="connsiteY6717" fmla="*/ 315754 h 514350"/>
                <a:gd name="connsiteX6718" fmla="*/ 1022509 w 6400800"/>
                <a:gd name="connsiteY6718" fmla="*/ 251936 h 514350"/>
                <a:gd name="connsiteX6719" fmla="*/ 1019651 w 6400800"/>
                <a:gd name="connsiteY6719" fmla="*/ 267176 h 514350"/>
                <a:gd name="connsiteX6720" fmla="*/ 1011079 w 6400800"/>
                <a:gd name="connsiteY6720" fmla="*/ 364331 h 514350"/>
                <a:gd name="connsiteX6721" fmla="*/ 1012031 w 6400800"/>
                <a:gd name="connsiteY6721" fmla="*/ 355759 h 514350"/>
                <a:gd name="connsiteX6722" fmla="*/ 1013936 w 6400800"/>
                <a:gd name="connsiteY6722" fmla="*/ 342424 h 514350"/>
                <a:gd name="connsiteX6723" fmla="*/ 1013936 w 6400800"/>
                <a:gd name="connsiteY6723" fmla="*/ 342424 h 514350"/>
                <a:gd name="connsiteX6724" fmla="*/ 1012031 w 6400800"/>
                <a:gd name="connsiteY6724" fmla="*/ 364331 h 514350"/>
                <a:gd name="connsiteX6725" fmla="*/ 1011079 w 6400800"/>
                <a:gd name="connsiteY6725" fmla="*/ 366236 h 514350"/>
                <a:gd name="connsiteX6726" fmla="*/ 1011079 w 6400800"/>
                <a:gd name="connsiteY6726" fmla="*/ 366236 h 514350"/>
                <a:gd name="connsiteX6727" fmla="*/ 1011079 w 6400800"/>
                <a:gd name="connsiteY6727" fmla="*/ 364331 h 514350"/>
                <a:gd name="connsiteX6728" fmla="*/ 1004411 w 6400800"/>
                <a:gd name="connsiteY6728" fmla="*/ 257651 h 514350"/>
                <a:gd name="connsiteX6729" fmla="*/ 1001554 w 6400800"/>
                <a:gd name="connsiteY6729" fmla="*/ 281464 h 514350"/>
                <a:gd name="connsiteX6730" fmla="*/ 996791 w 6400800"/>
                <a:gd name="connsiteY6730" fmla="*/ 271939 h 514350"/>
                <a:gd name="connsiteX6731" fmla="*/ 1004411 w 6400800"/>
                <a:gd name="connsiteY6731" fmla="*/ 257651 h 514350"/>
                <a:gd name="connsiteX6732" fmla="*/ 991076 w 6400800"/>
                <a:gd name="connsiteY6732" fmla="*/ 283369 h 514350"/>
                <a:gd name="connsiteX6733" fmla="*/ 995839 w 6400800"/>
                <a:gd name="connsiteY6733" fmla="*/ 273844 h 514350"/>
                <a:gd name="connsiteX6734" fmla="*/ 999649 w 6400800"/>
                <a:gd name="connsiteY6734" fmla="*/ 291941 h 514350"/>
                <a:gd name="connsiteX6735" fmla="*/ 995839 w 6400800"/>
                <a:gd name="connsiteY6735" fmla="*/ 326231 h 514350"/>
                <a:gd name="connsiteX6736" fmla="*/ 993934 w 6400800"/>
                <a:gd name="connsiteY6736" fmla="*/ 330994 h 514350"/>
                <a:gd name="connsiteX6737" fmla="*/ 992981 w 6400800"/>
                <a:gd name="connsiteY6737" fmla="*/ 320516 h 514350"/>
                <a:gd name="connsiteX6738" fmla="*/ 991076 w 6400800"/>
                <a:gd name="connsiteY6738" fmla="*/ 338614 h 514350"/>
                <a:gd name="connsiteX6739" fmla="*/ 990124 w 6400800"/>
                <a:gd name="connsiteY6739" fmla="*/ 341471 h 514350"/>
                <a:gd name="connsiteX6740" fmla="*/ 981551 w 6400800"/>
                <a:gd name="connsiteY6740" fmla="*/ 365284 h 514350"/>
                <a:gd name="connsiteX6741" fmla="*/ 980599 w 6400800"/>
                <a:gd name="connsiteY6741" fmla="*/ 363379 h 514350"/>
                <a:gd name="connsiteX6742" fmla="*/ 977741 w 6400800"/>
                <a:gd name="connsiteY6742" fmla="*/ 331946 h 514350"/>
                <a:gd name="connsiteX6743" fmla="*/ 975836 w 6400800"/>
                <a:gd name="connsiteY6743" fmla="*/ 311944 h 514350"/>
                <a:gd name="connsiteX6744" fmla="*/ 991076 w 6400800"/>
                <a:gd name="connsiteY6744" fmla="*/ 283369 h 514350"/>
                <a:gd name="connsiteX6745" fmla="*/ 960596 w 6400800"/>
                <a:gd name="connsiteY6745" fmla="*/ 298609 h 514350"/>
                <a:gd name="connsiteX6746" fmla="*/ 968216 w 6400800"/>
                <a:gd name="connsiteY6746" fmla="*/ 280511 h 514350"/>
                <a:gd name="connsiteX6747" fmla="*/ 967264 w 6400800"/>
                <a:gd name="connsiteY6747" fmla="*/ 294799 h 514350"/>
                <a:gd name="connsiteX6748" fmla="*/ 961549 w 6400800"/>
                <a:gd name="connsiteY6748" fmla="*/ 304324 h 514350"/>
                <a:gd name="connsiteX6749" fmla="*/ 961549 w 6400800"/>
                <a:gd name="connsiteY6749" fmla="*/ 303371 h 514350"/>
                <a:gd name="connsiteX6750" fmla="*/ 960596 w 6400800"/>
                <a:gd name="connsiteY6750" fmla="*/ 301466 h 514350"/>
                <a:gd name="connsiteX6751" fmla="*/ 960596 w 6400800"/>
                <a:gd name="connsiteY6751" fmla="*/ 298609 h 514350"/>
                <a:gd name="connsiteX6752" fmla="*/ 939641 w 6400800"/>
                <a:gd name="connsiteY6752" fmla="*/ 258604 h 514350"/>
                <a:gd name="connsiteX6753" fmla="*/ 939641 w 6400800"/>
                <a:gd name="connsiteY6753" fmla="*/ 258604 h 514350"/>
                <a:gd name="connsiteX6754" fmla="*/ 943451 w 6400800"/>
                <a:gd name="connsiteY6754" fmla="*/ 246221 h 514350"/>
                <a:gd name="connsiteX6755" fmla="*/ 943451 w 6400800"/>
                <a:gd name="connsiteY6755" fmla="*/ 251936 h 514350"/>
                <a:gd name="connsiteX6756" fmla="*/ 939641 w 6400800"/>
                <a:gd name="connsiteY6756" fmla="*/ 258604 h 514350"/>
                <a:gd name="connsiteX6757" fmla="*/ 939641 w 6400800"/>
                <a:gd name="connsiteY6757" fmla="*/ 258604 h 514350"/>
                <a:gd name="connsiteX6758" fmla="*/ 944404 w 6400800"/>
                <a:gd name="connsiteY6758" fmla="*/ 280511 h 514350"/>
                <a:gd name="connsiteX6759" fmla="*/ 943451 w 6400800"/>
                <a:gd name="connsiteY6759" fmla="*/ 273844 h 514350"/>
                <a:gd name="connsiteX6760" fmla="*/ 944404 w 6400800"/>
                <a:gd name="connsiteY6760" fmla="*/ 270986 h 514350"/>
                <a:gd name="connsiteX6761" fmla="*/ 944404 w 6400800"/>
                <a:gd name="connsiteY6761" fmla="*/ 271939 h 514350"/>
                <a:gd name="connsiteX6762" fmla="*/ 944404 w 6400800"/>
                <a:gd name="connsiteY6762" fmla="*/ 275749 h 514350"/>
                <a:gd name="connsiteX6763" fmla="*/ 944404 w 6400800"/>
                <a:gd name="connsiteY6763" fmla="*/ 280511 h 514350"/>
                <a:gd name="connsiteX6764" fmla="*/ 944404 w 6400800"/>
                <a:gd name="connsiteY6764" fmla="*/ 270986 h 514350"/>
                <a:gd name="connsiteX6765" fmla="*/ 944404 w 6400800"/>
                <a:gd name="connsiteY6765" fmla="*/ 270986 h 514350"/>
                <a:gd name="connsiteX6766" fmla="*/ 944404 w 6400800"/>
                <a:gd name="connsiteY6766" fmla="*/ 270986 h 514350"/>
                <a:gd name="connsiteX6767" fmla="*/ 944404 w 6400800"/>
                <a:gd name="connsiteY6767" fmla="*/ 270986 h 514350"/>
                <a:gd name="connsiteX6768" fmla="*/ 933926 w 6400800"/>
                <a:gd name="connsiteY6768" fmla="*/ 227171 h 514350"/>
                <a:gd name="connsiteX6769" fmla="*/ 958691 w 6400800"/>
                <a:gd name="connsiteY6769" fmla="*/ 138589 h 514350"/>
                <a:gd name="connsiteX6770" fmla="*/ 958691 w 6400800"/>
                <a:gd name="connsiteY6770" fmla="*/ 146209 h 514350"/>
                <a:gd name="connsiteX6771" fmla="*/ 953929 w 6400800"/>
                <a:gd name="connsiteY6771" fmla="*/ 203359 h 514350"/>
                <a:gd name="connsiteX6772" fmla="*/ 950119 w 6400800"/>
                <a:gd name="connsiteY6772" fmla="*/ 242411 h 514350"/>
                <a:gd name="connsiteX6773" fmla="*/ 948214 w 6400800"/>
                <a:gd name="connsiteY6773" fmla="*/ 246221 h 514350"/>
                <a:gd name="connsiteX6774" fmla="*/ 947261 w 6400800"/>
                <a:gd name="connsiteY6774" fmla="*/ 240506 h 514350"/>
                <a:gd name="connsiteX6775" fmla="*/ 949166 w 6400800"/>
                <a:gd name="connsiteY6775" fmla="*/ 233839 h 514350"/>
                <a:gd name="connsiteX6776" fmla="*/ 946309 w 6400800"/>
                <a:gd name="connsiteY6776" fmla="*/ 238601 h 514350"/>
                <a:gd name="connsiteX6777" fmla="*/ 944404 w 6400800"/>
                <a:gd name="connsiteY6777" fmla="*/ 230029 h 514350"/>
                <a:gd name="connsiteX6778" fmla="*/ 944404 w 6400800"/>
                <a:gd name="connsiteY6778" fmla="*/ 241459 h 514350"/>
                <a:gd name="connsiteX6779" fmla="*/ 939641 w 6400800"/>
                <a:gd name="connsiteY6779" fmla="*/ 251936 h 514350"/>
                <a:gd name="connsiteX6780" fmla="*/ 938689 w 6400800"/>
                <a:gd name="connsiteY6780" fmla="*/ 248126 h 514350"/>
                <a:gd name="connsiteX6781" fmla="*/ 936784 w 6400800"/>
                <a:gd name="connsiteY6781" fmla="*/ 241459 h 514350"/>
                <a:gd name="connsiteX6782" fmla="*/ 943451 w 6400800"/>
                <a:gd name="connsiteY6782" fmla="*/ 217646 h 514350"/>
                <a:gd name="connsiteX6783" fmla="*/ 934879 w 6400800"/>
                <a:gd name="connsiteY6783" fmla="*/ 235744 h 514350"/>
                <a:gd name="connsiteX6784" fmla="*/ 932974 w 6400800"/>
                <a:gd name="connsiteY6784" fmla="*/ 230029 h 514350"/>
                <a:gd name="connsiteX6785" fmla="*/ 933926 w 6400800"/>
                <a:gd name="connsiteY6785" fmla="*/ 227171 h 514350"/>
                <a:gd name="connsiteX6786" fmla="*/ 921544 w 6400800"/>
                <a:gd name="connsiteY6786" fmla="*/ 452914 h 514350"/>
                <a:gd name="connsiteX6787" fmla="*/ 920591 w 6400800"/>
                <a:gd name="connsiteY6787" fmla="*/ 451961 h 514350"/>
                <a:gd name="connsiteX6788" fmla="*/ 919639 w 6400800"/>
                <a:gd name="connsiteY6788" fmla="*/ 438626 h 514350"/>
                <a:gd name="connsiteX6789" fmla="*/ 921544 w 6400800"/>
                <a:gd name="connsiteY6789" fmla="*/ 452914 h 514350"/>
                <a:gd name="connsiteX6790" fmla="*/ 912019 w 6400800"/>
                <a:gd name="connsiteY6790" fmla="*/ 210979 h 514350"/>
                <a:gd name="connsiteX6791" fmla="*/ 915829 w 6400800"/>
                <a:gd name="connsiteY6791" fmla="*/ 227171 h 514350"/>
                <a:gd name="connsiteX6792" fmla="*/ 914876 w 6400800"/>
                <a:gd name="connsiteY6792" fmla="*/ 230029 h 514350"/>
                <a:gd name="connsiteX6793" fmla="*/ 912971 w 6400800"/>
                <a:gd name="connsiteY6793" fmla="*/ 236696 h 514350"/>
                <a:gd name="connsiteX6794" fmla="*/ 912019 w 6400800"/>
                <a:gd name="connsiteY6794" fmla="*/ 232886 h 514350"/>
                <a:gd name="connsiteX6795" fmla="*/ 912019 w 6400800"/>
                <a:gd name="connsiteY6795" fmla="*/ 228124 h 514350"/>
                <a:gd name="connsiteX6796" fmla="*/ 911066 w 6400800"/>
                <a:gd name="connsiteY6796" fmla="*/ 210979 h 514350"/>
                <a:gd name="connsiteX6797" fmla="*/ 911066 w 6400800"/>
                <a:gd name="connsiteY6797" fmla="*/ 204311 h 514350"/>
                <a:gd name="connsiteX6798" fmla="*/ 912019 w 6400800"/>
                <a:gd name="connsiteY6798" fmla="*/ 210979 h 514350"/>
                <a:gd name="connsiteX6799" fmla="*/ 833914 w 6400800"/>
                <a:gd name="connsiteY6799" fmla="*/ 333851 h 514350"/>
                <a:gd name="connsiteX6800" fmla="*/ 834866 w 6400800"/>
                <a:gd name="connsiteY6800" fmla="*/ 331946 h 514350"/>
                <a:gd name="connsiteX6801" fmla="*/ 834866 w 6400800"/>
                <a:gd name="connsiteY6801" fmla="*/ 337661 h 514350"/>
                <a:gd name="connsiteX6802" fmla="*/ 833914 w 6400800"/>
                <a:gd name="connsiteY6802" fmla="*/ 333851 h 514350"/>
                <a:gd name="connsiteX6803" fmla="*/ 847249 w 6400800"/>
                <a:gd name="connsiteY6803" fmla="*/ 304324 h 514350"/>
                <a:gd name="connsiteX6804" fmla="*/ 846296 w 6400800"/>
                <a:gd name="connsiteY6804" fmla="*/ 301466 h 514350"/>
                <a:gd name="connsiteX6805" fmla="*/ 846296 w 6400800"/>
                <a:gd name="connsiteY6805" fmla="*/ 299561 h 514350"/>
                <a:gd name="connsiteX6806" fmla="*/ 851059 w 6400800"/>
                <a:gd name="connsiteY6806" fmla="*/ 286226 h 514350"/>
                <a:gd name="connsiteX6807" fmla="*/ 847249 w 6400800"/>
                <a:gd name="connsiteY6807" fmla="*/ 304324 h 514350"/>
                <a:gd name="connsiteX6808" fmla="*/ 880586 w 6400800"/>
                <a:gd name="connsiteY6808" fmla="*/ 300514 h 514350"/>
                <a:gd name="connsiteX6809" fmla="*/ 876776 w 6400800"/>
                <a:gd name="connsiteY6809" fmla="*/ 319564 h 514350"/>
                <a:gd name="connsiteX6810" fmla="*/ 872966 w 6400800"/>
                <a:gd name="connsiteY6810" fmla="*/ 343376 h 514350"/>
                <a:gd name="connsiteX6811" fmla="*/ 869156 w 6400800"/>
                <a:gd name="connsiteY6811" fmla="*/ 350996 h 514350"/>
                <a:gd name="connsiteX6812" fmla="*/ 868204 w 6400800"/>
                <a:gd name="connsiteY6812" fmla="*/ 349091 h 514350"/>
                <a:gd name="connsiteX6813" fmla="*/ 867251 w 6400800"/>
                <a:gd name="connsiteY6813" fmla="*/ 348139 h 514350"/>
                <a:gd name="connsiteX6814" fmla="*/ 867251 w 6400800"/>
                <a:gd name="connsiteY6814" fmla="*/ 335756 h 514350"/>
                <a:gd name="connsiteX6815" fmla="*/ 866299 w 6400800"/>
                <a:gd name="connsiteY6815" fmla="*/ 301466 h 514350"/>
                <a:gd name="connsiteX6816" fmla="*/ 863441 w 6400800"/>
                <a:gd name="connsiteY6816" fmla="*/ 272891 h 514350"/>
                <a:gd name="connsiteX6817" fmla="*/ 861536 w 6400800"/>
                <a:gd name="connsiteY6817" fmla="*/ 257651 h 514350"/>
                <a:gd name="connsiteX6818" fmla="*/ 862489 w 6400800"/>
                <a:gd name="connsiteY6818" fmla="*/ 255746 h 514350"/>
                <a:gd name="connsiteX6819" fmla="*/ 862489 w 6400800"/>
                <a:gd name="connsiteY6819" fmla="*/ 255746 h 514350"/>
                <a:gd name="connsiteX6820" fmla="*/ 876776 w 6400800"/>
                <a:gd name="connsiteY6820" fmla="*/ 286226 h 514350"/>
                <a:gd name="connsiteX6821" fmla="*/ 881539 w 6400800"/>
                <a:gd name="connsiteY6821" fmla="*/ 296704 h 514350"/>
                <a:gd name="connsiteX6822" fmla="*/ 880586 w 6400800"/>
                <a:gd name="connsiteY6822" fmla="*/ 300514 h 514350"/>
                <a:gd name="connsiteX6823" fmla="*/ 885349 w 6400800"/>
                <a:gd name="connsiteY6823" fmla="*/ 318611 h 514350"/>
                <a:gd name="connsiteX6824" fmla="*/ 884396 w 6400800"/>
                <a:gd name="connsiteY6824" fmla="*/ 319564 h 514350"/>
                <a:gd name="connsiteX6825" fmla="*/ 883444 w 6400800"/>
                <a:gd name="connsiteY6825" fmla="*/ 320516 h 514350"/>
                <a:gd name="connsiteX6826" fmla="*/ 884396 w 6400800"/>
                <a:gd name="connsiteY6826" fmla="*/ 303371 h 514350"/>
                <a:gd name="connsiteX6827" fmla="*/ 887254 w 6400800"/>
                <a:gd name="connsiteY6827" fmla="*/ 310039 h 514350"/>
                <a:gd name="connsiteX6828" fmla="*/ 885349 w 6400800"/>
                <a:gd name="connsiteY6828" fmla="*/ 318611 h 514350"/>
                <a:gd name="connsiteX6829" fmla="*/ 900589 w 6400800"/>
                <a:gd name="connsiteY6829" fmla="*/ 246221 h 514350"/>
                <a:gd name="connsiteX6830" fmla="*/ 900589 w 6400800"/>
                <a:gd name="connsiteY6830" fmla="*/ 246221 h 514350"/>
                <a:gd name="connsiteX6831" fmla="*/ 898684 w 6400800"/>
                <a:gd name="connsiteY6831" fmla="*/ 234791 h 514350"/>
                <a:gd name="connsiteX6832" fmla="*/ 897731 w 6400800"/>
                <a:gd name="connsiteY6832" fmla="*/ 252889 h 514350"/>
                <a:gd name="connsiteX6833" fmla="*/ 897731 w 6400800"/>
                <a:gd name="connsiteY6833" fmla="*/ 253841 h 514350"/>
                <a:gd name="connsiteX6834" fmla="*/ 894874 w 6400800"/>
                <a:gd name="connsiteY6834" fmla="*/ 250031 h 514350"/>
                <a:gd name="connsiteX6835" fmla="*/ 897731 w 6400800"/>
                <a:gd name="connsiteY6835" fmla="*/ 254794 h 514350"/>
                <a:gd name="connsiteX6836" fmla="*/ 897731 w 6400800"/>
                <a:gd name="connsiteY6836" fmla="*/ 257651 h 514350"/>
                <a:gd name="connsiteX6837" fmla="*/ 896779 w 6400800"/>
                <a:gd name="connsiteY6837" fmla="*/ 264319 h 514350"/>
                <a:gd name="connsiteX6838" fmla="*/ 896779 w 6400800"/>
                <a:gd name="connsiteY6838" fmla="*/ 264319 h 514350"/>
                <a:gd name="connsiteX6839" fmla="*/ 896779 w 6400800"/>
                <a:gd name="connsiteY6839" fmla="*/ 264319 h 514350"/>
                <a:gd name="connsiteX6840" fmla="*/ 896779 w 6400800"/>
                <a:gd name="connsiteY6840" fmla="*/ 265271 h 514350"/>
                <a:gd name="connsiteX6841" fmla="*/ 896779 w 6400800"/>
                <a:gd name="connsiteY6841" fmla="*/ 270986 h 514350"/>
                <a:gd name="connsiteX6842" fmla="*/ 896779 w 6400800"/>
                <a:gd name="connsiteY6842" fmla="*/ 272891 h 514350"/>
                <a:gd name="connsiteX6843" fmla="*/ 895826 w 6400800"/>
                <a:gd name="connsiteY6843" fmla="*/ 285274 h 514350"/>
                <a:gd name="connsiteX6844" fmla="*/ 895826 w 6400800"/>
                <a:gd name="connsiteY6844" fmla="*/ 287179 h 514350"/>
                <a:gd name="connsiteX6845" fmla="*/ 891064 w 6400800"/>
                <a:gd name="connsiteY6845" fmla="*/ 279559 h 514350"/>
                <a:gd name="connsiteX6846" fmla="*/ 873919 w 6400800"/>
                <a:gd name="connsiteY6846" fmla="*/ 250984 h 514350"/>
                <a:gd name="connsiteX6847" fmla="*/ 869156 w 6400800"/>
                <a:gd name="connsiteY6847" fmla="*/ 243364 h 514350"/>
                <a:gd name="connsiteX6848" fmla="*/ 869156 w 6400800"/>
                <a:gd name="connsiteY6848" fmla="*/ 242411 h 514350"/>
                <a:gd name="connsiteX6849" fmla="*/ 878681 w 6400800"/>
                <a:gd name="connsiteY6849" fmla="*/ 215741 h 514350"/>
                <a:gd name="connsiteX6850" fmla="*/ 887254 w 6400800"/>
                <a:gd name="connsiteY6850" fmla="*/ 200501 h 514350"/>
                <a:gd name="connsiteX6851" fmla="*/ 895826 w 6400800"/>
                <a:gd name="connsiteY6851" fmla="*/ 223361 h 514350"/>
                <a:gd name="connsiteX6852" fmla="*/ 901541 w 6400800"/>
                <a:gd name="connsiteY6852" fmla="*/ 240506 h 514350"/>
                <a:gd name="connsiteX6853" fmla="*/ 900589 w 6400800"/>
                <a:gd name="connsiteY6853" fmla="*/ 246221 h 514350"/>
                <a:gd name="connsiteX6854" fmla="*/ 891064 w 6400800"/>
                <a:gd name="connsiteY6854" fmla="*/ 190976 h 514350"/>
                <a:gd name="connsiteX6855" fmla="*/ 892969 w 6400800"/>
                <a:gd name="connsiteY6855" fmla="*/ 187166 h 514350"/>
                <a:gd name="connsiteX6856" fmla="*/ 896779 w 6400800"/>
                <a:gd name="connsiteY6856" fmla="*/ 202406 h 514350"/>
                <a:gd name="connsiteX6857" fmla="*/ 891064 w 6400800"/>
                <a:gd name="connsiteY6857" fmla="*/ 190976 h 514350"/>
                <a:gd name="connsiteX6858" fmla="*/ 904399 w 6400800"/>
                <a:gd name="connsiteY6858" fmla="*/ 181451 h 514350"/>
                <a:gd name="connsiteX6859" fmla="*/ 904399 w 6400800"/>
                <a:gd name="connsiteY6859" fmla="*/ 183356 h 514350"/>
                <a:gd name="connsiteX6860" fmla="*/ 903446 w 6400800"/>
                <a:gd name="connsiteY6860" fmla="*/ 210979 h 514350"/>
                <a:gd name="connsiteX6861" fmla="*/ 903446 w 6400800"/>
                <a:gd name="connsiteY6861" fmla="*/ 210026 h 514350"/>
                <a:gd name="connsiteX6862" fmla="*/ 894874 w 6400800"/>
                <a:gd name="connsiteY6862" fmla="*/ 188119 h 514350"/>
                <a:gd name="connsiteX6863" fmla="*/ 903446 w 6400800"/>
                <a:gd name="connsiteY6863" fmla="*/ 173831 h 514350"/>
                <a:gd name="connsiteX6864" fmla="*/ 904399 w 6400800"/>
                <a:gd name="connsiteY6864" fmla="*/ 181451 h 514350"/>
                <a:gd name="connsiteX6865" fmla="*/ 888206 w 6400800"/>
                <a:gd name="connsiteY6865" fmla="*/ 137636 h 514350"/>
                <a:gd name="connsiteX6866" fmla="*/ 890111 w 6400800"/>
                <a:gd name="connsiteY6866" fmla="*/ 132874 h 514350"/>
                <a:gd name="connsiteX6867" fmla="*/ 898684 w 6400800"/>
                <a:gd name="connsiteY6867" fmla="*/ 161449 h 514350"/>
                <a:gd name="connsiteX6868" fmla="*/ 893921 w 6400800"/>
                <a:gd name="connsiteY6868" fmla="*/ 168116 h 514350"/>
                <a:gd name="connsiteX6869" fmla="*/ 885349 w 6400800"/>
                <a:gd name="connsiteY6869" fmla="*/ 180499 h 514350"/>
                <a:gd name="connsiteX6870" fmla="*/ 874871 w 6400800"/>
                <a:gd name="connsiteY6870" fmla="*/ 163354 h 514350"/>
                <a:gd name="connsiteX6871" fmla="*/ 888206 w 6400800"/>
                <a:gd name="connsiteY6871" fmla="*/ 137636 h 514350"/>
                <a:gd name="connsiteX6872" fmla="*/ 872966 w 6400800"/>
                <a:gd name="connsiteY6872" fmla="*/ 169069 h 514350"/>
                <a:gd name="connsiteX6873" fmla="*/ 881539 w 6400800"/>
                <a:gd name="connsiteY6873" fmla="*/ 188119 h 514350"/>
                <a:gd name="connsiteX6874" fmla="*/ 878681 w 6400800"/>
                <a:gd name="connsiteY6874" fmla="*/ 191929 h 514350"/>
                <a:gd name="connsiteX6875" fmla="*/ 856774 w 6400800"/>
                <a:gd name="connsiteY6875" fmla="*/ 226219 h 514350"/>
                <a:gd name="connsiteX6876" fmla="*/ 851059 w 6400800"/>
                <a:gd name="connsiteY6876" fmla="*/ 217646 h 514350"/>
                <a:gd name="connsiteX6877" fmla="*/ 872966 w 6400800"/>
                <a:gd name="connsiteY6877" fmla="*/ 169069 h 514350"/>
                <a:gd name="connsiteX6878" fmla="*/ 847249 w 6400800"/>
                <a:gd name="connsiteY6878" fmla="*/ 225266 h 514350"/>
                <a:gd name="connsiteX6879" fmla="*/ 848201 w 6400800"/>
                <a:gd name="connsiteY6879" fmla="*/ 223361 h 514350"/>
                <a:gd name="connsiteX6880" fmla="*/ 852011 w 6400800"/>
                <a:gd name="connsiteY6880" fmla="*/ 232886 h 514350"/>
                <a:gd name="connsiteX6881" fmla="*/ 845344 w 6400800"/>
                <a:gd name="connsiteY6881" fmla="*/ 243364 h 514350"/>
                <a:gd name="connsiteX6882" fmla="*/ 837724 w 6400800"/>
                <a:gd name="connsiteY6882" fmla="*/ 256699 h 514350"/>
                <a:gd name="connsiteX6883" fmla="*/ 836771 w 6400800"/>
                <a:gd name="connsiteY6883" fmla="*/ 250984 h 514350"/>
                <a:gd name="connsiteX6884" fmla="*/ 847249 w 6400800"/>
                <a:gd name="connsiteY6884" fmla="*/ 225266 h 514350"/>
                <a:gd name="connsiteX6885" fmla="*/ 835819 w 6400800"/>
                <a:gd name="connsiteY6885" fmla="*/ 195739 h 514350"/>
                <a:gd name="connsiteX6886" fmla="*/ 835819 w 6400800"/>
                <a:gd name="connsiteY6886" fmla="*/ 195739 h 514350"/>
                <a:gd name="connsiteX6887" fmla="*/ 840581 w 6400800"/>
                <a:gd name="connsiteY6887" fmla="*/ 206216 h 514350"/>
                <a:gd name="connsiteX6888" fmla="*/ 833914 w 6400800"/>
                <a:gd name="connsiteY6888" fmla="*/ 219551 h 514350"/>
                <a:gd name="connsiteX6889" fmla="*/ 832961 w 6400800"/>
                <a:gd name="connsiteY6889" fmla="*/ 221456 h 514350"/>
                <a:gd name="connsiteX6890" fmla="*/ 835819 w 6400800"/>
                <a:gd name="connsiteY6890" fmla="*/ 195739 h 514350"/>
                <a:gd name="connsiteX6891" fmla="*/ 826294 w 6400800"/>
                <a:gd name="connsiteY6891" fmla="*/ 274796 h 514350"/>
                <a:gd name="connsiteX6892" fmla="*/ 828199 w 6400800"/>
                <a:gd name="connsiteY6892" fmla="*/ 270986 h 514350"/>
                <a:gd name="connsiteX6893" fmla="*/ 828199 w 6400800"/>
                <a:gd name="connsiteY6893" fmla="*/ 272891 h 514350"/>
                <a:gd name="connsiteX6894" fmla="*/ 826294 w 6400800"/>
                <a:gd name="connsiteY6894" fmla="*/ 276701 h 514350"/>
                <a:gd name="connsiteX6895" fmla="*/ 826294 w 6400800"/>
                <a:gd name="connsiteY6895" fmla="*/ 274796 h 514350"/>
                <a:gd name="connsiteX6896" fmla="*/ 812006 w 6400800"/>
                <a:gd name="connsiteY6896" fmla="*/ 448151 h 514350"/>
                <a:gd name="connsiteX6897" fmla="*/ 812006 w 6400800"/>
                <a:gd name="connsiteY6897" fmla="*/ 448151 h 514350"/>
                <a:gd name="connsiteX6898" fmla="*/ 812006 w 6400800"/>
                <a:gd name="connsiteY6898" fmla="*/ 448151 h 514350"/>
                <a:gd name="connsiteX6899" fmla="*/ 812006 w 6400800"/>
                <a:gd name="connsiteY6899" fmla="*/ 448151 h 514350"/>
                <a:gd name="connsiteX6900" fmla="*/ 785336 w 6400800"/>
                <a:gd name="connsiteY6900" fmla="*/ 330041 h 514350"/>
                <a:gd name="connsiteX6901" fmla="*/ 782479 w 6400800"/>
                <a:gd name="connsiteY6901" fmla="*/ 325279 h 514350"/>
                <a:gd name="connsiteX6902" fmla="*/ 782479 w 6400800"/>
                <a:gd name="connsiteY6902" fmla="*/ 315754 h 514350"/>
                <a:gd name="connsiteX6903" fmla="*/ 786289 w 6400800"/>
                <a:gd name="connsiteY6903" fmla="*/ 326231 h 514350"/>
                <a:gd name="connsiteX6904" fmla="*/ 785336 w 6400800"/>
                <a:gd name="connsiteY6904" fmla="*/ 330041 h 514350"/>
                <a:gd name="connsiteX6905" fmla="*/ 797719 w 6400800"/>
                <a:gd name="connsiteY6905" fmla="*/ 271939 h 514350"/>
                <a:gd name="connsiteX6906" fmla="*/ 803434 w 6400800"/>
                <a:gd name="connsiteY6906" fmla="*/ 286226 h 514350"/>
                <a:gd name="connsiteX6907" fmla="*/ 802481 w 6400800"/>
                <a:gd name="connsiteY6907" fmla="*/ 288131 h 514350"/>
                <a:gd name="connsiteX6908" fmla="*/ 792956 w 6400800"/>
                <a:gd name="connsiteY6908" fmla="*/ 310039 h 514350"/>
                <a:gd name="connsiteX6909" fmla="*/ 792956 w 6400800"/>
                <a:gd name="connsiteY6909" fmla="*/ 309086 h 514350"/>
                <a:gd name="connsiteX6910" fmla="*/ 787241 w 6400800"/>
                <a:gd name="connsiteY6910" fmla="*/ 296704 h 514350"/>
                <a:gd name="connsiteX6911" fmla="*/ 795814 w 6400800"/>
                <a:gd name="connsiteY6911" fmla="*/ 266224 h 514350"/>
                <a:gd name="connsiteX6912" fmla="*/ 797719 w 6400800"/>
                <a:gd name="connsiteY6912" fmla="*/ 271939 h 514350"/>
                <a:gd name="connsiteX6913" fmla="*/ 790099 w 6400800"/>
                <a:gd name="connsiteY6913" fmla="*/ 253841 h 514350"/>
                <a:gd name="connsiteX6914" fmla="*/ 793909 w 6400800"/>
                <a:gd name="connsiteY6914" fmla="*/ 261461 h 514350"/>
                <a:gd name="connsiteX6915" fmla="*/ 793909 w 6400800"/>
                <a:gd name="connsiteY6915" fmla="*/ 262414 h 514350"/>
                <a:gd name="connsiteX6916" fmla="*/ 784384 w 6400800"/>
                <a:gd name="connsiteY6916" fmla="*/ 286226 h 514350"/>
                <a:gd name="connsiteX6917" fmla="*/ 785336 w 6400800"/>
                <a:gd name="connsiteY6917" fmla="*/ 273844 h 514350"/>
                <a:gd name="connsiteX6918" fmla="*/ 790099 w 6400800"/>
                <a:gd name="connsiteY6918" fmla="*/ 253841 h 514350"/>
                <a:gd name="connsiteX6919" fmla="*/ 773906 w 6400800"/>
                <a:gd name="connsiteY6919" fmla="*/ 236696 h 514350"/>
                <a:gd name="connsiteX6920" fmla="*/ 776764 w 6400800"/>
                <a:gd name="connsiteY6920" fmla="*/ 213836 h 514350"/>
                <a:gd name="connsiteX6921" fmla="*/ 783431 w 6400800"/>
                <a:gd name="connsiteY6921" fmla="*/ 229076 h 514350"/>
                <a:gd name="connsiteX6922" fmla="*/ 780574 w 6400800"/>
                <a:gd name="connsiteY6922" fmla="*/ 235744 h 514350"/>
                <a:gd name="connsiteX6923" fmla="*/ 777716 w 6400800"/>
                <a:gd name="connsiteY6923" fmla="*/ 231934 h 514350"/>
                <a:gd name="connsiteX6924" fmla="*/ 780574 w 6400800"/>
                <a:gd name="connsiteY6924" fmla="*/ 236696 h 514350"/>
                <a:gd name="connsiteX6925" fmla="*/ 773906 w 6400800"/>
                <a:gd name="connsiteY6925" fmla="*/ 255746 h 514350"/>
                <a:gd name="connsiteX6926" fmla="*/ 773906 w 6400800"/>
                <a:gd name="connsiteY6926" fmla="*/ 236696 h 514350"/>
                <a:gd name="connsiteX6927" fmla="*/ 724376 w 6400800"/>
                <a:gd name="connsiteY6927" fmla="*/ 219551 h 514350"/>
                <a:gd name="connsiteX6928" fmla="*/ 726281 w 6400800"/>
                <a:gd name="connsiteY6928" fmla="*/ 203359 h 514350"/>
                <a:gd name="connsiteX6929" fmla="*/ 726281 w 6400800"/>
                <a:gd name="connsiteY6929" fmla="*/ 229076 h 514350"/>
                <a:gd name="connsiteX6930" fmla="*/ 723424 w 6400800"/>
                <a:gd name="connsiteY6930" fmla="*/ 223361 h 514350"/>
                <a:gd name="connsiteX6931" fmla="*/ 724376 w 6400800"/>
                <a:gd name="connsiteY6931" fmla="*/ 219551 h 514350"/>
                <a:gd name="connsiteX6932" fmla="*/ 723424 w 6400800"/>
                <a:gd name="connsiteY6932" fmla="*/ 224314 h 514350"/>
                <a:gd name="connsiteX6933" fmla="*/ 724376 w 6400800"/>
                <a:gd name="connsiteY6933" fmla="*/ 235744 h 514350"/>
                <a:gd name="connsiteX6934" fmla="*/ 726281 w 6400800"/>
                <a:gd name="connsiteY6934" fmla="*/ 250984 h 514350"/>
                <a:gd name="connsiteX6935" fmla="*/ 726281 w 6400800"/>
                <a:gd name="connsiteY6935" fmla="*/ 251936 h 514350"/>
                <a:gd name="connsiteX6936" fmla="*/ 727234 w 6400800"/>
                <a:gd name="connsiteY6936" fmla="*/ 276701 h 514350"/>
                <a:gd name="connsiteX6937" fmla="*/ 727234 w 6400800"/>
                <a:gd name="connsiteY6937" fmla="*/ 288131 h 514350"/>
                <a:gd name="connsiteX6938" fmla="*/ 725329 w 6400800"/>
                <a:gd name="connsiteY6938" fmla="*/ 284321 h 514350"/>
                <a:gd name="connsiteX6939" fmla="*/ 717709 w 6400800"/>
                <a:gd name="connsiteY6939" fmla="*/ 260509 h 514350"/>
                <a:gd name="connsiteX6940" fmla="*/ 723424 w 6400800"/>
                <a:gd name="connsiteY6940" fmla="*/ 224314 h 514350"/>
                <a:gd name="connsiteX6941" fmla="*/ 710089 w 6400800"/>
                <a:gd name="connsiteY6941" fmla="*/ 308134 h 514350"/>
                <a:gd name="connsiteX6942" fmla="*/ 711041 w 6400800"/>
                <a:gd name="connsiteY6942" fmla="*/ 320516 h 514350"/>
                <a:gd name="connsiteX6943" fmla="*/ 717709 w 6400800"/>
                <a:gd name="connsiteY6943" fmla="*/ 373856 h 514350"/>
                <a:gd name="connsiteX6944" fmla="*/ 711041 w 6400800"/>
                <a:gd name="connsiteY6944" fmla="*/ 389096 h 514350"/>
                <a:gd name="connsiteX6945" fmla="*/ 709136 w 6400800"/>
                <a:gd name="connsiteY6945" fmla="*/ 383381 h 514350"/>
                <a:gd name="connsiteX6946" fmla="*/ 711041 w 6400800"/>
                <a:gd name="connsiteY6946" fmla="*/ 372904 h 514350"/>
                <a:gd name="connsiteX6947" fmla="*/ 713899 w 6400800"/>
                <a:gd name="connsiteY6947" fmla="*/ 352901 h 514350"/>
                <a:gd name="connsiteX6948" fmla="*/ 707231 w 6400800"/>
                <a:gd name="connsiteY6948" fmla="*/ 372904 h 514350"/>
                <a:gd name="connsiteX6949" fmla="*/ 706279 w 6400800"/>
                <a:gd name="connsiteY6949" fmla="*/ 374809 h 514350"/>
                <a:gd name="connsiteX6950" fmla="*/ 701516 w 6400800"/>
                <a:gd name="connsiteY6950" fmla="*/ 357664 h 514350"/>
                <a:gd name="connsiteX6951" fmla="*/ 701516 w 6400800"/>
                <a:gd name="connsiteY6951" fmla="*/ 357664 h 514350"/>
                <a:gd name="connsiteX6952" fmla="*/ 710089 w 6400800"/>
                <a:gd name="connsiteY6952" fmla="*/ 308134 h 514350"/>
                <a:gd name="connsiteX6953" fmla="*/ 676751 w 6400800"/>
                <a:gd name="connsiteY6953" fmla="*/ 253841 h 514350"/>
                <a:gd name="connsiteX6954" fmla="*/ 676751 w 6400800"/>
                <a:gd name="connsiteY6954" fmla="*/ 246221 h 514350"/>
                <a:gd name="connsiteX6955" fmla="*/ 679609 w 6400800"/>
                <a:gd name="connsiteY6955" fmla="*/ 220504 h 514350"/>
                <a:gd name="connsiteX6956" fmla="*/ 682466 w 6400800"/>
                <a:gd name="connsiteY6956" fmla="*/ 181451 h 514350"/>
                <a:gd name="connsiteX6957" fmla="*/ 682466 w 6400800"/>
                <a:gd name="connsiteY6957" fmla="*/ 178594 h 514350"/>
                <a:gd name="connsiteX6958" fmla="*/ 696754 w 6400800"/>
                <a:gd name="connsiteY6958" fmla="*/ 231934 h 514350"/>
                <a:gd name="connsiteX6959" fmla="*/ 705326 w 6400800"/>
                <a:gd name="connsiteY6959" fmla="*/ 267176 h 514350"/>
                <a:gd name="connsiteX6960" fmla="*/ 703421 w 6400800"/>
                <a:gd name="connsiteY6960" fmla="*/ 273844 h 514350"/>
                <a:gd name="connsiteX6961" fmla="*/ 694849 w 6400800"/>
                <a:gd name="connsiteY6961" fmla="*/ 307181 h 514350"/>
                <a:gd name="connsiteX6962" fmla="*/ 692944 w 6400800"/>
                <a:gd name="connsiteY6962" fmla="*/ 313849 h 514350"/>
                <a:gd name="connsiteX6963" fmla="*/ 690086 w 6400800"/>
                <a:gd name="connsiteY6963" fmla="*/ 322421 h 514350"/>
                <a:gd name="connsiteX6964" fmla="*/ 673894 w 6400800"/>
                <a:gd name="connsiteY6964" fmla="*/ 274796 h 514350"/>
                <a:gd name="connsiteX6965" fmla="*/ 676751 w 6400800"/>
                <a:gd name="connsiteY6965" fmla="*/ 253841 h 514350"/>
                <a:gd name="connsiteX6966" fmla="*/ 668179 w 6400800"/>
                <a:gd name="connsiteY6966" fmla="*/ 331946 h 514350"/>
                <a:gd name="connsiteX6967" fmla="*/ 668179 w 6400800"/>
                <a:gd name="connsiteY6967" fmla="*/ 330041 h 514350"/>
                <a:gd name="connsiteX6968" fmla="*/ 669131 w 6400800"/>
                <a:gd name="connsiteY6968" fmla="*/ 334804 h 514350"/>
                <a:gd name="connsiteX6969" fmla="*/ 671989 w 6400800"/>
                <a:gd name="connsiteY6969" fmla="*/ 346234 h 514350"/>
                <a:gd name="connsiteX6970" fmla="*/ 674846 w 6400800"/>
                <a:gd name="connsiteY6970" fmla="*/ 359569 h 514350"/>
                <a:gd name="connsiteX6971" fmla="*/ 676751 w 6400800"/>
                <a:gd name="connsiteY6971" fmla="*/ 370999 h 514350"/>
                <a:gd name="connsiteX6972" fmla="*/ 675799 w 6400800"/>
                <a:gd name="connsiteY6972" fmla="*/ 373856 h 514350"/>
                <a:gd name="connsiteX6973" fmla="*/ 674846 w 6400800"/>
                <a:gd name="connsiteY6973" fmla="*/ 377666 h 514350"/>
                <a:gd name="connsiteX6974" fmla="*/ 670084 w 6400800"/>
                <a:gd name="connsiteY6974" fmla="*/ 368141 h 514350"/>
                <a:gd name="connsiteX6975" fmla="*/ 664369 w 6400800"/>
                <a:gd name="connsiteY6975" fmla="*/ 358616 h 514350"/>
                <a:gd name="connsiteX6976" fmla="*/ 668179 w 6400800"/>
                <a:gd name="connsiteY6976" fmla="*/ 331946 h 514350"/>
                <a:gd name="connsiteX6977" fmla="*/ 656749 w 6400800"/>
                <a:gd name="connsiteY6977" fmla="*/ 266224 h 514350"/>
                <a:gd name="connsiteX6978" fmla="*/ 656749 w 6400800"/>
                <a:gd name="connsiteY6978" fmla="*/ 267176 h 514350"/>
                <a:gd name="connsiteX6979" fmla="*/ 656749 w 6400800"/>
                <a:gd name="connsiteY6979" fmla="*/ 269081 h 514350"/>
                <a:gd name="connsiteX6980" fmla="*/ 656749 w 6400800"/>
                <a:gd name="connsiteY6980" fmla="*/ 266224 h 514350"/>
                <a:gd name="connsiteX6981" fmla="*/ 608171 w 6400800"/>
                <a:gd name="connsiteY6981" fmla="*/ 318611 h 514350"/>
                <a:gd name="connsiteX6982" fmla="*/ 611981 w 6400800"/>
                <a:gd name="connsiteY6982" fmla="*/ 279559 h 514350"/>
                <a:gd name="connsiteX6983" fmla="*/ 613886 w 6400800"/>
                <a:gd name="connsiteY6983" fmla="*/ 288131 h 514350"/>
                <a:gd name="connsiteX6984" fmla="*/ 615791 w 6400800"/>
                <a:gd name="connsiteY6984" fmla="*/ 327184 h 514350"/>
                <a:gd name="connsiteX6985" fmla="*/ 615791 w 6400800"/>
                <a:gd name="connsiteY6985" fmla="*/ 331946 h 514350"/>
                <a:gd name="connsiteX6986" fmla="*/ 615791 w 6400800"/>
                <a:gd name="connsiteY6986" fmla="*/ 337661 h 514350"/>
                <a:gd name="connsiteX6987" fmla="*/ 613886 w 6400800"/>
                <a:gd name="connsiteY6987" fmla="*/ 333851 h 514350"/>
                <a:gd name="connsiteX6988" fmla="*/ 607219 w 6400800"/>
                <a:gd name="connsiteY6988" fmla="*/ 321469 h 514350"/>
                <a:gd name="connsiteX6989" fmla="*/ 608171 w 6400800"/>
                <a:gd name="connsiteY6989" fmla="*/ 318611 h 514350"/>
                <a:gd name="connsiteX6990" fmla="*/ 606266 w 6400800"/>
                <a:gd name="connsiteY6990" fmla="*/ 341471 h 514350"/>
                <a:gd name="connsiteX6991" fmla="*/ 615791 w 6400800"/>
                <a:gd name="connsiteY6991" fmla="*/ 364331 h 514350"/>
                <a:gd name="connsiteX6992" fmla="*/ 615791 w 6400800"/>
                <a:gd name="connsiteY6992" fmla="*/ 365284 h 514350"/>
                <a:gd name="connsiteX6993" fmla="*/ 611029 w 6400800"/>
                <a:gd name="connsiteY6993" fmla="*/ 375761 h 514350"/>
                <a:gd name="connsiteX6994" fmla="*/ 608171 w 6400800"/>
                <a:gd name="connsiteY6994" fmla="*/ 363379 h 514350"/>
                <a:gd name="connsiteX6995" fmla="*/ 605314 w 6400800"/>
                <a:gd name="connsiteY6995" fmla="*/ 350996 h 514350"/>
                <a:gd name="connsiteX6996" fmla="*/ 606266 w 6400800"/>
                <a:gd name="connsiteY6996" fmla="*/ 341471 h 514350"/>
                <a:gd name="connsiteX6997" fmla="*/ 606266 w 6400800"/>
                <a:gd name="connsiteY6997" fmla="*/ 424339 h 514350"/>
                <a:gd name="connsiteX6998" fmla="*/ 609124 w 6400800"/>
                <a:gd name="connsiteY6998" fmla="*/ 433864 h 514350"/>
                <a:gd name="connsiteX6999" fmla="*/ 607219 w 6400800"/>
                <a:gd name="connsiteY6999" fmla="*/ 436721 h 514350"/>
                <a:gd name="connsiteX7000" fmla="*/ 601504 w 6400800"/>
                <a:gd name="connsiteY7000" fmla="*/ 435769 h 514350"/>
                <a:gd name="connsiteX7001" fmla="*/ 606266 w 6400800"/>
                <a:gd name="connsiteY7001" fmla="*/ 424339 h 514350"/>
                <a:gd name="connsiteX7002" fmla="*/ 599599 w 6400800"/>
                <a:gd name="connsiteY7002" fmla="*/ 401479 h 514350"/>
                <a:gd name="connsiteX7003" fmla="*/ 599599 w 6400800"/>
                <a:gd name="connsiteY7003" fmla="*/ 401479 h 514350"/>
                <a:gd name="connsiteX7004" fmla="*/ 599599 w 6400800"/>
                <a:gd name="connsiteY7004" fmla="*/ 403384 h 514350"/>
                <a:gd name="connsiteX7005" fmla="*/ 599599 w 6400800"/>
                <a:gd name="connsiteY7005" fmla="*/ 401479 h 514350"/>
                <a:gd name="connsiteX7006" fmla="*/ 587216 w 6400800"/>
                <a:gd name="connsiteY7006" fmla="*/ 300514 h 514350"/>
                <a:gd name="connsiteX7007" fmla="*/ 591979 w 6400800"/>
                <a:gd name="connsiteY7007" fmla="*/ 310039 h 514350"/>
                <a:gd name="connsiteX7008" fmla="*/ 591026 w 6400800"/>
                <a:gd name="connsiteY7008" fmla="*/ 316706 h 514350"/>
                <a:gd name="connsiteX7009" fmla="*/ 591026 w 6400800"/>
                <a:gd name="connsiteY7009" fmla="*/ 316706 h 514350"/>
                <a:gd name="connsiteX7010" fmla="*/ 590074 w 6400800"/>
                <a:gd name="connsiteY7010" fmla="*/ 319564 h 514350"/>
                <a:gd name="connsiteX7011" fmla="*/ 587216 w 6400800"/>
                <a:gd name="connsiteY7011" fmla="*/ 311944 h 514350"/>
                <a:gd name="connsiteX7012" fmla="*/ 586264 w 6400800"/>
                <a:gd name="connsiteY7012" fmla="*/ 299561 h 514350"/>
                <a:gd name="connsiteX7013" fmla="*/ 587216 w 6400800"/>
                <a:gd name="connsiteY7013" fmla="*/ 300514 h 514350"/>
                <a:gd name="connsiteX7014" fmla="*/ 553879 w 6400800"/>
                <a:gd name="connsiteY7014" fmla="*/ 257651 h 514350"/>
                <a:gd name="connsiteX7015" fmla="*/ 555784 w 6400800"/>
                <a:gd name="connsiteY7015" fmla="*/ 233839 h 514350"/>
                <a:gd name="connsiteX7016" fmla="*/ 558641 w 6400800"/>
                <a:gd name="connsiteY7016" fmla="*/ 249079 h 514350"/>
                <a:gd name="connsiteX7017" fmla="*/ 556736 w 6400800"/>
                <a:gd name="connsiteY7017" fmla="*/ 247174 h 514350"/>
                <a:gd name="connsiteX7018" fmla="*/ 558641 w 6400800"/>
                <a:gd name="connsiteY7018" fmla="*/ 250984 h 514350"/>
                <a:gd name="connsiteX7019" fmla="*/ 570071 w 6400800"/>
                <a:gd name="connsiteY7019" fmla="*/ 297656 h 514350"/>
                <a:gd name="connsiteX7020" fmla="*/ 571976 w 6400800"/>
                <a:gd name="connsiteY7020" fmla="*/ 303371 h 514350"/>
                <a:gd name="connsiteX7021" fmla="*/ 569119 w 6400800"/>
                <a:gd name="connsiteY7021" fmla="*/ 312896 h 514350"/>
                <a:gd name="connsiteX7022" fmla="*/ 564356 w 6400800"/>
                <a:gd name="connsiteY7022" fmla="*/ 295751 h 514350"/>
                <a:gd name="connsiteX7023" fmla="*/ 553879 w 6400800"/>
                <a:gd name="connsiteY7023" fmla="*/ 266224 h 514350"/>
                <a:gd name="connsiteX7024" fmla="*/ 553879 w 6400800"/>
                <a:gd name="connsiteY7024" fmla="*/ 257651 h 514350"/>
                <a:gd name="connsiteX7025" fmla="*/ 551974 w 6400800"/>
                <a:gd name="connsiteY7025" fmla="*/ 295751 h 514350"/>
                <a:gd name="connsiteX7026" fmla="*/ 551974 w 6400800"/>
                <a:gd name="connsiteY7026" fmla="*/ 295751 h 514350"/>
                <a:gd name="connsiteX7027" fmla="*/ 552926 w 6400800"/>
                <a:gd name="connsiteY7027" fmla="*/ 298609 h 514350"/>
                <a:gd name="connsiteX7028" fmla="*/ 556736 w 6400800"/>
                <a:gd name="connsiteY7028" fmla="*/ 317659 h 514350"/>
                <a:gd name="connsiteX7029" fmla="*/ 557689 w 6400800"/>
                <a:gd name="connsiteY7029" fmla="*/ 321469 h 514350"/>
                <a:gd name="connsiteX7030" fmla="*/ 557689 w 6400800"/>
                <a:gd name="connsiteY7030" fmla="*/ 322421 h 514350"/>
                <a:gd name="connsiteX7031" fmla="*/ 557689 w 6400800"/>
                <a:gd name="connsiteY7031" fmla="*/ 326231 h 514350"/>
                <a:gd name="connsiteX7032" fmla="*/ 552926 w 6400800"/>
                <a:gd name="connsiteY7032" fmla="*/ 306229 h 514350"/>
                <a:gd name="connsiteX7033" fmla="*/ 551974 w 6400800"/>
                <a:gd name="connsiteY7033" fmla="*/ 295751 h 514350"/>
                <a:gd name="connsiteX7034" fmla="*/ 529114 w 6400800"/>
                <a:gd name="connsiteY7034" fmla="*/ 290036 h 514350"/>
                <a:gd name="connsiteX7035" fmla="*/ 529114 w 6400800"/>
                <a:gd name="connsiteY7035" fmla="*/ 290036 h 514350"/>
                <a:gd name="connsiteX7036" fmla="*/ 529114 w 6400800"/>
                <a:gd name="connsiteY7036" fmla="*/ 290036 h 514350"/>
                <a:gd name="connsiteX7037" fmla="*/ 529114 w 6400800"/>
                <a:gd name="connsiteY7037" fmla="*/ 290036 h 514350"/>
                <a:gd name="connsiteX7038" fmla="*/ 522446 w 6400800"/>
                <a:gd name="connsiteY7038" fmla="*/ 336709 h 514350"/>
                <a:gd name="connsiteX7039" fmla="*/ 523399 w 6400800"/>
                <a:gd name="connsiteY7039" fmla="*/ 329089 h 514350"/>
                <a:gd name="connsiteX7040" fmla="*/ 526256 w 6400800"/>
                <a:gd name="connsiteY7040" fmla="*/ 336709 h 514350"/>
                <a:gd name="connsiteX7041" fmla="*/ 531019 w 6400800"/>
                <a:gd name="connsiteY7041" fmla="*/ 350996 h 514350"/>
                <a:gd name="connsiteX7042" fmla="*/ 531971 w 6400800"/>
                <a:gd name="connsiteY7042" fmla="*/ 374809 h 514350"/>
                <a:gd name="connsiteX7043" fmla="*/ 533876 w 6400800"/>
                <a:gd name="connsiteY7043" fmla="*/ 403384 h 514350"/>
                <a:gd name="connsiteX7044" fmla="*/ 528161 w 6400800"/>
                <a:gd name="connsiteY7044" fmla="*/ 394811 h 514350"/>
                <a:gd name="connsiteX7045" fmla="*/ 532924 w 6400800"/>
                <a:gd name="connsiteY7045" fmla="*/ 410051 h 514350"/>
                <a:gd name="connsiteX7046" fmla="*/ 534829 w 6400800"/>
                <a:gd name="connsiteY7046" fmla="*/ 417671 h 514350"/>
                <a:gd name="connsiteX7047" fmla="*/ 535781 w 6400800"/>
                <a:gd name="connsiteY7047" fmla="*/ 430054 h 514350"/>
                <a:gd name="connsiteX7048" fmla="*/ 523399 w 6400800"/>
                <a:gd name="connsiteY7048" fmla="*/ 428149 h 514350"/>
                <a:gd name="connsiteX7049" fmla="*/ 522446 w 6400800"/>
                <a:gd name="connsiteY7049" fmla="*/ 427196 h 514350"/>
                <a:gd name="connsiteX7050" fmla="*/ 522446 w 6400800"/>
                <a:gd name="connsiteY7050" fmla="*/ 423386 h 514350"/>
                <a:gd name="connsiteX7051" fmla="*/ 527209 w 6400800"/>
                <a:gd name="connsiteY7051" fmla="*/ 410051 h 514350"/>
                <a:gd name="connsiteX7052" fmla="*/ 522446 w 6400800"/>
                <a:gd name="connsiteY7052" fmla="*/ 418624 h 514350"/>
                <a:gd name="connsiteX7053" fmla="*/ 521494 w 6400800"/>
                <a:gd name="connsiteY7053" fmla="*/ 405289 h 514350"/>
                <a:gd name="connsiteX7054" fmla="*/ 517684 w 6400800"/>
                <a:gd name="connsiteY7054" fmla="*/ 369094 h 514350"/>
                <a:gd name="connsiteX7055" fmla="*/ 522446 w 6400800"/>
                <a:gd name="connsiteY7055" fmla="*/ 336709 h 514350"/>
                <a:gd name="connsiteX7056" fmla="*/ 512921 w 6400800"/>
                <a:gd name="connsiteY7056" fmla="*/ 271939 h 514350"/>
                <a:gd name="connsiteX7057" fmla="*/ 509111 w 6400800"/>
                <a:gd name="connsiteY7057" fmla="*/ 287179 h 514350"/>
                <a:gd name="connsiteX7058" fmla="*/ 509111 w 6400800"/>
                <a:gd name="connsiteY7058" fmla="*/ 288131 h 514350"/>
                <a:gd name="connsiteX7059" fmla="*/ 507206 w 6400800"/>
                <a:gd name="connsiteY7059" fmla="*/ 275749 h 514350"/>
                <a:gd name="connsiteX7060" fmla="*/ 508159 w 6400800"/>
                <a:gd name="connsiteY7060" fmla="*/ 262414 h 514350"/>
                <a:gd name="connsiteX7061" fmla="*/ 509111 w 6400800"/>
                <a:gd name="connsiteY7061" fmla="*/ 262414 h 514350"/>
                <a:gd name="connsiteX7062" fmla="*/ 512921 w 6400800"/>
                <a:gd name="connsiteY7062" fmla="*/ 271939 h 514350"/>
                <a:gd name="connsiteX7063" fmla="*/ 497681 w 6400800"/>
                <a:gd name="connsiteY7063" fmla="*/ 207169 h 514350"/>
                <a:gd name="connsiteX7064" fmla="*/ 506254 w 6400800"/>
                <a:gd name="connsiteY7064" fmla="*/ 245269 h 514350"/>
                <a:gd name="connsiteX7065" fmla="*/ 509111 w 6400800"/>
                <a:gd name="connsiteY7065" fmla="*/ 256699 h 514350"/>
                <a:gd name="connsiteX7066" fmla="*/ 506254 w 6400800"/>
                <a:gd name="connsiteY7066" fmla="*/ 256699 h 514350"/>
                <a:gd name="connsiteX7067" fmla="*/ 505301 w 6400800"/>
                <a:gd name="connsiteY7067" fmla="*/ 256699 h 514350"/>
                <a:gd name="connsiteX7068" fmla="*/ 505301 w 6400800"/>
                <a:gd name="connsiteY7068" fmla="*/ 256699 h 514350"/>
                <a:gd name="connsiteX7069" fmla="*/ 497681 w 6400800"/>
                <a:gd name="connsiteY7069" fmla="*/ 207169 h 514350"/>
                <a:gd name="connsiteX7070" fmla="*/ 497681 w 6400800"/>
                <a:gd name="connsiteY7070" fmla="*/ 207169 h 514350"/>
                <a:gd name="connsiteX7071" fmla="*/ 487204 w 6400800"/>
                <a:gd name="connsiteY7071" fmla="*/ 419576 h 514350"/>
                <a:gd name="connsiteX7072" fmla="*/ 486251 w 6400800"/>
                <a:gd name="connsiteY7072" fmla="*/ 422434 h 514350"/>
                <a:gd name="connsiteX7073" fmla="*/ 483394 w 6400800"/>
                <a:gd name="connsiteY7073" fmla="*/ 422434 h 514350"/>
                <a:gd name="connsiteX7074" fmla="*/ 483394 w 6400800"/>
                <a:gd name="connsiteY7074" fmla="*/ 418624 h 514350"/>
                <a:gd name="connsiteX7075" fmla="*/ 481489 w 6400800"/>
                <a:gd name="connsiteY7075" fmla="*/ 401479 h 514350"/>
                <a:gd name="connsiteX7076" fmla="*/ 487204 w 6400800"/>
                <a:gd name="connsiteY7076" fmla="*/ 419576 h 514350"/>
                <a:gd name="connsiteX7077" fmla="*/ 437674 w 6400800"/>
                <a:gd name="connsiteY7077" fmla="*/ 390049 h 514350"/>
                <a:gd name="connsiteX7078" fmla="*/ 437674 w 6400800"/>
                <a:gd name="connsiteY7078" fmla="*/ 390049 h 514350"/>
                <a:gd name="connsiteX7079" fmla="*/ 437674 w 6400800"/>
                <a:gd name="connsiteY7079" fmla="*/ 388144 h 514350"/>
                <a:gd name="connsiteX7080" fmla="*/ 437674 w 6400800"/>
                <a:gd name="connsiteY7080" fmla="*/ 388144 h 514350"/>
                <a:gd name="connsiteX7081" fmla="*/ 437674 w 6400800"/>
                <a:gd name="connsiteY7081" fmla="*/ 390049 h 514350"/>
                <a:gd name="connsiteX7082" fmla="*/ 437674 w 6400800"/>
                <a:gd name="connsiteY7082" fmla="*/ 390049 h 514350"/>
                <a:gd name="connsiteX7083" fmla="*/ 448151 w 6400800"/>
                <a:gd name="connsiteY7083" fmla="*/ 362426 h 514350"/>
                <a:gd name="connsiteX7084" fmla="*/ 446246 w 6400800"/>
                <a:gd name="connsiteY7084" fmla="*/ 356711 h 514350"/>
                <a:gd name="connsiteX7085" fmla="*/ 449104 w 6400800"/>
                <a:gd name="connsiteY7085" fmla="*/ 347186 h 514350"/>
                <a:gd name="connsiteX7086" fmla="*/ 448151 w 6400800"/>
                <a:gd name="connsiteY7086" fmla="*/ 362426 h 514350"/>
                <a:gd name="connsiteX7087" fmla="*/ 436721 w 6400800"/>
                <a:gd name="connsiteY7087" fmla="*/ 227171 h 514350"/>
                <a:gd name="connsiteX7088" fmla="*/ 440531 w 6400800"/>
                <a:gd name="connsiteY7088" fmla="*/ 246221 h 514350"/>
                <a:gd name="connsiteX7089" fmla="*/ 434816 w 6400800"/>
                <a:gd name="connsiteY7089" fmla="*/ 234791 h 514350"/>
                <a:gd name="connsiteX7090" fmla="*/ 436721 w 6400800"/>
                <a:gd name="connsiteY7090" fmla="*/ 227171 h 514350"/>
                <a:gd name="connsiteX7091" fmla="*/ 428149 w 6400800"/>
                <a:gd name="connsiteY7091" fmla="*/ 280511 h 514350"/>
                <a:gd name="connsiteX7092" fmla="*/ 431959 w 6400800"/>
                <a:gd name="connsiteY7092" fmla="*/ 253841 h 514350"/>
                <a:gd name="connsiteX7093" fmla="*/ 432911 w 6400800"/>
                <a:gd name="connsiteY7093" fmla="*/ 258604 h 514350"/>
                <a:gd name="connsiteX7094" fmla="*/ 438626 w 6400800"/>
                <a:gd name="connsiteY7094" fmla="*/ 284321 h 514350"/>
                <a:gd name="connsiteX7095" fmla="*/ 439579 w 6400800"/>
                <a:gd name="connsiteY7095" fmla="*/ 290036 h 514350"/>
                <a:gd name="connsiteX7096" fmla="*/ 432911 w 6400800"/>
                <a:gd name="connsiteY7096" fmla="*/ 281464 h 514350"/>
                <a:gd name="connsiteX7097" fmla="*/ 439579 w 6400800"/>
                <a:gd name="connsiteY7097" fmla="*/ 295751 h 514350"/>
                <a:gd name="connsiteX7098" fmla="*/ 441484 w 6400800"/>
                <a:gd name="connsiteY7098" fmla="*/ 299561 h 514350"/>
                <a:gd name="connsiteX7099" fmla="*/ 443389 w 6400800"/>
                <a:gd name="connsiteY7099" fmla="*/ 312896 h 514350"/>
                <a:gd name="connsiteX7100" fmla="*/ 446246 w 6400800"/>
                <a:gd name="connsiteY7100" fmla="*/ 328136 h 514350"/>
                <a:gd name="connsiteX7101" fmla="*/ 447199 w 6400800"/>
                <a:gd name="connsiteY7101" fmla="*/ 335756 h 514350"/>
                <a:gd name="connsiteX7102" fmla="*/ 445294 w 6400800"/>
                <a:gd name="connsiteY7102" fmla="*/ 341471 h 514350"/>
                <a:gd name="connsiteX7103" fmla="*/ 442436 w 6400800"/>
                <a:gd name="connsiteY7103" fmla="*/ 349091 h 514350"/>
                <a:gd name="connsiteX7104" fmla="*/ 434816 w 6400800"/>
                <a:gd name="connsiteY7104" fmla="*/ 331946 h 514350"/>
                <a:gd name="connsiteX7105" fmla="*/ 434816 w 6400800"/>
                <a:gd name="connsiteY7105" fmla="*/ 317659 h 514350"/>
                <a:gd name="connsiteX7106" fmla="*/ 432911 w 6400800"/>
                <a:gd name="connsiteY7106" fmla="*/ 328136 h 514350"/>
                <a:gd name="connsiteX7107" fmla="*/ 423386 w 6400800"/>
                <a:gd name="connsiteY7107" fmla="*/ 303371 h 514350"/>
                <a:gd name="connsiteX7108" fmla="*/ 428149 w 6400800"/>
                <a:gd name="connsiteY7108" fmla="*/ 280511 h 514350"/>
                <a:gd name="connsiteX7109" fmla="*/ 418624 w 6400800"/>
                <a:gd name="connsiteY7109" fmla="*/ 345281 h 514350"/>
                <a:gd name="connsiteX7110" fmla="*/ 422434 w 6400800"/>
                <a:gd name="connsiteY7110" fmla="*/ 322421 h 514350"/>
                <a:gd name="connsiteX7111" fmla="*/ 427196 w 6400800"/>
                <a:gd name="connsiteY7111" fmla="*/ 339566 h 514350"/>
                <a:gd name="connsiteX7112" fmla="*/ 430054 w 6400800"/>
                <a:gd name="connsiteY7112" fmla="*/ 350996 h 514350"/>
                <a:gd name="connsiteX7113" fmla="*/ 428149 w 6400800"/>
                <a:gd name="connsiteY7113" fmla="*/ 362426 h 514350"/>
                <a:gd name="connsiteX7114" fmla="*/ 426244 w 6400800"/>
                <a:gd name="connsiteY7114" fmla="*/ 356711 h 514350"/>
                <a:gd name="connsiteX7115" fmla="*/ 420529 w 6400800"/>
                <a:gd name="connsiteY7115" fmla="*/ 344329 h 514350"/>
                <a:gd name="connsiteX7116" fmla="*/ 422434 w 6400800"/>
                <a:gd name="connsiteY7116" fmla="*/ 357664 h 514350"/>
                <a:gd name="connsiteX7117" fmla="*/ 424339 w 6400800"/>
                <a:gd name="connsiteY7117" fmla="*/ 372904 h 514350"/>
                <a:gd name="connsiteX7118" fmla="*/ 425291 w 6400800"/>
                <a:gd name="connsiteY7118" fmla="*/ 377666 h 514350"/>
                <a:gd name="connsiteX7119" fmla="*/ 424339 w 6400800"/>
                <a:gd name="connsiteY7119" fmla="*/ 375761 h 514350"/>
                <a:gd name="connsiteX7120" fmla="*/ 424339 w 6400800"/>
                <a:gd name="connsiteY7120" fmla="*/ 374809 h 514350"/>
                <a:gd name="connsiteX7121" fmla="*/ 418624 w 6400800"/>
                <a:gd name="connsiteY7121" fmla="*/ 351949 h 514350"/>
                <a:gd name="connsiteX7122" fmla="*/ 418624 w 6400800"/>
                <a:gd name="connsiteY7122" fmla="*/ 345281 h 514350"/>
                <a:gd name="connsiteX7123" fmla="*/ 406241 w 6400800"/>
                <a:gd name="connsiteY7123" fmla="*/ 261461 h 514350"/>
                <a:gd name="connsiteX7124" fmla="*/ 411956 w 6400800"/>
                <a:gd name="connsiteY7124" fmla="*/ 285274 h 514350"/>
                <a:gd name="connsiteX7125" fmla="*/ 407194 w 6400800"/>
                <a:gd name="connsiteY7125" fmla="*/ 310039 h 514350"/>
                <a:gd name="connsiteX7126" fmla="*/ 405289 w 6400800"/>
                <a:gd name="connsiteY7126" fmla="*/ 302419 h 514350"/>
                <a:gd name="connsiteX7127" fmla="*/ 406241 w 6400800"/>
                <a:gd name="connsiteY7127" fmla="*/ 261461 h 514350"/>
                <a:gd name="connsiteX7128" fmla="*/ 382429 w 6400800"/>
                <a:gd name="connsiteY7128" fmla="*/ 290036 h 514350"/>
                <a:gd name="connsiteX7129" fmla="*/ 381476 w 6400800"/>
                <a:gd name="connsiteY7129" fmla="*/ 293846 h 514350"/>
                <a:gd name="connsiteX7130" fmla="*/ 381476 w 6400800"/>
                <a:gd name="connsiteY7130" fmla="*/ 285274 h 514350"/>
                <a:gd name="connsiteX7131" fmla="*/ 382429 w 6400800"/>
                <a:gd name="connsiteY7131" fmla="*/ 290036 h 514350"/>
                <a:gd name="connsiteX7132" fmla="*/ 361474 w 6400800"/>
                <a:gd name="connsiteY7132" fmla="*/ 394811 h 514350"/>
                <a:gd name="connsiteX7133" fmla="*/ 361474 w 6400800"/>
                <a:gd name="connsiteY7133" fmla="*/ 404336 h 514350"/>
                <a:gd name="connsiteX7134" fmla="*/ 361474 w 6400800"/>
                <a:gd name="connsiteY7134" fmla="*/ 407194 h 514350"/>
                <a:gd name="connsiteX7135" fmla="*/ 354806 w 6400800"/>
                <a:gd name="connsiteY7135" fmla="*/ 383381 h 514350"/>
                <a:gd name="connsiteX7136" fmla="*/ 354806 w 6400800"/>
                <a:gd name="connsiteY7136" fmla="*/ 382429 h 514350"/>
                <a:gd name="connsiteX7137" fmla="*/ 352901 w 6400800"/>
                <a:gd name="connsiteY7137" fmla="*/ 373856 h 514350"/>
                <a:gd name="connsiteX7138" fmla="*/ 361474 w 6400800"/>
                <a:gd name="connsiteY7138" fmla="*/ 394811 h 514350"/>
                <a:gd name="connsiteX7139" fmla="*/ 347186 w 6400800"/>
                <a:gd name="connsiteY7139" fmla="*/ 307181 h 514350"/>
                <a:gd name="connsiteX7140" fmla="*/ 349091 w 6400800"/>
                <a:gd name="connsiteY7140" fmla="*/ 311944 h 514350"/>
                <a:gd name="connsiteX7141" fmla="*/ 347186 w 6400800"/>
                <a:gd name="connsiteY7141" fmla="*/ 309086 h 514350"/>
                <a:gd name="connsiteX7142" fmla="*/ 347186 w 6400800"/>
                <a:gd name="connsiteY7142" fmla="*/ 307181 h 514350"/>
                <a:gd name="connsiteX7143" fmla="*/ 347186 w 6400800"/>
                <a:gd name="connsiteY7143" fmla="*/ 429101 h 514350"/>
                <a:gd name="connsiteX7144" fmla="*/ 348139 w 6400800"/>
                <a:gd name="connsiteY7144" fmla="*/ 432911 h 514350"/>
                <a:gd name="connsiteX7145" fmla="*/ 346234 w 6400800"/>
                <a:gd name="connsiteY7145" fmla="*/ 432911 h 514350"/>
                <a:gd name="connsiteX7146" fmla="*/ 347186 w 6400800"/>
                <a:gd name="connsiteY7146" fmla="*/ 429101 h 514350"/>
                <a:gd name="connsiteX7147" fmla="*/ 310991 w 6400800"/>
                <a:gd name="connsiteY7147" fmla="*/ 439579 h 514350"/>
                <a:gd name="connsiteX7148" fmla="*/ 311944 w 6400800"/>
                <a:gd name="connsiteY7148" fmla="*/ 424339 h 514350"/>
                <a:gd name="connsiteX7149" fmla="*/ 317659 w 6400800"/>
                <a:gd name="connsiteY7149" fmla="*/ 438626 h 514350"/>
                <a:gd name="connsiteX7150" fmla="*/ 310991 w 6400800"/>
                <a:gd name="connsiteY7150" fmla="*/ 439579 h 514350"/>
                <a:gd name="connsiteX7151" fmla="*/ 302419 w 6400800"/>
                <a:gd name="connsiteY7151" fmla="*/ 230981 h 514350"/>
                <a:gd name="connsiteX7152" fmla="*/ 304324 w 6400800"/>
                <a:gd name="connsiteY7152" fmla="*/ 237649 h 514350"/>
                <a:gd name="connsiteX7153" fmla="*/ 307181 w 6400800"/>
                <a:gd name="connsiteY7153" fmla="*/ 252889 h 514350"/>
                <a:gd name="connsiteX7154" fmla="*/ 300514 w 6400800"/>
                <a:gd name="connsiteY7154" fmla="*/ 244316 h 514350"/>
                <a:gd name="connsiteX7155" fmla="*/ 302419 w 6400800"/>
                <a:gd name="connsiteY7155" fmla="*/ 230981 h 514350"/>
                <a:gd name="connsiteX7156" fmla="*/ 295751 w 6400800"/>
                <a:gd name="connsiteY7156" fmla="*/ 269081 h 514350"/>
                <a:gd name="connsiteX7157" fmla="*/ 297656 w 6400800"/>
                <a:gd name="connsiteY7157" fmla="*/ 262414 h 514350"/>
                <a:gd name="connsiteX7158" fmla="*/ 295751 w 6400800"/>
                <a:gd name="connsiteY7158" fmla="*/ 265271 h 514350"/>
                <a:gd name="connsiteX7159" fmla="*/ 297656 w 6400800"/>
                <a:gd name="connsiteY7159" fmla="*/ 251936 h 514350"/>
                <a:gd name="connsiteX7160" fmla="*/ 299561 w 6400800"/>
                <a:gd name="connsiteY7160" fmla="*/ 243364 h 514350"/>
                <a:gd name="connsiteX7161" fmla="*/ 301466 w 6400800"/>
                <a:gd name="connsiteY7161" fmla="*/ 247174 h 514350"/>
                <a:gd name="connsiteX7162" fmla="*/ 310039 w 6400800"/>
                <a:gd name="connsiteY7162" fmla="*/ 270986 h 514350"/>
                <a:gd name="connsiteX7163" fmla="*/ 319564 w 6400800"/>
                <a:gd name="connsiteY7163" fmla="*/ 312896 h 514350"/>
                <a:gd name="connsiteX7164" fmla="*/ 330041 w 6400800"/>
                <a:gd name="connsiteY7164" fmla="*/ 358616 h 514350"/>
                <a:gd name="connsiteX7165" fmla="*/ 330041 w 6400800"/>
                <a:gd name="connsiteY7165" fmla="*/ 362426 h 514350"/>
                <a:gd name="connsiteX7166" fmla="*/ 327184 w 6400800"/>
                <a:gd name="connsiteY7166" fmla="*/ 404336 h 514350"/>
                <a:gd name="connsiteX7167" fmla="*/ 327184 w 6400800"/>
                <a:gd name="connsiteY7167" fmla="*/ 404336 h 514350"/>
                <a:gd name="connsiteX7168" fmla="*/ 321469 w 6400800"/>
                <a:gd name="connsiteY7168" fmla="*/ 392906 h 514350"/>
                <a:gd name="connsiteX7169" fmla="*/ 310991 w 6400800"/>
                <a:gd name="connsiteY7169" fmla="*/ 362426 h 514350"/>
                <a:gd name="connsiteX7170" fmla="*/ 296704 w 6400800"/>
                <a:gd name="connsiteY7170" fmla="*/ 318611 h 514350"/>
                <a:gd name="connsiteX7171" fmla="*/ 291941 w 6400800"/>
                <a:gd name="connsiteY7171" fmla="*/ 302419 h 514350"/>
                <a:gd name="connsiteX7172" fmla="*/ 295751 w 6400800"/>
                <a:gd name="connsiteY7172" fmla="*/ 269081 h 514350"/>
                <a:gd name="connsiteX7173" fmla="*/ 283369 w 6400800"/>
                <a:gd name="connsiteY7173" fmla="*/ 378619 h 514350"/>
                <a:gd name="connsiteX7174" fmla="*/ 284321 w 6400800"/>
                <a:gd name="connsiteY7174" fmla="*/ 365284 h 514350"/>
                <a:gd name="connsiteX7175" fmla="*/ 285274 w 6400800"/>
                <a:gd name="connsiteY7175" fmla="*/ 363379 h 514350"/>
                <a:gd name="connsiteX7176" fmla="*/ 295751 w 6400800"/>
                <a:gd name="connsiteY7176" fmla="*/ 387191 h 514350"/>
                <a:gd name="connsiteX7177" fmla="*/ 302419 w 6400800"/>
                <a:gd name="connsiteY7177" fmla="*/ 400526 h 514350"/>
                <a:gd name="connsiteX7178" fmla="*/ 303371 w 6400800"/>
                <a:gd name="connsiteY7178" fmla="*/ 404336 h 514350"/>
                <a:gd name="connsiteX7179" fmla="*/ 301466 w 6400800"/>
                <a:gd name="connsiteY7179" fmla="*/ 412909 h 514350"/>
                <a:gd name="connsiteX7180" fmla="*/ 295751 w 6400800"/>
                <a:gd name="connsiteY7180" fmla="*/ 442436 h 514350"/>
                <a:gd name="connsiteX7181" fmla="*/ 283369 w 6400800"/>
                <a:gd name="connsiteY7181" fmla="*/ 444341 h 514350"/>
                <a:gd name="connsiteX7182" fmla="*/ 281464 w 6400800"/>
                <a:gd name="connsiteY7182" fmla="*/ 435769 h 514350"/>
                <a:gd name="connsiteX7183" fmla="*/ 281464 w 6400800"/>
                <a:gd name="connsiteY7183" fmla="*/ 407194 h 514350"/>
                <a:gd name="connsiteX7184" fmla="*/ 283369 w 6400800"/>
                <a:gd name="connsiteY7184" fmla="*/ 378619 h 514350"/>
                <a:gd name="connsiteX7185" fmla="*/ 237649 w 6400800"/>
                <a:gd name="connsiteY7185" fmla="*/ 415766 h 514350"/>
                <a:gd name="connsiteX7186" fmla="*/ 228124 w 6400800"/>
                <a:gd name="connsiteY7186" fmla="*/ 395764 h 514350"/>
                <a:gd name="connsiteX7187" fmla="*/ 229076 w 6400800"/>
                <a:gd name="connsiteY7187" fmla="*/ 383381 h 514350"/>
                <a:gd name="connsiteX7188" fmla="*/ 239554 w 6400800"/>
                <a:gd name="connsiteY7188" fmla="*/ 406241 h 514350"/>
                <a:gd name="connsiteX7189" fmla="*/ 237649 w 6400800"/>
                <a:gd name="connsiteY7189" fmla="*/ 415766 h 514350"/>
                <a:gd name="connsiteX7190" fmla="*/ 247174 w 6400800"/>
                <a:gd name="connsiteY7190" fmla="*/ 431006 h 514350"/>
                <a:gd name="connsiteX7191" fmla="*/ 248126 w 6400800"/>
                <a:gd name="connsiteY7191" fmla="*/ 425291 h 514350"/>
                <a:gd name="connsiteX7192" fmla="*/ 248126 w 6400800"/>
                <a:gd name="connsiteY7192" fmla="*/ 425291 h 514350"/>
                <a:gd name="connsiteX7193" fmla="*/ 247174 w 6400800"/>
                <a:gd name="connsiteY7193" fmla="*/ 431006 h 514350"/>
                <a:gd name="connsiteX7194" fmla="*/ 264319 w 6400800"/>
                <a:gd name="connsiteY7194" fmla="*/ 204311 h 514350"/>
                <a:gd name="connsiteX7195" fmla="*/ 270986 w 6400800"/>
                <a:gd name="connsiteY7195" fmla="*/ 185261 h 514350"/>
                <a:gd name="connsiteX7196" fmla="*/ 267176 w 6400800"/>
                <a:gd name="connsiteY7196" fmla="*/ 214789 h 514350"/>
                <a:gd name="connsiteX7197" fmla="*/ 266224 w 6400800"/>
                <a:gd name="connsiteY7197" fmla="*/ 210026 h 514350"/>
                <a:gd name="connsiteX7198" fmla="*/ 264319 w 6400800"/>
                <a:gd name="connsiteY7198" fmla="*/ 204311 h 514350"/>
                <a:gd name="connsiteX7199" fmla="*/ 264319 w 6400800"/>
                <a:gd name="connsiteY7199" fmla="*/ 204311 h 514350"/>
                <a:gd name="connsiteX7200" fmla="*/ 254794 w 6400800"/>
                <a:gd name="connsiteY7200" fmla="*/ 235744 h 514350"/>
                <a:gd name="connsiteX7201" fmla="*/ 258604 w 6400800"/>
                <a:gd name="connsiteY7201" fmla="*/ 220504 h 514350"/>
                <a:gd name="connsiteX7202" fmla="*/ 261461 w 6400800"/>
                <a:gd name="connsiteY7202" fmla="*/ 242411 h 514350"/>
                <a:gd name="connsiteX7203" fmla="*/ 262414 w 6400800"/>
                <a:gd name="connsiteY7203" fmla="*/ 245269 h 514350"/>
                <a:gd name="connsiteX7204" fmla="*/ 260509 w 6400800"/>
                <a:gd name="connsiteY7204" fmla="*/ 270034 h 514350"/>
                <a:gd name="connsiteX7205" fmla="*/ 257651 w 6400800"/>
                <a:gd name="connsiteY7205" fmla="*/ 264319 h 514350"/>
                <a:gd name="connsiteX7206" fmla="*/ 250984 w 6400800"/>
                <a:gd name="connsiteY7206" fmla="*/ 249079 h 514350"/>
                <a:gd name="connsiteX7207" fmla="*/ 254794 w 6400800"/>
                <a:gd name="connsiteY7207" fmla="*/ 235744 h 514350"/>
                <a:gd name="connsiteX7208" fmla="*/ 245269 w 6400800"/>
                <a:gd name="connsiteY7208" fmla="*/ 276701 h 514350"/>
                <a:gd name="connsiteX7209" fmla="*/ 249079 w 6400800"/>
                <a:gd name="connsiteY7209" fmla="*/ 260509 h 514350"/>
                <a:gd name="connsiteX7210" fmla="*/ 250984 w 6400800"/>
                <a:gd name="connsiteY7210" fmla="*/ 268129 h 514350"/>
                <a:gd name="connsiteX7211" fmla="*/ 258604 w 6400800"/>
                <a:gd name="connsiteY7211" fmla="*/ 292894 h 514350"/>
                <a:gd name="connsiteX7212" fmla="*/ 259556 w 6400800"/>
                <a:gd name="connsiteY7212" fmla="*/ 294799 h 514350"/>
                <a:gd name="connsiteX7213" fmla="*/ 259556 w 6400800"/>
                <a:gd name="connsiteY7213" fmla="*/ 297656 h 514350"/>
                <a:gd name="connsiteX7214" fmla="*/ 257651 w 6400800"/>
                <a:gd name="connsiteY7214" fmla="*/ 333851 h 514350"/>
                <a:gd name="connsiteX7215" fmla="*/ 250984 w 6400800"/>
                <a:gd name="connsiteY7215" fmla="*/ 309086 h 514350"/>
                <a:gd name="connsiteX7216" fmla="*/ 253841 w 6400800"/>
                <a:gd name="connsiteY7216" fmla="*/ 301466 h 514350"/>
                <a:gd name="connsiteX7217" fmla="*/ 250984 w 6400800"/>
                <a:gd name="connsiteY7217" fmla="*/ 307181 h 514350"/>
                <a:gd name="connsiteX7218" fmla="*/ 244316 w 6400800"/>
                <a:gd name="connsiteY7218" fmla="*/ 284321 h 514350"/>
                <a:gd name="connsiteX7219" fmla="*/ 245269 w 6400800"/>
                <a:gd name="connsiteY7219" fmla="*/ 276701 h 514350"/>
                <a:gd name="connsiteX7220" fmla="*/ 236696 w 6400800"/>
                <a:gd name="connsiteY7220" fmla="*/ 325279 h 514350"/>
                <a:gd name="connsiteX7221" fmla="*/ 237649 w 6400800"/>
                <a:gd name="connsiteY7221" fmla="*/ 322421 h 514350"/>
                <a:gd name="connsiteX7222" fmla="*/ 238601 w 6400800"/>
                <a:gd name="connsiteY7222" fmla="*/ 329089 h 514350"/>
                <a:gd name="connsiteX7223" fmla="*/ 235744 w 6400800"/>
                <a:gd name="connsiteY7223" fmla="*/ 335756 h 514350"/>
                <a:gd name="connsiteX7224" fmla="*/ 236696 w 6400800"/>
                <a:gd name="connsiteY7224" fmla="*/ 325279 h 514350"/>
                <a:gd name="connsiteX7225" fmla="*/ 234791 w 6400800"/>
                <a:gd name="connsiteY7225" fmla="*/ 353854 h 514350"/>
                <a:gd name="connsiteX7226" fmla="*/ 240506 w 6400800"/>
                <a:gd name="connsiteY7226" fmla="*/ 337661 h 514350"/>
                <a:gd name="connsiteX7227" fmla="*/ 241459 w 6400800"/>
                <a:gd name="connsiteY7227" fmla="*/ 342424 h 514350"/>
                <a:gd name="connsiteX7228" fmla="*/ 248126 w 6400800"/>
                <a:gd name="connsiteY7228" fmla="*/ 372904 h 514350"/>
                <a:gd name="connsiteX7229" fmla="*/ 247174 w 6400800"/>
                <a:gd name="connsiteY7229" fmla="*/ 378619 h 514350"/>
                <a:gd name="connsiteX7230" fmla="*/ 242411 w 6400800"/>
                <a:gd name="connsiteY7230" fmla="*/ 369094 h 514350"/>
                <a:gd name="connsiteX7231" fmla="*/ 234791 w 6400800"/>
                <a:gd name="connsiteY7231" fmla="*/ 353854 h 514350"/>
                <a:gd name="connsiteX7232" fmla="*/ 234791 w 6400800"/>
                <a:gd name="connsiteY7232" fmla="*/ 353854 h 514350"/>
                <a:gd name="connsiteX7233" fmla="*/ 222409 w 6400800"/>
                <a:gd name="connsiteY7233" fmla="*/ 297656 h 514350"/>
                <a:gd name="connsiteX7234" fmla="*/ 227171 w 6400800"/>
                <a:gd name="connsiteY7234" fmla="*/ 278606 h 514350"/>
                <a:gd name="connsiteX7235" fmla="*/ 228124 w 6400800"/>
                <a:gd name="connsiteY7235" fmla="*/ 284321 h 514350"/>
                <a:gd name="connsiteX7236" fmla="*/ 230029 w 6400800"/>
                <a:gd name="connsiteY7236" fmla="*/ 290989 h 514350"/>
                <a:gd name="connsiteX7237" fmla="*/ 222409 w 6400800"/>
                <a:gd name="connsiteY7237" fmla="*/ 324326 h 514350"/>
                <a:gd name="connsiteX7238" fmla="*/ 221456 w 6400800"/>
                <a:gd name="connsiteY7238" fmla="*/ 330041 h 514350"/>
                <a:gd name="connsiteX7239" fmla="*/ 220504 w 6400800"/>
                <a:gd name="connsiteY7239" fmla="*/ 329089 h 514350"/>
                <a:gd name="connsiteX7240" fmla="*/ 218599 w 6400800"/>
                <a:gd name="connsiteY7240" fmla="*/ 312896 h 514350"/>
                <a:gd name="connsiteX7241" fmla="*/ 222409 w 6400800"/>
                <a:gd name="connsiteY7241" fmla="*/ 297656 h 514350"/>
                <a:gd name="connsiteX7242" fmla="*/ 169069 w 6400800"/>
                <a:gd name="connsiteY7242" fmla="*/ 411956 h 514350"/>
                <a:gd name="connsiteX7243" fmla="*/ 169069 w 6400800"/>
                <a:gd name="connsiteY7243" fmla="*/ 412909 h 514350"/>
                <a:gd name="connsiteX7244" fmla="*/ 165259 w 6400800"/>
                <a:gd name="connsiteY7244" fmla="*/ 396716 h 514350"/>
                <a:gd name="connsiteX7245" fmla="*/ 164306 w 6400800"/>
                <a:gd name="connsiteY7245" fmla="*/ 375761 h 514350"/>
                <a:gd name="connsiteX7246" fmla="*/ 161449 w 6400800"/>
                <a:gd name="connsiteY7246" fmla="*/ 345281 h 514350"/>
                <a:gd name="connsiteX7247" fmla="*/ 158591 w 6400800"/>
                <a:gd name="connsiteY7247" fmla="*/ 321469 h 514350"/>
                <a:gd name="connsiteX7248" fmla="*/ 159544 w 6400800"/>
                <a:gd name="connsiteY7248" fmla="*/ 323374 h 514350"/>
                <a:gd name="connsiteX7249" fmla="*/ 162401 w 6400800"/>
                <a:gd name="connsiteY7249" fmla="*/ 328136 h 514350"/>
                <a:gd name="connsiteX7250" fmla="*/ 167164 w 6400800"/>
                <a:gd name="connsiteY7250" fmla="*/ 376714 h 514350"/>
                <a:gd name="connsiteX7251" fmla="*/ 170021 w 6400800"/>
                <a:gd name="connsiteY7251" fmla="*/ 402431 h 514350"/>
                <a:gd name="connsiteX7252" fmla="*/ 169069 w 6400800"/>
                <a:gd name="connsiteY7252" fmla="*/ 411956 h 514350"/>
                <a:gd name="connsiteX7253" fmla="*/ 209074 w 6400800"/>
                <a:gd name="connsiteY7253" fmla="*/ 350044 h 514350"/>
                <a:gd name="connsiteX7254" fmla="*/ 209074 w 6400800"/>
                <a:gd name="connsiteY7254" fmla="*/ 359569 h 514350"/>
                <a:gd name="connsiteX7255" fmla="*/ 207169 w 6400800"/>
                <a:gd name="connsiteY7255" fmla="*/ 356711 h 514350"/>
                <a:gd name="connsiteX7256" fmla="*/ 209074 w 6400800"/>
                <a:gd name="connsiteY7256" fmla="*/ 350044 h 514350"/>
                <a:gd name="connsiteX7257" fmla="*/ 170974 w 6400800"/>
                <a:gd name="connsiteY7257" fmla="*/ 259556 h 514350"/>
                <a:gd name="connsiteX7258" fmla="*/ 178594 w 6400800"/>
                <a:gd name="connsiteY7258" fmla="*/ 274796 h 514350"/>
                <a:gd name="connsiteX7259" fmla="*/ 187166 w 6400800"/>
                <a:gd name="connsiteY7259" fmla="*/ 291941 h 514350"/>
                <a:gd name="connsiteX7260" fmla="*/ 205264 w 6400800"/>
                <a:gd name="connsiteY7260" fmla="*/ 330041 h 514350"/>
                <a:gd name="connsiteX7261" fmla="*/ 200501 w 6400800"/>
                <a:gd name="connsiteY7261" fmla="*/ 343376 h 514350"/>
                <a:gd name="connsiteX7262" fmla="*/ 199549 w 6400800"/>
                <a:gd name="connsiteY7262" fmla="*/ 342424 h 514350"/>
                <a:gd name="connsiteX7263" fmla="*/ 180499 w 6400800"/>
                <a:gd name="connsiteY7263" fmla="*/ 310039 h 514350"/>
                <a:gd name="connsiteX7264" fmla="*/ 176689 w 6400800"/>
                <a:gd name="connsiteY7264" fmla="*/ 296704 h 514350"/>
                <a:gd name="connsiteX7265" fmla="*/ 176689 w 6400800"/>
                <a:gd name="connsiteY7265" fmla="*/ 305276 h 514350"/>
                <a:gd name="connsiteX7266" fmla="*/ 172879 w 6400800"/>
                <a:gd name="connsiteY7266" fmla="*/ 299561 h 514350"/>
                <a:gd name="connsiteX7267" fmla="*/ 171926 w 6400800"/>
                <a:gd name="connsiteY7267" fmla="*/ 298609 h 514350"/>
                <a:gd name="connsiteX7268" fmla="*/ 168116 w 6400800"/>
                <a:gd name="connsiteY7268" fmla="*/ 279559 h 514350"/>
                <a:gd name="connsiteX7269" fmla="*/ 158591 w 6400800"/>
                <a:gd name="connsiteY7269" fmla="*/ 235744 h 514350"/>
                <a:gd name="connsiteX7270" fmla="*/ 170974 w 6400800"/>
                <a:gd name="connsiteY7270" fmla="*/ 259556 h 514350"/>
                <a:gd name="connsiteX7271" fmla="*/ 161449 w 6400800"/>
                <a:gd name="connsiteY7271" fmla="*/ 307181 h 514350"/>
                <a:gd name="connsiteX7272" fmla="*/ 156686 w 6400800"/>
                <a:gd name="connsiteY7272" fmla="*/ 301466 h 514350"/>
                <a:gd name="connsiteX7273" fmla="*/ 155734 w 6400800"/>
                <a:gd name="connsiteY7273" fmla="*/ 297656 h 514350"/>
                <a:gd name="connsiteX7274" fmla="*/ 161449 w 6400800"/>
                <a:gd name="connsiteY7274" fmla="*/ 307181 h 514350"/>
                <a:gd name="connsiteX7275" fmla="*/ 130969 w 6400800"/>
                <a:gd name="connsiteY7275" fmla="*/ 280511 h 514350"/>
                <a:gd name="connsiteX7276" fmla="*/ 133826 w 6400800"/>
                <a:gd name="connsiteY7276" fmla="*/ 284321 h 514350"/>
                <a:gd name="connsiteX7277" fmla="*/ 145256 w 6400800"/>
                <a:gd name="connsiteY7277" fmla="*/ 301466 h 514350"/>
                <a:gd name="connsiteX7278" fmla="*/ 150971 w 6400800"/>
                <a:gd name="connsiteY7278" fmla="*/ 310039 h 514350"/>
                <a:gd name="connsiteX7279" fmla="*/ 150019 w 6400800"/>
                <a:gd name="connsiteY7279" fmla="*/ 341471 h 514350"/>
                <a:gd name="connsiteX7280" fmla="*/ 149066 w 6400800"/>
                <a:gd name="connsiteY7280" fmla="*/ 339566 h 514350"/>
                <a:gd name="connsiteX7281" fmla="*/ 145256 w 6400800"/>
                <a:gd name="connsiteY7281" fmla="*/ 328136 h 514350"/>
                <a:gd name="connsiteX7282" fmla="*/ 140494 w 6400800"/>
                <a:gd name="connsiteY7282" fmla="*/ 317659 h 514350"/>
                <a:gd name="connsiteX7283" fmla="*/ 132874 w 6400800"/>
                <a:gd name="connsiteY7283" fmla="*/ 301466 h 514350"/>
                <a:gd name="connsiteX7284" fmla="*/ 127159 w 6400800"/>
                <a:gd name="connsiteY7284" fmla="*/ 290989 h 514350"/>
                <a:gd name="connsiteX7285" fmla="*/ 130969 w 6400800"/>
                <a:gd name="connsiteY7285" fmla="*/ 280511 h 514350"/>
                <a:gd name="connsiteX7286" fmla="*/ 121444 w 6400800"/>
                <a:gd name="connsiteY7286" fmla="*/ 318611 h 514350"/>
                <a:gd name="connsiteX7287" fmla="*/ 127159 w 6400800"/>
                <a:gd name="connsiteY7287" fmla="*/ 294799 h 514350"/>
                <a:gd name="connsiteX7288" fmla="*/ 127159 w 6400800"/>
                <a:gd name="connsiteY7288" fmla="*/ 293846 h 514350"/>
                <a:gd name="connsiteX7289" fmla="*/ 129064 w 6400800"/>
                <a:gd name="connsiteY7289" fmla="*/ 303371 h 514350"/>
                <a:gd name="connsiteX7290" fmla="*/ 133826 w 6400800"/>
                <a:gd name="connsiteY7290" fmla="*/ 320516 h 514350"/>
                <a:gd name="connsiteX7291" fmla="*/ 138589 w 6400800"/>
                <a:gd name="connsiteY7291" fmla="*/ 342424 h 514350"/>
                <a:gd name="connsiteX7292" fmla="*/ 143351 w 6400800"/>
                <a:gd name="connsiteY7292" fmla="*/ 369094 h 514350"/>
                <a:gd name="connsiteX7293" fmla="*/ 148114 w 6400800"/>
                <a:gd name="connsiteY7293" fmla="*/ 398621 h 514350"/>
                <a:gd name="connsiteX7294" fmla="*/ 149066 w 6400800"/>
                <a:gd name="connsiteY7294" fmla="*/ 403384 h 514350"/>
                <a:gd name="connsiteX7295" fmla="*/ 149066 w 6400800"/>
                <a:gd name="connsiteY7295" fmla="*/ 411004 h 514350"/>
                <a:gd name="connsiteX7296" fmla="*/ 149066 w 6400800"/>
                <a:gd name="connsiteY7296" fmla="*/ 416719 h 514350"/>
                <a:gd name="connsiteX7297" fmla="*/ 138589 w 6400800"/>
                <a:gd name="connsiteY7297" fmla="*/ 388144 h 514350"/>
                <a:gd name="connsiteX7298" fmla="*/ 129064 w 6400800"/>
                <a:gd name="connsiteY7298" fmla="*/ 363379 h 514350"/>
                <a:gd name="connsiteX7299" fmla="*/ 131921 w 6400800"/>
                <a:gd name="connsiteY7299" fmla="*/ 358616 h 514350"/>
                <a:gd name="connsiteX7300" fmla="*/ 129064 w 6400800"/>
                <a:gd name="connsiteY7300" fmla="*/ 361474 h 514350"/>
                <a:gd name="connsiteX7301" fmla="*/ 124301 w 6400800"/>
                <a:gd name="connsiteY7301" fmla="*/ 350044 h 514350"/>
                <a:gd name="connsiteX7302" fmla="*/ 125254 w 6400800"/>
                <a:gd name="connsiteY7302" fmla="*/ 344329 h 514350"/>
                <a:gd name="connsiteX7303" fmla="*/ 129064 w 6400800"/>
                <a:gd name="connsiteY7303" fmla="*/ 328136 h 514350"/>
                <a:gd name="connsiteX7304" fmla="*/ 121444 w 6400800"/>
                <a:gd name="connsiteY7304" fmla="*/ 343376 h 514350"/>
                <a:gd name="connsiteX7305" fmla="*/ 121444 w 6400800"/>
                <a:gd name="connsiteY7305" fmla="*/ 343376 h 514350"/>
                <a:gd name="connsiteX7306" fmla="*/ 120491 w 6400800"/>
                <a:gd name="connsiteY7306" fmla="*/ 341471 h 514350"/>
                <a:gd name="connsiteX7307" fmla="*/ 117634 w 6400800"/>
                <a:gd name="connsiteY7307" fmla="*/ 334804 h 514350"/>
                <a:gd name="connsiteX7308" fmla="*/ 121444 w 6400800"/>
                <a:gd name="connsiteY7308" fmla="*/ 318611 h 514350"/>
                <a:gd name="connsiteX7309" fmla="*/ 116681 w 6400800"/>
                <a:gd name="connsiteY7309" fmla="*/ 393859 h 514350"/>
                <a:gd name="connsiteX7310" fmla="*/ 127159 w 6400800"/>
                <a:gd name="connsiteY7310" fmla="*/ 419576 h 514350"/>
                <a:gd name="connsiteX7311" fmla="*/ 113824 w 6400800"/>
                <a:gd name="connsiteY7311" fmla="*/ 414814 h 514350"/>
                <a:gd name="connsiteX7312" fmla="*/ 116681 w 6400800"/>
                <a:gd name="connsiteY7312" fmla="*/ 393859 h 514350"/>
                <a:gd name="connsiteX7313" fmla="*/ 91916 w 6400800"/>
                <a:gd name="connsiteY7313" fmla="*/ 341471 h 514350"/>
                <a:gd name="connsiteX7314" fmla="*/ 92869 w 6400800"/>
                <a:gd name="connsiteY7314" fmla="*/ 335756 h 514350"/>
                <a:gd name="connsiteX7315" fmla="*/ 94774 w 6400800"/>
                <a:gd name="connsiteY7315" fmla="*/ 340519 h 514350"/>
                <a:gd name="connsiteX7316" fmla="*/ 102394 w 6400800"/>
                <a:gd name="connsiteY7316" fmla="*/ 358616 h 514350"/>
                <a:gd name="connsiteX7317" fmla="*/ 96679 w 6400800"/>
                <a:gd name="connsiteY7317" fmla="*/ 384334 h 514350"/>
                <a:gd name="connsiteX7318" fmla="*/ 94774 w 6400800"/>
                <a:gd name="connsiteY7318" fmla="*/ 399574 h 514350"/>
                <a:gd name="connsiteX7319" fmla="*/ 93821 w 6400800"/>
                <a:gd name="connsiteY7319" fmla="*/ 400526 h 514350"/>
                <a:gd name="connsiteX7320" fmla="*/ 90964 w 6400800"/>
                <a:gd name="connsiteY7320" fmla="*/ 404336 h 514350"/>
                <a:gd name="connsiteX7321" fmla="*/ 88106 w 6400800"/>
                <a:gd name="connsiteY7321" fmla="*/ 382429 h 514350"/>
                <a:gd name="connsiteX7322" fmla="*/ 85249 w 6400800"/>
                <a:gd name="connsiteY7322" fmla="*/ 365284 h 514350"/>
                <a:gd name="connsiteX7323" fmla="*/ 91916 w 6400800"/>
                <a:gd name="connsiteY7323" fmla="*/ 341471 h 514350"/>
                <a:gd name="connsiteX7324" fmla="*/ 72866 w 6400800"/>
                <a:gd name="connsiteY7324" fmla="*/ 407194 h 514350"/>
                <a:gd name="connsiteX7325" fmla="*/ 72866 w 6400800"/>
                <a:gd name="connsiteY7325" fmla="*/ 409099 h 514350"/>
                <a:gd name="connsiteX7326" fmla="*/ 71914 w 6400800"/>
                <a:gd name="connsiteY7326" fmla="*/ 409099 h 514350"/>
                <a:gd name="connsiteX7327" fmla="*/ 72866 w 6400800"/>
                <a:gd name="connsiteY7327" fmla="*/ 407194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Lst>
              <a:rect l="l" t="t" r="r" b="b"/>
              <a:pathLst>
                <a:path w="6400800" h="514350">
                  <a:moveTo>
                    <a:pt x="7144" y="511016"/>
                  </a:moveTo>
                  <a:lnTo>
                    <a:pt x="6354604" y="511016"/>
                  </a:lnTo>
                  <a:lnTo>
                    <a:pt x="6354604" y="409099"/>
                  </a:lnTo>
                  <a:cubicBezTo>
                    <a:pt x="6346031" y="411004"/>
                    <a:pt x="6337459" y="413861"/>
                    <a:pt x="6327934" y="415766"/>
                  </a:cubicBezTo>
                  <a:cubicBezTo>
                    <a:pt x="6327934" y="411956"/>
                    <a:pt x="6327934" y="408146"/>
                    <a:pt x="6327934" y="404336"/>
                  </a:cubicBezTo>
                  <a:cubicBezTo>
                    <a:pt x="6328887" y="396716"/>
                    <a:pt x="6327934" y="389096"/>
                    <a:pt x="6328887" y="383381"/>
                  </a:cubicBezTo>
                  <a:cubicBezTo>
                    <a:pt x="6329839" y="371951"/>
                    <a:pt x="6329839" y="365284"/>
                    <a:pt x="6329839" y="365284"/>
                  </a:cubicBezTo>
                  <a:cubicBezTo>
                    <a:pt x="6329839" y="365284"/>
                    <a:pt x="6327934" y="371951"/>
                    <a:pt x="6324124" y="383381"/>
                  </a:cubicBezTo>
                  <a:cubicBezTo>
                    <a:pt x="6322219" y="389096"/>
                    <a:pt x="6321267" y="395764"/>
                    <a:pt x="6319362" y="404336"/>
                  </a:cubicBezTo>
                  <a:cubicBezTo>
                    <a:pt x="6318409" y="409099"/>
                    <a:pt x="6317456" y="413861"/>
                    <a:pt x="6316504" y="419576"/>
                  </a:cubicBezTo>
                  <a:cubicBezTo>
                    <a:pt x="6311742" y="420529"/>
                    <a:pt x="6306979" y="421481"/>
                    <a:pt x="6303169" y="423386"/>
                  </a:cubicBezTo>
                  <a:cubicBezTo>
                    <a:pt x="6303169" y="416719"/>
                    <a:pt x="6303169" y="411004"/>
                    <a:pt x="6304121" y="405289"/>
                  </a:cubicBezTo>
                  <a:cubicBezTo>
                    <a:pt x="6308884" y="390049"/>
                    <a:pt x="6314599" y="373856"/>
                    <a:pt x="6319362" y="358616"/>
                  </a:cubicBezTo>
                  <a:cubicBezTo>
                    <a:pt x="6320314" y="355759"/>
                    <a:pt x="6321267" y="352901"/>
                    <a:pt x="6322219" y="349091"/>
                  </a:cubicBezTo>
                  <a:cubicBezTo>
                    <a:pt x="6326029" y="336709"/>
                    <a:pt x="6330792" y="325279"/>
                    <a:pt x="6334601" y="312896"/>
                  </a:cubicBezTo>
                  <a:cubicBezTo>
                    <a:pt x="6340317" y="297656"/>
                    <a:pt x="6345079" y="283369"/>
                    <a:pt x="6349842" y="269081"/>
                  </a:cubicBezTo>
                  <a:cubicBezTo>
                    <a:pt x="6354604" y="254794"/>
                    <a:pt x="6359367" y="240506"/>
                    <a:pt x="6363176" y="228124"/>
                  </a:cubicBezTo>
                  <a:cubicBezTo>
                    <a:pt x="6367939" y="214789"/>
                    <a:pt x="6371749" y="202406"/>
                    <a:pt x="6375559" y="190976"/>
                  </a:cubicBezTo>
                  <a:cubicBezTo>
                    <a:pt x="6383179" y="168116"/>
                    <a:pt x="6388894" y="149066"/>
                    <a:pt x="6393656" y="134779"/>
                  </a:cubicBezTo>
                  <a:cubicBezTo>
                    <a:pt x="6397467" y="121444"/>
                    <a:pt x="6400324" y="113824"/>
                    <a:pt x="6400324" y="113824"/>
                  </a:cubicBezTo>
                  <a:cubicBezTo>
                    <a:pt x="6400324" y="113824"/>
                    <a:pt x="6396514" y="121444"/>
                    <a:pt x="6389846" y="133826"/>
                  </a:cubicBezTo>
                  <a:cubicBezTo>
                    <a:pt x="6386989" y="139541"/>
                    <a:pt x="6384131" y="146209"/>
                    <a:pt x="6380321" y="153829"/>
                  </a:cubicBezTo>
                  <a:cubicBezTo>
                    <a:pt x="6385084" y="136684"/>
                    <a:pt x="6389846" y="121444"/>
                    <a:pt x="6392704" y="110966"/>
                  </a:cubicBezTo>
                  <a:cubicBezTo>
                    <a:pt x="6396514" y="95726"/>
                    <a:pt x="6399371" y="87154"/>
                    <a:pt x="6399371" y="87154"/>
                  </a:cubicBezTo>
                  <a:cubicBezTo>
                    <a:pt x="6399371" y="87154"/>
                    <a:pt x="6395562" y="95726"/>
                    <a:pt x="6388894" y="109061"/>
                  </a:cubicBezTo>
                  <a:cubicBezTo>
                    <a:pt x="6386037" y="115729"/>
                    <a:pt x="6382226" y="125254"/>
                    <a:pt x="6377464" y="134779"/>
                  </a:cubicBezTo>
                  <a:cubicBezTo>
                    <a:pt x="6372701" y="144304"/>
                    <a:pt x="6367939" y="155734"/>
                    <a:pt x="6364129" y="168116"/>
                  </a:cubicBezTo>
                  <a:cubicBezTo>
                    <a:pt x="6354604" y="192881"/>
                    <a:pt x="6343174" y="222409"/>
                    <a:pt x="6332696" y="253841"/>
                  </a:cubicBezTo>
                  <a:cubicBezTo>
                    <a:pt x="6326981" y="270034"/>
                    <a:pt x="6321267" y="286226"/>
                    <a:pt x="6316504" y="302419"/>
                  </a:cubicBezTo>
                  <a:cubicBezTo>
                    <a:pt x="6315551" y="304324"/>
                    <a:pt x="6315551" y="306229"/>
                    <a:pt x="6314599" y="308134"/>
                  </a:cubicBezTo>
                  <a:cubicBezTo>
                    <a:pt x="6315551" y="300514"/>
                    <a:pt x="6316504" y="293846"/>
                    <a:pt x="6317456" y="287179"/>
                  </a:cubicBezTo>
                  <a:cubicBezTo>
                    <a:pt x="6318409" y="279559"/>
                    <a:pt x="6319362" y="272891"/>
                    <a:pt x="6319362" y="267176"/>
                  </a:cubicBezTo>
                  <a:cubicBezTo>
                    <a:pt x="6320314" y="256699"/>
                    <a:pt x="6320314" y="250031"/>
                    <a:pt x="6320314" y="250031"/>
                  </a:cubicBezTo>
                  <a:cubicBezTo>
                    <a:pt x="6320314" y="250031"/>
                    <a:pt x="6318409" y="255746"/>
                    <a:pt x="6314599" y="266224"/>
                  </a:cubicBezTo>
                  <a:cubicBezTo>
                    <a:pt x="6311742" y="276701"/>
                    <a:pt x="6306979" y="291941"/>
                    <a:pt x="6302217" y="310039"/>
                  </a:cubicBezTo>
                  <a:cubicBezTo>
                    <a:pt x="6299359" y="318611"/>
                    <a:pt x="6296501" y="329089"/>
                    <a:pt x="6293644" y="339566"/>
                  </a:cubicBezTo>
                  <a:cubicBezTo>
                    <a:pt x="6291739" y="347186"/>
                    <a:pt x="6288881" y="354806"/>
                    <a:pt x="6286976" y="362426"/>
                  </a:cubicBezTo>
                  <a:cubicBezTo>
                    <a:pt x="6286024" y="352901"/>
                    <a:pt x="6285071" y="343376"/>
                    <a:pt x="6284119" y="335756"/>
                  </a:cubicBezTo>
                  <a:cubicBezTo>
                    <a:pt x="6286024" y="330041"/>
                    <a:pt x="6286976" y="324326"/>
                    <a:pt x="6288881" y="318611"/>
                  </a:cubicBezTo>
                  <a:cubicBezTo>
                    <a:pt x="6293644" y="303371"/>
                    <a:pt x="6298406" y="289084"/>
                    <a:pt x="6302217" y="274796"/>
                  </a:cubicBezTo>
                  <a:cubicBezTo>
                    <a:pt x="6304121" y="268129"/>
                    <a:pt x="6306026" y="261461"/>
                    <a:pt x="6307931" y="255746"/>
                  </a:cubicBezTo>
                  <a:cubicBezTo>
                    <a:pt x="6309837" y="250031"/>
                    <a:pt x="6311742" y="244316"/>
                    <a:pt x="6313646" y="238601"/>
                  </a:cubicBezTo>
                  <a:cubicBezTo>
                    <a:pt x="6317456" y="228124"/>
                    <a:pt x="6320314" y="218599"/>
                    <a:pt x="6323171" y="210026"/>
                  </a:cubicBezTo>
                  <a:cubicBezTo>
                    <a:pt x="6327934" y="193834"/>
                    <a:pt x="6330792" y="185261"/>
                    <a:pt x="6330792" y="185261"/>
                  </a:cubicBezTo>
                  <a:cubicBezTo>
                    <a:pt x="6330792" y="185261"/>
                    <a:pt x="6326981" y="193834"/>
                    <a:pt x="6319362" y="208121"/>
                  </a:cubicBezTo>
                  <a:cubicBezTo>
                    <a:pt x="6315551" y="215741"/>
                    <a:pt x="6311742" y="224314"/>
                    <a:pt x="6306026" y="234791"/>
                  </a:cubicBezTo>
                  <a:cubicBezTo>
                    <a:pt x="6303169" y="239554"/>
                    <a:pt x="6301264" y="245269"/>
                    <a:pt x="6298406" y="250984"/>
                  </a:cubicBezTo>
                  <a:cubicBezTo>
                    <a:pt x="6295549" y="256699"/>
                    <a:pt x="6293644" y="263366"/>
                    <a:pt x="6290787" y="270034"/>
                  </a:cubicBezTo>
                  <a:cubicBezTo>
                    <a:pt x="6286976" y="279559"/>
                    <a:pt x="6282214" y="290036"/>
                    <a:pt x="6278404" y="301466"/>
                  </a:cubicBezTo>
                  <a:cubicBezTo>
                    <a:pt x="6277451" y="295751"/>
                    <a:pt x="6277451" y="292894"/>
                    <a:pt x="6277451" y="292894"/>
                  </a:cubicBezTo>
                  <a:cubicBezTo>
                    <a:pt x="6277451" y="292894"/>
                    <a:pt x="6277451" y="297656"/>
                    <a:pt x="6276499" y="306229"/>
                  </a:cubicBezTo>
                  <a:cubicBezTo>
                    <a:pt x="6275546" y="308134"/>
                    <a:pt x="6274594" y="310991"/>
                    <a:pt x="6273642" y="312896"/>
                  </a:cubicBezTo>
                  <a:cubicBezTo>
                    <a:pt x="6272689" y="315754"/>
                    <a:pt x="6271737" y="319564"/>
                    <a:pt x="6269831" y="322421"/>
                  </a:cubicBezTo>
                  <a:cubicBezTo>
                    <a:pt x="6270784" y="314801"/>
                    <a:pt x="6272689" y="308134"/>
                    <a:pt x="6273642" y="300514"/>
                  </a:cubicBezTo>
                  <a:cubicBezTo>
                    <a:pt x="6277451" y="283369"/>
                    <a:pt x="6280309" y="267176"/>
                    <a:pt x="6283167" y="252889"/>
                  </a:cubicBezTo>
                  <a:cubicBezTo>
                    <a:pt x="6285071" y="245269"/>
                    <a:pt x="6286024" y="238601"/>
                    <a:pt x="6287929" y="231934"/>
                  </a:cubicBezTo>
                  <a:cubicBezTo>
                    <a:pt x="6289834" y="225266"/>
                    <a:pt x="6290787" y="218599"/>
                    <a:pt x="6292692" y="212884"/>
                  </a:cubicBezTo>
                  <a:cubicBezTo>
                    <a:pt x="6295549" y="200501"/>
                    <a:pt x="6298406" y="190024"/>
                    <a:pt x="6300312" y="181451"/>
                  </a:cubicBezTo>
                  <a:cubicBezTo>
                    <a:pt x="6304121" y="164306"/>
                    <a:pt x="6306026" y="153829"/>
                    <a:pt x="6306026" y="153829"/>
                  </a:cubicBezTo>
                  <a:cubicBezTo>
                    <a:pt x="6306026" y="153829"/>
                    <a:pt x="6302217" y="163354"/>
                    <a:pt x="6296501" y="180499"/>
                  </a:cubicBezTo>
                  <a:cubicBezTo>
                    <a:pt x="6293644" y="189071"/>
                    <a:pt x="6289834" y="199549"/>
                    <a:pt x="6286024" y="210979"/>
                  </a:cubicBezTo>
                  <a:cubicBezTo>
                    <a:pt x="6284119" y="216694"/>
                    <a:pt x="6282214" y="223361"/>
                    <a:pt x="6279356" y="230029"/>
                  </a:cubicBezTo>
                  <a:cubicBezTo>
                    <a:pt x="6277451" y="236696"/>
                    <a:pt x="6275546" y="243364"/>
                    <a:pt x="6273642" y="250984"/>
                  </a:cubicBezTo>
                  <a:cubicBezTo>
                    <a:pt x="6269831" y="265271"/>
                    <a:pt x="6265069" y="281464"/>
                    <a:pt x="6260306" y="298609"/>
                  </a:cubicBezTo>
                  <a:cubicBezTo>
                    <a:pt x="6255544" y="315754"/>
                    <a:pt x="6251734" y="333851"/>
                    <a:pt x="6246971" y="351949"/>
                  </a:cubicBezTo>
                  <a:cubicBezTo>
                    <a:pt x="6244114" y="366236"/>
                    <a:pt x="6240304" y="381476"/>
                    <a:pt x="6236494" y="396716"/>
                  </a:cubicBezTo>
                  <a:cubicBezTo>
                    <a:pt x="6236494" y="395764"/>
                    <a:pt x="6235542" y="395764"/>
                    <a:pt x="6235542" y="394811"/>
                  </a:cubicBezTo>
                  <a:cubicBezTo>
                    <a:pt x="6235542" y="379571"/>
                    <a:pt x="6234589" y="370046"/>
                    <a:pt x="6234589" y="370046"/>
                  </a:cubicBezTo>
                  <a:cubicBezTo>
                    <a:pt x="6234589" y="370046"/>
                    <a:pt x="6233637" y="376714"/>
                    <a:pt x="6230779" y="389096"/>
                  </a:cubicBezTo>
                  <a:cubicBezTo>
                    <a:pt x="6229826" y="387191"/>
                    <a:pt x="6228874" y="386239"/>
                    <a:pt x="6227921" y="384334"/>
                  </a:cubicBezTo>
                  <a:cubicBezTo>
                    <a:pt x="6224112" y="378619"/>
                    <a:pt x="6220301" y="372904"/>
                    <a:pt x="6216492" y="367189"/>
                  </a:cubicBezTo>
                  <a:cubicBezTo>
                    <a:pt x="6218396" y="360521"/>
                    <a:pt x="6220301" y="354806"/>
                    <a:pt x="6223159" y="348139"/>
                  </a:cubicBezTo>
                  <a:cubicBezTo>
                    <a:pt x="6227921" y="334804"/>
                    <a:pt x="6232684" y="322421"/>
                    <a:pt x="6236494" y="310991"/>
                  </a:cubicBezTo>
                  <a:cubicBezTo>
                    <a:pt x="6240304" y="299561"/>
                    <a:pt x="6244114" y="289084"/>
                    <a:pt x="6247924" y="279559"/>
                  </a:cubicBezTo>
                  <a:cubicBezTo>
                    <a:pt x="6251734" y="270034"/>
                    <a:pt x="6254592" y="262414"/>
                    <a:pt x="6256496" y="254794"/>
                  </a:cubicBezTo>
                  <a:cubicBezTo>
                    <a:pt x="6261259" y="241459"/>
                    <a:pt x="6264117" y="233839"/>
                    <a:pt x="6264117" y="233839"/>
                  </a:cubicBezTo>
                  <a:cubicBezTo>
                    <a:pt x="6264117" y="233839"/>
                    <a:pt x="6260306" y="241459"/>
                    <a:pt x="6252687" y="253841"/>
                  </a:cubicBezTo>
                  <a:cubicBezTo>
                    <a:pt x="6248876" y="260509"/>
                    <a:pt x="6245067" y="268129"/>
                    <a:pt x="6240304" y="276701"/>
                  </a:cubicBezTo>
                  <a:cubicBezTo>
                    <a:pt x="6235542" y="285274"/>
                    <a:pt x="6230779" y="295751"/>
                    <a:pt x="6225064" y="307181"/>
                  </a:cubicBezTo>
                  <a:cubicBezTo>
                    <a:pt x="6220301" y="318611"/>
                    <a:pt x="6214587" y="330994"/>
                    <a:pt x="6208871" y="343376"/>
                  </a:cubicBezTo>
                  <a:cubicBezTo>
                    <a:pt x="6207919" y="346234"/>
                    <a:pt x="6206014" y="349091"/>
                    <a:pt x="6205062" y="351949"/>
                  </a:cubicBezTo>
                  <a:cubicBezTo>
                    <a:pt x="6205062" y="351949"/>
                    <a:pt x="6204109" y="350996"/>
                    <a:pt x="6204109" y="350996"/>
                  </a:cubicBezTo>
                  <a:cubicBezTo>
                    <a:pt x="6206967" y="340519"/>
                    <a:pt x="6208871" y="330041"/>
                    <a:pt x="6210776" y="320516"/>
                  </a:cubicBezTo>
                  <a:cubicBezTo>
                    <a:pt x="6214587" y="298609"/>
                    <a:pt x="6219349" y="280511"/>
                    <a:pt x="6222206" y="268129"/>
                  </a:cubicBezTo>
                  <a:cubicBezTo>
                    <a:pt x="6225064" y="255746"/>
                    <a:pt x="6226017" y="248126"/>
                    <a:pt x="6226017" y="248126"/>
                  </a:cubicBezTo>
                  <a:cubicBezTo>
                    <a:pt x="6226017" y="248126"/>
                    <a:pt x="6223159" y="254794"/>
                    <a:pt x="6218396" y="267176"/>
                  </a:cubicBezTo>
                  <a:cubicBezTo>
                    <a:pt x="6216492" y="272891"/>
                    <a:pt x="6213634" y="280511"/>
                    <a:pt x="6209824" y="289084"/>
                  </a:cubicBezTo>
                  <a:cubicBezTo>
                    <a:pt x="6206967" y="297656"/>
                    <a:pt x="6203156" y="307181"/>
                    <a:pt x="6199346" y="317659"/>
                  </a:cubicBezTo>
                  <a:cubicBezTo>
                    <a:pt x="6197442" y="323374"/>
                    <a:pt x="6195537" y="330041"/>
                    <a:pt x="6193631" y="335756"/>
                  </a:cubicBezTo>
                  <a:cubicBezTo>
                    <a:pt x="6190774" y="330994"/>
                    <a:pt x="6186964" y="326231"/>
                    <a:pt x="6184106" y="322421"/>
                  </a:cubicBezTo>
                  <a:cubicBezTo>
                    <a:pt x="6183154" y="321469"/>
                    <a:pt x="6182201" y="320516"/>
                    <a:pt x="6181249" y="318611"/>
                  </a:cubicBezTo>
                  <a:cubicBezTo>
                    <a:pt x="6182201" y="312896"/>
                    <a:pt x="6183154" y="307181"/>
                    <a:pt x="6184106" y="302419"/>
                  </a:cubicBezTo>
                  <a:cubicBezTo>
                    <a:pt x="6186012" y="291941"/>
                    <a:pt x="6186964" y="282416"/>
                    <a:pt x="6189821" y="274796"/>
                  </a:cubicBezTo>
                  <a:cubicBezTo>
                    <a:pt x="6193631" y="259556"/>
                    <a:pt x="6195537" y="250984"/>
                    <a:pt x="6195537" y="250984"/>
                  </a:cubicBezTo>
                  <a:cubicBezTo>
                    <a:pt x="6195537" y="250984"/>
                    <a:pt x="6191726" y="259556"/>
                    <a:pt x="6186012" y="273844"/>
                  </a:cubicBezTo>
                  <a:cubicBezTo>
                    <a:pt x="6183154" y="280511"/>
                    <a:pt x="6180296" y="290036"/>
                    <a:pt x="6176487" y="300514"/>
                  </a:cubicBezTo>
                  <a:cubicBezTo>
                    <a:pt x="6175534" y="303371"/>
                    <a:pt x="6174581" y="306229"/>
                    <a:pt x="6173629" y="309086"/>
                  </a:cubicBezTo>
                  <a:cubicBezTo>
                    <a:pt x="6173629" y="309086"/>
                    <a:pt x="6172676" y="308134"/>
                    <a:pt x="6172676" y="308134"/>
                  </a:cubicBezTo>
                  <a:cubicBezTo>
                    <a:pt x="6173629" y="303371"/>
                    <a:pt x="6174581" y="298609"/>
                    <a:pt x="6174581" y="294799"/>
                  </a:cubicBezTo>
                  <a:cubicBezTo>
                    <a:pt x="6176487" y="283369"/>
                    <a:pt x="6178392" y="272891"/>
                    <a:pt x="6180296" y="263366"/>
                  </a:cubicBezTo>
                  <a:cubicBezTo>
                    <a:pt x="6182201" y="253841"/>
                    <a:pt x="6184106" y="244316"/>
                    <a:pt x="6185059" y="236696"/>
                  </a:cubicBezTo>
                  <a:cubicBezTo>
                    <a:pt x="6186964" y="229076"/>
                    <a:pt x="6187917" y="221456"/>
                    <a:pt x="6188869" y="215741"/>
                  </a:cubicBezTo>
                  <a:cubicBezTo>
                    <a:pt x="6190774" y="204311"/>
                    <a:pt x="6192679" y="197644"/>
                    <a:pt x="6192679" y="197644"/>
                  </a:cubicBezTo>
                  <a:cubicBezTo>
                    <a:pt x="6192679" y="197644"/>
                    <a:pt x="6189821" y="203359"/>
                    <a:pt x="6185059" y="214789"/>
                  </a:cubicBezTo>
                  <a:cubicBezTo>
                    <a:pt x="6180296" y="225266"/>
                    <a:pt x="6174581" y="241459"/>
                    <a:pt x="6168867" y="260509"/>
                  </a:cubicBezTo>
                  <a:cubicBezTo>
                    <a:pt x="6166962" y="267176"/>
                    <a:pt x="6165056" y="273844"/>
                    <a:pt x="6163151" y="280511"/>
                  </a:cubicBezTo>
                  <a:cubicBezTo>
                    <a:pt x="6161246" y="270034"/>
                    <a:pt x="6160294" y="261461"/>
                    <a:pt x="6159342" y="253841"/>
                  </a:cubicBezTo>
                  <a:cubicBezTo>
                    <a:pt x="6156484" y="235744"/>
                    <a:pt x="6154579" y="225266"/>
                    <a:pt x="6154579" y="225266"/>
                  </a:cubicBezTo>
                  <a:cubicBezTo>
                    <a:pt x="6154579" y="225266"/>
                    <a:pt x="6155531" y="248126"/>
                    <a:pt x="6156484" y="285274"/>
                  </a:cubicBezTo>
                  <a:cubicBezTo>
                    <a:pt x="6151721" y="278606"/>
                    <a:pt x="6146959" y="272891"/>
                    <a:pt x="6143149" y="268129"/>
                  </a:cubicBezTo>
                  <a:cubicBezTo>
                    <a:pt x="6143149" y="268129"/>
                    <a:pt x="6143149" y="267176"/>
                    <a:pt x="6143149" y="267176"/>
                  </a:cubicBezTo>
                  <a:cubicBezTo>
                    <a:pt x="6144101" y="263366"/>
                    <a:pt x="6145054" y="259556"/>
                    <a:pt x="6146006" y="256699"/>
                  </a:cubicBezTo>
                  <a:cubicBezTo>
                    <a:pt x="6156484" y="210026"/>
                    <a:pt x="6161246" y="178594"/>
                    <a:pt x="6161246" y="178594"/>
                  </a:cubicBezTo>
                  <a:cubicBezTo>
                    <a:pt x="6161246" y="178594"/>
                    <a:pt x="6158389" y="186214"/>
                    <a:pt x="6152674" y="200501"/>
                  </a:cubicBezTo>
                  <a:cubicBezTo>
                    <a:pt x="6152674" y="199549"/>
                    <a:pt x="6152674" y="198596"/>
                    <a:pt x="6152674" y="197644"/>
                  </a:cubicBezTo>
                  <a:cubicBezTo>
                    <a:pt x="6154579" y="188119"/>
                    <a:pt x="6155531" y="179546"/>
                    <a:pt x="6156484" y="172879"/>
                  </a:cubicBezTo>
                  <a:cubicBezTo>
                    <a:pt x="6158389" y="158591"/>
                    <a:pt x="6160294" y="150971"/>
                    <a:pt x="6160294" y="150971"/>
                  </a:cubicBezTo>
                  <a:cubicBezTo>
                    <a:pt x="6160294" y="150971"/>
                    <a:pt x="6157437" y="158591"/>
                    <a:pt x="6152674" y="171926"/>
                  </a:cubicBezTo>
                  <a:cubicBezTo>
                    <a:pt x="6150769" y="178594"/>
                    <a:pt x="6147912" y="187166"/>
                    <a:pt x="6145054" y="196691"/>
                  </a:cubicBezTo>
                  <a:cubicBezTo>
                    <a:pt x="6143149" y="204311"/>
                    <a:pt x="6140292" y="211931"/>
                    <a:pt x="6138387" y="220504"/>
                  </a:cubicBezTo>
                  <a:cubicBezTo>
                    <a:pt x="6136481" y="209074"/>
                    <a:pt x="6135529" y="202406"/>
                    <a:pt x="6135529" y="202406"/>
                  </a:cubicBezTo>
                  <a:cubicBezTo>
                    <a:pt x="6135529" y="202406"/>
                    <a:pt x="6135529" y="209074"/>
                    <a:pt x="6134576" y="221456"/>
                  </a:cubicBezTo>
                  <a:cubicBezTo>
                    <a:pt x="6134576" y="227171"/>
                    <a:pt x="6132671" y="234791"/>
                    <a:pt x="6132671" y="242411"/>
                  </a:cubicBezTo>
                  <a:cubicBezTo>
                    <a:pt x="6132671" y="244316"/>
                    <a:pt x="6131719" y="246221"/>
                    <a:pt x="6131719" y="249079"/>
                  </a:cubicBezTo>
                  <a:cubicBezTo>
                    <a:pt x="6131719" y="250984"/>
                    <a:pt x="6130767" y="251936"/>
                    <a:pt x="6130767" y="253841"/>
                  </a:cubicBezTo>
                  <a:cubicBezTo>
                    <a:pt x="6129814" y="252889"/>
                    <a:pt x="6129814" y="251936"/>
                    <a:pt x="6129814" y="251936"/>
                  </a:cubicBezTo>
                  <a:cubicBezTo>
                    <a:pt x="6129814" y="251936"/>
                    <a:pt x="6129814" y="252889"/>
                    <a:pt x="6130767" y="254794"/>
                  </a:cubicBezTo>
                  <a:cubicBezTo>
                    <a:pt x="6130767" y="256699"/>
                    <a:pt x="6129814" y="258604"/>
                    <a:pt x="6129814" y="261461"/>
                  </a:cubicBezTo>
                  <a:cubicBezTo>
                    <a:pt x="6129814" y="250031"/>
                    <a:pt x="6129814" y="243364"/>
                    <a:pt x="6129814" y="243364"/>
                  </a:cubicBezTo>
                  <a:cubicBezTo>
                    <a:pt x="6129814" y="243364"/>
                    <a:pt x="6127909" y="254794"/>
                    <a:pt x="6126004" y="274796"/>
                  </a:cubicBezTo>
                  <a:cubicBezTo>
                    <a:pt x="6126004" y="276701"/>
                    <a:pt x="6126004" y="279559"/>
                    <a:pt x="6125051" y="281464"/>
                  </a:cubicBezTo>
                  <a:cubicBezTo>
                    <a:pt x="6124099" y="275749"/>
                    <a:pt x="6123146" y="270986"/>
                    <a:pt x="6122194" y="267176"/>
                  </a:cubicBezTo>
                  <a:cubicBezTo>
                    <a:pt x="6119337" y="251936"/>
                    <a:pt x="6117431" y="243364"/>
                    <a:pt x="6117431" y="243364"/>
                  </a:cubicBezTo>
                  <a:cubicBezTo>
                    <a:pt x="6117431" y="243364"/>
                    <a:pt x="6117431" y="251936"/>
                    <a:pt x="6118384" y="267176"/>
                  </a:cubicBezTo>
                  <a:cubicBezTo>
                    <a:pt x="6118384" y="275749"/>
                    <a:pt x="6119337" y="287179"/>
                    <a:pt x="6119337" y="300514"/>
                  </a:cubicBezTo>
                  <a:cubicBezTo>
                    <a:pt x="6117431" y="306229"/>
                    <a:pt x="6115526" y="311944"/>
                    <a:pt x="6114574" y="317659"/>
                  </a:cubicBezTo>
                  <a:cubicBezTo>
                    <a:pt x="6114574" y="313849"/>
                    <a:pt x="6114574" y="310991"/>
                    <a:pt x="6114574" y="307181"/>
                  </a:cubicBezTo>
                  <a:cubicBezTo>
                    <a:pt x="6113621" y="299561"/>
                    <a:pt x="6113621" y="292894"/>
                    <a:pt x="6112669" y="286226"/>
                  </a:cubicBezTo>
                  <a:cubicBezTo>
                    <a:pt x="6111717" y="279559"/>
                    <a:pt x="6110764" y="274796"/>
                    <a:pt x="6109812" y="270986"/>
                  </a:cubicBezTo>
                  <a:cubicBezTo>
                    <a:pt x="6106954" y="262414"/>
                    <a:pt x="6105049" y="258604"/>
                    <a:pt x="6105049" y="258604"/>
                  </a:cubicBezTo>
                  <a:cubicBezTo>
                    <a:pt x="6105049" y="258604"/>
                    <a:pt x="6105049" y="263366"/>
                    <a:pt x="6106001" y="272891"/>
                  </a:cubicBezTo>
                  <a:cubicBezTo>
                    <a:pt x="6106001" y="275749"/>
                    <a:pt x="6106001" y="278606"/>
                    <a:pt x="6106001" y="282416"/>
                  </a:cubicBezTo>
                  <a:cubicBezTo>
                    <a:pt x="6105049" y="279559"/>
                    <a:pt x="6105049" y="276701"/>
                    <a:pt x="6104096" y="273844"/>
                  </a:cubicBezTo>
                  <a:cubicBezTo>
                    <a:pt x="6103144" y="271939"/>
                    <a:pt x="6103144" y="270034"/>
                    <a:pt x="6102192" y="268129"/>
                  </a:cubicBezTo>
                  <a:cubicBezTo>
                    <a:pt x="6102192" y="263366"/>
                    <a:pt x="6101239" y="258604"/>
                    <a:pt x="6101239" y="253841"/>
                  </a:cubicBezTo>
                  <a:cubicBezTo>
                    <a:pt x="6102192" y="251936"/>
                    <a:pt x="6102192" y="249079"/>
                    <a:pt x="6103144" y="247174"/>
                  </a:cubicBezTo>
                  <a:cubicBezTo>
                    <a:pt x="6105049" y="238601"/>
                    <a:pt x="6106954" y="230981"/>
                    <a:pt x="6107906" y="225266"/>
                  </a:cubicBezTo>
                  <a:cubicBezTo>
                    <a:pt x="6110764" y="212884"/>
                    <a:pt x="6111717" y="205264"/>
                    <a:pt x="6111717" y="205264"/>
                  </a:cubicBezTo>
                  <a:cubicBezTo>
                    <a:pt x="6111717" y="205264"/>
                    <a:pt x="6108859" y="211931"/>
                    <a:pt x="6104096" y="223361"/>
                  </a:cubicBezTo>
                  <a:cubicBezTo>
                    <a:pt x="6103144" y="227171"/>
                    <a:pt x="6101239" y="230981"/>
                    <a:pt x="6099334" y="234791"/>
                  </a:cubicBezTo>
                  <a:cubicBezTo>
                    <a:pt x="6098381" y="220504"/>
                    <a:pt x="6097429" y="210026"/>
                    <a:pt x="6096476" y="206216"/>
                  </a:cubicBezTo>
                  <a:cubicBezTo>
                    <a:pt x="6096476" y="204311"/>
                    <a:pt x="6097429" y="201454"/>
                    <a:pt x="6097429" y="199549"/>
                  </a:cubicBezTo>
                  <a:cubicBezTo>
                    <a:pt x="6099334" y="191929"/>
                    <a:pt x="6100287" y="184309"/>
                    <a:pt x="6101239" y="177641"/>
                  </a:cubicBezTo>
                  <a:cubicBezTo>
                    <a:pt x="6102192" y="170974"/>
                    <a:pt x="6103144" y="163354"/>
                    <a:pt x="6104096" y="157639"/>
                  </a:cubicBezTo>
                  <a:cubicBezTo>
                    <a:pt x="6106001" y="145256"/>
                    <a:pt x="6106954" y="133826"/>
                    <a:pt x="6107906" y="124301"/>
                  </a:cubicBezTo>
                  <a:cubicBezTo>
                    <a:pt x="6109812" y="106204"/>
                    <a:pt x="6110764" y="95726"/>
                    <a:pt x="6110764" y="95726"/>
                  </a:cubicBezTo>
                  <a:cubicBezTo>
                    <a:pt x="6110764" y="95726"/>
                    <a:pt x="6107906" y="106204"/>
                    <a:pt x="6104096" y="124301"/>
                  </a:cubicBezTo>
                  <a:cubicBezTo>
                    <a:pt x="6102192" y="132874"/>
                    <a:pt x="6099334" y="144304"/>
                    <a:pt x="6096476" y="156686"/>
                  </a:cubicBezTo>
                  <a:cubicBezTo>
                    <a:pt x="6095524" y="163354"/>
                    <a:pt x="6093619" y="170021"/>
                    <a:pt x="6091714" y="176689"/>
                  </a:cubicBezTo>
                  <a:cubicBezTo>
                    <a:pt x="6089809" y="183356"/>
                    <a:pt x="6087904" y="190976"/>
                    <a:pt x="6085999" y="198596"/>
                  </a:cubicBezTo>
                  <a:cubicBezTo>
                    <a:pt x="6085046" y="203359"/>
                    <a:pt x="6083142" y="209074"/>
                    <a:pt x="6081237" y="214789"/>
                  </a:cubicBezTo>
                  <a:cubicBezTo>
                    <a:pt x="6077426" y="206216"/>
                    <a:pt x="6074569" y="201454"/>
                    <a:pt x="6074569" y="201454"/>
                  </a:cubicBezTo>
                  <a:cubicBezTo>
                    <a:pt x="6074569" y="201454"/>
                    <a:pt x="6076474" y="208121"/>
                    <a:pt x="6079331" y="219551"/>
                  </a:cubicBezTo>
                  <a:cubicBezTo>
                    <a:pt x="6078379" y="222409"/>
                    <a:pt x="6076474" y="225266"/>
                    <a:pt x="6073617" y="230029"/>
                  </a:cubicBezTo>
                  <a:cubicBezTo>
                    <a:pt x="6072664" y="231934"/>
                    <a:pt x="6071712" y="234791"/>
                    <a:pt x="6069806" y="237649"/>
                  </a:cubicBezTo>
                  <a:cubicBezTo>
                    <a:pt x="6069806" y="233839"/>
                    <a:pt x="6069806" y="230981"/>
                    <a:pt x="6069806" y="228124"/>
                  </a:cubicBezTo>
                  <a:cubicBezTo>
                    <a:pt x="6069806" y="213836"/>
                    <a:pt x="6069806" y="205264"/>
                    <a:pt x="6069806" y="205264"/>
                  </a:cubicBezTo>
                  <a:cubicBezTo>
                    <a:pt x="6069806" y="205264"/>
                    <a:pt x="6067901" y="213836"/>
                    <a:pt x="6065996" y="228124"/>
                  </a:cubicBezTo>
                  <a:cubicBezTo>
                    <a:pt x="6065044" y="235744"/>
                    <a:pt x="6063139" y="243364"/>
                    <a:pt x="6061234" y="253841"/>
                  </a:cubicBezTo>
                  <a:cubicBezTo>
                    <a:pt x="6060281" y="256699"/>
                    <a:pt x="6060281" y="259556"/>
                    <a:pt x="6059329" y="263366"/>
                  </a:cubicBezTo>
                  <a:cubicBezTo>
                    <a:pt x="6058376" y="265271"/>
                    <a:pt x="6058376" y="267176"/>
                    <a:pt x="6057424" y="268129"/>
                  </a:cubicBezTo>
                  <a:cubicBezTo>
                    <a:pt x="6054567" y="275749"/>
                    <a:pt x="6051709" y="285274"/>
                    <a:pt x="6048851" y="294799"/>
                  </a:cubicBezTo>
                  <a:cubicBezTo>
                    <a:pt x="6045994" y="304324"/>
                    <a:pt x="6044089" y="313849"/>
                    <a:pt x="6041231" y="324326"/>
                  </a:cubicBezTo>
                  <a:cubicBezTo>
                    <a:pt x="6041231" y="324326"/>
                    <a:pt x="6041231" y="325279"/>
                    <a:pt x="6041231" y="325279"/>
                  </a:cubicBezTo>
                  <a:cubicBezTo>
                    <a:pt x="6038374" y="318611"/>
                    <a:pt x="6036469" y="311944"/>
                    <a:pt x="6033612" y="306229"/>
                  </a:cubicBezTo>
                  <a:cubicBezTo>
                    <a:pt x="6032659" y="303371"/>
                    <a:pt x="6030754" y="299561"/>
                    <a:pt x="6029801" y="296704"/>
                  </a:cubicBezTo>
                  <a:cubicBezTo>
                    <a:pt x="6029801" y="296704"/>
                    <a:pt x="6029801" y="295751"/>
                    <a:pt x="6029801" y="295751"/>
                  </a:cubicBezTo>
                  <a:cubicBezTo>
                    <a:pt x="6030754" y="290036"/>
                    <a:pt x="6031706" y="285274"/>
                    <a:pt x="6031706" y="281464"/>
                  </a:cubicBezTo>
                  <a:cubicBezTo>
                    <a:pt x="6032659" y="272891"/>
                    <a:pt x="6033612" y="269081"/>
                    <a:pt x="6033612" y="269081"/>
                  </a:cubicBezTo>
                  <a:cubicBezTo>
                    <a:pt x="6033612" y="269081"/>
                    <a:pt x="6031706" y="272891"/>
                    <a:pt x="6027896" y="280511"/>
                  </a:cubicBezTo>
                  <a:cubicBezTo>
                    <a:pt x="6026944" y="282416"/>
                    <a:pt x="6025992" y="284321"/>
                    <a:pt x="6025039" y="286226"/>
                  </a:cubicBezTo>
                  <a:cubicBezTo>
                    <a:pt x="6023134" y="281464"/>
                    <a:pt x="6021229" y="276701"/>
                    <a:pt x="6020276" y="272891"/>
                  </a:cubicBezTo>
                  <a:cubicBezTo>
                    <a:pt x="6013609" y="254794"/>
                    <a:pt x="6008846" y="244316"/>
                    <a:pt x="6008846" y="244316"/>
                  </a:cubicBezTo>
                  <a:cubicBezTo>
                    <a:pt x="6008846" y="244316"/>
                    <a:pt x="6011704" y="254794"/>
                    <a:pt x="6016467" y="273844"/>
                  </a:cubicBezTo>
                  <a:cubicBezTo>
                    <a:pt x="6018371" y="279559"/>
                    <a:pt x="6020276" y="286226"/>
                    <a:pt x="6022181" y="293846"/>
                  </a:cubicBezTo>
                  <a:cubicBezTo>
                    <a:pt x="6021229" y="296704"/>
                    <a:pt x="6020276" y="299561"/>
                    <a:pt x="6019324" y="302419"/>
                  </a:cubicBezTo>
                  <a:cubicBezTo>
                    <a:pt x="6018371" y="305276"/>
                    <a:pt x="6017419" y="309086"/>
                    <a:pt x="6016467" y="311944"/>
                  </a:cubicBezTo>
                  <a:cubicBezTo>
                    <a:pt x="6014562" y="318611"/>
                    <a:pt x="6012656" y="326231"/>
                    <a:pt x="6010751" y="333851"/>
                  </a:cubicBezTo>
                  <a:cubicBezTo>
                    <a:pt x="6010751" y="333851"/>
                    <a:pt x="6010751" y="334804"/>
                    <a:pt x="6010751" y="334804"/>
                  </a:cubicBezTo>
                  <a:cubicBezTo>
                    <a:pt x="6007894" y="330041"/>
                    <a:pt x="6005989" y="325279"/>
                    <a:pt x="6003131" y="320516"/>
                  </a:cubicBezTo>
                  <a:cubicBezTo>
                    <a:pt x="6001226" y="316706"/>
                    <a:pt x="5999321" y="312896"/>
                    <a:pt x="5996464" y="308134"/>
                  </a:cubicBezTo>
                  <a:cubicBezTo>
                    <a:pt x="5997417" y="306229"/>
                    <a:pt x="5998369" y="304324"/>
                    <a:pt x="5999321" y="302419"/>
                  </a:cubicBezTo>
                  <a:cubicBezTo>
                    <a:pt x="6002179" y="294799"/>
                    <a:pt x="6005037" y="289084"/>
                    <a:pt x="6007894" y="283369"/>
                  </a:cubicBezTo>
                  <a:cubicBezTo>
                    <a:pt x="6012656" y="272891"/>
                    <a:pt x="6014562" y="267176"/>
                    <a:pt x="6014562" y="267176"/>
                  </a:cubicBezTo>
                  <a:cubicBezTo>
                    <a:pt x="6014562" y="267176"/>
                    <a:pt x="6010751" y="272891"/>
                    <a:pt x="6004084" y="281464"/>
                  </a:cubicBezTo>
                  <a:cubicBezTo>
                    <a:pt x="6001226" y="286226"/>
                    <a:pt x="5997417" y="291941"/>
                    <a:pt x="5993606" y="297656"/>
                  </a:cubicBezTo>
                  <a:cubicBezTo>
                    <a:pt x="5992654" y="289084"/>
                    <a:pt x="5990749" y="281464"/>
                    <a:pt x="5989796" y="273844"/>
                  </a:cubicBezTo>
                  <a:cubicBezTo>
                    <a:pt x="5990749" y="266224"/>
                    <a:pt x="5990749" y="258604"/>
                    <a:pt x="5991701" y="250984"/>
                  </a:cubicBezTo>
                  <a:cubicBezTo>
                    <a:pt x="5992654" y="235744"/>
                    <a:pt x="5995512" y="223361"/>
                    <a:pt x="5997417" y="212884"/>
                  </a:cubicBezTo>
                  <a:cubicBezTo>
                    <a:pt x="6001226" y="191929"/>
                    <a:pt x="6003131" y="179546"/>
                    <a:pt x="6003131" y="179546"/>
                  </a:cubicBezTo>
                  <a:cubicBezTo>
                    <a:pt x="6003131" y="179546"/>
                    <a:pt x="5999321" y="190976"/>
                    <a:pt x="5993606" y="211931"/>
                  </a:cubicBezTo>
                  <a:cubicBezTo>
                    <a:pt x="5990749" y="222409"/>
                    <a:pt x="5986939" y="233839"/>
                    <a:pt x="5985034" y="248126"/>
                  </a:cubicBezTo>
                  <a:cubicBezTo>
                    <a:pt x="5981224" y="233839"/>
                    <a:pt x="5978367" y="219551"/>
                    <a:pt x="5974556" y="206216"/>
                  </a:cubicBezTo>
                  <a:cubicBezTo>
                    <a:pt x="5974556" y="206216"/>
                    <a:pt x="5974556" y="206216"/>
                    <a:pt x="5974556" y="206216"/>
                  </a:cubicBezTo>
                  <a:cubicBezTo>
                    <a:pt x="5975509" y="195739"/>
                    <a:pt x="5976462" y="186214"/>
                    <a:pt x="5977414" y="178594"/>
                  </a:cubicBezTo>
                  <a:cubicBezTo>
                    <a:pt x="5978367" y="163354"/>
                    <a:pt x="5979319" y="153829"/>
                    <a:pt x="5979319" y="153829"/>
                  </a:cubicBezTo>
                  <a:cubicBezTo>
                    <a:pt x="5979319" y="153829"/>
                    <a:pt x="5977414" y="162401"/>
                    <a:pt x="5973604" y="177641"/>
                  </a:cubicBezTo>
                  <a:cubicBezTo>
                    <a:pt x="5972651" y="181451"/>
                    <a:pt x="5971699" y="186214"/>
                    <a:pt x="5969794" y="191929"/>
                  </a:cubicBezTo>
                  <a:cubicBezTo>
                    <a:pt x="5965984" y="180499"/>
                    <a:pt x="5963126" y="170021"/>
                    <a:pt x="5959317" y="160496"/>
                  </a:cubicBezTo>
                  <a:cubicBezTo>
                    <a:pt x="5954554" y="148114"/>
                    <a:pt x="5950744" y="137636"/>
                    <a:pt x="5946934" y="130016"/>
                  </a:cubicBezTo>
                  <a:cubicBezTo>
                    <a:pt x="5939314" y="112871"/>
                    <a:pt x="5934551" y="104299"/>
                    <a:pt x="5934551" y="104299"/>
                  </a:cubicBezTo>
                  <a:cubicBezTo>
                    <a:pt x="5934551" y="104299"/>
                    <a:pt x="5937409" y="113824"/>
                    <a:pt x="5943124" y="131921"/>
                  </a:cubicBezTo>
                  <a:cubicBezTo>
                    <a:pt x="5945981" y="140494"/>
                    <a:pt x="5948839" y="150971"/>
                    <a:pt x="5951696" y="163354"/>
                  </a:cubicBezTo>
                  <a:cubicBezTo>
                    <a:pt x="5955506" y="175736"/>
                    <a:pt x="5957412" y="189071"/>
                    <a:pt x="5961221" y="204311"/>
                  </a:cubicBezTo>
                  <a:cubicBezTo>
                    <a:pt x="5962174" y="208121"/>
                    <a:pt x="5963126" y="212884"/>
                    <a:pt x="5964079" y="216694"/>
                  </a:cubicBezTo>
                  <a:cubicBezTo>
                    <a:pt x="5964079" y="218599"/>
                    <a:pt x="5963126" y="220504"/>
                    <a:pt x="5962174" y="222409"/>
                  </a:cubicBezTo>
                  <a:cubicBezTo>
                    <a:pt x="5961221" y="226219"/>
                    <a:pt x="5959317" y="230981"/>
                    <a:pt x="5958364" y="235744"/>
                  </a:cubicBezTo>
                  <a:cubicBezTo>
                    <a:pt x="5957412" y="234791"/>
                    <a:pt x="5957412" y="233839"/>
                    <a:pt x="5956459" y="232886"/>
                  </a:cubicBezTo>
                  <a:cubicBezTo>
                    <a:pt x="5956459" y="231934"/>
                    <a:pt x="5956459" y="231934"/>
                    <a:pt x="5956459" y="231934"/>
                  </a:cubicBezTo>
                  <a:cubicBezTo>
                    <a:pt x="5956459" y="231934"/>
                    <a:pt x="5956459" y="231934"/>
                    <a:pt x="5956459" y="232886"/>
                  </a:cubicBezTo>
                  <a:cubicBezTo>
                    <a:pt x="5948839" y="219551"/>
                    <a:pt x="5943124" y="208121"/>
                    <a:pt x="5938362" y="199549"/>
                  </a:cubicBezTo>
                  <a:cubicBezTo>
                    <a:pt x="5931694" y="187166"/>
                    <a:pt x="5927884" y="180499"/>
                    <a:pt x="5927884" y="180499"/>
                  </a:cubicBezTo>
                  <a:cubicBezTo>
                    <a:pt x="5927884" y="180499"/>
                    <a:pt x="5937409" y="209074"/>
                    <a:pt x="5953601" y="250984"/>
                  </a:cubicBezTo>
                  <a:cubicBezTo>
                    <a:pt x="5953601" y="252889"/>
                    <a:pt x="5952649" y="253841"/>
                    <a:pt x="5952649" y="255746"/>
                  </a:cubicBezTo>
                  <a:cubicBezTo>
                    <a:pt x="5949792" y="264319"/>
                    <a:pt x="5947887" y="272891"/>
                    <a:pt x="5945029" y="282416"/>
                  </a:cubicBezTo>
                  <a:cubicBezTo>
                    <a:pt x="5945029" y="283369"/>
                    <a:pt x="5944076" y="284321"/>
                    <a:pt x="5944076" y="285274"/>
                  </a:cubicBezTo>
                  <a:cubicBezTo>
                    <a:pt x="5943124" y="280511"/>
                    <a:pt x="5941219" y="275749"/>
                    <a:pt x="5940267" y="271939"/>
                  </a:cubicBezTo>
                  <a:cubicBezTo>
                    <a:pt x="5936456" y="259556"/>
                    <a:pt x="5932646" y="247174"/>
                    <a:pt x="5928837" y="237649"/>
                  </a:cubicBezTo>
                  <a:cubicBezTo>
                    <a:pt x="5925979" y="230981"/>
                    <a:pt x="5924074" y="225266"/>
                    <a:pt x="5922169" y="220504"/>
                  </a:cubicBezTo>
                  <a:cubicBezTo>
                    <a:pt x="5923121" y="217646"/>
                    <a:pt x="5923121" y="216694"/>
                    <a:pt x="5923121" y="216694"/>
                  </a:cubicBezTo>
                  <a:cubicBezTo>
                    <a:pt x="5923121" y="216694"/>
                    <a:pt x="5922169" y="217646"/>
                    <a:pt x="5921217" y="219551"/>
                  </a:cubicBezTo>
                  <a:cubicBezTo>
                    <a:pt x="5920264" y="216694"/>
                    <a:pt x="5919312" y="213836"/>
                    <a:pt x="5917406" y="211931"/>
                  </a:cubicBezTo>
                  <a:cubicBezTo>
                    <a:pt x="5913596" y="204311"/>
                    <a:pt x="5910739" y="198596"/>
                    <a:pt x="5908834" y="194786"/>
                  </a:cubicBezTo>
                  <a:cubicBezTo>
                    <a:pt x="5908834" y="190976"/>
                    <a:pt x="5907881" y="187166"/>
                    <a:pt x="5907881" y="183356"/>
                  </a:cubicBezTo>
                  <a:cubicBezTo>
                    <a:pt x="5905976" y="168116"/>
                    <a:pt x="5905024" y="159544"/>
                    <a:pt x="5905024" y="159544"/>
                  </a:cubicBezTo>
                  <a:cubicBezTo>
                    <a:pt x="5905024" y="159544"/>
                    <a:pt x="5904071" y="168116"/>
                    <a:pt x="5904071" y="184309"/>
                  </a:cubicBezTo>
                  <a:cubicBezTo>
                    <a:pt x="5904071" y="191929"/>
                    <a:pt x="5903119" y="201454"/>
                    <a:pt x="5903119" y="211931"/>
                  </a:cubicBezTo>
                  <a:cubicBezTo>
                    <a:pt x="5903119" y="217646"/>
                    <a:pt x="5903119" y="223361"/>
                    <a:pt x="5902167" y="229076"/>
                  </a:cubicBezTo>
                  <a:cubicBezTo>
                    <a:pt x="5902167" y="234791"/>
                    <a:pt x="5902167" y="241459"/>
                    <a:pt x="5902167" y="248126"/>
                  </a:cubicBezTo>
                  <a:cubicBezTo>
                    <a:pt x="5902167" y="254794"/>
                    <a:pt x="5902167" y="262414"/>
                    <a:pt x="5903119" y="270034"/>
                  </a:cubicBezTo>
                  <a:cubicBezTo>
                    <a:pt x="5902167" y="274796"/>
                    <a:pt x="5901214" y="279559"/>
                    <a:pt x="5900262" y="285274"/>
                  </a:cubicBezTo>
                  <a:cubicBezTo>
                    <a:pt x="5900262" y="284321"/>
                    <a:pt x="5900262" y="283369"/>
                    <a:pt x="5899309" y="282416"/>
                  </a:cubicBezTo>
                  <a:cubicBezTo>
                    <a:pt x="5897404" y="274796"/>
                    <a:pt x="5896451" y="268129"/>
                    <a:pt x="5895499" y="263366"/>
                  </a:cubicBezTo>
                  <a:cubicBezTo>
                    <a:pt x="5893594" y="255746"/>
                    <a:pt x="5892642" y="250031"/>
                    <a:pt x="5891689" y="248126"/>
                  </a:cubicBezTo>
                  <a:cubicBezTo>
                    <a:pt x="5891689" y="246221"/>
                    <a:pt x="5891689" y="245269"/>
                    <a:pt x="5891689" y="245269"/>
                  </a:cubicBezTo>
                  <a:cubicBezTo>
                    <a:pt x="5891689" y="245269"/>
                    <a:pt x="5891689" y="246221"/>
                    <a:pt x="5890737" y="247174"/>
                  </a:cubicBezTo>
                  <a:cubicBezTo>
                    <a:pt x="5890737" y="247174"/>
                    <a:pt x="5890737" y="247174"/>
                    <a:pt x="5890737" y="247174"/>
                  </a:cubicBezTo>
                  <a:cubicBezTo>
                    <a:pt x="5890737" y="247174"/>
                    <a:pt x="5890737" y="247174"/>
                    <a:pt x="5890737" y="248126"/>
                  </a:cubicBezTo>
                  <a:cubicBezTo>
                    <a:pt x="5889784" y="251936"/>
                    <a:pt x="5885974" y="261461"/>
                    <a:pt x="5881212" y="275749"/>
                  </a:cubicBezTo>
                  <a:cubicBezTo>
                    <a:pt x="5880259" y="270986"/>
                    <a:pt x="5879306" y="266224"/>
                    <a:pt x="5878354" y="262414"/>
                  </a:cubicBezTo>
                  <a:cubicBezTo>
                    <a:pt x="5875496" y="248126"/>
                    <a:pt x="5874544" y="240506"/>
                    <a:pt x="5874544" y="240506"/>
                  </a:cubicBezTo>
                  <a:cubicBezTo>
                    <a:pt x="5874544" y="240506"/>
                    <a:pt x="5874544" y="248126"/>
                    <a:pt x="5874544" y="262414"/>
                  </a:cubicBezTo>
                  <a:cubicBezTo>
                    <a:pt x="5874544" y="270034"/>
                    <a:pt x="5875496" y="279559"/>
                    <a:pt x="5875496" y="290989"/>
                  </a:cubicBezTo>
                  <a:cubicBezTo>
                    <a:pt x="5874544" y="293846"/>
                    <a:pt x="5873592" y="295751"/>
                    <a:pt x="5873592" y="298609"/>
                  </a:cubicBezTo>
                  <a:cubicBezTo>
                    <a:pt x="5872639" y="290036"/>
                    <a:pt x="5872639" y="280511"/>
                    <a:pt x="5870734" y="271939"/>
                  </a:cubicBezTo>
                  <a:cubicBezTo>
                    <a:pt x="5869781" y="278606"/>
                    <a:pt x="5868829" y="286226"/>
                    <a:pt x="5867876" y="292894"/>
                  </a:cubicBezTo>
                  <a:cubicBezTo>
                    <a:pt x="5867876" y="285274"/>
                    <a:pt x="5867876" y="276701"/>
                    <a:pt x="5866924" y="269081"/>
                  </a:cubicBezTo>
                  <a:cubicBezTo>
                    <a:pt x="5866924" y="260509"/>
                    <a:pt x="5865971" y="251936"/>
                    <a:pt x="5865971" y="243364"/>
                  </a:cubicBezTo>
                  <a:cubicBezTo>
                    <a:pt x="5870734" y="231934"/>
                    <a:pt x="5873592" y="225266"/>
                    <a:pt x="5873592" y="225266"/>
                  </a:cubicBezTo>
                  <a:cubicBezTo>
                    <a:pt x="5873592" y="225266"/>
                    <a:pt x="5870734" y="230029"/>
                    <a:pt x="5865971" y="237649"/>
                  </a:cubicBezTo>
                  <a:cubicBezTo>
                    <a:pt x="5865971" y="234791"/>
                    <a:pt x="5865971" y="232886"/>
                    <a:pt x="5865971" y="230029"/>
                  </a:cubicBezTo>
                  <a:cubicBezTo>
                    <a:pt x="5865971" y="217646"/>
                    <a:pt x="5865019" y="205264"/>
                    <a:pt x="5865019" y="194786"/>
                  </a:cubicBezTo>
                  <a:cubicBezTo>
                    <a:pt x="5864067" y="172879"/>
                    <a:pt x="5863114" y="154781"/>
                    <a:pt x="5863114" y="141446"/>
                  </a:cubicBezTo>
                  <a:cubicBezTo>
                    <a:pt x="5862162" y="128111"/>
                    <a:pt x="5862162" y="121444"/>
                    <a:pt x="5862162" y="121444"/>
                  </a:cubicBezTo>
                  <a:cubicBezTo>
                    <a:pt x="5862162" y="121444"/>
                    <a:pt x="5861209" y="129064"/>
                    <a:pt x="5859304" y="141446"/>
                  </a:cubicBezTo>
                  <a:cubicBezTo>
                    <a:pt x="5858351" y="147161"/>
                    <a:pt x="5857399" y="153829"/>
                    <a:pt x="5856446" y="161449"/>
                  </a:cubicBezTo>
                  <a:cubicBezTo>
                    <a:pt x="5855494" y="145256"/>
                    <a:pt x="5854542" y="130969"/>
                    <a:pt x="5853589" y="120491"/>
                  </a:cubicBezTo>
                  <a:cubicBezTo>
                    <a:pt x="5852637" y="106204"/>
                    <a:pt x="5851684" y="98584"/>
                    <a:pt x="5851684" y="98584"/>
                  </a:cubicBezTo>
                  <a:cubicBezTo>
                    <a:pt x="5851684" y="98584"/>
                    <a:pt x="5850731" y="106204"/>
                    <a:pt x="5849779" y="120491"/>
                  </a:cubicBezTo>
                  <a:cubicBezTo>
                    <a:pt x="5848826" y="127159"/>
                    <a:pt x="5848826" y="135731"/>
                    <a:pt x="5847874" y="146209"/>
                  </a:cubicBezTo>
                  <a:cubicBezTo>
                    <a:pt x="5846921" y="155734"/>
                    <a:pt x="5846921" y="167164"/>
                    <a:pt x="5846921" y="179546"/>
                  </a:cubicBezTo>
                  <a:cubicBezTo>
                    <a:pt x="5845969" y="203359"/>
                    <a:pt x="5845969" y="231934"/>
                    <a:pt x="5846921" y="262414"/>
                  </a:cubicBezTo>
                  <a:cubicBezTo>
                    <a:pt x="5846921" y="264319"/>
                    <a:pt x="5846921" y="267176"/>
                    <a:pt x="5846921" y="269081"/>
                  </a:cubicBezTo>
                  <a:cubicBezTo>
                    <a:pt x="5845969" y="270986"/>
                    <a:pt x="5844064" y="272891"/>
                    <a:pt x="5843112" y="274796"/>
                  </a:cubicBezTo>
                  <a:cubicBezTo>
                    <a:pt x="5842159" y="270034"/>
                    <a:pt x="5841206" y="265271"/>
                    <a:pt x="5840254" y="261461"/>
                  </a:cubicBezTo>
                  <a:cubicBezTo>
                    <a:pt x="5840254" y="254794"/>
                    <a:pt x="5840254" y="248126"/>
                    <a:pt x="5841206" y="242411"/>
                  </a:cubicBezTo>
                  <a:cubicBezTo>
                    <a:pt x="5841206" y="230029"/>
                    <a:pt x="5841206" y="223361"/>
                    <a:pt x="5841206" y="223361"/>
                  </a:cubicBezTo>
                  <a:cubicBezTo>
                    <a:pt x="5841206" y="223361"/>
                    <a:pt x="5839301" y="230029"/>
                    <a:pt x="5837396" y="242411"/>
                  </a:cubicBezTo>
                  <a:cubicBezTo>
                    <a:pt x="5837396" y="243364"/>
                    <a:pt x="5837396" y="244316"/>
                    <a:pt x="5836444" y="245269"/>
                  </a:cubicBezTo>
                  <a:cubicBezTo>
                    <a:pt x="5833587" y="233839"/>
                    <a:pt x="5831681" y="224314"/>
                    <a:pt x="5829776" y="215741"/>
                  </a:cubicBezTo>
                  <a:cubicBezTo>
                    <a:pt x="5825967" y="198596"/>
                    <a:pt x="5824062" y="189071"/>
                    <a:pt x="5824062" y="189071"/>
                  </a:cubicBezTo>
                  <a:cubicBezTo>
                    <a:pt x="5824062" y="189071"/>
                    <a:pt x="5825014" y="198596"/>
                    <a:pt x="5825967" y="215741"/>
                  </a:cubicBezTo>
                  <a:cubicBezTo>
                    <a:pt x="5826919" y="224314"/>
                    <a:pt x="5827871" y="234791"/>
                    <a:pt x="5828824" y="246221"/>
                  </a:cubicBezTo>
                  <a:cubicBezTo>
                    <a:pt x="5829776" y="252889"/>
                    <a:pt x="5830729" y="260509"/>
                    <a:pt x="5831681" y="268129"/>
                  </a:cubicBezTo>
                  <a:cubicBezTo>
                    <a:pt x="5830729" y="270034"/>
                    <a:pt x="5828824" y="272891"/>
                    <a:pt x="5826919" y="276701"/>
                  </a:cubicBezTo>
                  <a:cubicBezTo>
                    <a:pt x="5826919" y="274796"/>
                    <a:pt x="5825967" y="272891"/>
                    <a:pt x="5825967" y="270986"/>
                  </a:cubicBezTo>
                  <a:cubicBezTo>
                    <a:pt x="5825014" y="263366"/>
                    <a:pt x="5823109" y="255746"/>
                    <a:pt x="5822156" y="250031"/>
                  </a:cubicBezTo>
                  <a:cubicBezTo>
                    <a:pt x="5820251" y="238601"/>
                    <a:pt x="5818346" y="231934"/>
                    <a:pt x="5818346" y="231934"/>
                  </a:cubicBezTo>
                  <a:cubicBezTo>
                    <a:pt x="5818346" y="231934"/>
                    <a:pt x="5818346" y="238601"/>
                    <a:pt x="5818346" y="250031"/>
                  </a:cubicBezTo>
                  <a:cubicBezTo>
                    <a:pt x="5818346" y="255746"/>
                    <a:pt x="5818346" y="262414"/>
                    <a:pt x="5818346" y="270986"/>
                  </a:cubicBezTo>
                  <a:cubicBezTo>
                    <a:pt x="5816442" y="267176"/>
                    <a:pt x="5814537" y="264319"/>
                    <a:pt x="5812631" y="262414"/>
                  </a:cubicBezTo>
                  <a:lnTo>
                    <a:pt x="5812631" y="246221"/>
                  </a:lnTo>
                  <a:lnTo>
                    <a:pt x="5814537" y="220504"/>
                  </a:lnTo>
                  <a:cubicBezTo>
                    <a:pt x="5815489" y="220504"/>
                    <a:pt x="5815489" y="220504"/>
                    <a:pt x="5816442" y="221456"/>
                  </a:cubicBezTo>
                  <a:cubicBezTo>
                    <a:pt x="5817394" y="222409"/>
                    <a:pt x="5818346" y="222409"/>
                    <a:pt x="5819299" y="224314"/>
                  </a:cubicBezTo>
                  <a:cubicBezTo>
                    <a:pt x="5821204" y="226219"/>
                    <a:pt x="5821204" y="229076"/>
                    <a:pt x="5822156" y="231934"/>
                  </a:cubicBezTo>
                  <a:cubicBezTo>
                    <a:pt x="5822156" y="229076"/>
                    <a:pt x="5822156" y="226219"/>
                    <a:pt x="5821204" y="223361"/>
                  </a:cubicBezTo>
                  <a:cubicBezTo>
                    <a:pt x="5820251" y="222409"/>
                    <a:pt x="5819299" y="220504"/>
                    <a:pt x="5818346" y="219551"/>
                  </a:cubicBezTo>
                  <a:cubicBezTo>
                    <a:pt x="5817394" y="218599"/>
                    <a:pt x="5815489" y="217646"/>
                    <a:pt x="5813584" y="217646"/>
                  </a:cubicBezTo>
                  <a:lnTo>
                    <a:pt x="5811679" y="217646"/>
                  </a:lnTo>
                  <a:lnTo>
                    <a:pt x="5811679" y="219551"/>
                  </a:lnTo>
                  <a:cubicBezTo>
                    <a:pt x="5809774" y="228124"/>
                    <a:pt x="5806917" y="237649"/>
                    <a:pt x="5805012" y="246221"/>
                  </a:cubicBezTo>
                  <a:cubicBezTo>
                    <a:pt x="5804059" y="250031"/>
                    <a:pt x="5804059" y="252889"/>
                    <a:pt x="5803106" y="256699"/>
                  </a:cubicBezTo>
                  <a:cubicBezTo>
                    <a:pt x="5801201" y="258604"/>
                    <a:pt x="5799296" y="261461"/>
                    <a:pt x="5796439" y="264319"/>
                  </a:cubicBezTo>
                  <a:cubicBezTo>
                    <a:pt x="5796439" y="259556"/>
                    <a:pt x="5795487" y="256699"/>
                    <a:pt x="5795487" y="253841"/>
                  </a:cubicBezTo>
                  <a:cubicBezTo>
                    <a:pt x="5794534" y="250031"/>
                    <a:pt x="5794534" y="248126"/>
                    <a:pt x="5794534" y="248126"/>
                  </a:cubicBezTo>
                  <a:cubicBezTo>
                    <a:pt x="5794534" y="248126"/>
                    <a:pt x="5794534" y="250031"/>
                    <a:pt x="5794534" y="253841"/>
                  </a:cubicBezTo>
                  <a:cubicBezTo>
                    <a:pt x="5794534" y="257651"/>
                    <a:pt x="5794534" y="262414"/>
                    <a:pt x="5793581" y="268129"/>
                  </a:cubicBezTo>
                  <a:cubicBezTo>
                    <a:pt x="5792629" y="269081"/>
                    <a:pt x="5792629" y="269081"/>
                    <a:pt x="5791676" y="270034"/>
                  </a:cubicBezTo>
                  <a:cubicBezTo>
                    <a:pt x="5791676" y="270034"/>
                    <a:pt x="5791676" y="270034"/>
                    <a:pt x="5791676" y="270034"/>
                  </a:cubicBezTo>
                  <a:lnTo>
                    <a:pt x="5787867" y="239554"/>
                  </a:lnTo>
                  <a:cubicBezTo>
                    <a:pt x="5791676" y="229076"/>
                    <a:pt x="5793581" y="224314"/>
                    <a:pt x="5793581" y="224314"/>
                  </a:cubicBezTo>
                  <a:cubicBezTo>
                    <a:pt x="5793581" y="224314"/>
                    <a:pt x="5791676" y="228124"/>
                    <a:pt x="5786914" y="234791"/>
                  </a:cubicBezTo>
                  <a:lnTo>
                    <a:pt x="5785009" y="205264"/>
                  </a:lnTo>
                  <a:cubicBezTo>
                    <a:pt x="5788819" y="197644"/>
                    <a:pt x="5791676" y="190024"/>
                    <a:pt x="5795487" y="183356"/>
                  </a:cubicBezTo>
                  <a:cubicBezTo>
                    <a:pt x="5795487" y="183356"/>
                    <a:pt x="5795487" y="184309"/>
                    <a:pt x="5795487" y="184309"/>
                  </a:cubicBezTo>
                  <a:cubicBezTo>
                    <a:pt x="5795487" y="184309"/>
                    <a:pt x="5795487" y="183356"/>
                    <a:pt x="5795487" y="183356"/>
                  </a:cubicBezTo>
                  <a:cubicBezTo>
                    <a:pt x="5796439" y="181451"/>
                    <a:pt x="5797392" y="179546"/>
                    <a:pt x="5797392" y="178594"/>
                  </a:cubicBezTo>
                  <a:cubicBezTo>
                    <a:pt x="5803106" y="165259"/>
                    <a:pt x="5808821" y="153829"/>
                    <a:pt x="5812631" y="145256"/>
                  </a:cubicBezTo>
                  <a:cubicBezTo>
                    <a:pt x="5821204" y="126206"/>
                    <a:pt x="5825967" y="115729"/>
                    <a:pt x="5825967" y="115729"/>
                  </a:cubicBezTo>
                  <a:cubicBezTo>
                    <a:pt x="5825967" y="115729"/>
                    <a:pt x="5820251" y="125254"/>
                    <a:pt x="5809774" y="143351"/>
                  </a:cubicBezTo>
                  <a:cubicBezTo>
                    <a:pt x="5805012" y="151924"/>
                    <a:pt x="5798344" y="162401"/>
                    <a:pt x="5791676" y="173831"/>
                  </a:cubicBezTo>
                  <a:cubicBezTo>
                    <a:pt x="5790724" y="172879"/>
                    <a:pt x="5789771" y="171926"/>
                    <a:pt x="5788819" y="170974"/>
                  </a:cubicBezTo>
                  <a:cubicBezTo>
                    <a:pt x="5786914" y="170021"/>
                    <a:pt x="5785009" y="169069"/>
                    <a:pt x="5783104" y="169069"/>
                  </a:cubicBezTo>
                  <a:lnTo>
                    <a:pt x="5781199" y="169069"/>
                  </a:lnTo>
                  <a:lnTo>
                    <a:pt x="5781199" y="170974"/>
                  </a:lnTo>
                  <a:lnTo>
                    <a:pt x="5777389" y="197644"/>
                  </a:lnTo>
                  <a:cubicBezTo>
                    <a:pt x="5774531" y="204311"/>
                    <a:pt x="5770721" y="210026"/>
                    <a:pt x="5766912" y="217646"/>
                  </a:cubicBezTo>
                  <a:cubicBezTo>
                    <a:pt x="5762149" y="226219"/>
                    <a:pt x="5757387" y="234791"/>
                    <a:pt x="5752624" y="244316"/>
                  </a:cubicBezTo>
                  <a:cubicBezTo>
                    <a:pt x="5752624" y="240506"/>
                    <a:pt x="5751671" y="236696"/>
                    <a:pt x="5751671" y="233839"/>
                  </a:cubicBezTo>
                  <a:cubicBezTo>
                    <a:pt x="5750719" y="228124"/>
                    <a:pt x="5749767" y="222409"/>
                    <a:pt x="5749767" y="216694"/>
                  </a:cubicBezTo>
                  <a:cubicBezTo>
                    <a:pt x="5754529" y="199549"/>
                    <a:pt x="5757387" y="190024"/>
                    <a:pt x="5757387" y="190024"/>
                  </a:cubicBezTo>
                  <a:cubicBezTo>
                    <a:pt x="5757387" y="190024"/>
                    <a:pt x="5754529" y="197644"/>
                    <a:pt x="5749767" y="210979"/>
                  </a:cubicBezTo>
                  <a:cubicBezTo>
                    <a:pt x="5749767" y="209074"/>
                    <a:pt x="5748814" y="206216"/>
                    <a:pt x="5748814" y="204311"/>
                  </a:cubicBezTo>
                  <a:cubicBezTo>
                    <a:pt x="5746909" y="188119"/>
                    <a:pt x="5745004" y="178594"/>
                    <a:pt x="5745004" y="178594"/>
                  </a:cubicBezTo>
                  <a:cubicBezTo>
                    <a:pt x="5745004" y="178594"/>
                    <a:pt x="5745004" y="188119"/>
                    <a:pt x="5745004" y="204311"/>
                  </a:cubicBezTo>
                  <a:cubicBezTo>
                    <a:pt x="5745004" y="210026"/>
                    <a:pt x="5745004" y="215741"/>
                    <a:pt x="5745004" y="222409"/>
                  </a:cubicBezTo>
                  <a:cubicBezTo>
                    <a:pt x="5745004" y="223361"/>
                    <a:pt x="5744051" y="224314"/>
                    <a:pt x="5744051" y="225266"/>
                  </a:cubicBezTo>
                  <a:cubicBezTo>
                    <a:pt x="5740242" y="234791"/>
                    <a:pt x="5736431" y="247174"/>
                    <a:pt x="5731669" y="259556"/>
                  </a:cubicBezTo>
                  <a:cubicBezTo>
                    <a:pt x="5731669" y="259556"/>
                    <a:pt x="5731669" y="258604"/>
                    <a:pt x="5731669" y="258604"/>
                  </a:cubicBezTo>
                  <a:cubicBezTo>
                    <a:pt x="5733574" y="245269"/>
                    <a:pt x="5734526" y="238601"/>
                    <a:pt x="5734526" y="238601"/>
                  </a:cubicBezTo>
                  <a:cubicBezTo>
                    <a:pt x="5734526" y="238601"/>
                    <a:pt x="5732621" y="246221"/>
                    <a:pt x="5727859" y="258604"/>
                  </a:cubicBezTo>
                  <a:cubicBezTo>
                    <a:pt x="5726906" y="260509"/>
                    <a:pt x="5726906" y="262414"/>
                    <a:pt x="5725954" y="264319"/>
                  </a:cubicBezTo>
                  <a:cubicBezTo>
                    <a:pt x="5725954" y="264319"/>
                    <a:pt x="5725954" y="263366"/>
                    <a:pt x="5725954" y="263366"/>
                  </a:cubicBezTo>
                  <a:cubicBezTo>
                    <a:pt x="5725954" y="263366"/>
                    <a:pt x="5725954" y="262414"/>
                    <a:pt x="5725954" y="262414"/>
                  </a:cubicBezTo>
                  <a:cubicBezTo>
                    <a:pt x="5725954" y="260509"/>
                    <a:pt x="5726906" y="258604"/>
                    <a:pt x="5726906" y="256699"/>
                  </a:cubicBezTo>
                  <a:cubicBezTo>
                    <a:pt x="5727859" y="251936"/>
                    <a:pt x="5728812" y="247174"/>
                    <a:pt x="5729764" y="242411"/>
                  </a:cubicBezTo>
                  <a:cubicBezTo>
                    <a:pt x="5730717" y="237649"/>
                    <a:pt x="5731669" y="233839"/>
                    <a:pt x="5732621" y="230029"/>
                  </a:cubicBezTo>
                  <a:cubicBezTo>
                    <a:pt x="5734526" y="222409"/>
                    <a:pt x="5736431" y="215741"/>
                    <a:pt x="5737384" y="210026"/>
                  </a:cubicBezTo>
                  <a:cubicBezTo>
                    <a:pt x="5740242" y="198596"/>
                    <a:pt x="5741194" y="191929"/>
                    <a:pt x="5741194" y="191929"/>
                  </a:cubicBezTo>
                  <a:cubicBezTo>
                    <a:pt x="5741194" y="191929"/>
                    <a:pt x="5740242" y="193834"/>
                    <a:pt x="5739289" y="196691"/>
                  </a:cubicBezTo>
                  <a:cubicBezTo>
                    <a:pt x="5740242" y="192881"/>
                    <a:pt x="5740242" y="190024"/>
                    <a:pt x="5740242" y="190024"/>
                  </a:cubicBezTo>
                  <a:cubicBezTo>
                    <a:pt x="5740242" y="190024"/>
                    <a:pt x="5737384" y="197644"/>
                    <a:pt x="5731669" y="211931"/>
                  </a:cubicBezTo>
                  <a:cubicBezTo>
                    <a:pt x="5730717" y="215741"/>
                    <a:pt x="5728812" y="219551"/>
                    <a:pt x="5726906" y="224314"/>
                  </a:cubicBezTo>
                  <a:cubicBezTo>
                    <a:pt x="5725954" y="225266"/>
                    <a:pt x="5725954" y="227171"/>
                    <a:pt x="5725001" y="228124"/>
                  </a:cubicBezTo>
                  <a:cubicBezTo>
                    <a:pt x="5723096" y="231934"/>
                    <a:pt x="5722144" y="235744"/>
                    <a:pt x="5720239" y="240506"/>
                  </a:cubicBezTo>
                  <a:cubicBezTo>
                    <a:pt x="5719287" y="243364"/>
                    <a:pt x="5718334" y="246221"/>
                    <a:pt x="5717381" y="250031"/>
                  </a:cubicBezTo>
                  <a:cubicBezTo>
                    <a:pt x="5716429" y="251936"/>
                    <a:pt x="5716429" y="252889"/>
                    <a:pt x="5715476" y="254794"/>
                  </a:cubicBezTo>
                  <a:cubicBezTo>
                    <a:pt x="5713571" y="260509"/>
                    <a:pt x="5711667" y="266224"/>
                    <a:pt x="5709762" y="272891"/>
                  </a:cubicBezTo>
                  <a:cubicBezTo>
                    <a:pt x="5707856" y="278606"/>
                    <a:pt x="5705951" y="284321"/>
                    <a:pt x="5704046" y="290989"/>
                  </a:cubicBezTo>
                  <a:cubicBezTo>
                    <a:pt x="5701189" y="285274"/>
                    <a:pt x="5699284" y="280511"/>
                    <a:pt x="5696426" y="275749"/>
                  </a:cubicBezTo>
                  <a:cubicBezTo>
                    <a:pt x="5695474" y="271939"/>
                    <a:pt x="5695474" y="269081"/>
                    <a:pt x="5695474" y="269081"/>
                  </a:cubicBezTo>
                  <a:cubicBezTo>
                    <a:pt x="5695474" y="269081"/>
                    <a:pt x="5695474" y="270034"/>
                    <a:pt x="5695474" y="272891"/>
                  </a:cubicBezTo>
                  <a:cubicBezTo>
                    <a:pt x="5692617" y="268129"/>
                    <a:pt x="5690712" y="263366"/>
                    <a:pt x="5688806" y="259556"/>
                  </a:cubicBezTo>
                  <a:cubicBezTo>
                    <a:pt x="5683092" y="249079"/>
                    <a:pt x="5680234" y="243364"/>
                    <a:pt x="5680234" y="243364"/>
                  </a:cubicBezTo>
                  <a:cubicBezTo>
                    <a:pt x="5680234" y="243364"/>
                    <a:pt x="5682139" y="250031"/>
                    <a:pt x="5684996" y="260509"/>
                  </a:cubicBezTo>
                  <a:cubicBezTo>
                    <a:pt x="5687854" y="269081"/>
                    <a:pt x="5690712" y="279559"/>
                    <a:pt x="5694521" y="292894"/>
                  </a:cubicBezTo>
                  <a:cubicBezTo>
                    <a:pt x="5694521" y="297656"/>
                    <a:pt x="5694521" y="302419"/>
                    <a:pt x="5694521" y="309086"/>
                  </a:cubicBezTo>
                  <a:cubicBezTo>
                    <a:pt x="5694521" y="313849"/>
                    <a:pt x="5694521" y="318611"/>
                    <a:pt x="5694521" y="323374"/>
                  </a:cubicBezTo>
                  <a:cubicBezTo>
                    <a:pt x="5693569" y="326231"/>
                    <a:pt x="5692617" y="329089"/>
                    <a:pt x="5691664" y="331946"/>
                  </a:cubicBezTo>
                  <a:cubicBezTo>
                    <a:pt x="5690712" y="330994"/>
                    <a:pt x="5690712" y="330041"/>
                    <a:pt x="5689759" y="329089"/>
                  </a:cubicBezTo>
                  <a:lnTo>
                    <a:pt x="5689759" y="320516"/>
                  </a:lnTo>
                  <a:cubicBezTo>
                    <a:pt x="5688806" y="309086"/>
                    <a:pt x="5688806" y="297656"/>
                    <a:pt x="5687854" y="286226"/>
                  </a:cubicBezTo>
                  <a:cubicBezTo>
                    <a:pt x="5686901" y="297656"/>
                    <a:pt x="5685949" y="308134"/>
                    <a:pt x="5684996" y="319564"/>
                  </a:cubicBezTo>
                  <a:cubicBezTo>
                    <a:pt x="5684044" y="317659"/>
                    <a:pt x="5683092" y="315754"/>
                    <a:pt x="5681187" y="312896"/>
                  </a:cubicBezTo>
                  <a:cubicBezTo>
                    <a:pt x="5679281" y="299561"/>
                    <a:pt x="5677376" y="286226"/>
                    <a:pt x="5675471" y="273844"/>
                  </a:cubicBezTo>
                  <a:cubicBezTo>
                    <a:pt x="5674519" y="267176"/>
                    <a:pt x="5673567" y="260509"/>
                    <a:pt x="5672614" y="253841"/>
                  </a:cubicBezTo>
                  <a:cubicBezTo>
                    <a:pt x="5671662" y="247174"/>
                    <a:pt x="5671662" y="241459"/>
                    <a:pt x="5670709" y="235744"/>
                  </a:cubicBezTo>
                  <a:cubicBezTo>
                    <a:pt x="5669756" y="224314"/>
                    <a:pt x="5668804" y="214789"/>
                    <a:pt x="5667851" y="207169"/>
                  </a:cubicBezTo>
                  <a:cubicBezTo>
                    <a:pt x="5666899" y="198596"/>
                    <a:pt x="5665946" y="192881"/>
                    <a:pt x="5665946" y="188119"/>
                  </a:cubicBezTo>
                  <a:cubicBezTo>
                    <a:pt x="5666899" y="185261"/>
                    <a:pt x="5666899" y="183356"/>
                    <a:pt x="5666899" y="183356"/>
                  </a:cubicBezTo>
                  <a:cubicBezTo>
                    <a:pt x="5666899" y="183356"/>
                    <a:pt x="5665946" y="184309"/>
                    <a:pt x="5665946" y="186214"/>
                  </a:cubicBezTo>
                  <a:cubicBezTo>
                    <a:pt x="5665946" y="183356"/>
                    <a:pt x="5664994" y="181451"/>
                    <a:pt x="5664994" y="181451"/>
                  </a:cubicBezTo>
                  <a:cubicBezTo>
                    <a:pt x="5664994" y="181451"/>
                    <a:pt x="5664994" y="184309"/>
                    <a:pt x="5664994" y="188119"/>
                  </a:cubicBezTo>
                  <a:cubicBezTo>
                    <a:pt x="5663089" y="192881"/>
                    <a:pt x="5659279" y="201454"/>
                    <a:pt x="5654517" y="211931"/>
                  </a:cubicBezTo>
                  <a:cubicBezTo>
                    <a:pt x="5654517" y="210026"/>
                    <a:pt x="5654517" y="207169"/>
                    <a:pt x="5653564" y="205264"/>
                  </a:cubicBezTo>
                  <a:cubicBezTo>
                    <a:pt x="5652612" y="199549"/>
                    <a:pt x="5652612" y="193834"/>
                    <a:pt x="5652612" y="189071"/>
                  </a:cubicBezTo>
                  <a:cubicBezTo>
                    <a:pt x="5655469" y="183356"/>
                    <a:pt x="5657374" y="179546"/>
                    <a:pt x="5657374" y="179546"/>
                  </a:cubicBezTo>
                  <a:cubicBezTo>
                    <a:pt x="5657374" y="179546"/>
                    <a:pt x="5655469" y="182404"/>
                    <a:pt x="5652612" y="187166"/>
                  </a:cubicBezTo>
                  <a:cubicBezTo>
                    <a:pt x="5652612" y="186214"/>
                    <a:pt x="5652612" y="186214"/>
                    <a:pt x="5652612" y="185261"/>
                  </a:cubicBezTo>
                  <a:cubicBezTo>
                    <a:pt x="5651659" y="173831"/>
                    <a:pt x="5651659" y="167164"/>
                    <a:pt x="5651659" y="167164"/>
                  </a:cubicBezTo>
                  <a:cubicBezTo>
                    <a:pt x="5651659" y="167164"/>
                    <a:pt x="5650706" y="171926"/>
                    <a:pt x="5649754" y="179546"/>
                  </a:cubicBezTo>
                  <a:cubicBezTo>
                    <a:pt x="5649754" y="179546"/>
                    <a:pt x="5649754" y="178594"/>
                    <a:pt x="5649754" y="178594"/>
                  </a:cubicBezTo>
                  <a:cubicBezTo>
                    <a:pt x="5648801" y="171926"/>
                    <a:pt x="5648801" y="166211"/>
                    <a:pt x="5647849" y="159544"/>
                  </a:cubicBezTo>
                  <a:cubicBezTo>
                    <a:pt x="5647849" y="153829"/>
                    <a:pt x="5646896" y="148114"/>
                    <a:pt x="5646896" y="142399"/>
                  </a:cubicBezTo>
                  <a:cubicBezTo>
                    <a:pt x="5645944" y="131921"/>
                    <a:pt x="5644992" y="122396"/>
                    <a:pt x="5645944" y="114776"/>
                  </a:cubicBezTo>
                  <a:cubicBezTo>
                    <a:pt x="5645944" y="99536"/>
                    <a:pt x="5644992" y="90011"/>
                    <a:pt x="5644992" y="90011"/>
                  </a:cubicBezTo>
                  <a:cubicBezTo>
                    <a:pt x="5644992" y="90011"/>
                    <a:pt x="5644039" y="98584"/>
                    <a:pt x="5641181" y="113824"/>
                  </a:cubicBezTo>
                  <a:cubicBezTo>
                    <a:pt x="5640229" y="121444"/>
                    <a:pt x="5639276" y="130969"/>
                    <a:pt x="5639276" y="141446"/>
                  </a:cubicBezTo>
                  <a:cubicBezTo>
                    <a:pt x="5639276" y="147161"/>
                    <a:pt x="5638324" y="152876"/>
                    <a:pt x="5638324" y="158591"/>
                  </a:cubicBezTo>
                  <a:cubicBezTo>
                    <a:pt x="5638324" y="164306"/>
                    <a:pt x="5638324" y="170974"/>
                    <a:pt x="5638324" y="177641"/>
                  </a:cubicBezTo>
                  <a:cubicBezTo>
                    <a:pt x="5638324" y="186214"/>
                    <a:pt x="5638324" y="195739"/>
                    <a:pt x="5639276" y="205264"/>
                  </a:cubicBezTo>
                  <a:cubicBezTo>
                    <a:pt x="5638324" y="206216"/>
                    <a:pt x="5638324" y="207169"/>
                    <a:pt x="5637371" y="208121"/>
                  </a:cubicBezTo>
                  <a:cubicBezTo>
                    <a:pt x="5637371" y="208121"/>
                    <a:pt x="5636419" y="209074"/>
                    <a:pt x="5636419" y="209074"/>
                  </a:cubicBezTo>
                  <a:cubicBezTo>
                    <a:pt x="5636419" y="208121"/>
                    <a:pt x="5636419" y="208121"/>
                    <a:pt x="5636419" y="208121"/>
                  </a:cubicBezTo>
                  <a:cubicBezTo>
                    <a:pt x="5636419" y="208121"/>
                    <a:pt x="5636419" y="208121"/>
                    <a:pt x="5636419" y="209074"/>
                  </a:cubicBezTo>
                  <a:cubicBezTo>
                    <a:pt x="5635467" y="210979"/>
                    <a:pt x="5633562" y="212884"/>
                    <a:pt x="5631656" y="215741"/>
                  </a:cubicBezTo>
                  <a:cubicBezTo>
                    <a:pt x="5628799" y="201454"/>
                    <a:pt x="5626894" y="192881"/>
                    <a:pt x="5626894" y="192881"/>
                  </a:cubicBezTo>
                  <a:cubicBezTo>
                    <a:pt x="5626894" y="192881"/>
                    <a:pt x="5626894" y="204311"/>
                    <a:pt x="5626894" y="222409"/>
                  </a:cubicBezTo>
                  <a:cubicBezTo>
                    <a:pt x="5626894" y="222409"/>
                    <a:pt x="5626894" y="222409"/>
                    <a:pt x="5626894" y="223361"/>
                  </a:cubicBezTo>
                  <a:cubicBezTo>
                    <a:pt x="5624037" y="219551"/>
                    <a:pt x="5621179" y="215741"/>
                    <a:pt x="5618321" y="211931"/>
                  </a:cubicBezTo>
                  <a:cubicBezTo>
                    <a:pt x="5608796" y="199549"/>
                    <a:pt x="5601176" y="189071"/>
                    <a:pt x="5593556" y="181451"/>
                  </a:cubicBezTo>
                  <a:cubicBezTo>
                    <a:pt x="5579269" y="165259"/>
                    <a:pt x="5570696" y="155734"/>
                    <a:pt x="5570696" y="155734"/>
                  </a:cubicBezTo>
                  <a:cubicBezTo>
                    <a:pt x="5570696" y="155734"/>
                    <a:pt x="5577364" y="166211"/>
                    <a:pt x="5590699" y="184309"/>
                  </a:cubicBezTo>
                  <a:cubicBezTo>
                    <a:pt x="5597367" y="192881"/>
                    <a:pt x="5604034" y="204311"/>
                    <a:pt x="5612606" y="217646"/>
                  </a:cubicBezTo>
                  <a:cubicBezTo>
                    <a:pt x="5613559" y="219551"/>
                    <a:pt x="5614512" y="221456"/>
                    <a:pt x="5616417" y="223361"/>
                  </a:cubicBezTo>
                  <a:cubicBezTo>
                    <a:pt x="5617369" y="226219"/>
                    <a:pt x="5618321" y="230029"/>
                    <a:pt x="5620226" y="233839"/>
                  </a:cubicBezTo>
                  <a:cubicBezTo>
                    <a:pt x="5620226" y="233839"/>
                    <a:pt x="5620226" y="233839"/>
                    <a:pt x="5620226" y="234791"/>
                  </a:cubicBezTo>
                  <a:cubicBezTo>
                    <a:pt x="5619274" y="236696"/>
                    <a:pt x="5618321" y="238601"/>
                    <a:pt x="5616417" y="241459"/>
                  </a:cubicBezTo>
                  <a:cubicBezTo>
                    <a:pt x="5616417" y="241459"/>
                    <a:pt x="5616417" y="240506"/>
                    <a:pt x="5616417" y="240506"/>
                  </a:cubicBezTo>
                  <a:cubicBezTo>
                    <a:pt x="5616417" y="240506"/>
                    <a:pt x="5616417" y="240506"/>
                    <a:pt x="5616417" y="241459"/>
                  </a:cubicBezTo>
                  <a:cubicBezTo>
                    <a:pt x="5615464" y="242411"/>
                    <a:pt x="5614512" y="244316"/>
                    <a:pt x="5614512" y="245269"/>
                  </a:cubicBezTo>
                  <a:cubicBezTo>
                    <a:pt x="5608796" y="255746"/>
                    <a:pt x="5602129" y="267176"/>
                    <a:pt x="5594509" y="280511"/>
                  </a:cubicBezTo>
                  <a:cubicBezTo>
                    <a:pt x="5594509" y="278606"/>
                    <a:pt x="5594509" y="277654"/>
                    <a:pt x="5594509" y="275749"/>
                  </a:cubicBezTo>
                  <a:cubicBezTo>
                    <a:pt x="5594509" y="272891"/>
                    <a:pt x="5594509" y="270986"/>
                    <a:pt x="5594509" y="268129"/>
                  </a:cubicBezTo>
                  <a:cubicBezTo>
                    <a:pt x="5595462" y="260509"/>
                    <a:pt x="5596414" y="256699"/>
                    <a:pt x="5596414" y="256699"/>
                  </a:cubicBezTo>
                  <a:cubicBezTo>
                    <a:pt x="5596414" y="256699"/>
                    <a:pt x="5595462" y="258604"/>
                    <a:pt x="5594509" y="263366"/>
                  </a:cubicBezTo>
                  <a:cubicBezTo>
                    <a:pt x="5594509" y="263366"/>
                    <a:pt x="5594509" y="262414"/>
                    <a:pt x="5594509" y="262414"/>
                  </a:cubicBezTo>
                  <a:cubicBezTo>
                    <a:pt x="5593556" y="257651"/>
                    <a:pt x="5593556" y="253841"/>
                    <a:pt x="5592604" y="250031"/>
                  </a:cubicBezTo>
                  <a:cubicBezTo>
                    <a:pt x="5591651" y="243364"/>
                    <a:pt x="5590699" y="238601"/>
                    <a:pt x="5590699" y="232886"/>
                  </a:cubicBezTo>
                  <a:cubicBezTo>
                    <a:pt x="5594509" y="223361"/>
                    <a:pt x="5596414" y="217646"/>
                    <a:pt x="5596414" y="217646"/>
                  </a:cubicBezTo>
                  <a:cubicBezTo>
                    <a:pt x="5596414" y="217646"/>
                    <a:pt x="5593556" y="221456"/>
                    <a:pt x="5589746" y="230029"/>
                  </a:cubicBezTo>
                  <a:cubicBezTo>
                    <a:pt x="5589746" y="230029"/>
                    <a:pt x="5589746" y="230029"/>
                    <a:pt x="5589746" y="230029"/>
                  </a:cubicBezTo>
                  <a:cubicBezTo>
                    <a:pt x="5587842" y="218599"/>
                    <a:pt x="5586889" y="211931"/>
                    <a:pt x="5586889" y="211931"/>
                  </a:cubicBezTo>
                  <a:cubicBezTo>
                    <a:pt x="5586889" y="211931"/>
                    <a:pt x="5585937" y="218599"/>
                    <a:pt x="5585937" y="230029"/>
                  </a:cubicBezTo>
                  <a:cubicBezTo>
                    <a:pt x="5585937" y="230029"/>
                    <a:pt x="5585937" y="230981"/>
                    <a:pt x="5585937" y="230981"/>
                  </a:cubicBezTo>
                  <a:cubicBezTo>
                    <a:pt x="5584984" y="225266"/>
                    <a:pt x="5584031" y="219551"/>
                    <a:pt x="5583079" y="213836"/>
                  </a:cubicBezTo>
                  <a:cubicBezTo>
                    <a:pt x="5583079" y="223361"/>
                    <a:pt x="5583079" y="232886"/>
                    <a:pt x="5583079" y="242411"/>
                  </a:cubicBezTo>
                  <a:cubicBezTo>
                    <a:pt x="5582126" y="243364"/>
                    <a:pt x="5582126" y="245269"/>
                    <a:pt x="5581174" y="246221"/>
                  </a:cubicBezTo>
                  <a:cubicBezTo>
                    <a:pt x="5580221" y="247174"/>
                    <a:pt x="5579269" y="249079"/>
                    <a:pt x="5579269" y="250031"/>
                  </a:cubicBezTo>
                  <a:cubicBezTo>
                    <a:pt x="5576412" y="235744"/>
                    <a:pt x="5574506" y="221456"/>
                    <a:pt x="5571649" y="209074"/>
                  </a:cubicBezTo>
                  <a:cubicBezTo>
                    <a:pt x="5570696" y="202406"/>
                    <a:pt x="5568792" y="194786"/>
                    <a:pt x="5567839" y="189071"/>
                  </a:cubicBezTo>
                  <a:cubicBezTo>
                    <a:pt x="5565934" y="182404"/>
                    <a:pt x="5564981" y="176689"/>
                    <a:pt x="5563076" y="170974"/>
                  </a:cubicBezTo>
                  <a:cubicBezTo>
                    <a:pt x="5560219" y="159544"/>
                    <a:pt x="5557362" y="150019"/>
                    <a:pt x="5555456" y="141446"/>
                  </a:cubicBezTo>
                  <a:cubicBezTo>
                    <a:pt x="5550694" y="125254"/>
                    <a:pt x="5548789" y="115729"/>
                    <a:pt x="5548789" y="115729"/>
                  </a:cubicBezTo>
                  <a:cubicBezTo>
                    <a:pt x="5548789" y="115729"/>
                    <a:pt x="5549742" y="125254"/>
                    <a:pt x="5551646" y="142399"/>
                  </a:cubicBezTo>
                  <a:cubicBezTo>
                    <a:pt x="5552599" y="150971"/>
                    <a:pt x="5554504" y="160496"/>
                    <a:pt x="5555456" y="172879"/>
                  </a:cubicBezTo>
                  <a:cubicBezTo>
                    <a:pt x="5556409" y="178594"/>
                    <a:pt x="5557362" y="185261"/>
                    <a:pt x="5558314" y="190976"/>
                  </a:cubicBezTo>
                  <a:cubicBezTo>
                    <a:pt x="5559267" y="197644"/>
                    <a:pt x="5559267" y="204311"/>
                    <a:pt x="5560219" y="211931"/>
                  </a:cubicBezTo>
                  <a:cubicBezTo>
                    <a:pt x="5561171" y="226219"/>
                    <a:pt x="5563076" y="241459"/>
                    <a:pt x="5564981" y="257651"/>
                  </a:cubicBezTo>
                  <a:cubicBezTo>
                    <a:pt x="5565934" y="263366"/>
                    <a:pt x="5565934" y="269081"/>
                    <a:pt x="5565934" y="274796"/>
                  </a:cubicBezTo>
                  <a:cubicBezTo>
                    <a:pt x="5564981" y="275749"/>
                    <a:pt x="5564981" y="277654"/>
                    <a:pt x="5564029" y="278606"/>
                  </a:cubicBezTo>
                  <a:cubicBezTo>
                    <a:pt x="5563076" y="280511"/>
                    <a:pt x="5562124" y="282416"/>
                    <a:pt x="5561171" y="284321"/>
                  </a:cubicBezTo>
                  <a:cubicBezTo>
                    <a:pt x="5557362" y="277654"/>
                    <a:pt x="5553551" y="270034"/>
                    <a:pt x="5549742" y="264319"/>
                  </a:cubicBezTo>
                  <a:cubicBezTo>
                    <a:pt x="5549742" y="263366"/>
                    <a:pt x="5548789" y="262414"/>
                    <a:pt x="5548789" y="261461"/>
                  </a:cubicBezTo>
                  <a:cubicBezTo>
                    <a:pt x="5546884" y="255746"/>
                    <a:pt x="5545931" y="250984"/>
                    <a:pt x="5544026" y="247174"/>
                  </a:cubicBezTo>
                  <a:cubicBezTo>
                    <a:pt x="5545931" y="234791"/>
                    <a:pt x="5547837" y="228124"/>
                    <a:pt x="5547837" y="228124"/>
                  </a:cubicBezTo>
                  <a:cubicBezTo>
                    <a:pt x="5547837" y="228124"/>
                    <a:pt x="5545931" y="232886"/>
                    <a:pt x="5542121" y="241459"/>
                  </a:cubicBezTo>
                  <a:cubicBezTo>
                    <a:pt x="5542121" y="240506"/>
                    <a:pt x="5541169" y="239554"/>
                    <a:pt x="5541169" y="238601"/>
                  </a:cubicBezTo>
                  <a:cubicBezTo>
                    <a:pt x="5540217" y="235744"/>
                    <a:pt x="5539264" y="232886"/>
                    <a:pt x="5538312" y="230029"/>
                  </a:cubicBezTo>
                  <a:cubicBezTo>
                    <a:pt x="5546884" y="192881"/>
                    <a:pt x="5551646" y="167164"/>
                    <a:pt x="5551646" y="167164"/>
                  </a:cubicBezTo>
                  <a:cubicBezTo>
                    <a:pt x="5551646" y="167164"/>
                    <a:pt x="5542121" y="190024"/>
                    <a:pt x="5528787" y="225266"/>
                  </a:cubicBezTo>
                  <a:cubicBezTo>
                    <a:pt x="5526881" y="221456"/>
                    <a:pt x="5524976" y="219551"/>
                    <a:pt x="5524976" y="217646"/>
                  </a:cubicBezTo>
                  <a:cubicBezTo>
                    <a:pt x="5524024" y="213836"/>
                    <a:pt x="5524024" y="210026"/>
                    <a:pt x="5524024" y="207169"/>
                  </a:cubicBezTo>
                  <a:cubicBezTo>
                    <a:pt x="5522119" y="192881"/>
                    <a:pt x="5521167" y="185261"/>
                    <a:pt x="5521167" y="185261"/>
                  </a:cubicBezTo>
                  <a:cubicBezTo>
                    <a:pt x="5521167" y="185261"/>
                    <a:pt x="5521167" y="192881"/>
                    <a:pt x="5520214" y="207169"/>
                  </a:cubicBezTo>
                  <a:cubicBezTo>
                    <a:pt x="5520214" y="213836"/>
                    <a:pt x="5520214" y="222409"/>
                    <a:pt x="5520214" y="232886"/>
                  </a:cubicBezTo>
                  <a:cubicBezTo>
                    <a:pt x="5520214" y="237649"/>
                    <a:pt x="5520214" y="243364"/>
                    <a:pt x="5520214" y="248126"/>
                  </a:cubicBezTo>
                  <a:cubicBezTo>
                    <a:pt x="5520214" y="249079"/>
                    <a:pt x="5520214" y="250031"/>
                    <a:pt x="5520214" y="250984"/>
                  </a:cubicBezTo>
                  <a:cubicBezTo>
                    <a:pt x="5515451" y="264319"/>
                    <a:pt x="5510689" y="277654"/>
                    <a:pt x="5505926" y="291941"/>
                  </a:cubicBezTo>
                  <a:cubicBezTo>
                    <a:pt x="5504974" y="294799"/>
                    <a:pt x="5504021" y="297656"/>
                    <a:pt x="5503069" y="300514"/>
                  </a:cubicBezTo>
                  <a:cubicBezTo>
                    <a:pt x="5501164" y="297656"/>
                    <a:pt x="5500212" y="293846"/>
                    <a:pt x="5498306" y="290989"/>
                  </a:cubicBezTo>
                  <a:cubicBezTo>
                    <a:pt x="5498306" y="289084"/>
                    <a:pt x="5498306" y="287179"/>
                    <a:pt x="5498306" y="285274"/>
                  </a:cubicBezTo>
                  <a:cubicBezTo>
                    <a:pt x="5499259" y="274796"/>
                    <a:pt x="5499259" y="269081"/>
                    <a:pt x="5499259" y="269081"/>
                  </a:cubicBezTo>
                  <a:cubicBezTo>
                    <a:pt x="5499259" y="269081"/>
                    <a:pt x="5497354" y="274796"/>
                    <a:pt x="5494496" y="284321"/>
                  </a:cubicBezTo>
                  <a:cubicBezTo>
                    <a:pt x="5489734" y="273844"/>
                    <a:pt x="5484971" y="265271"/>
                    <a:pt x="5481162" y="257651"/>
                  </a:cubicBezTo>
                  <a:cubicBezTo>
                    <a:pt x="5482114" y="255746"/>
                    <a:pt x="5482114" y="253841"/>
                    <a:pt x="5483067" y="251936"/>
                  </a:cubicBezTo>
                  <a:cubicBezTo>
                    <a:pt x="5486876" y="241459"/>
                    <a:pt x="5489734" y="231934"/>
                    <a:pt x="5492592" y="224314"/>
                  </a:cubicBezTo>
                  <a:cubicBezTo>
                    <a:pt x="5497354" y="209074"/>
                    <a:pt x="5500212" y="200501"/>
                    <a:pt x="5500212" y="200501"/>
                  </a:cubicBezTo>
                  <a:cubicBezTo>
                    <a:pt x="5500212" y="200501"/>
                    <a:pt x="5498306" y="205264"/>
                    <a:pt x="5493544" y="212884"/>
                  </a:cubicBezTo>
                  <a:cubicBezTo>
                    <a:pt x="5496401" y="203359"/>
                    <a:pt x="5500212" y="194786"/>
                    <a:pt x="5502117" y="188119"/>
                  </a:cubicBezTo>
                  <a:cubicBezTo>
                    <a:pt x="5507831" y="170974"/>
                    <a:pt x="5511642" y="160496"/>
                    <a:pt x="5511642" y="160496"/>
                  </a:cubicBezTo>
                  <a:cubicBezTo>
                    <a:pt x="5511642" y="160496"/>
                    <a:pt x="5506879" y="170021"/>
                    <a:pt x="5498306" y="186214"/>
                  </a:cubicBezTo>
                  <a:cubicBezTo>
                    <a:pt x="5494496" y="194786"/>
                    <a:pt x="5489734" y="204311"/>
                    <a:pt x="5484019" y="215741"/>
                  </a:cubicBezTo>
                  <a:cubicBezTo>
                    <a:pt x="5481162" y="221456"/>
                    <a:pt x="5478304" y="227171"/>
                    <a:pt x="5475446" y="233839"/>
                  </a:cubicBezTo>
                  <a:cubicBezTo>
                    <a:pt x="5474494" y="236696"/>
                    <a:pt x="5473542" y="238601"/>
                    <a:pt x="5472589" y="241459"/>
                  </a:cubicBezTo>
                  <a:cubicBezTo>
                    <a:pt x="5465921" y="228124"/>
                    <a:pt x="5461159" y="221456"/>
                    <a:pt x="5461159" y="221456"/>
                  </a:cubicBezTo>
                  <a:cubicBezTo>
                    <a:pt x="5461159" y="221456"/>
                    <a:pt x="5464017" y="231934"/>
                    <a:pt x="5469731" y="248126"/>
                  </a:cubicBezTo>
                  <a:cubicBezTo>
                    <a:pt x="5468779" y="250031"/>
                    <a:pt x="5467826" y="252889"/>
                    <a:pt x="5466874" y="254794"/>
                  </a:cubicBezTo>
                  <a:cubicBezTo>
                    <a:pt x="5466874" y="255746"/>
                    <a:pt x="5465921" y="256699"/>
                    <a:pt x="5465921" y="257651"/>
                  </a:cubicBezTo>
                  <a:cubicBezTo>
                    <a:pt x="5465921" y="257651"/>
                    <a:pt x="5464969" y="256699"/>
                    <a:pt x="5464969" y="256699"/>
                  </a:cubicBezTo>
                  <a:cubicBezTo>
                    <a:pt x="5461159" y="252889"/>
                    <a:pt x="5458301" y="249079"/>
                    <a:pt x="5455444" y="246221"/>
                  </a:cubicBezTo>
                  <a:cubicBezTo>
                    <a:pt x="5454492" y="240506"/>
                    <a:pt x="5453539" y="234791"/>
                    <a:pt x="5452587" y="230029"/>
                  </a:cubicBezTo>
                  <a:cubicBezTo>
                    <a:pt x="5451634" y="224314"/>
                    <a:pt x="5449729" y="219551"/>
                    <a:pt x="5448776" y="214789"/>
                  </a:cubicBezTo>
                  <a:cubicBezTo>
                    <a:pt x="5445919" y="205264"/>
                    <a:pt x="5444014" y="196691"/>
                    <a:pt x="5442109" y="190024"/>
                  </a:cubicBezTo>
                  <a:cubicBezTo>
                    <a:pt x="5442109" y="190024"/>
                    <a:pt x="5442109" y="190024"/>
                    <a:pt x="5442109" y="190024"/>
                  </a:cubicBezTo>
                  <a:cubicBezTo>
                    <a:pt x="5442109" y="184309"/>
                    <a:pt x="5442109" y="180499"/>
                    <a:pt x="5442109" y="180499"/>
                  </a:cubicBezTo>
                  <a:cubicBezTo>
                    <a:pt x="5442109" y="180499"/>
                    <a:pt x="5442109" y="182404"/>
                    <a:pt x="5441156" y="186214"/>
                  </a:cubicBezTo>
                  <a:cubicBezTo>
                    <a:pt x="5438299" y="174784"/>
                    <a:pt x="5436394" y="169069"/>
                    <a:pt x="5436394" y="169069"/>
                  </a:cubicBezTo>
                  <a:cubicBezTo>
                    <a:pt x="5436394" y="169069"/>
                    <a:pt x="5437346" y="176689"/>
                    <a:pt x="5438299" y="190976"/>
                  </a:cubicBezTo>
                  <a:cubicBezTo>
                    <a:pt x="5438299" y="192881"/>
                    <a:pt x="5438299" y="193834"/>
                    <a:pt x="5439251" y="195739"/>
                  </a:cubicBezTo>
                  <a:cubicBezTo>
                    <a:pt x="5437346" y="203359"/>
                    <a:pt x="5435442" y="212884"/>
                    <a:pt x="5433537" y="225266"/>
                  </a:cubicBezTo>
                  <a:cubicBezTo>
                    <a:pt x="5430679" y="223361"/>
                    <a:pt x="5429726" y="221456"/>
                    <a:pt x="5429726" y="221456"/>
                  </a:cubicBezTo>
                  <a:cubicBezTo>
                    <a:pt x="5429726" y="221456"/>
                    <a:pt x="5430679" y="223361"/>
                    <a:pt x="5433537" y="225266"/>
                  </a:cubicBezTo>
                  <a:cubicBezTo>
                    <a:pt x="5432584" y="230029"/>
                    <a:pt x="5431631" y="235744"/>
                    <a:pt x="5430679" y="240506"/>
                  </a:cubicBezTo>
                  <a:cubicBezTo>
                    <a:pt x="5429726" y="232886"/>
                    <a:pt x="5428774" y="228124"/>
                    <a:pt x="5428774" y="228124"/>
                  </a:cubicBezTo>
                  <a:cubicBezTo>
                    <a:pt x="5428774" y="228124"/>
                    <a:pt x="5428774" y="232886"/>
                    <a:pt x="5428774" y="242411"/>
                  </a:cubicBezTo>
                  <a:cubicBezTo>
                    <a:pt x="5426869" y="234791"/>
                    <a:pt x="5425917" y="228124"/>
                    <a:pt x="5424012" y="222409"/>
                  </a:cubicBezTo>
                  <a:cubicBezTo>
                    <a:pt x="5421154" y="208121"/>
                    <a:pt x="5419249" y="200501"/>
                    <a:pt x="5419249" y="200501"/>
                  </a:cubicBezTo>
                  <a:cubicBezTo>
                    <a:pt x="5419249" y="200501"/>
                    <a:pt x="5419249" y="209074"/>
                    <a:pt x="5420201" y="223361"/>
                  </a:cubicBezTo>
                  <a:cubicBezTo>
                    <a:pt x="5421154" y="235744"/>
                    <a:pt x="5422106" y="253841"/>
                    <a:pt x="5424964" y="274796"/>
                  </a:cubicBezTo>
                  <a:cubicBezTo>
                    <a:pt x="5424012" y="282416"/>
                    <a:pt x="5422106" y="290989"/>
                    <a:pt x="5420201" y="299561"/>
                  </a:cubicBezTo>
                  <a:cubicBezTo>
                    <a:pt x="5419249" y="301466"/>
                    <a:pt x="5419249" y="303371"/>
                    <a:pt x="5418296" y="305276"/>
                  </a:cubicBezTo>
                  <a:cubicBezTo>
                    <a:pt x="5417344" y="302419"/>
                    <a:pt x="5416392" y="300514"/>
                    <a:pt x="5415439" y="298609"/>
                  </a:cubicBezTo>
                  <a:cubicBezTo>
                    <a:pt x="5416392" y="294799"/>
                    <a:pt x="5417344" y="291941"/>
                    <a:pt x="5417344" y="291941"/>
                  </a:cubicBezTo>
                  <a:cubicBezTo>
                    <a:pt x="5417344" y="291941"/>
                    <a:pt x="5416392" y="293846"/>
                    <a:pt x="5414487" y="296704"/>
                  </a:cubicBezTo>
                  <a:cubicBezTo>
                    <a:pt x="5414487" y="296704"/>
                    <a:pt x="5414487" y="295751"/>
                    <a:pt x="5414487" y="295751"/>
                  </a:cubicBezTo>
                  <a:cubicBezTo>
                    <a:pt x="5413534" y="292894"/>
                    <a:pt x="5412581" y="290036"/>
                    <a:pt x="5411629" y="287179"/>
                  </a:cubicBezTo>
                  <a:cubicBezTo>
                    <a:pt x="5413534" y="274796"/>
                    <a:pt x="5414487" y="268129"/>
                    <a:pt x="5414487" y="268129"/>
                  </a:cubicBezTo>
                  <a:cubicBezTo>
                    <a:pt x="5414487" y="268129"/>
                    <a:pt x="5412581" y="272891"/>
                    <a:pt x="5409724" y="282416"/>
                  </a:cubicBezTo>
                  <a:cubicBezTo>
                    <a:pt x="5407819" y="276701"/>
                    <a:pt x="5405914" y="271939"/>
                    <a:pt x="5404009" y="267176"/>
                  </a:cubicBezTo>
                  <a:cubicBezTo>
                    <a:pt x="5402104" y="262414"/>
                    <a:pt x="5401151" y="258604"/>
                    <a:pt x="5399246" y="253841"/>
                  </a:cubicBezTo>
                  <a:cubicBezTo>
                    <a:pt x="5400199" y="240506"/>
                    <a:pt x="5400199" y="232886"/>
                    <a:pt x="5400199" y="232886"/>
                  </a:cubicBezTo>
                  <a:cubicBezTo>
                    <a:pt x="5400199" y="232886"/>
                    <a:pt x="5399246" y="237649"/>
                    <a:pt x="5396389" y="247174"/>
                  </a:cubicBezTo>
                  <a:cubicBezTo>
                    <a:pt x="5396389" y="246221"/>
                    <a:pt x="5395437" y="245269"/>
                    <a:pt x="5395437" y="244316"/>
                  </a:cubicBezTo>
                  <a:cubicBezTo>
                    <a:pt x="5390674" y="231934"/>
                    <a:pt x="5387817" y="224314"/>
                    <a:pt x="5387817" y="224314"/>
                  </a:cubicBezTo>
                  <a:cubicBezTo>
                    <a:pt x="5387817" y="224314"/>
                    <a:pt x="5388769" y="231934"/>
                    <a:pt x="5391626" y="245269"/>
                  </a:cubicBezTo>
                  <a:cubicBezTo>
                    <a:pt x="5392579" y="249079"/>
                    <a:pt x="5393531" y="252889"/>
                    <a:pt x="5394484" y="257651"/>
                  </a:cubicBezTo>
                  <a:cubicBezTo>
                    <a:pt x="5391626" y="269081"/>
                    <a:pt x="5388769" y="283369"/>
                    <a:pt x="5384959" y="300514"/>
                  </a:cubicBezTo>
                  <a:cubicBezTo>
                    <a:pt x="5384959" y="299561"/>
                    <a:pt x="5384959" y="298609"/>
                    <a:pt x="5384006" y="297656"/>
                  </a:cubicBezTo>
                  <a:cubicBezTo>
                    <a:pt x="5383054" y="288131"/>
                    <a:pt x="5382101" y="283369"/>
                    <a:pt x="5382101" y="283369"/>
                  </a:cubicBezTo>
                  <a:cubicBezTo>
                    <a:pt x="5382101" y="283369"/>
                    <a:pt x="5382101" y="284321"/>
                    <a:pt x="5382101" y="287179"/>
                  </a:cubicBezTo>
                  <a:cubicBezTo>
                    <a:pt x="5381149" y="283369"/>
                    <a:pt x="5380196" y="280511"/>
                    <a:pt x="5380196" y="276701"/>
                  </a:cubicBezTo>
                  <a:cubicBezTo>
                    <a:pt x="5380196" y="275749"/>
                    <a:pt x="5379244" y="273844"/>
                    <a:pt x="5379244" y="272891"/>
                  </a:cubicBezTo>
                  <a:cubicBezTo>
                    <a:pt x="5380196" y="270986"/>
                    <a:pt x="5380196" y="269081"/>
                    <a:pt x="5380196" y="269081"/>
                  </a:cubicBezTo>
                  <a:cubicBezTo>
                    <a:pt x="5380196" y="269081"/>
                    <a:pt x="5380196" y="270034"/>
                    <a:pt x="5379244" y="271939"/>
                  </a:cubicBezTo>
                  <a:cubicBezTo>
                    <a:pt x="5376387" y="260509"/>
                    <a:pt x="5374481" y="250984"/>
                    <a:pt x="5372576" y="241459"/>
                  </a:cubicBezTo>
                  <a:cubicBezTo>
                    <a:pt x="5372576" y="238601"/>
                    <a:pt x="5372576" y="235744"/>
                    <a:pt x="5373529" y="232886"/>
                  </a:cubicBezTo>
                  <a:cubicBezTo>
                    <a:pt x="5374481" y="217646"/>
                    <a:pt x="5376387" y="203359"/>
                    <a:pt x="5378292" y="190024"/>
                  </a:cubicBezTo>
                  <a:cubicBezTo>
                    <a:pt x="5379244" y="176689"/>
                    <a:pt x="5382101" y="165259"/>
                    <a:pt x="5384006" y="153829"/>
                  </a:cubicBezTo>
                  <a:cubicBezTo>
                    <a:pt x="5384959" y="148114"/>
                    <a:pt x="5385912" y="143351"/>
                    <a:pt x="5386864" y="138589"/>
                  </a:cubicBezTo>
                  <a:cubicBezTo>
                    <a:pt x="5387817" y="133826"/>
                    <a:pt x="5388769" y="130016"/>
                    <a:pt x="5389721" y="126206"/>
                  </a:cubicBezTo>
                  <a:cubicBezTo>
                    <a:pt x="5392579" y="110966"/>
                    <a:pt x="5394484" y="102394"/>
                    <a:pt x="5394484" y="102394"/>
                  </a:cubicBezTo>
                  <a:cubicBezTo>
                    <a:pt x="5394484" y="102394"/>
                    <a:pt x="5391626" y="110966"/>
                    <a:pt x="5385912" y="125254"/>
                  </a:cubicBezTo>
                  <a:cubicBezTo>
                    <a:pt x="5384959" y="129064"/>
                    <a:pt x="5383054" y="132874"/>
                    <a:pt x="5381149" y="137636"/>
                  </a:cubicBezTo>
                  <a:cubicBezTo>
                    <a:pt x="5379244" y="142399"/>
                    <a:pt x="5378292" y="147161"/>
                    <a:pt x="5376387" y="151924"/>
                  </a:cubicBezTo>
                  <a:cubicBezTo>
                    <a:pt x="5373529" y="162401"/>
                    <a:pt x="5369719" y="174784"/>
                    <a:pt x="5366862" y="188119"/>
                  </a:cubicBezTo>
                  <a:cubicBezTo>
                    <a:pt x="5365909" y="193834"/>
                    <a:pt x="5364004" y="199549"/>
                    <a:pt x="5363051" y="205264"/>
                  </a:cubicBezTo>
                  <a:cubicBezTo>
                    <a:pt x="5361146" y="199549"/>
                    <a:pt x="5360194" y="196691"/>
                    <a:pt x="5360194" y="196691"/>
                  </a:cubicBezTo>
                  <a:cubicBezTo>
                    <a:pt x="5360194" y="196691"/>
                    <a:pt x="5361146" y="201454"/>
                    <a:pt x="5361146" y="210979"/>
                  </a:cubicBezTo>
                  <a:cubicBezTo>
                    <a:pt x="5360194" y="217646"/>
                    <a:pt x="5358289" y="224314"/>
                    <a:pt x="5357337" y="230981"/>
                  </a:cubicBezTo>
                  <a:cubicBezTo>
                    <a:pt x="5356384" y="235744"/>
                    <a:pt x="5355431" y="240506"/>
                    <a:pt x="5355431" y="245269"/>
                  </a:cubicBezTo>
                  <a:cubicBezTo>
                    <a:pt x="5355431" y="241459"/>
                    <a:pt x="5354479" y="238601"/>
                    <a:pt x="5354479" y="235744"/>
                  </a:cubicBezTo>
                  <a:cubicBezTo>
                    <a:pt x="5354479" y="233839"/>
                    <a:pt x="5354479" y="231934"/>
                    <a:pt x="5354479" y="230029"/>
                  </a:cubicBezTo>
                  <a:cubicBezTo>
                    <a:pt x="5355431" y="217646"/>
                    <a:pt x="5355431" y="210979"/>
                    <a:pt x="5355431" y="210979"/>
                  </a:cubicBezTo>
                  <a:cubicBezTo>
                    <a:pt x="5355431" y="210979"/>
                    <a:pt x="5354479" y="214789"/>
                    <a:pt x="5352574" y="222409"/>
                  </a:cubicBezTo>
                  <a:cubicBezTo>
                    <a:pt x="5350669" y="210026"/>
                    <a:pt x="5348764" y="199549"/>
                    <a:pt x="5347812" y="190024"/>
                  </a:cubicBezTo>
                  <a:cubicBezTo>
                    <a:pt x="5347812" y="186214"/>
                    <a:pt x="5347812" y="182404"/>
                    <a:pt x="5347812" y="179546"/>
                  </a:cubicBezTo>
                  <a:cubicBezTo>
                    <a:pt x="5347812" y="167164"/>
                    <a:pt x="5347812" y="160496"/>
                    <a:pt x="5347812" y="160496"/>
                  </a:cubicBezTo>
                  <a:cubicBezTo>
                    <a:pt x="5347812" y="160496"/>
                    <a:pt x="5346859" y="165259"/>
                    <a:pt x="5344954" y="173831"/>
                  </a:cubicBezTo>
                  <a:cubicBezTo>
                    <a:pt x="5342096" y="158591"/>
                    <a:pt x="5341144" y="150019"/>
                    <a:pt x="5341144" y="150019"/>
                  </a:cubicBezTo>
                  <a:cubicBezTo>
                    <a:pt x="5341144" y="150019"/>
                    <a:pt x="5341144" y="160496"/>
                    <a:pt x="5342096" y="177641"/>
                  </a:cubicBezTo>
                  <a:cubicBezTo>
                    <a:pt x="5342096" y="180499"/>
                    <a:pt x="5342096" y="184309"/>
                    <a:pt x="5342096" y="187166"/>
                  </a:cubicBezTo>
                  <a:cubicBezTo>
                    <a:pt x="5341144" y="190976"/>
                    <a:pt x="5341144" y="195739"/>
                    <a:pt x="5340192" y="200501"/>
                  </a:cubicBezTo>
                  <a:cubicBezTo>
                    <a:pt x="5339239" y="209074"/>
                    <a:pt x="5337334" y="218599"/>
                    <a:pt x="5337334" y="229076"/>
                  </a:cubicBezTo>
                  <a:cubicBezTo>
                    <a:pt x="5337334" y="239554"/>
                    <a:pt x="5336381" y="250984"/>
                    <a:pt x="5336381" y="263366"/>
                  </a:cubicBezTo>
                  <a:cubicBezTo>
                    <a:pt x="5336381" y="269081"/>
                    <a:pt x="5336381" y="275749"/>
                    <a:pt x="5336381" y="282416"/>
                  </a:cubicBezTo>
                  <a:cubicBezTo>
                    <a:pt x="5336381" y="282416"/>
                    <a:pt x="5336381" y="282416"/>
                    <a:pt x="5336381" y="282416"/>
                  </a:cubicBezTo>
                  <a:cubicBezTo>
                    <a:pt x="5335429" y="286226"/>
                    <a:pt x="5334476" y="290036"/>
                    <a:pt x="5333524" y="293846"/>
                  </a:cubicBezTo>
                  <a:cubicBezTo>
                    <a:pt x="5333524" y="292894"/>
                    <a:pt x="5332571" y="291941"/>
                    <a:pt x="5332571" y="291941"/>
                  </a:cubicBezTo>
                  <a:cubicBezTo>
                    <a:pt x="5330667" y="287179"/>
                    <a:pt x="5329714" y="282416"/>
                    <a:pt x="5327809" y="278606"/>
                  </a:cubicBezTo>
                  <a:cubicBezTo>
                    <a:pt x="5323999" y="269081"/>
                    <a:pt x="5321142" y="259556"/>
                    <a:pt x="5319237" y="252889"/>
                  </a:cubicBezTo>
                  <a:cubicBezTo>
                    <a:pt x="5313521" y="238601"/>
                    <a:pt x="5310664" y="230029"/>
                    <a:pt x="5310664" y="230029"/>
                  </a:cubicBezTo>
                  <a:cubicBezTo>
                    <a:pt x="5310664" y="230029"/>
                    <a:pt x="5312569" y="238601"/>
                    <a:pt x="5315426" y="253841"/>
                  </a:cubicBezTo>
                  <a:cubicBezTo>
                    <a:pt x="5316379" y="257651"/>
                    <a:pt x="5317331" y="262414"/>
                    <a:pt x="5318284" y="267176"/>
                  </a:cubicBezTo>
                  <a:cubicBezTo>
                    <a:pt x="5316379" y="264319"/>
                    <a:pt x="5315426" y="263366"/>
                    <a:pt x="5315426" y="263366"/>
                  </a:cubicBezTo>
                  <a:cubicBezTo>
                    <a:pt x="5315426" y="263366"/>
                    <a:pt x="5317331" y="268129"/>
                    <a:pt x="5320189" y="276701"/>
                  </a:cubicBezTo>
                  <a:cubicBezTo>
                    <a:pt x="5320189" y="278606"/>
                    <a:pt x="5321142" y="279559"/>
                    <a:pt x="5321142" y="281464"/>
                  </a:cubicBezTo>
                  <a:cubicBezTo>
                    <a:pt x="5322094" y="286226"/>
                    <a:pt x="5323046" y="291941"/>
                    <a:pt x="5324951" y="297656"/>
                  </a:cubicBezTo>
                  <a:cubicBezTo>
                    <a:pt x="5325904" y="300514"/>
                    <a:pt x="5326856" y="303371"/>
                    <a:pt x="5326856" y="306229"/>
                  </a:cubicBezTo>
                  <a:cubicBezTo>
                    <a:pt x="5323999" y="310991"/>
                    <a:pt x="5320189" y="316706"/>
                    <a:pt x="5316379" y="322421"/>
                  </a:cubicBezTo>
                  <a:cubicBezTo>
                    <a:pt x="5313521" y="327184"/>
                    <a:pt x="5309712" y="332899"/>
                    <a:pt x="5306854" y="338614"/>
                  </a:cubicBezTo>
                  <a:cubicBezTo>
                    <a:pt x="5303996" y="343376"/>
                    <a:pt x="5301139" y="349091"/>
                    <a:pt x="5298281" y="354806"/>
                  </a:cubicBezTo>
                  <a:cubicBezTo>
                    <a:pt x="5298281" y="350996"/>
                    <a:pt x="5298281" y="347186"/>
                    <a:pt x="5298281" y="344329"/>
                  </a:cubicBezTo>
                  <a:cubicBezTo>
                    <a:pt x="5299234" y="334804"/>
                    <a:pt x="5300187" y="326231"/>
                    <a:pt x="5301139" y="318611"/>
                  </a:cubicBezTo>
                  <a:cubicBezTo>
                    <a:pt x="5303044" y="308134"/>
                    <a:pt x="5303996" y="299561"/>
                    <a:pt x="5305901" y="291941"/>
                  </a:cubicBezTo>
                  <a:cubicBezTo>
                    <a:pt x="5309712" y="276701"/>
                    <a:pt x="5311617" y="269081"/>
                    <a:pt x="5311617" y="269081"/>
                  </a:cubicBezTo>
                  <a:cubicBezTo>
                    <a:pt x="5311617" y="269081"/>
                    <a:pt x="5307806" y="276701"/>
                    <a:pt x="5302092" y="290989"/>
                  </a:cubicBezTo>
                  <a:cubicBezTo>
                    <a:pt x="5301139" y="293846"/>
                    <a:pt x="5300187" y="295751"/>
                    <a:pt x="5299234" y="298609"/>
                  </a:cubicBezTo>
                  <a:cubicBezTo>
                    <a:pt x="5299234" y="276701"/>
                    <a:pt x="5299234" y="263366"/>
                    <a:pt x="5299234" y="263366"/>
                  </a:cubicBezTo>
                  <a:cubicBezTo>
                    <a:pt x="5299234" y="263366"/>
                    <a:pt x="5295424" y="284321"/>
                    <a:pt x="5290662" y="317659"/>
                  </a:cubicBezTo>
                  <a:cubicBezTo>
                    <a:pt x="5290662" y="315754"/>
                    <a:pt x="5289709" y="314801"/>
                    <a:pt x="5289709" y="312896"/>
                  </a:cubicBezTo>
                  <a:cubicBezTo>
                    <a:pt x="5287804" y="306229"/>
                    <a:pt x="5286851" y="300514"/>
                    <a:pt x="5284946" y="295751"/>
                  </a:cubicBezTo>
                  <a:cubicBezTo>
                    <a:pt x="5284946" y="295751"/>
                    <a:pt x="5284946" y="295751"/>
                    <a:pt x="5284946" y="295751"/>
                  </a:cubicBezTo>
                  <a:cubicBezTo>
                    <a:pt x="5284946" y="295751"/>
                    <a:pt x="5284946" y="295751"/>
                    <a:pt x="5284946" y="295751"/>
                  </a:cubicBezTo>
                  <a:cubicBezTo>
                    <a:pt x="5283994" y="291941"/>
                    <a:pt x="5283042" y="288131"/>
                    <a:pt x="5282089" y="284321"/>
                  </a:cubicBezTo>
                  <a:cubicBezTo>
                    <a:pt x="5282089" y="283369"/>
                    <a:pt x="5282089" y="283369"/>
                    <a:pt x="5281137" y="282416"/>
                  </a:cubicBezTo>
                  <a:cubicBezTo>
                    <a:pt x="5285899" y="264319"/>
                    <a:pt x="5288756" y="252889"/>
                    <a:pt x="5288756" y="252889"/>
                  </a:cubicBezTo>
                  <a:cubicBezTo>
                    <a:pt x="5288756" y="252889"/>
                    <a:pt x="5284946" y="260509"/>
                    <a:pt x="5279231" y="273844"/>
                  </a:cubicBezTo>
                  <a:cubicBezTo>
                    <a:pt x="5278279" y="269081"/>
                    <a:pt x="5276374" y="265271"/>
                    <a:pt x="5275421" y="262414"/>
                  </a:cubicBezTo>
                  <a:cubicBezTo>
                    <a:pt x="5270659" y="250031"/>
                    <a:pt x="5268754" y="243364"/>
                    <a:pt x="5268754" y="243364"/>
                  </a:cubicBezTo>
                  <a:cubicBezTo>
                    <a:pt x="5268754" y="243364"/>
                    <a:pt x="5269706" y="250031"/>
                    <a:pt x="5271612" y="262414"/>
                  </a:cubicBezTo>
                  <a:cubicBezTo>
                    <a:pt x="5272564" y="268129"/>
                    <a:pt x="5273517" y="275749"/>
                    <a:pt x="5274469" y="283369"/>
                  </a:cubicBezTo>
                  <a:cubicBezTo>
                    <a:pt x="5270659" y="290989"/>
                    <a:pt x="5266849" y="300514"/>
                    <a:pt x="5263039" y="310039"/>
                  </a:cubicBezTo>
                  <a:cubicBezTo>
                    <a:pt x="5263039" y="305276"/>
                    <a:pt x="5263039" y="302419"/>
                    <a:pt x="5263039" y="302419"/>
                  </a:cubicBezTo>
                  <a:cubicBezTo>
                    <a:pt x="5263039" y="302419"/>
                    <a:pt x="5262087" y="305276"/>
                    <a:pt x="5260181" y="310039"/>
                  </a:cubicBezTo>
                  <a:cubicBezTo>
                    <a:pt x="5260181" y="310039"/>
                    <a:pt x="5260181" y="309086"/>
                    <a:pt x="5260181" y="309086"/>
                  </a:cubicBezTo>
                  <a:cubicBezTo>
                    <a:pt x="5260181" y="306229"/>
                    <a:pt x="5260181" y="303371"/>
                    <a:pt x="5261134" y="301466"/>
                  </a:cubicBezTo>
                  <a:cubicBezTo>
                    <a:pt x="5261134" y="294799"/>
                    <a:pt x="5262087" y="289084"/>
                    <a:pt x="5262087" y="284321"/>
                  </a:cubicBezTo>
                  <a:cubicBezTo>
                    <a:pt x="5263039" y="274796"/>
                    <a:pt x="5263039" y="269081"/>
                    <a:pt x="5263039" y="269081"/>
                  </a:cubicBezTo>
                  <a:cubicBezTo>
                    <a:pt x="5263039" y="269081"/>
                    <a:pt x="5261134" y="273844"/>
                    <a:pt x="5258276" y="283369"/>
                  </a:cubicBezTo>
                  <a:cubicBezTo>
                    <a:pt x="5258276" y="284321"/>
                    <a:pt x="5257324" y="286226"/>
                    <a:pt x="5257324" y="287179"/>
                  </a:cubicBezTo>
                  <a:cubicBezTo>
                    <a:pt x="5256371" y="282416"/>
                    <a:pt x="5256371" y="277654"/>
                    <a:pt x="5255419" y="273844"/>
                  </a:cubicBezTo>
                  <a:cubicBezTo>
                    <a:pt x="5255419" y="272891"/>
                    <a:pt x="5255419" y="271939"/>
                    <a:pt x="5255419" y="271939"/>
                  </a:cubicBezTo>
                  <a:cubicBezTo>
                    <a:pt x="5255419" y="271939"/>
                    <a:pt x="5255419" y="271939"/>
                    <a:pt x="5255419" y="270986"/>
                  </a:cubicBezTo>
                  <a:cubicBezTo>
                    <a:pt x="5256371" y="268129"/>
                    <a:pt x="5256371" y="266224"/>
                    <a:pt x="5256371" y="266224"/>
                  </a:cubicBezTo>
                  <a:cubicBezTo>
                    <a:pt x="5256371" y="266224"/>
                    <a:pt x="5256371" y="267176"/>
                    <a:pt x="5255419" y="268129"/>
                  </a:cubicBezTo>
                  <a:cubicBezTo>
                    <a:pt x="5256371" y="255746"/>
                    <a:pt x="5257324" y="244316"/>
                    <a:pt x="5258276" y="232886"/>
                  </a:cubicBezTo>
                  <a:cubicBezTo>
                    <a:pt x="5262087" y="188119"/>
                    <a:pt x="5263039" y="158591"/>
                    <a:pt x="5263039" y="158591"/>
                  </a:cubicBezTo>
                  <a:cubicBezTo>
                    <a:pt x="5263039" y="158591"/>
                    <a:pt x="5258276" y="175736"/>
                    <a:pt x="5252562" y="204311"/>
                  </a:cubicBezTo>
                  <a:cubicBezTo>
                    <a:pt x="5253514" y="193834"/>
                    <a:pt x="5254467" y="183356"/>
                    <a:pt x="5255419" y="173831"/>
                  </a:cubicBezTo>
                  <a:cubicBezTo>
                    <a:pt x="5256371" y="160496"/>
                    <a:pt x="5257324" y="150019"/>
                    <a:pt x="5258276" y="140494"/>
                  </a:cubicBezTo>
                  <a:cubicBezTo>
                    <a:pt x="5260181" y="121444"/>
                    <a:pt x="5260181" y="110966"/>
                    <a:pt x="5260181" y="110966"/>
                  </a:cubicBezTo>
                  <a:cubicBezTo>
                    <a:pt x="5260181" y="110966"/>
                    <a:pt x="5257324" y="121444"/>
                    <a:pt x="5254467" y="139541"/>
                  </a:cubicBezTo>
                  <a:cubicBezTo>
                    <a:pt x="5252562" y="149066"/>
                    <a:pt x="5250656" y="159544"/>
                    <a:pt x="5247799" y="172879"/>
                  </a:cubicBezTo>
                  <a:cubicBezTo>
                    <a:pt x="5246846" y="179546"/>
                    <a:pt x="5244942" y="186214"/>
                    <a:pt x="5243989" y="192881"/>
                  </a:cubicBezTo>
                  <a:cubicBezTo>
                    <a:pt x="5243989" y="195739"/>
                    <a:pt x="5243037" y="198596"/>
                    <a:pt x="5243037" y="201454"/>
                  </a:cubicBezTo>
                  <a:cubicBezTo>
                    <a:pt x="5242084" y="197644"/>
                    <a:pt x="5241131" y="194786"/>
                    <a:pt x="5241131" y="194786"/>
                  </a:cubicBezTo>
                  <a:cubicBezTo>
                    <a:pt x="5241131" y="194786"/>
                    <a:pt x="5241131" y="199549"/>
                    <a:pt x="5241131" y="209074"/>
                  </a:cubicBezTo>
                  <a:cubicBezTo>
                    <a:pt x="5241131" y="210979"/>
                    <a:pt x="5240179" y="213836"/>
                    <a:pt x="5240179" y="215741"/>
                  </a:cubicBezTo>
                  <a:cubicBezTo>
                    <a:pt x="5239226" y="225266"/>
                    <a:pt x="5237321" y="235744"/>
                    <a:pt x="5235417" y="246221"/>
                  </a:cubicBezTo>
                  <a:cubicBezTo>
                    <a:pt x="5234464" y="248126"/>
                    <a:pt x="5232559" y="250984"/>
                    <a:pt x="5230654" y="252889"/>
                  </a:cubicBezTo>
                  <a:cubicBezTo>
                    <a:pt x="5227796" y="256699"/>
                    <a:pt x="5225892" y="261461"/>
                    <a:pt x="5222081" y="266224"/>
                  </a:cubicBezTo>
                  <a:cubicBezTo>
                    <a:pt x="5220176" y="270034"/>
                    <a:pt x="5217319" y="274796"/>
                    <a:pt x="5215414" y="279559"/>
                  </a:cubicBezTo>
                  <a:cubicBezTo>
                    <a:pt x="5215414" y="279559"/>
                    <a:pt x="5215414" y="279559"/>
                    <a:pt x="5215414" y="278606"/>
                  </a:cubicBezTo>
                  <a:cubicBezTo>
                    <a:pt x="5216367" y="276701"/>
                    <a:pt x="5216367" y="275749"/>
                    <a:pt x="5216367" y="275749"/>
                  </a:cubicBezTo>
                  <a:cubicBezTo>
                    <a:pt x="5216367" y="275749"/>
                    <a:pt x="5216367" y="276701"/>
                    <a:pt x="5215414" y="277654"/>
                  </a:cubicBezTo>
                  <a:cubicBezTo>
                    <a:pt x="5213509" y="267176"/>
                    <a:pt x="5212556" y="257651"/>
                    <a:pt x="5211604" y="249079"/>
                  </a:cubicBezTo>
                  <a:cubicBezTo>
                    <a:pt x="5210651" y="239554"/>
                    <a:pt x="5209699" y="230981"/>
                    <a:pt x="5208746" y="224314"/>
                  </a:cubicBezTo>
                  <a:cubicBezTo>
                    <a:pt x="5206842" y="210979"/>
                    <a:pt x="5205889" y="202406"/>
                    <a:pt x="5205889" y="202406"/>
                  </a:cubicBezTo>
                  <a:cubicBezTo>
                    <a:pt x="5205889" y="202406"/>
                    <a:pt x="5205889" y="210026"/>
                    <a:pt x="5204937" y="224314"/>
                  </a:cubicBezTo>
                  <a:cubicBezTo>
                    <a:pt x="5204937" y="230981"/>
                    <a:pt x="5204937" y="239554"/>
                    <a:pt x="5204937" y="249079"/>
                  </a:cubicBezTo>
                  <a:cubicBezTo>
                    <a:pt x="5204937" y="253841"/>
                    <a:pt x="5204937" y="258604"/>
                    <a:pt x="5204937" y="264319"/>
                  </a:cubicBezTo>
                  <a:cubicBezTo>
                    <a:pt x="5204937" y="270034"/>
                    <a:pt x="5204937" y="275749"/>
                    <a:pt x="5205889" y="281464"/>
                  </a:cubicBezTo>
                  <a:cubicBezTo>
                    <a:pt x="5205889" y="284321"/>
                    <a:pt x="5205889" y="286226"/>
                    <a:pt x="5205889" y="289084"/>
                  </a:cubicBezTo>
                  <a:cubicBezTo>
                    <a:pt x="5204937" y="287179"/>
                    <a:pt x="5203984" y="286226"/>
                    <a:pt x="5203984" y="286226"/>
                  </a:cubicBezTo>
                  <a:cubicBezTo>
                    <a:pt x="5203984" y="286226"/>
                    <a:pt x="5204937" y="288131"/>
                    <a:pt x="5205889" y="290989"/>
                  </a:cubicBezTo>
                  <a:cubicBezTo>
                    <a:pt x="5205889" y="290989"/>
                    <a:pt x="5205889" y="290989"/>
                    <a:pt x="5205889" y="291941"/>
                  </a:cubicBezTo>
                  <a:cubicBezTo>
                    <a:pt x="5204937" y="290036"/>
                    <a:pt x="5203984" y="289084"/>
                    <a:pt x="5203984" y="287179"/>
                  </a:cubicBezTo>
                  <a:cubicBezTo>
                    <a:pt x="5203984" y="287179"/>
                    <a:pt x="5203984" y="287179"/>
                    <a:pt x="5203984" y="287179"/>
                  </a:cubicBezTo>
                  <a:cubicBezTo>
                    <a:pt x="5203984" y="287179"/>
                    <a:pt x="5203984" y="287179"/>
                    <a:pt x="5203984" y="287179"/>
                  </a:cubicBezTo>
                  <a:cubicBezTo>
                    <a:pt x="5201126" y="281464"/>
                    <a:pt x="5199221" y="278606"/>
                    <a:pt x="5199221" y="278606"/>
                  </a:cubicBezTo>
                  <a:cubicBezTo>
                    <a:pt x="5199221" y="278606"/>
                    <a:pt x="5200174" y="283369"/>
                    <a:pt x="5202079" y="290989"/>
                  </a:cubicBezTo>
                  <a:cubicBezTo>
                    <a:pt x="5201126" y="292894"/>
                    <a:pt x="5200174" y="295751"/>
                    <a:pt x="5198269" y="300514"/>
                  </a:cubicBezTo>
                  <a:cubicBezTo>
                    <a:pt x="5197317" y="298609"/>
                    <a:pt x="5196364" y="297656"/>
                    <a:pt x="5195412" y="295751"/>
                  </a:cubicBezTo>
                  <a:cubicBezTo>
                    <a:pt x="5193506" y="284321"/>
                    <a:pt x="5192554" y="273844"/>
                    <a:pt x="5191601" y="263366"/>
                  </a:cubicBezTo>
                  <a:cubicBezTo>
                    <a:pt x="5187792" y="232886"/>
                    <a:pt x="5185887" y="208121"/>
                    <a:pt x="5184934" y="190024"/>
                  </a:cubicBezTo>
                  <a:cubicBezTo>
                    <a:pt x="5183981" y="181451"/>
                    <a:pt x="5183981" y="173831"/>
                    <a:pt x="5183981" y="169069"/>
                  </a:cubicBezTo>
                  <a:cubicBezTo>
                    <a:pt x="5183981" y="164306"/>
                    <a:pt x="5183981" y="161449"/>
                    <a:pt x="5183981" y="161449"/>
                  </a:cubicBezTo>
                  <a:cubicBezTo>
                    <a:pt x="5183981" y="161449"/>
                    <a:pt x="5183981" y="164306"/>
                    <a:pt x="5183029" y="169069"/>
                  </a:cubicBezTo>
                  <a:cubicBezTo>
                    <a:pt x="5182076" y="173831"/>
                    <a:pt x="5182076" y="180499"/>
                    <a:pt x="5181124" y="190024"/>
                  </a:cubicBezTo>
                  <a:cubicBezTo>
                    <a:pt x="5181124" y="196691"/>
                    <a:pt x="5180171" y="204311"/>
                    <a:pt x="5180171" y="211931"/>
                  </a:cubicBezTo>
                  <a:cubicBezTo>
                    <a:pt x="5179219" y="212884"/>
                    <a:pt x="5178267" y="213836"/>
                    <a:pt x="5177314" y="215741"/>
                  </a:cubicBezTo>
                  <a:cubicBezTo>
                    <a:pt x="5174456" y="219551"/>
                    <a:pt x="5170646" y="224314"/>
                    <a:pt x="5165884" y="231934"/>
                  </a:cubicBezTo>
                  <a:cubicBezTo>
                    <a:pt x="5164931" y="232886"/>
                    <a:pt x="5163979" y="234791"/>
                    <a:pt x="5163979" y="235744"/>
                  </a:cubicBezTo>
                  <a:cubicBezTo>
                    <a:pt x="5163026" y="233839"/>
                    <a:pt x="5162074" y="231934"/>
                    <a:pt x="5161121" y="230029"/>
                  </a:cubicBezTo>
                  <a:cubicBezTo>
                    <a:pt x="5161121" y="230029"/>
                    <a:pt x="5161121" y="229076"/>
                    <a:pt x="5161121" y="229076"/>
                  </a:cubicBezTo>
                  <a:cubicBezTo>
                    <a:pt x="5162074" y="222409"/>
                    <a:pt x="5162074" y="217646"/>
                    <a:pt x="5163026" y="213836"/>
                  </a:cubicBezTo>
                  <a:cubicBezTo>
                    <a:pt x="5163979" y="210026"/>
                    <a:pt x="5163979" y="208121"/>
                    <a:pt x="5163979" y="208121"/>
                  </a:cubicBezTo>
                  <a:cubicBezTo>
                    <a:pt x="5163979" y="208121"/>
                    <a:pt x="5161121" y="213836"/>
                    <a:pt x="5158264" y="224314"/>
                  </a:cubicBezTo>
                  <a:cubicBezTo>
                    <a:pt x="5157312" y="222409"/>
                    <a:pt x="5156359" y="221456"/>
                    <a:pt x="5156359" y="220504"/>
                  </a:cubicBezTo>
                  <a:cubicBezTo>
                    <a:pt x="5152549" y="213836"/>
                    <a:pt x="5149692" y="208121"/>
                    <a:pt x="5147787" y="205264"/>
                  </a:cubicBezTo>
                  <a:cubicBezTo>
                    <a:pt x="5146834" y="195739"/>
                    <a:pt x="5145881" y="186214"/>
                    <a:pt x="5144929" y="178594"/>
                  </a:cubicBezTo>
                  <a:cubicBezTo>
                    <a:pt x="5143024" y="159544"/>
                    <a:pt x="5141119" y="149066"/>
                    <a:pt x="5141119" y="149066"/>
                  </a:cubicBezTo>
                  <a:cubicBezTo>
                    <a:pt x="5141119" y="149066"/>
                    <a:pt x="5141119" y="159544"/>
                    <a:pt x="5141119" y="178594"/>
                  </a:cubicBezTo>
                  <a:cubicBezTo>
                    <a:pt x="5141119" y="197644"/>
                    <a:pt x="5141119" y="224314"/>
                    <a:pt x="5141119" y="255746"/>
                  </a:cubicBezTo>
                  <a:cubicBezTo>
                    <a:pt x="5141119" y="256699"/>
                    <a:pt x="5141119" y="257651"/>
                    <a:pt x="5141119" y="258604"/>
                  </a:cubicBezTo>
                  <a:cubicBezTo>
                    <a:pt x="5140167" y="259556"/>
                    <a:pt x="5140167" y="259556"/>
                    <a:pt x="5139214" y="260509"/>
                  </a:cubicBezTo>
                  <a:cubicBezTo>
                    <a:pt x="5138262" y="261461"/>
                    <a:pt x="5136356" y="263366"/>
                    <a:pt x="5134451" y="265271"/>
                  </a:cubicBezTo>
                  <a:cubicBezTo>
                    <a:pt x="5131594" y="216694"/>
                    <a:pt x="5128737" y="184309"/>
                    <a:pt x="5128737" y="184309"/>
                  </a:cubicBezTo>
                  <a:cubicBezTo>
                    <a:pt x="5128737" y="184309"/>
                    <a:pt x="5126831" y="204311"/>
                    <a:pt x="5124926" y="236696"/>
                  </a:cubicBezTo>
                  <a:cubicBezTo>
                    <a:pt x="5121117" y="225266"/>
                    <a:pt x="5119212" y="219551"/>
                    <a:pt x="5119212" y="219551"/>
                  </a:cubicBezTo>
                  <a:cubicBezTo>
                    <a:pt x="5119212" y="219551"/>
                    <a:pt x="5121117" y="230029"/>
                    <a:pt x="5123974" y="249079"/>
                  </a:cubicBezTo>
                  <a:cubicBezTo>
                    <a:pt x="5123974" y="251936"/>
                    <a:pt x="5123974" y="255746"/>
                    <a:pt x="5123021" y="258604"/>
                  </a:cubicBezTo>
                  <a:cubicBezTo>
                    <a:pt x="5122069" y="263366"/>
                    <a:pt x="5121117" y="270034"/>
                    <a:pt x="5120164" y="279559"/>
                  </a:cubicBezTo>
                  <a:cubicBezTo>
                    <a:pt x="5119212" y="281464"/>
                    <a:pt x="5117306" y="283369"/>
                    <a:pt x="5116354" y="285274"/>
                  </a:cubicBezTo>
                  <a:cubicBezTo>
                    <a:pt x="5113496" y="289084"/>
                    <a:pt x="5109687" y="293846"/>
                    <a:pt x="5106829" y="298609"/>
                  </a:cubicBezTo>
                  <a:cubicBezTo>
                    <a:pt x="5105876" y="299561"/>
                    <a:pt x="5104924" y="301466"/>
                    <a:pt x="5103971" y="303371"/>
                  </a:cubicBezTo>
                  <a:cubicBezTo>
                    <a:pt x="5097304" y="287179"/>
                    <a:pt x="5090637" y="272891"/>
                    <a:pt x="5085874" y="261461"/>
                  </a:cubicBezTo>
                  <a:cubicBezTo>
                    <a:pt x="5085874" y="261461"/>
                    <a:pt x="5085874" y="261461"/>
                    <a:pt x="5086826" y="261461"/>
                  </a:cubicBezTo>
                  <a:cubicBezTo>
                    <a:pt x="5089684" y="260509"/>
                    <a:pt x="5091589" y="260509"/>
                    <a:pt x="5091589" y="260509"/>
                  </a:cubicBezTo>
                  <a:cubicBezTo>
                    <a:pt x="5091589" y="260509"/>
                    <a:pt x="5089684" y="260509"/>
                    <a:pt x="5086826" y="260509"/>
                  </a:cubicBezTo>
                  <a:cubicBezTo>
                    <a:pt x="5086826" y="260509"/>
                    <a:pt x="5085874" y="260509"/>
                    <a:pt x="5085874" y="260509"/>
                  </a:cubicBezTo>
                  <a:cubicBezTo>
                    <a:pt x="5078254" y="243364"/>
                    <a:pt x="5073492" y="232886"/>
                    <a:pt x="5071587" y="230029"/>
                  </a:cubicBezTo>
                  <a:cubicBezTo>
                    <a:pt x="5071587" y="225266"/>
                    <a:pt x="5071587" y="222409"/>
                    <a:pt x="5071587" y="222409"/>
                  </a:cubicBezTo>
                  <a:cubicBezTo>
                    <a:pt x="5071587" y="222409"/>
                    <a:pt x="5070634" y="224314"/>
                    <a:pt x="5069681" y="227171"/>
                  </a:cubicBezTo>
                  <a:cubicBezTo>
                    <a:pt x="5066824" y="214789"/>
                    <a:pt x="5063967" y="203359"/>
                    <a:pt x="5062062" y="192881"/>
                  </a:cubicBezTo>
                  <a:cubicBezTo>
                    <a:pt x="5061109" y="186214"/>
                    <a:pt x="5059204" y="180499"/>
                    <a:pt x="5058251" y="174784"/>
                  </a:cubicBezTo>
                  <a:cubicBezTo>
                    <a:pt x="5057299" y="169069"/>
                    <a:pt x="5056346" y="164306"/>
                    <a:pt x="5055394" y="159544"/>
                  </a:cubicBezTo>
                  <a:cubicBezTo>
                    <a:pt x="5051584" y="140494"/>
                    <a:pt x="5049679" y="130016"/>
                    <a:pt x="5049679" y="130016"/>
                  </a:cubicBezTo>
                  <a:cubicBezTo>
                    <a:pt x="5049679" y="130016"/>
                    <a:pt x="5050631" y="140494"/>
                    <a:pt x="5050631" y="159544"/>
                  </a:cubicBezTo>
                  <a:cubicBezTo>
                    <a:pt x="5050631" y="164306"/>
                    <a:pt x="5051584" y="169069"/>
                    <a:pt x="5051584" y="174784"/>
                  </a:cubicBezTo>
                  <a:cubicBezTo>
                    <a:pt x="5052537" y="180499"/>
                    <a:pt x="5052537" y="186214"/>
                    <a:pt x="5053489" y="192881"/>
                  </a:cubicBezTo>
                  <a:cubicBezTo>
                    <a:pt x="5055394" y="206216"/>
                    <a:pt x="5056346" y="220504"/>
                    <a:pt x="5059204" y="236696"/>
                  </a:cubicBezTo>
                  <a:cubicBezTo>
                    <a:pt x="5060156" y="240506"/>
                    <a:pt x="5061109" y="245269"/>
                    <a:pt x="5061109" y="249079"/>
                  </a:cubicBezTo>
                  <a:cubicBezTo>
                    <a:pt x="5059204" y="254794"/>
                    <a:pt x="5057299" y="262414"/>
                    <a:pt x="5055394" y="270034"/>
                  </a:cubicBezTo>
                  <a:cubicBezTo>
                    <a:pt x="5054442" y="270986"/>
                    <a:pt x="5053489" y="270986"/>
                    <a:pt x="5052537" y="271939"/>
                  </a:cubicBezTo>
                  <a:cubicBezTo>
                    <a:pt x="5052537" y="271939"/>
                    <a:pt x="5052537" y="271939"/>
                    <a:pt x="5052537" y="271939"/>
                  </a:cubicBezTo>
                  <a:cubicBezTo>
                    <a:pt x="5051584" y="269081"/>
                    <a:pt x="5051584" y="267176"/>
                    <a:pt x="5051584" y="267176"/>
                  </a:cubicBezTo>
                  <a:cubicBezTo>
                    <a:pt x="5051584" y="267176"/>
                    <a:pt x="5051584" y="268129"/>
                    <a:pt x="5051584" y="269081"/>
                  </a:cubicBezTo>
                  <a:cubicBezTo>
                    <a:pt x="5050631" y="266224"/>
                    <a:pt x="5049679" y="264319"/>
                    <a:pt x="5048726" y="261461"/>
                  </a:cubicBezTo>
                  <a:cubicBezTo>
                    <a:pt x="5048726" y="261461"/>
                    <a:pt x="5048726" y="261461"/>
                    <a:pt x="5048726" y="261461"/>
                  </a:cubicBezTo>
                  <a:cubicBezTo>
                    <a:pt x="5049679" y="255746"/>
                    <a:pt x="5050631" y="252889"/>
                    <a:pt x="5050631" y="252889"/>
                  </a:cubicBezTo>
                  <a:cubicBezTo>
                    <a:pt x="5050631" y="252889"/>
                    <a:pt x="5049679" y="254794"/>
                    <a:pt x="5047774" y="259556"/>
                  </a:cubicBezTo>
                  <a:cubicBezTo>
                    <a:pt x="5043964" y="250984"/>
                    <a:pt x="5041106" y="243364"/>
                    <a:pt x="5039201" y="236696"/>
                  </a:cubicBezTo>
                  <a:cubicBezTo>
                    <a:pt x="5034439" y="222409"/>
                    <a:pt x="5031581" y="214789"/>
                    <a:pt x="5031581" y="214789"/>
                  </a:cubicBezTo>
                  <a:cubicBezTo>
                    <a:pt x="5031581" y="214789"/>
                    <a:pt x="5033487" y="223361"/>
                    <a:pt x="5035392" y="237649"/>
                  </a:cubicBezTo>
                  <a:cubicBezTo>
                    <a:pt x="5036344" y="243364"/>
                    <a:pt x="5037296" y="249079"/>
                    <a:pt x="5039201" y="256699"/>
                  </a:cubicBezTo>
                  <a:cubicBezTo>
                    <a:pt x="5038249" y="258604"/>
                    <a:pt x="5036344" y="261461"/>
                    <a:pt x="5034439" y="265271"/>
                  </a:cubicBezTo>
                  <a:cubicBezTo>
                    <a:pt x="5034439" y="264319"/>
                    <a:pt x="5034439" y="263366"/>
                    <a:pt x="5034439" y="262414"/>
                  </a:cubicBezTo>
                  <a:cubicBezTo>
                    <a:pt x="5033487" y="253841"/>
                    <a:pt x="5031581" y="247174"/>
                    <a:pt x="5030629" y="241459"/>
                  </a:cubicBezTo>
                  <a:cubicBezTo>
                    <a:pt x="5028724" y="230029"/>
                    <a:pt x="5026819" y="223361"/>
                    <a:pt x="5026819" y="223361"/>
                  </a:cubicBezTo>
                  <a:cubicBezTo>
                    <a:pt x="5026819" y="223361"/>
                    <a:pt x="5026819" y="230029"/>
                    <a:pt x="5025867" y="242411"/>
                  </a:cubicBezTo>
                  <a:cubicBezTo>
                    <a:pt x="5025867" y="248126"/>
                    <a:pt x="5025867" y="255746"/>
                    <a:pt x="5025867" y="263366"/>
                  </a:cubicBezTo>
                  <a:cubicBezTo>
                    <a:pt x="5025867" y="267176"/>
                    <a:pt x="5025867" y="271939"/>
                    <a:pt x="5025867" y="276701"/>
                  </a:cubicBezTo>
                  <a:cubicBezTo>
                    <a:pt x="5025867" y="277654"/>
                    <a:pt x="5025867" y="279559"/>
                    <a:pt x="5025867" y="281464"/>
                  </a:cubicBezTo>
                  <a:cubicBezTo>
                    <a:pt x="5020151" y="274796"/>
                    <a:pt x="5015389" y="268129"/>
                    <a:pt x="5010626" y="263366"/>
                  </a:cubicBezTo>
                  <a:cubicBezTo>
                    <a:pt x="5003006" y="255746"/>
                    <a:pt x="4998244" y="250984"/>
                    <a:pt x="4995387" y="248126"/>
                  </a:cubicBezTo>
                  <a:cubicBezTo>
                    <a:pt x="4996339" y="245269"/>
                    <a:pt x="4997292" y="243364"/>
                    <a:pt x="4997292" y="243364"/>
                  </a:cubicBezTo>
                  <a:cubicBezTo>
                    <a:pt x="4997292" y="243364"/>
                    <a:pt x="4996339" y="245269"/>
                    <a:pt x="4994434" y="248126"/>
                  </a:cubicBezTo>
                  <a:cubicBezTo>
                    <a:pt x="4993481" y="247174"/>
                    <a:pt x="4992529" y="246221"/>
                    <a:pt x="4992529" y="246221"/>
                  </a:cubicBezTo>
                  <a:cubicBezTo>
                    <a:pt x="4994434" y="211931"/>
                    <a:pt x="4994434" y="190024"/>
                    <a:pt x="4994434" y="190024"/>
                  </a:cubicBezTo>
                  <a:cubicBezTo>
                    <a:pt x="4994434" y="190024"/>
                    <a:pt x="4988719" y="210026"/>
                    <a:pt x="4983004" y="240506"/>
                  </a:cubicBezTo>
                  <a:cubicBezTo>
                    <a:pt x="4982051" y="239554"/>
                    <a:pt x="4981099" y="238601"/>
                    <a:pt x="4981099" y="238601"/>
                  </a:cubicBezTo>
                  <a:cubicBezTo>
                    <a:pt x="4967764" y="226219"/>
                    <a:pt x="4959192" y="219551"/>
                    <a:pt x="4959192" y="219551"/>
                  </a:cubicBezTo>
                  <a:cubicBezTo>
                    <a:pt x="4959192" y="219551"/>
                    <a:pt x="4965859" y="227171"/>
                    <a:pt x="4978242" y="241459"/>
                  </a:cubicBezTo>
                  <a:cubicBezTo>
                    <a:pt x="4979194" y="243364"/>
                    <a:pt x="4981099" y="244316"/>
                    <a:pt x="4982051" y="246221"/>
                  </a:cubicBezTo>
                  <a:cubicBezTo>
                    <a:pt x="4982051" y="247174"/>
                    <a:pt x="4982051" y="248126"/>
                    <a:pt x="4982051" y="248126"/>
                  </a:cubicBezTo>
                  <a:cubicBezTo>
                    <a:pt x="4980146" y="257651"/>
                    <a:pt x="4978242" y="268129"/>
                    <a:pt x="4976337" y="279559"/>
                  </a:cubicBezTo>
                  <a:cubicBezTo>
                    <a:pt x="4974431" y="283369"/>
                    <a:pt x="4971574" y="287179"/>
                    <a:pt x="4969669" y="290989"/>
                  </a:cubicBezTo>
                  <a:cubicBezTo>
                    <a:pt x="4965859" y="281464"/>
                    <a:pt x="4963001" y="272891"/>
                    <a:pt x="4960144" y="265271"/>
                  </a:cubicBezTo>
                  <a:cubicBezTo>
                    <a:pt x="4960144" y="265271"/>
                    <a:pt x="4960144" y="264319"/>
                    <a:pt x="4960144" y="264319"/>
                  </a:cubicBezTo>
                  <a:cubicBezTo>
                    <a:pt x="4960144" y="253841"/>
                    <a:pt x="4960144" y="245269"/>
                    <a:pt x="4959192" y="237649"/>
                  </a:cubicBezTo>
                  <a:cubicBezTo>
                    <a:pt x="4958239" y="223361"/>
                    <a:pt x="4958239" y="215741"/>
                    <a:pt x="4958239" y="214789"/>
                  </a:cubicBezTo>
                  <a:cubicBezTo>
                    <a:pt x="4963001" y="194786"/>
                    <a:pt x="4965859" y="177641"/>
                    <a:pt x="4968717" y="164306"/>
                  </a:cubicBezTo>
                  <a:cubicBezTo>
                    <a:pt x="4972526" y="145256"/>
                    <a:pt x="4974431" y="134779"/>
                    <a:pt x="4974431" y="134779"/>
                  </a:cubicBezTo>
                  <a:cubicBezTo>
                    <a:pt x="4974431" y="134779"/>
                    <a:pt x="4970621" y="145256"/>
                    <a:pt x="4964906" y="163354"/>
                  </a:cubicBezTo>
                  <a:cubicBezTo>
                    <a:pt x="4962049" y="171926"/>
                    <a:pt x="4959192" y="181451"/>
                    <a:pt x="4955381" y="191929"/>
                  </a:cubicBezTo>
                  <a:cubicBezTo>
                    <a:pt x="4955381" y="182404"/>
                    <a:pt x="4955381" y="176689"/>
                    <a:pt x="4955381" y="176689"/>
                  </a:cubicBezTo>
                  <a:cubicBezTo>
                    <a:pt x="4955381" y="176689"/>
                    <a:pt x="4954429" y="186214"/>
                    <a:pt x="4952524" y="202406"/>
                  </a:cubicBezTo>
                  <a:cubicBezTo>
                    <a:pt x="4952524" y="202406"/>
                    <a:pt x="4952524" y="203359"/>
                    <a:pt x="4952524" y="203359"/>
                  </a:cubicBezTo>
                  <a:cubicBezTo>
                    <a:pt x="4949667" y="210979"/>
                    <a:pt x="4947762" y="218599"/>
                    <a:pt x="4944904" y="227171"/>
                  </a:cubicBezTo>
                  <a:cubicBezTo>
                    <a:pt x="4944904" y="227171"/>
                    <a:pt x="4944904" y="226219"/>
                    <a:pt x="4944904" y="226219"/>
                  </a:cubicBezTo>
                  <a:cubicBezTo>
                    <a:pt x="4939189" y="209074"/>
                    <a:pt x="4936331" y="199549"/>
                    <a:pt x="4936331" y="199549"/>
                  </a:cubicBezTo>
                  <a:cubicBezTo>
                    <a:pt x="4936331" y="199549"/>
                    <a:pt x="4938237" y="213836"/>
                    <a:pt x="4942046" y="236696"/>
                  </a:cubicBezTo>
                  <a:cubicBezTo>
                    <a:pt x="4942046" y="237649"/>
                    <a:pt x="4941094" y="238601"/>
                    <a:pt x="4941094" y="239554"/>
                  </a:cubicBezTo>
                  <a:cubicBezTo>
                    <a:pt x="4935379" y="255746"/>
                    <a:pt x="4929664" y="273844"/>
                    <a:pt x="4922996" y="292894"/>
                  </a:cubicBezTo>
                  <a:cubicBezTo>
                    <a:pt x="4922996" y="291941"/>
                    <a:pt x="4922996" y="290036"/>
                    <a:pt x="4922996" y="289084"/>
                  </a:cubicBezTo>
                  <a:cubicBezTo>
                    <a:pt x="4921092" y="275749"/>
                    <a:pt x="4920139" y="269081"/>
                    <a:pt x="4920139" y="269081"/>
                  </a:cubicBezTo>
                  <a:cubicBezTo>
                    <a:pt x="4920139" y="269081"/>
                    <a:pt x="4919187" y="276701"/>
                    <a:pt x="4919187" y="290036"/>
                  </a:cubicBezTo>
                  <a:cubicBezTo>
                    <a:pt x="4919187" y="291941"/>
                    <a:pt x="4919187" y="293846"/>
                    <a:pt x="4919187" y="296704"/>
                  </a:cubicBezTo>
                  <a:cubicBezTo>
                    <a:pt x="4918234" y="293846"/>
                    <a:pt x="4918234" y="290989"/>
                    <a:pt x="4917281" y="289084"/>
                  </a:cubicBezTo>
                  <a:cubicBezTo>
                    <a:pt x="4915376" y="279559"/>
                    <a:pt x="4913471" y="271939"/>
                    <a:pt x="4911567" y="266224"/>
                  </a:cubicBezTo>
                  <a:cubicBezTo>
                    <a:pt x="4907756" y="253841"/>
                    <a:pt x="4904899" y="246221"/>
                    <a:pt x="4904899" y="246221"/>
                  </a:cubicBezTo>
                  <a:cubicBezTo>
                    <a:pt x="4904899" y="246221"/>
                    <a:pt x="4905851" y="253841"/>
                    <a:pt x="4907756" y="267176"/>
                  </a:cubicBezTo>
                  <a:cubicBezTo>
                    <a:pt x="4908709" y="273844"/>
                    <a:pt x="4908709" y="281464"/>
                    <a:pt x="4909662" y="290989"/>
                  </a:cubicBezTo>
                  <a:cubicBezTo>
                    <a:pt x="4910614" y="299561"/>
                    <a:pt x="4910614" y="310039"/>
                    <a:pt x="4911567" y="321469"/>
                  </a:cubicBezTo>
                  <a:cubicBezTo>
                    <a:pt x="4910614" y="323374"/>
                    <a:pt x="4909662" y="325279"/>
                    <a:pt x="4908709" y="327184"/>
                  </a:cubicBezTo>
                  <a:cubicBezTo>
                    <a:pt x="4906804" y="322421"/>
                    <a:pt x="4903946" y="317659"/>
                    <a:pt x="4902042" y="313849"/>
                  </a:cubicBezTo>
                  <a:cubicBezTo>
                    <a:pt x="4899184" y="308134"/>
                    <a:pt x="4896326" y="302419"/>
                    <a:pt x="4894421" y="298609"/>
                  </a:cubicBezTo>
                  <a:cubicBezTo>
                    <a:pt x="4893469" y="290036"/>
                    <a:pt x="4892517" y="285274"/>
                    <a:pt x="4892517" y="285274"/>
                  </a:cubicBezTo>
                  <a:cubicBezTo>
                    <a:pt x="4892517" y="285274"/>
                    <a:pt x="4892517" y="288131"/>
                    <a:pt x="4891564" y="293846"/>
                  </a:cubicBezTo>
                  <a:cubicBezTo>
                    <a:pt x="4889659" y="290989"/>
                    <a:pt x="4888706" y="289084"/>
                    <a:pt x="4888706" y="289084"/>
                  </a:cubicBezTo>
                  <a:cubicBezTo>
                    <a:pt x="4888706" y="289084"/>
                    <a:pt x="4889659" y="291941"/>
                    <a:pt x="4891564" y="295751"/>
                  </a:cubicBezTo>
                  <a:cubicBezTo>
                    <a:pt x="4890612" y="306229"/>
                    <a:pt x="4888706" y="324326"/>
                    <a:pt x="4887754" y="348139"/>
                  </a:cubicBezTo>
                  <a:cubicBezTo>
                    <a:pt x="4887754" y="350996"/>
                    <a:pt x="4887754" y="354806"/>
                    <a:pt x="4887754" y="357664"/>
                  </a:cubicBezTo>
                  <a:cubicBezTo>
                    <a:pt x="4885849" y="354806"/>
                    <a:pt x="4883944" y="352901"/>
                    <a:pt x="4882991" y="350996"/>
                  </a:cubicBezTo>
                  <a:cubicBezTo>
                    <a:pt x="4882991" y="347186"/>
                    <a:pt x="4882039" y="343376"/>
                    <a:pt x="4882039" y="338614"/>
                  </a:cubicBezTo>
                  <a:cubicBezTo>
                    <a:pt x="4882039" y="338614"/>
                    <a:pt x="4882039" y="337661"/>
                    <a:pt x="4882039" y="337661"/>
                  </a:cubicBezTo>
                  <a:cubicBezTo>
                    <a:pt x="4882991" y="333851"/>
                    <a:pt x="4882991" y="330041"/>
                    <a:pt x="4883944" y="327184"/>
                  </a:cubicBezTo>
                  <a:cubicBezTo>
                    <a:pt x="4884896" y="324326"/>
                    <a:pt x="4884896" y="321469"/>
                    <a:pt x="4885849" y="319564"/>
                  </a:cubicBezTo>
                  <a:cubicBezTo>
                    <a:pt x="4886801" y="315754"/>
                    <a:pt x="4887754" y="312896"/>
                    <a:pt x="4887754" y="312896"/>
                  </a:cubicBezTo>
                  <a:cubicBezTo>
                    <a:pt x="4887754" y="312896"/>
                    <a:pt x="4886801" y="314801"/>
                    <a:pt x="4884896" y="318611"/>
                  </a:cubicBezTo>
                  <a:cubicBezTo>
                    <a:pt x="4883944" y="320516"/>
                    <a:pt x="4882991" y="323374"/>
                    <a:pt x="4882039" y="326231"/>
                  </a:cubicBezTo>
                  <a:cubicBezTo>
                    <a:pt x="4882039" y="327184"/>
                    <a:pt x="4882039" y="327184"/>
                    <a:pt x="4882039" y="328136"/>
                  </a:cubicBezTo>
                  <a:cubicBezTo>
                    <a:pt x="4882039" y="327184"/>
                    <a:pt x="4882039" y="326231"/>
                    <a:pt x="4882039" y="326231"/>
                  </a:cubicBezTo>
                  <a:cubicBezTo>
                    <a:pt x="4880134" y="312896"/>
                    <a:pt x="4878229" y="300514"/>
                    <a:pt x="4877276" y="288131"/>
                  </a:cubicBezTo>
                  <a:cubicBezTo>
                    <a:pt x="4876324" y="279559"/>
                    <a:pt x="4874419" y="270986"/>
                    <a:pt x="4873466" y="263366"/>
                  </a:cubicBezTo>
                  <a:cubicBezTo>
                    <a:pt x="4875372" y="253841"/>
                    <a:pt x="4876324" y="245269"/>
                    <a:pt x="4878229" y="238601"/>
                  </a:cubicBezTo>
                  <a:cubicBezTo>
                    <a:pt x="4881087" y="221456"/>
                    <a:pt x="4882039" y="211931"/>
                    <a:pt x="4882039" y="211931"/>
                  </a:cubicBezTo>
                  <a:cubicBezTo>
                    <a:pt x="4882039" y="211931"/>
                    <a:pt x="4879181" y="221456"/>
                    <a:pt x="4874419" y="237649"/>
                  </a:cubicBezTo>
                  <a:cubicBezTo>
                    <a:pt x="4873466" y="241459"/>
                    <a:pt x="4872514" y="245269"/>
                    <a:pt x="4870609" y="249079"/>
                  </a:cubicBezTo>
                  <a:cubicBezTo>
                    <a:pt x="4869656" y="242411"/>
                    <a:pt x="4867751" y="236696"/>
                    <a:pt x="4866799" y="231934"/>
                  </a:cubicBezTo>
                  <a:cubicBezTo>
                    <a:pt x="4863941" y="218599"/>
                    <a:pt x="4862037" y="210979"/>
                    <a:pt x="4862037" y="210979"/>
                  </a:cubicBezTo>
                  <a:cubicBezTo>
                    <a:pt x="4862037" y="210979"/>
                    <a:pt x="4862037" y="218599"/>
                    <a:pt x="4862989" y="232886"/>
                  </a:cubicBezTo>
                  <a:cubicBezTo>
                    <a:pt x="4862989" y="237649"/>
                    <a:pt x="4863941" y="242411"/>
                    <a:pt x="4863941" y="248126"/>
                  </a:cubicBezTo>
                  <a:cubicBezTo>
                    <a:pt x="4863941" y="250984"/>
                    <a:pt x="4863941" y="255746"/>
                    <a:pt x="4863941" y="261461"/>
                  </a:cubicBezTo>
                  <a:cubicBezTo>
                    <a:pt x="4862989" y="262414"/>
                    <a:pt x="4862037" y="263366"/>
                    <a:pt x="4860131" y="264319"/>
                  </a:cubicBezTo>
                  <a:cubicBezTo>
                    <a:pt x="4856322" y="268129"/>
                    <a:pt x="4850606" y="272891"/>
                    <a:pt x="4843939" y="281464"/>
                  </a:cubicBezTo>
                  <a:cubicBezTo>
                    <a:pt x="4842987" y="277654"/>
                    <a:pt x="4842034" y="273844"/>
                    <a:pt x="4841081" y="270986"/>
                  </a:cubicBezTo>
                  <a:cubicBezTo>
                    <a:pt x="4842034" y="268129"/>
                    <a:pt x="4842987" y="266224"/>
                    <a:pt x="4842987" y="266224"/>
                  </a:cubicBezTo>
                  <a:cubicBezTo>
                    <a:pt x="4842987" y="266224"/>
                    <a:pt x="4842034" y="267176"/>
                    <a:pt x="4841081" y="269081"/>
                  </a:cubicBezTo>
                  <a:cubicBezTo>
                    <a:pt x="4840129" y="265271"/>
                    <a:pt x="4840129" y="262414"/>
                    <a:pt x="4840129" y="262414"/>
                  </a:cubicBezTo>
                  <a:cubicBezTo>
                    <a:pt x="4840129" y="262414"/>
                    <a:pt x="4840129" y="265271"/>
                    <a:pt x="4840129" y="270034"/>
                  </a:cubicBezTo>
                  <a:cubicBezTo>
                    <a:pt x="4838224" y="271939"/>
                    <a:pt x="4836319" y="274796"/>
                    <a:pt x="4833462" y="278606"/>
                  </a:cubicBezTo>
                  <a:cubicBezTo>
                    <a:pt x="4830604" y="283369"/>
                    <a:pt x="4826794" y="288131"/>
                    <a:pt x="4822984" y="294799"/>
                  </a:cubicBezTo>
                  <a:cubicBezTo>
                    <a:pt x="4821079" y="297656"/>
                    <a:pt x="4819174" y="301466"/>
                    <a:pt x="4816316" y="304324"/>
                  </a:cubicBezTo>
                  <a:cubicBezTo>
                    <a:pt x="4814412" y="308134"/>
                    <a:pt x="4812506" y="311944"/>
                    <a:pt x="4809649" y="315754"/>
                  </a:cubicBezTo>
                  <a:cubicBezTo>
                    <a:pt x="4809649" y="316706"/>
                    <a:pt x="4808697" y="317659"/>
                    <a:pt x="4807744" y="318611"/>
                  </a:cubicBezTo>
                  <a:cubicBezTo>
                    <a:pt x="4807744" y="309086"/>
                    <a:pt x="4807744" y="304324"/>
                    <a:pt x="4807744" y="304324"/>
                  </a:cubicBezTo>
                  <a:cubicBezTo>
                    <a:pt x="4807744" y="304324"/>
                    <a:pt x="4805839" y="312896"/>
                    <a:pt x="4803934" y="327184"/>
                  </a:cubicBezTo>
                  <a:cubicBezTo>
                    <a:pt x="4801076" y="331946"/>
                    <a:pt x="4798219" y="336709"/>
                    <a:pt x="4795362" y="342424"/>
                  </a:cubicBezTo>
                  <a:cubicBezTo>
                    <a:pt x="4795362" y="335756"/>
                    <a:pt x="4795362" y="330041"/>
                    <a:pt x="4795362" y="324326"/>
                  </a:cubicBezTo>
                  <a:cubicBezTo>
                    <a:pt x="4795362" y="319564"/>
                    <a:pt x="4795362" y="315754"/>
                    <a:pt x="4795362" y="311944"/>
                  </a:cubicBezTo>
                  <a:cubicBezTo>
                    <a:pt x="4796314" y="308134"/>
                    <a:pt x="4796314" y="305276"/>
                    <a:pt x="4796314" y="302419"/>
                  </a:cubicBezTo>
                  <a:cubicBezTo>
                    <a:pt x="4796314" y="300514"/>
                    <a:pt x="4796314" y="299561"/>
                    <a:pt x="4797266" y="297656"/>
                  </a:cubicBezTo>
                  <a:cubicBezTo>
                    <a:pt x="4799172" y="286226"/>
                    <a:pt x="4802029" y="274796"/>
                    <a:pt x="4803934" y="264319"/>
                  </a:cubicBezTo>
                  <a:cubicBezTo>
                    <a:pt x="4811554" y="221456"/>
                    <a:pt x="4815364" y="192881"/>
                    <a:pt x="4815364" y="192881"/>
                  </a:cubicBezTo>
                  <a:cubicBezTo>
                    <a:pt x="4815364" y="192881"/>
                    <a:pt x="4804887" y="220504"/>
                    <a:pt x="4792504" y="262414"/>
                  </a:cubicBezTo>
                  <a:cubicBezTo>
                    <a:pt x="4791551" y="264319"/>
                    <a:pt x="4791551" y="266224"/>
                    <a:pt x="4790599" y="268129"/>
                  </a:cubicBezTo>
                  <a:cubicBezTo>
                    <a:pt x="4788694" y="256699"/>
                    <a:pt x="4788694" y="250031"/>
                    <a:pt x="4788694" y="250031"/>
                  </a:cubicBezTo>
                  <a:cubicBezTo>
                    <a:pt x="4788694" y="250031"/>
                    <a:pt x="4788694" y="257651"/>
                    <a:pt x="4787741" y="270986"/>
                  </a:cubicBezTo>
                  <a:cubicBezTo>
                    <a:pt x="4787741" y="273844"/>
                    <a:pt x="4787741" y="277654"/>
                    <a:pt x="4787741" y="281464"/>
                  </a:cubicBezTo>
                  <a:cubicBezTo>
                    <a:pt x="4785837" y="287179"/>
                    <a:pt x="4783931" y="292894"/>
                    <a:pt x="4782979" y="299561"/>
                  </a:cubicBezTo>
                  <a:cubicBezTo>
                    <a:pt x="4782979" y="297656"/>
                    <a:pt x="4782979" y="295751"/>
                    <a:pt x="4782979" y="293846"/>
                  </a:cubicBezTo>
                  <a:cubicBezTo>
                    <a:pt x="4783931" y="282416"/>
                    <a:pt x="4783931" y="271939"/>
                    <a:pt x="4784884" y="263366"/>
                  </a:cubicBezTo>
                  <a:cubicBezTo>
                    <a:pt x="4785837" y="253841"/>
                    <a:pt x="4785837" y="246221"/>
                    <a:pt x="4786789" y="239554"/>
                  </a:cubicBezTo>
                  <a:cubicBezTo>
                    <a:pt x="4788694" y="226219"/>
                    <a:pt x="4789647" y="218599"/>
                    <a:pt x="4789647" y="218599"/>
                  </a:cubicBezTo>
                  <a:cubicBezTo>
                    <a:pt x="4789647" y="218599"/>
                    <a:pt x="4787741" y="226219"/>
                    <a:pt x="4782979" y="238601"/>
                  </a:cubicBezTo>
                  <a:cubicBezTo>
                    <a:pt x="4781074" y="245269"/>
                    <a:pt x="4779169" y="252889"/>
                    <a:pt x="4777264" y="262414"/>
                  </a:cubicBezTo>
                  <a:cubicBezTo>
                    <a:pt x="4776312" y="264319"/>
                    <a:pt x="4776312" y="266224"/>
                    <a:pt x="4776312" y="269081"/>
                  </a:cubicBezTo>
                  <a:cubicBezTo>
                    <a:pt x="4774406" y="257651"/>
                    <a:pt x="4773454" y="251936"/>
                    <a:pt x="4773454" y="251936"/>
                  </a:cubicBezTo>
                  <a:cubicBezTo>
                    <a:pt x="4773454" y="251936"/>
                    <a:pt x="4773454" y="264319"/>
                    <a:pt x="4773454" y="284321"/>
                  </a:cubicBezTo>
                  <a:cubicBezTo>
                    <a:pt x="4772501" y="287179"/>
                    <a:pt x="4772501" y="290989"/>
                    <a:pt x="4771549" y="293846"/>
                  </a:cubicBezTo>
                  <a:cubicBezTo>
                    <a:pt x="4771549" y="294799"/>
                    <a:pt x="4771549" y="294799"/>
                    <a:pt x="4771549" y="295751"/>
                  </a:cubicBezTo>
                  <a:cubicBezTo>
                    <a:pt x="4769644" y="273844"/>
                    <a:pt x="4767739" y="260509"/>
                    <a:pt x="4767739" y="260509"/>
                  </a:cubicBezTo>
                  <a:cubicBezTo>
                    <a:pt x="4767739" y="260509"/>
                    <a:pt x="4765834" y="274796"/>
                    <a:pt x="4764881" y="297656"/>
                  </a:cubicBezTo>
                  <a:cubicBezTo>
                    <a:pt x="4762024" y="290036"/>
                    <a:pt x="4758214" y="283369"/>
                    <a:pt x="4755356" y="276701"/>
                  </a:cubicBezTo>
                  <a:cubicBezTo>
                    <a:pt x="4753451" y="273844"/>
                    <a:pt x="4752499" y="271939"/>
                    <a:pt x="4750594" y="270034"/>
                  </a:cubicBezTo>
                  <a:cubicBezTo>
                    <a:pt x="4753451" y="260509"/>
                    <a:pt x="4755356" y="251936"/>
                    <a:pt x="4758214" y="243364"/>
                  </a:cubicBezTo>
                  <a:cubicBezTo>
                    <a:pt x="4767739" y="209074"/>
                    <a:pt x="4774406" y="180499"/>
                    <a:pt x="4780122" y="161449"/>
                  </a:cubicBezTo>
                  <a:cubicBezTo>
                    <a:pt x="4784884" y="141446"/>
                    <a:pt x="4787741" y="130016"/>
                    <a:pt x="4787741" y="130016"/>
                  </a:cubicBezTo>
                  <a:cubicBezTo>
                    <a:pt x="4787741" y="130016"/>
                    <a:pt x="4782979" y="140494"/>
                    <a:pt x="4776312" y="160496"/>
                  </a:cubicBezTo>
                  <a:cubicBezTo>
                    <a:pt x="4769644" y="179546"/>
                    <a:pt x="4759166" y="207169"/>
                    <a:pt x="4747737" y="240506"/>
                  </a:cubicBezTo>
                  <a:cubicBezTo>
                    <a:pt x="4745831" y="246221"/>
                    <a:pt x="4743926" y="251936"/>
                    <a:pt x="4742022" y="257651"/>
                  </a:cubicBezTo>
                  <a:cubicBezTo>
                    <a:pt x="4742022" y="257651"/>
                    <a:pt x="4742022" y="257651"/>
                    <a:pt x="4742022" y="257651"/>
                  </a:cubicBezTo>
                  <a:cubicBezTo>
                    <a:pt x="4737259" y="251936"/>
                    <a:pt x="4732497" y="248126"/>
                    <a:pt x="4727734" y="244316"/>
                  </a:cubicBezTo>
                  <a:cubicBezTo>
                    <a:pt x="4725829" y="242411"/>
                    <a:pt x="4722972" y="241459"/>
                    <a:pt x="4721066" y="240506"/>
                  </a:cubicBezTo>
                  <a:cubicBezTo>
                    <a:pt x="4719162" y="239554"/>
                    <a:pt x="4717256" y="238601"/>
                    <a:pt x="4716304" y="238601"/>
                  </a:cubicBezTo>
                  <a:cubicBezTo>
                    <a:pt x="4713447" y="237649"/>
                    <a:pt x="4712494" y="237649"/>
                    <a:pt x="4712494" y="237649"/>
                  </a:cubicBezTo>
                  <a:cubicBezTo>
                    <a:pt x="4712494" y="237649"/>
                    <a:pt x="4713447" y="238601"/>
                    <a:pt x="4716304" y="239554"/>
                  </a:cubicBezTo>
                  <a:cubicBezTo>
                    <a:pt x="4719162" y="240506"/>
                    <a:pt x="4722019" y="243364"/>
                    <a:pt x="4725829" y="246221"/>
                  </a:cubicBezTo>
                  <a:cubicBezTo>
                    <a:pt x="4729639" y="250031"/>
                    <a:pt x="4733449" y="254794"/>
                    <a:pt x="4736306" y="260509"/>
                  </a:cubicBezTo>
                  <a:cubicBezTo>
                    <a:pt x="4737259" y="262414"/>
                    <a:pt x="4738212" y="264319"/>
                    <a:pt x="4739164" y="266224"/>
                  </a:cubicBezTo>
                  <a:cubicBezTo>
                    <a:pt x="4736306" y="274796"/>
                    <a:pt x="4732497" y="284321"/>
                    <a:pt x="4729639" y="293846"/>
                  </a:cubicBezTo>
                  <a:cubicBezTo>
                    <a:pt x="4729639" y="294799"/>
                    <a:pt x="4729639" y="294799"/>
                    <a:pt x="4728687" y="295751"/>
                  </a:cubicBezTo>
                  <a:cubicBezTo>
                    <a:pt x="4728687" y="295751"/>
                    <a:pt x="4728687" y="295751"/>
                    <a:pt x="4728687" y="294799"/>
                  </a:cubicBezTo>
                  <a:cubicBezTo>
                    <a:pt x="4728687" y="291941"/>
                    <a:pt x="4728687" y="290989"/>
                    <a:pt x="4728687" y="290989"/>
                  </a:cubicBezTo>
                  <a:cubicBezTo>
                    <a:pt x="4728687" y="290989"/>
                    <a:pt x="4728687" y="291941"/>
                    <a:pt x="4727734" y="293846"/>
                  </a:cubicBezTo>
                  <a:cubicBezTo>
                    <a:pt x="4723924" y="285274"/>
                    <a:pt x="4720114" y="277654"/>
                    <a:pt x="4717256" y="270986"/>
                  </a:cubicBezTo>
                  <a:cubicBezTo>
                    <a:pt x="4716304" y="269081"/>
                    <a:pt x="4715351" y="267176"/>
                    <a:pt x="4714399" y="265271"/>
                  </a:cubicBezTo>
                  <a:cubicBezTo>
                    <a:pt x="4715351" y="257651"/>
                    <a:pt x="4716304" y="252889"/>
                    <a:pt x="4716304" y="252889"/>
                  </a:cubicBezTo>
                  <a:cubicBezTo>
                    <a:pt x="4716304" y="252889"/>
                    <a:pt x="4715351" y="256699"/>
                    <a:pt x="4713447" y="262414"/>
                  </a:cubicBezTo>
                  <a:cubicBezTo>
                    <a:pt x="4708684" y="252889"/>
                    <a:pt x="4706779" y="248126"/>
                    <a:pt x="4706779" y="248126"/>
                  </a:cubicBezTo>
                  <a:cubicBezTo>
                    <a:pt x="4706779" y="248126"/>
                    <a:pt x="4708684" y="254794"/>
                    <a:pt x="4712494" y="267176"/>
                  </a:cubicBezTo>
                  <a:cubicBezTo>
                    <a:pt x="4711541" y="270034"/>
                    <a:pt x="4710589" y="273844"/>
                    <a:pt x="4708684" y="277654"/>
                  </a:cubicBezTo>
                  <a:cubicBezTo>
                    <a:pt x="4700112" y="251936"/>
                    <a:pt x="4694397" y="236696"/>
                    <a:pt x="4694397" y="236696"/>
                  </a:cubicBezTo>
                  <a:cubicBezTo>
                    <a:pt x="4694397" y="236696"/>
                    <a:pt x="4697254" y="258604"/>
                    <a:pt x="4702969" y="293846"/>
                  </a:cubicBezTo>
                  <a:cubicBezTo>
                    <a:pt x="4700112" y="304324"/>
                    <a:pt x="4696301" y="317659"/>
                    <a:pt x="4691539" y="331946"/>
                  </a:cubicBezTo>
                  <a:cubicBezTo>
                    <a:pt x="4691539" y="330994"/>
                    <a:pt x="4690587" y="330041"/>
                    <a:pt x="4690587" y="329089"/>
                  </a:cubicBezTo>
                  <a:cubicBezTo>
                    <a:pt x="4685824" y="319564"/>
                    <a:pt x="4682966" y="313849"/>
                    <a:pt x="4682966" y="313849"/>
                  </a:cubicBezTo>
                  <a:cubicBezTo>
                    <a:pt x="4682966" y="313849"/>
                    <a:pt x="4683919" y="316706"/>
                    <a:pt x="4684872" y="322421"/>
                  </a:cubicBezTo>
                  <a:cubicBezTo>
                    <a:pt x="4684872" y="322421"/>
                    <a:pt x="4684872" y="322421"/>
                    <a:pt x="4684872" y="322421"/>
                  </a:cubicBezTo>
                  <a:cubicBezTo>
                    <a:pt x="4676299" y="310991"/>
                    <a:pt x="4671537" y="304324"/>
                    <a:pt x="4671537" y="304324"/>
                  </a:cubicBezTo>
                  <a:cubicBezTo>
                    <a:pt x="4671537" y="304324"/>
                    <a:pt x="4675347" y="311944"/>
                    <a:pt x="4682014" y="324326"/>
                  </a:cubicBezTo>
                  <a:cubicBezTo>
                    <a:pt x="4683919" y="328136"/>
                    <a:pt x="4686776" y="332899"/>
                    <a:pt x="4688681" y="337661"/>
                  </a:cubicBezTo>
                  <a:cubicBezTo>
                    <a:pt x="4688681" y="338614"/>
                    <a:pt x="4688681" y="339566"/>
                    <a:pt x="4689634" y="340519"/>
                  </a:cubicBezTo>
                  <a:cubicBezTo>
                    <a:pt x="4687729" y="349091"/>
                    <a:pt x="4684872" y="356711"/>
                    <a:pt x="4682966" y="366236"/>
                  </a:cubicBezTo>
                  <a:cubicBezTo>
                    <a:pt x="4681062" y="364331"/>
                    <a:pt x="4680109" y="361474"/>
                    <a:pt x="4678204" y="359569"/>
                  </a:cubicBezTo>
                  <a:cubicBezTo>
                    <a:pt x="4675347" y="355759"/>
                    <a:pt x="4671537" y="351949"/>
                    <a:pt x="4669631" y="349091"/>
                  </a:cubicBezTo>
                  <a:cubicBezTo>
                    <a:pt x="4669631" y="349091"/>
                    <a:pt x="4669631" y="349091"/>
                    <a:pt x="4668679" y="348139"/>
                  </a:cubicBezTo>
                  <a:cubicBezTo>
                    <a:pt x="4669631" y="341471"/>
                    <a:pt x="4669631" y="335756"/>
                    <a:pt x="4669631" y="330994"/>
                  </a:cubicBezTo>
                  <a:cubicBezTo>
                    <a:pt x="4670584" y="318611"/>
                    <a:pt x="4669631" y="310991"/>
                    <a:pt x="4669631" y="310991"/>
                  </a:cubicBezTo>
                  <a:cubicBezTo>
                    <a:pt x="4669631" y="310991"/>
                    <a:pt x="4669631" y="311944"/>
                    <a:pt x="4669631" y="313849"/>
                  </a:cubicBezTo>
                  <a:cubicBezTo>
                    <a:pt x="4669631" y="310039"/>
                    <a:pt x="4670584" y="305276"/>
                    <a:pt x="4670584" y="301466"/>
                  </a:cubicBezTo>
                  <a:cubicBezTo>
                    <a:pt x="4670584" y="296704"/>
                    <a:pt x="4670584" y="291941"/>
                    <a:pt x="4670584" y="287179"/>
                  </a:cubicBezTo>
                  <a:cubicBezTo>
                    <a:pt x="4672489" y="282416"/>
                    <a:pt x="4673441" y="278606"/>
                    <a:pt x="4675347" y="274796"/>
                  </a:cubicBezTo>
                  <a:cubicBezTo>
                    <a:pt x="4683919" y="259556"/>
                    <a:pt x="4689634" y="250984"/>
                    <a:pt x="4689634" y="250984"/>
                  </a:cubicBezTo>
                  <a:cubicBezTo>
                    <a:pt x="4689634" y="250984"/>
                    <a:pt x="4686776" y="254794"/>
                    <a:pt x="4681062" y="262414"/>
                  </a:cubicBezTo>
                  <a:cubicBezTo>
                    <a:pt x="4684872" y="252889"/>
                    <a:pt x="4686776" y="248126"/>
                    <a:pt x="4686776" y="248126"/>
                  </a:cubicBezTo>
                  <a:cubicBezTo>
                    <a:pt x="4686776" y="248126"/>
                    <a:pt x="4682966" y="254794"/>
                    <a:pt x="4675347" y="265271"/>
                  </a:cubicBezTo>
                  <a:cubicBezTo>
                    <a:pt x="4673441" y="267176"/>
                    <a:pt x="4672489" y="270034"/>
                    <a:pt x="4670584" y="272891"/>
                  </a:cubicBezTo>
                  <a:cubicBezTo>
                    <a:pt x="4670584" y="270986"/>
                    <a:pt x="4670584" y="270034"/>
                    <a:pt x="4670584" y="268129"/>
                  </a:cubicBezTo>
                  <a:cubicBezTo>
                    <a:pt x="4669631" y="261461"/>
                    <a:pt x="4669631" y="255746"/>
                    <a:pt x="4668679" y="250984"/>
                  </a:cubicBezTo>
                  <a:cubicBezTo>
                    <a:pt x="4668679" y="250031"/>
                    <a:pt x="4668679" y="248126"/>
                    <a:pt x="4669631" y="247174"/>
                  </a:cubicBezTo>
                  <a:cubicBezTo>
                    <a:pt x="4671537" y="230981"/>
                    <a:pt x="4671537" y="222409"/>
                    <a:pt x="4671537" y="222409"/>
                  </a:cubicBezTo>
                  <a:cubicBezTo>
                    <a:pt x="4671537" y="222409"/>
                    <a:pt x="4671537" y="224314"/>
                    <a:pt x="4670584" y="229076"/>
                  </a:cubicBezTo>
                  <a:cubicBezTo>
                    <a:pt x="4669631" y="231934"/>
                    <a:pt x="4668679" y="236696"/>
                    <a:pt x="4666774" y="242411"/>
                  </a:cubicBezTo>
                  <a:cubicBezTo>
                    <a:pt x="4666774" y="242411"/>
                    <a:pt x="4666774" y="242411"/>
                    <a:pt x="4666774" y="241459"/>
                  </a:cubicBezTo>
                  <a:cubicBezTo>
                    <a:pt x="4666774" y="241459"/>
                    <a:pt x="4666774" y="241459"/>
                    <a:pt x="4666774" y="241459"/>
                  </a:cubicBezTo>
                  <a:cubicBezTo>
                    <a:pt x="4666774" y="241459"/>
                    <a:pt x="4666774" y="241459"/>
                    <a:pt x="4666774" y="241459"/>
                  </a:cubicBezTo>
                  <a:cubicBezTo>
                    <a:pt x="4665822" y="235744"/>
                    <a:pt x="4663916" y="230981"/>
                    <a:pt x="4662012" y="228124"/>
                  </a:cubicBezTo>
                  <a:cubicBezTo>
                    <a:pt x="4661059" y="224314"/>
                    <a:pt x="4660106" y="222409"/>
                    <a:pt x="4660106" y="222409"/>
                  </a:cubicBezTo>
                  <a:cubicBezTo>
                    <a:pt x="4660106" y="222409"/>
                    <a:pt x="4660106" y="224314"/>
                    <a:pt x="4661059" y="228124"/>
                  </a:cubicBezTo>
                  <a:cubicBezTo>
                    <a:pt x="4662012" y="231934"/>
                    <a:pt x="4662964" y="237649"/>
                    <a:pt x="4662964" y="244316"/>
                  </a:cubicBezTo>
                  <a:cubicBezTo>
                    <a:pt x="4662964" y="245269"/>
                    <a:pt x="4662964" y="245269"/>
                    <a:pt x="4662964" y="246221"/>
                  </a:cubicBezTo>
                  <a:cubicBezTo>
                    <a:pt x="4662964" y="246221"/>
                    <a:pt x="4662964" y="246221"/>
                    <a:pt x="4662964" y="246221"/>
                  </a:cubicBezTo>
                  <a:cubicBezTo>
                    <a:pt x="4660106" y="250031"/>
                    <a:pt x="4657249" y="254794"/>
                    <a:pt x="4654391" y="262414"/>
                  </a:cubicBezTo>
                  <a:cubicBezTo>
                    <a:pt x="4653439" y="265271"/>
                    <a:pt x="4652487" y="268129"/>
                    <a:pt x="4650581" y="271939"/>
                  </a:cubicBezTo>
                  <a:cubicBezTo>
                    <a:pt x="4649629" y="267176"/>
                    <a:pt x="4647724" y="264319"/>
                    <a:pt x="4646772" y="261461"/>
                  </a:cubicBezTo>
                  <a:cubicBezTo>
                    <a:pt x="4646772" y="260509"/>
                    <a:pt x="4645819" y="259556"/>
                    <a:pt x="4645819" y="259556"/>
                  </a:cubicBezTo>
                  <a:cubicBezTo>
                    <a:pt x="4645819" y="257651"/>
                    <a:pt x="4646772" y="255746"/>
                    <a:pt x="4646772" y="253841"/>
                  </a:cubicBezTo>
                  <a:cubicBezTo>
                    <a:pt x="4648676" y="243364"/>
                    <a:pt x="4650581" y="234791"/>
                    <a:pt x="4653439" y="227171"/>
                  </a:cubicBezTo>
                  <a:cubicBezTo>
                    <a:pt x="4657249" y="212884"/>
                    <a:pt x="4660106" y="204311"/>
                    <a:pt x="4660106" y="204311"/>
                  </a:cubicBezTo>
                  <a:cubicBezTo>
                    <a:pt x="4660106" y="204311"/>
                    <a:pt x="4656297" y="211931"/>
                    <a:pt x="4650581" y="226219"/>
                  </a:cubicBezTo>
                  <a:cubicBezTo>
                    <a:pt x="4647724" y="232886"/>
                    <a:pt x="4643914" y="241459"/>
                    <a:pt x="4641056" y="251936"/>
                  </a:cubicBezTo>
                  <a:cubicBezTo>
                    <a:pt x="4639151" y="256699"/>
                    <a:pt x="4637247" y="261461"/>
                    <a:pt x="4636294" y="267176"/>
                  </a:cubicBezTo>
                  <a:cubicBezTo>
                    <a:pt x="4636294" y="264319"/>
                    <a:pt x="4636294" y="261461"/>
                    <a:pt x="4636294" y="259556"/>
                  </a:cubicBezTo>
                  <a:cubicBezTo>
                    <a:pt x="4636294" y="251936"/>
                    <a:pt x="4637247" y="246221"/>
                    <a:pt x="4638199" y="242411"/>
                  </a:cubicBezTo>
                  <a:cubicBezTo>
                    <a:pt x="4639151" y="238601"/>
                    <a:pt x="4639151" y="235744"/>
                    <a:pt x="4639151" y="235744"/>
                  </a:cubicBezTo>
                  <a:cubicBezTo>
                    <a:pt x="4639151" y="235744"/>
                    <a:pt x="4638199" y="237649"/>
                    <a:pt x="4637247" y="241459"/>
                  </a:cubicBezTo>
                  <a:cubicBezTo>
                    <a:pt x="4636294" y="245269"/>
                    <a:pt x="4633437" y="250984"/>
                    <a:pt x="4632484" y="258604"/>
                  </a:cubicBezTo>
                  <a:cubicBezTo>
                    <a:pt x="4632484" y="258604"/>
                    <a:pt x="4632484" y="258604"/>
                    <a:pt x="4632484" y="258604"/>
                  </a:cubicBezTo>
                  <a:cubicBezTo>
                    <a:pt x="4631531" y="255746"/>
                    <a:pt x="4631531" y="254794"/>
                    <a:pt x="4631531" y="254794"/>
                  </a:cubicBezTo>
                  <a:cubicBezTo>
                    <a:pt x="4631531" y="254794"/>
                    <a:pt x="4631531" y="256699"/>
                    <a:pt x="4632484" y="259556"/>
                  </a:cubicBezTo>
                  <a:cubicBezTo>
                    <a:pt x="4630579" y="267176"/>
                    <a:pt x="4629626" y="275749"/>
                    <a:pt x="4628674" y="285274"/>
                  </a:cubicBezTo>
                  <a:cubicBezTo>
                    <a:pt x="4628674" y="288131"/>
                    <a:pt x="4628674" y="290989"/>
                    <a:pt x="4628674" y="293846"/>
                  </a:cubicBezTo>
                  <a:cubicBezTo>
                    <a:pt x="4627722" y="296704"/>
                    <a:pt x="4626769" y="300514"/>
                    <a:pt x="4625816" y="303371"/>
                  </a:cubicBezTo>
                  <a:cubicBezTo>
                    <a:pt x="4619149" y="298609"/>
                    <a:pt x="4614387" y="295751"/>
                    <a:pt x="4610576" y="293846"/>
                  </a:cubicBezTo>
                  <a:cubicBezTo>
                    <a:pt x="4606766" y="291941"/>
                    <a:pt x="4604862" y="290989"/>
                    <a:pt x="4604862" y="290989"/>
                  </a:cubicBezTo>
                  <a:cubicBezTo>
                    <a:pt x="4604862" y="290989"/>
                    <a:pt x="4606766" y="291941"/>
                    <a:pt x="4610576" y="294799"/>
                  </a:cubicBezTo>
                  <a:cubicBezTo>
                    <a:pt x="4614387" y="296704"/>
                    <a:pt x="4619149" y="301466"/>
                    <a:pt x="4624864" y="307181"/>
                  </a:cubicBezTo>
                  <a:cubicBezTo>
                    <a:pt x="4624864" y="307181"/>
                    <a:pt x="4624864" y="307181"/>
                    <a:pt x="4625816" y="308134"/>
                  </a:cubicBezTo>
                  <a:cubicBezTo>
                    <a:pt x="4624864" y="313849"/>
                    <a:pt x="4622959" y="319564"/>
                    <a:pt x="4622006" y="325279"/>
                  </a:cubicBezTo>
                  <a:cubicBezTo>
                    <a:pt x="4621054" y="330994"/>
                    <a:pt x="4620101" y="337661"/>
                    <a:pt x="4619149" y="343376"/>
                  </a:cubicBezTo>
                  <a:cubicBezTo>
                    <a:pt x="4615339" y="330041"/>
                    <a:pt x="4611529" y="317659"/>
                    <a:pt x="4607719" y="306229"/>
                  </a:cubicBezTo>
                  <a:cubicBezTo>
                    <a:pt x="4605814" y="300514"/>
                    <a:pt x="4604862" y="295751"/>
                    <a:pt x="4602956" y="290989"/>
                  </a:cubicBezTo>
                  <a:cubicBezTo>
                    <a:pt x="4602004" y="282416"/>
                    <a:pt x="4601051" y="274796"/>
                    <a:pt x="4601051" y="269081"/>
                  </a:cubicBezTo>
                  <a:cubicBezTo>
                    <a:pt x="4599147" y="255746"/>
                    <a:pt x="4599147" y="248126"/>
                    <a:pt x="4599147" y="248126"/>
                  </a:cubicBezTo>
                  <a:cubicBezTo>
                    <a:pt x="4599147" y="248126"/>
                    <a:pt x="4598194" y="255746"/>
                    <a:pt x="4597241" y="269081"/>
                  </a:cubicBezTo>
                  <a:cubicBezTo>
                    <a:pt x="4597241" y="270034"/>
                    <a:pt x="4597241" y="270986"/>
                    <a:pt x="4597241" y="271939"/>
                  </a:cubicBezTo>
                  <a:cubicBezTo>
                    <a:pt x="4594384" y="263366"/>
                    <a:pt x="4591526" y="255746"/>
                    <a:pt x="4589622" y="250031"/>
                  </a:cubicBezTo>
                  <a:cubicBezTo>
                    <a:pt x="4589622" y="247174"/>
                    <a:pt x="4589622" y="244316"/>
                    <a:pt x="4589622" y="240506"/>
                  </a:cubicBezTo>
                  <a:cubicBezTo>
                    <a:pt x="4590574" y="225266"/>
                    <a:pt x="4590574" y="210979"/>
                    <a:pt x="4590574" y="197644"/>
                  </a:cubicBezTo>
                  <a:cubicBezTo>
                    <a:pt x="4591526" y="144304"/>
                    <a:pt x="4590574" y="109061"/>
                    <a:pt x="4590574" y="109061"/>
                  </a:cubicBezTo>
                  <a:cubicBezTo>
                    <a:pt x="4590574" y="109061"/>
                    <a:pt x="4584859" y="144304"/>
                    <a:pt x="4579144" y="197644"/>
                  </a:cubicBezTo>
                  <a:cubicBezTo>
                    <a:pt x="4578191" y="210979"/>
                    <a:pt x="4576287" y="225266"/>
                    <a:pt x="4574381" y="240506"/>
                  </a:cubicBezTo>
                  <a:cubicBezTo>
                    <a:pt x="4573429" y="245269"/>
                    <a:pt x="4573429" y="250984"/>
                    <a:pt x="4573429" y="256699"/>
                  </a:cubicBezTo>
                  <a:cubicBezTo>
                    <a:pt x="4573429" y="256699"/>
                    <a:pt x="4572476" y="257651"/>
                    <a:pt x="4572476" y="257651"/>
                  </a:cubicBezTo>
                  <a:cubicBezTo>
                    <a:pt x="4569619" y="259556"/>
                    <a:pt x="4566762" y="262414"/>
                    <a:pt x="4563904" y="265271"/>
                  </a:cubicBezTo>
                  <a:cubicBezTo>
                    <a:pt x="4563904" y="265271"/>
                    <a:pt x="4563904" y="264319"/>
                    <a:pt x="4563904" y="264319"/>
                  </a:cubicBezTo>
                  <a:cubicBezTo>
                    <a:pt x="4561999" y="261461"/>
                    <a:pt x="4560094" y="258604"/>
                    <a:pt x="4559141" y="255746"/>
                  </a:cubicBezTo>
                  <a:cubicBezTo>
                    <a:pt x="4559141" y="253841"/>
                    <a:pt x="4560094" y="250984"/>
                    <a:pt x="4560094" y="249079"/>
                  </a:cubicBezTo>
                  <a:cubicBezTo>
                    <a:pt x="4570572" y="195739"/>
                    <a:pt x="4576287" y="159544"/>
                    <a:pt x="4576287" y="159544"/>
                  </a:cubicBezTo>
                  <a:cubicBezTo>
                    <a:pt x="4576287" y="159544"/>
                    <a:pt x="4564856" y="192881"/>
                    <a:pt x="4550569" y="243364"/>
                  </a:cubicBezTo>
                  <a:cubicBezTo>
                    <a:pt x="4550569" y="243364"/>
                    <a:pt x="4550569" y="243364"/>
                    <a:pt x="4550569" y="243364"/>
                  </a:cubicBezTo>
                  <a:cubicBezTo>
                    <a:pt x="4550569" y="243364"/>
                    <a:pt x="4550569" y="243364"/>
                    <a:pt x="4550569" y="243364"/>
                  </a:cubicBezTo>
                  <a:cubicBezTo>
                    <a:pt x="4550569" y="244316"/>
                    <a:pt x="4549616" y="245269"/>
                    <a:pt x="4549616" y="246221"/>
                  </a:cubicBezTo>
                  <a:cubicBezTo>
                    <a:pt x="4549616" y="247174"/>
                    <a:pt x="4549616" y="248126"/>
                    <a:pt x="4548664" y="248126"/>
                  </a:cubicBezTo>
                  <a:cubicBezTo>
                    <a:pt x="4548664" y="248126"/>
                    <a:pt x="4548664" y="248126"/>
                    <a:pt x="4548664" y="248126"/>
                  </a:cubicBezTo>
                  <a:cubicBezTo>
                    <a:pt x="4548664" y="248126"/>
                    <a:pt x="4548664" y="248126"/>
                    <a:pt x="4548664" y="248126"/>
                  </a:cubicBezTo>
                  <a:cubicBezTo>
                    <a:pt x="4544854" y="261461"/>
                    <a:pt x="4540091" y="276701"/>
                    <a:pt x="4536281" y="292894"/>
                  </a:cubicBezTo>
                  <a:cubicBezTo>
                    <a:pt x="4534376" y="261461"/>
                    <a:pt x="4531519" y="241459"/>
                    <a:pt x="4531519" y="241459"/>
                  </a:cubicBezTo>
                  <a:cubicBezTo>
                    <a:pt x="4531519" y="241459"/>
                    <a:pt x="4527709" y="266224"/>
                    <a:pt x="4525804" y="303371"/>
                  </a:cubicBezTo>
                  <a:cubicBezTo>
                    <a:pt x="4525804" y="305276"/>
                    <a:pt x="4525804" y="307181"/>
                    <a:pt x="4525804" y="309086"/>
                  </a:cubicBezTo>
                  <a:cubicBezTo>
                    <a:pt x="4524851" y="308134"/>
                    <a:pt x="4524851" y="308134"/>
                    <a:pt x="4524851" y="308134"/>
                  </a:cubicBezTo>
                  <a:cubicBezTo>
                    <a:pt x="4524851" y="308134"/>
                    <a:pt x="4524851" y="309086"/>
                    <a:pt x="4525804" y="310039"/>
                  </a:cubicBezTo>
                  <a:cubicBezTo>
                    <a:pt x="4524851" y="317659"/>
                    <a:pt x="4524851" y="325279"/>
                    <a:pt x="4523899" y="333851"/>
                  </a:cubicBezTo>
                  <a:cubicBezTo>
                    <a:pt x="4523899" y="334804"/>
                    <a:pt x="4523899" y="336709"/>
                    <a:pt x="4523899" y="337661"/>
                  </a:cubicBezTo>
                  <a:cubicBezTo>
                    <a:pt x="4523899" y="338614"/>
                    <a:pt x="4523899" y="338614"/>
                    <a:pt x="4522947" y="339566"/>
                  </a:cubicBezTo>
                  <a:cubicBezTo>
                    <a:pt x="4521041" y="333851"/>
                    <a:pt x="4519137" y="328136"/>
                    <a:pt x="4517231" y="322421"/>
                  </a:cubicBezTo>
                  <a:cubicBezTo>
                    <a:pt x="4516279" y="314801"/>
                    <a:pt x="4515326" y="307181"/>
                    <a:pt x="4514374" y="301466"/>
                  </a:cubicBezTo>
                  <a:cubicBezTo>
                    <a:pt x="4515326" y="299561"/>
                    <a:pt x="4516279" y="298609"/>
                    <a:pt x="4517231" y="297656"/>
                  </a:cubicBezTo>
                  <a:cubicBezTo>
                    <a:pt x="4520089" y="293846"/>
                    <a:pt x="4521041" y="291941"/>
                    <a:pt x="4521041" y="291941"/>
                  </a:cubicBezTo>
                  <a:cubicBezTo>
                    <a:pt x="4521041" y="291941"/>
                    <a:pt x="4519137" y="293846"/>
                    <a:pt x="4516279" y="297656"/>
                  </a:cubicBezTo>
                  <a:cubicBezTo>
                    <a:pt x="4515326" y="298609"/>
                    <a:pt x="4515326" y="299561"/>
                    <a:pt x="4514374" y="300514"/>
                  </a:cubicBezTo>
                  <a:cubicBezTo>
                    <a:pt x="4514374" y="299561"/>
                    <a:pt x="4514374" y="299561"/>
                    <a:pt x="4514374" y="298609"/>
                  </a:cubicBezTo>
                  <a:cubicBezTo>
                    <a:pt x="4515326" y="296704"/>
                    <a:pt x="4516279" y="294799"/>
                    <a:pt x="4517231" y="293846"/>
                  </a:cubicBezTo>
                  <a:cubicBezTo>
                    <a:pt x="4519137" y="290036"/>
                    <a:pt x="4520089" y="288131"/>
                    <a:pt x="4520089" y="288131"/>
                  </a:cubicBezTo>
                  <a:cubicBezTo>
                    <a:pt x="4520089" y="288131"/>
                    <a:pt x="4519137" y="290036"/>
                    <a:pt x="4516279" y="292894"/>
                  </a:cubicBezTo>
                  <a:cubicBezTo>
                    <a:pt x="4515326" y="293846"/>
                    <a:pt x="4515326" y="294799"/>
                    <a:pt x="4514374" y="295751"/>
                  </a:cubicBezTo>
                  <a:cubicBezTo>
                    <a:pt x="4513422" y="290036"/>
                    <a:pt x="4512469" y="285274"/>
                    <a:pt x="4512469" y="281464"/>
                  </a:cubicBezTo>
                  <a:cubicBezTo>
                    <a:pt x="4511516" y="272891"/>
                    <a:pt x="4511516" y="268129"/>
                    <a:pt x="4511516" y="268129"/>
                  </a:cubicBezTo>
                  <a:cubicBezTo>
                    <a:pt x="4511516" y="268129"/>
                    <a:pt x="4511516" y="270034"/>
                    <a:pt x="4510564" y="272891"/>
                  </a:cubicBezTo>
                  <a:cubicBezTo>
                    <a:pt x="4508659" y="259556"/>
                    <a:pt x="4506754" y="250984"/>
                    <a:pt x="4506754" y="250984"/>
                  </a:cubicBezTo>
                  <a:cubicBezTo>
                    <a:pt x="4506754" y="250984"/>
                    <a:pt x="4506754" y="267176"/>
                    <a:pt x="4506754" y="292894"/>
                  </a:cubicBezTo>
                  <a:cubicBezTo>
                    <a:pt x="4504849" y="289084"/>
                    <a:pt x="4502944" y="285274"/>
                    <a:pt x="4501991" y="282416"/>
                  </a:cubicBezTo>
                  <a:cubicBezTo>
                    <a:pt x="4499134" y="276701"/>
                    <a:pt x="4496276" y="271939"/>
                    <a:pt x="4494372" y="267176"/>
                  </a:cubicBezTo>
                  <a:cubicBezTo>
                    <a:pt x="4491514" y="262414"/>
                    <a:pt x="4489609" y="258604"/>
                    <a:pt x="4486751" y="254794"/>
                  </a:cubicBezTo>
                  <a:cubicBezTo>
                    <a:pt x="4483894" y="250984"/>
                    <a:pt x="4481989" y="248126"/>
                    <a:pt x="4480084" y="245269"/>
                  </a:cubicBezTo>
                  <a:cubicBezTo>
                    <a:pt x="4478179" y="242411"/>
                    <a:pt x="4476274" y="240506"/>
                    <a:pt x="4474369" y="238601"/>
                  </a:cubicBezTo>
                  <a:cubicBezTo>
                    <a:pt x="4471512" y="235744"/>
                    <a:pt x="4470559" y="233839"/>
                    <a:pt x="4469606" y="233839"/>
                  </a:cubicBezTo>
                  <a:cubicBezTo>
                    <a:pt x="4470559" y="230981"/>
                    <a:pt x="4471512" y="228124"/>
                    <a:pt x="4471512" y="225266"/>
                  </a:cubicBezTo>
                  <a:cubicBezTo>
                    <a:pt x="4474369" y="214789"/>
                    <a:pt x="4476274" y="206216"/>
                    <a:pt x="4477226" y="198596"/>
                  </a:cubicBezTo>
                  <a:cubicBezTo>
                    <a:pt x="4480084" y="184309"/>
                    <a:pt x="4481037" y="175736"/>
                    <a:pt x="4481037" y="175736"/>
                  </a:cubicBezTo>
                  <a:cubicBezTo>
                    <a:pt x="4481037" y="175736"/>
                    <a:pt x="4478179" y="183356"/>
                    <a:pt x="4473416" y="197644"/>
                  </a:cubicBezTo>
                  <a:cubicBezTo>
                    <a:pt x="4471512" y="204311"/>
                    <a:pt x="4467701" y="212884"/>
                    <a:pt x="4463891" y="222409"/>
                  </a:cubicBezTo>
                  <a:cubicBezTo>
                    <a:pt x="4461034" y="229076"/>
                    <a:pt x="4458176" y="236696"/>
                    <a:pt x="4455319" y="244316"/>
                  </a:cubicBezTo>
                  <a:cubicBezTo>
                    <a:pt x="4454366" y="240506"/>
                    <a:pt x="4453414" y="237649"/>
                    <a:pt x="4453414" y="237649"/>
                  </a:cubicBezTo>
                  <a:cubicBezTo>
                    <a:pt x="4453414" y="237649"/>
                    <a:pt x="4453414" y="240506"/>
                    <a:pt x="4454366" y="247174"/>
                  </a:cubicBezTo>
                  <a:cubicBezTo>
                    <a:pt x="4453414" y="249079"/>
                    <a:pt x="4452462" y="251936"/>
                    <a:pt x="4451509" y="253841"/>
                  </a:cubicBezTo>
                  <a:cubicBezTo>
                    <a:pt x="4446747" y="265271"/>
                    <a:pt x="4441984" y="276701"/>
                    <a:pt x="4436269" y="289084"/>
                  </a:cubicBezTo>
                  <a:cubicBezTo>
                    <a:pt x="4436269" y="288131"/>
                    <a:pt x="4435316" y="288131"/>
                    <a:pt x="4435316" y="287179"/>
                  </a:cubicBezTo>
                  <a:cubicBezTo>
                    <a:pt x="4436269" y="283369"/>
                    <a:pt x="4437222" y="278606"/>
                    <a:pt x="4438174" y="274796"/>
                  </a:cubicBezTo>
                  <a:cubicBezTo>
                    <a:pt x="4440079" y="265271"/>
                    <a:pt x="4441984" y="255746"/>
                    <a:pt x="4444841" y="247174"/>
                  </a:cubicBezTo>
                  <a:cubicBezTo>
                    <a:pt x="4449604" y="229076"/>
                    <a:pt x="4452462" y="211931"/>
                    <a:pt x="4454366" y="195739"/>
                  </a:cubicBezTo>
                  <a:cubicBezTo>
                    <a:pt x="4457224" y="179546"/>
                    <a:pt x="4459129" y="165259"/>
                    <a:pt x="4460081" y="151924"/>
                  </a:cubicBezTo>
                  <a:cubicBezTo>
                    <a:pt x="4461034" y="145256"/>
                    <a:pt x="4461987" y="139541"/>
                    <a:pt x="4461987" y="133826"/>
                  </a:cubicBezTo>
                  <a:cubicBezTo>
                    <a:pt x="4461987" y="128111"/>
                    <a:pt x="4462939" y="123349"/>
                    <a:pt x="4462939" y="118586"/>
                  </a:cubicBezTo>
                  <a:cubicBezTo>
                    <a:pt x="4463891" y="99536"/>
                    <a:pt x="4463891" y="89059"/>
                    <a:pt x="4463891" y="89059"/>
                  </a:cubicBezTo>
                  <a:cubicBezTo>
                    <a:pt x="4463891" y="89059"/>
                    <a:pt x="4461987" y="99536"/>
                    <a:pt x="4458176" y="118586"/>
                  </a:cubicBezTo>
                  <a:cubicBezTo>
                    <a:pt x="4457224" y="123349"/>
                    <a:pt x="4456272" y="128111"/>
                    <a:pt x="4455319" y="133826"/>
                  </a:cubicBezTo>
                  <a:cubicBezTo>
                    <a:pt x="4454366" y="139541"/>
                    <a:pt x="4452462" y="145256"/>
                    <a:pt x="4451509" y="151924"/>
                  </a:cubicBezTo>
                  <a:cubicBezTo>
                    <a:pt x="4448651" y="164306"/>
                    <a:pt x="4445794" y="178594"/>
                    <a:pt x="4441984" y="194786"/>
                  </a:cubicBezTo>
                  <a:cubicBezTo>
                    <a:pt x="4438174" y="210026"/>
                    <a:pt x="4434364" y="227171"/>
                    <a:pt x="4428649" y="245269"/>
                  </a:cubicBezTo>
                  <a:cubicBezTo>
                    <a:pt x="4426744" y="252889"/>
                    <a:pt x="4423887" y="261461"/>
                    <a:pt x="4421981" y="269081"/>
                  </a:cubicBezTo>
                  <a:cubicBezTo>
                    <a:pt x="4419124" y="265271"/>
                    <a:pt x="4417219" y="261461"/>
                    <a:pt x="4414362" y="258604"/>
                  </a:cubicBezTo>
                  <a:cubicBezTo>
                    <a:pt x="4406741" y="247174"/>
                    <a:pt x="4400074" y="237649"/>
                    <a:pt x="4394359" y="230029"/>
                  </a:cubicBezTo>
                  <a:cubicBezTo>
                    <a:pt x="4391501" y="227171"/>
                    <a:pt x="4389597" y="224314"/>
                    <a:pt x="4387691" y="221456"/>
                  </a:cubicBezTo>
                  <a:cubicBezTo>
                    <a:pt x="4392454" y="195739"/>
                    <a:pt x="4395312" y="180499"/>
                    <a:pt x="4395312" y="180499"/>
                  </a:cubicBezTo>
                  <a:cubicBezTo>
                    <a:pt x="4395312" y="180499"/>
                    <a:pt x="4390549" y="193834"/>
                    <a:pt x="4382929" y="215741"/>
                  </a:cubicBezTo>
                  <a:cubicBezTo>
                    <a:pt x="4378166" y="209074"/>
                    <a:pt x="4375309" y="206216"/>
                    <a:pt x="4375309" y="206216"/>
                  </a:cubicBezTo>
                  <a:cubicBezTo>
                    <a:pt x="4375309" y="206216"/>
                    <a:pt x="4378166" y="210979"/>
                    <a:pt x="4381976" y="218599"/>
                  </a:cubicBezTo>
                  <a:cubicBezTo>
                    <a:pt x="4378166" y="230029"/>
                    <a:pt x="4374356" y="244316"/>
                    <a:pt x="4369594" y="259556"/>
                  </a:cubicBezTo>
                  <a:cubicBezTo>
                    <a:pt x="4368641" y="248126"/>
                    <a:pt x="4368641" y="241459"/>
                    <a:pt x="4368641" y="241459"/>
                  </a:cubicBezTo>
                  <a:cubicBezTo>
                    <a:pt x="4368641" y="241459"/>
                    <a:pt x="4367689" y="249079"/>
                    <a:pt x="4366737" y="263366"/>
                  </a:cubicBezTo>
                  <a:cubicBezTo>
                    <a:pt x="4366737" y="267176"/>
                    <a:pt x="4365784" y="270986"/>
                    <a:pt x="4365784" y="274796"/>
                  </a:cubicBezTo>
                  <a:cubicBezTo>
                    <a:pt x="4364831" y="277654"/>
                    <a:pt x="4363879" y="281464"/>
                    <a:pt x="4362926" y="285274"/>
                  </a:cubicBezTo>
                  <a:cubicBezTo>
                    <a:pt x="4362926" y="284321"/>
                    <a:pt x="4362926" y="283369"/>
                    <a:pt x="4362926" y="282416"/>
                  </a:cubicBezTo>
                  <a:cubicBezTo>
                    <a:pt x="4361974" y="269081"/>
                    <a:pt x="4361022" y="261461"/>
                    <a:pt x="4361022" y="261461"/>
                  </a:cubicBezTo>
                  <a:cubicBezTo>
                    <a:pt x="4361022" y="261461"/>
                    <a:pt x="4360069" y="269081"/>
                    <a:pt x="4359116" y="283369"/>
                  </a:cubicBezTo>
                  <a:cubicBezTo>
                    <a:pt x="4359116" y="285274"/>
                    <a:pt x="4359116" y="288131"/>
                    <a:pt x="4359116" y="290989"/>
                  </a:cubicBezTo>
                  <a:cubicBezTo>
                    <a:pt x="4358164" y="291941"/>
                    <a:pt x="4358164" y="293846"/>
                    <a:pt x="4357212" y="295751"/>
                  </a:cubicBezTo>
                  <a:cubicBezTo>
                    <a:pt x="4355306" y="291941"/>
                    <a:pt x="4353401" y="288131"/>
                    <a:pt x="4351497" y="284321"/>
                  </a:cubicBezTo>
                  <a:cubicBezTo>
                    <a:pt x="4351497" y="274796"/>
                    <a:pt x="4351497" y="266224"/>
                    <a:pt x="4351497" y="257651"/>
                  </a:cubicBezTo>
                  <a:cubicBezTo>
                    <a:pt x="4351497" y="250984"/>
                    <a:pt x="4351497" y="245269"/>
                    <a:pt x="4351497" y="238601"/>
                  </a:cubicBezTo>
                  <a:cubicBezTo>
                    <a:pt x="4351497" y="232886"/>
                    <a:pt x="4350544" y="227171"/>
                    <a:pt x="4349591" y="221456"/>
                  </a:cubicBezTo>
                  <a:cubicBezTo>
                    <a:pt x="4348639" y="210979"/>
                    <a:pt x="4346734" y="201454"/>
                    <a:pt x="4345781" y="194786"/>
                  </a:cubicBezTo>
                  <a:cubicBezTo>
                    <a:pt x="4343876" y="179546"/>
                    <a:pt x="4342924" y="170974"/>
                    <a:pt x="4342924" y="170974"/>
                  </a:cubicBezTo>
                  <a:cubicBezTo>
                    <a:pt x="4342924" y="170974"/>
                    <a:pt x="4342924" y="179546"/>
                    <a:pt x="4341972" y="194786"/>
                  </a:cubicBezTo>
                  <a:cubicBezTo>
                    <a:pt x="4341972" y="201454"/>
                    <a:pt x="4341972" y="209074"/>
                    <a:pt x="4341972" y="217646"/>
                  </a:cubicBezTo>
                  <a:cubicBezTo>
                    <a:pt x="4341019" y="210026"/>
                    <a:pt x="4340066" y="205264"/>
                    <a:pt x="4340066" y="205264"/>
                  </a:cubicBezTo>
                  <a:cubicBezTo>
                    <a:pt x="4340066" y="205264"/>
                    <a:pt x="4340066" y="212884"/>
                    <a:pt x="4339114" y="226219"/>
                  </a:cubicBezTo>
                  <a:cubicBezTo>
                    <a:pt x="4339114" y="232886"/>
                    <a:pt x="4339114" y="240506"/>
                    <a:pt x="4338162" y="250031"/>
                  </a:cubicBezTo>
                  <a:cubicBezTo>
                    <a:pt x="4338162" y="250984"/>
                    <a:pt x="4338162" y="251936"/>
                    <a:pt x="4338162" y="252889"/>
                  </a:cubicBezTo>
                  <a:cubicBezTo>
                    <a:pt x="4338162" y="251936"/>
                    <a:pt x="4337209" y="250984"/>
                    <a:pt x="4337209" y="250984"/>
                  </a:cubicBezTo>
                  <a:cubicBezTo>
                    <a:pt x="4330541" y="231934"/>
                    <a:pt x="4324826" y="213836"/>
                    <a:pt x="4318159" y="196691"/>
                  </a:cubicBezTo>
                  <a:cubicBezTo>
                    <a:pt x="4306729" y="163354"/>
                    <a:pt x="4296251" y="135731"/>
                    <a:pt x="4289584" y="116681"/>
                  </a:cubicBezTo>
                  <a:cubicBezTo>
                    <a:pt x="4282916" y="97631"/>
                    <a:pt x="4278154" y="86201"/>
                    <a:pt x="4278154" y="86201"/>
                  </a:cubicBezTo>
                  <a:cubicBezTo>
                    <a:pt x="4278154" y="86201"/>
                    <a:pt x="4281012" y="97631"/>
                    <a:pt x="4285774" y="117634"/>
                  </a:cubicBezTo>
                  <a:cubicBezTo>
                    <a:pt x="4291489" y="137636"/>
                    <a:pt x="4298156" y="166211"/>
                    <a:pt x="4307681" y="199549"/>
                  </a:cubicBezTo>
                  <a:cubicBezTo>
                    <a:pt x="4315301" y="228124"/>
                    <a:pt x="4324826" y="261461"/>
                    <a:pt x="4334351" y="295751"/>
                  </a:cubicBezTo>
                  <a:cubicBezTo>
                    <a:pt x="4334351" y="295751"/>
                    <a:pt x="4334351" y="296704"/>
                    <a:pt x="4334351" y="296704"/>
                  </a:cubicBezTo>
                  <a:cubicBezTo>
                    <a:pt x="4334351" y="295751"/>
                    <a:pt x="4334351" y="294799"/>
                    <a:pt x="4334351" y="294799"/>
                  </a:cubicBezTo>
                  <a:cubicBezTo>
                    <a:pt x="4334351" y="294799"/>
                    <a:pt x="4334351" y="296704"/>
                    <a:pt x="4334351" y="301466"/>
                  </a:cubicBezTo>
                  <a:cubicBezTo>
                    <a:pt x="4334351" y="306229"/>
                    <a:pt x="4333399" y="310991"/>
                    <a:pt x="4333399" y="315754"/>
                  </a:cubicBezTo>
                  <a:cubicBezTo>
                    <a:pt x="4332447" y="325279"/>
                    <a:pt x="4331494" y="334804"/>
                    <a:pt x="4329589" y="344329"/>
                  </a:cubicBezTo>
                  <a:cubicBezTo>
                    <a:pt x="4329589" y="344329"/>
                    <a:pt x="4328637" y="343376"/>
                    <a:pt x="4328637" y="343376"/>
                  </a:cubicBezTo>
                  <a:cubicBezTo>
                    <a:pt x="4327684" y="342424"/>
                    <a:pt x="4327684" y="341471"/>
                    <a:pt x="4326731" y="340519"/>
                  </a:cubicBezTo>
                  <a:cubicBezTo>
                    <a:pt x="4326731" y="338614"/>
                    <a:pt x="4325779" y="335756"/>
                    <a:pt x="4325779" y="333851"/>
                  </a:cubicBezTo>
                  <a:cubicBezTo>
                    <a:pt x="4321969" y="309086"/>
                    <a:pt x="4318159" y="286226"/>
                    <a:pt x="4315301" y="267176"/>
                  </a:cubicBezTo>
                  <a:cubicBezTo>
                    <a:pt x="4308634" y="228124"/>
                    <a:pt x="4301966" y="202406"/>
                    <a:pt x="4301966" y="202406"/>
                  </a:cubicBezTo>
                  <a:cubicBezTo>
                    <a:pt x="4301966" y="202406"/>
                    <a:pt x="4301966" y="229076"/>
                    <a:pt x="4303872" y="268129"/>
                  </a:cubicBezTo>
                  <a:cubicBezTo>
                    <a:pt x="4303872" y="270034"/>
                    <a:pt x="4303872" y="271939"/>
                    <a:pt x="4303872" y="274796"/>
                  </a:cubicBezTo>
                  <a:cubicBezTo>
                    <a:pt x="4302919" y="279559"/>
                    <a:pt x="4302919" y="284321"/>
                    <a:pt x="4301966" y="290036"/>
                  </a:cubicBezTo>
                  <a:cubicBezTo>
                    <a:pt x="4301966" y="292894"/>
                    <a:pt x="4301014" y="296704"/>
                    <a:pt x="4300062" y="300514"/>
                  </a:cubicBezTo>
                  <a:cubicBezTo>
                    <a:pt x="4296251" y="295751"/>
                    <a:pt x="4292441" y="290989"/>
                    <a:pt x="4288631" y="286226"/>
                  </a:cubicBezTo>
                  <a:cubicBezTo>
                    <a:pt x="4292441" y="292894"/>
                    <a:pt x="4295299" y="298609"/>
                    <a:pt x="4299109" y="305276"/>
                  </a:cubicBezTo>
                  <a:cubicBezTo>
                    <a:pt x="4298156" y="310991"/>
                    <a:pt x="4297204" y="316706"/>
                    <a:pt x="4296251" y="323374"/>
                  </a:cubicBezTo>
                  <a:cubicBezTo>
                    <a:pt x="4295299" y="330041"/>
                    <a:pt x="4293394" y="337661"/>
                    <a:pt x="4292441" y="346234"/>
                  </a:cubicBezTo>
                  <a:cubicBezTo>
                    <a:pt x="4291489" y="345281"/>
                    <a:pt x="4291489" y="344329"/>
                    <a:pt x="4290537" y="343376"/>
                  </a:cubicBezTo>
                  <a:cubicBezTo>
                    <a:pt x="4289584" y="330994"/>
                    <a:pt x="4289584" y="319564"/>
                    <a:pt x="4288631" y="308134"/>
                  </a:cubicBezTo>
                  <a:cubicBezTo>
                    <a:pt x="4285774" y="262414"/>
                    <a:pt x="4281964" y="231934"/>
                    <a:pt x="4281964" y="231934"/>
                  </a:cubicBezTo>
                  <a:cubicBezTo>
                    <a:pt x="4281964" y="231934"/>
                    <a:pt x="4279106" y="262414"/>
                    <a:pt x="4277201" y="309086"/>
                  </a:cubicBezTo>
                  <a:cubicBezTo>
                    <a:pt x="4277201" y="311944"/>
                    <a:pt x="4277201" y="315754"/>
                    <a:pt x="4277201" y="318611"/>
                  </a:cubicBezTo>
                  <a:cubicBezTo>
                    <a:pt x="4276249" y="315754"/>
                    <a:pt x="4274344" y="312896"/>
                    <a:pt x="4273391" y="310039"/>
                  </a:cubicBezTo>
                  <a:cubicBezTo>
                    <a:pt x="4273391" y="308134"/>
                    <a:pt x="4272439" y="305276"/>
                    <a:pt x="4272439" y="303371"/>
                  </a:cubicBezTo>
                  <a:cubicBezTo>
                    <a:pt x="4271487" y="292894"/>
                    <a:pt x="4271487" y="283369"/>
                    <a:pt x="4270534" y="273844"/>
                  </a:cubicBezTo>
                  <a:cubicBezTo>
                    <a:pt x="4270534" y="269081"/>
                    <a:pt x="4269581" y="265271"/>
                    <a:pt x="4269581" y="260509"/>
                  </a:cubicBezTo>
                  <a:cubicBezTo>
                    <a:pt x="4269581" y="258604"/>
                    <a:pt x="4269581" y="257651"/>
                    <a:pt x="4269581" y="255746"/>
                  </a:cubicBezTo>
                  <a:cubicBezTo>
                    <a:pt x="4269581" y="248126"/>
                    <a:pt x="4270534" y="241459"/>
                    <a:pt x="4270534" y="234791"/>
                  </a:cubicBezTo>
                  <a:cubicBezTo>
                    <a:pt x="4273391" y="187166"/>
                    <a:pt x="4273391" y="155734"/>
                    <a:pt x="4273391" y="155734"/>
                  </a:cubicBezTo>
                  <a:cubicBezTo>
                    <a:pt x="4273391" y="155734"/>
                    <a:pt x="4265772" y="187166"/>
                    <a:pt x="4259104" y="233839"/>
                  </a:cubicBezTo>
                  <a:cubicBezTo>
                    <a:pt x="4257199" y="245269"/>
                    <a:pt x="4255294" y="258604"/>
                    <a:pt x="4253389" y="271939"/>
                  </a:cubicBezTo>
                  <a:cubicBezTo>
                    <a:pt x="4253389" y="270986"/>
                    <a:pt x="4252437" y="270986"/>
                    <a:pt x="4252437" y="270034"/>
                  </a:cubicBezTo>
                  <a:cubicBezTo>
                    <a:pt x="4252437" y="267176"/>
                    <a:pt x="4253389" y="264319"/>
                    <a:pt x="4253389" y="262414"/>
                  </a:cubicBezTo>
                  <a:cubicBezTo>
                    <a:pt x="4255294" y="248126"/>
                    <a:pt x="4255294" y="240506"/>
                    <a:pt x="4255294" y="240506"/>
                  </a:cubicBezTo>
                  <a:cubicBezTo>
                    <a:pt x="4255294" y="240506"/>
                    <a:pt x="4253389" y="248126"/>
                    <a:pt x="4249579" y="262414"/>
                  </a:cubicBezTo>
                  <a:cubicBezTo>
                    <a:pt x="4249579" y="263366"/>
                    <a:pt x="4249579" y="264319"/>
                    <a:pt x="4248626" y="264319"/>
                  </a:cubicBezTo>
                  <a:cubicBezTo>
                    <a:pt x="4247674" y="263366"/>
                    <a:pt x="4247674" y="262414"/>
                    <a:pt x="4246722" y="261461"/>
                  </a:cubicBezTo>
                  <a:cubicBezTo>
                    <a:pt x="4245769" y="260509"/>
                    <a:pt x="4244816" y="259556"/>
                    <a:pt x="4244816" y="257651"/>
                  </a:cubicBezTo>
                  <a:cubicBezTo>
                    <a:pt x="4244816" y="253841"/>
                    <a:pt x="4244816" y="251936"/>
                    <a:pt x="4244816" y="251936"/>
                  </a:cubicBezTo>
                  <a:cubicBezTo>
                    <a:pt x="4244816" y="251936"/>
                    <a:pt x="4244816" y="253841"/>
                    <a:pt x="4243864" y="256699"/>
                  </a:cubicBezTo>
                  <a:cubicBezTo>
                    <a:pt x="4242912" y="254794"/>
                    <a:pt x="4241959" y="252889"/>
                    <a:pt x="4240054" y="251936"/>
                  </a:cubicBezTo>
                  <a:cubicBezTo>
                    <a:pt x="4236244" y="246221"/>
                    <a:pt x="4232434" y="240506"/>
                    <a:pt x="4229576" y="235744"/>
                  </a:cubicBezTo>
                  <a:cubicBezTo>
                    <a:pt x="4223862" y="227171"/>
                    <a:pt x="4220051" y="222409"/>
                    <a:pt x="4220051" y="222409"/>
                  </a:cubicBezTo>
                  <a:cubicBezTo>
                    <a:pt x="4220051" y="222409"/>
                    <a:pt x="4221956" y="228124"/>
                    <a:pt x="4226719" y="237649"/>
                  </a:cubicBezTo>
                  <a:cubicBezTo>
                    <a:pt x="4228624" y="242411"/>
                    <a:pt x="4231481" y="248126"/>
                    <a:pt x="4234339" y="254794"/>
                  </a:cubicBezTo>
                  <a:cubicBezTo>
                    <a:pt x="4235291" y="255746"/>
                    <a:pt x="4235291" y="257651"/>
                    <a:pt x="4236244" y="258604"/>
                  </a:cubicBezTo>
                  <a:cubicBezTo>
                    <a:pt x="4234339" y="256699"/>
                    <a:pt x="4233387" y="253841"/>
                    <a:pt x="4231481" y="251936"/>
                  </a:cubicBezTo>
                  <a:cubicBezTo>
                    <a:pt x="4227672" y="246221"/>
                    <a:pt x="4223862" y="242411"/>
                    <a:pt x="4220051" y="237649"/>
                  </a:cubicBezTo>
                  <a:cubicBezTo>
                    <a:pt x="4213384" y="229076"/>
                    <a:pt x="4206716" y="223361"/>
                    <a:pt x="4202906" y="219551"/>
                  </a:cubicBezTo>
                  <a:cubicBezTo>
                    <a:pt x="4199097" y="215741"/>
                    <a:pt x="4196239" y="213836"/>
                    <a:pt x="4196239" y="213836"/>
                  </a:cubicBezTo>
                  <a:cubicBezTo>
                    <a:pt x="4196239" y="213836"/>
                    <a:pt x="4198144" y="216694"/>
                    <a:pt x="4201954" y="220504"/>
                  </a:cubicBezTo>
                  <a:cubicBezTo>
                    <a:pt x="4205764" y="225266"/>
                    <a:pt x="4211479" y="230981"/>
                    <a:pt x="4216241" y="240506"/>
                  </a:cubicBezTo>
                  <a:cubicBezTo>
                    <a:pt x="4219099" y="245269"/>
                    <a:pt x="4222909" y="250031"/>
                    <a:pt x="4225766" y="255746"/>
                  </a:cubicBezTo>
                  <a:cubicBezTo>
                    <a:pt x="4228624" y="261461"/>
                    <a:pt x="4232434" y="267176"/>
                    <a:pt x="4235291" y="273844"/>
                  </a:cubicBezTo>
                  <a:cubicBezTo>
                    <a:pt x="4235291" y="273844"/>
                    <a:pt x="4235291" y="273844"/>
                    <a:pt x="4235291" y="274796"/>
                  </a:cubicBezTo>
                  <a:cubicBezTo>
                    <a:pt x="4235291" y="276701"/>
                    <a:pt x="4235291" y="279559"/>
                    <a:pt x="4235291" y="282416"/>
                  </a:cubicBezTo>
                  <a:cubicBezTo>
                    <a:pt x="4235291" y="282416"/>
                    <a:pt x="4234339" y="281464"/>
                    <a:pt x="4234339" y="281464"/>
                  </a:cubicBezTo>
                  <a:cubicBezTo>
                    <a:pt x="4231481" y="277654"/>
                    <a:pt x="4229576" y="276701"/>
                    <a:pt x="4229576" y="276701"/>
                  </a:cubicBezTo>
                  <a:cubicBezTo>
                    <a:pt x="4229576" y="276701"/>
                    <a:pt x="4231481" y="278606"/>
                    <a:pt x="4233387" y="282416"/>
                  </a:cubicBezTo>
                  <a:cubicBezTo>
                    <a:pt x="4233387" y="283369"/>
                    <a:pt x="4234339" y="283369"/>
                    <a:pt x="4235291" y="284321"/>
                  </a:cubicBezTo>
                  <a:cubicBezTo>
                    <a:pt x="4235291" y="284321"/>
                    <a:pt x="4235291" y="284321"/>
                    <a:pt x="4235291" y="285274"/>
                  </a:cubicBezTo>
                  <a:cubicBezTo>
                    <a:pt x="4233387" y="292894"/>
                    <a:pt x="4231481" y="301466"/>
                    <a:pt x="4229576" y="310039"/>
                  </a:cubicBezTo>
                  <a:cubicBezTo>
                    <a:pt x="4225766" y="301466"/>
                    <a:pt x="4222909" y="295751"/>
                    <a:pt x="4222909" y="295751"/>
                  </a:cubicBezTo>
                  <a:cubicBezTo>
                    <a:pt x="4222909" y="295751"/>
                    <a:pt x="4224814" y="303371"/>
                    <a:pt x="4228624" y="316706"/>
                  </a:cubicBezTo>
                  <a:cubicBezTo>
                    <a:pt x="4227672" y="319564"/>
                    <a:pt x="4227672" y="323374"/>
                    <a:pt x="4226719" y="327184"/>
                  </a:cubicBezTo>
                  <a:cubicBezTo>
                    <a:pt x="4225766" y="331946"/>
                    <a:pt x="4224814" y="336709"/>
                    <a:pt x="4223862" y="341471"/>
                  </a:cubicBezTo>
                  <a:cubicBezTo>
                    <a:pt x="4223862" y="338614"/>
                    <a:pt x="4222909" y="336709"/>
                    <a:pt x="4222909" y="334804"/>
                  </a:cubicBezTo>
                  <a:cubicBezTo>
                    <a:pt x="4221004" y="320516"/>
                    <a:pt x="4219099" y="311944"/>
                    <a:pt x="4219099" y="311944"/>
                  </a:cubicBezTo>
                  <a:cubicBezTo>
                    <a:pt x="4219099" y="311944"/>
                    <a:pt x="4219099" y="319564"/>
                    <a:pt x="4219099" y="331946"/>
                  </a:cubicBezTo>
                  <a:cubicBezTo>
                    <a:pt x="4218147" y="329089"/>
                    <a:pt x="4218147" y="326231"/>
                    <a:pt x="4217194" y="322421"/>
                  </a:cubicBezTo>
                  <a:cubicBezTo>
                    <a:pt x="4206716" y="272891"/>
                    <a:pt x="4198144" y="240506"/>
                    <a:pt x="4198144" y="240506"/>
                  </a:cubicBezTo>
                  <a:cubicBezTo>
                    <a:pt x="4198144" y="240506"/>
                    <a:pt x="4200049" y="273844"/>
                    <a:pt x="4205764" y="323374"/>
                  </a:cubicBezTo>
                  <a:cubicBezTo>
                    <a:pt x="4206716" y="335756"/>
                    <a:pt x="4208622" y="350044"/>
                    <a:pt x="4210526" y="364331"/>
                  </a:cubicBezTo>
                  <a:cubicBezTo>
                    <a:pt x="4210526" y="364331"/>
                    <a:pt x="4210526" y="363379"/>
                    <a:pt x="4210526" y="363379"/>
                  </a:cubicBezTo>
                  <a:cubicBezTo>
                    <a:pt x="4209574" y="357664"/>
                    <a:pt x="4207669" y="353854"/>
                    <a:pt x="4206716" y="350044"/>
                  </a:cubicBezTo>
                  <a:cubicBezTo>
                    <a:pt x="4204812" y="342424"/>
                    <a:pt x="4202906" y="338614"/>
                    <a:pt x="4202906" y="338614"/>
                  </a:cubicBezTo>
                  <a:cubicBezTo>
                    <a:pt x="4202906" y="338614"/>
                    <a:pt x="4202906" y="343376"/>
                    <a:pt x="4202906" y="350996"/>
                  </a:cubicBezTo>
                  <a:cubicBezTo>
                    <a:pt x="4202906" y="354806"/>
                    <a:pt x="4202906" y="359569"/>
                    <a:pt x="4202906" y="365284"/>
                  </a:cubicBezTo>
                  <a:cubicBezTo>
                    <a:pt x="4202906" y="368141"/>
                    <a:pt x="4202906" y="370999"/>
                    <a:pt x="4202906" y="373856"/>
                  </a:cubicBezTo>
                  <a:cubicBezTo>
                    <a:pt x="4202906" y="375761"/>
                    <a:pt x="4202906" y="377666"/>
                    <a:pt x="4202906" y="380524"/>
                  </a:cubicBezTo>
                  <a:cubicBezTo>
                    <a:pt x="4202906" y="379571"/>
                    <a:pt x="4202906" y="379571"/>
                    <a:pt x="4201954" y="378619"/>
                  </a:cubicBezTo>
                  <a:cubicBezTo>
                    <a:pt x="4201954" y="372904"/>
                    <a:pt x="4201001" y="367189"/>
                    <a:pt x="4201001" y="361474"/>
                  </a:cubicBezTo>
                  <a:cubicBezTo>
                    <a:pt x="4199097" y="318611"/>
                    <a:pt x="4196239" y="290989"/>
                    <a:pt x="4196239" y="290989"/>
                  </a:cubicBezTo>
                  <a:cubicBezTo>
                    <a:pt x="4196239" y="290989"/>
                    <a:pt x="4193381" y="310991"/>
                    <a:pt x="4191476" y="343376"/>
                  </a:cubicBezTo>
                  <a:cubicBezTo>
                    <a:pt x="4190524" y="340519"/>
                    <a:pt x="4189571" y="338614"/>
                    <a:pt x="4188619" y="335756"/>
                  </a:cubicBezTo>
                  <a:cubicBezTo>
                    <a:pt x="4185761" y="329089"/>
                    <a:pt x="4183856" y="323374"/>
                    <a:pt x="4181951" y="319564"/>
                  </a:cubicBezTo>
                  <a:cubicBezTo>
                    <a:pt x="4181951" y="318611"/>
                    <a:pt x="4180999" y="317659"/>
                    <a:pt x="4180999" y="316706"/>
                  </a:cubicBezTo>
                  <a:cubicBezTo>
                    <a:pt x="4180999" y="291941"/>
                    <a:pt x="4180999" y="271939"/>
                    <a:pt x="4180999" y="256699"/>
                  </a:cubicBezTo>
                  <a:cubicBezTo>
                    <a:pt x="4180999" y="239554"/>
                    <a:pt x="4180999" y="230029"/>
                    <a:pt x="4180999" y="230029"/>
                  </a:cubicBezTo>
                  <a:cubicBezTo>
                    <a:pt x="4180999" y="230029"/>
                    <a:pt x="4180046" y="239554"/>
                    <a:pt x="4177189" y="256699"/>
                  </a:cubicBezTo>
                  <a:cubicBezTo>
                    <a:pt x="4177189" y="260509"/>
                    <a:pt x="4176236" y="265271"/>
                    <a:pt x="4175284" y="270034"/>
                  </a:cubicBezTo>
                  <a:cubicBezTo>
                    <a:pt x="4175284" y="263366"/>
                    <a:pt x="4174331" y="257651"/>
                    <a:pt x="4174331" y="251936"/>
                  </a:cubicBezTo>
                  <a:cubicBezTo>
                    <a:pt x="4172426" y="207169"/>
                    <a:pt x="4168616" y="176689"/>
                    <a:pt x="4168616" y="176689"/>
                  </a:cubicBezTo>
                  <a:cubicBezTo>
                    <a:pt x="4168616" y="176689"/>
                    <a:pt x="4164806" y="207169"/>
                    <a:pt x="4162901" y="251936"/>
                  </a:cubicBezTo>
                  <a:cubicBezTo>
                    <a:pt x="4161949" y="263366"/>
                    <a:pt x="4161949" y="274796"/>
                    <a:pt x="4160996" y="287179"/>
                  </a:cubicBezTo>
                  <a:cubicBezTo>
                    <a:pt x="4158139" y="292894"/>
                    <a:pt x="4156234" y="298609"/>
                    <a:pt x="4154329" y="303371"/>
                  </a:cubicBezTo>
                  <a:cubicBezTo>
                    <a:pt x="4151471" y="295751"/>
                    <a:pt x="4149566" y="288131"/>
                    <a:pt x="4146709" y="280511"/>
                  </a:cubicBezTo>
                  <a:cubicBezTo>
                    <a:pt x="4144804" y="267176"/>
                    <a:pt x="4141946" y="255746"/>
                    <a:pt x="4140041" y="246221"/>
                  </a:cubicBezTo>
                  <a:cubicBezTo>
                    <a:pt x="4137184" y="231934"/>
                    <a:pt x="4133374" y="224314"/>
                    <a:pt x="4133374" y="224314"/>
                  </a:cubicBezTo>
                  <a:cubicBezTo>
                    <a:pt x="4133374" y="224314"/>
                    <a:pt x="4134326" y="226219"/>
                    <a:pt x="4134326" y="230029"/>
                  </a:cubicBezTo>
                  <a:cubicBezTo>
                    <a:pt x="4135279" y="233839"/>
                    <a:pt x="4135279" y="239554"/>
                    <a:pt x="4136231" y="247174"/>
                  </a:cubicBezTo>
                  <a:cubicBezTo>
                    <a:pt x="4136231" y="248126"/>
                    <a:pt x="4136231" y="249079"/>
                    <a:pt x="4136231" y="250031"/>
                  </a:cubicBezTo>
                  <a:cubicBezTo>
                    <a:pt x="4130516" y="230981"/>
                    <a:pt x="4123849" y="213836"/>
                    <a:pt x="4118134" y="197644"/>
                  </a:cubicBezTo>
                  <a:cubicBezTo>
                    <a:pt x="4108609" y="166211"/>
                    <a:pt x="4100036" y="139541"/>
                    <a:pt x="4093369" y="121444"/>
                  </a:cubicBezTo>
                  <a:cubicBezTo>
                    <a:pt x="4087654" y="103346"/>
                    <a:pt x="4083844" y="92869"/>
                    <a:pt x="4083844" y="92869"/>
                  </a:cubicBezTo>
                  <a:cubicBezTo>
                    <a:pt x="4083844" y="92869"/>
                    <a:pt x="4085749" y="103346"/>
                    <a:pt x="4089559" y="122396"/>
                  </a:cubicBezTo>
                  <a:cubicBezTo>
                    <a:pt x="4093369" y="141446"/>
                    <a:pt x="4099084" y="168116"/>
                    <a:pt x="4106704" y="200501"/>
                  </a:cubicBezTo>
                  <a:cubicBezTo>
                    <a:pt x="4110514" y="215741"/>
                    <a:pt x="4115276" y="231934"/>
                    <a:pt x="4119086" y="248126"/>
                  </a:cubicBezTo>
                  <a:cubicBezTo>
                    <a:pt x="4118134" y="251936"/>
                    <a:pt x="4118134" y="256699"/>
                    <a:pt x="4117181" y="262414"/>
                  </a:cubicBezTo>
                  <a:cubicBezTo>
                    <a:pt x="4116229" y="270034"/>
                    <a:pt x="4115276" y="279559"/>
                    <a:pt x="4114324" y="290036"/>
                  </a:cubicBezTo>
                  <a:cubicBezTo>
                    <a:pt x="4113371" y="288131"/>
                    <a:pt x="4111466" y="286226"/>
                    <a:pt x="4110514" y="284321"/>
                  </a:cubicBezTo>
                  <a:cubicBezTo>
                    <a:pt x="4113371" y="274796"/>
                    <a:pt x="4114324" y="269081"/>
                    <a:pt x="4114324" y="269081"/>
                  </a:cubicBezTo>
                  <a:cubicBezTo>
                    <a:pt x="4114324" y="269081"/>
                    <a:pt x="4112419" y="273844"/>
                    <a:pt x="4108609" y="282416"/>
                  </a:cubicBezTo>
                  <a:cubicBezTo>
                    <a:pt x="4106704" y="279559"/>
                    <a:pt x="4104799" y="276701"/>
                    <a:pt x="4102894" y="273844"/>
                  </a:cubicBezTo>
                  <a:cubicBezTo>
                    <a:pt x="4100989" y="270034"/>
                    <a:pt x="4098131" y="266224"/>
                    <a:pt x="4096226" y="263366"/>
                  </a:cubicBezTo>
                  <a:cubicBezTo>
                    <a:pt x="4097179" y="262414"/>
                    <a:pt x="4097179" y="262414"/>
                    <a:pt x="4097179" y="262414"/>
                  </a:cubicBezTo>
                  <a:cubicBezTo>
                    <a:pt x="4097179" y="262414"/>
                    <a:pt x="4097179" y="262414"/>
                    <a:pt x="4096226" y="263366"/>
                  </a:cubicBezTo>
                  <a:cubicBezTo>
                    <a:pt x="4094321" y="259556"/>
                    <a:pt x="4092416" y="256699"/>
                    <a:pt x="4090511" y="253841"/>
                  </a:cubicBezTo>
                  <a:cubicBezTo>
                    <a:pt x="4090511" y="253841"/>
                    <a:pt x="4090511" y="252889"/>
                    <a:pt x="4090511" y="252889"/>
                  </a:cubicBezTo>
                  <a:cubicBezTo>
                    <a:pt x="4090511" y="248126"/>
                    <a:pt x="4090511" y="243364"/>
                    <a:pt x="4090511" y="238601"/>
                  </a:cubicBezTo>
                  <a:cubicBezTo>
                    <a:pt x="4090511" y="230029"/>
                    <a:pt x="4090511" y="222409"/>
                    <a:pt x="4090511" y="215741"/>
                  </a:cubicBezTo>
                  <a:cubicBezTo>
                    <a:pt x="4090511" y="203359"/>
                    <a:pt x="4089559" y="195739"/>
                    <a:pt x="4089559" y="195739"/>
                  </a:cubicBezTo>
                  <a:cubicBezTo>
                    <a:pt x="4089559" y="195739"/>
                    <a:pt x="4088606" y="202406"/>
                    <a:pt x="4086701" y="214789"/>
                  </a:cubicBezTo>
                  <a:cubicBezTo>
                    <a:pt x="4085749" y="221456"/>
                    <a:pt x="4084796" y="228124"/>
                    <a:pt x="4083844" y="236696"/>
                  </a:cubicBezTo>
                  <a:cubicBezTo>
                    <a:pt x="4083844" y="237649"/>
                    <a:pt x="4083844" y="238601"/>
                    <a:pt x="4083844" y="239554"/>
                  </a:cubicBezTo>
                  <a:cubicBezTo>
                    <a:pt x="4082891" y="238601"/>
                    <a:pt x="4082891" y="237649"/>
                    <a:pt x="4081939" y="236696"/>
                  </a:cubicBezTo>
                  <a:cubicBezTo>
                    <a:pt x="4081939" y="235744"/>
                    <a:pt x="4081939" y="235744"/>
                    <a:pt x="4081939" y="234791"/>
                  </a:cubicBezTo>
                  <a:cubicBezTo>
                    <a:pt x="4081939" y="225266"/>
                    <a:pt x="4081939" y="216694"/>
                    <a:pt x="4081939" y="210026"/>
                  </a:cubicBezTo>
                  <a:cubicBezTo>
                    <a:pt x="4081939" y="195739"/>
                    <a:pt x="4081939" y="188119"/>
                    <a:pt x="4081939" y="188119"/>
                  </a:cubicBezTo>
                  <a:cubicBezTo>
                    <a:pt x="4081939" y="188119"/>
                    <a:pt x="4080034" y="195739"/>
                    <a:pt x="4078129" y="210026"/>
                  </a:cubicBezTo>
                  <a:cubicBezTo>
                    <a:pt x="4077176" y="214789"/>
                    <a:pt x="4076224" y="220504"/>
                    <a:pt x="4075271" y="227171"/>
                  </a:cubicBezTo>
                  <a:cubicBezTo>
                    <a:pt x="4065746" y="210979"/>
                    <a:pt x="4059079" y="202406"/>
                    <a:pt x="4059079" y="202406"/>
                  </a:cubicBezTo>
                  <a:cubicBezTo>
                    <a:pt x="4059079" y="202406"/>
                    <a:pt x="4063841" y="214789"/>
                    <a:pt x="4073366" y="236696"/>
                  </a:cubicBezTo>
                  <a:cubicBezTo>
                    <a:pt x="4072414" y="241459"/>
                    <a:pt x="4071461" y="246221"/>
                    <a:pt x="4071461" y="250984"/>
                  </a:cubicBezTo>
                  <a:cubicBezTo>
                    <a:pt x="4070509" y="256699"/>
                    <a:pt x="4069556" y="261461"/>
                    <a:pt x="4067651" y="268129"/>
                  </a:cubicBezTo>
                  <a:cubicBezTo>
                    <a:pt x="4066699" y="271939"/>
                    <a:pt x="4065746" y="275749"/>
                    <a:pt x="4064794" y="279559"/>
                  </a:cubicBezTo>
                  <a:cubicBezTo>
                    <a:pt x="4063841" y="270986"/>
                    <a:pt x="4062889" y="262414"/>
                    <a:pt x="4061936" y="253841"/>
                  </a:cubicBezTo>
                  <a:cubicBezTo>
                    <a:pt x="4059079" y="237649"/>
                    <a:pt x="4057174" y="221456"/>
                    <a:pt x="4054316" y="207169"/>
                  </a:cubicBezTo>
                  <a:cubicBezTo>
                    <a:pt x="4053364" y="199549"/>
                    <a:pt x="4052411" y="192881"/>
                    <a:pt x="4050506" y="186214"/>
                  </a:cubicBezTo>
                  <a:cubicBezTo>
                    <a:pt x="4049554" y="179546"/>
                    <a:pt x="4047649" y="173831"/>
                    <a:pt x="4046696" y="168116"/>
                  </a:cubicBezTo>
                  <a:cubicBezTo>
                    <a:pt x="4043839" y="156686"/>
                    <a:pt x="4041934" y="146209"/>
                    <a:pt x="4040029" y="137636"/>
                  </a:cubicBezTo>
                  <a:cubicBezTo>
                    <a:pt x="4036219" y="121444"/>
                    <a:pt x="4034314" y="111919"/>
                    <a:pt x="4034314" y="111919"/>
                  </a:cubicBezTo>
                  <a:cubicBezTo>
                    <a:pt x="4034314" y="111919"/>
                    <a:pt x="4035266" y="121444"/>
                    <a:pt x="4036219" y="138589"/>
                  </a:cubicBezTo>
                  <a:cubicBezTo>
                    <a:pt x="4037171" y="147161"/>
                    <a:pt x="4038124" y="157639"/>
                    <a:pt x="4039076" y="169069"/>
                  </a:cubicBezTo>
                  <a:cubicBezTo>
                    <a:pt x="4040029" y="180499"/>
                    <a:pt x="4040981" y="193834"/>
                    <a:pt x="4042886" y="208121"/>
                  </a:cubicBezTo>
                  <a:cubicBezTo>
                    <a:pt x="4043839" y="217646"/>
                    <a:pt x="4044791" y="228124"/>
                    <a:pt x="4044791" y="238601"/>
                  </a:cubicBezTo>
                  <a:cubicBezTo>
                    <a:pt x="4037171" y="196691"/>
                    <a:pt x="4031456" y="170021"/>
                    <a:pt x="4031456" y="170021"/>
                  </a:cubicBezTo>
                  <a:cubicBezTo>
                    <a:pt x="4031456" y="170021"/>
                    <a:pt x="4032409" y="203359"/>
                    <a:pt x="4036219" y="252889"/>
                  </a:cubicBezTo>
                  <a:cubicBezTo>
                    <a:pt x="4036219" y="256699"/>
                    <a:pt x="4037171" y="260509"/>
                    <a:pt x="4037171" y="264319"/>
                  </a:cubicBezTo>
                  <a:cubicBezTo>
                    <a:pt x="4036219" y="266224"/>
                    <a:pt x="4036219" y="269081"/>
                    <a:pt x="4035266" y="271939"/>
                  </a:cubicBezTo>
                  <a:cubicBezTo>
                    <a:pt x="4033361" y="270034"/>
                    <a:pt x="4031456" y="268129"/>
                    <a:pt x="4030504" y="266224"/>
                  </a:cubicBezTo>
                  <a:cubicBezTo>
                    <a:pt x="4027646" y="263366"/>
                    <a:pt x="4025741" y="260509"/>
                    <a:pt x="4023836" y="258604"/>
                  </a:cubicBezTo>
                  <a:cubicBezTo>
                    <a:pt x="4018121" y="247174"/>
                    <a:pt x="4013359" y="237649"/>
                    <a:pt x="4009549" y="229076"/>
                  </a:cubicBezTo>
                  <a:cubicBezTo>
                    <a:pt x="4000976" y="212884"/>
                    <a:pt x="3996214" y="203359"/>
                    <a:pt x="3996214" y="203359"/>
                  </a:cubicBezTo>
                  <a:cubicBezTo>
                    <a:pt x="3996214" y="203359"/>
                    <a:pt x="4000024" y="212884"/>
                    <a:pt x="4005739" y="230981"/>
                  </a:cubicBezTo>
                  <a:cubicBezTo>
                    <a:pt x="4008596" y="237649"/>
                    <a:pt x="4011454" y="246221"/>
                    <a:pt x="4014311" y="255746"/>
                  </a:cubicBezTo>
                  <a:cubicBezTo>
                    <a:pt x="4010501" y="248126"/>
                    <a:pt x="4007644" y="243364"/>
                    <a:pt x="4007644" y="243364"/>
                  </a:cubicBezTo>
                  <a:cubicBezTo>
                    <a:pt x="4007644" y="243364"/>
                    <a:pt x="4010501" y="251936"/>
                    <a:pt x="4015264" y="267176"/>
                  </a:cubicBezTo>
                  <a:cubicBezTo>
                    <a:pt x="4018121" y="274796"/>
                    <a:pt x="4020979" y="284321"/>
                    <a:pt x="4024789" y="294799"/>
                  </a:cubicBezTo>
                  <a:cubicBezTo>
                    <a:pt x="4025741" y="296704"/>
                    <a:pt x="4026694" y="299561"/>
                    <a:pt x="4026694" y="301466"/>
                  </a:cubicBezTo>
                  <a:cubicBezTo>
                    <a:pt x="4023836" y="310039"/>
                    <a:pt x="4020026" y="319564"/>
                    <a:pt x="4017169" y="329089"/>
                  </a:cubicBezTo>
                  <a:cubicBezTo>
                    <a:pt x="4017169" y="329089"/>
                    <a:pt x="4016216" y="328136"/>
                    <a:pt x="4016216" y="328136"/>
                  </a:cubicBezTo>
                  <a:cubicBezTo>
                    <a:pt x="4011454" y="325279"/>
                    <a:pt x="4008596" y="322421"/>
                    <a:pt x="4005739" y="320516"/>
                  </a:cubicBezTo>
                  <a:cubicBezTo>
                    <a:pt x="4005739" y="319564"/>
                    <a:pt x="4005739" y="318611"/>
                    <a:pt x="4005739" y="318611"/>
                  </a:cubicBezTo>
                  <a:cubicBezTo>
                    <a:pt x="4005739" y="315754"/>
                    <a:pt x="4004786" y="313849"/>
                    <a:pt x="4004786" y="310991"/>
                  </a:cubicBezTo>
                  <a:cubicBezTo>
                    <a:pt x="4004786" y="285274"/>
                    <a:pt x="4002881" y="269081"/>
                    <a:pt x="4002881" y="269081"/>
                  </a:cubicBezTo>
                  <a:cubicBezTo>
                    <a:pt x="4002881" y="269081"/>
                    <a:pt x="4001929" y="274796"/>
                    <a:pt x="4000024" y="284321"/>
                  </a:cubicBezTo>
                  <a:cubicBezTo>
                    <a:pt x="3996214" y="261461"/>
                    <a:pt x="3993356" y="248126"/>
                    <a:pt x="3993356" y="248126"/>
                  </a:cubicBezTo>
                  <a:cubicBezTo>
                    <a:pt x="3993356" y="248126"/>
                    <a:pt x="3993356" y="262414"/>
                    <a:pt x="3993356" y="286226"/>
                  </a:cubicBezTo>
                  <a:cubicBezTo>
                    <a:pt x="3993356" y="286226"/>
                    <a:pt x="3992404" y="286226"/>
                    <a:pt x="3992404" y="286226"/>
                  </a:cubicBezTo>
                  <a:cubicBezTo>
                    <a:pt x="3991451" y="286226"/>
                    <a:pt x="3990499" y="287179"/>
                    <a:pt x="3990499" y="287179"/>
                  </a:cubicBezTo>
                  <a:cubicBezTo>
                    <a:pt x="3988594" y="289084"/>
                    <a:pt x="3986689" y="290989"/>
                    <a:pt x="3985736" y="292894"/>
                  </a:cubicBezTo>
                  <a:lnTo>
                    <a:pt x="3985736" y="292894"/>
                  </a:lnTo>
                  <a:lnTo>
                    <a:pt x="3985736" y="293846"/>
                  </a:lnTo>
                  <a:cubicBezTo>
                    <a:pt x="3984784" y="300514"/>
                    <a:pt x="3983831" y="307181"/>
                    <a:pt x="3983831" y="313849"/>
                  </a:cubicBezTo>
                  <a:cubicBezTo>
                    <a:pt x="3981926" y="310039"/>
                    <a:pt x="3980021" y="307181"/>
                    <a:pt x="3978116" y="303371"/>
                  </a:cubicBezTo>
                  <a:cubicBezTo>
                    <a:pt x="3983831" y="284321"/>
                    <a:pt x="3987641" y="272891"/>
                    <a:pt x="3987641" y="272891"/>
                  </a:cubicBezTo>
                  <a:cubicBezTo>
                    <a:pt x="3987641" y="272891"/>
                    <a:pt x="3982879" y="282416"/>
                    <a:pt x="3976211" y="298609"/>
                  </a:cubicBezTo>
                  <a:cubicBezTo>
                    <a:pt x="3975259" y="296704"/>
                    <a:pt x="3974306" y="295751"/>
                    <a:pt x="3973354" y="293846"/>
                  </a:cubicBezTo>
                  <a:cubicBezTo>
                    <a:pt x="3973354" y="291941"/>
                    <a:pt x="3973354" y="290036"/>
                    <a:pt x="3973354" y="288131"/>
                  </a:cubicBezTo>
                  <a:cubicBezTo>
                    <a:pt x="3973354" y="288131"/>
                    <a:pt x="3973354" y="288131"/>
                    <a:pt x="3973354" y="287179"/>
                  </a:cubicBezTo>
                  <a:cubicBezTo>
                    <a:pt x="3975259" y="283369"/>
                    <a:pt x="3976211" y="280511"/>
                    <a:pt x="3977164" y="278606"/>
                  </a:cubicBezTo>
                  <a:cubicBezTo>
                    <a:pt x="3979069" y="273844"/>
                    <a:pt x="3980974" y="270986"/>
                    <a:pt x="3980974" y="270986"/>
                  </a:cubicBezTo>
                  <a:cubicBezTo>
                    <a:pt x="3980974" y="270986"/>
                    <a:pt x="3979069" y="272891"/>
                    <a:pt x="3976211" y="277654"/>
                  </a:cubicBezTo>
                  <a:cubicBezTo>
                    <a:pt x="3975259" y="278606"/>
                    <a:pt x="3974306" y="280511"/>
                    <a:pt x="3973354" y="282416"/>
                  </a:cubicBezTo>
                  <a:cubicBezTo>
                    <a:pt x="3973354" y="271939"/>
                    <a:pt x="3974306" y="262414"/>
                    <a:pt x="3974306" y="254794"/>
                  </a:cubicBezTo>
                  <a:cubicBezTo>
                    <a:pt x="3975259" y="238601"/>
                    <a:pt x="3975259" y="230029"/>
                    <a:pt x="3975259" y="230029"/>
                  </a:cubicBezTo>
                  <a:cubicBezTo>
                    <a:pt x="3975259" y="230029"/>
                    <a:pt x="3973354" y="238601"/>
                    <a:pt x="3970496" y="254794"/>
                  </a:cubicBezTo>
                  <a:cubicBezTo>
                    <a:pt x="3969544" y="262414"/>
                    <a:pt x="3967639" y="271939"/>
                    <a:pt x="3965734" y="281464"/>
                  </a:cubicBezTo>
                  <a:cubicBezTo>
                    <a:pt x="3964781" y="278606"/>
                    <a:pt x="3962876" y="276701"/>
                    <a:pt x="3961924" y="274796"/>
                  </a:cubicBezTo>
                  <a:cubicBezTo>
                    <a:pt x="3961924" y="272891"/>
                    <a:pt x="3962876" y="270986"/>
                    <a:pt x="3962876" y="269081"/>
                  </a:cubicBezTo>
                  <a:cubicBezTo>
                    <a:pt x="3965734" y="253841"/>
                    <a:pt x="3966686" y="245269"/>
                    <a:pt x="3966686" y="245269"/>
                  </a:cubicBezTo>
                  <a:cubicBezTo>
                    <a:pt x="3966686" y="245269"/>
                    <a:pt x="3963829" y="253841"/>
                    <a:pt x="3959066" y="268129"/>
                  </a:cubicBezTo>
                  <a:cubicBezTo>
                    <a:pt x="3959066" y="268129"/>
                    <a:pt x="3959066" y="269081"/>
                    <a:pt x="3959066" y="269081"/>
                  </a:cubicBezTo>
                  <a:cubicBezTo>
                    <a:pt x="3959066" y="268129"/>
                    <a:pt x="3958114" y="267176"/>
                    <a:pt x="3958114" y="267176"/>
                  </a:cubicBezTo>
                  <a:cubicBezTo>
                    <a:pt x="3958114" y="267176"/>
                    <a:pt x="3958114" y="268129"/>
                    <a:pt x="3958114" y="269081"/>
                  </a:cubicBezTo>
                  <a:cubicBezTo>
                    <a:pt x="3957161" y="267176"/>
                    <a:pt x="3956209" y="266224"/>
                    <a:pt x="3955256" y="264319"/>
                  </a:cubicBezTo>
                  <a:cubicBezTo>
                    <a:pt x="3955256" y="258604"/>
                    <a:pt x="3955256" y="252889"/>
                    <a:pt x="3954304" y="247174"/>
                  </a:cubicBezTo>
                  <a:cubicBezTo>
                    <a:pt x="3954304" y="235744"/>
                    <a:pt x="3952399" y="224314"/>
                    <a:pt x="3951446" y="214789"/>
                  </a:cubicBezTo>
                  <a:cubicBezTo>
                    <a:pt x="3950494" y="205264"/>
                    <a:pt x="3949541" y="196691"/>
                    <a:pt x="3947636" y="190024"/>
                  </a:cubicBezTo>
                  <a:cubicBezTo>
                    <a:pt x="3944779" y="176689"/>
                    <a:pt x="3943826" y="169069"/>
                    <a:pt x="3943826" y="169069"/>
                  </a:cubicBezTo>
                  <a:cubicBezTo>
                    <a:pt x="3943826" y="169069"/>
                    <a:pt x="3943826" y="176689"/>
                    <a:pt x="3943826" y="190024"/>
                  </a:cubicBezTo>
                  <a:cubicBezTo>
                    <a:pt x="3943826" y="196691"/>
                    <a:pt x="3943826" y="205264"/>
                    <a:pt x="3943826" y="214789"/>
                  </a:cubicBezTo>
                  <a:cubicBezTo>
                    <a:pt x="3943826" y="218599"/>
                    <a:pt x="3943826" y="222409"/>
                    <a:pt x="3943826" y="225266"/>
                  </a:cubicBezTo>
                  <a:cubicBezTo>
                    <a:pt x="3942874" y="221456"/>
                    <a:pt x="3941921" y="218599"/>
                    <a:pt x="3940969" y="215741"/>
                  </a:cubicBezTo>
                  <a:cubicBezTo>
                    <a:pt x="3940016" y="212884"/>
                    <a:pt x="3939064" y="210026"/>
                    <a:pt x="3939064" y="207169"/>
                  </a:cubicBezTo>
                  <a:cubicBezTo>
                    <a:pt x="3940016" y="206216"/>
                    <a:pt x="3940016" y="205264"/>
                    <a:pt x="3940016" y="205264"/>
                  </a:cubicBezTo>
                  <a:cubicBezTo>
                    <a:pt x="3940016" y="205264"/>
                    <a:pt x="3940016" y="206216"/>
                    <a:pt x="3939064" y="206216"/>
                  </a:cubicBezTo>
                  <a:cubicBezTo>
                    <a:pt x="3937159" y="201454"/>
                    <a:pt x="3936206" y="197644"/>
                    <a:pt x="3936206" y="197644"/>
                  </a:cubicBezTo>
                  <a:cubicBezTo>
                    <a:pt x="3936206" y="197644"/>
                    <a:pt x="3936206" y="201454"/>
                    <a:pt x="3937159" y="208121"/>
                  </a:cubicBezTo>
                  <a:cubicBezTo>
                    <a:pt x="3935254" y="210026"/>
                    <a:pt x="3932396" y="212884"/>
                    <a:pt x="3929539" y="216694"/>
                  </a:cubicBezTo>
                  <a:cubicBezTo>
                    <a:pt x="3928586" y="210026"/>
                    <a:pt x="3926681" y="204311"/>
                    <a:pt x="3925729" y="197644"/>
                  </a:cubicBezTo>
                  <a:cubicBezTo>
                    <a:pt x="3922871" y="183356"/>
                    <a:pt x="3919061" y="170021"/>
                    <a:pt x="3916204" y="158591"/>
                  </a:cubicBezTo>
                  <a:cubicBezTo>
                    <a:pt x="3915251" y="153829"/>
                    <a:pt x="3913346" y="148114"/>
                    <a:pt x="3912394" y="144304"/>
                  </a:cubicBezTo>
                  <a:cubicBezTo>
                    <a:pt x="3913346" y="142399"/>
                    <a:pt x="3914299" y="141446"/>
                    <a:pt x="3915251" y="139541"/>
                  </a:cubicBezTo>
                  <a:cubicBezTo>
                    <a:pt x="3927634" y="121444"/>
                    <a:pt x="3935254" y="110966"/>
                    <a:pt x="3935254" y="110966"/>
                  </a:cubicBezTo>
                  <a:cubicBezTo>
                    <a:pt x="3935254" y="110966"/>
                    <a:pt x="3926681" y="120491"/>
                    <a:pt x="3912394" y="136684"/>
                  </a:cubicBezTo>
                  <a:cubicBezTo>
                    <a:pt x="3911441" y="137636"/>
                    <a:pt x="3911441" y="138589"/>
                    <a:pt x="3910489" y="138589"/>
                  </a:cubicBezTo>
                  <a:cubicBezTo>
                    <a:pt x="3909536" y="134779"/>
                    <a:pt x="3908584" y="131921"/>
                    <a:pt x="3906679" y="128111"/>
                  </a:cubicBezTo>
                  <a:cubicBezTo>
                    <a:pt x="3900964" y="111919"/>
                    <a:pt x="3898106" y="102394"/>
                    <a:pt x="3898106" y="102394"/>
                  </a:cubicBezTo>
                  <a:cubicBezTo>
                    <a:pt x="3898106" y="102394"/>
                    <a:pt x="3900011" y="111919"/>
                    <a:pt x="3902869" y="129064"/>
                  </a:cubicBezTo>
                  <a:cubicBezTo>
                    <a:pt x="3903821" y="132874"/>
                    <a:pt x="3904774" y="137636"/>
                    <a:pt x="3905726" y="143351"/>
                  </a:cubicBezTo>
                  <a:cubicBezTo>
                    <a:pt x="3905726" y="143351"/>
                    <a:pt x="3905726" y="143351"/>
                    <a:pt x="3905726" y="143351"/>
                  </a:cubicBezTo>
                  <a:cubicBezTo>
                    <a:pt x="3900011" y="150019"/>
                    <a:pt x="3894296" y="158591"/>
                    <a:pt x="3887629" y="167164"/>
                  </a:cubicBezTo>
                  <a:cubicBezTo>
                    <a:pt x="3880961" y="175736"/>
                    <a:pt x="3874294" y="185261"/>
                    <a:pt x="3866674" y="195739"/>
                  </a:cubicBezTo>
                  <a:cubicBezTo>
                    <a:pt x="3864769" y="190976"/>
                    <a:pt x="3863816" y="186214"/>
                    <a:pt x="3862864" y="182404"/>
                  </a:cubicBezTo>
                  <a:cubicBezTo>
                    <a:pt x="3857149" y="165259"/>
                    <a:pt x="3854291" y="155734"/>
                    <a:pt x="3854291" y="155734"/>
                  </a:cubicBezTo>
                  <a:cubicBezTo>
                    <a:pt x="3854291" y="155734"/>
                    <a:pt x="3856196" y="166211"/>
                    <a:pt x="3859054" y="183356"/>
                  </a:cubicBezTo>
                  <a:cubicBezTo>
                    <a:pt x="3860006" y="189071"/>
                    <a:pt x="3861911" y="195739"/>
                    <a:pt x="3862864" y="202406"/>
                  </a:cubicBezTo>
                  <a:cubicBezTo>
                    <a:pt x="3860959" y="204311"/>
                    <a:pt x="3860006" y="207169"/>
                    <a:pt x="3858101" y="209074"/>
                  </a:cubicBezTo>
                  <a:cubicBezTo>
                    <a:pt x="3856196" y="211931"/>
                    <a:pt x="3855244" y="213836"/>
                    <a:pt x="3853339" y="216694"/>
                  </a:cubicBezTo>
                  <a:cubicBezTo>
                    <a:pt x="3851434" y="208121"/>
                    <a:pt x="3850481" y="200501"/>
                    <a:pt x="3849529" y="195739"/>
                  </a:cubicBezTo>
                  <a:cubicBezTo>
                    <a:pt x="3850481" y="189071"/>
                    <a:pt x="3851434" y="183356"/>
                    <a:pt x="3852386" y="178594"/>
                  </a:cubicBezTo>
                  <a:cubicBezTo>
                    <a:pt x="3854291" y="166211"/>
                    <a:pt x="3855244" y="158591"/>
                    <a:pt x="3855244" y="158591"/>
                  </a:cubicBezTo>
                  <a:cubicBezTo>
                    <a:pt x="3855244" y="158591"/>
                    <a:pt x="3853339" y="165259"/>
                    <a:pt x="3848576" y="177641"/>
                  </a:cubicBezTo>
                  <a:cubicBezTo>
                    <a:pt x="3846671" y="184309"/>
                    <a:pt x="3844766" y="190976"/>
                    <a:pt x="3841909" y="199549"/>
                  </a:cubicBezTo>
                  <a:cubicBezTo>
                    <a:pt x="3840956" y="204311"/>
                    <a:pt x="3839051" y="208121"/>
                    <a:pt x="3838099" y="212884"/>
                  </a:cubicBezTo>
                  <a:cubicBezTo>
                    <a:pt x="3837146" y="216694"/>
                    <a:pt x="3836194" y="221456"/>
                    <a:pt x="3835241" y="225266"/>
                  </a:cubicBezTo>
                  <a:cubicBezTo>
                    <a:pt x="3835241" y="224314"/>
                    <a:pt x="3834289" y="223361"/>
                    <a:pt x="3834289" y="222409"/>
                  </a:cubicBezTo>
                  <a:cubicBezTo>
                    <a:pt x="3831431" y="217646"/>
                    <a:pt x="3828574" y="212884"/>
                    <a:pt x="3825716" y="209074"/>
                  </a:cubicBezTo>
                  <a:cubicBezTo>
                    <a:pt x="3815239" y="193834"/>
                    <a:pt x="3809524" y="184309"/>
                    <a:pt x="3809524" y="184309"/>
                  </a:cubicBezTo>
                  <a:cubicBezTo>
                    <a:pt x="3809524" y="184309"/>
                    <a:pt x="3814286" y="193834"/>
                    <a:pt x="3821906" y="210979"/>
                  </a:cubicBezTo>
                  <a:cubicBezTo>
                    <a:pt x="3823811" y="214789"/>
                    <a:pt x="3825716" y="219551"/>
                    <a:pt x="3828574" y="224314"/>
                  </a:cubicBezTo>
                  <a:cubicBezTo>
                    <a:pt x="3829526" y="227171"/>
                    <a:pt x="3831431" y="230981"/>
                    <a:pt x="3832384" y="234791"/>
                  </a:cubicBezTo>
                  <a:cubicBezTo>
                    <a:pt x="3831431" y="241459"/>
                    <a:pt x="3829526" y="248126"/>
                    <a:pt x="3828574" y="254794"/>
                  </a:cubicBezTo>
                  <a:cubicBezTo>
                    <a:pt x="3827621" y="256699"/>
                    <a:pt x="3826669" y="257651"/>
                    <a:pt x="3825716" y="259556"/>
                  </a:cubicBezTo>
                  <a:cubicBezTo>
                    <a:pt x="3823811" y="262414"/>
                    <a:pt x="3821906" y="266224"/>
                    <a:pt x="3820954" y="269081"/>
                  </a:cubicBezTo>
                  <a:cubicBezTo>
                    <a:pt x="3820954" y="268129"/>
                    <a:pt x="3820001" y="268129"/>
                    <a:pt x="3820001" y="267176"/>
                  </a:cubicBezTo>
                  <a:cubicBezTo>
                    <a:pt x="3810476" y="255746"/>
                    <a:pt x="3804761" y="249079"/>
                    <a:pt x="3804761" y="249079"/>
                  </a:cubicBezTo>
                  <a:cubicBezTo>
                    <a:pt x="3804761" y="249079"/>
                    <a:pt x="3809524" y="256699"/>
                    <a:pt x="3817144" y="270034"/>
                  </a:cubicBezTo>
                  <a:cubicBezTo>
                    <a:pt x="3818096" y="270986"/>
                    <a:pt x="3818096" y="271939"/>
                    <a:pt x="3819049" y="272891"/>
                  </a:cubicBezTo>
                  <a:cubicBezTo>
                    <a:pt x="3815239" y="280511"/>
                    <a:pt x="3811429" y="287179"/>
                    <a:pt x="3806666" y="294799"/>
                  </a:cubicBezTo>
                  <a:cubicBezTo>
                    <a:pt x="3806666" y="294799"/>
                    <a:pt x="3806666" y="294799"/>
                    <a:pt x="3806666" y="294799"/>
                  </a:cubicBezTo>
                  <a:cubicBezTo>
                    <a:pt x="3805714" y="293846"/>
                    <a:pt x="3804761" y="291941"/>
                    <a:pt x="3803809" y="290989"/>
                  </a:cubicBezTo>
                  <a:cubicBezTo>
                    <a:pt x="3803809" y="290036"/>
                    <a:pt x="3803809" y="289084"/>
                    <a:pt x="3802856" y="287179"/>
                  </a:cubicBezTo>
                  <a:cubicBezTo>
                    <a:pt x="3801904" y="283369"/>
                    <a:pt x="3800951" y="280511"/>
                    <a:pt x="3799999" y="276701"/>
                  </a:cubicBezTo>
                  <a:cubicBezTo>
                    <a:pt x="3798094" y="270034"/>
                    <a:pt x="3796189" y="265271"/>
                    <a:pt x="3795236" y="260509"/>
                  </a:cubicBezTo>
                  <a:cubicBezTo>
                    <a:pt x="3792379" y="250984"/>
                    <a:pt x="3790474" y="246221"/>
                    <a:pt x="3790474" y="246221"/>
                  </a:cubicBezTo>
                  <a:cubicBezTo>
                    <a:pt x="3790474" y="246221"/>
                    <a:pt x="3790474" y="251936"/>
                    <a:pt x="3791426" y="260509"/>
                  </a:cubicBezTo>
                  <a:cubicBezTo>
                    <a:pt x="3791426" y="264319"/>
                    <a:pt x="3792379" y="269081"/>
                    <a:pt x="3792379" y="273844"/>
                  </a:cubicBezTo>
                  <a:cubicBezTo>
                    <a:pt x="3790474" y="271939"/>
                    <a:pt x="3789521" y="270034"/>
                    <a:pt x="3787616" y="268129"/>
                  </a:cubicBezTo>
                  <a:cubicBezTo>
                    <a:pt x="3783806" y="263366"/>
                    <a:pt x="3779996" y="259556"/>
                    <a:pt x="3777139" y="255746"/>
                  </a:cubicBezTo>
                  <a:cubicBezTo>
                    <a:pt x="3776186" y="251936"/>
                    <a:pt x="3774281" y="249079"/>
                    <a:pt x="3773329" y="246221"/>
                  </a:cubicBezTo>
                  <a:cubicBezTo>
                    <a:pt x="3767614" y="231934"/>
                    <a:pt x="3764756" y="224314"/>
                    <a:pt x="3764756" y="224314"/>
                  </a:cubicBezTo>
                  <a:cubicBezTo>
                    <a:pt x="3764756" y="224314"/>
                    <a:pt x="3766661" y="232886"/>
                    <a:pt x="3769519" y="247174"/>
                  </a:cubicBezTo>
                  <a:cubicBezTo>
                    <a:pt x="3771424" y="254794"/>
                    <a:pt x="3773329" y="263366"/>
                    <a:pt x="3776186" y="273844"/>
                  </a:cubicBezTo>
                  <a:cubicBezTo>
                    <a:pt x="3778091" y="281464"/>
                    <a:pt x="3779996" y="290989"/>
                    <a:pt x="3781901" y="299561"/>
                  </a:cubicBezTo>
                  <a:cubicBezTo>
                    <a:pt x="3775234" y="275749"/>
                    <a:pt x="3767614" y="253841"/>
                    <a:pt x="3760946" y="234791"/>
                  </a:cubicBezTo>
                  <a:cubicBezTo>
                    <a:pt x="3759041" y="229076"/>
                    <a:pt x="3757136" y="224314"/>
                    <a:pt x="3755231" y="218599"/>
                  </a:cubicBezTo>
                  <a:cubicBezTo>
                    <a:pt x="3758089" y="214789"/>
                    <a:pt x="3759041" y="211931"/>
                    <a:pt x="3759041" y="211931"/>
                  </a:cubicBezTo>
                  <a:cubicBezTo>
                    <a:pt x="3759041" y="211931"/>
                    <a:pt x="3757136" y="213836"/>
                    <a:pt x="3754279" y="217646"/>
                  </a:cubicBezTo>
                  <a:cubicBezTo>
                    <a:pt x="3753326" y="213836"/>
                    <a:pt x="3752374" y="210979"/>
                    <a:pt x="3750469" y="208121"/>
                  </a:cubicBezTo>
                  <a:cubicBezTo>
                    <a:pt x="3752374" y="201454"/>
                    <a:pt x="3752374" y="197644"/>
                    <a:pt x="3752374" y="197644"/>
                  </a:cubicBezTo>
                  <a:cubicBezTo>
                    <a:pt x="3752374" y="197644"/>
                    <a:pt x="3751421" y="200501"/>
                    <a:pt x="3748564" y="205264"/>
                  </a:cubicBezTo>
                  <a:cubicBezTo>
                    <a:pt x="3739991" y="181451"/>
                    <a:pt x="3734276" y="167164"/>
                    <a:pt x="3734276" y="167164"/>
                  </a:cubicBezTo>
                  <a:cubicBezTo>
                    <a:pt x="3734276" y="167164"/>
                    <a:pt x="3737134" y="186214"/>
                    <a:pt x="3742849" y="217646"/>
                  </a:cubicBezTo>
                  <a:cubicBezTo>
                    <a:pt x="3740944" y="222409"/>
                    <a:pt x="3738086" y="229076"/>
                    <a:pt x="3736181" y="236696"/>
                  </a:cubicBezTo>
                  <a:cubicBezTo>
                    <a:pt x="3736181" y="237649"/>
                    <a:pt x="3736181" y="237649"/>
                    <a:pt x="3735229" y="238601"/>
                  </a:cubicBezTo>
                  <a:cubicBezTo>
                    <a:pt x="3733324" y="240506"/>
                    <a:pt x="3731419" y="243364"/>
                    <a:pt x="3730466" y="245269"/>
                  </a:cubicBezTo>
                  <a:cubicBezTo>
                    <a:pt x="3728561" y="242411"/>
                    <a:pt x="3727609" y="239554"/>
                    <a:pt x="3726656" y="236696"/>
                  </a:cubicBezTo>
                  <a:cubicBezTo>
                    <a:pt x="3726656" y="235744"/>
                    <a:pt x="3726656" y="234791"/>
                    <a:pt x="3726656" y="232886"/>
                  </a:cubicBezTo>
                  <a:cubicBezTo>
                    <a:pt x="3726656" y="221456"/>
                    <a:pt x="3725704" y="214789"/>
                    <a:pt x="3725704" y="214789"/>
                  </a:cubicBezTo>
                  <a:cubicBezTo>
                    <a:pt x="3725704" y="214789"/>
                    <a:pt x="3724751" y="220504"/>
                    <a:pt x="3722846" y="230029"/>
                  </a:cubicBezTo>
                  <a:cubicBezTo>
                    <a:pt x="3722846" y="230029"/>
                    <a:pt x="3722846" y="229076"/>
                    <a:pt x="3721894" y="229076"/>
                  </a:cubicBezTo>
                  <a:cubicBezTo>
                    <a:pt x="3721894" y="229076"/>
                    <a:pt x="3721894" y="229076"/>
                    <a:pt x="3721894" y="229076"/>
                  </a:cubicBezTo>
                  <a:cubicBezTo>
                    <a:pt x="3723799" y="215741"/>
                    <a:pt x="3724751" y="203359"/>
                    <a:pt x="3725704" y="190976"/>
                  </a:cubicBezTo>
                  <a:cubicBezTo>
                    <a:pt x="3726656" y="184309"/>
                    <a:pt x="3726656" y="178594"/>
                    <a:pt x="3727609" y="172879"/>
                  </a:cubicBezTo>
                  <a:cubicBezTo>
                    <a:pt x="3728561" y="167164"/>
                    <a:pt x="3729514" y="161449"/>
                    <a:pt x="3730466" y="155734"/>
                  </a:cubicBezTo>
                  <a:cubicBezTo>
                    <a:pt x="3732371" y="145256"/>
                    <a:pt x="3733324" y="135731"/>
                    <a:pt x="3734276" y="128111"/>
                  </a:cubicBezTo>
                  <a:cubicBezTo>
                    <a:pt x="3736181" y="112871"/>
                    <a:pt x="3737134" y="104299"/>
                    <a:pt x="3737134" y="104299"/>
                  </a:cubicBezTo>
                  <a:cubicBezTo>
                    <a:pt x="3737134" y="104299"/>
                    <a:pt x="3734276" y="112871"/>
                    <a:pt x="3730466" y="127159"/>
                  </a:cubicBezTo>
                  <a:cubicBezTo>
                    <a:pt x="3728561" y="134779"/>
                    <a:pt x="3725704" y="143351"/>
                    <a:pt x="3722846" y="153829"/>
                  </a:cubicBezTo>
                  <a:cubicBezTo>
                    <a:pt x="3720941" y="158591"/>
                    <a:pt x="3719989" y="164306"/>
                    <a:pt x="3718084" y="170021"/>
                  </a:cubicBezTo>
                  <a:cubicBezTo>
                    <a:pt x="3717131" y="175736"/>
                    <a:pt x="3715226" y="182404"/>
                    <a:pt x="3714274" y="188119"/>
                  </a:cubicBezTo>
                  <a:cubicBezTo>
                    <a:pt x="3713321" y="194786"/>
                    <a:pt x="3711416" y="201454"/>
                    <a:pt x="3710464" y="208121"/>
                  </a:cubicBezTo>
                  <a:cubicBezTo>
                    <a:pt x="3710464" y="208121"/>
                    <a:pt x="3710464" y="208121"/>
                    <a:pt x="3710464" y="207169"/>
                  </a:cubicBezTo>
                  <a:cubicBezTo>
                    <a:pt x="3702844" y="194786"/>
                    <a:pt x="3697129" y="184309"/>
                    <a:pt x="3691414" y="174784"/>
                  </a:cubicBezTo>
                  <a:cubicBezTo>
                    <a:pt x="3684746" y="164306"/>
                    <a:pt x="3679984" y="155734"/>
                    <a:pt x="3677126" y="150971"/>
                  </a:cubicBezTo>
                  <a:cubicBezTo>
                    <a:pt x="3678079" y="142399"/>
                    <a:pt x="3678079" y="137636"/>
                    <a:pt x="3678079" y="137636"/>
                  </a:cubicBezTo>
                  <a:cubicBezTo>
                    <a:pt x="3678079" y="137636"/>
                    <a:pt x="3677126" y="141446"/>
                    <a:pt x="3675221" y="149066"/>
                  </a:cubicBezTo>
                  <a:cubicBezTo>
                    <a:pt x="3674269" y="148114"/>
                    <a:pt x="3674269" y="147161"/>
                    <a:pt x="3674269" y="147161"/>
                  </a:cubicBezTo>
                  <a:cubicBezTo>
                    <a:pt x="3674269" y="147161"/>
                    <a:pt x="3674269" y="148114"/>
                    <a:pt x="3675221" y="150019"/>
                  </a:cubicBezTo>
                  <a:cubicBezTo>
                    <a:pt x="3674269" y="153829"/>
                    <a:pt x="3673316" y="158591"/>
                    <a:pt x="3672364" y="164306"/>
                  </a:cubicBezTo>
                  <a:cubicBezTo>
                    <a:pt x="3670459" y="172879"/>
                    <a:pt x="3668554" y="182404"/>
                    <a:pt x="3665696" y="194786"/>
                  </a:cubicBezTo>
                  <a:cubicBezTo>
                    <a:pt x="3664744" y="199549"/>
                    <a:pt x="3663791" y="204311"/>
                    <a:pt x="3662839" y="209074"/>
                  </a:cubicBezTo>
                  <a:cubicBezTo>
                    <a:pt x="3662839" y="209074"/>
                    <a:pt x="3662839" y="210026"/>
                    <a:pt x="3661886" y="210026"/>
                  </a:cubicBezTo>
                  <a:cubicBezTo>
                    <a:pt x="3660934" y="211931"/>
                    <a:pt x="3659029" y="214789"/>
                    <a:pt x="3658076" y="216694"/>
                  </a:cubicBezTo>
                  <a:cubicBezTo>
                    <a:pt x="3659029" y="190976"/>
                    <a:pt x="3658076" y="174784"/>
                    <a:pt x="3658076" y="174784"/>
                  </a:cubicBezTo>
                  <a:cubicBezTo>
                    <a:pt x="3658076" y="174784"/>
                    <a:pt x="3652361" y="200501"/>
                    <a:pt x="3645694" y="239554"/>
                  </a:cubicBezTo>
                  <a:cubicBezTo>
                    <a:pt x="3645694" y="241459"/>
                    <a:pt x="3644741" y="244316"/>
                    <a:pt x="3644741" y="246221"/>
                  </a:cubicBezTo>
                  <a:cubicBezTo>
                    <a:pt x="3644741" y="247174"/>
                    <a:pt x="3643789" y="248126"/>
                    <a:pt x="3643789" y="249079"/>
                  </a:cubicBezTo>
                  <a:cubicBezTo>
                    <a:pt x="3642836" y="251936"/>
                    <a:pt x="3641884" y="255746"/>
                    <a:pt x="3640931" y="259556"/>
                  </a:cubicBezTo>
                  <a:cubicBezTo>
                    <a:pt x="3636169" y="249079"/>
                    <a:pt x="3633311" y="243364"/>
                    <a:pt x="3633311" y="243364"/>
                  </a:cubicBezTo>
                  <a:cubicBezTo>
                    <a:pt x="3633311" y="243364"/>
                    <a:pt x="3635216" y="250984"/>
                    <a:pt x="3639979" y="265271"/>
                  </a:cubicBezTo>
                  <a:cubicBezTo>
                    <a:pt x="3639026" y="268129"/>
                    <a:pt x="3638074" y="271939"/>
                    <a:pt x="3637121" y="275749"/>
                  </a:cubicBezTo>
                  <a:cubicBezTo>
                    <a:pt x="3631406" y="266224"/>
                    <a:pt x="3627596" y="261461"/>
                    <a:pt x="3627596" y="261461"/>
                  </a:cubicBezTo>
                  <a:cubicBezTo>
                    <a:pt x="3627596" y="261461"/>
                    <a:pt x="3630454" y="268129"/>
                    <a:pt x="3635216" y="280511"/>
                  </a:cubicBezTo>
                  <a:cubicBezTo>
                    <a:pt x="3635216" y="280511"/>
                    <a:pt x="3635216" y="280511"/>
                    <a:pt x="3635216" y="281464"/>
                  </a:cubicBezTo>
                  <a:cubicBezTo>
                    <a:pt x="3633311" y="290036"/>
                    <a:pt x="3631406" y="299561"/>
                    <a:pt x="3630454" y="309086"/>
                  </a:cubicBezTo>
                  <a:cubicBezTo>
                    <a:pt x="3629501" y="316706"/>
                    <a:pt x="3628549" y="324326"/>
                    <a:pt x="3627596" y="332899"/>
                  </a:cubicBezTo>
                  <a:cubicBezTo>
                    <a:pt x="3624739" y="325279"/>
                    <a:pt x="3622834" y="318611"/>
                    <a:pt x="3620929" y="312896"/>
                  </a:cubicBezTo>
                  <a:cubicBezTo>
                    <a:pt x="3620929" y="310991"/>
                    <a:pt x="3620929" y="309086"/>
                    <a:pt x="3620929" y="309086"/>
                  </a:cubicBezTo>
                  <a:cubicBezTo>
                    <a:pt x="3620929" y="309086"/>
                    <a:pt x="3620929" y="310039"/>
                    <a:pt x="3619976" y="310991"/>
                  </a:cubicBezTo>
                  <a:cubicBezTo>
                    <a:pt x="3619976" y="310039"/>
                    <a:pt x="3619024" y="309086"/>
                    <a:pt x="3619024" y="308134"/>
                  </a:cubicBezTo>
                  <a:cubicBezTo>
                    <a:pt x="3620929" y="295751"/>
                    <a:pt x="3621881" y="284321"/>
                    <a:pt x="3622834" y="272891"/>
                  </a:cubicBezTo>
                  <a:cubicBezTo>
                    <a:pt x="3624739" y="252889"/>
                    <a:pt x="3625691" y="234791"/>
                    <a:pt x="3626644" y="221456"/>
                  </a:cubicBezTo>
                  <a:cubicBezTo>
                    <a:pt x="3629501" y="215741"/>
                    <a:pt x="3630454" y="211931"/>
                    <a:pt x="3630454" y="211931"/>
                  </a:cubicBezTo>
                  <a:cubicBezTo>
                    <a:pt x="3630454" y="211931"/>
                    <a:pt x="3629501" y="213836"/>
                    <a:pt x="3626644" y="216694"/>
                  </a:cubicBezTo>
                  <a:cubicBezTo>
                    <a:pt x="3626644" y="215741"/>
                    <a:pt x="3626644" y="214789"/>
                    <a:pt x="3626644" y="214789"/>
                  </a:cubicBezTo>
                  <a:cubicBezTo>
                    <a:pt x="3626644" y="200501"/>
                    <a:pt x="3626644" y="192881"/>
                    <a:pt x="3626644" y="192881"/>
                  </a:cubicBezTo>
                  <a:cubicBezTo>
                    <a:pt x="3626644" y="192881"/>
                    <a:pt x="3624739" y="200501"/>
                    <a:pt x="3622834" y="214789"/>
                  </a:cubicBezTo>
                  <a:cubicBezTo>
                    <a:pt x="3621881" y="217646"/>
                    <a:pt x="3621881" y="221456"/>
                    <a:pt x="3620929" y="226219"/>
                  </a:cubicBezTo>
                  <a:cubicBezTo>
                    <a:pt x="3620929" y="226219"/>
                    <a:pt x="3620929" y="226219"/>
                    <a:pt x="3620929" y="227171"/>
                  </a:cubicBezTo>
                  <a:cubicBezTo>
                    <a:pt x="3618071" y="231934"/>
                    <a:pt x="3614261" y="237649"/>
                    <a:pt x="3609499" y="243364"/>
                  </a:cubicBezTo>
                  <a:cubicBezTo>
                    <a:pt x="3607594" y="246221"/>
                    <a:pt x="3605689" y="249079"/>
                    <a:pt x="3603784" y="251936"/>
                  </a:cubicBezTo>
                  <a:cubicBezTo>
                    <a:pt x="3607594" y="242411"/>
                    <a:pt x="3610451" y="233839"/>
                    <a:pt x="3613309" y="225266"/>
                  </a:cubicBezTo>
                  <a:cubicBezTo>
                    <a:pt x="3615214" y="219551"/>
                    <a:pt x="3617119" y="213836"/>
                    <a:pt x="3619024" y="208121"/>
                  </a:cubicBezTo>
                  <a:cubicBezTo>
                    <a:pt x="3620929" y="202406"/>
                    <a:pt x="3622834" y="197644"/>
                    <a:pt x="3624739" y="192881"/>
                  </a:cubicBezTo>
                  <a:cubicBezTo>
                    <a:pt x="3628549" y="183356"/>
                    <a:pt x="3631406" y="174784"/>
                    <a:pt x="3634264" y="168116"/>
                  </a:cubicBezTo>
                  <a:cubicBezTo>
                    <a:pt x="3639026" y="153829"/>
                    <a:pt x="3642836" y="146209"/>
                    <a:pt x="3642836" y="146209"/>
                  </a:cubicBezTo>
                  <a:cubicBezTo>
                    <a:pt x="3642836" y="146209"/>
                    <a:pt x="3639026" y="153829"/>
                    <a:pt x="3631406" y="166211"/>
                  </a:cubicBezTo>
                  <a:cubicBezTo>
                    <a:pt x="3627596" y="172879"/>
                    <a:pt x="3623786" y="180499"/>
                    <a:pt x="3618071" y="189071"/>
                  </a:cubicBezTo>
                  <a:cubicBezTo>
                    <a:pt x="3615214" y="193834"/>
                    <a:pt x="3613309" y="198596"/>
                    <a:pt x="3610451" y="203359"/>
                  </a:cubicBezTo>
                  <a:cubicBezTo>
                    <a:pt x="3607594" y="209074"/>
                    <a:pt x="3605689" y="213836"/>
                    <a:pt x="3602831" y="219551"/>
                  </a:cubicBezTo>
                  <a:cubicBezTo>
                    <a:pt x="3598069" y="229076"/>
                    <a:pt x="3593306" y="238601"/>
                    <a:pt x="3588544" y="250031"/>
                  </a:cubicBezTo>
                  <a:cubicBezTo>
                    <a:pt x="3588544" y="245269"/>
                    <a:pt x="3588544" y="242411"/>
                    <a:pt x="3588544" y="242411"/>
                  </a:cubicBezTo>
                  <a:cubicBezTo>
                    <a:pt x="3588544" y="242411"/>
                    <a:pt x="3587591" y="248126"/>
                    <a:pt x="3585686" y="256699"/>
                  </a:cubicBezTo>
                  <a:cubicBezTo>
                    <a:pt x="3585686" y="256699"/>
                    <a:pt x="3585686" y="256699"/>
                    <a:pt x="3585686" y="257651"/>
                  </a:cubicBezTo>
                  <a:cubicBezTo>
                    <a:pt x="3583781" y="261461"/>
                    <a:pt x="3581876" y="266224"/>
                    <a:pt x="3579971" y="270986"/>
                  </a:cubicBezTo>
                  <a:cubicBezTo>
                    <a:pt x="3578066" y="274796"/>
                    <a:pt x="3576161" y="278606"/>
                    <a:pt x="3573304" y="282416"/>
                  </a:cubicBezTo>
                  <a:cubicBezTo>
                    <a:pt x="3571399" y="275749"/>
                    <a:pt x="3569494" y="269081"/>
                    <a:pt x="3568541" y="263366"/>
                  </a:cubicBezTo>
                  <a:cubicBezTo>
                    <a:pt x="3566636" y="257651"/>
                    <a:pt x="3565684" y="252889"/>
                    <a:pt x="3564731" y="248126"/>
                  </a:cubicBezTo>
                  <a:cubicBezTo>
                    <a:pt x="3564731" y="248126"/>
                    <a:pt x="3564731" y="248126"/>
                    <a:pt x="3564731" y="248126"/>
                  </a:cubicBezTo>
                  <a:cubicBezTo>
                    <a:pt x="3563779" y="244316"/>
                    <a:pt x="3563779" y="241459"/>
                    <a:pt x="3562826" y="237649"/>
                  </a:cubicBezTo>
                  <a:cubicBezTo>
                    <a:pt x="3562826" y="236696"/>
                    <a:pt x="3562826" y="235744"/>
                    <a:pt x="3561874" y="233839"/>
                  </a:cubicBezTo>
                  <a:cubicBezTo>
                    <a:pt x="3564731" y="230029"/>
                    <a:pt x="3566636" y="227171"/>
                    <a:pt x="3566636" y="227171"/>
                  </a:cubicBezTo>
                  <a:cubicBezTo>
                    <a:pt x="3566636" y="227171"/>
                    <a:pt x="3564731" y="229076"/>
                    <a:pt x="3561874" y="230981"/>
                  </a:cubicBezTo>
                  <a:cubicBezTo>
                    <a:pt x="3559969" y="222409"/>
                    <a:pt x="3559016" y="218599"/>
                    <a:pt x="3559016" y="218599"/>
                  </a:cubicBezTo>
                  <a:cubicBezTo>
                    <a:pt x="3559016" y="218599"/>
                    <a:pt x="3559016" y="223361"/>
                    <a:pt x="3559016" y="231934"/>
                  </a:cubicBezTo>
                  <a:cubicBezTo>
                    <a:pt x="3557111" y="228124"/>
                    <a:pt x="3556159" y="224314"/>
                    <a:pt x="3554254" y="220504"/>
                  </a:cubicBezTo>
                  <a:cubicBezTo>
                    <a:pt x="3559969" y="211931"/>
                    <a:pt x="3564731" y="204311"/>
                    <a:pt x="3569494" y="197644"/>
                  </a:cubicBezTo>
                  <a:cubicBezTo>
                    <a:pt x="3576161" y="189071"/>
                    <a:pt x="3580924" y="180499"/>
                    <a:pt x="3585686" y="174784"/>
                  </a:cubicBezTo>
                  <a:cubicBezTo>
                    <a:pt x="3595211" y="162401"/>
                    <a:pt x="3600926" y="154781"/>
                    <a:pt x="3600926" y="154781"/>
                  </a:cubicBezTo>
                  <a:cubicBezTo>
                    <a:pt x="3600926" y="154781"/>
                    <a:pt x="3594259" y="160496"/>
                    <a:pt x="3582829" y="171926"/>
                  </a:cubicBezTo>
                  <a:cubicBezTo>
                    <a:pt x="3577114" y="176689"/>
                    <a:pt x="3570446" y="184309"/>
                    <a:pt x="3562826" y="192881"/>
                  </a:cubicBezTo>
                  <a:cubicBezTo>
                    <a:pt x="3558064" y="197644"/>
                    <a:pt x="3553301" y="203359"/>
                    <a:pt x="3549491" y="209074"/>
                  </a:cubicBezTo>
                  <a:cubicBezTo>
                    <a:pt x="3545681" y="199549"/>
                    <a:pt x="3542824" y="193834"/>
                    <a:pt x="3542824" y="193834"/>
                  </a:cubicBezTo>
                  <a:cubicBezTo>
                    <a:pt x="3542824" y="193834"/>
                    <a:pt x="3543776" y="200501"/>
                    <a:pt x="3546634" y="212884"/>
                  </a:cubicBezTo>
                  <a:cubicBezTo>
                    <a:pt x="3544729" y="215741"/>
                    <a:pt x="3541871" y="218599"/>
                    <a:pt x="3539966" y="222409"/>
                  </a:cubicBezTo>
                  <a:cubicBezTo>
                    <a:pt x="3539966" y="222409"/>
                    <a:pt x="3539014" y="223361"/>
                    <a:pt x="3539014" y="223361"/>
                  </a:cubicBezTo>
                  <a:cubicBezTo>
                    <a:pt x="3539014" y="219551"/>
                    <a:pt x="3539014" y="214789"/>
                    <a:pt x="3539014" y="210979"/>
                  </a:cubicBezTo>
                  <a:cubicBezTo>
                    <a:pt x="3539014" y="200501"/>
                    <a:pt x="3539014" y="191929"/>
                    <a:pt x="3539014" y="184309"/>
                  </a:cubicBezTo>
                  <a:cubicBezTo>
                    <a:pt x="3539014" y="180499"/>
                    <a:pt x="3539014" y="176689"/>
                    <a:pt x="3539014" y="173831"/>
                  </a:cubicBezTo>
                  <a:cubicBezTo>
                    <a:pt x="3539966" y="170974"/>
                    <a:pt x="3540919" y="170021"/>
                    <a:pt x="3540919" y="170021"/>
                  </a:cubicBezTo>
                  <a:cubicBezTo>
                    <a:pt x="3540919" y="170021"/>
                    <a:pt x="3539966" y="170974"/>
                    <a:pt x="3539014" y="172879"/>
                  </a:cubicBezTo>
                  <a:cubicBezTo>
                    <a:pt x="3539014" y="166211"/>
                    <a:pt x="3539014" y="162401"/>
                    <a:pt x="3539014" y="162401"/>
                  </a:cubicBezTo>
                  <a:cubicBezTo>
                    <a:pt x="3539014" y="162401"/>
                    <a:pt x="3538061" y="167164"/>
                    <a:pt x="3537109" y="176689"/>
                  </a:cubicBezTo>
                  <a:cubicBezTo>
                    <a:pt x="3535204" y="180499"/>
                    <a:pt x="3531394" y="184309"/>
                    <a:pt x="3527584" y="190976"/>
                  </a:cubicBezTo>
                  <a:cubicBezTo>
                    <a:pt x="3522821" y="197644"/>
                    <a:pt x="3518059" y="205264"/>
                    <a:pt x="3511391" y="214789"/>
                  </a:cubicBezTo>
                  <a:cubicBezTo>
                    <a:pt x="3511391" y="214789"/>
                    <a:pt x="3511391" y="215741"/>
                    <a:pt x="3510439" y="215741"/>
                  </a:cubicBezTo>
                  <a:cubicBezTo>
                    <a:pt x="3509486" y="210026"/>
                    <a:pt x="3509486" y="205264"/>
                    <a:pt x="3508534" y="201454"/>
                  </a:cubicBezTo>
                  <a:cubicBezTo>
                    <a:pt x="3506629" y="188119"/>
                    <a:pt x="3505676" y="180499"/>
                    <a:pt x="3505676" y="180499"/>
                  </a:cubicBezTo>
                  <a:cubicBezTo>
                    <a:pt x="3505676" y="180499"/>
                    <a:pt x="3505676" y="188119"/>
                    <a:pt x="3504724" y="202406"/>
                  </a:cubicBezTo>
                  <a:cubicBezTo>
                    <a:pt x="3504724" y="209074"/>
                    <a:pt x="3504724" y="216694"/>
                    <a:pt x="3503771" y="226219"/>
                  </a:cubicBezTo>
                  <a:cubicBezTo>
                    <a:pt x="3502819" y="228124"/>
                    <a:pt x="3501866" y="229076"/>
                    <a:pt x="3500914" y="230981"/>
                  </a:cubicBezTo>
                  <a:cubicBezTo>
                    <a:pt x="3498056" y="235744"/>
                    <a:pt x="3495199" y="241459"/>
                    <a:pt x="3491389" y="247174"/>
                  </a:cubicBezTo>
                  <a:cubicBezTo>
                    <a:pt x="3488531" y="241459"/>
                    <a:pt x="3486626" y="235744"/>
                    <a:pt x="3483769" y="230029"/>
                  </a:cubicBezTo>
                  <a:cubicBezTo>
                    <a:pt x="3479006" y="218599"/>
                    <a:pt x="3474244" y="209074"/>
                    <a:pt x="3469481" y="200501"/>
                  </a:cubicBezTo>
                  <a:cubicBezTo>
                    <a:pt x="3470434" y="197644"/>
                    <a:pt x="3471386" y="193834"/>
                    <a:pt x="3471386" y="190976"/>
                  </a:cubicBezTo>
                  <a:cubicBezTo>
                    <a:pt x="3473291" y="182404"/>
                    <a:pt x="3475196" y="174784"/>
                    <a:pt x="3477101" y="167164"/>
                  </a:cubicBezTo>
                  <a:cubicBezTo>
                    <a:pt x="3479006" y="159544"/>
                    <a:pt x="3480911" y="152876"/>
                    <a:pt x="3482816" y="146209"/>
                  </a:cubicBezTo>
                  <a:cubicBezTo>
                    <a:pt x="3486626" y="132874"/>
                    <a:pt x="3489484" y="121444"/>
                    <a:pt x="3492341" y="111919"/>
                  </a:cubicBezTo>
                  <a:cubicBezTo>
                    <a:pt x="3497104" y="92869"/>
                    <a:pt x="3499961" y="82391"/>
                    <a:pt x="3499961" y="82391"/>
                  </a:cubicBezTo>
                  <a:cubicBezTo>
                    <a:pt x="3499961" y="82391"/>
                    <a:pt x="3496151" y="92869"/>
                    <a:pt x="3488531" y="110966"/>
                  </a:cubicBezTo>
                  <a:cubicBezTo>
                    <a:pt x="3484721" y="120491"/>
                    <a:pt x="3480911" y="130969"/>
                    <a:pt x="3476149" y="144304"/>
                  </a:cubicBezTo>
                  <a:cubicBezTo>
                    <a:pt x="3473291" y="150971"/>
                    <a:pt x="3471386" y="157639"/>
                    <a:pt x="3468529" y="164306"/>
                  </a:cubicBezTo>
                  <a:cubicBezTo>
                    <a:pt x="3466624" y="170974"/>
                    <a:pt x="3464719" y="177641"/>
                    <a:pt x="3461861" y="185261"/>
                  </a:cubicBezTo>
                  <a:cubicBezTo>
                    <a:pt x="3456146" y="173831"/>
                    <a:pt x="3452336" y="168116"/>
                    <a:pt x="3452336" y="168116"/>
                  </a:cubicBezTo>
                  <a:cubicBezTo>
                    <a:pt x="3452336" y="168116"/>
                    <a:pt x="3455194" y="175736"/>
                    <a:pt x="3460909" y="189071"/>
                  </a:cubicBezTo>
                  <a:cubicBezTo>
                    <a:pt x="3457099" y="200501"/>
                    <a:pt x="3454241" y="211931"/>
                    <a:pt x="3450431" y="225266"/>
                  </a:cubicBezTo>
                  <a:cubicBezTo>
                    <a:pt x="3447574" y="220504"/>
                    <a:pt x="3444716" y="214789"/>
                    <a:pt x="3441859" y="210026"/>
                  </a:cubicBezTo>
                  <a:cubicBezTo>
                    <a:pt x="3441859" y="209074"/>
                    <a:pt x="3441859" y="208121"/>
                    <a:pt x="3442811" y="208121"/>
                  </a:cubicBezTo>
                  <a:cubicBezTo>
                    <a:pt x="3444716" y="197644"/>
                    <a:pt x="3445669" y="190976"/>
                    <a:pt x="3445669" y="190976"/>
                  </a:cubicBezTo>
                  <a:cubicBezTo>
                    <a:pt x="3445669" y="190976"/>
                    <a:pt x="3442811" y="196691"/>
                    <a:pt x="3439001" y="205264"/>
                  </a:cubicBezTo>
                  <a:cubicBezTo>
                    <a:pt x="3439001" y="205264"/>
                    <a:pt x="3439001" y="205264"/>
                    <a:pt x="3439001" y="205264"/>
                  </a:cubicBezTo>
                  <a:cubicBezTo>
                    <a:pt x="3439001" y="190976"/>
                    <a:pt x="3439001" y="177641"/>
                    <a:pt x="3438049" y="165259"/>
                  </a:cubicBezTo>
                  <a:cubicBezTo>
                    <a:pt x="3438049" y="153829"/>
                    <a:pt x="3437096" y="144304"/>
                    <a:pt x="3437096" y="135731"/>
                  </a:cubicBezTo>
                  <a:cubicBezTo>
                    <a:pt x="3436144" y="127159"/>
                    <a:pt x="3436144" y="119539"/>
                    <a:pt x="3435191" y="112871"/>
                  </a:cubicBezTo>
                  <a:cubicBezTo>
                    <a:pt x="3434239" y="100489"/>
                    <a:pt x="3433286" y="92869"/>
                    <a:pt x="3433286" y="92869"/>
                  </a:cubicBezTo>
                  <a:cubicBezTo>
                    <a:pt x="3433286" y="92869"/>
                    <a:pt x="3432334" y="100489"/>
                    <a:pt x="3431381" y="112871"/>
                  </a:cubicBezTo>
                  <a:cubicBezTo>
                    <a:pt x="3430429" y="122396"/>
                    <a:pt x="3429476" y="134779"/>
                    <a:pt x="3428524" y="149066"/>
                  </a:cubicBezTo>
                  <a:cubicBezTo>
                    <a:pt x="3428524" y="149066"/>
                    <a:pt x="3428524" y="150019"/>
                    <a:pt x="3428524" y="150019"/>
                  </a:cubicBezTo>
                  <a:cubicBezTo>
                    <a:pt x="3427571" y="143351"/>
                    <a:pt x="3426619" y="137636"/>
                    <a:pt x="3426619" y="131921"/>
                  </a:cubicBezTo>
                  <a:cubicBezTo>
                    <a:pt x="3424714" y="120491"/>
                    <a:pt x="3423761" y="113824"/>
                    <a:pt x="3423761" y="113824"/>
                  </a:cubicBezTo>
                  <a:cubicBezTo>
                    <a:pt x="3423761" y="113824"/>
                    <a:pt x="3422809" y="120491"/>
                    <a:pt x="3422809" y="131921"/>
                  </a:cubicBezTo>
                  <a:cubicBezTo>
                    <a:pt x="3422809" y="142399"/>
                    <a:pt x="3421856" y="157639"/>
                    <a:pt x="3420904" y="174784"/>
                  </a:cubicBezTo>
                  <a:cubicBezTo>
                    <a:pt x="3418046" y="170021"/>
                    <a:pt x="3415189" y="166211"/>
                    <a:pt x="3412331" y="162401"/>
                  </a:cubicBezTo>
                  <a:cubicBezTo>
                    <a:pt x="3405664" y="152876"/>
                    <a:pt x="3400901" y="146209"/>
                    <a:pt x="3398044" y="141446"/>
                  </a:cubicBezTo>
                  <a:cubicBezTo>
                    <a:pt x="3398996" y="135731"/>
                    <a:pt x="3400901" y="129064"/>
                    <a:pt x="3401854" y="123349"/>
                  </a:cubicBezTo>
                  <a:cubicBezTo>
                    <a:pt x="3399949" y="128111"/>
                    <a:pt x="3398044" y="133826"/>
                    <a:pt x="3396139" y="139541"/>
                  </a:cubicBezTo>
                  <a:cubicBezTo>
                    <a:pt x="3393281" y="135731"/>
                    <a:pt x="3391376" y="132874"/>
                    <a:pt x="3391376" y="132874"/>
                  </a:cubicBezTo>
                  <a:cubicBezTo>
                    <a:pt x="3391376" y="132874"/>
                    <a:pt x="3392329" y="134779"/>
                    <a:pt x="3395186" y="139541"/>
                  </a:cubicBezTo>
                  <a:cubicBezTo>
                    <a:pt x="3395186" y="140494"/>
                    <a:pt x="3395186" y="140494"/>
                    <a:pt x="3395186" y="141446"/>
                  </a:cubicBezTo>
                  <a:cubicBezTo>
                    <a:pt x="3391376" y="153829"/>
                    <a:pt x="3386614" y="166211"/>
                    <a:pt x="3382804" y="177641"/>
                  </a:cubicBezTo>
                  <a:cubicBezTo>
                    <a:pt x="3382804" y="175736"/>
                    <a:pt x="3382804" y="174784"/>
                    <a:pt x="3382804" y="172879"/>
                  </a:cubicBezTo>
                  <a:cubicBezTo>
                    <a:pt x="3381851" y="158591"/>
                    <a:pt x="3381851" y="150971"/>
                    <a:pt x="3381851" y="150971"/>
                  </a:cubicBezTo>
                  <a:cubicBezTo>
                    <a:pt x="3381851" y="150971"/>
                    <a:pt x="3380899" y="158591"/>
                    <a:pt x="3378994" y="172879"/>
                  </a:cubicBezTo>
                  <a:cubicBezTo>
                    <a:pt x="3378041" y="179546"/>
                    <a:pt x="3377089" y="188119"/>
                    <a:pt x="3376136" y="197644"/>
                  </a:cubicBezTo>
                  <a:cubicBezTo>
                    <a:pt x="3372326" y="210026"/>
                    <a:pt x="3368516" y="222409"/>
                    <a:pt x="3365659" y="234791"/>
                  </a:cubicBezTo>
                  <a:cubicBezTo>
                    <a:pt x="3363754" y="240506"/>
                    <a:pt x="3361849" y="247174"/>
                    <a:pt x="3358991" y="253841"/>
                  </a:cubicBezTo>
                  <a:cubicBezTo>
                    <a:pt x="3358991" y="254794"/>
                    <a:pt x="3358039" y="256699"/>
                    <a:pt x="3358039" y="257651"/>
                  </a:cubicBezTo>
                  <a:cubicBezTo>
                    <a:pt x="3355181" y="250984"/>
                    <a:pt x="3353276" y="244316"/>
                    <a:pt x="3351371" y="239554"/>
                  </a:cubicBezTo>
                  <a:cubicBezTo>
                    <a:pt x="3351371" y="238601"/>
                    <a:pt x="3351371" y="237649"/>
                    <a:pt x="3351371" y="237649"/>
                  </a:cubicBezTo>
                  <a:cubicBezTo>
                    <a:pt x="3351371" y="237649"/>
                    <a:pt x="3351371" y="237649"/>
                    <a:pt x="3351371" y="238601"/>
                  </a:cubicBezTo>
                  <a:cubicBezTo>
                    <a:pt x="3347561" y="228124"/>
                    <a:pt x="3344704" y="221456"/>
                    <a:pt x="3344704" y="221456"/>
                  </a:cubicBezTo>
                  <a:cubicBezTo>
                    <a:pt x="3344704" y="221456"/>
                    <a:pt x="3346609" y="230981"/>
                    <a:pt x="3349466" y="248126"/>
                  </a:cubicBezTo>
                  <a:cubicBezTo>
                    <a:pt x="3348514" y="252889"/>
                    <a:pt x="3348514" y="258604"/>
                    <a:pt x="3347561" y="265271"/>
                  </a:cubicBezTo>
                  <a:cubicBezTo>
                    <a:pt x="3346609" y="270986"/>
                    <a:pt x="3346609" y="276701"/>
                    <a:pt x="3345656" y="283369"/>
                  </a:cubicBezTo>
                  <a:cubicBezTo>
                    <a:pt x="3344704" y="284321"/>
                    <a:pt x="3344704" y="285274"/>
                    <a:pt x="3343751" y="287179"/>
                  </a:cubicBezTo>
                  <a:cubicBezTo>
                    <a:pt x="3341846" y="283369"/>
                    <a:pt x="3340894" y="278606"/>
                    <a:pt x="3339941" y="274796"/>
                  </a:cubicBezTo>
                  <a:cubicBezTo>
                    <a:pt x="3335179" y="259556"/>
                    <a:pt x="3329464" y="245269"/>
                    <a:pt x="3325654" y="231934"/>
                  </a:cubicBezTo>
                  <a:cubicBezTo>
                    <a:pt x="3326606" y="227171"/>
                    <a:pt x="3327559" y="221456"/>
                    <a:pt x="3328511" y="216694"/>
                  </a:cubicBezTo>
                  <a:cubicBezTo>
                    <a:pt x="3332321" y="199549"/>
                    <a:pt x="3334226" y="184309"/>
                    <a:pt x="3338036" y="170974"/>
                  </a:cubicBezTo>
                  <a:cubicBezTo>
                    <a:pt x="3340894" y="157639"/>
                    <a:pt x="3343751" y="145256"/>
                    <a:pt x="3346609" y="136684"/>
                  </a:cubicBezTo>
                  <a:cubicBezTo>
                    <a:pt x="3352324" y="117634"/>
                    <a:pt x="3355181" y="106204"/>
                    <a:pt x="3355181" y="106204"/>
                  </a:cubicBezTo>
                  <a:cubicBezTo>
                    <a:pt x="3355181" y="106204"/>
                    <a:pt x="3350419" y="116681"/>
                    <a:pt x="3342799" y="134779"/>
                  </a:cubicBezTo>
                  <a:cubicBezTo>
                    <a:pt x="3338989" y="144304"/>
                    <a:pt x="3335179" y="155734"/>
                    <a:pt x="3330416" y="169069"/>
                  </a:cubicBezTo>
                  <a:cubicBezTo>
                    <a:pt x="3325654" y="180499"/>
                    <a:pt x="3322796" y="193834"/>
                    <a:pt x="3318986" y="208121"/>
                  </a:cubicBezTo>
                  <a:cubicBezTo>
                    <a:pt x="3318986" y="206216"/>
                    <a:pt x="3318986" y="205264"/>
                    <a:pt x="3318986" y="203359"/>
                  </a:cubicBezTo>
                  <a:cubicBezTo>
                    <a:pt x="3319939" y="200501"/>
                    <a:pt x="3319939" y="198596"/>
                    <a:pt x="3320891" y="195739"/>
                  </a:cubicBezTo>
                  <a:cubicBezTo>
                    <a:pt x="3323749" y="185261"/>
                    <a:pt x="3325654" y="176689"/>
                    <a:pt x="3327559" y="170021"/>
                  </a:cubicBezTo>
                  <a:cubicBezTo>
                    <a:pt x="3330416" y="155734"/>
                    <a:pt x="3332321" y="147161"/>
                    <a:pt x="3332321" y="147161"/>
                  </a:cubicBezTo>
                  <a:cubicBezTo>
                    <a:pt x="3332321" y="147161"/>
                    <a:pt x="3329464" y="154781"/>
                    <a:pt x="3323749" y="169069"/>
                  </a:cubicBezTo>
                  <a:cubicBezTo>
                    <a:pt x="3323749" y="170021"/>
                    <a:pt x="3322796" y="170974"/>
                    <a:pt x="3322796" y="171926"/>
                  </a:cubicBezTo>
                  <a:cubicBezTo>
                    <a:pt x="3322796" y="170021"/>
                    <a:pt x="3323749" y="167164"/>
                    <a:pt x="3323749" y="165259"/>
                  </a:cubicBezTo>
                  <a:cubicBezTo>
                    <a:pt x="3325654" y="158591"/>
                    <a:pt x="3326606" y="152876"/>
                    <a:pt x="3328511" y="147161"/>
                  </a:cubicBezTo>
                  <a:cubicBezTo>
                    <a:pt x="3331369" y="135731"/>
                    <a:pt x="3334226" y="125254"/>
                    <a:pt x="3336131" y="116681"/>
                  </a:cubicBezTo>
                  <a:cubicBezTo>
                    <a:pt x="3339941" y="99536"/>
                    <a:pt x="3341846" y="90011"/>
                    <a:pt x="3341846" y="90011"/>
                  </a:cubicBezTo>
                  <a:cubicBezTo>
                    <a:pt x="3341846" y="90011"/>
                    <a:pt x="3338036" y="99536"/>
                    <a:pt x="3332321" y="114776"/>
                  </a:cubicBezTo>
                  <a:cubicBezTo>
                    <a:pt x="3329464" y="122396"/>
                    <a:pt x="3325654" y="132874"/>
                    <a:pt x="3321844" y="143351"/>
                  </a:cubicBezTo>
                  <a:cubicBezTo>
                    <a:pt x="3319939" y="149066"/>
                    <a:pt x="3318034" y="154781"/>
                    <a:pt x="3315176" y="161449"/>
                  </a:cubicBezTo>
                  <a:cubicBezTo>
                    <a:pt x="3313271" y="168116"/>
                    <a:pt x="3311366" y="174784"/>
                    <a:pt x="3308509" y="181451"/>
                  </a:cubicBezTo>
                  <a:cubicBezTo>
                    <a:pt x="3308509" y="181451"/>
                    <a:pt x="3308509" y="181451"/>
                    <a:pt x="3308509" y="181451"/>
                  </a:cubicBezTo>
                  <a:cubicBezTo>
                    <a:pt x="3307556" y="179546"/>
                    <a:pt x="3307556" y="178594"/>
                    <a:pt x="3306604" y="176689"/>
                  </a:cubicBezTo>
                  <a:cubicBezTo>
                    <a:pt x="3298031" y="153829"/>
                    <a:pt x="3292316" y="140494"/>
                    <a:pt x="3292316" y="140494"/>
                  </a:cubicBezTo>
                  <a:cubicBezTo>
                    <a:pt x="3292316" y="140494"/>
                    <a:pt x="3297079" y="158591"/>
                    <a:pt x="3305651" y="189071"/>
                  </a:cubicBezTo>
                  <a:cubicBezTo>
                    <a:pt x="3301841" y="201454"/>
                    <a:pt x="3298031" y="213836"/>
                    <a:pt x="3294221" y="227171"/>
                  </a:cubicBezTo>
                  <a:cubicBezTo>
                    <a:pt x="3294221" y="228124"/>
                    <a:pt x="3293269" y="230029"/>
                    <a:pt x="3293269" y="230981"/>
                  </a:cubicBezTo>
                  <a:cubicBezTo>
                    <a:pt x="3293269" y="230029"/>
                    <a:pt x="3292316" y="230029"/>
                    <a:pt x="3292316" y="229076"/>
                  </a:cubicBezTo>
                  <a:cubicBezTo>
                    <a:pt x="3282791" y="209074"/>
                    <a:pt x="3277076" y="197644"/>
                    <a:pt x="3277076" y="197644"/>
                  </a:cubicBezTo>
                  <a:cubicBezTo>
                    <a:pt x="3277076" y="197644"/>
                    <a:pt x="3282791" y="211931"/>
                    <a:pt x="3291364" y="237649"/>
                  </a:cubicBezTo>
                  <a:cubicBezTo>
                    <a:pt x="3289459" y="244316"/>
                    <a:pt x="3287554" y="250984"/>
                    <a:pt x="3285649" y="257651"/>
                  </a:cubicBezTo>
                  <a:cubicBezTo>
                    <a:pt x="3282791" y="253841"/>
                    <a:pt x="3279934" y="249079"/>
                    <a:pt x="3277076" y="246221"/>
                  </a:cubicBezTo>
                  <a:cubicBezTo>
                    <a:pt x="3276124" y="245269"/>
                    <a:pt x="3275171" y="243364"/>
                    <a:pt x="3274219" y="242411"/>
                  </a:cubicBezTo>
                  <a:cubicBezTo>
                    <a:pt x="3276124" y="215741"/>
                    <a:pt x="3277076" y="199549"/>
                    <a:pt x="3277076" y="199549"/>
                  </a:cubicBezTo>
                  <a:cubicBezTo>
                    <a:pt x="3277076" y="199549"/>
                    <a:pt x="3275171" y="206216"/>
                    <a:pt x="3272314" y="217646"/>
                  </a:cubicBezTo>
                  <a:cubicBezTo>
                    <a:pt x="3271361" y="222409"/>
                    <a:pt x="3269456" y="228124"/>
                    <a:pt x="3268504" y="234791"/>
                  </a:cubicBezTo>
                  <a:cubicBezTo>
                    <a:pt x="3265646" y="230029"/>
                    <a:pt x="3261836" y="226219"/>
                    <a:pt x="3258979" y="223361"/>
                  </a:cubicBezTo>
                  <a:cubicBezTo>
                    <a:pt x="3247549" y="210979"/>
                    <a:pt x="3241834" y="203359"/>
                    <a:pt x="3241834" y="203359"/>
                  </a:cubicBezTo>
                  <a:cubicBezTo>
                    <a:pt x="3241834" y="203359"/>
                    <a:pt x="3247549" y="211931"/>
                    <a:pt x="3256121" y="226219"/>
                  </a:cubicBezTo>
                  <a:cubicBezTo>
                    <a:pt x="3259931" y="230981"/>
                    <a:pt x="3262789" y="236696"/>
                    <a:pt x="3266599" y="243364"/>
                  </a:cubicBezTo>
                  <a:cubicBezTo>
                    <a:pt x="3264694" y="250031"/>
                    <a:pt x="3262789" y="256699"/>
                    <a:pt x="3260884" y="265271"/>
                  </a:cubicBezTo>
                  <a:cubicBezTo>
                    <a:pt x="3258979" y="271939"/>
                    <a:pt x="3257074" y="279559"/>
                    <a:pt x="3256121" y="288131"/>
                  </a:cubicBezTo>
                  <a:cubicBezTo>
                    <a:pt x="3256121" y="287179"/>
                    <a:pt x="3256121" y="287179"/>
                    <a:pt x="3256121" y="287179"/>
                  </a:cubicBezTo>
                  <a:cubicBezTo>
                    <a:pt x="3256121" y="287179"/>
                    <a:pt x="3256121" y="288131"/>
                    <a:pt x="3256121" y="289084"/>
                  </a:cubicBezTo>
                  <a:cubicBezTo>
                    <a:pt x="3256121" y="290989"/>
                    <a:pt x="3255169" y="291941"/>
                    <a:pt x="3255169" y="293846"/>
                  </a:cubicBezTo>
                  <a:cubicBezTo>
                    <a:pt x="3254216" y="292894"/>
                    <a:pt x="3254216" y="291941"/>
                    <a:pt x="3253264" y="290036"/>
                  </a:cubicBezTo>
                  <a:cubicBezTo>
                    <a:pt x="3253264" y="284321"/>
                    <a:pt x="3254216" y="280511"/>
                    <a:pt x="3254216" y="280511"/>
                  </a:cubicBezTo>
                  <a:cubicBezTo>
                    <a:pt x="3254216" y="280511"/>
                    <a:pt x="3253264" y="282416"/>
                    <a:pt x="3252311" y="287179"/>
                  </a:cubicBezTo>
                  <a:cubicBezTo>
                    <a:pt x="3248501" y="280511"/>
                    <a:pt x="3246596" y="276701"/>
                    <a:pt x="3246596" y="276701"/>
                  </a:cubicBezTo>
                  <a:cubicBezTo>
                    <a:pt x="3246596" y="276701"/>
                    <a:pt x="3248501" y="281464"/>
                    <a:pt x="3251359" y="290989"/>
                  </a:cubicBezTo>
                  <a:cubicBezTo>
                    <a:pt x="3250406" y="292894"/>
                    <a:pt x="3250406" y="295751"/>
                    <a:pt x="3249454" y="298609"/>
                  </a:cubicBezTo>
                  <a:cubicBezTo>
                    <a:pt x="3248501" y="300514"/>
                    <a:pt x="3248501" y="302419"/>
                    <a:pt x="3247549" y="304324"/>
                  </a:cubicBezTo>
                  <a:cubicBezTo>
                    <a:pt x="3247549" y="302419"/>
                    <a:pt x="3246596" y="301466"/>
                    <a:pt x="3246596" y="301466"/>
                  </a:cubicBezTo>
                  <a:cubicBezTo>
                    <a:pt x="3246596" y="301466"/>
                    <a:pt x="3246596" y="303371"/>
                    <a:pt x="3246596" y="306229"/>
                  </a:cubicBezTo>
                  <a:cubicBezTo>
                    <a:pt x="3245644" y="310039"/>
                    <a:pt x="3244691" y="313849"/>
                    <a:pt x="3243739" y="317659"/>
                  </a:cubicBezTo>
                  <a:cubicBezTo>
                    <a:pt x="3242786" y="312896"/>
                    <a:pt x="3240881" y="308134"/>
                    <a:pt x="3239929" y="304324"/>
                  </a:cubicBezTo>
                  <a:cubicBezTo>
                    <a:pt x="3241834" y="299561"/>
                    <a:pt x="3242786" y="296704"/>
                    <a:pt x="3242786" y="296704"/>
                  </a:cubicBezTo>
                  <a:cubicBezTo>
                    <a:pt x="3242786" y="296704"/>
                    <a:pt x="3241834" y="298609"/>
                    <a:pt x="3238976" y="302419"/>
                  </a:cubicBezTo>
                  <a:cubicBezTo>
                    <a:pt x="3238024" y="299561"/>
                    <a:pt x="3237071" y="296704"/>
                    <a:pt x="3236119" y="293846"/>
                  </a:cubicBezTo>
                  <a:cubicBezTo>
                    <a:pt x="3236119" y="292894"/>
                    <a:pt x="3235166" y="291941"/>
                    <a:pt x="3235166" y="290036"/>
                  </a:cubicBezTo>
                  <a:cubicBezTo>
                    <a:pt x="3238024" y="284321"/>
                    <a:pt x="3239929" y="278606"/>
                    <a:pt x="3241834" y="273844"/>
                  </a:cubicBezTo>
                  <a:cubicBezTo>
                    <a:pt x="3244691" y="267176"/>
                    <a:pt x="3247549" y="261461"/>
                    <a:pt x="3249454" y="256699"/>
                  </a:cubicBezTo>
                  <a:cubicBezTo>
                    <a:pt x="3254216" y="247174"/>
                    <a:pt x="3256121" y="242411"/>
                    <a:pt x="3256121" y="242411"/>
                  </a:cubicBezTo>
                  <a:cubicBezTo>
                    <a:pt x="3256121" y="242411"/>
                    <a:pt x="3252311" y="247174"/>
                    <a:pt x="3245644" y="254794"/>
                  </a:cubicBezTo>
                  <a:cubicBezTo>
                    <a:pt x="3242786" y="258604"/>
                    <a:pt x="3238976" y="263366"/>
                    <a:pt x="3235166" y="270034"/>
                  </a:cubicBezTo>
                  <a:cubicBezTo>
                    <a:pt x="3233261" y="271939"/>
                    <a:pt x="3232309" y="274796"/>
                    <a:pt x="3230404" y="276701"/>
                  </a:cubicBezTo>
                  <a:cubicBezTo>
                    <a:pt x="3230404" y="275749"/>
                    <a:pt x="3229451" y="273844"/>
                    <a:pt x="3229451" y="272891"/>
                  </a:cubicBezTo>
                  <a:cubicBezTo>
                    <a:pt x="3227546" y="266224"/>
                    <a:pt x="3224689" y="260509"/>
                    <a:pt x="3222784" y="253841"/>
                  </a:cubicBezTo>
                  <a:cubicBezTo>
                    <a:pt x="3220879" y="250031"/>
                    <a:pt x="3219926" y="245269"/>
                    <a:pt x="3218021" y="241459"/>
                  </a:cubicBezTo>
                  <a:cubicBezTo>
                    <a:pt x="3218021" y="239554"/>
                    <a:pt x="3218021" y="238601"/>
                    <a:pt x="3218021" y="236696"/>
                  </a:cubicBezTo>
                  <a:cubicBezTo>
                    <a:pt x="3219926" y="226219"/>
                    <a:pt x="3221831" y="215741"/>
                    <a:pt x="3222784" y="206216"/>
                  </a:cubicBezTo>
                  <a:cubicBezTo>
                    <a:pt x="3225641" y="191929"/>
                    <a:pt x="3227546" y="178594"/>
                    <a:pt x="3229451" y="166211"/>
                  </a:cubicBezTo>
                  <a:cubicBezTo>
                    <a:pt x="3231356" y="154781"/>
                    <a:pt x="3233261" y="144304"/>
                    <a:pt x="3235166" y="135731"/>
                  </a:cubicBezTo>
                  <a:cubicBezTo>
                    <a:pt x="3238024" y="118586"/>
                    <a:pt x="3239929" y="109061"/>
                    <a:pt x="3239929" y="109061"/>
                  </a:cubicBezTo>
                  <a:cubicBezTo>
                    <a:pt x="3239929" y="109061"/>
                    <a:pt x="3237071" y="118586"/>
                    <a:pt x="3231356" y="134779"/>
                  </a:cubicBezTo>
                  <a:cubicBezTo>
                    <a:pt x="3226594" y="150971"/>
                    <a:pt x="3218974" y="175736"/>
                    <a:pt x="3212306" y="204311"/>
                  </a:cubicBezTo>
                  <a:cubicBezTo>
                    <a:pt x="3211354" y="208121"/>
                    <a:pt x="3210401" y="211931"/>
                    <a:pt x="3209449" y="215741"/>
                  </a:cubicBezTo>
                  <a:cubicBezTo>
                    <a:pt x="3207544" y="210979"/>
                    <a:pt x="3206591" y="207169"/>
                    <a:pt x="3204686" y="204311"/>
                  </a:cubicBezTo>
                  <a:cubicBezTo>
                    <a:pt x="3204686" y="186214"/>
                    <a:pt x="3203734" y="175736"/>
                    <a:pt x="3203734" y="175736"/>
                  </a:cubicBezTo>
                  <a:cubicBezTo>
                    <a:pt x="3203734" y="175736"/>
                    <a:pt x="3202781" y="187166"/>
                    <a:pt x="3200876" y="206216"/>
                  </a:cubicBezTo>
                  <a:cubicBezTo>
                    <a:pt x="3199924" y="215741"/>
                    <a:pt x="3198019" y="227171"/>
                    <a:pt x="3196114" y="240506"/>
                  </a:cubicBezTo>
                  <a:cubicBezTo>
                    <a:pt x="3196114" y="241459"/>
                    <a:pt x="3196114" y="242411"/>
                    <a:pt x="3195161" y="243364"/>
                  </a:cubicBezTo>
                  <a:cubicBezTo>
                    <a:pt x="3195161" y="234791"/>
                    <a:pt x="3196114" y="226219"/>
                    <a:pt x="3196114" y="217646"/>
                  </a:cubicBezTo>
                  <a:cubicBezTo>
                    <a:pt x="3197066" y="204311"/>
                    <a:pt x="3197066" y="191929"/>
                    <a:pt x="3198019" y="180499"/>
                  </a:cubicBezTo>
                  <a:cubicBezTo>
                    <a:pt x="3198971" y="169069"/>
                    <a:pt x="3198971" y="159544"/>
                    <a:pt x="3199924" y="151924"/>
                  </a:cubicBezTo>
                  <a:cubicBezTo>
                    <a:pt x="3200876" y="135731"/>
                    <a:pt x="3200876" y="127159"/>
                    <a:pt x="3200876" y="127159"/>
                  </a:cubicBezTo>
                  <a:cubicBezTo>
                    <a:pt x="3200876" y="127159"/>
                    <a:pt x="3198971" y="135731"/>
                    <a:pt x="3195161" y="151924"/>
                  </a:cubicBezTo>
                  <a:cubicBezTo>
                    <a:pt x="3192304" y="168116"/>
                    <a:pt x="3187541" y="190976"/>
                    <a:pt x="3184684" y="217646"/>
                  </a:cubicBezTo>
                  <a:cubicBezTo>
                    <a:pt x="3183731" y="223361"/>
                    <a:pt x="3182779" y="230029"/>
                    <a:pt x="3181826" y="235744"/>
                  </a:cubicBezTo>
                  <a:cubicBezTo>
                    <a:pt x="3180874" y="233839"/>
                    <a:pt x="3179921" y="232886"/>
                    <a:pt x="3179921" y="231934"/>
                  </a:cubicBezTo>
                  <a:cubicBezTo>
                    <a:pt x="3179921" y="227171"/>
                    <a:pt x="3179921" y="224314"/>
                    <a:pt x="3179921" y="224314"/>
                  </a:cubicBezTo>
                  <a:cubicBezTo>
                    <a:pt x="3179921" y="224314"/>
                    <a:pt x="3179921" y="226219"/>
                    <a:pt x="3178969" y="230029"/>
                  </a:cubicBezTo>
                  <a:cubicBezTo>
                    <a:pt x="3178016" y="228124"/>
                    <a:pt x="3177064" y="227171"/>
                    <a:pt x="3177064" y="227171"/>
                  </a:cubicBezTo>
                  <a:cubicBezTo>
                    <a:pt x="3177064" y="227171"/>
                    <a:pt x="3178016" y="229076"/>
                    <a:pt x="3178016" y="231934"/>
                  </a:cubicBezTo>
                  <a:cubicBezTo>
                    <a:pt x="3177064" y="236696"/>
                    <a:pt x="3176111" y="243364"/>
                    <a:pt x="3174206" y="250984"/>
                  </a:cubicBezTo>
                  <a:cubicBezTo>
                    <a:pt x="3173254" y="258604"/>
                    <a:pt x="3171349" y="267176"/>
                    <a:pt x="3170396" y="277654"/>
                  </a:cubicBezTo>
                  <a:cubicBezTo>
                    <a:pt x="3170396" y="276701"/>
                    <a:pt x="3170396" y="276701"/>
                    <a:pt x="3169444" y="275749"/>
                  </a:cubicBezTo>
                  <a:cubicBezTo>
                    <a:pt x="3168491" y="254794"/>
                    <a:pt x="3165634" y="234791"/>
                    <a:pt x="3163729" y="215741"/>
                  </a:cubicBezTo>
                  <a:cubicBezTo>
                    <a:pt x="3163729" y="212884"/>
                    <a:pt x="3162776" y="210026"/>
                    <a:pt x="3162776" y="207169"/>
                  </a:cubicBezTo>
                  <a:cubicBezTo>
                    <a:pt x="3162776" y="206216"/>
                    <a:pt x="3163729" y="204311"/>
                    <a:pt x="3163729" y="203359"/>
                  </a:cubicBezTo>
                  <a:cubicBezTo>
                    <a:pt x="3169444" y="174784"/>
                    <a:pt x="3172301" y="150019"/>
                    <a:pt x="3174206" y="132874"/>
                  </a:cubicBezTo>
                  <a:cubicBezTo>
                    <a:pt x="3176111" y="115729"/>
                    <a:pt x="3178016" y="106204"/>
                    <a:pt x="3178016" y="106204"/>
                  </a:cubicBezTo>
                  <a:cubicBezTo>
                    <a:pt x="3178016" y="106204"/>
                    <a:pt x="3175159" y="115729"/>
                    <a:pt x="3170396" y="131921"/>
                  </a:cubicBezTo>
                  <a:cubicBezTo>
                    <a:pt x="3167539" y="143351"/>
                    <a:pt x="3162776" y="159544"/>
                    <a:pt x="3158014" y="177641"/>
                  </a:cubicBezTo>
                  <a:cubicBezTo>
                    <a:pt x="3157061" y="171926"/>
                    <a:pt x="3156109" y="165259"/>
                    <a:pt x="3154204" y="159544"/>
                  </a:cubicBezTo>
                  <a:cubicBezTo>
                    <a:pt x="3152299" y="150971"/>
                    <a:pt x="3150394" y="142399"/>
                    <a:pt x="3149441" y="134779"/>
                  </a:cubicBezTo>
                  <a:cubicBezTo>
                    <a:pt x="3147536" y="127159"/>
                    <a:pt x="3145631" y="119539"/>
                    <a:pt x="3143726" y="112871"/>
                  </a:cubicBezTo>
                  <a:cubicBezTo>
                    <a:pt x="3139916" y="99536"/>
                    <a:pt x="3137059" y="87154"/>
                    <a:pt x="3133249" y="77629"/>
                  </a:cubicBezTo>
                  <a:cubicBezTo>
                    <a:pt x="3126581" y="58579"/>
                    <a:pt x="3122771" y="47149"/>
                    <a:pt x="3122771" y="47149"/>
                  </a:cubicBezTo>
                  <a:cubicBezTo>
                    <a:pt x="3122771" y="47149"/>
                    <a:pt x="3125629" y="58579"/>
                    <a:pt x="3129439" y="78581"/>
                  </a:cubicBezTo>
                  <a:cubicBezTo>
                    <a:pt x="3132296" y="88106"/>
                    <a:pt x="3134201" y="100489"/>
                    <a:pt x="3136106" y="114776"/>
                  </a:cubicBezTo>
                  <a:cubicBezTo>
                    <a:pt x="3137059" y="121444"/>
                    <a:pt x="3138964" y="129064"/>
                    <a:pt x="3139916" y="136684"/>
                  </a:cubicBezTo>
                  <a:cubicBezTo>
                    <a:pt x="3140869" y="144304"/>
                    <a:pt x="3141821" y="152876"/>
                    <a:pt x="3142774" y="161449"/>
                  </a:cubicBezTo>
                  <a:cubicBezTo>
                    <a:pt x="3145631" y="177641"/>
                    <a:pt x="3146584" y="195739"/>
                    <a:pt x="3147536" y="213836"/>
                  </a:cubicBezTo>
                  <a:cubicBezTo>
                    <a:pt x="3147536" y="214789"/>
                    <a:pt x="3146584" y="215741"/>
                    <a:pt x="3146584" y="217646"/>
                  </a:cubicBezTo>
                  <a:cubicBezTo>
                    <a:pt x="3145631" y="214789"/>
                    <a:pt x="3144679" y="211931"/>
                    <a:pt x="3143726" y="210026"/>
                  </a:cubicBezTo>
                  <a:cubicBezTo>
                    <a:pt x="3141821" y="205264"/>
                    <a:pt x="3139916" y="201454"/>
                    <a:pt x="3138964" y="196691"/>
                  </a:cubicBezTo>
                  <a:cubicBezTo>
                    <a:pt x="3137059" y="190024"/>
                    <a:pt x="3136106" y="184309"/>
                    <a:pt x="3134201" y="179546"/>
                  </a:cubicBezTo>
                  <a:cubicBezTo>
                    <a:pt x="3129439" y="164306"/>
                    <a:pt x="3126581" y="155734"/>
                    <a:pt x="3126581" y="155734"/>
                  </a:cubicBezTo>
                  <a:cubicBezTo>
                    <a:pt x="3126581" y="155734"/>
                    <a:pt x="3127534" y="161449"/>
                    <a:pt x="3129439" y="172879"/>
                  </a:cubicBezTo>
                  <a:cubicBezTo>
                    <a:pt x="3125629" y="164306"/>
                    <a:pt x="3121819" y="155734"/>
                    <a:pt x="3118961" y="150019"/>
                  </a:cubicBezTo>
                  <a:cubicBezTo>
                    <a:pt x="3116104" y="144304"/>
                    <a:pt x="3114199" y="139541"/>
                    <a:pt x="3112294" y="136684"/>
                  </a:cubicBezTo>
                  <a:cubicBezTo>
                    <a:pt x="3108484" y="128111"/>
                    <a:pt x="3105626" y="120491"/>
                    <a:pt x="3102769" y="113824"/>
                  </a:cubicBezTo>
                  <a:cubicBezTo>
                    <a:pt x="3095149" y="96679"/>
                    <a:pt x="3090386" y="87154"/>
                    <a:pt x="3090386" y="87154"/>
                  </a:cubicBezTo>
                  <a:cubicBezTo>
                    <a:pt x="3090386" y="87154"/>
                    <a:pt x="3093244" y="97631"/>
                    <a:pt x="3099911" y="114776"/>
                  </a:cubicBezTo>
                  <a:cubicBezTo>
                    <a:pt x="3102769" y="123349"/>
                    <a:pt x="3105626" y="133826"/>
                    <a:pt x="3109436" y="146209"/>
                  </a:cubicBezTo>
                  <a:cubicBezTo>
                    <a:pt x="3111341" y="152876"/>
                    <a:pt x="3113246" y="159544"/>
                    <a:pt x="3115151" y="167164"/>
                  </a:cubicBezTo>
                  <a:cubicBezTo>
                    <a:pt x="3111341" y="159544"/>
                    <a:pt x="3109436" y="155734"/>
                    <a:pt x="3109436" y="155734"/>
                  </a:cubicBezTo>
                  <a:cubicBezTo>
                    <a:pt x="3109436" y="155734"/>
                    <a:pt x="3111341" y="163354"/>
                    <a:pt x="3116104" y="176689"/>
                  </a:cubicBezTo>
                  <a:cubicBezTo>
                    <a:pt x="3118009" y="181451"/>
                    <a:pt x="3119914" y="188119"/>
                    <a:pt x="3121819" y="194786"/>
                  </a:cubicBezTo>
                  <a:cubicBezTo>
                    <a:pt x="3122771" y="200501"/>
                    <a:pt x="3124676" y="207169"/>
                    <a:pt x="3125629" y="213836"/>
                  </a:cubicBezTo>
                  <a:cubicBezTo>
                    <a:pt x="3124676" y="214789"/>
                    <a:pt x="3124676" y="215741"/>
                    <a:pt x="3123724" y="215741"/>
                  </a:cubicBezTo>
                  <a:cubicBezTo>
                    <a:pt x="3123724" y="212884"/>
                    <a:pt x="3122771" y="210979"/>
                    <a:pt x="3122771" y="210979"/>
                  </a:cubicBezTo>
                  <a:cubicBezTo>
                    <a:pt x="3122771" y="210979"/>
                    <a:pt x="3122771" y="212884"/>
                    <a:pt x="3122771" y="216694"/>
                  </a:cubicBezTo>
                  <a:cubicBezTo>
                    <a:pt x="3119914" y="219551"/>
                    <a:pt x="3117056" y="223361"/>
                    <a:pt x="3113246" y="228124"/>
                  </a:cubicBezTo>
                  <a:cubicBezTo>
                    <a:pt x="3113246" y="228124"/>
                    <a:pt x="3113246" y="228124"/>
                    <a:pt x="3113246" y="228124"/>
                  </a:cubicBezTo>
                  <a:cubicBezTo>
                    <a:pt x="3112294" y="213836"/>
                    <a:pt x="3111341" y="201454"/>
                    <a:pt x="3110389" y="191929"/>
                  </a:cubicBezTo>
                  <a:cubicBezTo>
                    <a:pt x="3109436" y="178594"/>
                    <a:pt x="3108484" y="171926"/>
                    <a:pt x="3108484" y="171926"/>
                  </a:cubicBezTo>
                  <a:cubicBezTo>
                    <a:pt x="3108484" y="171926"/>
                    <a:pt x="3107531" y="179546"/>
                    <a:pt x="3106579" y="192881"/>
                  </a:cubicBezTo>
                  <a:cubicBezTo>
                    <a:pt x="3105626" y="202406"/>
                    <a:pt x="3105626" y="213836"/>
                    <a:pt x="3104674" y="228124"/>
                  </a:cubicBezTo>
                  <a:cubicBezTo>
                    <a:pt x="3104674" y="228124"/>
                    <a:pt x="3104674" y="227171"/>
                    <a:pt x="3104674" y="227171"/>
                  </a:cubicBezTo>
                  <a:cubicBezTo>
                    <a:pt x="3099911" y="214789"/>
                    <a:pt x="3097054" y="208121"/>
                    <a:pt x="3097054" y="208121"/>
                  </a:cubicBezTo>
                  <a:cubicBezTo>
                    <a:pt x="3097054" y="208121"/>
                    <a:pt x="3098006" y="215741"/>
                    <a:pt x="3100864" y="228124"/>
                  </a:cubicBezTo>
                  <a:cubicBezTo>
                    <a:pt x="3101816" y="232886"/>
                    <a:pt x="3102769" y="238601"/>
                    <a:pt x="3103721" y="244316"/>
                  </a:cubicBezTo>
                  <a:cubicBezTo>
                    <a:pt x="3100864" y="248126"/>
                    <a:pt x="3098959" y="251936"/>
                    <a:pt x="3096101" y="255746"/>
                  </a:cubicBezTo>
                  <a:cubicBezTo>
                    <a:pt x="3093244" y="260509"/>
                    <a:pt x="3090386" y="264319"/>
                    <a:pt x="3087529" y="270034"/>
                  </a:cubicBezTo>
                  <a:cubicBezTo>
                    <a:pt x="3085624" y="263366"/>
                    <a:pt x="3083719" y="257651"/>
                    <a:pt x="3082766" y="252889"/>
                  </a:cubicBezTo>
                  <a:cubicBezTo>
                    <a:pt x="3078956" y="241459"/>
                    <a:pt x="3077051" y="233839"/>
                    <a:pt x="3077051" y="233839"/>
                  </a:cubicBezTo>
                  <a:cubicBezTo>
                    <a:pt x="3077051" y="233839"/>
                    <a:pt x="3078004" y="240506"/>
                    <a:pt x="3078956" y="252889"/>
                  </a:cubicBezTo>
                  <a:cubicBezTo>
                    <a:pt x="3078956" y="256699"/>
                    <a:pt x="3079909" y="260509"/>
                    <a:pt x="3079909" y="264319"/>
                  </a:cubicBezTo>
                  <a:cubicBezTo>
                    <a:pt x="3078956" y="261461"/>
                    <a:pt x="3078004" y="258604"/>
                    <a:pt x="3077051" y="255746"/>
                  </a:cubicBezTo>
                  <a:cubicBezTo>
                    <a:pt x="3076099" y="252889"/>
                    <a:pt x="3075146" y="250984"/>
                    <a:pt x="3074194" y="248126"/>
                  </a:cubicBezTo>
                  <a:cubicBezTo>
                    <a:pt x="3074194" y="246221"/>
                    <a:pt x="3074194" y="244316"/>
                    <a:pt x="3074194" y="242411"/>
                  </a:cubicBezTo>
                  <a:cubicBezTo>
                    <a:pt x="3074194" y="237649"/>
                    <a:pt x="3075146" y="232886"/>
                    <a:pt x="3075146" y="229076"/>
                  </a:cubicBezTo>
                  <a:cubicBezTo>
                    <a:pt x="3076099" y="226219"/>
                    <a:pt x="3077051" y="223361"/>
                    <a:pt x="3077051" y="220504"/>
                  </a:cubicBezTo>
                  <a:cubicBezTo>
                    <a:pt x="3080861" y="208121"/>
                    <a:pt x="3082766" y="197644"/>
                    <a:pt x="3086576" y="189071"/>
                  </a:cubicBezTo>
                  <a:cubicBezTo>
                    <a:pt x="3092291" y="171926"/>
                    <a:pt x="3096101" y="161449"/>
                    <a:pt x="3096101" y="161449"/>
                  </a:cubicBezTo>
                  <a:cubicBezTo>
                    <a:pt x="3096101" y="161449"/>
                    <a:pt x="3091339" y="170974"/>
                    <a:pt x="3083719" y="188119"/>
                  </a:cubicBezTo>
                  <a:cubicBezTo>
                    <a:pt x="3079909" y="196691"/>
                    <a:pt x="3076099" y="207169"/>
                    <a:pt x="3071336" y="218599"/>
                  </a:cubicBezTo>
                  <a:cubicBezTo>
                    <a:pt x="3070384" y="220504"/>
                    <a:pt x="3069431" y="222409"/>
                    <a:pt x="3068479" y="224314"/>
                  </a:cubicBezTo>
                  <a:cubicBezTo>
                    <a:pt x="3068479" y="221456"/>
                    <a:pt x="3068479" y="218599"/>
                    <a:pt x="3068479" y="216694"/>
                  </a:cubicBezTo>
                  <a:cubicBezTo>
                    <a:pt x="3068479" y="213836"/>
                    <a:pt x="3069431" y="211931"/>
                    <a:pt x="3069431" y="209074"/>
                  </a:cubicBezTo>
                  <a:cubicBezTo>
                    <a:pt x="3070384" y="198596"/>
                    <a:pt x="3071336" y="189071"/>
                    <a:pt x="3072289" y="181451"/>
                  </a:cubicBezTo>
                  <a:cubicBezTo>
                    <a:pt x="3073241" y="166211"/>
                    <a:pt x="3073241" y="157639"/>
                    <a:pt x="3073241" y="157639"/>
                  </a:cubicBezTo>
                  <a:cubicBezTo>
                    <a:pt x="3073241" y="157639"/>
                    <a:pt x="3071336" y="166211"/>
                    <a:pt x="3067526" y="180499"/>
                  </a:cubicBezTo>
                  <a:cubicBezTo>
                    <a:pt x="3067526" y="181451"/>
                    <a:pt x="3067526" y="182404"/>
                    <a:pt x="3066574" y="183356"/>
                  </a:cubicBezTo>
                  <a:cubicBezTo>
                    <a:pt x="3065621" y="169069"/>
                    <a:pt x="3065621" y="157639"/>
                    <a:pt x="3064669" y="148114"/>
                  </a:cubicBezTo>
                  <a:cubicBezTo>
                    <a:pt x="3064669" y="146209"/>
                    <a:pt x="3064669" y="145256"/>
                    <a:pt x="3064669" y="145256"/>
                  </a:cubicBezTo>
                  <a:cubicBezTo>
                    <a:pt x="3064669" y="145256"/>
                    <a:pt x="3064669" y="145256"/>
                    <a:pt x="3064669" y="146209"/>
                  </a:cubicBezTo>
                  <a:cubicBezTo>
                    <a:pt x="3063716" y="136684"/>
                    <a:pt x="3063716" y="131921"/>
                    <a:pt x="3063716" y="131921"/>
                  </a:cubicBezTo>
                  <a:cubicBezTo>
                    <a:pt x="3063716" y="131921"/>
                    <a:pt x="3061811" y="148114"/>
                    <a:pt x="3058954" y="174784"/>
                  </a:cubicBezTo>
                  <a:cubicBezTo>
                    <a:pt x="3058001" y="179546"/>
                    <a:pt x="3057049" y="185261"/>
                    <a:pt x="3056096" y="190976"/>
                  </a:cubicBezTo>
                  <a:cubicBezTo>
                    <a:pt x="3055144" y="193834"/>
                    <a:pt x="3055144" y="197644"/>
                    <a:pt x="3054191" y="201454"/>
                  </a:cubicBezTo>
                  <a:cubicBezTo>
                    <a:pt x="3052286" y="196691"/>
                    <a:pt x="3050381" y="192881"/>
                    <a:pt x="3049429" y="189071"/>
                  </a:cubicBezTo>
                  <a:cubicBezTo>
                    <a:pt x="3049429" y="189071"/>
                    <a:pt x="3049429" y="189071"/>
                    <a:pt x="3049429" y="188119"/>
                  </a:cubicBezTo>
                  <a:cubicBezTo>
                    <a:pt x="3052286" y="174784"/>
                    <a:pt x="3053239" y="162401"/>
                    <a:pt x="3056096" y="151924"/>
                  </a:cubicBezTo>
                  <a:cubicBezTo>
                    <a:pt x="3060859" y="131921"/>
                    <a:pt x="3062764" y="120491"/>
                    <a:pt x="3062764" y="120491"/>
                  </a:cubicBezTo>
                  <a:cubicBezTo>
                    <a:pt x="3062764" y="120491"/>
                    <a:pt x="3058954" y="130969"/>
                    <a:pt x="3052286" y="150971"/>
                  </a:cubicBezTo>
                  <a:cubicBezTo>
                    <a:pt x="3048476" y="160496"/>
                    <a:pt x="3045619" y="172879"/>
                    <a:pt x="3041809" y="186214"/>
                  </a:cubicBezTo>
                  <a:cubicBezTo>
                    <a:pt x="3039904" y="192881"/>
                    <a:pt x="3037999" y="200501"/>
                    <a:pt x="3036094" y="208121"/>
                  </a:cubicBezTo>
                  <a:cubicBezTo>
                    <a:pt x="3035141" y="210979"/>
                    <a:pt x="3035141" y="213836"/>
                    <a:pt x="3034189" y="215741"/>
                  </a:cubicBezTo>
                  <a:cubicBezTo>
                    <a:pt x="3033236" y="211931"/>
                    <a:pt x="3032284" y="209074"/>
                    <a:pt x="3032284" y="205264"/>
                  </a:cubicBezTo>
                  <a:cubicBezTo>
                    <a:pt x="3038951" y="181451"/>
                    <a:pt x="3044666" y="162401"/>
                    <a:pt x="3048476" y="148114"/>
                  </a:cubicBezTo>
                  <a:cubicBezTo>
                    <a:pt x="3053239" y="131921"/>
                    <a:pt x="3057049" y="123349"/>
                    <a:pt x="3057049" y="123349"/>
                  </a:cubicBezTo>
                  <a:cubicBezTo>
                    <a:pt x="3057049" y="123349"/>
                    <a:pt x="3056096" y="125254"/>
                    <a:pt x="3054191" y="129064"/>
                  </a:cubicBezTo>
                  <a:cubicBezTo>
                    <a:pt x="3052286" y="132874"/>
                    <a:pt x="3049429" y="138589"/>
                    <a:pt x="3045619" y="146209"/>
                  </a:cubicBezTo>
                  <a:cubicBezTo>
                    <a:pt x="3040856" y="155734"/>
                    <a:pt x="3035141" y="169069"/>
                    <a:pt x="3029426" y="184309"/>
                  </a:cubicBezTo>
                  <a:cubicBezTo>
                    <a:pt x="3029426" y="177641"/>
                    <a:pt x="3028474" y="171926"/>
                    <a:pt x="3029426" y="167164"/>
                  </a:cubicBezTo>
                  <a:cubicBezTo>
                    <a:pt x="3030379" y="150019"/>
                    <a:pt x="3030379" y="140494"/>
                    <a:pt x="3030379" y="140494"/>
                  </a:cubicBezTo>
                  <a:cubicBezTo>
                    <a:pt x="3030379" y="140494"/>
                    <a:pt x="3028474" y="150019"/>
                    <a:pt x="3025616" y="166211"/>
                  </a:cubicBezTo>
                  <a:cubicBezTo>
                    <a:pt x="3023711" y="174784"/>
                    <a:pt x="3023711" y="184309"/>
                    <a:pt x="3022759" y="196691"/>
                  </a:cubicBezTo>
                  <a:cubicBezTo>
                    <a:pt x="3022759" y="198596"/>
                    <a:pt x="3022759" y="200501"/>
                    <a:pt x="3022759" y="202406"/>
                  </a:cubicBezTo>
                  <a:cubicBezTo>
                    <a:pt x="3021806" y="205264"/>
                    <a:pt x="3020854" y="208121"/>
                    <a:pt x="3019901" y="210979"/>
                  </a:cubicBezTo>
                  <a:cubicBezTo>
                    <a:pt x="3017044" y="218599"/>
                    <a:pt x="3014186" y="226219"/>
                    <a:pt x="3011329" y="234791"/>
                  </a:cubicBezTo>
                  <a:cubicBezTo>
                    <a:pt x="3009424" y="230981"/>
                    <a:pt x="3008471" y="228124"/>
                    <a:pt x="3007519" y="226219"/>
                  </a:cubicBezTo>
                  <a:cubicBezTo>
                    <a:pt x="3009424" y="219551"/>
                    <a:pt x="3011329" y="215741"/>
                    <a:pt x="3011329" y="215741"/>
                  </a:cubicBezTo>
                  <a:cubicBezTo>
                    <a:pt x="3011329" y="215741"/>
                    <a:pt x="3009424" y="218599"/>
                    <a:pt x="3006566" y="222409"/>
                  </a:cubicBezTo>
                  <a:cubicBezTo>
                    <a:pt x="3004661" y="215741"/>
                    <a:pt x="3003709" y="209074"/>
                    <a:pt x="3001804" y="202406"/>
                  </a:cubicBezTo>
                  <a:cubicBezTo>
                    <a:pt x="3001804" y="200501"/>
                    <a:pt x="3000851" y="199549"/>
                    <a:pt x="3000851" y="197644"/>
                  </a:cubicBezTo>
                  <a:cubicBezTo>
                    <a:pt x="3001804" y="194786"/>
                    <a:pt x="3002756" y="191929"/>
                    <a:pt x="3003709" y="189071"/>
                  </a:cubicBezTo>
                  <a:cubicBezTo>
                    <a:pt x="3006566" y="179546"/>
                    <a:pt x="3008471" y="170974"/>
                    <a:pt x="3011329" y="164306"/>
                  </a:cubicBezTo>
                  <a:cubicBezTo>
                    <a:pt x="3016091" y="150971"/>
                    <a:pt x="3018949" y="142399"/>
                    <a:pt x="3018949" y="142399"/>
                  </a:cubicBezTo>
                  <a:cubicBezTo>
                    <a:pt x="3018949" y="142399"/>
                    <a:pt x="3015139" y="150019"/>
                    <a:pt x="3007519" y="162401"/>
                  </a:cubicBezTo>
                  <a:cubicBezTo>
                    <a:pt x="3004661" y="168116"/>
                    <a:pt x="3001804" y="174784"/>
                    <a:pt x="2997994" y="182404"/>
                  </a:cubicBezTo>
                  <a:cubicBezTo>
                    <a:pt x="2997041" y="177641"/>
                    <a:pt x="2996089" y="172879"/>
                    <a:pt x="2995136" y="169069"/>
                  </a:cubicBezTo>
                  <a:cubicBezTo>
                    <a:pt x="3002756" y="140494"/>
                    <a:pt x="3009424" y="117634"/>
                    <a:pt x="3014186" y="100489"/>
                  </a:cubicBezTo>
                  <a:cubicBezTo>
                    <a:pt x="3017044" y="90011"/>
                    <a:pt x="3019901" y="82391"/>
                    <a:pt x="3021806" y="76676"/>
                  </a:cubicBezTo>
                  <a:cubicBezTo>
                    <a:pt x="3023711" y="70961"/>
                    <a:pt x="3024664" y="68104"/>
                    <a:pt x="3024664" y="68104"/>
                  </a:cubicBezTo>
                  <a:cubicBezTo>
                    <a:pt x="3024664" y="68104"/>
                    <a:pt x="3023711" y="70961"/>
                    <a:pt x="3020854" y="75724"/>
                  </a:cubicBezTo>
                  <a:cubicBezTo>
                    <a:pt x="3017996" y="80486"/>
                    <a:pt x="3015139" y="88106"/>
                    <a:pt x="3010376" y="98584"/>
                  </a:cubicBezTo>
                  <a:cubicBezTo>
                    <a:pt x="3006566" y="108109"/>
                    <a:pt x="3001804" y="120491"/>
                    <a:pt x="2996089" y="134779"/>
                  </a:cubicBezTo>
                  <a:cubicBezTo>
                    <a:pt x="2994184" y="139541"/>
                    <a:pt x="2993231" y="143351"/>
                    <a:pt x="2991326" y="148114"/>
                  </a:cubicBezTo>
                  <a:cubicBezTo>
                    <a:pt x="2989421" y="138589"/>
                    <a:pt x="2988469" y="130016"/>
                    <a:pt x="2987516" y="122396"/>
                  </a:cubicBezTo>
                  <a:cubicBezTo>
                    <a:pt x="2985611" y="103346"/>
                    <a:pt x="2984659" y="91916"/>
                    <a:pt x="2984659" y="91916"/>
                  </a:cubicBezTo>
                  <a:cubicBezTo>
                    <a:pt x="2984659" y="91916"/>
                    <a:pt x="2984659" y="103346"/>
                    <a:pt x="2983706" y="122396"/>
                  </a:cubicBezTo>
                  <a:cubicBezTo>
                    <a:pt x="2983706" y="131921"/>
                    <a:pt x="2984659" y="144304"/>
                    <a:pt x="2985611" y="157639"/>
                  </a:cubicBezTo>
                  <a:cubicBezTo>
                    <a:pt x="2985611" y="159544"/>
                    <a:pt x="2985611" y="161449"/>
                    <a:pt x="2985611" y="163354"/>
                  </a:cubicBezTo>
                  <a:cubicBezTo>
                    <a:pt x="2983706" y="169069"/>
                    <a:pt x="2981801" y="175736"/>
                    <a:pt x="2978944" y="182404"/>
                  </a:cubicBezTo>
                  <a:cubicBezTo>
                    <a:pt x="2973229" y="199549"/>
                    <a:pt x="2967514" y="218599"/>
                    <a:pt x="2960846" y="238601"/>
                  </a:cubicBezTo>
                  <a:cubicBezTo>
                    <a:pt x="2959894" y="236696"/>
                    <a:pt x="2959894" y="234791"/>
                    <a:pt x="2959894" y="234791"/>
                  </a:cubicBezTo>
                  <a:cubicBezTo>
                    <a:pt x="2959894" y="234791"/>
                    <a:pt x="2959894" y="236696"/>
                    <a:pt x="2960846" y="239554"/>
                  </a:cubicBezTo>
                  <a:cubicBezTo>
                    <a:pt x="2957036" y="250984"/>
                    <a:pt x="2954179" y="262414"/>
                    <a:pt x="2950369" y="274796"/>
                  </a:cubicBezTo>
                  <a:cubicBezTo>
                    <a:pt x="2951321" y="268129"/>
                    <a:pt x="2952274" y="264319"/>
                    <a:pt x="2952274" y="264319"/>
                  </a:cubicBezTo>
                  <a:cubicBezTo>
                    <a:pt x="2952274" y="264319"/>
                    <a:pt x="2949416" y="271939"/>
                    <a:pt x="2944654" y="284321"/>
                  </a:cubicBezTo>
                  <a:cubicBezTo>
                    <a:pt x="2944654" y="284321"/>
                    <a:pt x="2944654" y="283369"/>
                    <a:pt x="2944654" y="283369"/>
                  </a:cubicBezTo>
                  <a:cubicBezTo>
                    <a:pt x="2944654" y="281464"/>
                    <a:pt x="2944654" y="279559"/>
                    <a:pt x="2945606" y="277654"/>
                  </a:cubicBezTo>
                  <a:cubicBezTo>
                    <a:pt x="2947511" y="263366"/>
                    <a:pt x="2948464" y="250984"/>
                    <a:pt x="2949416" y="238601"/>
                  </a:cubicBezTo>
                  <a:cubicBezTo>
                    <a:pt x="2950369" y="232886"/>
                    <a:pt x="2950369" y="226219"/>
                    <a:pt x="2951321" y="221456"/>
                  </a:cubicBezTo>
                  <a:cubicBezTo>
                    <a:pt x="2952274" y="215741"/>
                    <a:pt x="2953226" y="210979"/>
                    <a:pt x="2953226" y="205264"/>
                  </a:cubicBezTo>
                  <a:cubicBezTo>
                    <a:pt x="2954179" y="195739"/>
                    <a:pt x="2955131" y="186214"/>
                    <a:pt x="2956084" y="179546"/>
                  </a:cubicBezTo>
                  <a:cubicBezTo>
                    <a:pt x="2957989" y="165259"/>
                    <a:pt x="2958941" y="156686"/>
                    <a:pt x="2958941" y="156686"/>
                  </a:cubicBezTo>
                  <a:cubicBezTo>
                    <a:pt x="2958941" y="156686"/>
                    <a:pt x="2957036" y="164306"/>
                    <a:pt x="2952274" y="178594"/>
                  </a:cubicBezTo>
                  <a:cubicBezTo>
                    <a:pt x="2950369" y="185261"/>
                    <a:pt x="2948464" y="193834"/>
                    <a:pt x="2945606" y="203359"/>
                  </a:cubicBezTo>
                  <a:cubicBezTo>
                    <a:pt x="2944654" y="208121"/>
                    <a:pt x="2942749" y="212884"/>
                    <a:pt x="2941796" y="218599"/>
                  </a:cubicBezTo>
                  <a:cubicBezTo>
                    <a:pt x="2940844" y="224314"/>
                    <a:pt x="2939891" y="230029"/>
                    <a:pt x="2937986" y="235744"/>
                  </a:cubicBezTo>
                  <a:cubicBezTo>
                    <a:pt x="2936081" y="246221"/>
                    <a:pt x="2933224" y="257651"/>
                    <a:pt x="2931319" y="270034"/>
                  </a:cubicBezTo>
                  <a:cubicBezTo>
                    <a:pt x="2930366" y="266224"/>
                    <a:pt x="2930366" y="263366"/>
                    <a:pt x="2929414" y="260509"/>
                  </a:cubicBezTo>
                  <a:cubicBezTo>
                    <a:pt x="2929414" y="258604"/>
                    <a:pt x="2928461" y="257651"/>
                    <a:pt x="2928461" y="256699"/>
                  </a:cubicBezTo>
                  <a:cubicBezTo>
                    <a:pt x="2930366" y="253841"/>
                    <a:pt x="2931319" y="251936"/>
                    <a:pt x="2931319" y="251936"/>
                  </a:cubicBezTo>
                  <a:cubicBezTo>
                    <a:pt x="2931319" y="251936"/>
                    <a:pt x="2930366" y="252889"/>
                    <a:pt x="2927509" y="254794"/>
                  </a:cubicBezTo>
                  <a:cubicBezTo>
                    <a:pt x="2926556" y="251936"/>
                    <a:pt x="2925604" y="249079"/>
                    <a:pt x="2925604" y="247174"/>
                  </a:cubicBezTo>
                  <a:cubicBezTo>
                    <a:pt x="2929414" y="237649"/>
                    <a:pt x="2931319" y="231934"/>
                    <a:pt x="2931319" y="231934"/>
                  </a:cubicBezTo>
                  <a:cubicBezTo>
                    <a:pt x="2931319" y="231934"/>
                    <a:pt x="2928461" y="235744"/>
                    <a:pt x="2924651" y="243364"/>
                  </a:cubicBezTo>
                  <a:cubicBezTo>
                    <a:pt x="2923699" y="241459"/>
                    <a:pt x="2923699" y="239554"/>
                    <a:pt x="2922746" y="237649"/>
                  </a:cubicBezTo>
                  <a:lnTo>
                    <a:pt x="2922746" y="236696"/>
                  </a:lnTo>
                  <a:lnTo>
                    <a:pt x="2921794" y="236696"/>
                  </a:lnTo>
                  <a:cubicBezTo>
                    <a:pt x="2919889" y="236696"/>
                    <a:pt x="2917984" y="236696"/>
                    <a:pt x="2916079" y="236696"/>
                  </a:cubicBezTo>
                  <a:lnTo>
                    <a:pt x="2916079" y="236696"/>
                  </a:lnTo>
                  <a:cubicBezTo>
                    <a:pt x="2928461" y="200501"/>
                    <a:pt x="2935129" y="176689"/>
                    <a:pt x="2935129" y="176689"/>
                  </a:cubicBezTo>
                  <a:cubicBezTo>
                    <a:pt x="2935129" y="176689"/>
                    <a:pt x="2924651" y="196691"/>
                    <a:pt x="2909411" y="230029"/>
                  </a:cubicBezTo>
                  <a:cubicBezTo>
                    <a:pt x="2907506" y="222409"/>
                    <a:pt x="2904649" y="216694"/>
                    <a:pt x="2902744" y="211931"/>
                  </a:cubicBezTo>
                  <a:cubicBezTo>
                    <a:pt x="2901791" y="206216"/>
                    <a:pt x="2900839" y="201454"/>
                    <a:pt x="2900839" y="195739"/>
                  </a:cubicBezTo>
                  <a:cubicBezTo>
                    <a:pt x="2899886" y="188119"/>
                    <a:pt x="2898934" y="180499"/>
                    <a:pt x="2897981" y="173831"/>
                  </a:cubicBezTo>
                  <a:cubicBezTo>
                    <a:pt x="2897029" y="167164"/>
                    <a:pt x="2897029" y="160496"/>
                    <a:pt x="2896076" y="153829"/>
                  </a:cubicBezTo>
                  <a:cubicBezTo>
                    <a:pt x="2895124" y="141446"/>
                    <a:pt x="2894171" y="130969"/>
                    <a:pt x="2893219" y="121444"/>
                  </a:cubicBezTo>
                  <a:cubicBezTo>
                    <a:pt x="2891314" y="103346"/>
                    <a:pt x="2890361" y="93821"/>
                    <a:pt x="2890361" y="93821"/>
                  </a:cubicBezTo>
                  <a:cubicBezTo>
                    <a:pt x="2890361" y="93821"/>
                    <a:pt x="2890361" y="104299"/>
                    <a:pt x="2889409" y="121444"/>
                  </a:cubicBezTo>
                  <a:cubicBezTo>
                    <a:pt x="2889409" y="130016"/>
                    <a:pt x="2889409" y="141446"/>
                    <a:pt x="2889409" y="153829"/>
                  </a:cubicBezTo>
                  <a:cubicBezTo>
                    <a:pt x="2889409" y="160496"/>
                    <a:pt x="2889409" y="166211"/>
                    <a:pt x="2889409" y="173831"/>
                  </a:cubicBezTo>
                  <a:cubicBezTo>
                    <a:pt x="2889409" y="180499"/>
                    <a:pt x="2890361" y="188119"/>
                    <a:pt x="2890361" y="195739"/>
                  </a:cubicBezTo>
                  <a:cubicBezTo>
                    <a:pt x="2890361" y="200501"/>
                    <a:pt x="2891314" y="206216"/>
                    <a:pt x="2891314" y="211931"/>
                  </a:cubicBezTo>
                  <a:cubicBezTo>
                    <a:pt x="2890361" y="213836"/>
                    <a:pt x="2889409" y="215741"/>
                    <a:pt x="2887504" y="217646"/>
                  </a:cubicBezTo>
                  <a:cubicBezTo>
                    <a:pt x="2886551" y="218599"/>
                    <a:pt x="2885599" y="220504"/>
                    <a:pt x="2885599" y="221456"/>
                  </a:cubicBezTo>
                  <a:cubicBezTo>
                    <a:pt x="2883694" y="212884"/>
                    <a:pt x="2882741" y="204311"/>
                    <a:pt x="2880836" y="195739"/>
                  </a:cubicBezTo>
                  <a:cubicBezTo>
                    <a:pt x="2878931" y="185261"/>
                    <a:pt x="2877026" y="174784"/>
                    <a:pt x="2874169" y="166211"/>
                  </a:cubicBezTo>
                  <a:cubicBezTo>
                    <a:pt x="2872264" y="157639"/>
                    <a:pt x="2870359" y="150019"/>
                    <a:pt x="2867501" y="144304"/>
                  </a:cubicBezTo>
                  <a:cubicBezTo>
                    <a:pt x="2863691" y="131921"/>
                    <a:pt x="2860834" y="125254"/>
                    <a:pt x="2860834" y="125254"/>
                  </a:cubicBezTo>
                  <a:cubicBezTo>
                    <a:pt x="2860834" y="125254"/>
                    <a:pt x="2861786" y="132874"/>
                    <a:pt x="2863691" y="145256"/>
                  </a:cubicBezTo>
                  <a:cubicBezTo>
                    <a:pt x="2864644" y="151924"/>
                    <a:pt x="2865596" y="159544"/>
                    <a:pt x="2866549" y="168116"/>
                  </a:cubicBezTo>
                  <a:cubicBezTo>
                    <a:pt x="2867501" y="176689"/>
                    <a:pt x="2868454" y="187166"/>
                    <a:pt x="2869406" y="197644"/>
                  </a:cubicBezTo>
                  <a:cubicBezTo>
                    <a:pt x="2870359" y="208121"/>
                    <a:pt x="2871311" y="220504"/>
                    <a:pt x="2872264" y="232886"/>
                  </a:cubicBezTo>
                  <a:cubicBezTo>
                    <a:pt x="2872264" y="237649"/>
                    <a:pt x="2873216" y="242411"/>
                    <a:pt x="2873216" y="247174"/>
                  </a:cubicBezTo>
                  <a:cubicBezTo>
                    <a:pt x="2870359" y="253841"/>
                    <a:pt x="2867501" y="262414"/>
                    <a:pt x="2864644" y="270034"/>
                  </a:cubicBezTo>
                  <a:cubicBezTo>
                    <a:pt x="2863691" y="270986"/>
                    <a:pt x="2863691" y="272891"/>
                    <a:pt x="2863691" y="274796"/>
                  </a:cubicBezTo>
                  <a:cubicBezTo>
                    <a:pt x="2860834" y="269081"/>
                    <a:pt x="2857976" y="263366"/>
                    <a:pt x="2855119" y="257651"/>
                  </a:cubicBezTo>
                  <a:cubicBezTo>
                    <a:pt x="2850356" y="248126"/>
                    <a:pt x="2845594" y="239554"/>
                    <a:pt x="2841784" y="230029"/>
                  </a:cubicBezTo>
                  <a:cubicBezTo>
                    <a:pt x="2855119" y="229076"/>
                    <a:pt x="2855119" y="226219"/>
                    <a:pt x="2855119" y="226219"/>
                  </a:cubicBezTo>
                  <a:cubicBezTo>
                    <a:pt x="2855119" y="226219"/>
                    <a:pt x="2854166" y="228124"/>
                    <a:pt x="2853214" y="231934"/>
                  </a:cubicBezTo>
                  <a:cubicBezTo>
                    <a:pt x="2849404" y="224314"/>
                    <a:pt x="2844641" y="215741"/>
                    <a:pt x="2840831" y="209074"/>
                  </a:cubicBezTo>
                  <a:cubicBezTo>
                    <a:pt x="2857024" y="174784"/>
                    <a:pt x="2866549" y="150971"/>
                    <a:pt x="2866549" y="150971"/>
                  </a:cubicBezTo>
                  <a:cubicBezTo>
                    <a:pt x="2866549" y="150971"/>
                    <a:pt x="2853214" y="169069"/>
                    <a:pt x="2835116" y="198596"/>
                  </a:cubicBezTo>
                  <a:cubicBezTo>
                    <a:pt x="2833211" y="194786"/>
                    <a:pt x="2831306" y="191929"/>
                    <a:pt x="2829401" y="188119"/>
                  </a:cubicBezTo>
                  <a:cubicBezTo>
                    <a:pt x="2826544" y="170021"/>
                    <a:pt x="2823686" y="151924"/>
                    <a:pt x="2820829" y="132874"/>
                  </a:cubicBezTo>
                  <a:cubicBezTo>
                    <a:pt x="2820829" y="146209"/>
                    <a:pt x="2820829" y="160496"/>
                    <a:pt x="2821781" y="173831"/>
                  </a:cubicBezTo>
                  <a:cubicBezTo>
                    <a:pt x="2817019" y="166211"/>
                    <a:pt x="2812256" y="158591"/>
                    <a:pt x="2807494" y="151924"/>
                  </a:cubicBezTo>
                  <a:cubicBezTo>
                    <a:pt x="2797969" y="137636"/>
                    <a:pt x="2790349" y="125254"/>
                    <a:pt x="2782729" y="115729"/>
                  </a:cubicBezTo>
                  <a:cubicBezTo>
                    <a:pt x="2768441" y="95726"/>
                    <a:pt x="2759869" y="85249"/>
                    <a:pt x="2759869" y="85249"/>
                  </a:cubicBezTo>
                  <a:cubicBezTo>
                    <a:pt x="2759869" y="85249"/>
                    <a:pt x="2766536" y="97631"/>
                    <a:pt x="2778919" y="118586"/>
                  </a:cubicBezTo>
                  <a:cubicBezTo>
                    <a:pt x="2785586" y="129064"/>
                    <a:pt x="2792254" y="142399"/>
                    <a:pt x="2799874" y="156686"/>
                  </a:cubicBezTo>
                  <a:cubicBezTo>
                    <a:pt x="2803684" y="164306"/>
                    <a:pt x="2808446" y="171926"/>
                    <a:pt x="2812256" y="180499"/>
                  </a:cubicBezTo>
                  <a:cubicBezTo>
                    <a:pt x="2815114" y="186214"/>
                    <a:pt x="2817971" y="191929"/>
                    <a:pt x="2820829" y="197644"/>
                  </a:cubicBezTo>
                  <a:cubicBezTo>
                    <a:pt x="2820829" y="199549"/>
                    <a:pt x="2820829" y="202406"/>
                    <a:pt x="2820829" y="204311"/>
                  </a:cubicBezTo>
                  <a:cubicBezTo>
                    <a:pt x="2820829" y="209074"/>
                    <a:pt x="2821781" y="213836"/>
                    <a:pt x="2821781" y="218599"/>
                  </a:cubicBezTo>
                  <a:cubicBezTo>
                    <a:pt x="2819876" y="221456"/>
                    <a:pt x="2818924" y="224314"/>
                    <a:pt x="2817019" y="227171"/>
                  </a:cubicBezTo>
                  <a:cubicBezTo>
                    <a:pt x="2813209" y="222409"/>
                    <a:pt x="2810351" y="216694"/>
                    <a:pt x="2806541" y="211931"/>
                  </a:cubicBezTo>
                  <a:cubicBezTo>
                    <a:pt x="2806541" y="210979"/>
                    <a:pt x="2805589" y="210979"/>
                    <a:pt x="2805589" y="210026"/>
                  </a:cubicBezTo>
                  <a:cubicBezTo>
                    <a:pt x="2806541" y="209074"/>
                    <a:pt x="2806541" y="208121"/>
                    <a:pt x="2806541" y="208121"/>
                  </a:cubicBezTo>
                  <a:cubicBezTo>
                    <a:pt x="2806541" y="208121"/>
                    <a:pt x="2806541" y="208121"/>
                    <a:pt x="2805589" y="209074"/>
                  </a:cubicBezTo>
                  <a:cubicBezTo>
                    <a:pt x="2800826" y="202406"/>
                    <a:pt x="2796064" y="196691"/>
                    <a:pt x="2792254" y="191929"/>
                  </a:cubicBezTo>
                  <a:cubicBezTo>
                    <a:pt x="2782729" y="179546"/>
                    <a:pt x="2775109" y="169069"/>
                    <a:pt x="2767489" y="161449"/>
                  </a:cubicBezTo>
                  <a:cubicBezTo>
                    <a:pt x="2766536" y="160496"/>
                    <a:pt x="2766536" y="159544"/>
                    <a:pt x="2765584" y="158591"/>
                  </a:cubicBezTo>
                  <a:cubicBezTo>
                    <a:pt x="2765584" y="157639"/>
                    <a:pt x="2765584" y="156686"/>
                    <a:pt x="2765584" y="155734"/>
                  </a:cubicBezTo>
                  <a:cubicBezTo>
                    <a:pt x="2764631" y="145256"/>
                    <a:pt x="2762726" y="135731"/>
                    <a:pt x="2762726" y="128111"/>
                  </a:cubicBezTo>
                  <a:cubicBezTo>
                    <a:pt x="2760821" y="112871"/>
                    <a:pt x="2759869" y="103346"/>
                    <a:pt x="2759869" y="103346"/>
                  </a:cubicBezTo>
                  <a:cubicBezTo>
                    <a:pt x="2759869" y="103346"/>
                    <a:pt x="2759869" y="111919"/>
                    <a:pt x="2758916" y="128111"/>
                  </a:cubicBezTo>
                  <a:cubicBezTo>
                    <a:pt x="2758916" y="134779"/>
                    <a:pt x="2758916" y="141446"/>
                    <a:pt x="2758916" y="150019"/>
                  </a:cubicBezTo>
                  <a:cubicBezTo>
                    <a:pt x="2750344" y="140494"/>
                    <a:pt x="2745581" y="135731"/>
                    <a:pt x="2745581" y="135731"/>
                  </a:cubicBezTo>
                  <a:cubicBezTo>
                    <a:pt x="2745581" y="135731"/>
                    <a:pt x="2750344" y="142399"/>
                    <a:pt x="2758916" y="153829"/>
                  </a:cubicBezTo>
                  <a:cubicBezTo>
                    <a:pt x="2758916" y="154781"/>
                    <a:pt x="2758916" y="155734"/>
                    <a:pt x="2758916" y="155734"/>
                  </a:cubicBezTo>
                  <a:cubicBezTo>
                    <a:pt x="2758916" y="161449"/>
                    <a:pt x="2758916" y="167164"/>
                    <a:pt x="2758916" y="172879"/>
                  </a:cubicBezTo>
                  <a:cubicBezTo>
                    <a:pt x="2758916" y="178594"/>
                    <a:pt x="2759869" y="185261"/>
                    <a:pt x="2759869" y="191929"/>
                  </a:cubicBezTo>
                  <a:cubicBezTo>
                    <a:pt x="2759869" y="200501"/>
                    <a:pt x="2760821" y="210026"/>
                    <a:pt x="2761774" y="219551"/>
                  </a:cubicBezTo>
                  <a:cubicBezTo>
                    <a:pt x="2761774" y="218599"/>
                    <a:pt x="2760821" y="217646"/>
                    <a:pt x="2760821" y="217646"/>
                  </a:cubicBezTo>
                  <a:cubicBezTo>
                    <a:pt x="2760821" y="216694"/>
                    <a:pt x="2760821" y="216694"/>
                    <a:pt x="2760821" y="216694"/>
                  </a:cubicBezTo>
                  <a:cubicBezTo>
                    <a:pt x="2760821" y="216694"/>
                    <a:pt x="2760821" y="216694"/>
                    <a:pt x="2760821" y="217646"/>
                  </a:cubicBezTo>
                  <a:cubicBezTo>
                    <a:pt x="2749391" y="189071"/>
                    <a:pt x="2741771" y="172879"/>
                    <a:pt x="2741771" y="172879"/>
                  </a:cubicBezTo>
                  <a:cubicBezTo>
                    <a:pt x="2741771" y="172879"/>
                    <a:pt x="2747486" y="193834"/>
                    <a:pt x="2757011" y="228124"/>
                  </a:cubicBezTo>
                  <a:cubicBezTo>
                    <a:pt x="2754154" y="236696"/>
                    <a:pt x="2749391" y="250984"/>
                    <a:pt x="2743676" y="268129"/>
                  </a:cubicBezTo>
                  <a:cubicBezTo>
                    <a:pt x="2740819" y="262414"/>
                    <a:pt x="2737961" y="258604"/>
                    <a:pt x="2736056" y="254794"/>
                  </a:cubicBezTo>
                  <a:cubicBezTo>
                    <a:pt x="2737009" y="241459"/>
                    <a:pt x="2737009" y="232886"/>
                    <a:pt x="2737009" y="232886"/>
                  </a:cubicBezTo>
                  <a:cubicBezTo>
                    <a:pt x="2737009" y="232886"/>
                    <a:pt x="2735104" y="238601"/>
                    <a:pt x="2732246" y="249079"/>
                  </a:cubicBezTo>
                  <a:cubicBezTo>
                    <a:pt x="2731294" y="247174"/>
                    <a:pt x="2730341" y="246221"/>
                    <a:pt x="2730341" y="246221"/>
                  </a:cubicBezTo>
                  <a:cubicBezTo>
                    <a:pt x="2730341" y="246221"/>
                    <a:pt x="2730341" y="247174"/>
                    <a:pt x="2731294" y="250031"/>
                  </a:cubicBezTo>
                  <a:cubicBezTo>
                    <a:pt x="2730341" y="252889"/>
                    <a:pt x="2730341" y="254794"/>
                    <a:pt x="2729389" y="258604"/>
                  </a:cubicBezTo>
                  <a:lnTo>
                    <a:pt x="2729389" y="247174"/>
                  </a:lnTo>
                  <a:lnTo>
                    <a:pt x="2731294" y="218599"/>
                  </a:lnTo>
                  <a:cubicBezTo>
                    <a:pt x="2732246" y="218599"/>
                    <a:pt x="2732246" y="218599"/>
                    <a:pt x="2733199" y="219551"/>
                  </a:cubicBezTo>
                  <a:cubicBezTo>
                    <a:pt x="2734151" y="220504"/>
                    <a:pt x="2735104" y="221456"/>
                    <a:pt x="2736056" y="222409"/>
                  </a:cubicBezTo>
                  <a:cubicBezTo>
                    <a:pt x="2737961" y="224314"/>
                    <a:pt x="2737961" y="228124"/>
                    <a:pt x="2738914" y="230981"/>
                  </a:cubicBezTo>
                  <a:cubicBezTo>
                    <a:pt x="2738914" y="228124"/>
                    <a:pt x="2738914" y="225266"/>
                    <a:pt x="2737961" y="222409"/>
                  </a:cubicBezTo>
                  <a:cubicBezTo>
                    <a:pt x="2737009" y="220504"/>
                    <a:pt x="2736056" y="219551"/>
                    <a:pt x="2735104" y="218599"/>
                  </a:cubicBezTo>
                  <a:cubicBezTo>
                    <a:pt x="2734151" y="217646"/>
                    <a:pt x="2732246" y="216694"/>
                    <a:pt x="2730341" y="216694"/>
                  </a:cubicBezTo>
                  <a:lnTo>
                    <a:pt x="2728436" y="216694"/>
                  </a:lnTo>
                  <a:lnTo>
                    <a:pt x="2728436" y="218599"/>
                  </a:lnTo>
                  <a:cubicBezTo>
                    <a:pt x="2726531" y="228124"/>
                    <a:pt x="2723674" y="238601"/>
                    <a:pt x="2721769" y="248126"/>
                  </a:cubicBezTo>
                  <a:cubicBezTo>
                    <a:pt x="2720816" y="251936"/>
                    <a:pt x="2720816" y="256699"/>
                    <a:pt x="2719864" y="260509"/>
                  </a:cubicBezTo>
                  <a:cubicBezTo>
                    <a:pt x="2718911" y="258604"/>
                    <a:pt x="2717959" y="256699"/>
                    <a:pt x="2717006" y="254794"/>
                  </a:cubicBezTo>
                  <a:cubicBezTo>
                    <a:pt x="2717006" y="254794"/>
                    <a:pt x="2717006" y="253841"/>
                    <a:pt x="2717006" y="253841"/>
                  </a:cubicBezTo>
                  <a:cubicBezTo>
                    <a:pt x="2717959" y="244316"/>
                    <a:pt x="2718911" y="238601"/>
                    <a:pt x="2718911" y="238601"/>
                  </a:cubicBezTo>
                  <a:cubicBezTo>
                    <a:pt x="2718911" y="238601"/>
                    <a:pt x="2717959" y="241459"/>
                    <a:pt x="2716054" y="247174"/>
                  </a:cubicBezTo>
                  <a:cubicBezTo>
                    <a:pt x="2717006" y="204311"/>
                    <a:pt x="2716054" y="176689"/>
                    <a:pt x="2716054" y="176689"/>
                  </a:cubicBezTo>
                  <a:cubicBezTo>
                    <a:pt x="2716054" y="176689"/>
                    <a:pt x="2715101" y="185261"/>
                    <a:pt x="2713196" y="198596"/>
                  </a:cubicBezTo>
                  <a:cubicBezTo>
                    <a:pt x="2712244" y="207169"/>
                    <a:pt x="2710339" y="217646"/>
                    <a:pt x="2709386" y="230029"/>
                  </a:cubicBezTo>
                  <a:cubicBezTo>
                    <a:pt x="2707481" y="226219"/>
                    <a:pt x="2706529" y="221456"/>
                    <a:pt x="2704624" y="218599"/>
                  </a:cubicBezTo>
                  <a:lnTo>
                    <a:pt x="2703671" y="199549"/>
                  </a:lnTo>
                  <a:lnTo>
                    <a:pt x="2703671" y="163354"/>
                  </a:lnTo>
                  <a:cubicBezTo>
                    <a:pt x="2704624" y="163354"/>
                    <a:pt x="2705576" y="163354"/>
                    <a:pt x="2706529" y="164306"/>
                  </a:cubicBezTo>
                  <a:cubicBezTo>
                    <a:pt x="2708434" y="165259"/>
                    <a:pt x="2709386" y="166211"/>
                    <a:pt x="2710339" y="167164"/>
                  </a:cubicBezTo>
                  <a:cubicBezTo>
                    <a:pt x="2712244" y="170021"/>
                    <a:pt x="2713196" y="173831"/>
                    <a:pt x="2714149" y="176689"/>
                  </a:cubicBezTo>
                  <a:cubicBezTo>
                    <a:pt x="2714149" y="172879"/>
                    <a:pt x="2713196" y="169069"/>
                    <a:pt x="2712244" y="166211"/>
                  </a:cubicBezTo>
                  <a:cubicBezTo>
                    <a:pt x="2711291" y="164306"/>
                    <a:pt x="2710339" y="163354"/>
                    <a:pt x="2708434" y="161449"/>
                  </a:cubicBezTo>
                  <a:cubicBezTo>
                    <a:pt x="2706529" y="160496"/>
                    <a:pt x="2704624" y="159544"/>
                    <a:pt x="2702719" y="159544"/>
                  </a:cubicBezTo>
                  <a:lnTo>
                    <a:pt x="2700814" y="159544"/>
                  </a:lnTo>
                  <a:lnTo>
                    <a:pt x="2700814" y="161449"/>
                  </a:lnTo>
                  <a:lnTo>
                    <a:pt x="2697004" y="193834"/>
                  </a:lnTo>
                  <a:cubicBezTo>
                    <a:pt x="2694146" y="186214"/>
                    <a:pt x="2693194" y="181451"/>
                    <a:pt x="2693194" y="181451"/>
                  </a:cubicBezTo>
                  <a:cubicBezTo>
                    <a:pt x="2693194" y="181451"/>
                    <a:pt x="2694146" y="187166"/>
                    <a:pt x="2697004" y="198596"/>
                  </a:cubicBezTo>
                  <a:lnTo>
                    <a:pt x="2697004" y="198596"/>
                  </a:lnTo>
                  <a:cubicBezTo>
                    <a:pt x="2696051" y="210979"/>
                    <a:pt x="2696051" y="224314"/>
                    <a:pt x="2696051" y="236696"/>
                  </a:cubicBezTo>
                  <a:cubicBezTo>
                    <a:pt x="2696051" y="245269"/>
                    <a:pt x="2696051" y="253841"/>
                    <a:pt x="2697004" y="262414"/>
                  </a:cubicBezTo>
                  <a:cubicBezTo>
                    <a:pt x="2697004" y="262414"/>
                    <a:pt x="2697004" y="263366"/>
                    <a:pt x="2697004" y="263366"/>
                  </a:cubicBezTo>
                  <a:cubicBezTo>
                    <a:pt x="2697004" y="264319"/>
                    <a:pt x="2696051" y="265271"/>
                    <a:pt x="2696051" y="265271"/>
                  </a:cubicBezTo>
                  <a:cubicBezTo>
                    <a:pt x="2695099" y="264319"/>
                    <a:pt x="2694146" y="262414"/>
                    <a:pt x="2694146" y="261461"/>
                  </a:cubicBezTo>
                  <a:cubicBezTo>
                    <a:pt x="2691289" y="255746"/>
                    <a:pt x="2688431" y="250984"/>
                    <a:pt x="2685574" y="246221"/>
                  </a:cubicBezTo>
                  <a:cubicBezTo>
                    <a:pt x="2682716" y="233839"/>
                    <a:pt x="2680811" y="221456"/>
                    <a:pt x="2677954" y="210979"/>
                  </a:cubicBezTo>
                  <a:cubicBezTo>
                    <a:pt x="2677001" y="207169"/>
                    <a:pt x="2677001" y="204311"/>
                    <a:pt x="2676049" y="200501"/>
                  </a:cubicBezTo>
                  <a:cubicBezTo>
                    <a:pt x="2677954" y="190976"/>
                    <a:pt x="2679859" y="182404"/>
                    <a:pt x="2681764" y="173831"/>
                  </a:cubicBezTo>
                  <a:cubicBezTo>
                    <a:pt x="2683669" y="162401"/>
                    <a:pt x="2685574" y="152876"/>
                    <a:pt x="2687479" y="144304"/>
                  </a:cubicBezTo>
                  <a:cubicBezTo>
                    <a:pt x="2690336" y="128111"/>
                    <a:pt x="2691289" y="118586"/>
                    <a:pt x="2691289" y="118586"/>
                  </a:cubicBezTo>
                  <a:cubicBezTo>
                    <a:pt x="2691289" y="118586"/>
                    <a:pt x="2688431" y="128111"/>
                    <a:pt x="2683669" y="143351"/>
                  </a:cubicBezTo>
                  <a:cubicBezTo>
                    <a:pt x="2681764" y="149066"/>
                    <a:pt x="2679859" y="155734"/>
                    <a:pt x="2677954" y="162401"/>
                  </a:cubicBezTo>
                  <a:cubicBezTo>
                    <a:pt x="2677001" y="166211"/>
                    <a:pt x="2675096" y="170974"/>
                    <a:pt x="2673191" y="176689"/>
                  </a:cubicBezTo>
                  <a:cubicBezTo>
                    <a:pt x="2673191" y="176689"/>
                    <a:pt x="2673191" y="177641"/>
                    <a:pt x="2673191" y="177641"/>
                  </a:cubicBezTo>
                  <a:cubicBezTo>
                    <a:pt x="2673191" y="176689"/>
                    <a:pt x="2672239" y="174784"/>
                    <a:pt x="2672239" y="173831"/>
                  </a:cubicBezTo>
                  <a:cubicBezTo>
                    <a:pt x="2670334" y="163354"/>
                    <a:pt x="2668429" y="153829"/>
                    <a:pt x="2666524" y="146209"/>
                  </a:cubicBezTo>
                  <a:cubicBezTo>
                    <a:pt x="2663666" y="130969"/>
                    <a:pt x="2661761" y="121444"/>
                    <a:pt x="2661761" y="121444"/>
                  </a:cubicBezTo>
                  <a:cubicBezTo>
                    <a:pt x="2661761" y="121444"/>
                    <a:pt x="2661761" y="130016"/>
                    <a:pt x="2662714" y="146209"/>
                  </a:cubicBezTo>
                  <a:cubicBezTo>
                    <a:pt x="2663666" y="158591"/>
                    <a:pt x="2664619" y="176689"/>
                    <a:pt x="2666524" y="196691"/>
                  </a:cubicBezTo>
                  <a:cubicBezTo>
                    <a:pt x="2666524" y="197644"/>
                    <a:pt x="2665571" y="199549"/>
                    <a:pt x="2665571" y="200501"/>
                  </a:cubicBezTo>
                  <a:cubicBezTo>
                    <a:pt x="2665571" y="201454"/>
                    <a:pt x="2664619" y="203359"/>
                    <a:pt x="2664619" y="204311"/>
                  </a:cubicBezTo>
                  <a:cubicBezTo>
                    <a:pt x="2658904" y="192881"/>
                    <a:pt x="2653189" y="183356"/>
                    <a:pt x="2649379" y="174784"/>
                  </a:cubicBezTo>
                  <a:cubicBezTo>
                    <a:pt x="2639854" y="152876"/>
                    <a:pt x="2634139" y="141446"/>
                    <a:pt x="2634139" y="141446"/>
                  </a:cubicBezTo>
                  <a:cubicBezTo>
                    <a:pt x="2634139" y="141446"/>
                    <a:pt x="2637949" y="153829"/>
                    <a:pt x="2646521" y="176689"/>
                  </a:cubicBezTo>
                  <a:cubicBezTo>
                    <a:pt x="2650331" y="187166"/>
                    <a:pt x="2656046" y="199549"/>
                    <a:pt x="2661761" y="214789"/>
                  </a:cubicBezTo>
                  <a:cubicBezTo>
                    <a:pt x="2661761" y="215741"/>
                    <a:pt x="2661761" y="215741"/>
                    <a:pt x="2660809" y="216694"/>
                  </a:cubicBezTo>
                  <a:cubicBezTo>
                    <a:pt x="2656999" y="210026"/>
                    <a:pt x="2655094" y="204311"/>
                    <a:pt x="2652236" y="201454"/>
                  </a:cubicBezTo>
                  <a:cubicBezTo>
                    <a:pt x="2649379" y="197644"/>
                    <a:pt x="2648426" y="196691"/>
                    <a:pt x="2648426" y="196691"/>
                  </a:cubicBezTo>
                  <a:cubicBezTo>
                    <a:pt x="2648426" y="196691"/>
                    <a:pt x="2649379" y="198596"/>
                    <a:pt x="2651284" y="202406"/>
                  </a:cubicBezTo>
                  <a:cubicBezTo>
                    <a:pt x="2654141" y="206216"/>
                    <a:pt x="2655094" y="211931"/>
                    <a:pt x="2657951" y="218599"/>
                  </a:cubicBezTo>
                  <a:cubicBezTo>
                    <a:pt x="2657951" y="220504"/>
                    <a:pt x="2658904" y="222409"/>
                    <a:pt x="2658904" y="223361"/>
                  </a:cubicBezTo>
                  <a:cubicBezTo>
                    <a:pt x="2658904" y="224314"/>
                    <a:pt x="2657951" y="225266"/>
                    <a:pt x="2657951" y="226219"/>
                  </a:cubicBezTo>
                  <a:cubicBezTo>
                    <a:pt x="2654141" y="214789"/>
                    <a:pt x="2650331" y="203359"/>
                    <a:pt x="2647474" y="193834"/>
                  </a:cubicBezTo>
                  <a:cubicBezTo>
                    <a:pt x="2644616" y="184309"/>
                    <a:pt x="2640806" y="175736"/>
                    <a:pt x="2638901" y="169069"/>
                  </a:cubicBezTo>
                  <a:cubicBezTo>
                    <a:pt x="2634139" y="154781"/>
                    <a:pt x="2631281" y="147161"/>
                    <a:pt x="2631281" y="147161"/>
                  </a:cubicBezTo>
                  <a:cubicBezTo>
                    <a:pt x="2631281" y="147161"/>
                    <a:pt x="2632234" y="155734"/>
                    <a:pt x="2635091" y="170021"/>
                  </a:cubicBezTo>
                  <a:cubicBezTo>
                    <a:pt x="2637949" y="184309"/>
                    <a:pt x="2641759" y="205264"/>
                    <a:pt x="2647474" y="230029"/>
                  </a:cubicBezTo>
                  <a:cubicBezTo>
                    <a:pt x="2648426" y="235744"/>
                    <a:pt x="2650331" y="241459"/>
                    <a:pt x="2651284" y="247174"/>
                  </a:cubicBezTo>
                  <a:cubicBezTo>
                    <a:pt x="2648426" y="255746"/>
                    <a:pt x="2645569" y="264319"/>
                    <a:pt x="2642711" y="273844"/>
                  </a:cubicBezTo>
                  <a:cubicBezTo>
                    <a:pt x="2641759" y="272891"/>
                    <a:pt x="2641759" y="271939"/>
                    <a:pt x="2640806" y="270034"/>
                  </a:cubicBezTo>
                  <a:cubicBezTo>
                    <a:pt x="2640806" y="269081"/>
                    <a:pt x="2639854" y="269081"/>
                    <a:pt x="2639854" y="268129"/>
                  </a:cubicBezTo>
                  <a:cubicBezTo>
                    <a:pt x="2642711" y="238601"/>
                    <a:pt x="2643664" y="220504"/>
                    <a:pt x="2643664" y="220504"/>
                  </a:cubicBezTo>
                  <a:cubicBezTo>
                    <a:pt x="2643664" y="220504"/>
                    <a:pt x="2640806" y="230029"/>
                    <a:pt x="2636996" y="247174"/>
                  </a:cubicBezTo>
                  <a:cubicBezTo>
                    <a:pt x="2636996" y="220504"/>
                    <a:pt x="2636044" y="204311"/>
                    <a:pt x="2636044" y="204311"/>
                  </a:cubicBezTo>
                  <a:cubicBezTo>
                    <a:pt x="2636044" y="204311"/>
                    <a:pt x="2633186" y="217646"/>
                    <a:pt x="2630329" y="240506"/>
                  </a:cubicBezTo>
                  <a:cubicBezTo>
                    <a:pt x="2628424" y="228124"/>
                    <a:pt x="2625566" y="216694"/>
                    <a:pt x="2623661" y="206216"/>
                  </a:cubicBezTo>
                  <a:cubicBezTo>
                    <a:pt x="2618899" y="182404"/>
                    <a:pt x="2614136" y="162401"/>
                    <a:pt x="2610326" y="147161"/>
                  </a:cubicBezTo>
                  <a:cubicBezTo>
                    <a:pt x="2613184" y="141446"/>
                    <a:pt x="2615089" y="137636"/>
                    <a:pt x="2615089" y="137636"/>
                  </a:cubicBezTo>
                  <a:cubicBezTo>
                    <a:pt x="2615089" y="137636"/>
                    <a:pt x="2613184" y="140494"/>
                    <a:pt x="2610326" y="145256"/>
                  </a:cubicBezTo>
                  <a:cubicBezTo>
                    <a:pt x="2610326" y="144304"/>
                    <a:pt x="2610326" y="144304"/>
                    <a:pt x="2609374" y="143351"/>
                  </a:cubicBezTo>
                  <a:cubicBezTo>
                    <a:pt x="2605564" y="128111"/>
                    <a:pt x="2603659" y="119539"/>
                    <a:pt x="2603659" y="119539"/>
                  </a:cubicBezTo>
                  <a:cubicBezTo>
                    <a:pt x="2603659" y="119539"/>
                    <a:pt x="2604611" y="128111"/>
                    <a:pt x="2605564" y="144304"/>
                  </a:cubicBezTo>
                  <a:cubicBezTo>
                    <a:pt x="2605564" y="146209"/>
                    <a:pt x="2605564" y="149066"/>
                    <a:pt x="2606516" y="150971"/>
                  </a:cubicBezTo>
                  <a:cubicBezTo>
                    <a:pt x="2604611" y="153829"/>
                    <a:pt x="2602706" y="155734"/>
                    <a:pt x="2600801" y="158591"/>
                  </a:cubicBezTo>
                  <a:cubicBezTo>
                    <a:pt x="2596991" y="163354"/>
                    <a:pt x="2594134" y="169069"/>
                    <a:pt x="2589371" y="175736"/>
                  </a:cubicBezTo>
                  <a:cubicBezTo>
                    <a:pt x="2589371" y="174784"/>
                    <a:pt x="2589371" y="172879"/>
                    <a:pt x="2588419" y="171926"/>
                  </a:cubicBezTo>
                  <a:cubicBezTo>
                    <a:pt x="2585561" y="155734"/>
                    <a:pt x="2583656" y="147161"/>
                    <a:pt x="2583656" y="147161"/>
                  </a:cubicBezTo>
                  <a:cubicBezTo>
                    <a:pt x="2583656" y="147161"/>
                    <a:pt x="2583656" y="156686"/>
                    <a:pt x="2584609" y="171926"/>
                  </a:cubicBezTo>
                  <a:cubicBezTo>
                    <a:pt x="2584609" y="174784"/>
                    <a:pt x="2584609" y="178594"/>
                    <a:pt x="2585561" y="182404"/>
                  </a:cubicBezTo>
                  <a:cubicBezTo>
                    <a:pt x="2585561" y="182404"/>
                    <a:pt x="2585561" y="182404"/>
                    <a:pt x="2585561" y="182404"/>
                  </a:cubicBezTo>
                  <a:cubicBezTo>
                    <a:pt x="2582704" y="187166"/>
                    <a:pt x="2579846" y="192881"/>
                    <a:pt x="2576036" y="198596"/>
                  </a:cubicBezTo>
                  <a:cubicBezTo>
                    <a:pt x="2575084" y="190976"/>
                    <a:pt x="2575084" y="183356"/>
                    <a:pt x="2574131" y="177641"/>
                  </a:cubicBezTo>
                  <a:cubicBezTo>
                    <a:pt x="2573179" y="165259"/>
                    <a:pt x="2573179" y="157639"/>
                    <a:pt x="2573179" y="157639"/>
                  </a:cubicBezTo>
                  <a:cubicBezTo>
                    <a:pt x="2573179" y="157639"/>
                    <a:pt x="2572226" y="162401"/>
                    <a:pt x="2571274" y="170974"/>
                  </a:cubicBezTo>
                  <a:cubicBezTo>
                    <a:pt x="2571274" y="170974"/>
                    <a:pt x="2571274" y="170021"/>
                    <a:pt x="2571274" y="170021"/>
                  </a:cubicBezTo>
                  <a:cubicBezTo>
                    <a:pt x="2570321" y="162401"/>
                    <a:pt x="2570321" y="155734"/>
                    <a:pt x="2569369" y="149066"/>
                  </a:cubicBezTo>
                  <a:cubicBezTo>
                    <a:pt x="2569369" y="142399"/>
                    <a:pt x="2568416" y="135731"/>
                    <a:pt x="2568416" y="130016"/>
                  </a:cubicBezTo>
                  <a:cubicBezTo>
                    <a:pt x="2567464" y="118586"/>
                    <a:pt x="2566511" y="108109"/>
                    <a:pt x="2567464" y="99536"/>
                  </a:cubicBezTo>
                  <a:cubicBezTo>
                    <a:pt x="2567464" y="82391"/>
                    <a:pt x="2566511" y="72866"/>
                    <a:pt x="2566511" y="72866"/>
                  </a:cubicBezTo>
                  <a:cubicBezTo>
                    <a:pt x="2566511" y="72866"/>
                    <a:pt x="2565559" y="82391"/>
                    <a:pt x="2562701" y="99536"/>
                  </a:cubicBezTo>
                  <a:cubicBezTo>
                    <a:pt x="2561749" y="108109"/>
                    <a:pt x="2560796" y="118586"/>
                    <a:pt x="2560796" y="130016"/>
                  </a:cubicBezTo>
                  <a:cubicBezTo>
                    <a:pt x="2560796" y="135731"/>
                    <a:pt x="2559844" y="142399"/>
                    <a:pt x="2559844" y="149066"/>
                  </a:cubicBezTo>
                  <a:cubicBezTo>
                    <a:pt x="2559844" y="155734"/>
                    <a:pt x="2559844" y="162401"/>
                    <a:pt x="2559844" y="170021"/>
                  </a:cubicBezTo>
                  <a:cubicBezTo>
                    <a:pt x="2559844" y="178594"/>
                    <a:pt x="2559844" y="187166"/>
                    <a:pt x="2560796" y="195739"/>
                  </a:cubicBezTo>
                  <a:cubicBezTo>
                    <a:pt x="2559844" y="192881"/>
                    <a:pt x="2558891" y="191929"/>
                    <a:pt x="2558891" y="191929"/>
                  </a:cubicBezTo>
                  <a:cubicBezTo>
                    <a:pt x="2558891" y="191929"/>
                    <a:pt x="2559844" y="194786"/>
                    <a:pt x="2561749" y="200501"/>
                  </a:cubicBezTo>
                  <a:cubicBezTo>
                    <a:pt x="2561749" y="206216"/>
                    <a:pt x="2562701" y="211931"/>
                    <a:pt x="2562701" y="217646"/>
                  </a:cubicBezTo>
                  <a:cubicBezTo>
                    <a:pt x="2562701" y="219551"/>
                    <a:pt x="2562701" y="221456"/>
                    <a:pt x="2562701" y="223361"/>
                  </a:cubicBezTo>
                  <a:cubicBezTo>
                    <a:pt x="2558891" y="230981"/>
                    <a:pt x="2555081" y="238601"/>
                    <a:pt x="2551271" y="247174"/>
                  </a:cubicBezTo>
                  <a:cubicBezTo>
                    <a:pt x="2550319" y="239554"/>
                    <a:pt x="2550319" y="233839"/>
                    <a:pt x="2549366" y="230029"/>
                  </a:cubicBezTo>
                  <a:cubicBezTo>
                    <a:pt x="2553176" y="219551"/>
                    <a:pt x="2555081" y="212884"/>
                    <a:pt x="2555081" y="212884"/>
                  </a:cubicBezTo>
                  <a:cubicBezTo>
                    <a:pt x="2555081" y="212884"/>
                    <a:pt x="2552224" y="218599"/>
                    <a:pt x="2546509" y="228124"/>
                  </a:cubicBezTo>
                  <a:cubicBezTo>
                    <a:pt x="2546509" y="226219"/>
                    <a:pt x="2547461" y="224314"/>
                    <a:pt x="2547461" y="222409"/>
                  </a:cubicBezTo>
                  <a:cubicBezTo>
                    <a:pt x="2551271" y="206216"/>
                    <a:pt x="2553176" y="196691"/>
                    <a:pt x="2553176" y="196691"/>
                  </a:cubicBezTo>
                  <a:cubicBezTo>
                    <a:pt x="2553176" y="196691"/>
                    <a:pt x="2549366" y="205264"/>
                    <a:pt x="2543651" y="221456"/>
                  </a:cubicBezTo>
                  <a:cubicBezTo>
                    <a:pt x="2541746" y="228124"/>
                    <a:pt x="2538889" y="236696"/>
                    <a:pt x="2536984" y="246221"/>
                  </a:cubicBezTo>
                  <a:cubicBezTo>
                    <a:pt x="2536984" y="245269"/>
                    <a:pt x="2536984" y="245269"/>
                    <a:pt x="2536984" y="244316"/>
                  </a:cubicBezTo>
                  <a:cubicBezTo>
                    <a:pt x="2535079" y="230029"/>
                    <a:pt x="2534126" y="221456"/>
                    <a:pt x="2534126" y="221456"/>
                  </a:cubicBezTo>
                  <a:cubicBezTo>
                    <a:pt x="2534126" y="221456"/>
                    <a:pt x="2534126" y="230029"/>
                    <a:pt x="2533174" y="244316"/>
                  </a:cubicBezTo>
                  <a:cubicBezTo>
                    <a:pt x="2533174" y="246221"/>
                    <a:pt x="2533174" y="249079"/>
                    <a:pt x="2533174" y="250984"/>
                  </a:cubicBezTo>
                  <a:cubicBezTo>
                    <a:pt x="2533174" y="249079"/>
                    <a:pt x="2532221" y="247174"/>
                    <a:pt x="2532221" y="245269"/>
                  </a:cubicBezTo>
                  <a:cubicBezTo>
                    <a:pt x="2529364" y="233839"/>
                    <a:pt x="2527459" y="223361"/>
                    <a:pt x="2524601" y="213836"/>
                  </a:cubicBezTo>
                  <a:cubicBezTo>
                    <a:pt x="2521744" y="204311"/>
                    <a:pt x="2519839" y="196691"/>
                    <a:pt x="2517934" y="190024"/>
                  </a:cubicBezTo>
                  <a:cubicBezTo>
                    <a:pt x="2513171" y="176689"/>
                    <a:pt x="2511266" y="169069"/>
                    <a:pt x="2511266" y="169069"/>
                  </a:cubicBezTo>
                  <a:cubicBezTo>
                    <a:pt x="2511266" y="169069"/>
                    <a:pt x="2512219" y="176689"/>
                    <a:pt x="2514124" y="190976"/>
                  </a:cubicBezTo>
                  <a:cubicBezTo>
                    <a:pt x="2515076" y="197644"/>
                    <a:pt x="2516029" y="206216"/>
                    <a:pt x="2516981" y="215741"/>
                  </a:cubicBezTo>
                  <a:cubicBezTo>
                    <a:pt x="2517934" y="225266"/>
                    <a:pt x="2518886" y="235744"/>
                    <a:pt x="2520791" y="248126"/>
                  </a:cubicBezTo>
                  <a:cubicBezTo>
                    <a:pt x="2521744" y="257651"/>
                    <a:pt x="2522696" y="267176"/>
                    <a:pt x="2523649" y="277654"/>
                  </a:cubicBezTo>
                  <a:cubicBezTo>
                    <a:pt x="2522696" y="279559"/>
                    <a:pt x="2521744" y="281464"/>
                    <a:pt x="2521744" y="282416"/>
                  </a:cubicBezTo>
                  <a:cubicBezTo>
                    <a:pt x="2519839" y="274796"/>
                    <a:pt x="2517934" y="269081"/>
                    <a:pt x="2516981" y="263366"/>
                  </a:cubicBezTo>
                  <a:cubicBezTo>
                    <a:pt x="2513171" y="250031"/>
                    <a:pt x="2511266" y="243364"/>
                    <a:pt x="2511266" y="243364"/>
                  </a:cubicBezTo>
                  <a:cubicBezTo>
                    <a:pt x="2511266" y="243364"/>
                    <a:pt x="2512219" y="250984"/>
                    <a:pt x="2513171" y="264319"/>
                  </a:cubicBezTo>
                  <a:cubicBezTo>
                    <a:pt x="2513171" y="268129"/>
                    <a:pt x="2514124" y="272891"/>
                    <a:pt x="2514124" y="277654"/>
                  </a:cubicBezTo>
                  <a:cubicBezTo>
                    <a:pt x="2510314" y="269081"/>
                    <a:pt x="2507456" y="262414"/>
                    <a:pt x="2504599" y="256699"/>
                  </a:cubicBezTo>
                  <a:cubicBezTo>
                    <a:pt x="2504599" y="254794"/>
                    <a:pt x="2504599" y="253841"/>
                    <a:pt x="2504599" y="253841"/>
                  </a:cubicBezTo>
                  <a:cubicBezTo>
                    <a:pt x="2504599" y="253841"/>
                    <a:pt x="2504599" y="254794"/>
                    <a:pt x="2503646" y="255746"/>
                  </a:cubicBezTo>
                  <a:cubicBezTo>
                    <a:pt x="2499836" y="248126"/>
                    <a:pt x="2497931" y="243364"/>
                    <a:pt x="2497931" y="243364"/>
                  </a:cubicBezTo>
                  <a:cubicBezTo>
                    <a:pt x="2497931" y="243364"/>
                    <a:pt x="2499836" y="249079"/>
                    <a:pt x="2502694" y="259556"/>
                  </a:cubicBezTo>
                  <a:cubicBezTo>
                    <a:pt x="2501741" y="261461"/>
                    <a:pt x="2500789" y="264319"/>
                    <a:pt x="2499836" y="267176"/>
                  </a:cubicBezTo>
                  <a:cubicBezTo>
                    <a:pt x="2499836" y="268129"/>
                    <a:pt x="2498884" y="269081"/>
                    <a:pt x="2498884" y="270034"/>
                  </a:cubicBezTo>
                  <a:cubicBezTo>
                    <a:pt x="2496979" y="253841"/>
                    <a:pt x="2496026" y="237649"/>
                    <a:pt x="2494121" y="223361"/>
                  </a:cubicBezTo>
                  <a:cubicBezTo>
                    <a:pt x="2495074" y="222409"/>
                    <a:pt x="2495074" y="221456"/>
                    <a:pt x="2496026" y="220504"/>
                  </a:cubicBezTo>
                  <a:cubicBezTo>
                    <a:pt x="2500789" y="212884"/>
                    <a:pt x="2504599" y="207169"/>
                    <a:pt x="2506504" y="203359"/>
                  </a:cubicBezTo>
                  <a:cubicBezTo>
                    <a:pt x="2509361" y="199549"/>
                    <a:pt x="2510314" y="197644"/>
                    <a:pt x="2510314" y="197644"/>
                  </a:cubicBezTo>
                  <a:cubicBezTo>
                    <a:pt x="2510314" y="197644"/>
                    <a:pt x="2508409" y="199549"/>
                    <a:pt x="2505551" y="203359"/>
                  </a:cubicBezTo>
                  <a:cubicBezTo>
                    <a:pt x="2502694" y="206216"/>
                    <a:pt x="2497931" y="210979"/>
                    <a:pt x="2493169" y="217646"/>
                  </a:cubicBezTo>
                  <a:cubicBezTo>
                    <a:pt x="2493169" y="217646"/>
                    <a:pt x="2493169" y="216694"/>
                    <a:pt x="2493169" y="216694"/>
                  </a:cubicBezTo>
                  <a:cubicBezTo>
                    <a:pt x="2492216" y="210026"/>
                    <a:pt x="2492216" y="203359"/>
                    <a:pt x="2491264" y="196691"/>
                  </a:cubicBezTo>
                  <a:cubicBezTo>
                    <a:pt x="2497931" y="188119"/>
                    <a:pt x="2501741" y="183356"/>
                    <a:pt x="2501741" y="183356"/>
                  </a:cubicBezTo>
                  <a:cubicBezTo>
                    <a:pt x="2501741" y="183356"/>
                    <a:pt x="2497931" y="187166"/>
                    <a:pt x="2490311" y="192881"/>
                  </a:cubicBezTo>
                  <a:cubicBezTo>
                    <a:pt x="2489359" y="187166"/>
                    <a:pt x="2489359" y="181451"/>
                    <a:pt x="2489359" y="176689"/>
                  </a:cubicBezTo>
                  <a:cubicBezTo>
                    <a:pt x="2492216" y="171926"/>
                    <a:pt x="2495074" y="168116"/>
                    <a:pt x="2497931" y="165259"/>
                  </a:cubicBezTo>
                  <a:cubicBezTo>
                    <a:pt x="2500789" y="161449"/>
                    <a:pt x="2502694" y="159544"/>
                    <a:pt x="2502694" y="159544"/>
                  </a:cubicBezTo>
                  <a:cubicBezTo>
                    <a:pt x="2502694" y="159544"/>
                    <a:pt x="2500789" y="161449"/>
                    <a:pt x="2496979" y="164306"/>
                  </a:cubicBezTo>
                  <a:cubicBezTo>
                    <a:pt x="2495074" y="166211"/>
                    <a:pt x="2492216" y="169069"/>
                    <a:pt x="2489359" y="171926"/>
                  </a:cubicBezTo>
                  <a:cubicBezTo>
                    <a:pt x="2489359" y="165259"/>
                    <a:pt x="2488406" y="158591"/>
                    <a:pt x="2488406" y="153829"/>
                  </a:cubicBezTo>
                  <a:cubicBezTo>
                    <a:pt x="2488406" y="146209"/>
                    <a:pt x="2487454" y="139541"/>
                    <a:pt x="2487454" y="135731"/>
                  </a:cubicBezTo>
                  <a:cubicBezTo>
                    <a:pt x="2491264" y="129064"/>
                    <a:pt x="2494121" y="125254"/>
                    <a:pt x="2494121" y="125254"/>
                  </a:cubicBezTo>
                  <a:cubicBezTo>
                    <a:pt x="2494121" y="125254"/>
                    <a:pt x="2492216" y="128111"/>
                    <a:pt x="2487454" y="132874"/>
                  </a:cubicBezTo>
                  <a:cubicBezTo>
                    <a:pt x="2487454" y="130969"/>
                    <a:pt x="2487454" y="129064"/>
                    <a:pt x="2487454" y="129064"/>
                  </a:cubicBezTo>
                  <a:cubicBezTo>
                    <a:pt x="2487454" y="129064"/>
                    <a:pt x="2487454" y="130969"/>
                    <a:pt x="2486501" y="132874"/>
                  </a:cubicBezTo>
                  <a:cubicBezTo>
                    <a:pt x="2483644" y="136684"/>
                    <a:pt x="2479834" y="140494"/>
                    <a:pt x="2475071" y="146209"/>
                  </a:cubicBezTo>
                  <a:cubicBezTo>
                    <a:pt x="2469356" y="152876"/>
                    <a:pt x="2462689" y="161449"/>
                    <a:pt x="2455069" y="171926"/>
                  </a:cubicBezTo>
                  <a:cubicBezTo>
                    <a:pt x="2451259" y="176689"/>
                    <a:pt x="2447449" y="182404"/>
                    <a:pt x="2442686" y="188119"/>
                  </a:cubicBezTo>
                  <a:cubicBezTo>
                    <a:pt x="2439829" y="192881"/>
                    <a:pt x="2436019" y="197644"/>
                    <a:pt x="2433161" y="203359"/>
                  </a:cubicBezTo>
                  <a:cubicBezTo>
                    <a:pt x="2433161" y="199549"/>
                    <a:pt x="2432209" y="195739"/>
                    <a:pt x="2432209" y="191929"/>
                  </a:cubicBezTo>
                  <a:cubicBezTo>
                    <a:pt x="2428399" y="158591"/>
                    <a:pt x="2426494" y="130969"/>
                    <a:pt x="2425541" y="110966"/>
                  </a:cubicBezTo>
                  <a:cubicBezTo>
                    <a:pt x="2425541" y="101441"/>
                    <a:pt x="2424589" y="93821"/>
                    <a:pt x="2424589" y="88106"/>
                  </a:cubicBezTo>
                  <a:cubicBezTo>
                    <a:pt x="2424589" y="82391"/>
                    <a:pt x="2424589" y="80486"/>
                    <a:pt x="2424589" y="80486"/>
                  </a:cubicBezTo>
                  <a:cubicBezTo>
                    <a:pt x="2424589" y="80486"/>
                    <a:pt x="2424589" y="83344"/>
                    <a:pt x="2423636" y="88106"/>
                  </a:cubicBezTo>
                  <a:cubicBezTo>
                    <a:pt x="2422684" y="92869"/>
                    <a:pt x="2422684" y="101441"/>
                    <a:pt x="2421731" y="110966"/>
                  </a:cubicBezTo>
                  <a:cubicBezTo>
                    <a:pt x="2420779" y="120491"/>
                    <a:pt x="2420779" y="132874"/>
                    <a:pt x="2420779" y="146209"/>
                  </a:cubicBezTo>
                  <a:cubicBezTo>
                    <a:pt x="2420779" y="159544"/>
                    <a:pt x="2420779" y="175736"/>
                    <a:pt x="2421731" y="191929"/>
                  </a:cubicBezTo>
                  <a:cubicBezTo>
                    <a:pt x="2421731" y="200501"/>
                    <a:pt x="2422684" y="210026"/>
                    <a:pt x="2422684" y="220504"/>
                  </a:cubicBezTo>
                  <a:cubicBezTo>
                    <a:pt x="2416969" y="230029"/>
                    <a:pt x="2411254" y="239554"/>
                    <a:pt x="2405539" y="250031"/>
                  </a:cubicBezTo>
                  <a:cubicBezTo>
                    <a:pt x="2404586" y="251936"/>
                    <a:pt x="2403634" y="254794"/>
                    <a:pt x="2401729" y="256699"/>
                  </a:cubicBezTo>
                  <a:cubicBezTo>
                    <a:pt x="2401729" y="256699"/>
                    <a:pt x="2400776" y="255746"/>
                    <a:pt x="2400776" y="255746"/>
                  </a:cubicBezTo>
                  <a:cubicBezTo>
                    <a:pt x="2397919" y="247174"/>
                    <a:pt x="2395061" y="239554"/>
                    <a:pt x="2392204" y="233839"/>
                  </a:cubicBezTo>
                  <a:cubicBezTo>
                    <a:pt x="2389346" y="208121"/>
                    <a:pt x="2386489" y="186214"/>
                    <a:pt x="2385536" y="170974"/>
                  </a:cubicBezTo>
                  <a:cubicBezTo>
                    <a:pt x="2384584" y="162401"/>
                    <a:pt x="2383631" y="155734"/>
                    <a:pt x="2382679" y="150971"/>
                  </a:cubicBezTo>
                  <a:cubicBezTo>
                    <a:pt x="2383631" y="147161"/>
                    <a:pt x="2384584" y="144304"/>
                    <a:pt x="2384584" y="140494"/>
                  </a:cubicBezTo>
                  <a:cubicBezTo>
                    <a:pt x="2384584" y="138589"/>
                    <a:pt x="2383631" y="137636"/>
                    <a:pt x="2382679" y="135731"/>
                  </a:cubicBezTo>
                  <a:cubicBezTo>
                    <a:pt x="2385536" y="129064"/>
                    <a:pt x="2388394" y="121444"/>
                    <a:pt x="2390299" y="114776"/>
                  </a:cubicBezTo>
                  <a:cubicBezTo>
                    <a:pt x="2413159" y="53816"/>
                    <a:pt x="2427446" y="12859"/>
                    <a:pt x="2427446" y="12859"/>
                  </a:cubicBezTo>
                  <a:cubicBezTo>
                    <a:pt x="2427446" y="12859"/>
                    <a:pt x="2407444" y="50959"/>
                    <a:pt x="2380774" y="110014"/>
                  </a:cubicBezTo>
                  <a:cubicBezTo>
                    <a:pt x="2374106" y="124301"/>
                    <a:pt x="2366486" y="140494"/>
                    <a:pt x="2358866" y="157639"/>
                  </a:cubicBezTo>
                  <a:cubicBezTo>
                    <a:pt x="2357914" y="160496"/>
                    <a:pt x="2356009" y="163354"/>
                    <a:pt x="2355056" y="166211"/>
                  </a:cubicBezTo>
                  <a:cubicBezTo>
                    <a:pt x="2356009" y="162401"/>
                    <a:pt x="2356961" y="158591"/>
                    <a:pt x="2357914" y="155734"/>
                  </a:cubicBezTo>
                  <a:cubicBezTo>
                    <a:pt x="2360771" y="141446"/>
                    <a:pt x="2362676" y="132874"/>
                    <a:pt x="2362676" y="132874"/>
                  </a:cubicBezTo>
                  <a:cubicBezTo>
                    <a:pt x="2362676" y="132874"/>
                    <a:pt x="2359819" y="140494"/>
                    <a:pt x="2354104" y="154781"/>
                  </a:cubicBezTo>
                  <a:cubicBezTo>
                    <a:pt x="2351246" y="161449"/>
                    <a:pt x="2348389" y="170021"/>
                    <a:pt x="2344579" y="179546"/>
                  </a:cubicBezTo>
                  <a:cubicBezTo>
                    <a:pt x="2340769" y="189071"/>
                    <a:pt x="2336959" y="200501"/>
                    <a:pt x="2334101" y="211931"/>
                  </a:cubicBezTo>
                  <a:cubicBezTo>
                    <a:pt x="2334101" y="211931"/>
                    <a:pt x="2334101" y="211931"/>
                    <a:pt x="2334101" y="211931"/>
                  </a:cubicBezTo>
                  <a:cubicBezTo>
                    <a:pt x="2336006" y="197644"/>
                    <a:pt x="2338864" y="184309"/>
                    <a:pt x="2340769" y="171926"/>
                  </a:cubicBezTo>
                  <a:cubicBezTo>
                    <a:pt x="2343626" y="156686"/>
                    <a:pt x="2344579" y="143351"/>
                    <a:pt x="2347436" y="130969"/>
                  </a:cubicBezTo>
                  <a:cubicBezTo>
                    <a:pt x="2350294" y="118586"/>
                    <a:pt x="2352199" y="108109"/>
                    <a:pt x="2354104" y="99536"/>
                  </a:cubicBezTo>
                  <a:cubicBezTo>
                    <a:pt x="2357914" y="82391"/>
                    <a:pt x="2358866" y="71914"/>
                    <a:pt x="2358866" y="71914"/>
                  </a:cubicBezTo>
                  <a:cubicBezTo>
                    <a:pt x="2358866" y="71914"/>
                    <a:pt x="2355056" y="81439"/>
                    <a:pt x="2350294" y="98584"/>
                  </a:cubicBezTo>
                  <a:cubicBezTo>
                    <a:pt x="2347436" y="107156"/>
                    <a:pt x="2344579" y="117634"/>
                    <a:pt x="2340769" y="129064"/>
                  </a:cubicBezTo>
                  <a:cubicBezTo>
                    <a:pt x="2336959" y="140494"/>
                    <a:pt x="2333149" y="154781"/>
                    <a:pt x="2330291" y="170021"/>
                  </a:cubicBezTo>
                  <a:cubicBezTo>
                    <a:pt x="2328386" y="177641"/>
                    <a:pt x="2326481" y="185261"/>
                    <a:pt x="2324576" y="193834"/>
                  </a:cubicBezTo>
                  <a:cubicBezTo>
                    <a:pt x="2323624" y="190976"/>
                    <a:pt x="2321719" y="188119"/>
                    <a:pt x="2320766" y="185261"/>
                  </a:cubicBezTo>
                  <a:cubicBezTo>
                    <a:pt x="2324576" y="168116"/>
                    <a:pt x="2326481" y="157639"/>
                    <a:pt x="2326481" y="157639"/>
                  </a:cubicBezTo>
                  <a:cubicBezTo>
                    <a:pt x="2326481" y="157639"/>
                    <a:pt x="2323624" y="165259"/>
                    <a:pt x="2318861" y="179546"/>
                  </a:cubicBezTo>
                  <a:cubicBezTo>
                    <a:pt x="2316004" y="173831"/>
                    <a:pt x="2315051" y="170974"/>
                    <a:pt x="2315051" y="170974"/>
                  </a:cubicBezTo>
                  <a:cubicBezTo>
                    <a:pt x="2315051" y="170974"/>
                    <a:pt x="2316004" y="174784"/>
                    <a:pt x="2317909" y="181451"/>
                  </a:cubicBezTo>
                  <a:cubicBezTo>
                    <a:pt x="2316956" y="185261"/>
                    <a:pt x="2315051" y="189071"/>
                    <a:pt x="2313146" y="193834"/>
                  </a:cubicBezTo>
                  <a:cubicBezTo>
                    <a:pt x="2312194" y="192881"/>
                    <a:pt x="2312194" y="191929"/>
                    <a:pt x="2311241" y="190976"/>
                  </a:cubicBezTo>
                  <a:cubicBezTo>
                    <a:pt x="2314099" y="161449"/>
                    <a:pt x="2314099" y="141446"/>
                    <a:pt x="2314099" y="141446"/>
                  </a:cubicBezTo>
                  <a:cubicBezTo>
                    <a:pt x="2314099" y="141446"/>
                    <a:pt x="2306479" y="165259"/>
                    <a:pt x="2298859" y="202406"/>
                  </a:cubicBezTo>
                  <a:cubicBezTo>
                    <a:pt x="2296954" y="211931"/>
                    <a:pt x="2294096" y="221456"/>
                    <a:pt x="2292191" y="231934"/>
                  </a:cubicBezTo>
                  <a:cubicBezTo>
                    <a:pt x="2291239" y="237649"/>
                    <a:pt x="2290286" y="244316"/>
                    <a:pt x="2289334" y="250031"/>
                  </a:cubicBezTo>
                  <a:cubicBezTo>
                    <a:pt x="2288381" y="252889"/>
                    <a:pt x="2287429" y="255746"/>
                    <a:pt x="2285524" y="259556"/>
                  </a:cubicBezTo>
                  <a:cubicBezTo>
                    <a:pt x="2282666" y="267176"/>
                    <a:pt x="2279809" y="276701"/>
                    <a:pt x="2275999" y="287179"/>
                  </a:cubicBezTo>
                  <a:cubicBezTo>
                    <a:pt x="2275999" y="287179"/>
                    <a:pt x="2275999" y="288131"/>
                    <a:pt x="2275999" y="288131"/>
                  </a:cubicBezTo>
                  <a:cubicBezTo>
                    <a:pt x="2275999" y="286226"/>
                    <a:pt x="2275999" y="284321"/>
                    <a:pt x="2275999" y="282416"/>
                  </a:cubicBezTo>
                  <a:cubicBezTo>
                    <a:pt x="2276951" y="271939"/>
                    <a:pt x="2276951" y="265271"/>
                    <a:pt x="2276951" y="265271"/>
                  </a:cubicBezTo>
                  <a:cubicBezTo>
                    <a:pt x="2276951" y="265271"/>
                    <a:pt x="2275046" y="270986"/>
                    <a:pt x="2272189" y="281464"/>
                  </a:cubicBezTo>
                  <a:cubicBezTo>
                    <a:pt x="2271236" y="284321"/>
                    <a:pt x="2270284" y="287179"/>
                    <a:pt x="2269331" y="290989"/>
                  </a:cubicBezTo>
                  <a:cubicBezTo>
                    <a:pt x="2269331" y="290989"/>
                    <a:pt x="2269331" y="290989"/>
                    <a:pt x="2269331" y="290989"/>
                  </a:cubicBezTo>
                  <a:cubicBezTo>
                    <a:pt x="2269331" y="280511"/>
                    <a:pt x="2268379" y="270034"/>
                    <a:pt x="2269331" y="261461"/>
                  </a:cubicBezTo>
                  <a:cubicBezTo>
                    <a:pt x="2270284" y="252889"/>
                    <a:pt x="2269331" y="245269"/>
                    <a:pt x="2270284" y="238601"/>
                  </a:cubicBezTo>
                  <a:cubicBezTo>
                    <a:pt x="2271236" y="232886"/>
                    <a:pt x="2271236" y="228124"/>
                    <a:pt x="2272189" y="225266"/>
                  </a:cubicBezTo>
                  <a:cubicBezTo>
                    <a:pt x="2275046" y="215741"/>
                    <a:pt x="2275999" y="210979"/>
                    <a:pt x="2275999" y="210979"/>
                  </a:cubicBezTo>
                  <a:cubicBezTo>
                    <a:pt x="2275999" y="210979"/>
                    <a:pt x="2272189" y="218599"/>
                    <a:pt x="2266474" y="232886"/>
                  </a:cubicBezTo>
                  <a:cubicBezTo>
                    <a:pt x="2267426" y="230029"/>
                    <a:pt x="2267426" y="228124"/>
                    <a:pt x="2267426" y="228124"/>
                  </a:cubicBezTo>
                  <a:cubicBezTo>
                    <a:pt x="2267426" y="228124"/>
                    <a:pt x="2265521" y="230981"/>
                    <a:pt x="2263616" y="235744"/>
                  </a:cubicBezTo>
                  <a:cubicBezTo>
                    <a:pt x="2264569" y="226219"/>
                    <a:pt x="2265521" y="220504"/>
                    <a:pt x="2265521" y="220504"/>
                  </a:cubicBezTo>
                  <a:cubicBezTo>
                    <a:pt x="2265521" y="220504"/>
                    <a:pt x="2262664" y="230029"/>
                    <a:pt x="2256949" y="247174"/>
                  </a:cubicBezTo>
                  <a:cubicBezTo>
                    <a:pt x="2255044" y="250984"/>
                    <a:pt x="2253139" y="253841"/>
                    <a:pt x="2252186" y="258604"/>
                  </a:cubicBezTo>
                  <a:cubicBezTo>
                    <a:pt x="2251234" y="259556"/>
                    <a:pt x="2251234" y="260509"/>
                    <a:pt x="2250281" y="262414"/>
                  </a:cubicBezTo>
                  <a:cubicBezTo>
                    <a:pt x="2252186" y="255746"/>
                    <a:pt x="2253139" y="249079"/>
                    <a:pt x="2255044" y="243364"/>
                  </a:cubicBezTo>
                  <a:cubicBezTo>
                    <a:pt x="2260759" y="216694"/>
                    <a:pt x="2264569" y="194786"/>
                    <a:pt x="2267426" y="178594"/>
                  </a:cubicBezTo>
                  <a:cubicBezTo>
                    <a:pt x="2269331" y="163354"/>
                    <a:pt x="2270284" y="153829"/>
                    <a:pt x="2270284" y="153829"/>
                  </a:cubicBezTo>
                  <a:cubicBezTo>
                    <a:pt x="2270284" y="153829"/>
                    <a:pt x="2267426" y="162401"/>
                    <a:pt x="2262664" y="177641"/>
                  </a:cubicBezTo>
                  <a:cubicBezTo>
                    <a:pt x="2260759" y="185261"/>
                    <a:pt x="2257901" y="194786"/>
                    <a:pt x="2254091" y="205264"/>
                  </a:cubicBezTo>
                  <a:cubicBezTo>
                    <a:pt x="2251234" y="212884"/>
                    <a:pt x="2249329" y="221456"/>
                    <a:pt x="2246471" y="230981"/>
                  </a:cubicBezTo>
                  <a:cubicBezTo>
                    <a:pt x="2244566" y="234791"/>
                    <a:pt x="2243614" y="239554"/>
                    <a:pt x="2241709" y="244316"/>
                  </a:cubicBezTo>
                  <a:cubicBezTo>
                    <a:pt x="2240756" y="240506"/>
                    <a:pt x="2239804" y="236696"/>
                    <a:pt x="2239804" y="233839"/>
                  </a:cubicBezTo>
                  <a:cubicBezTo>
                    <a:pt x="2235994" y="215741"/>
                    <a:pt x="2233136" y="205264"/>
                    <a:pt x="2233136" y="205264"/>
                  </a:cubicBezTo>
                  <a:cubicBezTo>
                    <a:pt x="2233136" y="205264"/>
                    <a:pt x="2235041" y="224314"/>
                    <a:pt x="2237899" y="255746"/>
                  </a:cubicBezTo>
                  <a:cubicBezTo>
                    <a:pt x="2236946" y="259556"/>
                    <a:pt x="2235041" y="264319"/>
                    <a:pt x="2234089" y="269081"/>
                  </a:cubicBezTo>
                  <a:cubicBezTo>
                    <a:pt x="2234089" y="269081"/>
                    <a:pt x="2233136" y="270034"/>
                    <a:pt x="2233136" y="270034"/>
                  </a:cubicBezTo>
                  <a:cubicBezTo>
                    <a:pt x="2233136" y="268129"/>
                    <a:pt x="2233136" y="265271"/>
                    <a:pt x="2233136" y="263366"/>
                  </a:cubicBezTo>
                  <a:cubicBezTo>
                    <a:pt x="2233136" y="253841"/>
                    <a:pt x="2232184" y="244316"/>
                    <a:pt x="2231231" y="234791"/>
                  </a:cubicBezTo>
                  <a:cubicBezTo>
                    <a:pt x="2230279" y="225266"/>
                    <a:pt x="2229326" y="216694"/>
                    <a:pt x="2228374" y="207169"/>
                  </a:cubicBezTo>
                  <a:cubicBezTo>
                    <a:pt x="2229326" y="198596"/>
                    <a:pt x="2230279" y="193834"/>
                    <a:pt x="2230279" y="193834"/>
                  </a:cubicBezTo>
                  <a:cubicBezTo>
                    <a:pt x="2230279" y="193834"/>
                    <a:pt x="2229326" y="197644"/>
                    <a:pt x="2226469" y="204311"/>
                  </a:cubicBezTo>
                  <a:cubicBezTo>
                    <a:pt x="2225516" y="202406"/>
                    <a:pt x="2224564" y="201454"/>
                    <a:pt x="2222659" y="200501"/>
                  </a:cubicBezTo>
                  <a:cubicBezTo>
                    <a:pt x="2221706" y="200501"/>
                    <a:pt x="2221706" y="199549"/>
                    <a:pt x="2220754" y="199549"/>
                  </a:cubicBezTo>
                  <a:cubicBezTo>
                    <a:pt x="2219801" y="199549"/>
                    <a:pt x="2218849" y="199549"/>
                    <a:pt x="2217896" y="199549"/>
                  </a:cubicBezTo>
                  <a:cubicBezTo>
                    <a:pt x="2215991" y="200501"/>
                    <a:pt x="2215991" y="201454"/>
                    <a:pt x="2215039" y="202406"/>
                  </a:cubicBezTo>
                  <a:cubicBezTo>
                    <a:pt x="2213134" y="206216"/>
                    <a:pt x="2213134" y="210979"/>
                    <a:pt x="2213134" y="214789"/>
                  </a:cubicBezTo>
                  <a:cubicBezTo>
                    <a:pt x="2214086" y="210979"/>
                    <a:pt x="2215039" y="206216"/>
                    <a:pt x="2217896" y="203359"/>
                  </a:cubicBezTo>
                  <a:cubicBezTo>
                    <a:pt x="2218849" y="202406"/>
                    <a:pt x="2218849" y="201454"/>
                    <a:pt x="2219801" y="201454"/>
                  </a:cubicBezTo>
                  <a:cubicBezTo>
                    <a:pt x="2219801" y="201454"/>
                    <a:pt x="2220754" y="201454"/>
                    <a:pt x="2220754" y="202406"/>
                  </a:cubicBezTo>
                  <a:cubicBezTo>
                    <a:pt x="2221706" y="203359"/>
                    <a:pt x="2222659" y="205264"/>
                    <a:pt x="2223611" y="207169"/>
                  </a:cubicBezTo>
                  <a:lnTo>
                    <a:pt x="2223611" y="215741"/>
                  </a:lnTo>
                  <a:cubicBezTo>
                    <a:pt x="2223611" y="215741"/>
                    <a:pt x="2223611" y="215741"/>
                    <a:pt x="2223611" y="215741"/>
                  </a:cubicBezTo>
                  <a:cubicBezTo>
                    <a:pt x="2221706" y="222409"/>
                    <a:pt x="2218849" y="230981"/>
                    <a:pt x="2215991" y="241459"/>
                  </a:cubicBezTo>
                  <a:cubicBezTo>
                    <a:pt x="2213134" y="250984"/>
                    <a:pt x="2209324" y="262414"/>
                    <a:pt x="2206466" y="274796"/>
                  </a:cubicBezTo>
                  <a:cubicBezTo>
                    <a:pt x="2203609" y="287179"/>
                    <a:pt x="2199799" y="299561"/>
                    <a:pt x="2196941" y="313849"/>
                  </a:cubicBezTo>
                  <a:cubicBezTo>
                    <a:pt x="2195989" y="308134"/>
                    <a:pt x="2195989" y="305276"/>
                    <a:pt x="2195989" y="305276"/>
                  </a:cubicBezTo>
                  <a:cubicBezTo>
                    <a:pt x="2195989" y="305276"/>
                    <a:pt x="2195989" y="310039"/>
                    <a:pt x="2195036" y="317659"/>
                  </a:cubicBezTo>
                  <a:cubicBezTo>
                    <a:pt x="2194084" y="315754"/>
                    <a:pt x="2193131" y="314801"/>
                    <a:pt x="2193131" y="314801"/>
                  </a:cubicBezTo>
                  <a:cubicBezTo>
                    <a:pt x="2193131" y="314801"/>
                    <a:pt x="2194084" y="315754"/>
                    <a:pt x="2195036" y="318611"/>
                  </a:cubicBezTo>
                  <a:cubicBezTo>
                    <a:pt x="2195036" y="320516"/>
                    <a:pt x="2195036" y="321469"/>
                    <a:pt x="2195036" y="323374"/>
                  </a:cubicBezTo>
                  <a:cubicBezTo>
                    <a:pt x="2194084" y="327184"/>
                    <a:pt x="2193131" y="330994"/>
                    <a:pt x="2192179" y="334804"/>
                  </a:cubicBezTo>
                  <a:cubicBezTo>
                    <a:pt x="2191226" y="332899"/>
                    <a:pt x="2191226" y="331946"/>
                    <a:pt x="2190274" y="330994"/>
                  </a:cubicBezTo>
                  <a:cubicBezTo>
                    <a:pt x="2190274" y="330041"/>
                    <a:pt x="2191226" y="330041"/>
                    <a:pt x="2191226" y="330041"/>
                  </a:cubicBezTo>
                  <a:cubicBezTo>
                    <a:pt x="2191226" y="330041"/>
                    <a:pt x="2191226" y="330041"/>
                    <a:pt x="2190274" y="330994"/>
                  </a:cubicBezTo>
                  <a:cubicBezTo>
                    <a:pt x="2189321" y="328136"/>
                    <a:pt x="2188369" y="326231"/>
                    <a:pt x="2188369" y="326231"/>
                  </a:cubicBezTo>
                  <a:cubicBezTo>
                    <a:pt x="2188369" y="326231"/>
                    <a:pt x="2188369" y="328136"/>
                    <a:pt x="2189321" y="331946"/>
                  </a:cubicBezTo>
                  <a:cubicBezTo>
                    <a:pt x="2189321" y="331946"/>
                    <a:pt x="2188369" y="332899"/>
                    <a:pt x="2188369" y="332899"/>
                  </a:cubicBezTo>
                  <a:cubicBezTo>
                    <a:pt x="2186464" y="321469"/>
                    <a:pt x="2185511" y="315754"/>
                    <a:pt x="2185511" y="315754"/>
                  </a:cubicBezTo>
                  <a:cubicBezTo>
                    <a:pt x="2185511" y="315754"/>
                    <a:pt x="2185511" y="323374"/>
                    <a:pt x="2184559" y="336709"/>
                  </a:cubicBezTo>
                  <a:cubicBezTo>
                    <a:pt x="2184559" y="336709"/>
                    <a:pt x="2184559" y="336709"/>
                    <a:pt x="2184559" y="337661"/>
                  </a:cubicBezTo>
                  <a:cubicBezTo>
                    <a:pt x="2183606" y="339566"/>
                    <a:pt x="2181701" y="341471"/>
                    <a:pt x="2179796" y="343376"/>
                  </a:cubicBezTo>
                  <a:cubicBezTo>
                    <a:pt x="2179796" y="342424"/>
                    <a:pt x="2178844" y="341471"/>
                    <a:pt x="2178844" y="340519"/>
                  </a:cubicBezTo>
                  <a:cubicBezTo>
                    <a:pt x="2183606" y="320516"/>
                    <a:pt x="2188369" y="301466"/>
                    <a:pt x="2192179" y="283369"/>
                  </a:cubicBezTo>
                  <a:cubicBezTo>
                    <a:pt x="2205514" y="228124"/>
                    <a:pt x="2212181" y="190024"/>
                    <a:pt x="2212181" y="190024"/>
                  </a:cubicBezTo>
                  <a:cubicBezTo>
                    <a:pt x="2212181" y="190024"/>
                    <a:pt x="2199799" y="222409"/>
                    <a:pt x="2183606" y="272891"/>
                  </a:cubicBezTo>
                  <a:cubicBezTo>
                    <a:pt x="2184559" y="266224"/>
                    <a:pt x="2186464" y="259556"/>
                    <a:pt x="2187416" y="253841"/>
                  </a:cubicBezTo>
                  <a:cubicBezTo>
                    <a:pt x="2189321" y="246221"/>
                    <a:pt x="2190274" y="239554"/>
                    <a:pt x="2192179" y="231934"/>
                  </a:cubicBezTo>
                  <a:cubicBezTo>
                    <a:pt x="2194084" y="224314"/>
                    <a:pt x="2195989" y="216694"/>
                    <a:pt x="2196941" y="210026"/>
                  </a:cubicBezTo>
                  <a:cubicBezTo>
                    <a:pt x="2197894" y="204311"/>
                    <a:pt x="2199799" y="198596"/>
                    <a:pt x="2200751" y="193834"/>
                  </a:cubicBezTo>
                  <a:cubicBezTo>
                    <a:pt x="2201704" y="189071"/>
                    <a:pt x="2203609" y="184309"/>
                    <a:pt x="2204561" y="179546"/>
                  </a:cubicBezTo>
                  <a:cubicBezTo>
                    <a:pt x="2207419" y="170021"/>
                    <a:pt x="2209324" y="162401"/>
                    <a:pt x="2211229" y="155734"/>
                  </a:cubicBezTo>
                  <a:cubicBezTo>
                    <a:pt x="2215039" y="142399"/>
                    <a:pt x="2217896" y="134779"/>
                    <a:pt x="2217896" y="134779"/>
                  </a:cubicBezTo>
                  <a:cubicBezTo>
                    <a:pt x="2217896" y="134779"/>
                    <a:pt x="2215039" y="139541"/>
                    <a:pt x="2211229" y="148114"/>
                  </a:cubicBezTo>
                  <a:cubicBezTo>
                    <a:pt x="2211229" y="148114"/>
                    <a:pt x="2211229" y="147161"/>
                    <a:pt x="2211229" y="147161"/>
                  </a:cubicBezTo>
                  <a:cubicBezTo>
                    <a:pt x="2213134" y="139541"/>
                    <a:pt x="2215039" y="131921"/>
                    <a:pt x="2216944" y="125254"/>
                  </a:cubicBezTo>
                  <a:cubicBezTo>
                    <a:pt x="2218849" y="118586"/>
                    <a:pt x="2220754" y="111919"/>
                    <a:pt x="2222659" y="105251"/>
                  </a:cubicBezTo>
                  <a:cubicBezTo>
                    <a:pt x="2226469" y="92869"/>
                    <a:pt x="2229326" y="81439"/>
                    <a:pt x="2233136" y="72866"/>
                  </a:cubicBezTo>
                  <a:cubicBezTo>
                    <a:pt x="2238851" y="54769"/>
                    <a:pt x="2242661" y="45244"/>
                    <a:pt x="2242661" y="45244"/>
                  </a:cubicBezTo>
                  <a:cubicBezTo>
                    <a:pt x="2242661" y="45244"/>
                    <a:pt x="2237899" y="54769"/>
                    <a:pt x="2229326" y="71914"/>
                  </a:cubicBezTo>
                  <a:cubicBezTo>
                    <a:pt x="2224564" y="80486"/>
                    <a:pt x="2220754" y="90964"/>
                    <a:pt x="2215991" y="103346"/>
                  </a:cubicBezTo>
                  <a:cubicBezTo>
                    <a:pt x="2213134" y="109061"/>
                    <a:pt x="2211229" y="115729"/>
                    <a:pt x="2208371" y="122396"/>
                  </a:cubicBezTo>
                  <a:cubicBezTo>
                    <a:pt x="2205514" y="129064"/>
                    <a:pt x="2203609" y="136684"/>
                    <a:pt x="2200751" y="144304"/>
                  </a:cubicBezTo>
                  <a:cubicBezTo>
                    <a:pt x="2195036" y="159544"/>
                    <a:pt x="2190274" y="176689"/>
                    <a:pt x="2184559" y="193834"/>
                  </a:cubicBezTo>
                  <a:cubicBezTo>
                    <a:pt x="2181701" y="204311"/>
                    <a:pt x="2177891" y="215741"/>
                    <a:pt x="2175034" y="228124"/>
                  </a:cubicBezTo>
                  <a:cubicBezTo>
                    <a:pt x="2175986" y="218599"/>
                    <a:pt x="2176939" y="210026"/>
                    <a:pt x="2177891" y="203359"/>
                  </a:cubicBezTo>
                  <a:cubicBezTo>
                    <a:pt x="2178844" y="198596"/>
                    <a:pt x="2178844" y="193834"/>
                    <a:pt x="2178844" y="190024"/>
                  </a:cubicBezTo>
                  <a:cubicBezTo>
                    <a:pt x="2179796" y="186214"/>
                    <a:pt x="2180749" y="184309"/>
                    <a:pt x="2180749" y="184309"/>
                  </a:cubicBezTo>
                  <a:cubicBezTo>
                    <a:pt x="2180749" y="184309"/>
                    <a:pt x="2179796" y="185261"/>
                    <a:pt x="2179796" y="187166"/>
                  </a:cubicBezTo>
                  <a:cubicBezTo>
                    <a:pt x="2180749" y="180499"/>
                    <a:pt x="2180749" y="176689"/>
                    <a:pt x="2180749" y="176689"/>
                  </a:cubicBezTo>
                  <a:cubicBezTo>
                    <a:pt x="2180749" y="176689"/>
                    <a:pt x="2178844" y="183356"/>
                    <a:pt x="2175986" y="194786"/>
                  </a:cubicBezTo>
                  <a:cubicBezTo>
                    <a:pt x="2174081" y="198596"/>
                    <a:pt x="2172176" y="202406"/>
                    <a:pt x="2170271" y="208121"/>
                  </a:cubicBezTo>
                  <a:cubicBezTo>
                    <a:pt x="2163604" y="223361"/>
                    <a:pt x="2155031" y="245269"/>
                    <a:pt x="2144554" y="271939"/>
                  </a:cubicBezTo>
                  <a:cubicBezTo>
                    <a:pt x="2141696" y="279559"/>
                    <a:pt x="2137886" y="288131"/>
                    <a:pt x="2135029" y="296704"/>
                  </a:cubicBezTo>
                  <a:cubicBezTo>
                    <a:pt x="2135029" y="296704"/>
                    <a:pt x="2135029" y="296704"/>
                    <a:pt x="2135029" y="295751"/>
                  </a:cubicBezTo>
                  <a:cubicBezTo>
                    <a:pt x="2133124" y="290989"/>
                    <a:pt x="2131219" y="286226"/>
                    <a:pt x="2129314" y="282416"/>
                  </a:cubicBezTo>
                  <a:cubicBezTo>
                    <a:pt x="2133124" y="261461"/>
                    <a:pt x="2135981" y="244316"/>
                    <a:pt x="2137886" y="231934"/>
                  </a:cubicBezTo>
                  <a:cubicBezTo>
                    <a:pt x="2139791" y="217646"/>
                    <a:pt x="2141696" y="210026"/>
                    <a:pt x="2141696" y="210026"/>
                  </a:cubicBezTo>
                  <a:cubicBezTo>
                    <a:pt x="2141696" y="210026"/>
                    <a:pt x="2138839" y="217646"/>
                    <a:pt x="2134076" y="230981"/>
                  </a:cubicBezTo>
                  <a:cubicBezTo>
                    <a:pt x="2131219" y="239554"/>
                    <a:pt x="2127409" y="250984"/>
                    <a:pt x="2123599" y="263366"/>
                  </a:cubicBezTo>
                  <a:cubicBezTo>
                    <a:pt x="2123599" y="260509"/>
                    <a:pt x="2122646" y="257651"/>
                    <a:pt x="2122646" y="253841"/>
                  </a:cubicBezTo>
                  <a:cubicBezTo>
                    <a:pt x="2120741" y="238601"/>
                    <a:pt x="2118836" y="225266"/>
                    <a:pt x="2117884" y="211931"/>
                  </a:cubicBezTo>
                  <a:cubicBezTo>
                    <a:pt x="2115979" y="198596"/>
                    <a:pt x="2114074" y="187166"/>
                    <a:pt x="2112169" y="176689"/>
                  </a:cubicBezTo>
                  <a:cubicBezTo>
                    <a:pt x="2110264" y="166211"/>
                    <a:pt x="2108359" y="157639"/>
                    <a:pt x="2107406" y="150019"/>
                  </a:cubicBezTo>
                  <a:cubicBezTo>
                    <a:pt x="2104549" y="134779"/>
                    <a:pt x="2102644" y="127159"/>
                    <a:pt x="2102644" y="127159"/>
                  </a:cubicBezTo>
                  <a:cubicBezTo>
                    <a:pt x="2102644" y="127159"/>
                    <a:pt x="2102644" y="135731"/>
                    <a:pt x="2103596" y="150971"/>
                  </a:cubicBezTo>
                  <a:cubicBezTo>
                    <a:pt x="2103596" y="155734"/>
                    <a:pt x="2104549" y="161449"/>
                    <a:pt x="2104549" y="168116"/>
                  </a:cubicBezTo>
                  <a:cubicBezTo>
                    <a:pt x="2104549" y="171926"/>
                    <a:pt x="2104549" y="176689"/>
                    <a:pt x="2104549" y="183356"/>
                  </a:cubicBezTo>
                  <a:cubicBezTo>
                    <a:pt x="2104549" y="190024"/>
                    <a:pt x="2105501" y="197644"/>
                    <a:pt x="2105501" y="207169"/>
                  </a:cubicBezTo>
                  <a:cubicBezTo>
                    <a:pt x="2105501" y="212884"/>
                    <a:pt x="2106454" y="218599"/>
                    <a:pt x="2106454" y="225266"/>
                  </a:cubicBezTo>
                  <a:cubicBezTo>
                    <a:pt x="2105501" y="224314"/>
                    <a:pt x="2105501" y="222409"/>
                    <a:pt x="2104549" y="221456"/>
                  </a:cubicBezTo>
                  <a:cubicBezTo>
                    <a:pt x="2104549" y="221456"/>
                    <a:pt x="2104549" y="221456"/>
                    <a:pt x="2104549" y="221456"/>
                  </a:cubicBezTo>
                  <a:lnTo>
                    <a:pt x="2104549" y="221456"/>
                  </a:lnTo>
                  <a:cubicBezTo>
                    <a:pt x="2103596" y="219551"/>
                    <a:pt x="2102644" y="217646"/>
                    <a:pt x="2102644" y="215741"/>
                  </a:cubicBezTo>
                  <a:cubicBezTo>
                    <a:pt x="2102644" y="211931"/>
                    <a:pt x="2101691" y="208121"/>
                    <a:pt x="2101691" y="205264"/>
                  </a:cubicBezTo>
                  <a:cubicBezTo>
                    <a:pt x="2100739" y="193834"/>
                    <a:pt x="2099786" y="184309"/>
                    <a:pt x="2098834" y="176689"/>
                  </a:cubicBezTo>
                  <a:cubicBezTo>
                    <a:pt x="2098834" y="173831"/>
                    <a:pt x="2097881" y="170974"/>
                    <a:pt x="2097881" y="168116"/>
                  </a:cubicBezTo>
                  <a:cubicBezTo>
                    <a:pt x="2100739" y="155734"/>
                    <a:pt x="2102644" y="149066"/>
                    <a:pt x="2102644" y="149066"/>
                  </a:cubicBezTo>
                  <a:cubicBezTo>
                    <a:pt x="2102644" y="149066"/>
                    <a:pt x="2100739" y="153829"/>
                    <a:pt x="2096929" y="162401"/>
                  </a:cubicBezTo>
                  <a:cubicBezTo>
                    <a:pt x="2095976" y="155734"/>
                    <a:pt x="2095024" y="151924"/>
                    <a:pt x="2095024" y="151924"/>
                  </a:cubicBezTo>
                  <a:cubicBezTo>
                    <a:pt x="2095024" y="151924"/>
                    <a:pt x="2095024" y="157639"/>
                    <a:pt x="2095024" y="167164"/>
                  </a:cubicBezTo>
                  <a:cubicBezTo>
                    <a:pt x="2088356" y="182404"/>
                    <a:pt x="2078831" y="206216"/>
                    <a:pt x="2066449" y="235744"/>
                  </a:cubicBezTo>
                  <a:cubicBezTo>
                    <a:pt x="2063591" y="243364"/>
                    <a:pt x="2060734" y="250984"/>
                    <a:pt x="2056924" y="259556"/>
                  </a:cubicBezTo>
                  <a:cubicBezTo>
                    <a:pt x="2061686" y="234791"/>
                    <a:pt x="2063591" y="219551"/>
                    <a:pt x="2063591" y="219551"/>
                  </a:cubicBezTo>
                  <a:cubicBezTo>
                    <a:pt x="2063591" y="219551"/>
                    <a:pt x="2058829" y="231934"/>
                    <a:pt x="2052161" y="252889"/>
                  </a:cubicBezTo>
                  <a:cubicBezTo>
                    <a:pt x="2051209" y="250984"/>
                    <a:pt x="2050256" y="249079"/>
                    <a:pt x="2050256" y="248126"/>
                  </a:cubicBezTo>
                  <a:cubicBezTo>
                    <a:pt x="2050256" y="238601"/>
                    <a:pt x="2050256" y="233839"/>
                    <a:pt x="2050256" y="233839"/>
                  </a:cubicBezTo>
                  <a:cubicBezTo>
                    <a:pt x="2050256" y="233839"/>
                    <a:pt x="2049304" y="237649"/>
                    <a:pt x="2048351" y="244316"/>
                  </a:cubicBezTo>
                  <a:cubicBezTo>
                    <a:pt x="2047399" y="241459"/>
                    <a:pt x="2046446" y="240506"/>
                    <a:pt x="2046446" y="240506"/>
                  </a:cubicBezTo>
                  <a:cubicBezTo>
                    <a:pt x="2046446" y="240506"/>
                    <a:pt x="2047399" y="242411"/>
                    <a:pt x="2047399" y="247174"/>
                  </a:cubicBezTo>
                  <a:cubicBezTo>
                    <a:pt x="2046446" y="251936"/>
                    <a:pt x="2045494" y="258604"/>
                    <a:pt x="2044541" y="266224"/>
                  </a:cubicBezTo>
                  <a:cubicBezTo>
                    <a:pt x="2044541" y="264319"/>
                    <a:pt x="2043589" y="261461"/>
                    <a:pt x="2043589" y="259556"/>
                  </a:cubicBezTo>
                  <a:cubicBezTo>
                    <a:pt x="2042636" y="255746"/>
                    <a:pt x="2042636" y="252889"/>
                    <a:pt x="2041684" y="249079"/>
                  </a:cubicBezTo>
                  <a:cubicBezTo>
                    <a:pt x="2046446" y="210026"/>
                    <a:pt x="2048351" y="184309"/>
                    <a:pt x="2048351" y="184309"/>
                  </a:cubicBezTo>
                  <a:cubicBezTo>
                    <a:pt x="2048351" y="184309"/>
                    <a:pt x="2044541" y="196691"/>
                    <a:pt x="2039779" y="216694"/>
                  </a:cubicBezTo>
                  <a:cubicBezTo>
                    <a:pt x="2038826" y="218599"/>
                    <a:pt x="2037874" y="220504"/>
                    <a:pt x="2036921" y="223361"/>
                  </a:cubicBezTo>
                  <a:cubicBezTo>
                    <a:pt x="2036921" y="221456"/>
                    <a:pt x="2035969" y="220504"/>
                    <a:pt x="2035969" y="218599"/>
                  </a:cubicBezTo>
                  <a:cubicBezTo>
                    <a:pt x="2034064" y="206216"/>
                    <a:pt x="2032159" y="195739"/>
                    <a:pt x="2031206" y="187166"/>
                  </a:cubicBezTo>
                  <a:cubicBezTo>
                    <a:pt x="2030254" y="179546"/>
                    <a:pt x="2029301" y="173831"/>
                    <a:pt x="2028349" y="169069"/>
                  </a:cubicBezTo>
                  <a:cubicBezTo>
                    <a:pt x="2030254" y="154781"/>
                    <a:pt x="2031206" y="147161"/>
                    <a:pt x="2031206" y="147161"/>
                  </a:cubicBezTo>
                  <a:cubicBezTo>
                    <a:pt x="2031206" y="147161"/>
                    <a:pt x="2030254" y="150971"/>
                    <a:pt x="2028349" y="157639"/>
                  </a:cubicBezTo>
                  <a:cubicBezTo>
                    <a:pt x="2029301" y="145256"/>
                    <a:pt x="2030254" y="138589"/>
                    <a:pt x="2030254" y="138589"/>
                  </a:cubicBezTo>
                  <a:cubicBezTo>
                    <a:pt x="2030254" y="138589"/>
                    <a:pt x="2028349" y="146209"/>
                    <a:pt x="2023586" y="160496"/>
                  </a:cubicBezTo>
                  <a:cubicBezTo>
                    <a:pt x="2021681" y="167164"/>
                    <a:pt x="2019776" y="176689"/>
                    <a:pt x="2017871" y="186214"/>
                  </a:cubicBezTo>
                  <a:cubicBezTo>
                    <a:pt x="2017871" y="188119"/>
                    <a:pt x="2016919" y="190024"/>
                    <a:pt x="2016919" y="191929"/>
                  </a:cubicBezTo>
                  <a:cubicBezTo>
                    <a:pt x="2016919" y="191929"/>
                    <a:pt x="2016919" y="190976"/>
                    <a:pt x="2016919" y="190976"/>
                  </a:cubicBezTo>
                  <a:cubicBezTo>
                    <a:pt x="2018824" y="170021"/>
                    <a:pt x="2019776" y="158591"/>
                    <a:pt x="2019776" y="158591"/>
                  </a:cubicBezTo>
                  <a:cubicBezTo>
                    <a:pt x="2019776" y="158591"/>
                    <a:pt x="2017871" y="166211"/>
                    <a:pt x="2015014" y="178594"/>
                  </a:cubicBezTo>
                  <a:cubicBezTo>
                    <a:pt x="2015014" y="176689"/>
                    <a:pt x="2014061" y="174784"/>
                    <a:pt x="2014061" y="174784"/>
                  </a:cubicBezTo>
                  <a:cubicBezTo>
                    <a:pt x="2014061" y="174784"/>
                    <a:pt x="2014061" y="175736"/>
                    <a:pt x="2014061" y="177641"/>
                  </a:cubicBezTo>
                  <a:cubicBezTo>
                    <a:pt x="2013109" y="172879"/>
                    <a:pt x="2012156" y="168116"/>
                    <a:pt x="2011204" y="163354"/>
                  </a:cubicBezTo>
                  <a:cubicBezTo>
                    <a:pt x="2008346" y="148114"/>
                    <a:pt x="2006441" y="135731"/>
                    <a:pt x="2003584" y="125254"/>
                  </a:cubicBezTo>
                  <a:cubicBezTo>
                    <a:pt x="1999774" y="104299"/>
                    <a:pt x="1996916" y="91916"/>
                    <a:pt x="1996916" y="91916"/>
                  </a:cubicBezTo>
                  <a:cubicBezTo>
                    <a:pt x="1996916" y="91916"/>
                    <a:pt x="1997869" y="104299"/>
                    <a:pt x="1999774" y="125254"/>
                  </a:cubicBezTo>
                  <a:cubicBezTo>
                    <a:pt x="2000726" y="135731"/>
                    <a:pt x="2001679" y="149066"/>
                    <a:pt x="2003584" y="164306"/>
                  </a:cubicBezTo>
                  <a:cubicBezTo>
                    <a:pt x="2004536" y="175736"/>
                    <a:pt x="2006441" y="189071"/>
                    <a:pt x="2008346" y="203359"/>
                  </a:cubicBezTo>
                  <a:cubicBezTo>
                    <a:pt x="2005489" y="213836"/>
                    <a:pt x="2002631" y="227171"/>
                    <a:pt x="1999774" y="240506"/>
                  </a:cubicBezTo>
                  <a:cubicBezTo>
                    <a:pt x="1995011" y="262414"/>
                    <a:pt x="1990249" y="288131"/>
                    <a:pt x="1984534" y="314801"/>
                  </a:cubicBezTo>
                  <a:cubicBezTo>
                    <a:pt x="1984534" y="303371"/>
                    <a:pt x="1984534" y="292894"/>
                    <a:pt x="1984534" y="283369"/>
                  </a:cubicBezTo>
                  <a:cubicBezTo>
                    <a:pt x="1984534" y="277654"/>
                    <a:pt x="1984534" y="271939"/>
                    <a:pt x="1984534" y="267176"/>
                  </a:cubicBezTo>
                  <a:cubicBezTo>
                    <a:pt x="1985486" y="265271"/>
                    <a:pt x="1986439" y="263366"/>
                    <a:pt x="1986439" y="263366"/>
                  </a:cubicBezTo>
                  <a:cubicBezTo>
                    <a:pt x="1986439" y="263366"/>
                    <a:pt x="1985486" y="264319"/>
                    <a:pt x="1984534" y="265271"/>
                  </a:cubicBezTo>
                  <a:cubicBezTo>
                    <a:pt x="1984534" y="257651"/>
                    <a:pt x="1984534" y="250031"/>
                    <a:pt x="1985486" y="243364"/>
                  </a:cubicBezTo>
                  <a:cubicBezTo>
                    <a:pt x="1986439" y="231934"/>
                    <a:pt x="1986439" y="221456"/>
                    <a:pt x="1987391" y="212884"/>
                  </a:cubicBezTo>
                  <a:cubicBezTo>
                    <a:pt x="1988344" y="195739"/>
                    <a:pt x="1989296" y="186214"/>
                    <a:pt x="1989296" y="186214"/>
                  </a:cubicBezTo>
                  <a:cubicBezTo>
                    <a:pt x="1989296" y="186214"/>
                    <a:pt x="1987391" y="195739"/>
                    <a:pt x="1983581" y="211931"/>
                  </a:cubicBezTo>
                  <a:cubicBezTo>
                    <a:pt x="1981676" y="220504"/>
                    <a:pt x="1979771" y="230029"/>
                    <a:pt x="1978819" y="242411"/>
                  </a:cubicBezTo>
                  <a:cubicBezTo>
                    <a:pt x="1976914" y="253841"/>
                    <a:pt x="1975961" y="267176"/>
                    <a:pt x="1974056" y="281464"/>
                  </a:cubicBezTo>
                  <a:cubicBezTo>
                    <a:pt x="1974056" y="281464"/>
                    <a:pt x="1973104" y="282416"/>
                    <a:pt x="1973104" y="282416"/>
                  </a:cubicBezTo>
                  <a:cubicBezTo>
                    <a:pt x="1971199" y="284321"/>
                    <a:pt x="1970246" y="286226"/>
                    <a:pt x="1968341" y="289084"/>
                  </a:cubicBezTo>
                  <a:cubicBezTo>
                    <a:pt x="1968341" y="287179"/>
                    <a:pt x="1968341" y="285274"/>
                    <a:pt x="1968341" y="283369"/>
                  </a:cubicBezTo>
                  <a:cubicBezTo>
                    <a:pt x="1971199" y="277654"/>
                    <a:pt x="1973104" y="274796"/>
                    <a:pt x="1973104" y="274796"/>
                  </a:cubicBezTo>
                  <a:cubicBezTo>
                    <a:pt x="1973104" y="274796"/>
                    <a:pt x="1971199" y="276701"/>
                    <a:pt x="1968341" y="280511"/>
                  </a:cubicBezTo>
                  <a:cubicBezTo>
                    <a:pt x="1970246" y="255746"/>
                    <a:pt x="1972151" y="235744"/>
                    <a:pt x="1973104" y="224314"/>
                  </a:cubicBezTo>
                  <a:cubicBezTo>
                    <a:pt x="1975961" y="201454"/>
                    <a:pt x="1976914" y="187166"/>
                    <a:pt x="1976914" y="187166"/>
                  </a:cubicBezTo>
                  <a:cubicBezTo>
                    <a:pt x="1976914" y="187166"/>
                    <a:pt x="1973104" y="198596"/>
                    <a:pt x="1967389" y="218599"/>
                  </a:cubicBezTo>
                  <a:cubicBezTo>
                    <a:pt x="1967389" y="217646"/>
                    <a:pt x="1967389" y="216694"/>
                    <a:pt x="1967389" y="216694"/>
                  </a:cubicBezTo>
                  <a:cubicBezTo>
                    <a:pt x="1967389" y="216694"/>
                    <a:pt x="1967389" y="217646"/>
                    <a:pt x="1966436" y="220504"/>
                  </a:cubicBezTo>
                  <a:cubicBezTo>
                    <a:pt x="1963579" y="229076"/>
                    <a:pt x="1960721" y="238601"/>
                    <a:pt x="1957864" y="250031"/>
                  </a:cubicBezTo>
                  <a:cubicBezTo>
                    <a:pt x="1955959" y="256699"/>
                    <a:pt x="1954054" y="264319"/>
                    <a:pt x="1952149" y="271939"/>
                  </a:cubicBezTo>
                  <a:cubicBezTo>
                    <a:pt x="1947386" y="250031"/>
                    <a:pt x="1944529" y="232886"/>
                    <a:pt x="1941671" y="221456"/>
                  </a:cubicBezTo>
                  <a:cubicBezTo>
                    <a:pt x="1941671" y="218599"/>
                    <a:pt x="1942624" y="215741"/>
                    <a:pt x="1942624" y="213836"/>
                  </a:cubicBezTo>
                  <a:cubicBezTo>
                    <a:pt x="1946434" y="203359"/>
                    <a:pt x="1949291" y="193834"/>
                    <a:pt x="1952149" y="186214"/>
                  </a:cubicBezTo>
                  <a:cubicBezTo>
                    <a:pt x="1958816" y="168116"/>
                    <a:pt x="1962626" y="157639"/>
                    <a:pt x="1962626" y="157639"/>
                  </a:cubicBezTo>
                  <a:cubicBezTo>
                    <a:pt x="1962626" y="157639"/>
                    <a:pt x="1957864" y="167164"/>
                    <a:pt x="1948339" y="185261"/>
                  </a:cubicBezTo>
                  <a:cubicBezTo>
                    <a:pt x="1947386" y="187166"/>
                    <a:pt x="1946434" y="189071"/>
                    <a:pt x="1945481" y="190976"/>
                  </a:cubicBezTo>
                  <a:cubicBezTo>
                    <a:pt x="1945481" y="190024"/>
                    <a:pt x="1945481" y="189071"/>
                    <a:pt x="1945481" y="189071"/>
                  </a:cubicBezTo>
                  <a:cubicBezTo>
                    <a:pt x="1945481" y="189071"/>
                    <a:pt x="1945481" y="190024"/>
                    <a:pt x="1944529" y="192881"/>
                  </a:cubicBezTo>
                  <a:cubicBezTo>
                    <a:pt x="1942624" y="196691"/>
                    <a:pt x="1940719" y="201454"/>
                    <a:pt x="1938814" y="205264"/>
                  </a:cubicBezTo>
                  <a:cubicBezTo>
                    <a:pt x="1936909" y="170021"/>
                    <a:pt x="1935004" y="148114"/>
                    <a:pt x="1935004" y="148114"/>
                  </a:cubicBezTo>
                  <a:cubicBezTo>
                    <a:pt x="1935004" y="148114"/>
                    <a:pt x="1931194" y="178594"/>
                    <a:pt x="1928336" y="224314"/>
                  </a:cubicBezTo>
                  <a:cubicBezTo>
                    <a:pt x="1928336" y="225266"/>
                    <a:pt x="1928336" y="227171"/>
                    <a:pt x="1928336" y="229076"/>
                  </a:cubicBezTo>
                  <a:cubicBezTo>
                    <a:pt x="1927384" y="231934"/>
                    <a:pt x="1925479" y="234791"/>
                    <a:pt x="1924526" y="236696"/>
                  </a:cubicBezTo>
                  <a:cubicBezTo>
                    <a:pt x="1921669" y="243364"/>
                    <a:pt x="1918811" y="250984"/>
                    <a:pt x="1915001" y="258604"/>
                  </a:cubicBezTo>
                  <a:cubicBezTo>
                    <a:pt x="1914049" y="261461"/>
                    <a:pt x="1912144" y="265271"/>
                    <a:pt x="1911191" y="268129"/>
                  </a:cubicBezTo>
                  <a:cubicBezTo>
                    <a:pt x="1910239" y="265271"/>
                    <a:pt x="1908334" y="262414"/>
                    <a:pt x="1907381" y="259556"/>
                  </a:cubicBezTo>
                  <a:lnTo>
                    <a:pt x="1907381" y="258604"/>
                  </a:lnTo>
                  <a:lnTo>
                    <a:pt x="1907381" y="258604"/>
                  </a:lnTo>
                  <a:cubicBezTo>
                    <a:pt x="1905476" y="256699"/>
                    <a:pt x="1903571" y="254794"/>
                    <a:pt x="1900714" y="253841"/>
                  </a:cubicBezTo>
                  <a:cubicBezTo>
                    <a:pt x="1899761" y="253841"/>
                    <a:pt x="1898809" y="252889"/>
                    <a:pt x="1897856" y="252889"/>
                  </a:cubicBezTo>
                  <a:cubicBezTo>
                    <a:pt x="1897856" y="252889"/>
                    <a:pt x="1896904" y="252889"/>
                    <a:pt x="1896904" y="252889"/>
                  </a:cubicBezTo>
                  <a:cubicBezTo>
                    <a:pt x="1896904" y="251936"/>
                    <a:pt x="1896904" y="251936"/>
                    <a:pt x="1896904" y="250984"/>
                  </a:cubicBezTo>
                  <a:cubicBezTo>
                    <a:pt x="1896904" y="249079"/>
                    <a:pt x="1897856" y="247174"/>
                    <a:pt x="1897856" y="246221"/>
                  </a:cubicBezTo>
                  <a:cubicBezTo>
                    <a:pt x="1899761" y="240506"/>
                    <a:pt x="1900714" y="234791"/>
                    <a:pt x="1902619" y="230029"/>
                  </a:cubicBezTo>
                  <a:cubicBezTo>
                    <a:pt x="1903571" y="228124"/>
                    <a:pt x="1903571" y="226219"/>
                    <a:pt x="1903571" y="226219"/>
                  </a:cubicBezTo>
                  <a:cubicBezTo>
                    <a:pt x="1903571" y="226219"/>
                    <a:pt x="1903571" y="226219"/>
                    <a:pt x="1902619" y="227171"/>
                  </a:cubicBezTo>
                  <a:cubicBezTo>
                    <a:pt x="1903571" y="222409"/>
                    <a:pt x="1905476" y="218599"/>
                    <a:pt x="1906429" y="214789"/>
                  </a:cubicBezTo>
                  <a:cubicBezTo>
                    <a:pt x="1909286" y="205264"/>
                    <a:pt x="1912144" y="196691"/>
                    <a:pt x="1915001" y="190976"/>
                  </a:cubicBezTo>
                  <a:cubicBezTo>
                    <a:pt x="1919764" y="177641"/>
                    <a:pt x="1922621" y="170021"/>
                    <a:pt x="1922621" y="170021"/>
                  </a:cubicBezTo>
                  <a:cubicBezTo>
                    <a:pt x="1922621" y="170021"/>
                    <a:pt x="1918811" y="176689"/>
                    <a:pt x="1911191" y="189071"/>
                  </a:cubicBezTo>
                  <a:cubicBezTo>
                    <a:pt x="1907381" y="194786"/>
                    <a:pt x="1903571" y="203359"/>
                    <a:pt x="1899761" y="211931"/>
                  </a:cubicBezTo>
                  <a:cubicBezTo>
                    <a:pt x="1897856" y="216694"/>
                    <a:pt x="1894999" y="221456"/>
                    <a:pt x="1893094" y="226219"/>
                  </a:cubicBezTo>
                  <a:cubicBezTo>
                    <a:pt x="1892141" y="229076"/>
                    <a:pt x="1890236" y="231934"/>
                    <a:pt x="1889284" y="235744"/>
                  </a:cubicBezTo>
                  <a:cubicBezTo>
                    <a:pt x="1889284" y="234791"/>
                    <a:pt x="1889284" y="233839"/>
                    <a:pt x="1888331" y="232886"/>
                  </a:cubicBezTo>
                  <a:cubicBezTo>
                    <a:pt x="1888331" y="227171"/>
                    <a:pt x="1888331" y="221456"/>
                    <a:pt x="1889284" y="216694"/>
                  </a:cubicBezTo>
                  <a:cubicBezTo>
                    <a:pt x="1889284" y="210979"/>
                    <a:pt x="1890236" y="205264"/>
                    <a:pt x="1891189" y="200501"/>
                  </a:cubicBezTo>
                  <a:cubicBezTo>
                    <a:pt x="1892141" y="195739"/>
                    <a:pt x="1893094" y="190976"/>
                    <a:pt x="1894046" y="187166"/>
                  </a:cubicBezTo>
                  <a:cubicBezTo>
                    <a:pt x="1895951" y="179546"/>
                    <a:pt x="1897856" y="172879"/>
                    <a:pt x="1899761" y="169069"/>
                  </a:cubicBezTo>
                  <a:cubicBezTo>
                    <a:pt x="1901666" y="165259"/>
                    <a:pt x="1902619" y="162401"/>
                    <a:pt x="1902619" y="162401"/>
                  </a:cubicBezTo>
                  <a:cubicBezTo>
                    <a:pt x="1902619" y="162401"/>
                    <a:pt x="1901666" y="164306"/>
                    <a:pt x="1898809" y="168116"/>
                  </a:cubicBezTo>
                  <a:cubicBezTo>
                    <a:pt x="1895951" y="171926"/>
                    <a:pt x="1893094" y="177641"/>
                    <a:pt x="1890236" y="186214"/>
                  </a:cubicBezTo>
                  <a:cubicBezTo>
                    <a:pt x="1889284" y="190024"/>
                    <a:pt x="1887379" y="194786"/>
                    <a:pt x="1885474" y="199549"/>
                  </a:cubicBezTo>
                  <a:cubicBezTo>
                    <a:pt x="1884521" y="204311"/>
                    <a:pt x="1883569" y="209074"/>
                    <a:pt x="1882616" y="213836"/>
                  </a:cubicBezTo>
                  <a:cubicBezTo>
                    <a:pt x="1882616" y="211931"/>
                    <a:pt x="1882616" y="210026"/>
                    <a:pt x="1882616" y="210026"/>
                  </a:cubicBezTo>
                  <a:cubicBezTo>
                    <a:pt x="1882616" y="210026"/>
                    <a:pt x="1880711" y="216694"/>
                    <a:pt x="1878806" y="228124"/>
                  </a:cubicBezTo>
                  <a:cubicBezTo>
                    <a:pt x="1877854" y="232886"/>
                    <a:pt x="1876901" y="237649"/>
                    <a:pt x="1874996" y="243364"/>
                  </a:cubicBezTo>
                  <a:cubicBezTo>
                    <a:pt x="1874996" y="239554"/>
                    <a:pt x="1874996" y="237649"/>
                    <a:pt x="1874996" y="237649"/>
                  </a:cubicBezTo>
                  <a:cubicBezTo>
                    <a:pt x="1874996" y="237649"/>
                    <a:pt x="1874044" y="244316"/>
                    <a:pt x="1872139" y="255746"/>
                  </a:cubicBezTo>
                  <a:cubicBezTo>
                    <a:pt x="1871186" y="260509"/>
                    <a:pt x="1870234" y="266224"/>
                    <a:pt x="1868329" y="270986"/>
                  </a:cubicBezTo>
                  <a:cubicBezTo>
                    <a:pt x="1868329" y="267176"/>
                    <a:pt x="1869281" y="263366"/>
                    <a:pt x="1869281" y="259556"/>
                  </a:cubicBezTo>
                  <a:cubicBezTo>
                    <a:pt x="1871186" y="243364"/>
                    <a:pt x="1873091" y="228124"/>
                    <a:pt x="1874996" y="213836"/>
                  </a:cubicBezTo>
                  <a:cubicBezTo>
                    <a:pt x="1875949" y="207169"/>
                    <a:pt x="1876901" y="200501"/>
                    <a:pt x="1877854" y="193834"/>
                  </a:cubicBezTo>
                  <a:cubicBezTo>
                    <a:pt x="1878806" y="187166"/>
                    <a:pt x="1880711" y="181451"/>
                    <a:pt x="1881664" y="175736"/>
                  </a:cubicBezTo>
                  <a:cubicBezTo>
                    <a:pt x="1883569" y="164306"/>
                    <a:pt x="1885474" y="154781"/>
                    <a:pt x="1888331" y="146209"/>
                  </a:cubicBezTo>
                  <a:cubicBezTo>
                    <a:pt x="1892141" y="130016"/>
                    <a:pt x="1894999" y="120491"/>
                    <a:pt x="1894999" y="120491"/>
                  </a:cubicBezTo>
                  <a:cubicBezTo>
                    <a:pt x="1894999" y="120491"/>
                    <a:pt x="1891189" y="129064"/>
                    <a:pt x="1885474" y="144304"/>
                  </a:cubicBezTo>
                  <a:cubicBezTo>
                    <a:pt x="1882616" y="151924"/>
                    <a:pt x="1878806" y="161449"/>
                    <a:pt x="1875949" y="172879"/>
                  </a:cubicBezTo>
                  <a:cubicBezTo>
                    <a:pt x="1874044" y="178594"/>
                    <a:pt x="1872139" y="184309"/>
                    <a:pt x="1870234" y="190976"/>
                  </a:cubicBezTo>
                  <a:cubicBezTo>
                    <a:pt x="1868329" y="197644"/>
                    <a:pt x="1867376" y="204311"/>
                    <a:pt x="1865471" y="210979"/>
                  </a:cubicBezTo>
                  <a:cubicBezTo>
                    <a:pt x="1863566" y="219551"/>
                    <a:pt x="1860709" y="229076"/>
                    <a:pt x="1858804" y="238601"/>
                  </a:cubicBezTo>
                  <a:cubicBezTo>
                    <a:pt x="1858804" y="221456"/>
                    <a:pt x="1857851" y="206216"/>
                    <a:pt x="1856899" y="194786"/>
                  </a:cubicBezTo>
                  <a:cubicBezTo>
                    <a:pt x="1855946" y="181451"/>
                    <a:pt x="1854994" y="172879"/>
                    <a:pt x="1854994" y="172879"/>
                  </a:cubicBezTo>
                  <a:cubicBezTo>
                    <a:pt x="1854994" y="172879"/>
                    <a:pt x="1854041" y="180499"/>
                    <a:pt x="1853089" y="194786"/>
                  </a:cubicBezTo>
                  <a:cubicBezTo>
                    <a:pt x="1852136" y="208121"/>
                    <a:pt x="1850231" y="228124"/>
                    <a:pt x="1848326" y="250984"/>
                  </a:cubicBezTo>
                  <a:cubicBezTo>
                    <a:pt x="1847374" y="260509"/>
                    <a:pt x="1846421" y="271939"/>
                    <a:pt x="1845469" y="282416"/>
                  </a:cubicBezTo>
                  <a:cubicBezTo>
                    <a:pt x="1843564" y="279559"/>
                    <a:pt x="1841659" y="276701"/>
                    <a:pt x="1839754" y="273844"/>
                  </a:cubicBezTo>
                  <a:cubicBezTo>
                    <a:pt x="1839754" y="270986"/>
                    <a:pt x="1838801" y="269081"/>
                    <a:pt x="1838801" y="269081"/>
                  </a:cubicBezTo>
                  <a:cubicBezTo>
                    <a:pt x="1838801" y="269081"/>
                    <a:pt x="1838801" y="270034"/>
                    <a:pt x="1838801" y="272891"/>
                  </a:cubicBezTo>
                  <a:cubicBezTo>
                    <a:pt x="1834039" y="266224"/>
                    <a:pt x="1830229" y="260509"/>
                    <a:pt x="1827371" y="256699"/>
                  </a:cubicBezTo>
                  <a:cubicBezTo>
                    <a:pt x="1829276" y="216694"/>
                    <a:pt x="1828324" y="190976"/>
                    <a:pt x="1828324" y="190976"/>
                  </a:cubicBezTo>
                  <a:cubicBezTo>
                    <a:pt x="1828324" y="190976"/>
                    <a:pt x="1826419" y="202406"/>
                    <a:pt x="1822609" y="222409"/>
                  </a:cubicBezTo>
                  <a:cubicBezTo>
                    <a:pt x="1822609" y="219551"/>
                    <a:pt x="1822609" y="217646"/>
                    <a:pt x="1822609" y="214789"/>
                  </a:cubicBezTo>
                  <a:cubicBezTo>
                    <a:pt x="1822609" y="196691"/>
                    <a:pt x="1821656" y="178594"/>
                    <a:pt x="1822609" y="161449"/>
                  </a:cubicBezTo>
                  <a:cubicBezTo>
                    <a:pt x="1823561" y="144304"/>
                    <a:pt x="1823561" y="129064"/>
                    <a:pt x="1823561" y="113824"/>
                  </a:cubicBezTo>
                  <a:cubicBezTo>
                    <a:pt x="1824514" y="54769"/>
                    <a:pt x="1823561" y="15716"/>
                    <a:pt x="1823561" y="15716"/>
                  </a:cubicBezTo>
                  <a:cubicBezTo>
                    <a:pt x="1823561" y="15716"/>
                    <a:pt x="1817846" y="54769"/>
                    <a:pt x="1812131" y="112871"/>
                  </a:cubicBezTo>
                  <a:cubicBezTo>
                    <a:pt x="1811179" y="127159"/>
                    <a:pt x="1809274" y="143351"/>
                    <a:pt x="1807369" y="160496"/>
                  </a:cubicBezTo>
                  <a:cubicBezTo>
                    <a:pt x="1805464" y="175736"/>
                    <a:pt x="1805464" y="191929"/>
                    <a:pt x="1805464" y="209074"/>
                  </a:cubicBezTo>
                  <a:cubicBezTo>
                    <a:pt x="1803559" y="210026"/>
                    <a:pt x="1802606" y="210979"/>
                    <a:pt x="1801654" y="211931"/>
                  </a:cubicBezTo>
                  <a:lnTo>
                    <a:pt x="1801654" y="211931"/>
                  </a:lnTo>
                  <a:lnTo>
                    <a:pt x="1801654" y="212884"/>
                  </a:lnTo>
                  <a:cubicBezTo>
                    <a:pt x="1797844" y="221456"/>
                    <a:pt x="1794034" y="229076"/>
                    <a:pt x="1790224" y="237649"/>
                  </a:cubicBezTo>
                  <a:cubicBezTo>
                    <a:pt x="1790224" y="217646"/>
                    <a:pt x="1790224" y="207169"/>
                    <a:pt x="1790224" y="207169"/>
                  </a:cubicBezTo>
                  <a:cubicBezTo>
                    <a:pt x="1790224" y="207169"/>
                    <a:pt x="1788319" y="218599"/>
                    <a:pt x="1786414" y="239554"/>
                  </a:cubicBezTo>
                  <a:cubicBezTo>
                    <a:pt x="1786414" y="243364"/>
                    <a:pt x="1785461" y="246221"/>
                    <a:pt x="1784509" y="250984"/>
                  </a:cubicBezTo>
                  <a:cubicBezTo>
                    <a:pt x="1784509" y="251936"/>
                    <a:pt x="1784509" y="251936"/>
                    <a:pt x="1783556" y="252889"/>
                  </a:cubicBezTo>
                  <a:cubicBezTo>
                    <a:pt x="1779746" y="236696"/>
                    <a:pt x="1776889" y="226219"/>
                    <a:pt x="1776889" y="226219"/>
                  </a:cubicBezTo>
                  <a:cubicBezTo>
                    <a:pt x="1776889" y="226219"/>
                    <a:pt x="1776889" y="236696"/>
                    <a:pt x="1777841" y="253841"/>
                  </a:cubicBezTo>
                  <a:cubicBezTo>
                    <a:pt x="1774031" y="244316"/>
                    <a:pt x="1771174" y="236696"/>
                    <a:pt x="1768316" y="230029"/>
                  </a:cubicBezTo>
                  <a:cubicBezTo>
                    <a:pt x="1763554" y="219551"/>
                    <a:pt x="1760696" y="211931"/>
                    <a:pt x="1759744" y="209074"/>
                  </a:cubicBezTo>
                  <a:cubicBezTo>
                    <a:pt x="1759744" y="209074"/>
                    <a:pt x="1759744" y="208121"/>
                    <a:pt x="1759744" y="208121"/>
                  </a:cubicBezTo>
                  <a:cubicBezTo>
                    <a:pt x="1761649" y="202406"/>
                    <a:pt x="1761649" y="198596"/>
                    <a:pt x="1761649" y="198596"/>
                  </a:cubicBezTo>
                  <a:cubicBezTo>
                    <a:pt x="1761649" y="198596"/>
                    <a:pt x="1760696" y="200501"/>
                    <a:pt x="1759744" y="203359"/>
                  </a:cubicBezTo>
                  <a:cubicBezTo>
                    <a:pt x="1759744" y="200501"/>
                    <a:pt x="1759744" y="197644"/>
                    <a:pt x="1759744" y="195739"/>
                  </a:cubicBezTo>
                  <a:cubicBezTo>
                    <a:pt x="1760696" y="187166"/>
                    <a:pt x="1760696" y="178594"/>
                    <a:pt x="1761649" y="171926"/>
                  </a:cubicBezTo>
                  <a:cubicBezTo>
                    <a:pt x="1762601" y="158591"/>
                    <a:pt x="1762601" y="151924"/>
                    <a:pt x="1762601" y="151924"/>
                  </a:cubicBezTo>
                  <a:cubicBezTo>
                    <a:pt x="1762601" y="151924"/>
                    <a:pt x="1760696" y="159544"/>
                    <a:pt x="1756886" y="171926"/>
                  </a:cubicBezTo>
                  <a:cubicBezTo>
                    <a:pt x="1754981" y="180499"/>
                    <a:pt x="1752124" y="191929"/>
                    <a:pt x="1749266" y="205264"/>
                  </a:cubicBezTo>
                  <a:cubicBezTo>
                    <a:pt x="1746409" y="200501"/>
                    <a:pt x="1745456" y="197644"/>
                    <a:pt x="1745456" y="197644"/>
                  </a:cubicBezTo>
                  <a:cubicBezTo>
                    <a:pt x="1745456" y="197644"/>
                    <a:pt x="1746409" y="201454"/>
                    <a:pt x="1749266" y="208121"/>
                  </a:cubicBezTo>
                  <a:cubicBezTo>
                    <a:pt x="1748314" y="213836"/>
                    <a:pt x="1747361" y="219551"/>
                    <a:pt x="1746409" y="225266"/>
                  </a:cubicBezTo>
                  <a:cubicBezTo>
                    <a:pt x="1746409" y="226219"/>
                    <a:pt x="1746409" y="227171"/>
                    <a:pt x="1746409" y="228124"/>
                  </a:cubicBezTo>
                  <a:cubicBezTo>
                    <a:pt x="1741646" y="193834"/>
                    <a:pt x="1737836" y="171926"/>
                    <a:pt x="1737836" y="171926"/>
                  </a:cubicBezTo>
                  <a:cubicBezTo>
                    <a:pt x="1737836" y="171926"/>
                    <a:pt x="1736884" y="204311"/>
                    <a:pt x="1738789" y="252889"/>
                  </a:cubicBezTo>
                  <a:cubicBezTo>
                    <a:pt x="1737836" y="253841"/>
                    <a:pt x="1737836" y="255746"/>
                    <a:pt x="1736884" y="256699"/>
                  </a:cubicBezTo>
                  <a:cubicBezTo>
                    <a:pt x="1735931" y="253841"/>
                    <a:pt x="1735931" y="252889"/>
                    <a:pt x="1735931" y="252889"/>
                  </a:cubicBezTo>
                  <a:cubicBezTo>
                    <a:pt x="1735931" y="252889"/>
                    <a:pt x="1735931" y="254794"/>
                    <a:pt x="1735931" y="257651"/>
                  </a:cubicBezTo>
                  <a:cubicBezTo>
                    <a:pt x="1734979" y="259556"/>
                    <a:pt x="1734026" y="261461"/>
                    <a:pt x="1733074" y="264319"/>
                  </a:cubicBezTo>
                  <a:cubicBezTo>
                    <a:pt x="1731169" y="270034"/>
                    <a:pt x="1729264" y="276701"/>
                    <a:pt x="1727359" y="283369"/>
                  </a:cubicBezTo>
                  <a:cubicBezTo>
                    <a:pt x="1725454" y="288131"/>
                    <a:pt x="1723549" y="293846"/>
                    <a:pt x="1722596" y="299561"/>
                  </a:cubicBezTo>
                  <a:cubicBezTo>
                    <a:pt x="1720691" y="278606"/>
                    <a:pt x="1718786" y="267176"/>
                    <a:pt x="1718786" y="267176"/>
                  </a:cubicBezTo>
                  <a:cubicBezTo>
                    <a:pt x="1718786" y="267176"/>
                    <a:pt x="1717834" y="286226"/>
                    <a:pt x="1716881" y="317659"/>
                  </a:cubicBezTo>
                  <a:cubicBezTo>
                    <a:pt x="1716881" y="317659"/>
                    <a:pt x="1716881" y="318611"/>
                    <a:pt x="1716881" y="318611"/>
                  </a:cubicBezTo>
                  <a:cubicBezTo>
                    <a:pt x="1715929" y="317659"/>
                    <a:pt x="1715929" y="316706"/>
                    <a:pt x="1714976" y="316706"/>
                  </a:cubicBezTo>
                  <a:cubicBezTo>
                    <a:pt x="1712119" y="307181"/>
                    <a:pt x="1710214" y="297656"/>
                    <a:pt x="1707356" y="288131"/>
                  </a:cubicBezTo>
                  <a:cubicBezTo>
                    <a:pt x="1708309" y="270034"/>
                    <a:pt x="1709261" y="252889"/>
                    <a:pt x="1709261" y="237649"/>
                  </a:cubicBezTo>
                  <a:cubicBezTo>
                    <a:pt x="1711166" y="192881"/>
                    <a:pt x="1710214" y="163354"/>
                    <a:pt x="1710214" y="163354"/>
                  </a:cubicBezTo>
                  <a:cubicBezTo>
                    <a:pt x="1710214" y="163354"/>
                    <a:pt x="1705451" y="189071"/>
                    <a:pt x="1698784" y="229076"/>
                  </a:cubicBezTo>
                  <a:cubicBezTo>
                    <a:pt x="1696879" y="219551"/>
                    <a:pt x="1695926" y="210979"/>
                    <a:pt x="1694021" y="203359"/>
                  </a:cubicBezTo>
                  <a:cubicBezTo>
                    <a:pt x="1695926" y="191929"/>
                    <a:pt x="1697831" y="180499"/>
                    <a:pt x="1699736" y="170021"/>
                  </a:cubicBezTo>
                  <a:cubicBezTo>
                    <a:pt x="1702594" y="151924"/>
                    <a:pt x="1705451" y="134779"/>
                    <a:pt x="1706404" y="119539"/>
                  </a:cubicBezTo>
                  <a:cubicBezTo>
                    <a:pt x="1708309" y="104299"/>
                    <a:pt x="1709261" y="91916"/>
                    <a:pt x="1710214" y="80486"/>
                  </a:cubicBezTo>
                  <a:cubicBezTo>
                    <a:pt x="1712119" y="59531"/>
                    <a:pt x="1713071" y="47149"/>
                    <a:pt x="1713071" y="47149"/>
                  </a:cubicBezTo>
                  <a:cubicBezTo>
                    <a:pt x="1713071" y="47149"/>
                    <a:pt x="1710214" y="59531"/>
                    <a:pt x="1706404" y="80486"/>
                  </a:cubicBezTo>
                  <a:cubicBezTo>
                    <a:pt x="1704499" y="90964"/>
                    <a:pt x="1701641" y="104299"/>
                    <a:pt x="1698784" y="118586"/>
                  </a:cubicBezTo>
                  <a:cubicBezTo>
                    <a:pt x="1695926" y="133826"/>
                    <a:pt x="1692116" y="150019"/>
                    <a:pt x="1688306" y="168116"/>
                  </a:cubicBezTo>
                  <a:cubicBezTo>
                    <a:pt x="1688306" y="169069"/>
                    <a:pt x="1687354" y="170974"/>
                    <a:pt x="1687354" y="171926"/>
                  </a:cubicBezTo>
                  <a:cubicBezTo>
                    <a:pt x="1685449" y="164306"/>
                    <a:pt x="1684496" y="160496"/>
                    <a:pt x="1684496" y="160496"/>
                  </a:cubicBezTo>
                  <a:cubicBezTo>
                    <a:pt x="1684496" y="160496"/>
                    <a:pt x="1684496" y="167164"/>
                    <a:pt x="1685449" y="179546"/>
                  </a:cubicBezTo>
                  <a:cubicBezTo>
                    <a:pt x="1684496" y="185261"/>
                    <a:pt x="1682591" y="191929"/>
                    <a:pt x="1681639" y="197644"/>
                  </a:cubicBezTo>
                  <a:cubicBezTo>
                    <a:pt x="1680686" y="195739"/>
                    <a:pt x="1680686" y="194786"/>
                    <a:pt x="1680686" y="192881"/>
                  </a:cubicBezTo>
                  <a:cubicBezTo>
                    <a:pt x="1681639" y="186214"/>
                    <a:pt x="1681639" y="180499"/>
                    <a:pt x="1681639" y="174784"/>
                  </a:cubicBezTo>
                  <a:cubicBezTo>
                    <a:pt x="1681639" y="162401"/>
                    <a:pt x="1682591" y="151924"/>
                    <a:pt x="1682591" y="143351"/>
                  </a:cubicBezTo>
                  <a:cubicBezTo>
                    <a:pt x="1682591" y="126206"/>
                    <a:pt x="1683544" y="115729"/>
                    <a:pt x="1683544" y="115729"/>
                  </a:cubicBezTo>
                  <a:cubicBezTo>
                    <a:pt x="1683544" y="115729"/>
                    <a:pt x="1681639" y="125254"/>
                    <a:pt x="1678781" y="143351"/>
                  </a:cubicBezTo>
                  <a:cubicBezTo>
                    <a:pt x="1677829" y="151924"/>
                    <a:pt x="1675924" y="162401"/>
                    <a:pt x="1674019" y="174784"/>
                  </a:cubicBezTo>
                  <a:cubicBezTo>
                    <a:pt x="1672114" y="187166"/>
                    <a:pt x="1669256" y="200501"/>
                    <a:pt x="1666399" y="215741"/>
                  </a:cubicBezTo>
                  <a:cubicBezTo>
                    <a:pt x="1665446" y="220504"/>
                    <a:pt x="1664494" y="226219"/>
                    <a:pt x="1663541" y="231934"/>
                  </a:cubicBezTo>
                  <a:cubicBezTo>
                    <a:pt x="1662589" y="228124"/>
                    <a:pt x="1661636" y="225266"/>
                    <a:pt x="1661636" y="225266"/>
                  </a:cubicBezTo>
                  <a:cubicBezTo>
                    <a:pt x="1661636" y="225266"/>
                    <a:pt x="1661636" y="229076"/>
                    <a:pt x="1662589" y="236696"/>
                  </a:cubicBezTo>
                  <a:cubicBezTo>
                    <a:pt x="1661636" y="242411"/>
                    <a:pt x="1660684" y="248126"/>
                    <a:pt x="1659731" y="253841"/>
                  </a:cubicBezTo>
                  <a:cubicBezTo>
                    <a:pt x="1659731" y="252889"/>
                    <a:pt x="1658779" y="251936"/>
                    <a:pt x="1658779" y="251936"/>
                  </a:cubicBezTo>
                  <a:cubicBezTo>
                    <a:pt x="1654969" y="240506"/>
                    <a:pt x="1650206" y="230981"/>
                    <a:pt x="1646396" y="223361"/>
                  </a:cubicBezTo>
                  <a:cubicBezTo>
                    <a:pt x="1645444" y="220504"/>
                    <a:pt x="1643539" y="218599"/>
                    <a:pt x="1642586" y="215741"/>
                  </a:cubicBezTo>
                  <a:cubicBezTo>
                    <a:pt x="1642586" y="210979"/>
                    <a:pt x="1642586" y="207169"/>
                    <a:pt x="1642586" y="202406"/>
                  </a:cubicBezTo>
                  <a:cubicBezTo>
                    <a:pt x="1641634" y="186214"/>
                    <a:pt x="1641634" y="170021"/>
                    <a:pt x="1640681" y="154781"/>
                  </a:cubicBezTo>
                  <a:cubicBezTo>
                    <a:pt x="1639729" y="139541"/>
                    <a:pt x="1637824" y="125254"/>
                    <a:pt x="1635919" y="111919"/>
                  </a:cubicBezTo>
                  <a:cubicBezTo>
                    <a:pt x="1630204" y="58579"/>
                    <a:pt x="1624489" y="23336"/>
                    <a:pt x="1624489" y="23336"/>
                  </a:cubicBezTo>
                  <a:cubicBezTo>
                    <a:pt x="1624489" y="23336"/>
                    <a:pt x="1623536" y="58579"/>
                    <a:pt x="1624489" y="111919"/>
                  </a:cubicBezTo>
                  <a:cubicBezTo>
                    <a:pt x="1624489" y="125254"/>
                    <a:pt x="1624489" y="139541"/>
                    <a:pt x="1625441" y="154781"/>
                  </a:cubicBezTo>
                  <a:cubicBezTo>
                    <a:pt x="1626394" y="170021"/>
                    <a:pt x="1624489" y="186214"/>
                    <a:pt x="1625441" y="202406"/>
                  </a:cubicBezTo>
                  <a:cubicBezTo>
                    <a:pt x="1625441" y="210026"/>
                    <a:pt x="1625441" y="217646"/>
                    <a:pt x="1625441" y="225266"/>
                  </a:cubicBezTo>
                  <a:cubicBezTo>
                    <a:pt x="1625441" y="227171"/>
                    <a:pt x="1625441" y="229076"/>
                    <a:pt x="1625441" y="230981"/>
                  </a:cubicBezTo>
                  <a:cubicBezTo>
                    <a:pt x="1624489" y="230029"/>
                    <a:pt x="1624489" y="228124"/>
                    <a:pt x="1623536" y="227171"/>
                  </a:cubicBezTo>
                  <a:cubicBezTo>
                    <a:pt x="1620679" y="211931"/>
                    <a:pt x="1619726" y="203359"/>
                    <a:pt x="1619726" y="203359"/>
                  </a:cubicBezTo>
                  <a:cubicBezTo>
                    <a:pt x="1619726" y="203359"/>
                    <a:pt x="1619726" y="208121"/>
                    <a:pt x="1619726" y="217646"/>
                  </a:cubicBezTo>
                  <a:cubicBezTo>
                    <a:pt x="1613059" y="201454"/>
                    <a:pt x="1608296" y="190976"/>
                    <a:pt x="1608296" y="190976"/>
                  </a:cubicBezTo>
                  <a:cubicBezTo>
                    <a:pt x="1608296" y="190976"/>
                    <a:pt x="1612106" y="207169"/>
                    <a:pt x="1619726" y="233839"/>
                  </a:cubicBezTo>
                  <a:cubicBezTo>
                    <a:pt x="1619726" y="236696"/>
                    <a:pt x="1619726" y="239554"/>
                    <a:pt x="1619726" y="242411"/>
                  </a:cubicBezTo>
                  <a:cubicBezTo>
                    <a:pt x="1615916" y="236696"/>
                    <a:pt x="1613059" y="233839"/>
                    <a:pt x="1613059" y="233839"/>
                  </a:cubicBezTo>
                  <a:cubicBezTo>
                    <a:pt x="1613059" y="233839"/>
                    <a:pt x="1614964" y="238601"/>
                    <a:pt x="1619726" y="247174"/>
                  </a:cubicBezTo>
                  <a:cubicBezTo>
                    <a:pt x="1616869" y="250984"/>
                    <a:pt x="1614011" y="256699"/>
                    <a:pt x="1610201" y="264319"/>
                  </a:cubicBezTo>
                  <a:cubicBezTo>
                    <a:pt x="1609249" y="266224"/>
                    <a:pt x="1608296" y="268129"/>
                    <a:pt x="1607344" y="270034"/>
                  </a:cubicBezTo>
                  <a:cubicBezTo>
                    <a:pt x="1607344" y="269081"/>
                    <a:pt x="1606391" y="269081"/>
                    <a:pt x="1606391" y="269081"/>
                  </a:cubicBezTo>
                  <a:cubicBezTo>
                    <a:pt x="1606391" y="269081"/>
                    <a:pt x="1606391" y="269081"/>
                    <a:pt x="1607344" y="270034"/>
                  </a:cubicBezTo>
                  <a:cubicBezTo>
                    <a:pt x="1605439" y="273844"/>
                    <a:pt x="1603534" y="277654"/>
                    <a:pt x="1601629" y="282416"/>
                  </a:cubicBezTo>
                  <a:cubicBezTo>
                    <a:pt x="1601629" y="277654"/>
                    <a:pt x="1600676" y="273844"/>
                    <a:pt x="1600676" y="269081"/>
                  </a:cubicBezTo>
                  <a:cubicBezTo>
                    <a:pt x="1598771" y="243364"/>
                    <a:pt x="1596866" y="221456"/>
                    <a:pt x="1595914" y="207169"/>
                  </a:cubicBezTo>
                  <a:cubicBezTo>
                    <a:pt x="1594961" y="191929"/>
                    <a:pt x="1594009" y="183356"/>
                    <a:pt x="1594009" y="183356"/>
                  </a:cubicBezTo>
                  <a:cubicBezTo>
                    <a:pt x="1594009" y="183356"/>
                    <a:pt x="1593056" y="191929"/>
                    <a:pt x="1592104" y="207169"/>
                  </a:cubicBezTo>
                  <a:cubicBezTo>
                    <a:pt x="1592104" y="212884"/>
                    <a:pt x="1591151" y="219551"/>
                    <a:pt x="1591151" y="227171"/>
                  </a:cubicBezTo>
                  <a:cubicBezTo>
                    <a:pt x="1589246" y="216694"/>
                    <a:pt x="1586389" y="207169"/>
                    <a:pt x="1583531" y="197644"/>
                  </a:cubicBezTo>
                  <a:cubicBezTo>
                    <a:pt x="1581626" y="190976"/>
                    <a:pt x="1579721" y="185261"/>
                    <a:pt x="1578769" y="179546"/>
                  </a:cubicBezTo>
                  <a:cubicBezTo>
                    <a:pt x="1576864" y="173831"/>
                    <a:pt x="1574959" y="168116"/>
                    <a:pt x="1573054" y="163354"/>
                  </a:cubicBezTo>
                  <a:cubicBezTo>
                    <a:pt x="1569244" y="152876"/>
                    <a:pt x="1566386" y="144304"/>
                    <a:pt x="1563529" y="137636"/>
                  </a:cubicBezTo>
                  <a:cubicBezTo>
                    <a:pt x="1556861" y="123349"/>
                    <a:pt x="1554004" y="115729"/>
                    <a:pt x="1554004" y="115729"/>
                  </a:cubicBezTo>
                  <a:cubicBezTo>
                    <a:pt x="1554004" y="115729"/>
                    <a:pt x="1555909" y="124301"/>
                    <a:pt x="1560671" y="138589"/>
                  </a:cubicBezTo>
                  <a:cubicBezTo>
                    <a:pt x="1562576" y="146209"/>
                    <a:pt x="1564481" y="154781"/>
                    <a:pt x="1567339" y="165259"/>
                  </a:cubicBezTo>
                  <a:cubicBezTo>
                    <a:pt x="1568291" y="170021"/>
                    <a:pt x="1569244" y="175736"/>
                    <a:pt x="1571149" y="181451"/>
                  </a:cubicBezTo>
                  <a:cubicBezTo>
                    <a:pt x="1572101" y="187166"/>
                    <a:pt x="1573054" y="192881"/>
                    <a:pt x="1574006" y="199549"/>
                  </a:cubicBezTo>
                  <a:cubicBezTo>
                    <a:pt x="1576864" y="211931"/>
                    <a:pt x="1577816" y="226219"/>
                    <a:pt x="1579721" y="240506"/>
                  </a:cubicBezTo>
                  <a:cubicBezTo>
                    <a:pt x="1581626" y="253841"/>
                    <a:pt x="1582579" y="269081"/>
                    <a:pt x="1584484" y="283369"/>
                  </a:cubicBezTo>
                  <a:cubicBezTo>
                    <a:pt x="1581626" y="274796"/>
                    <a:pt x="1579721" y="266224"/>
                    <a:pt x="1576864" y="258604"/>
                  </a:cubicBezTo>
                  <a:cubicBezTo>
                    <a:pt x="1575911" y="255746"/>
                    <a:pt x="1574959" y="252889"/>
                    <a:pt x="1573054" y="249079"/>
                  </a:cubicBezTo>
                  <a:cubicBezTo>
                    <a:pt x="1573054" y="249079"/>
                    <a:pt x="1573054" y="248126"/>
                    <a:pt x="1573054" y="247174"/>
                  </a:cubicBezTo>
                  <a:cubicBezTo>
                    <a:pt x="1573054" y="243364"/>
                    <a:pt x="1573054" y="238601"/>
                    <a:pt x="1572101" y="234791"/>
                  </a:cubicBezTo>
                  <a:cubicBezTo>
                    <a:pt x="1571149" y="221456"/>
                    <a:pt x="1569244" y="209074"/>
                    <a:pt x="1567339" y="198596"/>
                  </a:cubicBezTo>
                  <a:cubicBezTo>
                    <a:pt x="1566386" y="192881"/>
                    <a:pt x="1564481" y="188119"/>
                    <a:pt x="1563529" y="184309"/>
                  </a:cubicBezTo>
                  <a:cubicBezTo>
                    <a:pt x="1561624" y="179546"/>
                    <a:pt x="1560671" y="175736"/>
                    <a:pt x="1558766" y="171926"/>
                  </a:cubicBezTo>
                  <a:cubicBezTo>
                    <a:pt x="1555909" y="164306"/>
                    <a:pt x="1553051" y="159544"/>
                    <a:pt x="1550194" y="155734"/>
                  </a:cubicBezTo>
                  <a:cubicBezTo>
                    <a:pt x="1548289" y="151924"/>
                    <a:pt x="1546384" y="150019"/>
                    <a:pt x="1546384" y="150019"/>
                  </a:cubicBezTo>
                  <a:cubicBezTo>
                    <a:pt x="1546384" y="150019"/>
                    <a:pt x="1547336" y="151924"/>
                    <a:pt x="1549241" y="155734"/>
                  </a:cubicBezTo>
                  <a:cubicBezTo>
                    <a:pt x="1551146" y="159544"/>
                    <a:pt x="1553051" y="165259"/>
                    <a:pt x="1554956" y="171926"/>
                  </a:cubicBezTo>
                  <a:cubicBezTo>
                    <a:pt x="1555909" y="175736"/>
                    <a:pt x="1556861" y="179546"/>
                    <a:pt x="1557814" y="184309"/>
                  </a:cubicBezTo>
                  <a:cubicBezTo>
                    <a:pt x="1557814" y="189071"/>
                    <a:pt x="1558766" y="193834"/>
                    <a:pt x="1559719" y="198596"/>
                  </a:cubicBezTo>
                  <a:cubicBezTo>
                    <a:pt x="1559719" y="203359"/>
                    <a:pt x="1560671" y="208121"/>
                    <a:pt x="1560671" y="213836"/>
                  </a:cubicBezTo>
                  <a:cubicBezTo>
                    <a:pt x="1560671" y="214789"/>
                    <a:pt x="1560671" y="215741"/>
                    <a:pt x="1559719" y="216694"/>
                  </a:cubicBezTo>
                  <a:cubicBezTo>
                    <a:pt x="1558766" y="213836"/>
                    <a:pt x="1556861" y="210979"/>
                    <a:pt x="1555909" y="208121"/>
                  </a:cubicBezTo>
                  <a:cubicBezTo>
                    <a:pt x="1554004" y="203359"/>
                    <a:pt x="1551146" y="199549"/>
                    <a:pt x="1549241" y="194786"/>
                  </a:cubicBezTo>
                  <a:cubicBezTo>
                    <a:pt x="1545431" y="186214"/>
                    <a:pt x="1541621" y="179546"/>
                    <a:pt x="1537811" y="173831"/>
                  </a:cubicBezTo>
                  <a:cubicBezTo>
                    <a:pt x="1530191" y="162401"/>
                    <a:pt x="1526381" y="156686"/>
                    <a:pt x="1526381" y="156686"/>
                  </a:cubicBezTo>
                  <a:cubicBezTo>
                    <a:pt x="1526381" y="156686"/>
                    <a:pt x="1529239" y="163354"/>
                    <a:pt x="1534001" y="175736"/>
                  </a:cubicBezTo>
                  <a:cubicBezTo>
                    <a:pt x="1536859" y="181451"/>
                    <a:pt x="1539716" y="189071"/>
                    <a:pt x="1542574" y="197644"/>
                  </a:cubicBezTo>
                  <a:cubicBezTo>
                    <a:pt x="1543526" y="201454"/>
                    <a:pt x="1545431" y="205264"/>
                    <a:pt x="1546384" y="209074"/>
                  </a:cubicBezTo>
                  <a:cubicBezTo>
                    <a:pt x="1546384" y="208121"/>
                    <a:pt x="1545431" y="208121"/>
                    <a:pt x="1545431" y="208121"/>
                  </a:cubicBezTo>
                  <a:cubicBezTo>
                    <a:pt x="1545431" y="208121"/>
                    <a:pt x="1546384" y="209074"/>
                    <a:pt x="1546384" y="210979"/>
                  </a:cubicBezTo>
                  <a:cubicBezTo>
                    <a:pt x="1548289" y="215741"/>
                    <a:pt x="1549241" y="220504"/>
                    <a:pt x="1551146" y="226219"/>
                  </a:cubicBezTo>
                  <a:cubicBezTo>
                    <a:pt x="1552099" y="228124"/>
                    <a:pt x="1552099" y="229076"/>
                    <a:pt x="1552099" y="230981"/>
                  </a:cubicBezTo>
                  <a:cubicBezTo>
                    <a:pt x="1552099" y="232886"/>
                    <a:pt x="1553051" y="233839"/>
                    <a:pt x="1553051" y="235744"/>
                  </a:cubicBezTo>
                  <a:cubicBezTo>
                    <a:pt x="1553051" y="237649"/>
                    <a:pt x="1553051" y="239554"/>
                    <a:pt x="1554004" y="241459"/>
                  </a:cubicBezTo>
                  <a:cubicBezTo>
                    <a:pt x="1554004" y="242411"/>
                    <a:pt x="1554004" y="243364"/>
                    <a:pt x="1554004" y="244316"/>
                  </a:cubicBezTo>
                  <a:cubicBezTo>
                    <a:pt x="1554004" y="246221"/>
                    <a:pt x="1553051" y="248126"/>
                    <a:pt x="1553051" y="250031"/>
                  </a:cubicBezTo>
                  <a:cubicBezTo>
                    <a:pt x="1551146" y="253841"/>
                    <a:pt x="1549241" y="257651"/>
                    <a:pt x="1547336" y="263366"/>
                  </a:cubicBezTo>
                  <a:cubicBezTo>
                    <a:pt x="1545431" y="258604"/>
                    <a:pt x="1543526" y="254794"/>
                    <a:pt x="1542574" y="251936"/>
                  </a:cubicBezTo>
                  <a:cubicBezTo>
                    <a:pt x="1542574" y="249079"/>
                    <a:pt x="1542574" y="245269"/>
                    <a:pt x="1542574" y="243364"/>
                  </a:cubicBezTo>
                  <a:cubicBezTo>
                    <a:pt x="1542574" y="230029"/>
                    <a:pt x="1542574" y="222409"/>
                    <a:pt x="1542574" y="222409"/>
                  </a:cubicBezTo>
                  <a:cubicBezTo>
                    <a:pt x="1542574" y="222409"/>
                    <a:pt x="1541621" y="230029"/>
                    <a:pt x="1538764" y="243364"/>
                  </a:cubicBezTo>
                  <a:cubicBezTo>
                    <a:pt x="1538764" y="243364"/>
                    <a:pt x="1538764" y="243364"/>
                    <a:pt x="1538764" y="243364"/>
                  </a:cubicBezTo>
                  <a:cubicBezTo>
                    <a:pt x="1534001" y="232886"/>
                    <a:pt x="1531144" y="226219"/>
                    <a:pt x="1531144" y="226219"/>
                  </a:cubicBezTo>
                  <a:cubicBezTo>
                    <a:pt x="1531144" y="226219"/>
                    <a:pt x="1533049" y="234791"/>
                    <a:pt x="1537811" y="250031"/>
                  </a:cubicBezTo>
                  <a:cubicBezTo>
                    <a:pt x="1537811" y="252889"/>
                    <a:pt x="1536859" y="255746"/>
                    <a:pt x="1536859" y="258604"/>
                  </a:cubicBezTo>
                  <a:cubicBezTo>
                    <a:pt x="1534954" y="251936"/>
                    <a:pt x="1533049" y="245269"/>
                    <a:pt x="1531144" y="239554"/>
                  </a:cubicBezTo>
                  <a:cubicBezTo>
                    <a:pt x="1529239" y="232886"/>
                    <a:pt x="1527334" y="227171"/>
                    <a:pt x="1525429" y="220504"/>
                  </a:cubicBezTo>
                  <a:cubicBezTo>
                    <a:pt x="1524476" y="217646"/>
                    <a:pt x="1523524" y="214789"/>
                    <a:pt x="1521619" y="211931"/>
                  </a:cubicBezTo>
                  <a:cubicBezTo>
                    <a:pt x="1518761" y="173831"/>
                    <a:pt x="1515904" y="150019"/>
                    <a:pt x="1515904" y="150019"/>
                  </a:cubicBezTo>
                  <a:cubicBezTo>
                    <a:pt x="1515904" y="150019"/>
                    <a:pt x="1514951" y="166211"/>
                    <a:pt x="1513046" y="192881"/>
                  </a:cubicBezTo>
                  <a:cubicBezTo>
                    <a:pt x="1510189" y="187166"/>
                    <a:pt x="1508284" y="182404"/>
                    <a:pt x="1506379" y="177641"/>
                  </a:cubicBezTo>
                  <a:cubicBezTo>
                    <a:pt x="1499711" y="163354"/>
                    <a:pt x="1495901" y="154781"/>
                    <a:pt x="1495901" y="154781"/>
                  </a:cubicBezTo>
                  <a:cubicBezTo>
                    <a:pt x="1495901" y="154781"/>
                    <a:pt x="1497806" y="163354"/>
                    <a:pt x="1502569" y="178594"/>
                  </a:cubicBezTo>
                  <a:cubicBezTo>
                    <a:pt x="1503521" y="182404"/>
                    <a:pt x="1504474" y="186214"/>
                    <a:pt x="1505426" y="190024"/>
                  </a:cubicBezTo>
                  <a:cubicBezTo>
                    <a:pt x="1505426" y="189071"/>
                    <a:pt x="1504474" y="189071"/>
                    <a:pt x="1504474" y="189071"/>
                  </a:cubicBezTo>
                  <a:cubicBezTo>
                    <a:pt x="1504474" y="189071"/>
                    <a:pt x="1506379" y="196691"/>
                    <a:pt x="1510189" y="210026"/>
                  </a:cubicBezTo>
                  <a:cubicBezTo>
                    <a:pt x="1510189" y="210979"/>
                    <a:pt x="1511141" y="212884"/>
                    <a:pt x="1511141" y="213836"/>
                  </a:cubicBezTo>
                  <a:cubicBezTo>
                    <a:pt x="1511141" y="220504"/>
                    <a:pt x="1510189" y="227171"/>
                    <a:pt x="1510189" y="233839"/>
                  </a:cubicBezTo>
                  <a:cubicBezTo>
                    <a:pt x="1510189" y="241459"/>
                    <a:pt x="1509236" y="250031"/>
                    <a:pt x="1509236" y="258604"/>
                  </a:cubicBezTo>
                  <a:cubicBezTo>
                    <a:pt x="1503521" y="241459"/>
                    <a:pt x="1498759" y="230981"/>
                    <a:pt x="1498759" y="230981"/>
                  </a:cubicBezTo>
                  <a:cubicBezTo>
                    <a:pt x="1498759" y="230981"/>
                    <a:pt x="1501616" y="248126"/>
                    <a:pt x="1508284" y="275749"/>
                  </a:cubicBezTo>
                  <a:cubicBezTo>
                    <a:pt x="1508284" y="279559"/>
                    <a:pt x="1508284" y="283369"/>
                    <a:pt x="1507331" y="288131"/>
                  </a:cubicBezTo>
                  <a:cubicBezTo>
                    <a:pt x="1506379" y="290036"/>
                    <a:pt x="1505426" y="290989"/>
                    <a:pt x="1504474" y="292894"/>
                  </a:cubicBezTo>
                  <a:cubicBezTo>
                    <a:pt x="1503521" y="294799"/>
                    <a:pt x="1501616" y="296704"/>
                    <a:pt x="1500664" y="298609"/>
                  </a:cubicBezTo>
                  <a:cubicBezTo>
                    <a:pt x="1497806" y="287179"/>
                    <a:pt x="1495901" y="275749"/>
                    <a:pt x="1493044" y="266224"/>
                  </a:cubicBezTo>
                  <a:cubicBezTo>
                    <a:pt x="1495901" y="253841"/>
                    <a:pt x="1497806" y="246221"/>
                    <a:pt x="1497806" y="246221"/>
                  </a:cubicBezTo>
                  <a:cubicBezTo>
                    <a:pt x="1497806" y="246221"/>
                    <a:pt x="1495901" y="251936"/>
                    <a:pt x="1491139" y="260509"/>
                  </a:cubicBezTo>
                  <a:cubicBezTo>
                    <a:pt x="1491139" y="260509"/>
                    <a:pt x="1491139" y="259556"/>
                    <a:pt x="1491139" y="259556"/>
                  </a:cubicBezTo>
                  <a:cubicBezTo>
                    <a:pt x="1491139" y="253841"/>
                    <a:pt x="1490186" y="249079"/>
                    <a:pt x="1490186" y="244316"/>
                  </a:cubicBezTo>
                  <a:cubicBezTo>
                    <a:pt x="1490186" y="242411"/>
                    <a:pt x="1490186" y="240506"/>
                    <a:pt x="1489234" y="238601"/>
                  </a:cubicBezTo>
                  <a:cubicBezTo>
                    <a:pt x="1489234" y="237649"/>
                    <a:pt x="1489234" y="237649"/>
                    <a:pt x="1489234" y="237649"/>
                  </a:cubicBezTo>
                  <a:cubicBezTo>
                    <a:pt x="1489234" y="237649"/>
                    <a:pt x="1489234" y="237649"/>
                    <a:pt x="1489234" y="238601"/>
                  </a:cubicBezTo>
                  <a:cubicBezTo>
                    <a:pt x="1488281" y="230981"/>
                    <a:pt x="1488281" y="225266"/>
                    <a:pt x="1486376" y="219551"/>
                  </a:cubicBezTo>
                  <a:cubicBezTo>
                    <a:pt x="1483519" y="206216"/>
                    <a:pt x="1482566" y="198596"/>
                    <a:pt x="1482566" y="198596"/>
                  </a:cubicBezTo>
                  <a:cubicBezTo>
                    <a:pt x="1482566" y="198596"/>
                    <a:pt x="1482566" y="206216"/>
                    <a:pt x="1482566" y="220504"/>
                  </a:cubicBezTo>
                  <a:cubicBezTo>
                    <a:pt x="1482566" y="222409"/>
                    <a:pt x="1482566" y="225266"/>
                    <a:pt x="1482566" y="228124"/>
                  </a:cubicBezTo>
                  <a:cubicBezTo>
                    <a:pt x="1476851" y="206216"/>
                    <a:pt x="1473041" y="193834"/>
                    <a:pt x="1473041" y="193834"/>
                  </a:cubicBezTo>
                  <a:cubicBezTo>
                    <a:pt x="1473041" y="193834"/>
                    <a:pt x="1474946" y="220504"/>
                    <a:pt x="1479709" y="259556"/>
                  </a:cubicBezTo>
                  <a:cubicBezTo>
                    <a:pt x="1479709" y="260509"/>
                    <a:pt x="1478756" y="261461"/>
                    <a:pt x="1478756" y="262414"/>
                  </a:cubicBezTo>
                  <a:cubicBezTo>
                    <a:pt x="1477804" y="263366"/>
                    <a:pt x="1477804" y="265271"/>
                    <a:pt x="1476851" y="266224"/>
                  </a:cubicBezTo>
                  <a:cubicBezTo>
                    <a:pt x="1476851" y="263366"/>
                    <a:pt x="1475899" y="260509"/>
                    <a:pt x="1475899" y="257651"/>
                  </a:cubicBezTo>
                  <a:cubicBezTo>
                    <a:pt x="1473994" y="244316"/>
                    <a:pt x="1473041" y="232886"/>
                    <a:pt x="1471136" y="221456"/>
                  </a:cubicBezTo>
                  <a:cubicBezTo>
                    <a:pt x="1469231" y="210979"/>
                    <a:pt x="1468279" y="201454"/>
                    <a:pt x="1466374" y="193834"/>
                  </a:cubicBezTo>
                  <a:cubicBezTo>
                    <a:pt x="1462564" y="178594"/>
                    <a:pt x="1460659" y="170021"/>
                    <a:pt x="1460659" y="170021"/>
                  </a:cubicBezTo>
                  <a:cubicBezTo>
                    <a:pt x="1460659" y="170021"/>
                    <a:pt x="1461611" y="178594"/>
                    <a:pt x="1462564" y="193834"/>
                  </a:cubicBezTo>
                  <a:cubicBezTo>
                    <a:pt x="1463516" y="201454"/>
                    <a:pt x="1463516" y="210979"/>
                    <a:pt x="1464469" y="221456"/>
                  </a:cubicBezTo>
                  <a:cubicBezTo>
                    <a:pt x="1465421" y="231934"/>
                    <a:pt x="1465421" y="244316"/>
                    <a:pt x="1465421" y="257651"/>
                  </a:cubicBezTo>
                  <a:cubicBezTo>
                    <a:pt x="1465421" y="263366"/>
                    <a:pt x="1465421" y="269081"/>
                    <a:pt x="1465421" y="275749"/>
                  </a:cubicBezTo>
                  <a:cubicBezTo>
                    <a:pt x="1462564" y="265271"/>
                    <a:pt x="1458754" y="254794"/>
                    <a:pt x="1455896" y="246221"/>
                  </a:cubicBezTo>
                  <a:cubicBezTo>
                    <a:pt x="1453039" y="235744"/>
                    <a:pt x="1450181" y="226219"/>
                    <a:pt x="1447324" y="218599"/>
                  </a:cubicBezTo>
                  <a:cubicBezTo>
                    <a:pt x="1442561" y="203359"/>
                    <a:pt x="1439704" y="194786"/>
                    <a:pt x="1439704" y="194786"/>
                  </a:cubicBezTo>
                  <a:cubicBezTo>
                    <a:pt x="1439704" y="194786"/>
                    <a:pt x="1440656" y="202406"/>
                    <a:pt x="1442561" y="215741"/>
                  </a:cubicBezTo>
                  <a:cubicBezTo>
                    <a:pt x="1439704" y="203359"/>
                    <a:pt x="1437799" y="193834"/>
                    <a:pt x="1435894" y="185261"/>
                  </a:cubicBezTo>
                  <a:cubicBezTo>
                    <a:pt x="1435894" y="169069"/>
                    <a:pt x="1435894" y="159544"/>
                    <a:pt x="1435894" y="159544"/>
                  </a:cubicBezTo>
                  <a:cubicBezTo>
                    <a:pt x="1435894" y="159544"/>
                    <a:pt x="1434941" y="164306"/>
                    <a:pt x="1433036" y="173831"/>
                  </a:cubicBezTo>
                  <a:cubicBezTo>
                    <a:pt x="1431131" y="165259"/>
                    <a:pt x="1430179" y="160496"/>
                    <a:pt x="1430179" y="160496"/>
                  </a:cubicBezTo>
                  <a:cubicBezTo>
                    <a:pt x="1430179" y="160496"/>
                    <a:pt x="1430179" y="162401"/>
                    <a:pt x="1430179" y="166211"/>
                  </a:cubicBezTo>
                  <a:cubicBezTo>
                    <a:pt x="1428274" y="158591"/>
                    <a:pt x="1427321" y="151924"/>
                    <a:pt x="1425416" y="147161"/>
                  </a:cubicBezTo>
                  <a:cubicBezTo>
                    <a:pt x="1421606" y="134779"/>
                    <a:pt x="1418749" y="127159"/>
                    <a:pt x="1418749" y="127159"/>
                  </a:cubicBezTo>
                  <a:cubicBezTo>
                    <a:pt x="1418749" y="127159"/>
                    <a:pt x="1419701" y="134779"/>
                    <a:pt x="1421606" y="148114"/>
                  </a:cubicBezTo>
                  <a:cubicBezTo>
                    <a:pt x="1422559" y="154781"/>
                    <a:pt x="1423511" y="162401"/>
                    <a:pt x="1423511" y="171926"/>
                  </a:cubicBezTo>
                  <a:cubicBezTo>
                    <a:pt x="1424464" y="181451"/>
                    <a:pt x="1424464" y="190976"/>
                    <a:pt x="1425416" y="202406"/>
                  </a:cubicBezTo>
                  <a:cubicBezTo>
                    <a:pt x="1425416" y="208121"/>
                    <a:pt x="1426369" y="212884"/>
                    <a:pt x="1426369" y="218599"/>
                  </a:cubicBezTo>
                  <a:cubicBezTo>
                    <a:pt x="1425416" y="224314"/>
                    <a:pt x="1424464" y="230029"/>
                    <a:pt x="1424464" y="235744"/>
                  </a:cubicBezTo>
                  <a:cubicBezTo>
                    <a:pt x="1423511" y="231934"/>
                    <a:pt x="1422559" y="229076"/>
                    <a:pt x="1421606" y="226219"/>
                  </a:cubicBezTo>
                  <a:cubicBezTo>
                    <a:pt x="1419701" y="219551"/>
                    <a:pt x="1416844" y="214789"/>
                    <a:pt x="1415891" y="210026"/>
                  </a:cubicBezTo>
                  <a:cubicBezTo>
                    <a:pt x="1412081" y="201454"/>
                    <a:pt x="1410176" y="195739"/>
                    <a:pt x="1410176" y="195739"/>
                  </a:cubicBezTo>
                  <a:cubicBezTo>
                    <a:pt x="1410176" y="195739"/>
                    <a:pt x="1411129" y="201454"/>
                    <a:pt x="1412081" y="210979"/>
                  </a:cubicBezTo>
                  <a:cubicBezTo>
                    <a:pt x="1413034" y="215741"/>
                    <a:pt x="1413986" y="221456"/>
                    <a:pt x="1414939" y="228124"/>
                  </a:cubicBezTo>
                  <a:cubicBezTo>
                    <a:pt x="1415891" y="234791"/>
                    <a:pt x="1416844" y="241459"/>
                    <a:pt x="1416844" y="250031"/>
                  </a:cubicBezTo>
                  <a:cubicBezTo>
                    <a:pt x="1416844" y="255746"/>
                    <a:pt x="1417796" y="261461"/>
                    <a:pt x="1418749" y="268129"/>
                  </a:cubicBezTo>
                  <a:cubicBezTo>
                    <a:pt x="1416844" y="270986"/>
                    <a:pt x="1414939" y="273844"/>
                    <a:pt x="1413034" y="277654"/>
                  </a:cubicBezTo>
                  <a:cubicBezTo>
                    <a:pt x="1412081" y="275749"/>
                    <a:pt x="1412081" y="273844"/>
                    <a:pt x="1411129" y="271939"/>
                  </a:cubicBezTo>
                  <a:cubicBezTo>
                    <a:pt x="1406366" y="237649"/>
                    <a:pt x="1401604" y="215741"/>
                    <a:pt x="1401604" y="215741"/>
                  </a:cubicBezTo>
                  <a:cubicBezTo>
                    <a:pt x="1401604" y="215741"/>
                    <a:pt x="1401604" y="226219"/>
                    <a:pt x="1400651" y="243364"/>
                  </a:cubicBezTo>
                  <a:cubicBezTo>
                    <a:pt x="1397794" y="233839"/>
                    <a:pt x="1394936" y="226219"/>
                    <a:pt x="1392079" y="219551"/>
                  </a:cubicBezTo>
                  <a:cubicBezTo>
                    <a:pt x="1392079" y="217646"/>
                    <a:pt x="1393031" y="215741"/>
                    <a:pt x="1393031" y="213836"/>
                  </a:cubicBezTo>
                  <a:cubicBezTo>
                    <a:pt x="1393984" y="212884"/>
                    <a:pt x="1394936" y="211931"/>
                    <a:pt x="1395889" y="210979"/>
                  </a:cubicBezTo>
                  <a:cubicBezTo>
                    <a:pt x="1399699" y="207169"/>
                    <a:pt x="1400651" y="205264"/>
                    <a:pt x="1400651" y="205264"/>
                  </a:cubicBezTo>
                  <a:cubicBezTo>
                    <a:pt x="1400651" y="205264"/>
                    <a:pt x="1398746" y="207169"/>
                    <a:pt x="1394936" y="210026"/>
                  </a:cubicBezTo>
                  <a:cubicBezTo>
                    <a:pt x="1394936" y="210026"/>
                    <a:pt x="1393984" y="210979"/>
                    <a:pt x="1393031" y="210979"/>
                  </a:cubicBezTo>
                  <a:cubicBezTo>
                    <a:pt x="1393984" y="205264"/>
                    <a:pt x="1394936" y="202406"/>
                    <a:pt x="1394936" y="202406"/>
                  </a:cubicBezTo>
                  <a:cubicBezTo>
                    <a:pt x="1394936" y="202406"/>
                    <a:pt x="1393031" y="206216"/>
                    <a:pt x="1391126" y="212884"/>
                  </a:cubicBezTo>
                  <a:cubicBezTo>
                    <a:pt x="1391126" y="212884"/>
                    <a:pt x="1390174" y="213836"/>
                    <a:pt x="1390174" y="213836"/>
                  </a:cubicBezTo>
                  <a:cubicBezTo>
                    <a:pt x="1386364" y="204311"/>
                    <a:pt x="1384459" y="199549"/>
                    <a:pt x="1384459" y="199549"/>
                  </a:cubicBezTo>
                  <a:cubicBezTo>
                    <a:pt x="1384459" y="199549"/>
                    <a:pt x="1385411" y="205264"/>
                    <a:pt x="1387316" y="215741"/>
                  </a:cubicBezTo>
                  <a:cubicBezTo>
                    <a:pt x="1384459" y="218599"/>
                    <a:pt x="1382554" y="220504"/>
                    <a:pt x="1378744" y="224314"/>
                  </a:cubicBezTo>
                  <a:cubicBezTo>
                    <a:pt x="1374934" y="229076"/>
                    <a:pt x="1371124" y="233839"/>
                    <a:pt x="1367314" y="240506"/>
                  </a:cubicBezTo>
                  <a:cubicBezTo>
                    <a:pt x="1363504" y="230029"/>
                    <a:pt x="1358741" y="219551"/>
                    <a:pt x="1354931" y="209074"/>
                  </a:cubicBezTo>
                  <a:cubicBezTo>
                    <a:pt x="1354931" y="199549"/>
                    <a:pt x="1354931" y="191929"/>
                    <a:pt x="1354931" y="185261"/>
                  </a:cubicBezTo>
                  <a:cubicBezTo>
                    <a:pt x="1354931" y="167164"/>
                    <a:pt x="1354931" y="157639"/>
                    <a:pt x="1354931" y="157639"/>
                  </a:cubicBezTo>
                  <a:cubicBezTo>
                    <a:pt x="1354931" y="157639"/>
                    <a:pt x="1353026" y="168116"/>
                    <a:pt x="1351121" y="185261"/>
                  </a:cubicBezTo>
                  <a:cubicBezTo>
                    <a:pt x="1350169" y="189071"/>
                    <a:pt x="1350169" y="192881"/>
                    <a:pt x="1349216" y="197644"/>
                  </a:cubicBezTo>
                  <a:cubicBezTo>
                    <a:pt x="1347311" y="193834"/>
                    <a:pt x="1345406" y="190024"/>
                    <a:pt x="1343501" y="186214"/>
                  </a:cubicBezTo>
                  <a:cubicBezTo>
                    <a:pt x="1343501" y="181451"/>
                    <a:pt x="1344454" y="175736"/>
                    <a:pt x="1344454" y="171926"/>
                  </a:cubicBezTo>
                  <a:cubicBezTo>
                    <a:pt x="1344454" y="166211"/>
                    <a:pt x="1344454" y="161449"/>
                    <a:pt x="1344454" y="157639"/>
                  </a:cubicBezTo>
                  <a:cubicBezTo>
                    <a:pt x="1344454" y="151924"/>
                    <a:pt x="1345406" y="147161"/>
                    <a:pt x="1345406" y="142399"/>
                  </a:cubicBezTo>
                  <a:cubicBezTo>
                    <a:pt x="1346359" y="129064"/>
                    <a:pt x="1346359" y="120491"/>
                    <a:pt x="1346359" y="120491"/>
                  </a:cubicBezTo>
                  <a:cubicBezTo>
                    <a:pt x="1346359" y="120491"/>
                    <a:pt x="1344454" y="128111"/>
                    <a:pt x="1341596" y="141446"/>
                  </a:cubicBezTo>
                  <a:cubicBezTo>
                    <a:pt x="1340644" y="148114"/>
                    <a:pt x="1338739" y="156686"/>
                    <a:pt x="1336834" y="166211"/>
                  </a:cubicBezTo>
                  <a:cubicBezTo>
                    <a:pt x="1336834" y="167164"/>
                    <a:pt x="1336834" y="168116"/>
                    <a:pt x="1335881" y="169069"/>
                  </a:cubicBezTo>
                  <a:cubicBezTo>
                    <a:pt x="1333024" y="162401"/>
                    <a:pt x="1330166" y="156686"/>
                    <a:pt x="1327309" y="150971"/>
                  </a:cubicBezTo>
                  <a:cubicBezTo>
                    <a:pt x="1299686" y="91916"/>
                    <a:pt x="1280636" y="53816"/>
                    <a:pt x="1280636" y="53816"/>
                  </a:cubicBezTo>
                  <a:cubicBezTo>
                    <a:pt x="1280636" y="53816"/>
                    <a:pt x="1293971" y="94774"/>
                    <a:pt x="1317784" y="155734"/>
                  </a:cubicBezTo>
                  <a:cubicBezTo>
                    <a:pt x="1322546" y="168116"/>
                    <a:pt x="1327309" y="180499"/>
                    <a:pt x="1332071" y="193834"/>
                  </a:cubicBezTo>
                  <a:cubicBezTo>
                    <a:pt x="1332071" y="195739"/>
                    <a:pt x="1332071" y="196691"/>
                    <a:pt x="1331119" y="197644"/>
                  </a:cubicBezTo>
                  <a:cubicBezTo>
                    <a:pt x="1329214" y="209074"/>
                    <a:pt x="1327309" y="222409"/>
                    <a:pt x="1326356" y="235744"/>
                  </a:cubicBezTo>
                  <a:cubicBezTo>
                    <a:pt x="1324451" y="249079"/>
                    <a:pt x="1323499" y="263366"/>
                    <a:pt x="1321594" y="277654"/>
                  </a:cubicBezTo>
                  <a:cubicBezTo>
                    <a:pt x="1321594" y="283369"/>
                    <a:pt x="1320641" y="288131"/>
                    <a:pt x="1319689" y="293846"/>
                  </a:cubicBezTo>
                  <a:cubicBezTo>
                    <a:pt x="1318736" y="292894"/>
                    <a:pt x="1318736" y="291941"/>
                    <a:pt x="1317784" y="290989"/>
                  </a:cubicBezTo>
                  <a:cubicBezTo>
                    <a:pt x="1317784" y="289084"/>
                    <a:pt x="1317784" y="289084"/>
                    <a:pt x="1317784" y="289084"/>
                  </a:cubicBezTo>
                  <a:cubicBezTo>
                    <a:pt x="1317784" y="289084"/>
                    <a:pt x="1317784" y="290036"/>
                    <a:pt x="1316831" y="290989"/>
                  </a:cubicBezTo>
                  <a:cubicBezTo>
                    <a:pt x="1316831" y="290036"/>
                    <a:pt x="1315879" y="289084"/>
                    <a:pt x="1315879" y="288131"/>
                  </a:cubicBezTo>
                  <a:cubicBezTo>
                    <a:pt x="1314926" y="287179"/>
                    <a:pt x="1314926" y="286226"/>
                    <a:pt x="1313974" y="285274"/>
                  </a:cubicBezTo>
                  <a:cubicBezTo>
                    <a:pt x="1315879" y="259556"/>
                    <a:pt x="1316831" y="244316"/>
                    <a:pt x="1316831" y="244316"/>
                  </a:cubicBezTo>
                  <a:cubicBezTo>
                    <a:pt x="1316831" y="244316"/>
                    <a:pt x="1313974" y="256699"/>
                    <a:pt x="1309211" y="277654"/>
                  </a:cubicBezTo>
                  <a:cubicBezTo>
                    <a:pt x="1305401" y="271939"/>
                    <a:pt x="1302544" y="266224"/>
                    <a:pt x="1298734" y="260509"/>
                  </a:cubicBezTo>
                  <a:cubicBezTo>
                    <a:pt x="1304449" y="235744"/>
                    <a:pt x="1310164" y="213836"/>
                    <a:pt x="1313974" y="199549"/>
                  </a:cubicBezTo>
                  <a:cubicBezTo>
                    <a:pt x="1317784" y="182404"/>
                    <a:pt x="1319689" y="172879"/>
                    <a:pt x="1319689" y="172879"/>
                  </a:cubicBezTo>
                  <a:cubicBezTo>
                    <a:pt x="1319689" y="172879"/>
                    <a:pt x="1307306" y="202406"/>
                    <a:pt x="1291114" y="249079"/>
                  </a:cubicBezTo>
                  <a:cubicBezTo>
                    <a:pt x="1287304" y="243364"/>
                    <a:pt x="1284446" y="238601"/>
                    <a:pt x="1281589" y="234791"/>
                  </a:cubicBezTo>
                  <a:cubicBezTo>
                    <a:pt x="1273016" y="222409"/>
                    <a:pt x="1267301" y="215741"/>
                    <a:pt x="1267301" y="215741"/>
                  </a:cubicBezTo>
                  <a:cubicBezTo>
                    <a:pt x="1267301" y="215741"/>
                    <a:pt x="1270159" y="222409"/>
                    <a:pt x="1275874" y="232886"/>
                  </a:cubicBezTo>
                  <a:cubicBezTo>
                    <a:pt x="1274921" y="234791"/>
                    <a:pt x="1273969" y="238601"/>
                    <a:pt x="1272064" y="243364"/>
                  </a:cubicBezTo>
                  <a:cubicBezTo>
                    <a:pt x="1268254" y="237649"/>
                    <a:pt x="1264444" y="231934"/>
                    <a:pt x="1261586" y="227171"/>
                  </a:cubicBezTo>
                  <a:cubicBezTo>
                    <a:pt x="1257776" y="221456"/>
                    <a:pt x="1253014" y="215741"/>
                    <a:pt x="1249204" y="210979"/>
                  </a:cubicBezTo>
                  <a:cubicBezTo>
                    <a:pt x="1248251" y="210026"/>
                    <a:pt x="1248251" y="209074"/>
                    <a:pt x="1247299" y="208121"/>
                  </a:cubicBezTo>
                  <a:cubicBezTo>
                    <a:pt x="1250156" y="203359"/>
                    <a:pt x="1251109" y="199549"/>
                    <a:pt x="1251109" y="199549"/>
                  </a:cubicBezTo>
                  <a:cubicBezTo>
                    <a:pt x="1251109" y="199549"/>
                    <a:pt x="1249204" y="202406"/>
                    <a:pt x="1246346" y="206216"/>
                  </a:cubicBezTo>
                  <a:cubicBezTo>
                    <a:pt x="1239679" y="197644"/>
                    <a:pt x="1233964" y="190024"/>
                    <a:pt x="1229201" y="184309"/>
                  </a:cubicBezTo>
                  <a:cubicBezTo>
                    <a:pt x="1217771" y="170974"/>
                    <a:pt x="1211104" y="162401"/>
                    <a:pt x="1211104" y="162401"/>
                  </a:cubicBezTo>
                  <a:cubicBezTo>
                    <a:pt x="1211104" y="162401"/>
                    <a:pt x="1216819" y="170974"/>
                    <a:pt x="1226344" y="186214"/>
                  </a:cubicBezTo>
                  <a:cubicBezTo>
                    <a:pt x="1231106" y="192881"/>
                    <a:pt x="1235869" y="202406"/>
                    <a:pt x="1242536" y="211931"/>
                  </a:cubicBezTo>
                  <a:cubicBezTo>
                    <a:pt x="1240631" y="214789"/>
                    <a:pt x="1238726" y="217646"/>
                    <a:pt x="1236821" y="220504"/>
                  </a:cubicBezTo>
                  <a:cubicBezTo>
                    <a:pt x="1235869" y="222409"/>
                    <a:pt x="1234916" y="224314"/>
                    <a:pt x="1233011" y="226219"/>
                  </a:cubicBezTo>
                  <a:cubicBezTo>
                    <a:pt x="1233011" y="221456"/>
                    <a:pt x="1232059" y="217646"/>
                    <a:pt x="1231106" y="212884"/>
                  </a:cubicBezTo>
                  <a:cubicBezTo>
                    <a:pt x="1231106" y="211931"/>
                    <a:pt x="1230154" y="210026"/>
                    <a:pt x="1228249" y="209074"/>
                  </a:cubicBezTo>
                  <a:cubicBezTo>
                    <a:pt x="1228249" y="209074"/>
                    <a:pt x="1227296" y="209074"/>
                    <a:pt x="1226344" y="209074"/>
                  </a:cubicBezTo>
                  <a:cubicBezTo>
                    <a:pt x="1225391" y="206216"/>
                    <a:pt x="1224439" y="202406"/>
                    <a:pt x="1223486" y="199549"/>
                  </a:cubicBezTo>
                  <a:cubicBezTo>
                    <a:pt x="1218724" y="187166"/>
                    <a:pt x="1215866" y="179546"/>
                    <a:pt x="1215866" y="179546"/>
                  </a:cubicBezTo>
                  <a:cubicBezTo>
                    <a:pt x="1215866" y="179546"/>
                    <a:pt x="1216819" y="187166"/>
                    <a:pt x="1219676" y="200501"/>
                  </a:cubicBezTo>
                  <a:cubicBezTo>
                    <a:pt x="1220629" y="204311"/>
                    <a:pt x="1220629" y="208121"/>
                    <a:pt x="1221581" y="211931"/>
                  </a:cubicBezTo>
                  <a:cubicBezTo>
                    <a:pt x="1221581" y="212884"/>
                    <a:pt x="1220629" y="212884"/>
                    <a:pt x="1220629" y="213836"/>
                  </a:cubicBezTo>
                  <a:cubicBezTo>
                    <a:pt x="1214914" y="208121"/>
                    <a:pt x="1211104" y="203359"/>
                    <a:pt x="1207294" y="200501"/>
                  </a:cubicBezTo>
                  <a:cubicBezTo>
                    <a:pt x="1203484" y="197644"/>
                    <a:pt x="1201579" y="195739"/>
                    <a:pt x="1201579" y="195739"/>
                  </a:cubicBezTo>
                  <a:cubicBezTo>
                    <a:pt x="1201579" y="195739"/>
                    <a:pt x="1203484" y="197644"/>
                    <a:pt x="1206341" y="201454"/>
                  </a:cubicBezTo>
                  <a:cubicBezTo>
                    <a:pt x="1209199" y="205264"/>
                    <a:pt x="1213009" y="210979"/>
                    <a:pt x="1217771" y="217646"/>
                  </a:cubicBezTo>
                  <a:lnTo>
                    <a:pt x="1217771" y="217646"/>
                  </a:lnTo>
                  <a:cubicBezTo>
                    <a:pt x="1216819" y="222409"/>
                    <a:pt x="1216819" y="227171"/>
                    <a:pt x="1216819" y="231934"/>
                  </a:cubicBezTo>
                  <a:cubicBezTo>
                    <a:pt x="1207294" y="223361"/>
                    <a:pt x="1202531" y="219551"/>
                    <a:pt x="1202531" y="219551"/>
                  </a:cubicBezTo>
                  <a:cubicBezTo>
                    <a:pt x="1202531" y="219551"/>
                    <a:pt x="1207294" y="226219"/>
                    <a:pt x="1215866" y="236696"/>
                  </a:cubicBezTo>
                  <a:cubicBezTo>
                    <a:pt x="1215866" y="240506"/>
                    <a:pt x="1214914" y="245269"/>
                    <a:pt x="1214914" y="249079"/>
                  </a:cubicBezTo>
                  <a:cubicBezTo>
                    <a:pt x="1214914" y="250984"/>
                    <a:pt x="1214914" y="252889"/>
                    <a:pt x="1214914" y="255746"/>
                  </a:cubicBezTo>
                  <a:cubicBezTo>
                    <a:pt x="1214914" y="253841"/>
                    <a:pt x="1213961" y="252889"/>
                    <a:pt x="1213961" y="250984"/>
                  </a:cubicBezTo>
                  <a:cubicBezTo>
                    <a:pt x="1213961" y="250984"/>
                    <a:pt x="1213961" y="250031"/>
                    <a:pt x="1213961" y="250031"/>
                  </a:cubicBezTo>
                  <a:cubicBezTo>
                    <a:pt x="1213961" y="249079"/>
                    <a:pt x="1214914" y="249079"/>
                    <a:pt x="1214914" y="249079"/>
                  </a:cubicBezTo>
                  <a:cubicBezTo>
                    <a:pt x="1214914" y="249079"/>
                    <a:pt x="1214914" y="249079"/>
                    <a:pt x="1213961" y="250031"/>
                  </a:cubicBezTo>
                  <a:cubicBezTo>
                    <a:pt x="1212056" y="242411"/>
                    <a:pt x="1209199" y="235744"/>
                    <a:pt x="1207294" y="229076"/>
                  </a:cubicBezTo>
                  <a:cubicBezTo>
                    <a:pt x="1204436" y="222409"/>
                    <a:pt x="1202531" y="216694"/>
                    <a:pt x="1200626" y="212884"/>
                  </a:cubicBezTo>
                  <a:cubicBezTo>
                    <a:pt x="1195864" y="204311"/>
                    <a:pt x="1193959" y="198596"/>
                    <a:pt x="1193959" y="198596"/>
                  </a:cubicBezTo>
                  <a:cubicBezTo>
                    <a:pt x="1193959" y="198596"/>
                    <a:pt x="1194911" y="204311"/>
                    <a:pt x="1196816" y="213836"/>
                  </a:cubicBezTo>
                  <a:cubicBezTo>
                    <a:pt x="1197769" y="218599"/>
                    <a:pt x="1198721" y="224314"/>
                    <a:pt x="1200626" y="230981"/>
                  </a:cubicBezTo>
                  <a:cubicBezTo>
                    <a:pt x="1201579" y="237649"/>
                    <a:pt x="1202531" y="245269"/>
                    <a:pt x="1204436" y="252889"/>
                  </a:cubicBezTo>
                  <a:cubicBezTo>
                    <a:pt x="1204436" y="254794"/>
                    <a:pt x="1205389" y="256699"/>
                    <a:pt x="1205389" y="258604"/>
                  </a:cubicBezTo>
                  <a:cubicBezTo>
                    <a:pt x="1202531" y="251936"/>
                    <a:pt x="1199674" y="245269"/>
                    <a:pt x="1196816" y="239554"/>
                  </a:cubicBezTo>
                  <a:cubicBezTo>
                    <a:pt x="1193959" y="233839"/>
                    <a:pt x="1191101" y="229076"/>
                    <a:pt x="1189196" y="224314"/>
                  </a:cubicBezTo>
                  <a:cubicBezTo>
                    <a:pt x="1184434" y="216694"/>
                    <a:pt x="1181576" y="211931"/>
                    <a:pt x="1181576" y="211931"/>
                  </a:cubicBezTo>
                  <a:cubicBezTo>
                    <a:pt x="1181576" y="211931"/>
                    <a:pt x="1183481" y="216694"/>
                    <a:pt x="1185386" y="225266"/>
                  </a:cubicBezTo>
                  <a:cubicBezTo>
                    <a:pt x="1187291" y="230029"/>
                    <a:pt x="1188244" y="234791"/>
                    <a:pt x="1190149" y="241459"/>
                  </a:cubicBezTo>
                  <a:cubicBezTo>
                    <a:pt x="1192054" y="247174"/>
                    <a:pt x="1193006" y="254794"/>
                    <a:pt x="1194911" y="262414"/>
                  </a:cubicBezTo>
                  <a:cubicBezTo>
                    <a:pt x="1195864" y="267176"/>
                    <a:pt x="1196816" y="271939"/>
                    <a:pt x="1197769" y="276701"/>
                  </a:cubicBezTo>
                  <a:cubicBezTo>
                    <a:pt x="1196816" y="279559"/>
                    <a:pt x="1194911" y="281464"/>
                    <a:pt x="1193959" y="284321"/>
                  </a:cubicBezTo>
                  <a:cubicBezTo>
                    <a:pt x="1193959" y="284321"/>
                    <a:pt x="1193959" y="283369"/>
                    <a:pt x="1193959" y="283369"/>
                  </a:cubicBezTo>
                  <a:cubicBezTo>
                    <a:pt x="1193959" y="282416"/>
                    <a:pt x="1193006" y="280511"/>
                    <a:pt x="1193006" y="279559"/>
                  </a:cubicBezTo>
                  <a:cubicBezTo>
                    <a:pt x="1193959" y="277654"/>
                    <a:pt x="1193959" y="276701"/>
                    <a:pt x="1193959" y="276701"/>
                  </a:cubicBezTo>
                  <a:cubicBezTo>
                    <a:pt x="1193959" y="276701"/>
                    <a:pt x="1193959" y="277654"/>
                    <a:pt x="1193006" y="278606"/>
                  </a:cubicBezTo>
                  <a:cubicBezTo>
                    <a:pt x="1190149" y="268129"/>
                    <a:pt x="1187291" y="258604"/>
                    <a:pt x="1184434" y="250984"/>
                  </a:cubicBezTo>
                  <a:cubicBezTo>
                    <a:pt x="1179671" y="239554"/>
                    <a:pt x="1176814" y="231934"/>
                    <a:pt x="1174909" y="227171"/>
                  </a:cubicBezTo>
                  <a:cubicBezTo>
                    <a:pt x="1174909" y="226219"/>
                    <a:pt x="1174909" y="224314"/>
                    <a:pt x="1174909" y="223361"/>
                  </a:cubicBezTo>
                  <a:cubicBezTo>
                    <a:pt x="1174909" y="212884"/>
                    <a:pt x="1175861" y="204311"/>
                    <a:pt x="1175861" y="196691"/>
                  </a:cubicBezTo>
                  <a:cubicBezTo>
                    <a:pt x="1175861" y="182404"/>
                    <a:pt x="1174909" y="173831"/>
                    <a:pt x="1174909" y="173831"/>
                  </a:cubicBezTo>
                  <a:cubicBezTo>
                    <a:pt x="1174909" y="173831"/>
                    <a:pt x="1173956" y="182404"/>
                    <a:pt x="1172051" y="196691"/>
                  </a:cubicBezTo>
                  <a:cubicBezTo>
                    <a:pt x="1171099" y="204311"/>
                    <a:pt x="1169194" y="212884"/>
                    <a:pt x="1168241" y="223361"/>
                  </a:cubicBezTo>
                  <a:cubicBezTo>
                    <a:pt x="1168241" y="224314"/>
                    <a:pt x="1168241" y="225266"/>
                    <a:pt x="1168241" y="226219"/>
                  </a:cubicBezTo>
                  <a:cubicBezTo>
                    <a:pt x="1167289" y="229076"/>
                    <a:pt x="1165384" y="232886"/>
                    <a:pt x="1162526" y="238601"/>
                  </a:cubicBezTo>
                  <a:cubicBezTo>
                    <a:pt x="1161574" y="230981"/>
                    <a:pt x="1160621" y="223361"/>
                    <a:pt x="1158716" y="215741"/>
                  </a:cubicBezTo>
                  <a:cubicBezTo>
                    <a:pt x="1156811" y="206216"/>
                    <a:pt x="1153954" y="197644"/>
                    <a:pt x="1152049" y="189071"/>
                  </a:cubicBezTo>
                  <a:cubicBezTo>
                    <a:pt x="1143476" y="155734"/>
                    <a:pt x="1136809" y="133826"/>
                    <a:pt x="1136809" y="133826"/>
                  </a:cubicBezTo>
                  <a:cubicBezTo>
                    <a:pt x="1136809" y="133826"/>
                    <a:pt x="1137761" y="156686"/>
                    <a:pt x="1140619" y="190024"/>
                  </a:cubicBezTo>
                  <a:cubicBezTo>
                    <a:pt x="1141571" y="198596"/>
                    <a:pt x="1142524" y="208121"/>
                    <a:pt x="1143476" y="217646"/>
                  </a:cubicBezTo>
                  <a:cubicBezTo>
                    <a:pt x="1144429" y="227171"/>
                    <a:pt x="1144429" y="237649"/>
                    <a:pt x="1146334" y="248126"/>
                  </a:cubicBezTo>
                  <a:cubicBezTo>
                    <a:pt x="1146334" y="252889"/>
                    <a:pt x="1147286" y="256699"/>
                    <a:pt x="1147286" y="261461"/>
                  </a:cubicBezTo>
                  <a:cubicBezTo>
                    <a:pt x="1147286" y="261461"/>
                    <a:pt x="1147286" y="261461"/>
                    <a:pt x="1147286" y="261461"/>
                  </a:cubicBezTo>
                  <a:cubicBezTo>
                    <a:pt x="1147286" y="259556"/>
                    <a:pt x="1147286" y="258604"/>
                    <a:pt x="1147286" y="258604"/>
                  </a:cubicBezTo>
                  <a:cubicBezTo>
                    <a:pt x="1147286" y="258604"/>
                    <a:pt x="1147286" y="259556"/>
                    <a:pt x="1147286" y="260509"/>
                  </a:cubicBezTo>
                  <a:cubicBezTo>
                    <a:pt x="1146334" y="257651"/>
                    <a:pt x="1144429" y="254794"/>
                    <a:pt x="1143476" y="251936"/>
                  </a:cubicBezTo>
                  <a:cubicBezTo>
                    <a:pt x="1142524" y="250984"/>
                    <a:pt x="1142524" y="250031"/>
                    <a:pt x="1141571" y="249079"/>
                  </a:cubicBezTo>
                  <a:cubicBezTo>
                    <a:pt x="1141571" y="242411"/>
                    <a:pt x="1141571" y="237649"/>
                    <a:pt x="1141571" y="237649"/>
                  </a:cubicBezTo>
                  <a:cubicBezTo>
                    <a:pt x="1141571" y="237649"/>
                    <a:pt x="1140619" y="240506"/>
                    <a:pt x="1139666" y="246221"/>
                  </a:cubicBezTo>
                  <a:cubicBezTo>
                    <a:pt x="1136809" y="241459"/>
                    <a:pt x="1134904" y="236696"/>
                    <a:pt x="1132046" y="231934"/>
                  </a:cubicBezTo>
                  <a:cubicBezTo>
                    <a:pt x="1132046" y="231934"/>
                    <a:pt x="1132046" y="230981"/>
                    <a:pt x="1132046" y="230981"/>
                  </a:cubicBezTo>
                  <a:cubicBezTo>
                    <a:pt x="1128236" y="211931"/>
                    <a:pt x="1124426" y="193834"/>
                    <a:pt x="1120616" y="177641"/>
                  </a:cubicBezTo>
                  <a:cubicBezTo>
                    <a:pt x="1116806" y="161449"/>
                    <a:pt x="1113949" y="146209"/>
                    <a:pt x="1110139" y="132874"/>
                  </a:cubicBezTo>
                  <a:cubicBezTo>
                    <a:pt x="1106329" y="119539"/>
                    <a:pt x="1103471" y="108109"/>
                    <a:pt x="1100614" y="98584"/>
                  </a:cubicBezTo>
                  <a:cubicBezTo>
                    <a:pt x="1094899" y="79534"/>
                    <a:pt x="1092041" y="69056"/>
                    <a:pt x="1092041" y="69056"/>
                  </a:cubicBezTo>
                  <a:cubicBezTo>
                    <a:pt x="1092041" y="69056"/>
                    <a:pt x="1093946" y="80486"/>
                    <a:pt x="1096804" y="99536"/>
                  </a:cubicBezTo>
                  <a:cubicBezTo>
                    <a:pt x="1098709" y="109061"/>
                    <a:pt x="1100614" y="121444"/>
                    <a:pt x="1103471" y="134779"/>
                  </a:cubicBezTo>
                  <a:cubicBezTo>
                    <a:pt x="1106329" y="148114"/>
                    <a:pt x="1108234" y="163354"/>
                    <a:pt x="1110139" y="180499"/>
                  </a:cubicBezTo>
                  <a:cubicBezTo>
                    <a:pt x="1111091" y="186214"/>
                    <a:pt x="1112044" y="192881"/>
                    <a:pt x="1112996" y="199549"/>
                  </a:cubicBezTo>
                  <a:cubicBezTo>
                    <a:pt x="1112044" y="197644"/>
                    <a:pt x="1111091" y="196691"/>
                    <a:pt x="1110139" y="194786"/>
                  </a:cubicBezTo>
                  <a:cubicBezTo>
                    <a:pt x="1109186" y="192881"/>
                    <a:pt x="1107281" y="190976"/>
                    <a:pt x="1106329" y="190024"/>
                  </a:cubicBezTo>
                  <a:cubicBezTo>
                    <a:pt x="1106329" y="189071"/>
                    <a:pt x="1106329" y="189071"/>
                    <a:pt x="1105376" y="188119"/>
                  </a:cubicBezTo>
                  <a:cubicBezTo>
                    <a:pt x="1101566" y="177641"/>
                    <a:pt x="1098709" y="168116"/>
                    <a:pt x="1095851" y="160496"/>
                  </a:cubicBezTo>
                  <a:cubicBezTo>
                    <a:pt x="1090136" y="145256"/>
                    <a:pt x="1087279" y="136684"/>
                    <a:pt x="1087279" y="136684"/>
                  </a:cubicBezTo>
                  <a:cubicBezTo>
                    <a:pt x="1087279" y="136684"/>
                    <a:pt x="1089184" y="145256"/>
                    <a:pt x="1092041" y="161449"/>
                  </a:cubicBezTo>
                  <a:cubicBezTo>
                    <a:pt x="1093946" y="169069"/>
                    <a:pt x="1095851" y="178594"/>
                    <a:pt x="1098709" y="190024"/>
                  </a:cubicBezTo>
                  <a:cubicBezTo>
                    <a:pt x="1100614" y="197644"/>
                    <a:pt x="1102519" y="207169"/>
                    <a:pt x="1103471" y="215741"/>
                  </a:cubicBezTo>
                  <a:cubicBezTo>
                    <a:pt x="1099661" y="206216"/>
                    <a:pt x="1097756" y="200501"/>
                    <a:pt x="1097756" y="200501"/>
                  </a:cubicBezTo>
                  <a:cubicBezTo>
                    <a:pt x="1097756" y="200501"/>
                    <a:pt x="1099661" y="209074"/>
                    <a:pt x="1102519" y="224314"/>
                  </a:cubicBezTo>
                  <a:cubicBezTo>
                    <a:pt x="1100614" y="227171"/>
                    <a:pt x="1097756" y="230981"/>
                    <a:pt x="1094899" y="233839"/>
                  </a:cubicBezTo>
                  <a:cubicBezTo>
                    <a:pt x="1092994" y="225266"/>
                    <a:pt x="1091089" y="216694"/>
                    <a:pt x="1089184" y="209074"/>
                  </a:cubicBezTo>
                  <a:cubicBezTo>
                    <a:pt x="1086326" y="182404"/>
                    <a:pt x="1084421" y="166211"/>
                    <a:pt x="1084421" y="166211"/>
                  </a:cubicBezTo>
                  <a:cubicBezTo>
                    <a:pt x="1084421" y="166211"/>
                    <a:pt x="1084421" y="172879"/>
                    <a:pt x="1083469" y="184309"/>
                  </a:cubicBezTo>
                  <a:cubicBezTo>
                    <a:pt x="1080611" y="171926"/>
                    <a:pt x="1077754" y="160496"/>
                    <a:pt x="1073944" y="149066"/>
                  </a:cubicBezTo>
                  <a:cubicBezTo>
                    <a:pt x="1071086" y="140494"/>
                    <a:pt x="1069181" y="131921"/>
                    <a:pt x="1066324" y="123349"/>
                  </a:cubicBezTo>
                  <a:cubicBezTo>
                    <a:pt x="1072991" y="105251"/>
                    <a:pt x="1075849" y="94774"/>
                    <a:pt x="1075849" y="94774"/>
                  </a:cubicBezTo>
                  <a:cubicBezTo>
                    <a:pt x="1075849" y="94774"/>
                    <a:pt x="1072039" y="103346"/>
                    <a:pt x="1064419" y="119539"/>
                  </a:cubicBezTo>
                  <a:cubicBezTo>
                    <a:pt x="1062514" y="112871"/>
                    <a:pt x="1059656" y="106204"/>
                    <a:pt x="1057751" y="100489"/>
                  </a:cubicBezTo>
                  <a:cubicBezTo>
                    <a:pt x="1054894" y="92869"/>
                    <a:pt x="1052036" y="85249"/>
                    <a:pt x="1050131" y="78581"/>
                  </a:cubicBezTo>
                  <a:cubicBezTo>
                    <a:pt x="1047274" y="71914"/>
                    <a:pt x="1044416" y="65246"/>
                    <a:pt x="1042511" y="59531"/>
                  </a:cubicBezTo>
                  <a:cubicBezTo>
                    <a:pt x="1037749" y="47149"/>
                    <a:pt x="1032986" y="36671"/>
                    <a:pt x="1029176" y="28099"/>
                  </a:cubicBezTo>
                  <a:cubicBezTo>
                    <a:pt x="1017746" y="16669"/>
                    <a:pt x="1012984" y="7144"/>
                    <a:pt x="1012984" y="7144"/>
                  </a:cubicBezTo>
                  <a:cubicBezTo>
                    <a:pt x="1012984" y="7144"/>
                    <a:pt x="1016794" y="17621"/>
                    <a:pt x="1022509" y="34766"/>
                  </a:cubicBezTo>
                  <a:cubicBezTo>
                    <a:pt x="1025366" y="43339"/>
                    <a:pt x="1029176" y="54769"/>
                    <a:pt x="1032986" y="67151"/>
                  </a:cubicBezTo>
                  <a:cubicBezTo>
                    <a:pt x="1034891" y="73819"/>
                    <a:pt x="1036796" y="79534"/>
                    <a:pt x="1038701" y="87154"/>
                  </a:cubicBezTo>
                  <a:cubicBezTo>
                    <a:pt x="1040606" y="93821"/>
                    <a:pt x="1042511" y="101441"/>
                    <a:pt x="1044416" y="109061"/>
                  </a:cubicBezTo>
                  <a:cubicBezTo>
                    <a:pt x="1044416" y="109061"/>
                    <a:pt x="1044416" y="110014"/>
                    <a:pt x="1044416" y="110014"/>
                  </a:cubicBezTo>
                  <a:cubicBezTo>
                    <a:pt x="1039654" y="101441"/>
                    <a:pt x="1037749" y="96679"/>
                    <a:pt x="1037749" y="96679"/>
                  </a:cubicBezTo>
                  <a:cubicBezTo>
                    <a:pt x="1037749" y="96679"/>
                    <a:pt x="1039654" y="104299"/>
                    <a:pt x="1044416" y="117634"/>
                  </a:cubicBezTo>
                  <a:cubicBezTo>
                    <a:pt x="1046321" y="124301"/>
                    <a:pt x="1049179" y="131921"/>
                    <a:pt x="1051084" y="141446"/>
                  </a:cubicBezTo>
                  <a:cubicBezTo>
                    <a:pt x="1051084" y="143351"/>
                    <a:pt x="1052036" y="144304"/>
                    <a:pt x="1052036" y="146209"/>
                  </a:cubicBezTo>
                  <a:cubicBezTo>
                    <a:pt x="1048226" y="153829"/>
                    <a:pt x="1043464" y="163354"/>
                    <a:pt x="1037749" y="172879"/>
                  </a:cubicBezTo>
                  <a:cubicBezTo>
                    <a:pt x="1033939" y="180499"/>
                    <a:pt x="1029176" y="188119"/>
                    <a:pt x="1024414" y="195739"/>
                  </a:cubicBezTo>
                  <a:cubicBezTo>
                    <a:pt x="1024414" y="194786"/>
                    <a:pt x="1023461" y="193834"/>
                    <a:pt x="1023461" y="192881"/>
                  </a:cubicBezTo>
                  <a:cubicBezTo>
                    <a:pt x="1023461" y="190024"/>
                    <a:pt x="1023461" y="187166"/>
                    <a:pt x="1023461" y="184309"/>
                  </a:cubicBezTo>
                  <a:cubicBezTo>
                    <a:pt x="1024414" y="169069"/>
                    <a:pt x="1024414" y="154781"/>
                    <a:pt x="1024414" y="142399"/>
                  </a:cubicBezTo>
                  <a:cubicBezTo>
                    <a:pt x="1024414" y="130016"/>
                    <a:pt x="1024414" y="119539"/>
                    <a:pt x="1023461" y="110014"/>
                  </a:cubicBezTo>
                  <a:cubicBezTo>
                    <a:pt x="1023461" y="101441"/>
                    <a:pt x="1022509" y="93821"/>
                    <a:pt x="1021556" y="89059"/>
                  </a:cubicBezTo>
                  <a:cubicBezTo>
                    <a:pt x="1020604" y="84296"/>
                    <a:pt x="1020604" y="81439"/>
                    <a:pt x="1020604" y="81439"/>
                  </a:cubicBezTo>
                  <a:cubicBezTo>
                    <a:pt x="1020604" y="81439"/>
                    <a:pt x="1020604" y="84296"/>
                    <a:pt x="1020604" y="89059"/>
                  </a:cubicBezTo>
                  <a:cubicBezTo>
                    <a:pt x="1020604" y="93821"/>
                    <a:pt x="1019651" y="100489"/>
                    <a:pt x="1019651" y="110014"/>
                  </a:cubicBezTo>
                  <a:cubicBezTo>
                    <a:pt x="1018699" y="124301"/>
                    <a:pt x="1016794" y="142399"/>
                    <a:pt x="1014889" y="165259"/>
                  </a:cubicBezTo>
                  <a:cubicBezTo>
                    <a:pt x="1013936" y="162401"/>
                    <a:pt x="1013936" y="161449"/>
                    <a:pt x="1013936" y="161449"/>
                  </a:cubicBezTo>
                  <a:cubicBezTo>
                    <a:pt x="1013936" y="161449"/>
                    <a:pt x="1013936" y="163354"/>
                    <a:pt x="1014889" y="168116"/>
                  </a:cubicBezTo>
                  <a:cubicBezTo>
                    <a:pt x="1013936" y="172879"/>
                    <a:pt x="1013936" y="178594"/>
                    <a:pt x="1012984" y="183356"/>
                  </a:cubicBezTo>
                  <a:cubicBezTo>
                    <a:pt x="1011079" y="196691"/>
                    <a:pt x="1009174" y="210026"/>
                    <a:pt x="1007269" y="224314"/>
                  </a:cubicBezTo>
                  <a:cubicBezTo>
                    <a:pt x="996791" y="242411"/>
                    <a:pt x="984409" y="262414"/>
                    <a:pt x="972026" y="283369"/>
                  </a:cubicBezTo>
                  <a:cubicBezTo>
                    <a:pt x="972026" y="277654"/>
                    <a:pt x="971074" y="273844"/>
                    <a:pt x="971074" y="269081"/>
                  </a:cubicBezTo>
                  <a:cubicBezTo>
                    <a:pt x="972979" y="263366"/>
                    <a:pt x="975836" y="256699"/>
                    <a:pt x="977741" y="251936"/>
                  </a:cubicBezTo>
                  <a:cubicBezTo>
                    <a:pt x="983456" y="235744"/>
                    <a:pt x="989171" y="220504"/>
                    <a:pt x="992981" y="206216"/>
                  </a:cubicBezTo>
                  <a:cubicBezTo>
                    <a:pt x="996791" y="192881"/>
                    <a:pt x="1000601" y="180499"/>
                    <a:pt x="1002506" y="170974"/>
                  </a:cubicBezTo>
                  <a:cubicBezTo>
                    <a:pt x="1007269" y="150971"/>
                    <a:pt x="1009174" y="139541"/>
                    <a:pt x="1009174" y="139541"/>
                  </a:cubicBezTo>
                  <a:cubicBezTo>
                    <a:pt x="1009174" y="139541"/>
                    <a:pt x="1005364" y="150971"/>
                    <a:pt x="998696" y="170021"/>
                  </a:cubicBezTo>
                  <a:cubicBezTo>
                    <a:pt x="995839" y="179546"/>
                    <a:pt x="990124" y="190976"/>
                    <a:pt x="985361" y="204311"/>
                  </a:cubicBezTo>
                  <a:cubicBezTo>
                    <a:pt x="980599" y="217646"/>
                    <a:pt x="972979" y="231934"/>
                    <a:pt x="966311" y="248126"/>
                  </a:cubicBezTo>
                  <a:cubicBezTo>
                    <a:pt x="964406" y="251936"/>
                    <a:pt x="962501" y="255746"/>
                    <a:pt x="960596" y="260509"/>
                  </a:cubicBezTo>
                  <a:cubicBezTo>
                    <a:pt x="961549" y="248126"/>
                    <a:pt x="961549" y="236696"/>
                    <a:pt x="961549" y="225266"/>
                  </a:cubicBezTo>
                  <a:cubicBezTo>
                    <a:pt x="966311" y="212884"/>
                    <a:pt x="969169" y="206216"/>
                    <a:pt x="969169" y="206216"/>
                  </a:cubicBezTo>
                  <a:cubicBezTo>
                    <a:pt x="969169" y="206216"/>
                    <a:pt x="966311" y="210979"/>
                    <a:pt x="961549" y="218599"/>
                  </a:cubicBezTo>
                  <a:cubicBezTo>
                    <a:pt x="961549" y="213836"/>
                    <a:pt x="961549" y="210026"/>
                    <a:pt x="961549" y="206216"/>
                  </a:cubicBezTo>
                  <a:cubicBezTo>
                    <a:pt x="961549" y="182404"/>
                    <a:pt x="960596" y="162401"/>
                    <a:pt x="958691" y="149066"/>
                  </a:cubicBezTo>
                  <a:cubicBezTo>
                    <a:pt x="957739" y="143351"/>
                    <a:pt x="957739" y="138589"/>
                    <a:pt x="956786" y="134779"/>
                  </a:cubicBezTo>
                  <a:cubicBezTo>
                    <a:pt x="956786" y="132874"/>
                    <a:pt x="957739" y="131921"/>
                    <a:pt x="957739" y="131921"/>
                  </a:cubicBezTo>
                  <a:cubicBezTo>
                    <a:pt x="957739" y="131921"/>
                    <a:pt x="957739" y="132874"/>
                    <a:pt x="956786" y="133826"/>
                  </a:cubicBezTo>
                  <a:cubicBezTo>
                    <a:pt x="956786" y="133826"/>
                    <a:pt x="956786" y="132874"/>
                    <a:pt x="956786" y="132874"/>
                  </a:cubicBezTo>
                  <a:cubicBezTo>
                    <a:pt x="955834" y="129064"/>
                    <a:pt x="955834" y="127159"/>
                    <a:pt x="955834" y="127159"/>
                  </a:cubicBezTo>
                  <a:cubicBezTo>
                    <a:pt x="955834" y="127159"/>
                    <a:pt x="955834" y="130969"/>
                    <a:pt x="955834" y="136684"/>
                  </a:cubicBezTo>
                  <a:cubicBezTo>
                    <a:pt x="951071" y="147161"/>
                    <a:pt x="940594" y="171926"/>
                    <a:pt x="927259" y="206216"/>
                  </a:cubicBezTo>
                  <a:cubicBezTo>
                    <a:pt x="927259" y="206216"/>
                    <a:pt x="927259" y="205264"/>
                    <a:pt x="927259" y="205264"/>
                  </a:cubicBezTo>
                  <a:cubicBezTo>
                    <a:pt x="928211" y="196691"/>
                    <a:pt x="929164" y="189071"/>
                    <a:pt x="930116" y="183356"/>
                  </a:cubicBezTo>
                  <a:cubicBezTo>
                    <a:pt x="932021" y="170974"/>
                    <a:pt x="932974" y="164306"/>
                    <a:pt x="932974" y="164306"/>
                  </a:cubicBezTo>
                  <a:cubicBezTo>
                    <a:pt x="932974" y="164306"/>
                    <a:pt x="930116" y="170974"/>
                    <a:pt x="926306" y="183356"/>
                  </a:cubicBezTo>
                  <a:cubicBezTo>
                    <a:pt x="924401" y="189071"/>
                    <a:pt x="922496" y="195739"/>
                    <a:pt x="920591" y="203359"/>
                  </a:cubicBezTo>
                  <a:cubicBezTo>
                    <a:pt x="916781" y="192881"/>
                    <a:pt x="913924" y="182404"/>
                    <a:pt x="910114" y="171926"/>
                  </a:cubicBezTo>
                  <a:cubicBezTo>
                    <a:pt x="909161" y="169069"/>
                    <a:pt x="908209" y="167164"/>
                    <a:pt x="907256" y="164306"/>
                  </a:cubicBezTo>
                  <a:cubicBezTo>
                    <a:pt x="909161" y="161449"/>
                    <a:pt x="910114" y="159544"/>
                    <a:pt x="912019" y="157639"/>
                  </a:cubicBezTo>
                  <a:cubicBezTo>
                    <a:pt x="920591" y="145256"/>
                    <a:pt x="927259" y="133826"/>
                    <a:pt x="933926" y="124301"/>
                  </a:cubicBezTo>
                  <a:cubicBezTo>
                    <a:pt x="946309" y="106204"/>
                    <a:pt x="953929" y="95726"/>
                    <a:pt x="953929" y="95726"/>
                  </a:cubicBezTo>
                  <a:cubicBezTo>
                    <a:pt x="953929" y="95726"/>
                    <a:pt x="945356" y="105251"/>
                    <a:pt x="931069" y="121444"/>
                  </a:cubicBezTo>
                  <a:cubicBezTo>
                    <a:pt x="923449" y="129064"/>
                    <a:pt x="915829" y="140494"/>
                    <a:pt x="906304" y="151924"/>
                  </a:cubicBezTo>
                  <a:cubicBezTo>
                    <a:pt x="905351" y="152876"/>
                    <a:pt x="904399" y="153829"/>
                    <a:pt x="904399" y="154781"/>
                  </a:cubicBezTo>
                  <a:cubicBezTo>
                    <a:pt x="901541" y="147161"/>
                    <a:pt x="898684" y="139541"/>
                    <a:pt x="894874" y="131921"/>
                  </a:cubicBezTo>
                  <a:lnTo>
                    <a:pt x="892016" y="126206"/>
                  </a:lnTo>
                  <a:cubicBezTo>
                    <a:pt x="893921" y="122396"/>
                    <a:pt x="895826" y="118586"/>
                    <a:pt x="897731" y="115729"/>
                  </a:cubicBezTo>
                  <a:cubicBezTo>
                    <a:pt x="905351" y="100489"/>
                    <a:pt x="912019" y="87154"/>
                    <a:pt x="918686" y="77629"/>
                  </a:cubicBezTo>
                  <a:cubicBezTo>
                    <a:pt x="931069" y="56674"/>
                    <a:pt x="937736" y="44291"/>
                    <a:pt x="937736" y="44291"/>
                  </a:cubicBezTo>
                  <a:cubicBezTo>
                    <a:pt x="937736" y="44291"/>
                    <a:pt x="929164" y="55721"/>
                    <a:pt x="914876" y="74771"/>
                  </a:cubicBezTo>
                  <a:cubicBezTo>
                    <a:pt x="907256" y="84296"/>
                    <a:pt x="899636" y="96679"/>
                    <a:pt x="890111" y="110966"/>
                  </a:cubicBezTo>
                  <a:cubicBezTo>
                    <a:pt x="889159" y="112871"/>
                    <a:pt x="887254" y="114776"/>
                    <a:pt x="886301" y="116681"/>
                  </a:cubicBezTo>
                  <a:lnTo>
                    <a:pt x="874871" y="92869"/>
                  </a:lnTo>
                  <a:lnTo>
                    <a:pt x="873919" y="90964"/>
                  </a:lnTo>
                  <a:lnTo>
                    <a:pt x="872966" y="91916"/>
                  </a:lnTo>
                  <a:cubicBezTo>
                    <a:pt x="871061" y="92869"/>
                    <a:pt x="869156" y="93821"/>
                    <a:pt x="868204" y="95726"/>
                  </a:cubicBezTo>
                  <a:cubicBezTo>
                    <a:pt x="867251" y="97631"/>
                    <a:pt x="866299" y="99536"/>
                    <a:pt x="866299" y="101441"/>
                  </a:cubicBezTo>
                  <a:cubicBezTo>
                    <a:pt x="866299" y="105251"/>
                    <a:pt x="867251" y="110014"/>
                    <a:pt x="868204" y="113824"/>
                  </a:cubicBezTo>
                  <a:cubicBezTo>
                    <a:pt x="867251" y="110014"/>
                    <a:pt x="867251" y="106204"/>
                    <a:pt x="868204" y="102394"/>
                  </a:cubicBezTo>
                  <a:cubicBezTo>
                    <a:pt x="868204" y="100489"/>
                    <a:pt x="869156" y="99536"/>
                    <a:pt x="870109" y="97631"/>
                  </a:cubicBezTo>
                  <a:cubicBezTo>
                    <a:pt x="871061" y="96679"/>
                    <a:pt x="872014" y="96679"/>
                    <a:pt x="872966" y="95726"/>
                  </a:cubicBezTo>
                  <a:lnTo>
                    <a:pt x="882491" y="122396"/>
                  </a:lnTo>
                  <a:cubicBezTo>
                    <a:pt x="880586" y="126206"/>
                    <a:pt x="877729" y="129064"/>
                    <a:pt x="875824" y="132874"/>
                  </a:cubicBezTo>
                  <a:cubicBezTo>
                    <a:pt x="871061" y="141446"/>
                    <a:pt x="866299" y="150019"/>
                    <a:pt x="860584" y="159544"/>
                  </a:cubicBezTo>
                  <a:cubicBezTo>
                    <a:pt x="852964" y="172879"/>
                    <a:pt x="845344" y="188119"/>
                    <a:pt x="837724" y="203359"/>
                  </a:cubicBezTo>
                  <a:cubicBezTo>
                    <a:pt x="834866" y="198596"/>
                    <a:pt x="832961" y="195739"/>
                    <a:pt x="832009" y="194786"/>
                  </a:cubicBezTo>
                  <a:cubicBezTo>
                    <a:pt x="834866" y="170974"/>
                    <a:pt x="836771" y="151924"/>
                    <a:pt x="838676" y="137636"/>
                  </a:cubicBezTo>
                  <a:cubicBezTo>
                    <a:pt x="839629" y="123349"/>
                    <a:pt x="840581" y="115729"/>
                    <a:pt x="840581" y="115729"/>
                  </a:cubicBezTo>
                  <a:cubicBezTo>
                    <a:pt x="840581" y="115729"/>
                    <a:pt x="838676" y="123349"/>
                    <a:pt x="834866" y="137636"/>
                  </a:cubicBezTo>
                  <a:cubicBezTo>
                    <a:pt x="831056" y="151924"/>
                    <a:pt x="826294" y="170974"/>
                    <a:pt x="820579" y="194786"/>
                  </a:cubicBezTo>
                  <a:cubicBezTo>
                    <a:pt x="819626" y="197644"/>
                    <a:pt x="819626" y="200501"/>
                    <a:pt x="818674" y="204311"/>
                  </a:cubicBezTo>
                  <a:cubicBezTo>
                    <a:pt x="817721" y="202406"/>
                    <a:pt x="816769" y="199549"/>
                    <a:pt x="815816" y="197644"/>
                  </a:cubicBezTo>
                  <a:cubicBezTo>
                    <a:pt x="810101" y="183356"/>
                    <a:pt x="807244" y="174784"/>
                    <a:pt x="807244" y="174784"/>
                  </a:cubicBezTo>
                  <a:cubicBezTo>
                    <a:pt x="807244" y="174784"/>
                    <a:pt x="809149" y="183356"/>
                    <a:pt x="812006" y="198596"/>
                  </a:cubicBezTo>
                  <a:cubicBezTo>
                    <a:pt x="812959" y="202406"/>
                    <a:pt x="813911" y="206216"/>
                    <a:pt x="814864" y="210979"/>
                  </a:cubicBezTo>
                  <a:cubicBezTo>
                    <a:pt x="814864" y="212884"/>
                    <a:pt x="815816" y="214789"/>
                    <a:pt x="815816" y="216694"/>
                  </a:cubicBezTo>
                  <a:cubicBezTo>
                    <a:pt x="813911" y="224314"/>
                    <a:pt x="812959" y="231934"/>
                    <a:pt x="811054" y="239554"/>
                  </a:cubicBezTo>
                  <a:cubicBezTo>
                    <a:pt x="809149" y="226219"/>
                    <a:pt x="808196" y="219551"/>
                    <a:pt x="808196" y="219551"/>
                  </a:cubicBezTo>
                  <a:cubicBezTo>
                    <a:pt x="808196" y="219551"/>
                    <a:pt x="807244" y="236696"/>
                    <a:pt x="807244" y="264319"/>
                  </a:cubicBezTo>
                  <a:cubicBezTo>
                    <a:pt x="807244" y="265271"/>
                    <a:pt x="807244" y="265271"/>
                    <a:pt x="807244" y="266224"/>
                  </a:cubicBezTo>
                  <a:cubicBezTo>
                    <a:pt x="804386" y="259556"/>
                    <a:pt x="801529" y="252889"/>
                    <a:pt x="798671" y="246221"/>
                  </a:cubicBezTo>
                  <a:cubicBezTo>
                    <a:pt x="799624" y="241459"/>
                    <a:pt x="800576" y="239554"/>
                    <a:pt x="800576" y="239554"/>
                  </a:cubicBezTo>
                  <a:cubicBezTo>
                    <a:pt x="800576" y="239554"/>
                    <a:pt x="799624" y="241459"/>
                    <a:pt x="797719" y="245269"/>
                  </a:cubicBezTo>
                  <a:cubicBezTo>
                    <a:pt x="797719" y="244316"/>
                    <a:pt x="796766" y="243364"/>
                    <a:pt x="796766" y="242411"/>
                  </a:cubicBezTo>
                  <a:cubicBezTo>
                    <a:pt x="795814" y="239554"/>
                    <a:pt x="793909" y="236696"/>
                    <a:pt x="792956" y="233839"/>
                  </a:cubicBezTo>
                  <a:cubicBezTo>
                    <a:pt x="794861" y="229076"/>
                    <a:pt x="795814" y="223361"/>
                    <a:pt x="796766" y="218599"/>
                  </a:cubicBezTo>
                  <a:cubicBezTo>
                    <a:pt x="802481" y="196691"/>
                    <a:pt x="806291" y="177641"/>
                    <a:pt x="809149" y="164306"/>
                  </a:cubicBezTo>
                  <a:cubicBezTo>
                    <a:pt x="811054" y="150971"/>
                    <a:pt x="812959" y="143351"/>
                    <a:pt x="812959" y="143351"/>
                  </a:cubicBezTo>
                  <a:cubicBezTo>
                    <a:pt x="812959" y="143351"/>
                    <a:pt x="810101" y="150971"/>
                    <a:pt x="805339" y="163354"/>
                  </a:cubicBezTo>
                  <a:cubicBezTo>
                    <a:pt x="803434" y="170021"/>
                    <a:pt x="800576" y="177641"/>
                    <a:pt x="796766" y="186214"/>
                  </a:cubicBezTo>
                  <a:cubicBezTo>
                    <a:pt x="793909" y="194786"/>
                    <a:pt x="790099" y="205264"/>
                    <a:pt x="785336" y="215741"/>
                  </a:cubicBezTo>
                  <a:cubicBezTo>
                    <a:pt x="785336" y="216694"/>
                    <a:pt x="784384" y="217646"/>
                    <a:pt x="784384" y="218599"/>
                  </a:cubicBezTo>
                  <a:cubicBezTo>
                    <a:pt x="781526" y="213836"/>
                    <a:pt x="779621" y="209074"/>
                    <a:pt x="776764" y="205264"/>
                  </a:cubicBezTo>
                  <a:cubicBezTo>
                    <a:pt x="775811" y="204311"/>
                    <a:pt x="775811" y="203359"/>
                    <a:pt x="774859" y="202406"/>
                  </a:cubicBezTo>
                  <a:cubicBezTo>
                    <a:pt x="774859" y="202406"/>
                    <a:pt x="774859" y="202406"/>
                    <a:pt x="774859" y="201454"/>
                  </a:cubicBezTo>
                  <a:cubicBezTo>
                    <a:pt x="777716" y="176689"/>
                    <a:pt x="779621" y="156686"/>
                    <a:pt x="780574" y="142399"/>
                  </a:cubicBezTo>
                  <a:cubicBezTo>
                    <a:pt x="781526" y="128111"/>
                    <a:pt x="781526" y="119539"/>
                    <a:pt x="781526" y="119539"/>
                  </a:cubicBezTo>
                  <a:cubicBezTo>
                    <a:pt x="781526" y="119539"/>
                    <a:pt x="779621" y="127159"/>
                    <a:pt x="776764" y="141446"/>
                  </a:cubicBezTo>
                  <a:cubicBezTo>
                    <a:pt x="775811" y="148114"/>
                    <a:pt x="772954" y="156686"/>
                    <a:pt x="771049" y="167164"/>
                  </a:cubicBezTo>
                  <a:cubicBezTo>
                    <a:pt x="769144" y="173831"/>
                    <a:pt x="768191" y="181451"/>
                    <a:pt x="766286" y="189071"/>
                  </a:cubicBezTo>
                  <a:cubicBezTo>
                    <a:pt x="763429" y="185261"/>
                    <a:pt x="760571" y="181451"/>
                    <a:pt x="758666" y="178594"/>
                  </a:cubicBezTo>
                  <a:cubicBezTo>
                    <a:pt x="753904" y="171926"/>
                    <a:pt x="748189" y="166211"/>
                    <a:pt x="745331" y="163354"/>
                  </a:cubicBezTo>
                  <a:cubicBezTo>
                    <a:pt x="742474" y="159544"/>
                    <a:pt x="740569" y="157639"/>
                    <a:pt x="740569" y="157639"/>
                  </a:cubicBezTo>
                  <a:cubicBezTo>
                    <a:pt x="740569" y="157639"/>
                    <a:pt x="741521" y="159544"/>
                    <a:pt x="744379" y="163354"/>
                  </a:cubicBezTo>
                  <a:cubicBezTo>
                    <a:pt x="747236" y="167164"/>
                    <a:pt x="751046" y="172879"/>
                    <a:pt x="754856" y="180499"/>
                  </a:cubicBezTo>
                  <a:cubicBezTo>
                    <a:pt x="757714" y="185261"/>
                    <a:pt x="760571" y="190976"/>
                    <a:pt x="763429" y="196691"/>
                  </a:cubicBezTo>
                  <a:cubicBezTo>
                    <a:pt x="763429" y="197644"/>
                    <a:pt x="763429" y="198596"/>
                    <a:pt x="762476" y="199549"/>
                  </a:cubicBezTo>
                  <a:cubicBezTo>
                    <a:pt x="759619" y="211931"/>
                    <a:pt x="756761" y="224314"/>
                    <a:pt x="753904" y="238601"/>
                  </a:cubicBezTo>
                  <a:cubicBezTo>
                    <a:pt x="749141" y="230029"/>
                    <a:pt x="747236" y="224314"/>
                    <a:pt x="747236" y="224314"/>
                  </a:cubicBezTo>
                  <a:cubicBezTo>
                    <a:pt x="747236" y="224314"/>
                    <a:pt x="749141" y="230981"/>
                    <a:pt x="752951" y="241459"/>
                  </a:cubicBezTo>
                  <a:cubicBezTo>
                    <a:pt x="751999" y="242411"/>
                    <a:pt x="751999" y="242411"/>
                    <a:pt x="751046" y="243364"/>
                  </a:cubicBezTo>
                  <a:cubicBezTo>
                    <a:pt x="749141" y="246221"/>
                    <a:pt x="749141" y="250031"/>
                    <a:pt x="749141" y="252889"/>
                  </a:cubicBezTo>
                  <a:cubicBezTo>
                    <a:pt x="750094" y="250031"/>
                    <a:pt x="751046" y="246221"/>
                    <a:pt x="752951" y="244316"/>
                  </a:cubicBezTo>
                  <a:cubicBezTo>
                    <a:pt x="752951" y="244316"/>
                    <a:pt x="752951" y="244316"/>
                    <a:pt x="752951" y="244316"/>
                  </a:cubicBezTo>
                  <a:cubicBezTo>
                    <a:pt x="750094" y="256699"/>
                    <a:pt x="747236" y="269081"/>
                    <a:pt x="744379" y="282416"/>
                  </a:cubicBezTo>
                  <a:cubicBezTo>
                    <a:pt x="743426" y="287179"/>
                    <a:pt x="742474" y="291941"/>
                    <a:pt x="741521" y="296704"/>
                  </a:cubicBezTo>
                  <a:cubicBezTo>
                    <a:pt x="740569" y="299561"/>
                    <a:pt x="739616" y="302419"/>
                    <a:pt x="738664" y="306229"/>
                  </a:cubicBezTo>
                  <a:cubicBezTo>
                    <a:pt x="738664" y="306229"/>
                    <a:pt x="738664" y="306229"/>
                    <a:pt x="738664" y="306229"/>
                  </a:cubicBezTo>
                  <a:cubicBezTo>
                    <a:pt x="738664" y="302419"/>
                    <a:pt x="737711" y="297656"/>
                    <a:pt x="737711" y="293846"/>
                  </a:cubicBezTo>
                  <a:cubicBezTo>
                    <a:pt x="736759" y="285274"/>
                    <a:pt x="735806" y="277654"/>
                    <a:pt x="733901" y="270034"/>
                  </a:cubicBezTo>
                  <a:cubicBezTo>
                    <a:pt x="732949" y="266224"/>
                    <a:pt x="731996" y="263366"/>
                    <a:pt x="731996" y="259556"/>
                  </a:cubicBezTo>
                  <a:cubicBezTo>
                    <a:pt x="731996" y="258604"/>
                    <a:pt x="731996" y="258604"/>
                    <a:pt x="731044" y="257651"/>
                  </a:cubicBezTo>
                  <a:cubicBezTo>
                    <a:pt x="729139" y="238601"/>
                    <a:pt x="727234" y="223361"/>
                    <a:pt x="725329" y="210979"/>
                  </a:cubicBezTo>
                  <a:cubicBezTo>
                    <a:pt x="723424" y="195739"/>
                    <a:pt x="722471" y="186214"/>
                    <a:pt x="722471" y="186214"/>
                  </a:cubicBezTo>
                  <a:cubicBezTo>
                    <a:pt x="722471" y="186214"/>
                    <a:pt x="722471" y="190976"/>
                    <a:pt x="722471" y="199549"/>
                  </a:cubicBezTo>
                  <a:cubicBezTo>
                    <a:pt x="720566" y="204311"/>
                    <a:pt x="715804" y="220504"/>
                    <a:pt x="709136" y="243364"/>
                  </a:cubicBezTo>
                  <a:cubicBezTo>
                    <a:pt x="707231" y="238601"/>
                    <a:pt x="706279" y="233839"/>
                    <a:pt x="704374" y="229076"/>
                  </a:cubicBezTo>
                  <a:cubicBezTo>
                    <a:pt x="698659" y="211931"/>
                    <a:pt x="692944" y="195739"/>
                    <a:pt x="687229" y="181451"/>
                  </a:cubicBezTo>
                  <a:cubicBezTo>
                    <a:pt x="684371" y="174784"/>
                    <a:pt x="682466" y="168116"/>
                    <a:pt x="679609" y="161449"/>
                  </a:cubicBezTo>
                  <a:cubicBezTo>
                    <a:pt x="679609" y="156686"/>
                    <a:pt x="679609" y="151924"/>
                    <a:pt x="679609" y="148114"/>
                  </a:cubicBezTo>
                  <a:cubicBezTo>
                    <a:pt x="679609" y="138589"/>
                    <a:pt x="679609" y="130016"/>
                    <a:pt x="679609" y="122396"/>
                  </a:cubicBezTo>
                  <a:cubicBezTo>
                    <a:pt x="679609" y="108109"/>
                    <a:pt x="678656" y="100489"/>
                    <a:pt x="678656" y="100489"/>
                  </a:cubicBezTo>
                  <a:cubicBezTo>
                    <a:pt x="678656" y="100489"/>
                    <a:pt x="677704" y="108109"/>
                    <a:pt x="675799" y="122396"/>
                  </a:cubicBezTo>
                  <a:cubicBezTo>
                    <a:pt x="674846" y="128111"/>
                    <a:pt x="673894" y="135731"/>
                    <a:pt x="672941" y="144304"/>
                  </a:cubicBezTo>
                  <a:cubicBezTo>
                    <a:pt x="669131" y="134779"/>
                    <a:pt x="665321" y="127159"/>
                    <a:pt x="663416" y="122396"/>
                  </a:cubicBezTo>
                  <a:cubicBezTo>
                    <a:pt x="660559" y="117634"/>
                    <a:pt x="659606" y="114776"/>
                    <a:pt x="659606" y="114776"/>
                  </a:cubicBezTo>
                  <a:cubicBezTo>
                    <a:pt x="659606" y="114776"/>
                    <a:pt x="660559" y="117634"/>
                    <a:pt x="662464" y="123349"/>
                  </a:cubicBezTo>
                  <a:cubicBezTo>
                    <a:pt x="664369" y="129064"/>
                    <a:pt x="667226" y="136684"/>
                    <a:pt x="670084" y="147161"/>
                  </a:cubicBezTo>
                  <a:cubicBezTo>
                    <a:pt x="671036" y="149066"/>
                    <a:pt x="671036" y="151924"/>
                    <a:pt x="671989" y="153829"/>
                  </a:cubicBezTo>
                  <a:cubicBezTo>
                    <a:pt x="671989" y="157639"/>
                    <a:pt x="671036" y="160496"/>
                    <a:pt x="671036" y="164306"/>
                  </a:cubicBezTo>
                  <a:cubicBezTo>
                    <a:pt x="670084" y="170021"/>
                    <a:pt x="669131" y="175736"/>
                    <a:pt x="668179" y="181451"/>
                  </a:cubicBezTo>
                  <a:cubicBezTo>
                    <a:pt x="666274" y="193834"/>
                    <a:pt x="664369" y="206216"/>
                    <a:pt x="662464" y="219551"/>
                  </a:cubicBezTo>
                  <a:cubicBezTo>
                    <a:pt x="661511" y="226219"/>
                    <a:pt x="660559" y="232886"/>
                    <a:pt x="658654" y="239554"/>
                  </a:cubicBezTo>
                  <a:cubicBezTo>
                    <a:pt x="657701" y="236696"/>
                    <a:pt x="656749" y="233839"/>
                    <a:pt x="655796" y="231934"/>
                  </a:cubicBezTo>
                  <a:cubicBezTo>
                    <a:pt x="656749" y="218599"/>
                    <a:pt x="657701" y="210026"/>
                    <a:pt x="657701" y="210026"/>
                  </a:cubicBezTo>
                  <a:cubicBezTo>
                    <a:pt x="657701" y="210026"/>
                    <a:pt x="655796" y="215741"/>
                    <a:pt x="653891" y="226219"/>
                  </a:cubicBezTo>
                  <a:cubicBezTo>
                    <a:pt x="648176" y="212884"/>
                    <a:pt x="643414" y="201454"/>
                    <a:pt x="638651" y="191929"/>
                  </a:cubicBezTo>
                  <a:cubicBezTo>
                    <a:pt x="634841" y="184309"/>
                    <a:pt x="631984" y="178594"/>
                    <a:pt x="630079" y="174784"/>
                  </a:cubicBezTo>
                  <a:cubicBezTo>
                    <a:pt x="628174" y="170974"/>
                    <a:pt x="627221" y="169069"/>
                    <a:pt x="627221" y="169069"/>
                  </a:cubicBezTo>
                  <a:cubicBezTo>
                    <a:pt x="627221" y="169069"/>
                    <a:pt x="630079" y="178594"/>
                    <a:pt x="635794" y="193834"/>
                  </a:cubicBezTo>
                  <a:cubicBezTo>
                    <a:pt x="639604" y="205264"/>
                    <a:pt x="644366" y="221456"/>
                    <a:pt x="649129" y="240506"/>
                  </a:cubicBezTo>
                  <a:cubicBezTo>
                    <a:pt x="649129" y="241459"/>
                    <a:pt x="649129" y="242411"/>
                    <a:pt x="650081" y="244316"/>
                  </a:cubicBezTo>
                  <a:cubicBezTo>
                    <a:pt x="649129" y="250031"/>
                    <a:pt x="648176" y="255746"/>
                    <a:pt x="647224" y="262414"/>
                  </a:cubicBezTo>
                  <a:cubicBezTo>
                    <a:pt x="646271" y="268129"/>
                    <a:pt x="645319" y="273844"/>
                    <a:pt x="644366" y="279559"/>
                  </a:cubicBezTo>
                  <a:cubicBezTo>
                    <a:pt x="643414" y="285274"/>
                    <a:pt x="643414" y="291941"/>
                    <a:pt x="642461" y="298609"/>
                  </a:cubicBezTo>
                  <a:cubicBezTo>
                    <a:pt x="642461" y="298609"/>
                    <a:pt x="642461" y="298609"/>
                    <a:pt x="642461" y="298609"/>
                  </a:cubicBezTo>
                  <a:cubicBezTo>
                    <a:pt x="642461" y="296704"/>
                    <a:pt x="642461" y="294799"/>
                    <a:pt x="642461" y="294799"/>
                  </a:cubicBezTo>
                  <a:cubicBezTo>
                    <a:pt x="642461" y="294799"/>
                    <a:pt x="642461" y="302419"/>
                    <a:pt x="641509" y="315754"/>
                  </a:cubicBezTo>
                  <a:cubicBezTo>
                    <a:pt x="641509" y="316706"/>
                    <a:pt x="641509" y="316706"/>
                    <a:pt x="641509" y="317659"/>
                  </a:cubicBezTo>
                  <a:cubicBezTo>
                    <a:pt x="640556" y="314801"/>
                    <a:pt x="639604" y="311944"/>
                    <a:pt x="639604" y="309086"/>
                  </a:cubicBezTo>
                  <a:cubicBezTo>
                    <a:pt x="640556" y="306229"/>
                    <a:pt x="640556" y="304324"/>
                    <a:pt x="640556" y="304324"/>
                  </a:cubicBezTo>
                  <a:cubicBezTo>
                    <a:pt x="640556" y="304324"/>
                    <a:pt x="639604" y="305276"/>
                    <a:pt x="638651" y="307181"/>
                  </a:cubicBezTo>
                  <a:cubicBezTo>
                    <a:pt x="636746" y="299561"/>
                    <a:pt x="634841" y="291941"/>
                    <a:pt x="632936" y="284321"/>
                  </a:cubicBezTo>
                  <a:cubicBezTo>
                    <a:pt x="630079" y="271939"/>
                    <a:pt x="626269" y="260509"/>
                    <a:pt x="624364" y="250031"/>
                  </a:cubicBezTo>
                  <a:cubicBezTo>
                    <a:pt x="622459" y="239554"/>
                    <a:pt x="619601" y="230981"/>
                    <a:pt x="617696" y="223361"/>
                  </a:cubicBezTo>
                  <a:cubicBezTo>
                    <a:pt x="616744" y="218599"/>
                    <a:pt x="615791" y="214789"/>
                    <a:pt x="614839" y="210979"/>
                  </a:cubicBezTo>
                  <a:cubicBezTo>
                    <a:pt x="615791" y="204311"/>
                    <a:pt x="615791" y="197644"/>
                    <a:pt x="615791" y="190024"/>
                  </a:cubicBezTo>
                  <a:cubicBezTo>
                    <a:pt x="616744" y="169069"/>
                    <a:pt x="617696" y="148114"/>
                    <a:pt x="617696" y="126206"/>
                  </a:cubicBezTo>
                  <a:cubicBezTo>
                    <a:pt x="613886" y="146209"/>
                    <a:pt x="610076" y="166211"/>
                    <a:pt x="607219" y="187166"/>
                  </a:cubicBezTo>
                  <a:cubicBezTo>
                    <a:pt x="607219" y="186214"/>
                    <a:pt x="607219" y="185261"/>
                    <a:pt x="606266" y="184309"/>
                  </a:cubicBezTo>
                  <a:cubicBezTo>
                    <a:pt x="606266" y="186214"/>
                    <a:pt x="606266" y="188119"/>
                    <a:pt x="606266" y="189071"/>
                  </a:cubicBezTo>
                  <a:cubicBezTo>
                    <a:pt x="604361" y="197644"/>
                    <a:pt x="603409" y="207169"/>
                    <a:pt x="601504" y="215741"/>
                  </a:cubicBezTo>
                  <a:cubicBezTo>
                    <a:pt x="600551" y="213836"/>
                    <a:pt x="600551" y="211931"/>
                    <a:pt x="599599" y="210979"/>
                  </a:cubicBezTo>
                  <a:cubicBezTo>
                    <a:pt x="593884" y="198596"/>
                    <a:pt x="591026" y="191929"/>
                    <a:pt x="591026" y="191929"/>
                  </a:cubicBezTo>
                  <a:cubicBezTo>
                    <a:pt x="591026" y="191929"/>
                    <a:pt x="592931" y="199549"/>
                    <a:pt x="595789" y="212884"/>
                  </a:cubicBezTo>
                  <a:cubicBezTo>
                    <a:pt x="596741" y="217646"/>
                    <a:pt x="597694" y="223361"/>
                    <a:pt x="599599" y="230029"/>
                  </a:cubicBezTo>
                  <a:cubicBezTo>
                    <a:pt x="598646" y="237649"/>
                    <a:pt x="596741" y="244316"/>
                    <a:pt x="595789" y="251936"/>
                  </a:cubicBezTo>
                  <a:cubicBezTo>
                    <a:pt x="592931" y="266224"/>
                    <a:pt x="591026" y="280511"/>
                    <a:pt x="589121" y="294799"/>
                  </a:cubicBezTo>
                  <a:cubicBezTo>
                    <a:pt x="586264" y="290989"/>
                    <a:pt x="584359" y="288131"/>
                    <a:pt x="582454" y="284321"/>
                  </a:cubicBezTo>
                  <a:cubicBezTo>
                    <a:pt x="583406" y="277654"/>
                    <a:pt x="584359" y="270986"/>
                    <a:pt x="585311" y="265271"/>
                  </a:cubicBezTo>
                  <a:cubicBezTo>
                    <a:pt x="586264" y="256699"/>
                    <a:pt x="587216" y="250031"/>
                    <a:pt x="588169" y="244316"/>
                  </a:cubicBezTo>
                  <a:cubicBezTo>
                    <a:pt x="590074" y="232886"/>
                    <a:pt x="591026" y="225266"/>
                    <a:pt x="591026" y="225266"/>
                  </a:cubicBezTo>
                  <a:cubicBezTo>
                    <a:pt x="591026" y="225266"/>
                    <a:pt x="588169" y="231934"/>
                    <a:pt x="584359" y="243364"/>
                  </a:cubicBezTo>
                  <a:cubicBezTo>
                    <a:pt x="583406" y="247174"/>
                    <a:pt x="581501" y="252889"/>
                    <a:pt x="579596" y="258604"/>
                  </a:cubicBezTo>
                  <a:cubicBezTo>
                    <a:pt x="578644" y="248126"/>
                    <a:pt x="578644" y="239554"/>
                    <a:pt x="577691" y="231934"/>
                  </a:cubicBezTo>
                  <a:cubicBezTo>
                    <a:pt x="576739" y="218599"/>
                    <a:pt x="575786" y="210979"/>
                    <a:pt x="575786" y="210979"/>
                  </a:cubicBezTo>
                  <a:cubicBezTo>
                    <a:pt x="575786" y="210979"/>
                    <a:pt x="574834" y="218599"/>
                    <a:pt x="573881" y="230981"/>
                  </a:cubicBezTo>
                  <a:cubicBezTo>
                    <a:pt x="572929" y="240506"/>
                    <a:pt x="571976" y="252889"/>
                    <a:pt x="571024" y="267176"/>
                  </a:cubicBezTo>
                  <a:cubicBezTo>
                    <a:pt x="571024" y="267176"/>
                    <a:pt x="571024" y="267176"/>
                    <a:pt x="571024" y="267176"/>
                  </a:cubicBezTo>
                  <a:cubicBezTo>
                    <a:pt x="570071" y="265271"/>
                    <a:pt x="568166" y="264319"/>
                    <a:pt x="567214" y="262414"/>
                  </a:cubicBezTo>
                  <a:cubicBezTo>
                    <a:pt x="561499" y="245269"/>
                    <a:pt x="556736" y="230981"/>
                    <a:pt x="552926" y="219551"/>
                  </a:cubicBezTo>
                  <a:cubicBezTo>
                    <a:pt x="552926" y="219551"/>
                    <a:pt x="552926" y="218599"/>
                    <a:pt x="552926" y="218599"/>
                  </a:cubicBezTo>
                  <a:cubicBezTo>
                    <a:pt x="553879" y="208121"/>
                    <a:pt x="554831" y="198596"/>
                    <a:pt x="555784" y="189071"/>
                  </a:cubicBezTo>
                  <a:cubicBezTo>
                    <a:pt x="556736" y="179546"/>
                    <a:pt x="557689" y="170021"/>
                    <a:pt x="558641" y="162401"/>
                  </a:cubicBezTo>
                  <a:cubicBezTo>
                    <a:pt x="559594" y="154781"/>
                    <a:pt x="560546" y="147161"/>
                    <a:pt x="561499" y="141446"/>
                  </a:cubicBezTo>
                  <a:cubicBezTo>
                    <a:pt x="563404" y="130016"/>
                    <a:pt x="564356" y="123349"/>
                    <a:pt x="564356" y="123349"/>
                  </a:cubicBezTo>
                  <a:cubicBezTo>
                    <a:pt x="564356" y="123349"/>
                    <a:pt x="561499" y="130016"/>
                    <a:pt x="557689" y="140494"/>
                  </a:cubicBezTo>
                  <a:cubicBezTo>
                    <a:pt x="555784" y="146209"/>
                    <a:pt x="553879" y="152876"/>
                    <a:pt x="551021" y="160496"/>
                  </a:cubicBezTo>
                  <a:cubicBezTo>
                    <a:pt x="548164" y="168116"/>
                    <a:pt x="546259" y="177641"/>
                    <a:pt x="544354" y="187166"/>
                  </a:cubicBezTo>
                  <a:cubicBezTo>
                    <a:pt x="542449" y="196691"/>
                    <a:pt x="540544" y="207169"/>
                    <a:pt x="537686" y="218599"/>
                  </a:cubicBezTo>
                  <a:cubicBezTo>
                    <a:pt x="536734" y="222409"/>
                    <a:pt x="536734" y="227171"/>
                    <a:pt x="535781" y="231934"/>
                  </a:cubicBezTo>
                  <a:cubicBezTo>
                    <a:pt x="535781" y="228124"/>
                    <a:pt x="534829" y="224314"/>
                    <a:pt x="534829" y="220504"/>
                  </a:cubicBezTo>
                  <a:cubicBezTo>
                    <a:pt x="534829" y="214789"/>
                    <a:pt x="533876" y="210026"/>
                    <a:pt x="532924" y="205264"/>
                  </a:cubicBezTo>
                  <a:cubicBezTo>
                    <a:pt x="532924" y="198596"/>
                    <a:pt x="533876" y="192881"/>
                    <a:pt x="533876" y="186214"/>
                  </a:cubicBezTo>
                  <a:cubicBezTo>
                    <a:pt x="533876" y="179546"/>
                    <a:pt x="534829" y="172879"/>
                    <a:pt x="534829" y="166211"/>
                  </a:cubicBezTo>
                  <a:cubicBezTo>
                    <a:pt x="534829" y="159544"/>
                    <a:pt x="534829" y="153829"/>
                    <a:pt x="534829" y="148114"/>
                  </a:cubicBezTo>
                  <a:cubicBezTo>
                    <a:pt x="534829" y="136684"/>
                    <a:pt x="534829" y="127159"/>
                    <a:pt x="534829" y="118586"/>
                  </a:cubicBezTo>
                  <a:cubicBezTo>
                    <a:pt x="534829" y="102394"/>
                    <a:pt x="533876" y="92869"/>
                    <a:pt x="533876" y="92869"/>
                  </a:cubicBezTo>
                  <a:cubicBezTo>
                    <a:pt x="533876" y="92869"/>
                    <a:pt x="532924" y="102394"/>
                    <a:pt x="531019" y="118586"/>
                  </a:cubicBezTo>
                  <a:cubicBezTo>
                    <a:pt x="530066" y="126206"/>
                    <a:pt x="529114" y="136684"/>
                    <a:pt x="528161" y="147161"/>
                  </a:cubicBezTo>
                  <a:cubicBezTo>
                    <a:pt x="527209" y="152876"/>
                    <a:pt x="527209" y="158591"/>
                    <a:pt x="526256" y="165259"/>
                  </a:cubicBezTo>
                  <a:cubicBezTo>
                    <a:pt x="525304" y="171926"/>
                    <a:pt x="524351" y="177641"/>
                    <a:pt x="523399" y="185261"/>
                  </a:cubicBezTo>
                  <a:cubicBezTo>
                    <a:pt x="522446" y="189071"/>
                    <a:pt x="522446" y="192881"/>
                    <a:pt x="521494" y="197644"/>
                  </a:cubicBezTo>
                  <a:cubicBezTo>
                    <a:pt x="518636" y="187166"/>
                    <a:pt x="516731" y="177641"/>
                    <a:pt x="513874" y="170021"/>
                  </a:cubicBezTo>
                  <a:cubicBezTo>
                    <a:pt x="509111" y="153829"/>
                    <a:pt x="506254" y="144304"/>
                    <a:pt x="506254" y="144304"/>
                  </a:cubicBezTo>
                  <a:cubicBezTo>
                    <a:pt x="506254" y="144304"/>
                    <a:pt x="507206" y="153829"/>
                    <a:pt x="510064" y="170974"/>
                  </a:cubicBezTo>
                  <a:cubicBezTo>
                    <a:pt x="511969" y="184309"/>
                    <a:pt x="513874" y="201454"/>
                    <a:pt x="517684" y="222409"/>
                  </a:cubicBezTo>
                  <a:cubicBezTo>
                    <a:pt x="517684" y="225266"/>
                    <a:pt x="516731" y="227171"/>
                    <a:pt x="516731" y="230029"/>
                  </a:cubicBezTo>
                  <a:cubicBezTo>
                    <a:pt x="515779" y="237649"/>
                    <a:pt x="514826" y="244316"/>
                    <a:pt x="512921" y="251936"/>
                  </a:cubicBezTo>
                  <a:cubicBezTo>
                    <a:pt x="499586" y="210026"/>
                    <a:pt x="490061" y="181451"/>
                    <a:pt x="487204" y="172879"/>
                  </a:cubicBezTo>
                  <a:cubicBezTo>
                    <a:pt x="486251" y="167164"/>
                    <a:pt x="485299" y="164306"/>
                    <a:pt x="485299" y="164306"/>
                  </a:cubicBezTo>
                  <a:cubicBezTo>
                    <a:pt x="485299" y="164306"/>
                    <a:pt x="486251" y="173831"/>
                    <a:pt x="486251" y="189071"/>
                  </a:cubicBezTo>
                  <a:cubicBezTo>
                    <a:pt x="487204" y="196691"/>
                    <a:pt x="487204" y="207169"/>
                    <a:pt x="488156" y="217646"/>
                  </a:cubicBezTo>
                  <a:cubicBezTo>
                    <a:pt x="488156" y="224314"/>
                    <a:pt x="489109" y="230981"/>
                    <a:pt x="489109" y="238601"/>
                  </a:cubicBezTo>
                  <a:cubicBezTo>
                    <a:pt x="488156" y="232886"/>
                    <a:pt x="487204" y="228124"/>
                    <a:pt x="486251" y="223361"/>
                  </a:cubicBezTo>
                  <a:cubicBezTo>
                    <a:pt x="485299" y="217646"/>
                    <a:pt x="484346" y="212884"/>
                    <a:pt x="482441" y="207169"/>
                  </a:cubicBezTo>
                  <a:cubicBezTo>
                    <a:pt x="480536" y="202406"/>
                    <a:pt x="479584" y="197644"/>
                    <a:pt x="478631" y="192881"/>
                  </a:cubicBezTo>
                  <a:cubicBezTo>
                    <a:pt x="475774" y="184309"/>
                    <a:pt x="473869" y="176689"/>
                    <a:pt x="471964" y="170021"/>
                  </a:cubicBezTo>
                  <a:cubicBezTo>
                    <a:pt x="468154" y="157639"/>
                    <a:pt x="465296" y="150019"/>
                    <a:pt x="465296" y="150019"/>
                  </a:cubicBezTo>
                  <a:cubicBezTo>
                    <a:pt x="465296" y="150019"/>
                    <a:pt x="466249" y="157639"/>
                    <a:pt x="468154" y="170021"/>
                  </a:cubicBezTo>
                  <a:cubicBezTo>
                    <a:pt x="469106" y="176689"/>
                    <a:pt x="470059" y="184309"/>
                    <a:pt x="471011" y="193834"/>
                  </a:cubicBezTo>
                  <a:cubicBezTo>
                    <a:pt x="471964" y="198596"/>
                    <a:pt x="471964" y="203359"/>
                    <a:pt x="472916" y="208121"/>
                  </a:cubicBezTo>
                  <a:cubicBezTo>
                    <a:pt x="473869" y="212884"/>
                    <a:pt x="473869" y="218599"/>
                    <a:pt x="474821" y="224314"/>
                  </a:cubicBezTo>
                  <a:cubicBezTo>
                    <a:pt x="475774" y="233839"/>
                    <a:pt x="476726" y="244316"/>
                    <a:pt x="478631" y="255746"/>
                  </a:cubicBezTo>
                  <a:cubicBezTo>
                    <a:pt x="477679" y="250031"/>
                    <a:pt x="475774" y="245269"/>
                    <a:pt x="474821" y="240506"/>
                  </a:cubicBezTo>
                  <a:cubicBezTo>
                    <a:pt x="467201" y="211931"/>
                    <a:pt x="460534" y="188119"/>
                    <a:pt x="455771" y="170974"/>
                  </a:cubicBezTo>
                  <a:cubicBezTo>
                    <a:pt x="450056" y="154781"/>
                    <a:pt x="447199" y="145256"/>
                    <a:pt x="447199" y="145256"/>
                  </a:cubicBezTo>
                  <a:cubicBezTo>
                    <a:pt x="447199" y="145256"/>
                    <a:pt x="449104" y="154781"/>
                    <a:pt x="451961" y="171926"/>
                  </a:cubicBezTo>
                  <a:cubicBezTo>
                    <a:pt x="453866" y="180499"/>
                    <a:pt x="454819" y="190976"/>
                    <a:pt x="457676" y="202406"/>
                  </a:cubicBezTo>
                  <a:cubicBezTo>
                    <a:pt x="459581" y="213836"/>
                    <a:pt x="462439" y="227171"/>
                    <a:pt x="464344" y="242411"/>
                  </a:cubicBezTo>
                  <a:cubicBezTo>
                    <a:pt x="466249" y="254794"/>
                    <a:pt x="469106" y="268129"/>
                    <a:pt x="471011" y="282416"/>
                  </a:cubicBezTo>
                  <a:cubicBezTo>
                    <a:pt x="469106" y="278606"/>
                    <a:pt x="468154" y="275749"/>
                    <a:pt x="467201" y="272891"/>
                  </a:cubicBezTo>
                  <a:cubicBezTo>
                    <a:pt x="462439" y="262414"/>
                    <a:pt x="459581" y="255746"/>
                    <a:pt x="459581" y="255746"/>
                  </a:cubicBezTo>
                  <a:cubicBezTo>
                    <a:pt x="459581" y="255746"/>
                    <a:pt x="460534" y="262414"/>
                    <a:pt x="463391" y="273844"/>
                  </a:cubicBezTo>
                  <a:cubicBezTo>
                    <a:pt x="464344" y="279559"/>
                    <a:pt x="466249" y="286226"/>
                    <a:pt x="468154" y="293846"/>
                  </a:cubicBezTo>
                  <a:cubicBezTo>
                    <a:pt x="469106" y="297656"/>
                    <a:pt x="470059" y="302419"/>
                    <a:pt x="471011" y="306229"/>
                  </a:cubicBezTo>
                  <a:cubicBezTo>
                    <a:pt x="471964" y="310991"/>
                    <a:pt x="472916" y="315754"/>
                    <a:pt x="473869" y="320516"/>
                  </a:cubicBezTo>
                  <a:cubicBezTo>
                    <a:pt x="475774" y="330041"/>
                    <a:pt x="477679" y="340519"/>
                    <a:pt x="479584" y="351949"/>
                  </a:cubicBezTo>
                  <a:cubicBezTo>
                    <a:pt x="479584" y="352901"/>
                    <a:pt x="479584" y="352901"/>
                    <a:pt x="479584" y="353854"/>
                  </a:cubicBezTo>
                  <a:cubicBezTo>
                    <a:pt x="479584" y="353854"/>
                    <a:pt x="479584" y="352901"/>
                    <a:pt x="478631" y="351949"/>
                  </a:cubicBezTo>
                  <a:cubicBezTo>
                    <a:pt x="476726" y="347186"/>
                    <a:pt x="473869" y="343376"/>
                    <a:pt x="471964" y="338614"/>
                  </a:cubicBezTo>
                  <a:cubicBezTo>
                    <a:pt x="471011" y="333851"/>
                    <a:pt x="471011" y="329089"/>
                    <a:pt x="470059" y="324326"/>
                  </a:cubicBezTo>
                  <a:cubicBezTo>
                    <a:pt x="468154" y="309086"/>
                    <a:pt x="465296" y="294799"/>
                    <a:pt x="462439" y="280511"/>
                  </a:cubicBezTo>
                  <a:cubicBezTo>
                    <a:pt x="459581" y="266224"/>
                    <a:pt x="455771" y="252889"/>
                    <a:pt x="452914" y="240506"/>
                  </a:cubicBezTo>
                  <a:cubicBezTo>
                    <a:pt x="449104" y="228124"/>
                    <a:pt x="445294" y="215741"/>
                    <a:pt x="441484" y="205264"/>
                  </a:cubicBezTo>
                  <a:cubicBezTo>
                    <a:pt x="440531" y="201454"/>
                    <a:pt x="438626" y="198596"/>
                    <a:pt x="437674" y="194786"/>
                  </a:cubicBezTo>
                  <a:cubicBezTo>
                    <a:pt x="438626" y="185261"/>
                    <a:pt x="439579" y="175736"/>
                    <a:pt x="440531" y="167164"/>
                  </a:cubicBezTo>
                  <a:cubicBezTo>
                    <a:pt x="441484" y="151924"/>
                    <a:pt x="442436" y="139541"/>
                    <a:pt x="442436" y="128111"/>
                  </a:cubicBezTo>
                  <a:cubicBezTo>
                    <a:pt x="442436" y="106204"/>
                    <a:pt x="441484" y="94774"/>
                    <a:pt x="441484" y="94774"/>
                  </a:cubicBezTo>
                  <a:cubicBezTo>
                    <a:pt x="441484" y="94774"/>
                    <a:pt x="440531" y="107156"/>
                    <a:pt x="438626" y="128111"/>
                  </a:cubicBezTo>
                  <a:cubicBezTo>
                    <a:pt x="437674" y="138589"/>
                    <a:pt x="435769" y="151924"/>
                    <a:pt x="433864" y="166211"/>
                  </a:cubicBezTo>
                  <a:cubicBezTo>
                    <a:pt x="432911" y="170021"/>
                    <a:pt x="432911" y="173831"/>
                    <a:pt x="431959" y="178594"/>
                  </a:cubicBezTo>
                  <a:cubicBezTo>
                    <a:pt x="431959" y="177641"/>
                    <a:pt x="431006" y="176689"/>
                    <a:pt x="431006" y="175736"/>
                  </a:cubicBezTo>
                  <a:cubicBezTo>
                    <a:pt x="427196" y="167164"/>
                    <a:pt x="423386" y="159544"/>
                    <a:pt x="419576" y="153829"/>
                  </a:cubicBezTo>
                  <a:cubicBezTo>
                    <a:pt x="412909" y="142399"/>
                    <a:pt x="408146" y="135731"/>
                    <a:pt x="408146" y="135731"/>
                  </a:cubicBezTo>
                  <a:cubicBezTo>
                    <a:pt x="408146" y="135731"/>
                    <a:pt x="411004" y="143351"/>
                    <a:pt x="415766" y="155734"/>
                  </a:cubicBezTo>
                  <a:cubicBezTo>
                    <a:pt x="418624" y="161449"/>
                    <a:pt x="420529" y="170021"/>
                    <a:pt x="423386" y="178594"/>
                  </a:cubicBezTo>
                  <a:cubicBezTo>
                    <a:pt x="425291" y="184309"/>
                    <a:pt x="427196" y="190024"/>
                    <a:pt x="428149" y="195739"/>
                  </a:cubicBezTo>
                  <a:cubicBezTo>
                    <a:pt x="427196" y="201454"/>
                    <a:pt x="425291" y="208121"/>
                    <a:pt x="424339" y="214789"/>
                  </a:cubicBezTo>
                  <a:cubicBezTo>
                    <a:pt x="424339" y="214789"/>
                    <a:pt x="424339" y="214789"/>
                    <a:pt x="424339" y="214789"/>
                  </a:cubicBezTo>
                  <a:cubicBezTo>
                    <a:pt x="418624" y="206216"/>
                    <a:pt x="415766" y="202406"/>
                    <a:pt x="415766" y="202406"/>
                  </a:cubicBezTo>
                  <a:cubicBezTo>
                    <a:pt x="415766" y="202406"/>
                    <a:pt x="417671" y="208121"/>
                    <a:pt x="421481" y="216694"/>
                  </a:cubicBezTo>
                  <a:cubicBezTo>
                    <a:pt x="422434" y="218599"/>
                    <a:pt x="423386" y="220504"/>
                    <a:pt x="423386" y="223361"/>
                  </a:cubicBezTo>
                  <a:cubicBezTo>
                    <a:pt x="420529" y="238601"/>
                    <a:pt x="416719" y="255746"/>
                    <a:pt x="412909" y="272891"/>
                  </a:cubicBezTo>
                  <a:cubicBezTo>
                    <a:pt x="410051" y="264319"/>
                    <a:pt x="407194" y="257651"/>
                    <a:pt x="405289" y="253841"/>
                  </a:cubicBezTo>
                  <a:cubicBezTo>
                    <a:pt x="405289" y="253841"/>
                    <a:pt x="405289" y="253841"/>
                    <a:pt x="405289" y="253841"/>
                  </a:cubicBezTo>
                  <a:cubicBezTo>
                    <a:pt x="405289" y="237649"/>
                    <a:pt x="405289" y="223361"/>
                    <a:pt x="404336" y="210026"/>
                  </a:cubicBezTo>
                  <a:cubicBezTo>
                    <a:pt x="403384" y="196691"/>
                    <a:pt x="403384" y="185261"/>
                    <a:pt x="401479" y="176689"/>
                  </a:cubicBezTo>
                  <a:cubicBezTo>
                    <a:pt x="398621" y="158591"/>
                    <a:pt x="396716" y="148114"/>
                    <a:pt x="396716" y="148114"/>
                  </a:cubicBezTo>
                  <a:cubicBezTo>
                    <a:pt x="396716" y="148114"/>
                    <a:pt x="396716" y="158591"/>
                    <a:pt x="397669" y="177641"/>
                  </a:cubicBezTo>
                  <a:cubicBezTo>
                    <a:pt x="397669" y="186214"/>
                    <a:pt x="397669" y="195739"/>
                    <a:pt x="396716" y="206216"/>
                  </a:cubicBezTo>
                  <a:cubicBezTo>
                    <a:pt x="394811" y="214789"/>
                    <a:pt x="391954" y="228124"/>
                    <a:pt x="389096" y="244316"/>
                  </a:cubicBezTo>
                  <a:cubicBezTo>
                    <a:pt x="386239" y="235744"/>
                    <a:pt x="384334" y="227171"/>
                    <a:pt x="381476" y="219551"/>
                  </a:cubicBezTo>
                  <a:cubicBezTo>
                    <a:pt x="379571" y="212884"/>
                    <a:pt x="377666" y="205264"/>
                    <a:pt x="374809" y="199549"/>
                  </a:cubicBezTo>
                  <a:cubicBezTo>
                    <a:pt x="373856" y="197644"/>
                    <a:pt x="373856" y="196691"/>
                    <a:pt x="372904" y="194786"/>
                  </a:cubicBezTo>
                  <a:cubicBezTo>
                    <a:pt x="372904" y="193834"/>
                    <a:pt x="372904" y="192881"/>
                    <a:pt x="372904" y="190976"/>
                  </a:cubicBezTo>
                  <a:cubicBezTo>
                    <a:pt x="371951" y="186214"/>
                    <a:pt x="370999" y="181451"/>
                    <a:pt x="370046" y="177641"/>
                  </a:cubicBezTo>
                  <a:cubicBezTo>
                    <a:pt x="368141" y="169069"/>
                    <a:pt x="367189" y="162401"/>
                    <a:pt x="366236" y="155734"/>
                  </a:cubicBezTo>
                  <a:cubicBezTo>
                    <a:pt x="365284" y="152876"/>
                    <a:pt x="365284" y="150019"/>
                    <a:pt x="364331" y="148114"/>
                  </a:cubicBezTo>
                  <a:cubicBezTo>
                    <a:pt x="363379" y="140494"/>
                    <a:pt x="363379" y="135731"/>
                    <a:pt x="363379" y="135731"/>
                  </a:cubicBezTo>
                  <a:cubicBezTo>
                    <a:pt x="363379" y="135731"/>
                    <a:pt x="363379" y="137636"/>
                    <a:pt x="363379" y="140494"/>
                  </a:cubicBezTo>
                  <a:cubicBezTo>
                    <a:pt x="362426" y="138589"/>
                    <a:pt x="362426" y="136684"/>
                    <a:pt x="362426" y="136684"/>
                  </a:cubicBezTo>
                  <a:cubicBezTo>
                    <a:pt x="362426" y="136684"/>
                    <a:pt x="362426" y="142399"/>
                    <a:pt x="362426" y="151924"/>
                  </a:cubicBezTo>
                  <a:cubicBezTo>
                    <a:pt x="362426" y="154781"/>
                    <a:pt x="362426" y="158591"/>
                    <a:pt x="361474" y="163354"/>
                  </a:cubicBezTo>
                  <a:cubicBezTo>
                    <a:pt x="359569" y="159544"/>
                    <a:pt x="358616" y="155734"/>
                    <a:pt x="357664" y="151924"/>
                  </a:cubicBezTo>
                  <a:cubicBezTo>
                    <a:pt x="350996" y="135731"/>
                    <a:pt x="348139" y="127159"/>
                    <a:pt x="348139" y="127159"/>
                  </a:cubicBezTo>
                  <a:cubicBezTo>
                    <a:pt x="348139" y="127159"/>
                    <a:pt x="350044" y="136684"/>
                    <a:pt x="353854" y="153829"/>
                  </a:cubicBezTo>
                  <a:cubicBezTo>
                    <a:pt x="355759" y="162401"/>
                    <a:pt x="358616" y="171926"/>
                    <a:pt x="361474" y="183356"/>
                  </a:cubicBezTo>
                  <a:cubicBezTo>
                    <a:pt x="361474" y="186214"/>
                    <a:pt x="361474" y="189071"/>
                    <a:pt x="361474" y="192881"/>
                  </a:cubicBezTo>
                  <a:cubicBezTo>
                    <a:pt x="359569" y="187166"/>
                    <a:pt x="357664" y="184309"/>
                    <a:pt x="357664" y="184309"/>
                  </a:cubicBezTo>
                  <a:cubicBezTo>
                    <a:pt x="357664" y="184309"/>
                    <a:pt x="358616" y="189071"/>
                    <a:pt x="360521" y="198596"/>
                  </a:cubicBezTo>
                  <a:cubicBezTo>
                    <a:pt x="360521" y="205264"/>
                    <a:pt x="360521" y="212884"/>
                    <a:pt x="359569" y="221456"/>
                  </a:cubicBezTo>
                  <a:cubicBezTo>
                    <a:pt x="357664" y="216694"/>
                    <a:pt x="356711" y="211931"/>
                    <a:pt x="355759" y="208121"/>
                  </a:cubicBezTo>
                  <a:cubicBezTo>
                    <a:pt x="352901" y="199549"/>
                    <a:pt x="350996" y="193834"/>
                    <a:pt x="350996" y="193834"/>
                  </a:cubicBezTo>
                  <a:cubicBezTo>
                    <a:pt x="350996" y="193834"/>
                    <a:pt x="350996" y="199549"/>
                    <a:pt x="351949" y="208121"/>
                  </a:cubicBezTo>
                  <a:cubicBezTo>
                    <a:pt x="351949" y="212884"/>
                    <a:pt x="352901" y="218599"/>
                    <a:pt x="352901" y="224314"/>
                  </a:cubicBezTo>
                  <a:cubicBezTo>
                    <a:pt x="353854" y="230981"/>
                    <a:pt x="353854" y="237649"/>
                    <a:pt x="353854" y="246221"/>
                  </a:cubicBezTo>
                  <a:cubicBezTo>
                    <a:pt x="353854" y="253841"/>
                    <a:pt x="354806" y="262414"/>
                    <a:pt x="354806" y="270986"/>
                  </a:cubicBezTo>
                  <a:cubicBezTo>
                    <a:pt x="355759" y="279559"/>
                    <a:pt x="355759" y="289084"/>
                    <a:pt x="355759" y="299561"/>
                  </a:cubicBezTo>
                  <a:cubicBezTo>
                    <a:pt x="355759" y="305276"/>
                    <a:pt x="356711" y="310991"/>
                    <a:pt x="356711" y="316706"/>
                  </a:cubicBezTo>
                  <a:cubicBezTo>
                    <a:pt x="352901" y="310039"/>
                    <a:pt x="349091" y="303371"/>
                    <a:pt x="346234" y="298609"/>
                  </a:cubicBezTo>
                  <a:cubicBezTo>
                    <a:pt x="346234" y="297656"/>
                    <a:pt x="345281" y="297656"/>
                    <a:pt x="345281" y="296704"/>
                  </a:cubicBezTo>
                  <a:cubicBezTo>
                    <a:pt x="345281" y="294799"/>
                    <a:pt x="345281" y="293846"/>
                    <a:pt x="345281" y="291941"/>
                  </a:cubicBezTo>
                  <a:cubicBezTo>
                    <a:pt x="346234" y="282416"/>
                    <a:pt x="347186" y="274796"/>
                    <a:pt x="348139" y="267176"/>
                  </a:cubicBezTo>
                  <a:cubicBezTo>
                    <a:pt x="349091" y="253841"/>
                    <a:pt x="350044" y="246221"/>
                    <a:pt x="350044" y="246221"/>
                  </a:cubicBezTo>
                  <a:cubicBezTo>
                    <a:pt x="350044" y="246221"/>
                    <a:pt x="348139" y="253841"/>
                    <a:pt x="344329" y="267176"/>
                  </a:cubicBezTo>
                  <a:cubicBezTo>
                    <a:pt x="342424" y="272891"/>
                    <a:pt x="341471" y="279559"/>
                    <a:pt x="339566" y="287179"/>
                  </a:cubicBezTo>
                  <a:cubicBezTo>
                    <a:pt x="339566" y="287179"/>
                    <a:pt x="339566" y="287179"/>
                    <a:pt x="339566" y="287179"/>
                  </a:cubicBezTo>
                  <a:cubicBezTo>
                    <a:pt x="339566" y="287179"/>
                    <a:pt x="339566" y="287179"/>
                    <a:pt x="339566" y="288131"/>
                  </a:cubicBezTo>
                  <a:cubicBezTo>
                    <a:pt x="339566" y="289084"/>
                    <a:pt x="338614" y="290036"/>
                    <a:pt x="338614" y="291941"/>
                  </a:cubicBezTo>
                  <a:cubicBezTo>
                    <a:pt x="338614" y="293846"/>
                    <a:pt x="337661" y="295751"/>
                    <a:pt x="337661" y="297656"/>
                  </a:cubicBezTo>
                  <a:cubicBezTo>
                    <a:pt x="332899" y="290036"/>
                    <a:pt x="328136" y="283369"/>
                    <a:pt x="324326" y="277654"/>
                  </a:cubicBezTo>
                  <a:cubicBezTo>
                    <a:pt x="320516" y="263366"/>
                    <a:pt x="315754" y="249079"/>
                    <a:pt x="310991" y="233839"/>
                  </a:cubicBezTo>
                  <a:cubicBezTo>
                    <a:pt x="308134" y="226219"/>
                    <a:pt x="306229" y="219551"/>
                    <a:pt x="303371" y="211931"/>
                  </a:cubicBezTo>
                  <a:cubicBezTo>
                    <a:pt x="304324" y="206216"/>
                    <a:pt x="305276" y="201454"/>
                    <a:pt x="306229" y="196691"/>
                  </a:cubicBezTo>
                  <a:cubicBezTo>
                    <a:pt x="310039" y="179546"/>
                    <a:pt x="312896" y="164306"/>
                    <a:pt x="316706" y="150971"/>
                  </a:cubicBezTo>
                  <a:cubicBezTo>
                    <a:pt x="320516" y="137636"/>
                    <a:pt x="322421" y="125254"/>
                    <a:pt x="326231" y="115729"/>
                  </a:cubicBezTo>
                  <a:cubicBezTo>
                    <a:pt x="331946" y="96679"/>
                    <a:pt x="335756" y="85249"/>
                    <a:pt x="335756" y="85249"/>
                  </a:cubicBezTo>
                  <a:cubicBezTo>
                    <a:pt x="335756" y="85249"/>
                    <a:pt x="330994" y="95726"/>
                    <a:pt x="323374" y="113824"/>
                  </a:cubicBezTo>
                  <a:cubicBezTo>
                    <a:pt x="319564" y="123349"/>
                    <a:pt x="315754" y="134779"/>
                    <a:pt x="310991" y="148114"/>
                  </a:cubicBezTo>
                  <a:cubicBezTo>
                    <a:pt x="309086" y="154781"/>
                    <a:pt x="306229" y="161449"/>
                    <a:pt x="303371" y="169069"/>
                  </a:cubicBezTo>
                  <a:cubicBezTo>
                    <a:pt x="301466" y="175736"/>
                    <a:pt x="299561" y="183356"/>
                    <a:pt x="297656" y="190024"/>
                  </a:cubicBezTo>
                  <a:cubicBezTo>
                    <a:pt x="293846" y="179546"/>
                    <a:pt x="290989" y="170021"/>
                    <a:pt x="287179" y="159544"/>
                  </a:cubicBezTo>
                  <a:cubicBezTo>
                    <a:pt x="290036" y="172879"/>
                    <a:pt x="291941" y="185261"/>
                    <a:pt x="294799" y="198596"/>
                  </a:cubicBezTo>
                  <a:cubicBezTo>
                    <a:pt x="290989" y="213836"/>
                    <a:pt x="287179" y="230029"/>
                    <a:pt x="283369" y="247174"/>
                  </a:cubicBezTo>
                  <a:cubicBezTo>
                    <a:pt x="282416" y="252889"/>
                    <a:pt x="281464" y="258604"/>
                    <a:pt x="279559" y="264319"/>
                  </a:cubicBezTo>
                  <a:cubicBezTo>
                    <a:pt x="278606" y="260509"/>
                    <a:pt x="277654" y="257651"/>
                    <a:pt x="276701" y="253841"/>
                  </a:cubicBezTo>
                  <a:cubicBezTo>
                    <a:pt x="276701" y="245269"/>
                    <a:pt x="277654" y="235744"/>
                    <a:pt x="278606" y="227171"/>
                  </a:cubicBezTo>
                  <a:cubicBezTo>
                    <a:pt x="280511" y="205264"/>
                    <a:pt x="281464" y="185261"/>
                    <a:pt x="284321" y="166211"/>
                  </a:cubicBezTo>
                  <a:cubicBezTo>
                    <a:pt x="285274" y="156686"/>
                    <a:pt x="286226" y="148114"/>
                    <a:pt x="287179" y="139541"/>
                  </a:cubicBezTo>
                  <a:cubicBezTo>
                    <a:pt x="288131" y="130969"/>
                    <a:pt x="290036" y="123349"/>
                    <a:pt x="290989" y="115729"/>
                  </a:cubicBezTo>
                  <a:cubicBezTo>
                    <a:pt x="293846" y="100489"/>
                    <a:pt x="294799" y="87154"/>
                    <a:pt x="297656" y="76676"/>
                  </a:cubicBezTo>
                  <a:cubicBezTo>
                    <a:pt x="302419" y="54769"/>
                    <a:pt x="304324" y="42386"/>
                    <a:pt x="304324" y="42386"/>
                  </a:cubicBezTo>
                  <a:cubicBezTo>
                    <a:pt x="304324" y="42386"/>
                    <a:pt x="300514" y="54769"/>
                    <a:pt x="293846" y="75724"/>
                  </a:cubicBezTo>
                  <a:cubicBezTo>
                    <a:pt x="290036" y="86201"/>
                    <a:pt x="287179" y="99536"/>
                    <a:pt x="283369" y="114776"/>
                  </a:cubicBezTo>
                  <a:cubicBezTo>
                    <a:pt x="281464" y="122396"/>
                    <a:pt x="279559" y="130016"/>
                    <a:pt x="277654" y="138589"/>
                  </a:cubicBezTo>
                  <a:cubicBezTo>
                    <a:pt x="275749" y="147161"/>
                    <a:pt x="274796" y="156686"/>
                    <a:pt x="272891" y="165259"/>
                  </a:cubicBezTo>
                  <a:cubicBezTo>
                    <a:pt x="271939" y="170021"/>
                    <a:pt x="270986" y="173831"/>
                    <a:pt x="270034" y="178594"/>
                  </a:cubicBezTo>
                  <a:cubicBezTo>
                    <a:pt x="268129" y="182404"/>
                    <a:pt x="265271" y="188119"/>
                    <a:pt x="261461" y="196691"/>
                  </a:cubicBezTo>
                  <a:cubicBezTo>
                    <a:pt x="260509" y="191929"/>
                    <a:pt x="258604" y="187166"/>
                    <a:pt x="258604" y="183356"/>
                  </a:cubicBezTo>
                  <a:cubicBezTo>
                    <a:pt x="255746" y="170021"/>
                    <a:pt x="253841" y="161449"/>
                    <a:pt x="253841" y="161449"/>
                  </a:cubicBezTo>
                  <a:cubicBezTo>
                    <a:pt x="253841" y="161449"/>
                    <a:pt x="253841" y="169069"/>
                    <a:pt x="254794" y="183356"/>
                  </a:cubicBezTo>
                  <a:cubicBezTo>
                    <a:pt x="254794" y="190024"/>
                    <a:pt x="255746" y="197644"/>
                    <a:pt x="256699" y="207169"/>
                  </a:cubicBezTo>
                  <a:cubicBezTo>
                    <a:pt x="253841" y="213836"/>
                    <a:pt x="250984" y="222409"/>
                    <a:pt x="247174" y="231934"/>
                  </a:cubicBezTo>
                  <a:cubicBezTo>
                    <a:pt x="246221" y="232886"/>
                    <a:pt x="246221" y="234791"/>
                    <a:pt x="245269" y="236696"/>
                  </a:cubicBezTo>
                  <a:cubicBezTo>
                    <a:pt x="243364" y="231934"/>
                    <a:pt x="242411" y="230029"/>
                    <a:pt x="242411" y="230029"/>
                  </a:cubicBezTo>
                  <a:cubicBezTo>
                    <a:pt x="242411" y="230029"/>
                    <a:pt x="243364" y="233839"/>
                    <a:pt x="244316" y="240506"/>
                  </a:cubicBezTo>
                  <a:cubicBezTo>
                    <a:pt x="241459" y="247174"/>
                    <a:pt x="239554" y="254794"/>
                    <a:pt x="236696" y="262414"/>
                  </a:cubicBezTo>
                  <a:cubicBezTo>
                    <a:pt x="232886" y="250031"/>
                    <a:pt x="229076" y="238601"/>
                    <a:pt x="226219" y="227171"/>
                  </a:cubicBezTo>
                  <a:cubicBezTo>
                    <a:pt x="223361" y="219551"/>
                    <a:pt x="221456" y="210979"/>
                    <a:pt x="218599" y="204311"/>
                  </a:cubicBezTo>
                  <a:cubicBezTo>
                    <a:pt x="215741" y="196691"/>
                    <a:pt x="213836" y="190024"/>
                    <a:pt x="210979" y="184309"/>
                  </a:cubicBezTo>
                  <a:cubicBezTo>
                    <a:pt x="206216" y="171926"/>
                    <a:pt x="202406" y="160496"/>
                    <a:pt x="198596" y="150971"/>
                  </a:cubicBezTo>
                  <a:cubicBezTo>
                    <a:pt x="191929" y="132874"/>
                    <a:pt x="187166" y="122396"/>
                    <a:pt x="187166" y="122396"/>
                  </a:cubicBezTo>
                  <a:cubicBezTo>
                    <a:pt x="187166" y="122396"/>
                    <a:pt x="190024" y="132874"/>
                    <a:pt x="194786" y="151924"/>
                  </a:cubicBezTo>
                  <a:cubicBezTo>
                    <a:pt x="197644" y="161449"/>
                    <a:pt x="200501" y="172879"/>
                    <a:pt x="204311" y="186214"/>
                  </a:cubicBezTo>
                  <a:cubicBezTo>
                    <a:pt x="206216" y="192881"/>
                    <a:pt x="208121" y="199549"/>
                    <a:pt x="210026" y="207169"/>
                  </a:cubicBezTo>
                  <a:cubicBezTo>
                    <a:pt x="211931" y="214789"/>
                    <a:pt x="213836" y="222409"/>
                    <a:pt x="215741" y="230981"/>
                  </a:cubicBezTo>
                  <a:cubicBezTo>
                    <a:pt x="218599" y="245269"/>
                    <a:pt x="222409" y="260509"/>
                    <a:pt x="226219" y="275749"/>
                  </a:cubicBezTo>
                  <a:cubicBezTo>
                    <a:pt x="224314" y="280511"/>
                    <a:pt x="221456" y="287179"/>
                    <a:pt x="218599" y="295751"/>
                  </a:cubicBezTo>
                  <a:cubicBezTo>
                    <a:pt x="218599" y="296704"/>
                    <a:pt x="217646" y="297656"/>
                    <a:pt x="217646" y="298609"/>
                  </a:cubicBezTo>
                  <a:cubicBezTo>
                    <a:pt x="216694" y="286226"/>
                    <a:pt x="215741" y="274796"/>
                    <a:pt x="214789" y="266224"/>
                  </a:cubicBezTo>
                  <a:cubicBezTo>
                    <a:pt x="213836" y="250984"/>
                    <a:pt x="212884" y="241459"/>
                    <a:pt x="212884" y="241459"/>
                  </a:cubicBezTo>
                  <a:cubicBezTo>
                    <a:pt x="212884" y="241459"/>
                    <a:pt x="211931" y="250031"/>
                    <a:pt x="210979" y="266224"/>
                  </a:cubicBezTo>
                  <a:cubicBezTo>
                    <a:pt x="210026" y="277654"/>
                    <a:pt x="210026" y="291941"/>
                    <a:pt x="209074" y="309086"/>
                  </a:cubicBezTo>
                  <a:cubicBezTo>
                    <a:pt x="204311" y="301466"/>
                    <a:pt x="200501" y="293846"/>
                    <a:pt x="196691" y="287179"/>
                  </a:cubicBezTo>
                  <a:cubicBezTo>
                    <a:pt x="192881" y="281464"/>
                    <a:pt x="190024" y="275749"/>
                    <a:pt x="187166" y="270034"/>
                  </a:cubicBezTo>
                  <a:cubicBezTo>
                    <a:pt x="183356" y="265271"/>
                    <a:pt x="180499" y="260509"/>
                    <a:pt x="177641" y="255746"/>
                  </a:cubicBezTo>
                  <a:cubicBezTo>
                    <a:pt x="171926" y="246221"/>
                    <a:pt x="166211" y="238601"/>
                    <a:pt x="161449" y="231934"/>
                  </a:cubicBezTo>
                  <a:cubicBezTo>
                    <a:pt x="159544" y="230029"/>
                    <a:pt x="158591" y="227171"/>
                    <a:pt x="156686" y="225266"/>
                  </a:cubicBezTo>
                  <a:cubicBezTo>
                    <a:pt x="154781" y="214789"/>
                    <a:pt x="152876" y="209074"/>
                    <a:pt x="152876" y="209074"/>
                  </a:cubicBezTo>
                  <a:cubicBezTo>
                    <a:pt x="152876" y="209074"/>
                    <a:pt x="152876" y="212884"/>
                    <a:pt x="152876" y="219551"/>
                  </a:cubicBezTo>
                  <a:cubicBezTo>
                    <a:pt x="149066" y="213836"/>
                    <a:pt x="146209" y="210979"/>
                    <a:pt x="146209" y="210979"/>
                  </a:cubicBezTo>
                  <a:cubicBezTo>
                    <a:pt x="146209" y="210979"/>
                    <a:pt x="148114" y="215741"/>
                    <a:pt x="152876" y="224314"/>
                  </a:cubicBezTo>
                  <a:cubicBezTo>
                    <a:pt x="153829" y="235744"/>
                    <a:pt x="154781" y="253841"/>
                    <a:pt x="156686" y="275749"/>
                  </a:cubicBezTo>
                  <a:cubicBezTo>
                    <a:pt x="153829" y="271939"/>
                    <a:pt x="150971" y="267176"/>
                    <a:pt x="148114" y="263366"/>
                  </a:cubicBezTo>
                  <a:cubicBezTo>
                    <a:pt x="139541" y="252889"/>
                    <a:pt x="131921" y="242411"/>
                    <a:pt x="124301" y="233839"/>
                  </a:cubicBezTo>
                  <a:cubicBezTo>
                    <a:pt x="116681" y="225266"/>
                    <a:pt x="110966" y="217646"/>
                    <a:pt x="104299" y="212884"/>
                  </a:cubicBezTo>
                  <a:cubicBezTo>
                    <a:pt x="94774" y="203359"/>
                    <a:pt x="88106" y="197644"/>
                    <a:pt x="88106" y="197644"/>
                  </a:cubicBezTo>
                  <a:cubicBezTo>
                    <a:pt x="88106" y="197644"/>
                    <a:pt x="93821" y="205264"/>
                    <a:pt x="103346" y="217646"/>
                  </a:cubicBezTo>
                  <a:cubicBezTo>
                    <a:pt x="108109" y="223361"/>
                    <a:pt x="113824" y="231934"/>
                    <a:pt x="119539" y="240506"/>
                  </a:cubicBezTo>
                  <a:cubicBezTo>
                    <a:pt x="126206" y="249079"/>
                    <a:pt x="131921" y="260509"/>
                    <a:pt x="139541" y="271939"/>
                  </a:cubicBezTo>
                  <a:cubicBezTo>
                    <a:pt x="143351" y="278606"/>
                    <a:pt x="148114" y="285274"/>
                    <a:pt x="151924" y="292894"/>
                  </a:cubicBezTo>
                  <a:cubicBezTo>
                    <a:pt x="151924" y="294799"/>
                    <a:pt x="151924" y="295751"/>
                    <a:pt x="151924" y="297656"/>
                  </a:cubicBezTo>
                  <a:cubicBezTo>
                    <a:pt x="151924" y="297656"/>
                    <a:pt x="150971" y="296704"/>
                    <a:pt x="150971" y="296704"/>
                  </a:cubicBezTo>
                  <a:cubicBezTo>
                    <a:pt x="145256" y="290989"/>
                    <a:pt x="140494" y="285274"/>
                    <a:pt x="136684" y="282416"/>
                  </a:cubicBezTo>
                  <a:cubicBezTo>
                    <a:pt x="134779" y="280511"/>
                    <a:pt x="133826" y="279559"/>
                    <a:pt x="131921" y="278606"/>
                  </a:cubicBezTo>
                  <a:cubicBezTo>
                    <a:pt x="132874" y="275749"/>
                    <a:pt x="132874" y="274796"/>
                    <a:pt x="132874" y="274796"/>
                  </a:cubicBezTo>
                  <a:cubicBezTo>
                    <a:pt x="132874" y="274796"/>
                    <a:pt x="131921" y="275749"/>
                    <a:pt x="130969" y="278606"/>
                  </a:cubicBezTo>
                  <a:cubicBezTo>
                    <a:pt x="125254" y="273844"/>
                    <a:pt x="122396" y="270986"/>
                    <a:pt x="122396" y="270986"/>
                  </a:cubicBezTo>
                  <a:cubicBezTo>
                    <a:pt x="122396" y="270986"/>
                    <a:pt x="125254" y="274796"/>
                    <a:pt x="130016" y="280511"/>
                  </a:cubicBezTo>
                  <a:cubicBezTo>
                    <a:pt x="128111" y="283369"/>
                    <a:pt x="126206" y="288131"/>
                    <a:pt x="123349" y="293846"/>
                  </a:cubicBezTo>
                  <a:cubicBezTo>
                    <a:pt x="120491" y="299561"/>
                    <a:pt x="117634" y="308134"/>
                    <a:pt x="114776" y="316706"/>
                  </a:cubicBezTo>
                  <a:cubicBezTo>
                    <a:pt x="113824" y="318611"/>
                    <a:pt x="113824" y="319564"/>
                    <a:pt x="112871" y="321469"/>
                  </a:cubicBezTo>
                  <a:cubicBezTo>
                    <a:pt x="110014" y="313849"/>
                    <a:pt x="107156" y="306229"/>
                    <a:pt x="103346" y="299561"/>
                  </a:cubicBezTo>
                  <a:cubicBezTo>
                    <a:pt x="97631" y="286226"/>
                    <a:pt x="91916" y="273844"/>
                    <a:pt x="86201" y="262414"/>
                  </a:cubicBezTo>
                  <a:cubicBezTo>
                    <a:pt x="83344" y="255746"/>
                    <a:pt x="80486" y="250984"/>
                    <a:pt x="78581" y="245269"/>
                  </a:cubicBezTo>
                  <a:cubicBezTo>
                    <a:pt x="75724" y="240506"/>
                    <a:pt x="72866" y="235744"/>
                    <a:pt x="70961" y="230981"/>
                  </a:cubicBezTo>
                  <a:cubicBezTo>
                    <a:pt x="66199" y="222409"/>
                    <a:pt x="61436" y="213836"/>
                    <a:pt x="57626" y="208121"/>
                  </a:cubicBezTo>
                  <a:cubicBezTo>
                    <a:pt x="50006" y="195739"/>
                    <a:pt x="46196" y="188119"/>
                    <a:pt x="46196" y="188119"/>
                  </a:cubicBezTo>
                  <a:cubicBezTo>
                    <a:pt x="46196" y="188119"/>
                    <a:pt x="49054" y="195739"/>
                    <a:pt x="54769" y="210026"/>
                  </a:cubicBezTo>
                  <a:cubicBezTo>
                    <a:pt x="57626" y="216694"/>
                    <a:pt x="60484" y="225266"/>
                    <a:pt x="64294" y="234791"/>
                  </a:cubicBezTo>
                  <a:cubicBezTo>
                    <a:pt x="66199" y="239554"/>
                    <a:pt x="68104" y="244316"/>
                    <a:pt x="70009" y="250031"/>
                  </a:cubicBezTo>
                  <a:cubicBezTo>
                    <a:pt x="71914" y="254794"/>
                    <a:pt x="73819" y="260509"/>
                    <a:pt x="75724" y="266224"/>
                  </a:cubicBezTo>
                  <a:cubicBezTo>
                    <a:pt x="78581" y="274796"/>
                    <a:pt x="82391" y="283369"/>
                    <a:pt x="85249" y="292894"/>
                  </a:cubicBezTo>
                  <a:cubicBezTo>
                    <a:pt x="83344" y="290036"/>
                    <a:pt x="81439" y="286226"/>
                    <a:pt x="79534" y="284321"/>
                  </a:cubicBezTo>
                  <a:cubicBezTo>
                    <a:pt x="74771" y="277654"/>
                    <a:pt x="71914" y="271939"/>
                    <a:pt x="68104" y="268129"/>
                  </a:cubicBezTo>
                  <a:cubicBezTo>
                    <a:pt x="61436" y="258604"/>
                    <a:pt x="57626" y="253841"/>
                    <a:pt x="57626" y="253841"/>
                  </a:cubicBezTo>
                  <a:cubicBezTo>
                    <a:pt x="57626" y="253841"/>
                    <a:pt x="59531" y="259556"/>
                    <a:pt x="64294" y="270034"/>
                  </a:cubicBezTo>
                  <a:cubicBezTo>
                    <a:pt x="66199" y="274796"/>
                    <a:pt x="69056" y="281464"/>
                    <a:pt x="71914" y="288131"/>
                  </a:cubicBezTo>
                  <a:cubicBezTo>
                    <a:pt x="76676" y="295751"/>
                    <a:pt x="79534" y="303371"/>
                    <a:pt x="83344" y="311944"/>
                  </a:cubicBezTo>
                  <a:cubicBezTo>
                    <a:pt x="86201" y="317659"/>
                    <a:pt x="88106" y="324326"/>
                    <a:pt x="90964" y="330994"/>
                  </a:cubicBezTo>
                  <a:cubicBezTo>
                    <a:pt x="90011" y="333851"/>
                    <a:pt x="89059" y="336709"/>
                    <a:pt x="87154" y="339566"/>
                  </a:cubicBezTo>
                  <a:cubicBezTo>
                    <a:pt x="85249" y="343376"/>
                    <a:pt x="83344" y="348139"/>
                    <a:pt x="81439" y="352901"/>
                  </a:cubicBezTo>
                  <a:cubicBezTo>
                    <a:pt x="80486" y="348139"/>
                    <a:pt x="79534" y="343376"/>
                    <a:pt x="78581" y="339566"/>
                  </a:cubicBezTo>
                  <a:cubicBezTo>
                    <a:pt x="75724" y="326231"/>
                    <a:pt x="72866" y="312896"/>
                    <a:pt x="70009" y="301466"/>
                  </a:cubicBezTo>
                  <a:cubicBezTo>
                    <a:pt x="67151" y="290036"/>
                    <a:pt x="64294" y="278606"/>
                    <a:pt x="61436" y="269081"/>
                  </a:cubicBezTo>
                  <a:cubicBezTo>
                    <a:pt x="58579" y="259556"/>
                    <a:pt x="56674" y="250984"/>
                    <a:pt x="53816" y="244316"/>
                  </a:cubicBezTo>
                  <a:cubicBezTo>
                    <a:pt x="49054" y="230981"/>
                    <a:pt x="46196" y="223361"/>
                    <a:pt x="46196" y="223361"/>
                  </a:cubicBezTo>
                  <a:cubicBezTo>
                    <a:pt x="46196" y="223361"/>
                    <a:pt x="47149" y="230981"/>
                    <a:pt x="50006" y="245269"/>
                  </a:cubicBezTo>
                  <a:cubicBezTo>
                    <a:pt x="50959" y="251936"/>
                    <a:pt x="51911" y="260509"/>
                    <a:pt x="53816" y="270034"/>
                  </a:cubicBezTo>
                  <a:cubicBezTo>
                    <a:pt x="55721" y="279559"/>
                    <a:pt x="56674" y="290989"/>
                    <a:pt x="58579" y="302419"/>
                  </a:cubicBezTo>
                  <a:cubicBezTo>
                    <a:pt x="60484" y="314801"/>
                    <a:pt x="61436" y="327184"/>
                    <a:pt x="64294" y="340519"/>
                  </a:cubicBezTo>
                  <a:cubicBezTo>
                    <a:pt x="66199" y="353854"/>
                    <a:pt x="67151" y="367189"/>
                    <a:pt x="69056" y="381476"/>
                  </a:cubicBezTo>
                  <a:cubicBezTo>
                    <a:pt x="68104" y="382429"/>
                    <a:pt x="68104" y="383381"/>
                    <a:pt x="67151" y="385286"/>
                  </a:cubicBezTo>
                  <a:cubicBezTo>
                    <a:pt x="64294" y="391954"/>
                    <a:pt x="62389" y="398621"/>
                    <a:pt x="60484" y="405289"/>
                  </a:cubicBezTo>
                  <a:cubicBezTo>
                    <a:pt x="60484" y="406241"/>
                    <a:pt x="60484" y="406241"/>
                    <a:pt x="59531" y="407194"/>
                  </a:cubicBezTo>
                  <a:cubicBezTo>
                    <a:pt x="58579" y="407194"/>
                    <a:pt x="57626" y="407194"/>
                    <a:pt x="56674" y="407194"/>
                  </a:cubicBezTo>
                  <a:cubicBezTo>
                    <a:pt x="55721" y="404336"/>
                    <a:pt x="55721" y="402431"/>
                    <a:pt x="54769" y="399574"/>
                  </a:cubicBezTo>
                  <a:cubicBezTo>
                    <a:pt x="51911" y="387191"/>
                    <a:pt x="49054" y="375761"/>
                    <a:pt x="46196" y="364331"/>
                  </a:cubicBezTo>
                  <a:cubicBezTo>
                    <a:pt x="43339" y="352901"/>
                    <a:pt x="40481" y="342424"/>
                    <a:pt x="37624" y="332899"/>
                  </a:cubicBezTo>
                  <a:cubicBezTo>
                    <a:pt x="31909" y="313849"/>
                    <a:pt x="26194" y="297656"/>
                    <a:pt x="21431" y="287179"/>
                  </a:cubicBezTo>
                  <a:cubicBezTo>
                    <a:pt x="16669" y="276701"/>
                    <a:pt x="13811" y="270034"/>
                    <a:pt x="13811" y="270034"/>
                  </a:cubicBezTo>
                  <a:cubicBezTo>
                    <a:pt x="13811" y="270034"/>
                    <a:pt x="14764" y="276701"/>
                    <a:pt x="17621" y="288131"/>
                  </a:cubicBezTo>
                  <a:cubicBezTo>
                    <a:pt x="18574" y="293846"/>
                    <a:pt x="20479" y="300514"/>
                    <a:pt x="21431" y="309086"/>
                  </a:cubicBezTo>
                  <a:cubicBezTo>
                    <a:pt x="23336" y="316706"/>
                    <a:pt x="24289" y="326231"/>
                    <a:pt x="26194" y="335756"/>
                  </a:cubicBezTo>
                  <a:cubicBezTo>
                    <a:pt x="28099" y="345281"/>
                    <a:pt x="30004" y="355759"/>
                    <a:pt x="31909" y="367189"/>
                  </a:cubicBezTo>
                  <a:cubicBezTo>
                    <a:pt x="35719" y="378619"/>
                    <a:pt x="37624" y="390049"/>
                    <a:pt x="39529" y="402431"/>
                  </a:cubicBezTo>
                  <a:cubicBezTo>
                    <a:pt x="39529" y="403384"/>
                    <a:pt x="39529" y="403384"/>
                    <a:pt x="39529" y="404336"/>
                  </a:cubicBezTo>
                  <a:cubicBezTo>
                    <a:pt x="29051" y="402431"/>
                    <a:pt x="18574" y="401479"/>
                    <a:pt x="7144" y="399574"/>
                  </a:cubicBezTo>
                  <a:lnTo>
                    <a:pt x="7144" y="511016"/>
                  </a:lnTo>
                  <a:close/>
                  <a:moveTo>
                    <a:pt x="6277451" y="364331"/>
                  </a:moveTo>
                  <a:cubicBezTo>
                    <a:pt x="6278404" y="362426"/>
                    <a:pt x="6278404" y="359569"/>
                    <a:pt x="6279356" y="357664"/>
                  </a:cubicBezTo>
                  <a:cubicBezTo>
                    <a:pt x="6279356" y="358616"/>
                    <a:pt x="6279356" y="360521"/>
                    <a:pt x="6279356" y="361474"/>
                  </a:cubicBezTo>
                  <a:cubicBezTo>
                    <a:pt x="6278404" y="370999"/>
                    <a:pt x="6278404" y="384334"/>
                    <a:pt x="6277451" y="399574"/>
                  </a:cubicBezTo>
                  <a:cubicBezTo>
                    <a:pt x="6274594" y="409099"/>
                    <a:pt x="6270784" y="419576"/>
                    <a:pt x="6267926" y="430054"/>
                  </a:cubicBezTo>
                  <a:cubicBezTo>
                    <a:pt x="6266974" y="430054"/>
                    <a:pt x="6266974" y="430054"/>
                    <a:pt x="6266021" y="430054"/>
                  </a:cubicBezTo>
                  <a:cubicBezTo>
                    <a:pt x="6264117" y="427196"/>
                    <a:pt x="6262212" y="424339"/>
                    <a:pt x="6260306" y="421481"/>
                  </a:cubicBezTo>
                  <a:cubicBezTo>
                    <a:pt x="6266021" y="402431"/>
                    <a:pt x="6271737" y="383381"/>
                    <a:pt x="6277451" y="364331"/>
                  </a:cubicBezTo>
                  <a:close/>
                  <a:moveTo>
                    <a:pt x="6211729" y="425291"/>
                  </a:moveTo>
                  <a:cubicBezTo>
                    <a:pt x="6211729" y="415766"/>
                    <a:pt x="6212681" y="406241"/>
                    <a:pt x="6212681" y="398621"/>
                  </a:cubicBezTo>
                  <a:cubicBezTo>
                    <a:pt x="6212681" y="395764"/>
                    <a:pt x="6212681" y="392906"/>
                    <a:pt x="6213634" y="390049"/>
                  </a:cubicBezTo>
                  <a:cubicBezTo>
                    <a:pt x="6214587" y="391001"/>
                    <a:pt x="6215539" y="392906"/>
                    <a:pt x="6216492" y="393859"/>
                  </a:cubicBezTo>
                  <a:cubicBezTo>
                    <a:pt x="6220301" y="398621"/>
                    <a:pt x="6224112" y="403384"/>
                    <a:pt x="6227921" y="408146"/>
                  </a:cubicBezTo>
                  <a:cubicBezTo>
                    <a:pt x="6226969" y="410051"/>
                    <a:pt x="6226017" y="411956"/>
                    <a:pt x="6225064" y="412909"/>
                  </a:cubicBezTo>
                  <a:cubicBezTo>
                    <a:pt x="6224112" y="414814"/>
                    <a:pt x="6222206" y="417671"/>
                    <a:pt x="6221254" y="420529"/>
                  </a:cubicBezTo>
                  <a:cubicBezTo>
                    <a:pt x="6220301" y="423386"/>
                    <a:pt x="6219349" y="426244"/>
                    <a:pt x="6218396" y="429101"/>
                  </a:cubicBezTo>
                  <a:cubicBezTo>
                    <a:pt x="6218396" y="430054"/>
                    <a:pt x="6218396" y="430054"/>
                    <a:pt x="6217444" y="431006"/>
                  </a:cubicBezTo>
                  <a:cubicBezTo>
                    <a:pt x="6217444" y="430054"/>
                    <a:pt x="6217444" y="429101"/>
                    <a:pt x="6217444" y="429101"/>
                  </a:cubicBezTo>
                  <a:cubicBezTo>
                    <a:pt x="6216492" y="419576"/>
                    <a:pt x="6215539" y="413861"/>
                    <a:pt x="6215539" y="413861"/>
                  </a:cubicBezTo>
                  <a:cubicBezTo>
                    <a:pt x="6215539" y="413861"/>
                    <a:pt x="6214587" y="419576"/>
                    <a:pt x="6213634" y="429101"/>
                  </a:cubicBezTo>
                  <a:cubicBezTo>
                    <a:pt x="6213634" y="432911"/>
                    <a:pt x="6212681" y="436721"/>
                    <a:pt x="6211729" y="441484"/>
                  </a:cubicBezTo>
                  <a:cubicBezTo>
                    <a:pt x="6211729" y="435769"/>
                    <a:pt x="6211729" y="430054"/>
                    <a:pt x="6211729" y="425291"/>
                  </a:cubicBezTo>
                  <a:close/>
                  <a:moveTo>
                    <a:pt x="6183154" y="343376"/>
                  </a:moveTo>
                  <a:cubicBezTo>
                    <a:pt x="6185059" y="346234"/>
                    <a:pt x="6186012" y="348139"/>
                    <a:pt x="6187917" y="350996"/>
                  </a:cubicBezTo>
                  <a:cubicBezTo>
                    <a:pt x="6188869" y="352901"/>
                    <a:pt x="6190774" y="354806"/>
                    <a:pt x="6191726" y="356711"/>
                  </a:cubicBezTo>
                  <a:cubicBezTo>
                    <a:pt x="6188869" y="366236"/>
                    <a:pt x="6186012" y="376714"/>
                    <a:pt x="6183154" y="388144"/>
                  </a:cubicBezTo>
                  <a:cubicBezTo>
                    <a:pt x="6183154" y="389096"/>
                    <a:pt x="6182201" y="391001"/>
                    <a:pt x="6182201" y="391954"/>
                  </a:cubicBezTo>
                  <a:cubicBezTo>
                    <a:pt x="6182201" y="386239"/>
                    <a:pt x="6181249" y="381476"/>
                    <a:pt x="6181249" y="375761"/>
                  </a:cubicBezTo>
                  <a:cubicBezTo>
                    <a:pt x="6181249" y="374809"/>
                    <a:pt x="6181249" y="373856"/>
                    <a:pt x="6181249" y="372904"/>
                  </a:cubicBezTo>
                  <a:cubicBezTo>
                    <a:pt x="6181249" y="362426"/>
                    <a:pt x="6182201" y="352901"/>
                    <a:pt x="6183154" y="343376"/>
                  </a:cubicBezTo>
                  <a:close/>
                  <a:moveTo>
                    <a:pt x="6144101" y="308134"/>
                  </a:moveTo>
                  <a:cubicBezTo>
                    <a:pt x="6145054" y="297656"/>
                    <a:pt x="6146959" y="287179"/>
                    <a:pt x="6147912" y="276701"/>
                  </a:cubicBezTo>
                  <a:cubicBezTo>
                    <a:pt x="6149817" y="280511"/>
                    <a:pt x="6151721" y="284321"/>
                    <a:pt x="6153626" y="289084"/>
                  </a:cubicBezTo>
                  <a:cubicBezTo>
                    <a:pt x="6156484" y="293846"/>
                    <a:pt x="6158389" y="299561"/>
                    <a:pt x="6161246" y="305276"/>
                  </a:cubicBezTo>
                  <a:cubicBezTo>
                    <a:pt x="6160294" y="308134"/>
                    <a:pt x="6159342" y="313849"/>
                    <a:pt x="6157437" y="319564"/>
                  </a:cubicBezTo>
                  <a:cubicBezTo>
                    <a:pt x="6155531" y="325279"/>
                    <a:pt x="6154579" y="332899"/>
                    <a:pt x="6152674" y="342424"/>
                  </a:cubicBezTo>
                  <a:cubicBezTo>
                    <a:pt x="6151721" y="347186"/>
                    <a:pt x="6150769" y="351949"/>
                    <a:pt x="6150769" y="356711"/>
                  </a:cubicBezTo>
                  <a:cubicBezTo>
                    <a:pt x="6150769" y="358616"/>
                    <a:pt x="6149817" y="359569"/>
                    <a:pt x="6149817" y="360521"/>
                  </a:cubicBezTo>
                  <a:cubicBezTo>
                    <a:pt x="6149817" y="362426"/>
                    <a:pt x="6148864" y="363379"/>
                    <a:pt x="6148864" y="365284"/>
                  </a:cubicBezTo>
                  <a:cubicBezTo>
                    <a:pt x="6146959" y="362426"/>
                    <a:pt x="6146006" y="360521"/>
                    <a:pt x="6146006" y="360521"/>
                  </a:cubicBezTo>
                  <a:cubicBezTo>
                    <a:pt x="6146006" y="360521"/>
                    <a:pt x="6146959" y="363379"/>
                    <a:pt x="6147912" y="368141"/>
                  </a:cubicBezTo>
                  <a:cubicBezTo>
                    <a:pt x="6146959" y="374809"/>
                    <a:pt x="6146006" y="382429"/>
                    <a:pt x="6145054" y="389096"/>
                  </a:cubicBezTo>
                  <a:cubicBezTo>
                    <a:pt x="6145054" y="388144"/>
                    <a:pt x="6144101" y="387191"/>
                    <a:pt x="6144101" y="386239"/>
                  </a:cubicBezTo>
                  <a:cubicBezTo>
                    <a:pt x="6144101" y="385286"/>
                    <a:pt x="6143149" y="385286"/>
                    <a:pt x="6143149" y="384334"/>
                  </a:cubicBezTo>
                  <a:cubicBezTo>
                    <a:pt x="6143149" y="379571"/>
                    <a:pt x="6142196" y="373856"/>
                    <a:pt x="6142196" y="369094"/>
                  </a:cubicBezTo>
                  <a:cubicBezTo>
                    <a:pt x="6141244" y="360521"/>
                    <a:pt x="6140292" y="351949"/>
                    <a:pt x="6139339" y="343376"/>
                  </a:cubicBezTo>
                  <a:cubicBezTo>
                    <a:pt x="6142196" y="331946"/>
                    <a:pt x="6143149" y="319564"/>
                    <a:pt x="6144101" y="308134"/>
                  </a:cubicBezTo>
                  <a:close/>
                  <a:moveTo>
                    <a:pt x="6095524" y="384334"/>
                  </a:moveTo>
                  <a:cubicBezTo>
                    <a:pt x="6093619" y="393859"/>
                    <a:pt x="6090762" y="403384"/>
                    <a:pt x="6088856" y="412909"/>
                  </a:cubicBezTo>
                  <a:cubicBezTo>
                    <a:pt x="6086951" y="420529"/>
                    <a:pt x="6085046" y="428149"/>
                    <a:pt x="6083142" y="435769"/>
                  </a:cubicBezTo>
                  <a:cubicBezTo>
                    <a:pt x="6081237" y="428149"/>
                    <a:pt x="6079331" y="419576"/>
                    <a:pt x="6076474" y="411956"/>
                  </a:cubicBezTo>
                  <a:cubicBezTo>
                    <a:pt x="6077426" y="405289"/>
                    <a:pt x="6078379" y="397669"/>
                    <a:pt x="6079331" y="391001"/>
                  </a:cubicBezTo>
                  <a:cubicBezTo>
                    <a:pt x="6080284" y="383381"/>
                    <a:pt x="6082189" y="375761"/>
                    <a:pt x="6084094" y="368141"/>
                  </a:cubicBezTo>
                  <a:lnTo>
                    <a:pt x="6088856" y="347186"/>
                  </a:lnTo>
                  <a:cubicBezTo>
                    <a:pt x="6089809" y="347186"/>
                    <a:pt x="6090762" y="347186"/>
                    <a:pt x="6091714" y="348139"/>
                  </a:cubicBezTo>
                  <a:cubicBezTo>
                    <a:pt x="6093619" y="349091"/>
                    <a:pt x="6094571" y="350044"/>
                    <a:pt x="6095524" y="350996"/>
                  </a:cubicBezTo>
                  <a:cubicBezTo>
                    <a:pt x="6098381" y="352901"/>
                    <a:pt x="6099334" y="356711"/>
                    <a:pt x="6100287" y="359569"/>
                  </a:cubicBezTo>
                  <a:cubicBezTo>
                    <a:pt x="6099334" y="367189"/>
                    <a:pt x="6097429" y="375761"/>
                    <a:pt x="6095524" y="384334"/>
                  </a:cubicBezTo>
                  <a:close/>
                  <a:moveTo>
                    <a:pt x="6102192" y="206216"/>
                  </a:moveTo>
                  <a:cubicBezTo>
                    <a:pt x="6102192" y="211931"/>
                    <a:pt x="6102192" y="222409"/>
                    <a:pt x="6101239" y="235744"/>
                  </a:cubicBezTo>
                  <a:cubicBezTo>
                    <a:pt x="6101239" y="237649"/>
                    <a:pt x="6101239" y="239554"/>
                    <a:pt x="6101239" y="241459"/>
                  </a:cubicBezTo>
                  <a:cubicBezTo>
                    <a:pt x="6101239" y="241459"/>
                    <a:pt x="6101239" y="242411"/>
                    <a:pt x="6101239" y="242411"/>
                  </a:cubicBezTo>
                  <a:cubicBezTo>
                    <a:pt x="6101239" y="242411"/>
                    <a:pt x="6101239" y="242411"/>
                    <a:pt x="6101239" y="242411"/>
                  </a:cubicBezTo>
                  <a:cubicBezTo>
                    <a:pt x="6101239" y="241459"/>
                    <a:pt x="6100287" y="240506"/>
                    <a:pt x="6100287" y="239554"/>
                  </a:cubicBezTo>
                  <a:cubicBezTo>
                    <a:pt x="6099334" y="236696"/>
                    <a:pt x="6098381" y="233839"/>
                    <a:pt x="6097429" y="230981"/>
                  </a:cubicBezTo>
                  <a:cubicBezTo>
                    <a:pt x="6099334" y="222409"/>
                    <a:pt x="6100287" y="213836"/>
                    <a:pt x="6102192" y="206216"/>
                  </a:cubicBezTo>
                  <a:close/>
                  <a:moveTo>
                    <a:pt x="6100287" y="284321"/>
                  </a:moveTo>
                  <a:cubicBezTo>
                    <a:pt x="6099334" y="282416"/>
                    <a:pt x="6099334" y="281464"/>
                    <a:pt x="6098381" y="279559"/>
                  </a:cubicBezTo>
                  <a:cubicBezTo>
                    <a:pt x="6098381" y="278606"/>
                    <a:pt x="6099334" y="277654"/>
                    <a:pt x="6099334" y="277654"/>
                  </a:cubicBezTo>
                  <a:cubicBezTo>
                    <a:pt x="6099334" y="279559"/>
                    <a:pt x="6099334" y="281464"/>
                    <a:pt x="6100287" y="284321"/>
                  </a:cubicBezTo>
                  <a:close/>
                  <a:moveTo>
                    <a:pt x="6093619" y="247174"/>
                  </a:moveTo>
                  <a:cubicBezTo>
                    <a:pt x="6094571" y="250031"/>
                    <a:pt x="6094571" y="252889"/>
                    <a:pt x="6095524" y="255746"/>
                  </a:cubicBezTo>
                  <a:cubicBezTo>
                    <a:pt x="6094571" y="258604"/>
                    <a:pt x="6092667" y="261461"/>
                    <a:pt x="6091714" y="264319"/>
                  </a:cubicBezTo>
                  <a:cubicBezTo>
                    <a:pt x="6091714" y="263366"/>
                    <a:pt x="6090762" y="262414"/>
                    <a:pt x="6090762" y="262414"/>
                  </a:cubicBezTo>
                  <a:cubicBezTo>
                    <a:pt x="6091714" y="257651"/>
                    <a:pt x="6092667" y="251936"/>
                    <a:pt x="6093619" y="247174"/>
                  </a:cubicBezTo>
                  <a:close/>
                  <a:moveTo>
                    <a:pt x="6088856" y="269081"/>
                  </a:moveTo>
                  <a:cubicBezTo>
                    <a:pt x="6088856" y="269081"/>
                    <a:pt x="6088856" y="270034"/>
                    <a:pt x="6088856" y="270034"/>
                  </a:cubicBezTo>
                  <a:cubicBezTo>
                    <a:pt x="6088856" y="270034"/>
                    <a:pt x="6088856" y="270034"/>
                    <a:pt x="6088856" y="270034"/>
                  </a:cubicBezTo>
                  <a:cubicBezTo>
                    <a:pt x="6088856" y="270986"/>
                    <a:pt x="6087904" y="271939"/>
                    <a:pt x="6087904" y="272891"/>
                  </a:cubicBezTo>
                  <a:cubicBezTo>
                    <a:pt x="6088856" y="270986"/>
                    <a:pt x="6088856" y="270034"/>
                    <a:pt x="6088856" y="269081"/>
                  </a:cubicBezTo>
                  <a:close/>
                  <a:moveTo>
                    <a:pt x="6067901" y="369094"/>
                  </a:moveTo>
                  <a:cubicBezTo>
                    <a:pt x="6072664" y="358616"/>
                    <a:pt x="6076474" y="349091"/>
                    <a:pt x="6080284" y="339566"/>
                  </a:cubicBezTo>
                  <a:cubicBezTo>
                    <a:pt x="6082189" y="334804"/>
                    <a:pt x="6084094" y="330041"/>
                    <a:pt x="6085046" y="326231"/>
                  </a:cubicBezTo>
                  <a:cubicBezTo>
                    <a:pt x="6085999" y="321469"/>
                    <a:pt x="6087904" y="317659"/>
                    <a:pt x="6088856" y="313849"/>
                  </a:cubicBezTo>
                  <a:cubicBezTo>
                    <a:pt x="6090762" y="306229"/>
                    <a:pt x="6092667" y="299561"/>
                    <a:pt x="6093619" y="293846"/>
                  </a:cubicBezTo>
                  <a:cubicBezTo>
                    <a:pt x="6093619" y="293846"/>
                    <a:pt x="6093619" y="293846"/>
                    <a:pt x="6093619" y="293846"/>
                  </a:cubicBezTo>
                  <a:cubicBezTo>
                    <a:pt x="6094571" y="299561"/>
                    <a:pt x="6095524" y="305276"/>
                    <a:pt x="6096476" y="310991"/>
                  </a:cubicBezTo>
                  <a:cubicBezTo>
                    <a:pt x="6098381" y="319564"/>
                    <a:pt x="6098381" y="329089"/>
                    <a:pt x="6100287" y="339566"/>
                  </a:cubicBezTo>
                  <a:cubicBezTo>
                    <a:pt x="6100287" y="345281"/>
                    <a:pt x="6101239" y="350044"/>
                    <a:pt x="6101239" y="355759"/>
                  </a:cubicBezTo>
                  <a:cubicBezTo>
                    <a:pt x="6101239" y="355759"/>
                    <a:pt x="6101239" y="355759"/>
                    <a:pt x="6101239" y="355759"/>
                  </a:cubicBezTo>
                  <a:cubicBezTo>
                    <a:pt x="6101239" y="356711"/>
                    <a:pt x="6100287" y="358616"/>
                    <a:pt x="6100287" y="359569"/>
                  </a:cubicBezTo>
                  <a:cubicBezTo>
                    <a:pt x="6100287" y="355759"/>
                    <a:pt x="6099334" y="352901"/>
                    <a:pt x="6097429" y="350044"/>
                  </a:cubicBezTo>
                  <a:cubicBezTo>
                    <a:pt x="6096476" y="348139"/>
                    <a:pt x="6094571" y="347186"/>
                    <a:pt x="6093619" y="345281"/>
                  </a:cubicBezTo>
                  <a:cubicBezTo>
                    <a:pt x="6091714" y="344329"/>
                    <a:pt x="6089809" y="343376"/>
                    <a:pt x="6087904" y="342424"/>
                  </a:cubicBezTo>
                  <a:lnTo>
                    <a:pt x="6085999" y="341471"/>
                  </a:lnTo>
                  <a:lnTo>
                    <a:pt x="6085046" y="343376"/>
                  </a:lnTo>
                  <a:cubicBezTo>
                    <a:pt x="6082189" y="350996"/>
                    <a:pt x="6079331" y="357664"/>
                    <a:pt x="6076474" y="365284"/>
                  </a:cubicBezTo>
                  <a:cubicBezTo>
                    <a:pt x="6074569" y="371951"/>
                    <a:pt x="6071712" y="377666"/>
                    <a:pt x="6069806" y="384334"/>
                  </a:cubicBezTo>
                  <a:cubicBezTo>
                    <a:pt x="6068854" y="380524"/>
                    <a:pt x="6067901" y="376714"/>
                    <a:pt x="6065996" y="372904"/>
                  </a:cubicBezTo>
                  <a:cubicBezTo>
                    <a:pt x="6066949" y="371951"/>
                    <a:pt x="6067901" y="370999"/>
                    <a:pt x="6067901" y="369094"/>
                  </a:cubicBezTo>
                  <a:close/>
                  <a:moveTo>
                    <a:pt x="6035517" y="310039"/>
                  </a:moveTo>
                  <a:cubicBezTo>
                    <a:pt x="6035517" y="309086"/>
                    <a:pt x="6035517" y="309086"/>
                    <a:pt x="6035517" y="308134"/>
                  </a:cubicBezTo>
                  <a:cubicBezTo>
                    <a:pt x="6036469" y="312896"/>
                    <a:pt x="6038374" y="318611"/>
                    <a:pt x="6040279" y="324326"/>
                  </a:cubicBezTo>
                  <a:cubicBezTo>
                    <a:pt x="6041231" y="329089"/>
                    <a:pt x="6042184" y="333851"/>
                    <a:pt x="6044089" y="338614"/>
                  </a:cubicBezTo>
                  <a:cubicBezTo>
                    <a:pt x="6042184" y="344329"/>
                    <a:pt x="6040279" y="350044"/>
                    <a:pt x="6038374" y="355759"/>
                  </a:cubicBezTo>
                  <a:cubicBezTo>
                    <a:pt x="6036469" y="345281"/>
                    <a:pt x="6035517" y="336709"/>
                    <a:pt x="6033612" y="330041"/>
                  </a:cubicBezTo>
                  <a:cubicBezTo>
                    <a:pt x="6034564" y="323374"/>
                    <a:pt x="6034564" y="315754"/>
                    <a:pt x="6035517" y="310039"/>
                  </a:cubicBezTo>
                  <a:close/>
                  <a:moveTo>
                    <a:pt x="6012656" y="361474"/>
                  </a:moveTo>
                  <a:cubicBezTo>
                    <a:pt x="6012656" y="362426"/>
                    <a:pt x="6012656" y="363379"/>
                    <a:pt x="6012656" y="363379"/>
                  </a:cubicBezTo>
                  <a:cubicBezTo>
                    <a:pt x="6012656" y="362426"/>
                    <a:pt x="6012656" y="361474"/>
                    <a:pt x="6012656" y="359569"/>
                  </a:cubicBezTo>
                  <a:cubicBezTo>
                    <a:pt x="6012656" y="360521"/>
                    <a:pt x="6012656" y="360521"/>
                    <a:pt x="6012656" y="361474"/>
                  </a:cubicBezTo>
                  <a:close/>
                  <a:moveTo>
                    <a:pt x="6007894" y="351949"/>
                  </a:moveTo>
                  <a:cubicBezTo>
                    <a:pt x="6007894" y="351949"/>
                    <a:pt x="6007894" y="352901"/>
                    <a:pt x="6007894" y="352901"/>
                  </a:cubicBezTo>
                  <a:cubicBezTo>
                    <a:pt x="6007894" y="351949"/>
                    <a:pt x="6007894" y="351949"/>
                    <a:pt x="6007894" y="351949"/>
                  </a:cubicBezTo>
                  <a:cubicBezTo>
                    <a:pt x="6007894" y="350996"/>
                    <a:pt x="6007894" y="351949"/>
                    <a:pt x="6007894" y="351949"/>
                  </a:cubicBezTo>
                  <a:close/>
                  <a:moveTo>
                    <a:pt x="5976462" y="410051"/>
                  </a:moveTo>
                  <a:cubicBezTo>
                    <a:pt x="5975509" y="407194"/>
                    <a:pt x="5974556" y="404336"/>
                    <a:pt x="5973604" y="402431"/>
                  </a:cubicBezTo>
                  <a:cubicBezTo>
                    <a:pt x="5973604" y="401479"/>
                    <a:pt x="5972651" y="399574"/>
                    <a:pt x="5972651" y="398621"/>
                  </a:cubicBezTo>
                  <a:cubicBezTo>
                    <a:pt x="5972651" y="395764"/>
                    <a:pt x="5971699" y="392906"/>
                    <a:pt x="5971699" y="391001"/>
                  </a:cubicBezTo>
                  <a:cubicBezTo>
                    <a:pt x="5972651" y="389096"/>
                    <a:pt x="5972651" y="387191"/>
                    <a:pt x="5973604" y="386239"/>
                  </a:cubicBezTo>
                  <a:cubicBezTo>
                    <a:pt x="5975509" y="382429"/>
                    <a:pt x="5976462" y="378619"/>
                    <a:pt x="5977414" y="374809"/>
                  </a:cubicBezTo>
                  <a:cubicBezTo>
                    <a:pt x="5977414" y="385286"/>
                    <a:pt x="5976462" y="397669"/>
                    <a:pt x="5976462" y="410051"/>
                  </a:cubicBezTo>
                  <a:close/>
                  <a:moveTo>
                    <a:pt x="5976462" y="239554"/>
                  </a:moveTo>
                  <a:cubicBezTo>
                    <a:pt x="5977414" y="243364"/>
                    <a:pt x="5977414" y="246221"/>
                    <a:pt x="5978367" y="250031"/>
                  </a:cubicBezTo>
                  <a:cubicBezTo>
                    <a:pt x="5978367" y="251936"/>
                    <a:pt x="5979319" y="254794"/>
                    <a:pt x="5979319" y="256699"/>
                  </a:cubicBezTo>
                  <a:cubicBezTo>
                    <a:pt x="5977414" y="253841"/>
                    <a:pt x="5976462" y="250984"/>
                    <a:pt x="5974556" y="248126"/>
                  </a:cubicBezTo>
                  <a:cubicBezTo>
                    <a:pt x="5975509" y="245269"/>
                    <a:pt x="5975509" y="242411"/>
                    <a:pt x="5976462" y="239554"/>
                  </a:cubicBezTo>
                  <a:close/>
                  <a:moveTo>
                    <a:pt x="5965984" y="291941"/>
                  </a:moveTo>
                  <a:cubicBezTo>
                    <a:pt x="5965984" y="290036"/>
                    <a:pt x="5966937" y="288131"/>
                    <a:pt x="5966937" y="286226"/>
                  </a:cubicBezTo>
                  <a:cubicBezTo>
                    <a:pt x="5966937" y="285274"/>
                    <a:pt x="5967889" y="283369"/>
                    <a:pt x="5967889" y="282416"/>
                  </a:cubicBezTo>
                  <a:cubicBezTo>
                    <a:pt x="5968842" y="277654"/>
                    <a:pt x="5969794" y="273844"/>
                    <a:pt x="5970746" y="269081"/>
                  </a:cubicBezTo>
                  <a:cubicBezTo>
                    <a:pt x="5974556" y="278606"/>
                    <a:pt x="5979319" y="289084"/>
                    <a:pt x="5983129" y="298609"/>
                  </a:cubicBezTo>
                  <a:cubicBezTo>
                    <a:pt x="5982176" y="309086"/>
                    <a:pt x="5981224" y="319564"/>
                    <a:pt x="5980271" y="330994"/>
                  </a:cubicBezTo>
                  <a:cubicBezTo>
                    <a:pt x="5980271" y="330994"/>
                    <a:pt x="5980271" y="331946"/>
                    <a:pt x="5979319" y="331946"/>
                  </a:cubicBezTo>
                  <a:cubicBezTo>
                    <a:pt x="5977414" y="329089"/>
                    <a:pt x="5976462" y="328136"/>
                    <a:pt x="5976462" y="328136"/>
                  </a:cubicBezTo>
                  <a:cubicBezTo>
                    <a:pt x="5976462" y="328136"/>
                    <a:pt x="5977414" y="330041"/>
                    <a:pt x="5979319" y="332899"/>
                  </a:cubicBezTo>
                  <a:cubicBezTo>
                    <a:pt x="5977414" y="336709"/>
                    <a:pt x="5974556" y="341471"/>
                    <a:pt x="5972651" y="346234"/>
                  </a:cubicBezTo>
                  <a:cubicBezTo>
                    <a:pt x="5970746" y="349091"/>
                    <a:pt x="5969794" y="352901"/>
                    <a:pt x="5967889" y="355759"/>
                  </a:cubicBezTo>
                  <a:cubicBezTo>
                    <a:pt x="5967889" y="355759"/>
                    <a:pt x="5967889" y="355759"/>
                    <a:pt x="5967889" y="355759"/>
                  </a:cubicBezTo>
                  <a:cubicBezTo>
                    <a:pt x="5967889" y="353854"/>
                    <a:pt x="5967889" y="352901"/>
                    <a:pt x="5966937" y="351949"/>
                  </a:cubicBezTo>
                  <a:cubicBezTo>
                    <a:pt x="5965984" y="346234"/>
                    <a:pt x="5965984" y="339566"/>
                    <a:pt x="5965031" y="333851"/>
                  </a:cubicBezTo>
                  <a:cubicBezTo>
                    <a:pt x="5964079" y="321469"/>
                    <a:pt x="5964079" y="310039"/>
                    <a:pt x="5963126" y="299561"/>
                  </a:cubicBezTo>
                  <a:cubicBezTo>
                    <a:pt x="5964079" y="296704"/>
                    <a:pt x="5965031" y="294799"/>
                    <a:pt x="5965984" y="291941"/>
                  </a:cubicBezTo>
                  <a:close/>
                  <a:moveTo>
                    <a:pt x="5952649" y="385286"/>
                  </a:moveTo>
                  <a:cubicBezTo>
                    <a:pt x="5952649" y="385286"/>
                    <a:pt x="5952649" y="385286"/>
                    <a:pt x="5952649" y="385286"/>
                  </a:cubicBezTo>
                  <a:cubicBezTo>
                    <a:pt x="5952649" y="385286"/>
                    <a:pt x="5952649" y="385286"/>
                    <a:pt x="5952649" y="385286"/>
                  </a:cubicBezTo>
                  <a:cubicBezTo>
                    <a:pt x="5952649" y="385286"/>
                    <a:pt x="5952649" y="385286"/>
                    <a:pt x="5952649" y="385286"/>
                  </a:cubicBezTo>
                  <a:close/>
                  <a:moveTo>
                    <a:pt x="5934551" y="339566"/>
                  </a:moveTo>
                  <a:cubicBezTo>
                    <a:pt x="5934551" y="337661"/>
                    <a:pt x="5933599" y="334804"/>
                    <a:pt x="5933599" y="332899"/>
                  </a:cubicBezTo>
                  <a:cubicBezTo>
                    <a:pt x="5933599" y="331946"/>
                    <a:pt x="5933599" y="331946"/>
                    <a:pt x="5933599" y="330994"/>
                  </a:cubicBezTo>
                  <a:cubicBezTo>
                    <a:pt x="5934551" y="332899"/>
                    <a:pt x="5934551" y="334804"/>
                    <a:pt x="5935504" y="336709"/>
                  </a:cubicBezTo>
                  <a:cubicBezTo>
                    <a:pt x="5935504" y="337661"/>
                    <a:pt x="5934551" y="338614"/>
                    <a:pt x="5934551" y="339566"/>
                  </a:cubicBezTo>
                  <a:close/>
                  <a:moveTo>
                    <a:pt x="5948839" y="371951"/>
                  </a:moveTo>
                  <a:cubicBezTo>
                    <a:pt x="5947887" y="374809"/>
                    <a:pt x="5946934" y="378619"/>
                    <a:pt x="5945981" y="382429"/>
                  </a:cubicBezTo>
                  <a:cubicBezTo>
                    <a:pt x="5945029" y="386239"/>
                    <a:pt x="5944076" y="389096"/>
                    <a:pt x="5943124" y="392906"/>
                  </a:cubicBezTo>
                  <a:cubicBezTo>
                    <a:pt x="5943124" y="387191"/>
                    <a:pt x="5943124" y="382429"/>
                    <a:pt x="5943124" y="378619"/>
                  </a:cubicBezTo>
                  <a:cubicBezTo>
                    <a:pt x="5943124" y="378619"/>
                    <a:pt x="5943124" y="378619"/>
                    <a:pt x="5943124" y="378619"/>
                  </a:cubicBezTo>
                  <a:cubicBezTo>
                    <a:pt x="5945029" y="373856"/>
                    <a:pt x="5945981" y="370046"/>
                    <a:pt x="5946934" y="365284"/>
                  </a:cubicBezTo>
                  <a:cubicBezTo>
                    <a:pt x="5946934" y="367189"/>
                    <a:pt x="5947887" y="370046"/>
                    <a:pt x="5948839" y="371951"/>
                  </a:cubicBezTo>
                  <a:close/>
                  <a:moveTo>
                    <a:pt x="5930742" y="234791"/>
                  </a:moveTo>
                  <a:cubicBezTo>
                    <a:pt x="5933599" y="245269"/>
                    <a:pt x="5935504" y="256699"/>
                    <a:pt x="5938362" y="269081"/>
                  </a:cubicBezTo>
                  <a:cubicBezTo>
                    <a:pt x="5941219" y="280511"/>
                    <a:pt x="5942171" y="293846"/>
                    <a:pt x="5945029" y="307181"/>
                  </a:cubicBezTo>
                  <a:cubicBezTo>
                    <a:pt x="5943124" y="312896"/>
                    <a:pt x="5941219" y="317659"/>
                    <a:pt x="5940267" y="323374"/>
                  </a:cubicBezTo>
                  <a:cubicBezTo>
                    <a:pt x="5940267" y="323374"/>
                    <a:pt x="5940267" y="324326"/>
                    <a:pt x="5940267" y="324326"/>
                  </a:cubicBezTo>
                  <a:cubicBezTo>
                    <a:pt x="5937409" y="318611"/>
                    <a:pt x="5934551" y="312896"/>
                    <a:pt x="5931694" y="307181"/>
                  </a:cubicBezTo>
                  <a:cubicBezTo>
                    <a:pt x="5930742" y="299561"/>
                    <a:pt x="5929789" y="291941"/>
                    <a:pt x="5928837" y="284321"/>
                  </a:cubicBezTo>
                  <a:cubicBezTo>
                    <a:pt x="5927884" y="277654"/>
                    <a:pt x="5927884" y="271939"/>
                    <a:pt x="5926931" y="266224"/>
                  </a:cubicBezTo>
                  <a:cubicBezTo>
                    <a:pt x="5928837" y="261461"/>
                    <a:pt x="5929789" y="259556"/>
                    <a:pt x="5929789" y="259556"/>
                  </a:cubicBezTo>
                  <a:cubicBezTo>
                    <a:pt x="5929789" y="259556"/>
                    <a:pt x="5928837" y="261461"/>
                    <a:pt x="5926931" y="264319"/>
                  </a:cubicBezTo>
                  <a:cubicBezTo>
                    <a:pt x="5925979" y="257651"/>
                    <a:pt x="5925026" y="251936"/>
                    <a:pt x="5925026" y="245269"/>
                  </a:cubicBezTo>
                  <a:cubicBezTo>
                    <a:pt x="5925979" y="241459"/>
                    <a:pt x="5926931" y="237649"/>
                    <a:pt x="5926931" y="233839"/>
                  </a:cubicBezTo>
                  <a:cubicBezTo>
                    <a:pt x="5927884" y="230981"/>
                    <a:pt x="5927884" y="228124"/>
                    <a:pt x="5928837" y="226219"/>
                  </a:cubicBezTo>
                  <a:cubicBezTo>
                    <a:pt x="5928837" y="229076"/>
                    <a:pt x="5929789" y="231934"/>
                    <a:pt x="5930742" y="234791"/>
                  </a:cubicBezTo>
                  <a:close/>
                  <a:moveTo>
                    <a:pt x="5923121" y="209074"/>
                  </a:moveTo>
                  <a:cubicBezTo>
                    <a:pt x="5924074" y="212884"/>
                    <a:pt x="5925979" y="217646"/>
                    <a:pt x="5926931" y="222409"/>
                  </a:cubicBezTo>
                  <a:cubicBezTo>
                    <a:pt x="5925026" y="225266"/>
                    <a:pt x="5924074" y="229076"/>
                    <a:pt x="5922169" y="232886"/>
                  </a:cubicBezTo>
                  <a:cubicBezTo>
                    <a:pt x="5921217" y="223361"/>
                    <a:pt x="5920264" y="214789"/>
                    <a:pt x="5919312" y="206216"/>
                  </a:cubicBezTo>
                  <a:cubicBezTo>
                    <a:pt x="5919312" y="201454"/>
                    <a:pt x="5918359" y="197644"/>
                    <a:pt x="5918359" y="193834"/>
                  </a:cubicBezTo>
                  <a:cubicBezTo>
                    <a:pt x="5920264" y="197644"/>
                    <a:pt x="5921217" y="202406"/>
                    <a:pt x="5923121" y="209074"/>
                  </a:cubicBezTo>
                  <a:close/>
                  <a:moveTo>
                    <a:pt x="5901214" y="244316"/>
                  </a:moveTo>
                  <a:cubicBezTo>
                    <a:pt x="5901214" y="247174"/>
                    <a:pt x="5901214" y="251936"/>
                    <a:pt x="5901214" y="258604"/>
                  </a:cubicBezTo>
                  <a:cubicBezTo>
                    <a:pt x="5901214" y="264319"/>
                    <a:pt x="5901214" y="270986"/>
                    <a:pt x="5902167" y="278606"/>
                  </a:cubicBezTo>
                  <a:cubicBezTo>
                    <a:pt x="5902167" y="286226"/>
                    <a:pt x="5903119" y="293846"/>
                    <a:pt x="5904071" y="302419"/>
                  </a:cubicBezTo>
                  <a:cubicBezTo>
                    <a:pt x="5903119" y="304324"/>
                    <a:pt x="5901214" y="307181"/>
                    <a:pt x="5900262" y="310039"/>
                  </a:cubicBezTo>
                  <a:cubicBezTo>
                    <a:pt x="5898356" y="300514"/>
                    <a:pt x="5896451" y="291941"/>
                    <a:pt x="5895499" y="284321"/>
                  </a:cubicBezTo>
                  <a:cubicBezTo>
                    <a:pt x="5897404" y="264319"/>
                    <a:pt x="5900262" y="250984"/>
                    <a:pt x="5901214" y="244316"/>
                  </a:cubicBezTo>
                  <a:close/>
                  <a:moveTo>
                    <a:pt x="5903119" y="324326"/>
                  </a:moveTo>
                  <a:cubicBezTo>
                    <a:pt x="5903119" y="325279"/>
                    <a:pt x="5903119" y="327184"/>
                    <a:pt x="5903119" y="328136"/>
                  </a:cubicBezTo>
                  <a:cubicBezTo>
                    <a:pt x="5903119" y="327184"/>
                    <a:pt x="5903119" y="326231"/>
                    <a:pt x="5902167" y="325279"/>
                  </a:cubicBezTo>
                  <a:cubicBezTo>
                    <a:pt x="5903119" y="325279"/>
                    <a:pt x="5903119" y="324326"/>
                    <a:pt x="5903119" y="324326"/>
                  </a:cubicBezTo>
                  <a:close/>
                  <a:moveTo>
                    <a:pt x="5892642" y="348139"/>
                  </a:moveTo>
                  <a:cubicBezTo>
                    <a:pt x="5892642" y="350044"/>
                    <a:pt x="5892642" y="350996"/>
                    <a:pt x="5893594" y="352901"/>
                  </a:cubicBezTo>
                  <a:cubicBezTo>
                    <a:pt x="5893594" y="353854"/>
                    <a:pt x="5893594" y="354806"/>
                    <a:pt x="5893594" y="355759"/>
                  </a:cubicBezTo>
                  <a:cubicBezTo>
                    <a:pt x="5892642" y="353854"/>
                    <a:pt x="5892642" y="351949"/>
                    <a:pt x="5891689" y="350996"/>
                  </a:cubicBezTo>
                  <a:cubicBezTo>
                    <a:pt x="5892642" y="350044"/>
                    <a:pt x="5892642" y="349091"/>
                    <a:pt x="5892642" y="348139"/>
                  </a:cubicBezTo>
                  <a:close/>
                  <a:moveTo>
                    <a:pt x="5893594" y="373856"/>
                  </a:moveTo>
                  <a:cubicBezTo>
                    <a:pt x="5895499" y="379571"/>
                    <a:pt x="5897404" y="385286"/>
                    <a:pt x="5898356" y="391954"/>
                  </a:cubicBezTo>
                  <a:cubicBezTo>
                    <a:pt x="5899309" y="396716"/>
                    <a:pt x="5901214" y="402431"/>
                    <a:pt x="5902167" y="408146"/>
                  </a:cubicBezTo>
                  <a:cubicBezTo>
                    <a:pt x="5903119" y="411004"/>
                    <a:pt x="5903119" y="414814"/>
                    <a:pt x="5904071" y="417671"/>
                  </a:cubicBezTo>
                  <a:cubicBezTo>
                    <a:pt x="5904071" y="417671"/>
                    <a:pt x="5904071" y="417671"/>
                    <a:pt x="5904071" y="417671"/>
                  </a:cubicBezTo>
                  <a:cubicBezTo>
                    <a:pt x="5899309" y="407194"/>
                    <a:pt x="5895499" y="397669"/>
                    <a:pt x="5890737" y="387191"/>
                  </a:cubicBezTo>
                  <a:cubicBezTo>
                    <a:pt x="5889784" y="386239"/>
                    <a:pt x="5889784" y="385286"/>
                    <a:pt x="5888831" y="383381"/>
                  </a:cubicBezTo>
                  <a:lnTo>
                    <a:pt x="5887879" y="357664"/>
                  </a:lnTo>
                  <a:cubicBezTo>
                    <a:pt x="5887879" y="357664"/>
                    <a:pt x="5887879" y="356711"/>
                    <a:pt x="5888831" y="356711"/>
                  </a:cubicBezTo>
                  <a:cubicBezTo>
                    <a:pt x="5889784" y="363379"/>
                    <a:pt x="5891689" y="368141"/>
                    <a:pt x="5893594" y="373856"/>
                  </a:cubicBezTo>
                  <a:close/>
                  <a:moveTo>
                    <a:pt x="5886926" y="321469"/>
                  </a:moveTo>
                  <a:cubicBezTo>
                    <a:pt x="5887879" y="317659"/>
                    <a:pt x="5887879" y="314801"/>
                    <a:pt x="5888831" y="311944"/>
                  </a:cubicBezTo>
                  <a:cubicBezTo>
                    <a:pt x="5888831" y="312896"/>
                    <a:pt x="5888831" y="313849"/>
                    <a:pt x="5888831" y="314801"/>
                  </a:cubicBezTo>
                  <a:cubicBezTo>
                    <a:pt x="5888831" y="318611"/>
                    <a:pt x="5889784" y="322421"/>
                    <a:pt x="5889784" y="326231"/>
                  </a:cubicBezTo>
                  <a:cubicBezTo>
                    <a:pt x="5888831" y="328136"/>
                    <a:pt x="5887879" y="330041"/>
                    <a:pt x="5885974" y="332899"/>
                  </a:cubicBezTo>
                  <a:cubicBezTo>
                    <a:pt x="5885974" y="330041"/>
                    <a:pt x="5885974" y="327184"/>
                    <a:pt x="5885974" y="325279"/>
                  </a:cubicBezTo>
                  <a:cubicBezTo>
                    <a:pt x="5885974" y="323374"/>
                    <a:pt x="5886926" y="322421"/>
                    <a:pt x="5886926" y="321469"/>
                  </a:cubicBezTo>
                  <a:close/>
                  <a:moveTo>
                    <a:pt x="5858351" y="279559"/>
                  </a:moveTo>
                  <a:cubicBezTo>
                    <a:pt x="5858351" y="281464"/>
                    <a:pt x="5858351" y="282416"/>
                    <a:pt x="5858351" y="284321"/>
                  </a:cubicBezTo>
                  <a:cubicBezTo>
                    <a:pt x="5858351" y="284321"/>
                    <a:pt x="5858351" y="285274"/>
                    <a:pt x="5858351" y="285274"/>
                  </a:cubicBezTo>
                  <a:cubicBezTo>
                    <a:pt x="5858351" y="284321"/>
                    <a:pt x="5857399" y="283369"/>
                    <a:pt x="5857399" y="281464"/>
                  </a:cubicBezTo>
                  <a:cubicBezTo>
                    <a:pt x="5857399" y="281464"/>
                    <a:pt x="5857399" y="280511"/>
                    <a:pt x="5858351" y="279559"/>
                  </a:cubicBezTo>
                  <a:close/>
                  <a:moveTo>
                    <a:pt x="5841206" y="264319"/>
                  </a:moveTo>
                  <a:cubicBezTo>
                    <a:pt x="5841206" y="266224"/>
                    <a:pt x="5840254" y="268129"/>
                    <a:pt x="5840254" y="270034"/>
                  </a:cubicBezTo>
                  <a:cubicBezTo>
                    <a:pt x="5840254" y="272891"/>
                    <a:pt x="5839301" y="274796"/>
                    <a:pt x="5839301" y="277654"/>
                  </a:cubicBezTo>
                  <a:cubicBezTo>
                    <a:pt x="5839301" y="275749"/>
                    <a:pt x="5838349" y="273844"/>
                    <a:pt x="5838349" y="271939"/>
                  </a:cubicBezTo>
                  <a:cubicBezTo>
                    <a:pt x="5840254" y="269081"/>
                    <a:pt x="5840254" y="267176"/>
                    <a:pt x="5841206" y="264319"/>
                  </a:cubicBezTo>
                  <a:close/>
                  <a:moveTo>
                    <a:pt x="5828824" y="305276"/>
                  </a:moveTo>
                  <a:cubicBezTo>
                    <a:pt x="5827871" y="306229"/>
                    <a:pt x="5827871" y="307181"/>
                    <a:pt x="5826919" y="308134"/>
                  </a:cubicBezTo>
                  <a:cubicBezTo>
                    <a:pt x="5826919" y="307181"/>
                    <a:pt x="5826919" y="307181"/>
                    <a:pt x="5826919" y="306229"/>
                  </a:cubicBezTo>
                  <a:cubicBezTo>
                    <a:pt x="5827871" y="304324"/>
                    <a:pt x="5828824" y="301466"/>
                    <a:pt x="5829776" y="299561"/>
                  </a:cubicBezTo>
                  <a:cubicBezTo>
                    <a:pt x="5828824" y="302419"/>
                    <a:pt x="5828824" y="303371"/>
                    <a:pt x="5828824" y="305276"/>
                  </a:cubicBezTo>
                  <a:close/>
                  <a:moveTo>
                    <a:pt x="5823109" y="259556"/>
                  </a:moveTo>
                  <a:cubicBezTo>
                    <a:pt x="5824062" y="262414"/>
                    <a:pt x="5825967" y="266224"/>
                    <a:pt x="5827871" y="270986"/>
                  </a:cubicBezTo>
                  <a:cubicBezTo>
                    <a:pt x="5827871" y="271939"/>
                    <a:pt x="5828824" y="272891"/>
                    <a:pt x="5828824" y="273844"/>
                  </a:cubicBezTo>
                  <a:cubicBezTo>
                    <a:pt x="5828824" y="277654"/>
                    <a:pt x="5828824" y="281464"/>
                    <a:pt x="5828824" y="286226"/>
                  </a:cubicBezTo>
                  <a:cubicBezTo>
                    <a:pt x="5826919" y="289084"/>
                    <a:pt x="5825967" y="291941"/>
                    <a:pt x="5824062" y="295751"/>
                  </a:cubicBezTo>
                  <a:lnTo>
                    <a:pt x="5824062" y="294799"/>
                  </a:lnTo>
                  <a:lnTo>
                    <a:pt x="5823109" y="267176"/>
                  </a:lnTo>
                  <a:lnTo>
                    <a:pt x="5823109" y="259556"/>
                  </a:lnTo>
                  <a:close/>
                  <a:moveTo>
                    <a:pt x="5813584" y="252889"/>
                  </a:moveTo>
                  <a:cubicBezTo>
                    <a:pt x="5813584" y="254794"/>
                    <a:pt x="5812631" y="256699"/>
                    <a:pt x="5812631" y="258604"/>
                  </a:cubicBezTo>
                  <a:cubicBezTo>
                    <a:pt x="5811679" y="256699"/>
                    <a:pt x="5811679" y="255746"/>
                    <a:pt x="5811679" y="255746"/>
                  </a:cubicBezTo>
                  <a:cubicBezTo>
                    <a:pt x="5811679" y="255746"/>
                    <a:pt x="5811679" y="258604"/>
                    <a:pt x="5811679" y="262414"/>
                  </a:cubicBezTo>
                  <a:cubicBezTo>
                    <a:pt x="5811679" y="264319"/>
                    <a:pt x="5810726" y="265271"/>
                    <a:pt x="5810726" y="267176"/>
                  </a:cubicBezTo>
                  <a:cubicBezTo>
                    <a:pt x="5809774" y="276701"/>
                    <a:pt x="5808821" y="285274"/>
                    <a:pt x="5808821" y="294799"/>
                  </a:cubicBezTo>
                  <a:lnTo>
                    <a:pt x="5808821" y="304324"/>
                  </a:lnTo>
                  <a:lnTo>
                    <a:pt x="5807869" y="300514"/>
                  </a:lnTo>
                  <a:cubicBezTo>
                    <a:pt x="5808821" y="286226"/>
                    <a:pt x="5807869" y="273844"/>
                    <a:pt x="5806917" y="264319"/>
                  </a:cubicBezTo>
                  <a:cubicBezTo>
                    <a:pt x="5806917" y="263366"/>
                    <a:pt x="5806917" y="263366"/>
                    <a:pt x="5806917" y="262414"/>
                  </a:cubicBezTo>
                  <a:cubicBezTo>
                    <a:pt x="5809774" y="258604"/>
                    <a:pt x="5812631" y="254794"/>
                    <a:pt x="5813584" y="252889"/>
                  </a:cubicBezTo>
                  <a:close/>
                  <a:moveTo>
                    <a:pt x="5804059" y="268129"/>
                  </a:moveTo>
                  <a:cubicBezTo>
                    <a:pt x="5804059" y="268129"/>
                    <a:pt x="5804059" y="269081"/>
                    <a:pt x="5804059" y="269081"/>
                  </a:cubicBezTo>
                  <a:lnTo>
                    <a:pt x="5804059" y="268129"/>
                  </a:lnTo>
                  <a:cubicBezTo>
                    <a:pt x="5804059" y="268129"/>
                    <a:pt x="5804059" y="268129"/>
                    <a:pt x="5804059" y="268129"/>
                  </a:cubicBezTo>
                  <a:close/>
                  <a:moveTo>
                    <a:pt x="5799296" y="164306"/>
                  </a:moveTo>
                  <a:cubicBezTo>
                    <a:pt x="5800249" y="165259"/>
                    <a:pt x="5801201" y="165259"/>
                    <a:pt x="5802154" y="166211"/>
                  </a:cubicBezTo>
                  <a:cubicBezTo>
                    <a:pt x="5800249" y="170021"/>
                    <a:pt x="5798344" y="172879"/>
                    <a:pt x="5796439" y="176689"/>
                  </a:cubicBezTo>
                  <a:lnTo>
                    <a:pt x="5796439" y="163354"/>
                  </a:lnTo>
                  <a:cubicBezTo>
                    <a:pt x="5797392" y="163354"/>
                    <a:pt x="5798344" y="163354"/>
                    <a:pt x="5799296" y="164306"/>
                  </a:cubicBezTo>
                  <a:close/>
                  <a:moveTo>
                    <a:pt x="5770721" y="386239"/>
                  </a:moveTo>
                  <a:cubicBezTo>
                    <a:pt x="5770721" y="385286"/>
                    <a:pt x="5770721" y="384334"/>
                    <a:pt x="5770721" y="383381"/>
                  </a:cubicBezTo>
                  <a:cubicBezTo>
                    <a:pt x="5770721" y="383381"/>
                    <a:pt x="5770721" y="382429"/>
                    <a:pt x="5770721" y="382429"/>
                  </a:cubicBezTo>
                  <a:cubicBezTo>
                    <a:pt x="5770721" y="384334"/>
                    <a:pt x="5770721" y="385286"/>
                    <a:pt x="5771674" y="387191"/>
                  </a:cubicBezTo>
                  <a:cubicBezTo>
                    <a:pt x="5771674" y="386239"/>
                    <a:pt x="5771674" y="386239"/>
                    <a:pt x="5770721" y="386239"/>
                  </a:cubicBezTo>
                  <a:close/>
                  <a:moveTo>
                    <a:pt x="5782151" y="253841"/>
                  </a:moveTo>
                  <a:cubicBezTo>
                    <a:pt x="5781199" y="254794"/>
                    <a:pt x="5781199" y="256699"/>
                    <a:pt x="5780246" y="258604"/>
                  </a:cubicBezTo>
                  <a:cubicBezTo>
                    <a:pt x="5779294" y="261461"/>
                    <a:pt x="5778342" y="264319"/>
                    <a:pt x="5777389" y="267176"/>
                  </a:cubicBezTo>
                  <a:cubicBezTo>
                    <a:pt x="5776437" y="270034"/>
                    <a:pt x="5775484" y="272891"/>
                    <a:pt x="5773579" y="275749"/>
                  </a:cubicBezTo>
                  <a:cubicBezTo>
                    <a:pt x="5773579" y="274796"/>
                    <a:pt x="5772626" y="274796"/>
                    <a:pt x="5772626" y="273844"/>
                  </a:cubicBezTo>
                  <a:cubicBezTo>
                    <a:pt x="5772626" y="273844"/>
                    <a:pt x="5772626" y="272891"/>
                    <a:pt x="5771674" y="272891"/>
                  </a:cubicBezTo>
                  <a:cubicBezTo>
                    <a:pt x="5777389" y="256699"/>
                    <a:pt x="5781199" y="246221"/>
                    <a:pt x="5783104" y="241459"/>
                  </a:cubicBezTo>
                  <a:cubicBezTo>
                    <a:pt x="5783104" y="245269"/>
                    <a:pt x="5783104" y="250031"/>
                    <a:pt x="5782151" y="253841"/>
                  </a:cubicBezTo>
                  <a:close/>
                  <a:moveTo>
                    <a:pt x="5785962" y="221456"/>
                  </a:moveTo>
                  <a:cubicBezTo>
                    <a:pt x="5785009" y="227171"/>
                    <a:pt x="5785009" y="232886"/>
                    <a:pt x="5784056" y="239554"/>
                  </a:cubicBezTo>
                  <a:cubicBezTo>
                    <a:pt x="5784056" y="239554"/>
                    <a:pt x="5784056" y="240506"/>
                    <a:pt x="5784056" y="240506"/>
                  </a:cubicBezTo>
                  <a:cubicBezTo>
                    <a:pt x="5782151" y="244316"/>
                    <a:pt x="5777389" y="253841"/>
                    <a:pt x="5770721" y="267176"/>
                  </a:cubicBezTo>
                  <a:cubicBezTo>
                    <a:pt x="5770721" y="265271"/>
                    <a:pt x="5769769" y="263366"/>
                    <a:pt x="5769769" y="261461"/>
                  </a:cubicBezTo>
                  <a:cubicBezTo>
                    <a:pt x="5769769" y="260509"/>
                    <a:pt x="5769769" y="259556"/>
                    <a:pt x="5769769" y="258604"/>
                  </a:cubicBezTo>
                  <a:cubicBezTo>
                    <a:pt x="5775484" y="246221"/>
                    <a:pt x="5781199" y="233839"/>
                    <a:pt x="5785962" y="221456"/>
                  </a:cubicBezTo>
                  <a:close/>
                  <a:moveTo>
                    <a:pt x="5754529" y="333851"/>
                  </a:moveTo>
                  <a:cubicBezTo>
                    <a:pt x="5751671" y="338614"/>
                    <a:pt x="5749767" y="343376"/>
                    <a:pt x="5746909" y="348139"/>
                  </a:cubicBezTo>
                  <a:cubicBezTo>
                    <a:pt x="5746909" y="347186"/>
                    <a:pt x="5745956" y="347186"/>
                    <a:pt x="5745956" y="346234"/>
                  </a:cubicBezTo>
                  <a:cubicBezTo>
                    <a:pt x="5748814" y="337661"/>
                    <a:pt x="5751671" y="330041"/>
                    <a:pt x="5754529" y="322421"/>
                  </a:cubicBezTo>
                  <a:cubicBezTo>
                    <a:pt x="5754529" y="325279"/>
                    <a:pt x="5754529" y="329089"/>
                    <a:pt x="5754529" y="333851"/>
                  </a:cubicBezTo>
                  <a:cubicBezTo>
                    <a:pt x="5754529" y="333851"/>
                    <a:pt x="5754529" y="333851"/>
                    <a:pt x="5754529" y="333851"/>
                  </a:cubicBezTo>
                  <a:close/>
                  <a:moveTo>
                    <a:pt x="5762149" y="302419"/>
                  </a:moveTo>
                  <a:cubicBezTo>
                    <a:pt x="5762149" y="303371"/>
                    <a:pt x="5762149" y="303371"/>
                    <a:pt x="5762149" y="302419"/>
                  </a:cubicBezTo>
                  <a:cubicBezTo>
                    <a:pt x="5762149" y="303371"/>
                    <a:pt x="5761196" y="303371"/>
                    <a:pt x="5762149" y="302419"/>
                  </a:cubicBezTo>
                  <a:cubicBezTo>
                    <a:pt x="5761196" y="303371"/>
                    <a:pt x="5761196" y="303371"/>
                    <a:pt x="5762149" y="302419"/>
                  </a:cubicBezTo>
                  <a:close/>
                  <a:moveTo>
                    <a:pt x="5761196" y="304324"/>
                  </a:moveTo>
                  <a:cubicBezTo>
                    <a:pt x="5761196" y="304324"/>
                    <a:pt x="5761196" y="305276"/>
                    <a:pt x="5762149" y="305276"/>
                  </a:cubicBezTo>
                  <a:cubicBezTo>
                    <a:pt x="5762149" y="306229"/>
                    <a:pt x="5762149" y="307181"/>
                    <a:pt x="5762149" y="308134"/>
                  </a:cubicBezTo>
                  <a:cubicBezTo>
                    <a:pt x="5762149" y="309086"/>
                    <a:pt x="5762149" y="309086"/>
                    <a:pt x="5762149" y="310039"/>
                  </a:cubicBezTo>
                  <a:cubicBezTo>
                    <a:pt x="5761196" y="313849"/>
                    <a:pt x="5760244" y="316706"/>
                    <a:pt x="5759292" y="320516"/>
                  </a:cubicBezTo>
                  <a:cubicBezTo>
                    <a:pt x="5758339" y="323374"/>
                    <a:pt x="5758339" y="325279"/>
                    <a:pt x="5757387" y="328136"/>
                  </a:cubicBezTo>
                  <a:cubicBezTo>
                    <a:pt x="5756434" y="324326"/>
                    <a:pt x="5755481" y="321469"/>
                    <a:pt x="5755481" y="320516"/>
                  </a:cubicBezTo>
                  <a:cubicBezTo>
                    <a:pt x="5757387" y="314801"/>
                    <a:pt x="5759292" y="309086"/>
                    <a:pt x="5761196" y="304324"/>
                  </a:cubicBezTo>
                  <a:close/>
                  <a:moveTo>
                    <a:pt x="5760244" y="289084"/>
                  </a:moveTo>
                  <a:cubicBezTo>
                    <a:pt x="5760244" y="290036"/>
                    <a:pt x="5759292" y="290036"/>
                    <a:pt x="5759292" y="290989"/>
                  </a:cubicBezTo>
                  <a:cubicBezTo>
                    <a:pt x="5757387" y="293846"/>
                    <a:pt x="5754529" y="297656"/>
                    <a:pt x="5751671" y="301466"/>
                  </a:cubicBezTo>
                  <a:cubicBezTo>
                    <a:pt x="5750719" y="302419"/>
                    <a:pt x="5749767" y="304324"/>
                    <a:pt x="5748814" y="305276"/>
                  </a:cubicBezTo>
                  <a:cubicBezTo>
                    <a:pt x="5752624" y="296704"/>
                    <a:pt x="5755481" y="288131"/>
                    <a:pt x="5759292" y="280511"/>
                  </a:cubicBezTo>
                  <a:cubicBezTo>
                    <a:pt x="5760244" y="284321"/>
                    <a:pt x="5760244" y="286226"/>
                    <a:pt x="5760244" y="289084"/>
                  </a:cubicBezTo>
                  <a:close/>
                  <a:moveTo>
                    <a:pt x="5756434" y="227171"/>
                  </a:moveTo>
                  <a:cubicBezTo>
                    <a:pt x="5756434" y="231934"/>
                    <a:pt x="5756434" y="237649"/>
                    <a:pt x="5756434" y="243364"/>
                  </a:cubicBezTo>
                  <a:cubicBezTo>
                    <a:pt x="5756434" y="246221"/>
                    <a:pt x="5756434" y="248126"/>
                    <a:pt x="5757387" y="250984"/>
                  </a:cubicBezTo>
                  <a:cubicBezTo>
                    <a:pt x="5756434" y="253841"/>
                    <a:pt x="5754529" y="256699"/>
                    <a:pt x="5753576" y="259556"/>
                  </a:cubicBezTo>
                  <a:cubicBezTo>
                    <a:pt x="5749767" y="268129"/>
                    <a:pt x="5745004" y="276701"/>
                    <a:pt x="5741194" y="285274"/>
                  </a:cubicBezTo>
                  <a:cubicBezTo>
                    <a:pt x="5746909" y="262414"/>
                    <a:pt x="5752624" y="243364"/>
                    <a:pt x="5756434" y="227171"/>
                  </a:cubicBezTo>
                  <a:close/>
                  <a:moveTo>
                    <a:pt x="5676424" y="184309"/>
                  </a:moveTo>
                  <a:cubicBezTo>
                    <a:pt x="5676424" y="188119"/>
                    <a:pt x="5676424" y="192881"/>
                    <a:pt x="5676424" y="198596"/>
                  </a:cubicBezTo>
                  <a:cubicBezTo>
                    <a:pt x="5676424" y="206216"/>
                    <a:pt x="5676424" y="216694"/>
                    <a:pt x="5676424" y="228124"/>
                  </a:cubicBezTo>
                  <a:cubicBezTo>
                    <a:pt x="5676424" y="233839"/>
                    <a:pt x="5676424" y="239554"/>
                    <a:pt x="5676424" y="246221"/>
                  </a:cubicBezTo>
                  <a:cubicBezTo>
                    <a:pt x="5676424" y="252889"/>
                    <a:pt x="5677376" y="259556"/>
                    <a:pt x="5677376" y="266224"/>
                  </a:cubicBezTo>
                  <a:cubicBezTo>
                    <a:pt x="5677376" y="270034"/>
                    <a:pt x="5677376" y="273844"/>
                    <a:pt x="5678329" y="276701"/>
                  </a:cubicBezTo>
                  <a:cubicBezTo>
                    <a:pt x="5678329" y="276701"/>
                    <a:pt x="5678329" y="276701"/>
                    <a:pt x="5678329" y="276701"/>
                  </a:cubicBezTo>
                  <a:cubicBezTo>
                    <a:pt x="5677376" y="270986"/>
                    <a:pt x="5676424" y="265271"/>
                    <a:pt x="5675471" y="259556"/>
                  </a:cubicBezTo>
                  <a:cubicBezTo>
                    <a:pt x="5674519" y="253841"/>
                    <a:pt x="5673567" y="248126"/>
                    <a:pt x="5672614" y="242411"/>
                  </a:cubicBezTo>
                  <a:cubicBezTo>
                    <a:pt x="5671662" y="235744"/>
                    <a:pt x="5670709" y="229076"/>
                    <a:pt x="5669756" y="223361"/>
                  </a:cubicBezTo>
                  <a:cubicBezTo>
                    <a:pt x="5669756" y="221456"/>
                    <a:pt x="5668804" y="218599"/>
                    <a:pt x="5668804" y="216694"/>
                  </a:cubicBezTo>
                  <a:cubicBezTo>
                    <a:pt x="5671662" y="202406"/>
                    <a:pt x="5674519" y="190976"/>
                    <a:pt x="5676424" y="184309"/>
                  </a:cubicBezTo>
                  <a:close/>
                  <a:moveTo>
                    <a:pt x="5652612" y="263366"/>
                  </a:moveTo>
                  <a:cubicBezTo>
                    <a:pt x="5652612" y="262414"/>
                    <a:pt x="5652612" y="262414"/>
                    <a:pt x="5653564" y="261461"/>
                  </a:cubicBezTo>
                  <a:cubicBezTo>
                    <a:pt x="5654517" y="262414"/>
                    <a:pt x="5654517" y="263366"/>
                    <a:pt x="5655469" y="264319"/>
                  </a:cubicBezTo>
                  <a:cubicBezTo>
                    <a:pt x="5655469" y="265271"/>
                    <a:pt x="5655469" y="266224"/>
                    <a:pt x="5655469" y="268129"/>
                  </a:cubicBezTo>
                  <a:cubicBezTo>
                    <a:pt x="5656421" y="273844"/>
                    <a:pt x="5656421" y="279559"/>
                    <a:pt x="5657374" y="286226"/>
                  </a:cubicBezTo>
                  <a:cubicBezTo>
                    <a:pt x="5655469" y="280511"/>
                    <a:pt x="5654517" y="274796"/>
                    <a:pt x="5652612" y="269081"/>
                  </a:cubicBezTo>
                  <a:cubicBezTo>
                    <a:pt x="5652612" y="268129"/>
                    <a:pt x="5652612" y="268129"/>
                    <a:pt x="5651659" y="267176"/>
                  </a:cubicBezTo>
                  <a:cubicBezTo>
                    <a:pt x="5652612" y="265271"/>
                    <a:pt x="5652612" y="264319"/>
                    <a:pt x="5652612" y="263366"/>
                  </a:cubicBezTo>
                  <a:close/>
                  <a:moveTo>
                    <a:pt x="5650706" y="205264"/>
                  </a:moveTo>
                  <a:cubicBezTo>
                    <a:pt x="5650706" y="208121"/>
                    <a:pt x="5650706" y="210979"/>
                    <a:pt x="5651659" y="212884"/>
                  </a:cubicBezTo>
                  <a:cubicBezTo>
                    <a:pt x="5650706" y="210979"/>
                    <a:pt x="5649754" y="209074"/>
                    <a:pt x="5649754" y="207169"/>
                  </a:cubicBezTo>
                  <a:cubicBezTo>
                    <a:pt x="5649754" y="206216"/>
                    <a:pt x="5649754" y="205264"/>
                    <a:pt x="5650706" y="205264"/>
                  </a:cubicBezTo>
                  <a:close/>
                  <a:moveTo>
                    <a:pt x="5647849" y="209074"/>
                  </a:moveTo>
                  <a:cubicBezTo>
                    <a:pt x="5647849" y="211931"/>
                    <a:pt x="5648801" y="215741"/>
                    <a:pt x="5649754" y="219551"/>
                  </a:cubicBezTo>
                  <a:cubicBezTo>
                    <a:pt x="5650706" y="224314"/>
                    <a:pt x="5650706" y="230029"/>
                    <a:pt x="5651659" y="235744"/>
                  </a:cubicBezTo>
                  <a:cubicBezTo>
                    <a:pt x="5651659" y="235744"/>
                    <a:pt x="5651659" y="235744"/>
                    <a:pt x="5651659" y="236696"/>
                  </a:cubicBezTo>
                  <a:cubicBezTo>
                    <a:pt x="5649754" y="233839"/>
                    <a:pt x="5647849" y="230981"/>
                    <a:pt x="5645944" y="228124"/>
                  </a:cubicBezTo>
                  <a:cubicBezTo>
                    <a:pt x="5644992" y="224314"/>
                    <a:pt x="5644992" y="220504"/>
                    <a:pt x="5644039" y="216694"/>
                  </a:cubicBezTo>
                  <a:cubicBezTo>
                    <a:pt x="5644992" y="213836"/>
                    <a:pt x="5646896" y="211931"/>
                    <a:pt x="5647849" y="209074"/>
                  </a:cubicBezTo>
                  <a:close/>
                  <a:moveTo>
                    <a:pt x="5642134" y="370046"/>
                  </a:moveTo>
                  <a:cubicBezTo>
                    <a:pt x="5642134" y="372904"/>
                    <a:pt x="5643087" y="374809"/>
                    <a:pt x="5643087" y="377666"/>
                  </a:cubicBezTo>
                  <a:cubicBezTo>
                    <a:pt x="5642134" y="379571"/>
                    <a:pt x="5642134" y="382429"/>
                    <a:pt x="5641181" y="385286"/>
                  </a:cubicBezTo>
                  <a:cubicBezTo>
                    <a:pt x="5641181" y="379571"/>
                    <a:pt x="5641181" y="374809"/>
                    <a:pt x="5642134" y="370046"/>
                  </a:cubicBezTo>
                  <a:close/>
                  <a:moveTo>
                    <a:pt x="5624037" y="272891"/>
                  </a:moveTo>
                  <a:cubicBezTo>
                    <a:pt x="5624989" y="268129"/>
                    <a:pt x="5624989" y="263366"/>
                    <a:pt x="5625942" y="258604"/>
                  </a:cubicBezTo>
                  <a:cubicBezTo>
                    <a:pt x="5625942" y="256699"/>
                    <a:pt x="5625942" y="255746"/>
                    <a:pt x="5625942" y="254794"/>
                  </a:cubicBezTo>
                  <a:cubicBezTo>
                    <a:pt x="5627846" y="250031"/>
                    <a:pt x="5629751" y="245269"/>
                    <a:pt x="5632609" y="241459"/>
                  </a:cubicBezTo>
                  <a:cubicBezTo>
                    <a:pt x="5633562" y="239554"/>
                    <a:pt x="5634514" y="238601"/>
                    <a:pt x="5634514" y="236696"/>
                  </a:cubicBezTo>
                  <a:cubicBezTo>
                    <a:pt x="5635467" y="239554"/>
                    <a:pt x="5636419" y="242411"/>
                    <a:pt x="5637371" y="245269"/>
                  </a:cubicBezTo>
                  <a:cubicBezTo>
                    <a:pt x="5638324" y="249079"/>
                    <a:pt x="5639276" y="253841"/>
                    <a:pt x="5640229" y="259556"/>
                  </a:cubicBezTo>
                  <a:cubicBezTo>
                    <a:pt x="5640229" y="261461"/>
                    <a:pt x="5640229" y="264319"/>
                    <a:pt x="5640229" y="266224"/>
                  </a:cubicBezTo>
                  <a:cubicBezTo>
                    <a:pt x="5637371" y="272891"/>
                    <a:pt x="5634514" y="280511"/>
                    <a:pt x="5631656" y="288131"/>
                  </a:cubicBezTo>
                  <a:cubicBezTo>
                    <a:pt x="5628799" y="284321"/>
                    <a:pt x="5626894" y="280511"/>
                    <a:pt x="5624037" y="277654"/>
                  </a:cubicBezTo>
                  <a:cubicBezTo>
                    <a:pt x="5623084" y="275749"/>
                    <a:pt x="5624037" y="273844"/>
                    <a:pt x="5624037" y="272891"/>
                  </a:cubicBezTo>
                  <a:close/>
                  <a:moveTo>
                    <a:pt x="5623084" y="289084"/>
                  </a:moveTo>
                  <a:cubicBezTo>
                    <a:pt x="5623084" y="288131"/>
                    <a:pt x="5623084" y="288131"/>
                    <a:pt x="5623084" y="287179"/>
                  </a:cubicBezTo>
                  <a:cubicBezTo>
                    <a:pt x="5624037" y="288131"/>
                    <a:pt x="5624037" y="290036"/>
                    <a:pt x="5624989" y="290989"/>
                  </a:cubicBezTo>
                  <a:cubicBezTo>
                    <a:pt x="5625942" y="292894"/>
                    <a:pt x="5626894" y="295751"/>
                    <a:pt x="5626894" y="298609"/>
                  </a:cubicBezTo>
                  <a:cubicBezTo>
                    <a:pt x="5626894" y="299561"/>
                    <a:pt x="5626894" y="299561"/>
                    <a:pt x="5625942" y="300514"/>
                  </a:cubicBezTo>
                  <a:cubicBezTo>
                    <a:pt x="5625942" y="300514"/>
                    <a:pt x="5625942" y="300514"/>
                    <a:pt x="5625942" y="300514"/>
                  </a:cubicBezTo>
                  <a:cubicBezTo>
                    <a:pt x="5624989" y="298609"/>
                    <a:pt x="5624037" y="297656"/>
                    <a:pt x="5622131" y="295751"/>
                  </a:cubicBezTo>
                  <a:cubicBezTo>
                    <a:pt x="5622131" y="293846"/>
                    <a:pt x="5622131" y="290989"/>
                    <a:pt x="5623084" y="289084"/>
                  </a:cubicBezTo>
                  <a:close/>
                  <a:moveTo>
                    <a:pt x="5621179" y="310991"/>
                  </a:moveTo>
                  <a:cubicBezTo>
                    <a:pt x="5621179" y="310991"/>
                    <a:pt x="5621179" y="310991"/>
                    <a:pt x="5621179" y="310991"/>
                  </a:cubicBezTo>
                  <a:cubicBezTo>
                    <a:pt x="5621179" y="310991"/>
                    <a:pt x="5621179" y="310991"/>
                    <a:pt x="5621179" y="310991"/>
                  </a:cubicBezTo>
                  <a:cubicBezTo>
                    <a:pt x="5621179" y="310991"/>
                    <a:pt x="5621179" y="310991"/>
                    <a:pt x="5621179" y="310991"/>
                  </a:cubicBezTo>
                  <a:close/>
                  <a:moveTo>
                    <a:pt x="5618321" y="270034"/>
                  </a:moveTo>
                  <a:cubicBezTo>
                    <a:pt x="5618321" y="270034"/>
                    <a:pt x="5618321" y="270986"/>
                    <a:pt x="5618321" y="270034"/>
                  </a:cubicBezTo>
                  <a:cubicBezTo>
                    <a:pt x="5618321" y="270986"/>
                    <a:pt x="5618321" y="270986"/>
                    <a:pt x="5618321" y="270034"/>
                  </a:cubicBezTo>
                  <a:cubicBezTo>
                    <a:pt x="5618321" y="270986"/>
                    <a:pt x="5618321" y="270034"/>
                    <a:pt x="5618321" y="270034"/>
                  </a:cubicBezTo>
                  <a:close/>
                  <a:moveTo>
                    <a:pt x="5617369" y="272891"/>
                  </a:moveTo>
                  <a:cubicBezTo>
                    <a:pt x="5617369" y="272891"/>
                    <a:pt x="5617369" y="273844"/>
                    <a:pt x="5618321" y="273844"/>
                  </a:cubicBezTo>
                  <a:cubicBezTo>
                    <a:pt x="5617369" y="277654"/>
                    <a:pt x="5617369" y="282416"/>
                    <a:pt x="5616417" y="286226"/>
                  </a:cubicBezTo>
                  <a:cubicBezTo>
                    <a:pt x="5615464" y="285274"/>
                    <a:pt x="5614512" y="283369"/>
                    <a:pt x="5613559" y="282416"/>
                  </a:cubicBezTo>
                  <a:cubicBezTo>
                    <a:pt x="5614512" y="279559"/>
                    <a:pt x="5615464" y="276701"/>
                    <a:pt x="5617369" y="272891"/>
                  </a:cubicBezTo>
                  <a:close/>
                  <a:moveTo>
                    <a:pt x="5608796" y="290989"/>
                  </a:moveTo>
                  <a:cubicBezTo>
                    <a:pt x="5608796" y="290989"/>
                    <a:pt x="5609749" y="290989"/>
                    <a:pt x="5608796" y="290989"/>
                  </a:cubicBezTo>
                  <a:cubicBezTo>
                    <a:pt x="5609749" y="291941"/>
                    <a:pt x="5610701" y="293846"/>
                    <a:pt x="5611654" y="294799"/>
                  </a:cubicBezTo>
                  <a:cubicBezTo>
                    <a:pt x="5612606" y="295751"/>
                    <a:pt x="5612606" y="296704"/>
                    <a:pt x="5613559" y="297656"/>
                  </a:cubicBezTo>
                  <a:cubicBezTo>
                    <a:pt x="5612606" y="302419"/>
                    <a:pt x="5612606" y="306229"/>
                    <a:pt x="5611654" y="310991"/>
                  </a:cubicBezTo>
                  <a:cubicBezTo>
                    <a:pt x="5610701" y="305276"/>
                    <a:pt x="5609749" y="298609"/>
                    <a:pt x="5608796" y="292894"/>
                  </a:cubicBezTo>
                  <a:cubicBezTo>
                    <a:pt x="5608796" y="291941"/>
                    <a:pt x="5608796" y="291941"/>
                    <a:pt x="5608796" y="290989"/>
                  </a:cubicBezTo>
                  <a:close/>
                  <a:moveTo>
                    <a:pt x="5594509" y="241459"/>
                  </a:moveTo>
                  <a:cubicBezTo>
                    <a:pt x="5594509" y="247174"/>
                    <a:pt x="5594509" y="252889"/>
                    <a:pt x="5595462" y="258604"/>
                  </a:cubicBezTo>
                  <a:cubicBezTo>
                    <a:pt x="5595462" y="258604"/>
                    <a:pt x="5595462" y="259556"/>
                    <a:pt x="5595462" y="259556"/>
                  </a:cubicBezTo>
                  <a:cubicBezTo>
                    <a:pt x="5595462" y="260509"/>
                    <a:pt x="5595462" y="260509"/>
                    <a:pt x="5595462" y="261461"/>
                  </a:cubicBezTo>
                  <a:cubicBezTo>
                    <a:pt x="5594509" y="260509"/>
                    <a:pt x="5594509" y="260509"/>
                    <a:pt x="5593556" y="259556"/>
                  </a:cubicBezTo>
                  <a:cubicBezTo>
                    <a:pt x="5593556" y="256699"/>
                    <a:pt x="5592604" y="252889"/>
                    <a:pt x="5592604" y="250031"/>
                  </a:cubicBezTo>
                  <a:cubicBezTo>
                    <a:pt x="5591651" y="246221"/>
                    <a:pt x="5593556" y="244316"/>
                    <a:pt x="5594509" y="241459"/>
                  </a:cubicBezTo>
                  <a:close/>
                  <a:moveTo>
                    <a:pt x="5578317" y="284321"/>
                  </a:moveTo>
                  <a:cubicBezTo>
                    <a:pt x="5578317" y="285274"/>
                    <a:pt x="5578317" y="285274"/>
                    <a:pt x="5578317" y="286226"/>
                  </a:cubicBezTo>
                  <a:cubicBezTo>
                    <a:pt x="5578317" y="286226"/>
                    <a:pt x="5578317" y="285274"/>
                    <a:pt x="5577364" y="285274"/>
                  </a:cubicBezTo>
                  <a:cubicBezTo>
                    <a:pt x="5578317" y="284321"/>
                    <a:pt x="5578317" y="284321"/>
                    <a:pt x="5578317" y="284321"/>
                  </a:cubicBezTo>
                  <a:close/>
                  <a:moveTo>
                    <a:pt x="5573554" y="299561"/>
                  </a:moveTo>
                  <a:cubicBezTo>
                    <a:pt x="5574506" y="301466"/>
                    <a:pt x="5575459" y="303371"/>
                    <a:pt x="5576412" y="305276"/>
                  </a:cubicBezTo>
                  <a:cubicBezTo>
                    <a:pt x="5576412" y="306229"/>
                    <a:pt x="5577364" y="306229"/>
                    <a:pt x="5577364" y="307181"/>
                  </a:cubicBezTo>
                  <a:cubicBezTo>
                    <a:pt x="5577364" y="311944"/>
                    <a:pt x="5576412" y="317659"/>
                    <a:pt x="5576412" y="325279"/>
                  </a:cubicBezTo>
                  <a:cubicBezTo>
                    <a:pt x="5576412" y="326231"/>
                    <a:pt x="5576412" y="327184"/>
                    <a:pt x="5576412" y="328136"/>
                  </a:cubicBezTo>
                  <a:cubicBezTo>
                    <a:pt x="5576412" y="325279"/>
                    <a:pt x="5575459" y="322421"/>
                    <a:pt x="5575459" y="319564"/>
                  </a:cubicBezTo>
                  <a:cubicBezTo>
                    <a:pt x="5574506" y="313849"/>
                    <a:pt x="5573554" y="309086"/>
                    <a:pt x="5573554" y="303371"/>
                  </a:cubicBezTo>
                  <a:cubicBezTo>
                    <a:pt x="5572601" y="301466"/>
                    <a:pt x="5573554" y="300514"/>
                    <a:pt x="5573554" y="299561"/>
                  </a:cubicBezTo>
                  <a:close/>
                  <a:moveTo>
                    <a:pt x="5550694" y="308134"/>
                  </a:moveTo>
                  <a:cubicBezTo>
                    <a:pt x="5550694" y="305276"/>
                    <a:pt x="5549742" y="303371"/>
                    <a:pt x="5549742" y="301466"/>
                  </a:cubicBezTo>
                  <a:cubicBezTo>
                    <a:pt x="5550694" y="299561"/>
                    <a:pt x="5550694" y="296704"/>
                    <a:pt x="5551646" y="294799"/>
                  </a:cubicBezTo>
                  <a:cubicBezTo>
                    <a:pt x="5551646" y="293846"/>
                    <a:pt x="5552599" y="292894"/>
                    <a:pt x="5552599" y="291941"/>
                  </a:cubicBezTo>
                  <a:cubicBezTo>
                    <a:pt x="5553551" y="294799"/>
                    <a:pt x="5553551" y="298609"/>
                    <a:pt x="5554504" y="302419"/>
                  </a:cubicBezTo>
                  <a:cubicBezTo>
                    <a:pt x="5553551" y="303371"/>
                    <a:pt x="5553551" y="304324"/>
                    <a:pt x="5552599" y="306229"/>
                  </a:cubicBezTo>
                  <a:cubicBezTo>
                    <a:pt x="5551646" y="306229"/>
                    <a:pt x="5551646" y="307181"/>
                    <a:pt x="5550694" y="308134"/>
                  </a:cubicBezTo>
                  <a:close/>
                  <a:moveTo>
                    <a:pt x="5557362" y="313849"/>
                  </a:moveTo>
                  <a:cubicBezTo>
                    <a:pt x="5557362" y="313849"/>
                    <a:pt x="5557362" y="314801"/>
                    <a:pt x="5557362" y="313849"/>
                  </a:cubicBezTo>
                  <a:cubicBezTo>
                    <a:pt x="5556409" y="315754"/>
                    <a:pt x="5554504" y="317659"/>
                    <a:pt x="5553551" y="318611"/>
                  </a:cubicBezTo>
                  <a:cubicBezTo>
                    <a:pt x="5554504" y="315754"/>
                    <a:pt x="5555456" y="312896"/>
                    <a:pt x="5556409" y="310039"/>
                  </a:cubicBezTo>
                  <a:cubicBezTo>
                    <a:pt x="5556409" y="311944"/>
                    <a:pt x="5557362" y="312896"/>
                    <a:pt x="5557362" y="313849"/>
                  </a:cubicBezTo>
                  <a:cubicBezTo>
                    <a:pt x="5557362" y="313849"/>
                    <a:pt x="5557362" y="313849"/>
                    <a:pt x="5557362" y="313849"/>
                  </a:cubicBezTo>
                  <a:close/>
                  <a:moveTo>
                    <a:pt x="5561171" y="359569"/>
                  </a:moveTo>
                  <a:cubicBezTo>
                    <a:pt x="5561171" y="360521"/>
                    <a:pt x="5561171" y="360521"/>
                    <a:pt x="5561171" y="361474"/>
                  </a:cubicBezTo>
                  <a:cubicBezTo>
                    <a:pt x="5561171" y="361474"/>
                    <a:pt x="5560219" y="360521"/>
                    <a:pt x="5560219" y="360521"/>
                  </a:cubicBezTo>
                  <a:cubicBezTo>
                    <a:pt x="5559267" y="357664"/>
                    <a:pt x="5559267" y="353854"/>
                    <a:pt x="5558314" y="350996"/>
                  </a:cubicBezTo>
                  <a:cubicBezTo>
                    <a:pt x="5559267" y="348139"/>
                    <a:pt x="5560219" y="345281"/>
                    <a:pt x="5560219" y="342424"/>
                  </a:cubicBezTo>
                  <a:cubicBezTo>
                    <a:pt x="5561171" y="348139"/>
                    <a:pt x="5561171" y="353854"/>
                    <a:pt x="5561171" y="359569"/>
                  </a:cubicBezTo>
                  <a:close/>
                  <a:moveTo>
                    <a:pt x="5559267" y="303371"/>
                  </a:moveTo>
                  <a:cubicBezTo>
                    <a:pt x="5559267" y="303371"/>
                    <a:pt x="5559267" y="304324"/>
                    <a:pt x="5559267" y="303371"/>
                  </a:cubicBezTo>
                  <a:cubicBezTo>
                    <a:pt x="5559267" y="304324"/>
                    <a:pt x="5559267" y="304324"/>
                    <a:pt x="5559267" y="303371"/>
                  </a:cubicBezTo>
                  <a:cubicBezTo>
                    <a:pt x="5559267" y="303371"/>
                    <a:pt x="5559267" y="303371"/>
                    <a:pt x="5559267" y="303371"/>
                  </a:cubicBezTo>
                  <a:close/>
                  <a:moveTo>
                    <a:pt x="5557362" y="277654"/>
                  </a:moveTo>
                  <a:cubicBezTo>
                    <a:pt x="5557362" y="279559"/>
                    <a:pt x="5557362" y="281464"/>
                    <a:pt x="5558314" y="283369"/>
                  </a:cubicBezTo>
                  <a:cubicBezTo>
                    <a:pt x="5558314" y="287179"/>
                    <a:pt x="5559267" y="290989"/>
                    <a:pt x="5559267" y="293846"/>
                  </a:cubicBezTo>
                  <a:cubicBezTo>
                    <a:pt x="5558314" y="294799"/>
                    <a:pt x="5558314" y="295751"/>
                    <a:pt x="5557362" y="296704"/>
                  </a:cubicBezTo>
                  <a:cubicBezTo>
                    <a:pt x="5556409" y="292894"/>
                    <a:pt x="5555456" y="290036"/>
                    <a:pt x="5554504" y="287179"/>
                  </a:cubicBezTo>
                  <a:cubicBezTo>
                    <a:pt x="5554504" y="284321"/>
                    <a:pt x="5556409" y="281464"/>
                    <a:pt x="5557362" y="277654"/>
                  </a:cubicBezTo>
                  <a:close/>
                  <a:moveTo>
                    <a:pt x="5553551" y="252889"/>
                  </a:moveTo>
                  <a:cubicBezTo>
                    <a:pt x="5553551" y="252889"/>
                    <a:pt x="5553551" y="252889"/>
                    <a:pt x="5553551" y="252889"/>
                  </a:cubicBezTo>
                  <a:cubicBezTo>
                    <a:pt x="5553551" y="253841"/>
                    <a:pt x="5553551" y="253841"/>
                    <a:pt x="5553551" y="253841"/>
                  </a:cubicBezTo>
                  <a:cubicBezTo>
                    <a:pt x="5554504" y="258604"/>
                    <a:pt x="5554504" y="263366"/>
                    <a:pt x="5555456" y="268129"/>
                  </a:cubicBezTo>
                  <a:cubicBezTo>
                    <a:pt x="5555456" y="269081"/>
                    <a:pt x="5555456" y="270034"/>
                    <a:pt x="5555456" y="270986"/>
                  </a:cubicBezTo>
                  <a:cubicBezTo>
                    <a:pt x="5554504" y="272891"/>
                    <a:pt x="5553551" y="273844"/>
                    <a:pt x="5552599" y="275749"/>
                  </a:cubicBezTo>
                  <a:cubicBezTo>
                    <a:pt x="5551646" y="276701"/>
                    <a:pt x="5550694" y="278606"/>
                    <a:pt x="5549742" y="280511"/>
                  </a:cubicBezTo>
                  <a:cubicBezTo>
                    <a:pt x="5549742" y="280511"/>
                    <a:pt x="5549742" y="280511"/>
                    <a:pt x="5549742" y="280511"/>
                  </a:cubicBezTo>
                  <a:cubicBezTo>
                    <a:pt x="5549742" y="280511"/>
                    <a:pt x="5549742" y="280511"/>
                    <a:pt x="5549742" y="280511"/>
                  </a:cubicBezTo>
                  <a:cubicBezTo>
                    <a:pt x="5548789" y="282416"/>
                    <a:pt x="5547837" y="284321"/>
                    <a:pt x="5545931" y="286226"/>
                  </a:cubicBezTo>
                  <a:cubicBezTo>
                    <a:pt x="5545931" y="284321"/>
                    <a:pt x="5544979" y="282416"/>
                    <a:pt x="5544979" y="281464"/>
                  </a:cubicBezTo>
                  <a:cubicBezTo>
                    <a:pt x="5545931" y="279559"/>
                    <a:pt x="5545931" y="277654"/>
                    <a:pt x="5546884" y="275749"/>
                  </a:cubicBezTo>
                  <a:cubicBezTo>
                    <a:pt x="5547837" y="270986"/>
                    <a:pt x="5548789" y="266224"/>
                    <a:pt x="5549742" y="261461"/>
                  </a:cubicBezTo>
                  <a:cubicBezTo>
                    <a:pt x="5552599" y="258604"/>
                    <a:pt x="5553551" y="255746"/>
                    <a:pt x="5553551" y="252889"/>
                  </a:cubicBezTo>
                  <a:close/>
                  <a:moveTo>
                    <a:pt x="5548789" y="226219"/>
                  </a:moveTo>
                  <a:cubicBezTo>
                    <a:pt x="5548789" y="227171"/>
                    <a:pt x="5549742" y="229076"/>
                    <a:pt x="5549742" y="230029"/>
                  </a:cubicBezTo>
                  <a:cubicBezTo>
                    <a:pt x="5549742" y="231934"/>
                    <a:pt x="5550694" y="232886"/>
                    <a:pt x="5550694" y="234791"/>
                  </a:cubicBezTo>
                  <a:cubicBezTo>
                    <a:pt x="5549742" y="232886"/>
                    <a:pt x="5548789" y="230981"/>
                    <a:pt x="5547837" y="230029"/>
                  </a:cubicBezTo>
                  <a:cubicBezTo>
                    <a:pt x="5548789" y="229076"/>
                    <a:pt x="5548789" y="227171"/>
                    <a:pt x="5548789" y="226219"/>
                  </a:cubicBezTo>
                  <a:close/>
                  <a:moveTo>
                    <a:pt x="5546884" y="235744"/>
                  </a:moveTo>
                  <a:cubicBezTo>
                    <a:pt x="5547837" y="238601"/>
                    <a:pt x="5548789" y="241459"/>
                    <a:pt x="5550694" y="244316"/>
                  </a:cubicBezTo>
                  <a:cubicBezTo>
                    <a:pt x="5548789" y="249079"/>
                    <a:pt x="5546884" y="253841"/>
                    <a:pt x="5544979" y="259556"/>
                  </a:cubicBezTo>
                  <a:cubicBezTo>
                    <a:pt x="5544979" y="260509"/>
                    <a:pt x="5544026" y="261461"/>
                    <a:pt x="5544026" y="262414"/>
                  </a:cubicBezTo>
                  <a:cubicBezTo>
                    <a:pt x="5544026" y="260509"/>
                    <a:pt x="5543074" y="258604"/>
                    <a:pt x="5543074" y="257651"/>
                  </a:cubicBezTo>
                  <a:cubicBezTo>
                    <a:pt x="5543074" y="256699"/>
                    <a:pt x="5543074" y="255746"/>
                    <a:pt x="5542121" y="254794"/>
                  </a:cubicBezTo>
                  <a:cubicBezTo>
                    <a:pt x="5544026" y="248126"/>
                    <a:pt x="5545931" y="241459"/>
                    <a:pt x="5546884" y="235744"/>
                  </a:cubicBezTo>
                  <a:close/>
                  <a:moveTo>
                    <a:pt x="5540217" y="218599"/>
                  </a:moveTo>
                  <a:cubicBezTo>
                    <a:pt x="5540217" y="219551"/>
                    <a:pt x="5540217" y="219551"/>
                    <a:pt x="5539264" y="220504"/>
                  </a:cubicBezTo>
                  <a:cubicBezTo>
                    <a:pt x="5539264" y="221456"/>
                    <a:pt x="5538312" y="222409"/>
                    <a:pt x="5538312" y="223361"/>
                  </a:cubicBezTo>
                  <a:cubicBezTo>
                    <a:pt x="5537359" y="218599"/>
                    <a:pt x="5537359" y="214789"/>
                    <a:pt x="5536406" y="210026"/>
                  </a:cubicBezTo>
                  <a:cubicBezTo>
                    <a:pt x="5537359" y="211931"/>
                    <a:pt x="5538312" y="214789"/>
                    <a:pt x="5540217" y="218599"/>
                  </a:cubicBezTo>
                  <a:close/>
                  <a:moveTo>
                    <a:pt x="5507831" y="312896"/>
                  </a:moveTo>
                  <a:cubicBezTo>
                    <a:pt x="5507831" y="313849"/>
                    <a:pt x="5507831" y="313849"/>
                    <a:pt x="5507831" y="312896"/>
                  </a:cubicBezTo>
                  <a:cubicBezTo>
                    <a:pt x="5507831" y="313849"/>
                    <a:pt x="5507831" y="313849"/>
                    <a:pt x="5507831" y="313849"/>
                  </a:cubicBezTo>
                  <a:cubicBezTo>
                    <a:pt x="5507831" y="313849"/>
                    <a:pt x="5507831" y="313849"/>
                    <a:pt x="5507831" y="312896"/>
                  </a:cubicBezTo>
                  <a:close/>
                  <a:moveTo>
                    <a:pt x="5481162" y="326231"/>
                  </a:moveTo>
                  <a:cubicBezTo>
                    <a:pt x="5481162" y="327184"/>
                    <a:pt x="5480209" y="329089"/>
                    <a:pt x="5480209" y="330994"/>
                  </a:cubicBezTo>
                  <a:cubicBezTo>
                    <a:pt x="5480209" y="329089"/>
                    <a:pt x="5480209" y="326231"/>
                    <a:pt x="5479256" y="324326"/>
                  </a:cubicBezTo>
                  <a:cubicBezTo>
                    <a:pt x="5479256" y="323374"/>
                    <a:pt x="5479256" y="323374"/>
                    <a:pt x="5479256" y="322421"/>
                  </a:cubicBezTo>
                  <a:cubicBezTo>
                    <a:pt x="5479256" y="318611"/>
                    <a:pt x="5478304" y="315754"/>
                    <a:pt x="5478304" y="311944"/>
                  </a:cubicBezTo>
                  <a:cubicBezTo>
                    <a:pt x="5479256" y="315754"/>
                    <a:pt x="5480209" y="320516"/>
                    <a:pt x="5482114" y="325279"/>
                  </a:cubicBezTo>
                  <a:cubicBezTo>
                    <a:pt x="5481162" y="325279"/>
                    <a:pt x="5481162" y="325279"/>
                    <a:pt x="5481162" y="326231"/>
                  </a:cubicBezTo>
                  <a:close/>
                  <a:moveTo>
                    <a:pt x="5493544" y="339566"/>
                  </a:moveTo>
                  <a:cubicBezTo>
                    <a:pt x="5493544" y="339566"/>
                    <a:pt x="5493544" y="339566"/>
                    <a:pt x="5493544" y="339566"/>
                  </a:cubicBezTo>
                  <a:cubicBezTo>
                    <a:pt x="5493544" y="339566"/>
                    <a:pt x="5493544" y="339566"/>
                    <a:pt x="5493544" y="339566"/>
                  </a:cubicBezTo>
                  <a:cubicBezTo>
                    <a:pt x="5493544" y="339566"/>
                    <a:pt x="5493544" y="339566"/>
                    <a:pt x="5493544" y="339566"/>
                  </a:cubicBezTo>
                  <a:close/>
                  <a:moveTo>
                    <a:pt x="5488781" y="261461"/>
                  </a:moveTo>
                  <a:cubicBezTo>
                    <a:pt x="5488781" y="261461"/>
                    <a:pt x="5488781" y="261461"/>
                    <a:pt x="5488781" y="261461"/>
                  </a:cubicBezTo>
                  <a:cubicBezTo>
                    <a:pt x="5489734" y="263366"/>
                    <a:pt x="5489734" y="265271"/>
                    <a:pt x="5490687" y="267176"/>
                  </a:cubicBezTo>
                  <a:cubicBezTo>
                    <a:pt x="5489734" y="266224"/>
                    <a:pt x="5488781" y="265271"/>
                    <a:pt x="5487829" y="264319"/>
                  </a:cubicBezTo>
                  <a:cubicBezTo>
                    <a:pt x="5487829" y="263366"/>
                    <a:pt x="5487829" y="262414"/>
                    <a:pt x="5488781" y="261461"/>
                  </a:cubicBezTo>
                  <a:close/>
                  <a:moveTo>
                    <a:pt x="5483067" y="280511"/>
                  </a:moveTo>
                  <a:cubicBezTo>
                    <a:pt x="5484019" y="277654"/>
                    <a:pt x="5484971" y="275749"/>
                    <a:pt x="5484971" y="272891"/>
                  </a:cubicBezTo>
                  <a:cubicBezTo>
                    <a:pt x="5488781" y="278606"/>
                    <a:pt x="5492592" y="285274"/>
                    <a:pt x="5496401" y="291941"/>
                  </a:cubicBezTo>
                  <a:cubicBezTo>
                    <a:pt x="5497354" y="293846"/>
                    <a:pt x="5498306" y="295751"/>
                    <a:pt x="5500212" y="297656"/>
                  </a:cubicBezTo>
                  <a:cubicBezTo>
                    <a:pt x="5499259" y="300514"/>
                    <a:pt x="5498306" y="303371"/>
                    <a:pt x="5497354" y="307181"/>
                  </a:cubicBezTo>
                  <a:cubicBezTo>
                    <a:pt x="5497354" y="308134"/>
                    <a:pt x="5497354" y="310039"/>
                    <a:pt x="5496401" y="310991"/>
                  </a:cubicBezTo>
                  <a:cubicBezTo>
                    <a:pt x="5494496" y="309086"/>
                    <a:pt x="5493544" y="307181"/>
                    <a:pt x="5493544" y="307181"/>
                  </a:cubicBezTo>
                  <a:cubicBezTo>
                    <a:pt x="5493544" y="307181"/>
                    <a:pt x="5494496" y="309086"/>
                    <a:pt x="5495449" y="311944"/>
                  </a:cubicBezTo>
                  <a:cubicBezTo>
                    <a:pt x="5495449" y="314801"/>
                    <a:pt x="5494496" y="316706"/>
                    <a:pt x="5494496" y="319564"/>
                  </a:cubicBezTo>
                  <a:cubicBezTo>
                    <a:pt x="5493544" y="323374"/>
                    <a:pt x="5493544" y="326231"/>
                    <a:pt x="5492592" y="330041"/>
                  </a:cubicBezTo>
                  <a:cubicBezTo>
                    <a:pt x="5491639" y="330994"/>
                    <a:pt x="5490687" y="331946"/>
                    <a:pt x="5488781" y="333851"/>
                  </a:cubicBezTo>
                  <a:cubicBezTo>
                    <a:pt x="5487829" y="330994"/>
                    <a:pt x="5486876" y="329089"/>
                    <a:pt x="5485924" y="327184"/>
                  </a:cubicBezTo>
                  <a:cubicBezTo>
                    <a:pt x="5485924" y="321469"/>
                    <a:pt x="5486876" y="316706"/>
                    <a:pt x="5487829" y="312896"/>
                  </a:cubicBezTo>
                  <a:cubicBezTo>
                    <a:pt x="5488781" y="304324"/>
                    <a:pt x="5489734" y="299561"/>
                    <a:pt x="5489734" y="299561"/>
                  </a:cubicBezTo>
                  <a:cubicBezTo>
                    <a:pt x="5489734" y="299561"/>
                    <a:pt x="5487829" y="304324"/>
                    <a:pt x="5484019" y="311944"/>
                  </a:cubicBezTo>
                  <a:cubicBezTo>
                    <a:pt x="5484019" y="312896"/>
                    <a:pt x="5484019" y="312896"/>
                    <a:pt x="5483067" y="313849"/>
                  </a:cubicBezTo>
                  <a:cubicBezTo>
                    <a:pt x="5483067" y="313849"/>
                    <a:pt x="5483067" y="312896"/>
                    <a:pt x="5483067" y="312896"/>
                  </a:cubicBezTo>
                  <a:cubicBezTo>
                    <a:pt x="5480209" y="300514"/>
                    <a:pt x="5478304" y="292894"/>
                    <a:pt x="5478304" y="292894"/>
                  </a:cubicBezTo>
                  <a:cubicBezTo>
                    <a:pt x="5478304" y="292894"/>
                    <a:pt x="5478304" y="298609"/>
                    <a:pt x="5479256" y="309086"/>
                  </a:cubicBezTo>
                  <a:cubicBezTo>
                    <a:pt x="5479256" y="309086"/>
                    <a:pt x="5479256" y="308134"/>
                    <a:pt x="5479256" y="308134"/>
                  </a:cubicBezTo>
                  <a:cubicBezTo>
                    <a:pt x="5478304" y="305276"/>
                    <a:pt x="5477351" y="303371"/>
                    <a:pt x="5476399" y="300514"/>
                  </a:cubicBezTo>
                  <a:cubicBezTo>
                    <a:pt x="5479256" y="293846"/>
                    <a:pt x="5481162" y="287179"/>
                    <a:pt x="5483067" y="280511"/>
                  </a:cubicBezTo>
                  <a:close/>
                  <a:moveTo>
                    <a:pt x="5472589" y="254794"/>
                  </a:moveTo>
                  <a:cubicBezTo>
                    <a:pt x="5473542" y="255746"/>
                    <a:pt x="5474494" y="256699"/>
                    <a:pt x="5475446" y="258604"/>
                  </a:cubicBezTo>
                  <a:cubicBezTo>
                    <a:pt x="5474494" y="261461"/>
                    <a:pt x="5472589" y="265271"/>
                    <a:pt x="5471637" y="268129"/>
                  </a:cubicBezTo>
                  <a:cubicBezTo>
                    <a:pt x="5470684" y="261461"/>
                    <a:pt x="5469731" y="255746"/>
                    <a:pt x="5468779" y="249079"/>
                  </a:cubicBezTo>
                  <a:cubicBezTo>
                    <a:pt x="5469731" y="250984"/>
                    <a:pt x="5471637" y="252889"/>
                    <a:pt x="5472589" y="254794"/>
                  </a:cubicBezTo>
                  <a:close/>
                  <a:moveTo>
                    <a:pt x="5452587" y="208121"/>
                  </a:moveTo>
                  <a:cubicBezTo>
                    <a:pt x="5452587" y="209074"/>
                    <a:pt x="5452587" y="210026"/>
                    <a:pt x="5452587" y="210026"/>
                  </a:cubicBezTo>
                  <a:cubicBezTo>
                    <a:pt x="5453539" y="214789"/>
                    <a:pt x="5454492" y="220504"/>
                    <a:pt x="5454492" y="225266"/>
                  </a:cubicBezTo>
                  <a:cubicBezTo>
                    <a:pt x="5454492" y="226219"/>
                    <a:pt x="5454492" y="227171"/>
                    <a:pt x="5454492" y="228124"/>
                  </a:cubicBezTo>
                  <a:cubicBezTo>
                    <a:pt x="5453539" y="227171"/>
                    <a:pt x="5451634" y="226219"/>
                    <a:pt x="5450681" y="225266"/>
                  </a:cubicBezTo>
                  <a:cubicBezTo>
                    <a:pt x="5451634" y="219551"/>
                    <a:pt x="5452587" y="212884"/>
                    <a:pt x="5452587" y="208121"/>
                  </a:cubicBezTo>
                  <a:close/>
                  <a:moveTo>
                    <a:pt x="5449729" y="250031"/>
                  </a:moveTo>
                  <a:cubicBezTo>
                    <a:pt x="5450681" y="242411"/>
                    <a:pt x="5450681" y="234791"/>
                    <a:pt x="5451634" y="228124"/>
                  </a:cubicBezTo>
                  <a:cubicBezTo>
                    <a:pt x="5452587" y="229076"/>
                    <a:pt x="5452587" y="229076"/>
                    <a:pt x="5453539" y="230029"/>
                  </a:cubicBezTo>
                  <a:cubicBezTo>
                    <a:pt x="5454492" y="230981"/>
                    <a:pt x="5455444" y="231934"/>
                    <a:pt x="5455444" y="232886"/>
                  </a:cubicBezTo>
                  <a:cubicBezTo>
                    <a:pt x="5455444" y="236696"/>
                    <a:pt x="5456396" y="239554"/>
                    <a:pt x="5456396" y="243364"/>
                  </a:cubicBezTo>
                  <a:cubicBezTo>
                    <a:pt x="5457349" y="255746"/>
                    <a:pt x="5458301" y="268129"/>
                    <a:pt x="5459254" y="282416"/>
                  </a:cubicBezTo>
                  <a:cubicBezTo>
                    <a:pt x="5460206" y="288131"/>
                    <a:pt x="5460206" y="293846"/>
                    <a:pt x="5460206" y="299561"/>
                  </a:cubicBezTo>
                  <a:cubicBezTo>
                    <a:pt x="5458301" y="304324"/>
                    <a:pt x="5457349" y="309086"/>
                    <a:pt x="5455444" y="313849"/>
                  </a:cubicBezTo>
                  <a:cubicBezTo>
                    <a:pt x="5452587" y="302419"/>
                    <a:pt x="5450681" y="290989"/>
                    <a:pt x="5447824" y="280511"/>
                  </a:cubicBezTo>
                  <a:cubicBezTo>
                    <a:pt x="5447824" y="279559"/>
                    <a:pt x="5447824" y="277654"/>
                    <a:pt x="5446871" y="276701"/>
                  </a:cubicBezTo>
                  <a:cubicBezTo>
                    <a:pt x="5448776" y="267176"/>
                    <a:pt x="5448776" y="257651"/>
                    <a:pt x="5449729" y="250031"/>
                  </a:cubicBezTo>
                  <a:close/>
                  <a:moveTo>
                    <a:pt x="5443062" y="327184"/>
                  </a:moveTo>
                  <a:cubicBezTo>
                    <a:pt x="5444014" y="332899"/>
                    <a:pt x="5444967" y="338614"/>
                    <a:pt x="5445919" y="343376"/>
                  </a:cubicBezTo>
                  <a:cubicBezTo>
                    <a:pt x="5444967" y="340519"/>
                    <a:pt x="5444014" y="337661"/>
                    <a:pt x="5443062" y="334804"/>
                  </a:cubicBezTo>
                  <a:cubicBezTo>
                    <a:pt x="5442109" y="332899"/>
                    <a:pt x="5443062" y="330041"/>
                    <a:pt x="5443062" y="327184"/>
                  </a:cubicBezTo>
                  <a:close/>
                  <a:moveTo>
                    <a:pt x="5417344" y="318611"/>
                  </a:moveTo>
                  <a:cubicBezTo>
                    <a:pt x="5418296" y="316706"/>
                    <a:pt x="5418296" y="314801"/>
                    <a:pt x="5419249" y="312896"/>
                  </a:cubicBezTo>
                  <a:cubicBezTo>
                    <a:pt x="5420201" y="315754"/>
                    <a:pt x="5421154" y="318611"/>
                    <a:pt x="5421154" y="320516"/>
                  </a:cubicBezTo>
                  <a:cubicBezTo>
                    <a:pt x="5421154" y="320516"/>
                    <a:pt x="5421154" y="321469"/>
                    <a:pt x="5421154" y="321469"/>
                  </a:cubicBezTo>
                  <a:cubicBezTo>
                    <a:pt x="5421154" y="320516"/>
                    <a:pt x="5421154" y="320516"/>
                    <a:pt x="5421154" y="320516"/>
                  </a:cubicBezTo>
                  <a:cubicBezTo>
                    <a:pt x="5421154" y="320516"/>
                    <a:pt x="5421154" y="321469"/>
                    <a:pt x="5421154" y="322421"/>
                  </a:cubicBezTo>
                  <a:cubicBezTo>
                    <a:pt x="5420201" y="325279"/>
                    <a:pt x="5419249" y="329089"/>
                    <a:pt x="5418296" y="331946"/>
                  </a:cubicBezTo>
                  <a:cubicBezTo>
                    <a:pt x="5417344" y="330994"/>
                    <a:pt x="5417344" y="330041"/>
                    <a:pt x="5417344" y="329089"/>
                  </a:cubicBezTo>
                  <a:cubicBezTo>
                    <a:pt x="5417344" y="326231"/>
                    <a:pt x="5417344" y="322421"/>
                    <a:pt x="5417344" y="318611"/>
                  </a:cubicBezTo>
                  <a:close/>
                  <a:moveTo>
                    <a:pt x="5416392" y="334804"/>
                  </a:moveTo>
                  <a:cubicBezTo>
                    <a:pt x="5416392" y="335756"/>
                    <a:pt x="5416392" y="335756"/>
                    <a:pt x="5417344" y="335756"/>
                  </a:cubicBezTo>
                  <a:cubicBezTo>
                    <a:pt x="5417344" y="336709"/>
                    <a:pt x="5416392" y="337661"/>
                    <a:pt x="5416392" y="337661"/>
                  </a:cubicBezTo>
                  <a:cubicBezTo>
                    <a:pt x="5416392" y="336709"/>
                    <a:pt x="5416392" y="335756"/>
                    <a:pt x="5416392" y="334804"/>
                  </a:cubicBezTo>
                  <a:close/>
                  <a:moveTo>
                    <a:pt x="5405914" y="325279"/>
                  </a:moveTo>
                  <a:cubicBezTo>
                    <a:pt x="5406867" y="302419"/>
                    <a:pt x="5407819" y="284321"/>
                    <a:pt x="5407819" y="271939"/>
                  </a:cubicBezTo>
                  <a:cubicBezTo>
                    <a:pt x="5407819" y="270034"/>
                    <a:pt x="5407819" y="269081"/>
                    <a:pt x="5407819" y="267176"/>
                  </a:cubicBezTo>
                  <a:cubicBezTo>
                    <a:pt x="5409724" y="274796"/>
                    <a:pt x="5411629" y="283369"/>
                    <a:pt x="5414487" y="292894"/>
                  </a:cubicBezTo>
                  <a:cubicBezTo>
                    <a:pt x="5414487" y="292894"/>
                    <a:pt x="5414487" y="292894"/>
                    <a:pt x="5414487" y="293846"/>
                  </a:cubicBezTo>
                  <a:cubicBezTo>
                    <a:pt x="5413534" y="296704"/>
                    <a:pt x="5412581" y="299561"/>
                    <a:pt x="5411629" y="303371"/>
                  </a:cubicBezTo>
                  <a:cubicBezTo>
                    <a:pt x="5408771" y="311944"/>
                    <a:pt x="5406867" y="321469"/>
                    <a:pt x="5404962" y="331946"/>
                  </a:cubicBezTo>
                  <a:cubicBezTo>
                    <a:pt x="5404962" y="331946"/>
                    <a:pt x="5404962" y="332899"/>
                    <a:pt x="5404962" y="332899"/>
                  </a:cubicBezTo>
                  <a:cubicBezTo>
                    <a:pt x="5404962" y="330994"/>
                    <a:pt x="5404962" y="328136"/>
                    <a:pt x="5405914" y="325279"/>
                  </a:cubicBezTo>
                  <a:close/>
                  <a:moveTo>
                    <a:pt x="5384006" y="310991"/>
                  </a:moveTo>
                  <a:cubicBezTo>
                    <a:pt x="5384959" y="318611"/>
                    <a:pt x="5385912" y="326231"/>
                    <a:pt x="5386864" y="334804"/>
                  </a:cubicBezTo>
                  <a:cubicBezTo>
                    <a:pt x="5385912" y="336709"/>
                    <a:pt x="5385912" y="339566"/>
                    <a:pt x="5384959" y="341471"/>
                  </a:cubicBezTo>
                  <a:cubicBezTo>
                    <a:pt x="5384006" y="335756"/>
                    <a:pt x="5383054" y="330041"/>
                    <a:pt x="5382101" y="325279"/>
                  </a:cubicBezTo>
                  <a:cubicBezTo>
                    <a:pt x="5381149" y="317659"/>
                    <a:pt x="5380196" y="310991"/>
                    <a:pt x="5378292" y="305276"/>
                  </a:cubicBezTo>
                  <a:cubicBezTo>
                    <a:pt x="5379244" y="301466"/>
                    <a:pt x="5380196" y="298609"/>
                    <a:pt x="5381149" y="294799"/>
                  </a:cubicBezTo>
                  <a:cubicBezTo>
                    <a:pt x="5382101" y="299561"/>
                    <a:pt x="5383054" y="305276"/>
                    <a:pt x="5384006" y="310991"/>
                  </a:cubicBezTo>
                  <a:close/>
                  <a:moveTo>
                    <a:pt x="5379244" y="274796"/>
                  </a:moveTo>
                  <a:cubicBezTo>
                    <a:pt x="5379244" y="273844"/>
                    <a:pt x="5379244" y="272891"/>
                    <a:pt x="5379244" y="271939"/>
                  </a:cubicBezTo>
                  <a:cubicBezTo>
                    <a:pt x="5379244" y="275749"/>
                    <a:pt x="5380196" y="280511"/>
                    <a:pt x="5381149" y="284321"/>
                  </a:cubicBezTo>
                  <a:cubicBezTo>
                    <a:pt x="5381149" y="284321"/>
                    <a:pt x="5381149" y="285274"/>
                    <a:pt x="5380196" y="285274"/>
                  </a:cubicBezTo>
                  <a:cubicBezTo>
                    <a:pt x="5379244" y="287179"/>
                    <a:pt x="5379244" y="288131"/>
                    <a:pt x="5378292" y="290036"/>
                  </a:cubicBezTo>
                  <a:cubicBezTo>
                    <a:pt x="5378292" y="285274"/>
                    <a:pt x="5378292" y="280511"/>
                    <a:pt x="5379244" y="274796"/>
                  </a:cubicBezTo>
                  <a:close/>
                  <a:moveTo>
                    <a:pt x="5332571" y="321469"/>
                  </a:moveTo>
                  <a:cubicBezTo>
                    <a:pt x="5334476" y="316706"/>
                    <a:pt x="5336381" y="312896"/>
                    <a:pt x="5338287" y="309086"/>
                  </a:cubicBezTo>
                  <a:cubicBezTo>
                    <a:pt x="5338287" y="309086"/>
                    <a:pt x="5338287" y="310039"/>
                    <a:pt x="5338287" y="310039"/>
                  </a:cubicBezTo>
                  <a:cubicBezTo>
                    <a:pt x="5334476" y="323374"/>
                    <a:pt x="5330667" y="337661"/>
                    <a:pt x="5326856" y="351949"/>
                  </a:cubicBezTo>
                  <a:cubicBezTo>
                    <a:pt x="5325904" y="345281"/>
                    <a:pt x="5324951" y="340519"/>
                    <a:pt x="5323999" y="336709"/>
                  </a:cubicBezTo>
                  <a:cubicBezTo>
                    <a:pt x="5327809" y="330994"/>
                    <a:pt x="5330667" y="326231"/>
                    <a:pt x="5332571" y="321469"/>
                  </a:cubicBezTo>
                  <a:close/>
                  <a:moveTo>
                    <a:pt x="5319237" y="350996"/>
                  </a:moveTo>
                  <a:cubicBezTo>
                    <a:pt x="5320189" y="348139"/>
                    <a:pt x="5322094" y="345281"/>
                    <a:pt x="5323046" y="342424"/>
                  </a:cubicBezTo>
                  <a:cubicBezTo>
                    <a:pt x="5323046" y="350044"/>
                    <a:pt x="5322094" y="359569"/>
                    <a:pt x="5322094" y="371951"/>
                  </a:cubicBezTo>
                  <a:cubicBezTo>
                    <a:pt x="5321142" y="368141"/>
                    <a:pt x="5320189" y="365284"/>
                    <a:pt x="5319237" y="362426"/>
                  </a:cubicBezTo>
                  <a:cubicBezTo>
                    <a:pt x="5319237" y="357664"/>
                    <a:pt x="5319237" y="353854"/>
                    <a:pt x="5319237" y="350996"/>
                  </a:cubicBezTo>
                  <a:close/>
                  <a:moveTo>
                    <a:pt x="5316379" y="392906"/>
                  </a:moveTo>
                  <a:cubicBezTo>
                    <a:pt x="5316379" y="389096"/>
                    <a:pt x="5317331" y="386239"/>
                    <a:pt x="5317331" y="382429"/>
                  </a:cubicBezTo>
                  <a:cubicBezTo>
                    <a:pt x="5317331" y="384334"/>
                    <a:pt x="5318284" y="387191"/>
                    <a:pt x="5318284" y="390049"/>
                  </a:cubicBezTo>
                  <a:cubicBezTo>
                    <a:pt x="5317331" y="392906"/>
                    <a:pt x="5316379" y="395764"/>
                    <a:pt x="5315426" y="399574"/>
                  </a:cubicBezTo>
                  <a:cubicBezTo>
                    <a:pt x="5316379" y="396716"/>
                    <a:pt x="5316379" y="394811"/>
                    <a:pt x="5316379" y="392906"/>
                  </a:cubicBezTo>
                  <a:close/>
                  <a:moveTo>
                    <a:pt x="5285899" y="293846"/>
                  </a:moveTo>
                  <a:cubicBezTo>
                    <a:pt x="5285899" y="295751"/>
                    <a:pt x="5285899" y="296704"/>
                    <a:pt x="5286851" y="298609"/>
                  </a:cubicBezTo>
                  <a:cubicBezTo>
                    <a:pt x="5285899" y="299561"/>
                    <a:pt x="5284946" y="300514"/>
                    <a:pt x="5283994" y="302419"/>
                  </a:cubicBezTo>
                  <a:cubicBezTo>
                    <a:pt x="5284946" y="299561"/>
                    <a:pt x="5285899" y="296704"/>
                    <a:pt x="5285899" y="293846"/>
                  </a:cubicBezTo>
                  <a:close/>
                  <a:moveTo>
                    <a:pt x="5279231" y="319564"/>
                  </a:moveTo>
                  <a:cubicBezTo>
                    <a:pt x="5280184" y="316706"/>
                    <a:pt x="5281137" y="313849"/>
                    <a:pt x="5282089" y="311944"/>
                  </a:cubicBezTo>
                  <a:cubicBezTo>
                    <a:pt x="5283994" y="308134"/>
                    <a:pt x="5285899" y="305276"/>
                    <a:pt x="5287804" y="302419"/>
                  </a:cubicBezTo>
                  <a:cubicBezTo>
                    <a:pt x="5287804" y="304324"/>
                    <a:pt x="5288756" y="307181"/>
                    <a:pt x="5288756" y="309086"/>
                  </a:cubicBezTo>
                  <a:cubicBezTo>
                    <a:pt x="5289709" y="318611"/>
                    <a:pt x="5290662" y="329089"/>
                    <a:pt x="5292567" y="340519"/>
                  </a:cubicBezTo>
                  <a:cubicBezTo>
                    <a:pt x="5290662" y="347186"/>
                    <a:pt x="5288756" y="354806"/>
                    <a:pt x="5287804" y="363379"/>
                  </a:cubicBezTo>
                  <a:cubicBezTo>
                    <a:pt x="5287804" y="359569"/>
                    <a:pt x="5287804" y="354806"/>
                    <a:pt x="5287804" y="351949"/>
                  </a:cubicBezTo>
                  <a:cubicBezTo>
                    <a:pt x="5287804" y="341471"/>
                    <a:pt x="5287804" y="335756"/>
                    <a:pt x="5287804" y="335756"/>
                  </a:cubicBezTo>
                  <a:cubicBezTo>
                    <a:pt x="5287804" y="335756"/>
                    <a:pt x="5286851" y="341471"/>
                    <a:pt x="5283994" y="350996"/>
                  </a:cubicBezTo>
                  <a:cubicBezTo>
                    <a:pt x="5283042" y="355759"/>
                    <a:pt x="5282089" y="362426"/>
                    <a:pt x="5280184" y="369094"/>
                  </a:cubicBezTo>
                  <a:cubicBezTo>
                    <a:pt x="5280184" y="369094"/>
                    <a:pt x="5280184" y="369094"/>
                    <a:pt x="5280184" y="370046"/>
                  </a:cubicBezTo>
                  <a:cubicBezTo>
                    <a:pt x="5279231" y="363379"/>
                    <a:pt x="5278279" y="356711"/>
                    <a:pt x="5277326" y="350044"/>
                  </a:cubicBezTo>
                  <a:cubicBezTo>
                    <a:pt x="5276374" y="345281"/>
                    <a:pt x="5276374" y="340519"/>
                    <a:pt x="5275421" y="335756"/>
                  </a:cubicBezTo>
                  <a:cubicBezTo>
                    <a:pt x="5275421" y="330041"/>
                    <a:pt x="5277326" y="324326"/>
                    <a:pt x="5279231" y="319564"/>
                  </a:cubicBezTo>
                  <a:close/>
                  <a:moveTo>
                    <a:pt x="5236369" y="318611"/>
                  </a:moveTo>
                  <a:cubicBezTo>
                    <a:pt x="5236369" y="319564"/>
                    <a:pt x="5235417" y="319564"/>
                    <a:pt x="5235417" y="320516"/>
                  </a:cubicBezTo>
                  <a:cubicBezTo>
                    <a:pt x="5233512" y="317659"/>
                    <a:pt x="5232559" y="314801"/>
                    <a:pt x="5230654" y="311944"/>
                  </a:cubicBezTo>
                  <a:cubicBezTo>
                    <a:pt x="5230654" y="311944"/>
                    <a:pt x="5230654" y="310991"/>
                    <a:pt x="5230654" y="310991"/>
                  </a:cubicBezTo>
                  <a:cubicBezTo>
                    <a:pt x="5233512" y="305276"/>
                    <a:pt x="5236369" y="300514"/>
                    <a:pt x="5239226" y="295751"/>
                  </a:cubicBezTo>
                  <a:cubicBezTo>
                    <a:pt x="5238274" y="303371"/>
                    <a:pt x="5237321" y="310991"/>
                    <a:pt x="5236369" y="318611"/>
                  </a:cubicBezTo>
                  <a:close/>
                  <a:moveTo>
                    <a:pt x="5230654" y="281464"/>
                  </a:moveTo>
                  <a:cubicBezTo>
                    <a:pt x="5233512" y="275749"/>
                    <a:pt x="5235417" y="270034"/>
                    <a:pt x="5237321" y="265271"/>
                  </a:cubicBezTo>
                  <a:cubicBezTo>
                    <a:pt x="5239226" y="260509"/>
                    <a:pt x="5242084" y="255746"/>
                    <a:pt x="5243989" y="251936"/>
                  </a:cubicBezTo>
                  <a:cubicBezTo>
                    <a:pt x="5243037" y="255746"/>
                    <a:pt x="5243037" y="259556"/>
                    <a:pt x="5242084" y="264319"/>
                  </a:cubicBezTo>
                  <a:cubicBezTo>
                    <a:pt x="5241131" y="270034"/>
                    <a:pt x="5240179" y="276701"/>
                    <a:pt x="5240179" y="283369"/>
                  </a:cubicBezTo>
                  <a:cubicBezTo>
                    <a:pt x="5236369" y="288131"/>
                    <a:pt x="5232559" y="293846"/>
                    <a:pt x="5228749" y="299561"/>
                  </a:cubicBezTo>
                  <a:cubicBezTo>
                    <a:pt x="5228749" y="296704"/>
                    <a:pt x="5227796" y="292894"/>
                    <a:pt x="5227796" y="290036"/>
                  </a:cubicBezTo>
                  <a:cubicBezTo>
                    <a:pt x="5227796" y="286226"/>
                    <a:pt x="5228749" y="284321"/>
                    <a:pt x="5230654" y="281464"/>
                  </a:cubicBezTo>
                  <a:close/>
                  <a:moveTo>
                    <a:pt x="5211604" y="344329"/>
                  </a:moveTo>
                  <a:cubicBezTo>
                    <a:pt x="5212556" y="343376"/>
                    <a:pt x="5212556" y="342424"/>
                    <a:pt x="5213509" y="341471"/>
                  </a:cubicBezTo>
                  <a:cubicBezTo>
                    <a:pt x="5213509" y="341471"/>
                    <a:pt x="5213509" y="341471"/>
                    <a:pt x="5213509" y="341471"/>
                  </a:cubicBezTo>
                  <a:cubicBezTo>
                    <a:pt x="5213509" y="341471"/>
                    <a:pt x="5213509" y="342424"/>
                    <a:pt x="5213509" y="342424"/>
                  </a:cubicBezTo>
                  <a:cubicBezTo>
                    <a:pt x="5212556" y="343376"/>
                    <a:pt x="5212556" y="344329"/>
                    <a:pt x="5211604" y="344329"/>
                  </a:cubicBezTo>
                  <a:cubicBezTo>
                    <a:pt x="5211604" y="345281"/>
                    <a:pt x="5211604" y="345281"/>
                    <a:pt x="5211604" y="344329"/>
                  </a:cubicBezTo>
                  <a:close/>
                  <a:moveTo>
                    <a:pt x="5214462" y="343376"/>
                  </a:moveTo>
                  <a:cubicBezTo>
                    <a:pt x="5215414" y="345281"/>
                    <a:pt x="5216367" y="346234"/>
                    <a:pt x="5216367" y="348139"/>
                  </a:cubicBezTo>
                  <a:cubicBezTo>
                    <a:pt x="5215414" y="350044"/>
                    <a:pt x="5214462" y="350996"/>
                    <a:pt x="5213509" y="352901"/>
                  </a:cubicBezTo>
                  <a:cubicBezTo>
                    <a:pt x="5213509" y="351949"/>
                    <a:pt x="5212556" y="351949"/>
                    <a:pt x="5212556" y="350996"/>
                  </a:cubicBezTo>
                  <a:cubicBezTo>
                    <a:pt x="5212556" y="350044"/>
                    <a:pt x="5212556" y="350044"/>
                    <a:pt x="5212556" y="349091"/>
                  </a:cubicBezTo>
                  <a:cubicBezTo>
                    <a:pt x="5212556" y="347186"/>
                    <a:pt x="5213509" y="345281"/>
                    <a:pt x="5214462" y="343376"/>
                  </a:cubicBezTo>
                  <a:cubicBezTo>
                    <a:pt x="5213509" y="343376"/>
                    <a:pt x="5213509" y="343376"/>
                    <a:pt x="5214462" y="343376"/>
                  </a:cubicBezTo>
                  <a:close/>
                  <a:moveTo>
                    <a:pt x="5211604" y="290989"/>
                  </a:moveTo>
                  <a:cubicBezTo>
                    <a:pt x="5211604" y="290989"/>
                    <a:pt x="5211604" y="291941"/>
                    <a:pt x="5211604" y="290989"/>
                  </a:cubicBezTo>
                  <a:cubicBezTo>
                    <a:pt x="5212556" y="292894"/>
                    <a:pt x="5212556" y="294799"/>
                    <a:pt x="5213509" y="296704"/>
                  </a:cubicBezTo>
                  <a:cubicBezTo>
                    <a:pt x="5212556" y="298609"/>
                    <a:pt x="5211604" y="300514"/>
                    <a:pt x="5210651" y="302419"/>
                  </a:cubicBezTo>
                  <a:cubicBezTo>
                    <a:pt x="5211604" y="297656"/>
                    <a:pt x="5211604" y="293846"/>
                    <a:pt x="5211604" y="290989"/>
                  </a:cubicBezTo>
                  <a:close/>
                  <a:moveTo>
                    <a:pt x="5189696" y="260509"/>
                  </a:moveTo>
                  <a:cubicBezTo>
                    <a:pt x="5189696" y="261461"/>
                    <a:pt x="5189696" y="263366"/>
                    <a:pt x="5189696" y="264319"/>
                  </a:cubicBezTo>
                  <a:cubicBezTo>
                    <a:pt x="5188744" y="262414"/>
                    <a:pt x="5187792" y="260509"/>
                    <a:pt x="5186839" y="258604"/>
                  </a:cubicBezTo>
                  <a:cubicBezTo>
                    <a:pt x="5186839" y="258604"/>
                    <a:pt x="5186839" y="257651"/>
                    <a:pt x="5187792" y="257651"/>
                  </a:cubicBezTo>
                  <a:cubicBezTo>
                    <a:pt x="5188744" y="255746"/>
                    <a:pt x="5189696" y="254794"/>
                    <a:pt x="5189696" y="253841"/>
                  </a:cubicBezTo>
                  <a:cubicBezTo>
                    <a:pt x="5189696" y="255746"/>
                    <a:pt x="5189696" y="258604"/>
                    <a:pt x="5189696" y="260509"/>
                  </a:cubicBezTo>
                  <a:close/>
                  <a:moveTo>
                    <a:pt x="5178267" y="230981"/>
                  </a:moveTo>
                  <a:cubicBezTo>
                    <a:pt x="5181124" y="223361"/>
                    <a:pt x="5184934" y="217646"/>
                    <a:pt x="5186839" y="213836"/>
                  </a:cubicBezTo>
                  <a:cubicBezTo>
                    <a:pt x="5187792" y="212884"/>
                    <a:pt x="5187792" y="210979"/>
                    <a:pt x="5188744" y="210026"/>
                  </a:cubicBezTo>
                  <a:cubicBezTo>
                    <a:pt x="5188744" y="212884"/>
                    <a:pt x="5188744" y="215741"/>
                    <a:pt x="5188744" y="219551"/>
                  </a:cubicBezTo>
                  <a:cubicBezTo>
                    <a:pt x="5188744" y="230029"/>
                    <a:pt x="5188744" y="241459"/>
                    <a:pt x="5188744" y="254794"/>
                  </a:cubicBezTo>
                  <a:cubicBezTo>
                    <a:pt x="5187792" y="255746"/>
                    <a:pt x="5186839" y="256699"/>
                    <a:pt x="5185887" y="258604"/>
                  </a:cubicBezTo>
                  <a:cubicBezTo>
                    <a:pt x="5185887" y="258604"/>
                    <a:pt x="5185887" y="258604"/>
                    <a:pt x="5185887" y="258604"/>
                  </a:cubicBezTo>
                  <a:cubicBezTo>
                    <a:pt x="5183029" y="252889"/>
                    <a:pt x="5180171" y="248126"/>
                    <a:pt x="5178267" y="243364"/>
                  </a:cubicBezTo>
                  <a:cubicBezTo>
                    <a:pt x="5177314" y="241459"/>
                    <a:pt x="5176362" y="240506"/>
                    <a:pt x="5175409" y="238601"/>
                  </a:cubicBezTo>
                  <a:cubicBezTo>
                    <a:pt x="5176362" y="234791"/>
                    <a:pt x="5177314" y="232886"/>
                    <a:pt x="5178267" y="230981"/>
                  </a:cubicBezTo>
                  <a:close/>
                  <a:moveTo>
                    <a:pt x="5168742" y="238601"/>
                  </a:moveTo>
                  <a:cubicBezTo>
                    <a:pt x="5168742" y="239554"/>
                    <a:pt x="5168742" y="239554"/>
                    <a:pt x="5168742" y="238601"/>
                  </a:cubicBezTo>
                  <a:cubicBezTo>
                    <a:pt x="5168742" y="239554"/>
                    <a:pt x="5168742" y="239554"/>
                    <a:pt x="5168742" y="238601"/>
                  </a:cubicBezTo>
                  <a:cubicBezTo>
                    <a:pt x="5168742" y="239554"/>
                    <a:pt x="5168742" y="239554"/>
                    <a:pt x="5168742" y="238601"/>
                  </a:cubicBezTo>
                  <a:close/>
                  <a:moveTo>
                    <a:pt x="5166837" y="280511"/>
                  </a:moveTo>
                  <a:cubicBezTo>
                    <a:pt x="5166837" y="272891"/>
                    <a:pt x="5167789" y="266224"/>
                    <a:pt x="5167789" y="259556"/>
                  </a:cubicBezTo>
                  <a:cubicBezTo>
                    <a:pt x="5167789" y="259556"/>
                    <a:pt x="5167789" y="259556"/>
                    <a:pt x="5167789" y="259556"/>
                  </a:cubicBezTo>
                  <a:cubicBezTo>
                    <a:pt x="5168742" y="255746"/>
                    <a:pt x="5170646" y="251936"/>
                    <a:pt x="5171599" y="248126"/>
                  </a:cubicBezTo>
                  <a:cubicBezTo>
                    <a:pt x="5173504" y="252889"/>
                    <a:pt x="5175409" y="257651"/>
                    <a:pt x="5177314" y="263366"/>
                  </a:cubicBezTo>
                  <a:cubicBezTo>
                    <a:pt x="5178267" y="264319"/>
                    <a:pt x="5178267" y="266224"/>
                    <a:pt x="5179219" y="267176"/>
                  </a:cubicBezTo>
                  <a:cubicBezTo>
                    <a:pt x="5178267" y="268129"/>
                    <a:pt x="5177314" y="270034"/>
                    <a:pt x="5176362" y="271939"/>
                  </a:cubicBezTo>
                  <a:cubicBezTo>
                    <a:pt x="5173504" y="275749"/>
                    <a:pt x="5170646" y="281464"/>
                    <a:pt x="5166837" y="287179"/>
                  </a:cubicBezTo>
                  <a:cubicBezTo>
                    <a:pt x="5166837" y="283369"/>
                    <a:pt x="5166837" y="281464"/>
                    <a:pt x="5166837" y="280511"/>
                  </a:cubicBezTo>
                  <a:close/>
                  <a:moveTo>
                    <a:pt x="5166837" y="307181"/>
                  </a:moveTo>
                  <a:cubicBezTo>
                    <a:pt x="5167789" y="303371"/>
                    <a:pt x="5168742" y="299561"/>
                    <a:pt x="5170646" y="296704"/>
                  </a:cubicBezTo>
                  <a:cubicBezTo>
                    <a:pt x="5170646" y="295751"/>
                    <a:pt x="5171599" y="294799"/>
                    <a:pt x="5171599" y="293846"/>
                  </a:cubicBezTo>
                  <a:cubicBezTo>
                    <a:pt x="5173504" y="291941"/>
                    <a:pt x="5175409" y="290036"/>
                    <a:pt x="5176362" y="289084"/>
                  </a:cubicBezTo>
                  <a:cubicBezTo>
                    <a:pt x="5179219" y="286226"/>
                    <a:pt x="5181124" y="284321"/>
                    <a:pt x="5181124" y="284321"/>
                  </a:cubicBezTo>
                  <a:cubicBezTo>
                    <a:pt x="5181124" y="284321"/>
                    <a:pt x="5179219" y="285274"/>
                    <a:pt x="5175409" y="288131"/>
                  </a:cubicBezTo>
                  <a:cubicBezTo>
                    <a:pt x="5174456" y="289084"/>
                    <a:pt x="5173504" y="289084"/>
                    <a:pt x="5172551" y="290036"/>
                  </a:cubicBezTo>
                  <a:cubicBezTo>
                    <a:pt x="5175409" y="283369"/>
                    <a:pt x="5177314" y="277654"/>
                    <a:pt x="5179219" y="272891"/>
                  </a:cubicBezTo>
                  <a:cubicBezTo>
                    <a:pt x="5179219" y="271939"/>
                    <a:pt x="5180171" y="270986"/>
                    <a:pt x="5180171" y="270034"/>
                  </a:cubicBezTo>
                  <a:cubicBezTo>
                    <a:pt x="5182076" y="273844"/>
                    <a:pt x="5183029" y="276701"/>
                    <a:pt x="5184934" y="280511"/>
                  </a:cubicBezTo>
                  <a:cubicBezTo>
                    <a:pt x="5186839" y="284321"/>
                    <a:pt x="5188744" y="289084"/>
                    <a:pt x="5190649" y="292894"/>
                  </a:cubicBezTo>
                  <a:cubicBezTo>
                    <a:pt x="5190649" y="294799"/>
                    <a:pt x="5190649" y="296704"/>
                    <a:pt x="5190649" y="298609"/>
                  </a:cubicBezTo>
                  <a:cubicBezTo>
                    <a:pt x="5191601" y="308134"/>
                    <a:pt x="5191601" y="318611"/>
                    <a:pt x="5192554" y="330041"/>
                  </a:cubicBezTo>
                  <a:cubicBezTo>
                    <a:pt x="5192554" y="331946"/>
                    <a:pt x="5192554" y="333851"/>
                    <a:pt x="5192554" y="335756"/>
                  </a:cubicBezTo>
                  <a:cubicBezTo>
                    <a:pt x="5192554" y="335756"/>
                    <a:pt x="5192554" y="336709"/>
                    <a:pt x="5192554" y="336709"/>
                  </a:cubicBezTo>
                  <a:cubicBezTo>
                    <a:pt x="5192554" y="337661"/>
                    <a:pt x="5191601" y="337661"/>
                    <a:pt x="5191601" y="338614"/>
                  </a:cubicBezTo>
                  <a:cubicBezTo>
                    <a:pt x="5190649" y="341471"/>
                    <a:pt x="5188744" y="345281"/>
                    <a:pt x="5187792" y="348139"/>
                  </a:cubicBezTo>
                  <a:cubicBezTo>
                    <a:pt x="5185887" y="324326"/>
                    <a:pt x="5183981" y="309086"/>
                    <a:pt x="5183981" y="309086"/>
                  </a:cubicBezTo>
                  <a:cubicBezTo>
                    <a:pt x="5183981" y="309086"/>
                    <a:pt x="5180171" y="324326"/>
                    <a:pt x="5177314" y="348139"/>
                  </a:cubicBezTo>
                  <a:cubicBezTo>
                    <a:pt x="5177314" y="350044"/>
                    <a:pt x="5176362" y="352901"/>
                    <a:pt x="5176362" y="354806"/>
                  </a:cubicBezTo>
                  <a:cubicBezTo>
                    <a:pt x="5175409" y="352901"/>
                    <a:pt x="5174456" y="350996"/>
                    <a:pt x="5174456" y="349091"/>
                  </a:cubicBezTo>
                  <a:cubicBezTo>
                    <a:pt x="5173504" y="346234"/>
                    <a:pt x="5172551" y="344329"/>
                    <a:pt x="5171599" y="341471"/>
                  </a:cubicBezTo>
                  <a:cubicBezTo>
                    <a:pt x="5172551" y="336709"/>
                    <a:pt x="5173504" y="332899"/>
                    <a:pt x="5173504" y="328136"/>
                  </a:cubicBezTo>
                  <a:cubicBezTo>
                    <a:pt x="5172551" y="331946"/>
                    <a:pt x="5171599" y="334804"/>
                    <a:pt x="5169694" y="338614"/>
                  </a:cubicBezTo>
                  <a:cubicBezTo>
                    <a:pt x="5168742" y="337661"/>
                    <a:pt x="5168742" y="335756"/>
                    <a:pt x="5167789" y="334804"/>
                  </a:cubicBezTo>
                  <a:cubicBezTo>
                    <a:pt x="5166837" y="327184"/>
                    <a:pt x="5166837" y="320516"/>
                    <a:pt x="5165884" y="312896"/>
                  </a:cubicBezTo>
                  <a:cubicBezTo>
                    <a:pt x="5166837" y="310991"/>
                    <a:pt x="5166837" y="309086"/>
                    <a:pt x="5166837" y="307181"/>
                  </a:cubicBezTo>
                  <a:close/>
                  <a:moveTo>
                    <a:pt x="5161121" y="218599"/>
                  </a:moveTo>
                  <a:cubicBezTo>
                    <a:pt x="5162074" y="221456"/>
                    <a:pt x="5163979" y="225266"/>
                    <a:pt x="5164931" y="229076"/>
                  </a:cubicBezTo>
                  <a:cubicBezTo>
                    <a:pt x="5163979" y="234791"/>
                    <a:pt x="5162074" y="240506"/>
                    <a:pt x="5161121" y="248126"/>
                  </a:cubicBezTo>
                  <a:cubicBezTo>
                    <a:pt x="5160169" y="232886"/>
                    <a:pt x="5158264" y="218599"/>
                    <a:pt x="5157312" y="206216"/>
                  </a:cubicBezTo>
                  <a:cubicBezTo>
                    <a:pt x="5158264" y="209074"/>
                    <a:pt x="5159217" y="213836"/>
                    <a:pt x="5161121" y="218599"/>
                  </a:cubicBezTo>
                  <a:close/>
                  <a:moveTo>
                    <a:pt x="5148739" y="256699"/>
                  </a:moveTo>
                  <a:cubicBezTo>
                    <a:pt x="5148739" y="255746"/>
                    <a:pt x="5149692" y="255746"/>
                    <a:pt x="5149692" y="255746"/>
                  </a:cubicBezTo>
                  <a:cubicBezTo>
                    <a:pt x="5149692" y="264319"/>
                    <a:pt x="5149692" y="273844"/>
                    <a:pt x="5149692" y="283369"/>
                  </a:cubicBezTo>
                  <a:cubicBezTo>
                    <a:pt x="5149692" y="283369"/>
                    <a:pt x="5149692" y="284321"/>
                    <a:pt x="5149692" y="284321"/>
                  </a:cubicBezTo>
                  <a:cubicBezTo>
                    <a:pt x="5147787" y="276701"/>
                    <a:pt x="5144929" y="270034"/>
                    <a:pt x="5143024" y="263366"/>
                  </a:cubicBezTo>
                  <a:cubicBezTo>
                    <a:pt x="5145881" y="261461"/>
                    <a:pt x="5147787" y="258604"/>
                    <a:pt x="5148739" y="256699"/>
                  </a:cubicBezTo>
                  <a:close/>
                  <a:moveTo>
                    <a:pt x="5087779" y="317659"/>
                  </a:moveTo>
                  <a:cubicBezTo>
                    <a:pt x="5087779" y="316706"/>
                    <a:pt x="5087779" y="316706"/>
                    <a:pt x="5087779" y="315754"/>
                  </a:cubicBezTo>
                  <a:cubicBezTo>
                    <a:pt x="5087779" y="316706"/>
                    <a:pt x="5087779" y="316706"/>
                    <a:pt x="5087779" y="317659"/>
                  </a:cubicBezTo>
                  <a:cubicBezTo>
                    <a:pt x="5087779" y="317659"/>
                    <a:pt x="5087779" y="317659"/>
                    <a:pt x="5087779" y="317659"/>
                  </a:cubicBezTo>
                  <a:close/>
                  <a:moveTo>
                    <a:pt x="5122069" y="298609"/>
                  </a:moveTo>
                  <a:cubicBezTo>
                    <a:pt x="5123974" y="294799"/>
                    <a:pt x="5126831" y="290989"/>
                    <a:pt x="5128737" y="287179"/>
                  </a:cubicBezTo>
                  <a:cubicBezTo>
                    <a:pt x="5127784" y="298609"/>
                    <a:pt x="5125879" y="311944"/>
                    <a:pt x="5124926" y="327184"/>
                  </a:cubicBezTo>
                  <a:cubicBezTo>
                    <a:pt x="5123974" y="324326"/>
                    <a:pt x="5122069" y="321469"/>
                    <a:pt x="5121117" y="318611"/>
                  </a:cubicBezTo>
                  <a:cubicBezTo>
                    <a:pt x="5119212" y="314801"/>
                    <a:pt x="5118259" y="311944"/>
                    <a:pt x="5117306" y="308134"/>
                  </a:cubicBezTo>
                  <a:cubicBezTo>
                    <a:pt x="5118259" y="304324"/>
                    <a:pt x="5120164" y="301466"/>
                    <a:pt x="5122069" y="298609"/>
                  </a:cubicBezTo>
                  <a:close/>
                  <a:moveTo>
                    <a:pt x="5110639" y="321469"/>
                  </a:moveTo>
                  <a:cubicBezTo>
                    <a:pt x="5110639" y="321469"/>
                    <a:pt x="5110639" y="321469"/>
                    <a:pt x="5110639" y="321469"/>
                  </a:cubicBezTo>
                  <a:cubicBezTo>
                    <a:pt x="5113496" y="329089"/>
                    <a:pt x="5115401" y="336709"/>
                    <a:pt x="5118259" y="344329"/>
                  </a:cubicBezTo>
                  <a:cubicBezTo>
                    <a:pt x="5117306" y="345281"/>
                    <a:pt x="5117306" y="346234"/>
                    <a:pt x="5116354" y="347186"/>
                  </a:cubicBezTo>
                  <a:cubicBezTo>
                    <a:pt x="5115401" y="348139"/>
                    <a:pt x="5115401" y="349091"/>
                    <a:pt x="5114449" y="349091"/>
                  </a:cubicBezTo>
                  <a:cubicBezTo>
                    <a:pt x="5113496" y="344329"/>
                    <a:pt x="5111592" y="339566"/>
                    <a:pt x="5110639" y="335756"/>
                  </a:cubicBezTo>
                  <a:cubicBezTo>
                    <a:pt x="5109687" y="332899"/>
                    <a:pt x="5108734" y="330041"/>
                    <a:pt x="5107781" y="327184"/>
                  </a:cubicBezTo>
                  <a:cubicBezTo>
                    <a:pt x="5108734" y="325279"/>
                    <a:pt x="5109687" y="323374"/>
                    <a:pt x="5110639" y="321469"/>
                  </a:cubicBezTo>
                  <a:close/>
                  <a:moveTo>
                    <a:pt x="5105876" y="308134"/>
                  </a:moveTo>
                  <a:cubicBezTo>
                    <a:pt x="5104924" y="309086"/>
                    <a:pt x="5103971" y="310991"/>
                    <a:pt x="5103019" y="311944"/>
                  </a:cubicBezTo>
                  <a:cubicBezTo>
                    <a:pt x="5102067" y="310039"/>
                    <a:pt x="5102067" y="308134"/>
                    <a:pt x="5101114" y="306229"/>
                  </a:cubicBezTo>
                  <a:cubicBezTo>
                    <a:pt x="5101114" y="305276"/>
                    <a:pt x="5101114" y="304324"/>
                    <a:pt x="5101114" y="304324"/>
                  </a:cubicBezTo>
                  <a:cubicBezTo>
                    <a:pt x="5101114" y="304324"/>
                    <a:pt x="5101114" y="304324"/>
                    <a:pt x="5101114" y="305276"/>
                  </a:cubicBezTo>
                  <a:cubicBezTo>
                    <a:pt x="5099209" y="299561"/>
                    <a:pt x="5098256" y="293846"/>
                    <a:pt x="5096351" y="288131"/>
                  </a:cubicBezTo>
                  <a:cubicBezTo>
                    <a:pt x="5096351" y="285274"/>
                    <a:pt x="5097304" y="282416"/>
                    <a:pt x="5097304" y="281464"/>
                  </a:cubicBezTo>
                  <a:cubicBezTo>
                    <a:pt x="5100162" y="290989"/>
                    <a:pt x="5103019" y="299561"/>
                    <a:pt x="5105876" y="308134"/>
                  </a:cubicBezTo>
                  <a:close/>
                  <a:moveTo>
                    <a:pt x="5097304" y="282416"/>
                  </a:moveTo>
                  <a:cubicBezTo>
                    <a:pt x="5097304" y="283369"/>
                    <a:pt x="5096351" y="284321"/>
                    <a:pt x="5095399" y="286226"/>
                  </a:cubicBezTo>
                  <a:cubicBezTo>
                    <a:pt x="5094446" y="284321"/>
                    <a:pt x="5094446" y="281464"/>
                    <a:pt x="5093494" y="279559"/>
                  </a:cubicBezTo>
                  <a:cubicBezTo>
                    <a:pt x="5091589" y="271939"/>
                    <a:pt x="5089684" y="265271"/>
                    <a:pt x="5087779" y="258604"/>
                  </a:cubicBezTo>
                  <a:cubicBezTo>
                    <a:pt x="5087779" y="258604"/>
                    <a:pt x="5088731" y="257651"/>
                    <a:pt x="5089684" y="257651"/>
                  </a:cubicBezTo>
                  <a:cubicBezTo>
                    <a:pt x="5092542" y="265271"/>
                    <a:pt x="5094446" y="273844"/>
                    <a:pt x="5097304" y="282416"/>
                  </a:cubicBezTo>
                  <a:close/>
                  <a:moveTo>
                    <a:pt x="5080159" y="224314"/>
                  </a:moveTo>
                  <a:cubicBezTo>
                    <a:pt x="5081112" y="228124"/>
                    <a:pt x="5083969" y="238601"/>
                    <a:pt x="5089684" y="254794"/>
                  </a:cubicBezTo>
                  <a:cubicBezTo>
                    <a:pt x="5089684" y="254794"/>
                    <a:pt x="5088731" y="254794"/>
                    <a:pt x="5087779" y="254794"/>
                  </a:cubicBezTo>
                  <a:cubicBezTo>
                    <a:pt x="5085874" y="245269"/>
                    <a:pt x="5083017" y="236696"/>
                    <a:pt x="5081112" y="228124"/>
                  </a:cubicBezTo>
                  <a:cubicBezTo>
                    <a:pt x="5081112" y="228124"/>
                    <a:pt x="5080159" y="227171"/>
                    <a:pt x="5080159" y="224314"/>
                  </a:cubicBezTo>
                  <a:cubicBezTo>
                    <a:pt x="5080159" y="225266"/>
                    <a:pt x="5080159" y="225266"/>
                    <a:pt x="5080159" y="224314"/>
                  </a:cubicBezTo>
                  <a:close/>
                  <a:moveTo>
                    <a:pt x="5076349" y="272891"/>
                  </a:moveTo>
                  <a:cubicBezTo>
                    <a:pt x="5076349" y="270986"/>
                    <a:pt x="5076349" y="270034"/>
                    <a:pt x="5076349" y="268129"/>
                  </a:cubicBezTo>
                  <a:cubicBezTo>
                    <a:pt x="5077301" y="272891"/>
                    <a:pt x="5078254" y="277654"/>
                    <a:pt x="5079206" y="283369"/>
                  </a:cubicBezTo>
                  <a:cubicBezTo>
                    <a:pt x="5080159" y="289084"/>
                    <a:pt x="5082064" y="295751"/>
                    <a:pt x="5083017" y="301466"/>
                  </a:cubicBezTo>
                  <a:cubicBezTo>
                    <a:pt x="5083017" y="302419"/>
                    <a:pt x="5083017" y="303371"/>
                    <a:pt x="5083017" y="304324"/>
                  </a:cubicBezTo>
                  <a:cubicBezTo>
                    <a:pt x="5083017" y="306229"/>
                    <a:pt x="5082064" y="309086"/>
                    <a:pt x="5082064" y="311944"/>
                  </a:cubicBezTo>
                  <a:cubicBezTo>
                    <a:pt x="5079206" y="305276"/>
                    <a:pt x="5076349" y="298609"/>
                    <a:pt x="5073492" y="292894"/>
                  </a:cubicBezTo>
                  <a:cubicBezTo>
                    <a:pt x="5074444" y="285274"/>
                    <a:pt x="5075396" y="278606"/>
                    <a:pt x="5076349" y="272891"/>
                  </a:cubicBezTo>
                  <a:close/>
                  <a:moveTo>
                    <a:pt x="5066824" y="377666"/>
                  </a:moveTo>
                  <a:cubicBezTo>
                    <a:pt x="5066824" y="378619"/>
                    <a:pt x="5066824" y="379571"/>
                    <a:pt x="5066824" y="380524"/>
                  </a:cubicBezTo>
                  <a:cubicBezTo>
                    <a:pt x="5066824" y="381476"/>
                    <a:pt x="5066824" y="382429"/>
                    <a:pt x="5066824" y="383381"/>
                  </a:cubicBezTo>
                  <a:cubicBezTo>
                    <a:pt x="5066824" y="383381"/>
                    <a:pt x="5066824" y="384334"/>
                    <a:pt x="5065871" y="384334"/>
                  </a:cubicBezTo>
                  <a:cubicBezTo>
                    <a:pt x="5065871" y="383381"/>
                    <a:pt x="5064919" y="382429"/>
                    <a:pt x="5064919" y="381476"/>
                  </a:cubicBezTo>
                  <a:cubicBezTo>
                    <a:pt x="5065871" y="380524"/>
                    <a:pt x="5065871" y="379571"/>
                    <a:pt x="5066824" y="377666"/>
                  </a:cubicBezTo>
                  <a:close/>
                  <a:moveTo>
                    <a:pt x="5057299" y="303371"/>
                  </a:moveTo>
                  <a:cubicBezTo>
                    <a:pt x="5055394" y="300514"/>
                    <a:pt x="5053489" y="297656"/>
                    <a:pt x="5051584" y="294799"/>
                  </a:cubicBezTo>
                  <a:cubicBezTo>
                    <a:pt x="5051584" y="293846"/>
                    <a:pt x="5051584" y="291941"/>
                    <a:pt x="5052537" y="290989"/>
                  </a:cubicBezTo>
                  <a:cubicBezTo>
                    <a:pt x="5053489" y="290036"/>
                    <a:pt x="5054442" y="288131"/>
                    <a:pt x="5055394" y="287179"/>
                  </a:cubicBezTo>
                  <a:cubicBezTo>
                    <a:pt x="5056346" y="291941"/>
                    <a:pt x="5056346" y="297656"/>
                    <a:pt x="5057299" y="303371"/>
                  </a:cubicBezTo>
                  <a:close/>
                  <a:moveTo>
                    <a:pt x="5050631" y="252889"/>
                  </a:moveTo>
                  <a:cubicBezTo>
                    <a:pt x="5051584" y="254794"/>
                    <a:pt x="5051584" y="256699"/>
                    <a:pt x="5052537" y="258604"/>
                  </a:cubicBezTo>
                  <a:cubicBezTo>
                    <a:pt x="5052537" y="259556"/>
                    <a:pt x="5052537" y="260509"/>
                    <a:pt x="5053489" y="260509"/>
                  </a:cubicBezTo>
                  <a:cubicBezTo>
                    <a:pt x="5053489" y="262414"/>
                    <a:pt x="5053489" y="265271"/>
                    <a:pt x="5054442" y="268129"/>
                  </a:cubicBezTo>
                  <a:cubicBezTo>
                    <a:pt x="5053489" y="270034"/>
                    <a:pt x="5053489" y="271939"/>
                    <a:pt x="5052537" y="273844"/>
                  </a:cubicBezTo>
                  <a:cubicBezTo>
                    <a:pt x="5052537" y="274796"/>
                    <a:pt x="5051584" y="275749"/>
                    <a:pt x="5051584" y="276701"/>
                  </a:cubicBezTo>
                  <a:cubicBezTo>
                    <a:pt x="5050631" y="277654"/>
                    <a:pt x="5049679" y="278606"/>
                    <a:pt x="5048726" y="279559"/>
                  </a:cubicBezTo>
                  <a:cubicBezTo>
                    <a:pt x="5048726" y="279559"/>
                    <a:pt x="5048726" y="278606"/>
                    <a:pt x="5048726" y="278606"/>
                  </a:cubicBezTo>
                  <a:cubicBezTo>
                    <a:pt x="5048726" y="277654"/>
                    <a:pt x="5048726" y="275749"/>
                    <a:pt x="5048726" y="274796"/>
                  </a:cubicBezTo>
                  <a:cubicBezTo>
                    <a:pt x="5048726" y="271939"/>
                    <a:pt x="5048726" y="270034"/>
                    <a:pt x="5049679" y="268129"/>
                  </a:cubicBezTo>
                  <a:cubicBezTo>
                    <a:pt x="5049679" y="264319"/>
                    <a:pt x="5050631" y="262414"/>
                    <a:pt x="5050631" y="262414"/>
                  </a:cubicBezTo>
                  <a:cubicBezTo>
                    <a:pt x="5050631" y="262414"/>
                    <a:pt x="5049679" y="264319"/>
                    <a:pt x="5048726" y="268129"/>
                  </a:cubicBezTo>
                  <a:cubicBezTo>
                    <a:pt x="5048726" y="268129"/>
                    <a:pt x="5048726" y="269081"/>
                    <a:pt x="5048726" y="269081"/>
                  </a:cubicBezTo>
                  <a:cubicBezTo>
                    <a:pt x="5048726" y="268129"/>
                    <a:pt x="5048726" y="267176"/>
                    <a:pt x="5048726" y="266224"/>
                  </a:cubicBezTo>
                  <a:cubicBezTo>
                    <a:pt x="5048726" y="260509"/>
                    <a:pt x="5049679" y="256699"/>
                    <a:pt x="5050631" y="252889"/>
                  </a:cubicBezTo>
                  <a:close/>
                  <a:moveTo>
                    <a:pt x="5020151" y="390049"/>
                  </a:moveTo>
                  <a:cubicBezTo>
                    <a:pt x="5018246" y="385286"/>
                    <a:pt x="5016342" y="380524"/>
                    <a:pt x="5014437" y="376714"/>
                  </a:cubicBezTo>
                  <a:cubicBezTo>
                    <a:pt x="5014437" y="376714"/>
                    <a:pt x="5014437" y="375761"/>
                    <a:pt x="5014437" y="375761"/>
                  </a:cubicBezTo>
                  <a:cubicBezTo>
                    <a:pt x="5017294" y="365284"/>
                    <a:pt x="5020151" y="355759"/>
                    <a:pt x="5022056" y="347186"/>
                  </a:cubicBezTo>
                  <a:cubicBezTo>
                    <a:pt x="5022056" y="347186"/>
                    <a:pt x="5022056" y="348139"/>
                    <a:pt x="5022056" y="348139"/>
                  </a:cubicBezTo>
                  <a:cubicBezTo>
                    <a:pt x="5022056" y="352901"/>
                    <a:pt x="5022056" y="357664"/>
                    <a:pt x="5022056" y="363379"/>
                  </a:cubicBezTo>
                  <a:cubicBezTo>
                    <a:pt x="5022056" y="368141"/>
                    <a:pt x="5023009" y="373856"/>
                    <a:pt x="5023009" y="379571"/>
                  </a:cubicBezTo>
                  <a:cubicBezTo>
                    <a:pt x="5023009" y="381476"/>
                    <a:pt x="5023009" y="384334"/>
                    <a:pt x="5023962" y="386239"/>
                  </a:cubicBezTo>
                  <a:cubicBezTo>
                    <a:pt x="5023009" y="386239"/>
                    <a:pt x="5022056" y="388144"/>
                    <a:pt x="5020151" y="390049"/>
                  </a:cubicBezTo>
                  <a:close/>
                  <a:moveTo>
                    <a:pt x="5024914" y="400526"/>
                  </a:moveTo>
                  <a:cubicBezTo>
                    <a:pt x="5024914" y="400526"/>
                    <a:pt x="5024914" y="400526"/>
                    <a:pt x="5024914" y="400526"/>
                  </a:cubicBezTo>
                  <a:cubicBezTo>
                    <a:pt x="5024914" y="400526"/>
                    <a:pt x="5024914" y="400526"/>
                    <a:pt x="5024914" y="400526"/>
                  </a:cubicBezTo>
                  <a:cubicBezTo>
                    <a:pt x="5024914" y="400526"/>
                    <a:pt x="5024914" y="400526"/>
                    <a:pt x="5024914" y="400526"/>
                  </a:cubicBezTo>
                  <a:close/>
                  <a:moveTo>
                    <a:pt x="5035392" y="314801"/>
                  </a:moveTo>
                  <a:cubicBezTo>
                    <a:pt x="5035392" y="315754"/>
                    <a:pt x="5035392" y="316706"/>
                    <a:pt x="5035392" y="317659"/>
                  </a:cubicBezTo>
                  <a:cubicBezTo>
                    <a:pt x="5034439" y="329089"/>
                    <a:pt x="5032534" y="341471"/>
                    <a:pt x="5031581" y="353854"/>
                  </a:cubicBezTo>
                  <a:cubicBezTo>
                    <a:pt x="5031581" y="353854"/>
                    <a:pt x="5031581" y="353854"/>
                    <a:pt x="5031581" y="353854"/>
                  </a:cubicBezTo>
                  <a:cubicBezTo>
                    <a:pt x="5031581" y="353854"/>
                    <a:pt x="5031581" y="354806"/>
                    <a:pt x="5031581" y="354806"/>
                  </a:cubicBezTo>
                  <a:cubicBezTo>
                    <a:pt x="5031581" y="351949"/>
                    <a:pt x="5030629" y="349091"/>
                    <a:pt x="5030629" y="347186"/>
                  </a:cubicBezTo>
                  <a:cubicBezTo>
                    <a:pt x="5029676" y="340519"/>
                    <a:pt x="5028724" y="334804"/>
                    <a:pt x="5027771" y="329089"/>
                  </a:cubicBezTo>
                  <a:cubicBezTo>
                    <a:pt x="5027771" y="328136"/>
                    <a:pt x="5028724" y="326231"/>
                    <a:pt x="5028724" y="325279"/>
                  </a:cubicBezTo>
                  <a:cubicBezTo>
                    <a:pt x="5029676" y="323374"/>
                    <a:pt x="5030629" y="321469"/>
                    <a:pt x="5032534" y="319564"/>
                  </a:cubicBezTo>
                  <a:cubicBezTo>
                    <a:pt x="5033487" y="317659"/>
                    <a:pt x="5034439" y="315754"/>
                    <a:pt x="5035392" y="314801"/>
                  </a:cubicBezTo>
                  <a:close/>
                  <a:moveTo>
                    <a:pt x="5006817" y="242411"/>
                  </a:moveTo>
                  <a:cubicBezTo>
                    <a:pt x="5009674" y="246221"/>
                    <a:pt x="5013484" y="251936"/>
                    <a:pt x="5019199" y="259556"/>
                  </a:cubicBezTo>
                  <a:cubicBezTo>
                    <a:pt x="5022056" y="262414"/>
                    <a:pt x="5023962" y="266224"/>
                    <a:pt x="5025867" y="270034"/>
                  </a:cubicBezTo>
                  <a:cubicBezTo>
                    <a:pt x="5023962" y="268129"/>
                    <a:pt x="5022056" y="265271"/>
                    <a:pt x="5021104" y="263366"/>
                  </a:cubicBezTo>
                  <a:cubicBezTo>
                    <a:pt x="5019199" y="260509"/>
                    <a:pt x="5016342" y="258604"/>
                    <a:pt x="5014437" y="255746"/>
                  </a:cubicBezTo>
                  <a:cubicBezTo>
                    <a:pt x="5011579" y="251936"/>
                    <a:pt x="5007769" y="249079"/>
                    <a:pt x="5004912" y="245269"/>
                  </a:cubicBezTo>
                  <a:cubicBezTo>
                    <a:pt x="5006817" y="244316"/>
                    <a:pt x="5006817" y="243364"/>
                    <a:pt x="5006817" y="242411"/>
                  </a:cubicBezTo>
                  <a:close/>
                  <a:moveTo>
                    <a:pt x="5004912" y="242411"/>
                  </a:moveTo>
                  <a:cubicBezTo>
                    <a:pt x="5004912" y="241459"/>
                    <a:pt x="5004912" y="240506"/>
                    <a:pt x="5004912" y="238601"/>
                  </a:cubicBezTo>
                  <a:cubicBezTo>
                    <a:pt x="5004912" y="238601"/>
                    <a:pt x="5005864" y="239554"/>
                    <a:pt x="5006817" y="241459"/>
                  </a:cubicBezTo>
                  <a:cubicBezTo>
                    <a:pt x="5005864" y="242411"/>
                    <a:pt x="5005864" y="243364"/>
                    <a:pt x="5004912" y="244316"/>
                  </a:cubicBezTo>
                  <a:cubicBezTo>
                    <a:pt x="5004912" y="244316"/>
                    <a:pt x="5004912" y="244316"/>
                    <a:pt x="5004912" y="243364"/>
                  </a:cubicBezTo>
                  <a:cubicBezTo>
                    <a:pt x="5003959" y="243364"/>
                    <a:pt x="5003959" y="242411"/>
                    <a:pt x="5004912" y="242411"/>
                  </a:cubicBezTo>
                  <a:close/>
                  <a:moveTo>
                    <a:pt x="4999196" y="303371"/>
                  </a:moveTo>
                  <a:cubicBezTo>
                    <a:pt x="5001101" y="285274"/>
                    <a:pt x="5002054" y="268129"/>
                    <a:pt x="5003006" y="252889"/>
                  </a:cubicBezTo>
                  <a:cubicBezTo>
                    <a:pt x="5004912" y="255746"/>
                    <a:pt x="5006817" y="257651"/>
                    <a:pt x="5008721" y="260509"/>
                  </a:cubicBezTo>
                  <a:cubicBezTo>
                    <a:pt x="5010626" y="263366"/>
                    <a:pt x="5012531" y="266224"/>
                    <a:pt x="5014437" y="268129"/>
                  </a:cubicBezTo>
                  <a:cubicBezTo>
                    <a:pt x="5016342" y="270986"/>
                    <a:pt x="5018246" y="273844"/>
                    <a:pt x="5020151" y="276701"/>
                  </a:cubicBezTo>
                  <a:cubicBezTo>
                    <a:pt x="5023009" y="281464"/>
                    <a:pt x="5026819" y="287179"/>
                    <a:pt x="5029676" y="292894"/>
                  </a:cubicBezTo>
                  <a:cubicBezTo>
                    <a:pt x="5029676" y="292894"/>
                    <a:pt x="5029676" y="293846"/>
                    <a:pt x="5029676" y="293846"/>
                  </a:cubicBezTo>
                  <a:cubicBezTo>
                    <a:pt x="5028724" y="296704"/>
                    <a:pt x="5026819" y="299561"/>
                    <a:pt x="5025867" y="302419"/>
                  </a:cubicBezTo>
                  <a:cubicBezTo>
                    <a:pt x="5024914" y="303371"/>
                    <a:pt x="5023962" y="304324"/>
                    <a:pt x="5023009" y="305276"/>
                  </a:cubicBezTo>
                  <a:cubicBezTo>
                    <a:pt x="5023009" y="302419"/>
                    <a:pt x="5022056" y="301466"/>
                    <a:pt x="5022056" y="301466"/>
                  </a:cubicBezTo>
                  <a:cubicBezTo>
                    <a:pt x="5022056" y="301466"/>
                    <a:pt x="5022056" y="303371"/>
                    <a:pt x="5022056" y="306229"/>
                  </a:cubicBezTo>
                  <a:cubicBezTo>
                    <a:pt x="5021104" y="307181"/>
                    <a:pt x="5020151" y="308134"/>
                    <a:pt x="5019199" y="309086"/>
                  </a:cubicBezTo>
                  <a:cubicBezTo>
                    <a:pt x="5017294" y="311944"/>
                    <a:pt x="5014437" y="314801"/>
                    <a:pt x="5012531" y="318611"/>
                  </a:cubicBezTo>
                  <a:cubicBezTo>
                    <a:pt x="5012531" y="316706"/>
                    <a:pt x="5013484" y="313849"/>
                    <a:pt x="5013484" y="311944"/>
                  </a:cubicBezTo>
                  <a:cubicBezTo>
                    <a:pt x="5014437" y="305276"/>
                    <a:pt x="5015389" y="299561"/>
                    <a:pt x="5017294" y="294799"/>
                  </a:cubicBezTo>
                  <a:cubicBezTo>
                    <a:pt x="5019199" y="285274"/>
                    <a:pt x="5020151" y="279559"/>
                    <a:pt x="5020151" y="279559"/>
                  </a:cubicBezTo>
                  <a:cubicBezTo>
                    <a:pt x="5020151" y="279559"/>
                    <a:pt x="5017294" y="284321"/>
                    <a:pt x="5013484" y="293846"/>
                  </a:cubicBezTo>
                  <a:cubicBezTo>
                    <a:pt x="5011579" y="298609"/>
                    <a:pt x="5008721" y="304324"/>
                    <a:pt x="5006817" y="310039"/>
                  </a:cubicBezTo>
                  <a:cubicBezTo>
                    <a:pt x="5003959" y="316706"/>
                    <a:pt x="5002054" y="324326"/>
                    <a:pt x="4999196" y="331946"/>
                  </a:cubicBezTo>
                  <a:cubicBezTo>
                    <a:pt x="4999196" y="331946"/>
                    <a:pt x="4999196" y="332899"/>
                    <a:pt x="4999196" y="332899"/>
                  </a:cubicBezTo>
                  <a:cubicBezTo>
                    <a:pt x="4998244" y="330994"/>
                    <a:pt x="4997292" y="329089"/>
                    <a:pt x="4997292" y="327184"/>
                  </a:cubicBezTo>
                  <a:cubicBezTo>
                    <a:pt x="4998244" y="320516"/>
                    <a:pt x="4998244" y="311944"/>
                    <a:pt x="4999196" y="303371"/>
                  </a:cubicBezTo>
                  <a:close/>
                  <a:moveTo>
                    <a:pt x="4968717" y="208121"/>
                  </a:moveTo>
                  <a:cubicBezTo>
                    <a:pt x="4968717" y="209074"/>
                    <a:pt x="4968717" y="210026"/>
                    <a:pt x="4967764" y="212884"/>
                  </a:cubicBezTo>
                  <a:cubicBezTo>
                    <a:pt x="4967764" y="213836"/>
                    <a:pt x="4966812" y="215741"/>
                    <a:pt x="4966812" y="217646"/>
                  </a:cubicBezTo>
                  <a:cubicBezTo>
                    <a:pt x="4966812" y="216694"/>
                    <a:pt x="4966812" y="216694"/>
                    <a:pt x="4966812" y="215741"/>
                  </a:cubicBezTo>
                  <a:cubicBezTo>
                    <a:pt x="4967764" y="213836"/>
                    <a:pt x="4968717" y="210979"/>
                    <a:pt x="4968717" y="208121"/>
                  </a:cubicBezTo>
                  <a:close/>
                  <a:moveTo>
                    <a:pt x="4960144" y="364331"/>
                  </a:moveTo>
                  <a:cubicBezTo>
                    <a:pt x="4960144" y="370046"/>
                    <a:pt x="4961096" y="375761"/>
                    <a:pt x="4961096" y="381476"/>
                  </a:cubicBezTo>
                  <a:cubicBezTo>
                    <a:pt x="4960144" y="384334"/>
                    <a:pt x="4959192" y="388144"/>
                    <a:pt x="4958239" y="391001"/>
                  </a:cubicBezTo>
                  <a:cubicBezTo>
                    <a:pt x="4958239" y="389096"/>
                    <a:pt x="4957287" y="387191"/>
                    <a:pt x="4957287" y="386239"/>
                  </a:cubicBezTo>
                  <a:cubicBezTo>
                    <a:pt x="4957287" y="384334"/>
                    <a:pt x="4957287" y="382429"/>
                    <a:pt x="4957287" y="380524"/>
                  </a:cubicBezTo>
                  <a:cubicBezTo>
                    <a:pt x="4957287" y="371951"/>
                    <a:pt x="4957287" y="363379"/>
                    <a:pt x="4956334" y="356711"/>
                  </a:cubicBezTo>
                  <a:cubicBezTo>
                    <a:pt x="4956334" y="354806"/>
                    <a:pt x="4956334" y="353854"/>
                    <a:pt x="4956334" y="351949"/>
                  </a:cubicBezTo>
                  <a:cubicBezTo>
                    <a:pt x="4957287" y="350996"/>
                    <a:pt x="4958239" y="349091"/>
                    <a:pt x="4958239" y="348139"/>
                  </a:cubicBezTo>
                  <a:cubicBezTo>
                    <a:pt x="4959192" y="352901"/>
                    <a:pt x="4959192" y="358616"/>
                    <a:pt x="4960144" y="364331"/>
                  </a:cubicBezTo>
                  <a:close/>
                  <a:moveTo>
                    <a:pt x="4957287" y="256699"/>
                  </a:moveTo>
                  <a:cubicBezTo>
                    <a:pt x="4957287" y="257651"/>
                    <a:pt x="4957287" y="258604"/>
                    <a:pt x="4957287" y="258604"/>
                  </a:cubicBezTo>
                  <a:cubicBezTo>
                    <a:pt x="4957287" y="258604"/>
                    <a:pt x="4957287" y="259556"/>
                    <a:pt x="4957287" y="259556"/>
                  </a:cubicBezTo>
                  <a:cubicBezTo>
                    <a:pt x="4956334" y="262414"/>
                    <a:pt x="4956334" y="264319"/>
                    <a:pt x="4955381" y="267176"/>
                  </a:cubicBezTo>
                  <a:cubicBezTo>
                    <a:pt x="4955381" y="266224"/>
                    <a:pt x="4954429" y="266224"/>
                    <a:pt x="4954429" y="265271"/>
                  </a:cubicBezTo>
                  <a:cubicBezTo>
                    <a:pt x="4955381" y="263366"/>
                    <a:pt x="4956334" y="259556"/>
                    <a:pt x="4957287" y="256699"/>
                  </a:cubicBezTo>
                  <a:close/>
                  <a:moveTo>
                    <a:pt x="4954429" y="268129"/>
                  </a:moveTo>
                  <a:cubicBezTo>
                    <a:pt x="4954429" y="269081"/>
                    <a:pt x="4955381" y="270034"/>
                    <a:pt x="4955381" y="270986"/>
                  </a:cubicBezTo>
                  <a:cubicBezTo>
                    <a:pt x="4954429" y="276701"/>
                    <a:pt x="4952524" y="283369"/>
                    <a:pt x="4951571" y="290036"/>
                  </a:cubicBezTo>
                  <a:cubicBezTo>
                    <a:pt x="4949667" y="298609"/>
                    <a:pt x="4947762" y="307181"/>
                    <a:pt x="4944904" y="316706"/>
                  </a:cubicBezTo>
                  <a:cubicBezTo>
                    <a:pt x="4943951" y="312896"/>
                    <a:pt x="4943951" y="310991"/>
                    <a:pt x="4943951" y="310991"/>
                  </a:cubicBezTo>
                  <a:cubicBezTo>
                    <a:pt x="4943951" y="310991"/>
                    <a:pt x="4943951" y="314801"/>
                    <a:pt x="4943951" y="320516"/>
                  </a:cubicBezTo>
                  <a:cubicBezTo>
                    <a:pt x="4942999" y="326231"/>
                    <a:pt x="4941094" y="330994"/>
                    <a:pt x="4940142" y="336709"/>
                  </a:cubicBezTo>
                  <a:cubicBezTo>
                    <a:pt x="4940142" y="336709"/>
                    <a:pt x="4940142" y="335756"/>
                    <a:pt x="4940142" y="335756"/>
                  </a:cubicBezTo>
                  <a:cubicBezTo>
                    <a:pt x="4939189" y="331946"/>
                    <a:pt x="4939189" y="329089"/>
                    <a:pt x="4938237" y="325279"/>
                  </a:cubicBezTo>
                  <a:cubicBezTo>
                    <a:pt x="4943951" y="306229"/>
                    <a:pt x="4949667" y="286226"/>
                    <a:pt x="4954429" y="268129"/>
                  </a:cubicBezTo>
                  <a:close/>
                  <a:moveTo>
                    <a:pt x="4922044" y="378619"/>
                  </a:moveTo>
                  <a:cubicBezTo>
                    <a:pt x="4922044" y="378619"/>
                    <a:pt x="4922044" y="378619"/>
                    <a:pt x="4922044" y="378619"/>
                  </a:cubicBezTo>
                  <a:cubicBezTo>
                    <a:pt x="4922044" y="379571"/>
                    <a:pt x="4922044" y="379571"/>
                    <a:pt x="4922044" y="378619"/>
                  </a:cubicBezTo>
                  <a:cubicBezTo>
                    <a:pt x="4922044" y="379571"/>
                    <a:pt x="4922044" y="378619"/>
                    <a:pt x="4922044" y="378619"/>
                  </a:cubicBezTo>
                  <a:close/>
                  <a:moveTo>
                    <a:pt x="4908709" y="307181"/>
                  </a:moveTo>
                  <a:cubicBezTo>
                    <a:pt x="4910614" y="312896"/>
                    <a:pt x="4912519" y="318611"/>
                    <a:pt x="4915376" y="326231"/>
                  </a:cubicBezTo>
                  <a:cubicBezTo>
                    <a:pt x="4913471" y="330041"/>
                    <a:pt x="4911567" y="334804"/>
                    <a:pt x="4909662" y="338614"/>
                  </a:cubicBezTo>
                  <a:cubicBezTo>
                    <a:pt x="4908709" y="327184"/>
                    <a:pt x="4907756" y="316706"/>
                    <a:pt x="4906804" y="308134"/>
                  </a:cubicBezTo>
                  <a:cubicBezTo>
                    <a:pt x="4906804" y="306229"/>
                    <a:pt x="4906804" y="305276"/>
                    <a:pt x="4906804" y="305276"/>
                  </a:cubicBezTo>
                  <a:cubicBezTo>
                    <a:pt x="4906804" y="305276"/>
                    <a:pt x="4906804" y="306229"/>
                    <a:pt x="4905851" y="307181"/>
                  </a:cubicBezTo>
                  <a:cubicBezTo>
                    <a:pt x="4905851" y="303371"/>
                    <a:pt x="4904899" y="300514"/>
                    <a:pt x="4904899" y="297656"/>
                  </a:cubicBezTo>
                  <a:cubicBezTo>
                    <a:pt x="4906804" y="300514"/>
                    <a:pt x="4907756" y="303371"/>
                    <a:pt x="4908709" y="307181"/>
                  </a:cubicBezTo>
                  <a:close/>
                  <a:moveTo>
                    <a:pt x="4897279" y="351949"/>
                  </a:moveTo>
                  <a:cubicBezTo>
                    <a:pt x="4897279" y="356711"/>
                    <a:pt x="4897279" y="360521"/>
                    <a:pt x="4896326" y="365284"/>
                  </a:cubicBezTo>
                  <a:cubicBezTo>
                    <a:pt x="4896326" y="366236"/>
                    <a:pt x="4895374" y="367189"/>
                    <a:pt x="4895374" y="368141"/>
                  </a:cubicBezTo>
                  <a:cubicBezTo>
                    <a:pt x="4895374" y="365284"/>
                    <a:pt x="4894421" y="361474"/>
                    <a:pt x="4894421" y="357664"/>
                  </a:cubicBezTo>
                  <a:cubicBezTo>
                    <a:pt x="4893469" y="351949"/>
                    <a:pt x="4893469" y="347186"/>
                    <a:pt x="4892517" y="341471"/>
                  </a:cubicBezTo>
                  <a:cubicBezTo>
                    <a:pt x="4894421" y="345281"/>
                    <a:pt x="4895374" y="348139"/>
                    <a:pt x="4897279" y="351949"/>
                  </a:cubicBezTo>
                  <a:close/>
                  <a:moveTo>
                    <a:pt x="4822984" y="387191"/>
                  </a:moveTo>
                  <a:cubicBezTo>
                    <a:pt x="4822984" y="386239"/>
                    <a:pt x="4822984" y="386239"/>
                    <a:pt x="4822984" y="385286"/>
                  </a:cubicBezTo>
                  <a:cubicBezTo>
                    <a:pt x="4822984" y="386239"/>
                    <a:pt x="4822984" y="387191"/>
                    <a:pt x="4822984" y="387191"/>
                  </a:cubicBezTo>
                  <a:cubicBezTo>
                    <a:pt x="4822984" y="387191"/>
                    <a:pt x="4822984" y="387191"/>
                    <a:pt x="4822984" y="387191"/>
                  </a:cubicBezTo>
                  <a:close/>
                  <a:moveTo>
                    <a:pt x="4842987" y="338614"/>
                  </a:moveTo>
                  <a:cubicBezTo>
                    <a:pt x="4842987" y="344329"/>
                    <a:pt x="4842987" y="350044"/>
                    <a:pt x="4842987" y="356711"/>
                  </a:cubicBezTo>
                  <a:cubicBezTo>
                    <a:pt x="4842987" y="357664"/>
                    <a:pt x="4842987" y="359569"/>
                    <a:pt x="4842987" y="360521"/>
                  </a:cubicBezTo>
                  <a:cubicBezTo>
                    <a:pt x="4842034" y="366236"/>
                    <a:pt x="4841081" y="373856"/>
                    <a:pt x="4840129" y="382429"/>
                  </a:cubicBezTo>
                  <a:cubicBezTo>
                    <a:pt x="4839176" y="385286"/>
                    <a:pt x="4839176" y="387191"/>
                    <a:pt x="4838224" y="390049"/>
                  </a:cubicBezTo>
                  <a:cubicBezTo>
                    <a:pt x="4834414" y="389096"/>
                    <a:pt x="4830604" y="388144"/>
                    <a:pt x="4826794" y="387191"/>
                  </a:cubicBezTo>
                  <a:cubicBezTo>
                    <a:pt x="4825841" y="384334"/>
                    <a:pt x="4824889" y="381476"/>
                    <a:pt x="4824889" y="379571"/>
                  </a:cubicBezTo>
                  <a:cubicBezTo>
                    <a:pt x="4825841" y="376714"/>
                    <a:pt x="4826794" y="373856"/>
                    <a:pt x="4827747" y="370999"/>
                  </a:cubicBezTo>
                  <a:cubicBezTo>
                    <a:pt x="4830604" y="361474"/>
                    <a:pt x="4834414" y="352901"/>
                    <a:pt x="4838224" y="346234"/>
                  </a:cubicBezTo>
                  <a:cubicBezTo>
                    <a:pt x="4840129" y="342424"/>
                    <a:pt x="4842034" y="339566"/>
                    <a:pt x="4843939" y="336709"/>
                  </a:cubicBezTo>
                  <a:cubicBezTo>
                    <a:pt x="4842987" y="337661"/>
                    <a:pt x="4842987" y="338614"/>
                    <a:pt x="4842987" y="338614"/>
                  </a:cubicBezTo>
                  <a:cubicBezTo>
                    <a:pt x="4842987" y="338614"/>
                    <a:pt x="4842987" y="338614"/>
                    <a:pt x="4842987" y="338614"/>
                  </a:cubicBezTo>
                  <a:close/>
                  <a:moveTo>
                    <a:pt x="4843939" y="329089"/>
                  </a:moveTo>
                  <a:cubicBezTo>
                    <a:pt x="4843939" y="329089"/>
                    <a:pt x="4843939" y="329089"/>
                    <a:pt x="4843939" y="329089"/>
                  </a:cubicBezTo>
                  <a:cubicBezTo>
                    <a:pt x="4841081" y="324326"/>
                    <a:pt x="4838224" y="320516"/>
                    <a:pt x="4836319" y="318611"/>
                  </a:cubicBezTo>
                  <a:cubicBezTo>
                    <a:pt x="4836319" y="318611"/>
                    <a:pt x="4836319" y="318611"/>
                    <a:pt x="4836319" y="318611"/>
                  </a:cubicBezTo>
                  <a:cubicBezTo>
                    <a:pt x="4837272" y="316706"/>
                    <a:pt x="4838224" y="315754"/>
                    <a:pt x="4839176" y="314801"/>
                  </a:cubicBezTo>
                  <a:cubicBezTo>
                    <a:pt x="4840129" y="316706"/>
                    <a:pt x="4841081" y="319564"/>
                    <a:pt x="4842987" y="321469"/>
                  </a:cubicBezTo>
                  <a:cubicBezTo>
                    <a:pt x="4842987" y="322421"/>
                    <a:pt x="4843939" y="323374"/>
                    <a:pt x="4843939" y="323374"/>
                  </a:cubicBezTo>
                  <a:cubicBezTo>
                    <a:pt x="4843939" y="325279"/>
                    <a:pt x="4843939" y="327184"/>
                    <a:pt x="4843939" y="329089"/>
                  </a:cubicBezTo>
                  <a:close/>
                  <a:moveTo>
                    <a:pt x="4845844" y="296704"/>
                  </a:moveTo>
                  <a:cubicBezTo>
                    <a:pt x="4845844" y="302419"/>
                    <a:pt x="4844891" y="309086"/>
                    <a:pt x="4844891" y="316706"/>
                  </a:cubicBezTo>
                  <a:cubicBezTo>
                    <a:pt x="4842987" y="314801"/>
                    <a:pt x="4842034" y="311944"/>
                    <a:pt x="4840129" y="310039"/>
                  </a:cubicBezTo>
                  <a:cubicBezTo>
                    <a:pt x="4839176" y="309086"/>
                    <a:pt x="4838224" y="307181"/>
                    <a:pt x="4837272" y="306229"/>
                  </a:cubicBezTo>
                  <a:cubicBezTo>
                    <a:pt x="4840129" y="300514"/>
                    <a:pt x="4842987" y="295751"/>
                    <a:pt x="4845844" y="290989"/>
                  </a:cubicBezTo>
                  <a:cubicBezTo>
                    <a:pt x="4846797" y="290036"/>
                    <a:pt x="4846797" y="289084"/>
                    <a:pt x="4847749" y="288131"/>
                  </a:cubicBezTo>
                  <a:cubicBezTo>
                    <a:pt x="4846797" y="290989"/>
                    <a:pt x="4845844" y="293846"/>
                    <a:pt x="4845844" y="296704"/>
                  </a:cubicBezTo>
                  <a:close/>
                  <a:moveTo>
                    <a:pt x="4869656" y="325279"/>
                  </a:moveTo>
                  <a:cubicBezTo>
                    <a:pt x="4869656" y="326231"/>
                    <a:pt x="4869656" y="326231"/>
                    <a:pt x="4869656" y="327184"/>
                  </a:cubicBezTo>
                  <a:cubicBezTo>
                    <a:pt x="4869656" y="327184"/>
                    <a:pt x="4869656" y="326231"/>
                    <a:pt x="4869656" y="325279"/>
                  </a:cubicBezTo>
                  <a:cubicBezTo>
                    <a:pt x="4869656" y="323374"/>
                    <a:pt x="4869656" y="320516"/>
                    <a:pt x="4869656" y="318611"/>
                  </a:cubicBezTo>
                  <a:cubicBezTo>
                    <a:pt x="4869656" y="320516"/>
                    <a:pt x="4869656" y="323374"/>
                    <a:pt x="4869656" y="325279"/>
                  </a:cubicBezTo>
                  <a:close/>
                  <a:moveTo>
                    <a:pt x="4854416" y="276701"/>
                  </a:moveTo>
                  <a:cubicBezTo>
                    <a:pt x="4860131" y="267176"/>
                    <a:pt x="4865847" y="261461"/>
                    <a:pt x="4868704" y="256699"/>
                  </a:cubicBezTo>
                  <a:cubicBezTo>
                    <a:pt x="4869656" y="255746"/>
                    <a:pt x="4870609" y="253841"/>
                    <a:pt x="4871562" y="252889"/>
                  </a:cubicBezTo>
                  <a:cubicBezTo>
                    <a:pt x="4871562" y="254794"/>
                    <a:pt x="4871562" y="257651"/>
                    <a:pt x="4871562" y="259556"/>
                  </a:cubicBezTo>
                  <a:cubicBezTo>
                    <a:pt x="4868704" y="270986"/>
                    <a:pt x="4864894" y="283369"/>
                    <a:pt x="4861084" y="296704"/>
                  </a:cubicBezTo>
                  <a:cubicBezTo>
                    <a:pt x="4861084" y="297656"/>
                    <a:pt x="4860131" y="299561"/>
                    <a:pt x="4860131" y="300514"/>
                  </a:cubicBezTo>
                  <a:cubicBezTo>
                    <a:pt x="4857274" y="291941"/>
                    <a:pt x="4855369" y="284321"/>
                    <a:pt x="4853464" y="278606"/>
                  </a:cubicBezTo>
                  <a:cubicBezTo>
                    <a:pt x="4854416" y="277654"/>
                    <a:pt x="4854416" y="277654"/>
                    <a:pt x="4854416" y="276701"/>
                  </a:cubicBezTo>
                  <a:cubicBezTo>
                    <a:pt x="4854416" y="276701"/>
                    <a:pt x="4854416" y="276701"/>
                    <a:pt x="4854416" y="276701"/>
                  </a:cubicBezTo>
                  <a:close/>
                  <a:moveTo>
                    <a:pt x="4850606" y="281464"/>
                  </a:moveTo>
                  <a:cubicBezTo>
                    <a:pt x="4852512" y="290989"/>
                    <a:pt x="4854416" y="303371"/>
                    <a:pt x="4857274" y="316706"/>
                  </a:cubicBezTo>
                  <a:cubicBezTo>
                    <a:pt x="4856322" y="321469"/>
                    <a:pt x="4855369" y="325279"/>
                    <a:pt x="4854416" y="330041"/>
                  </a:cubicBezTo>
                  <a:cubicBezTo>
                    <a:pt x="4853464" y="329089"/>
                    <a:pt x="4852512" y="327184"/>
                    <a:pt x="4852512" y="326231"/>
                  </a:cubicBezTo>
                  <a:cubicBezTo>
                    <a:pt x="4852512" y="325279"/>
                    <a:pt x="4852512" y="323374"/>
                    <a:pt x="4852512" y="322421"/>
                  </a:cubicBezTo>
                  <a:cubicBezTo>
                    <a:pt x="4851559" y="311944"/>
                    <a:pt x="4851559" y="303371"/>
                    <a:pt x="4850606" y="295751"/>
                  </a:cubicBezTo>
                  <a:cubicBezTo>
                    <a:pt x="4850606" y="290989"/>
                    <a:pt x="4849654" y="287179"/>
                    <a:pt x="4849654" y="284321"/>
                  </a:cubicBezTo>
                  <a:cubicBezTo>
                    <a:pt x="4849654" y="283369"/>
                    <a:pt x="4849654" y="282416"/>
                    <a:pt x="4850606" y="281464"/>
                  </a:cubicBezTo>
                  <a:close/>
                  <a:moveTo>
                    <a:pt x="4838224" y="290036"/>
                  </a:moveTo>
                  <a:cubicBezTo>
                    <a:pt x="4841081" y="283369"/>
                    <a:pt x="4843939" y="277654"/>
                    <a:pt x="4845844" y="272891"/>
                  </a:cubicBezTo>
                  <a:cubicBezTo>
                    <a:pt x="4846797" y="270034"/>
                    <a:pt x="4847749" y="267176"/>
                    <a:pt x="4848701" y="265271"/>
                  </a:cubicBezTo>
                  <a:cubicBezTo>
                    <a:pt x="4848701" y="268129"/>
                    <a:pt x="4849654" y="271939"/>
                    <a:pt x="4849654" y="275749"/>
                  </a:cubicBezTo>
                  <a:cubicBezTo>
                    <a:pt x="4848701" y="276701"/>
                    <a:pt x="4848701" y="277654"/>
                    <a:pt x="4847749" y="277654"/>
                  </a:cubicBezTo>
                  <a:cubicBezTo>
                    <a:pt x="4847749" y="274796"/>
                    <a:pt x="4847749" y="273844"/>
                    <a:pt x="4847749" y="273844"/>
                  </a:cubicBezTo>
                  <a:cubicBezTo>
                    <a:pt x="4847749" y="273844"/>
                    <a:pt x="4847749" y="275749"/>
                    <a:pt x="4847749" y="278606"/>
                  </a:cubicBezTo>
                  <a:cubicBezTo>
                    <a:pt x="4845844" y="281464"/>
                    <a:pt x="4842987" y="284321"/>
                    <a:pt x="4841081" y="288131"/>
                  </a:cubicBezTo>
                  <a:cubicBezTo>
                    <a:pt x="4840129" y="290036"/>
                    <a:pt x="4838224" y="291941"/>
                    <a:pt x="4836319" y="294799"/>
                  </a:cubicBezTo>
                  <a:cubicBezTo>
                    <a:pt x="4836319" y="292894"/>
                    <a:pt x="4837272" y="291941"/>
                    <a:pt x="4838224" y="290036"/>
                  </a:cubicBezTo>
                  <a:close/>
                  <a:moveTo>
                    <a:pt x="4835366" y="309086"/>
                  </a:moveTo>
                  <a:cubicBezTo>
                    <a:pt x="4835366" y="309086"/>
                    <a:pt x="4835366" y="308134"/>
                    <a:pt x="4836319" y="308134"/>
                  </a:cubicBezTo>
                  <a:cubicBezTo>
                    <a:pt x="4837272" y="309086"/>
                    <a:pt x="4837272" y="310039"/>
                    <a:pt x="4838224" y="311944"/>
                  </a:cubicBezTo>
                  <a:cubicBezTo>
                    <a:pt x="4838224" y="312896"/>
                    <a:pt x="4839176" y="312896"/>
                    <a:pt x="4839176" y="313849"/>
                  </a:cubicBezTo>
                  <a:cubicBezTo>
                    <a:pt x="4838224" y="314801"/>
                    <a:pt x="4837272" y="315754"/>
                    <a:pt x="4835366" y="317659"/>
                  </a:cubicBezTo>
                  <a:cubicBezTo>
                    <a:pt x="4835366" y="317659"/>
                    <a:pt x="4835366" y="317659"/>
                    <a:pt x="4835366" y="317659"/>
                  </a:cubicBezTo>
                  <a:cubicBezTo>
                    <a:pt x="4835366" y="317659"/>
                    <a:pt x="4834414" y="316706"/>
                    <a:pt x="4834414" y="316706"/>
                  </a:cubicBezTo>
                  <a:cubicBezTo>
                    <a:pt x="4833462" y="315754"/>
                    <a:pt x="4833462" y="315754"/>
                    <a:pt x="4832509" y="314801"/>
                  </a:cubicBezTo>
                  <a:cubicBezTo>
                    <a:pt x="4833462" y="312896"/>
                    <a:pt x="4834414" y="310991"/>
                    <a:pt x="4835366" y="309086"/>
                  </a:cubicBezTo>
                  <a:close/>
                  <a:moveTo>
                    <a:pt x="4830604" y="319564"/>
                  </a:moveTo>
                  <a:cubicBezTo>
                    <a:pt x="4831556" y="317659"/>
                    <a:pt x="4831556" y="316706"/>
                    <a:pt x="4832509" y="314801"/>
                  </a:cubicBezTo>
                  <a:cubicBezTo>
                    <a:pt x="4832509" y="315754"/>
                    <a:pt x="4833462" y="315754"/>
                    <a:pt x="4833462" y="316706"/>
                  </a:cubicBezTo>
                  <a:cubicBezTo>
                    <a:pt x="4833462" y="317659"/>
                    <a:pt x="4834414" y="317659"/>
                    <a:pt x="4834414" y="318611"/>
                  </a:cubicBezTo>
                  <a:cubicBezTo>
                    <a:pt x="4832509" y="320516"/>
                    <a:pt x="4830604" y="322421"/>
                    <a:pt x="4828699" y="324326"/>
                  </a:cubicBezTo>
                  <a:cubicBezTo>
                    <a:pt x="4829651" y="322421"/>
                    <a:pt x="4829651" y="320516"/>
                    <a:pt x="4830604" y="319564"/>
                  </a:cubicBezTo>
                  <a:close/>
                  <a:moveTo>
                    <a:pt x="4817269" y="364331"/>
                  </a:moveTo>
                  <a:cubicBezTo>
                    <a:pt x="4817269" y="361474"/>
                    <a:pt x="4817269" y="359569"/>
                    <a:pt x="4817269" y="356711"/>
                  </a:cubicBezTo>
                  <a:cubicBezTo>
                    <a:pt x="4820126" y="349091"/>
                    <a:pt x="4822984" y="342424"/>
                    <a:pt x="4824889" y="335756"/>
                  </a:cubicBezTo>
                  <a:cubicBezTo>
                    <a:pt x="4824889" y="335756"/>
                    <a:pt x="4825841" y="334804"/>
                    <a:pt x="4825841" y="334804"/>
                  </a:cubicBezTo>
                  <a:cubicBezTo>
                    <a:pt x="4829651" y="328136"/>
                    <a:pt x="4833462" y="323374"/>
                    <a:pt x="4835366" y="319564"/>
                  </a:cubicBezTo>
                  <a:cubicBezTo>
                    <a:pt x="4835366" y="320516"/>
                    <a:pt x="4836319" y="321469"/>
                    <a:pt x="4837272" y="322421"/>
                  </a:cubicBezTo>
                  <a:cubicBezTo>
                    <a:pt x="4838224" y="324326"/>
                    <a:pt x="4839176" y="327184"/>
                    <a:pt x="4841081" y="330994"/>
                  </a:cubicBezTo>
                  <a:cubicBezTo>
                    <a:pt x="4842034" y="332899"/>
                    <a:pt x="4842034" y="333851"/>
                    <a:pt x="4842987" y="335756"/>
                  </a:cubicBezTo>
                  <a:cubicBezTo>
                    <a:pt x="4840129" y="338614"/>
                    <a:pt x="4838224" y="341471"/>
                    <a:pt x="4835366" y="345281"/>
                  </a:cubicBezTo>
                  <a:cubicBezTo>
                    <a:pt x="4831556" y="350996"/>
                    <a:pt x="4826794" y="357664"/>
                    <a:pt x="4822984" y="366236"/>
                  </a:cubicBezTo>
                  <a:cubicBezTo>
                    <a:pt x="4822031" y="367189"/>
                    <a:pt x="4821079" y="368141"/>
                    <a:pt x="4820126" y="369094"/>
                  </a:cubicBezTo>
                  <a:cubicBezTo>
                    <a:pt x="4819174" y="370046"/>
                    <a:pt x="4818222" y="370999"/>
                    <a:pt x="4817269" y="371951"/>
                  </a:cubicBezTo>
                  <a:cubicBezTo>
                    <a:pt x="4816316" y="369094"/>
                    <a:pt x="4817269" y="366236"/>
                    <a:pt x="4817269" y="364331"/>
                  </a:cubicBezTo>
                  <a:close/>
                  <a:moveTo>
                    <a:pt x="4816316" y="376714"/>
                  </a:moveTo>
                  <a:cubicBezTo>
                    <a:pt x="4817269" y="373856"/>
                    <a:pt x="4819174" y="370999"/>
                    <a:pt x="4820126" y="370046"/>
                  </a:cubicBezTo>
                  <a:cubicBezTo>
                    <a:pt x="4820126" y="370046"/>
                    <a:pt x="4820126" y="370046"/>
                    <a:pt x="4820126" y="370046"/>
                  </a:cubicBezTo>
                  <a:cubicBezTo>
                    <a:pt x="4820126" y="370046"/>
                    <a:pt x="4820126" y="370046"/>
                    <a:pt x="4820126" y="370046"/>
                  </a:cubicBezTo>
                  <a:cubicBezTo>
                    <a:pt x="4819174" y="372904"/>
                    <a:pt x="4817269" y="375761"/>
                    <a:pt x="4816316" y="378619"/>
                  </a:cubicBezTo>
                  <a:cubicBezTo>
                    <a:pt x="4816316" y="376714"/>
                    <a:pt x="4816316" y="376714"/>
                    <a:pt x="4816316" y="376714"/>
                  </a:cubicBezTo>
                  <a:close/>
                  <a:moveTo>
                    <a:pt x="4762024" y="305276"/>
                  </a:moveTo>
                  <a:cubicBezTo>
                    <a:pt x="4762024" y="306229"/>
                    <a:pt x="4762976" y="312896"/>
                    <a:pt x="4763929" y="322421"/>
                  </a:cubicBezTo>
                  <a:cubicBezTo>
                    <a:pt x="4762024" y="317659"/>
                    <a:pt x="4761072" y="313849"/>
                    <a:pt x="4760119" y="309086"/>
                  </a:cubicBezTo>
                  <a:cubicBezTo>
                    <a:pt x="4761072" y="306229"/>
                    <a:pt x="4761072" y="303371"/>
                    <a:pt x="4762024" y="300514"/>
                  </a:cubicBezTo>
                  <a:cubicBezTo>
                    <a:pt x="4762024" y="302419"/>
                    <a:pt x="4762024" y="303371"/>
                    <a:pt x="4762024" y="305276"/>
                  </a:cubicBezTo>
                  <a:close/>
                  <a:moveTo>
                    <a:pt x="4755356" y="279559"/>
                  </a:moveTo>
                  <a:cubicBezTo>
                    <a:pt x="4757262" y="284321"/>
                    <a:pt x="4758214" y="289084"/>
                    <a:pt x="4760119" y="294799"/>
                  </a:cubicBezTo>
                  <a:cubicBezTo>
                    <a:pt x="4760119" y="295751"/>
                    <a:pt x="4760119" y="296704"/>
                    <a:pt x="4761072" y="297656"/>
                  </a:cubicBezTo>
                  <a:cubicBezTo>
                    <a:pt x="4760119" y="299561"/>
                    <a:pt x="4759166" y="301466"/>
                    <a:pt x="4758214" y="304324"/>
                  </a:cubicBezTo>
                  <a:cubicBezTo>
                    <a:pt x="4757262" y="300514"/>
                    <a:pt x="4755356" y="296704"/>
                    <a:pt x="4754404" y="292894"/>
                  </a:cubicBezTo>
                  <a:cubicBezTo>
                    <a:pt x="4754404" y="288131"/>
                    <a:pt x="4754404" y="284321"/>
                    <a:pt x="4755356" y="279559"/>
                  </a:cubicBezTo>
                  <a:close/>
                  <a:moveTo>
                    <a:pt x="4759166" y="342424"/>
                  </a:moveTo>
                  <a:cubicBezTo>
                    <a:pt x="4757262" y="338614"/>
                    <a:pt x="4756309" y="335756"/>
                    <a:pt x="4755356" y="331946"/>
                  </a:cubicBezTo>
                  <a:cubicBezTo>
                    <a:pt x="4755356" y="330041"/>
                    <a:pt x="4756309" y="328136"/>
                    <a:pt x="4756309" y="326231"/>
                  </a:cubicBezTo>
                  <a:cubicBezTo>
                    <a:pt x="4757262" y="330994"/>
                    <a:pt x="4758214" y="336709"/>
                    <a:pt x="4759166" y="342424"/>
                  </a:cubicBezTo>
                  <a:close/>
                  <a:moveTo>
                    <a:pt x="4753451" y="312896"/>
                  </a:moveTo>
                  <a:cubicBezTo>
                    <a:pt x="4753451" y="313849"/>
                    <a:pt x="4753451" y="314801"/>
                    <a:pt x="4754404" y="315754"/>
                  </a:cubicBezTo>
                  <a:cubicBezTo>
                    <a:pt x="4754404" y="316706"/>
                    <a:pt x="4754404" y="316706"/>
                    <a:pt x="4753451" y="317659"/>
                  </a:cubicBezTo>
                  <a:cubicBezTo>
                    <a:pt x="4753451" y="315754"/>
                    <a:pt x="4753451" y="313849"/>
                    <a:pt x="4753451" y="312896"/>
                  </a:cubicBezTo>
                  <a:close/>
                  <a:moveTo>
                    <a:pt x="4755356" y="373856"/>
                  </a:moveTo>
                  <a:cubicBezTo>
                    <a:pt x="4755356" y="374809"/>
                    <a:pt x="4755356" y="374809"/>
                    <a:pt x="4756309" y="375761"/>
                  </a:cubicBezTo>
                  <a:cubicBezTo>
                    <a:pt x="4755356" y="376714"/>
                    <a:pt x="4755356" y="378619"/>
                    <a:pt x="4754404" y="379571"/>
                  </a:cubicBezTo>
                  <a:cubicBezTo>
                    <a:pt x="4753451" y="379571"/>
                    <a:pt x="4753451" y="379571"/>
                    <a:pt x="4752499" y="379571"/>
                  </a:cubicBezTo>
                  <a:cubicBezTo>
                    <a:pt x="4753451" y="377666"/>
                    <a:pt x="4754404" y="375761"/>
                    <a:pt x="4755356" y="373856"/>
                  </a:cubicBezTo>
                  <a:close/>
                  <a:moveTo>
                    <a:pt x="4748689" y="291941"/>
                  </a:moveTo>
                  <a:cubicBezTo>
                    <a:pt x="4747737" y="295751"/>
                    <a:pt x="4747737" y="299561"/>
                    <a:pt x="4746784" y="303371"/>
                  </a:cubicBezTo>
                  <a:cubicBezTo>
                    <a:pt x="4746784" y="303371"/>
                    <a:pt x="4746784" y="303371"/>
                    <a:pt x="4746784" y="303371"/>
                  </a:cubicBezTo>
                  <a:cubicBezTo>
                    <a:pt x="4746784" y="302419"/>
                    <a:pt x="4746784" y="300514"/>
                    <a:pt x="4746784" y="299561"/>
                  </a:cubicBezTo>
                  <a:cubicBezTo>
                    <a:pt x="4746784" y="296704"/>
                    <a:pt x="4747737" y="293846"/>
                    <a:pt x="4748689" y="291941"/>
                  </a:cubicBezTo>
                  <a:close/>
                  <a:moveTo>
                    <a:pt x="4738212" y="327184"/>
                  </a:moveTo>
                  <a:cubicBezTo>
                    <a:pt x="4738212" y="331946"/>
                    <a:pt x="4737259" y="335756"/>
                    <a:pt x="4737259" y="341471"/>
                  </a:cubicBezTo>
                  <a:cubicBezTo>
                    <a:pt x="4737259" y="339566"/>
                    <a:pt x="4736306" y="338614"/>
                    <a:pt x="4736306" y="336709"/>
                  </a:cubicBezTo>
                  <a:cubicBezTo>
                    <a:pt x="4737259" y="332899"/>
                    <a:pt x="4737259" y="330041"/>
                    <a:pt x="4738212" y="327184"/>
                  </a:cubicBezTo>
                  <a:close/>
                  <a:moveTo>
                    <a:pt x="4720114" y="261461"/>
                  </a:moveTo>
                  <a:cubicBezTo>
                    <a:pt x="4720114" y="261461"/>
                    <a:pt x="4720114" y="261461"/>
                    <a:pt x="4720114" y="261461"/>
                  </a:cubicBezTo>
                  <a:cubicBezTo>
                    <a:pt x="4722972" y="270034"/>
                    <a:pt x="4725829" y="279559"/>
                    <a:pt x="4729639" y="290989"/>
                  </a:cubicBezTo>
                  <a:cubicBezTo>
                    <a:pt x="4730591" y="292894"/>
                    <a:pt x="4730591" y="294799"/>
                    <a:pt x="4731544" y="296704"/>
                  </a:cubicBezTo>
                  <a:cubicBezTo>
                    <a:pt x="4730591" y="300514"/>
                    <a:pt x="4728687" y="304324"/>
                    <a:pt x="4727734" y="308134"/>
                  </a:cubicBezTo>
                  <a:cubicBezTo>
                    <a:pt x="4726781" y="304324"/>
                    <a:pt x="4724876" y="299561"/>
                    <a:pt x="4723924" y="295751"/>
                  </a:cubicBezTo>
                  <a:cubicBezTo>
                    <a:pt x="4722019" y="289084"/>
                    <a:pt x="4720114" y="282416"/>
                    <a:pt x="4718209" y="276701"/>
                  </a:cubicBezTo>
                  <a:cubicBezTo>
                    <a:pt x="4718209" y="270034"/>
                    <a:pt x="4719162" y="265271"/>
                    <a:pt x="4720114" y="261461"/>
                  </a:cubicBezTo>
                  <a:close/>
                  <a:moveTo>
                    <a:pt x="4709637" y="324326"/>
                  </a:moveTo>
                  <a:cubicBezTo>
                    <a:pt x="4711541" y="315754"/>
                    <a:pt x="4712494" y="308134"/>
                    <a:pt x="4713447" y="301466"/>
                  </a:cubicBezTo>
                  <a:cubicBezTo>
                    <a:pt x="4715351" y="310991"/>
                    <a:pt x="4717256" y="321469"/>
                    <a:pt x="4719162" y="331946"/>
                  </a:cubicBezTo>
                  <a:cubicBezTo>
                    <a:pt x="4718209" y="335756"/>
                    <a:pt x="4716304" y="339566"/>
                    <a:pt x="4715351" y="343376"/>
                  </a:cubicBezTo>
                  <a:cubicBezTo>
                    <a:pt x="4715351" y="343376"/>
                    <a:pt x="4715351" y="343376"/>
                    <a:pt x="4715351" y="343376"/>
                  </a:cubicBezTo>
                  <a:cubicBezTo>
                    <a:pt x="4712494" y="339566"/>
                    <a:pt x="4709637" y="335756"/>
                    <a:pt x="4707731" y="332899"/>
                  </a:cubicBezTo>
                  <a:cubicBezTo>
                    <a:pt x="4708684" y="330041"/>
                    <a:pt x="4708684" y="327184"/>
                    <a:pt x="4709637" y="324326"/>
                  </a:cubicBezTo>
                  <a:close/>
                  <a:moveTo>
                    <a:pt x="4703922" y="355759"/>
                  </a:moveTo>
                  <a:cubicBezTo>
                    <a:pt x="4704874" y="357664"/>
                    <a:pt x="4704874" y="358616"/>
                    <a:pt x="4705826" y="360521"/>
                  </a:cubicBezTo>
                  <a:cubicBezTo>
                    <a:pt x="4706779" y="363379"/>
                    <a:pt x="4707731" y="366236"/>
                    <a:pt x="4708684" y="369094"/>
                  </a:cubicBezTo>
                  <a:cubicBezTo>
                    <a:pt x="4707731" y="371951"/>
                    <a:pt x="4705826" y="374809"/>
                    <a:pt x="4704874" y="377666"/>
                  </a:cubicBezTo>
                  <a:cubicBezTo>
                    <a:pt x="4704874" y="377666"/>
                    <a:pt x="4704874" y="376714"/>
                    <a:pt x="4704874" y="376714"/>
                  </a:cubicBezTo>
                  <a:cubicBezTo>
                    <a:pt x="4703922" y="374809"/>
                    <a:pt x="4702969" y="373856"/>
                    <a:pt x="4702016" y="371951"/>
                  </a:cubicBezTo>
                  <a:cubicBezTo>
                    <a:pt x="4702016" y="366236"/>
                    <a:pt x="4702969" y="361474"/>
                    <a:pt x="4703922" y="355759"/>
                  </a:cubicBezTo>
                  <a:close/>
                  <a:moveTo>
                    <a:pt x="4682966" y="380524"/>
                  </a:moveTo>
                  <a:cubicBezTo>
                    <a:pt x="4682014" y="384334"/>
                    <a:pt x="4681062" y="388144"/>
                    <a:pt x="4680109" y="392906"/>
                  </a:cubicBezTo>
                  <a:cubicBezTo>
                    <a:pt x="4679156" y="392906"/>
                    <a:pt x="4677251" y="393859"/>
                    <a:pt x="4676299" y="393859"/>
                  </a:cubicBezTo>
                  <a:cubicBezTo>
                    <a:pt x="4676299" y="391954"/>
                    <a:pt x="4675347" y="390049"/>
                    <a:pt x="4675347" y="388144"/>
                  </a:cubicBezTo>
                  <a:cubicBezTo>
                    <a:pt x="4678204" y="384334"/>
                    <a:pt x="4681062" y="381476"/>
                    <a:pt x="4682966" y="378619"/>
                  </a:cubicBezTo>
                  <a:cubicBezTo>
                    <a:pt x="4682014" y="379571"/>
                    <a:pt x="4682966" y="380524"/>
                    <a:pt x="4682966" y="380524"/>
                  </a:cubicBezTo>
                  <a:close/>
                  <a:moveTo>
                    <a:pt x="4672489" y="361474"/>
                  </a:moveTo>
                  <a:cubicBezTo>
                    <a:pt x="4674394" y="365284"/>
                    <a:pt x="4677251" y="370046"/>
                    <a:pt x="4679156" y="373856"/>
                  </a:cubicBezTo>
                  <a:cubicBezTo>
                    <a:pt x="4677251" y="375761"/>
                    <a:pt x="4674394" y="377666"/>
                    <a:pt x="4672489" y="379571"/>
                  </a:cubicBezTo>
                  <a:cubicBezTo>
                    <a:pt x="4672489" y="378619"/>
                    <a:pt x="4672489" y="377666"/>
                    <a:pt x="4671537" y="376714"/>
                  </a:cubicBezTo>
                  <a:cubicBezTo>
                    <a:pt x="4671537" y="374809"/>
                    <a:pt x="4670584" y="372904"/>
                    <a:pt x="4670584" y="370999"/>
                  </a:cubicBezTo>
                  <a:cubicBezTo>
                    <a:pt x="4671537" y="368141"/>
                    <a:pt x="4671537" y="364331"/>
                    <a:pt x="4672489" y="361474"/>
                  </a:cubicBezTo>
                  <a:close/>
                  <a:moveTo>
                    <a:pt x="4661059" y="265271"/>
                  </a:moveTo>
                  <a:cubicBezTo>
                    <a:pt x="4662012" y="260509"/>
                    <a:pt x="4662964" y="256699"/>
                    <a:pt x="4663916" y="252889"/>
                  </a:cubicBezTo>
                  <a:cubicBezTo>
                    <a:pt x="4665822" y="246221"/>
                    <a:pt x="4667726" y="241459"/>
                    <a:pt x="4669631" y="237649"/>
                  </a:cubicBezTo>
                  <a:cubicBezTo>
                    <a:pt x="4669631" y="239554"/>
                    <a:pt x="4669631" y="240506"/>
                    <a:pt x="4669631" y="242411"/>
                  </a:cubicBezTo>
                  <a:cubicBezTo>
                    <a:pt x="4667726" y="250031"/>
                    <a:pt x="4664869" y="259556"/>
                    <a:pt x="4661059" y="269081"/>
                  </a:cubicBezTo>
                  <a:cubicBezTo>
                    <a:pt x="4661059" y="268129"/>
                    <a:pt x="4661059" y="266224"/>
                    <a:pt x="4661059" y="265271"/>
                  </a:cubicBezTo>
                  <a:close/>
                  <a:moveTo>
                    <a:pt x="4645819" y="278606"/>
                  </a:moveTo>
                  <a:cubicBezTo>
                    <a:pt x="4646772" y="271939"/>
                    <a:pt x="4647724" y="266224"/>
                    <a:pt x="4648676" y="260509"/>
                  </a:cubicBezTo>
                  <a:cubicBezTo>
                    <a:pt x="4649629" y="257651"/>
                    <a:pt x="4649629" y="253841"/>
                    <a:pt x="4650581" y="250984"/>
                  </a:cubicBezTo>
                  <a:cubicBezTo>
                    <a:pt x="4650581" y="250984"/>
                    <a:pt x="4650581" y="251936"/>
                    <a:pt x="4650581" y="251936"/>
                  </a:cubicBezTo>
                  <a:cubicBezTo>
                    <a:pt x="4651534" y="254794"/>
                    <a:pt x="4652487" y="259556"/>
                    <a:pt x="4652487" y="265271"/>
                  </a:cubicBezTo>
                  <a:cubicBezTo>
                    <a:pt x="4652487" y="267176"/>
                    <a:pt x="4652487" y="269081"/>
                    <a:pt x="4652487" y="270034"/>
                  </a:cubicBezTo>
                  <a:cubicBezTo>
                    <a:pt x="4651534" y="272891"/>
                    <a:pt x="4651534" y="275749"/>
                    <a:pt x="4650581" y="278606"/>
                  </a:cubicBezTo>
                  <a:cubicBezTo>
                    <a:pt x="4649629" y="282416"/>
                    <a:pt x="4648676" y="287179"/>
                    <a:pt x="4648676" y="290989"/>
                  </a:cubicBezTo>
                  <a:cubicBezTo>
                    <a:pt x="4648676" y="287179"/>
                    <a:pt x="4646772" y="283369"/>
                    <a:pt x="4645819" y="278606"/>
                  </a:cubicBezTo>
                  <a:cubicBezTo>
                    <a:pt x="4645819" y="278606"/>
                    <a:pt x="4645819" y="278606"/>
                    <a:pt x="4645819" y="278606"/>
                  </a:cubicBezTo>
                  <a:close/>
                  <a:moveTo>
                    <a:pt x="4642962" y="293846"/>
                  </a:moveTo>
                  <a:cubicBezTo>
                    <a:pt x="4643914" y="296704"/>
                    <a:pt x="4643914" y="299561"/>
                    <a:pt x="4644866" y="302419"/>
                  </a:cubicBezTo>
                  <a:cubicBezTo>
                    <a:pt x="4644866" y="304324"/>
                    <a:pt x="4645819" y="307181"/>
                    <a:pt x="4645819" y="309086"/>
                  </a:cubicBezTo>
                  <a:cubicBezTo>
                    <a:pt x="4645819" y="309086"/>
                    <a:pt x="4645819" y="309086"/>
                    <a:pt x="4645819" y="309086"/>
                  </a:cubicBezTo>
                  <a:cubicBezTo>
                    <a:pt x="4644866" y="308134"/>
                    <a:pt x="4643914" y="307181"/>
                    <a:pt x="4642962" y="306229"/>
                  </a:cubicBezTo>
                  <a:cubicBezTo>
                    <a:pt x="4642962" y="304324"/>
                    <a:pt x="4642009" y="302419"/>
                    <a:pt x="4642009" y="299561"/>
                  </a:cubicBezTo>
                  <a:cubicBezTo>
                    <a:pt x="4642962" y="297656"/>
                    <a:pt x="4642962" y="295751"/>
                    <a:pt x="4642962" y="293846"/>
                  </a:cubicBezTo>
                  <a:close/>
                  <a:moveTo>
                    <a:pt x="4595337" y="280511"/>
                  </a:moveTo>
                  <a:cubicBezTo>
                    <a:pt x="4596289" y="284321"/>
                    <a:pt x="4597241" y="289084"/>
                    <a:pt x="4598194" y="293846"/>
                  </a:cubicBezTo>
                  <a:cubicBezTo>
                    <a:pt x="4598194" y="295751"/>
                    <a:pt x="4598194" y="298609"/>
                    <a:pt x="4598194" y="300514"/>
                  </a:cubicBezTo>
                  <a:cubicBezTo>
                    <a:pt x="4598194" y="304324"/>
                    <a:pt x="4598194" y="308134"/>
                    <a:pt x="4598194" y="311944"/>
                  </a:cubicBezTo>
                  <a:cubicBezTo>
                    <a:pt x="4597241" y="313849"/>
                    <a:pt x="4597241" y="316706"/>
                    <a:pt x="4596289" y="319564"/>
                  </a:cubicBezTo>
                  <a:cubicBezTo>
                    <a:pt x="4595337" y="316706"/>
                    <a:pt x="4594384" y="314801"/>
                    <a:pt x="4593431" y="311944"/>
                  </a:cubicBezTo>
                  <a:cubicBezTo>
                    <a:pt x="4593431" y="310039"/>
                    <a:pt x="4593431" y="307181"/>
                    <a:pt x="4593431" y="305276"/>
                  </a:cubicBezTo>
                  <a:cubicBezTo>
                    <a:pt x="4593431" y="298609"/>
                    <a:pt x="4593431" y="292894"/>
                    <a:pt x="4593431" y="286226"/>
                  </a:cubicBezTo>
                  <a:cubicBezTo>
                    <a:pt x="4593431" y="284321"/>
                    <a:pt x="4594384" y="282416"/>
                    <a:pt x="4595337" y="280511"/>
                  </a:cubicBezTo>
                  <a:cubicBezTo>
                    <a:pt x="4595337" y="280511"/>
                    <a:pt x="4595337" y="280511"/>
                    <a:pt x="4595337" y="280511"/>
                  </a:cubicBezTo>
                  <a:close/>
                  <a:moveTo>
                    <a:pt x="4595337" y="277654"/>
                  </a:moveTo>
                  <a:cubicBezTo>
                    <a:pt x="4594384" y="278606"/>
                    <a:pt x="4594384" y="278606"/>
                    <a:pt x="4593431" y="279559"/>
                  </a:cubicBezTo>
                  <a:cubicBezTo>
                    <a:pt x="4593431" y="279559"/>
                    <a:pt x="4593431" y="280511"/>
                    <a:pt x="4592479" y="280511"/>
                  </a:cubicBezTo>
                  <a:cubicBezTo>
                    <a:pt x="4592479" y="274796"/>
                    <a:pt x="4592479" y="269081"/>
                    <a:pt x="4592479" y="263366"/>
                  </a:cubicBezTo>
                  <a:cubicBezTo>
                    <a:pt x="4593431" y="267176"/>
                    <a:pt x="4594384" y="271939"/>
                    <a:pt x="4595337" y="277654"/>
                  </a:cubicBezTo>
                  <a:close/>
                  <a:moveTo>
                    <a:pt x="4576287" y="253841"/>
                  </a:moveTo>
                  <a:cubicBezTo>
                    <a:pt x="4576287" y="260509"/>
                    <a:pt x="4576287" y="267176"/>
                    <a:pt x="4575334" y="273844"/>
                  </a:cubicBezTo>
                  <a:cubicBezTo>
                    <a:pt x="4573429" y="270034"/>
                    <a:pt x="4571524" y="266224"/>
                    <a:pt x="4569619" y="262414"/>
                  </a:cubicBezTo>
                  <a:cubicBezTo>
                    <a:pt x="4572476" y="259556"/>
                    <a:pt x="4574381" y="256699"/>
                    <a:pt x="4576287" y="253841"/>
                  </a:cubicBezTo>
                  <a:close/>
                  <a:moveTo>
                    <a:pt x="4566762" y="268129"/>
                  </a:moveTo>
                  <a:cubicBezTo>
                    <a:pt x="4566762" y="268129"/>
                    <a:pt x="4566762" y="269081"/>
                    <a:pt x="4566762" y="268129"/>
                  </a:cubicBezTo>
                  <a:cubicBezTo>
                    <a:pt x="4568666" y="273844"/>
                    <a:pt x="4570572" y="278606"/>
                    <a:pt x="4571524" y="284321"/>
                  </a:cubicBezTo>
                  <a:cubicBezTo>
                    <a:pt x="4572476" y="288131"/>
                    <a:pt x="4573429" y="292894"/>
                    <a:pt x="4574381" y="296704"/>
                  </a:cubicBezTo>
                  <a:cubicBezTo>
                    <a:pt x="4574381" y="298609"/>
                    <a:pt x="4574381" y="299561"/>
                    <a:pt x="4574381" y="301466"/>
                  </a:cubicBezTo>
                  <a:cubicBezTo>
                    <a:pt x="4570572" y="293846"/>
                    <a:pt x="4568666" y="289084"/>
                    <a:pt x="4568666" y="289084"/>
                  </a:cubicBezTo>
                  <a:cubicBezTo>
                    <a:pt x="4568666" y="289084"/>
                    <a:pt x="4570572" y="296704"/>
                    <a:pt x="4574381" y="309086"/>
                  </a:cubicBezTo>
                  <a:cubicBezTo>
                    <a:pt x="4573429" y="310991"/>
                    <a:pt x="4572476" y="312896"/>
                    <a:pt x="4571524" y="314801"/>
                  </a:cubicBezTo>
                  <a:cubicBezTo>
                    <a:pt x="4571524" y="314801"/>
                    <a:pt x="4571524" y="314801"/>
                    <a:pt x="4571524" y="315754"/>
                  </a:cubicBezTo>
                  <a:cubicBezTo>
                    <a:pt x="4568666" y="293846"/>
                    <a:pt x="4566762" y="278606"/>
                    <a:pt x="4564856" y="271939"/>
                  </a:cubicBezTo>
                  <a:cubicBezTo>
                    <a:pt x="4564856" y="270986"/>
                    <a:pt x="4565809" y="270034"/>
                    <a:pt x="4566762" y="268129"/>
                  </a:cubicBezTo>
                  <a:close/>
                  <a:moveTo>
                    <a:pt x="4560094" y="254794"/>
                  </a:moveTo>
                  <a:cubicBezTo>
                    <a:pt x="4561047" y="256699"/>
                    <a:pt x="4561999" y="258604"/>
                    <a:pt x="4562951" y="260509"/>
                  </a:cubicBezTo>
                  <a:cubicBezTo>
                    <a:pt x="4561999" y="261461"/>
                    <a:pt x="4561047" y="262414"/>
                    <a:pt x="4561047" y="263366"/>
                  </a:cubicBezTo>
                  <a:cubicBezTo>
                    <a:pt x="4560094" y="265271"/>
                    <a:pt x="4558189" y="266224"/>
                    <a:pt x="4557237" y="268129"/>
                  </a:cubicBezTo>
                  <a:cubicBezTo>
                    <a:pt x="4558189" y="263366"/>
                    <a:pt x="4559141" y="258604"/>
                    <a:pt x="4560094" y="254794"/>
                  </a:cubicBezTo>
                  <a:close/>
                  <a:moveTo>
                    <a:pt x="4548664" y="317659"/>
                  </a:moveTo>
                  <a:cubicBezTo>
                    <a:pt x="4551522" y="307181"/>
                    <a:pt x="4554379" y="298609"/>
                    <a:pt x="4557237" y="290036"/>
                  </a:cubicBezTo>
                  <a:cubicBezTo>
                    <a:pt x="4559141" y="284321"/>
                    <a:pt x="4561047" y="279559"/>
                    <a:pt x="4562951" y="275749"/>
                  </a:cubicBezTo>
                  <a:cubicBezTo>
                    <a:pt x="4561999" y="283369"/>
                    <a:pt x="4561047" y="298609"/>
                    <a:pt x="4560094" y="318611"/>
                  </a:cubicBezTo>
                  <a:cubicBezTo>
                    <a:pt x="4557237" y="313849"/>
                    <a:pt x="4555331" y="310991"/>
                    <a:pt x="4555331" y="310991"/>
                  </a:cubicBezTo>
                  <a:cubicBezTo>
                    <a:pt x="4555331" y="310991"/>
                    <a:pt x="4557237" y="314801"/>
                    <a:pt x="4560094" y="321469"/>
                  </a:cubicBezTo>
                  <a:cubicBezTo>
                    <a:pt x="4560094" y="321469"/>
                    <a:pt x="4560094" y="321469"/>
                    <a:pt x="4560094" y="321469"/>
                  </a:cubicBezTo>
                  <a:cubicBezTo>
                    <a:pt x="4560094" y="328136"/>
                    <a:pt x="4559141" y="334804"/>
                    <a:pt x="4559141" y="342424"/>
                  </a:cubicBezTo>
                  <a:cubicBezTo>
                    <a:pt x="4558189" y="346234"/>
                    <a:pt x="4556284" y="349091"/>
                    <a:pt x="4555331" y="352901"/>
                  </a:cubicBezTo>
                  <a:cubicBezTo>
                    <a:pt x="4554379" y="355759"/>
                    <a:pt x="4553426" y="358616"/>
                    <a:pt x="4552474" y="361474"/>
                  </a:cubicBezTo>
                  <a:cubicBezTo>
                    <a:pt x="4550569" y="354806"/>
                    <a:pt x="4549616" y="349091"/>
                    <a:pt x="4547712" y="343376"/>
                  </a:cubicBezTo>
                  <a:cubicBezTo>
                    <a:pt x="4547712" y="333851"/>
                    <a:pt x="4547712" y="328136"/>
                    <a:pt x="4547712" y="328136"/>
                  </a:cubicBezTo>
                  <a:cubicBezTo>
                    <a:pt x="4547712" y="328136"/>
                    <a:pt x="4546759" y="331946"/>
                    <a:pt x="4545806" y="338614"/>
                  </a:cubicBezTo>
                  <a:cubicBezTo>
                    <a:pt x="4545806" y="338614"/>
                    <a:pt x="4545806" y="337661"/>
                    <a:pt x="4545806" y="337661"/>
                  </a:cubicBezTo>
                  <a:cubicBezTo>
                    <a:pt x="4545806" y="336709"/>
                    <a:pt x="4545806" y="336709"/>
                    <a:pt x="4544854" y="335756"/>
                  </a:cubicBezTo>
                  <a:cubicBezTo>
                    <a:pt x="4546759" y="329089"/>
                    <a:pt x="4547712" y="323374"/>
                    <a:pt x="4548664" y="317659"/>
                  </a:cubicBezTo>
                  <a:close/>
                  <a:moveTo>
                    <a:pt x="4457224" y="306229"/>
                  </a:moveTo>
                  <a:cubicBezTo>
                    <a:pt x="4457224" y="306229"/>
                    <a:pt x="4456272" y="306229"/>
                    <a:pt x="4457224" y="306229"/>
                  </a:cubicBezTo>
                  <a:cubicBezTo>
                    <a:pt x="4457224" y="305276"/>
                    <a:pt x="4457224" y="305276"/>
                    <a:pt x="4457224" y="304324"/>
                  </a:cubicBezTo>
                  <a:cubicBezTo>
                    <a:pt x="4457224" y="305276"/>
                    <a:pt x="4457224" y="306229"/>
                    <a:pt x="4457224" y="306229"/>
                  </a:cubicBezTo>
                  <a:close/>
                  <a:moveTo>
                    <a:pt x="4478179" y="359569"/>
                  </a:moveTo>
                  <a:cubicBezTo>
                    <a:pt x="4477226" y="352901"/>
                    <a:pt x="4476274" y="346234"/>
                    <a:pt x="4476274" y="339566"/>
                  </a:cubicBezTo>
                  <a:cubicBezTo>
                    <a:pt x="4476274" y="338614"/>
                    <a:pt x="4476274" y="337661"/>
                    <a:pt x="4476274" y="336709"/>
                  </a:cubicBezTo>
                  <a:cubicBezTo>
                    <a:pt x="4479131" y="340519"/>
                    <a:pt x="4481037" y="343376"/>
                    <a:pt x="4483894" y="347186"/>
                  </a:cubicBezTo>
                  <a:cubicBezTo>
                    <a:pt x="4481037" y="350996"/>
                    <a:pt x="4480084" y="355759"/>
                    <a:pt x="4478179" y="359569"/>
                  </a:cubicBezTo>
                  <a:close/>
                  <a:moveTo>
                    <a:pt x="4497229" y="371951"/>
                  </a:moveTo>
                  <a:cubicBezTo>
                    <a:pt x="4497229" y="370046"/>
                    <a:pt x="4497229" y="369094"/>
                    <a:pt x="4497229" y="367189"/>
                  </a:cubicBezTo>
                  <a:cubicBezTo>
                    <a:pt x="4497229" y="368141"/>
                    <a:pt x="4497229" y="369094"/>
                    <a:pt x="4498181" y="370046"/>
                  </a:cubicBezTo>
                  <a:cubicBezTo>
                    <a:pt x="4497229" y="370999"/>
                    <a:pt x="4497229" y="370999"/>
                    <a:pt x="4497229" y="371951"/>
                  </a:cubicBezTo>
                  <a:close/>
                  <a:moveTo>
                    <a:pt x="4504849" y="322421"/>
                  </a:moveTo>
                  <a:cubicBezTo>
                    <a:pt x="4504849" y="325279"/>
                    <a:pt x="4504849" y="328136"/>
                    <a:pt x="4504849" y="330994"/>
                  </a:cubicBezTo>
                  <a:cubicBezTo>
                    <a:pt x="4503897" y="333851"/>
                    <a:pt x="4502944" y="337661"/>
                    <a:pt x="4501991" y="341471"/>
                  </a:cubicBezTo>
                  <a:cubicBezTo>
                    <a:pt x="4501991" y="343376"/>
                    <a:pt x="4501039" y="346234"/>
                    <a:pt x="4501039" y="348139"/>
                  </a:cubicBezTo>
                  <a:cubicBezTo>
                    <a:pt x="4500087" y="347186"/>
                    <a:pt x="4499134" y="346234"/>
                    <a:pt x="4499134" y="345281"/>
                  </a:cubicBezTo>
                  <a:cubicBezTo>
                    <a:pt x="4499134" y="344329"/>
                    <a:pt x="4498181" y="343376"/>
                    <a:pt x="4498181" y="342424"/>
                  </a:cubicBezTo>
                  <a:cubicBezTo>
                    <a:pt x="4499134" y="336709"/>
                    <a:pt x="4501039" y="330994"/>
                    <a:pt x="4501991" y="326231"/>
                  </a:cubicBezTo>
                  <a:cubicBezTo>
                    <a:pt x="4502944" y="320516"/>
                    <a:pt x="4504849" y="315754"/>
                    <a:pt x="4506754" y="310991"/>
                  </a:cubicBezTo>
                  <a:cubicBezTo>
                    <a:pt x="4505801" y="314801"/>
                    <a:pt x="4505801" y="318611"/>
                    <a:pt x="4504849" y="322421"/>
                  </a:cubicBezTo>
                  <a:close/>
                  <a:moveTo>
                    <a:pt x="4462939" y="250984"/>
                  </a:moveTo>
                  <a:cubicBezTo>
                    <a:pt x="4465797" y="242411"/>
                    <a:pt x="4468654" y="233839"/>
                    <a:pt x="4470559" y="226219"/>
                  </a:cubicBezTo>
                  <a:cubicBezTo>
                    <a:pt x="4470559" y="227171"/>
                    <a:pt x="4472464" y="229076"/>
                    <a:pt x="4474369" y="231934"/>
                  </a:cubicBezTo>
                  <a:cubicBezTo>
                    <a:pt x="4475322" y="233839"/>
                    <a:pt x="4477226" y="235744"/>
                    <a:pt x="4479131" y="238601"/>
                  </a:cubicBezTo>
                  <a:cubicBezTo>
                    <a:pt x="4481037" y="241459"/>
                    <a:pt x="4481989" y="245269"/>
                    <a:pt x="4483894" y="248126"/>
                  </a:cubicBezTo>
                  <a:cubicBezTo>
                    <a:pt x="4485799" y="251936"/>
                    <a:pt x="4487704" y="255746"/>
                    <a:pt x="4489609" y="260509"/>
                  </a:cubicBezTo>
                  <a:cubicBezTo>
                    <a:pt x="4491514" y="265271"/>
                    <a:pt x="4493419" y="270034"/>
                    <a:pt x="4495324" y="275749"/>
                  </a:cubicBezTo>
                  <a:cubicBezTo>
                    <a:pt x="4497229" y="281464"/>
                    <a:pt x="4499134" y="287179"/>
                    <a:pt x="4501039" y="293846"/>
                  </a:cubicBezTo>
                  <a:cubicBezTo>
                    <a:pt x="4501991" y="296704"/>
                    <a:pt x="4502944" y="299561"/>
                    <a:pt x="4503897" y="303371"/>
                  </a:cubicBezTo>
                  <a:cubicBezTo>
                    <a:pt x="4501991" y="308134"/>
                    <a:pt x="4499134" y="312896"/>
                    <a:pt x="4497229" y="317659"/>
                  </a:cubicBezTo>
                  <a:cubicBezTo>
                    <a:pt x="4496276" y="320516"/>
                    <a:pt x="4494372" y="323374"/>
                    <a:pt x="4493419" y="326231"/>
                  </a:cubicBezTo>
                  <a:cubicBezTo>
                    <a:pt x="4490562" y="297656"/>
                    <a:pt x="4488656" y="280511"/>
                    <a:pt x="4488656" y="280511"/>
                  </a:cubicBezTo>
                  <a:cubicBezTo>
                    <a:pt x="4488656" y="280511"/>
                    <a:pt x="4487704" y="294799"/>
                    <a:pt x="4487704" y="319564"/>
                  </a:cubicBezTo>
                  <a:cubicBezTo>
                    <a:pt x="4486751" y="316706"/>
                    <a:pt x="4484847" y="313849"/>
                    <a:pt x="4483894" y="311944"/>
                  </a:cubicBezTo>
                  <a:cubicBezTo>
                    <a:pt x="4477226" y="297656"/>
                    <a:pt x="4473416" y="289084"/>
                    <a:pt x="4473416" y="289084"/>
                  </a:cubicBezTo>
                  <a:cubicBezTo>
                    <a:pt x="4473416" y="289084"/>
                    <a:pt x="4476274" y="297656"/>
                    <a:pt x="4481037" y="312896"/>
                  </a:cubicBezTo>
                  <a:cubicBezTo>
                    <a:pt x="4482941" y="317659"/>
                    <a:pt x="4484847" y="323374"/>
                    <a:pt x="4486751" y="330041"/>
                  </a:cubicBezTo>
                  <a:cubicBezTo>
                    <a:pt x="4485799" y="329089"/>
                    <a:pt x="4485799" y="328136"/>
                    <a:pt x="4484847" y="328136"/>
                  </a:cubicBezTo>
                  <a:cubicBezTo>
                    <a:pt x="4481037" y="324326"/>
                    <a:pt x="4478179" y="321469"/>
                    <a:pt x="4475322" y="318611"/>
                  </a:cubicBezTo>
                  <a:cubicBezTo>
                    <a:pt x="4474369" y="313849"/>
                    <a:pt x="4473416" y="309086"/>
                    <a:pt x="4473416" y="304324"/>
                  </a:cubicBezTo>
                  <a:cubicBezTo>
                    <a:pt x="4471512" y="294799"/>
                    <a:pt x="4470559" y="286226"/>
                    <a:pt x="4468654" y="278606"/>
                  </a:cubicBezTo>
                  <a:cubicBezTo>
                    <a:pt x="4474369" y="264319"/>
                    <a:pt x="4477226" y="256699"/>
                    <a:pt x="4477226" y="256699"/>
                  </a:cubicBezTo>
                  <a:cubicBezTo>
                    <a:pt x="4477226" y="256699"/>
                    <a:pt x="4473416" y="262414"/>
                    <a:pt x="4466749" y="273844"/>
                  </a:cubicBezTo>
                  <a:cubicBezTo>
                    <a:pt x="4465797" y="268129"/>
                    <a:pt x="4464844" y="263366"/>
                    <a:pt x="4462939" y="258604"/>
                  </a:cubicBezTo>
                  <a:cubicBezTo>
                    <a:pt x="4462939" y="257651"/>
                    <a:pt x="4462939" y="256699"/>
                    <a:pt x="4462939" y="256699"/>
                  </a:cubicBezTo>
                  <a:cubicBezTo>
                    <a:pt x="4461987" y="253841"/>
                    <a:pt x="4461987" y="252889"/>
                    <a:pt x="4462939" y="250984"/>
                  </a:cubicBezTo>
                  <a:close/>
                  <a:moveTo>
                    <a:pt x="4461034" y="255746"/>
                  </a:moveTo>
                  <a:cubicBezTo>
                    <a:pt x="4461034" y="255746"/>
                    <a:pt x="4461034" y="256699"/>
                    <a:pt x="4461034" y="255746"/>
                  </a:cubicBezTo>
                  <a:cubicBezTo>
                    <a:pt x="4461034" y="256699"/>
                    <a:pt x="4461034" y="256699"/>
                    <a:pt x="4461034" y="255746"/>
                  </a:cubicBezTo>
                  <a:cubicBezTo>
                    <a:pt x="4461034" y="255746"/>
                    <a:pt x="4461034" y="255746"/>
                    <a:pt x="4461034" y="255746"/>
                  </a:cubicBezTo>
                  <a:close/>
                  <a:moveTo>
                    <a:pt x="4455319" y="274796"/>
                  </a:moveTo>
                  <a:cubicBezTo>
                    <a:pt x="4456272" y="272891"/>
                    <a:pt x="4457224" y="270034"/>
                    <a:pt x="4457224" y="268129"/>
                  </a:cubicBezTo>
                  <a:cubicBezTo>
                    <a:pt x="4457224" y="270034"/>
                    <a:pt x="4457224" y="271939"/>
                    <a:pt x="4457224" y="273844"/>
                  </a:cubicBezTo>
                  <a:cubicBezTo>
                    <a:pt x="4457224" y="277654"/>
                    <a:pt x="4457224" y="280511"/>
                    <a:pt x="4458176" y="284321"/>
                  </a:cubicBezTo>
                  <a:cubicBezTo>
                    <a:pt x="4457224" y="287179"/>
                    <a:pt x="4455319" y="290036"/>
                    <a:pt x="4454366" y="292894"/>
                  </a:cubicBezTo>
                  <a:cubicBezTo>
                    <a:pt x="4454366" y="287179"/>
                    <a:pt x="4454366" y="280511"/>
                    <a:pt x="4455319" y="274796"/>
                  </a:cubicBezTo>
                  <a:close/>
                  <a:moveTo>
                    <a:pt x="4449604" y="361474"/>
                  </a:moveTo>
                  <a:cubicBezTo>
                    <a:pt x="4450556" y="353854"/>
                    <a:pt x="4450556" y="346234"/>
                    <a:pt x="4451509" y="339566"/>
                  </a:cubicBezTo>
                  <a:cubicBezTo>
                    <a:pt x="4452462" y="340519"/>
                    <a:pt x="4452462" y="342424"/>
                    <a:pt x="4453414" y="343376"/>
                  </a:cubicBezTo>
                  <a:cubicBezTo>
                    <a:pt x="4453414" y="343376"/>
                    <a:pt x="4453414" y="343376"/>
                    <a:pt x="4453414" y="344329"/>
                  </a:cubicBezTo>
                  <a:cubicBezTo>
                    <a:pt x="4453414" y="344329"/>
                    <a:pt x="4453414" y="344329"/>
                    <a:pt x="4453414" y="344329"/>
                  </a:cubicBezTo>
                  <a:cubicBezTo>
                    <a:pt x="4452462" y="350996"/>
                    <a:pt x="4451509" y="358616"/>
                    <a:pt x="4451509" y="366236"/>
                  </a:cubicBezTo>
                  <a:cubicBezTo>
                    <a:pt x="4450556" y="372904"/>
                    <a:pt x="4449604" y="380524"/>
                    <a:pt x="4448651" y="388144"/>
                  </a:cubicBezTo>
                  <a:cubicBezTo>
                    <a:pt x="4447699" y="387191"/>
                    <a:pt x="4447699" y="387191"/>
                    <a:pt x="4446747" y="386239"/>
                  </a:cubicBezTo>
                  <a:cubicBezTo>
                    <a:pt x="4447699" y="377666"/>
                    <a:pt x="4448651" y="370046"/>
                    <a:pt x="4449604" y="361474"/>
                  </a:cubicBezTo>
                  <a:close/>
                  <a:moveTo>
                    <a:pt x="4386739" y="331946"/>
                  </a:moveTo>
                  <a:cubicBezTo>
                    <a:pt x="4387691" y="332899"/>
                    <a:pt x="4388644" y="334804"/>
                    <a:pt x="4390549" y="335756"/>
                  </a:cubicBezTo>
                  <a:cubicBezTo>
                    <a:pt x="4390549" y="337661"/>
                    <a:pt x="4390549" y="339566"/>
                    <a:pt x="4390549" y="342424"/>
                  </a:cubicBezTo>
                  <a:cubicBezTo>
                    <a:pt x="4389597" y="343376"/>
                    <a:pt x="4388644" y="345281"/>
                    <a:pt x="4386739" y="347186"/>
                  </a:cubicBezTo>
                  <a:cubicBezTo>
                    <a:pt x="4386739" y="341471"/>
                    <a:pt x="4386739" y="336709"/>
                    <a:pt x="4386739" y="331946"/>
                  </a:cubicBezTo>
                  <a:close/>
                  <a:moveTo>
                    <a:pt x="4389597" y="376714"/>
                  </a:moveTo>
                  <a:cubicBezTo>
                    <a:pt x="4389597" y="376714"/>
                    <a:pt x="4389597" y="375761"/>
                    <a:pt x="4388644" y="375761"/>
                  </a:cubicBezTo>
                  <a:cubicBezTo>
                    <a:pt x="4388644" y="373856"/>
                    <a:pt x="4387691" y="371951"/>
                    <a:pt x="4387691" y="370046"/>
                  </a:cubicBezTo>
                  <a:cubicBezTo>
                    <a:pt x="4387691" y="367189"/>
                    <a:pt x="4387691" y="363379"/>
                    <a:pt x="4387691" y="360521"/>
                  </a:cubicBezTo>
                  <a:cubicBezTo>
                    <a:pt x="4387691" y="357664"/>
                    <a:pt x="4387691" y="354806"/>
                    <a:pt x="4387691" y="351949"/>
                  </a:cubicBezTo>
                  <a:cubicBezTo>
                    <a:pt x="4388644" y="349091"/>
                    <a:pt x="4390549" y="347186"/>
                    <a:pt x="4391501" y="345281"/>
                  </a:cubicBezTo>
                  <a:cubicBezTo>
                    <a:pt x="4391501" y="346234"/>
                    <a:pt x="4391501" y="348139"/>
                    <a:pt x="4391501" y="349091"/>
                  </a:cubicBezTo>
                  <a:cubicBezTo>
                    <a:pt x="4391501" y="355759"/>
                    <a:pt x="4392454" y="362426"/>
                    <a:pt x="4392454" y="370046"/>
                  </a:cubicBezTo>
                  <a:cubicBezTo>
                    <a:pt x="4390549" y="371951"/>
                    <a:pt x="4389597" y="374809"/>
                    <a:pt x="4389597" y="376714"/>
                  </a:cubicBezTo>
                  <a:close/>
                  <a:moveTo>
                    <a:pt x="4424839" y="351949"/>
                  </a:moveTo>
                  <a:cubicBezTo>
                    <a:pt x="4424839" y="352901"/>
                    <a:pt x="4424839" y="353854"/>
                    <a:pt x="4424839" y="354806"/>
                  </a:cubicBezTo>
                  <a:cubicBezTo>
                    <a:pt x="4423887" y="355759"/>
                    <a:pt x="4423887" y="356711"/>
                    <a:pt x="4422934" y="356711"/>
                  </a:cubicBezTo>
                  <a:cubicBezTo>
                    <a:pt x="4422934" y="354806"/>
                    <a:pt x="4423887" y="353854"/>
                    <a:pt x="4424839" y="351949"/>
                  </a:cubicBezTo>
                  <a:close/>
                  <a:moveTo>
                    <a:pt x="4415314" y="411004"/>
                  </a:moveTo>
                  <a:cubicBezTo>
                    <a:pt x="4415314" y="411004"/>
                    <a:pt x="4415314" y="411956"/>
                    <a:pt x="4415314" y="411956"/>
                  </a:cubicBezTo>
                  <a:cubicBezTo>
                    <a:pt x="4414362" y="411004"/>
                    <a:pt x="4413409" y="410051"/>
                    <a:pt x="4412456" y="409099"/>
                  </a:cubicBezTo>
                  <a:cubicBezTo>
                    <a:pt x="4412456" y="401479"/>
                    <a:pt x="4412456" y="392906"/>
                    <a:pt x="4411504" y="385286"/>
                  </a:cubicBezTo>
                  <a:cubicBezTo>
                    <a:pt x="4414362" y="380524"/>
                    <a:pt x="4417219" y="376714"/>
                    <a:pt x="4420076" y="372904"/>
                  </a:cubicBezTo>
                  <a:cubicBezTo>
                    <a:pt x="4420076" y="373856"/>
                    <a:pt x="4421029" y="373856"/>
                    <a:pt x="4421029" y="374809"/>
                  </a:cubicBezTo>
                  <a:cubicBezTo>
                    <a:pt x="4419124" y="386239"/>
                    <a:pt x="4417219" y="397669"/>
                    <a:pt x="4415314" y="411004"/>
                  </a:cubicBezTo>
                  <a:close/>
                  <a:moveTo>
                    <a:pt x="4410551" y="254794"/>
                  </a:moveTo>
                  <a:cubicBezTo>
                    <a:pt x="4413409" y="260509"/>
                    <a:pt x="4417219" y="267176"/>
                    <a:pt x="4421029" y="273844"/>
                  </a:cubicBezTo>
                  <a:cubicBezTo>
                    <a:pt x="4419124" y="280511"/>
                    <a:pt x="4417219" y="287179"/>
                    <a:pt x="4415314" y="293846"/>
                  </a:cubicBezTo>
                  <a:cubicBezTo>
                    <a:pt x="4413409" y="301466"/>
                    <a:pt x="4410551" y="309086"/>
                    <a:pt x="4408647" y="316706"/>
                  </a:cubicBezTo>
                  <a:cubicBezTo>
                    <a:pt x="4407694" y="305276"/>
                    <a:pt x="4406741" y="297656"/>
                    <a:pt x="4406741" y="297656"/>
                  </a:cubicBezTo>
                  <a:cubicBezTo>
                    <a:pt x="4406741" y="297656"/>
                    <a:pt x="4404837" y="310991"/>
                    <a:pt x="4402931" y="331946"/>
                  </a:cubicBezTo>
                  <a:cubicBezTo>
                    <a:pt x="4402931" y="333851"/>
                    <a:pt x="4401979" y="335756"/>
                    <a:pt x="4401026" y="337661"/>
                  </a:cubicBezTo>
                  <a:cubicBezTo>
                    <a:pt x="4401026" y="337661"/>
                    <a:pt x="4400074" y="336709"/>
                    <a:pt x="4400074" y="336709"/>
                  </a:cubicBezTo>
                  <a:cubicBezTo>
                    <a:pt x="4393406" y="295751"/>
                    <a:pt x="4388644" y="270034"/>
                    <a:pt x="4388644" y="270034"/>
                  </a:cubicBezTo>
                  <a:cubicBezTo>
                    <a:pt x="4388644" y="270034"/>
                    <a:pt x="4388644" y="292894"/>
                    <a:pt x="4389597" y="328136"/>
                  </a:cubicBezTo>
                  <a:cubicBezTo>
                    <a:pt x="4388644" y="327184"/>
                    <a:pt x="4387691" y="326231"/>
                    <a:pt x="4386739" y="325279"/>
                  </a:cubicBezTo>
                  <a:cubicBezTo>
                    <a:pt x="4386739" y="324326"/>
                    <a:pt x="4386739" y="324326"/>
                    <a:pt x="4386739" y="323374"/>
                  </a:cubicBezTo>
                  <a:cubicBezTo>
                    <a:pt x="4387691" y="311944"/>
                    <a:pt x="4386739" y="300514"/>
                    <a:pt x="4387691" y="290989"/>
                  </a:cubicBezTo>
                  <a:cubicBezTo>
                    <a:pt x="4388644" y="280511"/>
                    <a:pt x="4388644" y="271939"/>
                    <a:pt x="4389597" y="263366"/>
                  </a:cubicBezTo>
                  <a:cubicBezTo>
                    <a:pt x="4390549" y="254794"/>
                    <a:pt x="4390549" y="248126"/>
                    <a:pt x="4391501" y="242411"/>
                  </a:cubicBezTo>
                  <a:cubicBezTo>
                    <a:pt x="4392454" y="233839"/>
                    <a:pt x="4393406" y="228124"/>
                    <a:pt x="4393406" y="225266"/>
                  </a:cubicBezTo>
                  <a:cubicBezTo>
                    <a:pt x="4399122" y="232886"/>
                    <a:pt x="4403884" y="243364"/>
                    <a:pt x="4410551" y="254794"/>
                  </a:cubicBezTo>
                  <a:close/>
                  <a:moveTo>
                    <a:pt x="4389597" y="217646"/>
                  </a:moveTo>
                  <a:cubicBezTo>
                    <a:pt x="4390549" y="219551"/>
                    <a:pt x="4392454" y="221456"/>
                    <a:pt x="4393406" y="224314"/>
                  </a:cubicBezTo>
                  <a:cubicBezTo>
                    <a:pt x="4392454" y="227171"/>
                    <a:pt x="4390549" y="232886"/>
                    <a:pt x="4387691" y="240506"/>
                  </a:cubicBezTo>
                  <a:cubicBezTo>
                    <a:pt x="4385787" y="246221"/>
                    <a:pt x="4383881" y="252889"/>
                    <a:pt x="4381976" y="260509"/>
                  </a:cubicBezTo>
                  <a:cubicBezTo>
                    <a:pt x="4381976" y="259556"/>
                    <a:pt x="4381976" y="257651"/>
                    <a:pt x="4381976" y="256699"/>
                  </a:cubicBezTo>
                  <a:cubicBezTo>
                    <a:pt x="4384834" y="242411"/>
                    <a:pt x="4386739" y="229076"/>
                    <a:pt x="4389597" y="217646"/>
                  </a:cubicBezTo>
                  <a:close/>
                  <a:moveTo>
                    <a:pt x="4374356" y="291941"/>
                  </a:moveTo>
                  <a:cubicBezTo>
                    <a:pt x="4374356" y="291941"/>
                    <a:pt x="4374356" y="292894"/>
                    <a:pt x="4374356" y="292894"/>
                  </a:cubicBezTo>
                  <a:cubicBezTo>
                    <a:pt x="4374356" y="292894"/>
                    <a:pt x="4374356" y="292894"/>
                    <a:pt x="4374356" y="291941"/>
                  </a:cubicBezTo>
                  <a:cubicBezTo>
                    <a:pt x="4374356" y="291941"/>
                    <a:pt x="4374356" y="291941"/>
                    <a:pt x="4374356" y="291941"/>
                  </a:cubicBezTo>
                  <a:close/>
                  <a:moveTo>
                    <a:pt x="4360069" y="282416"/>
                  </a:moveTo>
                  <a:cubicBezTo>
                    <a:pt x="4360069" y="284321"/>
                    <a:pt x="4360069" y="287179"/>
                    <a:pt x="4360069" y="290036"/>
                  </a:cubicBezTo>
                  <a:cubicBezTo>
                    <a:pt x="4360069" y="289084"/>
                    <a:pt x="4359116" y="288131"/>
                    <a:pt x="4359116" y="288131"/>
                  </a:cubicBezTo>
                  <a:cubicBezTo>
                    <a:pt x="4359116" y="285274"/>
                    <a:pt x="4359116" y="283369"/>
                    <a:pt x="4360069" y="282416"/>
                  </a:cubicBezTo>
                  <a:close/>
                  <a:moveTo>
                    <a:pt x="4313397" y="387191"/>
                  </a:moveTo>
                  <a:cubicBezTo>
                    <a:pt x="4312444" y="388144"/>
                    <a:pt x="4312444" y="390049"/>
                    <a:pt x="4311491" y="391001"/>
                  </a:cubicBezTo>
                  <a:cubicBezTo>
                    <a:pt x="4312444" y="389096"/>
                    <a:pt x="4312444" y="388144"/>
                    <a:pt x="4313397" y="387191"/>
                  </a:cubicBezTo>
                  <a:cubicBezTo>
                    <a:pt x="4313397" y="386239"/>
                    <a:pt x="4313397" y="387191"/>
                    <a:pt x="4313397" y="387191"/>
                  </a:cubicBezTo>
                  <a:close/>
                  <a:moveTo>
                    <a:pt x="4311491" y="351949"/>
                  </a:moveTo>
                  <a:cubicBezTo>
                    <a:pt x="4311491" y="356711"/>
                    <a:pt x="4312444" y="360521"/>
                    <a:pt x="4312444" y="365284"/>
                  </a:cubicBezTo>
                  <a:cubicBezTo>
                    <a:pt x="4311491" y="364331"/>
                    <a:pt x="4311491" y="364331"/>
                    <a:pt x="4311491" y="363379"/>
                  </a:cubicBezTo>
                  <a:cubicBezTo>
                    <a:pt x="4311491" y="358616"/>
                    <a:pt x="4311491" y="355759"/>
                    <a:pt x="4311491" y="351949"/>
                  </a:cubicBezTo>
                  <a:close/>
                  <a:moveTo>
                    <a:pt x="4247674" y="313849"/>
                  </a:moveTo>
                  <a:cubicBezTo>
                    <a:pt x="4247674" y="312896"/>
                    <a:pt x="4247674" y="312896"/>
                    <a:pt x="4247674" y="311944"/>
                  </a:cubicBezTo>
                  <a:cubicBezTo>
                    <a:pt x="4247674" y="312896"/>
                    <a:pt x="4247674" y="312896"/>
                    <a:pt x="4247674" y="313849"/>
                  </a:cubicBezTo>
                  <a:cubicBezTo>
                    <a:pt x="4247674" y="317659"/>
                    <a:pt x="4247674" y="320516"/>
                    <a:pt x="4246722" y="324326"/>
                  </a:cubicBezTo>
                  <a:cubicBezTo>
                    <a:pt x="4246722" y="323374"/>
                    <a:pt x="4246722" y="322421"/>
                    <a:pt x="4246722" y="322421"/>
                  </a:cubicBezTo>
                  <a:cubicBezTo>
                    <a:pt x="4246722" y="318611"/>
                    <a:pt x="4247674" y="315754"/>
                    <a:pt x="4247674" y="313849"/>
                  </a:cubicBezTo>
                  <a:close/>
                  <a:moveTo>
                    <a:pt x="4181951" y="367189"/>
                  </a:moveTo>
                  <a:cubicBezTo>
                    <a:pt x="4181951" y="351949"/>
                    <a:pt x="4182904" y="337661"/>
                    <a:pt x="4182904" y="324326"/>
                  </a:cubicBezTo>
                  <a:cubicBezTo>
                    <a:pt x="4182904" y="326231"/>
                    <a:pt x="4183856" y="328136"/>
                    <a:pt x="4183856" y="330041"/>
                  </a:cubicBezTo>
                  <a:cubicBezTo>
                    <a:pt x="4184809" y="333851"/>
                    <a:pt x="4185761" y="336709"/>
                    <a:pt x="4185761" y="340519"/>
                  </a:cubicBezTo>
                  <a:cubicBezTo>
                    <a:pt x="4185761" y="341471"/>
                    <a:pt x="4185761" y="342424"/>
                    <a:pt x="4185761" y="342424"/>
                  </a:cubicBezTo>
                  <a:cubicBezTo>
                    <a:pt x="4184809" y="339566"/>
                    <a:pt x="4183856" y="338614"/>
                    <a:pt x="4183856" y="338614"/>
                  </a:cubicBezTo>
                  <a:cubicBezTo>
                    <a:pt x="4183856" y="338614"/>
                    <a:pt x="4184809" y="345281"/>
                    <a:pt x="4187666" y="357664"/>
                  </a:cubicBezTo>
                  <a:cubicBezTo>
                    <a:pt x="4187666" y="360521"/>
                    <a:pt x="4188619" y="362426"/>
                    <a:pt x="4189571" y="365284"/>
                  </a:cubicBezTo>
                  <a:cubicBezTo>
                    <a:pt x="4189571" y="368141"/>
                    <a:pt x="4190524" y="370999"/>
                    <a:pt x="4191476" y="373856"/>
                  </a:cubicBezTo>
                  <a:cubicBezTo>
                    <a:pt x="4191476" y="377666"/>
                    <a:pt x="4190524" y="382429"/>
                    <a:pt x="4190524" y="386239"/>
                  </a:cubicBezTo>
                  <a:cubicBezTo>
                    <a:pt x="4190524" y="388144"/>
                    <a:pt x="4190524" y="390049"/>
                    <a:pt x="4190524" y="391954"/>
                  </a:cubicBezTo>
                  <a:cubicBezTo>
                    <a:pt x="4187666" y="383381"/>
                    <a:pt x="4184809" y="374809"/>
                    <a:pt x="4181951" y="367189"/>
                  </a:cubicBezTo>
                  <a:cubicBezTo>
                    <a:pt x="4181951" y="369094"/>
                    <a:pt x="4181951" y="368141"/>
                    <a:pt x="4181951" y="367189"/>
                  </a:cubicBezTo>
                  <a:close/>
                  <a:moveTo>
                    <a:pt x="4161949" y="401479"/>
                  </a:moveTo>
                  <a:cubicBezTo>
                    <a:pt x="4161949" y="400526"/>
                    <a:pt x="4161949" y="400526"/>
                    <a:pt x="4161949" y="399574"/>
                  </a:cubicBezTo>
                  <a:cubicBezTo>
                    <a:pt x="4161949" y="399574"/>
                    <a:pt x="4161949" y="399574"/>
                    <a:pt x="4161949" y="399574"/>
                  </a:cubicBezTo>
                  <a:cubicBezTo>
                    <a:pt x="4161949" y="400526"/>
                    <a:pt x="4161949" y="401479"/>
                    <a:pt x="4161949" y="401479"/>
                  </a:cubicBezTo>
                  <a:close/>
                  <a:moveTo>
                    <a:pt x="4160044" y="306229"/>
                  </a:moveTo>
                  <a:cubicBezTo>
                    <a:pt x="4160044" y="299561"/>
                    <a:pt x="4160996" y="295751"/>
                    <a:pt x="4160996" y="292894"/>
                  </a:cubicBezTo>
                  <a:cubicBezTo>
                    <a:pt x="4161949" y="289084"/>
                    <a:pt x="4162901" y="286226"/>
                    <a:pt x="4163854" y="282416"/>
                  </a:cubicBezTo>
                  <a:cubicBezTo>
                    <a:pt x="4163854" y="292894"/>
                    <a:pt x="4162901" y="303371"/>
                    <a:pt x="4162901" y="313849"/>
                  </a:cubicBezTo>
                  <a:cubicBezTo>
                    <a:pt x="4161949" y="310991"/>
                    <a:pt x="4160996" y="309086"/>
                    <a:pt x="4160044" y="306229"/>
                  </a:cubicBezTo>
                  <a:cubicBezTo>
                    <a:pt x="4160044" y="306229"/>
                    <a:pt x="4160044" y="306229"/>
                    <a:pt x="4160044" y="306229"/>
                  </a:cubicBezTo>
                  <a:close/>
                  <a:moveTo>
                    <a:pt x="4128611" y="354806"/>
                  </a:moveTo>
                  <a:cubicBezTo>
                    <a:pt x="4128611" y="350996"/>
                    <a:pt x="4128611" y="347186"/>
                    <a:pt x="4127659" y="343376"/>
                  </a:cubicBezTo>
                  <a:cubicBezTo>
                    <a:pt x="4127659" y="345281"/>
                    <a:pt x="4127659" y="347186"/>
                    <a:pt x="4128611" y="350044"/>
                  </a:cubicBezTo>
                  <a:cubicBezTo>
                    <a:pt x="4129564" y="354806"/>
                    <a:pt x="4129564" y="360521"/>
                    <a:pt x="4130516" y="365284"/>
                  </a:cubicBezTo>
                  <a:cubicBezTo>
                    <a:pt x="4129564" y="361474"/>
                    <a:pt x="4129564" y="358616"/>
                    <a:pt x="4128611" y="354806"/>
                  </a:cubicBezTo>
                  <a:close/>
                  <a:moveTo>
                    <a:pt x="4124801" y="255746"/>
                  </a:moveTo>
                  <a:cubicBezTo>
                    <a:pt x="4124801" y="252889"/>
                    <a:pt x="4124801" y="250031"/>
                    <a:pt x="4124801" y="248126"/>
                  </a:cubicBezTo>
                  <a:cubicBezTo>
                    <a:pt x="4129564" y="265271"/>
                    <a:pt x="4134326" y="284321"/>
                    <a:pt x="4140041" y="303371"/>
                  </a:cubicBezTo>
                  <a:cubicBezTo>
                    <a:pt x="4140041" y="304324"/>
                    <a:pt x="4140994" y="306229"/>
                    <a:pt x="4140994" y="307181"/>
                  </a:cubicBezTo>
                  <a:cubicBezTo>
                    <a:pt x="4140994" y="311944"/>
                    <a:pt x="4140994" y="316706"/>
                    <a:pt x="4140994" y="321469"/>
                  </a:cubicBezTo>
                  <a:cubicBezTo>
                    <a:pt x="4136231" y="310991"/>
                    <a:pt x="4133374" y="305276"/>
                    <a:pt x="4133374" y="305276"/>
                  </a:cubicBezTo>
                  <a:cubicBezTo>
                    <a:pt x="4133374" y="305276"/>
                    <a:pt x="4134326" y="308134"/>
                    <a:pt x="4135279" y="312896"/>
                  </a:cubicBezTo>
                  <a:cubicBezTo>
                    <a:pt x="4132421" y="309086"/>
                    <a:pt x="4130516" y="304324"/>
                    <a:pt x="4127659" y="300514"/>
                  </a:cubicBezTo>
                  <a:cubicBezTo>
                    <a:pt x="4125754" y="293846"/>
                    <a:pt x="4124801" y="288131"/>
                    <a:pt x="4123849" y="284321"/>
                  </a:cubicBezTo>
                  <a:cubicBezTo>
                    <a:pt x="4124801" y="273844"/>
                    <a:pt x="4124801" y="264319"/>
                    <a:pt x="4124801" y="255746"/>
                  </a:cubicBezTo>
                  <a:close/>
                  <a:moveTo>
                    <a:pt x="4095274" y="395764"/>
                  </a:moveTo>
                  <a:cubicBezTo>
                    <a:pt x="4094321" y="395764"/>
                    <a:pt x="4094321" y="395764"/>
                    <a:pt x="4095274" y="395764"/>
                  </a:cubicBezTo>
                  <a:cubicBezTo>
                    <a:pt x="4095274" y="394811"/>
                    <a:pt x="4095274" y="394811"/>
                    <a:pt x="4095274" y="394811"/>
                  </a:cubicBezTo>
                  <a:cubicBezTo>
                    <a:pt x="4095274" y="394811"/>
                    <a:pt x="4095274" y="395764"/>
                    <a:pt x="4095274" y="395764"/>
                  </a:cubicBezTo>
                  <a:close/>
                  <a:moveTo>
                    <a:pt x="4093369" y="386239"/>
                  </a:moveTo>
                  <a:cubicBezTo>
                    <a:pt x="4093369" y="383381"/>
                    <a:pt x="4093369" y="379571"/>
                    <a:pt x="4093369" y="376714"/>
                  </a:cubicBezTo>
                  <a:cubicBezTo>
                    <a:pt x="4094321" y="378619"/>
                    <a:pt x="4095274" y="380524"/>
                    <a:pt x="4096226" y="382429"/>
                  </a:cubicBezTo>
                  <a:cubicBezTo>
                    <a:pt x="4094321" y="384334"/>
                    <a:pt x="4094321" y="385286"/>
                    <a:pt x="4093369" y="386239"/>
                  </a:cubicBezTo>
                  <a:close/>
                  <a:moveTo>
                    <a:pt x="4097179" y="342424"/>
                  </a:moveTo>
                  <a:cubicBezTo>
                    <a:pt x="4098131" y="339566"/>
                    <a:pt x="4098131" y="337661"/>
                    <a:pt x="4099084" y="334804"/>
                  </a:cubicBezTo>
                  <a:cubicBezTo>
                    <a:pt x="4099084" y="335756"/>
                    <a:pt x="4099084" y="336709"/>
                    <a:pt x="4099084" y="337661"/>
                  </a:cubicBezTo>
                  <a:cubicBezTo>
                    <a:pt x="4099084" y="339566"/>
                    <a:pt x="4098131" y="340519"/>
                    <a:pt x="4097179" y="342424"/>
                  </a:cubicBezTo>
                  <a:close/>
                  <a:moveTo>
                    <a:pt x="4100989" y="353854"/>
                  </a:moveTo>
                  <a:cubicBezTo>
                    <a:pt x="4100989" y="352901"/>
                    <a:pt x="4100989" y="351949"/>
                    <a:pt x="4100989" y="351949"/>
                  </a:cubicBezTo>
                  <a:cubicBezTo>
                    <a:pt x="4100989" y="351949"/>
                    <a:pt x="4100989" y="351949"/>
                    <a:pt x="4100989" y="351949"/>
                  </a:cubicBezTo>
                  <a:cubicBezTo>
                    <a:pt x="4100989" y="352901"/>
                    <a:pt x="4100989" y="353854"/>
                    <a:pt x="4100989" y="353854"/>
                  </a:cubicBezTo>
                  <a:cubicBezTo>
                    <a:pt x="4100989" y="354806"/>
                    <a:pt x="4100989" y="353854"/>
                    <a:pt x="4100989" y="353854"/>
                  </a:cubicBezTo>
                  <a:close/>
                  <a:moveTo>
                    <a:pt x="4115276" y="322421"/>
                  </a:moveTo>
                  <a:cubicBezTo>
                    <a:pt x="4115276" y="330994"/>
                    <a:pt x="4114324" y="341471"/>
                    <a:pt x="4114324" y="350996"/>
                  </a:cubicBezTo>
                  <a:cubicBezTo>
                    <a:pt x="4113371" y="336709"/>
                    <a:pt x="4111466" y="327184"/>
                    <a:pt x="4111466" y="327184"/>
                  </a:cubicBezTo>
                  <a:cubicBezTo>
                    <a:pt x="4111466" y="327184"/>
                    <a:pt x="4110514" y="332899"/>
                    <a:pt x="4108609" y="342424"/>
                  </a:cubicBezTo>
                  <a:cubicBezTo>
                    <a:pt x="4108609" y="342424"/>
                    <a:pt x="4107656" y="341471"/>
                    <a:pt x="4107656" y="341471"/>
                  </a:cubicBezTo>
                  <a:cubicBezTo>
                    <a:pt x="4107656" y="339566"/>
                    <a:pt x="4106704" y="338614"/>
                    <a:pt x="4106704" y="336709"/>
                  </a:cubicBezTo>
                  <a:cubicBezTo>
                    <a:pt x="4108609" y="330994"/>
                    <a:pt x="4111466" y="326231"/>
                    <a:pt x="4113371" y="322421"/>
                  </a:cubicBezTo>
                  <a:cubicBezTo>
                    <a:pt x="4114324" y="321469"/>
                    <a:pt x="4114324" y="319564"/>
                    <a:pt x="4115276" y="318611"/>
                  </a:cubicBezTo>
                  <a:cubicBezTo>
                    <a:pt x="4115276" y="319564"/>
                    <a:pt x="4115276" y="320516"/>
                    <a:pt x="4115276" y="322421"/>
                  </a:cubicBezTo>
                  <a:close/>
                  <a:moveTo>
                    <a:pt x="4109561" y="295751"/>
                  </a:moveTo>
                  <a:cubicBezTo>
                    <a:pt x="4111466" y="299561"/>
                    <a:pt x="4113371" y="303371"/>
                    <a:pt x="4116229" y="308134"/>
                  </a:cubicBezTo>
                  <a:cubicBezTo>
                    <a:pt x="4116229" y="309086"/>
                    <a:pt x="4116229" y="310991"/>
                    <a:pt x="4116229" y="311944"/>
                  </a:cubicBezTo>
                  <a:cubicBezTo>
                    <a:pt x="4114324" y="314801"/>
                    <a:pt x="4112419" y="316706"/>
                    <a:pt x="4110514" y="320516"/>
                  </a:cubicBezTo>
                  <a:cubicBezTo>
                    <a:pt x="4108609" y="323374"/>
                    <a:pt x="4106704" y="326231"/>
                    <a:pt x="4104799" y="329089"/>
                  </a:cubicBezTo>
                  <a:cubicBezTo>
                    <a:pt x="4103846" y="326231"/>
                    <a:pt x="4102894" y="324326"/>
                    <a:pt x="4102894" y="322421"/>
                  </a:cubicBezTo>
                  <a:cubicBezTo>
                    <a:pt x="4105751" y="311944"/>
                    <a:pt x="4107656" y="303371"/>
                    <a:pt x="4109561" y="295751"/>
                  </a:cubicBezTo>
                  <a:close/>
                  <a:moveTo>
                    <a:pt x="4092416" y="294799"/>
                  </a:moveTo>
                  <a:cubicBezTo>
                    <a:pt x="4093369" y="284321"/>
                    <a:pt x="4093369" y="274796"/>
                    <a:pt x="4094321" y="265271"/>
                  </a:cubicBezTo>
                  <a:cubicBezTo>
                    <a:pt x="4095274" y="268129"/>
                    <a:pt x="4096226" y="270034"/>
                    <a:pt x="4098131" y="272891"/>
                  </a:cubicBezTo>
                  <a:cubicBezTo>
                    <a:pt x="4100989" y="278606"/>
                    <a:pt x="4103846" y="284321"/>
                    <a:pt x="4106704" y="290989"/>
                  </a:cubicBezTo>
                  <a:cubicBezTo>
                    <a:pt x="4103846" y="296704"/>
                    <a:pt x="4101941" y="304324"/>
                    <a:pt x="4098131" y="311944"/>
                  </a:cubicBezTo>
                  <a:cubicBezTo>
                    <a:pt x="4097179" y="308134"/>
                    <a:pt x="4096226" y="306229"/>
                    <a:pt x="4096226" y="306229"/>
                  </a:cubicBezTo>
                  <a:cubicBezTo>
                    <a:pt x="4096226" y="306229"/>
                    <a:pt x="4096226" y="310039"/>
                    <a:pt x="4097179" y="315754"/>
                  </a:cubicBezTo>
                  <a:cubicBezTo>
                    <a:pt x="4095274" y="320516"/>
                    <a:pt x="4093369" y="324326"/>
                    <a:pt x="4092416" y="329089"/>
                  </a:cubicBezTo>
                  <a:cubicBezTo>
                    <a:pt x="4092416" y="328136"/>
                    <a:pt x="4091464" y="326231"/>
                    <a:pt x="4091464" y="325279"/>
                  </a:cubicBezTo>
                  <a:cubicBezTo>
                    <a:pt x="4091464" y="324326"/>
                    <a:pt x="4090511" y="323374"/>
                    <a:pt x="4090511" y="321469"/>
                  </a:cubicBezTo>
                  <a:cubicBezTo>
                    <a:pt x="4091464" y="311944"/>
                    <a:pt x="4092416" y="303371"/>
                    <a:pt x="4092416" y="294799"/>
                  </a:cubicBezTo>
                  <a:close/>
                  <a:moveTo>
                    <a:pt x="4085749" y="244316"/>
                  </a:moveTo>
                  <a:cubicBezTo>
                    <a:pt x="4085749" y="245269"/>
                    <a:pt x="4085749" y="245269"/>
                    <a:pt x="4085749" y="244316"/>
                  </a:cubicBezTo>
                  <a:cubicBezTo>
                    <a:pt x="4085749" y="247174"/>
                    <a:pt x="4085749" y="248126"/>
                    <a:pt x="4084796" y="250031"/>
                  </a:cubicBezTo>
                  <a:cubicBezTo>
                    <a:pt x="4084796" y="249079"/>
                    <a:pt x="4084796" y="246221"/>
                    <a:pt x="4085749" y="244316"/>
                  </a:cubicBezTo>
                  <a:close/>
                  <a:moveTo>
                    <a:pt x="4043839" y="279559"/>
                  </a:moveTo>
                  <a:cubicBezTo>
                    <a:pt x="4044791" y="280511"/>
                    <a:pt x="4044791" y="280511"/>
                    <a:pt x="4043839" y="279559"/>
                  </a:cubicBezTo>
                  <a:cubicBezTo>
                    <a:pt x="4044791" y="281464"/>
                    <a:pt x="4044791" y="282416"/>
                    <a:pt x="4044791" y="283369"/>
                  </a:cubicBezTo>
                  <a:cubicBezTo>
                    <a:pt x="4043839" y="282416"/>
                    <a:pt x="4043839" y="281464"/>
                    <a:pt x="4043839" y="281464"/>
                  </a:cubicBezTo>
                  <a:cubicBezTo>
                    <a:pt x="4043839" y="281464"/>
                    <a:pt x="4043839" y="283369"/>
                    <a:pt x="4044791" y="286226"/>
                  </a:cubicBezTo>
                  <a:cubicBezTo>
                    <a:pt x="4044791" y="287179"/>
                    <a:pt x="4044791" y="288131"/>
                    <a:pt x="4044791" y="290036"/>
                  </a:cubicBezTo>
                  <a:cubicBezTo>
                    <a:pt x="4043839" y="288131"/>
                    <a:pt x="4042886" y="286226"/>
                    <a:pt x="4042886" y="284321"/>
                  </a:cubicBezTo>
                  <a:cubicBezTo>
                    <a:pt x="4043839" y="282416"/>
                    <a:pt x="4043839" y="281464"/>
                    <a:pt x="4043839" y="279559"/>
                  </a:cubicBezTo>
                  <a:close/>
                  <a:moveTo>
                    <a:pt x="4044791" y="333851"/>
                  </a:moveTo>
                  <a:cubicBezTo>
                    <a:pt x="4044791" y="333851"/>
                    <a:pt x="4044791" y="333851"/>
                    <a:pt x="4044791" y="333851"/>
                  </a:cubicBezTo>
                  <a:cubicBezTo>
                    <a:pt x="4044791" y="335756"/>
                    <a:pt x="4044791" y="337661"/>
                    <a:pt x="4044791" y="339566"/>
                  </a:cubicBezTo>
                  <a:cubicBezTo>
                    <a:pt x="4043839" y="338614"/>
                    <a:pt x="4043839" y="338614"/>
                    <a:pt x="4042886" y="337661"/>
                  </a:cubicBezTo>
                  <a:cubicBezTo>
                    <a:pt x="4042886" y="335756"/>
                    <a:pt x="4043839" y="334804"/>
                    <a:pt x="4044791" y="333851"/>
                  </a:cubicBezTo>
                  <a:close/>
                  <a:moveTo>
                    <a:pt x="4039076" y="271939"/>
                  </a:moveTo>
                  <a:cubicBezTo>
                    <a:pt x="4039076" y="272891"/>
                    <a:pt x="4039076" y="272891"/>
                    <a:pt x="4039076" y="273844"/>
                  </a:cubicBezTo>
                  <a:cubicBezTo>
                    <a:pt x="4039076" y="272891"/>
                    <a:pt x="4038124" y="271939"/>
                    <a:pt x="4038124" y="270034"/>
                  </a:cubicBezTo>
                  <a:cubicBezTo>
                    <a:pt x="4037171" y="268129"/>
                    <a:pt x="4037171" y="267176"/>
                    <a:pt x="4036219" y="265271"/>
                  </a:cubicBezTo>
                  <a:cubicBezTo>
                    <a:pt x="4037171" y="267176"/>
                    <a:pt x="4038124" y="269081"/>
                    <a:pt x="4039076" y="271939"/>
                  </a:cubicBezTo>
                  <a:close/>
                  <a:moveTo>
                    <a:pt x="4033361" y="358616"/>
                  </a:moveTo>
                  <a:cubicBezTo>
                    <a:pt x="4033361" y="355759"/>
                    <a:pt x="4034314" y="353854"/>
                    <a:pt x="4034314" y="351949"/>
                  </a:cubicBezTo>
                  <a:cubicBezTo>
                    <a:pt x="4035266" y="350044"/>
                    <a:pt x="4037171" y="347186"/>
                    <a:pt x="4038124" y="345281"/>
                  </a:cubicBezTo>
                  <a:cubicBezTo>
                    <a:pt x="4040029" y="347186"/>
                    <a:pt x="4041934" y="350044"/>
                    <a:pt x="4043839" y="351949"/>
                  </a:cubicBezTo>
                  <a:cubicBezTo>
                    <a:pt x="4042886" y="363379"/>
                    <a:pt x="4041934" y="376714"/>
                    <a:pt x="4040981" y="391954"/>
                  </a:cubicBezTo>
                  <a:cubicBezTo>
                    <a:pt x="4039076" y="398621"/>
                    <a:pt x="4037171" y="406241"/>
                    <a:pt x="4035266" y="413861"/>
                  </a:cubicBezTo>
                  <a:cubicBezTo>
                    <a:pt x="4033361" y="407194"/>
                    <a:pt x="4030504" y="401479"/>
                    <a:pt x="4029551" y="395764"/>
                  </a:cubicBezTo>
                  <a:cubicBezTo>
                    <a:pt x="4028599" y="392906"/>
                    <a:pt x="4027646" y="391001"/>
                    <a:pt x="4027646" y="388144"/>
                  </a:cubicBezTo>
                  <a:cubicBezTo>
                    <a:pt x="4029551" y="377666"/>
                    <a:pt x="4031456" y="368141"/>
                    <a:pt x="4033361" y="358616"/>
                  </a:cubicBezTo>
                  <a:close/>
                  <a:moveTo>
                    <a:pt x="4020026" y="324326"/>
                  </a:moveTo>
                  <a:cubicBezTo>
                    <a:pt x="4020979" y="325279"/>
                    <a:pt x="4020979" y="325279"/>
                    <a:pt x="4021931" y="326231"/>
                  </a:cubicBezTo>
                  <a:cubicBezTo>
                    <a:pt x="4020979" y="329089"/>
                    <a:pt x="4020026" y="331946"/>
                    <a:pt x="4019074" y="334804"/>
                  </a:cubicBezTo>
                  <a:cubicBezTo>
                    <a:pt x="4018121" y="336709"/>
                    <a:pt x="4018121" y="339566"/>
                    <a:pt x="4017169" y="341471"/>
                  </a:cubicBezTo>
                  <a:cubicBezTo>
                    <a:pt x="4017169" y="341471"/>
                    <a:pt x="4017169" y="342424"/>
                    <a:pt x="4016216" y="342424"/>
                  </a:cubicBezTo>
                  <a:cubicBezTo>
                    <a:pt x="4016216" y="343376"/>
                    <a:pt x="4015264" y="343376"/>
                    <a:pt x="4015264" y="344329"/>
                  </a:cubicBezTo>
                  <a:cubicBezTo>
                    <a:pt x="4014311" y="333851"/>
                    <a:pt x="4012406" y="324326"/>
                    <a:pt x="4011454" y="315754"/>
                  </a:cubicBezTo>
                  <a:cubicBezTo>
                    <a:pt x="4014311" y="317659"/>
                    <a:pt x="4017169" y="320516"/>
                    <a:pt x="4020026" y="324326"/>
                  </a:cubicBezTo>
                  <a:close/>
                  <a:moveTo>
                    <a:pt x="3999071" y="282416"/>
                  </a:moveTo>
                  <a:cubicBezTo>
                    <a:pt x="4000024" y="282416"/>
                    <a:pt x="4000024" y="282416"/>
                    <a:pt x="3999071" y="282416"/>
                  </a:cubicBezTo>
                  <a:cubicBezTo>
                    <a:pt x="4000024" y="290989"/>
                    <a:pt x="4000024" y="300514"/>
                    <a:pt x="4000024" y="310991"/>
                  </a:cubicBezTo>
                  <a:cubicBezTo>
                    <a:pt x="4000024" y="312896"/>
                    <a:pt x="4000024" y="314801"/>
                    <a:pt x="4000024" y="316706"/>
                  </a:cubicBezTo>
                  <a:cubicBezTo>
                    <a:pt x="4000024" y="319564"/>
                    <a:pt x="3999071" y="322421"/>
                    <a:pt x="3999071" y="325279"/>
                  </a:cubicBezTo>
                  <a:cubicBezTo>
                    <a:pt x="3999071" y="325279"/>
                    <a:pt x="3999071" y="326231"/>
                    <a:pt x="3999071" y="327184"/>
                  </a:cubicBezTo>
                  <a:cubicBezTo>
                    <a:pt x="3999071" y="326231"/>
                    <a:pt x="3998119" y="325279"/>
                    <a:pt x="3998119" y="324326"/>
                  </a:cubicBezTo>
                  <a:lnTo>
                    <a:pt x="3997166" y="314801"/>
                  </a:lnTo>
                  <a:lnTo>
                    <a:pt x="3996214" y="286226"/>
                  </a:lnTo>
                  <a:cubicBezTo>
                    <a:pt x="3997166" y="285274"/>
                    <a:pt x="3998119" y="284321"/>
                    <a:pt x="3999071" y="282416"/>
                  </a:cubicBezTo>
                  <a:close/>
                  <a:moveTo>
                    <a:pt x="3983831" y="405289"/>
                  </a:moveTo>
                  <a:cubicBezTo>
                    <a:pt x="3982879" y="408146"/>
                    <a:pt x="3981926" y="410051"/>
                    <a:pt x="3980021" y="412909"/>
                  </a:cubicBezTo>
                  <a:cubicBezTo>
                    <a:pt x="3980021" y="412909"/>
                    <a:pt x="3980021" y="412909"/>
                    <a:pt x="3980021" y="412909"/>
                  </a:cubicBezTo>
                  <a:cubicBezTo>
                    <a:pt x="3981926" y="407194"/>
                    <a:pt x="3981926" y="404336"/>
                    <a:pt x="3982879" y="402431"/>
                  </a:cubicBezTo>
                  <a:cubicBezTo>
                    <a:pt x="3982879" y="403384"/>
                    <a:pt x="3982879" y="404336"/>
                    <a:pt x="3983831" y="405289"/>
                  </a:cubicBezTo>
                  <a:close/>
                  <a:moveTo>
                    <a:pt x="3980974" y="395764"/>
                  </a:moveTo>
                  <a:cubicBezTo>
                    <a:pt x="3981926" y="397669"/>
                    <a:pt x="3981926" y="399574"/>
                    <a:pt x="3982879" y="401479"/>
                  </a:cubicBezTo>
                  <a:cubicBezTo>
                    <a:pt x="3982879" y="402431"/>
                    <a:pt x="3980974" y="404336"/>
                    <a:pt x="3979069" y="407194"/>
                  </a:cubicBezTo>
                  <a:cubicBezTo>
                    <a:pt x="3979069" y="407194"/>
                    <a:pt x="3979069" y="406241"/>
                    <a:pt x="3979069" y="406241"/>
                  </a:cubicBezTo>
                  <a:cubicBezTo>
                    <a:pt x="3980021" y="403384"/>
                    <a:pt x="3980021" y="399574"/>
                    <a:pt x="3980974" y="395764"/>
                  </a:cubicBezTo>
                  <a:close/>
                  <a:moveTo>
                    <a:pt x="3976211" y="378619"/>
                  </a:moveTo>
                  <a:cubicBezTo>
                    <a:pt x="3976211" y="378619"/>
                    <a:pt x="3976211" y="378619"/>
                    <a:pt x="3976211" y="378619"/>
                  </a:cubicBezTo>
                  <a:cubicBezTo>
                    <a:pt x="3976211" y="379571"/>
                    <a:pt x="3976211" y="379571"/>
                    <a:pt x="3976211" y="380524"/>
                  </a:cubicBezTo>
                  <a:cubicBezTo>
                    <a:pt x="3976211" y="379571"/>
                    <a:pt x="3976211" y="378619"/>
                    <a:pt x="3976211" y="378619"/>
                  </a:cubicBezTo>
                  <a:close/>
                  <a:moveTo>
                    <a:pt x="3948589" y="255746"/>
                  </a:moveTo>
                  <a:cubicBezTo>
                    <a:pt x="3948589" y="262414"/>
                    <a:pt x="3947636" y="270034"/>
                    <a:pt x="3946684" y="277654"/>
                  </a:cubicBezTo>
                  <a:cubicBezTo>
                    <a:pt x="3946684" y="279559"/>
                    <a:pt x="3946684" y="282416"/>
                    <a:pt x="3945731" y="285274"/>
                  </a:cubicBezTo>
                  <a:cubicBezTo>
                    <a:pt x="3944779" y="278606"/>
                    <a:pt x="3944779" y="272891"/>
                    <a:pt x="3943826" y="266224"/>
                  </a:cubicBezTo>
                  <a:cubicBezTo>
                    <a:pt x="3942874" y="257651"/>
                    <a:pt x="3940969" y="249079"/>
                    <a:pt x="3940016" y="240506"/>
                  </a:cubicBezTo>
                  <a:cubicBezTo>
                    <a:pt x="3940016" y="240506"/>
                    <a:pt x="3940016" y="240506"/>
                    <a:pt x="3940016" y="239554"/>
                  </a:cubicBezTo>
                  <a:cubicBezTo>
                    <a:pt x="3940016" y="238601"/>
                    <a:pt x="3940016" y="237649"/>
                    <a:pt x="3940016" y="236696"/>
                  </a:cubicBezTo>
                  <a:cubicBezTo>
                    <a:pt x="3940969" y="237649"/>
                    <a:pt x="3941921" y="239554"/>
                    <a:pt x="3942874" y="240506"/>
                  </a:cubicBezTo>
                  <a:cubicBezTo>
                    <a:pt x="3944779" y="243364"/>
                    <a:pt x="3945731" y="245269"/>
                    <a:pt x="3947636" y="248126"/>
                  </a:cubicBezTo>
                  <a:cubicBezTo>
                    <a:pt x="3948589" y="251936"/>
                    <a:pt x="3948589" y="253841"/>
                    <a:pt x="3948589" y="255746"/>
                  </a:cubicBezTo>
                  <a:close/>
                  <a:moveTo>
                    <a:pt x="3943826" y="205264"/>
                  </a:moveTo>
                  <a:cubicBezTo>
                    <a:pt x="3943826" y="207169"/>
                    <a:pt x="3943826" y="209074"/>
                    <a:pt x="3943826" y="210979"/>
                  </a:cubicBezTo>
                  <a:cubicBezTo>
                    <a:pt x="3943826" y="216694"/>
                    <a:pt x="3944779" y="223361"/>
                    <a:pt x="3945731" y="230981"/>
                  </a:cubicBezTo>
                  <a:cubicBezTo>
                    <a:pt x="3945731" y="232886"/>
                    <a:pt x="3945731" y="234791"/>
                    <a:pt x="3946684" y="236696"/>
                  </a:cubicBezTo>
                  <a:cubicBezTo>
                    <a:pt x="3943826" y="233839"/>
                    <a:pt x="3941921" y="230029"/>
                    <a:pt x="3939064" y="228124"/>
                  </a:cubicBezTo>
                  <a:cubicBezTo>
                    <a:pt x="3938111" y="224314"/>
                    <a:pt x="3938111" y="219551"/>
                    <a:pt x="3937159" y="215741"/>
                  </a:cubicBezTo>
                  <a:cubicBezTo>
                    <a:pt x="3940016" y="210979"/>
                    <a:pt x="3941921" y="208121"/>
                    <a:pt x="3943826" y="205264"/>
                  </a:cubicBezTo>
                  <a:close/>
                  <a:moveTo>
                    <a:pt x="3866674" y="369094"/>
                  </a:moveTo>
                  <a:cubicBezTo>
                    <a:pt x="3866674" y="369094"/>
                    <a:pt x="3866674" y="368141"/>
                    <a:pt x="3867626" y="368141"/>
                  </a:cubicBezTo>
                  <a:cubicBezTo>
                    <a:pt x="3867626" y="369094"/>
                    <a:pt x="3867626" y="370046"/>
                    <a:pt x="3867626" y="370999"/>
                  </a:cubicBezTo>
                  <a:cubicBezTo>
                    <a:pt x="3867626" y="370046"/>
                    <a:pt x="3866674" y="370046"/>
                    <a:pt x="3866674" y="369094"/>
                  </a:cubicBezTo>
                  <a:close/>
                  <a:moveTo>
                    <a:pt x="3886676" y="354806"/>
                  </a:moveTo>
                  <a:cubicBezTo>
                    <a:pt x="3885724" y="351949"/>
                    <a:pt x="3883819" y="350044"/>
                    <a:pt x="3882866" y="348139"/>
                  </a:cubicBezTo>
                  <a:cubicBezTo>
                    <a:pt x="3882866" y="345281"/>
                    <a:pt x="3881914" y="341471"/>
                    <a:pt x="3881914" y="338614"/>
                  </a:cubicBezTo>
                  <a:cubicBezTo>
                    <a:pt x="3883819" y="343376"/>
                    <a:pt x="3885724" y="349091"/>
                    <a:pt x="3886676" y="354806"/>
                  </a:cubicBezTo>
                  <a:cubicBezTo>
                    <a:pt x="3887629" y="354806"/>
                    <a:pt x="3887629" y="355759"/>
                    <a:pt x="3887629" y="356711"/>
                  </a:cubicBezTo>
                  <a:cubicBezTo>
                    <a:pt x="3887629" y="355759"/>
                    <a:pt x="3887629" y="354806"/>
                    <a:pt x="3886676" y="354806"/>
                  </a:cubicBezTo>
                  <a:close/>
                  <a:moveTo>
                    <a:pt x="3897154" y="278606"/>
                  </a:moveTo>
                  <a:cubicBezTo>
                    <a:pt x="3899059" y="275749"/>
                    <a:pt x="3900011" y="272891"/>
                    <a:pt x="3901916" y="270986"/>
                  </a:cubicBezTo>
                  <a:cubicBezTo>
                    <a:pt x="3901916" y="270986"/>
                    <a:pt x="3901916" y="270986"/>
                    <a:pt x="3901916" y="270986"/>
                  </a:cubicBezTo>
                  <a:cubicBezTo>
                    <a:pt x="3900964" y="273844"/>
                    <a:pt x="3899059" y="276701"/>
                    <a:pt x="3897154" y="278606"/>
                  </a:cubicBezTo>
                  <a:cubicBezTo>
                    <a:pt x="3898106" y="279559"/>
                    <a:pt x="3897154" y="279559"/>
                    <a:pt x="3897154" y="278606"/>
                  </a:cubicBezTo>
                  <a:close/>
                  <a:moveTo>
                    <a:pt x="3900011" y="291941"/>
                  </a:moveTo>
                  <a:cubicBezTo>
                    <a:pt x="3900011" y="290989"/>
                    <a:pt x="3900964" y="289084"/>
                    <a:pt x="3901916" y="288131"/>
                  </a:cubicBezTo>
                  <a:cubicBezTo>
                    <a:pt x="3901916" y="287179"/>
                    <a:pt x="3902869" y="287179"/>
                    <a:pt x="3902869" y="286226"/>
                  </a:cubicBezTo>
                  <a:cubicBezTo>
                    <a:pt x="3902869" y="290036"/>
                    <a:pt x="3902869" y="293846"/>
                    <a:pt x="3903821" y="297656"/>
                  </a:cubicBezTo>
                  <a:cubicBezTo>
                    <a:pt x="3903821" y="298609"/>
                    <a:pt x="3903821" y="300514"/>
                    <a:pt x="3902869" y="301466"/>
                  </a:cubicBezTo>
                  <a:cubicBezTo>
                    <a:pt x="3902869" y="300514"/>
                    <a:pt x="3902869" y="299561"/>
                    <a:pt x="3901916" y="298609"/>
                  </a:cubicBezTo>
                  <a:cubicBezTo>
                    <a:pt x="3901916" y="295751"/>
                    <a:pt x="3900964" y="293846"/>
                    <a:pt x="3900011" y="291941"/>
                  </a:cubicBezTo>
                  <a:close/>
                  <a:moveTo>
                    <a:pt x="3903821" y="431006"/>
                  </a:moveTo>
                  <a:cubicBezTo>
                    <a:pt x="3903821" y="431006"/>
                    <a:pt x="3903821" y="431959"/>
                    <a:pt x="3902869" y="431959"/>
                  </a:cubicBezTo>
                  <a:lnTo>
                    <a:pt x="3901916" y="431959"/>
                  </a:lnTo>
                  <a:cubicBezTo>
                    <a:pt x="3902869" y="430054"/>
                    <a:pt x="3902869" y="428149"/>
                    <a:pt x="3903821" y="426244"/>
                  </a:cubicBezTo>
                  <a:cubicBezTo>
                    <a:pt x="3903821" y="427196"/>
                    <a:pt x="3903821" y="427196"/>
                    <a:pt x="3904774" y="428149"/>
                  </a:cubicBezTo>
                  <a:cubicBezTo>
                    <a:pt x="3903821" y="429101"/>
                    <a:pt x="3903821" y="430054"/>
                    <a:pt x="3903821" y="431006"/>
                  </a:cubicBezTo>
                  <a:close/>
                  <a:moveTo>
                    <a:pt x="3925729" y="309086"/>
                  </a:moveTo>
                  <a:cubicBezTo>
                    <a:pt x="3923824" y="301466"/>
                    <a:pt x="3922871" y="297656"/>
                    <a:pt x="3922871" y="297656"/>
                  </a:cubicBezTo>
                  <a:cubicBezTo>
                    <a:pt x="3922871" y="297656"/>
                    <a:pt x="3922871" y="301466"/>
                    <a:pt x="3923824" y="308134"/>
                  </a:cubicBezTo>
                  <a:cubicBezTo>
                    <a:pt x="3920966" y="297656"/>
                    <a:pt x="3919061" y="291941"/>
                    <a:pt x="3919061" y="291941"/>
                  </a:cubicBezTo>
                  <a:cubicBezTo>
                    <a:pt x="3919061" y="291941"/>
                    <a:pt x="3920014" y="301466"/>
                    <a:pt x="3922871" y="317659"/>
                  </a:cubicBezTo>
                  <a:cubicBezTo>
                    <a:pt x="3922871" y="320516"/>
                    <a:pt x="3923824" y="322421"/>
                    <a:pt x="3923824" y="325279"/>
                  </a:cubicBezTo>
                  <a:cubicBezTo>
                    <a:pt x="3922871" y="328136"/>
                    <a:pt x="3922871" y="331946"/>
                    <a:pt x="3921919" y="334804"/>
                  </a:cubicBezTo>
                  <a:cubicBezTo>
                    <a:pt x="3921919" y="334804"/>
                    <a:pt x="3921919" y="335756"/>
                    <a:pt x="3921919" y="335756"/>
                  </a:cubicBezTo>
                  <a:cubicBezTo>
                    <a:pt x="3921919" y="333851"/>
                    <a:pt x="3920966" y="331946"/>
                    <a:pt x="3920966" y="330041"/>
                  </a:cubicBezTo>
                  <a:cubicBezTo>
                    <a:pt x="3919061" y="319564"/>
                    <a:pt x="3917156" y="310039"/>
                    <a:pt x="3915251" y="301466"/>
                  </a:cubicBezTo>
                  <a:cubicBezTo>
                    <a:pt x="3913346" y="293846"/>
                    <a:pt x="3912394" y="287179"/>
                    <a:pt x="3911441" y="281464"/>
                  </a:cubicBezTo>
                  <a:cubicBezTo>
                    <a:pt x="3911441" y="273844"/>
                    <a:pt x="3912394" y="268129"/>
                    <a:pt x="3912394" y="264319"/>
                  </a:cubicBezTo>
                  <a:cubicBezTo>
                    <a:pt x="3912394" y="264319"/>
                    <a:pt x="3912394" y="263366"/>
                    <a:pt x="3912394" y="263366"/>
                  </a:cubicBezTo>
                  <a:cubicBezTo>
                    <a:pt x="3914299" y="265271"/>
                    <a:pt x="3917156" y="268129"/>
                    <a:pt x="3919061" y="270986"/>
                  </a:cubicBezTo>
                  <a:cubicBezTo>
                    <a:pt x="3920966" y="272891"/>
                    <a:pt x="3922871" y="274796"/>
                    <a:pt x="3923824" y="277654"/>
                  </a:cubicBezTo>
                  <a:cubicBezTo>
                    <a:pt x="3923824" y="277654"/>
                    <a:pt x="3923824" y="280511"/>
                    <a:pt x="3924776" y="284321"/>
                  </a:cubicBezTo>
                  <a:cubicBezTo>
                    <a:pt x="3922871" y="279559"/>
                    <a:pt x="3921919" y="277654"/>
                    <a:pt x="3921919" y="277654"/>
                  </a:cubicBezTo>
                  <a:cubicBezTo>
                    <a:pt x="3921919" y="277654"/>
                    <a:pt x="3923824" y="284321"/>
                    <a:pt x="3926681" y="296704"/>
                  </a:cubicBezTo>
                  <a:cubicBezTo>
                    <a:pt x="3926681" y="298609"/>
                    <a:pt x="3927634" y="301466"/>
                    <a:pt x="3927634" y="304324"/>
                  </a:cubicBezTo>
                  <a:cubicBezTo>
                    <a:pt x="3927634" y="304324"/>
                    <a:pt x="3927634" y="304324"/>
                    <a:pt x="3927634" y="305276"/>
                  </a:cubicBezTo>
                  <a:cubicBezTo>
                    <a:pt x="3926681" y="304324"/>
                    <a:pt x="3925729" y="306229"/>
                    <a:pt x="3925729" y="309086"/>
                  </a:cubicBezTo>
                  <a:close/>
                  <a:moveTo>
                    <a:pt x="3929539" y="287179"/>
                  </a:moveTo>
                  <a:cubicBezTo>
                    <a:pt x="3929539" y="289084"/>
                    <a:pt x="3928586" y="290989"/>
                    <a:pt x="3928586" y="292894"/>
                  </a:cubicBezTo>
                  <a:cubicBezTo>
                    <a:pt x="3928586" y="291941"/>
                    <a:pt x="3927634" y="290989"/>
                    <a:pt x="3927634" y="290036"/>
                  </a:cubicBezTo>
                  <a:cubicBezTo>
                    <a:pt x="3924776" y="281464"/>
                    <a:pt x="3923824" y="275749"/>
                    <a:pt x="3923824" y="275749"/>
                  </a:cubicBezTo>
                  <a:cubicBezTo>
                    <a:pt x="3924776" y="277654"/>
                    <a:pt x="3926681" y="279559"/>
                    <a:pt x="3927634" y="281464"/>
                  </a:cubicBezTo>
                  <a:cubicBezTo>
                    <a:pt x="3928586" y="282416"/>
                    <a:pt x="3928586" y="283369"/>
                    <a:pt x="3929539" y="284321"/>
                  </a:cubicBezTo>
                  <a:cubicBezTo>
                    <a:pt x="3929539" y="284321"/>
                    <a:pt x="3929539" y="285274"/>
                    <a:pt x="3929539" y="287179"/>
                  </a:cubicBezTo>
                  <a:close/>
                  <a:moveTo>
                    <a:pt x="3926681" y="242411"/>
                  </a:moveTo>
                  <a:cubicBezTo>
                    <a:pt x="3927634" y="251936"/>
                    <a:pt x="3928586" y="261461"/>
                    <a:pt x="3928586" y="270986"/>
                  </a:cubicBezTo>
                  <a:cubicBezTo>
                    <a:pt x="3926681" y="269081"/>
                    <a:pt x="3924776" y="266224"/>
                    <a:pt x="3921919" y="265271"/>
                  </a:cubicBezTo>
                  <a:cubicBezTo>
                    <a:pt x="3919061" y="262414"/>
                    <a:pt x="3916204" y="259556"/>
                    <a:pt x="3913346" y="257651"/>
                  </a:cubicBezTo>
                  <a:cubicBezTo>
                    <a:pt x="3915251" y="253841"/>
                    <a:pt x="3916204" y="250031"/>
                    <a:pt x="3917156" y="246221"/>
                  </a:cubicBezTo>
                  <a:cubicBezTo>
                    <a:pt x="3920014" y="241459"/>
                    <a:pt x="3922871" y="236696"/>
                    <a:pt x="3925729" y="232886"/>
                  </a:cubicBezTo>
                  <a:cubicBezTo>
                    <a:pt x="3925729" y="235744"/>
                    <a:pt x="3925729" y="239554"/>
                    <a:pt x="3926681" y="242411"/>
                  </a:cubicBezTo>
                  <a:close/>
                  <a:moveTo>
                    <a:pt x="3900964" y="168116"/>
                  </a:moveTo>
                  <a:cubicBezTo>
                    <a:pt x="3905726" y="160496"/>
                    <a:pt x="3910489" y="153829"/>
                    <a:pt x="3914299" y="147161"/>
                  </a:cubicBezTo>
                  <a:cubicBezTo>
                    <a:pt x="3914299" y="150019"/>
                    <a:pt x="3915251" y="152876"/>
                    <a:pt x="3915251" y="156686"/>
                  </a:cubicBezTo>
                  <a:cubicBezTo>
                    <a:pt x="3917156" y="168116"/>
                    <a:pt x="3919061" y="181451"/>
                    <a:pt x="3920966" y="196691"/>
                  </a:cubicBezTo>
                  <a:cubicBezTo>
                    <a:pt x="3921919" y="202406"/>
                    <a:pt x="3921919" y="208121"/>
                    <a:pt x="3922871" y="213836"/>
                  </a:cubicBezTo>
                  <a:cubicBezTo>
                    <a:pt x="3920966" y="211931"/>
                    <a:pt x="3920014" y="210979"/>
                    <a:pt x="3920014" y="210979"/>
                  </a:cubicBezTo>
                  <a:cubicBezTo>
                    <a:pt x="3920014" y="210979"/>
                    <a:pt x="3920966" y="212884"/>
                    <a:pt x="3923824" y="214789"/>
                  </a:cubicBezTo>
                  <a:cubicBezTo>
                    <a:pt x="3923824" y="218599"/>
                    <a:pt x="3924776" y="222409"/>
                    <a:pt x="3924776" y="226219"/>
                  </a:cubicBezTo>
                  <a:cubicBezTo>
                    <a:pt x="3919061" y="232886"/>
                    <a:pt x="3913346" y="240506"/>
                    <a:pt x="3906679" y="249079"/>
                  </a:cubicBezTo>
                  <a:cubicBezTo>
                    <a:pt x="3905726" y="250031"/>
                    <a:pt x="3905726" y="250984"/>
                    <a:pt x="3904774" y="251936"/>
                  </a:cubicBezTo>
                  <a:cubicBezTo>
                    <a:pt x="3903821" y="251936"/>
                    <a:pt x="3903821" y="250984"/>
                    <a:pt x="3902869" y="250984"/>
                  </a:cubicBezTo>
                  <a:cubicBezTo>
                    <a:pt x="3901916" y="245269"/>
                    <a:pt x="3900964" y="242411"/>
                    <a:pt x="3900964" y="242411"/>
                  </a:cubicBezTo>
                  <a:cubicBezTo>
                    <a:pt x="3900964" y="242411"/>
                    <a:pt x="3900964" y="245269"/>
                    <a:pt x="3900964" y="249079"/>
                  </a:cubicBezTo>
                  <a:cubicBezTo>
                    <a:pt x="3900011" y="248126"/>
                    <a:pt x="3898106" y="247174"/>
                    <a:pt x="3897154" y="247174"/>
                  </a:cubicBezTo>
                  <a:cubicBezTo>
                    <a:pt x="3893344" y="245269"/>
                    <a:pt x="3891439" y="243364"/>
                    <a:pt x="3891439" y="243364"/>
                  </a:cubicBezTo>
                  <a:cubicBezTo>
                    <a:pt x="3891439" y="243364"/>
                    <a:pt x="3893344" y="245269"/>
                    <a:pt x="3896201" y="248126"/>
                  </a:cubicBezTo>
                  <a:cubicBezTo>
                    <a:pt x="3897154" y="249079"/>
                    <a:pt x="3899059" y="250984"/>
                    <a:pt x="3900964" y="251936"/>
                  </a:cubicBezTo>
                  <a:cubicBezTo>
                    <a:pt x="3900964" y="253841"/>
                    <a:pt x="3900964" y="254794"/>
                    <a:pt x="3900964" y="256699"/>
                  </a:cubicBezTo>
                  <a:cubicBezTo>
                    <a:pt x="3899059" y="259556"/>
                    <a:pt x="3896201" y="263366"/>
                    <a:pt x="3894296" y="266224"/>
                  </a:cubicBezTo>
                  <a:cubicBezTo>
                    <a:pt x="3893344" y="261461"/>
                    <a:pt x="3891439" y="255746"/>
                    <a:pt x="3890486" y="250984"/>
                  </a:cubicBezTo>
                  <a:cubicBezTo>
                    <a:pt x="3886676" y="235744"/>
                    <a:pt x="3883819" y="222409"/>
                    <a:pt x="3880009" y="210026"/>
                  </a:cubicBezTo>
                  <a:cubicBezTo>
                    <a:pt x="3880009" y="209074"/>
                    <a:pt x="3879056" y="207169"/>
                    <a:pt x="3879056" y="206216"/>
                  </a:cubicBezTo>
                  <a:cubicBezTo>
                    <a:pt x="3886676" y="191929"/>
                    <a:pt x="3894296" y="178594"/>
                    <a:pt x="3900964" y="168116"/>
                  </a:cubicBezTo>
                  <a:close/>
                  <a:moveTo>
                    <a:pt x="3873341" y="214789"/>
                  </a:moveTo>
                  <a:cubicBezTo>
                    <a:pt x="3875246" y="226219"/>
                    <a:pt x="3877151" y="238601"/>
                    <a:pt x="3879056" y="251936"/>
                  </a:cubicBezTo>
                  <a:cubicBezTo>
                    <a:pt x="3880009" y="260509"/>
                    <a:pt x="3881914" y="270034"/>
                    <a:pt x="3883819" y="280511"/>
                  </a:cubicBezTo>
                  <a:cubicBezTo>
                    <a:pt x="3883819" y="281464"/>
                    <a:pt x="3882866" y="281464"/>
                    <a:pt x="3882866" y="282416"/>
                  </a:cubicBezTo>
                  <a:cubicBezTo>
                    <a:pt x="3880009" y="273844"/>
                    <a:pt x="3878104" y="266224"/>
                    <a:pt x="3875246" y="259556"/>
                  </a:cubicBezTo>
                  <a:cubicBezTo>
                    <a:pt x="3871436" y="250031"/>
                    <a:pt x="3868579" y="241459"/>
                    <a:pt x="3865721" y="234791"/>
                  </a:cubicBezTo>
                  <a:cubicBezTo>
                    <a:pt x="3865721" y="233839"/>
                    <a:pt x="3864769" y="232886"/>
                    <a:pt x="3864769" y="231934"/>
                  </a:cubicBezTo>
                  <a:cubicBezTo>
                    <a:pt x="3867626" y="225266"/>
                    <a:pt x="3870484" y="219551"/>
                    <a:pt x="3873341" y="214789"/>
                  </a:cubicBezTo>
                  <a:close/>
                  <a:moveTo>
                    <a:pt x="3864769" y="341471"/>
                  </a:moveTo>
                  <a:cubicBezTo>
                    <a:pt x="3863816" y="342424"/>
                    <a:pt x="3863816" y="344329"/>
                    <a:pt x="3862864" y="345281"/>
                  </a:cubicBezTo>
                  <a:cubicBezTo>
                    <a:pt x="3862864" y="344329"/>
                    <a:pt x="3863816" y="343376"/>
                    <a:pt x="3864769" y="341471"/>
                  </a:cubicBezTo>
                  <a:cubicBezTo>
                    <a:pt x="3864769" y="341471"/>
                    <a:pt x="3864769" y="341471"/>
                    <a:pt x="3864769" y="341471"/>
                  </a:cubicBezTo>
                  <a:close/>
                  <a:moveTo>
                    <a:pt x="3854291" y="211931"/>
                  </a:moveTo>
                  <a:cubicBezTo>
                    <a:pt x="3854291" y="208121"/>
                    <a:pt x="3855244" y="204311"/>
                    <a:pt x="3856196" y="201454"/>
                  </a:cubicBezTo>
                  <a:cubicBezTo>
                    <a:pt x="3856196" y="206216"/>
                    <a:pt x="3856196" y="212884"/>
                    <a:pt x="3857149" y="220504"/>
                  </a:cubicBezTo>
                  <a:cubicBezTo>
                    <a:pt x="3856196" y="222409"/>
                    <a:pt x="3855244" y="224314"/>
                    <a:pt x="3854291" y="226219"/>
                  </a:cubicBezTo>
                  <a:cubicBezTo>
                    <a:pt x="3853339" y="220504"/>
                    <a:pt x="3854291" y="215741"/>
                    <a:pt x="3854291" y="211931"/>
                  </a:cubicBezTo>
                  <a:close/>
                  <a:moveTo>
                    <a:pt x="3849529" y="262414"/>
                  </a:moveTo>
                  <a:cubicBezTo>
                    <a:pt x="3849529" y="260509"/>
                    <a:pt x="3849529" y="259556"/>
                    <a:pt x="3849529" y="257651"/>
                  </a:cubicBezTo>
                  <a:cubicBezTo>
                    <a:pt x="3849529" y="257651"/>
                    <a:pt x="3849529" y="256699"/>
                    <a:pt x="3850481" y="256699"/>
                  </a:cubicBezTo>
                  <a:cubicBezTo>
                    <a:pt x="3853339" y="263366"/>
                    <a:pt x="3856196" y="270986"/>
                    <a:pt x="3859054" y="278606"/>
                  </a:cubicBezTo>
                  <a:cubicBezTo>
                    <a:pt x="3859054" y="279559"/>
                    <a:pt x="3859054" y="279559"/>
                    <a:pt x="3860006" y="280511"/>
                  </a:cubicBezTo>
                  <a:cubicBezTo>
                    <a:pt x="3860959" y="290989"/>
                    <a:pt x="3861911" y="302419"/>
                    <a:pt x="3862864" y="313849"/>
                  </a:cubicBezTo>
                  <a:cubicBezTo>
                    <a:pt x="3862864" y="313849"/>
                    <a:pt x="3862864" y="313849"/>
                    <a:pt x="3862864" y="313849"/>
                  </a:cubicBezTo>
                  <a:cubicBezTo>
                    <a:pt x="3858101" y="305276"/>
                    <a:pt x="3852386" y="298609"/>
                    <a:pt x="3847624" y="291941"/>
                  </a:cubicBezTo>
                  <a:cubicBezTo>
                    <a:pt x="3848576" y="281464"/>
                    <a:pt x="3848576" y="271939"/>
                    <a:pt x="3849529" y="262414"/>
                  </a:cubicBezTo>
                  <a:close/>
                  <a:moveTo>
                    <a:pt x="3846671" y="308134"/>
                  </a:moveTo>
                  <a:cubicBezTo>
                    <a:pt x="3849529" y="312896"/>
                    <a:pt x="3852386" y="318611"/>
                    <a:pt x="3855244" y="323374"/>
                  </a:cubicBezTo>
                  <a:cubicBezTo>
                    <a:pt x="3855244" y="324326"/>
                    <a:pt x="3856196" y="324326"/>
                    <a:pt x="3856196" y="325279"/>
                  </a:cubicBezTo>
                  <a:cubicBezTo>
                    <a:pt x="3856196" y="326231"/>
                    <a:pt x="3855244" y="326231"/>
                    <a:pt x="3855244" y="327184"/>
                  </a:cubicBezTo>
                  <a:cubicBezTo>
                    <a:pt x="3853339" y="330041"/>
                    <a:pt x="3851434" y="333851"/>
                    <a:pt x="3849529" y="336709"/>
                  </a:cubicBezTo>
                  <a:cubicBezTo>
                    <a:pt x="3848576" y="334804"/>
                    <a:pt x="3846671" y="331946"/>
                    <a:pt x="3845719" y="330041"/>
                  </a:cubicBezTo>
                  <a:cubicBezTo>
                    <a:pt x="3845719" y="323374"/>
                    <a:pt x="3846671" y="315754"/>
                    <a:pt x="3846671" y="308134"/>
                  </a:cubicBezTo>
                  <a:close/>
                  <a:moveTo>
                    <a:pt x="3843814" y="415766"/>
                  </a:moveTo>
                  <a:cubicBezTo>
                    <a:pt x="3844766" y="413861"/>
                    <a:pt x="3845719" y="411956"/>
                    <a:pt x="3846671" y="410051"/>
                  </a:cubicBezTo>
                  <a:cubicBezTo>
                    <a:pt x="3846671" y="411956"/>
                    <a:pt x="3847624" y="414814"/>
                    <a:pt x="3847624" y="416719"/>
                  </a:cubicBezTo>
                  <a:cubicBezTo>
                    <a:pt x="3847624" y="417671"/>
                    <a:pt x="3847624" y="418624"/>
                    <a:pt x="3847624" y="419576"/>
                  </a:cubicBezTo>
                  <a:cubicBezTo>
                    <a:pt x="3847624" y="420529"/>
                    <a:pt x="3846671" y="421481"/>
                    <a:pt x="3846671" y="422434"/>
                  </a:cubicBezTo>
                  <a:cubicBezTo>
                    <a:pt x="3845719" y="423386"/>
                    <a:pt x="3845719" y="425291"/>
                    <a:pt x="3844766" y="426244"/>
                  </a:cubicBezTo>
                  <a:lnTo>
                    <a:pt x="3842861" y="426244"/>
                  </a:lnTo>
                  <a:cubicBezTo>
                    <a:pt x="3843814" y="422434"/>
                    <a:pt x="3843814" y="418624"/>
                    <a:pt x="3843814" y="415766"/>
                  </a:cubicBezTo>
                  <a:close/>
                  <a:moveTo>
                    <a:pt x="3830479" y="297656"/>
                  </a:moveTo>
                  <a:cubicBezTo>
                    <a:pt x="3830479" y="298609"/>
                    <a:pt x="3830479" y="298609"/>
                    <a:pt x="3830479" y="299561"/>
                  </a:cubicBezTo>
                  <a:cubicBezTo>
                    <a:pt x="3830479" y="300514"/>
                    <a:pt x="3830479" y="300514"/>
                    <a:pt x="3830479" y="301466"/>
                  </a:cubicBezTo>
                  <a:cubicBezTo>
                    <a:pt x="3830479" y="303371"/>
                    <a:pt x="3830479" y="305276"/>
                    <a:pt x="3829526" y="307181"/>
                  </a:cubicBezTo>
                  <a:cubicBezTo>
                    <a:pt x="3828574" y="306229"/>
                    <a:pt x="3827621" y="305276"/>
                    <a:pt x="3827621" y="304324"/>
                  </a:cubicBezTo>
                  <a:cubicBezTo>
                    <a:pt x="3828574" y="301466"/>
                    <a:pt x="3829526" y="299561"/>
                    <a:pt x="3830479" y="297656"/>
                  </a:cubicBezTo>
                  <a:close/>
                  <a:moveTo>
                    <a:pt x="3826669" y="305276"/>
                  </a:moveTo>
                  <a:cubicBezTo>
                    <a:pt x="3827621" y="306229"/>
                    <a:pt x="3827621" y="308134"/>
                    <a:pt x="3828574" y="310039"/>
                  </a:cubicBezTo>
                  <a:cubicBezTo>
                    <a:pt x="3828574" y="311944"/>
                    <a:pt x="3828574" y="312896"/>
                    <a:pt x="3827621" y="314801"/>
                  </a:cubicBezTo>
                  <a:cubicBezTo>
                    <a:pt x="3826669" y="312896"/>
                    <a:pt x="3824764" y="310991"/>
                    <a:pt x="3823811" y="309086"/>
                  </a:cubicBezTo>
                  <a:cubicBezTo>
                    <a:pt x="3825716" y="307181"/>
                    <a:pt x="3825716" y="306229"/>
                    <a:pt x="3826669" y="305276"/>
                  </a:cubicBezTo>
                  <a:close/>
                  <a:moveTo>
                    <a:pt x="3820001" y="319564"/>
                  </a:moveTo>
                  <a:cubicBezTo>
                    <a:pt x="3821906" y="323374"/>
                    <a:pt x="3823811" y="328136"/>
                    <a:pt x="3826669" y="332899"/>
                  </a:cubicBezTo>
                  <a:cubicBezTo>
                    <a:pt x="3826669" y="332899"/>
                    <a:pt x="3826669" y="333851"/>
                    <a:pt x="3827621" y="333851"/>
                  </a:cubicBezTo>
                  <a:cubicBezTo>
                    <a:pt x="3827621" y="336709"/>
                    <a:pt x="3826669" y="339566"/>
                    <a:pt x="3826669" y="343376"/>
                  </a:cubicBezTo>
                  <a:cubicBezTo>
                    <a:pt x="3825716" y="354806"/>
                    <a:pt x="3825716" y="366236"/>
                    <a:pt x="3824764" y="377666"/>
                  </a:cubicBezTo>
                  <a:cubicBezTo>
                    <a:pt x="3823811" y="372904"/>
                    <a:pt x="3821906" y="368141"/>
                    <a:pt x="3820954" y="364331"/>
                  </a:cubicBezTo>
                  <a:cubicBezTo>
                    <a:pt x="3820954" y="360521"/>
                    <a:pt x="3820001" y="356711"/>
                    <a:pt x="3820001" y="352901"/>
                  </a:cubicBezTo>
                  <a:cubicBezTo>
                    <a:pt x="3820001" y="347186"/>
                    <a:pt x="3819049" y="341471"/>
                    <a:pt x="3818096" y="336709"/>
                  </a:cubicBezTo>
                  <a:cubicBezTo>
                    <a:pt x="3820001" y="333851"/>
                    <a:pt x="3821906" y="332899"/>
                    <a:pt x="3821906" y="332899"/>
                  </a:cubicBezTo>
                  <a:cubicBezTo>
                    <a:pt x="3821906" y="332899"/>
                    <a:pt x="3820954" y="333851"/>
                    <a:pt x="3818096" y="335756"/>
                  </a:cubicBezTo>
                  <a:cubicBezTo>
                    <a:pt x="3818096" y="332899"/>
                    <a:pt x="3817144" y="329089"/>
                    <a:pt x="3817144" y="326231"/>
                  </a:cubicBezTo>
                  <a:cubicBezTo>
                    <a:pt x="3818096" y="323374"/>
                    <a:pt x="3819049" y="321469"/>
                    <a:pt x="3820001" y="319564"/>
                  </a:cubicBezTo>
                  <a:close/>
                  <a:moveTo>
                    <a:pt x="3788569" y="264319"/>
                  </a:moveTo>
                  <a:cubicBezTo>
                    <a:pt x="3789521" y="266224"/>
                    <a:pt x="3791426" y="268129"/>
                    <a:pt x="3792379" y="270986"/>
                  </a:cubicBezTo>
                  <a:cubicBezTo>
                    <a:pt x="3795236" y="274796"/>
                    <a:pt x="3798094" y="280511"/>
                    <a:pt x="3800951" y="285274"/>
                  </a:cubicBezTo>
                  <a:cubicBezTo>
                    <a:pt x="3800951" y="286226"/>
                    <a:pt x="3800951" y="286226"/>
                    <a:pt x="3800951" y="287179"/>
                  </a:cubicBezTo>
                  <a:cubicBezTo>
                    <a:pt x="3800951" y="290989"/>
                    <a:pt x="3800951" y="294799"/>
                    <a:pt x="3800951" y="298609"/>
                  </a:cubicBezTo>
                  <a:cubicBezTo>
                    <a:pt x="3800951" y="299561"/>
                    <a:pt x="3800951" y="300514"/>
                    <a:pt x="3800951" y="300514"/>
                  </a:cubicBezTo>
                  <a:cubicBezTo>
                    <a:pt x="3799999" y="295751"/>
                    <a:pt x="3798094" y="291941"/>
                    <a:pt x="3797141" y="287179"/>
                  </a:cubicBezTo>
                  <a:cubicBezTo>
                    <a:pt x="3797141" y="286226"/>
                    <a:pt x="3796189" y="285274"/>
                    <a:pt x="3796189" y="285274"/>
                  </a:cubicBezTo>
                  <a:cubicBezTo>
                    <a:pt x="3796189" y="282416"/>
                    <a:pt x="3796189" y="280511"/>
                    <a:pt x="3796189" y="280511"/>
                  </a:cubicBezTo>
                  <a:cubicBezTo>
                    <a:pt x="3796189" y="280511"/>
                    <a:pt x="3796189" y="281464"/>
                    <a:pt x="3795236" y="283369"/>
                  </a:cubicBezTo>
                  <a:cubicBezTo>
                    <a:pt x="3794284" y="279559"/>
                    <a:pt x="3792379" y="275749"/>
                    <a:pt x="3791426" y="271939"/>
                  </a:cubicBezTo>
                  <a:cubicBezTo>
                    <a:pt x="3790474" y="269081"/>
                    <a:pt x="3789521" y="266224"/>
                    <a:pt x="3788569" y="264319"/>
                  </a:cubicBezTo>
                  <a:close/>
                  <a:moveTo>
                    <a:pt x="3748564" y="364331"/>
                  </a:moveTo>
                  <a:cubicBezTo>
                    <a:pt x="3748564" y="359569"/>
                    <a:pt x="3748564" y="355759"/>
                    <a:pt x="3748564" y="351949"/>
                  </a:cubicBezTo>
                  <a:cubicBezTo>
                    <a:pt x="3749516" y="353854"/>
                    <a:pt x="3749516" y="355759"/>
                    <a:pt x="3750469" y="358616"/>
                  </a:cubicBezTo>
                  <a:cubicBezTo>
                    <a:pt x="3749516" y="359569"/>
                    <a:pt x="3749516" y="361474"/>
                    <a:pt x="3748564" y="364331"/>
                  </a:cubicBezTo>
                  <a:close/>
                  <a:moveTo>
                    <a:pt x="3762851" y="399574"/>
                  </a:moveTo>
                  <a:cubicBezTo>
                    <a:pt x="3761899" y="401479"/>
                    <a:pt x="3760946" y="403384"/>
                    <a:pt x="3759994" y="405289"/>
                  </a:cubicBezTo>
                  <a:cubicBezTo>
                    <a:pt x="3759994" y="400526"/>
                    <a:pt x="3760946" y="395764"/>
                    <a:pt x="3760946" y="391954"/>
                  </a:cubicBezTo>
                  <a:cubicBezTo>
                    <a:pt x="3760946" y="391954"/>
                    <a:pt x="3760946" y="391001"/>
                    <a:pt x="3760946" y="391001"/>
                  </a:cubicBezTo>
                  <a:cubicBezTo>
                    <a:pt x="3761899" y="392906"/>
                    <a:pt x="3761899" y="394811"/>
                    <a:pt x="3762851" y="396716"/>
                  </a:cubicBezTo>
                  <a:cubicBezTo>
                    <a:pt x="3763804" y="397669"/>
                    <a:pt x="3762851" y="398621"/>
                    <a:pt x="3762851" y="399574"/>
                  </a:cubicBezTo>
                  <a:close/>
                  <a:moveTo>
                    <a:pt x="3770471" y="290036"/>
                  </a:moveTo>
                  <a:cubicBezTo>
                    <a:pt x="3772376" y="296704"/>
                    <a:pt x="3773329" y="302419"/>
                    <a:pt x="3775234" y="309086"/>
                  </a:cubicBezTo>
                  <a:cubicBezTo>
                    <a:pt x="3774281" y="306229"/>
                    <a:pt x="3773329" y="304324"/>
                    <a:pt x="3771424" y="301466"/>
                  </a:cubicBezTo>
                  <a:cubicBezTo>
                    <a:pt x="3771424" y="300514"/>
                    <a:pt x="3770471" y="300514"/>
                    <a:pt x="3770471" y="299561"/>
                  </a:cubicBezTo>
                  <a:cubicBezTo>
                    <a:pt x="3770471" y="296704"/>
                    <a:pt x="3770471" y="293846"/>
                    <a:pt x="3770471" y="290989"/>
                  </a:cubicBezTo>
                  <a:cubicBezTo>
                    <a:pt x="3770471" y="290989"/>
                    <a:pt x="3770471" y="290036"/>
                    <a:pt x="3770471" y="290036"/>
                  </a:cubicBezTo>
                  <a:close/>
                  <a:moveTo>
                    <a:pt x="3769519" y="370046"/>
                  </a:moveTo>
                  <a:cubicBezTo>
                    <a:pt x="3769519" y="370999"/>
                    <a:pt x="3769519" y="371951"/>
                    <a:pt x="3770471" y="372904"/>
                  </a:cubicBezTo>
                  <a:cubicBezTo>
                    <a:pt x="3769519" y="370999"/>
                    <a:pt x="3768566" y="369094"/>
                    <a:pt x="3767614" y="366236"/>
                  </a:cubicBezTo>
                  <a:cubicBezTo>
                    <a:pt x="3767614" y="362426"/>
                    <a:pt x="3767614" y="359569"/>
                    <a:pt x="3767614" y="359569"/>
                  </a:cubicBezTo>
                  <a:cubicBezTo>
                    <a:pt x="3767614" y="359569"/>
                    <a:pt x="3767614" y="361474"/>
                    <a:pt x="3766661" y="364331"/>
                  </a:cubicBezTo>
                  <a:cubicBezTo>
                    <a:pt x="3765709" y="363379"/>
                    <a:pt x="3765709" y="361474"/>
                    <a:pt x="3764756" y="360521"/>
                  </a:cubicBezTo>
                  <a:cubicBezTo>
                    <a:pt x="3764756" y="359569"/>
                    <a:pt x="3764756" y="358616"/>
                    <a:pt x="3764756" y="357664"/>
                  </a:cubicBezTo>
                  <a:cubicBezTo>
                    <a:pt x="3764756" y="355759"/>
                    <a:pt x="3765709" y="353854"/>
                    <a:pt x="3765709" y="351949"/>
                  </a:cubicBezTo>
                  <a:cubicBezTo>
                    <a:pt x="3767614" y="358616"/>
                    <a:pt x="3768566" y="364331"/>
                    <a:pt x="3769519" y="370046"/>
                  </a:cubicBezTo>
                  <a:close/>
                  <a:moveTo>
                    <a:pt x="3753326" y="250031"/>
                  </a:moveTo>
                  <a:cubicBezTo>
                    <a:pt x="3754279" y="245269"/>
                    <a:pt x="3754279" y="241459"/>
                    <a:pt x="3755231" y="236696"/>
                  </a:cubicBezTo>
                  <a:cubicBezTo>
                    <a:pt x="3755231" y="235744"/>
                    <a:pt x="3755231" y="233839"/>
                    <a:pt x="3756184" y="232886"/>
                  </a:cubicBezTo>
                  <a:cubicBezTo>
                    <a:pt x="3757136" y="231934"/>
                    <a:pt x="3757136" y="230981"/>
                    <a:pt x="3758089" y="230029"/>
                  </a:cubicBezTo>
                  <a:cubicBezTo>
                    <a:pt x="3759041" y="232886"/>
                    <a:pt x="3759041" y="234791"/>
                    <a:pt x="3759994" y="237649"/>
                  </a:cubicBezTo>
                  <a:cubicBezTo>
                    <a:pt x="3762851" y="250984"/>
                    <a:pt x="3766661" y="266224"/>
                    <a:pt x="3769519" y="281464"/>
                  </a:cubicBezTo>
                  <a:cubicBezTo>
                    <a:pt x="3768566" y="284321"/>
                    <a:pt x="3768566" y="287179"/>
                    <a:pt x="3767614" y="290036"/>
                  </a:cubicBezTo>
                  <a:cubicBezTo>
                    <a:pt x="3767614" y="290036"/>
                    <a:pt x="3767614" y="290036"/>
                    <a:pt x="3767614" y="290989"/>
                  </a:cubicBezTo>
                  <a:cubicBezTo>
                    <a:pt x="3762851" y="280511"/>
                    <a:pt x="3757136" y="270986"/>
                    <a:pt x="3752374" y="261461"/>
                  </a:cubicBezTo>
                  <a:cubicBezTo>
                    <a:pt x="3752374" y="258604"/>
                    <a:pt x="3752374" y="253841"/>
                    <a:pt x="3753326" y="250031"/>
                  </a:cubicBezTo>
                  <a:close/>
                  <a:moveTo>
                    <a:pt x="3748564" y="296704"/>
                  </a:moveTo>
                  <a:cubicBezTo>
                    <a:pt x="3748564" y="296704"/>
                    <a:pt x="3748564" y="296704"/>
                    <a:pt x="3748564" y="296704"/>
                  </a:cubicBezTo>
                  <a:cubicBezTo>
                    <a:pt x="3751421" y="301466"/>
                    <a:pt x="3753326" y="307181"/>
                    <a:pt x="3756184" y="313849"/>
                  </a:cubicBezTo>
                  <a:cubicBezTo>
                    <a:pt x="3756184" y="314801"/>
                    <a:pt x="3757136" y="315754"/>
                    <a:pt x="3757136" y="316706"/>
                  </a:cubicBezTo>
                  <a:cubicBezTo>
                    <a:pt x="3758089" y="318611"/>
                    <a:pt x="3758089" y="321469"/>
                    <a:pt x="3759041" y="323374"/>
                  </a:cubicBezTo>
                  <a:cubicBezTo>
                    <a:pt x="3758089" y="325279"/>
                    <a:pt x="3758089" y="328136"/>
                    <a:pt x="3757136" y="330041"/>
                  </a:cubicBezTo>
                  <a:cubicBezTo>
                    <a:pt x="3756184" y="333851"/>
                    <a:pt x="3755231" y="337661"/>
                    <a:pt x="3754279" y="341471"/>
                  </a:cubicBezTo>
                  <a:cubicBezTo>
                    <a:pt x="3753326" y="339566"/>
                    <a:pt x="3751421" y="337661"/>
                    <a:pt x="3750469" y="335756"/>
                  </a:cubicBezTo>
                  <a:cubicBezTo>
                    <a:pt x="3749516" y="333851"/>
                    <a:pt x="3748564" y="332899"/>
                    <a:pt x="3747611" y="331946"/>
                  </a:cubicBezTo>
                  <a:cubicBezTo>
                    <a:pt x="3748564" y="320516"/>
                    <a:pt x="3748564" y="308134"/>
                    <a:pt x="3748564" y="296704"/>
                  </a:cubicBezTo>
                  <a:close/>
                  <a:moveTo>
                    <a:pt x="3738086" y="273844"/>
                  </a:moveTo>
                  <a:cubicBezTo>
                    <a:pt x="3738086" y="273844"/>
                    <a:pt x="3738086" y="273844"/>
                    <a:pt x="3738086" y="273844"/>
                  </a:cubicBezTo>
                  <a:cubicBezTo>
                    <a:pt x="3738086" y="274796"/>
                    <a:pt x="3738086" y="274796"/>
                    <a:pt x="3738086" y="274796"/>
                  </a:cubicBezTo>
                  <a:cubicBezTo>
                    <a:pt x="3738086" y="273844"/>
                    <a:pt x="3738086" y="273844"/>
                    <a:pt x="3738086" y="273844"/>
                  </a:cubicBezTo>
                  <a:close/>
                  <a:moveTo>
                    <a:pt x="3689509" y="326231"/>
                  </a:moveTo>
                  <a:cubicBezTo>
                    <a:pt x="3688556" y="328136"/>
                    <a:pt x="3687604" y="330041"/>
                    <a:pt x="3686651" y="331946"/>
                  </a:cubicBezTo>
                  <a:cubicBezTo>
                    <a:pt x="3686651" y="331946"/>
                    <a:pt x="3686651" y="330994"/>
                    <a:pt x="3685699" y="330994"/>
                  </a:cubicBezTo>
                  <a:cubicBezTo>
                    <a:pt x="3685699" y="328136"/>
                    <a:pt x="3685699" y="325279"/>
                    <a:pt x="3685699" y="322421"/>
                  </a:cubicBezTo>
                  <a:cubicBezTo>
                    <a:pt x="3685699" y="319564"/>
                    <a:pt x="3685699" y="316706"/>
                    <a:pt x="3685699" y="313849"/>
                  </a:cubicBezTo>
                  <a:cubicBezTo>
                    <a:pt x="3686651" y="316706"/>
                    <a:pt x="3688556" y="320516"/>
                    <a:pt x="3689509" y="325279"/>
                  </a:cubicBezTo>
                  <a:cubicBezTo>
                    <a:pt x="3689509" y="326231"/>
                    <a:pt x="3689509" y="326231"/>
                    <a:pt x="3689509" y="326231"/>
                  </a:cubicBezTo>
                  <a:close/>
                  <a:moveTo>
                    <a:pt x="3716179" y="211931"/>
                  </a:moveTo>
                  <a:cubicBezTo>
                    <a:pt x="3718084" y="214789"/>
                    <a:pt x="3719036" y="218599"/>
                    <a:pt x="3720941" y="221456"/>
                  </a:cubicBezTo>
                  <a:cubicBezTo>
                    <a:pt x="3719989" y="224314"/>
                    <a:pt x="3719989" y="227171"/>
                    <a:pt x="3719036" y="230029"/>
                  </a:cubicBezTo>
                  <a:cubicBezTo>
                    <a:pt x="3719036" y="230981"/>
                    <a:pt x="3719036" y="232886"/>
                    <a:pt x="3718084" y="233839"/>
                  </a:cubicBezTo>
                  <a:cubicBezTo>
                    <a:pt x="3715226" y="230029"/>
                    <a:pt x="3713321" y="228124"/>
                    <a:pt x="3713321" y="228124"/>
                  </a:cubicBezTo>
                  <a:cubicBezTo>
                    <a:pt x="3713321" y="228124"/>
                    <a:pt x="3715226" y="230981"/>
                    <a:pt x="3717131" y="235744"/>
                  </a:cubicBezTo>
                  <a:cubicBezTo>
                    <a:pt x="3716179" y="241459"/>
                    <a:pt x="3715226" y="247174"/>
                    <a:pt x="3714274" y="253841"/>
                  </a:cubicBezTo>
                  <a:cubicBezTo>
                    <a:pt x="3714274" y="252889"/>
                    <a:pt x="3714274" y="251936"/>
                    <a:pt x="3714274" y="250984"/>
                  </a:cubicBezTo>
                  <a:cubicBezTo>
                    <a:pt x="3714274" y="246221"/>
                    <a:pt x="3713321" y="242411"/>
                    <a:pt x="3713321" y="238601"/>
                  </a:cubicBezTo>
                  <a:cubicBezTo>
                    <a:pt x="3713321" y="234791"/>
                    <a:pt x="3713321" y="230981"/>
                    <a:pt x="3713321" y="227171"/>
                  </a:cubicBezTo>
                  <a:cubicBezTo>
                    <a:pt x="3713321" y="219551"/>
                    <a:pt x="3712369" y="213836"/>
                    <a:pt x="3712369" y="208121"/>
                  </a:cubicBezTo>
                  <a:cubicBezTo>
                    <a:pt x="3712369" y="207169"/>
                    <a:pt x="3712369" y="206216"/>
                    <a:pt x="3712369" y="205264"/>
                  </a:cubicBezTo>
                  <a:cubicBezTo>
                    <a:pt x="3713321" y="207169"/>
                    <a:pt x="3714274" y="209074"/>
                    <a:pt x="3716179" y="211931"/>
                  </a:cubicBezTo>
                  <a:close/>
                  <a:moveTo>
                    <a:pt x="3679984" y="236696"/>
                  </a:moveTo>
                  <a:cubicBezTo>
                    <a:pt x="3681889" y="222409"/>
                    <a:pt x="3683794" y="209074"/>
                    <a:pt x="3684746" y="196691"/>
                  </a:cubicBezTo>
                  <a:cubicBezTo>
                    <a:pt x="3685699" y="185261"/>
                    <a:pt x="3687604" y="174784"/>
                    <a:pt x="3687604" y="166211"/>
                  </a:cubicBezTo>
                  <a:cubicBezTo>
                    <a:pt x="3687604" y="161449"/>
                    <a:pt x="3688556" y="157639"/>
                    <a:pt x="3688556" y="154781"/>
                  </a:cubicBezTo>
                  <a:cubicBezTo>
                    <a:pt x="3690461" y="159544"/>
                    <a:pt x="3694271" y="168116"/>
                    <a:pt x="3699034" y="178594"/>
                  </a:cubicBezTo>
                  <a:cubicBezTo>
                    <a:pt x="3701891" y="184309"/>
                    <a:pt x="3704749" y="191929"/>
                    <a:pt x="3708559" y="199549"/>
                  </a:cubicBezTo>
                  <a:cubicBezTo>
                    <a:pt x="3708559" y="201454"/>
                    <a:pt x="3707606" y="204311"/>
                    <a:pt x="3707606" y="207169"/>
                  </a:cubicBezTo>
                  <a:cubicBezTo>
                    <a:pt x="3706654" y="211931"/>
                    <a:pt x="3705701" y="218599"/>
                    <a:pt x="3704749" y="226219"/>
                  </a:cubicBezTo>
                  <a:cubicBezTo>
                    <a:pt x="3703796" y="230029"/>
                    <a:pt x="3703796" y="233839"/>
                    <a:pt x="3702844" y="237649"/>
                  </a:cubicBezTo>
                  <a:cubicBezTo>
                    <a:pt x="3702844" y="241459"/>
                    <a:pt x="3701891" y="246221"/>
                    <a:pt x="3701891" y="250984"/>
                  </a:cubicBezTo>
                  <a:cubicBezTo>
                    <a:pt x="3700939" y="259556"/>
                    <a:pt x="3700939" y="270034"/>
                    <a:pt x="3700939" y="280511"/>
                  </a:cubicBezTo>
                  <a:cubicBezTo>
                    <a:pt x="3700939" y="287179"/>
                    <a:pt x="3700939" y="293846"/>
                    <a:pt x="3700939" y="300514"/>
                  </a:cubicBezTo>
                  <a:cubicBezTo>
                    <a:pt x="3699034" y="293846"/>
                    <a:pt x="3697129" y="290036"/>
                    <a:pt x="3697129" y="290036"/>
                  </a:cubicBezTo>
                  <a:cubicBezTo>
                    <a:pt x="3697129" y="290036"/>
                    <a:pt x="3698081" y="296704"/>
                    <a:pt x="3699034" y="308134"/>
                  </a:cubicBezTo>
                  <a:cubicBezTo>
                    <a:pt x="3696176" y="312896"/>
                    <a:pt x="3693319" y="317659"/>
                    <a:pt x="3690461" y="322421"/>
                  </a:cubicBezTo>
                  <a:cubicBezTo>
                    <a:pt x="3687604" y="317659"/>
                    <a:pt x="3685699" y="313849"/>
                    <a:pt x="3683794" y="310991"/>
                  </a:cubicBezTo>
                  <a:cubicBezTo>
                    <a:pt x="3683794" y="305276"/>
                    <a:pt x="3683794" y="302419"/>
                    <a:pt x="3683794" y="302419"/>
                  </a:cubicBezTo>
                  <a:cubicBezTo>
                    <a:pt x="3683794" y="302419"/>
                    <a:pt x="3683794" y="304324"/>
                    <a:pt x="3682841" y="308134"/>
                  </a:cubicBezTo>
                  <a:cubicBezTo>
                    <a:pt x="3680936" y="304324"/>
                    <a:pt x="3679031" y="302419"/>
                    <a:pt x="3679031" y="302419"/>
                  </a:cubicBezTo>
                  <a:cubicBezTo>
                    <a:pt x="3679031" y="302419"/>
                    <a:pt x="3679984" y="305276"/>
                    <a:pt x="3681889" y="310991"/>
                  </a:cubicBezTo>
                  <a:cubicBezTo>
                    <a:pt x="3680936" y="313849"/>
                    <a:pt x="3680936" y="318611"/>
                    <a:pt x="3679984" y="323374"/>
                  </a:cubicBezTo>
                  <a:cubicBezTo>
                    <a:pt x="3677126" y="317659"/>
                    <a:pt x="3675221" y="311944"/>
                    <a:pt x="3672364" y="307181"/>
                  </a:cubicBezTo>
                  <a:cubicBezTo>
                    <a:pt x="3674269" y="300514"/>
                    <a:pt x="3676174" y="294799"/>
                    <a:pt x="3677126" y="289084"/>
                  </a:cubicBezTo>
                  <a:cubicBezTo>
                    <a:pt x="3679031" y="283369"/>
                    <a:pt x="3680936" y="277654"/>
                    <a:pt x="3681889" y="272891"/>
                  </a:cubicBezTo>
                  <a:cubicBezTo>
                    <a:pt x="3683794" y="268129"/>
                    <a:pt x="3685699" y="264319"/>
                    <a:pt x="3686651" y="260509"/>
                  </a:cubicBezTo>
                  <a:cubicBezTo>
                    <a:pt x="3690461" y="253841"/>
                    <a:pt x="3692366" y="250031"/>
                    <a:pt x="3692366" y="250031"/>
                  </a:cubicBezTo>
                  <a:cubicBezTo>
                    <a:pt x="3692366" y="250031"/>
                    <a:pt x="3689509" y="252889"/>
                    <a:pt x="3683794" y="258604"/>
                  </a:cubicBezTo>
                  <a:cubicBezTo>
                    <a:pt x="3680936" y="261461"/>
                    <a:pt x="3678079" y="265271"/>
                    <a:pt x="3675221" y="270034"/>
                  </a:cubicBezTo>
                  <a:cubicBezTo>
                    <a:pt x="3674269" y="271939"/>
                    <a:pt x="3673316" y="273844"/>
                    <a:pt x="3671411" y="275749"/>
                  </a:cubicBezTo>
                  <a:cubicBezTo>
                    <a:pt x="3677126" y="261461"/>
                    <a:pt x="3679031" y="248126"/>
                    <a:pt x="3679984" y="236696"/>
                  </a:cubicBezTo>
                  <a:close/>
                  <a:moveTo>
                    <a:pt x="3678079" y="342424"/>
                  </a:moveTo>
                  <a:cubicBezTo>
                    <a:pt x="3678079" y="344329"/>
                    <a:pt x="3677126" y="346234"/>
                    <a:pt x="3677126" y="349091"/>
                  </a:cubicBezTo>
                  <a:cubicBezTo>
                    <a:pt x="3677126" y="347186"/>
                    <a:pt x="3676174" y="345281"/>
                    <a:pt x="3676174" y="343376"/>
                  </a:cubicBezTo>
                  <a:cubicBezTo>
                    <a:pt x="3675221" y="340519"/>
                    <a:pt x="3675221" y="337661"/>
                    <a:pt x="3674269" y="335756"/>
                  </a:cubicBezTo>
                  <a:cubicBezTo>
                    <a:pt x="3675221" y="337661"/>
                    <a:pt x="3676174" y="340519"/>
                    <a:pt x="3678079" y="342424"/>
                  </a:cubicBezTo>
                  <a:close/>
                  <a:moveTo>
                    <a:pt x="3664744" y="355759"/>
                  </a:moveTo>
                  <a:cubicBezTo>
                    <a:pt x="3664744" y="357664"/>
                    <a:pt x="3664744" y="360521"/>
                    <a:pt x="3664744" y="362426"/>
                  </a:cubicBezTo>
                  <a:cubicBezTo>
                    <a:pt x="3664744" y="365284"/>
                    <a:pt x="3663791" y="368141"/>
                    <a:pt x="3663791" y="371951"/>
                  </a:cubicBezTo>
                  <a:cubicBezTo>
                    <a:pt x="3663791" y="371951"/>
                    <a:pt x="3663791" y="371951"/>
                    <a:pt x="3663791" y="371951"/>
                  </a:cubicBezTo>
                  <a:cubicBezTo>
                    <a:pt x="3663791" y="370046"/>
                    <a:pt x="3662839" y="368141"/>
                    <a:pt x="3662839" y="367189"/>
                  </a:cubicBezTo>
                  <a:cubicBezTo>
                    <a:pt x="3662839" y="367189"/>
                    <a:pt x="3662839" y="367189"/>
                    <a:pt x="3662839" y="366236"/>
                  </a:cubicBezTo>
                  <a:cubicBezTo>
                    <a:pt x="3663791" y="363379"/>
                    <a:pt x="3664744" y="359569"/>
                    <a:pt x="3664744" y="355759"/>
                  </a:cubicBezTo>
                  <a:close/>
                  <a:moveTo>
                    <a:pt x="3603784" y="369094"/>
                  </a:moveTo>
                  <a:cubicBezTo>
                    <a:pt x="3603784" y="367189"/>
                    <a:pt x="3602831" y="365284"/>
                    <a:pt x="3602831" y="363379"/>
                  </a:cubicBezTo>
                  <a:cubicBezTo>
                    <a:pt x="3603784" y="359569"/>
                    <a:pt x="3604736" y="355759"/>
                    <a:pt x="3605689" y="352901"/>
                  </a:cubicBezTo>
                  <a:cubicBezTo>
                    <a:pt x="3605689" y="351949"/>
                    <a:pt x="3606641" y="350996"/>
                    <a:pt x="3606641" y="350044"/>
                  </a:cubicBezTo>
                  <a:cubicBezTo>
                    <a:pt x="3606641" y="350996"/>
                    <a:pt x="3607594" y="351949"/>
                    <a:pt x="3607594" y="352901"/>
                  </a:cubicBezTo>
                  <a:lnTo>
                    <a:pt x="3607594" y="353854"/>
                  </a:lnTo>
                  <a:cubicBezTo>
                    <a:pt x="3605689" y="358616"/>
                    <a:pt x="3604736" y="364331"/>
                    <a:pt x="3603784" y="369094"/>
                  </a:cubicBezTo>
                  <a:close/>
                  <a:moveTo>
                    <a:pt x="3612356" y="329089"/>
                  </a:moveTo>
                  <a:cubicBezTo>
                    <a:pt x="3612356" y="329089"/>
                    <a:pt x="3611404" y="328136"/>
                    <a:pt x="3611404" y="327184"/>
                  </a:cubicBezTo>
                  <a:cubicBezTo>
                    <a:pt x="3611404" y="325279"/>
                    <a:pt x="3611404" y="323374"/>
                    <a:pt x="3610451" y="321469"/>
                  </a:cubicBezTo>
                  <a:cubicBezTo>
                    <a:pt x="3611404" y="322421"/>
                    <a:pt x="3612356" y="323374"/>
                    <a:pt x="3613309" y="324326"/>
                  </a:cubicBezTo>
                  <a:cubicBezTo>
                    <a:pt x="3613309" y="326231"/>
                    <a:pt x="3612356" y="327184"/>
                    <a:pt x="3612356" y="329089"/>
                  </a:cubicBezTo>
                  <a:close/>
                  <a:moveTo>
                    <a:pt x="3633311" y="366236"/>
                  </a:moveTo>
                  <a:cubicBezTo>
                    <a:pt x="3632359" y="363379"/>
                    <a:pt x="3630454" y="361474"/>
                    <a:pt x="3629501" y="358616"/>
                  </a:cubicBezTo>
                  <a:cubicBezTo>
                    <a:pt x="3629501" y="357664"/>
                    <a:pt x="3629501" y="355759"/>
                    <a:pt x="3629501" y="354806"/>
                  </a:cubicBezTo>
                  <a:cubicBezTo>
                    <a:pt x="3631406" y="357664"/>
                    <a:pt x="3632359" y="361474"/>
                    <a:pt x="3633311" y="366236"/>
                  </a:cubicBezTo>
                  <a:cubicBezTo>
                    <a:pt x="3633311" y="366236"/>
                    <a:pt x="3634264" y="366236"/>
                    <a:pt x="3633311" y="366236"/>
                  </a:cubicBezTo>
                  <a:cubicBezTo>
                    <a:pt x="3634264" y="366236"/>
                    <a:pt x="3633311" y="366236"/>
                    <a:pt x="3633311" y="366236"/>
                  </a:cubicBezTo>
                  <a:close/>
                  <a:moveTo>
                    <a:pt x="3632359" y="331946"/>
                  </a:moveTo>
                  <a:cubicBezTo>
                    <a:pt x="3633311" y="336709"/>
                    <a:pt x="3634264" y="342424"/>
                    <a:pt x="3635216" y="348139"/>
                  </a:cubicBezTo>
                  <a:cubicBezTo>
                    <a:pt x="3634264" y="346234"/>
                    <a:pt x="3632359" y="343376"/>
                    <a:pt x="3631406" y="341471"/>
                  </a:cubicBezTo>
                  <a:cubicBezTo>
                    <a:pt x="3631406" y="337661"/>
                    <a:pt x="3631406" y="334804"/>
                    <a:pt x="3632359" y="331946"/>
                  </a:cubicBezTo>
                  <a:close/>
                  <a:moveTo>
                    <a:pt x="3618071" y="270034"/>
                  </a:moveTo>
                  <a:cubicBezTo>
                    <a:pt x="3621881" y="261461"/>
                    <a:pt x="3624739" y="252889"/>
                    <a:pt x="3628549" y="246221"/>
                  </a:cubicBezTo>
                  <a:cubicBezTo>
                    <a:pt x="3629501" y="244316"/>
                    <a:pt x="3629501" y="243364"/>
                    <a:pt x="3630454" y="242411"/>
                  </a:cubicBezTo>
                  <a:cubicBezTo>
                    <a:pt x="3629501" y="249079"/>
                    <a:pt x="3627596" y="256699"/>
                    <a:pt x="3625691" y="265271"/>
                  </a:cubicBezTo>
                  <a:cubicBezTo>
                    <a:pt x="3623786" y="267176"/>
                    <a:pt x="3620929" y="269081"/>
                    <a:pt x="3618071" y="271939"/>
                  </a:cubicBezTo>
                  <a:cubicBezTo>
                    <a:pt x="3618071" y="270986"/>
                    <a:pt x="3618071" y="270034"/>
                    <a:pt x="3618071" y="270034"/>
                  </a:cubicBezTo>
                  <a:close/>
                  <a:moveTo>
                    <a:pt x="3601879" y="310039"/>
                  </a:moveTo>
                  <a:cubicBezTo>
                    <a:pt x="3603784" y="306229"/>
                    <a:pt x="3604736" y="302419"/>
                    <a:pt x="3606641" y="298609"/>
                  </a:cubicBezTo>
                  <a:cubicBezTo>
                    <a:pt x="3609499" y="291941"/>
                    <a:pt x="3612356" y="285274"/>
                    <a:pt x="3615214" y="278606"/>
                  </a:cubicBezTo>
                  <a:cubicBezTo>
                    <a:pt x="3617119" y="276701"/>
                    <a:pt x="3619024" y="273844"/>
                    <a:pt x="3619976" y="271939"/>
                  </a:cubicBezTo>
                  <a:cubicBezTo>
                    <a:pt x="3621881" y="270034"/>
                    <a:pt x="3623786" y="268129"/>
                    <a:pt x="3625691" y="266224"/>
                  </a:cubicBezTo>
                  <a:cubicBezTo>
                    <a:pt x="3625691" y="268129"/>
                    <a:pt x="3624739" y="269081"/>
                    <a:pt x="3624739" y="270986"/>
                  </a:cubicBezTo>
                  <a:cubicBezTo>
                    <a:pt x="3621881" y="282416"/>
                    <a:pt x="3619976" y="295751"/>
                    <a:pt x="3617119" y="309086"/>
                  </a:cubicBezTo>
                  <a:cubicBezTo>
                    <a:pt x="3616166" y="312896"/>
                    <a:pt x="3615214" y="317659"/>
                    <a:pt x="3614261" y="322421"/>
                  </a:cubicBezTo>
                  <a:cubicBezTo>
                    <a:pt x="3613309" y="321469"/>
                    <a:pt x="3612356" y="320516"/>
                    <a:pt x="3611404" y="320516"/>
                  </a:cubicBezTo>
                  <a:cubicBezTo>
                    <a:pt x="3610451" y="312896"/>
                    <a:pt x="3610451" y="306229"/>
                    <a:pt x="3609499" y="298609"/>
                  </a:cubicBezTo>
                  <a:cubicBezTo>
                    <a:pt x="3609499" y="305276"/>
                    <a:pt x="3608546" y="311944"/>
                    <a:pt x="3608546" y="318611"/>
                  </a:cubicBezTo>
                  <a:cubicBezTo>
                    <a:pt x="3607594" y="318611"/>
                    <a:pt x="3606641" y="317659"/>
                    <a:pt x="3606641" y="317659"/>
                  </a:cubicBezTo>
                  <a:cubicBezTo>
                    <a:pt x="3607594" y="318611"/>
                    <a:pt x="3608546" y="318611"/>
                    <a:pt x="3608546" y="319564"/>
                  </a:cubicBezTo>
                  <a:cubicBezTo>
                    <a:pt x="3608546" y="320516"/>
                    <a:pt x="3608546" y="321469"/>
                    <a:pt x="3608546" y="322421"/>
                  </a:cubicBezTo>
                  <a:cubicBezTo>
                    <a:pt x="3606641" y="318611"/>
                    <a:pt x="3604736" y="315754"/>
                    <a:pt x="3602831" y="312896"/>
                  </a:cubicBezTo>
                  <a:cubicBezTo>
                    <a:pt x="3601879" y="310991"/>
                    <a:pt x="3601879" y="310039"/>
                    <a:pt x="3601879" y="310039"/>
                  </a:cubicBezTo>
                  <a:close/>
                  <a:moveTo>
                    <a:pt x="3600926" y="335756"/>
                  </a:moveTo>
                  <a:cubicBezTo>
                    <a:pt x="3601879" y="339566"/>
                    <a:pt x="3603784" y="342424"/>
                    <a:pt x="3604736" y="346234"/>
                  </a:cubicBezTo>
                  <a:cubicBezTo>
                    <a:pt x="3603784" y="348139"/>
                    <a:pt x="3602831" y="350044"/>
                    <a:pt x="3601879" y="351949"/>
                  </a:cubicBezTo>
                  <a:cubicBezTo>
                    <a:pt x="3601879" y="351949"/>
                    <a:pt x="3601879" y="352901"/>
                    <a:pt x="3600926" y="352901"/>
                  </a:cubicBezTo>
                  <a:cubicBezTo>
                    <a:pt x="3600926" y="350044"/>
                    <a:pt x="3599974" y="348139"/>
                    <a:pt x="3599974" y="345281"/>
                  </a:cubicBezTo>
                  <a:cubicBezTo>
                    <a:pt x="3599974" y="342424"/>
                    <a:pt x="3600926" y="338614"/>
                    <a:pt x="3600926" y="335756"/>
                  </a:cubicBezTo>
                  <a:close/>
                  <a:moveTo>
                    <a:pt x="3556159" y="342424"/>
                  </a:moveTo>
                  <a:cubicBezTo>
                    <a:pt x="3556159" y="335756"/>
                    <a:pt x="3557111" y="330041"/>
                    <a:pt x="3557111" y="324326"/>
                  </a:cubicBezTo>
                  <a:cubicBezTo>
                    <a:pt x="3557111" y="325279"/>
                    <a:pt x="3558064" y="327184"/>
                    <a:pt x="3558064" y="328136"/>
                  </a:cubicBezTo>
                  <a:cubicBezTo>
                    <a:pt x="3558064" y="330041"/>
                    <a:pt x="3559016" y="331946"/>
                    <a:pt x="3559016" y="333851"/>
                  </a:cubicBezTo>
                  <a:cubicBezTo>
                    <a:pt x="3559016" y="333851"/>
                    <a:pt x="3559016" y="334804"/>
                    <a:pt x="3559016" y="334804"/>
                  </a:cubicBezTo>
                  <a:cubicBezTo>
                    <a:pt x="3558064" y="337661"/>
                    <a:pt x="3557111" y="339566"/>
                    <a:pt x="3556159" y="342424"/>
                  </a:cubicBezTo>
                  <a:close/>
                  <a:moveTo>
                    <a:pt x="3559969" y="279559"/>
                  </a:moveTo>
                  <a:cubicBezTo>
                    <a:pt x="3559016" y="277654"/>
                    <a:pt x="3559016" y="276701"/>
                    <a:pt x="3559016" y="274796"/>
                  </a:cubicBezTo>
                  <a:cubicBezTo>
                    <a:pt x="3559969" y="275749"/>
                    <a:pt x="3560921" y="275749"/>
                    <a:pt x="3561874" y="276701"/>
                  </a:cubicBezTo>
                  <a:cubicBezTo>
                    <a:pt x="3563779" y="277654"/>
                    <a:pt x="3564731" y="278606"/>
                    <a:pt x="3566636" y="280511"/>
                  </a:cubicBezTo>
                  <a:cubicBezTo>
                    <a:pt x="3565684" y="282416"/>
                    <a:pt x="3563779" y="284321"/>
                    <a:pt x="3562826" y="287179"/>
                  </a:cubicBezTo>
                  <a:cubicBezTo>
                    <a:pt x="3561874" y="285274"/>
                    <a:pt x="3560921" y="282416"/>
                    <a:pt x="3559969" y="279559"/>
                  </a:cubicBezTo>
                  <a:close/>
                  <a:moveTo>
                    <a:pt x="3571399" y="287179"/>
                  </a:moveTo>
                  <a:cubicBezTo>
                    <a:pt x="3571399" y="294799"/>
                    <a:pt x="3571399" y="303371"/>
                    <a:pt x="3571399" y="311944"/>
                  </a:cubicBezTo>
                  <a:cubicBezTo>
                    <a:pt x="3570446" y="312896"/>
                    <a:pt x="3570446" y="313849"/>
                    <a:pt x="3569494" y="314801"/>
                  </a:cubicBezTo>
                  <a:cubicBezTo>
                    <a:pt x="3567589" y="307181"/>
                    <a:pt x="3565684" y="299561"/>
                    <a:pt x="3562826" y="292894"/>
                  </a:cubicBezTo>
                  <a:cubicBezTo>
                    <a:pt x="3563779" y="289084"/>
                    <a:pt x="3565684" y="285274"/>
                    <a:pt x="3566636" y="282416"/>
                  </a:cubicBezTo>
                  <a:cubicBezTo>
                    <a:pt x="3568541" y="283369"/>
                    <a:pt x="3570446" y="284321"/>
                    <a:pt x="3571399" y="287179"/>
                  </a:cubicBezTo>
                  <a:cubicBezTo>
                    <a:pt x="3571399" y="286226"/>
                    <a:pt x="3571399" y="286226"/>
                    <a:pt x="3571399" y="287179"/>
                  </a:cubicBezTo>
                  <a:close/>
                  <a:moveTo>
                    <a:pt x="3571399" y="281464"/>
                  </a:moveTo>
                  <a:cubicBezTo>
                    <a:pt x="3570446" y="280511"/>
                    <a:pt x="3569494" y="280511"/>
                    <a:pt x="3568541" y="279559"/>
                  </a:cubicBezTo>
                  <a:cubicBezTo>
                    <a:pt x="3568541" y="279559"/>
                    <a:pt x="3568541" y="279559"/>
                    <a:pt x="3568541" y="279559"/>
                  </a:cubicBezTo>
                  <a:cubicBezTo>
                    <a:pt x="3570446" y="276701"/>
                    <a:pt x="3571399" y="274796"/>
                    <a:pt x="3571399" y="273844"/>
                  </a:cubicBezTo>
                  <a:cubicBezTo>
                    <a:pt x="3571399" y="276701"/>
                    <a:pt x="3571399" y="279559"/>
                    <a:pt x="3571399" y="281464"/>
                  </a:cubicBezTo>
                  <a:close/>
                  <a:moveTo>
                    <a:pt x="3567589" y="250031"/>
                  </a:moveTo>
                  <a:cubicBezTo>
                    <a:pt x="3568541" y="254794"/>
                    <a:pt x="3569494" y="260509"/>
                    <a:pt x="3570446" y="265271"/>
                  </a:cubicBezTo>
                  <a:cubicBezTo>
                    <a:pt x="3570446" y="267176"/>
                    <a:pt x="3571399" y="270034"/>
                    <a:pt x="3571399" y="271939"/>
                  </a:cubicBezTo>
                  <a:cubicBezTo>
                    <a:pt x="3571399" y="271939"/>
                    <a:pt x="3571399" y="272891"/>
                    <a:pt x="3571399" y="272891"/>
                  </a:cubicBezTo>
                  <a:cubicBezTo>
                    <a:pt x="3571399" y="272891"/>
                    <a:pt x="3569494" y="274796"/>
                    <a:pt x="3567589" y="277654"/>
                  </a:cubicBezTo>
                  <a:cubicBezTo>
                    <a:pt x="3567589" y="277654"/>
                    <a:pt x="3567589" y="277654"/>
                    <a:pt x="3567589" y="277654"/>
                  </a:cubicBezTo>
                  <a:cubicBezTo>
                    <a:pt x="3565684" y="276701"/>
                    <a:pt x="3563779" y="274796"/>
                    <a:pt x="3561874" y="274796"/>
                  </a:cubicBezTo>
                  <a:cubicBezTo>
                    <a:pt x="3559969" y="273844"/>
                    <a:pt x="3559016" y="273844"/>
                    <a:pt x="3558064" y="272891"/>
                  </a:cubicBezTo>
                  <a:cubicBezTo>
                    <a:pt x="3557111" y="269081"/>
                    <a:pt x="3555206" y="264319"/>
                    <a:pt x="3554254" y="260509"/>
                  </a:cubicBezTo>
                  <a:cubicBezTo>
                    <a:pt x="3555206" y="259556"/>
                    <a:pt x="3555206" y="258604"/>
                    <a:pt x="3556159" y="257651"/>
                  </a:cubicBezTo>
                  <a:cubicBezTo>
                    <a:pt x="3559969" y="251936"/>
                    <a:pt x="3562826" y="247174"/>
                    <a:pt x="3566636" y="243364"/>
                  </a:cubicBezTo>
                  <a:cubicBezTo>
                    <a:pt x="3567589" y="246221"/>
                    <a:pt x="3567589" y="248126"/>
                    <a:pt x="3567589" y="250031"/>
                  </a:cubicBezTo>
                  <a:close/>
                  <a:moveTo>
                    <a:pt x="3561874" y="229076"/>
                  </a:moveTo>
                  <a:cubicBezTo>
                    <a:pt x="3561874" y="228124"/>
                    <a:pt x="3562826" y="228124"/>
                    <a:pt x="3562826" y="227171"/>
                  </a:cubicBezTo>
                  <a:cubicBezTo>
                    <a:pt x="3563779" y="230029"/>
                    <a:pt x="3563779" y="232886"/>
                    <a:pt x="3564731" y="235744"/>
                  </a:cubicBezTo>
                  <a:cubicBezTo>
                    <a:pt x="3564731" y="236696"/>
                    <a:pt x="3564731" y="237649"/>
                    <a:pt x="3565684" y="238601"/>
                  </a:cubicBezTo>
                  <a:cubicBezTo>
                    <a:pt x="3561874" y="241459"/>
                    <a:pt x="3557111" y="246221"/>
                    <a:pt x="3552349" y="251936"/>
                  </a:cubicBezTo>
                  <a:cubicBezTo>
                    <a:pt x="3552349" y="250031"/>
                    <a:pt x="3551396" y="248126"/>
                    <a:pt x="3551396" y="247174"/>
                  </a:cubicBezTo>
                  <a:cubicBezTo>
                    <a:pt x="3555206" y="241459"/>
                    <a:pt x="3558064" y="234791"/>
                    <a:pt x="3561874" y="229076"/>
                  </a:cubicBezTo>
                  <a:close/>
                  <a:moveTo>
                    <a:pt x="3551396" y="293846"/>
                  </a:moveTo>
                  <a:cubicBezTo>
                    <a:pt x="3552349" y="298609"/>
                    <a:pt x="3553301" y="303371"/>
                    <a:pt x="3554254" y="307181"/>
                  </a:cubicBezTo>
                  <a:cubicBezTo>
                    <a:pt x="3553301" y="311944"/>
                    <a:pt x="3551396" y="315754"/>
                    <a:pt x="3550444" y="321469"/>
                  </a:cubicBezTo>
                  <a:cubicBezTo>
                    <a:pt x="3549491" y="325279"/>
                    <a:pt x="3548539" y="329089"/>
                    <a:pt x="3547586" y="333851"/>
                  </a:cubicBezTo>
                  <a:cubicBezTo>
                    <a:pt x="3547586" y="332899"/>
                    <a:pt x="3546634" y="332899"/>
                    <a:pt x="3546634" y="331946"/>
                  </a:cubicBezTo>
                  <a:cubicBezTo>
                    <a:pt x="3545681" y="330041"/>
                    <a:pt x="3544729" y="329089"/>
                    <a:pt x="3543776" y="327184"/>
                  </a:cubicBezTo>
                  <a:cubicBezTo>
                    <a:pt x="3544729" y="319564"/>
                    <a:pt x="3544729" y="312896"/>
                    <a:pt x="3544729" y="306229"/>
                  </a:cubicBezTo>
                  <a:cubicBezTo>
                    <a:pt x="3545681" y="299561"/>
                    <a:pt x="3546634" y="292894"/>
                    <a:pt x="3547586" y="286226"/>
                  </a:cubicBezTo>
                  <a:cubicBezTo>
                    <a:pt x="3547586" y="283369"/>
                    <a:pt x="3548539" y="279559"/>
                    <a:pt x="3548539" y="276701"/>
                  </a:cubicBezTo>
                  <a:cubicBezTo>
                    <a:pt x="3548539" y="282416"/>
                    <a:pt x="3550444" y="288131"/>
                    <a:pt x="3551396" y="293846"/>
                  </a:cubicBezTo>
                  <a:close/>
                  <a:moveTo>
                    <a:pt x="3543776" y="191929"/>
                  </a:moveTo>
                  <a:cubicBezTo>
                    <a:pt x="3545681" y="187166"/>
                    <a:pt x="3547586" y="183356"/>
                    <a:pt x="3549491" y="180499"/>
                  </a:cubicBezTo>
                  <a:cubicBezTo>
                    <a:pt x="3549491" y="181451"/>
                    <a:pt x="3549491" y="183356"/>
                    <a:pt x="3548539" y="185261"/>
                  </a:cubicBezTo>
                  <a:cubicBezTo>
                    <a:pt x="3547586" y="192881"/>
                    <a:pt x="3546634" y="201454"/>
                    <a:pt x="3544729" y="211931"/>
                  </a:cubicBezTo>
                  <a:cubicBezTo>
                    <a:pt x="3544729" y="213836"/>
                    <a:pt x="3543776" y="215741"/>
                    <a:pt x="3543776" y="217646"/>
                  </a:cubicBezTo>
                  <a:cubicBezTo>
                    <a:pt x="3541871" y="210026"/>
                    <a:pt x="3539966" y="204311"/>
                    <a:pt x="3539014" y="200501"/>
                  </a:cubicBezTo>
                  <a:cubicBezTo>
                    <a:pt x="3540919" y="196691"/>
                    <a:pt x="3541871" y="194786"/>
                    <a:pt x="3543776" y="191929"/>
                  </a:cubicBezTo>
                  <a:close/>
                  <a:moveTo>
                    <a:pt x="3530441" y="217646"/>
                  </a:moveTo>
                  <a:cubicBezTo>
                    <a:pt x="3533299" y="211931"/>
                    <a:pt x="3536156" y="206216"/>
                    <a:pt x="3539014" y="201454"/>
                  </a:cubicBezTo>
                  <a:cubicBezTo>
                    <a:pt x="3539014" y="205264"/>
                    <a:pt x="3539966" y="210979"/>
                    <a:pt x="3540919" y="217646"/>
                  </a:cubicBezTo>
                  <a:cubicBezTo>
                    <a:pt x="3540919" y="221456"/>
                    <a:pt x="3541871" y="226219"/>
                    <a:pt x="3542824" y="231934"/>
                  </a:cubicBezTo>
                  <a:cubicBezTo>
                    <a:pt x="3541871" y="234791"/>
                    <a:pt x="3541871" y="237649"/>
                    <a:pt x="3540919" y="240506"/>
                  </a:cubicBezTo>
                  <a:cubicBezTo>
                    <a:pt x="3537109" y="246221"/>
                    <a:pt x="3532346" y="252889"/>
                    <a:pt x="3528536" y="259556"/>
                  </a:cubicBezTo>
                  <a:cubicBezTo>
                    <a:pt x="3528536" y="258604"/>
                    <a:pt x="3528536" y="257651"/>
                    <a:pt x="3528536" y="257651"/>
                  </a:cubicBezTo>
                  <a:cubicBezTo>
                    <a:pt x="3528536" y="251936"/>
                    <a:pt x="3528536" y="246221"/>
                    <a:pt x="3527584" y="240506"/>
                  </a:cubicBezTo>
                  <a:cubicBezTo>
                    <a:pt x="3527584" y="236696"/>
                    <a:pt x="3526631" y="232886"/>
                    <a:pt x="3526631" y="229076"/>
                  </a:cubicBezTo>
                  <a:cubicBezTo>
                    <a:pt x="3527584" y="224314"/>
                    <a:pt x="3528536" y="220504"/>
                    <a:pt x="3530441" y="217646"/>
                  </a:cubicBezTo>
                  <a:close/>
                  <a:moveTo>
                    <a:pt x="3490436" y="321469"/>
                  </a:moveTo>
                  <a:cubicBezTo>
                    <a:pt x="3490436" y="320516"/>
                    <a:pt x="3490436" y="318611"/>
                    <a:pt x="3490436" y="317659"/>
                  </a:cubicBezTo>
                  <a:cubicBezTo>
                    <a:pt x="3490436" y="318611"/>
                    <a:pt x="3491389" y="319564"/>
                    <a:pt x="3491389" y="319564"/>
                  </a:cubicBezTo>
                  <a:cubicBezTo>
                    <a:pt x="3491389" y="320516"/>
                    <a:pt x="3491389" y="320516"/>
                    <a:pt x="3490436" y="321469"/>
                  </a:cubicBezTo>
                  <a:close/>
                  <a:moveTo>
                    <a:pt x="3514249" y="250984"/>
                  </a:moveTo>
                  <a:cubicBezTo>
                    <a:pt x="3515201" y="249079"/>
                    <a:pt x="3516154" y="247174"/>
                    <a:pt x="3516154" y="246221"/>
                  </a:cubicBezTo>
                  <a:cubicBezTo>
                    <a:pt x="3516154" y="250031"/>
                    <a:pt x="3516154" y="253841"/>
                    <a:pt x="3515201" y="257651"/>
                  </a:cubicBezTo>
                  <a:cubicBezTo>
                    <a:pt x="3515201" y="261461"/>
                    <a:pt x="3514249" y="266224"/>
                    <a:pt x="3514249" y="270986"/>
                  </a:cubicBezTo>
                  <a:cubicBezTo>
                    <a:pt x="3513296" y="267176"/>
                    <a:pt x="3511391" y="263366"/>
                    <a:pt x="3509486" y="259556"/>
                  </a:cubicBezTo>
                  <a:cubicBezTo>
                    <a:pt x="3512344" y="255746"/>
                    <a:pt x="3513296" y="252889"/>
                    <a:pt x="3514249" y="250984"/>
                  </a:cubicBezTo>
                  <a:close/>
                  <a:moveTo>
                    <a:pt x="3504724" y="271939"/>
                  </a:moveTo>
                  <a:cubicBezTo>
                    <a:pt x="3504724" y="272891"/>
                    <a:pt x="3505676" y="273844"/>
                    <a:pt x="3505676" y="274796"/>
                  </a:cubicBezTo>
                  <a:cubicBezTo>
                    <a:pt x="3506629" y="279559"/>
                    <a:pt x="3508534" y="283369"/>
                    <a:pt x="3509486" y="288131"/>
                  </a:cubicBezTo>
                  <a:cubicBezTo>
                    <a:pt x="3508534" y="290036"/>
                    <a:pt x="3507581" y="291941"/>
                    <a:pt x="3505676" y="293846"/>
                  </a:cubicBezTo>
                  <a:cubicBezTo>
                    <a:pt x="3505676" y="290036"/>
                    <a:pt x="3504724" y="286226"/>
                    <a:pt x="3504724" y="282416"/>
                  </a:cubicBezTo>
                  <a:cubicBezTo>
                    <a:pt x="3504724" y="279559"/>
                    <a:pt x="3504724" y="275749"/>
                    <a:pt x="3504724" y="271939"/>
                  </a:cubicBezTo>
                  <a:cubicBezTo>
                    <a:pt x="3504724" y="272891"/>
                    <a:pt x="3504724" y="272891"/>
                    <a:pt x="3504724" y="271939"/>
                  </a:cubicBezTo>
                  <a:close/>
                  <a:moveTo>
                    <a:pt x="3501866" y="398621"/>
                  </a:moveTo>
                  <a:cubicBezTo>
                    <a:pt x="3499961" y="389096"/>
                    <a:pt x="3497104" y="380524"/>
                    <a:pt x="3495199" y="371951"/>
                  </a:cubicBezTo>
                  <a:cubicBezTo>
                    <a:pt x="3495199" y="370999"/>
                    <a:pt x="3494246" y="370046"/>
                    <a:pt x="3494246" y="369094"/>
                  </a:cubicBezTo>
                  <a:cubicBezTo>
                    <a:pt x="3496151" y="365284"/>
                    <a:pt x="3498056" y="361474"/>
                    <a:pt x="3499961" y="357664"/>
                  </a:cubicBezTo>
                  <a:cubicBezTo>
                    <a:pt x="3500914" y="370999"/>
                    <a:pt x="3500914" y="384334"/>
                    <a:pt x="3501866" y="398621"/>
                  </a:cubicBezTo>
                  <a:close/>
                  <a:moveTo>
                    <a:pt x="3496151" y="290036"/>
                  </a:moveTo>
                  <a:cubicBezTo>
                    <a:pt x="3497104" y="288131"/>
                    <a:pt x="3498056" y="286226"/>
                    <a:pt x="3499009" y="284321"/>
                  </a:cubicBezTo>
                  <a:cubicBezTo>
                    <a:pt x="3499009" y="288131"/>
                    <a:pt x="3499009" y="291941"/>
                    <a:pt x="3499009" y="295751"/>
                  </a:cubicBezTo>
                  <a:cubicBezTo>
                    <a:pt x="3498056" y="293846"/>
                    <a:pt x="3497104" y="291941"/>
                    <a:pt x="3496151" y="290036"/>
                  </a:cubicBezTo>
                  <a:close/>
                  <a:moveTo>
                    <a:pt x="3496151" y="252889"/>
                  </a:moveTo>
                  <a:cubicBezTo>
                    <a:pt x="3496151" y="250984"/>
                    <a:pt x="3496151" y="249079"/>
                    <a:pt x="3496151" y="247174"/>
                  </a:cubicBezTo>
                  <a:cubicBezTo>
                    <a:pt x="3497104" y="250031"/>
                    <a:pt x="3498056" y="252889"/>
                    <a:pt x="3499009" y="254794"/>
                  </a:cubicBezTo>
                  <a:cubicBezTo>
                    <a:pt x="3498056" y="256699"/>
                    <a:pt x="3496151" y="258604"/>
                    <a:pt x="3495199" y="261461"/>
                  </a:cubicBezTo>
                  <a:cubicBezTo>
                    <a:pt x="3495199" y="258604"/>
                    <a:pt x="3496151" y="255746"/>
                    <a:pt x="3496151" y="252889"/>
                  </a:cubicBezTo>
                  <a:close/>
                  <a:moveTo>
                    <a:pt x="3481864" y="205264"/>
                  </a:moveTo>
                  <a:cubicBezTo>
                    <a:pt x="3484721" y="212884"/>
                    <a:pt x="3488531" y="220504"/>
                    <a:pt x="3491389" y="230029"/>
                  </a:cubicBezTo>
                  <a:cubicBezTo>
                    <a:pt x="3492341" y="233839"/>
                    <a:pt x="3494246" y="238601"/>
                    <a:pt x="3495199" y="243364"/>
                  </a:cubicBezTo>
                  <a:cubicBezTo>
                    <a:pt x="3494246" y="245269"/>
                    <a:pt x="3493294" y="248126"/>
                    <a:pt x="3492341" y="251936"/>
                  </a:cubicBezTo>
                  <a:cubicBezTo>
                    <a:pt x="3491389" y="256699"/>
                    <a:pt x="3489484" y="261461"/>
                    <a:pt x="3487579" y="268129"/>
                  </a:cubicBezTo>
                  <a:cubicBezTo>
                    <a:pt x="3487579" y="269081"/>
                    <a:pt x="3487579" y="269081"/>
                    <a:pt x="3486626" y="270034"/>
                  </a:cubicBezTo>
                  <a:cubicBezTo>
                    <a:pt x="3484721" y="265271"/>
                    <a:pt x="3481864" y="260509"/>
                    <a:pt x="3479959" y="255746"/>
                  </a:cubicBezTo>
                  <a:cubicBezTo>
                    <a:pt x="3479959" y="245269"/>
                    <a:pt x="3479959" y="235744"/>
                    <a:pt x="3479959" y="228124"/>
                  </a:cubicBezTo>
                  <a:cubicBezTo>
                    <a:pt x="3479959" y="221456"/>
                    <a:pt x="3479959" y="216694"/>
                    <a:pt x="3479959" y="213836"/>
                  </a:cubicBezTo>
                  <a:cubicBezTo>
                    <a:pt x="3480911" y="211931"/>
                    <a:pt x="3480911" y="208121"/>
                    <a:pt x="3481864" y="205264"/>
                  </a:cubicBezTo>
                  <a:close/>
                  <a:moveTo>
                    <a:pt x="3473291" y="241459"/>
                  </a:moveTo>
                  <a:cubicBezTo>
                    <a:pt x="3474244" y="239554"/>
                    <a:pt x="3474244" y="236696"/>
                    <a:pt x="3475196" y="234791"/>
                  </a:cubicBezTo>
                  <a:cubicBezTo>
                    <a:pt x="3474244" y="236696"/>
                    <a:pt x="3474244" y="239554"/>
                    <a:pt x="3473291" y="241459"/>
                  </a:cubicBezTo>
                  <a:cubicBezTo>
                    <a:pt x="3473291" y="242411"/>
                    <a:pt x="3473291" y="241459"/>
                    <a:pt x="3473291" y="241459"/>
                  </a:cubicBezTo>
                  <a:cubicBezTo>
                    <a:pt x="3473291" y="241459"/>
                    <a:pt x="3473291" y="241459"/>
                    <a:pt x="3473291" y="241459"/>
                  </a:cubicBezTo>
                  <a:close/>
                  <a:moveTo>
                    <a:pt x="3468529" y="260509"/>
                  </a:moveTo>
                  <a:cubicBezTo>
                    <a:pt x="3468529" y="261461"/>
                    <a:pt x="3469481" y="262414"/>
                    <a:pt x="3469481" y="263366"/>
                  </a:cubicBezTo>
                  <a:cubicBezTo>
                    <a:pt x="3469481" y="266224"/>
                    <a:pt x="3468529" y="268129"/>
                    <a:pt x="3468529" y="270986"/>
                  </a:cubicBezTo>
                  <a:cubicBezTo>
                    <a:pt x="3467576" y="279559"/>
                    <a:pt x="3466624" y="290036"/>
                    <a:pt x="3465671" y="300514"/>
                  </a:cubicBezTo>
                  <a:cubicBezTo>
                    <a:pt x="3464719" y="306229"/>
                    <a:pt x="3464719" y="311944"/>
                    <a:pt x="3464719" y="318611"/>
                  </a:cubicBezTo>
                  <a:cubicBezTo>
                    <a:pt x="3464719" y="319564"/>
                    <a:pt x="3463766" y="320516"/>
                    <a:pt x="3463766" y="321469"/>
                  </a:cubicBezTo>
                  <a:cubicBezTo>
                    <a:pt x="3462814" y="316706"/>
                    <a:pt x="3460909" y="311944"/>
                    <a:pt x="3459956" y="307181"/>
                  </a:cubicBezTo>
                  <a:cubicBezTo>
                    <a:pt x="3459956" y="307181"/>
                    <a:pt x="3459956" y="306229"/>
                    <a:pt x="3459956" y="306229"/>
                  </a:cubicBezTo>
                  <a:cubicBezTo>
                    <a:pt x="3459956" y="304324"/>
                    <a:pt x="3460909" y="302419"/>
                    <a:pt x="3460909" y="300514"/>
                  </a:cubicBezTo>
                  <a:cubicBezTo>
                    <a:pt x="3463766" y="287179"/>
                    <a:pt x="3466624" y="273844"/>
                    <a:pt x="3468529" y="260509"/>
                  </a:cubicBezTo>
                  <a:close/>
                  <a:moveTo>
                    <a:pt x="3451384" y="237649"/>
                  </a:moveTo>
                  <a:cubicBezTo>
                    <a:pt x="3451384" y="231934"/>
                    <a:pt x="3451384" y="227171"/>
                    <a:pt x="3451384" y="221456"/>
                  </a:cubicBezTo>
                  <a:cubicBezTo>
                    <a:pt x="3451384" y="221456"/>
                    <a:pt x="3451384" y="221456"/>
                    <a:pt x="3451384" y="222409"/>
                  </a:cubicBezTo>
                  <a:cubicBezTo>
                    <a:pt x="3453289" y="227171"/>
                    <a:pt x="3456146" y="231934"/>
                    <a:pt x="3458051" y="237649"/>
                  </a:cubicBezTo>
                  <a:cubicBezTo>
                    <a:pt x="3458051" y="237649"/>
                    <a:pt x="3458051" y="238601"/>
                    <a:pt x="3458051" y="238601"/>
                  </a:cubicBezTo>
                  <a:cubicBezTo>
                    <a:pt x="3455194" y="248126"/>
                    <a:pt x="3452336" y="257651"/>
                    <a:pt x="3450431" y="267176"/>
                  </a:cubicBezTo>
                  <a:cubicBezTo>
                    <a:pt x="3450431" y="267176"/>
                    <a:pt x="3450431" y="267176"/>
                    <a:pt x="3450431" y="267176"/>
                  </a:cubicBezTo>
                  <a:cubicBezTo>
                    <a:pt x="3451384" y="256699"/>
                    <a:pt x="3451384" y="247174"/>
                    <a:pt x="3451384" y="237649"/>
                  </a:cubicBezTo>
                  <a:close/>
                  <a:moveTo>
                    <a:pt x="3405664" y="273844"/>
                  </a:moveTo>
                  <a:cubicBezTo>
                    <a:pt x="3406616" y="268129"/>
                    <a:pt x="3406616" y="263366"/>
                    <a:pt x="3406616" y="258604"/>
                  </a:cubicBezTo>
                  <a:cubicBezTo>
                    <a:pt x="3406616" y="253841"/>
                    <a:pt x="3406616" y="249079"/>
                    <a:pt x="3406616" y="245269"/>
                  </a:cubicBezTo>
                  <a:cubicBezTo>
                    <a:pt x="3406616" y="247174"/>
                    <a:pt x="3407569" y="251936"/>
                    <a:pt x="3409474" y="259556"/>
                  </a:cubicBezTo>
                  <a:cubicBezTo>
                    <a:pt x="3409474" y="264319"/>
                    <a:pt x="3407569" y="269081"/>
                    <a:pt x="3405664" y="273844"/>
                  </a:cubicBezTo>
                  <a:close/>
                  <a:moveTo>
                    <a:pt x="3416141" y="335756"/>
                  </a:moveTo>
                  <a:cubicBezTo>
                    <a:pt x="3416141" y="341471"/>
                    <a:pt x="3416141" y="347186"/>
                    <a:pt x="3416141" y="353854"/>
                  </a:cubicBezTo>
                  <a:cubicBezTo>
                    <a:pt x="3416141" y="351949"/>
                    <a:pt x="3415189" y="350044"/>
                    <a:pt x="3415189" y="348139"/>
                  </a:cubicBezTo>
                  <a:cubicBezTo>
                    <a:pt x="3414236" y="340519"/>
                    <a:pt x="3414236" y="333851"/>
                    <a:pt x="3413284" y="328136"/>
                  </a:cubicBezTo>
                  <a:cubicBezTo>
                    <a:pt x="3413284" y="328136"/>
                    <a:pt x="3413284" y="328136"/>
                    <a:pt x="3413284" y="328136"/>
                  </a:cubicBezTo>
                  <a:cubicBezTo>
                    <a:pt x="3414236" y="325279"/>
                    <a:pt x="3415189" y="323374"/>
                    <a:pt x="3417094" y="320516"/>
                  </a:cubicBezTo>
                  <a:cubicBezTo>
                    <a:pt x="3417094" y="324326"/>
                    <a:pt x="3417094" y="329089"/>
                    <a:pt x="3416141" y="335756"/>
                  </a:cubicBezTo>
                  <a:close/>
                  <a:moveTo>
                    <a:pt x="3421856" y="320516"/>
                  </a:moveTo>
                  <a:cubicBezTo>
                    <a:pt x="3420904" y="324326"/>
                    <a:pt x="3420904" y="329089"/>
                    <a:pt x="3419951" y="332899"/>
                  </a:cubicBezTo>
                  <a:cubicBezTo>
                    <a:pt x="3418999" y="326231"/>
                    <a:pt x="3418999" y="320516"/>
                    <a:pt x="3418046" y="316706"/>
                  </a:cubicBezTo>
                  <a:cubicBezTo>
                    <a:pt x="3418999" y="314801"/>
                    <a:pt x="3419951" y="312896"/>
                    <a:pt x="3420904" y="310991"/>
                  </a:cubicBezTo>
                  <a:cubicBezTo>
                    <a:pt x="3420904" y="310039"/>
                    <a:pt x="3421856" y="309086"/>
                    <a:pt x="3421856" y="308134"/>
                  </a:cubicBezTo>
                  <a:cubicBezTo>
                    <a:pt x="3421856" y="310039"/>
                    <a:pt x="3422809" y="310991"/>
                    <a:pt x="3422809" y="312896"/>
                  </a:cubicBezTo>
                  <a:cubicBezTo>
                    <a:pt x="3422809" y="314801"/>
                    <a:pt x="3422809" y="317659"/>
                    <a:pt x="3421856" y="320516"/>
                  </a:cubicBezTo>
                  <a:close/>
                  <a:moveTo>
                    <a:pt x="3410426" y="139541"/>
                  </a:moveTo>
                  <a:cubicBezTo>
                    <a:pt x="3413284" y="145256"/>
                    <a:pt x="3417094" y="151924"/>
                    <a:pt x="3421856" y="161449"/>
                  </a:cubicBezTo>
                  <a:cubicBezTo>
                    <a:pt x="3424714" y="167164"/>
                    <a:pt x="3428524" y="173831"/>
                    <a:pt x="3433286" y="181451"/>
                  </a:cubicBezTo>
                  <a:cubicBezTo>
                    <a:pt x="3431381" y="187166"/>
                    <a:pt x="3430429" y="192881"/>
                    <a:pt x="3428524" y="198596"/>
                  </a:cubicBezTo>
                  <a:cubicBezTo>
                    <a:pt x="3427571" y="202406"/>
                    <a:pt x="3426619" y="206216"/>
                    <a:pt x="3425666" y="210026"/>
                  </a:cubicBezTo>
                  <a:cubicBezTo>
                    <a:pt x="3424714" y="205264"/>
                    <a:pt x="3423761" y="200501"/>
                    <a:pt x="3422809" y="195739"/>
                  </a:cubicBezTo>
                  <a:cubicBezTo>
                    <a:pt x="3419951" y="183356"/>
                    <a:pt x="3417094" y="171926"/>
                    <a:pt x="3415189" y="163354"/>
                  </a:cubicBezTo>
                  <a:cubicBezTo>
                    <a:pt x="3413284" y="154781"/>
                    <a:pt x="3411379" y="148114"/>
                    <a:pt x="3410426" y="143351"/>
                  </a:cubicBezTo>
                  <a:cubicBezTo>
                    <a:pt x="3409474" y="141446"/>
                    <a:pt x="3410426" y="140494"/>
                    <a:pt x="3410426" y="139541"/>
                  </a:cubicBezTo>
                  <a:close/>
                  <a:moveTo>
                    <a:pt x="3408521" y="136684"/>
                  </a:moveTo>
                  <a:cubicBezTo>
                    <a:pt x="3408521" y="136684"/>
                    <a:pt x="3408521" y="136684"/>
                    <a:pt x="3408521" y="136684"/>
                  </a:cubicBezTo>
                  <a:cubicBezTo>
                    <a:pt x="3408521" y="136684"/>
                    <a:pt x="3408521" y="136684"/>
                    <a:pt x="3408521" y="136684"/>
                  </a:cubicBezTo>
                  <a:cubicBezTo>
                    <a:pt x="3408521" y="136684"/>
                    <a:pt x="3408521" y="136684"/>
                    <a:pt x="3408521" y="136684"/>
                  </a:cubicBezTo>
                  <a:close/>
                  <a:moveTo>
                    <a:pt x="3395186" y="266224"/>
                  </a:moveTo>
                  <a:cubicBezTo>
                    <a:pt x="3396139" y="251936"/>
                    <a:pt x="3396139" y="239554"/>
                    <a:pt x="3396139" y="227171"/>
                  </a:cubicBezTo>
                  <a:cubicBezTo>
                    <a:pt x="3396139" y="222409"/>
                    <a:pt x="3396139" y="217646"/>
                    <a:pt x="3396139" y="212884"/>
                  </a:cubicBezTo>
                  <a:cubicBezTo>
                    <a:pt x="3397091" y="210026"/>
                    <a:pt x="3398044" y="207169"/>
                    <a:pt x="3398996" y="204311"/>
                  </a:cubicBezTo>
                  <a:cubicBezTo>
                    <a:pt x="3398044" y="206216"/>
                    <a:pt x="3397091" y="208121"/>
                    <a:pt x="3396139" y="210026"/>
                  </a:cubicBezTo>
                  <a:cubicBezTo>
                    <a:pt x="3396139" y="207169"/>
                    <a:pt x="3396139" y="204311"/>
                    <a:pt x="3396139" y="202406"/>
                  </a:cubicBezTo>
                  <a:cubicBezTo>
                    <a:pt x="3397091" y="199549"/>
                    <a:pt x="3397091" y="197644"/>
                    <a:pt x="3398044" y="194786"/>
                  </a:cubicBezTo>
                  <a:cubicBezTo>
                    <a:pt x="3401854" y="178594"/>
                    <a:pt x="3405664" y="162401"/>
                    <a:pt x="3408521" y="145256"/>
                  </a:cubicBezTo>
                  <a:cubicBezTo>
                    <a:pt x="3408521" y="150019"/>
                    <a:pt x="3409474" y="155734"/>
                    <a:pt x="3410426" y="162401"/>
                  </a:cubicBezTo>
                  <a:cubicBezTo>
                    <a:pt x="3411379" y="171926"/>
                    <a:pt x="3412331" y="182404"/>
                    <a:pt x="3414236" y="195739"/>
                  </a:cubicBezTo>
                  <a:cubicBezTo>
                    <a:pt x="3415189" y="202406"/>
                    <a:pt x="3416141" y="209074"/>
                    <a:pt x="3417094" y="215741"/>
                  </a:cubicBezTo>
                  <a:cubicBezTo>
                    <a:pt x="3418046" y="220504"/>
                    <a:pt x="3418999" y="224314"/>
                    <a:pt x="3419951" y="229076"/>
                  </a:cubicBezTo>
                  <a:cubicBezTo>
                    <a:pt x="3418999" y="230981"/>
                    <a:pt x="3418999" y="232886"/>
                    <a:pt x="3418046" y="233839"/>
                  </a:cubicBezTo>
                  <a:cubicBezTo>
                    <a:pt x="3416141" y="240506"/>
                    <a:pt x="3414236" y="247174"/>
                    <a:pt x="3411379" y="253841"/>
                  </a:cubicBezTo>
                  <a:cubicBezTo>
                    <a:pt x="3408521" y="248126"/>
                    <a:pt x="3407569" y="245269"/>
                    <a:pt x="3407569" y="244316"/>
                  </a:cubicBezTo>
                  <a:cubicBezTo>
                    <a:pt x="3407569" y="242411"/>
                    <a:pt x="3407569" y="241459"/>
                    <a:pt x="3407569" y="239554"/>
                  </a:cubicBezTo>
                  <a:cubicBezTo>
                    <a:pt x="3407569" y="230029"/>
                    <a:pt x="3407569" y="224314"/>
                    <a:pt x="3407569" y="224314"/>
                  </a:cubicBezTo>
                  <a:cubicBezTo>
                    <a:pt x="3407569" y="224314"/>
                    <a:pt x="3405664" y="230029"/>
                    <a:pt x="3403759" y="239554"/>
                  </a:cubicBezTo>
                  <a:cubicBezTo>
                    <a:pt x="3402806" y="244316"/>
                    <a:pt x="3400901" y="250031"/>
                    <a:pt x="3399949" y="256699"/>
                  </a:cubicBezTo>
                  <a:cubicBezTo>
                    <a:pt x="3398996" y="262414"/>
                    <a:pt x="3397091" y="269081"/>
                    <a:pt x="3395186" y="275749"/>
                  </a:cubicBezTo>
                  <a:cubicBezTo>
                    <a:pt x="3395186" y="273844"/>
                    <a:pt x="3395186" y="270034"/>
                    <a:pt x="3395186" y="266224"/>
                  </a:cubicBezTo>
                  <a:close/>
                  <a:moveTo>
                    <a:pt x="3363754" y="252889"/>
                  </a:moveTo>
                  <a:cubicBezTo>
                    <a:pt x="3364706" y="256699"/>
                    <a:pt x="3365659" y="260509"/>
                    <a:pt x="3365659" y="264319"/>
                  </a:cubicBezTo>
                  <a:cubicBezTo>
                    <a:pt x="3364706" y="266224"/>
                    <a:pt x="3363754" y="267176"/>
                    <a:pt x="3363754" y="269081"/>
                  </a:cubicBezTo>
                  <a:cubicBezTo>
                    <a:pt x="3363754" y="262414"/>
                    <a:pt x="3363754" y="257651"/>
                    <a:pt x="3363754" y="252889"/>
                  </a:cubicBezTo>
                  <a:close/>
                  <a:moveTo>
                    <a:pt x="3321844" y="351949"/>
                  </a:moveTo>
                  <a:cubicBezTo>
                    <a:pt x="3321844" y="349091"/>
                    <a:pt x="3322796" y="345281"/>
                    <a:pt x="3322796" y="342424"/>
                  </a:cubicBezTo>
                  <a:cubicBezTo>
                    <a:pt x="3322796" y="344329"/>
                    <a:pt x="3323749" y="346234"/>
                    <a:pt x="3323749" y="347186"/>
                  </a:cubicBezTo>
                  <a:cubicBezTo>
                    <a:pt x="3323749" y="349091"/>
                    <a:pt x="3322796" y="350044"/>
                    <a:pt x="3321844" y="351949"/>
                  </a:cubicBezTo>
                  <a:close/>
                  <a:moveTo>
                    <a:pt x="3340894" y="273844"/>
                  </a:moveTo>
                  <a:cubicBezTo>
                    <a:pt x="3342799" y="282416"/>
                    <a:pt x="3345656" y="290036"/>
                    <a:pt x="3347561" y="298609"/>
                  </a:cubicBezTo>
                  <a:cubicBezTo>
                    <a:pt x="3346609" y="300514"/>
                    <a:pt x="3345656" y="302419"/>
                    <a:pt x="3344704" y="304324"/>
                  </a:cubicBezTo>
                  <a:cubicBezTo>
                    <a:pt x="3342799" y="299561"/>
                    <a:pt x="3340894" y="295751"/>
                    <a:pt x="3338989" y="290989"/>
                  </a:cubicBezTo>
                  <a:cubicBezTo>
                    <a:pt x="3338036" y="276701"/>
                    <a:pt x="3336131" y="263366"/>
                    <a:pt x="3335179" y="251936"/>
                  </a:cubicBezTo>
                  <a:cubicBezTo>
                    <a:pt x="3337084" y="259556"/>
                    <a:pt x="3338989" y="266224"/>
                    <a:pt x="3340894" y="273844"/>
                  </a:cubicBezTo>
                  <a:close/>
                  <a:moveTo>
                    <a:pt x="3330416" y="376714"/>
                  </a:moveTo>
                  <a:cubicBezTo>
                    <a:pt x="3330416" y="377666"/>
                    <a:pt x="3330416" y="378619"/>
                    <a:pt x="3331369" y="379571"/>
                  </a:cubicBezTo>
                  <a:cubicBezTo>
                    <a:pt x="3330416" y="380524"/>
                    <a:pt x="3330416" y="382429"/>
                    <a:pt x="3329464" y="384334"/>
                  </a:cubicBezTo>
                  <a:cubicBezTo>
                    <a:pt x="3329464" y="383381"/>
                    <a:pt x="3328511" y="382429"/>
                    <a:pt x="3328511" y="381476"/>
                  </a:cubicBezTo>
                  <a:cubicBezTo>
                    <a:pt x="3328511" y="379571"/>
                    <a:pt x="3329464" y="378619"/>
                    <a:pt x="3330416" y="376714"/>
                  </a:cubicBezTo>
                  <a:close/>
                  <a:moveTo>
                    <a:pt x="3329464" y="202406"/>
                  </a:moveTo>
                  <a:cubicBezTo>
                    <a:pt x="3329464" y="203359"/>
                    <a:pt x="3329464" y="205264"/>
                    <a:pt x="3329464" y="207169"/>
                  </a:cubicBezTo>
                  <a:cubicBezTo>
                    <a:pt x="3329464" y="206216"/>
                    <a:pt x="3329464" y="206216"/>
                    <a:pt x="3328511" y="205264"/>
                  </a:cubicBezTo>
                  <a:cubicBezTo>
                    <a:pt x="3329464" y="204311"/>
                    <a:pt x="3329464" y="203359"/>
                    <a:pt x="3329464" y="202406"/>
                  </a:cubicBezTo>
                  <a:close/>
                  <a:moveTo>
                    <a:pt x="3326606" y="302419"/>
                  </a:moveTo>
                  <a:cubicBezTo>
                    <a:pt x="3327559" y="305276"/>
                    <a:pt x="3328511" y="307181"/>
                    <a:pt x="3329464" y="310039"/>
                  </a:cubicBezTo>
                  <a:cubicBezTo>
                    <a:pt x="3329464" y="310991"/>
                    <a:pt x="3329464" y="310991"/>
                    <a:pt x="3329464" y="311944"/>
                  </a:cubicBezTo>
                  <a:cubicBezTo>
                    <a:pt x="3328511" y="310039"/>
                    <a:pt x="3327559" y="308134"/>
                    <a:pt x="3326606" y="306229"/>
                  </a:cubicBezTo>
                  <a:cubicBezTo>
                    <a:pt x="3326606" y="304324"/>
                    <a:pt x="3326606" y="303371"/>
                    <a:pt x="3326606" y="302419"/>
                  </a:cubicBezTo>
                  <a:close/>
                  <a:moveTo>
                    <a:pt x="3323749" y="227171"/>
                  </a:moveTo>
                  <a:cubicBezTo>
                    <a:pt x="3324701" y="224314"/>
                    <a:pt x="3324701" y="221456"/>
                    <a:pt x="3325654" y="219551"/>
                  </a:cubicBezTo>
                  <a:cubicBezTo>
                    <a:pt x="3325654" y="220504"/>
                    <a:pt x="3325654" y="220504"/>
                    <a:pt x="3325654" y="221456"/>
                  </a:cubicBezTo>
                  <a:cubicBezTo>
                    <a:pt x="3322796" y="232886"/>
                    <a:pt x="3320891" y="244316"/>
                    <a:pt x="3318034" y="256699"/>
                  </a:cubicBezTo>
                  <a:cubicBezTo>
                    <a:pt x="3318034" y="256699"/>
                    <a:pt x="3318034" y="255746"/>
                    <a:pt x="3317081" y="255746"/>
                  </a:cubicBezTo>
                  <a:cubicBezTo>
                    <a:pt x="3319939" y="245269"/>
                    <a:pt x="3321844" y="235744"/>
                    <a:pt x="3323749" y="227171"/>
                  </a:cubicBezTo>
                  <a:close/>
                  <a:moveTo>
                    <a:pt x="3315176" y="269081"/>
                  </a:moveTo>
                  <a:cubicBezTo>
                    <a:pt x="3315176" y="270034"/>
                    <a:pt x="3316129" y="270986"/>
                    <a:pt x="3316129" y="270986"/>
                  </a:cubicBezTo>
                  <a:cubicBezTo>
                    <a:pt x="3315176" y="274796"/>
                    <a:pt x="3315176" y="278606"/>
                    <a:pt x="3314224" y="282416"/>
                  </a:cubicBezTo>
                  <a:cubicBezTo>
                    <a:pt x="3314224" y="281464"/>
                    <a:pt x="3313271" y="280511"/>
                    <a:pt x="3313271" y="280511"/>
                  </a:cubicBezTo>
                  <a:cubicBezTo>
                    <a:pt x="3313271" y="276701"/>
                    <a:pt x="3314224" y="272891"/>
                    <a:pt x="3315176" y="269081"/>
                  </a:cubicBezTo>
                  <a:close/>
                  <a:moveTo>
                    <a:pt x="3305651" y="310991"/>
                  </a:moveTo>
                  <a:cubicBezTo>
                    <a:pt x="3306604" y="307181"/>
                    <a:pt x="3307556" y="302419"/>
                    <a:pt x="3308509" y="298609"/>
                  </a:cubicBezTo>
                  <a:cubicBezTo>
                    <a:pt x="3309461" y="299561"/>
                    <a:pt x="3309461" y="301466"/>
                    <a:pt x="3310414" y="302419"/>
                  </a:cubicBezTo>
                  <a:cubicBezTo>
                    <a:pt x="3309461" y="308134"/>
                    <a:pt x="3308509" y="314801"/>
                    <a:pt x="3307556" y="320516"/>
                  </a:cubicBezTo>
                  <a:cubicBezTo>
                    <a:pt x="3306604" y="318611"/>
                    <a:pt x="3305651" y="315754"/>
                    <a:pt x="3304699" y="313849"/>
                  </a:cubicBezTo>
                  <a:cubicBezTo>
                    <a:pt x="3305651" y="313849"/>
                    <a:pt x="3305651" y="312896"/>
                    <a:pt x="3305651" y="310991"/>
                  </a:cubicBezTo>
                  <a:close/>
                  <a:moveTo>
                    <a:pt x="3302794" y="327184"/>
                  </a:moveTo>
                  <a:cubicBezTo>
                    <a:pt x="3303746" y="330041"/>
                    <a:pt x="3303746" y="332899"/>
                    <a:pt x="3304699" y="335756"/>
                  </a:cubicBezTo>
                  <a:cubicBezTo>
                    <a:pt x="3303746" y="339566"/>
                    <a:pt x="3302794" y="344329"/>
                    <a:pt x="3300889" y="349091"/>
                  </a:cubicBezTo>
                  <a:cubicBezTo>
                    <a:pt x="3299936" y="350996"/>
                    <a:pt x="3299936" y="353854"/>
                    <a:pt x="3298984" y="355759"/>
                  </a:cubicBezTo>
                  <a:cubicBezTo>
                    <a:pt x="3298031" y="354806"/>
                    <a:pt x="3298031" y="352901"/>
                    <a:pt x="3297079" y="351949"/>
                  </a:cubicBezTo>
                  <a:cubicBezTo>
                    <a:pt x="3298984" y="343376"/>
                    <a:pt x="3300889" y="334804"/>
                    <a:pt x="3302794" y="327184"/>
                  </a:cubicBezTo>
                  <a:close/>
                  <a:moveTo>
                    <a:pt x="3279934" y="297656"/>
                  </a:moveTo>
                  <a:cubicBezTo>
                    <a:pt x="3279934" y="294799"/>
                    <a:pt x="3279934" y="291941"/>
                    <a:pt x="3280886" y="289084"/>
                  </a:cubicBezTo>
                  <a:cubicBezTo>
                    <a:pt x="3281839" y="280511"/>
                    <a:pt x="3282791" y="271939"/>
                    <a:pt x="3283744" y="263366"/>
                  </a:cubicBezTo>
                  <a:cubicBezTo>
                    <a:pt x="3283744" y="259556"/>
                    <a:pt x="3284696" y="255746"/>
                    <a:pt x="3284696" y="252889"/>
                  </a:cubicBezTo>
                  <a:cubicBezTo>
                    <a:pt x="3287554" y="258604"/>
                    <a:pt x="3290411" y="264319"/>
                    <a:pt x="3293269" y="270034"/>
                  </a:cubicBezTo>
                  <a:cubicBezTo>
                    <a:pt x="3292316" y="272891"/>
                    <a:pt x="3292316" y="274796"/>
                    <a:pt x="3291364" y="277654"/>
                  </a:cubicBezTo>
                  <a:cubicBezTo>
                    <a:pt x="3291364" y="279559"/>
                    <a:pt x="3290411" y="281464"/>
                    <a:pt x="3290411" y="283369"/>
                  </a:cubicBezTo>
                  <a:cubicBezTo>
                    <a:pt x="3289459" y="271939"/>
                    <a:pt x="3289459" y="264319"/>
                    <a:pt x="3289459" y="264319"/>
                  </a:cubicBezTo>
                  <a:cubicBezTo>
                    <a:pt x="3289459" y="264319"/>
                    <a:pt x="3285649" y="285274"/>
                    <a:pt x="3281839" y="317659"/>
                  </a:cubicBezTo>
                  <a:cubicBezTo>
                    <a:pt x="3281839" y="317659"/>
                    <a:pt x="3280886" y="317659"/>
                    <a:pt x="3280886" y="317659"/>
                  </a:cubicBezTo>
                  <a:cubicBezTo>
                    <a:pt x="3280886" y="317659"/>
                    <a:pt x="3280886" y="316706"/>
                    <a:pt x="3280886" y="316706"/>
                  </a:cubicBezTo>
                  <a:cubicBezTo>
                    <a:pt x="3280886" y="316706"/>
                    <a:pt x="3280886" y="315754"/>
                    <a:pt x="3279934" y="315754"/>
                  </a:cubicBezTo>
                  <a:cubicBezTo>
                    <a:pt x="3279934" y="314801"/>
                    <a:pt x="3278981" y="314801"/>
                    <a:pt x="3278981" y="313849"/>
                  </a:cubicBezTo>
                  <a:cubicBezTo>
                    <a:pt x="3278981" y="308134"/>
                    <a:pt x="3279934" y="302419"/>
                    <a:pt x="3279934" y="297656"/>
                  </a:cubicBezTo>
                  <a:close/>
                  <a:moveTo>
                    <a:pt x="3263741" y="295751"/>
                  </a:moveTo>
                  <a:cubicBezTo>
                    <a:pt x="3263741" y="294799"/>
                    <a:pt x="3263741" y="293846"/>
                    <a:pt x="3263741" y="293846"/>
                  </a:cubicBezTo>
                  <a:cubicBezTo>
                    <a:pt x="3263741" y="293846"/>
                    <a:pt x="3263741" y="294799"/>
                    <a:pt x="3263741" y="295751"/>
                  </a:cubicBezTo>
                  <a:cubicBezTo>
                    <a:pt x="3264694" y="295751"/>
                    <a:pt x="3264694" y="295751"/>
                    <a:pt x="3264694" y="296704"/>
                  </a:cubicBezTo>
                  <a:cubicBezTo>
                    <a:pt x="3263741" y="299561"/>
                    <a:pt x="3262789" y="303371"/>
                    <a:pt x="3262789" y="306229"/>
                  </a:cubicBezTo>
                  <a:cubicBezTo>
                    <a:pt x="3262789" y="302419"/>
                    <a:pt x="3263741" y="298609"/>
                    <a:pt x="3263741" y="295751"/>
                  </a:cubicBezTo>
                  <a:close/>
                  <a:moveTo>
                    <a:pt x="3232309" y="381476"/>
                  </a:moveTo>
                  <a:cubicBezTo>
                    <a:pt x="3232309" y="372904"/>
                    <a:pt x="3232309" y="365284"/>
                    <a:pt x="3232309" y="357664"/>
                  </a:cubicBezTo>
                  <a:cubicBezTo>
                    <a:pt x="3232309" y="357664"/>
                    <a:pt x="3232309" y="358616"/>
                    <a:pt x="3232309" y="358616"/>
                  </a:cubicBezTo>
                  <a:cubicBezTo>
                    <a:pt x="3232309" y="359569"/>
                    <a:pt x="3232309" y="360521"/>
                    <a:pt x="3233261" y="360521"/>
                  </a:cubicBezTo>
                  <a:cubicBezTo>
                    <a:pt x="3233261" y="367189"/>
                    <a:pt x="3233261" y="373856"/>
                    <a:pt x="3232309" y="381476"/>
                  </a:cubicBezTo>
                  <a:close/>
                  <a:moveTo>
                    <a:pt x="3239929" y="327184"/>
                  </a:moveTo>
                  <a:cubicBezTo>
                    <a:pt x="3240881" y="330994"/>
                    <a:pt x="3240881" y="335756"/>
                    <a:pt x="3241834" y="339566"/>
                  </a:cubicBezTo>
                  <a:cubicBezTo>
                    <a:pt x="3240881" y="337661"/>
                    <a:pt x="3239929" y="335756"/>
                    <a:pt x="3239929" y="333851"/>
                  </a:cubicBezTo>
                  <a:cubicBezTo>
                    <a:pt x="3239929" y="331946"/>
                    <a:pt x="3239929" y="330994"/>
                    <a:pt x="3239929" y="329089"/>
                  </a:cubicBezTo>
                  <a:cubicBezTo>
                    <a:pt x="3238976" y="328136"/>
                    <a:pt x="3239929" y="328136"/>
                    <a:pt x="3239929" y="327184"/>
                  </a:cubicBezTo>
                  <a:close/>
                  <a:moveTo>
                    <a:pt x="3234214" y="318611"/>
                  </a:moveTo>
                  <a:cubicBezTo>
                    <a:pt x="3235166" y="315754"/>
                    <a:pt x="3236119" y="312896"/>
                    <a:pt x="3237071" y="310039"/>
                  </a:cubicBezTo>
                  <a:cubicBezTo>
                    <a:pt x="3237071" y="311944"/>
                    <a:pt x="3238024" y="313849"/>
                    <a:pt x="3238024" y="314801"/>
                  </a:cubicBezTo>
                  <a:cubicBezTo>
                    <a:pt x="3238024" y="315754"/>
                    <a:pt x="3238024" y="315754"/>
                    <a:pt x="3238024" y="316706"/>
                  </a:cubicBezTo>
                  <a:cubicBezTo>
                    <a:pt x="3238024" y="316706"/>
                    <a:pt x="3238024" y="317659"/>
                    <a:pt x="3237071" y="317659"/>
                  </a:cubicBezTo>
                  <a:cubicBezTo>
                    <a:pt x="3237071" y="314801"/>
                    <a:pt x="3236119" y="311944"/>
                    <a:pt x="3237071" y="311944"/>
                  </a:cubicBezTo>
                  <a:cubicBezTo>
                    <a:pt x="3238024" y="311944"/>
                    <a:pt x="3237071" y="314801"/>
                    <a:pt x="3236119" y="319564"/>
                  </a:cubicBezTo>
                  <a:cubicBezTo>
                    <a:pt x="3235166" y="320516"/>
                    <a:pt x="3235166" y="321469"/>
                    <a:pt x="3234214" y="322421"/>
                  </a:cubicBezTo>
                  <a:cubicBezTo>
                    <a:pt x="3234214" y="321469"/>
                    <a:pt x="3233261" y="320516"/>
                    <a:pt x="3233261" y="319564"/>
                  </a:cubicBezTo>
                  <a:cubicBezTo>
                    <a:pt x="3234214" y="319564"/>
                    <a:pt x="3234214" y="319564"/>
                    <a:pt x="3234214" y="318611"/>
                  </a:cubicBezTo>
                  <a:close/>
                  <a:moveTo>
                    <a:pt x="3233261" y="286226"/>
                  </a:moveTo>
                  <a:cubicBezTo>
                    <a:pt x="3233261" y="287179"/>
                    <a:pt x="3233261" y="287179"/>
                    <a:pt x="3233261" y="288131"/>
                  </a:cubicBezTo>
                  <a:cubicBezTo>
                    <a:pt x="3233261" y="289084"/>
                    <a:pt x="3232309" y="289084"/>
                    <a:pt x="3232309" y="290036"/>
                  </a:cubicBezTo>
                  <a:cubicBezTo>
                    <a:pt x="3232309" y="287179"/>
                    <a:pt x="3232309" y="285274"/>
                    <a:pt x="3232309" y="282416"/>
                  </a:cubicBezTo>
                  <a:cubicBezTo>
                    <a:pt x="3232309" y="284321"/>
                    <a:pt x="3233261" y="285274"/>
                    <a:pt x="3233261" y="286226"/>
                  </a:cubicBezTo>
                  <a:close/>
                  <a:moveTo>
                    <a:pt x="3222784" y="285274"/>
                  </a:moveTo>
                  <a:cubicBezTo>
                    <a:pt x="3222784" y="281464"/>
                    <a:pt x="3222784" y="277654"/>
                    <a:pt x="3223736" y="273844"/>
                  </a:cubicBezTo>
                  <a:cubicBezTo>
                    <a:pt x="3224689" y="271939"/>
                    <a:pt x="3224689" y="270034"/>
                    <a:pt x="3224689" y="270034"/>
                  </a:cubicBezTo>
                  <a:cubicBezTo>
                    <a:pt x="3224689" y="270034"/>
                    <a:pt x="3224689" y="270034"/>
                    <a:pt x="3224689" y="270986"/>
                  </a:cubicBezTo>
                  <a:cubicBezTo>
                    <a:pt x="3225641" y="265271"/>
                    <a:pt x="3226594" y="259556"/>
                    <a:pt x="3227546" y="253841"/>
                  </a:cubicBezTo>
                  <a:cubicBezTo>
                    <a:pt x="3227546" y="253841"/>
                    <a:pt x="3227546" y="253841"/>
                    <a:pt x="3227546" y="253841"/>
                  </a:cubicBezTo>
                  <a:cubicBezTo>
                    <a:pt x="3226594" y="264319"/>
                    <a:pt x="3225641" y="277654"/>
                    <a:pt x="3223736" y="292894"/>
                  </a:cubicBezTo>
                  <a:cubicBezTo>
                    <a:pt x="3223736" y="292894"/>
                    <a:pt x="3223736" y="291941"/>
                    <a:pt x="3222784" y="291941"/>
                  </a:cubicBezTo>
                  <a:cubicBezTo>
                    <a:pt x="3222784" y="291941"/>
                    <a:pt x="3222784" y="291941"/>
                    <a:pt x="3222784" y="290989"/>
                  </a:cubicBezTo>
                  <a:cubicBezTo>
                    <a:pt x="3221831" y="289084"/>
                    <a:pt x="3221831" y="287179"/>
                    <a:pt x="3222784" y="285274"/>
                  </a:cubicBezTo>
                  <a:close/>
                  <a:moveTo>
                    <a:pt x="3217069" y="207169"/>
                  </a:moveTo>
                  <a:cubicBezTo>
                    <a:pt x="3218021" y="210979"/>
                    <a:pt x="3218974" y="214789"/>
                    <a:pt x="3219926" y="219551"/>
                  </a:cubicBezTo>
                  <a:cubicBezTo>
                    <a:pt x="3218021" y="225266"/>
                    <a:pt x="3217069" y="231934"/>
                    <a:pt x="3215164" y="238601"/>
                  </a:cubicBezTo>
                  <a:cubicBezTo>
                    <a:pt x="3215164" y="226219"/>
                    <a:pt x="3217069" y="215741"/>
                    <a:pt x="3217069" y="207169"/>
                  </a:cubicBezTo>
                  <a:close/>
                  <a:moveTo>
                    <a:pt x="3191351" y="249079"/>
                  </a:moveTo>
                  <a:cubicBezTo>
                    <a:pt x="3191351" y="242411"/>
                    <a:pt x="3192304" y="236696"/>
                    <a:pt x="3192304" y="232886"/>
                  </a:cubicBezTo>
                  <a:cubicBezTo>
                    <a:pt x="3193256" y="234791"/>
                    <a:pt x="3193256" y="235744"/>
                    <a:pt x="3194209" y="238601"/>
                  </a:cubicBezTo>
                  <a:cubicBezTo>
                    <a:pt x="3193256" y="247174"/>
                    <a:pt x="3192304" y="255746"/>
                    <a:pt x="3191351" y="265271"/>
                  </a:cubicBezTo>
                  <a:cubicBezTo>
                    <a:pt x="3191351" y="258604"/>
                    <a:pt x="3191351" y="253841"/>
                    <a:pt x="3191351" y="249079"/>
                  </a:cubicBezTo>
                  <a:close/>
                  <a:moveTo>
                    <a:pt x="3155156" y="313849"/>
                  </a:moveTo>
                  <a:cubicBezTo>
                    <a:pt x="3155156" y="315754"/>
                    <a:pt x="3156109" y="317659"/>
                    <a:pt x="3156109" y="320516"/>
                  </a:cubicBezTo>
                  <a:cubicBezTo>
                    <a:pt x="3156109" y="325279"/>
                    <a:pt x="3157061" y="330041"/>
                    <a:pt x="3158014" y="334804"/>
                  </a:cubicBezTo>
                  <a:cubicBezTo>
                    <a:pt x="3157061" y="341471"/>
                    <a:pt x="3155156" y="348139"/>
                    <a:pt x="3154204" y="354806"/>
                  </a:cubicBezTo>
                  <a:cubicBezTo>
                    <a:pt x="3153251" y="353854"/>
                    <a:pt x="3153251" y="352901"/>
                    <a:pt x="3152299" y="351949"/>
                  </a:cubicBezTo>
                  <a:cubicBezTo>
                    <a:pt x="3152299" y="350996"/>
                    <a:pt x="3152299" y="350044"/>
                    <a:pt x="3152299" y="350044"/>
                  </a:cubicBezTo>
                  <a:cubicBezTo>
                    <a:pt x="3152299" y="348139"/>
                    <a:pt x="3151346" y="347186"/>
                    <a:pt x="3151346" y="345281"/>
                  </a:cubicBezTo>
                  <a:cubicBezTo>
                    <a:pt x="3151346" y="345281"/>
                    <a:pt x="3151346" y="344329"/>
                    <a:pt x="3151346" y="344329"/>
                  </a:cubicBezTo>
                  <a:lnTo>
                    <a:pt x="3151346" y="338614"/>
                  </a:lnTo>
                  <a:cubicBezTo>
                    <a:pt x="3151346" y="329089"/>
                    <a:pt x="3153251" y="321469"/>
                    <a:pt x="3155156" y="313849"/>
                  </a:cubicBezTo>
                  <a:close/>
                  <a:moveTo>
                    <a:pt x="3139916" y="213836"/>
                  </a:moveTo>
                  <a:cubicBezTo>
                    <a:pt x="3140869" y="220504"/>
                    <a:pt x="3142774" y="228124"/>
                    <a:pt x="3143726" y="235744"/>
                  </a:cubicBezTo>
                  <a:cubicBezTo>
                    <a:pt x="3145631" y="246221"/>
                    <a:pt x="3147536" y="256699"/>
                    <a:pt x="3148489" y="267176"/>
                  </a:cubicBezTo>
                  <a:cubicBezTo>
                    <a:pt x="3146584" y="272891"/>
                    <a:pt x="3145631" y="278606"/>
                    <a:pt x="3143726" y="284321"/>
                  </a:cubicBezTo>
                  <a:cubicBezTo>
                    <a:pt x="3140869" y="251936"/>
                    <a:pt x="3138964" y="228124"/>
                    <a:pt x="3137059" y="216694"/>
                  </a:cubicBezTo>
                  <a:cubicBezTo>
                    <a:pt x="3138011" y="215741"/>
                    <a:pt x="3138964" y="214789"/>
                    <a:pt x="3139916" y="213836"/>
                  </a:cubicBezTo>
                  <a:close/>
                  <a:moveTo>
                    <a:pt x="3130391" y="337661"/>
                  </a:moveTo>
                  <a:cubicBezTo>
                    <a:pt x="3130391" y="336709"/>
                    <a:pt x="3130391" y="336709"/>
                    <a:pt x="3130391" y="335756"/>
                  </a:cubicBezTo>
                  <a:cubicBezTo>
                    <a:pt x="3130391" y="335756"/>
                    <a:pt x="3130391" y="335756"/>
                    <a:pt x="3130391" y="335756"/>
                  </a:cubicBezTo>
                  <a:cubicBezTo>
                    <a:pt x="3130391" y="336709"/>
                    <a:pt x="3130391" y="336709"/>
                    <a:pt x="3130391" y="337661"/>
                  </a:cubicBezTo>
                  <a:close/>
                  <a:moveTo>
                    <a:pt x="3130391" y="328136"/>
                  </a:moveTo>
                  <a:cubicBezTo>
                    <a:pt x="3130391" y="328136"/>
                    <a:pt x="3130391" y="327184"/>
                    <a:pt x="3130391" y="328136"/>
                  </a:cubicBezTo>
                  <a:cubicBezTo>
                    <a:pt x="3130391" y="327184"/>
                    <a:pt x="3130391" y="328136"/>
                    <a:pt x="3130391" y="328136"/>
                  </a:cubicBezTo>
                  <a:cubicBezTo>
                    <a:pt x="3130391" y="328136"/>
                    <a:pt x="3130391" y="328136"/>
                    <a:pt x="3130391" y="328136"/>
                  </a:cubicBezTo>
                  <a:close/>
                  <a:moveTo>
                    <a:pt x="3133249" y="276701"/>
                  </a:moveTo>
                  <a:cubicBezTo>
                    <a:pt x="3133249" y="276701"/>
                    <a:pt x="3133249" y="275749"/>
                    <a:pt x="3133249" y="276701"/>
                  </a:cubicBezTo>
                  <a:cubicBezTo>
                    <a:pt x="3131344" y="270034"/>
                    <a:pt x="3129439" y="264319"/>
                    <a:pt x="3128486" y="259556"/>
                  </a:cubicBezTo>
                  <a:cubicBezTo>
                    <a:pt x="3128486" y="254794"/>
                    <a:pt x="3128486" y="250031"/>
                    <a:pt x="3127534" y="246221"/>
                  </a:cubicBezTo>
                  <a:cubicBezTo>
                    <a:pt x="3131344" y="235744"/>
                    <a:pt x="3134201" y="228124"/>
                    <a:pt x="3135154" y="223361"/>
                  </a:cubicBezTo>
                  <a:cubicBezTo>
                    <a:pt x="3135154" y="235744"/>
                    <a:pt x="3134201" y="253841"/>
                    <a:pt x="3133249" y="276701"/>
                  </a:cubicBezTo>
                  <a:close/>
                  <a:moveTo>
                    <a:pt x="3130391" y="229076"/>
                  </a:moveTo>
                  <a:cubicBezTo>
                    <a:pt x="3132296" y="225266"/>
                    <a:pt x="3134201" y="222409"/>
                    <a:pt x="3136106" y="219551"/>
                  </a:cubicBezTo>
                  <a:cubicBezTo>
                    <a:pt x="3136106" y="220504"/>
                    <a:pt x="3136106" y="220504"/>
                    <a:pt x="3136106" y="221456"/>
                  </a:cubicBezTo>
                  <a:cubicBezTo>
                    <a:pt x="3134201" y="224314"/>
                    <a:pt x="3131344" y="229076"/>
                    <a:pt x="3127534" y="236696"/>
                  </a:cubicBezTo>
                  <a:cubicBezTo>
                    <a:pt x="3127534" y="235744"/>
                    <a:pt x="3127534" y="235744"/>
                    <a:pt x="3127534" y="234791"/>
                  </a:cubicBezTo>
                  <a:cubicBezTo>
                    <a:pt x="3128486" y="232886"/>
                    <a:pt x="3129439" y="230981"/>
                    <a:pt x="3130391" y="229076"/>
                  </a:cubicBezTo>
                  <a:close/>
                  <a:moveTo>
                    <a:pt x="3114199" y="290036"/>
                  </a:moveTo>
                  <a:cubicBezTo>
                    <a:pt x="3114199" y="289084"/>
                    <a:pt x="3113246" y="288131"/>
                    <a:pt x="3113246" y="287179"/>
                  </a:cubicBezTo>
                  <a:cubicBezTo>
                    <a:pt x="3113246" y="287179"/>
                    <a:pt x="3113246" y="287179"/>
                    <a:pt x="3113246" y="286226"/>
                  </a:cubicBezTo>
                  <a:cubicBezTo>
                    <a:pt x="3114199" y="284321"/>
                    <a:pt x="3114199" y="283369"/>
                    <a:pt x="3115151" y="281464"/>
                  </a:cubicBezTo>
                  <a:cubicBezTo>
                    <a:pt x="3114199" y="284321"/>
                    <a:pt x="3114199" y="287179"/>
                    <a:pt x="3114199" y="290036"/>
                  </a:cubicBezTo>
                  <a:close/>
                  <a:moveTo>
                    <a:pt x="3115151" y="257651"/>
                  </a:moveTo>
                  <a:cubicBezTo>
                    <a:pt x="3115151" y="256699"/>
                    <a:pt x="3116104" y="256699"/>
                    <a:pt x="3116104" y="255746"/>
                  </a:cubicBezTo>
                  <a:cubicBezTo>
                    <a:pt x="3116104" y="256699"/>
                    <a:pt x="3116104" y="257651"/>
                    <a:pt x="3115151" y="257651"/>
                  </a:cubicBezTo>
                  <a:cubicBezTo>
                    <a:pt x="3114199" y="261461"/>
                    <a:pt x="3111341" y="265271"/>
                    <a:pt x="3109436" y="270034"/>
                  </a:cubicBezTo>
                  <a:cubicBezTo>
                    <a:pt x="3111341" y="266224"/>
                    <a:pt x="3113246" y="261461"/>
                    <a:pt x="3115151" y="257651"/>
                  </a:cubicBezTo>
                  <a:close/>
                  <a:moveTo>
                    <a:pt x="3110389" y="292894"/>
                  </a:moveTo>
                  <a:cubicBezTo>
                    <a:pt x="3111341" y="297656"/>
                    <a:pt x="3112294" y="302419"/>
                    <a:pt x="3113246" y="309086"/>
                  </a:cubicBezTo>
                  <a:cubicBezTo>
                    <a:pt x="3113246" y="310039"/>
                    <a:pt x="3113246" y="310991"/>
                    <a:pt x="3114199" y="311944"/>
                  </a:cubicBezTo>
                  <a:cubicBezTo>
                    <a:pt x="3114199" y="314801"/>
                    <a:pt x="3114199" y="317659"/>
                    <a:pt x="3114199" y="321469"/>
                  </a:cubicBezTo>
                  <a:cubicBezTo>
                    <a:pt x="3114199" y="321469"/>
                    <a:pt x="3114199" y="320516"/>
                    <a:pt x="3114199" y="319564"/>
                  </a:cubicBezTo>
                  <a:cubicBezTo>
                    <a:pt x="3113246" y="315754"/>
                    <a:pt x="3112294" y="312896"/>
                    <a:pt x="3110389" y="309086"/>
                  </a:cubicBezTo>
                  <a:cubicBezTo>
                    <a:pt x="3110389" y="306229"/>
                    <a:pt x="3109436" y="303371"/>
                    <a:pt x="3109436" y="300514"/>
                  </a:cubicBezTo>
                  <a:cubicBezTo>
                    <a:pt x="3109436" y="300514"/>
                    <a:pt x="3109436" y="299561"/>
                    <a:pt x="3109436" y="299561"/>
                  </a:cubicBezTo>
                  <a:cubicBezTo>
                    <a:pt x="3108484" y="297656"/>
                    <a:pt x="3109436" y="295751"/>
                    <a:pt x="3110389" y="292894"/>
                  </a:cubicBezTo>
                  <a:close/>
                  <a:moveTo>
                    <a:pt x="3098006" y="350996"/>
                  </a:moveTo>
                  <a:cubicBezTo>
                    <a:pt x="3098006" y="350996"/>
                    <a:pt x="3098006" y="350996"/>
                    <a:pt x="3098006" y="350996"/>
                  </a:cubicBezTo>
                  <a:cubicBezTo>
                    <a:pt x="3098006" y="351949"/>
                    <a:pt x="3098006" y="352901"/>
                    <a:pt x="3098006" y="353854"/>
                  </a:cubicBezTo>
                  <a:cubicBezTo>
                    <a:pt x="3098006" y="353854"/>
                    <a:pt x="3098006" y="353854"/>
                    <a:pt x="3097054" y="354806"/>
                  </a:cubicBezTo>
                  <a:cubicBezTo>
                    <a:pt x="3097054" y="353854"/>
                    <a:pt x="3098006" y="351949"/>
                    <a:pt x="3098006" y="350996"/>
                  </a:cubicBezTo>
                  <a:close/>
                  <a:moveTo>
                    <a:pt x="3093244" y="377666"/>
                  </a:moveTo>
                  <a:cubicBezTo>
                    <a:pt x="3095149" y="372904"/>
                    <a:pt x="3097054" y="370046"/>
                    <a:pt x="3097054" y="370046"/>
                  </a:cubicBezTo>
                  <a:cubicBezTo>
                    <a:pt x="3097054" y="370046"/>
                    <a:pt x="3096101" y="371951"/>
                    <a:pt x="3094196" y="373856"/>
                  </a:cubicBezTo>
                  <a:cubicBezTo>
                    <a:pt x="3095149" y="368141"/>
                    <a:pt x="3096101" y="361474"/>
                    <a:pt x="3097054" y="355759"/>
                  </a:cubicBezTo>
                  <a:cubicBezTo>
                    <a:pt x="3097054" y="354806"/>
                    <a:pt x="3098006" y="354806"/>
                    <a:pt x="3098006" y="353854"/>
                  </a:cubicBezTo>
                  <a:cubicBezTo>
                    <a:pt x="3098006" y="359569"/>
                    <a:pt x="3098006" y="366236"/>
                    <a:pt x="3098006" y="371951"/>
                  </a:cubicBezTo>
                  <a:cubicBezTo>
                    <a:pt x="3098006" y="375761"/>
                    <a:pt x="3098006" y="379571"/>
                    <a:pt x="3098006" y="383381"/>
                  </a:cubicBezTo>
                  <a:lnTo>
                    <a:pt x="3095149" y="383381"/>
                  </a:lnTo>
                  <a:cubicBezTo>
                    <a:pt x="3095149" y="383381"/>
                    <a:pt x="3095149" y="383381"/>
                    <a:pt x="3095149" y="383381"/>
                  </a:cubicBezTo>
                  <a:cubicBezTo>
                    <a:pt x="3094196" y="381476"/>
                    <a:pt x="3094196" y="379571"/>
                    <a:pt x="3093244" y="378619"/>
                  </a:cubicBezTo>
                  <a:cubicBezTo>
                    <a:pt x="3093244" y="379571"/>
                    <a:pt x="3093244" y="378619"/>
                    <a:pt x="3093244" y="377666"/>
                  </a:cubicBezTo>
                  <a:close/>
                  <a:moveTo>
                    <a:pt x="3084671" y="293846"/>
                  </a:moveTo>
                  <a:cubicBezTo>
                    <a:pt x="3084671" y="288131"/>
                    <a:pt x="3085624" y="282416"/>
                    <a:pt x="3085624" y="276701"/>
                  </a:cubicBezTo>
                  <a:cubicBezTo>
                    <a:pt x="3085624" y="277654"/>
                    <a:pt x="3085624" y="277654"/>
                    <a:pt x="3085624" y="278606"/>
                  </a:cubicBezTo>
                  <a:cubicBezTo>
                    <a:pt x="3086576" y="281464"/>
                    <a:pt x="3087529" y="285274"/>
                    <a:pt x="3088481" y="289084"/>
                  </a:cubicBezTo>
                  <a:cubicBezTo>
                    <a:pt x="3087529" y="290036"/>
                    <a:pt x="3087529" y="290989"/>
                    <a:pt x="3086576" y="291941"/>
                  </a:cubicBezTo>
                  <a:cubicBezTo>
                    <a:pt x="3085624" y="292894"/>
                    <a:pt x="3084671" y="294799"/>
                    <a:pt x="3084671" y="296704"/>
                  </a:cubicBezTo>
                  <a:cubicBezTo>
                    <a:pt x="3084671" y="294799"/>
                    <a:pt x="3084671" y="294799"/>
                    <a:pt x="3084671" y="293846"/>
                  </a:cubicBezTo>
                  <a:close/>
                  <a:moveTo>
                    <a:pt x="3086576" y="348139"/>
                  </a:moveTo>
                  <a:cubicBezTo>
                    <a:pt x="3086576" y="349091"/>
                    <a:pt x="3086576" y="349091"/>
                    <a:pt x="3086576" y="350044"/>
                  </a:cubicBezTo>
                  <a:cubicBezTo>
                    <a:pt x="3085624" y="353854"/>
                    <a:pt x="3084671" y="357664"/>
                    <a:pt x="3083719" y="361474"/>
                  </a:cubicBezTo>
                  <a:cubicBezTo>
                    <a:pt x="3083719" y="360521"/>
                    <a:pt x="3083719" y="358616"/>
                    <a:pt x="3083719" y="357664"/>
                  </a:cubicBezTo>
                  <a:cubicBezTo>
                    <a:pt x="3084671" y="353854"/>
                    <a:pt x="3085624" y="350996"/>
                    <a:pt x="3086576" y="348139"/>
                  </a:cubicBezTo>
                  <a:close/>
                  <a:moveTo>
                    <a:pt x="3057049" y="235744"/>
                  </a:moveTo>
                  <a:cubicBezTo>
                    <a:pt x="3058001" y="227171"/>
                    <a:pt x="3058954" y="218599"/>
                    <a:pt x="3059906" y="210979"/>
                  </a:cubicBezTo>
                  <a:cubicBezTo>
                    <a:pt x="3060859" y="204311"/>
                    <a:pt x="3061811" y="197644"/>
                    <a:pt x="3062764" y="191929"/>
                  </a:cubicBezTo>
                  <a:cubicBezTo>
                    <a:pt x="3063716" y="195739"/>
                    <a:pt x="3065621" y="201454"/>
                    <a:pt x="3067526" y="209074"/>
                  </a:cubicBezTo>
                  <a:cubicBezTo>
                    <a:pt x="3067526" y="213836"/>
                    <a:pt x="3066574" y="217646"/>
                    <a:pt x="3066574" y="222409"/>
                  </a:cubicBezTo>
                  <a:cubicBezTo>
                    <a:pt x="3065621" y="231934"/>
                    <a:pt x="3064669" y="242411"/>
                    <a:pt x="3063716" y="253841"/>
                  </a:cubicBezTo>
                  <a:cubicBezTo>
                    <a:pt x="3062764" y="258604"/>
                    <a:pt x="3060859" y="263366"/>
                    <a:pt x="3059906" y="268129"/>
                  </a:cubicBezTo>
                  <a:cubicBezTo>
                    <a:pt x="3058954" y="262414"/>
                    <a:pt x="3058001" y="257651"/>
                    <a:pt x="3057049" y="252889"/>
                  </a:cubicBezTo>
                  <a:cubicBezTo>
                    <a:pt x="3057049" y="250984"/>
                    <a:pt x="3056096" y="250031"/>
                    <a:pt x="3056096" y="248126"/>
                  </a:cubicBezTo>
                  <a:cubicBezTo>
                    <a:pt x="3056096" y="244316"/>
                    <a:pt x="3056096" y="239554"/>
                    <a:pt x="3057049" y="235744"/>
                  </a:cubicBezTo>
                  <a:close/>
                  <a:moveTo>
                    <a:pt x="3002756" y="307181"/>
                  </a:moveTo>
                  <a:cubicBezTo>
                    <a:pt x="3002756" y="308134"/>
                    <a:pt x="3001804" y="309086"/>
                    <a:pt x="3001804" y="310039"/>
                  </a:cubicBezTo>
                  <a:cubicBezTo>
                    <a:pt x="3001804" y="308134"/>
                    <a:pt x="3002756" y="307181"/>
                    <a:pt x="3002756" y="305276"/>
                  </a:cubicBezTo>
                  <a:cubicBezTo>
                    <a:pt x="3004661" y="298609"/>
                    <a:pt x="3005614" y="292894"/>
                    <a:pt x="3006566" y="286226"/>
                  </a:cubicBezTo>
                  <a:cubicBezTo>
                    <a:pt x="3007519" y="287179"/>
                    <a:pt x="3007519" y="289084"/>
                    <a:pt x="3008471" y="290036"/>
                  </a:cubicBezTo>
                  <a:cubicBezTo>
                    <a:pt x="3006566" y="295751"/>
                    <a:pt x="3004661" y="301466"/>
                    <a:pt x="3002756" y="307181"/>
                  </a:cubicBezTo>
                  <a:close/>
                  <a:moveTo>
                    <a:pt x="3036094" y="249079"/>
                  </a:moveTo>
                  <a:cubicBezTo>
                    <a:pt x="3036094" y="254794"/>
                    <a:pt x="3036094" y="260509"/>
                    <a:pt x="3036094" y="266224"/>
                  </a:cubicBezTo>
                  <a:cubicBezTo>
                    <a:pt x="3035141" y="263366"/>
                    <a:pt x="3034189" y="260509"/>
                    <a:pt x="3033236" y="258604"/>
                  </a:cubicBezTo>
                  <a:cubicBezTo>
                    <a:pt x="3034189" y="255746"/>
                    <a:pt x="3035141" y="252889"/>
                    <a:pt x="3036094" y="249079"/>
                  </a:cubicBezTo>
                  <a:close/>
                  <a:moveTo>
                    <a:pt x="3030379" y="269081"/>
                  </a:moveTo>
                  <a:cubicBezTo>
                    <a:pt x="3030379" y="269081"/>
                    <a:pt x="3030379" y="270034"/>
                    <a:pt x="3030379" y="269081"/>
                  </a:cubicBezTo>
                  <a:cubicBezTo>
                    <a:pt x="3030379" y="270034"/>
                    <a:pt x="3030379" y="270034"/>
                    <a:pt x="3030379" y="269081"/>
                  </a:cubicBezTo>
                  <a:cubicBezTo>
                    <a:pt x="3030379" y="269081"/>
                    <a:pt x="3030379" y="269081"/>
                    <a:pt x="3030379" y="269081"/>
                  </a:cubicBezTo>
                  <a:close/>
                  <a:moveTo>
                    <a:pt x="3027521" y="353854"/>
                  </a:moveTo>
                  <a:cubicBezTo>
                    <a:pt x="3026569" y="356711"/>
                    <a:pt x="3024664" y="360521"/>
                    <a:pt x="3023711" y="364331"/>
                  </a:cubicBezTo>
                  <a:cubicBezTo>
                    <a:pt x="3021806" y="370046"/>
                    <a:pt x="3019901" y="376714"/>
                    <a:pt x="3017996" y="383381"/>
                  </a:cubicBezTo>
                  <a:cubicBezTo>
                    <a:pt x="3017996" y="384334"/>
                    <a:pt x="3017044" y="384334"/>
                    <a:pt x="3017044" y="385286"/>
                  </a:cubicBezTo>
                  <a:cubicBezTo>
                    <a:pt x="3016091" y="382429"/>
                    <a:pt x="3015139" y="379571"/>
                    <a:pt x="3015139" y="376714"/>
                  </a:cubicBezTo>
                  <a:cubicBezTo>
                    <a:pt x="3017044" y="372904"/>
                    <a:pt x="3018949" y="370046"/>
                    <a:pt x="3020854" y="366236"/>
                  </a:cubicBezTo>
                  <a:cubicBezTo>
                    <a:pt x="3023711" y="361474"/>
                    <a:pt x="3025616" y="357664"/>
                    <a:pt x="3028474" y="352901"/>
                  </a:cubicBezTo>
                  <a:cubicBezTo>
                    <a:pt x="3027521" y="352901"/>
                    <a:pt x="3027521" y="353854"/>
                    <a:pt x="3027521" y="353854"/>
                  </a:cubicBezTo>
                  <a:close/>
                  <a:moveTo>
                    <a:pt x="3021806" y="230029"/>
                  </a:moveTo>
                  <a:cubicBezTo>
                    <a:pt x="3022759" y="231934"/>
                    <a:pt x="3022759" y="235744"/>
                    <a:pt x="3024664" y="241459"/>
                  </a:cubicBezTo>
                  <a:cubicBezTo>
                    <a:pt x="3024664" y="241459"/>
                    <a:pt x="3024664" y="241459"/>
                    <a:pt x="3024664" y="241459"/>
                  </a:cubicBezTo>
                  <a:cubicBezTo>
                    <a:pt x="3022759" y="237649"/>
                    <a:pt x="3022759" y="233839"/>
                    <a:pt x="3021806" y="230029"/>
                  </a:cubicBezTo>
                  <a:cubicBezTo>
                    <a:pt x="3021806" y="230029"/>
                    <a:pt x="3021806" y="230029"/>
                    <a:pt x="3021806" y="230029"/>
                  </a:cubicBezTo>
                  <a:close/>
                  <a:moveTo>
                    <a:pt x="3020854" y="305276"/>
                  </a:moveTo>
                  <a:cubicBezTo>
                    <a:pt x="3020854" y="305276"/>
                    <a:pt x="3020854" y="305276"/>
                    <a:pt x="3020854" y="305276"/>
                  </a:cubicBezTo>
                  <a:cubicBezTo>
                    <a:pt x="3020854" y="306229"/>
                    <a:pt x="3020854" y="305276"/>
                    <a:pt x="3020854" y="305276"/>
                  </a:cubicBezTo>
                  <a:cubicBezTo>
                    <a:pt x="3020854" y="305276"/>
                    <a:pt x="3020854" y="305276"/>
                    <a:pt x="3020854" y="305276"/>
                  </a:cubicBezTo>
                  <a:close/>
                  <a:moveTo>
                    <a:pt x="3017996" y="317659"/>
                  </a:moveTo>
                  <a:cubicBezTo>
                    <a:pt x="3018949" y="321469"/>
                    <a:pt x="3020854" y="325279"/>
                    <a:pt x="3021806" y="329089"/>
                  </a:cubicBezTo>
                  <a:cubicBezTo>
                    <a:pt x="3022759" y="332899"/>
                    <a:pt x="3023711" y="336709"/>
                    <a:pt x="3025616" y="339566"/>
                  </a:cubicBezTo>
                  <a:cubicBezTo>
                    <a:pt x="3020854" y="345281"/>
                    <a:pt x="3016091" y="351949"/>
                    <a:pt x="3011329" y="359569"/>
                  </a:cubicBezTo>
                  <a:cubicBezTo>
                    <a:pt x="3011329" y="359569"/>
                    <a:pt x="3011329" y="359569"/>
                    <a:pt x="3011329" y="360521"/>
                  </a:cubicBezTo>
                  <a:cubicBezTo>
                    <a:pt x="3010376" y="357664"/>
                    <a:pt x="3009424" y="354806"/>
                    <a:pt x="3009424" y="351949"/>
                  </a:cubicBezTo>
                  <a:cubicBezTo>
                    <a:pt x="3011329" y="340519"/>
                    <a:pt x="3015139" y="329089"/>
                    <a:pt x="3017996" y="317659"/>
                  </a:cubicBezTo>
                  <a:close/>
                  <a:moveTo>
                    <a:pt x="3013234" y="257651"/>
                  </a:moveTo>
                  <a:cubicBezTo>
                    <a:pt x="3013234" y="258604"/>
                    <a:pt x="3013234" y="259556"/>
                    <a:pt x="3014186" y="261461"/>
                  </a:cubicBezTo>
                  <a:cubicBezTo>
                    <a:pt x="3014186" y="263366"/>
                    <a:pt x="3015139" y="266224"/>
                    <a:pt x="3015139" y="269081"/>
                  </a:cubicBezTo>
                  <a:cubicBezTo>
                    <a:pt x="3013234" y="273844"/>
                    <a:pt x="3012281" y="279559"/>
                    <a:pt x="3010376" y="284321"/>
                  </a:cubicBezTo>
                  <a:cubicBezTo>
                    <a:pt x="3010376" y="283369"/>
                    <a:pt x="3009424" y="283369"/>
                    <a:pt x="3009424" y="282416"/>
                  </a:cubicBezTo>
                  <a:cubicBezTo>
                    <a:pt x="3009424" y="281464"/>
                    <a:pt x="3008471" y="280511"/>
                    <a:pt x="3008471" y="279559"/>
                  </a:cubicBezTo>
                  <a:cubicBezTo>
                    <a:pt x="3008471" y="278606"/>
                    <a:pt x="3008471" y="277654"/>
                    <a:pt x="3009424" y="276701"/>
                  </a:cubicBezTo>
                  <a:cubicBezTo>
                    <a:pt x="3010376" y="270034"/>
                    <a:pt x="3011329" y="263366"/>
                    <a:pt x="3013234" y="257651"/>
                  </a:cubicBezTo>
                  <a:close/>
                  <a:moveTo>
                    <a:pt x="3008471" y="230029"/>
                  </a:moveTo>
                  <a:cubicBezTo>
                    <a:pt x="3009424" y="234791"/>
                    <a:pt x="3010376" y="239554"/>
                    <a:pt x="3010376" y="244316"/>
                  </a:cubicBezTo>
                  <a:cubicBezTo>
                    <a:pt x="3009424" y="246221"/>
                    <a:pt x="3008471" y="249079"/>
                    <a:pt x="3007519" y="250984"/>
                  </a:cubicBezTo>
                  <a:cubicBezTo>
                    <a:pt x="3005614" y="254794"/>
                    <a:pt x="3003709" y="259556"/>
                    <a:pt x="3001804" y="264319"/>
                  </a:cubicBezTo>
                  <a:cubicBezTo>
                    <a:pt x="3003709" y="251936"/>
                    <a:pt x="3005614" y="240506"/>
                    <a:pt x="3008471" y="230029"/>
                  </a:cubicBezTo>
                  <a:close/>
                  <a:moveTo>
                    <a:pt x="3003709" y="195739"/>
                  </a:moveTo>
                  <a:cubicBezTo>
                    <a:pt x="3003709" y="198596"/>
                    <a:pt x="3004661" y="202406"/>
                    <a:pt x="3004661" y="205264"/>
                  </a:cubicBezTo>
                  <a:cubicBezTo>
                    <a:pt x="3002756" y="210979"/>
                    <a:pt x="3000851" y="216694"/>
                    <a:pt x="2997994" y="223361"/>
                  </a:cubicBezTo>
                  <a:cubicBezTo>
                    <a:pt x="2993231" y="235744"/>
                    <a:pt x="2990374" y="248126"/>
                    <a:pt x="2986564" y="262414"/>
                  </a:cubicBezTo>
                  <a:cubicBezTo>
                    <a:pt x="2985611" y="265271"/>
                    <a:pt x="2985611" y="268129"/>
                    <a:pt x="2984659" y="270986"/>
                  </a:cubicBezTo>
                  <a:cubicBezTo>
                    <a:pt x="2984659" y="270986"/>
                    <a:pt x="2984659" y="270986"/>
                    <a:pt x="2984659" y="270986"/>
                  </a:cubicBezTo>
                  <a:cubicBezTo>
                    <a:pt x="2991326" y="243364"/>
                    <a:pt x="2997994" y="218599"/>
                    <a:pt x="3003709" y="195739"/>
                  </a:cubicBezTo>
                  <a:close/>
                  <a:moveTo>
                    <a:pt x="2974181" y="311944"/>
                  </a:moveTo>
                  <a:cubicBezTo>
                    <a:pt x="2976086" y="302419"/>
                    <a:pt x="2978944" y="292894"/>
                    <a:pt x="2980849" y="284321"/>
                  </a:cubicBezTo>
                  <a:cubicBezTo>
                    <a:pt x="2980849" y="284321"/>
                    <a:pt x="2980849" y="285274"/>
                    <a:pt x="2980849" y="285274"/>
                  </a:cubicBezTo>
                  <a:cubicBezTo>
                    <a:pt x="2978944" y="291941"/>
                    <a:pt x="2977991" y="299561"/>
                    <a:pt x="2976086" y="307181"/>
                  </a:cubicBezTo>
                  <a:cubicBezTo>
                    <a:pt x="2975134" y="313849"/>
                    <a:pt x="2973229" y="320516"/>
                    <a:pt x="2972276" y="327184"/>
                  </a:cubicBezTo>
                  <a:cubicBezTo>
                    <a:pt x="2971324" y="325279"/>
                    <a:pt x="2971324" y="324326"/>
                    <a:pt x="2970371" y="322421"/>
                  </a:cubicBezTo>
                  <a:cubicBezTo>
                    <a:pt x="2972276" y="318611"/>
                    <a:pt x="2973229" y="314801"/>
                    <a:pt x="2974181" y="311944"/>
                  </a:cubicBezTo>
                  <a:close/>
                  <a:moveTo>
                    <a:pt x="2964656" y="349091"/>
                  </a:moveTo>
                  <a:cubicBezTo>
                    <a:pt x="2965609" y="344329"/>
                    <a:pt x="2967514" y="339566"/>
                    <a:pt x="2968466" y="334804"/>
                  </a:cubicBezTo>
                  <a:cubicBezTo>
                    <a:pt x="2969419" y="337661"/>
                    <a:pt x="2970371" y="341471"/>
                    <a:pt x="2970371" y="344329"/>
                  </a:cubicBezTo>
                  <a:cubicBezTo>
                    <a:pt x="2970371" y="347186"/>
                    <a:pt x="2969419" y="350996"/>
                    <a:pt x="2969419" y="353854"/>
                  </a:cubicBezTo>
                  <a:cubicBezTo>
                    <a:pt x="2968466" y="361474"/>
                    <a:pt x="2967514" y="369094"/>
                    <a:pt x="2966561" y="377666"/>
                  </a:cubicBezTo>
                  <a:cubicBezTo>
                    <a:pt x="2965609" y="373856"/>
                    <a:pt x="2964656" y="369094"/>
                    <a:pt x="2963704" y="366236"/>
                  </a:cubicBezTo>
                  <a:cubicBezTo>
                    <a:pt x="2967514" y="350996"/>
                    <a:pt x="2969419" y="341471"/>
                    <a:pt x="2969419" y="341471"/>
                  </a:cubicBezTo>
                  <a:cubicBezTo>
                    <a:pt x="2969419" y="341471"/>
                    <a:pt x="2967514" y="344329"/>
                    <a:pt x="2964656" y="349091"/>
                  </a:cubicBezTo>
                  <a:close/>
                  <a:moveTo>
                    <a:pt x="2958941" y="383381"/>
                  </a:moveTo>
                  <a:cubicBezTo>
                    <a:pt x="2958941" y="383381"/>
                    <a:pt x="2958941" y="384334"/>
                    <a:pt x="2958941" y="383381"/>
                  </a:cubicBezTo>
                  <a:cubicBezTo>
                    <a:pt x="2958941" y="384334"/>
                    <a:pt x="2958941" y="384334"/>
                    <a:pt x="2958941" y="383381"/>
                  </a:cubicBezTo>
                  <a:cubicBezTo>
                    <a:pt x="2958941" y="384334"/>
                    <a:pt x="2958941" y="384334"/>
                    <a:pt x="2958941" y="383381"/>
                  </a:cubicBezTo>
                  <a:cubicBezTo>
                    <a:pt x="2958941" y="384334"/>
                    <a:pt x="2958941" y="383381"/>
                    <a:pt x="2958941" y="383381"/>
                  </a:cubicBezTo>
                  <a:close/>
                  <a:moveTo>
                    <a:pt x="2936081" y="284321"/>
                  </a:moveTo>
                  <a:cubicBezTo>
                    <a:pt x="2935129" y="280511"/>
                    <a:pt x="2935129" y="277654"/>
                    <a:pt x="2934176" y="273844"/>
                  </a:cubicBezTo>
                  <a:cubicBezTo>
                    <a:pt x="2935129" y="272891"/>
                    <a:pt x="2935129" y="271939"/>
                    <a:pt x="2936081" y="271939"/>
                  </a:cubicBezTo>
                  <a:cubicBezTo>
                    <a:pt x="2936081" y="276701"/>
                    <a:pt x="2936081" y="280511"/>
                    <a:pt x="2936081" y="284321"/>
                  </a:cubicBezTo>
                  <a:close/>
                  <a:moveTo>
                    <a:pt x="2936081" y="267176"/>
                  </a:moveTo>
                  <a:cubicBezTo>
                    <a:pt x="2936081" y="267176"/>
                    <a:pt x="2936081" y="267176"/>
                    <a:pt x="2936081" y="267176"/>
                  </a:cubicBezTo>
                  <a:cubicBezTo>
                    <a:pt x="2935129" y="268129"/>
                    <a:pt x="2935129" y="268129"/>
                    <a:pt x="2934176" y="269081"/>
                  </a:cubicBezTo>
                  <a:cubicBezTo>
                    <a:pt x="2935129" y="268129"/>
                    <a:pt x="2935129" y="266224"/>
                    <a:pt x="2936081" y="265271"/>
                  </a:cubicBezTo>
                  <a:cubicBezTo>
                    <a:pt x="2935129" y="265271"/>
                    <a:pt x="2936081" y="266224"/>
                    <a:pt x="2936081" y="267176"/>
                  </a:cubicBezTo>
                  <a:close/>
                  <a:moveTo>
                    <a:pt x="2929414" y="243364"/>
                  </a:moveTo>
                  <a:lnTo>
                    <a:pt x="2930366" y="243364"/>
                  </a:lnTo>
                  <a:lnTo>
                    <a:pt x="2933224" y="244316"/>
                  </a:lnTo>
                  <a:cubicBezTo>
                    <a:pt x="2933224" y="248126"/>
                    <a:pt x="2934176" y="251936"/>
                    <a:pt x="2934176" y="255746"/>
                  </a:cubicBezTo>
                  <a:cubicBezTo>
                    <a:pt x="2933224" y="257651"/>
                    <a:pt x="2932271" y="259556"/>
                    <a:pt x="2931319" y="261461"/>
                  </a:cubicBezTo>
                  <a:cubicBezTo>
                    <a:pt x="2930366" y="256699"/>
                    <a:pt x="2929414" y="251936"/>
                    <a:pt x="2927509" y="248126"/>
                  </a:cubicBezTo>
                  <a:cubicBezTo>
                    <a:pt x="2928461" y="246221"/>
                    <a:pt x="2929414" y="245269"/>
                    <a:pt x="2929414" y="243364"/>
                  </a:cubicBezTo>
                  <a:close/>
                  <a:moveTo>
                    <a:pt x="2917984" y="351949"/>
                  </a:moveTo>
                  <a:cubicBezTo>
                    <a:pt x="2917984" y="352901"/>
                    <a:pt x="2917984" y="352901"/>
                    <a:pt x="2918936" y="353854"/>
                  </a:cubicBezTo>
                  <a:cubicBezTo>
                    <a:pt x="2918936" y="356711"/>
                    <a:pt x="2919889" y="360521"/>
                    <a:pt x="2919889" y="363379"/>
                  </a:cubicBezTo>
                  <a:cubicBezTo>
                    <a:pt x="2920841" y="369094"/>
                    <a:pt x="2921794" y="374809"/>
                    <a:pt x="2922746" y="380524"/>
                  </a:cubicBezTo>
                  <a:cubicBezTo>
                    <a:pt x="2921794" y="380524"/>
                    <a:pt x="2921794" y="380524"/>
                    <a:pt x="2920841" y="380524"/>
                  </a:cubicBezTo>
                  <a:cubicBezTo>
                    <a:pt x="2918936" y="374809"/>
                    <a:pt x="2916079" y="368141"/>
                    <a:pt x="2913221" y="362426"/>
                  </a:cubicBezTo>
                  <a:cubicBezTo>
                    <a:pt x="2914174" y="358616"/>
                    <a:pt x="2916079" y="355759"/>
                    <a:pt x="2917984" y="351949"/>
                  </a:cubicBezTo>
                  <a:close/>
                  <a:moveTo>
                    <a:pt x="2904649" y="224314"/>
                  </a:moveTo>
                  <a:cubicBezTo>
                    <a:pt x="2904649" y="224314"/>
                    <a:pt x="2904649" y="224314"/>
                    <a:pt x="2904649" y="224314"/>
                  </a:cubicBezTo>
                  <a:cubicBezTo>
                    <a:pt x="2904649" y="228124"/>
                    <a:pt x="2903696" y="232886"/>
                    <a:pt x="2903696" y="237649"/>
                  </a:cubicBezTo>
                  <a:cubicBezTo>
                    <a:pt x="2903696" y="241459"/>
                    <a:pt x="2902744" y="245269"/>
                    <a:pt x="2902744" y="250031"/>
                  </a:cubicBezTo>
                  <a:cubicBezTo>
                    <a:pt x="2901791" y="245269"/>
                    <a:pt x="2901791" y="240506"/>
                    <a:pt x="2900839" y="235744"/>
                  </a:cubicBezTo>
                  <a:cubicBezTo>
                    <a:pt x="2901791" y="231934"/>
                    <a:pt x="2902744" y="228124"/>
                    <a:pt x="2904649" y="224314"/>
                  </a:cubicBezTo>
                  <a:close/>
                  <a:moveTo>
                    <a:pt x="2885599" y="294799"/>
                  </a:moveTo>
                  <a:cubicBezTo>
                    <a:pt x="2886551" y="290036"/>
                    <a:pt x="2887504" y="285274"/>
                    <a:pt x="2888456" y="280511"/>
                  </a:cubicBezTo>
                  <a:cubicBezTo>
                    <a:pt x="2888456" y="289084"/>
                    <a:pt x="2889409" y="298609"/>
                    <a:pt x="2889409" y="308134"/>
                  </a:cubicBezTo>
                  <a:cubicBezTo>
                    <a:pt x="2887504" y="304324"/>
                    <a:pt x="2886551" y="301466"/>
                    <a:pt x="2884646" y="297656"/>
                  </a:cubicBezTo>
                  <a:cubicBezTo>
                    <a:pt x="2884646" y="296704"/>
                    <a:pt x="2885599" y="295751"/>
                    <a:pt x="2885599" y="294799"/>
                  </a:cubicBezTo>
                  <a:close/>
                  <a:moveTo>
                    <a:pt x="2869406" y="301466"/>
                  </a:moveTo>
                  <a:cubicBezTo>
                    <a:pt x="2869406" y="302419"/>
                    <a:pt x="2869406" y="302419"/>
                    <a:pt x="2869406" y="301466"/>
                  </a:cubicBezTo>
                  <a:cubicBezTo>
                    <a:pt x="2869406" y="302419"/>
                    <a:pt x="2869406" y="302419"/>
                    <a:pt x="2869406" y="302419"/>
                  </a:cubicBezTo>
                  <a:cubicBezTo>
                    <a:pt x="2869406" y="303371"/>
                    <a:pt x="2868454" y="304324"/>
                    <a:pt x="2868454" y="305276"/>
                  </a:cubicBezTo>
                  <a:cubicBezTo>
                    <a:pt x="2864644" y="298609"/>
                    <a:pt x="2860834" y="290989"/>
                    <a:pt x="2856071" y="284321"/>
                  </a:cubicBezTo>
                  <a:cubicBezTo>
                    <a:pt x="2856071" y="283369"/>
                    <a:pt x="2855119" y="283369"/>
                    <a:pt x="2855119" y="282416"/>
                  </a:cubicBezTo>
                  <a:cubicBezTo>
                    <a:pt x="2856071" y="279559"/>
                    <a:pt x="2857024" y="276701"/>
                    <a:pt x="2857976" y="273844"/>
                  </a:cubicBezTo>
                  <a:cubicBezTo>
                    <a:pt x="2861786" y="283369"/>
                    <a:pt x="2865596" y="292894"/>
                    <a:pt x="2869406" y="301466"/>
                  </a:cubicBezTo>
                  <a:close/>
                  <a:moveTo>
                    <a:pt x="2851309" y="262414"/>
                  </a:moveTo>
                  <a:cubicBezTo>
                    <a:pt x="2851309" y="261461"/>
                    <a:pt x="2851309" y="260509"/>
                    <a:pt x="2851309" y="259556"/>
                  </a:cubicBezTo>
                  <a:cubicBezTo>
                    <a:pt x="2852261" y="262414"/>
                    <a:pt x="2853214" y="264319"/>
                    <a:pt x="2855119" y="267176"/>
                  </a:cubicBezTo>
                  <a:cubicBezTo>
                    <a:pt x="2855119" y="268129"/>
                    <a:pt x="2856071" y="268129"/>
                    <a:pt x="2856071" y="269081"/>
                  </a:cubicBezTo>
                  <a:cubicBezTo>
                    <a:pt x="2855119" y="270986"/>
                    <a:pt x="2853214" y="273844"/>
                    <a:pt x="2851309" y="276701"/>
                  </a:cubicBezTo>
                  <a:cubicBezTo>
                    <a:pt x="2851309" y="275749"/>
                    <a:pt x="2850356" y="275749"/>
                    <a:pt x="2850356" y="274796"/>
                  </a:cubicBezTo>
                  <a:cubicBezTo>
                    <a:pt x="2850356" y="270986"/>
                    <a:pt x="2851309" y="267176"/>
                    <a:pt x="2851309" y="262414"/>
                  </a:cubicBezTo>
                  <a:close/>
                  <a:moveTo>
                    <a:pt x="2848451" y="312896"/>
                  </a:moveTo>
                  <a:cubicBezTo>
                    <a:pt x="2848451" y="309086"/>
                    <a:pt x="2848451" y="306229"/>
                    <a:pt x="2848451" y="302419"/>
                  </a:cubicBezTo>
                  <a:cubicBezTo>
                    <a:pt x="2852261" y="310039"/>
                    <a:pt x="2857024" y="318611"/>
                    <a:pt x="2860834" y="327184"/>
                  </a:cubicBezTo>
                  <a:cubicBezTo>
                    <a:pt x="2858929" y="332899"/>
                    <a:pt x="2857024" y="338614"/>
                    <a:pt x="2856071" y="344329"/>
                  </a:cubicBezTo>
                  <a:cubicBezTo>
                    <a:pt x="2855119" y="348139"/>
                    <a:pt x="2854166" y="351949"/>
                    <a:pt x="2853214" y="355759"/>
                  </a:cubicBezTo>
                  <a:cubicBezTo>
                    <a:pt x="2852261" y="350996"/>
                    <a:pt x="2852261" y="346234"/>
                    <a:pt x="2851309" y="341471"/>
                  </a:cubicBezTo>
                  <a:cubicBezTo>
                    <a:pt x="2850356" y="332899"/>
                    <a:pt x="2849404" y="324326"/>
                    <a:pt x="2847499" y="316706"/>
                  </a:cubicBezTo>
                  <a:cubicBezTo>
                    <a:pt x="2848451" y="315754"/>
                    <a:pt x="2848451" y="313849"/>
                    <a:pt x="2848451" y="312896"/>
                  </a:cubicBezTo>
                  <a:close/>
                  <a:moveTo>
                    <a:pt x="2836069" y="226219"/>
                  </a:moveTo>
                  <a:cubicBezTo>
                    <a:pt x="2839879" y="234791"/>
                    <a:pt x="2843689" y="243364"/>
                    <a:pt x="2847499" y="251936"/>
                  </a:cubicBezTo>
                  <a:cubicBezTo>
                    <a:pt x="2846546" y="254794"/>
                    <a:pt x="2845594" y="257651"/>
                    <a:pt x="2844641" y="261461"/>
                  </a:cubicBezTo>
                  <a:cubicBezTo>
                    <a:pt x="2844641" y="262414"/>
                    <a:pt x="2843689" y="264319"/>
                    <a:pt x="2843689" y="266224"/>
                  </a:cubicBezTo>
                  <a:cubicBezTo>
                    <a:pt x="2841784" y="263366"/>
                    <a:pt x="2840831" y="261461"/>
                    <a:pt x="2838926" y="258604"/>
                  </a:cubicBezTo>
                  <a:cubicBezTo>
                    <a:pt x="2837974" y="249079"/>
                    <a:pt x="2836069" y="238601"/>
                    <a:pt x="2834164" y="229076"/>
                  </a:cubicBezTo>
                  <a:cubicBezTo>
                    <a:pt x="2836069" y="228124"/>
                    <a:pt x="2836069" y="227171"/>
                    <a:pt x="2836069" y="226219"/>
                  </a:cubicBezTo>
                  <a:close/>
                  <a:moveTo>
                    <a:pt x="2830354" y="305276"/>
                  </a:moveTo>
                  <a:cubicBezTo>
                    <a:pt x="2830354" y="308134"/>
                    <a:pt x="2830354" y="310039"/>
                    <a:pt x="2831306" y="312896"/>
                  </a:cubicBezTo>
                  <a:cubicBezTo>
                    <a:pt x="2831306" y="312896"/>
                    <a:pt x="2831306" y="312896"/>
                    <a:pt x="2831306" y="313849"/>
                  </a:cubicBezTo>
                  <a:cubicBezTo>
                    <a:pt x="2831306" y="311944"/>
                    <a:pt x="2831306" y="310039"/>
                    <a:pt x="2830354" y="308134"/>
                  </a:cubicBezTo>
                  <a:cubicBezTo>
                    <a:pt x="2830354" y="307181"/>
                    <a:pt x="2830354" y="306229"/>
                    <a:pt x="2830354" y="305276"/>
                  </a:cubicBezTo>
                  <a:close/>
                  <a:moveTo>
                    <a:pt x="2829401" y="292894"/>
                  </a:moveTo>
                  <a:cubicBezTo>
                    <a:pt x="2829401" y="294799"/>
                    <a:pt x="2829401" y="296704"/>
                    <a:pt x="2830354" y="299561"/>
                  </a:cubicBezTo>
                  <a:cubicBezTo>
                    <a:pt x="2830354" y="300514"/>
                    <a:pt x="2830354" y="300514"/>
                    <a:pt x="2829401" y="301466"/>
                  </a:cubicBezTo>
                  <a:cubicBezTo>
                    <a:pt x="2829401" y="300514"/>
                    <a:pt x="2829401" y="300514"/>
                    <a:pt x="2829401" y="299561"/>
                  </a:cubicBezTo>
                  <a:cubicBezTo>
                    <a:pt x="2828449" y="296704"/>
                    <a:pt x="2828449" y="294799"/>
                    <a:pt x="2829401" y="292894"/>
                  </a:cubicBezTo>
                  <a:close/>
                  <a:moveTo>
                    <a:pt x="2785586" y="268129"/>
                  </a:moveTo>
                  <a:cubicBezTo>
                    <a:pt x="2784634" y="269081"/>
                    <a:pt x="2783681" y="270034"/>
                    <a:pt x="2782729" y="271939"/>
                  </a:cubicBezTo>
                  <a:cubicBezTo>
                    <a:pt x="2782729" y="270986"/>
                    <a:pt x="2782729" y="270034"/>
                    <a:pt x="2782729" y="269081"/>
                  </a:cubicBezTo>
                  <a:cubicBezTo>
                    <a:pt x="2782729" y="268129"/>
                    <a:pt x="2782729" y="266224"/>
                    <a:pt x="2782729" y="265271"/>
                  </a:cubicBezTo>
                  <a:cubicBezTo>
                    <a:pt x="2783681" y="263366"/>
                    <a:pt x="2785586" y="260509"/>
                    <a:pt x="2786539" y="258604"/>
                  </a:cubicBezTo>
                  <a:cubicBezTo>
                    <a:pt x="2786539" y="259556"/>
                    <a:pt x="2786539" y="259556"/>
                    <a:pt x="2786539" y="260509"/>
                  </a:cubicBezTo>
                  <a:cubicBezTo>
                    <a:pt x="2785586" y="262414"/>
                    <a:pt x="2785586" y="265271"/>
                    <a:pt x="2785586" y="268129"/>
                  </a:cubicBezTo>
                  <a:close/>
                  <a:moveTo>
                    <a:pt x="2796064" y="268129"/>
                  </a:moveTo>
                  <a:cubicBezTo>
                    <a:pt x="2796064" y="267176"/>
                    <a:pt x="2796064" y="267176"/>
                    <a:pt x="2796064" y="268129"/>
                  </a:cubicBezTo>
                  <a:cubicBezTo>
                    <a:pt x="2797016" y="266224"/>
                    <a:pt x="2797969" y="264319"/>
                    <a:pt x="2798921" y="263366"/>
                  </a:cubicBezTo>
                  <a:cubicBezTo>
                    <a:pt x="2797969" y="264319"/>
                    <a:pt x="2797016" y="266224"/>
                    <a:pt x="2796064" y="268129"/>
                  </a:cubicBezTo>
                  <a:close/>
                  <a:moveTo>
                    <a:pt x="2803684" y="314801"/>
                  </a:moveTo>
                  <a:cubicBezTo>
                    <a:pt x="2803684" y="315754"/>
                    <a:pt x="2802731" y="317659"/>
                    <a:pt x="2802731" y="318611"/>
                  </a:cubicBezTo>
                  <a:cubicBezTo>
                    <a:pt x="2802731" y="320516"/>
                    <a:pt x="2801779" y="322421"/>
                    <a:pt x="2801779" y="325279"/>
                  </a:cubicBezTo>
                  <a:cubicBezTo>
                    <a:pt x="2800826" y="322421"/>
                    <a:pt x="2799874" y="320516"/>
                    <a:pt x="2798921" y="317659"/>
                  </a:cubicBezTo>
                  <a:cubicBezTo>
                    <a:pt x="2798921" y="316706"/>
                    <a:pt x="2798921" y="316706"/>
                    <a:pt x="2798921" y="315754"/>
                  </a:cubicBezTo>
                  <a:cubicBezTo>
                    <a:pt x="2798921" y="315754"/>
                    <a:pt x="2798921" y="315754"/>
                    <a:pt x="2798921" y="315754"/>
                  </a:cubicBezTo>
                  <a:cubicBezTo>
                    <a:pt x="2799874" y="311944"/>
                    <a:pt x="2800826" y="308134"/>
                    <a:pt x="2801779" y="304324"/>
                  </a:cubicBezTo>
                  <a:cubicBezTo>
                    <a:pt x="2802731" y="307181"/>
                    <a:pt x="2802731" y="310039"/>
                    <a:pt x="2803684" y="312896"/>
                  </a:cubicBezTo>
                  <a:cubicBezTo>
                    <a:pt x="2803684" y="313849"/>
                    <a:pt x="2803684" y="313849"/>
                    <a:pt x="2803684" y="314801"/>
                  </a:cubicBezTo>
                  <a:close/>
                  <a:moveTo>
                    <a:pt x="2810351" y="280511"/>
                  </a:moveTo>
                  <a:cubicBezTo>
                    <a:pt x="2808446" y="287179"/>
                    <a:pt x="2807494" y="294799"/>
                    <a:pt x="2805589" y="302419"/>
                  </a:cubicBezTo>
                  <a:cubicBezTo>
                    <a:pt x="2804636" y="301466"/>
                    <a:pt x="2804636" y="299561"/>
                    <a:pt x="2803684" y="298609"/>
                  </a:cubicBezTo>
                  <a:cubicBezTo>
                    <a:pt x="2803684" y="297656"/>
                    <a:pt x="2803684" y="297656"/>
                    <a:pt x="2802731" y="296704"/>
                  </a:cubicBezTo>
                  <a:cubicBezTo>
                    <a:pt x="2803684" y="292894"/>
                    <a:pt x="2804636" y="290036"/>
                    <a:pt x="2805589" y="287179"/>
                  </a:cubicBezTo>
                  <a:cubicBezTo>
                    <a:pt x="2806541" y="284321"/>
                    <a:pt x="2808446" y="280511"/>
                    <a:pt x="2809399" y="277654"/>
                  </a:cubicBezTo>
                  <a:cubicBezTo>
                    <a:pt x="2809399" y="276701"/>
                    <a:pt x="2810351" y="275749"/>
                    <a:pt x="2810351" y="275749"/>
                  </a:cubicBezTo>
                  <a:cubicBezTo>
                    <a:pt x="2811304" y="276701"/>
                    <a:pt x="2810351" y="278606"/>
                    <a:pt x="2810351" y="280511"/>
                  </a:cubicBezTo>
                  <a:close/>
                  <a:moveTo>
                    <a:pt x="2811304" y="276701"/>
                  </a:moveTo>
                  <a:cubicBezTo>
                    <a:pt x="2811304" y="275749"/>
                    <a:pt x="2811304" y="275749"/>
                    <a:pt x="2811304" y="274796"/>
                  </a:cubicBezTo>
                  <a:cubicBezTo>
                    <a:pt x="2812256" y="273844"/>
                    <a:pt x="2812256" y="271939"/>
                    <a:pt x="2813209" y="270986"/>
                  </a:cubicBezTo>
                  <a:cubicBezTo>
                    <a:pt x="2812256" y="272891"/>
                    <a:pt x="2812256" y="274796"/>
                    <a:pt x="2811304" y="276701"/>
                  </a:cubicBezTo>
                  <a:close/>
                  <a:moveTo>
                    <a:pt x="2812256" y="236696"/>
                  </a:moveTo>
                  <a:cubicBezTo>
                    <a:pt x="2810351" y="239554"/>
                    <a:pt x="2808446" y="243364"/>
                    <a:pt x="2806541" y="246221"/>
                  </a:cubicBezTo>
                  <a:cubicBezTo>
                    <a:pt x="2804636" y="248126"/>
                    <a:pt x="2802731" y="250031"/>
                    <a:pt x="2799874" y="251936"/>
                  </a:cubicBezTo>
                  <a:cubicBezTo>
                    <a:pt x="2797969" y="253841"/>
                    <a:pt x="2796064" y="255746"/>
                    <a:pt x="2794159" y="257651"/>
                  </a:cubicBezTo>
                  <a:cubicBezTo>
                    <a:pt x="2793206" y="252889"/>
                    <a:pt x="2792254" y="249079"/>
                    <a:pt x="2792254" y="245269"/>
                  </a:cubicBezTo>
                  <a:cubicBezTo>
                    <a:pt x="2793206" y="242411"/>
                    <a:pt x="2795111" y="240506"/>
                    <a:pt x="2796064" y="238601"/>
                  </a:cubicBezTo>
                  <a:cubicBezTo>
                    <a:pt x="2799874" y="231934"/>
                    <a:pt x="2802731" y="227171"/>
                    <a:pt x="2804636" y="224314"/>
                  </a:cubicBezTo>
                  <a:cubicBezTo>
                    <a:pt x="2807494" y="228124"/>
                    <a:pt x="2809399" y="232886"/>
                    <a:pt x="2812256" y="236696"/>
                  </a:cubicBezTo>
                  <a:close/>
                  <a:moveTo>
                    <a:pt x="2804636" y="223361"/>
                  </a:moveTo>
                  <a:cubicBezTo>
                    <a:pt x="2802731" y="225266"/>
                    <a:pt x="2798921" y="229076"/>
                    <a:pt x="2794159" y="235744"/>
                  </a:cubicBezTo>
                  <a:cubicBezTo>
                    <a:pt x="2793206" y="236696"/>
                    <a:pt x="2793206" y="237649"/>
                    <a:pt x="2792254" y="238601"/>
                  </a:cubicBezTo>
                  <a:cubicBezTo>
                    <a:pt x="2792254" y="238601"/>
                    <a:pt x="2792254" y="238601"/>
                    <a:pt x="2792254" y="238601"/>
                  </a:cubicBezTo>
                  <a:cubicBezTo>
                    <a:pt x="2794159" y="235744"/>
                    <a:pt x="2795111" y="232886"/>
                    <a:pt x="2796064" y="230981"/>
                  </a:cubicBezTo>
                  <a:cubicBezTo>
                    <a:pt x="2797969" y="226219"/>
                    <a:pt x="2800826" y="222409"/>
                    <a:pt x="2801779" y="219551"/>
                  </a:cubicBezTo>
                  <a:cubicBezTo>
                    <a:pt x="2802731" y="220504"/>
                    <a:pt x="2803684" y="222409"/>
                    <a:pt x="2804636" y="223361"/>
                  </a:cubicBezTo>
                  <a:close/>
                  <a:moveTo>
                    <a:pt x="2787491" y="196691"/>
                  </a:moveTo>
                  <a:cubicBezTo>
                    <a:pt x="2792254" y="203359"/>
                    <a:pt x="2796064" y="210026"/>
                    <a:pt x="2800826" y="217646"/>
                  </a:cubicBezTo>
                  <a:cubicBezTo>
                    <a:pt x="2798921" y="220504"/>
                    <a:pt x="2796064" y="224314"/>
                    <a:pt x="2792254" y="228124"/>
                  </a:cubicBezTo>
                  <a:cubicBezTo>
                    <a:pt x="2791301" y="229076"/>
                    <a:pt x="2790349" y="230029"/>
                    <a:pt x="2790349" y="230981"/>
                  </a:cubicBezTo>
                  <a:cubicBezTo>
                    <a:pt x="2789396" y="226219"/>
                    <a:pt x="2788444" y="222409"/>
                    <a:pt x="2787491" y="218599"/>
                  </a:cubicBezTo>
                  <a:cubicBezTo>
                    <a:pt x="2783681" y="205264"/>
                    <a:pt x="2781776" y="196691"/>
                    <a:pt x="2781776" y="196691"/>
                  </a:cubicBezTo>
                  <a:cubicBezTo>
                    <a:pt x="2781776" y="196691"/>
                    <a:pt x="2782729" y="204311"/>
                    <a:pt x="2783681" y="218599"/>
                  </a:cubicBezTo>
                  <a:cubicBezTo>
                    <a:pt x="2784634" y="224314"/>
                    <a:pt x="2784634" y="230981"/>
                    <a:pt x="2784634" y="237649"/>
                  </a:cubicBezTo>
                  <a:cubicBezTo>
                    <a:pt x="2783681" y="239554"/>
                    <a:pt x="2781776" y="241459"/>
                    <a:pt x="2780824" y="243364"/>
                  </a:cubicBezTo>
                  <a:cubicBezTo>
                    <a:pt x="2779871" y="227171"/>
                    <a:pt x="2779871" y="213836"/>
                    <a:pt x="2778919" y="204311"/>
                  </a:cubicBezTo>
                  <a:cubicBezTo>
                    <a:pt x="2777966" y="192881"/>
                    <a:pt x="2777966" y="186214"/>
                    <a:pt x="2777966" y="186214"/>
                  </a:cubicBezTo>
                  <a:cubicBezTo>
                    <a:pt x="2777966" y="186214"/>
                    <a:pt x="2777014" y="192881"/>
                    <a:pt x="2775109" y="204311"/>
                  </a:cubicBezTo>
                  <a:cubicBezTo>
                    <a:pt x="2775109" y="207169"/>
                    <a:pt x="2774156" y="210979"/>
                    <a:pt x="2774156" y="214789"/>
                  </a:cubicBezTo>
                  <a:cubicBezTo>
                    <a:pt x="2773204" y="206216"/>
                    <a:pt x="2772251" y="198596"/>
                    <a:pt x="2770346" y="190976"/>
                  </a:cubicBezTo>
                  <a:cubicBezTo>
                    <a:pt x="2770346" y="190024"/>
                    <a:pt x="2770346" y="190024"/>
                    <a:pt x="2770346" y="189071"/>
                  </a:cubicBezTo>
                  <a:cubicBezTo>
                    <a:pt x="2770346" y="188119"/>
                    <a:pt x="2770346" y="186214"/>
                    <a:pt x="2770346" y="185261"/>
                  </a:cubicBezTo>
                  <a:cubicBezTo>
                    <a:pt x="2769394" y="174784"/>
                    <a:pt x="2768441" y="168116"/>
                    <a:pt x="2768441" y="166211"/>
                  </a:cubicBezTo>
                  <a:cubicBezTo>
                    <a:pt x="2774156" y="174784"/>
                    <a:pt x="2779871" y="185261"/>
                    <a:pt x="2787491" y="196691"/>
                  </a:cubicBezTo>
                  <a:close/>
                  <a:moveTo>
                    <a:pt x="2767489" y="167164"/>
                  </a:moveTo>
                  <a:cubicBezTo>
                    <a:pt x="2767489" y="168116"/>
                    <a:pt x="2767489" y="169069"/>
                    <a:pt x="2767489" y="170974"/>
                  </a:cubicBezTo>
                  <a:cubicBezTo>
                    <a:pt x="2767489" y="169069"/>
                    <a:pt x="2767489" y="168116"/>
                    <a:pt x="2766536" y="166211"/>
                  </a:cubicBezTo>
                  <a:cubicBezTo>
                    <a:pt x="2767489" y="166211"/>
                    <a:pt x="2767489" y="166211"/>
                    <a:pt x="2767489" y="167164"/>
                  </a:cubicBezTo>
                  <a:close/>
                  <a:moveTo>
                    <a:pt x="2757964" y="342424"/>
                  </a:moveTo>
                  <a:cubicBezTo>
                    <a:pt x="2757011" y="340519"/>
                    <a:pt x="2756059" y="338614"/>
                    <a:pt x="2755106" y="336709"/>
                  </a:cubicBezTo>
                  <a:cubicBezTo>
                    <a:pt x="2756059" y="333851"/>
                    <a:pt x="2757964" y="331946"/>
                    <a:pt x="2758916" y="329089"/>
                  </a:cubicBezTo>
                  <a:cubicBezTo>
                    <a:pt x="2759869" y="330041"/>
                    <a:pt x="2759869" y="331946"/>
                    <a:pt x="2760821" y="332899"/>
                  </a:cubicBezTo>
                  <a:cubicBezTo>
                    <a:pt x="2759869" y="336709"/>
                    <a:pt x="2758916" y="339566"/>
                    <a:pt x="2757964" y="342424"/>
                  </a:cubicBezTo>
                  <a:close/>
                  <a:moveTo>
                    <a:pt x="2762726" y="327184"/>
                  </a:moveTo>
                  <a:cubicBezTo>
                    <a:pt x="2762726" y="328136"/>
                    <a:pt x="2761774" y="329089"/>
                    <a:pt x="2761774" y="330994"/>
                  </a:cubicBezTo>
                  <a:cubicBezTo>
                    <a:pt x="2760821" y="330041"/>
                    <a:pt x="2760821" y="329089"/>
                    <a:pt x="2759869" y="328136"/>
                  </a:cubicBezTo>
                  <a:cubicBezTo>
                    <a:pt x="2760821" y="327184"/>
                    <a:pt x="2760821" y="325279"/>
                    <a:pt x="2761774" y="324326"/>
                  </a:cubicBezTo>
                  <a:cubicBezTo>
                    <a:pt x="2762726" y="325279"/>
                    <a:pt x="2762726" y="326231"/>
                    <a:pt x="2762726" y="327184"/>
                  </a:cubicBezTo>
                  <a:cubicBezTo>
                    <a:pt x="2762726" y="327184"/>
                    <a:pt x="2762726" y="327184"/>
                    <a:pt x="2762726" y="327184"/>
                  </a:cubicBezTo>
                  <a:close/>
                  <a:moveTo>
                    <a:pt x="2762726" y="250031"/>
                  </a:moveTo>
                  <a:cubicBezTo>
                    <a:pt x="2762726" y="256699"/>
                    <a:pt x="2762726" y="263366"/>
                    <a:pt x="2762726" y="270034"/>
                  </a:cubicBezTo>
                  <a:cubicBezTo>
                    <a:pt x="2759869" y="273844"/>
                    <a:pt x="2757011" y="278606"/>
                    <a:pt x="2754154" y="282416"/>
                  </a:cubicBezTo>
                  <a:cubicBezTo>
                    <a:pt x="2754154" y="283369"/>
                    <a:pt x="2753201" y="283369"/>
                    <a:pt x="2753201" y="284321"/>
                  </a:cubicBezTo>
                  <a:cubicBezTo>
                    <a:pt x="2753201" y="283369"/>
                    <a:pt x="2752249" y="283369"/>
                    <a:pt x="2752249" y="282416"/>
                  </a:cubicBezTo>
                  <a:cubicBezTo>
                    <a:pt x="2752249" y="281464"/>
                    <a:pt x="2753201" y="280511"/>
                    <a:pt x="2753201" y="278606"/>
                  </a:cubicBezTo>
                  <a:cubicBezTo>
                    <a:pt x="2754154" y="274796"/>
                    <a:pt x="2755106" y="270986"/>
                    <a:pt x="2756059" y="267176"/>
                  </a:cubicBezTo>
                  <a:cubicBezTo>
                    <a:pt x="2757964" y="260509"/>
                    <a:pt x="2759869" y="255746"/>
                    <a:pt x="2761774" y="251936"/>
                  </a:cubicBezTo>
                  <a:cubicBezTo>
                    <a:pt x="2761774" y="251936"/>
                    <a:pt x="2761774" y="250031"/>
                    <a:pt x="2762726" y="250031"/>
                  </a:cubicBezTo>
                  <a:cubicBezTo>
                    <a:pt x="2762726" y="250031"/>
                    <a:pt x="2762726" y="250031"/>
                    <a:pt x="2762726" y="250031"/>
                  </a:cubicBezTo>
                  <a:close/>
                  <a:moveTo>
                    <a:pt x="2753201" y="250031"/>
                  </a:moveTo>
                  <a:cubicBezTo>
                    <a:pt x="2755106" y="242411"/>
                    <a:pt x="2756059" y="236696"/>
                    <a:pt x="2757011" y="230981"/>
                  </a:cubicBezTo>
                  <a:cubicBezTo>
                    <a:pt x="2758916" y="236696"/>
                    <a:pt x="2760821" y="242411"/>
                    <a:pt x="2762726" y="249079"/>
                  </a:cubicBezTo>
                  <a:cubicBezTo>
                    <a:pt x="2761774" y="250031"/>
                    <a:pt x="2761774" y="250984"/>
                    <a:pt x="2760821" y="252889"/>
                  </a:cubicBezTo>
                  <a:cubicBezTo>
                    <a:pt x="2758916" y="255746"/>
                    <a:pt x="2756059" y="260509"/>
                    <a:pt x="2752249" y="267176"/>
                  </a:cubicBezTo>
                  <a:cubicBezTo>
                    <a:pt x="2750344" y="270034"/>
                    <a:pt x="2749391" y="272891"/>
                    <a:pt x="2748439" y="275749"/>
                  </a:cubicBezTo>
                  <a:cubicBezTo>
                    <a:pt x="2748439" y="275749"/>
                    <a:pt x="2748439" y="274796"/>
                    <a:pt x="2747486" y="274796"/>
                  </a:cubicBezTo>
                  <a:cubicBezTo>
                    <a:pt x="2749391" y="265271"/>
                    <a:pt x="2751296" y="256699"/>
                    <a:pt x="2753201" y="250031"/>
                  </a:cubicBezTo>
                  <a:close/>
                  <a:moveTo>
                    <a:pt x="2749391" y="362426"/>
                  </a:moveTo>
                  <a:cubicBezTo>
                    <a:pt x="2748439" y="360521"/>
                    <a:pt x="2747486" y="359569"/>
                    <a:pt x="2746534" y="357664"/>
                  </a:cubicBezTo>
                  <a:cubicBezTo>
                    <a:pt x="2746534" y="356711"/>
                    <a:pt x="2746534" y="355759"/>
                    <a:pt x="2746534" y="354806"/>
                  </a:cubicBezTo>
                  <a:cubicBezTo>
                    <a:pt x="2747486" y="356711"/>
                    <a:pt x="2748439" y="359569"/>
                    <a:pt x="2749391" y="362426"/>
                  </a:cubicBezTo>
                  <a:close/>
                  <a:moveTo>
                    <a:pt x="2734151" y="258604"/>
                  </a:moveTo>
                  <a:cubicBezTo>
                    <a:pt x="2736056" y="262414"/>
                    <a:pt x="2737961" y="268129"/>
                    <a:pt x="2740819" y="273844"/>
                  </a:cubicBezTo>
                  <a:cubicBezTo>
                    <a:pt x="2738914" y="278606"/>
                    <a:pt x="2737009" y="284321"/>
                    <a:pt x="2735104" y="290036"/>
                  </a:cubicBezTo>
                  <a:cubicBezTo>
                    <a:pt x="2735104" y="288131"/>
                    <a:pt x="2734151" y="287179"/>
                    <a:pt x="2734151" y="287179"/>
                  </a:cubicBezTo>
                  <a:cubicBezTo>
                    <a:pt x="2734151" y="287179"/>
                    <a:pt x="2734151" y="289084"/>
                    <a:pt x="2734151" y="291941"/>
                  </a:cubicBezTo>
                  <a:cubicBezTo>
                    <a:pt x="2734151" y="291941"/>
                    <a:pt x="2734151" y="291941"/>
                    <a:pt x="2734151" y="291941"/>
                  </a:cubicBezTo>
                  <a:cubicBezTo>
                    <a:pt x="2733199" y="290989"/>
                    <a:pt x="2733199" y="290036"/>
                    <a:pt x="2732246" y="289084"/>
                  </a:cubicBezTo>
                  <a:cubicBezTo>
                    <a:pt x="2732246" y="288131"/>
                    <a:pt x="2731294" y="287179"/>
                    <a:pt x="2731294" y="286226"/>
                  </a:cubicBezTo>
                  <a:cubicBezTo>
                    <a:pt x="2733199" y="275749"/>
                    <a:pt x="2734151" y="266224"/>
                    <a:pt x="2734151" y="258604"/>
                  </a:cubicBezTo>
                  <a:close/>
                  <a:moveTo>
                    <a:pt x="2715101" y="290989"/>
                  </a:moveTo>
                  <a:cubicBezTo>
                    <a:pt x="2715101" y="284321"/>
                    <a:pt x="2715101" y="278606"/>
                    <a:pt x="2716054" y="273844"/>
                  </a:cubicBezTo>
                  <a:cubicBezTo>
                    <a:pt x="2717006" y="274796"/>
                    <a:pt x="2717006" y="276701"/>
                    <a:pt x="2717959" y="278606"/>
                  </a:cubicBezTo>
                  <a:cubicBezTo>
                    <a:pt x="2717006" y="287179"/>
                    <a:pt x="2717006" y="295751"/>
                    <a:pt x="2716054" y="304324"/>
                  </a:cubicBezTo>
                  <a:cubicBezTo>
                    <a:pt x="2716054" y="304324"/>
                    <a:pt x="2715101" y="303371"/>
                    <a:pt x="2715101" y="303371"/>
                  </a:cubicBezTo>
                  <a:cubicBezTo>
                    <a:pt x="2714149" y="298609"/>
                    <a:pt x="2715101" y="294799"/>
                    <a:pt x="2715101" y="290989"/>
                  </a:cubicBezTo>
                  <a:close/>
                  <a:moveTo>
                    <a:pt x="2705576" y="243364"/>
                  </a:moveTo>
                  <a:cubicBezTo>
                    <a:pt x="2705576" y="244316"/>
                    <a:pt x="2705576" y="246221"/>
                    <a:pt x="2704624" y="247174"/>
                  </a:cubicBezTo>
                  <a:lnTo>
                    <a:pt x="2703671" y="238601"/>
                  </a:lnTo>
                  <a:cubicBezTo>
                    <a:pt x="2704624" y="239554"/>
                    <a:pt x="2705576" y="241459"/>
                    <a:pt x="2705576" y="243364"/>
                  </a:cubicBezTo>
                  <a:close/>
                  <a:moveTo>
                    <a:pt x="2697956" y="312896"/>
                  </a:moveTo>
                  <a:cubicBezTo>
                    <a:pt x="2697956" y="312896"/>
                    <a:pt x="2697956" y="313849"/>
                    <a:pt x="2697956" y="313849"/>
                  </a:cubicBezTo>
                  <a:cubicBezTo>
                    <a:pt x="2697956" y="312896"/>
                    <a:pt x="2697956" y="311944"/>
                    <a:pt x="2697956" y="310991"/>
                  </a:cubicBezTo>
                  <a:lnTo>
                    <a:pt x="2697956" y="312896"/>
                  </a:lnTo>
                  <a:close/>
                  <a:moveTo>
                    <a:pt x="2664619" y="234791"/>
                  </a:moveTo>
                  <a:cubicBezTo>
                    <a:pt x="2665571" y="235744"/>
                    <a:pt x="2665571" y="237649"/>
                    <a:pt x="2666524" y="238601"/>
                  </a:cubicBezTo>
                  <a:cubicBezTo>
                    <a:pt x="2668429" y="253841"/>
                    <a:pt x="2670334" y="270034"/>
                    <a:pt x="2673191" y="287179"/>
                  </a:cubicBezTo>
                  <a:cubicBezTo>
                    <a:pt x="2672239" y="284321"/>
                    <a:pt x="2671286" y="282416"/>
                    <a:pt x="2670334" y="279559"/>
                  </a:cubicBezTo>
                  <a:cubicBezTo>
                    <a:pt x="2670334" y="279559"/>
                    <a:pt x="2670334" y="278606"/>
                    <a:pt x="2670334" y="278606"/>
                  </a:cubicBezTo>
                  <a:cubicBezTo>
                    <a:pt x="2670334" y="276701"/>
                    <a:pt x="2671286" y="276701"/>
                    <a:pt x="2671286" y="276701"/>
                  </a:cubicBezTo>
                  <a:cubicBezTo>
                    <a:pt x="2671286" y="276701"/>
                    <a:pt x="2671286" y="277654"/>
                    <a:pt x="2670334" y="278606"/>
                  </a:cubicBezTo>
                  <a:cubicBezTo>
                    <a:pt x="2669381" y="266224"/>
                    <a:pt x="2667476" y="255746"/>
                    <a:pt x="2664619" y="246221"/>
                  </a:cubicBezTo>
                  <a:cubicBezTo>
                    <a:pt x="2664619" y="244316"/>
                    <a:pt x="2663666" y="242411"/>
                    <a:pt x="2663666" y="240506"/>
                  </a:cubicBezTo>
                  <a:cubicBezTo>
                    <a:pt x="2663666" y="238601"/>
                    <a:pt x="2663666" y="236696"/>
                    <a:pt x="2664619" y="234791"/>
                  </a:cubicBezTo>
                  <a:close/>
                  <a:moveTo>
                    <a:pt x="2657951" y="339566"/>
                  </a:moveTo>
                  <a:cubicBezTo>
                    <a:pt x="2656999" y="338614"/>
                    <a:pt x="2656999" y="337661"/>
                    <a:pt x="2656046" y="336709"/>
                  </a:cubicBezTo>
                  <a:cubicBezTo>
                    <a:pt x="2656999" y="332899"/>
                    <a:pt x="2656999" y="329089"/>
                    <a:pt x="2657951" y="325279"/>
                  </a:cubicBezTo>
                  <a:cubicBezTo>
                    <a:pt x="2658904" y="330041"/>
                    <a:pt x="2657951" y="334804"/>
                    <a:pt x="2657951" y="339566"/>
                  </a:cubicBezTo>
                  <a:close/>
                  <a:moveTo>
                    <a:pt x="2654141" y="277654"/>
                  </a:moveTo>
                  <a:cubicBezTo>
                    <a:pt x="2656046" y="284321"/>
                    <a:pt x="2657951" y="291941"/>
                    <a:pt x="2659856" y="298609"/>
                  </a:cubicBezTo>
                  <a:cubicBezTo>
                    <a:pt x="2659856" y="298609"/>
                    <a:pt x="2659856" y="299561"/>
                    <a:pt x="2659856" y="299561"/>
                  </a:cubicBezTo>
                  <a:cubicBezTo>
                    <a:pt x="2657951" y="304324"/>
                    <a:pt x="2656046" y="310039"/>
                    <a:pt x="2653189" y="316706"/>
                  </a:cubicBezTo>
                  <a:cubicBezTo>
                    <a:pt x="2653189" y="317659"/>
                    <a:pt x="2652236" y="318611"/>
                    <a:pt x="2652236" y="319564"/>
                  </a:cubicBezTo>
                  <a:cubicBezTo>
                    <a:pt x="2651284" y="316706"/>
                    <a:pt x="2651284" y="313849"/>
                    <a:pt x="2650331" y="311944"/>
                  </a:cubicBezTo>
                  <a:cubicBezTo>
                    <a:pt x="2649379" y="308134"/>
                    <a:pt x="2648426" y="305276"/>
                    <a:pt x="2647474" y="301466"/>
                  </a:cubicBezTo>
                  <a:cubicBezTo>
                    <a:pt x="2649379" y="293846"/>
                    <a:pt x="2651284" y="286226"/>
                    <a:pt x="2654141" y="277654"/>
                  </a:cubicBezTo>
                  <a:close/>
                  <a:moveTo>
                    <a:pt x="2633186" y="283369"/>
                  </a:moveTo>
                  <a:cubicBezTo>
                    <a:pt x="2633186" y="284321"/>
                    <a:pt x="2633186" y="284321"/>
                    <a:pt x="2633186" y="285274"/>
                  </a:cubicBezTo>
                  <a:cubicBezTo>
                    <a:pt x="2633186" y="285274"/>
                    <a:pt x="2633186" y="286226"/>
                    <a:pt x="2633186" y="286226"/>
                  </a:cubicBezTo>
                  <a:cubicBezTo>
                    <a:pt x="2633186" y="287179"/>
                    <a:pt x="2632234" y="288131"/>
                    <a:pt x="2632234" y="290036"/>
                  </a:cubicBezTo>
                  <a:cubicBezTo>
                    <a:pt x="2633186" y="287179"/>
                    <a:pt x="2633186" y="285274"/>
                    <a:pt x="2633186" y="283369"/>
                  </a:cubicBezTo>
                  <a:close/>
                  <a:moveTo>
                    <a:pt x="2578894" y="242411"/>
                  </a:moveTo>
                  <a:cubicBezTo>
                    <a:pt x="2578894" y="242411"/>
                    <a:pt x="2578894" y="241459"/>
                    <a:pt x="2577941" y="241459"/>
                  </a:cubicBezTo>
                  <a:cubicBezTo>
                    <a:pt x="2578894" y="239554"/>
                    <a:pt x="2579846" y="237649"/>
                    <a:pt x="2580799" y="235744"/>
                  </a:cubicBezTo>
                  <a:cubicBezTo>
                    <a:pt x="2580799" y="235744"/>
                    <a:pt x="2580799" y="235744"/>
                    <a:pt x="2580799" y="235744"/>
                  </a:cubicBezTo>
                  <a:cubicBezTo>
                    <a:pt x="2580799" y="238601"/>
                    <a:pt x="2579846" y="240506"/>
                    <a:pt x="2578894" y="242411"/>
                  </a:cubicBezTo>
                  <a:close/>
                  <a:moveTo>
                    <a:pt x="2597944" y="275749"/>
                  </a:moveTo>
                  <a:cubicBezTo>
                    <a:pt x="2597944" y="275749"/>
                    <a:pt x="2597944" y="274796"/>
                    <a:pt x="2597944" y="274796"/>
                  </a:cubicBezTo>
                  <a:cubicBezTo>
                    <a:pt x="2597944" y="274796"/>
                    <a:pt x="2598896" y="275749"/>
                    <a:pt x="2597944" y="275749"/>
                  </a:cubicBezTo>
                  <a:cubicBezTo>
                    <a:pt x="2598896" y="275749"/>
                    <a:pt x="2597944" y="275749"/>
                    <a:pt x="2597944" y="275749"/>
                  </a:cubicBezTo>
                  <a:close/>
                  <a:moveTo>
                    <a:pt x="2616041" y="309086"/>
                  </a:moveTo>
                  <a:cubicBezTo>
                    <a:pt x="2615089" y="312896"/>
                    <a:pt x="2614136" y="315754"/>
                    <a:pt x="2613184" y="319564"/>
                  </a:cubicBezTo>
                  <a:cubicBezTo>
                    <a:pt x="2613184" y="318611"/>
                    <a:pt x="2613184" y="318611"/>
                    <a:pt x="2613184" y="318611"/>
                  </a:cubicBezTo>
                  <a:cubicBezTo>
                    <a:pt x="2613184" y="318611"/>
                    <a:pt x="2613184" y="319564"/>
                    <a:pt x="2613184" y="319564"/>
                  </a:cubicBezTo>
                  <a:cubicBezTo>
                    <a:pt x="2613184" y="319564"/>
                    <a:pt x="2613184" y="319564"/>
                    <a:pt x="2613184" y="319564"/>
                  </a:cubicBezTo>
                  <a:cubicBezTo>
                    <a:pt x="2609374" y="309086"/>
                    <a:pt x="2604611" y="298609"/>
                    <a:pt x="2600801" y="289084"/>
                  </a:cubicBezTo>
                  <a:cubicBezTo>
                    <a:pt x="2601754" y="287179"/>
                    <a:pt x="2602706" y="284321"/>
                    <a:pt x="2602706" y="282416"/>
                  </a:cubicBezTo>
                  <a:cubicBezTo>
                    <a:pt x="2605564" y="287179"/>
                    <a:pt x="2609374" y="292894"/>
                    <a:pt x="2612231" y="299561"/>
                  </a:cubicBezTo>
                  <a:cubicBezTo>
                    <a:pt x="2613184" y="302419"/>
                    <a:pt x="2615089" y="305276"/>
                    <a:pt x="2616041" y="308134"/>
                  </a:cubicBezTo>
                  <a:lnTo>
                    <a:pt x="2616041" y="309086"/>
                  </a:lnTo>
                  <a:lnTo>
                    <a:pt x="2616041" y="309086"/>
                  </a:lnTo>
                  <a:close/>
                  <a:moveTo>
                    <a:pt x="2604611" y="276701"/>
                  </a:moveTo>
                  <a:cubicBezTo>
                    <a:pt x="2605564" y="272891"/>
                    <a:pt x="2607469" y="270034"/>
                    <a:pt x="2608421" y="267176"/>
                  </a:cubicBezTo>
                  <a:cubicBezTo>
                    <a:pt x="2609374" y="271939"/>
                    <a:pt x="2612231" y="279559"/>
                    <a:pt x="2615089" y="290036"/>
                  </a:cubicBezTo>
                  <a:cubicBezTo>
                    <a:pt x="2611279" y="285274"/>
                    <a:pt x="2608421" y="280511"/>
                    <a:pt x="2604611" y="276701"/>
                  </a:cubicBezTo>
                  <a:close/>
                  <a:moveTo>
                    <a:pt x="2614136" y="276701"/>
                  </a:moveTo>
                  <a:cubicBezTo>
                    <a:pt x="2612231" y="271939"/>
                    <a:pt x="2610326" y="268129"/>
                    <a:pt x="2609374" y="266224"/>
                  </a:cubicBezTo>
                  <a:cubicBezTo>
                    <a:pt x="2610326" y="263366"/>
                    <a:pt x="2611279" y="260509"/>
                    <a:pt x="2612231" y="257651"/>
                  </a:cubicBezTo>
                  <a:cubicBezTo>
                    <a:pt x="2612231" y="263366"/>
                    <a:pt x="2613184" y="270034"/>
                    <a:pt x="2614136" y="276701"/>
                  </a:cubicBezTo>
                  <a:close/>
                  <a:moveTo>
                    <a:pt x="2606516" y="208121"/>
                  </a:moveTo>
                  <a:cubicBezTo>
                    <a:pt x="2607469" y="221456"/>
                    <a:pt x="2609374" y="235744"/>
                    <a:pt x="2611279" y="250984"/>
                  </a:cubicBezTo>
                  <a:cubicBezTo>
                    <a:pt x="2611279" y="250984"/>
                    <a:pt x="2611279" y="251936"/>
                    <a:pt x="2611279" y="251936"/>
                  </a:cubicBezTo>
                  <a:cubicBezTo>
                    <a:pt x="2608421" y="256699"/>
                    <a:pt x="2604611" y="263366"/>
                    <a:pt x="2600801" y="271939"/>
                  </a:cubicBezTo>
                  <a:cubicBezTo>
                    <a:pt x="2599849" y="270034"/>
                    <a:pt x="2598896" y="269081"/>
                    <a:pt x="2597944" y="268129"/>
                  </a:cubicBezTo>
                  <a:cubicBezTo>
                    <a:pt x="2596991" y="257651"/>
                    <a:pt x="2596039" y="247174"/>
                    <a:pt x="2595086" y="237649"/>
                  </a:cubicBezTo>
                  <a:cubicBezTo>
                    <a:pt x="2595086" y="234791"/>
                    <a:pt x="2594134" y="230981"/>
                    <a:pt x="2594134" y="228124"/>
                  </a:cubicBezTo>
                  <a:cubicBezTo>
                    <a:pt x="2598896" y="207169"/>
                    <a:pt x="2602706" y="190976"/>
                    <a:pt x="2605564" y="179546"/>
                  </a:cubicBezTo>
                  <a:cubicBezTo>
                    <a:pt x="2604611" y="188119"/>
                    <a:pt x="2605564" y="197644"/>
                    <a:pt x="2606516" y="208121"/>
                  </a:cubicBezTo>
                  <a:close/>
                  <a:moveTo>
                    <a:pt x="2586514" y="186214"/>
                  </a:moveTo>
                  <a:cubicBezTo>
                    <a:pt x="2591276" y="175736"/>
                    <a:pt x="2595086" y="167164"/>
                    <a:pt x="2598896" y="159544"/>
                  </a:cubicBezTo>
                  <a:cubicBezTo>
                    <a:pt x="2599849" y="157639"/>
                    <a:pt x="2600801" y="155734"/>
                    <a:pt x="2601754" y="153829"/>
                  </a:cubicBezTo>
                  <a:cubicBezTo>
                    <a:pt x="2602706" y="159544"/>
                    <a:pt x="2602706" y="166211"/>
                    <a:pt x="2603659" y="173831"/>
                  </a:cubicBezTo>
                  <a:cubicBezTo>
                    <a:pt x="2600801" y="182404"/>
                    <a:pt x="2596039" y="194786"/>
                    <a:pt x="2590324" y="210979"/>
                  </a:cubicBezTo>
                  <a:cubicBezTo>
                    <a:pt x="2589371" y="202406"/>
                    <a:pt x="2587466" y="194786"/>
                    <a:pt x="2586514" y="187166"/>
                  </a:cubicBezTo>
                  <a:cubicBezTo>
                    <a:pt x="2586514" y="187166"/>
                    <a:pt x="2586514" y="187166"/>
                    <a:pt x="2586514" y="186214"/>
                  </a:cubicBezTo>
                  <a:close/>
                  <a:moveTo>
                    <a:pt x="2584609" y="408146"/>
                  </a:moveTo>
                  <a:cubicBezTo>
                    <a:pt x="2584609" y="408146"/>
                    <a:pt x="2584609" y="409099"/>
                    <a:pt x="2584609" y="408146"/>
                  </a:cubicBezTo>
                  <a:cubicBezTo>
                    <a:pt x="2583656" y="403384"/>
                    <a:pt x="2582704" y="398621"/>
                    <a:pt x="2581751" y="393859"/>
                  </a:cubicBezTo>
                  <a:cubicBezTo>
                    <a:pt x="2582704" y="398621"/>
                    <a:pt x="2583656" y="403384"/>
                    <a:pt x="2584609" y="408146"/>
                  </a:cubicBezTo>
                  <a:close/>
                  <a:moveTo>
                    <a:pt x="2580799" y="199549"/>
                  </a:moveTo>
                  <a:cubicBezTo>
                    <a:pt x="2580799" y="208121"/>
                    <a:pt x="2581751" y="217646"/>
                    <a:pt x="2581751" y="228124"/>
                  </a:cubicBezTo>
                  <a:cubicBezTo>
                    <a:pt x="2580799" y="229076"/>
                    <a:pt x="2579846" y="230029"/>
                    <a:pt x="2578894" y="231934"/>
                  </a:cubicBezTo>
                  <a:cubicBezTo>
                    <a:pt x="2577941" y="232886"/>
                    <a:pt x="2576989" y="234791"/>
                    <a:pt x="2575084" y="236696"/>
                  </a:cubicBezTo>
                  <a:cubicBezTo>
                    <a:pt x="2574131" y="235744"/>
                    <a:pt x="2574131" y="234791"/>
                    <a:pt x="2573179" y="233839"/>
                  </a:cubicBezTo>
                  <a:cubicBezTo>
                    <a:pt x="2573179" y="231934"/>
                    <a:pt x="2573179" y="230981"/>
                    <a:pt x="2572226" y="229076"/>
                  </a:cubicBezTo>
                  <a:cubicBezTo>
                    <a:pt x="2572226" y="226219"/>
                    <a:pt x="2571274" y="222409"/>
                    <a:pt x="2571274" y="219551"/>
                  </a:cubicBezTo>
                  <a:cubicBezTo>
                    <a:pt x="2575084" y="211931"/>
                    <a:pt x="2577941" y="206216"/>
                    <a:pt x="2580799" y="199549"/>
                  </a:cubicBezTo>
                  <a:close/>
                  <a:moveTo>
                    <a:pt x="2569369" y="320516"/>
                  </a:moveTo>
                  <a:cubicBezTo>
                    <a:pt x="2569369" y="322421"/>
                    <a:pt x="2570321" y="325279"/>
                    <a:pt x="2570321" y="327184"/>
                  </a:cubicBezTo>
                  <a:cubicBezTo>
                    <a:pt x="2570321" y="328136"/>
                    <a:pt x="2570321" y="329089"/>
                    <a:pt x="2571274" y="330041"/>
                  </a:cubicBezTo>
                  <a:cubicBezTo>
                    <a:pt x="2568416" y="334804"/>
                    <a:pt x="2566511" y="339566"/>
                    <a:pt x="2563654" y="345281"/>
                  </a:cubicBezTo>
                  <a:cubicBezTo>
                    <a:pt x="2563654" y="344329"/>
                    <a:pt x="2562701" y="343376"/>
                    <a:pt x="2562701" y="342424"/>
                  </a:cubicBezTo>
                  <a:cubicBezTo>
                    <a:pt x="2565559" y="334804"/>
                    <a:pt x="2567464" y="328136"/>
                    <a:pt x="2569369" y="320516"/>
                  </a:cubicBezTo>
                  <a:close/>
                  <a:moveTo>
                    <a:pt x="2556034" y="262414"/>
                  </a:moveTo>
                  <a:cubicBezTo>
                    <a:pt x="2556986" y="258604"/>
                    <a:pt x="2558891" y="255746"/>
                    <a:pt x="2559844" y="251936"/>
                  </a:cubicBezTo>
                  <a:cubicBezTo>
                    <a:pt x="2559844" y="253841"/>
                    <a:pt x="2559844" y="255746"/>
                    <a:pt x="2560796" y="257651"/>
                  </a:cubicBezTo>
                  <a:cubicBezTo>
                    <a:pt x="2560796" y="258604"/>
                    <a:pt x="2559844" y="258604"/>
                    <a:pt x="2559844" y="259556"/>
                  </a:cubicBezTo>
                  <a:cubicBezTo>
                    <a:pt x="2557939" y="262414"/>
                    <a:pt x="2556034" y="266224"/>
                    <a:pt x="2554129" y="269081"/>
                  </a:cubicBezTo>
                  <a:cubicBezTo>
                    <a:pt x="2554129" y="266224"/>
                    <a:pt x="2555081" y="264319"/>
                    <a:pt x="2556034" y="262414"/>
                  </a:cubicBezTo>
                  <a:close/>
                  <a:moveTo>
                    <a:pt x="2561749" y="276701"/>
                  </a:moveTo>
                  <a:cubicBezTo>
                    <a:pt x="2561749" y="275749"/>
                    <a:pt x="2561749" y="275749"/>
                    <a:pt x="2562701" y="274796"/>
                  </a:cubicBezTo>
                  <a:cubicBezTo>
                    <a:pt x="2563654" y="278606"/>
                    <a:pt x="2563654" y="283369"/>
                    <a:pt x="2564606" y="287179"/>
                  </a:cubicBezTo>
                  <a:cubicBezTo>
                    <a:pt x="2562701" y="293846"/>
                    <a:pt x="2559844" y="301466"/>
                    <a:pt x="2557939" y="309086"/>
                  </a:cubicBezTo>
                  <a:cubicBezTo>
                    <a:pt x="2556986" y="310991"/>
                    <a:pt x="2556986" y="312896"/>
                    <a:pt x="2556034" y="313849"/>
                  </a:cubicBezTo>
                  <a:cubicBezTo>
                    <a:pt x="2555081" y="308134"/>
                    <a:pt x="2554129" y="302419"/>
                    <a:pt x="2553176" y="296704"/>
                  </a:cubicBezTo>
                  <a:cubicBezTo>
                    <a:pt x="2556034" y="290036"/>
                    <a:pt x="2558891" y="282416"/>
                    <a:pt x="2561749" y="276701"/>
                  </a:cubicBezTo>
                  <a:close/>
                  <a:moveTo>
                    <a:pt x="2538889" y="252889"/>
                  </a:moveTo>
                  <a:cubicBezTo>
                    <a:pt x="2539841" y="249079"/>
                    <a:pt x="2539841" y="245269"/>
                    <a:pt x="2540794" y="242411"/>
                  </a:cubicBezTo>
                  <a:cubicBezTo>
                    <a:pt x="2540794" y="241459"/>
                    <a:pt x="2541746" y="239554"/>
                    <a:pt x="2542699" y="238601"/>
                  </a:cubicBezTo>
                  <a:cubicBezTo>
                    <a:pt x="2543651" y="236696"/>
                    <a:pt x="2543651" y="234791"/>
                    <a:pt x="2544604" y="233839"/>
                  </a:cubicBezTo>
                  <a:cubicBezTo>
                    <a:pt x="2544604" y="237649"/>
                    <a:pt x="2543651" y="242411"/>
                    <a:pt x="2543651" y="248126"/>
                  </a:cubicBezTo>
                  <a:cubicBezTo>
                    <a:pt x="2543651" y="250984"/>
                    <a:pt x="2543651" y="253841"/>
                    <a:pt x="2542699" y="257651"/>
                  </a:cubicBezTo>
                  <a:cubicBezTo>
                    <a:pt x="2540794" y="261461"/>
                    <a:pt x="2539841" y="264319"/>
                    <a:pt x="2537936" y="268129"/>
                  </a:cubicBezTo>
                  <a:cubicBezTo>
                    <a:pt x="2537936" y="263366"/>
                    <a:pt x="2537936" y="257651"/>
                    <a:pt x="2538889" y="252889"/>
                  </a:cubicBezTo>
                  <a:close/>
                  <a:moveTo>
                    <a:pt x="2521744" y="475774"/>
                  </a:moveTo>
                  <a:cubicBezTo>
                    <a:pt x="2521744" y="478631"/>
                    <a:pt x="2522696" y="481489"/>
                    <a:pt x="2522696" y="484346"/>
                  </a:cubicBezTo>
                  <a:cubicBezTo>
                    <a:pt x="2521744" y="482441"/>
                    <a:pt x="2521744" y="481489"/>
                    <a:pt x="2520791" y="479584"/>
                  </a:cubicBezTo>
                  <a:cubicBezTo>
                    <a:pt x="2521744" y="478631"/>
                    <a:pt x="2521744" y="477679"/>
                    <a:pt x="2521744" y="475774"/>
                  </a:cubicBezTo>
                  <a:close/>
                  <a:moveTo>
                    <a:pt x="2514124" y="323374"/>
                  </a:moveTo>
                  <a:cubicBezTo>
                    <a:pt x="2514124" y="323374"/>
                    <a:pt x="2515076" y="323374"/>
                    <a:pt x="2514124" y="323374"/>
                  </a:cubicBezTo>
                  <a:cubicBezTo>
                    <a:pt x="2514124" y="325279"/>
                    <a:pt x="2513171" y="326231"/>
                    <a:pt x="2513171" y="328136"/>
                  </a:cubicBezTo>
                  <a:cubicBezTo>
                    <a:pt x="2513171" y="328136"/>
                    <a:pt x="2513171" y="328136"/>
                    <a:pt x="2513171" y="329089"/>
                  </a:cubicBezTo>
                  <a:cubicBezTo>
                    <a:pt x="2513171" y="326231"/>
                    <a:pt x="2514124" y="324326"/>
                    <a:pt x="2514124" y="323374"/>
                  </a:cubicBezTo>
                  <a:close/>
                  <a:moveTo>
                    <a:pt x="2509361" y="300514"/>
                  </a:moveTo>
                  <a:cubicBezTo>
                    <a:pt x="2509361" y="301466"/>
                    <a:pt x="2509361" y="301466"/>
                    <a:pt x="2508409" y="302419"/>
                  </a:cubicBezTo>
                  <a:cubicBezTo>
                    <a:pt x="2508409" y="302419"/>
                    <a:pt x="2508409" y="302419"/>
                    <a:pt x="2508409" y="302419"/>
                  </a:cubicBezTo>
                  <a:cubicBezTo>
                    <a:pt x="2508409" y="299561"/>
                    <a:pt x="2507456" y="297656"/>
                    <a:pt x="2507456" y="294799"/>
                  </a:cubicBezTo>
                  <a:cubicBezTo>
                    <a:pt x="2508409" y="296704"/>
                    <a:pt x="2509361" y="298609"/>
                    <a:pt x="2509361" y="300514"/>
                  </a:cubicBezTo>
                  <a:close/>
                  <a:moveTo>
                    <a:pt x="2496979" y="292894"/>
                  </a:moveTo>
                  <a:cubicBezTo>
                    <a:pt x="2497931" y="290989"/>
                    <a:pt x="2497931" y="290036"/>
                    <a:pt x="2497931" y="290036"/>
                  </a:cubicBezTo>
                  <a:cubicBezTo>
                    <a:pt x="2497931" y="290036"/>
                    <a:pt x="2497931" y="290989"/>
                    <a:pt x="2496979" y="290989"/>
                  </a:cubicBezTo>
                  <a:cubicBezTo>
                    <a:pt x="2496979" y="289084"/>
                    <a:pt x="2496979" y="286226"/>
                    <a:pt x="2497931" y="284321"/>
                  </a:cubicBezTo>
                  <a:cubicBezTo>
                    <a:pt x="2497931" y="278606"/>
                    <a:pt x="2498884" y="272891"/>
                    <a:pt x="2498884" y="269081"/>
                  </a:cubicBezTo>
                  <a:cubicBezTo>
                    <a:pt x="2498884" y="268129"/>
                    <a:pt x="2498884" y="267176"/>
                    <a:pt x="2498884" y="266224"/>
                  </a:cubicBezTo>
                  <a:cubicBezTo>
                    <a:pt x="2499836" y="270034"/>
                    <a:pt x="2500789" y="273844"/>
                    <a:pt x="2502694" y="277654"/>
                  </a:cubicBezTo>
                  <a:cubicBezTo>
                    <a:pt x="2502694" y="279559"/>
                    <a:pt x="2502694" y="281464"/>
                    <a:pt x="2502694" y="283369"/>
                  </a:cubicBezTo>
                  <a:cubicBezTo>
                    <a:pt x="2502694" y="288131"/>
                    <a:pt x="2501741" y="294799"/>
                    <a:pt x="2501741" y="302419"/>
                  </a:cubicBezTo>
                  <a:cubicBezTo>
                    <a:pt x="2501741" y="306229"/>
                    <a:pt x="2501741" y="310039"/>
                    <a:pt x="2501741" y="313849"/>
                  </a:cubicBezTo>
                  <a:cubicBezTo>
                    <a:pt x="2501741" y="317659"/>
                    <a:pt x="2500789" y="321469"/>
                    <a:pt x="2500789" y="325279"/>
                  </a:cubicBezTo>
                  <a:cubicBezTo>
                    <a:pt x="2500789" y="325279"/>
                    <a:pt x="2500789" y="326231"/>
                    <a:pt x="2500789" y="326231"/>
                  </a:cubicBezTo>
                  <a:cubicBezTo>
                    <a:pt x="2500789" y="322421"/>
                    <a:pt x="2499836" y="319564"/>
                    <a:pt x="2499836" y="315754"/>
                  </a:cubicBezTo>
                  <a:cubicBezTo>
                    <a:pt x="2499836" y="313849"/>
                    <a:pt x="2499836" y="311944"/>
                    <a:pt x="2499836" y="310039"/>
                  </a:cubicBezTo>
                  <a:cubicBezTo>
                    <a:pt x="2499836" y="305276"/>
                    <a:pt x="2500789" y="300514"/>
                    <a:pt x="2500789" y="297656"/>
                  </a:cubicBezTo>
                  <a:cubicBezTo>
                    <a:pt x="2500789" y="290989"/>
                    <a:pt x="2500789" y="286226"/>
                    <a:pt x="2500789" y="286226"/>
                  </a:cubicBezTo>
                  <a:cubicBezTo>
                    <a:pt x="2500789" y="286226"/>
                    <a:pt x="2498884" y="289084"/>
                    <a:pt x="2496979" y="292894"/>
                  </a:cubicBezTo>
                  <a:cubicBezTo>
                    <a:pt x="2496979" y="293846"/>
                    <a:pt x="2496979" y="293846"/>
                    <a:pt x="2496979" y="292894"/>
                  </a:cubicBezTo>
                  <a:close/>
                  <a:moveTo>
                    <a:pt x="2449354" y="334804"/>
                  </a:moveTo>
                  <a:cubicBezTo>
                    <a:pt x="2448401" y="332899"/>
                    <a:pt x="2448401" y="330041"/>
                    <a:pt x="2447449" y="328136"/>
                  </a:cubicBezTo>
                  <a:cubicBezTo>
                    <a:pt x="2448401" y="326231"/>
                    <a:pt x="2449354" y="323374"/>
                    <a:pt x="2450306" y="321469"/>
                  </a:cubicBezTo>
                  <a:cubicBezTo>
                    <a:pt x="2450306" y="321469"/>
                    <a:pt x="2450306" y="322421"/>
                    <a:pt x="2450306" y="322421"/>
                  </a:cubicBezTo>
                  <a:cubicBezTo>
                    <a:pt x="2450306" y="323374"/>
                    <a:pt x="2450306" y="323374"/>
                    <a:pt x="2451259" y="324326"/>
                  </a:cubicBezTo>
                  <a:cubicBezTo>
                    <a:pt x="2450306" y="327184"/>
                    <a:pt x="2449354" y="330994"/>
                    <a:pt x="2449354" y="334804"/>
                  </a:cubicBezTo>
                  <a:close/>
                  <a:moveTo>
                    <a:pt x="2450306" y="254794"/>
                  </a:moveTo>
                  <a:cubicBezTo>
                    <a:pt x="2450306" y="253841"/>
                    <a:pt x="2451259" y="252889"/>
                    <a:pt x="2451259" y="251936"/>
                  </a:cubicBezTo>
                  <a:cubicBezTo>
                    <a:pt x="2451259" y="251936"/>
                    <a:pt x="2451259" y="251936"/>
                    <a:pt x="2451259" y="250984"/>
                  </a:cubicBezTo>
                  <a:cubicBezTo>
                    <a:pt x="2451259" y="250984"/>
                    <a:pt x="2451259" y="251936"/>
                    <a:pt x="2451259" y="251936"/>
                  </a:cubicBezTo>
                  <a:cubicBezTo>
                    <a:pt x="2451259" y="252889"/>
                    <a:pt x="2451259" y="253841"/>
                    <a:pt x="2450306" y="254794"/>
                  </a:cubicBezTo>
                  <a:close/>
                  <a:moveTo>
                    <a:pt x="2452211" y="251936"/>
                  </a:moveTo>
                  <a:cubicBezTo>
                    <a:pt x="2452211" y="251936"/>
                    <a:pt x="2452211" y="250984"/>
                    <a:pt x="2451259" y="250984"/>
                  </a:cubicBezTo>
                  <a:cubicBezTo>
                    <a:pt x="2453164" y="246221"/>
                    <a:pt x="2454116" y="242411"/>
                    <a:pt x="2456021" y="238601"/>
                  </a:cubicBezTo>
                  <a:cubicBezTo>
                    <a:pt x="2457926" y="236696"/>
                    <a:pt x="2458879" y="233839"/>
                    <a:pt x="2460784" y="231934"/>
                  </a:cubicBezTo>
                  <a:cubicBezTo>
                    <a:pt x="2460784" y="232886"/>
                    <a:pt x="2459831" y="234791"/>
                    <a:pt x="2459831" y="235744"/>
                  </a:cubicBezTo>
                  <a:cubicBezTo>
                    <a:pt x="2458879" y="239554"/>
                    <a:pt x="2456974" y="243364"/>
                    <a:pt x="2456021" y="248126"/>
                  </a:cubicBezTo>
                  <a:cubicBezTo>
                    <a:pt x="2455069" y="248126"/>
                    <a:pt x="2454116" y="250031"/>
                    <a:pt x="2452211" y="251936"/>
                  </a:cubicBezTo>
                  <a:close/>
                  <a:moveTo>
                    <a:pt x="2457926" y="266224"/>
                  </a:moveTo>
                  <a:cubicBezTo>
                    <a:pt x="2457926" y="267176"/>
                    <a:pt x="2456974" y="267176"/>
                    <a:pt x="2456974" y="268129"/>
                  </a:cubicBezTo>
                  <a:cubicBezTo>
                    <a:pt x="2457926" y="267176"/>
                    <a:pt x="2457926" y="266224"/>
                    <a:pt x="2457926" y="266224"/>
                  </a:cubicBezTo>
                  <a:cubicBezTo>
                    <a:pt x="2457926" y="265271"/>
                    <a:pt x="2457926" y="266224"/>
                    <a:pt x="2457926" y="266224"/>
                  </a:cubicBezTo>
                  <a:close/>
                  <a:moveTo>
                    <a:pt x="2457926" y="374809"/>
                  </a:moveTo>
                  <a:cubicBezTo>
                    <a:pt x="2456974" y="371951"/>
                    <a:pt x="2456974" y="369094"/>
                    <a:pt x="2456021" y="367189"/>
                  </a:cubicBezTo>
                  <a:cubicBezTo>
                    <a:pt x="2456021" y="365284"/>
                    <a:pt x="2456021" y="364331"/>
                    <a:pt x="2456021" y="362426"/>
                  </a:cubicBezTo>
                  <a:cubicBezTo>
                    <a:pt x="2456021" y="355759"/>
                    <a:pt x="2456021" y="350044"/>
                    <a:pt x="2456021" y="344329"/>
                  </a:cubicBezTo>
                  <a:cubicBezTo>
                    <a:pt x="2456974" y="347186"/>
                    <a:pt x="2457926" y="350996"/>
                    <a:pt x="2458879" y="354806"/>
                  </a:cubicBezTo>
                  <a:cubicBezTo>
                    <a:pt x="2459831" y="361474"/>
                    <a:pt x="2458879" y="368141"/>
                    <a:pt x="2457926" y="374809"/>
                  </a:cubicBezTo>
                  <a:close/>
                  <a:moveTo>
                    <a:pt x="2456974" y="308134"/>
                  </a:moveTo>
                  <a:cubicBezTo>
                    <a:pt x="2456974" y="307181"/>
                    <a:pt x="2456974" y="306229"/>
                    <a:pt x="2456974" y="305276"/>
                  </a:cubicBezTo>
                  <a:cubicBezTo>
                    <a:pt x="2456974" y="304324"/>
                    <a:pt x="2457926" y="303371"/>
                    <a:pt x="2457926" y="302419"/>
                  </a:cubicBezTo>
                  <a:cubicBezTo>
                    <a:pt x="2458879" y="306229"/>
                    <a:pt x="2458879" y="310039"/>
                    <a:pt x="2459831" y="313849"/>
                  </a:cubicBezTo>
                  <a:cubicBezTo>
                    <a:pt x="2459831" y="314801"/>
                    <a:pt x="2459831" y="315754"/>
                    <a:pt x="2460784" y="317659"/>
                  </a:cubicBezTo>
                  <a:cubicBezTo>
                    <a:pt x="2458879" y="313849"/>
                    <a:pt x="2457926" y="310991"/>
                    <a:pt x="2456974" y="308134"/>
                  </a:cubicBezTo>
                  <a:close/>
                  <a:moveTo>
                    <a:pt x="2458879" y="290036"/>
                  </a:moveTo>
                  <a:cubicBezTo>
                    <a:pt x="2458879" y="289084"/>
                    <a:pt x="2459831" y="288131"/>
                    <a:pt x="2459831" y="287179"/>
                  </a:cubicBezTo>
                  <a:cubicBezTo>
                    <a:pt x="2460784" y="284321"/>
                    <a:pt x="2461736" y="280511"/>
                    <a:pt x="2463641" y="277654"/>
                  </a:cubicBezTo>
                  <a:cubicBezTo>
                    <a:pt x="2464594" y="278606"/>
                    <a:pt x="2464594" y="280511"/>
                    <a:pt x="2465546" y="281464"/>
                  </a:cubicBezTo>
                  <a:cubicBezTo>
                    <a:pt x="2463641" y="284321"/>
                    <a:pt x="2461736" y="287179"/>
                    <a:pt x="2458879" y="290036"/>
                  </a:cubicBezTo>
                  <a:close/>
                  <a:moveTo>
                    <a:pt x="2464594" y="305276"/>
                  </a:moveTo>
                  <a:cubicBezTo>
                    <a:pt x="2463641" y="301466"/>
                    <a:pt x="2462689" y="298609"/>
                    <a:pt x="2460784" y="295751"/>
                  </a:cubicBezTo>
                  <a:cubicBezTo>
                    <a:pt x="2460784" y="294799"/>
                    <a:pt x="2461736" y="293846"/>
                    <a:pt x="2462689" y="292894"/>
                  </a:cubicBezTo>
                  <a:cubicBezTo>
                    <a:pt x="2464594" y="290036"/>
                    <a:pt x="2465546" y="287179"/>
                    <a:pt x="2466499" y="285274"/>
                  </a:cubicBezTo>
                  <a:cubicBezTo>
                    <a:pt x="2465546" y="290989"/>
                    <a:pt x="2465546" y="297656"/>
                    <a:pt x="2464594" y="305276"/>
                  </a:cubicBezTo>
                  <a:close/>
                  <a:moveTo>
                    <a:pt x="2467451" y="274796"/>
                  </a:moveTo>
                  <a:cubicBezTo>
                    <a:pt x="2467451" y="273844"/>
                    <a:pt x="2466499" y="272891"/>
                    <a:pt x="2466499" y="272891"/>
                  </a:cubicBezTo>
                  <a:cubicBezTo>
                    <a:pt x="2467451" y="270986"/>
                    <a:pt x="2467451" y="270034"/>
                    <a:pt x="2468404" y="268129"/>
                  </a:cubicBezTo>
                  <a:cubicBezTo>
                    <a:pt x="2468404" y="270034"/>
                    <a:pt x="2467451" y="272891"/>
                    <a:pt x="2467451" y="274796"/>
                  </a:cubicBezTo>
                  <a:close/>
                  <a:moveTo>
                    <a:pt x="2471261" y="233839"/>
                  </a:moveTo>
                  <a:cubicBezTo>
                    <a:pt x="2471261" y="233839"/>
                    <a:pt x="2471261" y="237649"/>
                    <a:pt x="2470309" y="245269"/>
                  </a:cubicBezTo>
                  <a:cubicBezTo>
                    <a:pt x="2470309" y="245269"/>
                    <a:pt x="2470309" y="246221"/>
                    <a:pt x="2469356" y="246221"/>
                  </a:cubicBezTo>
                  <a:cubicBezTo>
                    <a:pt x="2466499" y="251936"/>
                    <a:pt x="2462689" y="256699"/>
                    <a:pt x="2459831" y="263366"/>
                  </a:cubicBezTo>
                  <a:cubicBezTo>
                    <a:pt x="2459831" y="262414"/>
                    <a:pt x="2458879" y="262414"/>
                    <a:pt x="2458879" y="261461"/>
                  </a:cubicBezTo>
                  <a:cubicBezTo>
                    <a:pt x="2459831" y="256699"/>
                    <a:pt x="2460784" y="250984"/>
                    <a:pt x="2461736" y="247174"/>
                  </a:cubicBezTo>
                  <a:cubicBezTo>
                    <a:pt x="2461736" y="246221"/>
                    <a:pt x="2462689" y="246221"/>
                    <a:pt x="2462689" y="245269"/>
                  </a:cubicBezTo>
                  <a:cubicBezTo>
                    <a:pt x="2466499" y="239554"/>
                    <a:pt x="2469356" y="234791"/>
                    <a:pt x="2472214" y="231934"/>
                  </a:cubicBezTo>
                  <a:cubicBezTo>
                    <a:pt x="2472214" y="231934"/>
                    <a:pt x="2472214" y="231934"/>
                    <a:pt x="2472214" y="231934"/>
                  </a:cubicBezTo>
                  <a:cubicBezTo>
                    <a:pt x="2472214" y="234791"/>
                    <a:pt x="2473166" y="237649"/>
                    <a:pt x="2473166" y="240506"/>
                  </a:cubicBezTo>
                  <a:cubicBezTo>
                    <a:pt x="2473166" y="241459"/>
                    <a:pt x="2472214" y="241459"/>
                    <a:pt x="2472214" y="242411"/>
                  </a:cubicBezTo>
                  <a:cubicBezTo>
                    <a:pt x="2472214" y="236696"/>
                    <a:pt x="2471261" y="233839"/>
                    <a:pt x="2471261" y="233839"/>
                  </a:cubicBezTo>
                  <a:close/>
                  <a:moveTo>
                    <a:pt x="2467451" y="211931"/>
                  </a:moveTo>
                  <a:cubicBezTo>
                    <a:pt x="2466499" y="212884"/>
                    <a:pt x="2466499" y="212884"/>
                    <a:pt x="2465546" y="213836"/>
                  </a:cubicBezTo>
                  <a:cubicBezTo>
                    <a:pt x="2465546" y="212884"/>
                    <a:pt x="2465546" y="212884"/>
                    <a:pt x="2466499" y="211931"/>
                  </a:cubicBezTo>
                  <a:cubicBezTo>
                    <a:pt x="2467451" y="210026"/>
                    <a:pt x="2467451" y="209074"/>
                    <a:pt x="2468404" y="208121"/>
                  </a:cubicBezTo>
                  <a:cubicBezTo>
                    <a:pt x="2468404" y="209074"/>
                    <a:pt x="2468404" y="210026"/>
                    <a:pt x="2468404" y="210979"/>
                  </a:cubicBezTo>
                  <a:cubicBezTo>
                    <a:pt x="2468404" y="210979"/>
                    <a:pt x="2468404" y="210979"/>
                    <a:pt x="2467451" y="211931"/>
                  </a:cubicBezTo>
                  <a:cubicBezTo>
                    <a:pt x="2468404" y="210979"/>
                    <a:pt x="2468404" y="210979"/>
                    <a:pt x="2467451" y="211931"/>
                  </a:cubicBezTo>
                  <a:cubicBezTo>
                    <a:pt x="2468404" y="210979"/>
                    <a:pt x="2467451" y="210979"/>
                    <a:pt x="2467451" y="211931"/>
                  </a:cubicBezTo>
                  <a:close/>
                  <a:moveTo>
                    <a:pt x="2470309" y="218599"/>
                  </a:moveTo>
                  <a:cubicBezTo>
                    <a:pt x="2471261" y="222409"/>
                    <a:pt x="2471261" y="226219"/>
                    <a:pt x="2472214" y="230029"/>
                  </a:cubicBezTo>
                  <a:cubicBezTo>
                    <a:pt x="2472214" y="230029"/>
                    <a:pt x="2472214" y="230029"/>
                    <a:pt x="2472214" y="230029"/>
                  </a:cubicBezTo>
                  <a:cubicBezTo>
                    <a:pt x="2470309" y="231934"/>
                    <a:pt x="2467451" y="234791"/>
                    <a:pt x="2463641" y="237649"/>
                  </a:cubicBezTo>
                  <a:cubicBezTo>
                    <a:pt x="2463641" y="236696"/>
                    <a:pt x="2463641" y="235744"/>
                    <a:pt x="2464594" y="234791"/>
                  </a:cubicBezTo>
                  <a:cubicBezTo>
                    <a:pt x="2465546" y="230981"/>
                    <a:pt x="2465546" y="227171"/>
                    <a:pt x="2466499" y="224314"/>
                  </a:cubicBezTo>
                  <a:cubicBezTo>
                    <a:pt x="2466499" y="224314"/>
                    <a:pt x="2466499" y="224314"/>
                    <a:pt x="2466499" y="224314"/>
                  </a:cubicBezTo>
                  <a:cubicBezTo>
                    <a:pt x="2467451" y="223361"/>
                    <a:pt x="2468404" y="220504"/>
                    <a:pt x="2470309" y="218599"/>
                  </a:cubicBezTo>
                  <a:close/>
                  <a:moveTo>
                    <a:pt x="2477929" y="223361"/>
                  </a:moveTo>
                  <a:cubicBezTo>
                    <a:pt x="2476976" y="219551"/>
                    <a:pt x="2476024" y="215741"/>
                    <a:pt x="2475071" y="212884"/>
                  </a:cubicBezTo>
                  <a:cubicBezTo>
                    <a:pt x="2476024" y="211931"/>
                    <a:pt x="2476976" y="210026"/>
                    <a:pt x="2477929" y="209074"/>
                  </a:cubicBezTo>
                  <a:cubicBezTo>
                    <a:pt x="2477929" y="211931"/>
                    <a:pt x="2477929" y="214789"/>
                    <a:pt x="2477929" y="217646"/>
                  </a:cubicBezTo>
                  <a:cubicBezTo>
                    <a:pt x="2477929" y="219551"/>
                    <a:pt x="2477929" y="221456"/>
                    <a:pt x="2477929" y="223361"/>
                  </a:cubicBezTo>
                  <a:close/>
                  <a:moveTo>
                    <a:pt x="2473166" y="206216"/>
                  </a:moveTo>
                  <a:cubicBezTo>
                    <a:pt x="2473166" y="205264"/>
                    <a:pt x="2472214" y="204311"/>
                    <a:pt x="2472214" y="203359"/>
                  </a:cubicBezTo>
                  <a:cubicBezTo>
                    <a:pt x="2472214" y="202406"/>
                    <a:pt x="2472214" y="202406"/>
                    <a:pt x="2471261" y="201454"/>
                  </a:cubicBezTo>
                  <a:cubicBezTo>
                    <a:pt x="2472214" y="199549"/>
                    <a:pt x="2473166" y="197644"/>
                    <a:pt x="2474119" y="195739"/>
                  </a:cubicBezTo>
                  <a:cubicBezTo>
                    <a:pt x="2475071" y="193834"/>
                    <a:pt x="2476976" y="190976"/>
                    <a:pt x="2477929" y="189071"/>
                  </a:cubicBezTo>
                  <a:cubicBezTo>
                    <a:pt x="2477929" y="192881"/>
                    <a:pt x="2477929" y="197644"/>
                    <a:pt x="2477929" y="201454"/>
                  </a:cubicBezTo>
                  <a:cubicBezTo>
                    <a:pt x="2476024" y="203359"/>
                    <a:pt x="2474119" y="205264"/>
                    <a:pt x="2473166" y="206216"/>
                  </a:cubicBezTo>
                  <a:close/>
                  <a:moveTo>
                    <a:pt x="2473166" y="255746"/>
                  </a:moveTo>
                  <a:cubicBezTo>
                    <a:pt x="2474119" y="254794"/>
                    <a:pt x="2474119" y="252889"/>
                    <a:pt x="2475071" y="251936"/>
                  </a:cubicBezTo>
                  <a:cubicBezTo>
                    <a:pt x="2476024" y="256699"/>
                    <a:pt x="2476024" y="261461"/>
                    <a:pt x="2476976" y="266224"/>
                  </a:cubicBezTo>
                  <a:cubicBezTo>
                    <a:pt x="2477929" y="274796"/>
                    <a:pt x="2478881" y="283369"/>
                    <a:pt x="2479834" y="292894"/>
                  </a:cubicBezTo>
                  <a:cubicBezTo>
                    <a:pt x="2479834" y="293846"/>
                    <a:pt x="2479834" y="295751"/>
                    <a:pt x="2479834" y="296704"/>
                  </a:cubicBezTo>
                  <a:cubicBezTo>
                    <a:pt x="2479834" y="296704"/>
                    <a:pt x="2479834" y="295751"/>
                    <a:pt x="2479834" y="295751"/>
                  </a:cubicBezTo>
                  <a:cubicBezTo>
                    <a:pt x="2477929" y="292894"/>
                    <a:pt x="2476976" y="290036"/>
                    <a:pt x="2475071" y="288131"/>
                  </a:cubicBezTo>
                  <a:cubicBezTo>
                    <a:pt x="2475071" y="275749"/>
                    <a:pt x="2474119" y="264319"/>
                    <a:pt x="2473166" y="255746"/>
                  </a:cubicBezTo>
                  <a:close/>
                  <a:moveTo>
                    <a:pt x="2481739" y="324326"/>
                  </a:moveTo>
                  <a:cubicBezTo>
                    <a:pt x="2481739" y="325279"/>
                    <a:pt x="2480786" y="325279"/>
                    <a:pt x="2480786" y="326231"/>
                  </a:cubicBezTo>
                  <a:cubicBezTo>
                    <a:pt x="2479834" y="330041"/>
                    <a:pt x="2477929" y="334804"/>
                    <a:pt x="2476024" y="340519"/>
                  </a:cubicBezTo>
                  <a:cubicBezTo>
                    <a:pt x="2476024" y="329089"/>
                    <a:pt x="2476024" y="317659"/>
                    <a:pt x="2476024" y="308134"/>
                  </a:cubicBezTo>
                  <a:cubicBezTo>
                    <a:pt x="2476024" y="308134"/>
                    <a:pt x="2476024" y="308134"/>
                    <a:pt x="2476024" y="308134"/>
                  </a:cubicBezTo>
                  <a:cubicBezTo>
                    <a:pt x="2476976" y="311944"/>
                    <a:pt x="2478881" y="314801"/>
                    <a:pt x="2479834" y="318611"/>
                  </a:cubicBezTo>
                  <a:cubicBezTo>
                    <a:pt x="2479834" y="319564"/>
                    <a:pt x="2480786" y="321469"/>
                    <a:pt x="2480786" y="322421"/>
                  </a:cubicBezTo>
                  <a:cubicBezTo>
                    <a:pt x="2480786" y="322421"/>
                    <a:pt x="2481739" y="323374"/>
                    <a:pt x="2481739" y="324326"/>
                  </a:cubicBezTo>
                  <a:cubicBezTo>
                    <a:pt x="2481739" y="324326"/>
                    <a:pt x="2481739" y="324326"/>
                    <a:pt x="2481739" y="324326"/>
                  </a:cubicBezTo>
                  <a:close/>
                  <a:moveTo>
                    <a:pt x="2436971" y="215741"/>
                  </a:moveTo>
                  <a:cubicBezTo>
                    <a:pt x="2440781" y="209074"/>
                    <a:pt x="2444591" y="202406"/>
                    <a:pt x="2447449" y="195739"/>
                  </a:cubicBezTo>
                  <a:cubicBezTo>
                    <a:pt x="2451259" y="190024"/>
                    <a:pt x="2454116" y="184309"/>
                    <a:pt x="2457926" y="178594"/>
                  </a:cubicBezTo>
                  <a:cubicBezTo>
                    <a:pt x="2464594" y="168116"/>
                    <a:pt x="2469356" y="157639"/>
                    <a:pt x="2475071" y="150971"/>
                  </a:cubicBezTo>
                  <a:cubicBezTo>
                    <a:pt x="2477929" y="146209"/>
                    <a:pt x="2480786" y="142399"/>
                    <a:pt x="2482691" y="138589"/>
                  </a:cubicBezTo>
                  <a:cubicBezTo>
                    <a:pt x="2481739" y="142399"/>
                    <a:pt x="2481739" y="148114"/>
                    <a:pt x="2480786" y="154781"/>
                  </a:cubicBezTo>
                  <a:cubicBezTo>
                    <a:pt x="2479834" y="162401"/>
                    <a:pt x="2479834" y="170974"/>
                    <a:pt x="2478881" y="181451"/>
                  </a:cubicBezTo>
                  <a:cubicBezTo>
                    <a:pt x="2476024" y="185261"/>
                    <a:pt x="2473166" y="189071"/>
                    <a:pt x="2470309" y="193834"/>
                  </a:cubicBezTo>
                  <a:cubicBezTo>
                    <a:pt x="2470309" y="193834"/>
                    <a:pt x="2470309" y="194786"/>
                    <a:pt x="2469356" y="194786"/>
                  </a:cubicBezTo>
                  <a:cubicBezTo>
                    <a:pt x="2466499" y="186214"/>
                    <a:pt x="2465546" y="181451"/>
                    <a:pt x="2465546" y="181451"/>
                  </a:cubicBezTo>
                  <a:cubicBezTo>
                    <a:pt x="2465546" y="181451"/>
                    <a:pt x="2466499" y="187166"/>
                    <a:pt x="2467451" y="197644"/>
                  </a:cubicBezTo>
                  <a:cubicBezTo>
                    <a:pt x="2465546" y="201454"/>
                    <a:pt x="2462689" y="205264"/>
                    <a:pt x="2460784" y="209074"/>
                  </a:cubicBezTo>
                  <a:cubicBezTo>
                    <a:pt x="2456021" y="216694"/>
                    <a:pt x="2452211" y="225266"/>
                    <a:pt x="2447449" y="234791"/>
                  </a:cubicBezTo>
                  <a:cubicBezTo>
                    <a:pt x="2443639" y="238601"/>
                    <a:pt x="2440781" y="243364"/>
                    <a:pt x="2436971" y="247174"/>
                  </a:cubicBezTo>
                  <a:cubicBezTo>
                    <a:pt x="2436971" y="248126"/>
                    <a:pt x="2436019" y="248126"/>
                    <a:pt x="2436019" y="249079"/>
                  </a:cubicBezTo>
                  <a:cubicBezTo>
                    <a:pt x="2436019" y="249079"/>
                    <a:pt x="2436019" y="249079"/>
                    <a:pt x="2436019" y="249079"/>
                  </a:cubicBezTo>
                  <a:cubicBezTo>
                    <a:pt x="2435066" y="240506"/>
                    <a:pt x="2434114" y="232886"/>
                    <a:pt x="2433161" y="225266"/>
                  </a:cubicBezTo>
                  <a:cubicBezTo>
                    <a:pt x="2433161" y="221456"/>
                    <a:pt x="2435066" y="218599"/>
                    <a:pt x="2436971" y="215741"/>
                  </a:cubicBezTo>
                  <a:close/>
                  <a:moveTo>
                    <a:pt x="2416016" y="313849"/>
                  </a:moveTo>
                  <a:cubicBezTo>
                    <a:pt x="2416016" y="313849"/>
                    <a:pt x="2416016" y="313849"/>
                    <a:pt x="2416016" y="313849"/>
                  </a:cubicBezTo>
                  <a:cubicBezTo>
                    <a:pt x="2415064" y="310039"/>
                    <a:pt x="2414111" y="307181"/>
                    <a:pt x="2413159" y="304324"/>
                  </a:cubicBezTo>
                  <a:cubicBezTo>
                    <a:pt x="2414111" y="303371"/>
                    <a:pt x="2414111" y="302419"/>
                    <a:pt x="2415064" y="301466"/>
                  </a:cubicBezTo>
                  <a:cubicBezTo>
                    <a:pt x="2415064" y="302419"/>
                    <a:pt x="2415064" y="302419"/>
                    <a:pt x="2415064" y="303371"/>
                  </a:cubicBezTo>
                  <a:cubicBezTo>
                    <a:pt x="2415064" y="306229"/>
                    <a:pt x="2416016" y="310039"/>
                    <a:pt x="2416016" y="313849"/>
                  </a:cubicBezTo>
                  <a:cubicBezTo>
                    <a:pt x="2416016" y="313849"/>
                    <a:pt x="2416016" y="313849"/>
                    <a:pt x="2416016" y="313849"/>
                  </a:cubicBezTo>
                  <a:close/>
                  <a:moveTo>
                    <a:pt x="2422684" y="288131"/>
                  </a:moveTo>
                  <a:cubicBezTo>
                    <a:pt x="2422684" y="290036"/>
                    <a:pt x="2422684" y="291941"/>
                    <a:pt x="2422684" y="293846"/>
                  </a:cubicBezTo>
                  <a:cubicBezTo>
                    <a:pt x="2421731" y="295751"/>
                    <a:pt x="2421731" y="297656"/>
                    <a:pt x="2420779" y="299561"/>
                  </a:cubicBezTo>
                  <a:cubicBezTo>
                    <a:pt x="2419826" y="297656"/>
                    <a:pt x="2419826" y="295751"/>
                    <a:pt x="2418874" y="293846"/>
                  </a:cubicBezTo>
                  <a:cubicBezTo>
                    <a:pt x="2419826" y="292894"/>
                    <a:pt x="2419826" y="291941"/>
                    <a:pt x="2420779" y="290989"/>
                  </a:cubicBezTo>
                  <a:cubicBezTo>
                    <a:pt x="2421731" y="290036"/>
                    <a:pt x="2421731" y="289084"/>
                    <a:pt x="2422684" y="288131"/>
                  </a:cubicBezTo>
                  <a:close/>
                  <a:moveTo>
                    <a:pt x="2414111" y="259556"/>
                  </a:moveTo>
                  <a:cubicBezTo>
                    <a:pt x="2416016" y="255746"/>
                    <a:pt x="2417921" y="251936"/>
                    <a:pt x="2419826" y="248126"/>
                  </a:cubicBezTo>
                  <a:cubicBezTo>
                    <a:pt x="2419826" y="253841"/>
                    <a:pt x="2420779" y="259556"/>
                    <a:pt x="2420779" y="266224"/>
                  </a:cubicBezTo>
                  <a:cubicBezTo>
                    <a:pt x="2417921" y="270034"/>
                    <a:pt x="2415064" y="273844"/>
                    <a:pt x="2412206" y="277654"/>
                  </a:cubicBezTo>
                  <a:cubicBezTo>
                    <a:pt x="2411254" y="276701"/>
                    <a:pt x="2411254" y="275749"/>
                    <a:pt x="2410301" y="273844"/>
                  </a:cubicBezTo>
                  <a:cubicBezTo>
                    <a:pt x="2409349" y="272891"/>
                    <a:pt x="2409349" y="271939"/>
                    <a:pt x="2408396" y="270986"/>
                  </a:cubicBezTo>
                  <a:cubicBezTo>
                    <a:pt x="2410301" y="268129"/>
                    <a:pt x="2412206" y="263366"/>
                    <a:pt x="2414111" y="259556"/>
                  </a:cubicBezTo>
                  <a:close/>
                  <a:moveTo>
                    <a:pt x="2406491" y="275749"/>
                  </a:moveTo>
                  <a:cubicBezTo>
                    <a:pt x="2406491" y="275749"/>
                    <a:pt x="2406491" y="275749"/>
                    <a:pt x="2406491" y="275749"/>
                  </a:cubicBezTo>
                  <a:cubicBezTo>
                    <a:pt x="2407444" y="277654"/>
                    <a:pt x="2408396" y="279559"/>
                    <a:pt x="2409349" y="282416"/>
                  </a:cubicBezTo>
                  <a:cubicBezTo>
                    <a:pt x="2408396" y="283369"/>
                    <a:pt x="2407444" y="285274"/>
                    <a:pt x="2406491" y="286226"/>
                  </a:cubicBezTo>
                  <a:cubicBezTo>
                    <a:pt x="2405539" y="284321"/>
                    <a:pt x="2405539" y="282416"/>
                    <a:pt x="2404586" y="280511"/>
                  </a:cubicBezTo>
                  <a:cubicBezTo>
                    <a:pt x="2405539" y="278606"/>
                    <a:pt x="2405539" y="276701"/>
                    <a:pt x="2406491" y="275749"/>
                  </a:cubicBezTo>
                  <a:close/>
                  <a:moveTo>
                    <a:pt x="2405539" y="317659"/>
                  </a:moveTo>
                  <a:cubicBezTo>
                    <a:pt x="2406491" y="321469"/>
                    <a:pt x="2407444" y="324326"/>
                    <a:pt x="2408396" y="328136"/>
                  </a:cubicBezTo>
                  <a:cubicBezTo>
                    <a:pt x="2408396" y="330041"/>
                    <a:pt x="2408396" y="331946"/>
                    <a:pt x="2408396" y="334804"/>
                  </a:cubicBezTo>
                  <a:cubicBezTo>
                    <a:pt x="2408396" y="333851"/>
                    <a:pt x="2407444" y="332899"/>
                    <a:pt x="2407444" y="332899"/>
                  </a:cubicBezTo>
                  <a:cubicBezTo>
                    <a:pt x="2407444" y="332899"/>
                    <a:pt x="2407444" y="335756"/>
                    <a:pt x="2407444" y="340519"/>
                  </a:cubicBezTo>
                  <a:cubicBezTo>
                    <a:pt x="2406491" y="344329"/>
                    <a:pt x="2405539" y="347186"/>
                    <a:pt x="2404586" y="350996"/>
                  </a:cubicBezTo>
                  <a:cubicBezTo>
                    <a:pt x="2403634" y="355759"/>
                    <a:pt x="2401729" y="359569"/>
                    <a:pt x="2400776" y="364331"/>
                  </a:cubicBezTo>
                  <a:cubicBezTo>
                    <a:pt x="2399824" y="357664"/>
                    <a:pt x="2398871" y="350044"/>
                    <a:pt x="2398871" y="343376"/>
                  </a:cubicBezTo>
                  <a:cubicBezTo>
                    <a:pt x="2398871" y="340519"/>
                    <a:pt x="2397919" y="336709"/>
                    <a:pt x="2397919" y="333851"/>
                  </a:cubicBezTo>
                  <a:cubicBezTo>
                    <a:pt x="2397919" y="332899"/>
                    <a:pt x="2397919" y="331946"/>
                    <a:pt x="2398871" y="330994"/>
                  </a:cubicBezTo>
                  <a:cubicBezTo>
                    <a:pt x="2399824" y="325279"/>
                    <a:pt x="2402681" y="321469"/>
                    <a:pt x="2405539" y="317659"/>
                  </a:cubicBezTo>
                  <a:close/>
                  <a:moveTo>
                    <a:pt x="2398871" y="291941"/>
                  </a:moveTo>
                  <a:cubicBezTo>
                    <a:pt x="2398871" y="292894"/>
                    <a:pt x="2399824" y="293846"/>
                    <a:pt x="2399824" y="295751"/>
                  </a:cubicBezTo>
                  <a:cubicBezTo>
                    <a:pt x="2397919" y="298609"/>
                    <a:pt x="2396014" y="300514"/>
                    <a:pt x="2394109" y="303371"/>
                  </a:cubicBezTo>
                  <a:cubicBezTo>
                    <a:pt x="2394109" y="303371"/>
                    <a:pt x="2394109" y="302419"/>
                    <a:pt x="2394109" y="302419"/>
                  </a:cubicBezTo>
                  <a:cubicBezTo>
                    <a:pt x="2396014" y="298609"/>
                    <a:pt x="2397919" y="295751"/>
                    <a:pt x="2398871" y="291941"/>
                  </a:cubicBezTo>
                  <a:close/>
                  <a:moveTo>
                    <a:pt x="2393156" y="267176"/>
                  </a:moveTo>
                  <a:cubicBezTo>
                    <a:pt x="2392204" y="268129"/>
                    <a:pt x="2392204" y="269081"/>
                    <a:pt x="2391251" y="270034"/>
                  </a:cubicBezTo>
                  <a:cubicBezTo>
                    <a:pt x="2390299" y="264319"/>
                    <a:pt x="2390299" y="259556"/>
                    <a:pt x="2389346" y="254794"/>
                  </a:cubicBezTo>
                  <a:cubicBezTo>
                    <a:pt x="2391251" y="258604"/>
                    <a:pt x="2392204" y="263366"/>
                    <a:pt x="2393156" y="267176"/>
                  </a:cubicBezTo>
                  <a:close/>
                  <a:moveTo>
                    <a:pt x="2351246" y="278606"/>
                  </a:moveTo>
                  <a:cubicBezTo>
                    <a:pt x="2351246" y="277654"/>
                    <a:pt x="2351246" y="277654"/>
                    <a:pt x="2351246" y="278606"/>
                  </a:cubicBezTo>
                  <a:lnTo>
                    <a:pt x="2351246" y="275749"/>
                  </a:lnTo>
                  <a:cubicBezTo>
                    <a:pt x="2351246" y="276701"/>
                    <a:pt x="2351246" y="277654"/>
                    <a:pt x="2351246" y="278606"/>
                  </a:cubicBezTo>
                  <a:close/>
                  <a:moveTo>
                    <a:pt x="2378869" y="295751"/>
                  </a:moveTo>
                  <a:cubicBezTo>
                    <a:pt x="2377916" y="298609"/>
                    <a:pt x="2376011" y="300514"/>
                    <a:pt x="2375059" y="303371"/>
                  </a:cubicBezTo>
                  <a:cubicBezTo>
                    <a:pt x="2375059" y="304324"/>
                    <a:pt x="2374106" y="304324"/>
                    <a:pt x="2374106" y="305276"/>
                  </a:cubicBezTo>
                  <a:cubicBezTo>
                    <a:pt x="2374106" y="305276"/>
                    <a:pt x="2374106" y="304324"/>
                    <a:pt x="2374106" y="304324"/>
                  </a:cubicBezTo>
                  <a:cubicBezTo>
                    <a:pt x="2376964" y="261461"/>
                    <a:pt x="2376011" y="231934"/>
                    <a:pt x="2376011" y="231934"/>
                  </a:cubicBezTo>
                  <a:cubicBezTo>
                    <a:pt x="2376011" y="231934"/>
                    <a:pt x="2372201" y="249079"/>
                    <a:pt x="2366486" y="277654"/>
                  </a:cubicBezTo>
                  <a:cubicBezTo>
                    <a:pt x="2365534" y="275749"/>
                    <a:pt x="2365534" y="273844"/>
                    <a:pt x="2364581" y="272891"/>
                  </a:cubicBezTo>
                  <a:cubicBezTo>
                    <a:pt x="2363629" y="270034"/>
                    <a:pt x="2362676" y="267176"/>
                    <a:pt x="2361724" y="264319"/>
                  </a:cubicBezTo>
                  <a:cubicBezTo>
                    <a:pt x="2361724" y="257651"/>
                    <a:pt x="2361724" y="250984"/>
                    <a:pt x="2361724" y="245269"/>
                  </a:cubicBezTo>
                  <a:lnTo>
                    <a:pt x="2365534" y="234791"/>
                  </a:lnTo>
                  <a:lnTo>
                    <a:pt x="2376011" y="211931"/>
                  </a:lnTo>
                  <a:cubicBezTo>
                    <a:pt x="2376011" y="221456"/>
                    <a:pt x="2376011" y="232886"/>
                    <a:pt x="2376011" y="244316"/>
                  </a:cubicBezTo>
                  <a:cubicBezTo>
                    <a:pt x="2376011" y="258604"/>
                    <a:pt x="2376011" y="274796"/>
                    <a:pt x="2376964" y="290989"/>
                  </a:cubicBezTo>
                  <a:cubicBezTo>
                    <a:pt x="2378869" y="292894"/>
                    <a:pt x="2378869" y="293846"/>
                    <a:pt x="2378869" y="295751"/>
                  </a:cubicBezTo>
                  <a:close/>
                  <a:moveTo>
                    <a:pt x="2362676" y="180499"/>
                  </a:moveTo>
                  <a:cubicBezTo>
                    <a:pt x="2364581" y="175736"/>
                    <a:pt x="2366486" y="170974"/>
                    <a:pt x="2368391" y="166211"/>
                  </a:cubicBezTo>
                  <a:cubicBezTo>
                    <a:pt x="2372201" y="157639"/>
                    <a:pt x="2375059" y="149066"/>
                    <a:pt x="2377916" y="140494"/>
                  </a:cubicBezTo>
                  <a:cubicBezTo>
                    <a:pt x="2377916" y="141446"/>
                    <a:pt x="2378869" y="142399"/>
                    <a:pt x="2378869" y="143351"/>
                  </a:cubicBezTo>
                  <a:cubicBezTo>
                    <a:pt x="2379821" y="146209"/>
                    <a:pt x="2379821" y="149066"/>
                    <a:pt x="2378869" y="152876"/>
                  </a:cubicBezTo>
                  <a:cubicBezTo>
                    <a:pt x="2377916" y="149066"/>
                    <a:pt x="2377916" y="147161"/>
                    <a:pt x="2377916" y="147161"/>
                  </a:cubicBezTo>
                  <a:cubicBezTo>
                    <a:pt x="2377916" y="147161"/>
                    <a:pt x="2377916" y="156686"/>
                    <a:pt x="2377916" y="173831"/>
                  </a:cubicBezTo>
                  <a:cubicBezTo>
                    <a:pt x="2377916" y="182404"/>
                    <a:pt x="2377916" y="191929"/>
                    <a:pt x="2377916" y="203359"/>
                  </a:cubicBezTo>
                  <a:cubicBezTo>
                    <a:pt x="2373154" y="210979"/>
                    <a:pt x="2368391" y="219551"/>
                    <a:pt x="2362676" y="227171"/>
                  </a:cubicBezTo>
                  <a:cubicBezTo>
                    <a:pt x="2361724" y="206216"/>
                    <a:pt x="2361724" y="190976"/>
                    <a:pt x="2360771" y="185261"/>
                  </a:cubicBezTo>
                  <a:cubicBezTo>
                    <a:pt x="2361724" y="183356"/>
                    <a:pt x="2361724" y="182404"/>
                    <a:pt x="2362676" y="180499"/>
                  </a:cubicBezTo>
                  <a:close/>
                  <a:moveTo>
                    <a:pt x="2340769" y="241459"/>
                  </a:moveTo>
                  <a:cubicBezTo>
                    <a:pt x="2341721" y="239554"/>
                    <a:pt x="2341721" y="237649"/>
                    <a:pt x="2342674" y="235744"/>
                  </a:cubicBezTo>
                  <a:cubicBezTo>
                    <a:pt x="2344579" y="230981"/>
                    <a:pt x="2345531" y="226219"/>
                    <a:pt x="2347436" y="221456"/>
                  </a:cubicBezTo>
                  <a:cubicBezTo>
                    <a:pt x="2352199" y="210026"/>
                    <a:pt x="2356009" y="198596"/>
                    <a:pt x="2359819" y="187166"/>
                  </a:cubicBezTo>
                  <a:cubicBezTo>
                    <a:pt x="2358866" y="194786"/>
                    <a:pt x="2356961" y="212884"/>
                    <a:pt x="2355056" y="236696"/>
                  </a:cubicBezTo>
                  <a:cubicBezTo>
                    <a:pt x="2354104" y="232886"/>
                    <a:pt x="2353151" y="230029"/>
                    <a:pt x="2353151" y="230029"/>
                  </a:cubicBezTo>
                  <a:cubicBezTo>
                    <a:pt x="2353151" y="230029"/>
                    <a:pt x="2354104" y="233839"/>
                    <a:pt x="2354104" y="241459"/>
                  </a:cubicBezTo>
                  <a:cubicBezTo>
                    <a:pt x="2351246" y="247174"/>
                    <a:pt x="2347436" y="253841"/>
                    <a:pt x="2344579" y="259556"/>
                  </a:cubicBezTo>
                  <a:cubicBezTo>
                    <a:pt x="2344579" y="259556"/>
                    <a:pt x="2344579" y="259556"/>
                    <a:pt x="2344579" y="259556"/>
                  </a:cubicBezTo>
                  <a:cubicBezTo>
                    <a:pt x="2342674" y="254794"/>
                    <a:pt x="2340769" y="250031"/>
                    <a:pt x="2339816" y="245269"/>
                  </a:cubicBezTo>
                  <a:lnTo>
                    <a:pt x="2340769" y="241459"/>
                  </a:lnTo>
                  <a:close/>
                  <a:moveTo>
                    <a:pt x="2344579" y="320516"/>
                  </a:moveTo>
                  <a:cubicBezTo>
                    <a:pt x="2342674" y="316706"/>
                    <a:pt x="2340769" y="313849"/>
                    <a:pt x="2339816" y="310991"/>
                  </a:cubicBezTo>
                  <a:lnTo>
                    <a:pt x="2339816" y="310039"/>
                  </a:lnTo>
                  <a:cubicBezTo>
                    <a:pt x="2341721" y="313849"/>
                    <a:pt x="2343626" y="317659"/>
                    <a:pt x="2344579" y="320516"/>
                  </a:cubicBezTo>
                  <a:close/>
                  <a:moveTo>
                    <a:pt x="2337911" y="317659"/>
                  </a:moveTo>
                  <a:cubicBezTo>
                    <a:pt x="2338864" y="320516"/>
                    <a:pt x="2339816" y="324326"/>
                    <a:pt x="2341721" y="327184"/>
                  </a:cubicBezTo>
                  <a:lnTo>
                    <a:pt x="2336959" y="321469"/>
                  </a:lnTo>
                  <a:lnTo>
                    <a:pt x="2337911" y="317659"/>
                  </a:lnTo>
                  <a:close/>
                  <a:moveTo>
                    <a:pt x="2332196" y="280511"/>
                  </a:moveTo>
                  <a:cubicBezTo>
                    <a:pt x="2332196" y="281464"/>
                    <a:pt x="2333149" y="282416"/>
                    <a:pt x="2333149" y="283369"/>
                  </a:cubicBezTo>
                  <a:cubicBezTo>
                    <a:pt x="2333149" y="282416"/>
                    <a:pt x="2332196" y="282416"/>
                    <a:pt x="2332196" y="281464"/>
                  </a:cubicBezTo>
                  <a:lnTo>
                    <a:pt x="2332196" y="280511"/>
                  </a:lnTo>
                  <a:close/>
                  <a:moveTo>
                    <a:pt x="2330291" y="289084"/>
                  </a:moveTo>
                  <a:cubicBezTo>
                    <a:pt x="2330291" y="290036"/>
                    <a:pt x="2331244" y="290989"/>
                    <a:pt x="2331244" y="290989"/>
                  </a:cubicBezTo>
                  <a:lnTo>
                    <a:pt x="2330291" y="292894"/>
                  </a:lnTo>
                  <a:cubicBezTo>
                    <a:pt x="2330291" y="291941"/>
                    <a:pt x="2329339" y="291941"/>
                    <a:pt x="2329339" y="290989"/>
                  </a:cubicBezTo>
                  <a:lnTo>
                    <a:pt x="2330291" y="289084"/>
                  </a:lnTo>
                  <a:close/>
                  <a:moveTo>
                    <a:pt x="2329339" y="293846"/>
                  </a:moveTo>
                  <a:lnTo>
                    <a:pt x="2329339" y="292894"/>
                  </a:lnTo>
                  <a:cubicBezTo>
                    <a:pt x="2329339" y="293846"/>
                    <a:pt x="2329339" y="293846"/>
                    <a:pt x="2330291" y="294799"/>
                  </a:cubicBezTo>
                  <a:lnTo>
                    <a:pt x="2328386" y="299561"/>
                  </a:lnTo>
                  <a:cubicBezTo>
                    <a:pt x="2328386" y="299561"/>
                    <a:pt x="2328386" y="299561"/>
                    <a:pt x="2328386" y="298609"/>
                  </a:cubicBezTo>
                  <a:lnTo>
                    <a:pt x="2329339" y="293846"/>
                  </a:lnTo>
                  <a:close/>
                  <a:moveTo>
                    <a:pt x="2313146" y="194786"/>
                  </a:moveTo>
                  <a:cubicBezTo>
                    <a:pt x="2314099" y="196691"/>
                    <a:pt x="2314099" y="199549"/>
                    <a:pt x="2315051" y="201454"/>
                  </a:cubicBezTo>
                  <a:cubicBezTo>
                    <a:pt x="2315051" y="202406"/>
                    <a:pt x="2316004" y="203359"/>
                    <a:pt x="2316004" y="205264"/>
                  </a:cubicBezTo>
                  <a:cubicBezTo>
                    <a:pt x="2315051" y="208121"/>
                    <a:pt x="2314099" y="211931"/>
                    <a:pt x="2314099" y="214789"/>
                  </a:cubicBezTo>
                  <a:cubicBezTo>
                    <a:pt x="2314099" y="214789"/>
                    <a:pt x="2314099" y="214789"/>
                    <a:pt x="2314099" y="214789"/>
                  </a:cubicBezTo>
                  <a:cubicBezTo>
                    <a:pt x="2313146" y="211931"/>
                    <a:pt x="2311241" y="210026"/>
                    <a:pt x="2310289" y="207169"/>
                  </a:cubicBezTo>
                  <a:cubicBezTo>
                    <a:pt x="2311241" y="202406"/>
                    <a:pt x="2312194" y="198596"/>
                    <a:pt x="2313146" y="194786"/>
                  </a:cubicBezTo>
                  <a:close/>
                  <a:moveTo>
                    <a:pt x="2304574" y="197644"/>
                  </a:moveTo>
                  <a:cubicBezTo>
                    <a:pt x="2304574" y="198596"/>
                    <a:pt x="2305526" y="199549"/>
                    <a:pt x="2305526" y="200501"/>
                  </a:cubicBezTo>
                  <a:cubicBezTo>
                    <a:pt x="2304574" y="202406"/>
                    <a:pt x="2304574" y="204311"/>
                    <a:pt x="2303621" y="205264"/>
                  </a:cubicBezTo>
                  <a:cubicBezTo>
                    <a:pt x="2304574" y="203359"/>
                    <a:pt x="2304574" y="200501"/>
                    <a:pt x="2304574" y="197644"/>
                  </a:cubicBezTo>
                  <a:close/>
                  <a:moveTo>
                    <a:pt x="2297906" y="272891"/>
                  </a:moveTo>
                  <a:cubicBezTo>
                    <a:pt x="2298859" y="267176"/>
                    <a:pt x="2298859" y="262414"/>
                    <a:pt x="2298859" y="256699"/>
                  </a:cubicBezTo>
                  <a:cubicBezTo>
                    <a:pt x="2298859" y="254794"/>
                    <a:pt x="2299811" y="252889"/>
                    <a:pt x="2299811" y="250984"/>
                  </a:cubicBezTo>
                  <a:cubicBezTo>
                    <a:pt x="2303621" y="236696"/>
                    <a:pt x="2306479" y="223361"/>
                    <a:pt x="2308384" y="211931"/>
                  </a:cubicBezTo>
                  <a:cubicBezTo>
                    <a:pt x="2308384" y="212884"/>
                    <a:pt x="2309336" y="214789"/>
                    <a:pt x="2309336" y="215741"/>
                  </a:cubicBezTo>
                  <a:cubicBezTo>
                    <a:pt x="2310289" y="217646"/>
                    <a:pt x="2310289" y="219551"/>
                    <a:pt x="2311241" y="221456"/>
                  </a:cubicBezTo>
                  <a:cubicBezTo>
                    <a:pt x="2311241" y="221456"/>
                    <a:pt x="2311241" y="221456"/>
                    <a:pt x="2311241" y="221456"/>
                  </a:cubicBezTo>
                  <a:cubicBezTo>
                    <a:pt x="2309336" y="231934"/>
                    <a:pt x="2306479" y="242411"/>
                    <a:pt x="2304574" y="253841"/>
                  </a:cubicBezTo>
                  <a:cubicBezTo>
                    <a:pt x="2302669" y="252889"/>
                    <a:pt x="2302669" y="251936"/>
                    <a:pt x="2302669" y="251936"/>
                  </a:cubicBezTo>
                  <a:cubicBezTo>
                    <a:pt x="2302669" y="251936"/>
                    <a:pt x="2303621" y="252889"/>
                    <a:pt x="2304574" y="253841"/>
                  </a:cubicBezTo>
                  <a:cubicBezTo>
                    <a:pt x="2302669" y="260509"/>
                    <a:pt x="2301716" y="268129"/>
                    <a:pt x="2299811" y="274796"/>
                  </a:cubicBezTo>
                  <a:cubicBezTo>
                    <a:pt x="2297906" y="283369"/>
                    <a:pt x="2296001" y="291941"/>
                    <a:pt x="2294096" y="300514"/>
                  </a:cubicBezTo>
                  <a:cubicBezTo>
                    <a:pt x="2296954" y="291941"/>
                    <a:pt x="2297906" y="282416"/>
                    <a:pt x="2297906" y="272891"/>
                  </a:cubicBezTo>
                  <a:close/>
                  <a:moveTo>
                    <a:pt x="2271236" y="369094"/>
                  </a:moveTo>
                  <a:cubicBezTo>
                    <a:pt x="2271236" y="371951"/>
                    <a:pt x="2271236" y="374809"/>
                    <a:pt x="2270284" y="376714"/>
                  </a:cubicBezTo>
                  <a:lnTo>
                    <a:pt x="2270284" y="376714"/>
                  </a:lnTo>
                  <a:cubicBezTo>
                    <a:pt x="2270284" y="375761"/>
                    <a:pt x="2270284" y="373856"/>
                    <a:pt x="2270284" y="372904"/>
                  </a:cubicBezTo>
                  <a:cubicBezTo>
                    <a:pt x="2270284" y="371951"/>
                    <a:pt x="2270284" y="370046"/>
                    <a:pt x="2271236" y="369094"/>
                  </a:cubicBezTo>
                  <a:close/>
                  <a:moveTo>
                    <a:pt x="2252186" y="297656"/>
                  </a:moveTo>
                  <a:cubicBezTo>
                    <a:pt x="2252186" y="302419"/>
                    <a:pt x="2251234" y="307181"/>
                    <a:pt x="2251234" y="311944"/>
                  </a:cubicBezTo>
                  <a:cubicBezTo>
                    <a:pt x="2251234" y="310991"/>
                    <a:pt x="2250281" y="310039"/>
                    <a:pt x="2250281" y="308134"/>
                  </a:cubicBezTo>
                  <a:cubicBezTo>
                    <a:pt x="2251234" y="305276"/>
                    <a:pt x="2252186" y="301466"/>
                    <a:pt x="2252186" y="297656"/>
                  </a:cubicBezTo>
                  <a:close/>
                  <a:moveTo>
                    <a:pt x="2215991" y="252889"/>
                  </a:moveTo>
                  <a:lnTo>
                    <a:pt x="2215991" y="256699"/>
                  </a:lnTo>
                  <a:cubicBezTo>
                    <a:pt x="2215991" y="256699"/>
                    <a:pt x="2215991" y="256699"/>
                    <a:pt x="2215991" y="256699"/>
                  </a:cubicBezTo>
                  <a:cubicBezTo>
                    <a:pt x="2215039" y="255746"/>
                    <a:pt x="2215991" y="254794"/>
                    <a:pt x="2215991" y="252889"/>
                  </a:cubicBezTo>
                  <a:close/>
                  <a:moveTo>
                    <a:pt x="2211229" y="281464"/>
                  </a:moveTo>
                  <a:cubicBezTo>
                    <a:pt x="2212181" y="273844"/>
                    <a:pt x="2213134" y="267176"/>
                    <a:pt x="2214086" y="260509"/>
                  </a:cubicBezTo>
                  <a:cubicBezTo>
                    <a:pt x="2214086" y="260509"/>
                    <a:pt x="2215039" y="261461"/>
                    <a:pt x="2215039" y="261461"/>
                  </a:cubicBezTo>
                  <a:lnTo>
                    <a:pt x="2215039" y="267176"/>
                  </a:lnTo>
                  <a:cubicBezTo>
                    <a:pt x="2214086" y="277654"/>
                    <a:pt x="2213134" y="289084"/>
                    <a:pt x="2212181" y="299561"/>
                  </a:cubicBezTo>
                  <a:cubicBezTo>
                    <a:pt x="2210276" y="302419"/>
                    <a:pt x="2208371" y="306229"/>
                    <a:pt x="2206466" y="309086"/>
                  </a:cubicBezTo>
                  <a:cubicBezTo>
                    <a:pt x="2208371" y="299561"/>
                    <a:pt x="2210276" y="290036"/>
                    <a:pt x="2211229" y="281464"/>
                  </a:cubicBezTo>
                  <a:close/>
                  <a:moveTo>
                    <a:pt x="2205514" y="337661"/>
                  </a:moveTo>
                  <a:cubicBezTo>
                    <a:pt x="2205514" y="338614"/>
                    <a:pt x="2204561" y="338614"/>
                    <a:pt x="2204561" y="339566"/>
                  </a:cubicBezTo>
                  <a:cubicBezTo>
                    <a:pt x="2204561" y="339566"/>
                    <a:pt x="2204561" y="339566"/>
                    <a:pt x="2204561" y="340519"/>
                  </a:cubicBezTo>
                  <a:cubicBezTo>
                    <a:pt x="2204561" y="339566"/>
                    <a:pt x="2204561" y="338614"/>
                    <a:pt x="2205514" y="337661"/>
                  </a:cubicBezTo>
                  <a:close/>
                  <a:moveTo>
                    <a:pt x="2183606" y="336709"/>
                  </a:moveTo>
                  <a:cubicBezTo>
                    <a:pt x="2183606" y="338614"/>
                    <a:pt x="2184559" y="341471"/>
                    <a:pt x="2185511" y="345281"/>
                  </a:cubicBezTo>
                  <a:cubicBezTo>
                    <a:pt x="2185511" y="347186"/>
                    <a:pt x="2184559" y="349091"/>
                    <a:pt x="2184559" y="350044"/>
                  </a:cubicBezTo>
                  <a:cubicBezTo>
                    <a:pt x="2184559" y="347186"/>
                    <a:pt x="2183606" y="343376"/>
                    <a:pt x="2183606" y="340519"/>
                  </a:cubicBezTo>
                  <a:cubicBezTo>
                    <a:pt x="2183606" y="339566"/>
                    <a:pt x="2183606" y="338614"/>
                    <a:pt x="2183606" y="337661"/>
                  </a:cubicBezTo>
                  <a:cubicBezTo>
                    <a:pt x="2182654" y="337661"/>
                    <a:pt x="2182654" y="337661"/>
                    <a:pt x="2183606" y="336709"/>
                  </a:cubicBezTo>
                  <a:close/>
                  <a:moveTo>
                    <a:pt x="2178844" y="345281"/>
                  </a:moveTo>
                  <a:cubicBezTo>
                    <a:pt x="2178844" y="349091"/>
                    <a:pt x="2178844" y="352901"/>
                    <a:pt x="2178844" y="357664"/>
                  </a:cubicBezTo>
                  <a:cubicBezTo>
                    <a:pt x="2177891" y="355759"/>
                    <a:pt x="2176939" y="352901"/>
                    <a:pt x="2175986" y="350996"/>
                  </a:cubicBezTo>
                  <a:cubicBezTo>
                    <a:pt x="2176939" y="348139"/>
                    <a:pt x="2177891" y="346234"/>
                    <a:pt x="2178844" y="345281"/>
                  </a:cubicBezTo>
                  <a:close/>
                  <a:moveTo>
                    <a:pt x="2150269" y="278606"/>
                  </a:moveTo>
                  <a:cubicBezTo>
                    <a:pt x="2155031" y="261461"/>
                    <a:pt x="2159794" y="246221"/>
                    <a:pt x="2162651" y="232886"/>
                  </a:cubicBezTo>
                  <a:cubicBezTo>
                    <a:pt x="2162651" y="233839"/>
                    <a:pt x="2162651" y="234791"/>
                    <a:pt x="2161699" y="235744"/>
                  </a:cubicBezTo>
                  <a:cubicBezTo>
                    <a:pt x="2160746" y="241459"/>
                    <a:pt x="2158841" y="248126"/>
                    <a:pt x="2157889" y="253841"/>
                  </a:cubicBezTo>
                  <a:cubicBezTo>
                    <a:pt x="2156936" y="260509"/>
                    <a:pt x="2155984" y="267176"/>
                    <a:pt x="2154079" y="274796"/>
                  </a:cubicBezTo>
                  <a:cubicBezTo>
                    <a:pt x="2153126" y="280511"/>
                    <a:pt x="2152174" y="287179"/>
                    <a:pt x="2151221" y="293846"/>
                  </a:cubicBezTo>
                  <a:cubicBezTo>
                    <a:pt x="2149316" y="290036"/>
                    <a:pt x="2148364" y="288131"/>
                    <a:pt x="2148364" y="288131"/>
                  </a:cubicBezTo>
                  <a:cubicBezTo>
                    <a:pt x="2148364" y="288131"/>
                    <a:pt x="2149316" y="290989"/>
                    <a:pt x="2150269" y="296704"/>
                  </a:cubicBezTo>
                  <a:cubicBezTo>
                    <a:pt x="2149316" y="302419"/>
                    <a:pt x="2148364" y="309086"/>
                    <a:pt x="2147411" y="314801"/>
                  </a:cubicBezTo>
                  <a:cubicBezTo>
                    <a:pt x="2143601" y="309086"/>
                    <a:pt x="2140744" y="305276"/>
                    <a:pt x="2140744" y="305276"/>
                  </a:cubicBezTo>
                  <a:cubicBezTo>
                    <a:pt x="2145506" y="296704"/>
                    <a:pt x="2147411" y="287179"/>
                    <a:pt x="2150269" y="278606"/>
                  </a:cubicBezTo>
                  <a:close/>
                  <a:moveTo>
                    <a:pt x="2142649" y="305276"/>
                  </a:moveTo>
                  <a:cubicBezTo>
                    <a:pt x="2142649" y="306229"/>
                    <a:pt x="2144554" y="310991"/>
                    <a:pt x="2148364" y="319564"/>
                  </a:cubicBezTo>
                  <a:cubicBezTo>
                    <a:pt x="2148364" y="319564"/>
                    <a:pt x="2148364" y="320516"/>
                    <a:pt x="2148364" y="320516"/>
                  </a:cubicBezTo>
                  <a:cubicBezTo>
                    <a:pt x="2148364" y="320516"/>
                    <a:pt x="2148364" y="321469"/>
                    <a:pt x="2148364" y="321469"/>
                  </a:cubicBezTo>
                  <a:cubicBezTo>
                    <a:pt x="2147411" y="328136"/>
                    <a:pt x="2146459" y="335756"/>
                    <a:pt x="2145506" y="343376"/>
                  </a:cubicBezTo>
                  <a:cubicBezTo>
                    <a:pt x="2143601" y="336709"/>
                    <a:pt x="2141696" y="330994"/>
                    <a:pt x="2139791" y="324326"/>
                  </a:cubicBezTo>
                  <a:cubicBezTo>
                    <a:pt x="2139791" y="323374"/>
                    <a:pt x="2138839" y="321469"/>
                    <a:pt x="2138839" y="320516"/>
                  </a:cubicBezTo>
                  <a:cubicBezTo>
                    <a:pt x="2138839" y="315754"/>
                    <a:pt x="2140744" y="310991"/>
                    <a:pt x="2142649" y="305276"/>
                  </a:cubicBezTo>
                  <a:close/>
                  <a:moveTo>
                    <a:pt x="2058829" y="353854"/>
                  </a:moveTo>
                  <a:cubicBezTo>
                    <a:pt x="2057876" y="357664"/>
                    <a:pt x="2056924" y="362426"/>
                    <a:pt x="2056924" y="366236"/>
                  </a:cubicBezTo>
                  <a:cubicBezTo>
                    <a:pt x="2056924" y="364331"/>
                    <a:pt x="2055971" y="363379"/>
                    <a:pt x="2055971" y="361474"/>
                  </a:cubicBezTo>
                  <a:cubicBezTo>
                    <a:pt x="2055019" y="358616"/>
                    <a:pt x="2055019" y="355759"/>
                    <a:pt x="2054066" y="352901"/>
                  </a:cubicBezTo>
                  <a:cubicBezTo>
                    <a:pt x="2054066" y="352901"/>
                    <a:pt x="2054066" y="352901"/>
                    <a:pt x="2054066" y="351949"/>
                  </a:cubicBezTo>
                  <a:cubicBezTo>
                    <a:pt x="2055971" y="347186"/>
                    <a:pt x="2057876" y="343376"/>
                    <a:pt x="2059781" y="338614"/>
                  </a:cubicBezTo>
                  <a:cubicBezTo>
                    <a:pt x="2059781" y="340519"/>
                    <a:pt x="2060734" y="341471"/>
                    <a:pt x="2060734" y="343376"/>
                  </a:cubicBezTo>
                  <a:cubicBezTo>
                    <a:pt x="2060734" y="347186"/>
                    <a:pt x="2059781" y="350044"/>
                    <a:pt x="2058829" y="353854"/>
                  </a:cubicBezTo>
                  <a:close/>
                  <a:moveTo>
                    <a:pt x="2081689" y="350044"/>
                  </a:moveTo>
                  <a:cubicBezTo>
                    <a:pt x="2080736" y="351949"/>
                    <a:pt x="2080736" y="352901"/>
                    <a:pt x="2079784" y="354806"/>
                  </a:cubicBezTo>
                  <a:cubicBezTo>
                    <a:pt x="2078831" y="351949"/>
                    <a:pt x="2078831" y="350044"/>
                    <a:pt x="2077879" y="347186"/>
                  </a:cubicBezTo>
                  <a:cubicBezTo>
                    <a:pt x="2077879" y="346234"/>
                    <a:pt x="2077879" y="345281"/>
                    <a:pt x="2077879" y="344329"/>
                  </a:cubicBezTo>
                  <a:cubicBezTo>
                    <a:pt x="2078831" y="345281"/>
                    <a:pt x="2079784" y="346234"/>
                    <a:pt x="2080736" y="348139"/>
                  </a:cubicBezTo>
                  <a:cubicBezTo>
                    <a:pt x="2080736" y="348139"/>
                    <a:pt x="2080736" y="349091"/>
                    <a:pt x="2081689" y="350044"/>
                  </a:cubicBezTo>
                  <a:cubicBezTo>
                    <a:pt x="2081689" y="350044"/>
                    <a:pt x="2081689" y="350044"/>
                    <a:pt x="2081689" y="350044"/>
                  </a:cubicBezTo>
                  <a:close/>
                  <a:moveTo>
                    <a:pt x="2081689" y="339566"/>
                  </a:moveTo>
                  <a:cubicBezTo>
                    <a:pt x="2081689" y="340519"/>
                    <a:pt x="2081689" y="341471"/>
                    <a:pt x="2081689" y="341471"/>
                  </a:cubicBezTo>
                  <a:cubicBezTo>
                    <a:pt x="2080736" y="340519"/>
                    <a:pt x="2079784" y="338614"/>
                    <a:pt x="2078831" y="337661"/>
                  </a:cubicBezTo>
                  <a:cubicBezTo>
                    <a:pt x="2078831" y="334804"/>
                    <a:pt x="2079784" y="331946"/>
                    <a:pt x="2079784" y="330041"/>
                  </a:cubicBezTo>
                  <a:cubicBezTo>
                    <a:pt x="2080736" y="332899"/>
                    <a:pt x="2081689" y="335756"/>
                    <a:pt x="2081689" y="339566"/>
                  </a:cubicBezTo>
                  <a:cubicBezTo>
                    <a:pt x="2081689" y="338614"/>
                    <a:pt x="2081689" y="338614"/>
                    <a:pt x="2081689" y="339566"/>
                  </a:cubicBezTo>
                  <a:close/>
                  <a:moveTo>
                    <a:pt x="2085499" y="290036"/>
                  </a:moveTo>
                  <a:cubicBezTo>
                    <a:pt x="2085499" y="295751"/>
                    <a:pt x="2084546" y="301466"/>
                    <a:pt x="2084546" y="307181"/>
                  </a:cubicBezTo>
                  <a:cubicBezTo>
                    <a:pt x="2084546" y="306229"/>
                    <a:pt x="2083594" y="305276"/>
                    <a:pt x="2083594" y="303371"/>
                  </a:cubicBezTo>
                  <a:cubicBezTo>
                    <a:pt x="2084546" y="292894"/>
                    <a:pt x="2085499" y="282416"/>
                    <a:pt x="2086451" y="273844"/>
                  </a:cubicBezTo>
                  <a:cubicBezTo>
                    <a:pt x="2086451" y="271939"/>
                    <a:pt x="2086451" y="269081"/>
                    <a:pt x="2087404" y="267176"/>
                  </a:cubicBezTo>
                  <a:cubicBezTo>
                    <a:pt x="2086451" y="274796"/>
                    <a:pt x="2085499" y="282416"/>
                    <a:pt x="2085499" y="290036"/>
                  </a:cubicBezTo>
                  <a:close/>
                  <a:moveTo>
                    <a:pt x="2089309" y="180499"/>
                  </a:moveTo>
                  <a:cubicBezTo>
                    <a:pt x="2089309" y="186214"/>
                    <a:pt x="2089309" y="192881"/>
                    <a:pt x="2089309" y="200501"/>
                  </a:cubicBezTo>
                  <a:cubicBezTo>
                    <a:pt x="2088356" y="197644"/>
                    <a:pt x="2086451" y="194786"/>
                    <a:pt x="2086451" y="192881"/>
                  </a:cubicBezTo>
                  <a:cubicBezTo>
                    <a:pt x="2087404" y="188119"/>
                    <a:pt x="2088356" y="184309"/>
                    <a:pt x="2089309" y="180499"/>
                  </a:cubicBezTo>
                  <a:close/>
                  <a:moveTo>
                    <a:pt x="2072164" y="241459"/>
                  </a:moveTo>
                  <a:cubicBezTo>
                    <a:pt x="2077879" y="223361"/>
                    <a:pt x="2082641" y="207169"/>
                    <a:pt x="2086451" y="193834"/>
                  </a:cubicBezTo>
                  <a:cubicBezTo>
                    <a:pt x="2087404" y="197644"/>
                    <a:pt x="2088356" y="201454"/>
                    <a:pt x="2090261" y="207169"/>
                  </a:cubicBezTo>
                  <a:cubicBezTo>
                    <a:pt x="2090261" y="207169"/>
                    <a:pt x="2090261" y="207169"/>
                    <a:pt x="2090261" y="208121"/>
                  </a:cubicBezTo>
                  <a:cubicBezTo>
                    <a:pt x="2087404" y="221456"/>
                    <a:pt x="2081689" y="244316"/>
                    <a:pt x="2075974" y="271939"/>
                  </a:cubicBezTo>
                  <a:cubicBezTo>
                    <a:pt x="2075021" y="274796"/>
                    <a:pt x="2075021" y="278606"/>
                    <a:pt x="2074069" y="282416"/>
                  </a:cubicBezTo>
                  <a:cubicBezTo>
                    <a:pt x="2072164" y="278606"/>
                    <a:pt x="2070259" y="274796"/>
                    <a:pt x="2068354" y="271939"/>
                  </a:cubicBezTo>
                  <a:cubicBezTo>
                    <a:pt x="2067401" y="270034"/>
                    <a:pt x="2066449" y="268129"/>
                    <a:pt x="2065496" y="266224"/>
                  </a:cubicBezTo>
                  <a:cubicBezTo>
                    <a:pt x="2067401" y="257651"/>
                    <a:pt x="2069306" y="249079"/>
                    <a:pt x="2072164" y="241459"/>
                  </a:cubicBezTo>
                  <a:close/>
                  <a:moveTo>
                    <a:pt x="2062639" y="270034"/>
                  </a:moveTo>
                  <a:cubicBezTo>
                    <a:pt x="2062639" y="270986"/>
                    <a:pt x="2063591" y="271939"/>
                    <a:pt x="2063591" y="272891"/>
                  </a:cubicBezTo>
                  <a:cubicBezTo>
                    <a:pt x="2065496" y="278606"/>
                    <a:pt x="2067401" y="285274"/>
                    <a:pt x="2069306" y="292894"/>
                  </a:cubicBezTo>
                  <a:cubicBezTo>
                    <a:pt x="2069306" y="293846"/>
                    <a:pt x="2069306" y="293846"/>
                    <a:pt x="2070259" y="294799"/>
                  </a:cubicBezTo>
                  <a:cubicBezTo>
                    <a:pt x="2069306" y="299561"/>
                    <a:pt x="2068354" y="305276"/>
                    <a:pt x="2067401" y="310039"/>
                  </a:cubicBezTo>
                  <a:cubicBezTo>
                    <a:pt x="2066449" y="308134"/>
                    <a:pt x="2066449" y="305276"/>
                    <a:pt x="2065496" y="303371"/>
                  </a:cubicBezTo>
                  <a:cubicBezTo>
                    <a:pt x="2063591" y="296704"/>
                    <a:pt x="2060734" y="290036"/>
                    <a:pt x="2058829" y="284321"/>
                  </a:cubicBezTo>
                  <a:cubicBezTo>
                    <a:pt x="2059781" y="279559"/>
                    <a:pt x="2061686" y="274796"/>
                    <a:pt x="2062639" y="270034"/>
                  </a:cubicBezTo>
                  <a:close/>
                  <a:moveTo>
                    <a:pt x="2053114" y="301466"/>
                  </a:moveTo>
                  <a:cubicBezTo>
                    <a:pt x="2053114" y="303371"/>
                    <a:pt x="2054066" y="304324"/>
                    <a:pt x="2054066" y="306229"/>
                  </a:cubicBezTo>
                  <a:cubicBezTo>
                    <a:pt x="2055019" y="310991"/>
                    <a:pt x="2055971" y="315754"/>
                    <a:pt x="2056924" y="320516"/>
                  </a:cubicBezTo>
                  <a:cubicBezTo>
                    <a:pt x="2056924" y="320516"/>
                    <a:pt x="2055971" y="320516"/>
                    <a:pt x="2055971" y="320516"/>
                  </a:cubicBezTo>
                  <a:cubicBezTo>
                    <a:pt x="2051209" y="318611"/>
                    <a:pt x="2049304" y="317659"/>
                    <a:pt x="2049304" y="317659"/>
                  </a:cubicBezTo>
                  <a:cubicBezTo>
                    <a:pt x="2049304" y="317659"/>
                    <a:pt x="2051209" y="319564"/>
                    <a:pt x="2055971" y="321469"/>
                  </a:cubicBezTo>
                  <a:cubicBezTo>
                    <a:pt x="2056924" y="321469"/>
                    <a:pt x="2056924" y="322421"/>
                    <a:pt x="2057876" y="322421"/>
                  </a:cubicBezTo>
                  <a:cubicBezTo>
                    <a:pt x="2058829" y="326231"/>
                    <a:pt x="2058829" y="329089"/>
                    <a:pt x="2059781" y="332899"/>
                  </a:cubicBezTo>
                  <a:cubicBezTo>
                    <a:pt x="2057876" y="335756"/>
                    <a:pt x="2055971" y="338614"/>
                    <a:pt x="2053114" y="342424"/>
                  </a:cubicBezTo>
                  <a:cubicBezTo>
                    <a:pt x="2052161" y="335756"/>
                    <a:pt x="2050256" y="328136"/>
                    <a:pt x="2049304" y="321469"/>
                  </a:cubicBezTo>
                  <a:cubicBezTo>
                    <a:pt x="2049304" y="319564"/>
                    <a:pt x="2049304" y="317659"/>
                    <a:pt x="2049304" y="315754"/>
                  </a:cubicBezTo>
                  <a:cubicBezTo>
                    <a:pt x="2050256" y="310991"/>
                    <a:pt x="2052161" y="305276"/>
                    <a:pt x="2053114" y="301466"/>
                  </a:cubicBezTo>
                  <a:close/>
                  <a:moveTo>
                    <a:pt x="2044541" y="260509"/>
                  </a:moveTo>
                  <a:cubicBezTo>
                    <a:pt x="2044541" y="260509"/>
                    <a:pt x="2044541" y="260509"/>
                    <a:pt x="2044541" y="260509"/>
                  </a:cubicBezTo>
                  <a:cubicBezTo>
                    <a:pt x="2044541" y="260509"/>
                    <a:pt x="2044541" y="259556"/>
                    <a:pt x="2044541" y="259556"/>
                  </a:cubicBezTo>
                  <a:cubicBezTo>
                    <a:pt x="2044541" y="259556"/>
                    <a:pt x="2044541" y="259556"/>
                    <a:pt x="2044541" y="260509"/>
                  </a:cubicBezTo>
                  <a:close/>
                  <a:moveTo>
                    <a:pt x="2019776" y="188119"/>
                  </a:moveTo>
                  <a:cubicBezTo>
                    <a:pt x="2019776" y="187166"/>
                    <a:pt x="2019776" y="186214"/>
                    <a:pt x="2019776" y="185261"/>
                  </a:cubicBezTo>
                  <a:cubicBezTo>
                    <a:pt x="2019776" y="182404"/>
                    <a:pt x="2020729" y="179546"/>
                    <a:pt x="2020729" y="177641"/>
                  </a:cubicBezTo>
                  <a:cubicBezTo>
                    <a:pt x="2020729" y="180499"/>
                    <a:pt x="2020729" y="184309"/>
                    <a:pt x="2020729" y="189071"/>
                  </a:cubicBezTo>
                  <a:cubicBezTo>
                    <a:pt x="2020729" y="197644"/>
                    <a:pt x="2021681" y="208121"/>
                    <a:pt x="2021681" y="220504"/>
                  </a:cubicBezTo>
                  <a:cubicBezTo>
                    <a:pt x="2021681" y="228124"/>
                    <a:pt x="2022634" y="235744"/>
                    <a:pt x="2023586" y="244316"/>
                  </a:cubicBezTo>
                  <a:cubicBezTo>
                    <a:pt x="2023586" y="245269"/>
                    <a:pt x="2022634" y="246221"/>
                    <a:pt x="2022634" y="247174"/>
                  </a:cubicBezTo>
                  <a:cubicBezTo>
                    <a:pt x="2020729" y="238601"/>
                    <a:pt x="2018824" y="230029"/>
                    <a:pt x="2016919" y="222409"/>
                  </a:cubicBezTo>
                  <a:cubicBezTo>
                    <a:pt x="2018824" y="209074"/>
                    <a:pt x="2018824" y="197644"/>
                    <a:pt x="2019776" y="188119"/>
                  </a:cubicBezTo>
                  <a:close/>
                  <a:moveTo>
                    <a:pt x="1999774" y="298609"/>
                  </a:moveTo>
                  <a:cubicBezTo>
                    <a:pt x="1999774" y="300514"/>
                    <a:pt x="1999774" y="302419"/>
                    <a:pt x="1999774" y="304324"/>
                  </a:cubicBezTo>
                  <a:cubicBezTo>
                    <a:pt x="1998821" y="306229"/>
                    <a:pt x="1998821" y="308134"/>
                    <a:pt x="1997869" y="310039"/>
                  </a:cubicBezTo>
                  <a:cubicBezTo>
                    <a:pt x="1998821" y="306229"/>
                    <a:pt x="1999774" y="302419"/>
                    <a:pt x="1999774" y="298609"/>
                  </a:cubicBezTo>
                  <a:close/>
                  <a:moveTo>
                    <a:pt x="1992154" y="349091"/>
                  </a:moveTo>
                  <a:cubicBezTo>
                    <a:pt x="1992154" y="351949"/>
                    <a:pt x="1992154" y="355759"/>
                    <a:pt x="1992154" y="359569"/>
                  </a:cubicBezTo>
                  <a:cubicBezTo>
                    <a:pt x="1992154" y="362426"/>
                    <a:pt x="1992154" y="366236"/>
                    <a:pt x="1992154" y="369094"/>
                  </a:cubicBezTo>
                  <a:cubicBezTo>
                    <a:pt x="1991201" y="370046"/>
                    <a:pt x="1990249" y="371951"/>
                    <a:pt x="1988344" y="373856"/>
                  </a:cubicBezTo>
                  <a:cubicBezTo>
                    <a:pt x="1990249" y="365284"/>
                    <a:pt x="1991201" y="356711"/>
                    <a:pt x="1992154" y="349091"/>
                  </a:cubicBezTo>
                  <a:close/>
                  <a:moveTo>
                    <a:pt x="1987391" y="381476"/>
                  </a:moveTo>
                  <a:cubicBezTo>
                    <a:pt x="1987391" y="381476"/>
                    <a:pt x="1987391" y="381476"/>
                    <a:pt x="1987391" y="381476"/>
                  </a:cubicBezTo>
                  <a:cubicBezTo>
                    <a:pt x="1989296" y="377666"/>
                    <a:pt x="1991201" y="374809"/>
                    <a:pt x="1992154" y="372904"/>
                  </a:cubicBezTo>
                  <a:cubicBezTo>
                    <a:pt x="1992154" y="374809"/>
                    <a:pt x="1992154" y="377666"/>
                    <a:pt x="1992154" y="379571"/>
                  </a:cubicBezTo>
                  <a:cubicBezTo>
                    <a:pt x="1992154" y="381476"/>
                    <a:pt x="1991201" y="384334"/>
                    <a:pt x="1991201" y="386239"/>
                  </a:cubicBezTo>
                  <a:cubicBezTo>
                    <a:pt x="1990249" y="391001"/>
                    <a:pt x="1989296" y="395764"/>
                    <a:pt x="1988344" y="400526"/>
                  </a:cubicBezTo>
                  <a:cubicBezTo>
                    <a:pt x="1988344" y="400526"/>
                    <a:pt x="1988344" y="399574"/>
                    <a:pt x="1988344" y="399574"/>
                  </a:cubicBezTo>
                  <a:cubicBezTo>
                    <a:pt x="1987391" y="397669"/>
                    <a:pt x="1986439" y="394811"/>
                    <a:pt x="1985486" y="392906"/>
                  </a:cubicBezTo>
                  <a:cubicBezTo>
                    <a:pt x="1986439" y="389096"/>
                    <a:pt x="1986439" y="385286"/>
                    <a:pt x="1987391" y="381476"/>
                  </a:cubicBezTo>
                  <a:close/>
                  <a:moveTo>
                    <a:pt x="1968341" y="290989"/>
                  </a:moveTo>
                  <a:cubicBezTo>
                    <a:pt x="1968341" y="292894"/>
                    <a:pt x="1968341" y="294799"/>
                    <a:pt x="1967389" y="297656"/>
                  </a:cubicBezTo>
                  <a:cubicBezTo>
                    <a:pt x="1967389" y="299561"/>
                    <a:pt x="1966436" y="302419"/>
                    <a:pt x="1966436" y="305276"/>
                  </a:cubicBezTo>
                  <a:cubicBezTo>
                    <a:pt x="1966436" y="309086"/>
                    <a:pt x="1965484" y="313849"/>
                    <a:pt x="1965484" y="318611"/>
                  </a:cubicBezTo>
                  <a:cubicBezTo>
                    <a:pt x="1965484" y="313849"/>
                    <a:pt x="1964531" y="309086"/>
                    <a:pt x="1964531" y="304324"/>
                  </a:cubicBezTo>
                  <a:cubicBezTo>
                    <a:pt x="1964531" y="303371"/>
                    <a:pt x="1964531" y="301466"/>
                    <a:pt x="1964531" y="300514"/>
                  </a:cubicBezTo>
                  <a:cubicBezTo>
                    <a:pt x="1965484" y="296704"/>
                    <a:pt x="1967389" y="293846"/>
                    <a:pt x="1968341" y="290989"/>
                  </a:cubicBezTo>
                  <a:close/>
                  <a:moveTo>
                    <a:pt x="1937861" y="310039"/>
                  </a:moveTo>
                  <a:cubicBezTo>
                    <a:pt x="1937861" y="307181"/>
                    <a:pt x="1937861" y="304324"/>
                    <a:pt x="1937861" y="302419"/>
                  </a:cubicBezTo>
                  <a:cubicBezTo>
                    <a:pt x="1937861" y="300514"/>
                    <a:pt x="1937861" y="297656"/>
                    <a:pt x="1937861" y="295751"/>
                  </a:cubicBezTo>
                  <a:cubicBezTo>
                    <a:pt x="1937861" y="299561"/>
                    <a:pt x="1938814" y="302419"/>
                    <a:pt x="1938814" y="306229"/>
                  </a:cubicBezTo>
                  <a:cubicBezTo>
                    <a:pt x="1938814" y="308134"/>
                    <a:pt x="1938814" y="309086"/>
                    <a:pt x="1937861" y="310039"/>
                  </a:cubicBezTo>
                  <a:close/>
                  <a:moveTo>
                    <a:pt x="1938814" y="272891"/>
                  </a:moveTo>
                  <a:cubicBezTo>
                    <a:pt x="1937861" y="270034"/>
                    <a:pt x="1937861" y="268129"/>
                    <a:pt x="1936909" y="266224"/>
                  </a:cubicBezTo>
                  <a:cubicBezTo>
                    <a:pt x="1936909" y="264319"/>
                    <a:pt x="1936909" y="262414"/>
                    <a:pt x="1936909" y="261461"/>
                  </a:cubicBezTo>
                  <a:cubicBezTo>
                    <a:pt x="1936909" y="256699"/>
                    <a:pt x="1936909" y="250984"/>
                    <a:pt x="1936909" y="246221"/>
                  </a:cubicBezTo>
                  <a:cubicBezTo>
                    <a:pt x="1936909" y="253841"/>
                    <a:pt x="1937861" y="263366"/>
                    <a:pt x="1938814" y="272891"/>
                  </a:cubicBezTo>
                  <a:close/>
                  <a:moveTo>
                    <a:pt x="1900714" y="338614"/>
                  </a:moveTo>
                  <a:cubicBezTo>
                    <a:pt x="1900714" y="336709"/>
                    <a:pt x="1900714" y="334804"/>
                    <a:pt x="1900714" y="333851"/>
                  </a:cubicBezTo>
                  <a:cubicBezTo>
                    <a:pt x="1901666" y="331946"/>
                    <a:pt x="1901666" y="330041"/>
                    <a:pt x="1902619" y="329089"/>
                  </a:cubicBezTo>
                  <a:cubicBezTo>
                    <a:pt x="1903571" y="328136"/>
                    <a:pt x="1904524" y="326231"/>
                    <a:pt x="1904524" y="325279"/>
                  </a:cubicBezTo>
                  <a:cubicBezTo>
                    <a:pt x="1902619" y="330041"/>
                    <a:pt x="1901666" y="333851"/>
                    <a:pt x="1900714" y="338614"/>
                  </a:cubicBezTo>
                  <a:close/>
                  <a:moveTo>
                    <a:pt x="1915954" y="436721"/>
                  </a:moveTo>
                  <a:cubicBezTo>
                    <a:pt x="1915954" y="435769"/>
                    <a:pt x="1915954" y="434816"/>
                    <a:pt x="1915954" y="433864"/>
                  </a:cubicBezTo>
                  <a:cubicBezTo>
                    <a:pt x="1915954" y="433864"/>
                    <a:pt x="1915954" y="434816"/>
                    <a:pt x="1916906" y="434816"/>
                  </a:cubicBezTo>
                  <a:cubicBezTo>
                    <a:pt x="1915954" y="435769"/>
                    <a:pt x="1915954" y="436721"/>
                    <a:pt x="1915954" y="436721"/>
                  </a:cubicBezTo>
                  <a:close/>
                  <a:moveTo>
                    <a:pt x="1920716" y="401479"/>
                  </a:moveTo>
                  <a:cubicBezTo>
                    <a:pt x="1920716" y="403384"/>
                    <a:pt x="1919764" y="405289"/>
                    <a:pt x="1919764" y="407194"/>
                  </a:cubicBezTo>
                  <a:cubicBezTo>
                    <a:pt x="1918811" y="406241"/>
                    <a:pt x="1918811" y="405289"/>
                    <a:pt x="1917859" y="404336"/>
                  </a:cubicBezTo>
                  <a:cubicBezTo>
                    <a:pt x="1918811" y="402431"/>
                    <a:pt x="1919764" y="400526"/>
                    <a:pt x="1919764" y="398621"/>
                  </a:cubicBezTo>
                  <a:cubicBezTo>
                    <a:pt x="1920716" y="399574"/>
                    <a:pt x="1920716" y="400526"/>
                    <a:pt x="1920716" y="401479"/>
                  </a:cubicBezTo>
                  <a:close/>
                  <a:moveTo>
                    <a:pt x="1917859" y="331946"/>
                  </a:moveTo>
                  <a:cubicBezTo>
                    <a:pt x="1918811" y="333851"/>
                    <a:pt x="1919764" y="335756"/>
                    <a:pt x="1919764" y="337661"/>
                  </a:cubicBezTo>
                  <a:cubicBezTo>
                    <a:pt x="1919764" y="337661"/>
                    <a:pt x="1919764" y="337661"/>
                    <a:pt x="1919764" y="337661"/>
                  </a:cubicBezTo>
                  <a:cubicBezTo>
                    <a:pt x="1919764" y="337661"/>
                    <a:pt x="1918811" y="338614"/>
                    <a:pt x="1918811" y="338614"/>
                  </a:cubicBezTo>
                  <a:cubicBezTo>
                    <a:pt x="1917859" y="339566"/>
                    <a:pt x="1916906" y="340519"/>
                    <a:pt x="1916906" y="342424"/>
                  </a:cubicBezTo>
                  <a:cubicBezTo>
                    <a:pt x="1916906" y="341471"/>
                    <a:pt x="1916906" y="341471"/>
                    <a:pt x="1916906" y="341471"/>
                  </a:cubicBezTo>
                  <a:cubicBezTo>
                    <a:pt x="1916906" y="341471"/>
                    <a:pt x="1916906" y="342424"/>
                    <a:pt x="1915954" y="344329"/>
                  </a:cubicBezTo>
                  <a:cubicBezTo>
                    <a:pt x="1915954" y="344329"/>
                    <a:pt x="1915001" y="345281"/>
                    <a:pt x="1915001" y="345281"/>
                  </a:cubicBezTo>
                  <a:cubicBezTo>
                    <a:pt x="1915954" y="340519"/>
                    <a:pt x="1916906" y="335756"/>
                    <a:pt x="1917859" y="331946"/>
                  </a:cubicBezTo>
                  <a:close/>
                  <a:moveTo>
                    <a:pt x="1919764" y="360521"/>
                  </a:moveTo>
                  <a:cubicBezTo>
                    <a:pt x="1919764" y="361474"/>
                    <a:pt x="1919764" y="362426"/>
                    <a:pt x="1919764" y="364331"/>
                  </a:cubicBezTo>
                  <a:cubicBezTo>
                    <a:pt x="1917859" y="367189"/>
                    <a:pt x="1916906" y="370999"/>
                    <a:pt x="1915001" y="373856"/>
                  </a:cubicBezTo>
                  <a:cubicBezTo>
                    <a:pt x="1913096" y="378619"/>
                    <a:pt x="1910239" y="383381"/>
                    <a:pt x="1908334" y="388144"/>
                  </a:cubicBezTo>
                  <a:cubicBezTo>
                    <a:pt x="1908334" y="388144"/>
                    <a:pt x="1907381" y="387191"/>
                    <a:pt x="1907381" y="387191"/>
                  </a:cubicBezTo>
                  <a:cubicBezTo>
                    <a:pt x="1907381" y="386239"/>
                    <a:pt x="1907381" y="386239"/>
                    <a:pt x="1907381" y="385286"/>
                  </a:cubicBezTo>
                  <a:cubicBezTo>
                    <a:pt x="1908334" y="383381"/>
                    <a:pt x="1909286" y="381476"/>
                    <a:pt x="1910239" y="380524"/>
                  </a:cubicBezTo>
                  <a:cubicBezTo>
                    <a:pt x="1913096" y="372904"/>
                    <a:pt x="1916906" y="366236"/>
                    <a:pt x="1919764" y="360521"/>
                  </a:cubicBezTo>
                  <a:close/>
                  <a:moveTo>
                    <a:pt x="1910239" y="299561"/>
                  </a:moveTo>
                  <a:cubicBezTo>
                    <a:pt x="1909286" y="301466"/>
                    <a:pt x="1909286" y="303371"/>
                    <a:pt x="1908334" y="305276"/>
                  </a:cubicBezTo>
                  <a:cubicBezTo>
                    <a:pt x="1908334" y="305276"/>
                    <a:pt x="1908334" y="305276"/>
                    <a:pt x="1908334" y="305276"/>
                  </a:cubicBezTo>
                  <a:cubicBezTo>
                    <a:pt x="1909286" y="302419"/>
                    <a:pt x="1910239" y="300514"/>
                    <a:pt x="1910239" y="299561"/>
                  </a:cubicBezTo>
                  <a:close/>
                  <a:moveTo>
                    <a:pt x="1906429" y="313849"/>
                  </a:moveTo>
                  <a:cubicBezTo>
                    <a:pt x="1907381" y="311944"/>
                    <a:pt x="1907381" y="310991"/>
                    <a:pt x="1908334" y="309086"/>
                  </a:cubicBezTo>
                  <a:cubicBezTo>
                    <a:pt x="1908334" y="309086"/>
                    <a:pt x="1908334" y="309086"/>
                    <a:pt x="1908334" y="310039"/>
                  </a:cubicBezTo>
                  <a:cubicBezTo>
                    <a:pt x="1907381" y="311944"/>
                    <a:pt x="1907381" y="313849"/>
                    <a:pt x="1906429" y="315754"/>
                  </a:cubicBezTo>
                  <a:cubicBezTo>
                    <a:pt x="1906429" y="315754"/>
                    <a:pt x="1905476" y="316706"/>
                    <a:pt x="1905476" y="316706"/>
                  </a:cubicBezTo>
                  <a:cubicBezTo>
                    <a:pt x="1905476" y="314801"/>
                    <a:pt x="1905476" y="314801"/>
                    <a:pt x="1906429" y="313849"/>
                  </a:cubicBezTo>
                  <a:close/>
                  <a:moveTo>
                    <a:pt x="1893094" y="259556"/>
                  </a:moveTo>
                  <a:cubicBezTo>
                    <a:pt x="1893094" y="258604"/>
                    <a:pt x="1894046" y="257651"/>
                    <a:pt x="1894046" y="256699"/>
                  </a:cubicBezTo>
                  <a:cubicBezTo>
                    <a:pt x="1894046" y="256699"/>
                    <a:pt x="1894999" y="256699"/>
                    <a:pt x="1894999" y="256699"/>
                  </a:cubicBezTo>
                  <a:cubicBezTo>
                    <a:pt x="1896904" y="257651"/>
                    <a:pt x="1897856" y="259556"/>
                    <a:pt x="1899761" y="260509"/>
                  </a:cubicBezTo>
                  <a:lnTo>
                    <a:pt x="1904524" y="275749"/>
                  </a:lnTo>
                  <a:cubicBezTo>
                    <a:pt x="1901666" y="283369"/>
                    <a:pt x="1898809" y="290036"/>
                    <a:pt x="1895951" y="297656"/>
                  </a:cubicBezTo>
                  <a:cubicBezTo>
                    <a:pt x="1894999" y="291941"/>
                    <a:pt x="1894999" y="286226"/>
                    <a:pt x="1894046" y="281464"/>
                  </a:cubicBezTo>
                  <a:cubicBezTo>
                    <a:pt x="1894046" y="277654"/>
                    <a:pt x="1893094" y="273844"/>
                    <a:pt x="1892141" y="270034"/>
                  </a:cubicBezTo>
                  <a:cubicBezTo>
                    <a:pt x="1892141" y="270986"/>
                    <a:pt x="1893094" y="271939"/>
                    <a:pt x="1893094" y="272891"/>
                  </a:cubicBezTo>
                  <a:cubicBezTo>
                    <a:pt x="1893094" y="269081"/>
                    <a:pt x="1892141" y="264319"/>
                    <a:pt x="1893094" y="259556"/>
                  </a:cubicBezTo>
                  <a:close/>
                  <a:moveTo>
                    <a:pt x="1841659" y="297656"/>
                  </a:moveTo>
                  <a:cubicBezTo>
                    <a:pt x="1841659" y="303371"/>
                    <a:pt x="1840706" y="308134"/>
                    <a:pt x="1840706" y="313849"/>
                  </a:cubicBezTo>
                  <a:cubicBezTo>
                    <a:pt x="1839754" y="307181"/>
                    <a:pt x="1839754" y="300514"/>
                    <a:pt x="1838801" y="294799"/>
                  </a:cubicBezTo>
                  <a:cubicBezTo>
                    <a:pt x="1838801" y="292894"/>
                    <a:pt x="1838801" y="291941"/>
                    <a:pt x="1838801" y="290989"/>
                  </a:cubicBezTo>
                  <a:cubicBezTo>
                    <a:pt x="1839754" y="292894"/>
                    <a:pt x="1840706" y="294799"/>
                    <a:pt x="1841659" y="297656"/>
                  </a:cubicBezTo>
                  <a:close/>
                  <a:moveTo>
                    <a:pt x="1822609" y="363379"/>
                  </a:moveTo>
                  <a:cubicBezTo>
                    <a:pt x="1823561" y="359569"/>
                    <a:pt x="1825466" y="356711"/>
                    <a:pt x="1826419" y="353854"/>
                  </a:cubicBezTo>
                  <a:cubicBezTo>
                    <a:pt x="1826419" y="357664"/>
                    <a:pt x="1826419" y="360521"/>
                    <a:pt x="1827371" y="364331"/>
                  </a:cubicBezTo>
                  <a:cubicBezTo>
                    <a:pt x="1826419" y="365284"/>
                    <a:pt x="1824514" y="367189"/>
                    <a:pt x="1823561" y="368141"/>
                  </a:cubicBezTo>
                  <a:cubicBezTo>
                    <a:pt x="1822609" y="366236"/>
                    <a:pt x="1822609" y="365284"/>
                    <a:pt x="1822609" y="363379"/>
                  </a:cubicBezTo>
                  <a:close/>
                  <a:moveTo>
                    <a:pt x="1828324" y="403384"/>
                  </a:moveTo>
                  <a:cubicBezTo>
                    <a:pt x="1828324" y="402431"/>
                    <a:pt x="1827371" y="401479"/>
                    <a:pt x="1827371" y="400526"/>
                  </a:cubicBezTo>
                  <a:cubicBezTo>
                    <a:pt x="1826419" y="393859"/>
                    <a:pt x="1825466" y="387191"/>
                    <a:pt x="1825466" y="381476"/>
                  </a:cubicBezTo>
                  <a:cubicBezTo>
                    <a:pt x="1826419" y="379571"/>
                    <a:pt x="1827371" y="378619"/>
                    <a:pt x="1828324" y="377666"/>
                  </a:cubicBezTo>
                  <a:cubicBezTo>
                    <a:pt x="1828324" y="385286"/>
                    <a:pt x="1828324" y="391954"/>
                    <a:pt x="1829276" y="399574"/>
                  </a:cubicBezTo>
                  <a:cubicBezTo>
                    <a:pt x="1828324" y="400526"/>
                    <a:pt x="1828324" y="402431"/>
                    <a:pt x="1828324" y="403384"/>
                  </a:cubicBezTo>
                  <a:close/>
                  <a:moveTo>
                    <a:pt x="1833086" y="339566"/>
                  </a:moveTo>
                  <a:cubicBezTo>
                    <a:pt x="1833086" y="339566"/>
                    <a:pt x="1833086" y="339566"/>
                    <a:pt x="1833086" y="339566"/>
                  </a:cubicBezTo>
                  <a:cubicBezTo>
                    <a:pt x="1833086" y="339566"/>
                    <a:pt x="1833086" y="340519"/>
                    <a:pt x="1833086" y="340519"/>
                  </a:cubicBezTo>
                  <a:cubicBezTo>
                    <a:pt x="1833086" y="340519"/>
                    <a:pt x="1833086" y="339566"/>
                    <a:pt x="1833086" y="339566"/>
                  </a:cubicBezTo>
                  <a:close/>
                  <a:moveTo>
                    <a:pt x="1824514" y="272891"/>
                  </a:moveTo>
                  <a:cubicBezTo>
                    <a:pt x="1824514" y="269081"/>
                    <a:pt x="1824514" y="266224"/>
                    <a:pt x="1824514" y="263366"/>
                  </a:cubicBezTo>
                  <a:cubicBezTo>
                    <a:pt x="1827371" y="269081"/>
                    <a:pt x="1831181" y="276701"/>
                    <a:pt x="1835944" y="285274"/>
                  </a:cubicBezTo>
                  <a:cubicBezTo>
                    <a:pt x="1835944" y="288131"/>
                    <a:pt x="1835944" y="290989"/>
                    <a:pt x="1834991" y="294799"/>
                  </a:cubicBezTo>
                  <a:cubicBezTo>
                    <a:pt x="1834991" y="302419"/>
                    <a:pt x="1834039" y="310991"/>
                    <a:pt x="1834039" y="320516"/>
                  </a:cubicBezTo>
                  <a:cubicBezTo>
                    <a:pt x="1834039" y="323374"/>
                    <a:pt x="1834039" y="327184"/>
                    <a:pt x="1834039" y="330994"/>
                  </a:cubicBezTo>
                  <a:cubicBezTo>
                    <a:pt x="1834039" y="330994"/>
                    <a:pt x="1833086" y="330994"/>
                    <a:pt x="1833086" y="331946"/>
                  </a:cubicBezTo>
                  <a:cubicBezTo>
                    <a:pt x="1833086" y="331946"/>
                    <a:pt x="1832134" y="332899"/>
                    <a:pt x="1832134" y="332899"/>
                  </a:cubicBezTo>
                  <a:cubicBezTo>
                    <a:pt x="1830229" y="326231"/>
                    <a:pt x="1829276" y="321469"/>
                    <a:pt x="1827371" y="316706"/>
                  </a:cubicBezTo>
                  <a:cubicBezTo>
                    <a:pt x="1825466" y="310991"/>
                    <a:pt x="1823561" y="306229"/>
                    <a:pt x="1822609" y="303371"/>
                  </a:cubicBezTo>
                  <a:cubicBezTo>
                    <a:pt x="1823561" y="292894"/>
                    <a:pt x="1823561" y="282416"/>
                    <a:pt x="1824514" y="272891"/>
                  </a:cubicBezTo>
                  <a:close/>
                  <a:moveTo>
                    <a:pt x="1822609" y="309086"/>
                  </a:moveTo>
                  <a:cubicBezTo>
                    <a:pt x="1822609" y="311944"/>
                    <a:pt x="1823561" y="314801"/>
                    <a:pt x="1823561" y="317659"/>
                  </a:cubicBezTo>
                  <a:cubicBezTo>
                    <a:pt x="1824514" y="323374"/>
                    <a:pt x="1824514" y="330994"/>
                    <a:pt x="1825466" y="338614"/>
                  </a:cubicBezTo>
                  <a:cubicBezTo>
                    <a:pt x="1825466" y="339566"/>
                    <a:pt x="1825466" y="340519"/>
                    <a:pt x="1825466" y="340519"/>
                  </a:cubicBezTo>
                  <a:cubicBezTo>
                    <a:pt x="1823561" y="342424"/>
                    <a:pt x="1822609" y="345281"/>
                    <a:pt x="1820704" y="348139"/>
                  </a:cubicBezTo>
                  <a:cubicBezTo>
                    <a:pt x="1820704" y="343376"/>
                    <a:pt x="1820704" y="337661"/>
                    <a:pt x="1820704" y="332899"/>
                  </a:cubicBezTo>
                  <a:cubicBezTo>
                    <a:pt x="1820704" y="332899"/>
                    <a:pt x="1820704" y="332899"/>
                    <a:pt x="1820704" y="331946"/>
                  </a:cubicBezTo>
                  <a:cubicBezTo>
                    <a:pt x="1821656" y="324326"/>
                    <a:pt x="1821656" y="316706"/>
                    <a:pt x="1822609" y="309086"/>
                  </a:cubicBezTo>
                  <a:close/>
                  <a:moveTo>
                    <a:pt x="1763554" y="411956"/>
                  </a:moveTo>
                  <a:cubicBezTo>
                    <a:pt x="1763554" y="410051"/>
                    <a:pt x="1762601" y="408146"/>
                    <a:pt x="1762601" y="406241"/>
                  </a:cubicBezTo>
                  <a:cubicBezTo>
                    <a:pt x="1762601" y="403384"/>
                    <a:pt x="1761649" y="400526"/>
                    <a:pt x="1761649" y="397669"/>
                  </a:cubicBezTo>
                  <a:cubicBezTo>
                    <a:pt x="1761649" y="397669"/>
                    <a:pt x="1761649" y="397669"/>
                    <a:pt x="1761649" y="397669"/>
                  </a:cubicBezTo>
                  <a:cubicBezTo>
                    <a:pt x="1762601" y="398621"/>
                    <a:pt x="1763554" y="399574"/>
                    <a:pt x="1764506" y="400526"/>
                  </a:cubicBezTo>
                  <a:cubicBezTo>
                    <a:pt x="1764506" y="404336"/>
                    <a:pt x="1764506" y="408146"/>
                    <a:pt x="1763554" y="411956"/>
                  </a:cubicBezTo>
                  <a:close/>
                  <a:moveTo>
                    <a:pt x="1766411" y="379571"/>
                  </a:moveTo>
                  <a:cubicBezTo>
                    <a:pt x="1766411" y="379571"/>
                    <a:pt x="1766411" y="379571"/>
                    <a:pt x="1766411" y="379571"/>
                  </a:cubicBezTo>
                  <a:cubicBezTo>
                    <a:pt x="1766411" y="378619"/>
                    <a:pt x="1766411" y="377666"/>
                    <a:pt x="1766411" y="377666"/>
                  </a:cubicBezTo>
                  <a:cubicBezTo>
                    <a:pt x="1766411" y="378619"/>
                    <a:pt x="1766411" y="379571"/>
                    <a:pt x="1766411" y="379571"/>
                  </a:cubicBezTo>
                  <a:close/>
                  <a:moveTo>
                    <a:pt x="1792129" y="251936"/>
                  </a:moveTo>
                  <a:lnTo>
                    <a:pt x="1802606" y="219551"/>
                  </a:lnTo>
                  <a:cubicBezTo>
                    <a:pt x="1802606" y="219551"/>
                    <a:pt x="1802606" y="219551"/>
                    <a:pt x="1802606" y="219551"/>
                  </a:cubicBezTo>
                  <a:cubicBezTo>
                    <a:pt x="1802606" y="237649"/>
                    <a:pt x="1801654" y="255746"/>
                    <a:pt x="1801654" y="274796"/>
                  </a:cubicBezTo>
                  <a:cubicBezTo>
                    <a:pt x="1801654" y="291941"/>
                    <a:pt x="1800701" y="309086"/>
                    <a:pt x="1800701" y="327184"/>
                  </a:cubicBezTo>
                  <a:cubicBezTo>
                    <a:pt x="1798796" y="321469"/>
                    <a:pt x="1796891" y="315754"/>
                    <a:pt x="1794034" y="310991"/>
                  </a:cubicBezTo>
                  <a:cubicBezTo>
                    <a:pt x="1792129" y="305276"/>
                    <a:pt x="1790224" y="299561"/>
                    <a:pt x="1788319" y="294799"/>
                  </a:cubicBezTo>
                  <a:cubicBezTo>
                    <a:pt x="1788319" y="293846"/>
                    <a:pt x="1787366" y="292894"/>
                    <a:pt x="1787366" y="292894"/>
                  </a:cubicBezTo>
                  <a:cubicBezTo>
                    <a:pt x="1787366" y="290989"/>
                    <a:pt x="1786414" y="289084"/>
                    <a:pt x="1786414" y="287179"/>
                  </a:cubicBezTo>
                  <a:cubicBezTo>
                    <a:pt x="1787366" y="284321"/>
                    <a:pt x="1788319" y="282416"/>
                    <a:pt x="1788319" y="279559"/>
                  </a:cubicBezTo>
                  <a:cubicBezTo>
                    <a:pt x="1788319" y="278606"/>
                    <a:pt x="1788319" y="277654"/>
                    <a:pt x="1787366" y="275749"/>
                  </a:cubicBezTo>
                  <a:cubicBezTo>
                    <a:pt x="1787366" y="274796"/>
                    <a:pt x="1785461" y="274796"/>
                    <a:pt x="1785461" y="274796"/>
                  </a:cubicBezTo>
                  <a:cubicBezTo>
                    <a:pt x="1785461" y="274796"/>
                    <a:pt x="1785461" y="274796"/>
                    <a:pt x="1785461" y="274796"/>
                  </a:cubicBezTo>
                  <a:lnTo>
                    <a:pt x="1792129" y="251936"/>
                  </a:lnTo>
                  <a:close/>
                  <a:moveTo>
                    <a:pt x="1785461" y="276701"/>
                  </a:moveTo>
                  <a:cubicBezTo>
                    <a:pt x="1785461" y="276701"/>
                    <a:pt x="1786414" y="277654"/>
                    <a:pt x="1786414" y="278606"/>
                  </a:cubicBezTo>
                  <a:cubicBezTo>
                    <a:pt x="1786414" y="279559"/>
                    <a:pt x="1786414" y="281464"/>
                    <a:pt x="1786414" y="282416"/>
                  </a:cubicBezTo>
                  <a:cubicBezTo>
                    <a:pt x="1785461" y="280511"/>
                    <a:pt x="1785461" y="278606"/>
                    <a:pt x="1785461" y="276701"/>
                  </a:cubicBezTo>
                  <a:cubicBezTo>
                    <a:pt x="1785461" y="276701"/>
                    <a:pt x="1785461" y="276701"/>
                    <a:pt x="1785461" y="276701"/>
                  </a:cubicBezTo>
                  <a:close/>
                  <a:moveTo>
                    <a:pt x="1776889" y="330994"/>
                  </a:moveTo>
                  <a:cubicBezTo>
                    <a:pt x="1779746" y="345281"/>
                    <a:pt x="1782604" y="360521"/>
                    <a:pt x="1785461" y="376714"/>
                  </a:cubicBezTo>
                  <a:cubicBezTo>
                    <a:pt x="1785461" y="379571"/>
                    <a:pt x="1786414" y="382429"/>
                    <a:pt x="1786414" y="385286"/>
                  </a:cubicBezTo>
                  <a:cubicBezTo>
                    <a:pt x="1785461" y="384334"/>
                    <a:pt x="1785461" y="383381"/>
                    <a:pt x="1784509" y="382429"/>
                  </a:cubicBezTo>
                  <a:cubicBezTo>
                    <a:pt x="1785461" y="377666"/>
                    <a:pt x="1785461" y="374809"/>
                    <a:pt x="1785461" y="374809"/>
                  </a:cubicBezTo>
                  <a:cubicBezTo>
                    <a:pt x="1785461" y="374809"/>
                    <a:pt x="1784509" y="376714"/>
                    <a:pt x="1783556" y="380524"/>
                  </a:cubicBezTo>
                  <a:cubicBezTo>
                    <a:pt x="1781651" y="376714"/>
                    <a:pt x="1778794" y="373856"/>
                    <a:pt x="1776889" y="370999"/>
                  </a:cubicBezTo>
                  <a:cubicBezTo>
                    <a:pt x="1776889" y="357664"/>
                    <a:pt x="1776889" y="346234"/>
                    <a:pt x="1776889" y="337661"/>
                  </a:cubicBezTo>
                  <a:cubicBezTo>
                    <a:pt x="1775936" y="334804"/>
                    <a:pt x="1775936" y="332899"/>
                    <a:pt x="1776889" y="330994"/>
                  </a:cubicBezTo>
                  <a:close/>
                  <a:moveTo>
                    <a:pt x="1755934" y="211931"/>
                  </a:moveTo>
                  <a:cubicBezTo>
                    <a:pt x="1756886" y="215741"/>
                    <a:pt x="1758791" y="223361"/>
                    <a:pt x="1761649" y="233839"/>
                  </a:cubicBezTo>
                  <a:cubicBezTo>
                    <a:pt x="1761649" y="234791"/>
                    <a:pt x="1762601" y="236696"/>
                    <a:pt x="1762601" y="238601"/>
                  </a:cubicBezTo>
                  <a:cubicBezTo>
                    <a:pt x="1761649" y="237649"/>
                    <a:pt x="1761649" y="235744"/>
                    <a:pt x="1760696" y="234791"/>
                  </a:cubicBezTo>
                  <a:cubicBezTo>
                    <a:pt x="1759744" y="232886"/>
                    <a:pt x="1759744" y="230981"/>
                    <a:pt x="1759744" y="230981"/>
                  </a:cubicBezTo>
                  <a:cubicBezTo>
                    <a:pt x="1759744" y="230981"/>
                    <a:pt x="1759744" y="231934"/>
                    <a:pt x="1759744" y="232886"/>
                  </a:cubicBezTo>
                  <a:cubicBezTo>
                    <a:pt x="1758791" y="230981"/>
                    <a:pt x="1757839" y="229076"/>
                    <a:pt x="1756886" y="227171"/>
                  </a:cubicBezTo>
                  <a:cubicBezTo>
                    <a:pt x="1755934" y="226219"/>
                    <a:pt x="1755934" y="225266"/>
                    <a:pt x="1754981" y="223361"/>
                  </a:cubicBezTo>
                  <a:cubicBezTo>
                    <a:pt x="1755934" y="219551"/>
                    <a:pt x="1755934" y="215741"/>
                    <a:pt x="1755934" y="211931"/>
                  </a:cubicBezTo>
                  <a:close/>
                  <a:moveTo>
                    <a:pt x="1754981" y="232886"/>
                  </a:moveTo>
                  <a:cubicBezTo>
                    <a:pt x="1754981" y="233839"/>
                    <a:pt x="1755934" y="234791"/>
                    <a:pt x="1755934" y="235744"/>
                  </a:cubicBezTo>
                  <a:cubicBezTo>
                    <a:pt x="1755934" y="236696"/>
                    <a:pt x="1754981" y="237649"/>
                    <a:pt x="1754981" y="240506"/>
                  </a:cubicBezTo>
                  <a:cubicBezTo>
                    <a:pt x="1754981" y="237649"/>
                    <a:pt x="1754981" y="234791"/>
                    <a:pt x="1754981" y="232886"/>
                  </a:cubicBezTo>
                  <a:close/>
                  <a:moveTo>
                    <a:pt x="1754029" y="281464"/>
                  </a:moveTo>
                  <a:cubicBezTo>
                    <a:pt x="1754029" y="270986"/>
                    <a:pt x="1754029" y="261461"/>
                    <a:pt x="1754981" y="252889"/>
                  </a:cubicBezTo>
                  <a:cubicBezTo>
                    <a:pt x="1755934" y="244316"/>
                    <a:pt x="1756886" y="238601"/>
                    <a:pt x="1756886" y="236696"/>
                  </a:cubicBezTo>
                  <a:cubicBezTo>
                    <a:pt x="1758791" y="242411"/>
                    <a:pt x="1761649" y="250031"/>
                    <a:pt x="1763554" y="256699"/>
                  </a:cubicBezTo>
                  <a:cubicBezTo>
                    <a:pt x="1764506" y="265271"/>
                    <a:pt x="1766411" y="274796"/>
                    <a:pt x="1768316" y="286226"/>
                  </a:cubicBezTo>
                  <a:cubicBezTo>
                    <a:pt x="1763554" y="298609"/>
                    <a:pt x="1758791" y="310991"/>
                    <a:pt x="1754981" y="322421"/>
                  </a:cubicBezTo>
                  <a:cubicBezTo>
                    <a:pt x="1754981" y="320516"/>
                    <a:pt x="1754981" y="318611"/>
                    <a:pt x="1754029" y="317659"/>
                  </a:cubicBezTo>
                  <a:cubicBezTo>
                    <a:pt x="1754029" y="317659"/>
                    <a:pt x="1754029" y="316706"/>
                    <a:pt x="1754029" y="316706"/>
                  </a:cubicBezTo>
                  <a:cubicBezTo>
                    <a:pt x="1754029" y="303371"/>
                    <a:pt x="1754029" y="291941"/>
                    <a:pt x="1754029" y="281464"/>
                  </a:cubicBezTo>
                  <a:close/>
                  <a:moveTo>
                    <a:pt x="1687354" y="295751"/>
                  </a:moveTo>
                  <a:cubicBezTo>
                    <a:pt x="1686401" y="302419"/>
                    <a:pt x="1685449" y="309086"/>
                    <a:pt x="1685449" y="314801"/>
                  </a:cubicBezTo>
                  <a:cubicBezTo>
                    <a:pt x="1685449" y="318611"/>
                    <a:pt x="1684496" y="321469"/>
                    <a:pt x="1684496" y="325279"/>
                  </a:cubicBezTo>
                  <a:cubicBezTo>
                    <a:pt x="1683544" y="320516"/>
                    <a:pt x="1682591" y="316706"/>
                    <a:pt x="1681639" y="311944"/>
                  </a:cubicBezTo>
                  <a:cubicBezTo>
                    <a:pt x="1681639" y="310039"/>
                    <a:pt x="1681639" y="309086"/>
                    <a:pt x="1681639" y="309086"/>
                  </a:cubicBezTo>
                  <a:cubicBezTo>
                    <a:pt x="1681639" y="309086"/>
                    <a:pt x="1681639" y="309086"/>
                    <a:pt x="1681639" y="310039"/>
                  </a:cubicBezTo>
                  <a:cubicBezTo>
                    <a:pt x="1681639" y="309086"/>
                    <a:pt x="1680686" y="307181"/>
                    <a:pt x="1680686" y="306229"/>
                  </a:cubicBezTo>
                  <a:cubicBezTo>
                    <a:pt x="1680686" y="305276"/>
                    <a:pt x="1680686" y="304324"/>
                    <a:pt x="1681639" y="303371"/>
                  </a:cubicBezTo>
                  <a:cubicBezTo>
                    <a:pt x="1682591" y="300514"/>
                    <a:pt x="1683544" y="297656"/>
                    <a:pt x="1684496" y="295751"/>
                  </a:cubicBezTo>
                  <a:cubicBezTo>
                    <a:pt x="1686401" y="290989"/>
                    <a:pt x="1687354" y="287179"/>
                    <a:pt x="1689259" y="282416"/>
                  </a:cubicBezTo>
                  <a:cubicBezTo>
                    <a:pt x="1687354" y="287179"/>
                    <a:pt x="1687354" y="291941"/>
                    <a:pt x="1687354" y="295751"/>
                  </a:cubicBezTo>
                  <a:close/>
                  <a:moveTo>
                    <a:pt x="1678781" y="276701"/>
                  </a:moveTo>
                  <a:cubicBezTo>
                    <a:pt x="1680686" y="266224"/>
                    <a:pt x="1682591" y="255746"/>
                    <a:pt x="1684496" y="245269"/>
                  </a:cubicBezTo>
                  <a:cubicBezTo>
                    <a:pt x="1685449" y="250031"/>
                    <a:pt x="1686401" y="254794"/>
                    <a:pt x="1686401" y="259556"/>
                  </a:cubicBezTo>
                  <a:cubicBezTo>
                    <a:pt x="1686401" y="262414"/>
                    <a:pt x="1686401" y="265271"/>
                    <a:pt x="1686401" y="268129"/>
                  </a:cubicBezTo>
                  <a:cubicBezTo>
                    <a:pt x="1686401" y="269081"/>
                    <a:pt x="1686401" y="270034"/>
                    <a:pt x="1686401" y="270986"/>
                  </a:cubicBezTo>
                  <a:cubicBezTo>
                    <a:pt x="1682591" y="276701"/>
                    <a:pt x="1679734" y="284321"/>
                    <a:pt x="1675924" y="292894"/>
                  </a:cubicBezTo>
                  <a:cubicBezTo>
                    <a:pt x="1675924" y="292894"/>
                    <a:pt x="1675924" y="291941"/>
                    <a:pt x="1675924" y="291941"/>
                  </a:cubicBezTo>
                  <a:cubicBezTo>
                    <a:pt x="1676876" y="287179"/>
                    <a:pt x="1677829" y="283369"/>
                    <a:pt x="1678781" y="278606"/>
                  </a:cubicBezTo>
                  <a:cubicBezTo>
                    <a:pt x="1679734" y="276701"/>
                    <a:pt x="1679734" y="275749"/>
                    <a:pt x="1679734" y="275749"/>
                  </a:cubicBezTo>
                  <a:cubicBezTo>
                    <a:pt x="1679734" y="275749"/>
                    <a:pt x="1679734" y="275749"/>
                    <a:pt x="1678781" y="276701"/>
                  </a:cubicBezTo>
                  <a:close/>
                  <a:moveTo>
                    <a:pt x="1677829" y="199549"/>
                  </a:moveTo>
                  <a:cubicBezTo>
                    <a:pt x="1677829" y="201454"/>
                    <a:pt x="1677829" y="202406"/>
                    <a:pt x="1678781" y="204311"/>
                  </a:cubicBezTo>
                  <a:cubicBezTo>
                    <a:pt x="1677829" y="207169"/>
                    <a:pt x="1676876" y="210979"/>
                    <a:pt x="1676876" y="213836"/>
                  </a:cubicBezTo>
                  <a:cubicBezTo>
                    <a:pt x="1676876" y="209074"/>
                    <a:pt x="1676876" y="204311"/>
                    <a:pt x="1677829" y="199549"/>
                  </a:cubicBezTo>
                  <a:close/>
                  <a:moveTo>
                    <a:pt x="1640681" y="226219"/>
                  </a:moveTo>
                  <a:cubicBezTo>
                    <a:pt x="1643539" y="233839"/>
                    <a:pt x="1646396" y="244316"/>
                    <a:pt x="1649254" y="254794"/>
                  </a:cubicBezTo>
                  <a:cubicBezTo>
                    <a:pt x="1651159" y="260509"/>
                    <a:pt x="1652111" y="267176"/>
                    <a:pt x="1654016" y="274796"/>
                  </a:cubicBezTo>
                  <a:cubicBezTo>
                    <a:pt x="1654016" y="276701"/>
                    <a:pt x="1653064" y="279559"/>
                    <a:pt x="1653064" y="281464"/>
                  </a:cubicBezTo>
                  <a:cubicBezTo>
                    <a:pt x="1653064" y="280511"/>
                    <a:pt x="1652111" y="279559"/>
                    <a:pt x="1652111" y="279559"/>
                  </a:cubicBezTo>
                  <a:cubicBezTo>
                    <a:pt x="1652111" y="279559"/>
                    <a:pt x="1652111" y="280511"/>
                    <a:pt x="1652111" y="282416"/>
                  </a:cubicBezTo>
                  <a:cubicBezTo>
                    <a:pt x="1651159" y="288131"/>
                    <a:pt x="1650206" y="293846"/>
                    <a:pt x="1649254" y="300514"/>
                  </a:cubicBezTo>
                  <a:cubicBezTo>
                    <a:pt x="1646396" y="293846"/>
                    <a:pt x="1644491" y="288131"/>
                    <a:pt x="1641634" y="281464"/>
                  </a:cubicBezTo>
                  <a:cubicBezTo>
                    <a:pt x="1642586" y="280511"/>
                    <a:pt x="1642586" y="280511"/>
                    <a:pt x="1643539" y="279559"/>
                  </a:cubicBezTo>
                  <a:cubicBezTo>
                    <a:pt x="1644491" y="278606"/>
                    <a:pt x="1646396" y="277654"/>
                    <a:pt x="1647349" y="277654"/>
                  </a:cubicBezTo>
                  <a:cubicBezTo>
                    <a:pt x="1651159" y="274796"/>
                    <a:pt x="1654016" y="273844"/>
                    <a:pt x="1654016" y="273844"/>
                  </a:cubicBezTo>
                  <a:cubicBezTo>
                    <a:pt x="1654016" y="273844"/>
                    <a:pt x="1652111" y="274796"/>
                    <a:pt x="1647349" y="276701"/>
                  </a:cubicBezTo>
                  <a:cubicBezTo>
                    <a:pt x="1646396" y="277654"/>
                    <a:pt x="1645444" y="277654"/>
                    <a:pt x="1643539" y="278606"/>
                  </a:cubicBezTo>
                  <a:cubicBezTo>
                    <a:pt x="1643539" y="278606"/>
                    <a:pt x="1642586" y="279559"/>
                    <a:pt x="1642586" y="279559"/>
                  </a:cubicBezTo>
                  <a:cubicBezTo>
                    <a:pt x="1642586" y="271939"/>
                    <a:pt x="1642586" y="263366"/>
                    <a:pt x="1642586" y="255746"/>
                  </a:cubicBezTo>
                  <a:cubicBezTo>
                    <a:pt x="1640681" y="246221"/>
                    <a:pt x="1640681" y="235744"/>
                    <a:pt x="1640681" y="226219"/>
                  </a:cubicBezTo>
                  <a:cubicBezTo>
                    <a:pt x="1639729" y="226219"/>
                    <a:pt x="1639729" y="226219"/>
                    <a:pt x="1640681" y="226219"/>
                  </a:cubicBezTo>
                  <a:close/>
                  <a:moveTo>
                    <a:pt x="1620679" y="348139"/>
                  </a:moveTo>
                  <a:cubicBezTo>
                    <a:pt x="1620679" y="349091"/>
                    <a:pt x="1620679" y="350044"/>
                    <a:pt x="1620679" y="351949"/>
                  </a:cubicBezTo>
                  <a:cubicBezTo>
                    <a:pt x="1620679" y="352901"/>
                    <a:pt x="1620679" y="353854"/>
                    <a:pt x="1620679" y="353854"/>
                  </a:cubicBezTo>
                  <a:cubicBezTo>
                    <a:pt x="1619726" y="354806"/>
                    <a:pt x="1619726" y="355759"/>
                    <a:pt x="1618774" y="356711"/>
                  </a:cubicBezTo>
                  <a:cubicBezTo>
                    <a:pt x="1619726" y="353854"/>
                    <a:pt x="1620679" y="350044"/>
                    <a:pt x="1620679" y="348139"/>
                  </a:cubicBezTo>
                  <a:close/>
                  <a:moveTo>
                    <a:pt x="1618774" y="311944"/>
                  </a:moveTo>
                  <a:cubicBezTo>
                    <a:pt x="1617821" y="312896"/>
                    <a:pt x="1617821" y="313849"/>
                    <a:pt x="1616869" y="315754"/>
                  </a:cubicBezTo>
                  <a:cubicBezTo>
                    <a:pt x="1613059" y="323374"/>
                    <a:pt x="1609249" y="332899"/>
                    <a:pt x="1605439" y="343376"/>
                  </a:cubicBezTo>
                  <a:cubicBezTo>
                    <a:pt x="1604486" y="345281"/>
                    <a:pt x="1603534" y="348139"/>
                    <a:pt x="1602581" y="350996"/>
                  </a:cubicBezTo>
                  <a:cubicBezTo>
                    <a:pt x="1602581" y="348139"/>
                    <a:pt x="1602581" y="345281"/>
                    <a:pt x="1602581" y="342424"/>
                  </a:cubicBezTo>
                  <a:cubicBezTo>
                    <a:pt x="1605439" y="334804"/>
                    <a:pt x="1609249" y="328136"/>
                    <a:pt x="1613059" y="321469"/>
                  </a:cubicBezTo>
                  <a:cubicBezTo>
                    <a:pt x="1614964" y="317659"/>
                    <a:pt x="1617821" y="313849"/>
                    <a:pt x="1619726" y="310039"/>
                  </a:cubicBezTo>
                  <a:cubicBezTo>
                    <a:pt x="1618774" y="310991"/>
                    <a:pt x="1618774" y="310991"/>
                    <a:pt x="1618774" y="311944"/>
                  </a:cubicBezTo>
                  <a:close/>
                  <a:moveTo>
                    <a:pt x="1610201" y="269081"/>
                  </a:moveTo>
                  <a:cubicBezTo>
                    <a:pt x="1612106" y="265271"/>
                    <a:pt x="1613059" y="261461"/>
                    <a:pt x="1614011" y="258604"/>
                  </a:cubicBezTo>
                  <a:cubicBezTo>
                    <a:pt x="1614964" y="256699"/>
                    <a:pt x="1615916" y="254794"/>
                    <a:pt x="1616869" y="252889"/>
                  </a:cubicBezTo>
                  <a:cubicBezTo>
                    <a:pt x="1616869" y="264319"/>
                    <a:pt x="1617821" y="277654"/>
                    <a:pt x="1617821" y="292894"/>
                  </a:cubicBezTo>
                  <a:cubicBezTo>
                    <a:pt x="1617821" y="292894"/>
                    <a:pt x="1617821" y="293846"/>
                    <a:pt x="1617821" y="293846"/>
                  </a:cubicBezTo>
                  <a:cubicBezTo>
                    <a:pt x="1616869" y="291941"/>
                    <a:pt x="1615916" y="290036"/>
                    <a:pt x="1614011" y="289084"/>
                  </a:cubicBezTo>
                  <a:cubicBezTo>
                    <a:pt x="1611154" y="284321"/>
                    <a:pt x="1608296" y="280511"/>
                    <a:pt x="1606391" y="277654"/>
                  </a:cubicBezTo>
                  <a:cubicBezTo>
                    <a:pt x="1608296" y="274796"/>
                    <a:pt x="1609249" y="271939"/>
                    <a:pt x="1610201" y="269081"/>
                  </a:cubicBezTo>
                  <a:close/>
                  <a:moveTo>
                    <a:pt x="1600676" y="297656"/>
                  </a:moveTo>
                  <a:cubicBezTo>
                    <a:pt x="1602581" y="290989"/>
                    <a:pt x="1604486" y="285274"/>
                    <a:pt x="1606391" y="279559"/>
                  </a:cubicBezTo>
                  <a:cubicBezTo>
                    <a:pt x="1607344" y="282416"/>
                    <a:pt x="1609249" y="286226"/>
                    <a:pt x="1611154" y="290989"/>
                  </a:cubicBezTo>
                  <a:cubicBezTo>
                    <a:pt x="1613059" y="294799"/>
                    <a:pt x="1614964" y="298609"/>
                    <a:pt x="1616869" y="303371"/>
                  </a:cubicBezTo>
                  <a:cubicBezTo>
                    <a:pt x="1613059" y="307181"/>
                    <a:pt x="1610201" y="312896"/>
                    <a:pt x="1606391" y="317659"/>
                  </a:cubicBezTo>
                  <a:cubicBezTo>
                    <a:pt x="1604486" y="320516"/>
                    <a:pt x="1602581" y="322421"/>
                    <a:pt x="1601629" y="325279"/>
                  </a:cubicBezTo>
                  <a:cubicBezTo>
                    <a:pt x="1601629" y="323374"/>
                    <a:pt x="1601629" y="321469"/>
                    <a:pt x="1600676" y="319564"/>
                  </a:cubicBezTo>
                  <a:cubicBezTo>
                    <a:pt x="1600676" y="314801"/>
                    <a:pt x="1599724" y="310039"/>
                    <a:pt x="1599724" y="305276"/>
                  </a:cubicBezTo>
                  <a:cubicBezTo>
                    <a:pt x="1599724" y="302419"/>
                    <a:pt x="1600676" y="300514"/>
                    <a:pt x="1600676" y="297656"/>
                  </a:cubicBezTo>
                  <a:close/>
                  <a:moveTo>
                    <a:pt x="1567339" y="315754"/>
                  </a:moveTo>
                  <a:cubicBezTo>
                    <a:pt x="1567339" y="320516"/>
                    <a:pt x="1568291" y="325279"/>
                    <a:pt x="1568291" y="330041"/>
                  </a:cubicBezTo>
                  <a:cubicBezTo>
                    <a:pt x="1567339" y="326231"/>
                    <a:pt x="1567339" y="323374"/>
                    <a:pt x="1566386" y="320516"/>
                  </a:cubicBezTo>
                  <a:cubicBezTo>
                    <a:pt x="1567339" y="319564"/>
                    <a:pt x="1567339" y="317659"/>
                    <a:pt x="1567339" y="315754"/>
                  </a:cubicBezTo>
                  <a:close/>
                  <a:moveTo>
                    <a:pt x="1547336" y="265271"/>
                  </a:moveTo>
                  <a:cubicBezTo>
                    <a:pt x="1547336" y="269081"/>
                    <a:pt x="1546384" y="271939"/>
                    <a:pt x="1546384" y="275749"/>
                  </a:cubicBezTo>
                  <a:cubicBezTo>
                    <a:pt x="1546384" y="274796"/>
                    <a:pt x="1545431" y="273844"/>
                    <a:pt x="1545431" y="272891"/>
                  </a:cubicBezTo>
                  <a:cubicBezTo>
                    <a:pt x="1546384" y="270986"/>
                    <a:pt x="1546384" y="268129"/>
                    <a:pt x="1547336" y="265271"/>
                  </a:cubicBezTo>
                  <a:close/>
                  <a:moveTo>
                    <a:pt x="1541621" y="286226"/>
                  </a:moveTo>
                  <a:cubicBezTo>
                    <a:pt x="1542574" y="289084"/>
                    <a:pt x="1543526" y="290989"/>
                    <a:pt x="1543526" y="293846"/>
                  </a:cubicBezTo>
                  <a:cubicBezTo>
                    <a:pt x="1543526" y="295751"/>
                    <a:pt x="1542574" y="298609"/>
                    <a:pt x="1542574" y="301466"/>
                  </a:cubicBezTo>
                  <a:cubicBezTo>
                    <a:pt x="1541621" y="298609"/>
                    <a:pt x="1540669" y="294799"/>
                    <a:pt x="1539716" y="291941"/>
                  </a:cubicBezTo>
                  <a:cubicBezTo>
                    <a:pt x="1540669" y="289084"/>
                    <a:pt x="1541621" y="288131"/>
                    <a:pt x="1541621" y="286226"/>
                  </a:cubicBezTo>
                  <a:close/>
                  <a:moveTo>
                    <a:pt x="1537811" y="271939"/>
                  </a:moveTo>
                  <a:cubicBezTo>
                    <a:pt x="1537811" y="273844"/>
                    <a:pt x="1538764" y="274796"/>
                    <a:pt x="1538764" y="276701"/>
                  </a:cubicBezTo>
                  <a:cubicBezTo>
                    <a:pt x="1537811" y="277654"/>
                    <a:pt x="1537811" y="278606"/>
                    <a:pt x="1536859" y="280511"/>
                  </a:cubicBezTo>
                  <a:cubicBezTo>
                    <a:pt x="1537811" y="276701"/>
                    <a:pt x="1537811" y="273844"/>
                    <a:pt x="1537811" y="271939"/>
                  </a:cubicBezTo>
                  <a:close/>
                  <a:moveTo>
                    <a:pt x="1533049" y="338614"/>
                  </a:moveTo>
                  <a:cubicBezTo>
                    <a:pt x="1533049" y="337661"/>
                    <a:pt x="1533049" y="336709"/>
                    <a:pt x="1533049" y="335756"/>
                  </a:cubicBezTo>
                  <a:cubicBezTo>
                    <a:pt x="1534001" y="340519"/>
                    <a:pt x="1534954" y="345281"/>
                    <a:pt x="1535906" y="350044"/>
                  </a:cubicBezTo>
                  <a:cubicBezTo>
                    <a:pt x="1536859" y="352901"/>
                    <a:pt x="1536859" y="354806"/>
                    <a:pt x="1536859" y="357664"/>
                  </a:cubicBezTo>
                  <a:cubicBezTo>
                    <a:pt x="1536859" y="359569"/>
                    <a:pt x="1536859" y="360521"/>
                    <a:pt x="1536859" y="362426"/>
                  </a:cubicBezTo>
                  <a:cubicBezTo>
                    <a:pt x="1536859" y="362426"/>
                    <a:pt x="1536859" y="362426"/>
                    <a:pt x="1536859" y="362426"/>
                  </a:cubicBezTo>
                  <a:cubicBezTo>
                    <a:pt x="1534954" y="356711"/>
                    <a:pt x="1533049" y="351949"/>
                    <a:pt x="1532096" y="346234"/>
                  </a:cubicBezTo>
                  <a:cubicBezTo>
                    <a:pt x="1533049" y="343376"/>
                    <a:pt x="1533049" y="341471"/>
                    <a:pt x="1533049" y="338614"/>
                  </a:cubicBezTo>
                  <a:close/>
                  <a:moveTo>
                    <a:pt x="1519714" y="270986"/>
                  </a:moveTo>
                  <a:cubicBezTo>
                    <a:pt x="1521619" y="279559"/>
                    <a:pt x="1523524" y="288131"/>
                    <a:pt x="1525429" y="297656"/>
                  </a:cubicBezTo>
                  <a:cubicBezTo>
                    <a:pt x="1525429" y="298609"/>
                    <a:pt x="1525429" y="299561"/>
                    <a:pt x="1524476" y="301466"/>
                  </a:cubicBezTo>
                  <a:cubicBezTo>
                    <a:pt x="1523524" y="306229"/>
                    <a:pt x="1522571" y="310991"/>
                    <a:pt x="1521619" y="315754"/>
                  </a:cubicBezTo>
                  <a:cubicBezTo>
                    <a:pt x="1520666" y="313849"/>
                    <a:pt x="1520666" y="311944"/>
                    <a:pt x="1519714" y="310991"/>
                  </a:cubicBezTo>
                  <a:cubicBezTo>
                    <a:pt x="1519714" y="295751"/>
                    <a:pt x="1518761" y="281464"/>
                    <a:pt x="1517809" y="268129"/>
                  </a:cubicBezTo>
                  <a:cubicBezTo>
                    <a:pt x="1519714" y="268129"/>
                    <a:pt x="1519714" y="269081"/>
                    <a:pt x="1519714" y="270986"/>
                  </a:cubicBezTo>
                  <a:close/>
                  <a:moveTo>
                    <a:pt x="1503521" y="302419"/>
                  </a:moveTo>
                  <a:cubicBezTo>
                    <a:pt x="1503521" y="306229"/>
                    <a:pt x="1503521" y="310039"/>
                    <a:pt x="1502569" y="313849"/>
                  </a:cubicBezTo>
                  <a:cubicBezTo>
                    <a:pt x="1502569" y="318611"/>
                    <a:pt x="1502569" y="324326"/>
                    <a:pt x="1502569" y="330041"/>
                  </a:cubicBezTo>
                  <a:cubicBezTo>
                    <a:pt x="1502569" y="330041"/>
                    <a:pt x="1502569" y="330041"/>
                    <a:pt x="1501616" y="329089"/>
                  </a:cubicBezTo>
                  <a:cubicBezTo>
                    <a:pt x="1500664" y="323374"/>
                    <a:pt x="1498759" y="317659"/>
                    <a:pt x="1497806" y="311944"/>
                  </a:cubicBezTo>
                  <a:cubicBezTo>
                    <a:pt x="1500664" y="309086"/>
                    <a:pt x="1502569" y="306229"/>
                    <a:pt x="1503521" y="302419"/>
                  </a:cubicBezTo>
                  <a:close/>
                  <a:moveTo>
                    <a:pt x="1477804" y="272891"/>
                  </a:moveTo>
                  <a:cubicBezTo>
                    <a:pt x="1477804" y="273844"/>
                    <a:pt x="1477804" y="273844"/>
                    <a:pt x="1477804" y="272891"/>
                  </a:cubicBezTo>
                  <a:cubicBezTo>
                    <a:pt x="1477804" y="275749"/>
                    <a:pt x="1477804" y="278606"/>
                    <a:pt x="1477804" y="282416"/>
                  </a:cubicBezTo>
                  <a:cubicBezTo>
                    <a:pt x="1477804" y="286226"/>
                    <a:pt x="1476851" y="290989"/>
                    <a:pt x="1476851" y="294799"/>
                  </a:cubicBezTo>
                  <a:cubicBezTo>
                    <a:pt x="1476851" y="294799"/>
                    <a:pt x="1476851" y="295751"/>
                    <a:pt x="1475899" y="295751"/>
                  </a:cubicBezTo>
                  <a:cubicBezTo>
                    <a:pt x="1475899" y="290989"/>
                    <a:pt x="1474946" y="286226"/>
                    <a:pt x="1474946" y="282416"/>
                  </a:cubicBezTo>
                  <a:cubicBezTo>
                    <a:pt x="1475899" y="279559"/>
                    <a:pt x="1476851" y="276701"/>
                    <a:pt x="1477804" y="272891"/>
                  </a:cubicBezTo>
                  <a:close/>
                  <a:moveTo>
                    <a:pt x="1461611" y="326231"/>
                  </a:moveTo>
                  <a:cubicBezTo>
                    <a:pt x="1461611" y="327184"/>
                    <a:pt x="1461611" y="327184"/>
                    <a:pt x="1461611" y="328136"/>
                  </a:cubicBezTo>
                  <a:cubicBezTo>
                    <a:pt x="1461611" y="329089"/>
                    <a:pt x="1460659" y="329089"/>
                    <a:pt x="1460659" y="330041"/>
                  </a:cubicBezTo>
                  <a:cubicBezTo>
                    <a:pt x="1460659" y="330041"/>
                    <a:pt x="1460659" y="330041"/>
                    <a:pt x="1460659" y="329089"/>
                  </a:cubicBezTo>
                  <a:cubicBezTo>
                    <a:pt x="1460659" y="328136"/>
                    <a:pt x="1460659" y="327184"/>
                    <a:pt x="1461611" y="326231"/>
                  </a:cubicBezTo>
                  <a:close/>
                  <a:moveTo>
                    <a:pt x="1457801" y="309086"/>
                  </a:moveTo>
                  <a:cubicBezTo>
                    <a:pt x="1456849" y="310039"/>
                    <a:pt x="1456849" y="310039"/>
                    <a:pt x="1457801" y="309086"/>
                  </a:cubicBezTo>
                  <a:cubicBezTo>
                    <a:pt x="1456849" y="307181"/>
                    <a:pt x="1456849" y="305276"/>
                    <a:pt x="1455896" y="302419"/>
                  </a:cubicBezTo>
                  <a:cubicBezTo>
                    <a:pt x="1455896" y="305276"/>
                    <a:pt x="1456849" y="307181"/>
                    <a:pt x="1457801" y="309086"/>
                  </a:cubicBezTo>
                  <a:close/>
                  <a:moveTo>
                    <a:pt x="1442561" y="328136"/>
                  </a:moveTo>
                  <a:cubicBezTo>
                    <a:pt x="1442561" y="324326"/>
                    <a:pt x="1442561" y="321469"/>
                    <a:pt x="1442561" y="318611"/>
                  </a:cubicBezTo>
                  <a:cubicBezTo>
                    <a:pt x="1443514" y="323374"/>
                    <a:pt x="1443514" y="329089"/>
                    <a:pt x="1444466" y="333851"/>
                  </a:cubicBezTo>
                  <a:cubicBezTo>
                    <a:pt x="1443514" y="332899"/>
                    <a:pt x="1443514" y="330994"/>
                    <a:pt x="1442561" y="330041"/>
                  </a:cubicBezTo>
                  <a:cubicBezTo>
                    <a:pt x="1442561" y="330041"/>
                    <a:pt x="1442561" y="329089"/>
                    <a:pt x="1442561" y="328136"/>
                  </a:cubicBezTo>
                  <a:close/>
                  <a:moveTo>
                    <a:pt x="1415891" y="281464"/>
                  </a:moveTo>
                  <a:cubicBezTo>
                    <a:pt x="1415891" y="284321"/>
                    <a:pt x="1415891" y="286226"/>
                    <a:pt x="1415891" y="289084"/>
                  </a:cubicBezTo>
                  <a:cubicBezTo>
                    <a:pt x="1415891" y="289084"/>
                    <a:pt x="1415891" y="289084"/>
                    <a:pt x="1415891" y="289084"/>
                  </a:cubicBezTo>
                  <a:cubicBezTo>
                    <a:pt x="1414939" y="288131"/>
                    <a:pt x="1413986" y="287179"/>
                    <a:pt x="1413034" y="286226"/>
                  </a:cubicBezTo>
                  <a:cubicBezTo>
                    <a:pt x="1414939" y="284321"/>
                    <a:pt x="1415891" y="282416"/>
                    <a:pt x="1415891" y="281464"/>
                  </a:cubicBezTo>
                  <a:close/>
                  <a:moveTo>
                    <a:pt x="1412081" y="290036"/>
                  </a:moveTo>
                  <a:cubicBezTo>
                    <a:pt x="1413034" y="290989"/>
                    <a:pt x="1413034" y="291941"/>
                    <a:pt x="1413986" y="292894"/>
                  </a:cubicBezTo>
                  <a:cubicBezTo>
                    <a:pt x="1414939" y="293846"/>
                    <a:pt x="1414939" y="294799"/>
                    <a:pt x="1415891" y="295751"/>
                  </a:cubicBezTo>
                  <a:cubicBezTo>
                    <a:pt x="1415891" y="297656"/>
                    <a:pt x="1415891" y="299561"/>
                    <a:pt x="1415891" y="300514"/>
                  </a:cubicBezTo>
                  <a:cubicBezTo>
                    <a:pt x="1413986" y="296704"/>
                    <a:pt x="1413034" y="293846"/>
                    <a:pt x="1412081" y="290036"/>
                  </a:cubicBezTo>
                  <a:cubicBezTo>
                    <a:pt x="1412081" y="290036"/>
                    <a:pt x="1412081" y="290036"/>
                    <a:pt x="1412081" y="290036"/>
                  </a:cubicBezTo>
                  <a:close/>
                  <a:moveTo>
                    <a:pt x="1383506" y="364331"/>
                  </a:moveTo>
                  <a:cubicBezTo>
                    <a:pt x="1383506" y="362426"/>
                    <a:pt x="1383506" y="360521"/>
                    <a:pt x="1382554" y="358616"/>
                  </a:cubicBezTo>
                  <a:cubicBezTo>
                    <a:pt x="1382554" y="358616"/>
                    <a:pt x="1382554" y="357664"/>
                    <a:pt x="1382554" y="357664"/>
                  </a:cubicBezTo>
                  <a:cubicBezTo>
                    <a:pt x="1382554" y="358616"/>
                    <a:pt x="1383506" y="360521"/>
                    <a:pt x="1383506" y="362426"/>
                  </a:cubicBezTo>
                  <a:cubicBezTo>
                    <a:pt x="1384459" y="363379"/>
                    <a:pt x="1384459" y="363379"/>
                    <a:pt x="1383506" y="364331"/>
                  </a:cubicBezTo>
                  <a:close/>
                  <a:moveTo>
                    <a:pt x="1386364" y="298609"/>
                  </a:moveTo>
                  <a:cubicBezTo>
                    <a:pt x="1386364" y="298609"/>
                    <a:pt x="1386364" y="298609"/>
                    <a:pt x="1386364" y="298609"/>
                  </a:cubicBezTo>
                  <a:cubicBezTo>
                    <a:pt x="1385411" y="296704"/>
                    <a:pt x="1385411" y="295751"/>
                    <a:pt x="1384459" y="293846"/>
                  </a:cubicBezTo>
                  <a:cubicBezTo>
                    <a:pt x="1385411" y="292894"/>
                    <a:pt x="1385411" y="291941"/>
                    <a:pt x="1386364" y="290989"/>
                  </a:cubicBezTo>
                  <a:cubicBezTo>
                    <a:pt x="1388269" y="289084"/>
                    <a:pt x="1389221" y="287179"/>
                    <a:pt x="1391126" y="286226"/>
                  </a:cubicBezTo>
                  <a:cubicBezTo>
                    <a:pt x="1389221" y="290036"/>
                    <a:pt x="1387316" y="293846"/>
                    <a:pt x="1386364" y="298609"/>
                  </a:cubicBezTo>
                  <a:close/>
                  <a:moveTo>
                    <a:pt x="1383506" y="287179"/>
                  </a:moveTo>
                  <a:cubicBezTo>
                    <a:pt x="1383506" y="287179"/>
                    <a:pt x="1382554" y="288131"/>
                    <a:pt x="1382554" y="288131"/>
                  </a:cubicBezTo>
                  <a:cubicBezTo>
                    <a:pt x="1380649" y="283369"/>
                    <a:pt x="1378744" y="278606"/>
                    <a:pt x="1376839" y="274796"/>
                  </a:cubicBezTo>
                  <a:cubicBezTo>
                    <a:pt x="1379696" y="262414"/>
                    <a:pt x="1382554" y="251936"/>
                    <a:pt x="1384459" y="242411"/>
                  </a:cubicBezTo>
                  <a:cubicBezTo>
                    <a:pt x="1385411" y="250031"/>
                    <a:pt x="1387316" y="263366"/>
                    <a:pt x="1390174" y="281464"/>
                  </a:cubicBezTo>
                  <a:cubicBezTo>
                    <a:pt x="1388269" y="283369"/>
                    <a:pt x="1386364" y="285274"/>
                    <a:pt x="1383506" y="287179"/>
                  </a:cubicBezTo>
                  <a:close/>
                  <a:moveTo>
                    <a:pt x="1391126" y="310991"/>
                  </a:moveTo>
                  <a:cubicBezTo>
                    <a:pt x="1392079" y="307181"/>
                    <a:pt x="1392079" y="303371"/>
                    <a:pt x="1393031" y="299561"/>
                  </a:cubicBezTo>
                  <a:cubicBezTo>
                    <a:pt x="1393031" y="299561"/>
                    <a:pt x="1393031" y="298609"/>
                    <a:pt x="1393031" y="298609"/>
                  </a:cubicBezTo>
                  <a:cubicBezTo>
                    <a:pt x="1393031" y="300514"/>
                    <a:pt x="1393984" y="303371"/>
                    <a:pt x="1393984" y="305276"/>
                  </a:cubicBezTo>
                  <a:cubicBezTo>
                    <a:pt x="1393984" y="308134"/>
                    <a:pt x="1392079" y="309086"/>
                    <a:pt x="1391126" y="310991"/>
                  </a:cubicBezTo>
                  <a:close/>
                  <a:moveTo>
                    <a:pt x="1397794" y="278606"/>
                  </a:moveTo>
                  <a:cubicBezTo>
                    <a:pt x="1397794" y="278606"/>
                    <a:pt x="1397794" y="278606"/>
                    <a:pt x="1397794" y="278606"/>
                  </a:cubicBezTo>
                  <a:cubicBezTo>
                    <a:pt x="1397794" y="278606"/>
                    <a:pt x="1397794" y="279559"/>
                    <a:pt x="1397794" y="279559"/>
                  </a:cubicBezTo>
                  <a:cubicBezTo>
                    <a:pt x="1397794" y="279559"/>
                    <a:pt x="1397794" y="279559"/>
                    <a:pt x="1397794" y="278606"/>
                  </a:cubicBezTo>
                  <a:cubicBezTo>
                    <a:pt x="1397794" y="278606"/>
                    <a:pt x="1397794" y="278606"/>
                    <a:pt x="1397794" y="278606"/>
                  </a:cubicBezTo>
                  <a:close/>
                  <a:moveTo>
                    <a:pt x="1397794" y="322421"/>
                  </a:moveTo>
                  <a:cubicBezTo>
                    <a:pt x="1398746" y="325279"/>
                    <a:pt x="1398746" y="328136"/>
                    <a:pt x="1399699" y="331946"/>
                  </a:cubicBezTo>
                  <a:cubicBezTo>
                    <a:pt x="1399699" y="332899"/>
                    <a:pt x="1399699" y="332899"/>
                    <a:pt x="1399699" y="333851"/>
                  </a:cubicBezTo>
                  <a:cubicBezTo>
                    <a:pt x="1398746" y="330994"/>
                    <a:pt x="1397794" y="328136"/>
                    <a:pt x="1396841" y="326231"/>
                  </a:cubicBezTo>
                  <a:cubicBezTo>
                    <a:pt x="1396841" y="324326"/>
                    <a:pt x="1396841" y="323374"/>
                    <a:pt x="1397794" y="322421"/>
                  </a:cubicBezTo>
                  <a:close/>
                  <a:moveTo>
                    <a:pt x="1387316" y="231934"/>
                  </a:moveTo>
                  <a:cubicBezTo>
                    <a:pt x="1389221" y="242411"/>
                    <a:pt x="1392079" y="255746"/>
                    <a:pt x="1395889" y="270986"/>
                  </a:cubicBezTo>
                  <a:cubicBezTo>
                    <a:pt x="1395889" y="271939"/>
                    <a:pt x="1395889" y="271939"/>
                    <a:pt x="1394936" y="272891"/>
                  </a:cubicBezTo>
                  <a:cubicBezTo>
                    <a:pt x="1390174" y="257651"/>
                    <a:pt x="1386364" y="246221"/>
                    <a:pt x="1384459" y="240506"/>
                  </a:cubicBezTo>
                  <a:cubicBezTo>
                    <a:pt x="1386364" y="237649"/>
                    <a:pt x="1387316" y="234791"/>
                    <a:pt x="1387316" y="231934"/>
                  </a:cubicBezTo>
                  <a:close/>
                  <a:moveTo>
                    <a:pt x="1380649" y="232886"/>
                  </a:moveTo>
                  <a:cubicBezTo>
                    <a:pt x="1382554" y="230029"/>
                    <a:pt x="1384459" y="227171"/>
                    <a:pt x="1386364" y="225266"/>
                  </a:cubicBezTo>
                  <a:cubicBezTo>
                    <a:pt x="1386364" y="225266"/>
                    <a:pt x="1386364" y="225266"/>
                    <a:pt x="1386364" y="225266"/>
                  </a:cubicBezTo>
                  <a:cubicBezTo>
                    <a:pt x="1382554" y="234791"/>
                    <a:pt x="1377791" y="247174"/>
                    <a:pt x="1372076" y="262414"/>
                  </a:cubicBezTo>
                  <a:cubicBezTo>
                    <a:pt x="1371124" y="260509"/>
                    <a:pt x="1371124" y="259556"/>
                    <a:pt x="1370171" y="257651"/>
                  </a:cubicBezTo>
                  <a:cubicBezTo>
                    <a:pt x="1369219" y="256699"/>
                    <a:pt x="1369219" y="255746"/>
                    <a:pt x="1369219" y="253841"/>
                  </a:cubicBezTo>
                  <a:cubicBezTo>
                    <a:pt x="1373029" y="245269"/>
                    <a:pt x="1376839" y="238601"/>
                    <a:pt x="1380649" y="232886"/>
                  </a:cubicBezTo>
                  <a:close/>
                  <a:moveTo>
                    <a:pt x="1356836" y="300514"/>
                  </a:moveTo>
                  <a:cubicBezTo>
                    <a:pt x="1356836" y="301466"/>
                    <a:pt x="1356836" y="301466"/>
                    <a:pt x="1356836" y="302419"/>
                  </a:cubicBezTo>
                  <a:cubicBezTo>
                    <a:pt x="1356836" y="303371"/>
                    <a:pt x="1356836" y="303371"/>
                    <a:pt x="1355884" y="304324"/>
                  </a:cubicBezTo>
                  <a:cubicBezTo>
                    <a:pt x="1355884" y="302419"/>
                    <a:pt x="1355884" y="301466"/>
                    <a:pt x="1355884" y="299561"/>
                  </a:cubicBezTo>
                  <a:cubicBezTo>
                    <a:pt x="1355884" y="299561"/>
                    <a:pt x="1356836" y="299561"/>
                    <a:pt x="1356836" y="300514"/>
                  </a:cubicBezTo>
                  <a:close/>
                  <a:moveTo>
                    <a:pt x="1339691" y="325279"/>
                  </a:moveTo>
                  <a:cubicBezTo>
                    <a:pt x="1339691" y="325279"/>
                    <a:pt x="1339691" y="324326"/>
                    <a:pt x="1339691" y="324326"/>
                  </a:cubicBezTo>
                  <a:cubicBezTo>
                    <a:pt x="1340644" y="322421"/>
                    <a:pt x="1341596" y="319564"/>
                    <a:pt x="1341596" y="317659"/>
                  </a:cubicBezTo>
                  <a:cubicBezTo>
                    <a:pt x="1341596" y="317659"/>
                    <a:pt x="1341596" y="317659"/>
                    <a:pt x="1341596" y="317659"/>
                  </a:cubicBezTo>
                  <a:cubicBezTo>
                    <a:pt x="1341596" y="322421"/>
                    <a:pt x="1341596" y="326231"/>
                    <a:pt x="1341596" y="330994"/>
                  </a:cubicBezTo>
                  <a:cubicBezTo>
                    <a:pt x="1341596" y="328136"/>
                    <a:pt x="1340644" y="326231"/>
                    <a:pt x="1339691" y="325279"/>
                  </a:cubicBezTo>
                  <a:close/>
                  <a:moveTo>
                    <a:pt x="1340644" y="226219"/>
                  </a:moveTo>
                  <a:cubicBezTo>
                    <a:pt x="1340644" y="225266"/>
                    <a:pt x="1340644" y="225266"/>
                    <a:pt x="1340644" y="226219"/>
                  </a:cubicBezTo>
                  <a:cubicBezTo>
                    <a:pt x="1341596" y="229076"/>
                    <a:pt x="1343501" y="232886"/>
                    <a:pt x="1344454" y="237649"/>
                  </a:cubicBezTo>
                  <a:cubicBezTo>
                    <a:pt x="1344454" y="239554"/>
                    <a:pt x="1344454" y="240506"/>
                    <a:pt x="1344454" y="242411"/>
                  </a:cubicBezTo>
                  <a:cubicBezTo>
                    <a:pt x="1344454" y="249079"/>
                    <a:pt x="1343501" y="256699"/>
                    <a:pt x="1343501" y="264319"/>
                  </a:cubicBezTo>
                  <a:cubicBezTo>
                    <a:pt x="1343501" y="267176"/>
                    <a:pt x="1343501" y="270034"/>
                    <a:pt x="1343501" y="272891"/>
                  </a:cubicBezTo>
                  <a:cubicBezTo>
                    <a:pt x="1341596" y="271939"/>
                    <a:pt x="1340644" y="270034"/>
                    <a:pt x="1339691" y="269081"/>
                  </a:cubicBezTo>
                  <a:cubicBezTo>
                    <a:pt x="1338739" y="252889"/>
                    <a:pt x="1339691" y="238601"/>
                    <a:pt x="1340644" y="226219"/>
                  </a:cubicBezTo>
                  <a:close/>
                  <a:moveTo>
                    <a:pt x="1337786" y="295751"/>
                  </a:moveTo>
                  <a:cubicBezTo>
                    <a:pt x="1337786" y="288131"/>
                    <a:pt x="1338739" y="279559"/>
                    <a:pt x="1338739" y="271939"/>
                  </a:cubicBezTo>
                  <a:cubicBezTo>
                    <a:pt x="1339691" y="272891"/>
                    <a:pt x="1341596" y="274796"/>
                    <a:pt x="1342549" y="276701"/>
                  </a:cubicBezTo>
                  <a:cubicBezTo>
                    <a:pt x="1342549" y="276701"/>
                    <a:pt x="1342549" y="276701"/>
                    <a:pt x="1342549" y="276701"/>
                  </a:cubicBezTo>
                  <a:cubicBezTo>
                    <a:pt x="1342549" y="279559"/>
                    <a:pt x="1342549" y="283369"/>
                    <a:pt x="1342549" y="286226"/>
                  </a:cubicBezTo>
                  <a:cubicBezTo>
                    <a:pt x="1340644" y="290036"/>
                    <a:pt x="1338739" y="292894"/>
                    <a:pt x="1337786" y="295751"/>
                  </a:cubicBezTo>
                  <a:cubicBezTo>
                    <a:pt x="1337786" y="296704"/>
                    <a:pt x="1337786" y="296704"/>
                    <a:pt x="1337786" y="296704"/>
                  </a:cubicBezTo>
                  <a:cubicBezTo>
                    <a:pt x="1337786" y="296704"/>
                    <a:pt x="1337786" y="295751"/>
                    <a:pt x="1337786" y="295751"/>
                  </a:cubicBezTo>
                  <a:close/>
                  <a:moveTo>
                    <a:pt x="1314926" y="320516"/>
                  </a:moveTo>
                  <a:cubicBezTo>
                    <a:pt x="1314926" y="320516"/>
                    <a:pt x="1314926" y="320516"/>
                    <a:pt x="1314926" y="320516"/>
                  </a:cubicBezTo>
                  <a:cubicBezTo>
                    <a:pt x="1314926" y="320516"/>
                    <a:pt x="1314926" y="320516"/>
                    <a:pt x="1314926" y="320516"/>
                  </a:cubicBezTo>
                  <a:cubicBezTo>
                    <a:pt x="1314926" y="320516"/>
                    <a:pt x="1314926" y="320516"/>
                    <a:pt x="1314926" y="320516"/>
                  </a:cubicBezTo>
                  <a:close/>
                  <a:moveTo>
                    <a:pt x="1311116" y="312896"/>
                  </a:moveTo>
                  <a:cubicBezTo>
                    <a:pt x="1311116" y="312896"/>
                    <a:pt x="1312069" y="313849"/>
                    <a:pt x="1311116" y="312896"/>
                  </a:cubicBezTo>
                  <a:cubicBezTo>
                    <a:pt x="1311116" y="313849"/>
                    <a:pt x="1311116" y="313849"/>
                    <a:pt x="1311116" y="314801"/>
                  </a:cubicBezTo>
                  <a:cubicBezTo>
                    <a:pt x="1311116" y="314801"/>
                    <a:pt x="1311116" y="314801"/>
                    <a:pt x="1311116" y="314801"/>
                  </a:cubicBezTo>
                  <a:cubicBezTo>
                    <a:pt x="1311116" y="313849"/>
                    <a:pt x="1311116" y="313849"/>
                    <a:pt x="1311116" y="312896"/>
                  </a:cubicBezTo>
                  <a:close/>
                  <a:moveTo>
                    <a:pt x="1242536" y="344329"/>
                  </a:moveTo>
                  <a:cubicBezTo>
                    <a:pt x="1241584" y="341471"/>
                    <a:pt x="1239679" y="339566"/>
                    <a:pt x="1238726" y="336709"/>
                  </a:cubicBezTo>
                  <a:cubicBezTo>
                    <a:pt x="1238726" y="328136"/>
                    <a:pt x="1238726" y="318611"/>
                    <a:pt x="1238726" y="310991"/>
                  </a:cubicBezTo>
                  <a:cubicBezTo>
                    <a:pt x="1238726" y="309086"/>
                    <a:pt x="1238726" y="308134"/>
                    <a:pt x="1238726" y="307181"/>
                  </a:cubicBezTo>
                  <a:cubicBezTo>
                    <a:pt x="1240631" y="317659"/>
                    <a:pt x="1241584" y="328136"/>
                    <a:pt x="1244441" y="339566"/>
                  </a:cubicBezTo>
                  <a:cubicBezTo>
                    <a:pt x="1244441" y="339566"/>
                    <a:pt x="1244441" y="340519"/>
                    <a:pt x="1244441" y="340519"/>
                  </a:cubicBezTo>
                  <a:cubicBezTo>
                    <a:pt x="1243489" y="341471"/>
                    <a:pt x="1242536" y="343376"/>
                    <a:pt x="1242536" y="344329"/>
                  </a:cubicBezTo>
                  <a:close/>
                  <a:moveTo>
                    <a:pt x="1279684" y="290989"/>
                  </a:moveTo>
                  <a:cubicBezTo>
                    <a:pt x="1279684" y="289084"/>
                    <a:pt x="1279684" y="286226"/>
                    <a:pt x="1279684" y="284321"/>
                  </a:cubicBezTo>
                  <a:cubicBezTo>
                    <a:pt x="1280636" y="285274"/>
                    <a:pt x="1280636" y="286226"/>
                    <a:pt x="1281589" y="287179"/>
                  </a:cubicBezTo>
                  <a:cubicBezTo>
                    <a:pt x="1280636" y="289084"/>
                    <a:pt x="1279684" y="290036"/>
                    <a:pt x="1279684" y="290989"/>
                  </a:cubicBezTo>
                  <a:close/>
                  <a:moveTo>
                    <a:pt x="1298734" y="332899"/>
                  </a:moveTo>
                  <a:cubicBezTo>
                    <a:pt x="1298734" y="332899"/>
                    <a:pt x="1298734" y="332899"/>
                    <a:pt x="1298734" y="332899"/>
                  </a:cubicBezTo>
                  <a:cubicBezTo>
                    <a:pt x="1298734" y="331946"/>
                    <a:pt x="1298734" y="331946"/>
                    <a:pt x="1298734" y="330994"/>
                  </a:cubicBezTo>
                  <a:cubicBezTo>
                    <a:pt x="1298734" y="331946"/>
                    <a:pt x="1298734" y="332899"/>
                    <a:pt x="1298734" y="332899"/>
                  </a:cubicBezTo>
                  <a:close/>
                  <a:moveTo>
                    <a:pt x="1295876" y="278606"/>
                  </a:moveTo>
                  <a:cubicBezTo>
                    <a:pt x="1298734" y="285274"/>
                    <a:pt x="1301591" y="291941"/>
                    <a:pt x="1305401" y="299561"/>
                  </a:cubicBezTo>
                  <a:cubicBezTo>
                    <a:pt x="1305401" y="299561"/>
                    <a:pt x="1305401" y="299561"/>
                    <a:pt x="1305401" y="300514"/>
                  </a:cubicBezTo>
                  <a:cubicBezTo>
                    <a:pt x="1305401" y="301466"/>
                    <a:pt x="1305401" y="302419"/>
                    <a:pt x="1304449" y="303371"/>
                  </a:cubicBezTo>
                  <a:cubicBezTo>
                    <a:pt x="1303496" y="300514"/>
                    <a:pt x="1301591" y="298609"/>
                    <a:pt x="1300639" y="295751"/>
                  </a:cubicBezTo>
                  <a:cubicBezTo>
                    <a:pt x="1298734" y="291941"/>
                    <a:pt x="1296829" y="288131"/>
                    <a:pt x="1293971" y="284321"/>
                  </a:cubicBezTo>
                  <a:cubicBezTo>
                    <a:pt x="1294924" y="282416"/>
                    <a:pt x="1295876" y="280511"/>
                    <a:pt x="1295876" y="278606"/>
                  </a:cubicBezTo>
                  <a:close/>
                  <a:moveTo>
                    <a:pt x="1299686" y="328136"/>
                  </a:moveTo>
                  <a:cubicBezTo>
                    <a:pt x="1299686" y="329089"/>
                    <a:pt x="1299686" y="329089"/>
                    <a:pt x="1299686" y="330041"/>
                  </a:cubicBezTo>
                  <a:cubicBezTo>
                    <a:pt x="1299686" y="330041"/>
                    <a:pt x="1298734" y="330994"/>
                    <a:pt x="1298734" y="331946"/>
                  </a:cubicBezTo>
                  <a:cubicBezTo>
                    <a:pt x="1296829" y="329089"/>
                    <a:pt x="1294924" y="326231"/>
                    <a:pt x="1293019" y="324326"/>
                  </a:cubicBezTo>
                  <a:cubicBezTo>
                    <a:pt x="1292066" y="322421"/>
                    <a:pt x="1290161" y="320516"/>
                    <a:pt x="1289209" y="318611"/>
                  </a:cubicBezTo>
                  <a:cubicBezTo>
                    <a:pt x="1289209" y="318611"/>
                    <a:pt x="1289209" y="318611"/>
                    <a:pt x="1289209" y="318611"/>
                  </a:cubicBezTo>
                  <a:cubicBezTo>
                    <a:pt x="1289209" y="314801"/>
                    <a:pt x="1289209" y="311944"/>
                    <a:pt x="1289209" y="309086"/>
                  </a:cubicBezTo>
                  <a:cubicBezTo>
                    <a:pt x="1289209" y="308134"/>
                    <a:pt x="1290161" y="306229"/>
                    <a:pt x="1290161" y="305276"/>
                  </a:cubicBezTo>
                  <a:cubicBezTo>
                    <a:pt x="1293019" y="311944"/>
                    <a:pt x="1296829" y="319564"/>
                    <a:pt x="1299686" y="328136"/>
                  </a:cubicBezTo>
                  <a:close/>
                  <a:moveTo>
                    <a:pt x="1289209" y="263366"/>
                  </a:moveTo>
                  <a:cubicBezTo>
                    <a:pt x="1288256" y="265271"/>
                    <a:pt x="1288256" y="266224"/>
                    <a:pt x="1287304" y="268129"/>
                  </a:cubicBezTo>
                  <a:cubicBezTo>
                    <a:pt x="1287304" y="265271"/>
                    <a:pt x="1287304" y="262414"/>
                    <a:pt x="1287304" y="259556"/>
                  </a:cubicBezTo>
                  <a:cubicBezTo>
                    <a:pt x="1287304" y="260509"/>
                    <a:pt x="1288256" y="262414"/>
                    <a:pt x="1289209" y="263366"/>
                  </a:cubicBezTo>
                  <a:close/>
                  <a:moveTo>
                    <a:pt x="1276826" y="238601"/>
                  </a:moveTo>
                  <a:cubicBezTo>
                    <a:pt x="1277779" y="239554"/>
                    <a:pt x="1277779" y="240506"/>
                    <a:pt x="1278731" y="242411"/>
                  </a:cubicBezTo>
                  <a:cubicBezTo>
                    <a:pt x="1280636" y="246221"/>
                    <a:pt x="1283494" y="251936"/>
                    <a:pt x="1286351" y="257651"/>
                  </a:cubicBezTo>
                  <a:cubicBezTo>
                    <a:pt x="1286351" y="260509"/>
                    <a:pt x="1285399" y="263366"/>
                    <a:pt x="1285399" y="267176"/>
                  </a:cubicBezTo>
                  <a:cubicBezTo>
                    <a:pt x="1282541" y="263366"/>
                    <a:pt x="1280636" y="259556"/>
                    <a:pt x="1277779" y="255746"/>
                  </a:cubicBezTo>
                  <a:cubicBezTo>
                    <a:pt x="1277779" y="250031"/>
                    <a:pt x="1276826" y="245269"/>
                    <a:pt x="1276826" y="242411"/>
                  </a:cubicBezTo>
                  <a:cubicBezTo>
                    <a:pt x="1276826" y="241459"/>
                    <a:pt x="1276826" y="239554"/>
                    <a:pt x="1276826" y="238601"/>
                  </a:cubicBezTo>
                  <a:close/>
                  <a:moveTo>
                    <a:pt x="1273016" y="271939"/>
                  </a:moveTo>
                  <a:cubicBezTo>
                    <a:pt x="1273016" y="271939"/>
                    <a:pt x="1273969" y="272891"/>
                    <a:pt x="1273969" y="272891"/>
                  </a:cubicBezTo>
                  <a:cubicBezTo>
                    <a:pt x="1273969" y="278606"/>
                    <a:pt x="1273016" y="284321"/>
                    <a:pt x="1273016" y="291941"/>
                  </a:cubicBezTo>
                  <a:cubicBezTo>
                    <a:pt x="1272064" y="290989"/>
                    <a:pt x="1272064" y="289084"/>
                    <a:pt x="1271111" y="288131"/>
                  </a:cubicBezTo>
                  <a:cubicBezTo>
                    <a:pt x="1271111" y="282416"/>
                    <a:pt x="1272064" y="276701"/>
                    <a:pt x="1273016" y="271939"/>
                  </a:cubicBezTo>
                  <a:close/>
                  <a:moveTo>
                    <a:pt x="1240631" y="229076"/>
                  </a:moveTo>
                  <a:cubicBezTo>
                    <a:pt x="1241584" y="226219"/>
                    <a:pt x="1243489" y="223361"/>
                    <a:pt x="1244441" y="220504"/>
                  </a:cubicBezTo>
                  <a:cubicBezTo>
                    <a:pt x="1247299" y="226219"/>
                    <a:pt x="1251109" y="230981"/>
                    <a:pt x="1253966" y="237649"/>
                  </a:cubicBezTo>
                  <a:cubicBezTo>
                    <a:pt x="1257776" y="244316"/>
                    <a:pt x="1260634" y="250031"/>
                    <a:pt x="1264444" y="257651"/>
                  </a:cubicBezTo>
                  <a:cubicBezTo>
                    <a:pt x="1265396" y="259556"/>
                    <a:pt x="1267301" y="262414"/>
                    <a:pt x="1268254" y="264319"/>
                  </a:cubicBezTo>
                  <a:cubicBezTo>
                    <a:pt x="1266349" y="270986"/>
                    <a:pt x="1264444" y="277654"/>
                    <a:pt x="1262539" y="286226"/>
                  </a:cubicBezTo>
                  <a:cubicBezTo>
                    <a:pt x="1259681" y="283369"/>
                    <a:pt x="1257776" y="280511"/>
                    <a:pt x="1254919" y="277654"/>
                  </a:cubicBezTo>
                  <a:cubicBezTo>
                    <a:pt x="1250156" y="268129"/>
                    <a:pt x="1246346" y="259556"/>
                    <a:pt x="1241584" y="251936"/>
                  </a:cubicBezTo>
                  <a:cubicBezTo>
                    <a:pt x="1239679" y="249079"/>
                    <a:pt x="1237774" y="246221"/>
                    <a:pt x="1235869" y="243364"/>
                  </a:cubicBezTo>
                  <a:cubicBezTo>
                    <a:pt x="1235869" y="243364"/>
                    <a:pt x="1235869" y="242411"/>
                    <a:pt x="1235869" y="242411"/>
                  </a:cubicBezTo>
                  <a:cubicBezTo>
                    <a:pt x="1237774" y="236696"/>
                    <a:pt x="1239679" y="232886"/>
                    <a:pt x="1240631" y="229076"/>
                  </a:cubicBezTo>
                  <a:close/>
                  <a:moveTo>
                    <a:pt x="1228249" y="304324"/>
                  </a:moveTo>
                  <a:cubicBezTo>
                    <a:pt x="1228249" y="298609"/>
                    <a:pt x="1227296" y="292894"/>
                    <a:pt x="1227296" y="288131"/>
                  </a:cubicBezTo>
                  <a:lnTo>
                    <a:pt x="1227296" y="281464"/>
                  </a:lnTo>
                  <a:cubicBezTo>
                    <a:pt x="1227296" y="280511"/>
                    <a:pt x="1228249" y="280511"/>
                    <a:pt x="1228249" y="279559"/>
                  </a:cubicBezTo>
                  <a:cubicBezTo>
                    <a:pt x="1228249" y="279559"/>
                    <a:pt x="1228249" y="278606"/>
                    <a:pt x="1228249" y="278606"/>
                  </a:cubicBezTo>
                  <a:cubicBezTo>
                    <a:pt x="1228249" y="278606"/>
                    <a:pt x="1229201" y="279559"/>
                    <a:pt x="1229201" y="279559"/>
                  </a:cubicBezTo>
                  <a:cubicBezTo>
                    <a:pt x="1230154" y="280511"/>
                    <a:pt x="1230154" y="282416"/>
                    <a:pt x="1231106" y="284321"/>
                  </a:cubicBezTo>
                  <a:cubicBezTo>
                    <a:pt x="1230154" y="290036"/>
                    <a:pt x="1229201" y="296704"/>
                    <a:pt x="1228249" y="304324"/>
                  </a:cubicBezTo>
                  <a:close/>
                  <a:moveTo>
                    <a:pt x="1232059" y="280511"/>
                  </a:moveTo>
                  <a:cubicBezTo>
                    <a:pt x="1232059" y="279559"/>
                    <a:pt x="1232059" y="279559"/>
                    <a:pt x="1232059" y="278606"/>
                  </a:cubicBezTo>
                  <a:cubicBezTo>
                    <a:pt x="1232059" y="277654"/>
                    <a:pt x="1231106" y="276701"/>
                    <a:pt x="1230154" y="275749"/>
                  </a:cubicBezTo>
                  <a:cubicBezTo>
                    <a:pt x="1229201" y="275749"/>
                    <a:pt x="1228249" y="274796"/>
                    <a:pt x="1227296" y="275749"/>
                  </a:cubicBezTo>
                  <a:cubicBezTo>
                    <a:pt x="1227296" y="275749"/>
                    <a:pt x="1227296" y="275749"/>
                    <a:pt x="1226344" y="275749"/>
                  </a:cubicBezTo>
                  <a:lnTo>
                    <a:pt x="1226344" y="269081"/>
                  </a:lnTo>
                  <a:cubicBezTo>
                    <a:pt x="1227296" y="270034"/>
                    <a:pt x="1228249" y="270986"/>
                    <a:pt x="1230154" y="272891"/>
                  </a:cubicBezTo>
                  <a:cubicBezTo>
                    <a:pt x="1231106" y="273844"/>
                    <a:pt x="1232059" y="274796"/>
                    <a:pt x="1233011" y="276701"/>
                  </a:cubicBezTo>
                  <a:cubicBezTo>
                    <a:pt x="1232059" y="278606"/>
                    <a:pt x="1232059" y="279559"/>
                    <a:pt x="1232059" y="280511"/>
                  </a:cubicBezTo>
                  <a:close/>
                  <a:moveTo>
                    <a:pt x="1230154" y="221456"/>
                  </a:moveTo>
                  <a:cubicBezTo>
                    <a:pt x="1232059" y="225266"/>
                    <a:pt x="1233011" y="229076"/>
                    <a:pt x="1233964" y="233839"/>
                  </a:cubicBezTo>
                  <a:cubicBezTo>
                    <a:pt x="1233964" y="233839"/>
                    <a:pt x="1233964" y="233839"/>
                    <a:pt x="1233964" y="233839"/>
                  </a:cubicBezTo>
                  <a:cubicBezTo>
                    <a:pt x="1233964" y="232886"/>
                    <a:pt x="1233011" y="230981"/>
                    <a:pt x="1233011" y="230029"/>
                  </a:cubicBezTo>
                  <a:cubicBezTo>
                    <a:pt x="1231106" y="226219"/>
                    <a:pt x="1230154" y="223361"/>
                    <a:pt x="1230154" y="221456"/>
                  </a:cubicBezTo>
                  <a:cubicBezTo>
                    <a:pt x="1229201" y="220504"/>
                    <a:pt x="1229201" y="220504"/>
                    <a:pt x="1230154" y="221456"/>
                  </a:cubicBezTo>
                  <a:close/>
                  <a:moveTo>
                    <a:pt x="1229201" y="257651"/>
                  </a:moveTo>
                  <a:cubicBezTo>
                    <a:pt x="1229201" y="257651"/>
                    <a:pt x="1229201" y="257651"/>
                    <a:pt x="1229201" y="257651"/>
                  </a:cubicBezTo>
                  <a:cubicBezTo>
                    <a:pt x="1229201" y="258604"/>
                    <a:pt x="1230154" y="258604"/>
                    <a:pt x="1230154" y="259556"/>
                  </a:cubicBezTo>
                  <a:cubicBezTo>
                    <a:pt x="1230154" y="260509"/>
                    <a:pt x="1230154" y="261461"/>
                    <a:pt x="1230154" y="262414"/>
                  </a:cubicBezTo>
                  <a:cubicBezTo>
                    <a:pt x="1231106" y="266224"/>
                    <a:pt x="1231106" y="270986"/>
                    <a:pt x="1232059" y="274796"/>
                  </a:cubicBezTo>
                  <a:cubicBezTo>
                    <a:pt x="1232059" y="274796"/>
                    <a:pt x="1232059" y="274796"/>
                    <a:pt x="1232059" y="274796"/>
                  </a:cubicBezTo>
                  <a:cubicBezTo>
                    <a:pt x="1231106" y="273844"/>
                    <a:pt x="1230154" y="272891"/>
                    <a:pt x="1229201" y="272891"/>
                  </a:cubicBezTo>
                  <a:cubicBezTo>
                    <a:pt x="1227296" y="270986"/>
                    <a:pt x="1225391" y="270034"/>
                    <a:pt x="1225391" y="269081"/>
                  </a:cubicBezTo>
                  <a:lnTo>
                    <a:pt x="1225391" y="265271"/>
                  </a:lnTo>
                  <a:cubicBezTo>
                    <a:pt x="1227296" y="263366"/>
                    <a:pt x="1228249" y="260509"/>
                    <a:pt x="1229201" y="257651"/>
                  </a:cubicBezTo>
                  <a:close/>
                  <a:moveTo>
                    <a:pt x="1226344" y="235744"/>
                  </a:moveTo>
                  <a:cubicBezTo>
                    <a:pt x="1227296" y="238601"/>
                    <a:pt x="1227296" y="241459"/>
                    <a:pt x="1228249" y="244316"/>
                  </a:cubicBezTo>
                  <a:cubicBezTo>
                    <a:pt x="1228249" y="245269"/>
                    <a:pt x="1227296" y="246221"/>
                    <a:pt x="1227296" y="246221"/>
                  </a:cubicBezTo>
                  <a:cubicBezTo>
                    <a:pt x="1226344" y="245269"/>
                    <a:pt x="1226344" y="245269"/>
                    <a:pt x="1225391" y="244316"/>
                  </a:cubicBezTo>
                  <a:lnTo>
                    <a:pt x="1225391" y="231934"/>
                  </a:lnTo>
                  <a:cubicBezTo>
                    <a:pt x="1225391" y="233839"/>
                    <a:pt x="1225391" y="234791"/>
                    <a:pt x="1226344" y="235744"/>
                  </a:cubicBezTo>
                  <a:close/>
                  <a:moveTo>
                    <a:pt x="1197769" y="293846"/>
                  </a:moveTo>
                  <a:cubicBezTo>
                    <a:pt x="1197769" y="292894"/>
                    <a:pt x="1198721" y="290989"/>
                    <a:pt x="1198721" y="290036"/>
                  </a:cubicBezTo>
                  <a:cubicBezTo>
                    <a:pt x="1198721" y="290989"/>
                    <a:pt x="1198721" y="290989"/>
                    <a:pt x="1198721" y="291941"/>
                  </a:cubicBezTo>
                  <a:cubicBezTo>
                    <a:pt x="1198721" y="293846"/>
                    <a:pt x="1199674" y="296704"/>
                    <a:pt x="1199674" y="299561"/>
                  </a:cubicBezTo>
                  <a:cubicBezTo>
                    <a:pt x="1198721" y="301466"/>
                    <a:pt x="1197769" y="304324"/>
                    <a:pt x="1196816" y="307181"/>
                  </a:cubicBezTo>
                  <a:cubicBezTo>
                    <a:pt x="1195864" y="304324"/>
                    <a:pt x="1195864" y="301466"/>
                    <a:pt x="1194911" y="299561"/>
                  </a:cubicBezTo>
                  <a:cubicBezTo>
                    <a:pt x="1195864" y="297656"/>
                    <a:pt x="1196816" y="295751"/>
                    <a:pt x="1197769" y="293846"/>
                  </a:cubicBezTo>
                  <a:close/>
                  <a:moveTo>
                    <a:pt x="1196816" y="459581"/>
                  </a:moveTo>
                  <a:lnTo>
                    <a:pt x="1196816" y="459581"/>
                  </a:lnTo>
                  <a:cubicBezTo>
                    <a:pt x="1195864" y="458629"/>
                    <a:pt x="1195864" y="457676"/>
                    <a:pt x="1195864" y="455771"/>
                  </a:cubicBezTo>
                  <a:cubicBezTo>
                    <a:pt x="1195864" y="456724"/>
                    <a:pt x="1195864" y="457676"/>
                    <a:pt x="1196816" y="459581"/>
                  </a:cubicBezTo>
                  <a:close/>
                  <a:moveTo>
                    <a:pt x="1190149" y="324326"/>
                  </a:moveTo>
                  <a:cubicBezTo>
                    <a:pt x="1190149" y="325279"/>
                    <a:pt x="1190149" y="325279"/>
                    <a:pt x="1190149" y="324326"/>
                  </a:cubicBezTo>
                  <a:cubicBezTo>
                    <a:pt x="1190149" y="323374"/>
                    <a:pt x="1190149" y="321469"/>
                    <a:pt x="1189196" y="320516"/>
                  </a:cubicBezTo>
                  <a:cubicBezTo>
                    <a:pt x="1190149" y="322421"/>
                    <a:pt x="1190149" y="323374"/>
                    <a:pt x="1190149" y="324326"/>
                  </a:cubicBezTo>
                  <a:close/>
                  <a:moveTo>
                    <a:pt x="1170146" y="270986"/>
                  </a:moveTo>
                  <a:cubicBezTo>
                    <a:pt x="1170146" y="270034"/>
                    <a:pt x="1170146" y="269081"/>
                    <a:pt x="1170146" y="268129"/>
                  </a:cubicBezTo>
                  <a:cubicBezTo>
                    <a:pt x="1170146" y="267176"/>
                    <a:pt x="1170146" y="265271"/>
                    <a:pt x="1170146" y="264319"/>
                  </a:cubicBezTo>
                  <a:cubicBezTo>
                    <a:pt x="1171099" y="253841"/>
                    <a:pt x="1172051" y="244316"/>
                    <a:pt x="1172051" y="235744"/>
                  </a:cubicBezTo>
                  <a:cubicBezTo>
                    <a:pt x="1173004" y="238601"/>
                    <a:pt x="1173956" y="241459"/>
                    <a:pt x="1174909" y="245269"/>
                  </a:cubicBezTo>
                  <a:cubicBezTo>
                    <a:pt x="1174909" y="249079"/>
                    <a:pt x="1175861" y="253841"/>
                    <a:pt x="1176814" y="260509"/>
                  </a:cubicBezTo>
                  <a:cubicBezTo>
                    <a:pt x="1177766" y="267176"/>
                    <a:pt x="1177766" y="275749"/>
                    <a:pt x="1177766" y="285274"/>
                  </a:cubicBezTo>
                  <a:cubicBezTo>
                    <a:pt x="1178719" y="291941"/>
                    <a:pt x="1177766" y="300514"/>
                    <a:pt x="1177766" y="308134"/>
                  </a:cubicBezTo>
                  <a:cubicBezTo>
                    <a:pt x="1177766" y="307181"/>
                    <a:pt x="1176814" y="306229"/>
                    <a:pt x="1176814" y="305276"/>
                  </a:cubicBezTo>
                  <a:cubicBezTo>
                    <a:pt x="1173956" y="298609"/>
                    <a:pt x="1171099" y="292894"/>
                    <a:pt x="1168241" y="287179"/>
                  </a:cubicBezTo>
                  <a:cubicBezTo>
                    <a:pt x="1169194" y="282416"/>
                    <a:pt x="1170146" y="275749"/>
                    <a:pt x="1170146" y="270986"/>
                  </a:cubicBezTo>
                  <a:close/>
                  <a:moveTo>
                    <a:pt x="1170146" y="309086"/>
                  </a:moveTo>
                  <a:cubicBezTo>
                    <a:pt x="1171099" y="312896"/>
                    <a:pt x="1173004" y="317659"/>
                    <a:pt x="1173956" y="321469"/>
                  </a:cubicBezTo>
                  <a:cubicBezTo>
                    <a:pt x="1173004" y="323374"/>
                    <a:pt x="1173004" y="325279"/>
                    <a:pt x="1172051" y="327184"/>
                  </a:cubicBezTo>
                  <a:cubicBezTo>
                    <a:pt x="1171099" y="325279"/>
                    <a:pt x="1171099" y="324326"/>
                    <a:pt x="1170146" y="322421"/>
                  </a:cubicBezTo>
                  <a:cubicBezTo>
                    <a:pt x="1170146" y="321469"/>
                    <a:pt x="1170146" y="319564"/>
                    <a:pt x="1170146" y="318611"/>
                  </a:cubicBezTo>
                  <a:cubicBezTo>
                    <a:pt x="1169194" y="313849"/>
                    <a:pt x="1169194" y="308134"/>
                    <a:pt x="1168241" y="303371"/>
                  </a:cubicBezTo>
                  <a:cubicBezTo>
                    <a:pt x="1168241" y="305276"/>
                    <a:pt x="1169194" y="307181"/>
                    <a:pt x="1170146" y="309086"/>
                  </a:cubicBezTo>
                  <a:close/>
                  <a:moveTo>
                    <a:pt x="1164431" y="236696"/>
                  </a:moveTo>
                  <a:cubicBezTo>
                    <a:pt x="1163479" y="242411"/>
                    <a:pt x="1162526" y="248126"/>
                    <a:pt x="1161574" y="253841"/>
                  </a:cubicBezTo>
                  <a:cubicBezTo>
                    <a:pt x="1161574" y="252889"/>
                    <a:pt x="1161574" y="252889"/>
                    <a:pt x="1161574" y="251936"/>
                  </a:cubicBezTo>
                  <a:cubicBezTo>
                    <a:pt x="1161574" y="251936"/>
                    <a:pt x="1161574" y="250984"/>
                    <a:pt x="1161574" y="250984"/>
                  </a:cubicBezTo>
                  <a:cubicBezTo>
                    <a:pt x="1162526" y="245269"/>
                    <a:pt x="1163479" y="240506"/>
                    <a:pt x="1164431" y="236696"/>
                  </a:cubicBezTo>
                  <a:close/>
                  <a:moveTo>
                    <a:pt x="1140619" y="290036"/>
                  </a:moveTo>
                  <a:cubicBezTo>
                    <a:pt x="1140619" y="290989"/>
                    <a:pt x="1139666" y="290989"/>
                    <a:pt x="1139666" y="291941"/>
                  </a:cubicBezTo>
                  <a:cubicBezTo>
                    <a:pt x="1138714" y="289084"/>
                    <a:pt x="1138714" y="286226"/>
                    <a:pt x="1137761" y="283369"/>
                  </a:cubicBezTo>
                  <a:cubicBezTo>
                    <a:pt x="1138714" y="286226"/>
                    <a:pt x="1139666" y="288131"/>
                    <a:pt x="1140619" y="290036"/>
                  </a:cubicBezTo>
                  <a:close/>
                  <a:moveTo>
                    <a:pt x="1114901" y="339566"/>
                  </a:moveTo>
                  <a:cubicBezTo>
                    <a:pt x="1115854" y="331946"/>
                    <a:pt x="1116806" y="323374"/>
                    <a:pt x="1117759" y="315754"/>
                  </a:cubicBezTo>
                  <a:cubicBezTo>
                    <a:pt x="1118711" y="318611"/>
                    <a:pt x="1118711" y="321469"/>
                    <a:pt x="1119664" y="325279"/>
                  </a:cubicBezTo>
                  <a:cubicBezTo>
                    <a:pt x="1120616" y="328136"/>
                    <a:pt x="1120616" y="331946"/>
                    <a:pt x="1121569" y="334804"/>
                  </a:cubicBezTo>
                  <a:cubicBezTo>
                    <a:pt x="1121569" y="336709"/>
                    <a:pt x="1120616" y="338614"/>
                    <a:pt x="1120616" y="341471"/>
                  </a:cubicBezTo>
                  <a:cubicBezTo>
                    <a:pt x="1120616" y="341471"/>
                    <a:pt x="1120616" y="341471"/>
                    <a:pt x="1120616" y="342424"/>
                  </a:cubicBezTo>
                  <a:cubicBezTo>
                    <a:pt x="1119664" y="344329"/>
                    <a:pt x="1118711" y="346234"/>
                    <a:pt x="1118711" y="348139"/>
                  </a:cubicBezTo>
                  <a:cubicBezTo>
                    <a:pt x="1117759" y="345281"/>
                    <a:pt x="1115854" y="343376"/>
                    <a:pt x="1114901" y="341471"/>
                  </a:cubicBezTo>
                  <a:cubicBezTo>
                    <a:pt x="1114901" y="340519"/>
                    <a:pt x="1114901" y="339566"/>
                    <a:pt x="1114901" y="339566"/>
                  </a:cubicBezTo>
                  <a:close/>
                  <a:moveTo>
                    <a:pt x="1111091" y="219551"/>
                  </a:moveTo>
                  <a:cubicBezTo>
                    <a:pt x="1111091" y="220504"/>
                    <a:pt x="1112044" y="221456"/>
                    <a:pt x="1112044" y="222409"/>
                  </a:cubicBezTo>
                  <a:cubicBezTo>
                    <a:pt x="1112044" y="225266"/>
                    <a:pt x="1112996" y="228124"/>
                    <a:pt x="1112996" y="230029"/>
                  </a:cubicBezTo>
                  <a:cubicBezTo>
                    <a:pt x="1112996" y="230029"/>
                    <a:pt x="1112996" y="230029"/>
                    <a:pt x="1112996" y="230029"/>
                  </a:cubicBezTo>
                  <a:cubicBezTo>
                    <a:pt x="1112996" y="226219"/>
                    <a:pt x="1112044" y="223361"/>
                    <a:pt x="1111091" y="219551"/>
                  </a:cubicBezTo>
                  <a:cubicBezTo>
                    <a:pt x="1111091" y="220504"/>
                    <a:pt x="1111091" y="219551"/>
                    <a:pt x="1111091" y="219551"/>
                  </a:cubicBezTo>
                  <a:close/>
                  <a:moveTo>
                    <a:pt x="1110139" y="217646"/>
                  </a:moveTo>
                  <a:cubicBezTo>
                    <a:pt x="1110139" y="217646"/>
                    <a:pt x="1110139" y="217646"/>
                    <a:pt x="1110139" y="217646"/>
                  </a:cubicBezTo>
                  <a:cubicBezTo>
                    <a:pt x="1110139" y="217646"/>
                    <a:pt x="1109186" y="216694"/>
                    <a:pt x="1109186" y="215741"/>
                  </a:cubicBezTo>
                  <a:cubicBezTo>
                    <a:pt x="1110139" y="216694"/>
                    <a:pt x="1110139" y="216694"/>
                    <a:pt x="1110139" y="217646"/>
                  </a:cubicBezTo>
                  <a:close/>
                  <a:moveTo>
                    <a:pt x="1101566" y="236696"/>
                  </a:moveTo>
                  <a:cubicBezTo>
                    <a:pt x="1104424" y="248126"/>
                    <a:pt x="1107281" y="262414"/>
                    <a:pt x="1111091" y="278606"/>
                  </a:cubicBezTo>
                  <a:cubicBezTo>
                    <a:pt x="1110139" y="283369"/>
                    <a:pt x="1109186" y="289084"/>
                    <a:pt x="1109186" y="293846"/>
                  </a:cubicBezTo>
                  <a:cubicBezTo>
                    <a:pt x="1108234" y="298609"/>
                    <a:pt x="1107281" y="304324"/>
                    <a:pt x="1106329" y="309086"/>
                  </a:cubicBezTo>
                  <a:cubicBezTo>
                    <a:pt x="1106329" y="309086"/>
                    <a:pt x="1106329" y="309086"/>
                    <a:pt x="1106329" y="308134"/>
                  </a:cubicBezTo>
                  <a:cubicBezTo>
                    <a:pt x="1105376" y="300514"/>
                    <a:pt x="1105376" y="295751"/>
                    <a:pt x="1105376" y="295751"/>
                  </a:cubicBezTo>
                  <a:cubicBezTo>
                    <a:pt x="1105376" y="295751"/>
                    <a:pt x="1105376" y="297656"/>
                    <a:pt x="1105376" y="300514"/>
                  </a:cubicBezTo>
                  <a:cubicBezTo>
                    <a:pt x="1103471" y="290989"/>
                    <a:pt x="1101566" y="282416"/>
                    <a:pt x="1099661" y="272891"/>
                  </a:cubicBezTo>
                  <a:cubicBezTo>
                    <a:pt x="1097756" y="265271"/>
                    <a:pt x="1096804" y="256699"/>
                    <a:pt x="1094899" y="249079"/>
                  </a:cubicBezTo>
                  <a:cubicBezTo>
                    <a:pt x="1096804" y="244316"/>
                    <a:pt x="1098709" y="240506"/>
                    <a:pt x="1101566" y="236696"/>
                  </a:cubicBezTo>
                  <a:close/>
                  <a:moveTo>
                    <a:pt x="1027271" y="325279"/>
                  </a:moveTo>
                  <a:cubicBezTo>
                    <a:pt x="1028224" y="319564"/>
                    <a:pt x="1029176" y="314801"/>
                    <a:pt x="1030129" y="310991"/>
                  </a:cubicBezTo>
                  <a:cubicBezTo>
                    <a:pt x="1031081" y="306229"/>
                    <a:pt x="1032986" y="301466"/>
                    <a:pt x="1034891" y="297656"/>
                  </a:cubicBezTo>
                  <a:cubicBezTo>
                    <a:pt x="1035844" y="293846"/>
                    <a:pt x="1037749" y="290989"/>
                    <a:pt x="1039654" y="288131"/>
                  </a:cubicBezTo>
                  <a:cubicBezTo>
                    <a:pt x="1040606" y="291941"/>
                    <a:pt x="1041559" y="295751"/>
                    <a:pt x="1042511" y="299561"/>
                  </a:cubicBezTo>
                  <a:cubicBezTo>
                    <a:pt x="1041559" y="301466"/>
                    <a:pt x="1040606" y="303371"/>
                    <a:pt x="1039654" y="305276"/>
                  </a:cubicBezTo>
                  <a:cubicBezTo>
                    <a:pt x="1034891" y="313849"/>
                    <a:pt x="1031081" y="322421"/>
                    <a:pt x="1028224" y="330994"/>
                  </a:cubicBezTo>
                  <a:cubicBezTo>
                    <a:pt x="1028224" y="329089"/>
                    <a:pt x="1028224" y="327184"/>
                    <a:pt x="1027271" y="325279"/>
                  </a:cubicBezTo>
                  <a:close/>
                  <a:moveTo>
                    <a:pt x="1040606" y="374809"/>
                  </a:moveTo>
                  <a:cubicBezTo>
                    <a:pt x="1040606" y="373856"/>
                    <a:pt x="1039654" y="371951"/>
                    <a:pt x="1039654" y="370999"/>
                  </a:cubicBezTo>
                  <a:cubicBezTo>
                    <a:pt x="1041559" y="366236"/>
                    <a:pt x="1043464" y="360521"/>
                    <a:pt x="1045369" y="355759"/>
                  </a:cubicBezTo>
                  <a:cubicBezTo>
                    <a:pt x="1046321" y="358616"/>
                    <a:pt x="1047274" y="361474"/>
                    <a:pt x="1047274" y="364331"/>
                  </a:cubicBezTo>
                  <a:cubicBezTo>
                    <a:pt x="1047274" y="371951"/>
                    <a:pt x="1047274" y="378619"/>
                    <a:pt x="1048226" y="386239"/>
                  </a:cubicBezTo>
                  <a:cubicBezTo>
                    <a:pt x="1046321" y="385286"/>
                    <a:pt x="1045369" y="384334"/>
                    <a:pt x="1044416" y="384334"/>
                  </a:cubicBezTo>
                  <a:cubicBezTo>
                    <a:pt x="1042511" y="381476"/>
                    <a:pt x="1041559" y="377666"/>
                    <a:pt x="1040606" y="374809"/>
                  </a:cubicBezTo>
                  <a:close/>
                  <a:moveTo>
                    <a:pt x="1046321" y="389096"/>
                  </a:moveTo>
                  <a:cubicBezTo>
                    <a:pt x="1047274" y="390049"/>
                    <a:pt x="1047274" y="390049"/>
                    <a:pt x="1048226" y="391001"/>
                  </a:cubicBezTo>
                  <a:cubicBezTo>
                    <a:pt x="1048226" y="391954"/>
                    <a:pt x="1048226" y="391954"/>
                    <a:pt x="1048226" y="392906"/>
                  </a:cubicBezTo>
                  <a:cubicBezTo>
                    <a:pt x="1047274" y="391954"/>
                    <a:pt x="1046321" y="390049"/>
                    <a:pt x="1046321" y="389096"/>
                  </a:cubicBezTo>
                  <a:close/>
                  <a:moveTo>
                    <a:pt x="1056799" y="292894"/>
                  </a:moveTo>
                  <a:cubicBezTo>
                    <a:pt x="1057751" y="289084"/>
                    <a:pt x="1059656" y="286226"/>
                    <a:pt x="1061561" y="282416"/>
                  </a:cubicBezTo>
                  <a:cubicBezTo>
                    <a:pt x="1063466" y="278606"/>
                    <a:pt x="1064419" y="274796"/>
                    <a:pt x="1066324" y="271939"/>
                  </a:cubicBezTo>
                  <a:cubicBezTo>
                    <a:pt x="1066324" y="272891"/>
                    <a:pt x="1066324" y="272891"/>
                    <a:pt x="1066324" y="273844"/>
                  </a:cubicBezTo>
                  <a:cubicBezTo>
                    <a:pt x="1066324" y="275749"/>
                    <a:pt x="1067276" y="276701"/>
                    <a:pt x="1067276" y="278606"/>
                  </a:cubicBezTo>
                  <a:cubicBezTo>
                    <a:pt x="1066324" y="280511"/>
                    <a:pt x="1064419" y="282416"/>
                    <a:pt x="1063466" y="285274"/>
                  </a:cubicBezTo>
                  <a:cubicBezTo>
                    <a:pt x="1061561" y="288131"/>
                    <a:pt x="1059656" y="291941"/>
                    <a:pt x="1057751" y="295751"/>
                  </a:cubicBezTo>
                  <a:cubicBezTo>
                    <a:pt x="1057751" y="294799"/>
                    <a:pt x="1056799" y="293846"/>
                    <a:pt x="1056799" y="292894"/>
                  </a:cubicBezTo>
                  <a:close/>
                  <a:moveTo>
                    <a:pt x="1059656" y="360521"/>
                  </a:moveTo>
                  <a:cubicBezTo>
                    <a:pt x="1059656" y="360521"/>
                    <a:pt x="1059656" y="359569"/>
                    <a:pt x="1059656" y="360521"/>
                  </a:cubicBezTo>
                  <a:cubicBezTo>
                    <a:pt x="1059656" y="359569"/>
                    <a:pt x="1059656" y="360521"/>
                    <a:pt x="1059656" y="360521"/>
                  </a:cubicBezTo>
                  <a:cubicBezTo>
                    <a:pt x="1059656" y="360521"/>
                    <a:pt x="1059656" y="360521"/>
                    <a:pt x="1059656" y="360521"/>
                  </a:cubicBezTo>
                  <a:close/>
                  <a:moveTo>
                    <a:pt x="1064419" y="383381"/>
                  </a:moveTo>
                  <a:cubicBezTo>
                    <a:pt x="1063466" y="381476"/>
                    <a:pt x="1063466" y="380524"/>
                    <a:pt x="1062514" y="379571"/>
                  </a:cubicBezTo>
                  <a:cubicBezTo>
                    <a:pt x="1062514" y="377666"/>
                    <a:pt x="1062514" y="376714"/>
                    <a:pt x="1063466" y="374809"/>
                  </a:cubicBezTo>
                  <a:cubicBezTo>
                    <a:pt x="1063466" y="375761"/>
                    <a:pt x="1064419" y="377666"/>
                    <a:pt x="1064419" y="378619"/>
                  </a:cubicBezTo>
                  <a:cubicBezTo>
                    <a:pt x="1064419" y="379571"/>
                    <a:pt x="1064419" y="379571"/>
                    <a:pt x="1064419" y="380524"/>
                  </a:cubicBezTo>
                  <a:cubicBezTo>
                    <a:pt x="1064419" y="382429"/>
                    <a:pt x="1065371" y="384334"/>
                    <a:pt x="1065371" y="386239"/>
                  </a:cubicBezTo>
                  <a:cubicBezTo>
                    <a:pt x="1065371" y="385286"/>
                    <a:pt x="1065371" y="384334"/>
                    <a:pt x="1064419" y="383381"/>
                  </a:cubicBezTo>
                  <a:close/>
                  <a:moveTo>
                    <a:pt x="1069181" y="330994"/>
                  </a:moveTo>
                  <a:cubicBezTo>
                    <a:pt x="1067276" y="325279"/>
                    <a:pt x="1065371" y="318611"/>
                    <a:pt x="1063466" y="312896"/>
                  </a:cubicBezTo>
                  <a:cubicBezTo>
                    <a:pt x="1065371" y="309086"/>
                    <a:pt x="1067276" y="304324"/>
                    <a:pt x="1069181" y="300514"/>
                  </a:cubicBezTo>
                  <a:cubicBezTo>
                    <a:pt x="1070134" y="308134"/>
                    <a:pt x="1069181" y="316706"/>
                    <a:pt x="1070134" y="326231"/>
                  </a:cubicBezTo>
                  <a:cubicBezTo>
                    <a:pt x="1069181" y="328136"/>
                    <a:pt x="1069181" y="329089"/>
                    <a:pt x="1069181" y="330994"/>
                  </a:cubicBezTo>
                  <a:close/>
                  <a:moveTo>
                    <a:pt x="1077754" y="262414"/>
                  </a:moveTo>
                  <a:cubicBezTo>
                    <a:pt x="1076801" y="263366"/>
                    <a:pt x="1076801" y="264319"/>
                    <a:pt x="1075849" y="264319"/>
                  </a:cubicBezTo>
                  <a:cubicBezTo>
                    <a:pt x="1074896" y="261461"/>
                    <a:pt x="1074896" y="259556"/>
                    <a:pt x="1073944" y="256699"/>
                  </a:cubicBezTo>
                  <a:lnTo>
                    <a:pt x="1074896" y="256699"/>
                  </a:lnTo>
                  <a:lnTo>
                    <a:pt x="1075849" y="256699"/>
                  </a:lnTo>
                  <a:cubicBezTo>
                    <a:pt x="1076801" y="259556"/>
                    <a:pt x="1077754" y="260509"/>
                    <a:pt x="1077754" y="262414"/>
                  </a:cubicBezTo>
                  <a:close/>
                  <a:moveTo>
                    <a:pt x="1045369" y="175736"/>
                  </a:moveTo>
                  <a:cubicBezTo>
                    <a:pt x="1048226" y="168116"/>
                    <a:pt x="1052036" y="160496"/>
                    <a:pt x="1054894" y="153829"/>
                  </a:cubicBezTo>
                  <a:cubicBezTo>
                    <a:pt x="1054894" y="154781"/>
                    <a:pt x="1054894" y="154781"/>
                    <a:pt x="1055846" y="155734"/>
                  </a:cubicBezTo>
                  <a:cubicBezTo>
                    <a:pt x="1056799" y="160496"/>
                    <a:pt x="1058704" y="166211"/>
                    <a:pt x="1059656" y="171926"/>
                  </a:cubicBezTo>
                  <a:cubicBezTo>
                    <a:pt x="1061561" y="178594"/>
                    <a:pt x="1063466" y="186214"/>
                    <a:pt x="1064419" y="193834"/>
                  </a:cubicBezTo>
                  <a:cubicBezTo>
                    <a:pt x="1066324" y="201454"/>
                    <a:pt x="1067276" y="208121"/>
                    <a:pt x="1069181" y="215741"/>
                  </a:cubicBezTo>
                  <a:cubicBezTo>
                    <a:pt x="1072039" y="228124"/>
                    <a:pt x="1073944" y="241459"/>
                    <a:pt x="1076801" y="253841"/>
                  </a:cubicBezTo>
                  <a:cubicBezTo>
                    <a:pt x="1075849" y="253841"/>
                    <a:pt x="1074896" y="252889"/>
                    <a:pt x="1074896" y="252889"/>
                  </a:cubicBezTo>
                  <a:cubicBezTo>
                    <a:pt x="1070134" y="230981"/>
                    <a:pt x="1067276" y="216694"/>
                    <a:pt x="1067276" y="216694"/>
                  </a:cubicBezTo>
                  <a:cubicBezTo>
                    <a:pt x="1067276" y="216694"/>
                    <a:pt x="1067276" y="232886"/>
                    <a:pt x="1068229" y="257651"/>
                  </a:cubicBezTo>
                  <a:cubicBezTo>
                    <a:pt x="1068229" y="258604"/>
                    <a:pt x="1067276" y="258604"/>
                    <a:pt x="1067276" y="259556"/>
                  </a:cubicBezTo>
                  <a:cubicBezTo>
                    <a:pt x="1065371" y="255746"/>
                    <a:pt x="1065371" y="252889"/>
                    <a:pt x="1065371" y="252889"/>
                  </a:cubicBezTo>
                  <a:cubicBezTo>
                    <a:pt x="1065371" y="252889"/>
                    <a:pt x="1065371" y="255746"/>
                    <a:pt x="1066324" y="261461"/>
                  </a:cubicBezTo>
                  <a:cubicBezTo>
                    <a:pt x="1062514" y="267176"/>
                    <a:pt x="1058704" y="272891"/>
                    <a:pt x="1055846" y="278606"/>
                  </a:cubicBezTo>
                  <a:cubicBezTo>
                    <a:pt x="1055846" y="279559"/>
                    <a:pt x="1054894" y="279559"/>
                    <a:pt x="1054894" y="280511"/>
                  </a:cubicBezTo>
                  <a:cubicBezTo>
                    <a:pt x="1054894" y="279559"/>
                    <a:pt x="1053941" y="278606"/>
                    <a:pt x="1053941" y="277654"/>
                  </a:cubicBezTo>
                  <a:cubicBezTo>
                    <a:pt x="1050131" y="266224"/>
                    <a:pt x="1046321" y="254794"/>
                    <a:pt x="1043464" y="245269"/>
                  </a:cubicBezTo>
                  <a:cubicBezTo>
                    <a:pt x="1040606" y="235744"/>
                    <a:pt x="1037749" y="227171"/>
                    <a:pt x="1035844" y="220504"/>
                  </a:cubicBezTo>
                  <a:cubicBezTo>
                    <a:pt x="1033939" y="215741"/>
                    <a:pt x="1032986" y="211931"/>
                    <a:pt x="1032034" y="209074"/>
                  </a:cubicBezTo>
                  <a:cubicBezTo>
                    <a:pt x="1034891" y="196691"/>
                    <a:pt x="1040606" y="186214"/>
                    <a:pt x="1045369" y="175736"/>
                  </a:cubicBezTo>
                  <a:close/>
                  <a:moveTo>
                    <a:pt x="1019651" y="267176"/>
                  </a:moveTo>
                  <a:cubicBezTo>
                    <a:pt x="1020604" y="251936"/>
                    <a:pt x="1022509" y="236696"/>
                    <a:pt x="1023461" y="221456"/>
                  </a:cubicBezTo>
                  <a:cubicBezTo>
                    <a:pt x="1023461" y="220504"/>
                    <a:pt x="1024414" y="219551"/>
                    <a:pt x="1024414" y="218599"/>
                  </a:cubicBezTo>
                  <a:cubicBezTo>
                    <a:pt x="1026319" y="229076"/>
                    <a:pt x="1028224" y="241459"/>
                    <a:pt x="1032034" y="253841"/>
                  </a:cubicBezTo>
                  <a:cubicBezTo>
                    <a:pt x="1033939" y="263366"/>
                    <a:pt x="1036796" y="272891"/>
                    <a:pt x="1038701" y="283369"/>
                  </a:cubicBezTo>
                  <a:cubicBezTo>
                    <a:pt x="1038701" y="283369"/>
                    <a:pt x="1038701" y="284321"/>
                    <a:pt x="1037749" y="284321"/>
                  </a:cubicBezTo>
                  <a:cubicBezTo>
                    <a:pt x="1035844" y="287179"/>
                    <a:pt x="1032986" y="290036"/>
                    <a:pt x="1031081" y="294799"/>
                  </a:cubicBezTo>
                  <a:cubicBezTo>
                    <a:pt x="1029176" y="298609"/>
                    <a:pt x="1027271" y="302419"/>
                    <a:pt x="1025366" y="306229"/>
                  </a:cubicBezTo>
                  <a:cubicBezTo>
                    <a:pt x="1024414" y="297656"/>
                    <a:pt x="1024414" y="290036"/>
                    <a:pt x="1023461" y="284321"/>
                  </a:cubicBezTo>
                  <a:cubicBezTo>
                    <a:pt x="1022509" y="274796"/>
                    <a:pt x="1022509" y="269081"/>
                    <a:pt x="1022509" y="269081"/>
                  </a:cubicBezTo>
                  <a:cubicBezTo>
                    <a:pt x="1022509" y="269081"/>
                    <a:pt x="1021556" y="274796"/>
                    <a:pt x="1019651" y="284321"/>
                  </a:cubicBezTo>
                  <a:cubicBezTo>
                    <a:pt x="1018699" y="291941"/>
                    <a:pt x="1016794" y="302419"/>
                    <a:pt x="1015841" y="314801"/>
                  </a:cubicBezTo>
                  <a:cubicBezTo>
                    <a:pt x="1015841" y="314801"/>
                    <a:pt x="1015841" y="315754"/>
                    <a:pt x="1015841" y="315754"/>
                  </a:cubicBezTo>
                  <a:cubicBezTo>
                    <a:pt x="1015841" y="315754"/>
                    <a:pt x="1015841" y="315754"/>
                    <a:pt x="1015841" y="315754"/>
                  </a:cubicBezTo>
                  <a:cubicBezTo>
                    <a:pt x="1020604" y="276701"/>
                    <a:pt x="1022509" y="251936"/>
                    <a:pt x="1022509" y="251936"/>
                  </a:cubicBezTo>
                  <a:cubicBezTo>
                    <a:pt x="1022509" y="251936"/>
                    <a:pt x="1021556" y="257651"/>
                    <a:pt x="1019651" y="267176"/>
                  </a:cubicBezTo>
                  <a:close/>
                  <a:moveTo>
                    <a:pt x="1011079" y="364331"/>
                  </a:moveTo>
                  <a:cubicBezTo>
                    <a:pt x="1011079" y="361474"/>
                    <a:pt x="1012031" y="358616"/>
                    <a:pt x="1012031" y="355759"/>
                  </a:cubicBezTo>
                  <a:cubicBezTo>
                    <a:pt x="1012984" y="350996"/>
                    <a:pt x="1012984" y="347186"/>
                    <a:pt x="1013936" y="342424"/>
                  </a:cubicBezTo>
                  <a:cubicBezTo>
                    <a:pt x="1013936" y="342424"/>
                    <a:pt x="1013936" y="342424"/>
                    <a:pt x="1013936" y="342424"/>
                  </a:cubicBezTo>
                  <a:cubicBezTo>
                    <a:pt x="1012984" y="349091"/>
                    <a:pt x="1012984" y="356711"/>
                    <a:pt x="1012031" y="364331"/>
                  </a:cubicBezTo>
                  <a:cubicBezTo>
                    <a:pt x="1012031" y="365284"/>
                    <a:pt x="1011079" y="365284"/>
                    <a:pt x="1011079" y="366236"/>
                  </a:cubicBezTo>
                  <a:cubicBezTo>
                    <a:pt x="1011079" y="366236"/>
                    <a:pt x="1011079" y="366236"/>
                    <a:pt x="1011079" y="366236"/>
                  </a:cubicBezTo>
                  <a:cubicBezTo>
                    <a:pt x="1011079" y="366236"/>
                    <a:pt x="1011079" y="365284"/>
                    <a:pt x="1011079" y="364331"/>
                  </a:cubicBezTo>
                  <a:close/>
                  <a:moveTo>
                    <a:pt x="1004411" y="257651"/>
                  </a:moveTo>
                  <a:cubicBezTo>
                    <a:pt x="1003459" y="265271"/>
                    <a:pt x="1002506" y="273844"/>
                    <a:pt x="1001554" y="281464"/>
                  </a:cubicBezTo>
                  <a:cubicBezTo>
                    <a:pt x="999649" y="277654"/>
                    <a:pt x="997744" y="273844"/>
                    <a:pt x="996791" y="271939"/>
                  </a:cubicBezTo>
                  <a:cubicBezTo>
                    <a:pt x="999649" y="268129"/>
                    <a:pt x="1001554" y="262414"/>
                    <a:pt x="1004411" y="257651"/>
                  </a:cubicBezTo>
                  <a:close/>
                  <a:moveTo>
                    <a:pt x="991076" y="283369"/>
                  </a:moveTo>
                  <a:cubicBezTo>
                    <a:pt x="992981" y="280511"/>
                    <a:pt x="994886" y="276701"/>
                    <a:pt x="995839" y="273844"/>
                  </a:cubicBezTo>
                  <a:cubicBezTo>
                    <a:pt x="996791" y="277654"/>
                    <a:pt x="997744" y="283369"/>
                    <a:pt x="999649" y="291941"/>
                  </a:cubicBezTo>
                  <a:cubicBezTo>
                    <a:pt x="998696" y="303371"/>
                    <a:pt x="996791" y="314801"/>
                    <a:pt x="995839" y="326231"/>
                  </a:cubicBezTo>
                  <a:cubicBezTo>
                    <a:pt x="994886" y="328136"/>
                    <a:pt x="994886" y="329089"/>
                    <a:pt x="993934" y="330994"/>
                  </a:cubicBezTo>
                  <a:cubicBezTo>
                    <a:pt x="992981" y="324326"/>
                    <a:pt x="992981" y="320516"/>
                    <a:pt x="992981" y="320516"/>
                  </a:cubicBezTo>
                  <a:cubicBezTo>
                    <a:pt x="992981" y="320516"/>
                    <a:pt x="992029" y="327184"/>
                    <a:pt x="991076" y="338614"/>
                  </a:cubicBezTo>
                  <a:cubicBezTo>
                    <a:pt x="991076" y="339566"/>
                    <a:pt x="990124" y="340519"/>
                    <a:pt x="990124" y="341471"/>
                  </a:cubicBezTo>
                  <a:cubicBezTo>
                    <a:pt x="987266" y="349091"/>
                    <a:pt x="984409" y="356711"/>
                    <a:pt x="981551" y="365284"/>
                  </a:cubicBezTo>
                  <a:cubicBezTo>
                    <a:pt x="981551" y="364331"/>
                    <a:pt x="981551" y="363379"/>
                    <a:pt x="980599" y="363379"/>
                  </a:cubicBezTo>
                  <a:cubicBezTo>
                    <a:pt x="979646" y="351949"/>
                    <a:pt x="978694" y="341471"/>
                    <a:pt x="977741" y="331946"/>
                  </a:cubicBezTo>
                  <a:cubicBezTo>
                    <a:pt x="976789" y="325279"/>
                    <a:pt x="976789" y="318611"/>
                    <a:pt x="975836" y="311944"/>
                  </a:cubicBezTo>
                  <a:cubicBezTo>
                    <a:pt x="980599" y="301466"/>
                    <a:pt x="986314" y="291941"/>
                    <a:pt x="991076" y="283369"/>
                  </a:cubicBezTo>
                  <a:close/>
                  <a:moveTo>
                    <a:pt x="960596" y="298609"/>
                  </a:moveTo>
                  <a:cubicBezTo>
                    <a:pt x="963454" y="291941"/>
                    <a:pt x="965359" y="286226"/>
                    <a:pt x="968216" y="280511"/>
                  </a:cubicBezTo>
                  <a:cubicBezTo>
                    <a:pt x="968216" y="284321"/>
                    <a:pt x="967264" y="289084"/>
                    <a:pt x="967264" y="294799"/>
                  </a:cubicBezTo>
                  <a:cubicBezTo>
                    <a:pt x="965359" y="297656"/>
                    <a:pt x="963454" y="301466"/>
                    <a:pt x="961549" y="304324"/>
                  </a:cubicBezTo>
                  <a:cubicBezTo>
                    <a:pt x="961549" y="304324"/>
                    <a:pt x="961549" y="304324"/>
                    <a:pt x="961549" y="303371"/>
                  </a:cubicBezTo>
                  <a:cubicBezTo>
                    <a:pt x="961549" y="302419"/>
                    <a:pt x="960596" y="302419"/>
                    <a:pt x="960596" y="301466"/>
                  </a:cubicBezTo>
                  <a:cubicBezTo>
                    <a:pt x="960596" y="299561"/>
                    <a:pt x="960596" y="299561"/>
                    <a:pt x="960596" y="298609"/>
                  </a:cubicBezTo>
                  <a:close/>
                  <a:moveTo>
                    <a:pt x="939641" y="258604"/>
                  </a:moveTo>
                  <a:cubicBezTo>
                    <a:pt x="939641" y="258604"/>
                    <a:pt x="939641" y="258604"/>
                    <a:pt x="939641" y="258604"/>
                  </a:cubicBezTo>
                  <a:cubicBezTo>
                    <a:pt x="941546" y="253841"/>
                    <a:pt x="942499" y="250031"/>
                    <a:pt x="943451" y="246221"/>
                  </a:cubicBezTo>
                  <a:cubicBezTo>
                    <a:pt x="943451" y="248126"/>
                    <a:pt x="943451" y="250031"/>
                    <a:pt x="943451" y="251936"/>
                  </a:cubicBezTo>
                  <a:cubicBezTo>
                    <a:pt x="942499" y="253841"/>
                    <a:pt x="941546" y="256699"/>
                    <a:pt x="939641" y="258604"/>
                  </a:cubicBezTo>
                  <a:lnTo>
                    <a:pt x="939641" y="258604"/>
                  </a:lnTo>
                  <a:close/>
                  <a:moveTo>
                    <a:pt x="944404" y="280511"/>
                  </a:moveTo>
                  <a:lnTo>
                    <a:pt x="943451" y="273844"/>
                  </a:lnTo>
                  <a:cubicBezTo>
                    <a:pt x="943451" y="272891"/>
                    <a:pt x="944404" y="271939"/>
                    <a:pt x="944404" y="270986"/>
                  </a:cubicBezTo>
                  <a:cubicBezTo>
                    <a:pt x="944404" y="270986"/>
                    <a:pt x="944404" y="271939"/>
                    <a:pt x="944404" y="271939"/>
                  </a:cubicBezTo>
                  <a:cubicBezTo>
                    <a:pt x="944404" y="272891"/>
                    <a:pt x="944404" y="274796"/>
                    <a:pt x="944404" y="275749"/>
                  </a:cubicBezTo>
                  <a:cubicBezTo>
                    <a:pt x="945356" y="277654"/>
                    <a:pt x="945356" y="279559"/>
                    <a:pt x="944404" y="280511"/>
                  </a:cubicBezTo>
                  <a:close/>
                  <a:moveTo>
                    <a:pt x="944404" y="270986"/>
                  </a:moveTo>
                  <a:cubicBezTo>
                    <a:pt x="944404" y="270986"/>
                    <a:pt x="944404" y="270986"/>
                    <a:pt x="944404" y="270986"/>
                  </a:cubicBezTo>
                  <a:cubicBezTo>
                    <a:pt x="945356" y="270986"/>
                    <a:pt x="945356" y="270986"/>
                    <a:pt x="944404" y="270986"/>
                  </a:cubicBezTo>
                  <a:cubicBezTo>
                    <a:pt x="945356" y="270986"/>
                    <a:pt x="944404" y="270986"/>
                    <a:pt x="944404" y="270986"/>
                  </a:cubicBezTo>
                  <a:close/>
                  <a:moveTo>
                    <a:pt x="933926" y="227171"/>
                  </a:moveTo>
                  <a:cubicBezTo>
                    <a:pt x="946309" y="185261"/>
                    <a:pt x="954881" y="153829"/>
                    <a:pt x="958691" y="138589"/>
                  </a:cubicBezTo>
                  <a:cubicBezTo>
                    <a:pt x="958691" y="141446"/>
                    <a:pt x="958691" y="143351"/>
                    <a:pt x="958691" y="146209"/>
                  </a:cubicBezTo>
                  <a:cubicBezTo>
                    <a:pt x="957739" y="159544"/>
                    <a:pt x="956786" y="179546"/>
                    <a:pt x="953929" y="203359"/>
                  </a:cubicBezTo>
                  <a:cubicBezTo>
                    <a:pt x="952976" y="215741"/>
                    <a:pt x="951071" y="228124"/>
                    <a:pt x="950119" y="242411"/>
                  </a:cubicBezTo>
                  <a:cubicBezTo>
                    <a:pt x="949166" y="243364"/>
                    <a:pt x="948214" y="245269"/>
                    <a:pt x="948214" y="246221"/>
                  </a:cubicBezTo>
                  <a:cubicBezTo>
                    <a:pt x="947261" y="244316"/>
                    <a:pt x="947261" y="241459"/>
                    <a:pt x="947261" y="240506"/>
                  </a:cubicBezTo>
                  <a:cubicBezTo>
                    <a:pt x="948214" y="235744"/>
                    <a:pt x="949166" y="233839"/>
                    <a:pt x="949166" y="233839"/>
                  </a:cubicBezTo>
                  <a:cubicBezTo>
                    <a:pt x="949166" y="233839"/>
                    <a:pt x="948214" y="235744"/>
                    <a:pt x="946309" y="238601"/>
                  </a:cubicBezTo>
                  <a:cubicBezTo>
                    <a:pt x="945356" y="232886"/>
                    <a:pt x="944404" y="230029"/>
                    <a:pt x="944404" y="230029"/>
                  </a:cubicBezTo>
                  <a:cubicBezTo>
                    <a:pt x="944404" y="230029"/>
                    <a:pt x="944404" y="233839"/>
                    <a:pt x="944404" y="241459"/>
                  </a:cubicBezTo>
                  <a:cubicBezTo>
                    <a:pt x="943451" y="244316"/>
                    <a:pt x="941546" y="248126"/>
                    <a:pt x="939641" y="251936"/>
                  </a:cubicBezTo>
                  <a:lnTo>
                    <a:pt x="938689" y="248126"/>
                  </a:lnTo>
                  <a:lnTo>
                    <a:pt x="936784" y="241459"/>
                  </a:lnTo>
                  <a:cubicBezTo>
                    <a:pt x="941546" y="226219"/>
                    <a:pt x="943451" y="217646"/>
                    <a:pt x="943451" y="217646"/>
                  </a:cubicBezTo>
                  <a:cubicBezTo>
                    <a:pt x="943451" y="217646"/>
                    <a:pt x="940594" y="224314"/>
                    <a:pt x="934879" y="235744"/>
                  </a:cubicBezTo>
                  <a:lnTo>
                    <a:pt x="932974" y="230029"/>
                  </a:lnTo>
                  <a:cubicBezTo>
                    <a:pt x="932974" y="230029"/>
                    <a:pt x="932974" y="228124"/>
                    <a:pt x="933926" y="227171"/>
                  </a:cubicBezTo>
                  <a:close/>
                  <a:moveTo>
                    <a:pt x="921544" y="452914"/>
                  </a:moveTo>
                  <a:cubicBezTo>
                    <a:pt x="921544" y="452914"/>
                    <a:pt x="920591" y="451961"/>
                    <a:pt x="920591" y="451961"/>
                  </a:cubicBezTo>
                  <a:cubicBezTo>
                    <a:pt x="920591" y="447199"/>
                    <a:pt x="920591" y="443389"/>
                    <a:pt x="919639" y="438626"/>
                  </a:cubicBezTo>
                  <a:cubicBezTo>
                    <a:pt x="920591" y="443389"/>
                    <a:pt x="921544" y="448151"/>
                    <a:pt x="921544" y="452914"/>
                  </a:cubicBezTo>
                  <a:close/>
                  <a:moveTo>
                    <a:pt x="912019" y="210979"/>
                  </a:moveTo>
                  <a:lnTo>
                    <a:pt x="915829" y="227171"/>
                  </a:lnTo>
                  <a:cubicBezTo>
                    <a:pt x="915829" y="228124"/>
                    <a:pt x="915829" y="229076"/>
                    <a:pt x="914876" y="230029"/>
                  </a:cubicBezTo>
                  <a:cubicBezTo>
                    <a:pt x="913924" y="231934"/>
                    <a:pt x="913924" y="234791"/>
                    <a:pt x="912971" y="236696"/>
                  </a:cubicBezTo>
                  <a:cubicBezTo>
                    <a:pt x="912971" y="235744"/>
                    <a:pt x="912019" y="233839"/>
                    <a:pt x="912019" y="232886"/>
                  </a:cubicBezTo>
                  <a:cubicBezTo>
                    <a:pt x="912019" y="231934"/>
                    <a:pt x="912019" y="230029"/>
                    <a:pt x="912019" y="228124"/>
                  </a:cubicBezTo>
                  <a:cubicBezTo>
                    <a:pt x="912019" y="222409"/>
                    <a:pt x="911066" y="216694"/>
                    <a:pt x="911066" y="210979"/>
                  </a:cubicBezTo>
                  <a:cubicBezTo>
                    <a:pt x="911066" y="209074"/>
                    <a:pt x="911066" y="206216"/>
                    <a:pt x="911066" y="204311"/>
                  </a:cubicBezTo>
                  <a:lnTo>
                    <a:pt x="912019" y="210979"/>
                  </a:lnTo>
                  <a:close/>
                  <a:moveTo>
                    <a:pt x="833914" y="333851"/>
                  </a:moveTo>
                  <a:cubicBezTo>
                    <a:pt x="833914" y="332899"/>
                    <a:pt x="833914" y="332899"/>
                    <a:pt x="834866" y="331946"/>
                  </a:cubicBezTo>
                  <a:cubicBezTo>
                    <a:pt x="834866" y="333851"/>
                    <a:pt x="834866" y="335756"/>
                    <a:pt x="834866" y="337661"/>
                  </a:cubicBezTo>
                  <a:cubicBezTo>
                    <a:pt x="834866" y="336709"/>
                    <a:pt x="833914" y="334804"/>
                    <a:pt x="833914" y="333851"/>
                  </a:cubicBezTo>
                  <a:close/>
                  <a:moveTo>
                    <a:pt x="847249" y="304324"/>
                  </a:moveTo>
                  <a:cubicBezTo>
                    <a:pt x="847249" y="303371"/>
                    <a:pt x="847249" y="302419"/>
                    <a:pt x="846296" y="301466"/>
                  </a:cubicBezTo>
                  <a:cubicBezTo>
                    <a:pt x="846296" y="300514"/>
                    <a:pt x="846296" y="300514"/>
                    <a:pt x="846296" y="299561"/>
                  </a:cubicBezTo>
                  <a:cubicBezTo>
                    <a:pt x="848201" y="294799"/>
                    <a:pt x="849154" y="290989"/>
                    <a:pt x="851059" y="286226"/>
                  </a:cubicBezTo>
                  <a:cubicBezTo>
                    <a:pt x="850106" y="292894"/>
                    <a:pt x="848201" y="298609"/>
                    <a:pt x="847249" y="304324"/>
                  </a:cubicBezTo>
                  <a:close/>
                  <a:moveTo>
                    <a:pt x="880586" y="300514"/>
                  </a:moveTo>
                  <a:cubicBezTo>
                    <a:pt x="878681" y="306229"/>
                    <a:pt x="877729" y="312896"/>
                    <a:pt x="876776" y="319564"/>
                  </a:cubicBezTo>
                  <a:cubicBezTo>
                    <a:pt x="874871" y="326231"/>
                    <a:pt x="873919" y="334804"/>
                    <a:pt x="872966" y="343376"/>
                  </a:cubicBezTo>
                  <a:cubicBezTo>
                    <a:pt x="872014" y="346234"/>
                    <a:pt x="870109" y="348139"/>
                    <a:pt x="869156" y="350996"/>
                  </a:cubicBezTo>
                  <a:cubicBezTo>
                    <a:pt x="869156" y="350996"/>
                    <a:pt x="868204" y="350044"/>
                    <a:pt x="868204" y="349091"/>
                  </a:cubicBezTo>
                  <a:cubicBezTo>
                    <a:pt x="868204" y="349091"/>
                    <a:pt x="868204" y="348139"/>
                    <a:pt x="867251" y="348139"/>
                  </a:cubicBezTo>
                  <a:cubicBezTo>
                    <a:pt x="867251" y="344329"/>
                    <a:pt x="867251" y="339566"/>
                    <a:pt x="867251" y="335756"/>
                  </a:cubicBezTo>
                  <a:cubicBezTo>
                    <a:pt x="867251" y="323374"/>
                    <a:pt x="867251" y="311944"/>
                    <a:pt x="866299" y="301466"/>
                  </a:cubicBezTo>
                  <a:cubicBezTo>
                    <a:pt x="866299" y="290989"/>
                    <a:pt x="864394" y="281464"/>
                    <a:pt x="863441" y="272891"/>
                  </a:cubicBezTo>
                  <a:cubicBezTo>
                    <a:pt x="862489" y="267176"/>
                    <a:pt x="862489" y="262414"/>
                    <a:pt x="861536" y="257651"/>
                  </a:cubicBezTo>
                  <a:cubicBezTo>
                    <a:pt x="861536" y="256699"/>
                    <a:pt x="861536" y="256699"/>
                    <a:pt x="862489" y="255746"/>
                  </a:cubicBezTo>
                  <a:cubicBezTo>
                    <a:pt x="862489" y="255746"/>
                    <a:pt x="862489" y="255746"/>
                    <a:pt x="862489" y="255746"/>
                  </a:cubicBezTo>
                  <a:cubicBezTo>
                    <a:pt x="867251" y="265271"/>
                    <a:pt x="871061" y="274796"/>
                    <a:pt x="876776" y="286226"/>
                  </a:cubicBezTo>
                  <a:cubicBezTo>
                    <a:pt x="878681" y="290036"/>
                    <a:pt x="880586" y="293846"/>
                    <a:pt x="881539" y="296704"/>
                  </a:cubicBezTo>
                  <a:cubicBezTo>
                    <a:pt x="881539" y="298609"/>
                    <a:pt x="881539" y="299561"/>
                    <a:pt x="880586" y="300514"/>
                  </a:cubicBezTo>
                  <a:close/>
                  <a:moveTo>
                    <a:pt x="885349" y="318611"/>
                  </a:moveTo>
                  <a:cubicBezTo>
                    <a:pt x="885349" y="318611"/>
                    <a:pt x="885349" y="319564"/>
                    <a:pt x="884396" y="319564"/>
                  </a:cubicBezTo>
                  <a:cubicBezTo>
                    <a:pt x="884396" y="319564"/>
                    <a:pt x="884396" y="320516"/>
                    <a:pt x="883444" y="320516"/>
                  </a:cubicBezTo>
                  <a:cubicBezTo>
                    <a:pt x="883444" y="313849"/>
                    <a:pt x="883444" y="308134"/>
                    <a:pt x="884396" y="303371"/>
                  </a:cubicBezTo>
                  <a:cubicBezTo>
                    <a:pt x="885349" y="305276"/>
                    <a:pt x="886301" y="308134"/>
                    <a:pt x="887254" y="310039"/>
                  </a:cubicBezTo>
                  <a:cubicBezTo>
                    <a:pt x="887254" y="312896"/>
                    <a:pt x="886301" y="315754"/>
                    <a:pt x="885349" y="318611"/>
                  </a:cubicBezTo>
                  <a:close/>
                  <a:moveTo>
                    <a:pt x="900589" y="246221"/>
                  </a:moveTo>
                  <a:cubicBezTo>
                    <a:pt x="900589" y="247174"/>
                    <a:pt x="899636" y="247174"/>
                    <a:pt x="900589" y="246221"/>
                  </a:cubicBezTo>
                  <a:cubicBezTo>
                    <a:pt x="899636" y="239554"/>
                    <a:pt x="898684" y="234791"/>
                    <a:pt x="898684" y="234791"/>
                  </a:cubicBezTo>
                  <a:cubicBezTo>
                    <a:pt x="898684" y="234791"/>
                    <a:pt x="898684" y="241459"/>
                    <a:pt x="897731" y="252889"/>
                  </a:cubicBezTo>
                  <a:cubicBezTo>
                    <a:pt x="897731" y="252889"/>
                    <a:pt x="897731" y="252889"/>
                    <a:pt x="897731" y="253841"/>
                  </a:cubicBezTo>
                  <a:cubicBezTo>
                    <a:pt x="895826" y="251936"/>
                    <a:pt x="894874" y="250031"/>
                    <a:pt x="894874" y="250031"/>
                  </a:cubicBezTo>
                  <a:cubicBezTo>
                    <a:pt x="894874" y="250031"/>
                    <a:pt x="895826" y="251936"/>
                    <a:pt x="897731" y="254794"/>
                  </a:cubicBezTo>
                  <a:cubicBezTo>
                    <a:pt x="897731" y="255746"/>
                    <a:pt x="897731" y="256699"/>
                    <a:pt x="897731" y="257651"/>
                  </a:cubicBezTo>
                  <a:cubicBezTo>
                    <a:pt x="897731" y="259556"/>
                    <a:pt x="897731" y="262414"/>
                    <a:pt x="896779" y="264319"/>
                  </a:cubicBezTo>
                  <a:cubicBezTo>
                    <a:pt x="896779" y="264319"/>
                    <a:pt x="896779" y="264319"/>
                    <a:pt x="896779" y="264319"/>
                  </a:cubicBezTo>
                  <a:cubicBezTo>
                    <a:pt x="896779" y="264319"/>
                    <a:pt x="896779" y="264319"/>
                    <a:pt x="896779" y="264319"/>
                  </a:cubicBezTo>
                  <a:cubicBezTo>
                    <a:pt x="896779" y="264319"/>
                    <a:pt x="896779" y="265271"/>
                    <a:pt x="896779" y="265271"/>
                  </a:cubicBezTo>
                  <a:cubicBezTo>
                    <a:pt x="896779" y="267176"/>
                    <a:pt x="896779" y="269081"/>
                    <a:pt x="896779" y="270986"/>
                  </a:cubicBezTo>
                  <a:cubicBezTo>
                    <a:pt x="896779" y="271939"/>
                    <a:pt x="896779" y="271939"/>
                    <a:pt x="896779" y="272891"/>
                  </a:cubicBezTo>
                  <a:cubicBezTo>
                    <a:pt x="896779" y="276701"/>
                    <a:pt x="895826" y="280511"/>
                    <a:pt x="895826" y="285274"/>
                  </a:cubicBezTo>
                  <a:cubicBezTo>
                    <a:pt x="895826" y="286226"/>
                    <a:pt x="895826" y="286226"/>
                    <a:pt x="895826" y="287179"/>
                  </a:cubicBezTo>
                  <a:cubicBezTo>
                    <a:pt x="893921" y="284321"/>
                    <a:pt x="892969" y="281464"/>
                    <a:pt x="891064" y="279559"/>
                  </a:cubicBezTo>
                  <a:cubicBezTo>
                    <a:pt x="885349" y="269081"/>
                    <a:pt x="879634" y="259556"/>
                    <a:pt x="873919" y="250984"/>
                  </a:cubicBezTo>
                  <a:cubicBezTo>
                    <a:pt x="872014" y="248126"/>
                    <a:pt x="871061" y="245269"/>
                    <a:pt x="869156" y="243364"/>
                  </a:cubicBezTo>
                  <a:cubicBezTo>
                    <a:pt x="869156" y="243364"/>
                    <a:pt x="869156" y="243364"/>
                    <a:pt x="869156" y="242411"/>
                  </a:cubicBezTo>
                  <a:cubicBezTo>
                    <a:pt x="872966" y="232886"/>
                    <a:pt x="875824" y="223361"/>
                    <a:pt x="878681" y="215741"/>
                  </a:cubicBezTo>
                  <a:cubicBezTo>
                    <a:pt x="881539" y="210979"/>
                    <a:pt x="884396" y="205264"/>
                    <a:pt x="887254" y="200501"/>
                  </a:cubicBezTo>
                  <a:lnTo>
                    <a:pt x="895826" y="223361"/>
                  </a:lnTo>
                  <a:lnTo>
                    <a:pt x="901541" y="240506"/>
                  </a:lnTo>
                  <a:cubicBezTo>
                    <a:pt x="900589" y="242411"/>
                    <a:pt x="900589" y="244316"/>
                    <a:pt x="900589" y="246221"/>
                  </a:cubicBezTo>
                  <a:close/>
                  <a:moveTo>
                    <a:pt x="891064" y="190976"/>
                  </a:moveTo>
                  <a:cubicBezTo>
                    <a:pt x="892016" y="190024"/>
                    <a:pt x="892969" y="188119"/>
                    <a:pt x="892969" y="187166"/>
                  </a:cubicBezTo>
                  <a:cubicBezTo>
                    <a:pt x="892969" y="189071"/>
                    <a:pt x="894874" y="194786"/>
                    <a:pt x="896779" y="202406"/>
                  </a:cubicBezTo>
                  <a:cubicBezTo>
                    <a:pt x="895826" y="199549"/>
                    <a:pt x="893921" y="195739"/>
                    <a:pt x="891064" y="190976"/>
                  </a:cubicBezTo>
                  <a:close/>
                  <a:moveTo>
                    <a:pt x="904399" y="181451"/>
                  </a:moveTo>
                  <a:cubicBezTo>
                    <a:pt x="904399" y="182404"/>
                    <a:pt x="904399" y="182404"/>
                    <a:pt x="904399" y="183356"/>
                  </a:cubicBezTo>
                  <a:cubicBezTo>
                    <a:pt x="904399" y="190976"/>
                    <a:pt x="903446" y="200501"/>
                    <a:pt x="903446" y="210979"/>
                  </a:cubicBezTo>
                  <a:cubicBezTo>
                    <a:pt x="903446" y="210979"/>
                    <a:pt x="903446" y="210026"/>
                    <a:pt x="903446" y="210026"/>
                  </a:cubicBezTo>
                  <a:cubicBezTo>
                    <a:pt x="898684" y="197644"/>
                    <a:pt x="894874" y="190024"/>
                    <a:pt x="894874" y="188119"/>
                  </a:cubicBezTo>
                  <a:cubicBezTo>
                    <a:pt x="897731" y="183356"/>
                    <a:pt x="900589" y="178594"/>
                    <a:pt x="903446" y="173831"/>
                  </a:cubicBezTo>
                  <a:lnTo>
                    <a:pt x="904399" y="181451"/>
                  </a:lnTo>
                  <a:close/>
                  <a:moveTo>
                    <a:pt x="888206" y="137636"/>
                  </a:moveTo>
                  <a:cubicBezTo>
                    <a:pt x="889159" y="135731"/>
                    <a:pt x="890111" y="134779"/>
                    <a:pt x="890111" y="132874"/>
                  </a:cubicBezTo>
                  <a:lnTo>
                    <a:pt x="898684" y="161449"/>
                  </a:lnTo>
                  <a:cubicBezTo>
                    <a:pt x="896779" y="163354"/>
                    <a:pt x="894874" y="166211"/>
                    <a:pt x="893921" y="168116"/>
                  </a:cubicBezTo>
                  <a:cubicBezTo>
                    <a:pt x="891064" y="171926"/>
                    <a:pt x="888206" y="175736"/>
                    <a:pt x="885349" y="180499"/>
                  </a:cubicBezTo>
                  <a:cubicBezTo>
                    <a:pt x="881539" y="174784"/>
                    <a:pt x="878681" y="169069"/>
                    <a:pt x="874871" y="163354"/>
                  </a:cubicBezTo>
                  <a:cubicBezTo>
                    <a:pt x="879634" y="154781"/>
                    <a:pt x="883444" y="146209"/>
                    <a:pt x="888206" y="137636"/>
                  </a:cubicBezTo>
                  <a:close/>
                  <a:moveTo>
                    <a:pt x="872966" y="169069"/>
                  </a:moveTo>
                  <a:lnTo>
                    <a:pt x="881539" y="188119"/>
                  </a:lnTo>
                  <a:cubicBezTo>
                    <a:pt x="880586" y="189071"/>
                    <a:pt x="879634" y="190976"/>
                    <a:pt x="878681" y="191929"/>
                  </a:cubicBezTo>
                  <a:cubicBezTo>
                    <a:pt x="871061" y="202406"/>
                    <a:pt x="864394" y="213836"/>
                    <a:pt x="856774" y="226219"/>
                  </a:cubicBezTo>
                  <a:cubicBezTo>
                    <a:pt x="854869" y="223361"/>
                    <a:pt x="852964" y="220504"/>
                    <a:pt x="851059" y="217646"/>
                  </a:cubicBezTo>
                  <a:cubicBezTo>
                    <a:pt x="858679" y="199549"/>
                    <a:pt x="865346" y="183356"/>
                    <a:pt x="872966" y="169069"/>
                  </a:cubicBezTo>
                  <a:close/>
                  <a:moveTo>
                    <a:pt x="847249" y="225266"/>
                  </a:moveTo>
                  <a:cubicBezTo>
                    <a:pt x="847249" y="224314"/>
                    <a:pt x="848201" y="223361"/>
                    <a:pt x="848201" y="223361"/>
                  </a:cubicBezTo>
                  <a:cubicBezTo>
                    <a:pt x="849154" y="226219"/>
                    <a:pt x="851059" y="229076"/>
                    <a:pt x="852011" y="232886"/>
                  </a:cubicBezTo>
                  <a:cubicBezTo>
                    <a:pt x="850106" y="236696"/>
                    <a:pt x="848201" y="239554"/>
                    <a:pt x="845344" y="243364"/>
                  </a:cubicBezTo>
                  <a:cubicBezTo>
                    <a:pt x="842486" y="248126"/>
                    <a:pt x="839629" y="252889"/>
                    <a:pt x="837724" y="256699"/>
                  </a:cubicBezTo>
                  <a:cubicBezTo>
                    <a:pt x="837724" y="254794"/>
                    <a:pt x="836771" y="252889"/>
                    <a:pt x="836771" y="250984"/>
                  </a:cubicBezTo>
                  <a:cubicBezTo>
                    <a:pt x="839629" y="242411"/>
                    <a:pt x="843439" y="233839"/>
                    <a:pt x="847249" y="225266"/>
                  </a:cubicBezTo>
                  <a:close/>
                  <a:moveTo>
                    <a:pt x="835819" y="195739"/>
                  </a:moveTo>
                  <a:cubicBezTo>
                    <a:pt x="835819" y="194786"/>
                    <a:pt x="835819" y="194786"/>
                    <a:pt x="835819" y="195739"/>
                  </a:cubicBezTo>
                  <a:cubicBezTo>
                    <a:pt x="836771" y="196691"/>
                    <a:pt x="838676" y="200501"/>
                    <a:pt x="840581" y="206216"/>
                  </a:cubicBezTo>
                  <a:cubicBezTo>
                    <a:pt x="838676" y="210979"/>
                    <a:pt x="835819" y="214789"/>
                    <a:pt x="833914" y="219551"/>
                  </a:cubicBezTo>
                  <a:cubicBezTo>
                    <a:pt x="833914" y="220504"/>
                    <a:pt x="832961" y="220504"/>
                    <a:pt x="832961" y="221456"/>
                  </a:cubicBezTo>
                  <a:cubicBezTo>
                    <a:pt x="833914" y="211931"/>
                    <a:pt x="834866" y="203359"/>
                    <a:pt x="835819" y="195739"/>
                  </a:cubicBezTo>
                  <a:close/>
                  <a:moveTo>
                    <a:pt x="826294" y="274796"/>
                  </a:moveTo>
                  <a:cubicBezTo>
                    <a:pt x="827246" y="273844"/>
                    <a:pt x="827246" y="271939"/>
                    <a:pt x="828199" y="270986"/>
                  </a:cubicBezTo>
                  <a:cubicBezTo>
                    <a:pt x="828199" y="271939"/>
                    <a:pt x="828199" y="272891"/>
                    <a:pt x="828199" y="272891"/>
                  </a:cubicBezTo>
                  <a:cubicBezTo>
                    <a:pt x="827246" y="273844"/>
                    <a:pt x="826294" y="275749"/>
                    <a:pt x="826294" y="276701"/>
                  </a:cubicBezTo>
                  <a:cubicBezTo>
                    <a:pt x="826294" y="275749"/>
                    <a:pt x="826294" y="274796"/>
                    <a:pt x="826294" y="274796"/>
                  </a:cubicBezTo>
                  <a:close/>
                  <a:moveTo>
                    <a:pt x="812006" y="448151"/>
                  </a:moveTo>
                  <a:cubicBezTo>
                    <a:pt x="812006" y="448151"/>
                    <a:pt x="812006" y="448151"/>
                    <a:pt x="812006" y="448151"/>
                  </a:cubicBezTo>
                  <a:cubicBezTo>
                    <a:pt x="812006" y="448151"/>
                    <a:pt x="812006" y="448151"/>
                    <a:pt x="812006" y="448151"/>
                  </a:cubicBezTo>
                  <a:cubicBezTo>
                    <a:pt x="812006" y="448151"/>
                    <a:pt x="812006" y="448151"/>
                    <a:pt x="812006" y="448151"/>
                  </a:cubicBezTo>
                  <a:close/>
                  <a:moveTo>
                    <a:pt x="785336" y="330041"/>
                  </a:moveTo>
                  <a:cubicBezTo>
                    <a:pt x="784384" y="329089"/>
                    <a:pt x="783431" y="327184"/>
                    <a:pt x="782479" y="325279"/>
                  </a:cubicBezTo>
                  <a:cubicBezTo>
                    <a:pt x="782479" y="321469"/>
                    <a:pt x="782479" y="318611"/>
                    <a:pt x="782479" y="315754"/>
                  </a:cubicBezTo>
                  <a:cubicBezTo>
                    <a:pt x="783431" y="319564"/>
                    <a:pt x="785336" y="322421"/>
                    <a:pt x="786289" y="326231"/>
                  </a:cubicBezTo>
                  <a:cubicBezTo>
                    <a:pt x="786289" y="328136"/>
                    <a:pt x="785336" y="329089"/>
                    <a:pt x="785336" y="330041"/>
                  </a:cubicBezTo>
                  <a:close/>
                  <a:moveTo>
                    <a:pt x="797719" y="271939"/>
                  </a:moveTo>
                  <a:cubicBezTo>
                    <a:pt x="799624" y="276701"/>
                    <a:pt x="801529" y="281464"/>
                    <a:pt x="803434" y="286226"/>
                  </a:cubicBezTo>
                  <a:cubicBezTo>
                    <a:pt x="803434" y="287179"/>
                    <a:pt x="802481" y="288131"/>
                    <a:pt x="802481" y="288131"/>
                  </a:cubicBezTo>
                  <a:cubicBezTo>
                    <a:pt x="799624" y="295751"/>
                    <a:pt x="796766" y="302419"/>
                    <a:pt x="792956" y="310039"/>
                  </a:cubicBezTo>
                  <a:cubicBezTo>
                    <a:pt x="792956" y="310039"/>
                    <a:pt x="792956" y="310039"/>
                    <a:pt x="792956" y="309086"/>
                  </a:cubicBezTo>
                  <a:cubicBezTo>
                    <a:pt x="791051" y="305276"/>
                    <a:pt x="789146" y="300514"/>
                    <a:pt x="787241" y="296704"/>
                  </a:cubicBezTo>
                  <a:cubicBezTo>
                    <a:pt x="790099" y="285274"/>
                    <a:pt x="792956" y="274796"/>
                    <a:pt x="795814" y="266224"/>
                  </a:cubicBezTo>
                  <a:cubicBezTo>
                    <a:pt x="796766" y="269081"/>
                    <a:pt x="796766" y="270034"/>
                    <a:pt x="797719" y="271939"/>
                  </a:cubicBezTo>
                  <a:close/>
                  <a:moveTo>
                    <a:pt x="790099" y="253841"/>
                  </a:moveTo>
                  <a:cubicBezTo>
                    <a:pt x="791051" y="255746"/>
                    <a:pt x="792004" y="258604"/>
                    <a:pt x="793909" y="261461"/>
                  </a:cubicBezTo>
                  <a:cubicBezTo>
                    <a:pt x="793909" y="261461"/>
                    <a:pt x="793909" y="261461"/>
                    <a:pt x="793909" y="262414"/>
                  </a:cubicBezTo>
                  <a:cubicBezTo>
                    <a:pt x="791051" y="269081"/>
                    <a:pt x="788194" y="276701"/>
                    <a:pt x="784384" y="286226"/>
                  </a:cubicBezTo>
                  <a:cubicBezTo>
                    <a:pt x="784384" y="282416"/>
                    <a:pt x="784384" y="277654"/>
                    <a:pt x="785336" y="273844"/>
                  </a:cubicBezTo>
                  <a:cubicBezTo>
                    <a:pt x="786289" y="267176"/>
                    <a:pt x="788194" y="260509"/>
                    <a:pt x="790099" y="253841"/>
                  </a:cubicBezTo>
                  <a:close/>
                  <a:moveTo>
                    <a:pt x="773906" y="236696"/>
                  </a:moveTo>
                  <a:cubicBezTo>
                    <a:pt x="774859" y="229076"/>
                    <a:pt x="775811" y="221456"/>
                    <a:pt x="776764" y="213836"/>
                  </a:cubicBezTo>
                  <a:cubicBezTo>
                    <a:pt x="778669" y="218599"/>
                    <a:pt x="781526" y="223361"/>
                    <a:pt x="783431" y="229076"/>
                  </a:cubicBezTo>
                  <a:cubicBezTo>
                    <a:pt x="782479" y="230981"/>
                    <a:pt x="781526" y="233839"/>
                    <a:pt x="780574" y="235744"/>
                  </a:cubicBezTo>
                  <a:cubicBezTo>
                    <a:pt x="778669" y="233839"/>
                    <a:pt x="777716" y="231934"/>
                    <a:pt x="777716" y="231934"/>
                  </a:cubicBezTo>
                  <a:cubicBezTo>
                    <a:pt x="777716" y="231934"/>
                    <a:pt x="778669" y="233839"/>
                    <a:pt x="780574" y="236696"/>
                  </a:cubicBezTo>
                  <a:cubicBezTo>
                    <a:pt x="778669" y="242411"/>
                    <a:pt x="775811" y="249079"/>
                    <a:pt x="773906" y="255746"/>
                  </a:cubicBezTo>
                  <a:cubicBezTo>
                    <a:pt x="773906" y="249079"/>
                    <a:pt x="773906" y="242411"/>
                    <a:pt x="773906" y="236696"/>
                  </a:cubicBezTo>
                  <a:close/>
                  <a:moveTo>
                    <a:pt x="724376" y="219551"/>
                  </a:moveTo>
                  <a:cubicBezTo>
                    <a:pt x="725329" y="212884"/>
                    <a:pt x="726281" y="207169"/>
                    <a:pt x="726281" y="203359"/>
                  </a:cubicBezTo>
                  <a:cubicBezTo>
                    <a:pt x="726281" y="210026"/>
                    <a:pt x="726281" y="218599"/>
                    <a:pt x="726281" y="229076"/>
                  </a:cubicBezTo>
                  <a:cubicBezTo>
                    <a:pt x="725329" y="226219"/>
                    <a:pt x="724376" y="224314"/>
                    <a:pt x="723424" y="223361"/>
                  </a:cubicBezTo>
                  <a:cubicBezTo>
                    <a:pt x="723424" y="222409"/>
                    <a:pt x="723424" y="220504"/>
                    <a:pt x="724376" y="219551"/>
                  </a:cubicBezTo>
                  <a:close/>
                  <a:moveTo>
                    <a:pt x="723424" y="224314"/>
                  </a:moveTo>
                  <a:cubicBezTo>
                    <a:pt x="723424" y="226219"/>
                    <a:pt x="724376" y="230029"/>
                    <a:pt x="724376" y="235744"/>
                  </a:cubicBezTo>
                  <a:cubicBezTo>
                    <a:pt x="725329" y="239554"/>
                    <a:pt x="725329" y="245269"/>
                    <a:pt x="726281" y="250984"/>
                  </a:cubicBezTo>
                  <a:cubicBezTo>
                    <a:pt x="726281" y="250984"/>
                    <a:pt x="726281" y="250984"/>
                    <a:pt x="726281" y="251936"/>
                  </a:cubicBezTo>
                  <a:cubicBezTo>
                    <a:pt x="726281" y="259556"/>
                    <a:pt x="726281" y="268129"/>
                    <a:pt x="727234" y="276701"/>
                  </a:cubicBezTo>
                  <a:cubicBezTo>
                    <a:pt x="727234" y="280511"/>
                    <a:pt x="727234" y="284321"/>
                    <a:pt x="727234" y="288131"/>
                  </a:cubicBezTo>
                  <a:cubicBezTo>
                    <a:pt x="726281" y="286226"/>
                    <a:pt x="726281" y="285274"/>
                    <a:pt x="725329" y="284321"/>
                  </a:cubicBezTo>
                  <a:cubicBezTo>
                    <a:pt x="722471" y="275749"/>
                    <a:pt x="720566" y="268129"/>
                    <a:pt x="717709" y="260509"/>
                  </a:cubicBezTo>
                  <a:cubicBezTo>
                    <a:pt x="719614" y="246221"/>
                    <a:pt x="721519" y="233839"/>
                    <a:pt x="723424" y="224314"/>
                  </a:cubicBezTo>
                  <a:close/>
                  <a:moveTo>
                    <a:pt x="710089" y="308134"/>
                  </a:moveTo>
                  <a:cubicBezTo>
                    <a:pt x="710089" y="311944"/>
                    <a:pt x="711041" y="315754"/>
                    <a:pt x="711041" y="320516"/>
                  </a:cubicBezTo>
                  <a:cubicBezTo>
                    <a:pt x="712946" y="336709"/>
                    <a:pt x="714851" y="354806"/>
                    <a:pt x="717709" y="373856"/>
                  </a:cubicBezTo>
                  <a:cubicBezTo>
                    <a:pt x="715804" y="378619"/>
                    <a:pt x="712946" y="384334"/>
                    <a:pt x="711041" y="389096"/>
                  </a:cubicBezTo>
                  <a:cubicBezTo>
                    <a:pt x="710089" y="387191"/>
                    <a:pt x="710089" y="385286"/>
                    <a:pt x="709136" y="383381"/>
                  </a:cubicBezTo>
                  <a:cubicBezTo>
                    <a:pt x="710089" y="379571"/>
                    <a:pt x="710089" y="375761"/>
                    <a:pt x="711041" y="372904"/>
                  </a:cubicBezTo>
                  <a:cubicBezTo>
                    <a:pt x="712946" y="359569"/>
                    <a:pt x="713899" y="352901"/>
                    <a:pt x="713899" y="352901"/>
                  </a:cubicBezTo>
                  <a:cubicBezTo>
                    <a:pt x="713899" y="352901"/>
                    <a:pt x="711994" y="360521"/>
                    <a:pt x="707231" y="372904"/>
                  </a:cubicBezTo>
                  <a:cubicBezTo>
                    <a:pt x="707231" y="373856"/>
                    <a:pt x="706279" y="374809"/>
                    <a:pt x="706279" y="374809"/>
                  </a:cubicBezTo>
                  <a:cubicBezTo>
                    <a:pt x="704374" y="369094"/>
                    <a:pt x="702469" y="363379"/>
                    <a:pt x="701516" y="357664"/>
                  </a:cubicBezTo>
                  <a:cubicBezTo>
                    <a:pt x="701516" y="357664"/>
                    <a:pt x="701516" y="357664"/>
                    <a:pt x="701516" y="357664"/>
                  </a:cubicBezTo>
                  <a:cubicBezTo>
                    <a:pt x="704374" y="339566"/>
                    <a:pt x="707231" y="323374"/>
                    <a:pt x="710089" y="308134"/>
                  </a:cubicBezTo>
                  <a:close/>
                  <a:moveTo>
                    <a:pt x="676751" y="253841"/>
                  </a:moveTo>
                  <a:cubicBezTo>
                    <a:pt x="676751" y="250984"/>
                    <a:pt x="676751" y="249079"/>
                    <a:pt x="676751" y="246221"/>
                  </a:cubicBezTo>
                  <a:cubicBezTo>
                    <a:pt x="677704" y="237649"/>
                    <a:pt x="678656" y="229076"/>
                    <a:pt x="679609" y="220504"/>
                  </a:cubicBezTo>
                  <a:cubicBezTo>
                    <a:pt x="680561" y="206216"/>
                    <a:pt x="681514" y="192881"/>
                    <a:pt x="682466" y="181451"/>
                  </a:cubicBezTo>
                  <a:cubicBezTo>
                    <a:pt x="682466" y="180499"/>
                    <a:pt x="682466" y="179546"/>
                    <a:pt x="682466" y="178594"/>
                  </a:cubicBezTo>
                  <a:cubicBezTo>
                    <a:pt x="687229" y="193834"/>
                    <a:pt x="691039" y="211931"/>
                    <a:pt x="696754" y="231934"/>
                  </a:cubicBezTo>
                  <a:cubicBezTo>
                    <a:pt x="699611" y="243364"/>
                    <a:pt x="702469" y="254794"/>
                    <a:pt x="705326" y="267176"/>
                  </a:cubicBezTo>
                  <a:cubicBezTo>
                    <a:pt x="704374" y="269081"/>
                    <a:pt x="704374" y="271939"/>
                    <a:pt x="703421" y="273844"/>
                  </a:cubicBezTo>
                  <a:cubicBezTo>
                    <a:pt x="700564" y="284321"/>
                    <a:pt x="697706" y="295751"/>
                    <a:pt x="694849" y="307181"/>
                  </a:cubicBezTo>
                  <a:cubicBezTo>
                    <a:pt x="693896" y="309086"/>
                    <a:pt x="693896" y="311944"/>
                    <a:pt x="692944" y="313849"/>
                  </a:cubicBezTo>
                  <a:cubicBezTo>
                    <a:pt x="691991" y="316706"/>
                    <a:pt x="691039" y="319564"/>
                    <a:pt x="690086" y="322421"/>
                  </a:cubicBezTo>
                  <a:cubicBezTo>
                    <a:pt x="684371" y="305276"/>
                    <a:pt x="679609" y="290036"/>
                    <a:pt x="673894" y="274796"/>
                  </a:cubicBezTo>
                  <a:cubicBezTo>
                    <a:pt x="675799" y="268129"/>
                    <a:pt x="676751" y="260509"/>
                    <a:pt x="676751" y="253841"/>
                  </a:cubicBezTo>
                  <a:close/>
                  <a:moveTo>
                    <a:pt x="668179" y="331946"/>
                  </a:moveTo>
                  <a:cubicBezTo>
                    <a:pt x="668179" y="330994"/>
                    <a:pt x="668179" y="330994"/>
                    <a:pt x="668179" y="330041"/>
                  </a:cubicBezTo>
                  <a:cubicBezTo>
                    <a:pt x="668179" y="331946"/>
                    <a:pt x="669131" y="332899"/>
                    <a:pt x="669131" y="334804"/>
                  </a:cubicBezTo>
                  <a:cubicBezTo>
                    <a:pt x="670084" y="338614"/>
                    <a:pt x="671036" y="342424"/>
                    <a:pt x="671989" y="346234"/>
                  </a:cubicBezTo>
                  <a:cubicBezTo>
                    <a:pt x="672941" y="350044"/>
                    <a:pt x="673894" y="354806"/>
                    <a:pt x="674846" y="359569"/>
                  </a:cubicBezTo>
                  <a:cubicBezTo>
                    <a:pt x="675799" y="363379"/>
                    <a:pt x="676751" y="367189"/>
                    <a:pt x="676751" y="370999"/>
                  </a:cubicBezTo>
                  <a:cubicBezTo>
                    <a:pt x="676751" y="371951"/>
                    <a:pt x="675799" y="372904"/>
                    <a:pt x="675799" y="373856"/>
                  </a:cubicBezTo>
                  <a:cubicBezTo>
                    <a:pt x="675799" y="374809"/>
                    <a:pt x="674846" y="375761"/>
                    <a:pt x="674846" y="377666"/>
                  </a:cubicBezTo>
                  <a:cubicBezTo>
                    <a:pt x="672941" y="374809"/>
                    <a:pt x="671989" y="370999"/>
                    <a:pt x="670084" y="368141"/>
                  </a:cubicBezTo>
                  <a:cubicBezTo>
                    <a:pt x="668179" y="364331"/>
                    <a:pt x="666274" y="361474"/>
                    <a:pt x="664369" y="358616"/>
                  </a:cubicBezTo>
                  <a:cubicBezTo>
                    <a:pt x="665321" y="349091"/>
                    <a:pt x="667226" y="340519"/>
                    <a:pt x="668179" y="331946"/>
                  </a:cubicBezTo>
                  <a:close/>
                  <a:moveTo>
                    <a:pt x="656749" y="266224"/>
                  </a:moveTo>
                  <a:cubicBezTo>
                    <a:pt x="656749" y="266224"/>
                    <a:pt x="656749" y="267176"/>
                    <a:pt x="656749" y="267176"/>
                  </a:cubicBezTo>
                  <a:cubicBezTo>
                    <a:pt x="656749" y="268129"/>
                    <a:pt x="656749" y="269081"/>
                    <a:pt x="656749" y="269081"/>
                  </a:cubicBezTo>
                  <a:cubicBezTo>
                    <a:pt x="656749" y="268129"/>
                    <a:pt x="656749" y="267176"/>
                    <a:pt x="656749" y="266224"/>
                  </a:cubicBezTo>
                  <a:close/>
                  <a:moveTo>
                    <a:pt x="608171" y="318611"/>
                  </a:moveTo>
                  <a:cubicBezTo>
                    <a:pt x="609124" y="305276"/>
                    <a:pt x="611029" y="291941"/>
                    <a:pt x="611981" y="279559"/>
                  </a:cubicBezTo>
                  <a:cubicBezTo>
                    <a:pt x="612934" y="282416"/>
                    <a:pt x="612934" y="285274"/>
                    <a:pt x="613886" y="288131"/>
                  </a:cubicBezTo>
                  <a:cubicBezTo>
                    <a:pt x="614839" y="301466"/>
                    <a:pt x="615791" y="314801"/>
                    <a:pt x="615791" y="327184"/>
                  </a:cubicBezTo>
                  <a:cubicBezTo>
                    <a:pt x="615791" y="329089"/>
                    <a:pt x="615791" y="330041"/>
                    <a:pt x="615791" y="331946"/>
                  </a:cubicBezTo>
                  <a:cubicBezTo>
                    <a:pt x="615791" y="333851"/>
                    <a:pt x="615791" y="335756"/>
                    <a:pt x="615791" y="337661"/>
                  </a:cubicBezTo>
                  <a:cubicBezTo>
                    <a:pt x="614839" y="336709"/>
                    <a:pt x="613886" y="334804"/>
                    <a:pt x="613886" y="333851"/>
                  </a:cubicBezTo>
                  <a:cubicBezTo>
                    <a:pt x="611981" y="330041"/>
                    <a:pt x="609124" y="325279"/>
                    <a:pt x="607219" y="321469"/>
                  </a:cubicBezTo>
                  <a:cubicBezTo>
                    <a:pt x="608171" y="320516"/>
                    <a:pt x="608171" y="319564"/>
                    <a:pt x="608171" y="318611"/>
                  </a:cubicBezTo>
                  <a:close/>
                  <a:moveTo>
                    <a:pt x="606266" y="341471"/>
                  </a:moveTo>
                  <a:cubicBezTo>
                    <a:pt x="609124" y="349091"/>
                    <a:pt x="612934" y="356711"/>
                    <a:pt x="615791" y="364331"/>
                  </a:cubicBezTo>
                  <a:cubicBezTo>
                    <a:pt x="615791" y="364331"/>
                    <a:pt x="615791" y="365284"/>
                    <a:pt x="615791" y="365284"/>
                  </a:cubicBezTo>
                  <a:cubicBezTo>
                    <a:pt x="614839" y="368141"/>
                    <a:pt x="612934" y="371951"/>
                    <a:pt x="611029" y="375761"/>
                  </a:cubicBezTo>
                  <a:cubicBezTo>
                    <a:pt x="610076" y="371951"/>
                    <a:pt x="609124" y="367189"/>
                    <a:pt x="608171" y="363379"/>
                  </a:cubicBezTo>
                  <a:cubicBezTo>
                    <a:pt x="607219" y="358616"/>
                    <a:pt x="606266" y="354806"/>
                    <a:pt x="605314" y="350996"/>
                  </a:cubicBezTo>
                  <a:cubicBezTo>
                    <a:pt x="605314" y="348139"/>
                    <a:pt x="605314" y="344329"/>
                    <a:pt x="606266" y="341471"/>
                  </a:cubicBezTo>
                  <a:close/>
                  <a:moveTo>
                    <a:pt x="606266" y="424339"/>
                  </a:moveTo>
                  <a:cubicBezTo>
                    <a:pt x="607219" y="427196"/>
                    <a:pt x="608171" y="430054"/>
                    <a:pt x="609124" y="433864"/>
                  </a:cubicBezTo>
                  <a:cubicBezTo>
                    <a:pt x="608171" y="434816"/>
                    <a:pt x="608171" y="435769"/>
                    <a:pt x="607219" y="436721"/>
                  </a:cubicBezTo>
                  <a:lnTo>
                    <a:pt x="601504" y="435769"/>
                  </a:lnTo>
                  <a:cubicBezTo>
                    <a:pt x="604361" y="432911"/>
                    <a:pt x="605314" y="428149"/>
                    <a:pt x="606266" y="424339"/>
                  </a:cubicBezTo>
                  <a:close/>
                  <a:moveTo>
                    <a:pt x="599599" y="401479"/>
                  </a:moveTo>
                  <a:cubicBezTo>
                    <a:pt x="599599" y="402431"/>
                    <a:pt x="599599" y="402431"/>
                    <a:pt x="599599" y="401479"/>
                  </a:cubicBezTo>
                  <a:cubicBezTo>
                    <a:pt x="599599" y="402431"/>
                    <a:pt x="599599" y="403384"/>
                    <a:pt x="599599" y="403384"/>
                  </a:cubicBezTo>
                  <a:cubicBezTo>
                    <a:pt x="599599" y="403384"/>
                    <a:pt x="599599" y="402431"/>
                    <a:pt x="599599" y="401479"/>
                  </a:cubicBezTo>
                  <a:close/>
                  <a:moveTo>
                    <a:pt x="587216" y="300514"/>
                  </a:moveTo>
                  <a:cubicBezTo>
                    <a:pt x="588169" y="303371"/>
                    <a:pt x="590074" y="307181"/>
                    <a:pt x="591979" y="310039"/>
                  </a:cubicBezTo>
                  <a:cubicBezTo>
                    <a:pt x="591979" y="311944"/>
                    <a:pt x="591026" y="314801"/>
                    <a:pt x="591026" y="316706"/>
                  </a:cubicBezTo>
                  <a:cubicBezTo>
                    <a:pt x="591026" y="316706"/>
                    <a:pt x="591026" y="316706"/>
                    <a:pt x="591026" y="316706"/>
                  </a:cubicBezTo>
                  <a:cubicBezTo>
                    <a:pt x="591026" y="317659"/>
                    <a:pt x="590074" y="318611"/>
                    <a:pt x="590074" y="319564"/>
                  </a:cubicBezTo>
                  <a:cubicBezTo>
                    <a:pt x="589121" y="316706"/>
                    <a:pt x="588169" y="313849"/>
                    <a:pt x="587216" y="311944"/>
                  </a:cubicBezTo>
                  <a:cubicBezTo>
                    <a:pt x="587216" y="308134"/>
                    <a:pt x="587216" y="303371"/>
                    <a:pt x="586264" y="299561"/>
                  </a:cubicBezTo>
                  <a:cubicBezTo>
                    <a:pt x="586264" y="299561"/>
                    <a:pt x="586264" y="299561"/>
                    <a:pt x="587216" y="300514"/>
                  </a:cubicBezTo>
                  <a:close/>
                  <a:moveTo>
                    <a:pt x="553879" y="257651"/>
                  </a:moveTo>
                  <a:cubicBezTo>
                    <a:pt x="554831" y="249079"/>
                    <a:pt x="554831" y="241459"/>
                    <a:pt x="555784" y="233839"/>
                  </a:cubicBezTo>
                  <a:cubicBezTo>
                    <a:pt x="556736" y="238601"/>
                    <a:pt x="557689" y="243364"/>
                    <a:pt x="558641" y="249079"/>
                  </a:cubicBezTo>
                  <a:cubicBezTo>
                    <a:pt x="557689" y="247174"/>
                    <a:pt x="556736" y="247174"/>
                    <a:pt x="556736" y="247174"/>
                  </a:cubicBezTo>
                  <a:cubicBezTo>
                    <a:pt x="556736" y="247174"/>
                    <a:pt x="557689" y="248126"/>
                    <a:pt x="558641" y="250984"/>
                  </a:cubicBezTo>
                  <a:cubicBezTo>
                    <a:pt x="561499" y="264319"/>
                    <a:pt x="565309" y="280511"/>
                    <a:pt x="570071" y="297656"/>
                  </a:cubicBezTo>
                  <a:cubicBezTo>
                    <a:pt x="570071" y="299561"/>
                    <a:pt x="571024" y="301466"/>
                    <a:pt x="571976" y="303371"/>
                  </a:cubicBezTo>
                  <a:cubicBezTo>
                    <a:pt x="571024" y="306229"/>
                    <a:pt x="570071" y="310039"/>
                    <a:pt x="569119" y="312896"/>
                  </a:cubicBezTo>
                  <a:cubicBezTo>
                    <a:pt x="567214" y="307181"/>
                    <a:pt x="566261" y="301466"/>
                    <a:pt x="564356" y="295751"/>
                  </a:cubicBezTo>
                  <a:cubicBezTo>
                    <a:pt x="560546" y="285274"/>
                    <a:pt x="557689" y="274796"/>
                    <a:pt x="553879" y="266224"/>
                  </a:cubicBezTo>
                  <a:cubicBezTo>
                    <a:pt x="553879" y="263366"/>
                    <a:pt x="553879" y="260509"/>
                    <a:pt x="553879" y="257651"/>
                  </a:cubicBezTo>
                  <a:close/>
                  <a:moveTo>
                    <a:pt x="551974" y="295751"/>
                  </a:moveTo>
                  <a:cubicBezTo>
                    <a:pt x="551974" y="294799"/>
                    <a:pt x="551974" y="294799"/>
                    <a:pt x="551974" y="295751"/>
                  </a:cubicBezTo>
                  <a:cubicBezTo>
                    <a:pt x="551974" y="295751"/>
                    <a:pt x="552926" y="297656"/>
                    <a:pt x="552926" y="298609"/>
                  </a:cubicBezTo>
                  <a:cubicBezTo>
                    <a:pt x="554831" y="304324"/>
                    <a:pt x="555784" y="310991"/>
                    <a:pt x="556736" y="317659"/>
                  </a:cubicBezTo>
                  <a:cubicBezTo>
                    <a:pt x="556736" y="318611"/>
                    <a:pt x="556736" y="319564"/>
                    <a:pt x="557689" y="321469"/>
                  </a:cubicBezTo>
                  <a:cubicBezTo>
                    <a:pt x="557689" y="321469"/>
                    <a:pt x="557689" y="321469"/>
                    <a:pt x="557689" y="322421"/>
                  </a:cubicBezTo>
                  <a:cubicBezTo>
                    <a:pt x="557689" y="323374"/>
                    <a:pt x="557689" y="324326"/>
                    <a:pt x="557689" y="326231"/>
                  </a:cubicBezTo>
                  <a:cubicBezTo>
                    <a:pt x="555784" y="319564"/>
                    <a:pt x="553879" y="312896"/>
                    <a:pt x="552926" y="306229"/>
                  </a:cubicBezTo>
                  <a:cubicBezTo>
                    <a:pt x="551974" y="301466"/>
                    <a:pt x="551974" y="298609"/>
                    <a:pt x="551974" y="295751"/>
                  </a:cubicBezTo>
                  <a:close/>
                  <a:moveTo>
                    <a:pt x="529114" y="290036"/>
                  </a:moveTo>
                  <a:cubicBezTo>
                    <a:pt x="529114" y="290036"/>
                    <a:pt x="529114" y="290989"/>
                    <a:pt x="529114" y="290036"/>
                  </a:cubicBezTo>
                  <a:cubicBezTo>
                    <a:pt x="529114" y="290989"/>
                    <a:pt x="529114" y="290989"/>
                    <a:pt x="529114" y="290036"/>
                  </a:cubicBezTo>
                  <a:cubicBezTo>
                    <a:pt x="529114" y="290989"/>
                    <a:pt x="529114" y="290036"/>
                    <a:pt x="529114" y="290036"/>
                  </a:cubicBezTo>
                  <a:close/>
                  <a:moveTo>
                    <a:pt x="522446" y="336709"/>
                  </a:moveTo>
                  <a:cubicBezTo>
                    <a:pt x="522446" y="333851"/>
                    <a:pt x="523399" y="331946"/>
                    <a:pt x="523399" y="329089"/>
                  </a:cubicBezTo>
                  <a:cubicBezTo>
                    <a:pt x="524351" y="331946"/>
                    <a:pt x="525304" y="333851"/>
                    <a:pt x="526256" y="336709"/>
                  </a:cubicBezTo>
                  <a:cubicBezTo>
                    <a:pt x="528161" y="341471"/>
                    <a:pt x="530066" y="346234"/>
                    <a:pt x="531019" y="350996"/>
                  </a:cubicBezTo>
                  <a:cubicBezTo>
                    <a:pt x="531019" y="358616"/>
                    <a:pt x="531019" y="366236"/>
                    <a:pt x="531971" y="374809"/>
                  </a:cubicBezTo>
                  <a:cubicBezTo>
                    <a:pt x="531971" y="384334"/>
                    <a:pt x="532924" y="393859"/>
                    <a:pt x="533876" y="403384"/>
                  </a:cubicBezTo>
                  <a:cubicBezTo>
                    <a:pt x="530066" y="397669"/>
                    <a:pt x="528161" y="394811"/>
                    <a:pt x="528161" y="394811"/>
                  </a:cubicBezTo>
                  <a:cubicBezTo>
                    <a:pt x="528161" y="394811"/>
                    <a:pt x="530066" y="400526"/>
                    <a:pt x="532924" y="410051"/>
                  </a:cubicBezTo>
                  <a:cubicBezTo>
                    <a:pt x="533876" y="411956"/>
                    <a:pt x="534829" y="414814"/>
                    <a:pt x="534829" y="417671"/>
                  </a:cubicBezTo>
                  <a:cubicBezTo>
                    <a:pt x="534829" y="421481"/>
                    <a:pt x="535781" y="426244"/>
                    <a:pt x="535781" y="430054"/>
                  </a:cubicBezTo>
                  <a:lnTo>
                    <a:pt x="523399" y="428149"/>
                  </a:lnTo>
                  <a:cubicBezTo>
                    <a:pt x="523399" y="428149"/>
                    <a:pt x="522446" y="427196"/>
                    <a:pt x="522446" y="427196"/>
                  </a:cubicBezTo>
                  <a:cubicBezTo>
                    <a:pt x="522446" y="426244"/>
                    <a:pt x="522446" y="424339"/>
                    <a:pt x="522446" y="423386"/>
                  </a:cubicBezTo>
                  <a:cubicBezTo>
                    <a:pt x="525304" y="414814"/>
                    <a:pt x="527209" y="410051"/>
                    <a:pt x="527209" y="410051"/>
                  </a:cubicBezTo>
                  <a:cubicBezTo>
                    <a:pt x="527209" y="410051"/>
                    <a:pt x="525304" y="412909"/>
                    <a:pt x="522446" y="418624"/>
                  </a:cubicBezTo>
                  <a:cubicBezTo>
                    <a:pt x="522446" y="413861"/>
                    <a:pt x="521494" y="409099"/>
                    <a:pt x="521494" y="405289"/>
                  </a:cubicBezTo>
                  <a:cubicBezTo>
                    <a:pt x="520541" y="392906"/>
                    <a:pt x="518636" y="380524"/>
                    <a:pt x="517684" y="369094"/>
                  </a:cubicBezTo>
                  <a:cubicBezTo>
                    <a:pt x="519589" y="356711"/>
                    <a:pt x="520541" y="347186"/>
                    <a:pt x="522446" y="336709"/>
                  </a:cubicBezTo>
                  <a:close/>
                  <a:moveTo>
                    <a:pt x="512921" y="271939"/>
                  </a:moveTo>
                  <a:cubicBezTo>
                    <a:pt x="511969" y="276701"/>
                    <a:pt x="511016" y="281464"/>
                    <a:pt x="509111" y="287179"/>
                  </a:cubicBezTo>
                  <a:cubicBezTo>
                    <a:pt x="509111" y="287179"/>
                    <a:pt x="509111" y="287179"/>
                    <a:pt x="509111" y="288131"/>
                  </a:cubicBezTo>
                  <a:cubicBezTo>
                    <a:pt x="508159" y="284321"/>
                    <a:pt x="508159" y="279559"/>
                    <a:pt x="507206" y="275749"/>
                  </a:cubicBezTo>
                  <a:cubicBezTo>
                    <a:pt x="507206" y="270986"/>
                    <a:pt x="508159" y="267176"/>
                    <a:pt x="508159" y="262414"/>
                  </a:cubicBezTo>
                  <a:lnTo>
                    <a:pt x="509111" y="262414"/>
                  </a:lnTo>
                  <a:cubicBezTo>
                    <a:pt x="511016" y="265271"/>
                    <a:pt x="511969" y="268129"/>
                    <a:pt x="512921" y="271939"/>
                  </a:cubicBezTo>
                  <a:close/>
                  <a:moveTo>
                    <a:pt x="497681" y="207169"/>
                  </a:moveTo>
                  <a:cubicBezTo>
                    <a:pt x="500539" y="217646"/>
                    <a:pt x="503396" y="230981"/>
                    <a:pt x="506254" y="245269"/>
                  </a:cubicBezTo>
                  <a:cubicBezTo>
                    <a:pt x="507206" y="249079"/>
                    <a:pt x="508159" y="252889"/>
                    <a:pt x="509111" y="256699"/>
                  </a:cubicBezTo>
                  <a:cubicBezTo>
                    <a:pt x="508159" y="256699"/>
                    <a:pt x="507206" y="256699"/>
                    <a:pt x="506254" y="256699"/>
                  </a:cubicBezTo>
                  <a:lnTo>
                    <a:pt x="505301" y="256699"/>
                  </a:lnTo>
                  <a:cubicBezTo>
                    <a:pt x="505301" y="256699"/>
                    <a:pt x="505301" y="256699"/>
                    <a:pt x="505301" y="256699"/>
                  </a:cubicBezTo>
                  <a:cubicBezTo>
                    <a:pt x="502444" y="238601"/>
                    <a:pt x="499586" y="220504"/>
                    <a:pt x="497681" y="207169"/>
                  </a:cubicBezTo>
                  <a:cubicBezTo>
                    <a:pt x="496729" y="207169"/>
                    <a:pt x="496729" y="207169"/>
                    <a:pt x="497681" y="207169"/>
                  </a:cubicBezTo>
                  <a:close/>
                  <a:moveTo>
                    <a:pt x="487204" y="419576"/>
                  </a:moveTo>
                  <a:cubicBezTo>
                    <a:pt x="487204" y="420529"/>
                    <a:pt x="486251" y="421481"/>
                    <a:pt x="486251" y="422434"/>
                  </a:cubicBezTo>
                  <a:lnTo>
                    <a:pt x="483394" y="422434"/>
                  </a:lnTo>
                  <a:cubicBezTo>
                    <a:pt x="483394" y="421481"/>
                    <a:pt x="483394" y="419576"/>
                    <a:pt x="483394" y="418624"/>
                  </a:cubicBezTo>
                  <a:cubicBezTo>
                    <a:pt x="483394" y="412909"/>
                    <a:pt x="482441" y="407194"/>
                    <a:pt x="481489" y="401479"/>
                  </a:cubicBezTo>
                  <a:cubicBezTo>
                    <a:pt x="483394" y="407194"/>
                    <a:pt x="485299" y="413861"/>
                    <a:pt x="487204" y="419576"/>
                  </a:cubicBezTo>
                  <a:close/>
                  <a:moveTo>
                    <a:pt x="437674" y="390049"/>
                  </a:moveTo>
                  <a:cubicBezTo>
                    <a:pt x="437674" y="390049"/>
                    <a:pt x="437674" y="390049"/>
                    <a:pt x="437674" y="390049"/>
                  </a:cubicBezTo>
                  <a:cubicBezTo>
                    <a:pt x="437674" y="389096"/>
                    <a:pt x="437674" y="389096"/>
                    <a:pt x="437674" y="388144"/>
                  </a:cubicBezTo>
                  <a:cubicBezTo>
                    <a:pt x="437674" y="388144"/>
                    <a:pt x="437674" y="388144"/>
                    <a:pt x="437674" y="388144"/>
                  </a:cubicBezTo>
                  <a:cubicBezTo>
                    <a:pt x="437674" y="389096"/>
                    <a:pt x="437674" y="390049"/>
                    <a:pt x="437674" y="390049"/>
                  </a:cubicBezTo>
                  <a:cubicBezTo>
                    <a:pt x="437674" y="391001"/>
                    <a:pt x="437674" y="390049"/>
                    <a:pt x="437674" y="390049"/>
                  </a:cubicBezTo>
                  <a:close/>
                  <a:moveTo>
                    <a:pt x="448151" y="362426"/>
                  </a:moveTo>
                  <a:cubicBezTo>
                    <a:pt x="447199" y="360521"/>
                    <a:pt x="446246" y="358616"/>
                    <a:pt x="446246" y="356711"/>
                  </a:cubicBezTo>
                  <a:cubicBezTo>
                    <a:pt x="447199" y="353854"/>
                    <a:pt x="448151" y="350044"/>
                    <a:pt x="449104" y="347186"/>
                  </a:cubicBezTo>
                  <a:cubicBezTo>
                    <a:pt x="448151" y="351949"/>
                    <a:pt x="448151" y="357664"/>
                    <a:pt x="448151" y="362426"/>
                  </a:cubicBezTo>
                  <a:close/>
                  <a:moveTo>
                    <a:pt x="436721" y="227171"/>
                  </a:moveTo>
                  <a:cubicBezTo>
                    <a:pt x="437674" y="233839"/>
                    <a:pt x="439579" y="239554"/>
                    <a:pt x="440531" y="246221"/>
                  </a:cubicBezTo>
                  <a:cubicBezTo>
                    <a:pt x="438626" y="242411"/>
                    <a:pt x="436721" y="238601"/>
                    <a:pt x="434816" y="234791"/>
                  </a:cubicBezTo>
                  <a:cubicBezTo>
                    <a:pt x="435769" y="231934"/>
                    <a:pt x="435769" y="230029"/>
                    <a:pt x="436721" y="227171"/>
                  </a:cubicBezTo>
                  <a:close/>
                  <a:moveTo>
                    <a:pt x="428149" y="280511"/>
                  </a:moveTo>
                  <a:cubicBezTo>
                    <a:pt x="430054" y="270986"/>
                    <a:pt x="431006" y="262414"/>
                    <a:pt x="431959" y="253841"/>
                  </a:cubicBezTo>
                  <a:cubicBezTo>
                    <a:pt x="431959" y="255746"/>
                    <a:pt x="432911" y="256699"/>
                    <a:pt x="432911" y="258604"/>
                  </a:cubicBezTo>
                  <a:cubicBezTo>
                    <a:pt x="434816" y="266224"/>
                    <a:pt x="436721" y="274796"/>
                    <a:pt x="438626" y="284321"/>
                  </a:cubicBezTo>
                  <a:cubicBezTo>
                    <a:pt x="438626" y="286226"/>
                    <a:pt x="439579" y="288131"/>
                    <a:pt x="439579" y="290036"/>
                  </a:cubicBezTo>
                  <a:cubicBezTo>
                    <a:pt x="434816" y="284321"/>
                    <a:pt x="432911" y="281464"/>
                    <a:pt x="432911" y="281464"/>
                  </a:cubicBezTo>
                  <a:cubicBezTo>
                    <a:pt x="432911" y="281464"/>
                    <a:pt x="435769" y="287179"/>
                    <a:pt x="439579" y="295751"/>
                  </a:cubicBezTo>
                  <a:cubicBezTo>
                    <a:pt x="440531" y="296704"/>
                    <a:pt x="440531" y="298609"/>
                    <a:pt x="441484" y="299561"/>
                  </a:cubicBezTo>
                  <a:cubicBezTo>
                    <a:pt x="442436" y="303371"/>
                    <a:pt x="443389" y="308134"/>
                    <a:pt x="443389" y="312896"/>
                  </a:cubicBezTo>
                  <a:cubicBezTo>
                    <a:pt x="444341" y="317659"/>
                    <a:pt x="445294" y="323374"/>
                    <a:pt x="446246" y="328136"/>
                  </a:cubicBezTo>
                  <a:cubicBezTo>
                    <a:pt x="446246" y="330994"/>
                    <a:pt x="447199" y="332899"/>
                    <a:pt x="447199" y="335756"/>
                  </a:cubicBezTo>
                  <a:cubicBezTo>
                    <a:pt x="446246" y="337661"/>
                    <a:pt x="445294" y="339566"/>
                    <a:pt x="445294" y="341471"/>
                  </a:cubicBezTo>
                  <a:cubicBezTo>
                    <a:pt x="444341" y="344329"/>
                    <a:pt x="443389" y="346234"/>
                    <a:pt x="442436" y="349091"/>
                  </a:cubicBezTo>
                  <a:cubicBezTo>
                    <a:pt x="439579" y="342424"/>
                    <a:pt x="437674" y="336709"/>
                    <a:pt x="434816" y="331946"/>
                  </a:cubicBezTo>
                  <a:cubicBezTo>
                    <a:pt x="434816" y="322421"/>
                    <a:pt x="434816" y="317659"/>
                    <a:pt x="434816" y="317659"/>
                  </a:cubicBezTo>
                  <a:cubicBezTo>
                    <a:pt x="434816" y="317659"/>
                    <a:pt x="433864" y="321469"/>
                    <a:pt x="432911" y="328136"/>
                  </a:cubicBezTo>
                  <a:cubicBezTo>
                    <a:pt x="430054" y="319564"/>
                    <a:pt x="426244" y="310991"/>
                    <a:pt x="423386" y="303371"/>
                  </a:cubicBezTo>
                  <a:cubicBezTo>
                    <a:pt x="426244" y="295751"/>
                    <a:pt x="427196" y="288131"/>
                    <a:pt x="428149" y="280511"/>
                  </a:cubicBezTo>
                  <a:close/>
                  <a:moveTo>
                    <a:pt x="418624" y="345281"/>
                  </a:moveTo>
                  <a:cubicBezTo>
                    <a:pt x="419576" y="337661"/>
                    <a:pt x="420529" y="330041"/>
                    <a:pt x="422434" y="322421"/>
                  </a:cubicBezTo>
                  <a:cubicBezTo>
                    <a:pt x="424339" y="328136"/>
                    <a:pt x="425291" y="333851"/>
                    <a:pt x="427196" y="339566"/>
                  </a:cubicBezTo>
                  <a:cubicBezTo>
                    <a:pt x="428149" y="343376"/>
                    <a:pt x="429101" y="347186"/>
                    <a:pt x="430054" y="350996"/>
                  </a:cubicBezTo>
                  <a:cubicBezTo>
                    <a:pt x="429101" y="354806"/>
                    <a:pt x="429101" y="358616"/>
                    <a:pt x="428149" y="362426"/>
                  </a:cubicBezTo>
                  <a:cubicBezTo>
                    <a:pt x="427196" y="360521"/>
                    <a:pt x="426244" y="358616"/>
                    <a:pt x="426244" y="356711"/>
                  </a:cubicBezTo>
                  <a:cubicBezTo>
                    <a:pt x="423386" y="349091"/>
                    <a:pt x="420529" y="344329"/>
                    <a:pt x="420529" y="344329"/>
                  </a:cubicBezTo>
                  <a:cubicBezTo>
                    <a:pt x="420529" y="344329"/>
                    <a:pt x="420529" y="349091"/>
                    <a:pt x="422434" y="357664"/>
                  </a:cubicBezTo>
                  <a:cubicBezTo>
                    <a:pt x="423386" y="361474"/>
                    <a:pt x="423386" y="367189"/>
                    <a:pt x="424339" y="372904"/>
                  </a:cubicBezTo>
                  <a:cubicBezTo>
                    <a:pt x="424339" y="374809"/>
                    <a:pt x="425291" y="375761"/>
                    <a:pt x="425291" y="377666"/>
                  </a:cubicBezTo>
                  <a:cubicBezTo>
                    <a:pt x="425291" y="376714"/>
                    <a:pt x="424339" y="375761"/>
                    <a:pt x="424339" y="375761"/>
                  </a:cubicBezTo>
                  <a:cubicBezTo>
                    <a:pt x="424339" y="375761"/>
                    <a:pt x="424339" y="374809"/>
                    <a:pt x="424339" y="374809"/>
                  </a:cubicBezTo>
                  <a:cubicBezTo>
                    <a:pt x="422434" y="367189"/>
                    <a:pt x="420529" y="359569"/>
                    <a:pt x="418624" y="351949"/>
                  </a:cubicBezTo>
                  <a:cubicBezTo>
                    <a:pt x="417671" y="349091"/>
                    <a:pt x="418624" y="347186"/>
                    <a:pt x="418624" y="345281"/>
                  </a:cubicBezTo>
                  <a:close/>
                  <a:moveTo>
                    <a:pt x="406241" y="261461"/>
                  </a:moveTo>
                  <a:cubicBezTo>
                    <a:pt x="408146" y="267176"/>
                    <a:pt x="410051" y="275749"/>
                    <a:pt x="411956" y="285274"/>
                  </a:cubicBezTo>
                  <a:cubicBezTo>
                    <a:pt x="410051" y="292894"/>
                    <a:pt x="409099" y="301466"/>
                    <a:pt x="407194" y="310039"/>
                  </a:cubicBezTo>
                  <a:cubicBezTo>
                    <a:pt x="406241" y="307181"/>
                    <a:pt x="406241" y="304324"/>
                    <a:pt x="405289" y="302419"/>
                  </a:cubicBezTo>
                  <a:cubicBezTo>
                    <a:pt x="406241" y="288131"/>
                    <a:pt x="406241" y="273844"/>
                    <a:pt x="406241" y="261461"/>
                  </a:cubicBezTo>
                  <a:close/>
                  <a:moveTo>
                    <a:pt x="382429" y="290036"/>
                  </a:moveTo>
                  <a:cubicBezTo>
                    <a:pt x="382429" y="290989"/>
                    <a:pt x="382429" y="292894"/>
                    <a:pt x="381476" y="293846"/>
                  </a:cubicBezTo>
                  <a:cubicBezTo>
                    <a:pt x="381476" y="290989"/>
                    <a:pt x="381476" y="288131"/>
                    <a:pt x="381476" y="285274"/>
                  </a:cubicBezTo>
                  <a:cubicBezTo>
                    <a:pt x="381476" y="287179"/>
                    <a:pt x="382429" y="288131"/>
                    <a:pt x="382429" y="290036"/>
                  </a:cubicBezTo>
                  <a:close/>
                  <a:moveTo>
                    <a:pt x="361474" y="394811"/>
                  </a:moveTo>
                  <a:cubicBezTo>
                    <a:pt x="361474" y="397669"/>
                    <a:pt x="361474" y="401479"/>
                    <a:pt x="361474" y="404336"/>
                  </a:cubicBezTo>
                  <a:cubicBezTo>
                    <a:pt x="361474" y="405289"/>
                    <a:pt x="361474" y="406241"/>
                    <a:pt x="361474" y="407194"/>
                  </a:cubicBezTo>
                  <a:cubicBezTo>
                    <a:pt x="359569" y="399574"/>
                    <a:pt x="357664" y="391001"/>
                    <a:pt x="354806" y="383381"/>
                  </a:cubicBezTo>
                  <a:cubicBezTo>
                    <a:pt x="354806" y="383381"/>
                    <a:pt x="354806" y="383381"/>
                    <a:pt x="354806" y="382429"/>
                  </a:cubicBezTo>
                  <a:cubicBezTo>
                    <a:pt x="353854" y="379571"/>
                    <a:pt x="353854" y="376714"/>
                    <a:pt x="352901" y="373856"/>
                  </a:cubicBezTo>
                  <a:cubicBezTo>
                    <a:pt x="355759" y="381476"/>
                    <a:pt x="358616" y="388144"/>
                    <a:pt x="361474" y="394811"/>
                  </a:cubicBezTo>
                  <a:close/>
                  <a:moveTo>
                    <a:pt x="347186" y="307181"/>
                  </a:moveTo>
                  <a:cubicBezTo>
                    <a:pt x="348139" y="309086"/>
                    <a:pt x="348139" y="310039"/>
                    <a:pt x="349091" y="311944"/>
                  </a:cubicBezTo>
                  <a:cubicBezTo>
                    <a:pt x="348139" y="310991"/>
                    <a:pt x="348139" y="310039"/>
                    <a:pt x="347186" y="309086"/>
                  </a:cubicBezTo>
                  <a:cubicBezTo>
                    <a:pt x="346234" y="309086"/>
                    <a:pt x="346234" y="308134"/>
                    <a:pt x="347186" y="307181"/>
                  </a:cubicBezTo>
                  <a:close/>
                  <a:moveTo>
                    <a:pt x="347186" y="429101"/>
                  </a:moveTo>
                  <a:cubicBezTo>
                    <a:pt x="347186" y="430054"/>
                    <a:pt x="348139" y="431959"/>
                    <a:pt x="348139" y="432911"/>
                  </a:cubicBezTo>
                  <a:lnTo>
                    <a:pt x="346234" y="432911"/>
                  </a:lnTo>
                  <a:cubicBezTo>
                    <a:pt x="346234" y="431006"/>
                    <a:pt x="346234" y="430054"/>
                    <a:pt x="347186" y="429101"/>
                  </a:cubicBezTo>
                  <a:close/>
                  <a:moveTo>
                    <a:pt x="310991" y="439579"/>
                  </a:moveTo>
                  <a:cubicBezTo>
                    <a:pt x="310991" y="434816"/>
                    <a:pt x="310991" y="429101"/>
                    <a:pt x="311944" y="424339"/>
                  </a:cubicBezTo>
                  <a:cubicBezTo>
                    <a:pt x="313849" y="429101"/>
                    <a:pt x="315754" y="433864"/>
                    <a:pt x="317659" y="438626"/>
                  </a:cubicBezTo>
                  <a:lnTo>
                    <a:pt x="310991" y="439579"/>
                  </a:lnTo>
                  <a:close/>
                  <a:moveTo>
                    <a:pt x="302419" y="230981"/>
                  </a:moveTo>
                  <a:cubicBezTo>
                    <a:pt x="303371" y="232886"/>
                    <a:pt x="303371" y="235744"/>
                    <a:pt x="304324" y="237649"/>
                  </a:cubicBezTo>
                  <a:cubicBezTo>
                    <a:pt x="305276" y="242411"/>
                    <a:pt x="306229" y="247174"/>
                    <a:pt x="307181" y="252889"/>
                  </a:cubicBezTo>
                  <a:cubicBezTo>
                    <a:pt x="303371" y="247174"/>
                    <a:pt x="300514" y="244316"/>
                    <a:pt x="300514" y="244316"/>
                  </a:cubicBezTo>
                  <a:cubicBezTo>
                    <a:pt x="300514" y="238601"/>
                    <a:pt x="301466" y="234791"/>
                    <a:pt x="302419" y="230981"/>
                  </a:cubicBezTo>
                  <a:close/>
                  <a:moveTo>
                    <a:pt x="295751" y="269081"/>
                  </a:moveTo>
                  <a:cubicBezTo>
                    <a:pt x="296704" y="264319"/>
                    <a:pt x="297656" y="262414"/>
                    <a:pt x="297656" y="262414"/>
                  </a:cubicBezTo>
                  <a:cubicBezTo>
                    <a:pt x="297656" y="262414"/>
                    <a:pt x="296704" y="263366"/>
                    <a:pt x="295751" y="265271"/>
                  </a:cubicBezTo>
                  <a:cubicBezTo>
                    <a:pt x="296704" y="260509"/>
                    <a:pt x="296704" y="256699"/>
                    <a:pt x="297656" y="251936"/>
                  </a:cubicBezTo>
                  <a:cubicBezTo>
                    <a:pt x="298609" y="249079"/>
                    <a:pt x="298609" y="246221"/>
                    <a:pt x="299561" y="243364"/>
                  </a:cubicBezTo>
                  <a:cubicBezTo>
                    <a:pt x="299561" y="244316"/>
                    <a:pt x="300514" y="245269"/>
                    <a:pt x="301466" y="247174"/>
                  </a:cubicBezTo>
                  <a:cubicBezTo>
                    <a:pt x="304324" y="254794"/>
                    <a:pt x="307181" y="262414"/>
                    <a:pt x="310039" y="270986"/>
                  </a:cubicBezTo>
                  <a:cubicBezTo>
                    <a:pt x="312896" y="285274"/>
                    <a:pt x="315754" y="298609"/>
                    <a:pt x="319564" y="312896"/>
                  </a:cubicBezTo>
                  <a:cubicBezTo>
                    <a:pt x="322421" y="328136"/>
                    <a:pt x="326231" y="343376"/>
                    <a:pt x="330041" y="358616"/>
                  </a:cubicBezTo>
                  <a:cubicBezTo>
                    <a:pt x="330041" y="359569"/>
                    <a:pt x="330041" y="360521"/>
                    <a:pt x="330041" y="362426"/>
                  </a:cubicBezTo>
                  <a:cubicBezTo>
                    <a:pt x="329089" y="375761"/>
                    <a:pt x="328136" y="390049"/>
                    <a:pt x="327184" y="404336"/>
                  </a:cubicBezTo>
                  <a:cubicBezTo>
                    <a:pt x="327184" y="404336"/>
                    <a:pt x="327184" y="404336"/>
                    <a:pt x="327184" y="404336"/>
                  </a:cubicBezTo>
                  <a:cubicBezTo>
                    <a:pt x="325279" y="400526"/>
                    <a:pt x="323374" y="396716"/>
                    <a:pt x="321469" y="392906"/>
                  </a:cubicBezTo>
                  <a:cubicBezTo>
                    <a:pt x="317659" y="382429"/>
                    <a:pt x="313849" y="371951"/>
                    <a:pt x="310991" y="362426"/>
                  </a:cubicBezTo>
                  <a:cubicBezTo>
                    <a:pt x="306229" y="347186"/>
                    <a:pt x="301466" y="332899"/>
                    <a:pt x="296704" y="318611"/>
                  </a:cubicBezTo>
                  <a:cubicBezTo>
                    <a:pt x="294799" y="312896"/>
                    <a:pt x="293846" y="308134"/>
                    <a:pt x="291941" y="302419"/>
                  </a:cubicBezTo>
                  <a:cubicBezTo>
                    <a:pt x="292894" y="290989"/>
                    <a:pt x="294799" y="279559"/>
                    <a:pt x="295751" y="269081"/>
                  </a:cubicBezTo>
                  <a:close/>
                  <a:moveTo>
                    <a:pt x="283369" y="378619"/>
                  </a:moveTo>
                  <a:cubicBezTo>
                    <a:pt x="283369" y="373856"/>
                    <a:pt x="284321" y="369094"/>
                    <a:pt x="284321" y="365284"/>
                  </a:cubicBezTo>
                  <a:cubicBezTo>
                    <a:pt x="284321" y="364331"/>
                    <a:pt x="284321" y="363379"/>
                    <a:pt x="285274" y="363379"/>
                  </a:cubicBezTo>
                  <a:cubicBezTo>
                    <a:pt x="289084" y="370999"/>
                    <a:pt x="291941" y="378619"/>
                    <a:pt x="295751" y="387191"/>
                  </a:cubicBezTo>
                  <a:cubicBezTo>
                    <a:pt x="297656" y="391954"/>
                    <a:pt x="300514" y="395764"/>
                    <a:pt x="302419" y="400526"/>
                  </a:cubicBezTo>
                  <a:cubicBezTo>
                    <a:pt x="302419" y="401479"/>
                    <a:pt x="303371" y="403384"/>
                    <a:pt x="303371" y="404336"/>
                  </a:cubicBezTo>
                  <a:cubicBezTo>
                    <a:pt x="302419" y="407194"/>
                    <a:pt x="302419" y="410051"/>
                    <a:pt x="301466" y="412909"/>
                  </a:cubicBezTo>
                  <a:cubicBezTo>
                    <a:pt x="299561" y="422434"/>
                    <a:pt x="297656" y="432911"/>
                    <a:pt x="295751" y="442436"/>
                  </a:cubicBezTo>
                  <a:lnTo>
                    <a:pt x="283369" y="444341"/>
                  </a:lnTo>
                  <a:cubicBezTo>
                    <a:pt x="282416" y="441484"/>
                    <a:pt x="282416" y="438626"/>
                    <a:pt x="281464" y="435769"/>
                  </a:cubicBezTo>
                  <a:cubicBezTo>
                    <a:pt x="281464" y="425291"/>
                    <a:pt x="281464" y="415766"/>
                    <a:pt x="281464" y="407194"/>
                  </a:cubicBezTo>
                  <a:cubicBezTo>
                    <a:pt x="281464" y="397669"/>
                    <a:pt x="282416" y="388144"/>
                    <a:pt x="283369" y="378619"/>
                  </a:cubicBezTo>
                  <a:close/>
                  <a:moveTo>
                    <a:pt x="237649" y="415766"/>
                  </a:moveTo>
                  <a:cubicBezTo>
                    <a:pt x="234791" y="409099"/>
                    <a:pt x="230981" y="402431"/>
                    <a:pt x="228124" y="395764"/>
                  </a:cubicBezTo>
                  <a:cubicBezTo>
                    <a:pt x="228124" y="391954"/>
                    <a:pt x="229076" y="387191"/>
                    <a:pt x="229076" y="383381"/>
                  </a:cubicBezTo>
                  <a:cubicBezTo>
                    <a:pt x="232886" y="391001"/>
                    <a:pt x="235744" y="398621"/>
                    <a:pt x="239554" y="406241"/>
                  </a:cubicBezTo>
                  <a:cubicBezTo>
                    <a:pt x="239554" y="410051"/>
                    <a:pt x="238601" y="412909"/>
                    <a:pt x="237649" y="415766"/>
                  </a:cubicBezTo>
                  <a:close/>
                  <a:moveTo>
                    <a:pt x="247174" y="431006"/>
                  </a:moveTo>
                  <a:cubicBezTo>
                    <a:pt x="247174" y="429101"/>
                    <a:pt x="247174" y="427196"/>
                    <a:pt x="248126" y="425291"/>
                  </a:cubicBezTo>
                  <a:cubicBezTo>
                    <a:pt x="248126" y="425291"/>
                    <a:pt x="248126" y="425291"/>
                    <a:pt x="248126" y="425291"/>
                  </a:cubicBezTo>
                  <a:cubicBezTo>
                    <a:pt x="248126" y="427196"/>
                    <a:pt x="247174" y="429101"/>
                    <a:pt x="247174" y="431006"/>
                  </a:cubicBezTo>
                  <a:close/>
                  <a:moveTo>
                    <a:pt x="264319" y="204311"/>
                  </a:moveTo>
                  <a:cubicBezTo>
                    <a:pt x="267176" y="195739"/>
                    <a:pt x="269081" y="189071"/>
                    <a:pt x="270986" y="185261"/>
                  </a:cubicBezTo>
                  <a:cubicBezTo>
                    <a:pt x="269081" y="194786"/>
                    <a:pt x="268129" y="204311"/>
                    <a:pt x="267176" y="214789"/>
                  </a:cubicBezTo>
                  <a:cubicBezTo>
                    <a:pt x="267176" y="212884"/>
                    <a:pt x="266224" y="211931"/>
                    <a:pt x="266224" y="210026"/>
                  </a:cubicBezTo>
                  <a:cubicBezTo>
                    <a:pt x="264319" y="207169"/>
                    <a:pt x="264319" y="206216"/>
                    <a:pt x="264319" y="204311"/>
                  </a:cubicBezTo>
                  <a:cubicBezTo>
                    <a:pt x="264319" y="204311"/>
                    <a:pt x="264319" y="204311"/>
                    <a:pt x="264319" y="204311"/>
                  </a:cubicBezTo>
                  <a:close/>
                  <a:moveTo>
                    <a:pt x="254794" y="235744"/>
                  </a:moveTo>
                  <a:cubicBezTo>
                    <a:pt x="256699" y="230029"/>
                    <a:pt x="257651" y="225266"/>
                    <a:pt x="258604" y="220504"/>
                  </a:cubicBezTo>
                  <a:cubicBezTo>
                    <a:pt x="259556" y="227171"/>
                    <a:pt x="260509" y="234791"/>
                    <a:pt x="261461" y="242411"/>
                  </a:cubicBezTo>
                  <a:cubicBezTo>
                    <a:pt x="261461" y="243364"/>
                    <a:pt x="261461" y="244316"/>
                    <a:pt x="262414" y="245269"/>
                  </a:cubicBezTo>
                  <a:cubicBezTo>
                    <a:pt x="261461" y="253841"/>
                    <a:pt x="260509" y="261461"/>
                    <a:pt x="260509" y="270034"/>
                  </a:cubicBezTo>
                  <a:cubicBezTo>
                    <a:pt x="259556" y="268129"/>
                    <a:pt x="258604" y="266224"/>
                    <a:pt x="257651" y="264319"/>
                  </a:cubicBezTo>
                  <a:cubicBezTo>
                    <a:pt x="254794" y="258604"/>
                    <a:pt x="252889" y="253841"/>
                    <a:pt x="250984" y="249079"/>
                  </a:cubicBezTo>
                  <a:cubicBezTo>
                    <a:pt x="252889" y="245269"/>
                    <a:pt x="253841" y="239554"/>
                    <a:pt x="254794" y="235744"/>
                  </a:cubicBezTo>
                  <a:close/>
                  <a:moveTo>
                    <a:pt x="245269" y="276701"/>
                  </a:moveTo>
                  <a:cubicBezTo>
                    <a:pt x="246221" y="270986"/>
                    <a:pt x="248126" y="265271"/>
                    <a:pt x="249079" y="260509"/>
                  </a:cubicBezTo>
                  <a:cubicBezTo>
                    <a:pt x="250031" y="262414"/>
                    <a:pt x="250031" y="265271"/>
                    <a:pt x="250984" y="268129"/>
                  </a:cubicBezTo>
                  <a:cubicBezTo>
                    <a:pt x="252889" y="275749"/>
                    <a:pt x="255746" y="284321"/>
                    <a:pt x="258604" y="292894"/>
                  </a:cubicBezTo>
                  <a:cubicBezTo>
                    <a:pt x="258604" y="293846"/>
                    <a:pt x="259556" y="294799"/>
                    <a:pt x="259556" y="294799"/>
                  </a:cubicBezTo>
                  <a:cubicBezTo>
                    <a:pt x="259556" y="295751"/>
                    <a:pt x="259556" y="296704"/>
                    <a:pt x="259556" y="297656"/>
                  </a:cubicBezTo>
                  <a:cubicBezTo>
                    <a:pt x="258604" y="310039"/>
                    <a:pt x="258604" y="321469"/>
                    <a:pt x="257651" y="333851"/>
                  </a:cubicBezTo>
                  <a:cubicBezTo>
                    <a:pt x="255746" y="325279"/>
                    <a:pt x="253841" y="317659"/>
                    <a:pt x="250984" y="309086"/>
                  </a:cubicBezTo>
                  <a:cubicBezTo>
                    <a:pt x="252889" y="304324"/>
                    <a:pt x="253841" y="301466"/>
                    <a:pt x="253841" y="301466"/>
                  </a:cubicBezTo>
                  <a:cubicBezTo>
                    <a:pt x="253841" y="301466"/>
                    <a:pt x="252889" y="303371"/>
                    <a:pt x="250984" y="307181"/>
                  </a:cubicBezTo>
                  <a:cubicBezTo>
                    <a:pt x="249079" y="299561"/>
                    <a:pt x="247174" y="291941"/>
                    <a:pt x="244316" y="284321"/>
                  </a:cubicBezTo>
                  <a:cubicBezTo>
                    <a:pt x="244316" y="281464"/>
                    <a:pt x="245269" y="279559"/>
                    <a:pt x="245269" y="276701"/>
                  </a:cubicBezTo>
                  <a:close/>
                  <a:moveTo>
                    <a:pt x="236696" y="325279"/>
                  </a:moveTo>
                  <a:cubicBezTo>
                    <a:pt x="236696" y="324326"/>
                    <a:pt x="236696" y="323374"/>
                    <a:pt x="237649" y="322421"/>
                  </a:cubicBezTo>
                  <a:cubicBezTo>
                    <a:pt x="237649" y="324326"/>
                    <a:pt x="238601" y="327184"/>
                    <a:pt x="238601" y="329089"/>
                  </a:cubicBezTo>
                  <a:cubicBezTo>
                    <a:pt x="237649" y="330994"/>
                    <a:pt x="236696" y="332899"/>
                    <a:pt x="235744" y="335756"/>
                  </a:cubicBezTo>
                  <a:cubicBezTo>
                    <a:pt x="235744" y="332899"/>
                    <a:pt x="235744" y="329089"/>
                    <a:pt x="236696" y="325279"/>
                  </a:cubicBezTo>
                  <a:close/>
                  <a:moveTo>
                    <a:pt x="234791" y="353854"/>
                  </a:moveTo>
                  <a:cubicBezTo>
                    <a:pt x="236696" y="348139"/>
                    <a:pt x="238601" y="342424"/>
                    <a:pt x="240506" y="337661"/>
                  </a:cubicBezTo>
                  <a:cubicBezTo>
                    <a:pt x="240506" y="339566"/>
                    <a:pt x="241459" y="340519"/>
                    <a:pt x="241459" y="342424"/>
                  </a:cubicBezTo>
                  <a:cubicBezTo>
                    <a:pt x="243364" y="352901"/>
                    <a:pt x="246221" y="362426"/>
                    <a:pt x="248126" y="372904"/>
                  </a:cubicBezTo>
                  <a:cubicBezTo>
                    <a:pt x="248126" y="374809"/>
                    <a:pt x="247174" y="376714"/>
                    <a:pt x="247174" y="378619"/>
                  </a:cubicBezTo>
                  <a:cubicBezTo>
                    <a:pt x="245269" y="375761"/>
                    <a:pt x="243364" y="371951"/>
                    <a:pt x="242411" y="369094"/>
                  </a:cubicBezTo>
                  <a:cubicBezTo>
                    <a:pt x="239554" y="364331"/>
                    <a:pt x="236696" y="359569"/>
                    <a:pt x="234791" y="353854"/>
                  </a:cubicBezTo>
                  <a:cubicBezTo>
                    <a:pt x="234791" y="354806"/>
                    <a:pt x="234791" y="353854"/>
                    <a:pt x="234791" y="353854"/>
                  </a:cubicBezTo>
                  <a:close/>
                  <a:moveTo>
                    <a:pt x="222409" y="297656"/>
                  </a:moveTo>
                  <a:cubicBezTo>
                    <a:pt x="224314" y="290036"/>
                    <a:pt x="226219" y="283369"/>
                    <a:pt x="227171" y="278606"/>
                  </a:cubicBezTo>
                  <a:cubicBezTo>
                    <a:pt x="227171" y="280511"/>
                    <a:pt x="228124" y="282416"/>
                    <a:pt x="228124" y="284321"/>
                  </a:cubicBezTo>
                  <a:cubicBezTo>
                    <a:pt x="229076" y="286226"/>
                    <a:pt x="229076" y="288131"/>
                    <a:pt x="230029" y="290989"/>
                  </a:cubicBezTo>
                  <a:cubicBezTo>
                    <a:pt x="227171" y="301466"/>
                    <a:pt x="225266" y="312896"/>
                    <a:pt x="222409" y="324326"/>
                  </a:cubicBezTo>
                  <a:cubicBezTo>
                    <a:pt x="222409" y="326231"/>
                    <a:pt x="221456" y="328136"/>
                    <a:pt x="221456" y="330041"/>
                  </a:cubicBezTo>
                  <a:cubicBezTo>
                    <a:pt x="221456" y="330041"/>
                    <a:pt x="221456" y="329089"/>
                    <a:pt x="220504" y="329089"/>
                  </a:cubicBezTo>
                  <a:cubicBezTo>
                    <a:pt x="219551" y="323374"/>
                    <a:pt x="219551" y="317659"/>
                    <a:pt x="218599" y="312896"/>
                  </a:cubicBezTo>
                  <a:cubicBezTo>
                    <a:pt x="220504" y="306229"/>
                    <a:pt x="221456" y="301466"/>
                    <a:pt x="222409" y="297656"/>
                  </a:cubicBezTo>
                  <a:close/>
                  <a:moveTo>
                    <a:pt x="169069" y="411956"/>
                  </a:moveTo>
                  <a:cubicBezTo>
                    <a:pt x="169069" y="411956"/>
                    <a:pt x="169069" y="412909"/>
                    <a:pt x="169069" y="412909"/>
                  </a:cubicBezTo>
                  <a:cubicBezTo>
                    <a:pt x="168116" y="407194"/>
                    <a:pt x="167164" y="401479"/>
                    <a:pt x="165259" y="396716"/>
                  </a:cubicBezTo>
                  <a:cubicBezTo>
                    <a:pt x="165259" y="389096"/>
                    <a:pt x="164306" y="382429"/>
                    <a:pt x="164306" y="375761"/>
                  </a:cubicBezTo>
                  <a:cubicBezTo>
                    <a:pt x="163354" y="365284"/>
                    <a:pt x="162401" y="354806"/>
                    <a:pt x="161449" y="345281"/>
                  </a:cubicBezTo>
                  <a:cubicBezTo>
                    <a:pt x="160496" y="336709"/>
                    <a:pt x="159544" y="329089"/>
                    <a:pt x="158591" y="321469"/>
                  </a:cubicBezTo>
                  <a:cubicBezTo>
                    <a:pt x="158591" y="322421"/>
                    <a:pt x="159544" y="322421"/>
                    <a:pt x="159544" y="323374"/>
                  </a:cubicBezTo>
                  <a:cubicBezTo>
                    <a:pt x="160496" y="325279"/>
                    <a:pt x="161449" y="326231"/>
                    <a:pt x="162401" y="328136"/>
                  </a:cubicBezTo>
                  <a:cubicBezTo>
                    <a:pt x="163354" y="342424"/>
                    <a:pt x="165259" y="359569"/>
                    <a:pt x="167164" y="376714"/>
                  </a:cubicBezTo>
                  <a:cubicBezTo>
                    <a:pt x="168116" y="385286"/>
                    <a:pt x="169069" y="393859"/>
                    <a:pt x="170021" y="402431"/>
                  </a:cubicBezTo>
                  <a:cubicBezTo>
                    <a:pt x="170021" y="405289"/>
                    <a:pt x="169069" y="408146"/>
                    <a:pt x="169069" y="411956"/>
                  </a:cubicBezTo>
                  <a:close/>
                  <a:moveTo>
                    <a:pt x="209074" y="350044"/>
                  </a:moveTo>
                  <a:cubicBezTo>
                    <a:pt x="209074" y="352901"/>
                    <a:pt x="209074" y="356711"/>
                    <a:pt x="209074" y="359569"/>
                  </a:cubicBezTo>
                  <a:cubicBezTo>
                    <a:pt x="208121" y="358616"/>
                    <a:pt x="208121" y="357664"/>
                    <a:pt x="207169" y="356711"/>
                  </a:cubicBezTo>
                  <a:cubicBezTo>
                    <a:pt x="208121" y="354806"/>
                    <a:pt x="209074" y="351949"/>
                    <a:pt x="209074" y="350044"/>
                  </a:cubicBezTo>
                  <a:close/>
                  <a:moveTo>
                    <a:pt x="170974" y="259556"/>
                  </a:moveTo>
                  <a:cubicBezTo>
                    <a:pt x="173831" y="264319"/>
                    <a:pt x="175736" y="270034"/>
                    <a:pt x="178594" y="274796"/>
                  </a:cubicBezTo>
                  <a:cubicBezTo>
                    <a:pt x="181451" y="280511"/>
                    <a:pt x="184309" y="286226"/>
                    <a:pt x="187166" y="291941"/>
                  </a:cubicBezTo>
                  <a:cubicBezTo>
                    <a:pt x="192881" y="304324"/>
                    <a:pt x="198596" y="316706"/>
                    <a:pt x="205264" y="330041"/>
                  </a:cubicBezTo>
                  <a:cubicBezTo>
                    <a:pt x="203359" y="333851"/>
                    <a:pt x="202406" y="338614"/>
                    <a:pt x="200501" y="343376"/>
                  </a:cubicBezTo>
                  <a:cubicBezTo>
                    <a:pt x="200501" y="343376"/>
                    <a:pt x="200501" y="342424"/>
                    <a:pt x="199549" y="342424"/>
                  </a:cubicBezTo>
                  <a:cubicBezTo>
                    <a:pt x="193834" y="330994"/>
                    <a:pt x="187166" y="320516"/>
                    <a:pt x="180499" y="310039"/>
                  </a:cubicBezTo>
                  <a:cubicBezTo>
                    <a:pt x="178594" y="301466"/>
                    <a:pt x="176689" y="296704"/>
                    <a:pt x="176689" y="296704"/>
                  </a:cubicBezTo>
                  <a:cubicBezTo>
                    <a:pt x="176689" y="296704"/>
                    <a:pt x="176689" y="299561"/>
                    <a:pt x="176689" y="305276"/>
                  </a:cubicBezTo>
                  <a:cubicBezTo>
                    <a:pt x="175736" y="303371"/>
                    <a:pt x="174784" y="301466"/>
                    <a:pt x="172879" y="299561"/>
                  </a:cubicBezTo>
                  <a:cubicBezTo>
                    <a:pt x="172879" y="299561"/>
                    <a:pt x="171926" y="298609"/>
                    <a:pt x="171926" y="298609"/>
                  </a:cubicBezTo>
                  <a:cubicBezTo>
                    <a:pt x="170974" y="291941"/>
                    <a:pt x="169069" y="285274"/>
                    <a:pt x="168116" y="279559"/>
                  </a:cubicBezTo>
                  <a:cubicBezTo>
                    <a:pt x="164306" y="262414"/>
                    <a:pt x="161449" y="247174"/>
                    <a:pt x="158591" y="235744"/>
                  </a:cubicBezTo>
                  <a:cubicBezTo>
                    <a:pt x="163354" y="243364"/>
                    <a:pt x="167164" y="250984"/>
                    <a:pt x="170974" y="259556"/>
                  </a:cubicBezTo>
                  <a:close/>
                  <a:moveTo>
                    <a:pt x="161449" y="307181"/>
                  </a:moveTo>
                  <a:cubicBezTo>
                    <a:pt x="159544" y="305276"/>
                    <a:pt x="157639" y="303371"/>
                    <a:pt x="156686" y="301466"/>
                  </a:cubicBezTo>
                  <a:cubicBezTo>
                    <a:pt x="156686" y="300514"/>
                    <a:pt x="156686" y="298609"/>
                    <a:pt x="155734" y="297656"/>
                  </a:cubicBezTo>
                  <a:cubicBezTo>
                    <a:pt x="156686" y="300514"/>
                    <a:pt x="158591" y="304324"/>
                    <a:pt x="161449" y="307181"/>
                  </a:cubicBezTo>
                  <a:close/>
                  <a:moveTo>
                    <a:pt x="130969" y="280511"/>
                  </a:moveTo>
                  <a:cubicBezTo>
                    <a:pt x="131921" y="281464"/>
                    <a:pt x="132874" y="282416"/>
                    <a:pt x="133826" y="284321"/>
                  </a:cubicBezTo>
                  <a:cubicBezTo>
                    <a:pt x="137636" y="289084"/>
                    <a:pt x="141446" y="294799"/>
                    <a:pt x="145256" y="301466"/>
                  </a:cubicBezTo>
                  <a:cubicBezTo>
                    <a:pt x="147161" y="304324"/>
                    <a:pt x="149066" y="307181"/>
                    <a:pt x="150971" y="310039"/>
                  </a:cubicBezTo>
                  <a:cubicBezTo>
                    <a:pt x="150971" y="318611"/>
                    <a:pt x="150019" y="329089"/>
                    <a:pt x="150019" y="341471"/>
                  </a:cubicBezTo>
                  <a:cubicBezTo>
                    <a:pt x="150019" y="341471"/>
                    <a:pt x="150019" y="340519"/>
                    <a:pt x="149066" y="339566"/>
                  </a:cubicBezTo>
                  <a:cubicBezTo>
                    <a:pt x="148114" y="335756"/>
                    <a:pt x="146209" y="331946"/>
                    <a:pt x="145256" y="328136"/>
                  </a:cubicBezTo>
                  <a:cubicBezTo>
                    <a:pt x="144304" y="324326"/>
                    <a:pt x="142399" y="321469"/>
                    <a:pt x="140494" y="317659"/>
                  </a:cubicBezTo>
                  <a:cubicBezTo>
                    <a:pt x="137636" y="310991"/>
                    <a:pt x="134779" y="306229"/>
                    <a:pt x="132874" y="301466"/>
                  </a:cubicBezTo>
                  <a:cubicBezTo>
                    <a:pt x="130969" y="296704"/>
                    <a:pt x="129064" y="292894"/>
                    <a:pt x="127159" y="290989"/>
                  </a:cubicBezTo>
                  <a:cubicBezTo>
                    <a:pt x="129064" y="287179"/>
                    <a:pt x="130016" y="283369"/>
                    <a:pt x="130969" y="280511"/>
                  </a:cubicBezTo>
                  <a:close/>
                  <a:moveTo>
                    <a:pt x="121444" y="318611"/>
                  </a:moveTo>
                  <a:cubicBezTo>
                    <a:pt x="123349" y="309086"/>
                    <a:pt x="124301" y="301466"/>
                    <a:pt x="127159" y="294799"/>
                  </a:cubicBezTo>
                  <a:cubicBezTo>
                    <a:pt x="127159" y="294799"/>
                    <a:pt x="127159" y="294799"/>
                    <a:pt x="127159" y="293846"/>
                  </a:cubicBezTo>
                  <a:cubicBezTo>
                    <a:pt x="128111" y="296704"/>
                    <a:pt x="128111" y="299561"/>
                    <a:pt x="129064" y="303371"/>
                  </a:cubicBezTo>
                  <a:cubicBezTo>
                    <a:pt x="130016" y="308134"/>
                    <a:pt x="131921" y="313849"/>
                    <a:pt x="133826" y="320516"/>
                  </a:cubicBezTo>
                  <a:cubicBezTo>
                    <a:pt x="135731" y="327184"/>
                    <a:pt x="137636" y="334804"/>
                    <a:pt x="138589" y="342424"/>
                  </a:cubicBezTo>
                  <a:cubicBezTo>
                    <a:pt x="140494" y="350996"/>
                    <a:pt x="141446" y="359569"/>
                    <a:pt x="143351" y="369094"/>
                  </a:cubicBezTo>
                  <a:cubicBezTo>
                    <a:pt x="145256" y="378619"/>
                    <a:pt x="146209" y="388144"/>
                    <a:pt x="148114" y="398621"/>
                  </a:cubicBezTo>
                  <a:cubicBezTo>
                    <a:pt x="148114" y="399574"/>
                    <a:pt x="148114" y="401479"/>
                    <a:pt x="149066" y="403384"/>
                  </a:cubicBezTo>
                  <a:cubicBezTo>
                    <a:pt x="149066" y="406241"/>
                    <a:pt x="149066" y="408146"/>
                    <a:pt x="149066" y="411004"/>
                  </a:cubicBezTo>
                  <a:cubicBezTo>
                    <a:pt x="149066" y="412909"/>
                    <a:pt x="149066" y="414814"/>
                    <a:pt x="149066" y="416719"/>
                  </a:cubicBezTo>
                  <a:cubicBezTo>
                    <a:pt x="145256" y="407194"/>
                    <a:pt x="142399" y="397669"/>
                    <a:pt x="138589" y="388144"/>
                  </a:cubicBezTo>
                  <a:cubicBezTo>
                    <a:pt x="135731" y="379571"/>
                    <a:pt x="132874" y="371951"/>
                    <a:pt x="129064" y="363379"/>
                  </a:cubicBezTo>
                  <a:cubicBezTo>
                    <a:pt x="130969" y="360521"/>
                    <a:pt x="131921" y="358616"/>
                    <a:pt x="131921" y="358616"/>
                  </a:cubicBezTo>
                  <a:cubicBezTo>
                    <a:pt x="131921" y="358616"/>
                    <a:pt x="130969" y="359569"/>
                    <a:pt x="129064" y="361474"/>
                  </a:cubicBezTo>
                  <a:cubicBezTo>
                    <a:pt x="127159" y="357664"/>
                    <a:pt x="126206" y="353854"/>
                    <a:pt x="124301" y="350044"/>
                  </a:cubicBezTo>
                  <a:cubicBezTo>
                    <a:pt x="124301" y="348139"/>
                    <a:pt x="125254" y="346234"/>
                    <a:pt x="125254" y="344329"/>
                  </a:cubicBezTo>
                  <a:cubicBezTo>
                    <a:pt x="128111" y="333851"/>
                    <a:pt x="129064" y="328136"/>
                    <a:pt x="129064" y="328136"/>
                  </a:cubicBezTo>
                  <a:cubicBezTo>
                    <a:pt x="129064" y="328136"/>
                    <a:pt x="126206" y="333851"/>
                    <a:pt x="121444" y="343376"/>
                  </a:cubicBezTo>
                  <a:cubicBezTo>
                    <a:pt x="121444" y="343376"/>
                    <a:pt x="121444" y="343376"/>
                    <a:pt x="121444" y="343376"/>
                  </a:cubicBezTo>
                  <a:cubicBezTo>
                    <a:pt x="121444" y="342424"/>
                    <a:pt x="121444" y="342424"/>
                    <a:pt x="120491" y="341471"/>
                  </a:cubicBezTo>
                  <a:cubicBezTo>
                    <a:pt x="119539" y="339566"/>
                    <a:pt x="118586" y="337661"/>
                    <a:pt x="117634" y="334804"/>
                  </a:cubicBezTo>
                  <a:cubicBezTo>
                    <a:pt x="119539" y="329089"/>
                    <a:pt x="120491" y="323374"/>
                    <a:pt x="121444" y="318611"/>
                  </a:cubicBezTo>
                  <a:close/>
                  <a:moveTo>
                    <a:pt x="116681" y="393859"/>
                  </a:moveTo>
                  <a:cubicBezTo>
                    <a:pt x="120491" y="402431"/>
                    <a:pt x="123349" y="411004"/>
                    <a:pt x="127159" y="419576"/>
                  </a:cubicBezTo>
                  <a:lnTo>
                    <a:pt x="113824" y="414814"/>
                  </a:lnTo>
                  <a:cubicBezTo>
                    <a:pt x="115729" y="408146"/>
                    <a:pt x="115729" y="400526"/>
                    <a:pt x="116681" y="393859"/>
                  </a:cubicBezTo>
                  <a:close/>
                  <a:moveTo>
                    <a:pt x="91916" y="341471"/>
                  </a:moveTo>
                  <a:cubicBezTo>
                    <a:pt x="91916" y="339566"/>
                    <a:pt x="92869" y="337661"/>
                    <a:pt x="92869" y="335756"/>
                  </a:cubicBezTo>
                  <a:cubicBezTo>
                    <a:pt x="93821" y="337661"/>
                    <a:pt x="93821" y="338614"/>
                    <a:pt x="94774" y="340519"/>
                  </a:cubicBezTo>
                  <a:cubicBezTo>
                    <a:pt x="97631" y="346234"/>
                    <a:pt x="99536" y="351949"/>
                    <a:pt x="102394" y="358616"/>
                  </a:cubicBezTo>
                  <a:cubicBezTo>
                    <a:pt x="100489" y="367189"/>
                    <a:pt x="98584" y="374809"/>
                    <a:pt x="96679" y="384334"/>
                  </a:cubicBezTo>
                  <a:cubicBezTo>
                    <a:pt x="95726" y="389096"/>
                    <a:pt x="94774" y="393859"/>
                    <a:pt x="94774" y="399574"/>
                  </a:cubicBezTo>
                  <a:cubicBezTo>
                    <a:pt x="94774" y="399574"/>
                    <a:pt x="93821" y="400526"/>
                    <a:pt x="93821" y="400526"/>
                  </a:cubicBezTo>
                  <a:cubicBezTo>
                    <a:pt x="92869" y="401479"/>
                    <a:pt x="91916" y="403384"/>
                    <a:pt x="90964" y="404336"/>
                  </a:cubicBezTo>
                  <a:cubicBezTo>
                    <a:pt x="90011" y="396716"/>
                    <a:pt x="89059" y="390049"/>
                    <a:pt x="88106" y="382429"/>
                  </a:cubicBezTo>
                  <a:cubicBezTo>
                    <a:pt x="87154" y="376714"/>
                    <a:pt x="86201" y="370999"/>
                    <a:pt x="85249" y="365284"/>
                  </a:cubicBezTo>
                  <a:cubicBezTo>
                    <a:pt x="87154" y="356711"/>
                    <a:pt x="89059" y="348139"/>
                    <a:pt x="91916" y="341471"/>
                  </a:cubicBezTo>
                  <a:close/>
                  <a:moveTo>
                    <a:pt x="72866" y="407194"/>
                  </a:moveTo>
                  <a:cubicBezTo>
                    <a:pt x="72866" y="408146"/>
                    <a:pt x="72866" y="408146"/>
                    <a:pt x="72866" y="409099"/>
                  </a:cubicBezTo>
                  <a:cubicBezTo>
                    <a:pt x="72866" y="409099"/>
                    <a:pt x="72866" y="409099"/>
                    <a:pt x="71914" y="409099"/>
                  </a:cubicBezTo>
                  <a:cubicBezTo>
                    <a:pt x="71914" y="408146"/>
                    <a:pt x="72866" y="408146"/>
                    <a:pt x="72866" y="407194"/>
                  </a:cubicBezTo>
                  <a:close/>
                </a:path>
              </a:pathLst>
            </a:custGeom>
            <a:solidFill>
              <a:schemeClr val="accent1"/>
            </a:solidFill>
            <a:ln w="9525" cap="flat">
              <a:noFill/>
              <a:prstDash val="solid"/>
              <a:miter/>
            </a:ln>
          </p:spPr>
          <p:txBody>
            <a:bodyPr rtlCol="0" anchor="ctr"/>
            <a:lstStyle/>
            <a:p>
              <a:pPr marL="0" marR="0" lvl="0" indent="0" algn="l" defTabSz="91376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Arial Unicode MS"/>
                <a:cs typeface="+mn-cs"/>
              </a:endParaRPr>
            </a:p>
          </p:txBody>
        </p:sp>
      </p:grpSp>
    </p:spTree>
    <p:extLst>
      <p:ext uri="{BB962C8B-B14F-4D97-AF65-F5344CB8AC3E}">
        <p14:creationId xmlns:p14="http://schemas.microsoft.com/office/powerpoint/2010/main" val="140792529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Title and Vertical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28522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4713DF-5F0F-4743-9E07-777DF8792DC1}"/>
              </a:ext>
            </a:extLst>
          </p:cNvPr>
          <p:cNvSpPr>
            <a:spLocks noGrp="1"/>
          </p:cNvSpPr>
          <p:nvPr>
            <p:ph type="title"/>
          </p:nvPr>
        </p:nvSpPr>
        <p:spPr>
          <a:xfrm>
            <a:off x="838200" y="365129"/>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0179433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3_Custom Layout">
    <p:bg>
      <p:bgPr>
        <a:solidFill>
          <a:schemeClr val="bg1">
            <a:alpha val="66000"/>
          </a:schemeClr>
        </a:solidFill>
        <a:effectLst/>
      </p:bgPr>
    </p:bg>
    <p:spTree>
      <p:nvGrpSpPr>
        <p:cNvPr id="1" name=""/>
        <p:cNvGrpSpPr/>
        <p:nvPr/>
      </p:nvGrpSpPr>
      <p:grpSpPr>
        <a:xfrm>
          <a:off x="0" y="0"/>
          <a:ext cx="0" cy="0"/>
          <a:chOff x="0" y="0"/>
          <a:chExt cx="0" cy="0"/>
        </a:xfrm>
      </p:grpSpPr>
      <p:pic>
        <p:nvPicPr>
          <p:cNvPr id="6" name="Picture 5" descr="A truck parked on the side of a road&#10;&#10;Description generated with high confidence">
            <a:extLst>
              <a:ext uri="{FF2B5EF4-FFF2-40B4-BE49-F238E27FC236}">
                <a16:creationId xmlns:a16="http://schemas.microsoft.com/office/drawing/2014/main" id="{A0DABE20-88FE-405F-8B2B-004B30F12F1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378" t="-128" r="5018" b="12435"/>
          <a:stretch/>
        </p:blipFill>
        <p:spPr>
          <a:xfrm>
            <a:off x="1" y="1084230"/>
            <a:ext cx="12192000" cy="4840020"/>
          </a:xfrm>
          <a:prstGeom prst="rect">
            <a:avLst/>
          </a:prstGeom>
        </p:spPr>
      </p:pic>
      <p:sp>
        <p:nvSpPr>
          <p:cNvPr id="7" name="Rectangle 6">
            <a:extLst>
              <a:ext uri="{FF2B5EF4-FFF2-40B4-BE49-F238E27FC236}">
                <a16:creationId xmlns:a16="http://schemas.microsoft.com/office/drawing/2014/main" id="{2C9E0808-8906-4E45-A3AD-2FBE1C73752F}"/>
              </a:ext>
            </a:extLst>
          </p:cNvPr>
          <p:cNvSpPr/>
          <p:nvPr userDrawn="1"/>
        </p:nvSpPr>
        <p:spPr>
          <a:xfrm>
            <a:off x="1" y="0"/>
            <a:ext cx="12192000" cy="6858000"/>
          </a:xfrm>
          <a:prstGeom prst="rect">
            <a:avLst/>
          </a:prstGeom>
          <a:solidFill>
            <a:schemeClr val="bg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5810659"/>
      </p:ext>
    </p:extLst>
  </p:cSld>
  <p:clrMapOvr>
    <a:overrideClrMapping bg1="lt1" tx1="dk1" bg2="lt2" tx2="dk2" accent1="accent1" accent2="accent2" accent3="accent3" accent4="accent4" accent5="accent5" accent6="accent6" hlink="hlink" folHlink="folHlink"/>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562711" y="1508400"/>
            <a:ext cx="11068061" cy="4590000"/>
          </a:xfrm>
          <a:prstGeom prst="rect">
            <a:avLst/>
          </a:prstGeom>
        </p:spPr>
        <p:txBody>
          <a:bodyPr lIns="0" tIns="0" rIns="0" bIns="0"/>
          <a:lstStyle>
            <a:lvl1pPr marL="0" indent="-172926">
              <a:buClr>
                <a:schemeClr val="tx2"/>
              </a:buClr>
              <a:buFont typeface="Arial" pitchFamily="34" charset="0"/>
              <a:buChar char="•"/>
              <a:tabLst/>
              <a:defRPr b="0"/>
            </a:lvl1pPr>
            <a:lvl2pPr marL="628242" indent="-228450">
              <a:buFont typeface="Arial" pitchFamily="34" charset="0"/>
              <a:buChar char="–"/>
              <a:defRPr/>
            </a:lvl2pPr>
            <a:lvl3pPr marL="1074041" indent="-228450">
              <a:defRPr/>
            </a:lvl3pPr>
            <a:lvl4pPr marL="1544332" indent="-228450">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2578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209826" y="1195952"/>
            <a:ext cx="11630487" cy="5112000"/>
          </a:xfrm>
          <a:prstGeom prst="rect">
            <a:avLst/>
          </a:prstGeom>
        </p:spPr>
        <p:txBody>
          <a:bodyPr lIns="97740" tIns="48870" rIns="97740" bIns="48870"/>
          <a:lstStyle>
            <a:lvl1pPr marL="152619" indent="-152619">
              <a:lnSpc>
                <a:spcPct val="114000"/>
              </a:lnSpc>
              <a:spcBef>
                <a:spcPts val="641"/>
              </a:spcBef>
              <a:buFont typeface="Arial" pitchFamily="34" charset="0"/>
              <a:buChar char="•"/>
              <a:defRPr sz="1600">
                <a:solidFill>
                  <a:schemeClr val="bg2"/>
                </a:solidFill>
              </a:defRPr>
            </a:lvl1pPr>
            <a:lvl2pPr>
              <a:lnSpc>
                <a:spcPct val="114000"/>
              </a:lnSpc>
              <a:spcBef>
                <a:spcPts val="641"/>
              </a:spcBef>
              <a:buFont typeface="Arial" pitchFamily="34" charset="0"/>
              <a:buChar char="•"/>
              <a:defRPr sz="1500">
                <a:solidFill>
                  <a:schemeClr val="bg2"/>
                </a:solidFill>
              </a:defRPr>
            </a:lvl2pPr>
            <a:lvl3pPr>
              <a:lnSpc>
                <a:spcPct val="114000"/>
              </a:lnSpc>
              <a:spcBef>
                <a:spcPts val="641"/>
              </a:spcBef>
              <a:buFont typeface="Arial" pitchFamily="34" charset="0"/>
              <a:buChar char="•"/>
              <a:defRPr sz="1400">
                <a:solidFill>
                  <a:schemeClr val="bg2"/>
                </a:solidFill>
              </a:defRPr>
            </a:lvl3pPr>
            <a:lvl4pPr>
              <a:lnSpc>
                <a:spcPct val="114000"/>
              </a:lnSpc>
              <a:spcBef>
                <a:spcPts val="641"/>
              </a:spcBef>
              <a:buFont typeface="Arial" pitchFamily="34" charset="0"/>
              <a:buChar char="•"/>
              <a:defRPr sz="1500">
                <a:solidFill>
                  <a:schemeClr val="bg2"/>
                </a:solidFill>
              </a:defRPr>
            </a:lvl4pPr>
            <a:lvl5pPr>
              <a:lnSpc>
                <a:spcPct val="114000"/>
              </a:lnSpc>
              <a:spcBef>
                <a:spcPts val="641"/>
              </a:spcBef>
              <a:buFont typeface="Arial" pitchFamily="34" charset="0"/>
              <a:buChar char="•"/>
              <a:defRPr>
                <a:solidFill>
                  <a:schemeClr val="bg2"/>
                </a:solidFill>
              </a:defRPr>
            </a:lvl5pPr>
          </a:lstStyle>
          <a:p>
            <a:pPr lvl="0"/>
            <a:r>
              <a:rPr lang="de-DE"/>
              <a:t>Textmasterformat bearbeiten</a:t>
            </a:r>
          </a:p>
          <a:p>
            <a:pPr lvl="1"/>
            <a:r>
              <a:rPr lang="de-DE"/>
              <a:t>Zweite Ebene</a:t>
            </a:r>
          </a:p>
        </p:txBody>
      </p:sp>
      <p:sp>
        <p:nvSpPr>
          <p:cNvPr id="5" name="Rectangle 2"/>
          <p:cNvSpPr>
            <a:spLocks noGrp="1" noChangeArrowheads="1"/>
          </p:cNvSpPr>
          <p:nvPr>
            <p:ph type="title"/>
          </p:nvPr>
        </p:nvSpPr>
        <p:spPr>
          <a:xfrm>
            <a:off x="222701" y="419525"/>
            <a:ext cx="9226612" cy="584727"/>
          </a:xfrm>
          <a:prstGeom prst="rect">
            <a:avLst/>
          </a:prstGeom>
        </p:spPr>
        <p:txBody>
          <a:bodyPr lIns="97740" tIns="48870" rIns="97740" bIns="48870"/>
          <a:lstStyle>
            <a:lvl1pPr marL="0" marR="0" indent="0" algn="l" defTabSz="956419" rtl="0" eaLnBrk="1" fontAlgn="base" latinLnBrk="0" hangingPunct="1">
              <a:lnSpc>
                <a:spcPct val="100000"/>
              </a:lnSpc>
              <a:spcBef>
                <a:spcPct val="0"/>
              </a:spcBef>
              <a:spcAft>
                <a:spcPct val="0"/>
              </a:spcAft>
              <a:buClrTx/>
              <a:buSzTx/>
              <a:buFontTx/>
              <a:buNone/>
              <a:tabLst/>
              <a:defRPr>
                <a:solidFill>
                  <a:schemeClr val="tx1"/>
                </a:solidFill>
              </a:defRPr>
            </a:lvl1pPr>
          </a:lstStyle>
          <a:p>
            <a:pPr eaLnBrk="1" hangingPunct="1"/>
            <a:r>
              <a:rPr lang="de-DE">
                <a:solidFill>
                  <a:srgbClr val="646864"/>
                </a:solidFill>
                <a:latin typeface="Calibri" pitchFamily="34" charset="0"/>
              </a:rPr>
              <a:t>Titelmasterformat durch Klicken bearbeiten</a:t>
            </a:r>
            <a:endParaRPr lang="de-DE" dirty="0">
              <a:solidFill>
                <a:srgbClr val="646864"/>
              </a:solidFill>
              <a:latin typeface="Calibri" pitchFamily="34" charset="0"/>
            </a:endParaRPr>
          </a:p>
        </p:txBody>
      </p:sp>
    </p:spTree>
    <p:extLst>
      <p:ext uri="{BB962C8B-B14F-4D97-AF65-F5344CB8AC3E}">
        <p14:creationId xmlns:p14="http://schemas.microsoft.com/office/powerpoint/2010/main" val="326468699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540904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
        <p:nvSpPr>
          <p:cNvPr id="5" name="Slide Number Placeholder 1"/>
          <p:cNvSpPr>
            <a:spLocks noGrp="1"/>
          </p:cNvSpPr>
          <p:nvPr>
            <p:ph type="sldNum" sz="quarter" idx="4"/>
          </p:nvPr>
        </p:nvSpPr>
        <p:spPr>
          <a:xfrm>
            <a:off x="203200" y="6498569"/>
            <a:ext cx="508000" cy="365124"/>
          </a:xfrm>
          <a:prstGeom prst="rect">
            <a:avLst/>
          </a:prstGeom>
        </p:spPr>
        <p:txBody>
          <a:bodyPr vert="horz" lIns="90566" tIns="45271" rIns="90566" bIns="45271" rtlCol="0" anchor="ctr"/>
          <a:lstStyle>
            <a:lvl1pPr algn="r">
              <a:defRPr sz="1200">
                <a:solidFill>
                  <a:schemeClr val="tx1"/>
                </a:solidFill>
              </a:defRPr>
            </a:lvl1pPr>
          </a:lstStyle>
          <a:p>
            <a:pPr marL="0" marR="0" lvl="0" indent="0" algn="r" defTabSz="905413" rtl="0" eaLnBrk="1" fontAlgn="auto" latinLnBrk="0" hangingPunct="1">
              <a:lnSpc>
                <a:spcPct val="100000"/>
              </a:lnSpc>
              <a:spcBef>
                <a:spcPts val="0"/>
              </a:spcBef>
              <a:spcAft>
                <a:spcPts val="0"/>
              </a:spcAft>
              <a:buClrTx/>
              <a:buSzTx/>
              <a:buFontTx/>
              <a:buNone/>
              <a:tabLst/>
              <a:defRPr/>
            </a:pPr>
            <a:fld id="{7422662C-4EA5-40CB-AF95-82CA1EC35BEA}"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05413"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7368812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209824" y="1195952"/>
            <a:ext cx="11630485" cy="5112000"/>
          </a:xfrm>
          <a:prstGeom prst="rect">
            <a:avLst/>
          </a:prstGeom>
        </p:spPr>
        <p:txBody>
          <a:bodyPr lIns="97740" tIns="48870" rIns="97740" bIns="48870"/>
          <a:lstStyle>
            <a:lvl1pPr marL="152670" indent="-152670">
              <a:lnSpc>
                <a:spcPct val="114000"/>
              </a:lnSpc>
              <a:spcBef>
                <a:spcPts val="641"/>
              </a:spcBef>
              <a:buFont typeface="Arial" pitchFamily="34" charset="0"/>
              <a:buChar char="•"/>
              <a:defRPr sz="1600">
                <a:solidFill>
                  <a:schemeClr val="bg2"/>
                </a:solidFill>
              </a:defRPr>
            </a:lvl1pPr>
            <a:lvl2pPr>
              <a:lnSpc>
                <a:spcPct val="114000"/>
              </a:lnSpc>
              <a:spcBef>
                <a:spcPts val="641"/>
              </a:spcBef>
              <a:buFont typeface="Arial" pitchFamily="34" charset="0"/>
              <a:buChar char="•"/>
              <a:defRPr sz="1500">
                <a:solidFill>
                  <a:schemeClr val="bg2"/>
                </a:solidFill>
              </a:defRPr>
            </a:lvl2pPr>
            <a:lvl3pPr>
              <a:lnSpc>
                <a:spcPct val="114000"/>
              </a:lnSpc>
              <a:spcBef>
                <a:spcPts val="641"/>
              </a:spcBef>
              <a:buFont typeface="Arial" pitchFamily="34" charset="0"/>
              <a:buChar char="•"/>
              <a:defRPr sz="1400">
                <a:solidFill>
                  <a:schemeClr val="bg2"/>
                </a:solidFill>
              </a:defRPr>
            </a:lvl3pPr>
            <a:lvl4pPr>
              <a:lnSpc>
                <a:spcPct val="114000"/>
              </a:lnSpc>
              <a:spcBef>
                <a:spcPts val="641"/>
              </a:spcBef>
              <a:buFont typeface="Arial" pitchFamily="34" charset="0"/>
              <a:buChar char="•"/>
              <a:defRPr sz="1500">
                <a:solidFill>
                  <a:schemeClr val="bg2"/>
                </a:solidFill>
              </a:defRPr>
            </a:lvl4pPr>
            <a:lvl5pPr>
              <a:lnSpc>
                <a:spcPct val="114000"/>
              </a:lnSpc>
              <a:spcBef>
                <a:spcPts val="641"/>
              </a:spcBef>
              <a:buFont typeface="Arial" pitchFamily="34" charset="0"/>
              <a:buChar char="•"/>
              <a:defRPr>
                <a:solidFill>
                  <a:schemeClr val="bg2"/>
                </a:solidFill>
              </a:defRPr>
            </a:lvl5pPr>
          </a:lstStyle>
          <a:p>
            <a:pPr lvl="0"/>
            <a:r>
              <a:rPr lang="de-DE"/>
              <a:t>Textmasterformat bearbeiten</a:t>
            </a:r>
          </a:p>
          <a:p>
            <a:pPr lvl="1"/>
            <a:r>
              <a:rPr lang="de-DE"/>
              <a:t>Zweite Ebene</a:t>
            </a:r>
          </a:p>
        </p:txBody>
      </p:sp>
      <p:sp>
        <p:nvSpPr>
          <p:cNvPr id="5" name="Rectangle 2"/>
          <p:cNvSpPr>
            <a:spLocks noGrp="1" noChangeArrowheads="1"/>
          </p:cNvSpPr>
          <p:nvPr>
            <p:ph type="title"/>
          </p:nvPr>
        </p:nvSpPr>
        <p:spPr>
          <a:xfrm>
            <a:off x="222699" y="419521"/>
            <a:ext cx="9226612" cy="584727"/>
          </a:xfrm>
          <a:prstGeom prst="rect">
            <a:avLst/>
          </a:prstGeom>
        </p:spPr>
        <p:txBody>
          <a:bodyPr lIns="97740" tIns="48870" rIns="97740" bIns="48870"/>
          <a:lstStyle>
            <a:lvl1pPr marL="0" marR="0" indent="0" algn="l" defTabSz="956729" rtl="0" eaLnBrk="1" fontAlgn="base" latinLnBrk="0" hangingPunct="1">
              <a:lnSpc>
                <a:spcPct val="100000"/>
              </a:lnSpc>
              <a:spcBef>
                <a:spcPct val="0"/>
              </a:spcBef>
              <a:spcAft>
                <a:spcPct val="0"/>
              </a:spcAft>
              <a:buClrTx/>
              <a:buSzTx/>
              <a:buFontTx/>
              <a:buNone/>
              <a:tabLst/>
              <a:defRPr>
                <a:solidFill>
                  <a:schemeClr val="tx1"/>
                </a:solidFill>
              </a:defRPr>
            </a:lvl1pPr>
          </a:lstStyle>
          <a:p>
            <a:pPr eaLnBrk="1" hangingPunct="1"/>
            <a:r>
              <a:rPr lang="de-DE">
                <a:solidFill>
                  <a:srgbClr val="646864"/>
                </a:solidFill>
                <a:latin typeface="Calibri" pitchFamily="34" charset="0"/>
              </a:rPr>
              <a:t>Titelmasterformat durch Klicken bearbeiten</a:t>
            </a:r>
            <a:endParaRPr lang="de-DE" dirty="0">
              <a:solidFill>
                <a:srgbClr val="646864"/>
              </a:solidFill>
              <a:latin typeface="Calibri" pitchFamily="34" charset="0"/>
            </a:endParaRPr>
          </a:p>
        </p:txBody>
      </p:sp>
    </p:spTree>
    <p:extLst>
      <p:ext uri="{BB962C8B-B14F-4D97-AF65-F5344CB8AC3E}">
        <p14:creationId xmlns:p14="http://schemas.microsoft.com/office/powerpoint/2010/main" val="30039940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965325"/>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65325"/>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1219170"/>
            <a:fld id="{FCDC3EC3-F503-4593-87FA-632892E2ED25}" type="datetimeFigureOut">
              <a:rPr lang="en-US" smtClean="0">
                <a:solidFill>
                  <a:prstClr val="black">
                    <a:tint val="75000"/>
                  </a:prstClr>
                </a:solidFill>
              </a:rPr>
              <a:pPr defTabSz="1219170"/>
              <a:t>12/1/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1219170"/>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1219170"/>
            <a:fld id="{BA3D8712-1930-4307-AAF2-C718ECB8B04A}" type="slidenum">
              <a:rPr lang="en-US" smtClean="0">
                <a:solidFill>
                  <a:prstClr val="black">
                    <a:tint val="75000"/>
                  </a:prstClr>
                </a:solidFill>
              </a:rPr>
              <a:pPr defTabSz="1219170"/>
              <a:t>‹#›</a:t>
            </a:fld>
            <a:endParaRPr lang="en-US">
              <a:solidFill>
                <a:prstClr val="black">
                  <a:tint val="75000"/>
                </a:prstClr>
              </a:solidFill>
            </a:endParaRPr>
          </a:p>
        </p:txBody>
      </p:sp>
    </p:spTree>
    <p:extLst>
      <p:ext uri="{BB962C8B-B14F-4D97-AF65-F5344CB8AC3E}">
        <p14:creationId xmlns:p14="http://schemas.microsoft.com/office/powerpoint/2010/main" val="336079325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21" y="1592"/>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p:cNvPicPr/>
                      <p:nvPr/>
                    </p:nvPicPr>
                    <p:blipFill>
                      <a:blip r:embed="rId4"/>
                      <a:stretch>
                        <a:fillRect/>
                      </a:stretch>
                    </p:blipFill>
                    <p:spPr>
                      <a:xfrm>
                        <a:off x="2121" y="1592"/>
                        <a:ext cx="2116"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
        <p:nvSpPr>
          <p:cNvPr id="5" name="Slide Number Placeholder 1"/>
          <p:cNvSpPr>
            <a:spLocks noGrp="1"/>
          </p:cNvSpPr>
          <p:nvPr>
            <p:ph type="sldNum" sz="quarter" idx="4"/>
          </p:nvPr>
        </p:nvSpPr>
        <p:spPr>
          <a:xfrm>
            <a:off x="203200" y="6498569"/>
            <a:ext cx="508000" cy="365124"/>
          </a:xfrm>
          <a:prstGeom prst="rect">
            <a:avLst/>
          </a:prstGeom>
        </p:spPr>
        <p:txBody>
          <a:bodyPr vert="horz" lIns="90566" tIns="45271" rIns="90566" bIns="45271" rtlCol="0" anchor="ctr"/>
          <a:lstStyle>
            <a:lvl1pPr algn="r">
              <a:defRPr sz="1200">
                <a:solidFill>
                  <a:schemeClr val="tx1"/>
                </a:solidFill>
              </a:defRPr>
            </a:lvl1pPr>
          </a:lstStyle>
          <a:p>
            <a:pPr marL="0" marR="0" lvl="0" indent="0" algn="r" defTabSz="905141" rtl="0" eaLnBrk="1" fontAlgn="auto" latinLnBrk="0" hangingPunct="1">
              <a:lnSpc>
                <a:spcPct val="100000"/>
              </a:lnSpc>
              <a:spcBef>
                <a:spcPts val="0"/>
              </a:spcBef>
              <a:spcAft>
                <a:spcPts val="0"/>
              </a:spcAft>
              <a:buClrTx/>
              <a:buSzTx/>
              <a:buFontTx/>
              <a:buNone/>
              <a:tabLst/>
              <a:defRPr/>
            </a:pPr>
            <a:fld id="{7422662C-4EA5-40CB-AF95-82CA1EC35BEA}"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05141"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71599244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4_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562711" y="1508400"/>
            <a:ext cx="11068061" cy="4590000"/>
          </a:xfrm>
          <a:prstGeom prst="rect">
            <a:avLst/>
          </a:prstGeom>
        </p:spPr>
        <p:txBody>
          <a:bodyPr lIns="0" tIns="0" rIns="0" bIns="0"/>
          <a:lstStyle>
            <a:lvl1pPr marL="0" indent="-172930">
              <a:buClr>
                <a:schemeClr val="tx2"/>
              </a:buClr>
              <a:buFont typeface="Arial" pitchFamily="34" charset="0"/>
              <a:buChar char="•"/>
              <a:tabLst/>
              <a:defRPr b="0"/>
            </a:lvl1pPr>
            <a:lvl2pPr marL="628256" indent="-228457">
              <a:buFont typeface="Arial" pitchFamily="34" charset="0"/>
              <a:buChar char="–"/>
              <a:defRPr/>
            </a:lvl2pPr>
            <a:lvl3pPr marL="1074068" indent="-228457">
              <a:defRPr/>
            </a:lvl3pPr>
            <a:lvl4pPr marL="1544371" indent="-228457">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042345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9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209824" y="1195952"/>
            <a:ext cx="11630485" cy="5112000"/>
          </a:xfrm>
          <a:prstGeom prst="rect">
            <a:avLst/>
          </a:prstGeom>
        </p:spPr>
        <p:txBody>
          <a:bodyPr lIns="97740" tIns="48870" rIns="97740" bIns="48870"/>
          <a:lstStyle>
            <a:lvl1pPr marL="152623" indent="-152623">
              <a:lnSpc>
                <a:spcPct val="114000"/>
              </a:lnSpc>
              <a:spcBef>
                <a:spcPts val="641"/>
              </a:spcBef>
              <a:buFont typeface="Arial" pitchFamily="34" charset="0"/>
              <a:buChar char="•"/>
              <a:defRPr sz="1600">
                <a:solidFill>
                  <a:schemeClr val="bg2"/>
                </a:solidFill>
              </a:defRPr>
            </a:lvl1pPr>
            <a:lvl2pPr>
              <a:lnSpc>
                <a:spcPct val="114000"/>
              </a:lnSpc>
              <a:spcBef>
                <a:spcPts val="641"/>
              </a:spcBef>
              <a:buFont typeface="Arial" pitchFamily="34" charset="0"/>
              <a:buChar char="•"/>
              <a:defRPr sz="1500">
                <a:solidFill>
                  <a:schemeClr val="bg2"/>
                </a:solidFill>
              </a:defRPr>
            </a:lvl2pPr>
            <a:lvl3pPr>
              <a:lnSpc>
                <a:spcPct val="114000"/>
              </a:lnSpc>
              <a:spcBef>
                <a:spcPts val="641"/>
              </a:spcBef>
              <a:buFont typeface="Arial" pitchFamily="34" charset="0"/>
              <a:buChar char="•"/>
              <a:defRPr sz="1400">
                <a:solidFill>
                  <a:schemeClr val="bg2"/>
                </a:solidFill>
              </a:defRPr>
            </a:lvl3pPr>
            <a:lvl4pPr>
              <a:lnSpc>
                <a:spcPct val="114000"/>
              </a:lnSpc>
              <a:spcBef>
                <a:spcPts val="641"/>
              </a:spcBef>
              <a:buFont typeface="Arial" pitchFamily="34" charset="0"/>
              <a:buChar char="•"/>
              <a:defRPr sz="1500">
                <a:solidFill>
                  <a:schemeClr val="bg2"/>
                </a:solidFill>
              </a:defRPr>
            </a:lvl4pPr>
            <a:lvl5pPr>
              <a:lnSpc>
                <a:spcPct val="114000"/>
              </a:lnSpc>
              <a:spcBef>
                <a:spcPts val="641"/>
              </a:spcBef>
              <a:buFont typeface="Arial" pitchFamily="34" charset="0"/>
              <a:buChar char="•"/>
              <a:defRPr>
                <a:solidFill>
                  <a:schemeClr val="bg2"/>
                </a:solidFill>
              </a:defRPr>
            </a:lvl5pPr>
          </a:lstStyle>
          <a:p>
            <a:pPr lvl="0"/>
            <a:r>
              <a:rPr lang="de-DE"/>
              <a:t>Textmasterformat bearbeiten</a:t>
            </a:r>
          </a:p>
          <a:p>
            <a:pPr lvl="1"/>
            <a:r>
              <a:rPr lang="de-DE"/>
              <a:t>Zweite Ebene</a:t>
            </a:r>
          </a:p>
        </p:txBody>
      </p:sp>
      <p:sp>
        <p:nvSpPr>
          <p:cNvPr id="5" name="Rectangle 2"/>
          <p:cNvSpPr>
            <a:spLocks noGrp="1" noChangeArrowheads="1"/>
          </p:cNvSpPr>
          <p:nvPr>
            <p:ph type="title"/>
          </p:nvPr>
        </p:nvSpPr>
        <p:spPr>
          <a:xfrm>
            <a:off x="222699" y="419522"/>
            <a:ext cx="9226612" cy="584727"/>
          </a:xfrm>
          <a:prstGeom prst="rect">
            <a:avLst/>
          </a:prstGeom>
        </p:spPr>
        <p:txBody>
          <a:bodyPr lIns="97740" tIns="48870" rIns="97740" bIns="48870"/>
          <a:lstStyle>
            <a:lvl1pPr marL="0" marR="0" indent="0" algn="l" defTabSz="956443" rtl="0" eaLnBrk="1" fontAlgn="base" latinLnBrk="0" hangingPunct="1">
              <a:lnSpc>
                <a:spcPct val="100000"/>
              </a:lnSpc>
              <a:spcBef>
                <a:spcPct val="0"/>
              </a:spcBef>
              <a:spcAft>
                <a:spcPct val="0"/>
              </a:spcAft>
              <a:buClrTx/>
              <a:buSzTx/>
              <a:buFontTx/>
              <a:buNone/>
              <a:tabLst/>
              <a:defRPr>
                <a:solidFill>
                  <a:schemeClr val="tx1"/>
                </a:solidFill>
              </a:defRPr>
            </a:lvl1pPr>
          </a:lstStyle>
          <a:p>
            <a:pPr eaLnBrk="1" hangingPunct="1"/>
            <a:r>
              <a:rPr lang="de-DE">
                <a:solidFill>
                  <a:srgbClr val="646864"/>
                </a:solidFill>
                <a:latin typeface="Calibri" pitchFamily="34" charset="0"/>
              </a:rPr>
              <a:t>Titelmasterformat durch Klicken bearbeiten</a:t>
            </a:r>
            <a:endParaRPr lang="de-DE" dirty="0">
              <a:solidFill>
                <a:srgbClr val="646864"/>
              </a:solidFill>
              <a:latin typeface="Calibri" pitchFamily="34" charset="0"/>
            </a:endParaRPr>
          </a:p>
        </p:txBody>
      </p:sp>
    </p:spTree>
    <p:extLst>
      <p:ext uri="{BB962C8B-B14F-4D97-AF65-F5344CB8AC3E}">
        <p14:creationId xmlns:p14="http://schemas.microsoft.com/office/powerpoint/2010/main" val="400014886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defTabSz="1219170">
              <a:defRPr/>
            </a:pPr>
            <a:fld id="{DD0D7B44-7D3F-4D09-9ECB-12B47A5F6CE1}"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1219170">
              <a:defRPr/>
            </a:pPr>
            <a:fld id="{2DE55F20-1889-4BA8-952C-5D81F2DB9FE1}"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380668300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normAutofit/>
          </a:bodyPr>
          <a:lstStyle>
            <a:lvl1pPr>
              <a:defRPr sz="3467"/>
            </a:lvl1pPr>
            <a:lvl2pPr>
              <a:defRPr sz="2667"/>
            </a:lvl2pPr>
            <a:lvl3pPr>
              <a:defRPr sz="2400"/>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defTabSz="1219170">
              <a:defRPr/>
            </a:pPr>
            <a:fld id="{1988BCD6-38AB-418F-9BE8-4EDB22D89E71}"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1219170">
              <a:defRPr/>
            </a:pPr>
            <a:fld id="{A5EAB5B2-7BD5-45A5-B682-B714BB9BC1A5}"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391612404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Rectangle: Top Corners Snipped 6"/>
          <p:cNvSpPr/>
          <p:nvPr userDrawn="1"/>
        </p:nvSpPr>
        <p:spPr>
          <a:xfrm rot="10800000">
            <a:off x="609600" y="0"/>
            <a:ext cx="9144000" cy="1026584"/>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1" name="Content Placeholder 10"/>
          <p:cNvSpPr>
            <a:spLocks noGrp="1"/>
          </p:cNvSpPr>
          <p:nvPr>
            <p:ph sz="quarter" idx="11"/>
          </p:nvPr>
        </p:nvSpPr>
        <p:spPr>
          <a:xfrm>
            <a:off x="711201" y="-6932"/>
            <a:ext cx="9042399" cy="1034451"/>
          </a:xfrm>
        </p:spPr>
        <p:txBody>
          <a:bodyPr anchor="ctr">
            <a:normAutofit/>
          </a:bodyPr>
          <a:lstStyle>
            <a:lvl1pPr marL="0" indent="0">
              <a:buNone/>
              <a:defRPr sz="4267" b="0" i="0">
                <a:latin typeface="Century Gothic" panose="020B0502020202020204" pitchFamily="34" charset="0"/>
              </a:defRPr>
            </a:lvl1pPr>
          </a:lstStyle>
          <a:p>
            <a:pPr lvl="0"/>
            <a:endParaRPr lang="en-US" dirty="0"/>
          </a:p>
        </p:txBody>
      </p:sp>
    </p:spTree>
    <p:extLst>
      <p:ext uri="{BB962C8B-B14F-4D97-AF65-F5344CB8AC3E}">
        <p14:creationId xmlns:p14="http://schemas.microsoft.com/office/powerpoint/2010/main" val="96488642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965325"/>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65325"/>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defTabSz="1219170">
              <a:defRPr/>
            </a:pPr>
            <a:fld id="{A0338C25-ABBB-430A-94F4-2E4CEED1F636}"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1219170">
              <a:defRPr/>
            </a:pPr>
            <a:fld id="{2D327CA5-B1C5-4519-B2B7-D5CF4368A1CF}"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289233428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07968" y="64788"/>
            <a:ext cx="9969633" cy="1039091"/>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303755" y="1535113"/>
            <a:ext cx="5250459" cy="639763"/>
          </a:xfrm>
        </p:spPr>
        <p:txBody>
          <a:bodyPr anchor="b"/>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1303755" y="2174875"/>
            <a:ext cx="5250459" cy="3951288"/>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746384" y="1535113"/>
            <a:ext cx="5252521" cy="639763"/>
          </a:xfrm>
        </p:spPr>
        <p:txBody>
          <a:bodyPr anchor="b"/>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746384" y="2174875"/>
            <a:ext cx="5252521" cy="3951288"/>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defTabSz="1219170">
              <a:defRPr/>
            </a:pPr>
            <a:fld id="{CF7FE1A0-4B7E-4F5B-93D0-7F2574327E86}"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defTabSz="1219170">
              <a:defRPr/>
            </a:pPr>
            <a:fld id="{29FB1590-9887-4B2F-9275-1370228C7641}"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49173955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defTabSz="1219170">
              <a:defRPr/>
            </a:pPr>
            <a:fld id="{7AAB5FF9-D735-44C1-A03F-E9E015A022BF}"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defTabSz="1219170">
              <a:defRPr/>
            </a:pPr>
            <a:fld id="{E73D0376-6838-49C1-B646-B6208E110A4B}"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51302061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defTabSz="1219170">
              <a:defRPr/>
            </a:pPr>
            <a:fld id="{E095C60F-5863-40A7-B3F5-8A924A8E0DEC}"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defTabSz="1219170">
              <a:defRPr/>
            </a:pPr>
            <a:fld id="{F73F86EB-7DCD-4D03-92BA-82A53AA44C03}"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41317634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07968" y="64788"/>
            <a:ext cx="9969633" cy="1039091"/>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303755" y="1535113"/>
            <a:ext cx="5250459" cy="639763"/>
          </a:xfrm>
        </p:spPr>
        <p:txBody>
          <a:bodyPr anchor="b"/>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1303755" y="2174875"/>
            <a:ext cx="5250459" cy="3951288"/>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746384" y="1535113"/>
            <a:ext cx="5252521" cy="639763"/>
          </a:xfrm>
        </p:spPr>
        <p:txBody>
          <a:bodyPr anchor="b"/>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746384" y="2174875"/>
            <a:ext cx="5252521" cy="3951288"/>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1219170"/>
            <a:fld id="{FCDC3EC3-F503-4593-87FA-632892E2ED25}" type="datetimeFigureOut">
              <a:rPr lang="en-US" smtClean="0">
                <a:solidFill>
                  <a:prstClr val="black">
                    <a:tint val="75000"/>
                  </a:prstClr>
                </a:solidFill>
              </a:rPr>
              <a:pPr defTabSz="1219170"/>
              <a:t>12/1/202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1219170"/>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1219170"/>
            <a:fld id="{BA3D8712-1930-4307-AAF2-C718ECB8B04A}" type="slidenum">
              <a:rPr lang="en-US" smtClean="0">
                <a:solidFill>
                  <a:prstClr val="black">
                    <a:tint val="75000"/>
                  </a:prstClr>
                </a:solidFill>
              </a:rPr>
              <a:pPr defTabSz="1219170"/>
              <a:t>‹#›</a:t>
            </a:fld>
            <a:endParaRPr lang="en-US">
              <a:solidFill>
                <a:prstClr val="black">
                  <a:tint val="75000"/>
                </a:prstClr>
              </a:solidFill>
            </a:endParaRPr>
          </a:p>
        </p:txBody>
      </p:sp>
    </p:spTree>
    <p:extLst>
      <p:ext uri="{BB962C8B-B14F-4D97-AF65-F5344CB8AC3E}">
        <p14:creationId xmlns:p14="http://schemas.microsoft.com/office/powerpoint/2010/main" val="94594810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22401" y="1334917"/>
            <a:ext cx="3314945" cy="960372"/>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1335678"/>
            <a:ext cx="6815667" cy="4837284"/>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429241" y="2295288"/>
            <a:ext cx="3314945" cy="3876912"/>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defTabSz="1219170">
              <a:defRPr/>
            </a:pPr>
            <a:fld id="{609A19EB-1B9A-4EC0-B0F4-26558E059F46}"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1219170">
              <a:defRPr/>
            </a:pPr>
            <a:fld id="{EF99A2AA-7FAC-45D9-9C05-DEC8ACC0C54B}"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149871138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1498599"/>
            <a:ext cx="7315200" cy="3228975"/>
          </a:xfr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defTabSz="1219170">
              <a:defRPr/>
            </a:pPr>
            <a:fld id="{47863A1B-423F-426D-B24A-4D7C41206C74}"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1219170">
              <a:defRPr/>
            </a:pPr>
            <a:fld id="{EC32D896-DCC1-45A7-87B2-C4F05D83EAA9}"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361142312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defTabSz="1219170">
              <a:defRPr/>
            </a:pPr>
            <a:fld id="{47B51885-85AE-4E3B-BDF5-89241C29D94E}"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1219170">
              <a:defRPr/>
            </a:pPr>
            <a:fld id="{DE600689-FFAB-420E-B759-70AA96F1CB09}"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307570443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1307433"/>
            <a:ext cx="2743200" cy="4826636"/>
          </a:xfrm>
        </p:spPr>
        <p:txBody>
          <a:bodyPr vert="eaVert"/>
          <a:lstStyle>
            <a:lvl1pPr>
              <a:defRPr sz="4267"/>
            </a:lvl1pPr>
          </a:lstStyle>
          <a:p>
            <a:r>
              <a:rPr lang="en-US" dirty="0"/>
              <a:t>Click to edit Master title style</a:t>
            </a:r>
          </a:p>
        </p:txBody>
      </p:sp>
      <p:sp>
        <p:nvSpPr>
          <p:cNvPr id="3" name="Vertical Text Placeholder 2"/>
          <p:cNvSpPr>
            <a:spLocks noGrp="1"/>
          </p:cNvSpPr>
          <p:nvPr>
            <p:ph type="body" orient="vert" idx="1"/>
          </p:nvPr>
        </p:nvSpPr>
        <p:spPr>
          <a:xfrm>
            <a:off x="609600" y="1307433"/>
            <a:ext cx="8026400" cy="4826636"/>
          </a:xfrm>
        </p:spPr>
        <p:txBody>
          <a:bodyPr vert="eaVert">
            <a:normAutofit/>
          </a:bodyPr>
          <a:lstStyle>
            <a:lvl1pPr>
              <a:defRPr sz="3200"/>
            </a:lvl1pPr>
            <a:lvl2pPr>
              <a:defRPr sz="2667"/>
            </a:lvl2pPr>
            <a:lvl3pPr>
              <a:defRPr sz="2400"/>
            </a:lvl3pPr>
            <a:lvl4pPr>
              <a:defRPr sz="2133"/>
            </a:lvl4pPr>
            <a:lvl5pPr>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defTabSz="1219170">
              <a:defRPr/>
            </a:pPr>
            <a:fld id="{023C37F1-C502-43C3-9C66-7A66B9376E6A}"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1219170">
              <a:defRPr/>
            </a:pPr>
            <a:fld id="{41CE3F8B-3354-4335-8A5F-9C23FA642986}"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3011997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424018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Heading 1_Title Slide">
    <p:spTree>
      <p:nvGrpSpPr>
        <p:cNvPr id="1" name=""/>
        <p:cNvGrpSpPr/>
        <p:nvPr/>
      </p:nvGrpSpPr>
      <p:grpSpPr>
        <a:xfrm>
          <a:off x="0" y="0"/>
          <a:ext cx="0" cy="0"/>
          <a:chOff x="0" y="0"/>
          <a:chExt cx="0" cy="0"/>
        </a:xfrm>
      </p:grpSpPr>
      <p:grpSp>
        <p:nvGrpSpPr>
          <p:cNvPr id="2" name="Group 7"/>
          <p:cNvGrpSpPr>
            <a:grpSpLocks/>
          </p:cNvGrpSpPr>
          <p:nvPr userDrawn="1"/>
        </p:nvGrpSpPr>
        <p:grpSpPr bwMode="auto">
          <a:xfrm>
            <a:off x="8113184" y="266701"/>
            <a:ext cx="3818467" cy="791633"/>
            <a:chOff x="2863850" y="3078163"/>
            <a:chExt cx="3413126" cy="708026"/>
          </a:xfrm>
        </p:grpSpPr>
        <p:grpSp>
          <p:nvGrpSpPr>
            <p:cNvPr id="3" name="Group 8"/>
            <p:cNvGrpSpPr>
              <a:grpSpLocks/>
            </p:cNvGrpSpPr>
            <p:nvPr/>
          </p:nvGrpSpPr>
          <p:grpSpPr bwMode="auto">
            <a:xfrm>
              <a:off x="4357688" y="3630613"/>
              <a:ext cx="1919288" cy="155576"/>
              <a:chOff x="4357688" y="3630613"/>
              <a:chExt cx="1919288" cy="155576"/>
            </a:xfrm>
          </p:grpSpPr>
          <p:sp>
            <p:nvSpPr>
              <p:cNvPr id="19" name="Freeform 7"/>
              <p:cNvSpPr>
                <a:spLocks noEditPoints="1"/>
              </p:cNvSpPr>
              <p:nvPr/>
            </p:nvSpPr>
            <p:spPr bwMode="auto">
              <a:xfrm>
                <a:off x="4357688" y="3630613"/>
                <a:ext cx="109538" cy="125413"/>
              </a:xfrm>
              <a:custGeom>
                <a:avLst/>
                <a:gdLst>
                  <a:gd name="T0" fmla="*/ 60484026 w 69"/>
                  <a:gd name="T1" fmla="*/ 126008315 h 79"/>
                  <a:gd name="T2" fmla="*/ 83166330 w 69"/>
                  <a:gd name="T3" fmla="*/ 55443659 h 79"/>
                  <a:gd name="T4" fmla="*/ 108368007 w 69"/>
                  <a:gd name="T5" fmla="*/ 126008315 h 79"/>
                  <a:gd name="T6" fmla="*/ 60484026 w 69"/>
                  <a:gd name="T7" fmla="*/ 126008315 h 79"/>
                  <a:gd name="T8" fmla="*/ 100806710 w 69"/>
                  <a:gd name="T9" fmla="*/ 0 h 79"/>
                  <a:gd name="T10" fmla="*/ 70564697 w 69"/>
                  <a:gd name="T11" fmla="*/ 0 h 79"/>
                  <a:gd name="T12" fmla="*/ 0 w 69"/>
                  <a:gd name="T13" fmla="*/ 199093931 h 79"/>
                  <a:gd name="T14" fmla="*/ 35282349 w 69"/>
                  <a:gd name="T15" fmla="*/ 199093931 h 79"/>
                  <a:gd name="T16" fmla="*/ 47883981 w 69"/>
                  <a:gd name="T17" fmla="*/ 163811603 h 79"/>
                  <a:gd name="T18" fmla="*/ 118448678 w 69"/>
                  <a:gd name="T19" fmla="*/ 163811603 h 79"/>
                  <a:gd name="T20" fmla="*/ 131048723 w 69"/>
                  <a:gd name="T21" fmla="*/ 199093931 h 79"/>
                  <a:gd name="T22" fmla="*/ 173892369 w 69"/>
                  <a:gd name="T23" fmla="*/ 199093931 h 79"/>
                  <a:gd name="T24" fmla="*/ 100806710 w 69"/>
                  <a:gd name="T25" fmla="*/ 0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9" h="79">
                    <a:moveTo>
                      <a:pt x="24" y="50"/>
                    </a:moveTo>
                    <a:lnTo>
                      <a:pt x="33" y="22"/>
                    </a:lnTo>
                    <a:lnTo>
                      <a:pt x="43" y="50"/>
                    </a:lnTo>
                    <a:lnTo>
                      <a:pt x="24" y="50"/>
                    </a:lnTo>
                    <a:close/>
                    <a:moveTo>
                      <a:pt x="40" y="0"/>
                    </a:moveTo>
                    <a:lnTo>
                      <a:pt x="28" y="0"/>
                    </a:lnTo>
                    <a:lnTo>
                      <a:pt x="0" y="79"/>
                    </a:lnTo>
                    <a:lnTo>
                      <a:pt x="14" y="79"/>
                    </a:lnTo>
                    <a:lnTo>
                      <a:pt x="19" y="65"/>
                    </a:lnTo>
                    <a:lnTo>
                      <a:pt x="47" y="65"/>
                    </a:lnTo>
                    <a:lnTo>
                      <a:pt x="52" y="79"/>
                    </a:lnTo>
                    <a:lnTo>
                      <a:pt x="69" y="79"/>
                    </a:lnTo>
                    <a:lnTo>
                      <a:pt x="40" y="0"/>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0" name="Freeform 8"/>
              <p:cNvSpPr>
                <a:spLocks noEditPoints="1"/>
              </p:cNvSpPr>
              <p:nvPr/>
            </p:nvSpPr>
            <p:spPr bwMode="auto">
              <a:xfrm>
                <a:off x="4473575" y="3660776"/>
                <a:ext cx="76200" cy="95250"/>
              </a:xfrm>
              <a:custGeom>
                <a:avLst/>
                <a:gdLst>
                  <a:gd name="T0" fmla="*/ 188709300 w 20"/>
                  <a:gd name="T1" fmla="*/ 261289800 h 25"/>
                  <a:gd name="T2" fmla="*/ 130644900 w 20"/>
                  <a:gd name="T3" fmla="*/ 290322000 h 25"/>
                  <a:gd name="T4" fmla="*/ 72580500 w 20"/>
                  <a:gd name="T5" fmla="*/ 246773700 h 25"/>
                  <a:gd name="T6" fmla="*/ 130644900 w 20"/>
                  <a:gd name="T7" fmla="*/ 203225400 h 25"/>
                  <a:gd name="T8" fmla="*/ 188709300 w 20"/>
                  <a:gd name="T9" fmla="*/ 203225400 h 25"/>
                  <a:gd name="T10" fmla="*/ 188709300 w 20"/>
                  <a:gd name="T11" fmla="*/ 232257600 h 25"/>
                  <a:gd name="T12" fmla="*/ 188709300 w 20"/>
                  <a:gd name="T13" fmla="*/ 261289800 h 25"/>
                  <a:gd name="T14" fmla="*/ 290322000 w 20"/>
                  <a:gd name="T15" fmla="*/ 130644900 h 25"/>
                  <a:gd name="T16" fmla="*/ 130644900 w 20"/>
                  <a:gd name="T17" fmla="*/ 0 h 25"/>
                  <a:gd name="T18" fmla="*/ 58064400 w 20"/>
                  <a:gd name="T19" fmla="*/ 14516100 h 25"/>
                  <a:gd name="T20" fmla="*/ 14516100 w 20"/>
                  <a:gd name="T21" fmla="*/ 58064400 h 25"/>
                  <a:gd name="T22" fmla="*/ 58064400 w 20"/>
                  <a:gd name="T23" fmla="*/ 101612700 h 25"/>
                  <a:gd name="T24" fmla="*/ 130644900 w 20"/>
                  <a:gd name="T25" fmla="*/ 72580500 h 25"/>
                  <a:gd name="T26" fmla="*/ 188709300 w 20"/>
                  <a:gd name="T27" fmla="*/ 130644900 h 25"/>
                  <a:gd name="T28" fmla="*/ 188709300 w 20"/>
                  <a:gd name="T29" fmla="*/ 145161000 h 25"/>
                  <a:gd name="T30" fmla="*/ 116128800 w 20"/>
                  <a:gd name="T31" fmla="*/ 145161000 h 25"/>
                  <a:gd name="T32" fmla="*/ 29032200 w 20"/>
                  <a:gd name="T33" fmla="*/ 174193200 h 25"/>
                  <a:gd name="T34" fmla="*/ 0 w 20"/>
                  <a:gd name="T35" fmla="*/ 246773700 h 25"/>
                  <a:gd name="T36" fmla="*/ 29032200 w 20"/>
                  <a:gd name="T37" fmla="*/ 333870300 h 25"/>
                  <a:gd name="T38" fmla="*/ 116128800 w 20"/>
                  <a:gd name="T39" fmla="*/ 362902500 h 25"/>
                  <a:gd name="T40" fmla="*/ 203225400 w 20"/>
                  <a:gd name="T41" fmla="*/ 319354200 h 25"/>
                  <a:gd name="T42" fmla="*/ 203225400 w 20"/>
                  <a:gd name="T43" fmla="*/ 362902500 h 25"/>
                  <a:gd name="T44" fmla="*/ 290322000 w 20"/>
                  <a:gd name="T45" fmla="*/ 362902500 h 25"/>
                  <a:gd name="T46" fmla="*/ 290322000 w 20"/>
                  <a:gd name="T47" fmla="*/ 13064490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3" y="18"/>
                    </a:moveTo>
                    <a:cubicBezTo>
                      <a:pt x="12" y="19"/>
                      <a:pt x="11" y="20"/>
                      <a:pt x="9" y="20"/>
                    </a:cubicBezTo>
                    <a:cubicBezTo>
                      <a:pt x="7" y="20"/>
                      <a:pt x="5" y="19"/>
                      <a:pt x="5" y="17"/>
                    </a:cubicBezTo>
                    <a:cubicBezTo>
                      <a:pt x="5" y="15"/>
                      <a:pt x="7" y="14"/>
                      <a:pt x="9" y="14"/>
                    </a:cubicBezTo>
                    <a:cubicBezTo>
                      <a:pt x="13" y="14"/>
                      <a:pt x="13" y="14"/>
                      <a:pt x="13" y="14"/>
                    </a:cubicBezTo>
                    <a:cubicBezTo>
                      <a:pt x="13" y="16"/>
                      <a:pt x="13" y="16"/>
                      <a:pt x="13" y="16"/>
                    </a:cubicBezTo>
                    <a:cubicBezTo>
                      <a:pt x="13" y="17"/>
                      <a:pt x="13" y="18"/>
                      <a:pt x="13" y="18"/>
                    </a:cubicBezTo>
                    <a:moveTo>
                      <a:pt x="20" y="9"/>
                    </a:moveTo>
                    <a:cubicBezTo>
                      <a:pt x="20" y="3"/>
                      <a:pt x="16" y="0"/>
                      <a:pt x="9" y="0"/>
                    </a:cubicBezTo>
                    <a:cubicBezTo>
                      <a:pt x="7" y="0"/>
                      <a:pt x="6" y="0"/>
                      <a:pt x="4" y="1"/>
                    </a:cubicBezTo>
                    <a:cubicBezTo>
                      <a:pt x="3" y="1"/>
                      <a:pt x="2" y="2"/>
                      <a:pt x="1" y="4"/>
                    </a:cubicBezTo>
                    <a:cubicBezTo>
                      <a:pt x="4" y="7"/>
                      <a:pt x="4" y="7"/>
                      <a:pt x="4" y="7"/>
                    </a:cubicBezTo>
                    <a:cubicBezTo>
                      <a:pt x="6" y="6"/>
                      <a:pt x="7" y="5"/>
                      <a:pt x="9" y="5"/>
                    </a:cubicBezTo>
                    <a:cubicBezTo>
                      <a:pt x="12" y="5"/>
                      <a:pt x="13" y="7"/>
                      <a:pt x="13" y="9"/>
                    </a:cubicBezTo>
                    <a:cubicBezTo>
                      <a:pt x="13" y="10"/>
                      <a:pt x="13" y="10"/>
                      <a:pt x="13" y="10"/>
                    </a:cubicBezTo>
                    <a:cubicBezTo>
                      <a:pt x="8" y="10"/>
                      <a:pt x="8" y="10"/>
                      <a:pt x="8" y="10"/>
                    </a:cubicBezTo>
                    <a:cubicBezTo>
                      <a:pt x="5" y="10"/>
                      <a:pt x="3" y="11"/>
                      <a:pt x="2" y="12"/>
                    </a:cubicBezTo>
                    <a:cubicBezTo>
                      <a:pt x="0" y="14"/>
                      <a:pt x="0" y="15"/>
                      <a:pt x="0" y="17"/>
                    </a:cubicBezTo>
                    <a:cubicBezTo>
                      <a:pt x="0" y="19"/>
                      <a:pt x="0" y="21"/>
                      <a:pt x="2" y="23"/>
                    </a:cubicBezTo>
                    <a:cubicBezTo>
                      <a:pt x="3" y="24"/>
                      <a:pt x="5" y="25"/>
                      <a:pt x="8" y="25"/>
                    </a:cubicBezTo>
                    <a:cubicBezTo>
                      <a:pt x="10" y="25"/>
                      <a:pt x="12" y="24"/>
                      <a:pt x="14" y="22"/>
                    </a:cubicBezTo>
                    <a:cubicBezTo>
                      <a:pt x="14" y="25"/>
                      <a:pt x="14" y="25"/>
                      <a:pt x="14"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1" name="Freeform 9"/>
              <p:cNvSpPr>
                <a:spLocks noEditPoints="1"/>
              </p:cNvSpPr>
              <p:nvPr/>
            </p:nvSpPr>
            <p:spPr bwMode="auto">
              <a:xfrm>
                <a:off x="4572000" y="3660776"/>
                <a:ext cx="74613" cy="125413"/>
              </a:xfrm>
              <a:custGeom>
                <a:avLst/>
                <a:gdLst>
                  <a:gd name="T0" fmla="*/ 194848119 w 20"/>
                  <a:gd name="T1" fmla="*/ 245532051 h 33"/>
                  <a:gd name="T2" fmla="*/ 139179360 w 20"/>
                  <a:gd name="T3" fmla="*/ 274415045 h 33"/>
                  <a:gd name="T4" fmla="*/ 83506870 w 20"/>
                  <a:gd name="T5" fmla="*/ 245532051 h 33"/>
                  <a:gd name="T6" fmla="*/ 83506870 w 20"/>
                  <a:gd name="T7" fmla="*/ 187758463 h 33"/>
                  <a:gd name="T8" fmla="*/ 83506870 w 20"/>
                  <a:gd name="T9" fmla="*/ 115543377 h 33"/>
                  <a:gd name="T10" fmla="*/ 139179360 w 20"/>
                  <a:gd name="T11" fmla="*/ 86656583 h 33"/>
                  <a:gd name="T12" fmla="*/ 194848119 w 20"/>
                  <a:gd name="T13" fmla="*/ 115543377 h 33"/>
                  <a:gd name="T14" fmla="*/ 194848119 w 20"/>
                  <a:gd name="T15" fmla="*/ 187758463 h 33"/>
                  <a:gd name="T16" fmla="*/ 194848119 w 20"/>
                  <a:gd name="T17" fmla="*/ 245532051 h 33"/>
                  <a:gd name="T18" fmla="*/ 278354988 w 20"/>
                  <a:gd name="T19" fmla="*/ 101101880 h 33"/>
                  <a:gd name="T20" fmla="*/ 250520609 w 20"/>
                  <a:gd name="T21" fmla="*/ 28886794 h 33"/>
                  <a:gd name="T22" fmla="*/ 167013739 w 20"/>
                  <a:gd name="T23" fmla="*/ 0 h 33"/>
                  <a:gd name="T24" fmla="*/ 83506870 w 20"/>
                  <a:gd name="T25" fmla="*/ 43328291 h 33"/>
                  <a:gd name="T26" fmla="*/ 83506870 w 20"/>
                  <a:gd name="T27" fmla="*/ 0 h 33"/>
                  <a:gd name="T28" fmla="*/ 0 w 20"/>
                  <a:gd name="T29" fmla="*/ 0 h 33"/>
                  <a:gd name="T30" fmla="*/ 0 w 20"/>
                  <a:gd name="T31" fmla="*/ 476618805 h 33"/>
                  <a:gd name="T32" fmla="*/ 83506870 w 20"/>
                  <a:gd name="T33" fmla="*/ 476618805 h 33"/>
                  <a:gd name="T34" fmla="*/ 83506870 w 20"/>
                  <a:gd name="T35" fmla="*/ 317747137 h 33"/>
                  <a:gd name="T36" fmla="*/ 167013739 w 20"/>
                  <a:gd name="T37" fmla="*/ 361075428 h 33"/>
                  <a:gd name="T38" fmla="*/ 250520609 w 20"/>
                  <a:gd name="T39" fmla="*/ 332188634 h 33"/>
                  <a:gd name="T40" fmla="*/ 278354988 w 20"/>
                  <a:gd name="T41" fmla="*/ 259973548 h 33"/>
                  <a:gd name="T42" fmla="*/ 278354988 w 20"/>
                  <a:gd name="T43" fmla="*/ 187758463 h 33"/>
                  <a:gd name="T44" fmla="*/ 278354988 w 20"/>
                  <a:gd name="T45" fmla="*/ 101101880 h 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33">
                    <a:moveTo>
                      <a:pt x="14" y="17"/>
                    </a:moveTo>
                    <a:cubicBezTo>
                      <a:pt x="13" y="19"/>
                      <a:pt x="12" y="19"/>
                      <a:pt x="10" y="19"/>
                    </a:cubicBezTo>
                    <a:cubicBezTo>
                      <a:pt x="8" y="19"/>
                      <a:pt x="7" y="19"/>
                      <a:pt x="6" y="17"/>
                    </a:cubicBezTo>
                    <a:cubicBezTo>
                      <a:pt x="6" y="16"/>
                      <a:pt x="6" y="15"/>
                      <a:pt x="6" y="13"/>
                    </a:cubicBezTo>
                    <a:cubicBezTo>
                      <a:pt x="6" y="10"/>
                      <a:pt x="6" y="9"/>
                      <a:pt x="6" y="8"/>
                    </a:cubicBezTo>
                    <a:cubicBezTo>
                      <a:pt x="7" y="6"/>
                      <a:pt x="8" y="6"/>
                      <a:pt x="10" y="6"/>
                    </a:cubicBezTo>
                    <a:cubicBezTo>
                      <a:pt x="12" y="6"/>
                      <a:pt x="13" y="6"/>
                      <a:pt x="14" y="8"/>
                    </a:cubicBezTo>
                    <a:cubicBezTo>
                      <a:pt x="14" y="9"/>
                      <a:pt x="14" y="10"/>
                      <a:pt x="14" y="13"/>
                    </a:cubicBezTo>
                    <a:cubicBezTo>
                      <a:pt x="14" y="15"/>
                      <a:pt x="14" y="16"/>
                      <a:pt x="14" y="17"/>
                    </a:cubicBezTo>
                    <a:moveTo>
                      <a:pt x="20" y="7"/>
                    </a:moveTo>
                    <a:cubicBezTo>
                      <a:pt x="19" y="5"/>
                      <a:pt x="19" y="3"/>
                      <a:pt x="18" y="2"/>
                    </a:cubicBezTo>
                    <a:cubicBezTo>
                      <a:pt x="16" y="1"/>
                      <a:pt x="14" y="0"/>
                      <a:pt x="12" y="0"/>
                    </a:cubicBezTo>
                    <a:cubicBezTo>
                      <a:pt x="9" y="0"/>
                      <a:pt x="7" y="1"/>
                      <a:pt x="6" y="3"/>
                    </a:cubicBezTo>
                    <a:cubicBezTo>
                      <a:pt x="6" y="0"/>
                      <a:pt x="6" y="0"/>
                      <a:pt x="6" y="0"/>
                    </a:cubicBezTo>
                    <a:cubicBezTo>
                      <a:pt x="0" y="0"/>
                      <a:pt x="0" y="0"/>
                      <a:pt x="0" y="0"/>
                    </a:cubicBezTo>
                    <a:cubicBezTo>
                      <a:pt x="0" y="33"/>
                      <a:pt x="0" y="33"/>
                      <a:pt x="0" y="33"/>
                    </a:cubicBezTo>
                    <a:cubicBezTo>
                      <a:pt x="6" y="33"/>
                      <a:pt x="6" y="33"/>
                      <a:pt x="6" y="33"/>
                    </a:cubicBezTo>
                    <a:cubicBezTo>
                      <a:pt x="6" y="22"/>
                      <a:pt x="6" y="22"/>
                      <a:pt x="6" y="22"/>
                    </a:cubicBezTo>
                    <a:cubicBezTo>
                      <a:pt x="7" y="24"/>
                      <a:pt x="9" y="25"/>
                      <a:pt x="12" y="25"/>
                    </a:cubicBezTo>
                    <a:cubicBezTo>
                      <a:pt x="14" y="25"/>
                      <a:pt x="16" y="24"/>
                      <a:pt x="18" y="23"/>
                    </a:cubicBezTo>
                    <a:cubicBezTo>
                      <a:pt x="19" y="22"/>
                      <a:pt x="19" y="20"/>
                      <a:pt x="20" y="18"/>
                    </a:cubicBezTo>
                    <a:cubicBezTo>
                      <a:pt x="20" y="17"/>
                      <a:pt x="20" y="15"/>
                      <a:pt x="20" y="13"/>
                    </a:cubicBezTo>
                    <a:cubicBezTo>
                      <a:pt x="20" y="10"/>
                      <a:pt x="20" y="8"/>
                      <a:pt x="20" y="7"/>
                    </a:cubicBezTo>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2" name="Freeform 10"/>
              <p:cNvSpPr>
                <a:spLocks/>
              </p:cNvSpPr>
              <p:nvPr/>
            </p:nvSpPr>
            <p:spPr bwMode="auto">
              <a:xfrm>
                <a:off x="4670425" y="3630613"/>
                <a:ext cx="82550" cy="125413"/>
              </a:xfrm>
              <a:custGeom>
                <a:avLst/>
                <a:gdLst>
                  <a:gd name="T0" fmla="*/ 131048125 w 52"/>
                  <a:gd name="T1" fmla="*/ 199093931 h 79"/>
                  <a:gd name="T2" fmla="*/ 83165950 w 52"/>
                  <a:gd name="T3" fmla="*/ 199093931 h 79"/>
                  <a:gd name="T4" fmla="*/ 47883763 w 52"/>
                  <a:gd name="T5" fmla="*/ 138609940 h 79"/>
                  <a:gd name="T6" fmla="*/ 35282188 w 52"/>
                  <a:gd name="T7" fmla="*/ 151209978 h 79"/>
                  <a:gd name="T8" fmla="*/ 35282188 w 52"/>
                  <a:gd name="T9" fmla="*/ 199093931 h 79"/>
                  <a:gd name="T10" fmla="*/ 0 w 52"/>
                  <a:gd name="T11" fmla="*/ 199093931 h 79"/>
                  <a:gd name="T12" fmla="*/ 0 w 52"/>
                  <a:gd name="T13" fmla="*/ 0 h 79"/>
                  <a:gd name="T14" fmla="*/ 35282188 w 52"/>
                  <a:gd name="T15" fmla="*/ 0 h 79"/>
                  <a:gd name="T16" fmla="*/ 35282188 w 52"/>
                  <a:gd name="T17" fmla="*/ 108367945 h 79"/>
                  <a:gd name="T18" fmla="*/ 83165950 w 52"/>
                  <a:gd name="T19" fmla="*/ 47883953 h 79"/>
                  <a:gd name="T20" fmla="*/ 123488450 w 52"/>
                  <a:gd name="T21" fmla="*/ 47883953 h 79"/>
                  <a:gd name="T22" fmla="*/ 70564375 w 52"/>
                  <a:gd name="T23" fmla="*/ 108367945 h 79"/>
                  <a:gd name="T24" fmla="*/ 131048125 w 52"/>
                  <a:gd name="T25" fmla="*/ 199093931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2" h="79">
                    <a:moveTo>
                      <a:pt x="52" y="79"/>
                    </a:moveTo>
                    <a:lnTo>
                      <a:pt x="33" y="79"/>
                    </a:lnTo>
                    <a:lnTo>
                      <a:pt x="19" y="55"/>
                    </a:lnTo>
                    <a:lnTo>
                      <a:pt x="14" y="60"/>
                    </a:lnTo>
                    <a:lnTo>
                      <a:pt x="14" y="79"/>
                    </a:lnTo>
                    <a:lnTo>
                      <a:pt x="0" y="79"/>
                    </a:lnTo>
                    <a:lnTo>
                      <a:pt x="0" y="0"/>
                    </a:lnTo>
                    <a:lnTo>
                      <a:pt x="14" y="0"/>
                    </a:lnTo>
                    <a:lnTo>
                      <a:pt x="14" y="43"/>
                    </a:lnTo>
                    <a:lnTo>
                      <a:pt x="33" y="19"/>
                    </a:lnTo>
                    <a:lnTo>
                      <a:pt x="49" y="19"/>
                    </a:lnTo>
                    <a:lnTo>
                      <a:pt x="28" y="43"/>
                    </a:lnTo>
                    <a:lnTo>
                      <a:pt x="52"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3" name="Freeform 11"/>
              <p:cNvSpPr>
                <a:spLocks noEditPoints="1"/>
              </p:cNvSpPr>
              <p:nvPr/>
            </p:nvSpPr>
            <p:spPr bwMode="auto">
              <a:xfrm>
                <a:off x="4767263" y="3630613"/>
                <a:ext cx="23813" cy="125413"/>
              </a:xfrm>
              <a:custGeom>
                <a:avLst/>
                <a:gdLst>
                  <a:gd name="T0" fmla="*/ 37803931 w 15"/>
                  <a:gd name="T1" fmla="*/ 25201663 h 79"/>
                  <a:gd name="T2" fmla="*/ 0 w 15"/>
                  <a:gd name="T3" fmla="*/ 25201663 h 79"/>
                  <a:gd name="T4" fmla="*/ 0 w 15"/>
                  <a:gd name="T5" fmla="*/ 0 h 79"/>
                  <a:gd name="T6" fmla="*/ 37803931 w 15"/>
                  <a:gd name="T7" fmla="*/ 0 h 79"/>
                  <a:gd name="T8" fmla="*/ 37803931 w 15"/>
                  <a:gd name="T9" fmla="*/ 25201663 h 79"/>
                  <a:gd name="T10" fmla="*/ 37803931 w 15"/>
                  <a:gd name="T11" fmla="*/ 199093931 h 79"/>
                  <a:gd name="T12" fmla="*/ 0 w 15"/>
                  <a:gd name="T13" fmla="*/ 199093931 h 79"/>
                  <a:gd name="T14" fmla="*/ 0 w 15"/>
                  <a:gd name="T15" fmla="*/ 47883953 h 79"/>
                  <a:gd name="T16" fmla="*/ 37803931 w 15"/>
                  <a:gd name="T17" fmla="*/ 47883953 h 79"/>
                  <a:gd name="T18" fmla="*/ 37803931 w 15"/>
                  <a:gd name="T19" fmla="*/ 199093931 h 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 h="79">
                    <a:moveTo>
                      <a:pt x="15" y="10"/>
                    </a:moveTo>
                    <a:lnTo>
                      <a:pt x="0" y="10"/>
                    </a:lnTo>
                    <a:lnTo>
                      <a:pt x="0" y="0"/>
                    </a:lnTo>
                    <a:lnTo>
                      <a:pt x="15" y="0"/>
                    </a:lnTo>
                    <a:lnTo>
                      <a:pt x="15" y="10"/>
                    </a:lnTo>
                    <a:close/>
                    <a:moveTo>
                      <a:pt x="15" y="79"/>
                    </a:moveTo>
                    <a:lnTo>
                      <a:pt x="0" y="79"/>
                    </a:lnTo>
                    <a:lnTo>
                      <a:pt x="0" y="19"/>
                    </a:lnTo>
                    <a:lnTo>
                      <a:pt x="15" y="19"/>
                    </a:lnTo>
                    <a:lnTo>
                      <a:pt x="15"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4" name="Freeform 12"/>
              <p:cNvSpPr>
                <a:spLocks/>
              </p:cNvSpPr>
              <p:nvPr/>
            </p:nvSpPr>
            <p:spPr bwMode="auto">
              <a:xfrm>
                <a:off x="4843463" y="3630613"/>
                <a:ext cx="74613" cy="125413"/>
              </a:xfrm>
              <a:custGeom>
                <a:avLst/>
                <a:gdLst>
                  <a:gd name="T0" fmla="*/ 278354988 w 20"/>
                  <a:gd name="T1" fmla="*/ 317747137 h 33"/>
                  <a:gd name="T2" fmla="*/ 236601554 w 20"/>
                  <a:gd name="T3" fmla="*/ 433290514 h 33"/>
                  <a:gd name="T4" fmla="*/ 111341249 w 20"/>
                  <a:gd name="T5" fmla="*/ 476618805 h 33"/>
                  <a:gd name="T6" fmla="*/ 0 w 20"/>
                  <a:gd name="T7" fmla="*/ 418845216 h 33"/>
                  <a:gd name="T8" fmla="*/ 55672490 w 20"/>
                  <a:gd name="T9" fmla="*/ 361075428 h 33"/>
                  <a:gd name="T10" fmla="*/ 111341249 w 20"/>
                  <a:gd name="T11" fmla="*/ 389962223 h 33"/>
                  <a:gd name="T12" fmla="*/ 194848119 w 20"/>
                  <a:gd name="T13" fmla="*/ 317747137 h 33"/>
                  <a:gd name="T14" fmla="*/ 194848119 w 20"/>
                  <a:gd name="T15" fmla="*/ 0 h 33"/>
                  <a:gd name="T16" fmla="*/ 278354988 w 20"/>
                  <a:gd name="T17" fmla="*/ 0 h 33"/>
                  <a:gd name="T18" fmla="*/ 278354988 w 20"/>
                  <a:gd name="T19" fmla="*/ 317747137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33">
                    <a:moveTo>
                      <a:pt x="20" y="22"/>
                    </a:moveTo>
                    <a:cubicBezTo>
                      <a:pt x="20" y="25"/>
                      <a:pt x="19" y="28"/>
                      <a:pt x="17" y="30"/>
                    </a:cubicBezTo>
                    <a:cubicBezTo>
                      <a:pt x="14" y="32"/>
                      <a:pt x="12" y="33"/>
                      <a:pt x="8" y="33"/>
                    </a:cubicBezTo>
                    <a:cubicBezTo>
                      <a:pt x="5" y="33"/>
                      <a:pt x="2" y="32"/>
                      <a:pt x="0" y="29"/>
                    </a:cubicBezTo>
                    <a:cubicBezTo>
                      <a:pt x="4" y="25"/>
                      <a:pt x="4" y="25"/>
                      <a:pt x="4" y="25"/>
                    </a:cubicBezTo>
                    <a:cubicBezTo>
                      <a:pt x="5" y="27"/>
                      <a:pt x="7" y="27"/>
                      <a:pt x="8" y="27"/>
                    </a:cubicBezTo>
                    <a:cubicBezTo>
                      <a:pt x="12" y="27"/>
                      <a:pt x="14" y="25"/>
                      <a:pt x="14" y="22"/>
                    </a:cubicBezTo>
                    <a:cubicBezTo>
                      <a:pt x="14" y="0"/>
                      <a:pt x="14" y="0"/>
                      <a:pt x="14" y="0"/>
                    </a:cubicBezTo>
                    <a:cubicBezTo>
                      <a:pt x="20" y="0"/>
                      <a:pt x="20" y="0"/>
                      <a:pt x="20" y="0"/>
                    </a:cubicBezTo>
                    <a:lnTo>
                      <a:pt x="20" y="2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5" name="Freeform 13"/>
              <p:cNvSpPr>
                <a:spLocks noEditPoints="1"/>
              </p:cNvSpPr>
              <p:nvPr/>
            </p:nvSpPr>
            <p:spPr bwMode="auto">
              <a:xfrm>
                <a:off x="4940300" y="3660776"/>
                <a:ext cx="79375" cy="95250"/>
              </a:xfrm>
              <a:custGeom>
                <a:avLst/>
                <a:gdLst>
                  <a:gd name="T0" fmla="*/ 71433720 w 21"/>
                  <a:gd name="T1" fmla="*/ 145161000 h 25"/>
                  <a:gd name="T2" fmla="*/ 85721220 w 21"/>
                  <a:gd name="T3" fmla="*/ 116128800 h 25"/>
                  <a:gd name="T4" fmla="*/ 142867440 w 21"/>
                  <a:gd name="T5" fmla="*/ 72580500 h 25"/>
                  <a:gd name="T6" fmla="*/ 200013661 w 21"/>
                  <a:gd name="T7" fmla="*/ 116128800 h 25"/>
                  <a:gd name="T8" fmla="*/ 214297381 w 21"/>
                  <a:gd name="T9" fmla="*/ 145161000 h 25"/>
                  <a:gd name="T10" fmla="*/ 71433720 w 21"/>
                  <a:gd name="T11" fmla="*/ 145161000 h 25"/>
                  <a:gd name="T12" fmla="*/ 300018601 w 21"/>
                  <a:gd name="T13" fmla="*/ 174193200 h 25"/>
                  <a:gd name="T14" fmla="*/ 257159881 w 21"/>
                  <a:gd name="T15" fmla="*/ 58064400 h 25"/>
                  <a:gd name="T16" fmla="*/ 142867440 w 21"/>
                  <a:gd name="T17" fmla="*/ 0 h 25"/>
                  <a:gd name="T18" fmla="*/ 28575000 w 21"/>
                  <a:gd name="T19" fmla="*/ 43548300 h 25"/>
                  <a:gd name="T20" fmla="*/ 0 w 21"/>
                  <a:gd name="T21" fmla="*/ 188709300 h 25"/>
                  <a:gd name="T22" fmla="*/ 157151161 w 21"/>
                  <a:gd name="T23" fmla="*/ 362902500 h 25"/>
                  <a:gd name="T24" fmla="*/ 228584881 w 21"/>
                  <a:gd name="T25" fmla="*/ 348386400 h 25"/>
                  <a:gd name="T26" fmla="*/ 285731101 w 21"/>
                  <a:gd name="T27" fmla="*/ 304838100 h 25"/>
                  <a:gd name="T28" fmla="*/ 228584881 w 21"/>
                  <a:gd name="T29" fmla="*/ 261289800 h 25"/>
                  <a:gd name="T30" fmla="*/ 157151161 w 21"/>
                  <a:gd name="T31" fmla="*/ 290322000 h 25"/>
                  <a:gd name="T32" fmla="*/ 100004940 w 21"/>
                  <a:gd name="T33" fmla="*/ 261289800 h 25"/>
                  <a:gd name="T34" fmla="*/ 71433720 w 21"/>
                  <a:gd name="T35" fmla="*/ 203225400 h 25"/>
                  <a:gd name="T36" fmla="*/ 300018601 w 21"/>
                  <a:gd name="T37" fmla="*/ 203225400 h 25"/>
                  <a:gd name="T38" fmla="*/ 300018601 w 21"/>
                  <a:gd name="T39" fmla="*/ 17419320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5" y="10"/>
                    </a:moveTo>
                    <a:cubicBezTo>
                      <a:pt x="5" y="9"/>
                      <a:pt x="6" y="8"/>
                      <a:pt x="6" y="8"/>
                    </a:cubicBezTo>
                    <a:cubicBezTo>
                      <a:pt x="7" y="6"/>
                      <a:pt x="8" y="5"/>
                      <a:pt x="10" y="5"/>
                    </a:cubicBezTo>
                    <a:cubicBezTo>
                      <a:pt x="12" y="5"/>
                      <a:pt x="13" y="6"/>
                      <a:pt x="14" y="8"/>
                    </a:cubicBezTo>
                    <a:cubicBezTo>
                      <a:pt x="14" y="8"/>
                      <a:pt x="15" y="9"/>
                      <a:pt x="15" y="10"/>
                    </a:cubicBezTo>
                    <a:lnTo>
                      <a:pt x="5" y="10"/>
                    </a:lnTo>
                    <a:close/>
                    <a:moveTo>
                      <a:pt x="21" y="12"/>
                    </a:moveTo>
                    <a:cubicBezTo>
                      <a:pt x="21" y="8"/>
                      <a:pt x="20" y="6"/>
                      <a:pt x="18" y="4"/>
                    </a:cubicBezTo>
                    <a:cubicBezTo>
                      <a:pt x="16" y="1"/>
                      <a:pt x="13" y="0"/>
                      <a:pt x="10" y="0"/>
                    </a:cubicBezTo>
                    <a:cubicBezTo>
                      <a:pt x="7" y="0"/>
                      <a:pt x="4" y="1"/>
                      <a:pt x="2" y="3"/>
                    </a:cubicBezTo>
                    <a:cubicBezTo>
                      <a:pt x="0" y="6"/>
                      <a:pt x="0" y="9"/>
                      <a:pt x="0" y="13"/>
                    </a:cubicBezTo>
                    <a:cubicBezTo>
                      <a:pt x="0" y="21"/>
                      <a:pt x="3" y="25"/>
                      <a:pt x="11" y="25"/>
                    </a:cubicBezTo>
                    <a:cubicBezTo>
                      <a:pt x="13" y="25"/>
                      <a:pt x="14" y="25"/>
                      <a:pt x="16" y="24"/>
                    </a:cubicBezTo>
                    <a:cubicBezTo>
                      <a:pt x="17" y="23"/>
                      <a:pt x="18" y="22"/>
                      <a:pt x="20" y="21"/>
                    </a:cubicBezTo>
                    <a:cubicBezTo>
                      <a:pt x="16" y="18"/>
                      <a:pt x="16" y="18"/>
                      <a:pt x="16" y="18"/>
                    </a:cubicBezTo>
                    <a:cubicBezTo>
                      <a:pt x="15" y="19"/>
                      <a:pt x="13" y="20"/>
                      <a:pt x="11" y="20"/>
                    </a:cubicBezTo>
                    <a:cubicBezTo>
                      <a:pt x="9" y="20"/>
                      <a:pt x="8" y="19"/>
                      <a:pt x="7" y="18"/>
                    </a:cubicBezTo>
                    <a:cubicBezTo>
                      <a:pt x="6" y="17"/>
                      <a:pt x="5" y="16"/>
                      <a:pt x="5"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6" name="Freeform 14"/>
              <p:cNvSpPr>
                <a:spLocks noEditPoints="1"/>
              </p:cNvSpPr>
              <p:nvPr/>
            </p:nvSpPr>
            <p:spPr bwMode="auto">
              <a:xfrm>
                <a:off x="5035550" y="3660776"/>
                <a:ext cx="77788" cy="95250"/>
              </a:xfrm>
              <a:custGeom>
                <a:avLst/>
                <a:gdLst>
                  <a:gd name="T0" fmla="*/ 82325633 w 21"/>
                  <a:gd name="T1" fmla="*/ 145161000 h 25"/>
                  <a:gd name="T2" fmla="*/ 82325633 w 21"/>
                  <a:gd name="T3" fmla="*/ 116128800 h 25"/>
                  <a:gd name="T4" fmla="*/ 137210624 w 21"/>
                  <a:gd name="T5" fmla="*/ 72580500 h 25"/>
                  <a:gd name="T6" fmla="*/ 192095614 w 21"/>
                  <a:gd name="T7" fmla="*/ 116128800 h 25"/>
                  <a:gd name="T8" fmla="*/ 205815935 w 21"/>
                  <a:gd name="T9" fmla="*/ 145161000 h 25"/>
                  <a:gd name="T10" fmla="*/ 82325633 w 21"/>
                  <a:gd name="T11" fmla="*/ 145161000 h 25"/>
                  <a:gd name="T12" fmla="*/ 288141569 w 21"/>
                  <a:gd name="T13" fmla="*/ 174193200 h 25"/>
                  <a:gd name="T14" fmla="*/ 246976900 w 21"/>
                  <a:gd name="T15" fmla="*/ 58064400 h 25"/>
                  <a:gd name="T16" fmla="*/ 137210624 w 21"/>
                  <a:gd name="T17" fmla="*/ 0 h 25"/>
                  <a:gd name="T18" fmla="*/ 41164669 w 21"/>
                  <a:gd name="T19" fmla="*/ 43548300 h 25"/>
                  <a:gd name="T20" fmla="*/ 0 w 21"/>
                  <a:gd name="T21" fmla="*/ 188709300 h 25"/>
                  <a:gd name="T22" fmla="*/ 150930945 w 21"/>
                  <a:gd name="T23" fmla="*/ 362902500 h 25"/>
                  <a:gd name="T24" fmla="*/ 219536257 w 21"/>
                  <a:gd name="T25" fmla="*/ 348386400 h 25"/>
                  <a:gd name="T26" fmla="*/ 274421247 w 21"/>
                  <a:gd name="T27" fmla="*/ 304838100 h 25"/>
                  <a:gd name="T28" fmla="*/ 219536257 w 21"/>
                  <a:gd name="T29" fmla="*/ 261289800 h 25"/>
                  <a:gd name="T30" fmla="*/ 150930945 w 21"/>
                  <a:gd name="T31" fmla="*/ 290322000 h 25"/>
                  <a:gd name="T32" fmla="*/ 96045955 w 21"/>
                  <a:gd name="T33" fmla="*/ 261289800 h 25"/>
                  <a:gd name="T34" fmla="*/ 82325633 w 21"/>
                  <a:gd name="T35" fmla="*/ 203225400 h 25"/>
                  <a:gd name="T36" fmla="*/ 288141569 w 21"/>
                  <a:gd name="T37" fmla="*/ 203225400 h 25"/>
                  <a:gd name="T38" fmla="*/ 288141569 w 21"/>
                  <a:gd name="T39" fmla="*/ 17419320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6" y="8"/>
                    </a:cubicBezTo>
                    <a:cubicBezTo>
                      <a:pt x="7" y="6"/>
                      <a:pt x="8" y="5"/>
                      <a:pt x="10" y="5"/>
                    </a:cubicBezTo>
                    <a:cubicBezTo>
                      <a:pt x="12" y="5"/>
                      <a:pt x="14" y="6"/>
                      <a:pt x="14" y="8"/>
                    </a:cubicBezTo>
                    <a:cubicBezTo>
                      <a:pt x="15" y="8"/>
                      <a:pt x="15" y="9"/>
                      <a:pt x="15" y="10"/>
                    </a:cubicBezTo>
                    <a:lnTo>
                      <a:pt x="6" y="10"/>
                    </a:lnTo>
                    <a:close/>
                    <a:moveTo>
                      <a:pt x="21" y="12"/>
                    </a:moveTo>
                    <a:cubicBezTo>
                      <a:pt x="21" y="8"/>
                      <a:pt x="20" y="6"/>
                      <a:pt x="18" y="4"/>
                    </a:cubicBezTo>
                    <a:cubicBezTo>
                      <a:pt x="16" y="1"/>
                      <a:pt x="14" y="0"/>
                      <a:pt x="10" y="0"/>
                    </a:cubicBezTo>
                    <a:cubicBezTo>
                      <a:pt x="7" y="0"/>
                      <a:pt x="5" y="1"/>
                      <a:pt x="3" y="3"/>
                    </a:cubicBezTo>
                    <a:cubicBezTo>
                      <a:pt x="1" y="6"/>
                      <a:pt x="0" y="9"/>
                      <a:pt x="0" y="13"/>
                    </a:cubicBezTo>
                    <a:cubicBezTo>
                      <a:pt x="0" y="21"/>
                      <a:pt x="4" y="25"/>
                      <a:pt x="11" y="25"/>
                    </a:cubicBezTo>
                    <a:cubicBezTo>
                      <a:pt x="13" y="25"/>
                      <a:pt x="15" y="25"/>
                      <a:pt x="16" y="24"/>
                    </a:cubicBezTo>
                    <a:cubicBezTo>
                      <a:pt x="17" y="23"/>
                      <a:pt x="19" y="22"/>
                      <a:pt x="20" y="21"/>
                    </a:cubicBezTo>
                    <a:cubicBezTo>
                      <a:pt x="16" y="18"/>
                      <a:pt x="16" y="18"/>
                      <a:pt x="16" y="18"/>
                    </a:cubicBezTo>
                    <a:cubicBezTo>
                      <a:pt x="15" y="19"/>
                      <a:pt x="13" y="20"/>
                      <a:pt x="11" y="20"/>
                    </a:cubicBezTo>
                    <a:cubicBezTo>
                      <a:pt x="9" y="20"/>
                      <a:pt x="8" y="19"/>
                      <a:pt x="7" y="18"/>
                    </a:cubicBezTo>
                    <a:cubicBezTo>
                      <a:pt x="6"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7" name="Freeform 15"/>
              <p:cNvSpPr>
                <a:spLocks/>
              </p:cNvSpPr>
              <p:nvPr/>
            </p:nvSpPr>
            <p:spPr bwMode="auto">
              <a:xfrm>
                <a:off x="5126038" y="3638551"/>
                <a:ext cx="47625" cy="117475"/>
              </a:xfrm>
              <a:custGeom>
                <a:avLst/>
                <a:gdLst>
                  <a:gd name="T0" fmla="*/ 174472356 w 13"/>
                  <a:gd name="T1" fmla="*/ 445173407 h 31"/>
                  <a:gd name="T2" fmla="*/ 134210913 w 13"/>
                  <a:gd name="T3" fmla="*/ 445173407 h 31"/>
                  <a:gd name="T4" fmla="*/ 67103625 w 13"/>
                  <a:gd name="T5" fmla="*/ 402090398 h 31"/>
                  <a:gd name="T6" fmla="*/ 40261442 w 13"/>
                  <a:gd name="T7" fmla="*/ 344648913 h 31"/>
                  <a:gd name="T8" fmla="*/ 40261442 w 13"/>
                  <a:gd name="T9" fmla="*/ 172324456 h 31"/>
                  <a:gd name="T10" fmla="*/ 0 w 13"/>
                  <a:gd name="T11" fmla="*/ 172324456 h 31"/>
                  <a:gd name="T12" fmla="*/ 0 w 13"/>
                  <a:gd name="T13" fmla="*/ 100524494 h 31"/>
                  <a:gd name="T14" fmla="*/ 40261442 w 13"/>
                  <a:gd name="T15" fmla="*/ 100524494 h 31"/>
                  <a:gd name="T16" fmla="*/ 40261442 w 13"/>
                  <a:gd name="T17" fmla="*/ 0 h 31"/>
                  <a:gd name="T18" fmla="*/ 120787990 w 13"/>
                  <a:gd name="T19" fmla="*/ 0 h 31"/>
                  <a:gd name="T20" fmla="*/ 120787990 w 13"/>
                  <a:gd name="T21" fmla="*/ 100524494 h 31"/>
                  <a:gd name="T22" fmla="*/ 174472356 w 13"/>
                  <a:gd name="T23" fmla="*/ 100524494 h 31"/>
                  <a:gd name="T24" fmla="*/ 174472356 w 13"/>
                  <a:gd name="T25" fmla="*/ 172324456 h 31"/>
                  <a:gd name="T26" fmla="*/ 120787990 w 13"/>
                  <a:gd name="T27" fmla="*/ 172324456 h 31"/>
                  <a:gd name="T28" fmla="*/ 120787990 w 13"/>
                  <a:gd name="T29" fmla="*/ 330290436 h 31"/>
                  <a:gd name="T30" fmla="*/ 147630173 w 13"/>
                  <a:gd name="T31" fmla="*/ 359011179 h 31"/>
                  <a:gd name="T32" fmla="*/ 174472356 w 13"/>
                  <a:gd name="T33" fmla="*/ 359011179 h 31"/>
                  <a:gd name="T34" fmla="*/ 174472356 w 13"/>
                  <a:gd name="T35" fmla="*/ 445173407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31">
                    <a:moveTo>
                      <a:pt x="13" y="31"/>
                    </a:moveTo>
                    <a:cubicBezTo>
                      <a:pt x="10" y="31"/>
                      <a:pt x="10" y="31"/>
                      <a:pt x="10" y="31"/>
                    </a:cubicBezTo>
                    <a:cubicBezTo>
                      <a:pt x="8" y="31"/>
                      <a:pt x="6" y="30"/>
                      <a:pt x="5" y="28"/>
                    </a:cubicBezTo>
                    <a:cubicBezTo>
                      <a:pt x="3" y="27"/>
                      <a:pt x="3" y="26"/>
                      <a:pt x="3" y="24"/>
                    </a:cubicBezTo>
                    <a:cubicBezTo>
                      <a:pt x="3" y="12"/>
                      <a:pt x="3" y="12"/>
                      <a:pt x="3" y="12"/>
                    </a:cubicBezTo>
                    <a:cubicBezTo>
                      <a:pt x="0" y="12"/>
                      <a:pt x="0" y="12"/>
                      <a:pt x="0" y="12"/>
                    </a:cubicBezTo>
                    <a:cubicBezTo>
                      <a:pt x="0" y="7"/>
                      <a:pt x="0" y="7"/>
                      <a:pt x="0" y="7"/>
                    </a:cubicBezTo>
                    <a:cubicBezTo>
                      <a:pt x="3" y="7"/>
                      <a:pt x="3" y="7"/>
                      <a:pt x="3" y="7"/>
                    </a:cubicBezTo>
                    <a:cubicBezTo>
                      <a:pt x="3" y="0"/>
                      <a:pt x="3" y="0"/>
                      <a:pt x="3" y="0"/>
                    </a:cubicBezTo>
                    <a:cubicBezTo>
                      <a:pt x="9" y="0"/>
                      <a:pt x="9" y="0"/>
                      <a:pt x="9" y="0"/>
                    </a:cubicBezTo>
                    <a:cubicBezTo>
                      <a:pt x="9" y="7"/>
                      <a:pt x="9" y="7"/>
                      <a:pt x="9" y="7"/>
                    </a:cubicBezTo>
                    <a:cubicBezTo>
                      <a:pt x="13" y="7"/>
                      <a:pt x="13" y="7"/>
                      <a:pt x="13" y="7"/>
                    </a:cubicBezTo>
                    <a:cubicBezTo>
                      <a:pt x="13" y="12"/>
                      <a:pt x="13" y="12"/>
                      <a:pt x="13" y="12"/>
                    </a:cubicBezTo>
                    <a:cubicBezTo>
                      <a:pt x="9" y="12"/>
                      <a:pt x="9" y="12"/>
                      <a:pt x="9" y="12"/>
                    </a:cubicBezTo>
                    <a:cubicBezTo>
                      <a:pt x="9" y="23"/>
                      <a:pt x="9" y="23"/>
                      <a:pt x="9" y="23"/>
                    </a:cubicBezTo>
                    <a:cubicBezTo>
                      <a:pt x="9" y="25"/>
                      <a:pt x="10" y="25"/>
                      <a:pt x="11" y="25"/>
                    </a:cubicBezTo>
                    <a:cubicBezTo>
                      <a:pt x="13" y="25"/>
                      <a:pt x="13" y="25"/>
                      <a:pt x="13" y="25"/>
                    </a:cubicBezTo>
                    <a:lnTo>
                      <a:pt x="13" y="31"/>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8" name="Rectangle 16"/>
              <p:cNvSpPr>
                <a:spLocks noChangeArrowheads="1"/>
              </p:cNvSpPr>
              <p:nvPr/>
            </p:nvSpPr>
            <p:spPr bwMode="auto">
              <a:xfrm>
                <a:off x="5192873" y="3729395"/>
                <a:ext cx="26488" cy="26504"/>
              </a:xfrm>
              <a:prstGeom prst="rect">
                <a:avLst/>
              </a:prstGeom>
              <a:solidFill>
                <a:srgbClr val="2B252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 name="Freeform 17"/>
              <p:cNvSpPr>
                <a:spLocks/>
              </p:cNvSpPr>
              <p:nvPr/>
            </p:nvSpPr>
            <p:spPr bwMode="auto">
              <a:xfrm>
                <a:off x="5287963" y="3630613"/>
                <a:ext cx="88900" cy="125413"/>
              </a:xfrm>
              <a:custGeom>
                <a:avLst/>
                <a:gdLst>
                  <a:gd name="T0" fmla="*/ 141128750 w 56"/>
                  <a:gd name="T1" fmla="*/ 199093931 h 79"/>
                  <a:gd name="T2" fmla="*/ 105846563 w 56"/>
                  <a:gd name="T3" fmla="*/ 199093931 h 79"/>
                  <a:gd name="T4" fmla="*/ 105846563 w 56"/>
                  <a:gd name="T5" fmla="*/ 115927650 h 79"/>
                  <a:gd name="T6" fmla="*/ 35282188 w 56"/>
                  <a:gd name="T7" fmla="*/ 115927650 h 79"/>
                  <a:gd name="T8" fmla="*/ 35282188 w 56"/>
                  <a:gd name="T9" fmla="*/ 199093931 h 79"/>
                  <a:gd name="T10" fmla="*/ 0 w 56"/>
                  <a:gd name="T11" fmla="*/ 199093931 h 79"/>
                  <a:gd name="T12" fmla="*/ 0 w 56"/>
                  <a:gd name="T13" fmla="*/ 0 h 79"/>
                  <a:gd name="T14" fmla="*/ 35282188 w 56"/>
                  <a:gd name="T15" fmla="*/ 0 h 79"/>
                  <a:gd name="T16" fmla="*/ 35282188 w 56"/>
                  <a:gd name="T17" fmla="*/ 78125949 h 79"/>
                  <a:gd name="T18" fmla="*/ 105846563 w 56"/>
                  <a:gd name="T19" fmla="*/ 78125949 h 79"/>
                  <a:gd name="T20" fmla="*/ 105846563 w 56"/>
                  <a:gd name="T21" fmla="*/ 0 h 79"/>
                  <a:gd name="T22" fmla="*/ 141128750 w 56"/>
                  <a:gd name="T23" fmla="*/ 0 h 79"/>
                  <a:gd name="T24" fmla="*/ 141128750 w 56"/>
                  <a:gd name="T25" fmla="*/ 199093931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6" h="79">
                    <a:moveTo>
                      <a:pt x="56" y="79"/>
                    </a:moveTo>
                    <a:lnTo>
                      <a:pt x="42" y="79"/>
                    </a:lnTo>
                    <a:lnTo>
                      <a:pt x="42" y="46"/>
                    </a:lnTo>
                    <a:lnTo>
                      <a:pt x="14" y="46"/>
                    </a:lnTo>
                    <a:lnTo>
                      <a:pt x="14" y="79"/>
                    </a:lnTo>
                    <a:lnTo>
                      <a:pt x="0" y="79"/>
                    </a:lnTo>
                    <a:lnTo>
                      <a:pt x="0" y="0"/>
                    </a:lnTo>
                    <a:lnTo>
                      <a:pt x="14" y="0"/>
                    </a:lnTo>
                    <a:lnTo>
                      <a:pt x="14" y="31"/>
                    </a:lnTo>
                    <a:lnTo>
                      <a:pt x="42" y="31"/>
                    </a:lnTo>
                    <a:lnTo>
                      <a:pt x="42" y="0"/>
                    </a:lnTo>
                    <a:lnTo>
                      <a:pt x="56" y="0"/>
                    </a:lnTo>
                    <a:lnTo>
                      <a:pt x="56"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 name="Freeform 18"/>
              <p:cNvSpPr>
                <a:spLocks noEditPoints="1"/>
              </p:cNvSpPr>
              <p:nvPr/>
            </p:nvSpPr>
            <p:spPr bwMode="auto">
              <a:xfrm>
                <a:off x="5395913" y="3660776"/>
                <a:ext cx="76200" cy="95250"/>
              </a:xfrm>
              <a:custGeom>
                <a:avLst/>
                <a:gdLst>
                  <a:gd name="T0" fmla="*/ 203225400 w 20"/>
                  <a:gd name="T1" fmla="*/ 261289800 h 25"/>
                  <a:gd name="T2" fmla="*/ 145161000 w 20"/>
                  <a:gd name="T3" fmla="*/ 290322000 h 25"/>
                  <a:gd name="T4" fmla="*/ 87096600 w 20"/>
                  <a:gd name="T5" fmla="*/ 246773700 h 25"/>
                  <a:gd name="T6" fmla="*/ 145161000 w 20"/>
                  <a:gd name="T7" fmla="*/ 203225400 h 25"/>
                  <a:gd name="T8" fmla="*/ 203225400 w 20"/>
                  <a:gd name="T9" fmla="*/ 203225400 h 25"/>
                  <a:gd name="T10" fmla="*/ 203225400 w 20"/>
                  <a:gd name="T11" fmla="*/ 232257600 h 25"/>
                  <a:gd name="T12" fmla="*/ 203225400 w 20"/>
                  <a:gd name="T13" fmla="*/ 261289800 h 25"/>
                  <a:gd name="T14" fmla="*/ 290322000 w 20"/>
                  <a:gd name="T15" fmla="*/ 130644900 h 25"/>
                  <a:gd name="T16" fmla="*/ 145161000 w 20"/>
                  <a:gd name="T17" fmla="*/ 0 h 25"/>
                  <a:gd name="T18" fmla="*/ 72580500 w 20"/>
                  <a:gd name="T19" fmla="*/ 14516100 h 25"/>
                  <a:gd name="T20" fmla="*/ 14516100 w 20"/>
                  <a:gd name="T21" fmla="*/ 58064400 h 25"/>
                  <a:gd name="T22" fmla="*/ 72580500 w 20"/>
                  <a:gd name="T23" fmla="*/ 101612700 h 25"/>
                  <a:gd name="T24" fmla="*/ 145161000 w 20"/>
                  <a:gd name="T25" fmla="*/ 72580500 h 25"/>
                  <a:gd name="T26" fmla="*/ 203225400 w 20"/>
                  <a:gd name="T27" fmla="*/ 130644900 h 25"/>
                  <a:gd name="T28" fmla="*/ 203225400 w 20"/>
                  <a:gd name="T29" fmla="*/ 145161000 h 25"/>
                  <a:gd name="T30" fmla="*/ 130644900 w 20"/>
                  <a:gd name="T31" fmla="*/ 145161000 h 25"/>
                  <a:gd name="T32" fmla="*/ 43548300 w 20"/>
                  <a:gd name="T33" fmla="*/ 174193200 h 25"/>
                  <a:gd name="T34" fmla="*/ 0 w 20"/>
                  <a:gd name="T35" fmla="*/ 246773700 h 25"/>
                  <a:gd name="T36" fmla="*/ 43548300 w 20"/>
                  <a:gd name="T37" fmla="*/ 333870300 h 25"/>
                  <a:gd name="T38" fmla="*/ 130644900 w 20"/>
                  <a:gd name="T39" fmla="*/ 362902500 h 25"/>
                  <a:gd name="T40" fmla="*/ 217741500 w 20"/>
                  <a:gd name="T41" fmla="*/ 319354200 h 25"/>
                  <a:gd name="T42" fmla="*/ 217741500 w 20"/>
                  <a:gd name="T43" fmla="*/ 362902500 h 25"/>
                  <a:gd name="T44" fmla="*/ 290322000 w 20"/>
                  <a:gd name="T45" fmla="*/ 362902500 h 25"/>
                  <a:gd name="T46" fmla="*/ 290322000 w 20"/>
                  <a:gd name="T47" fmla="*/ 13064490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4" y="18"/>
                    </a:moveTo>
                    <a:cubicBezTo>
                      <a:pt x="13" y="19"/>
                      <a:pt x="12" y="20"/>
                      <a:pt x="10" y="20"/>
                    </a:cubicBezTo>
                    <a:cubicBezTo>
                      <a:pt x="7" y="20"/>
                      <a:pt x="6" y="19"/>
                      <a:pt x="6" y="17"/>
                    </a:cubicBezTo>
                    <a:cubicBezTo>
                      <a:pt x="6" y="15"/>
                      <a:pt x="7" y="14"/>
                      <a:pt x="10" y="14"/>
                    </a:cubicBezTo>
                    <a:cubicBezTo>
                      <a:pt x="14" y="14"/>
                      <a:pt x="14" y="14"/>
                      <a:pt x="14" y="14"/>
                    </a:cubicBezTo>
                    <a:cubicBezTo>
                      <a:pt x="14" y="16"/>
                      <a:pt x="14" y="16"/>
                      <a:pt x="14" y="16"/>
                    </a:cubicBezTo>
                    <a:cubicBezTo>
                      <a:pt x="14" y="17"/>
                      <a:pt x="14" y="18"/>
                      <a:pt x="14" y="18"/>
                    </a:cubicBezTo>
                    <a:moveTo>
                      <a:pt x="20" y="9"/>
                    </a:moveTo>
                    <a:cubicBezTo>
                      <a:pt x="20" y="3"/>
                      <a:pt x="17" y="0"/>
                      <a:pt x="10" y="0"/>
                    </a:cubicBezTo>
                    <a:cubicBezTo>
                      <a:pt x="8" y="0"/>
                      <a:pt x="6" y="0"/>
                      <a:pt x="5" y="1"/>
                    </a:cubicBezTo>
                    <a:cubicBezTo>
                      <a:pt x="4" y="1"/>
                      <a:pt x="3" y="2"/>
                      <a:pt x="1" y="4"/>
                    </a:cubicBezTo>
                    <a:cubicBezTo>
                      <a:pt x="5" y="7"/>
                      <a:pt x="5" y="7"/>
                      <a:pt x="5" y="7"/>
                    </a:cubicBezTo>
                    <a:cubicBezTo>
                      <a:pt x="6" y="6"/>
                      <a:pt x="8" y="5"/>
                      <a:pt x="10" y="5"/>
                    </a:cubicBezTo>
                    <a:cubicBezTo>
                      <a:pt x="13" y="5"/>
                      <a:pt x="14" y="7"/>
                      <a:pt x="14" y="9"/>
                    </a:cubicBezTo>
                    <a:cubicBezTo>
                      <a:pt x="14" y="10"/>
                      <a:pt x="14" y="10"/>
                      <a:pt x="14" y="10"/>
                    </a:cubicBezTo>
                    <a:cubicBezTo>
                      <a:pt x="9" y="10"/>
                      <a:pt x="9" y="10"/>
                      <a:pt x="9" y="10"/>
                    </a:cubicBezTo>
                    <a:cubicBezTo>
                      <a:pt x="6" y="10"/>
                      <a:pt x="4" y="11"/>
                      <a:pt x="3" y="12"/>
                    </a:cubicBezTo>
                    <a:cubicBezTo>
                      <a:pt x="1" y="14"/>
                      <a:pt x="0" y="15"/>
                      <a:pt x="0" y="17"/>
                    </a:cubicBezTo>
                    <a:cubicBezTo>
                      <a:pt x="0" y="19"/>
                      <a:pt x="1" y="21"/>
                      <a:pt x="3" y="23"/>
                    </a:cubicBezTo>
                    <a:cubicBezTo>
                      <a:pt x="4" y="24"/>
                      <a:pt x="6" y="25"/>
                      <a:pt x="9" y="25"/>
                    </a:cubicBezTo>
                    <a:cubicBezTo>
                      <a:pt x="11" y="25"/>
                      <a:pt x="13" y="24"/>
                      <a:pt x="15" y="22"/>
                    </a:cubicBezTo>
                    <a:cubicBezTo>
                      <a:pt x="15" y="25"/>
                      <a:pt x="15" y="25"/>
                      <a:pt x="15"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 name="Freeform 19"/>
              <p:cNvSpPr>
                <a:spLocks/>
              </p:cNvSpPr>
              <p:nvPr/>
            </p:nvSpPr>
            <p:spPr bwMode="auto">
              <a:xfrm>
                <a:off x="5497513" y="3660776"/>
                <a:ext cx="128588" cy="95250"/>
              </a:xfrm>
              <a:custGeom>
                <a:avLst/>
                <a:gdLst>
                  <a:gd name="T0" fmla="*/ 486319816 w 34"/>
                  <a:gd name="T1" fmla="*/ 362902500 h 25"/>
                  <a:gd name="T2" fmla="*/ 400498672 w 34"/>
                  <a:gd name="T3" fmla="*/ 362902500 h 25"/>
                  <a:gd name="T4" fmla="*/ 400498672 w 34"/>
                  <a:gd name="T5" fmla="*/ 145161000 h 25"/>
                  <a:gd name="T6" fmla="*/ 386195148 w 34"/>
                  <a:gd name="T7" fmla="*/ 101612700 h 25"/>
                  <a:gd name="T8" fmla="*/ 343284576 w 34"/>
                  <a:gd name="T9" fmla="*/ 87096600 h 25"/>
                  <a:gd name="T10" fmla="*/ 300374004 w 34"/>
                  <a:gd name="T11" fmla="*/ 101612700 h 25"/>
                  <a:gd name="T12" fmla="*/ 286070480 w 34"/>
                  <a:gd name="T13" fmla="*/ 145161000 h 25"/>
                  <a:gd name="T14" fmla="*/ 286070480 w 34"/>
                  <a:gd name="T15" fmla="*/ 362902500 h 25"/>
                  <a:gd name="T16" fmla="*/ 200249336 w 34"/>
                  <a:gd name="T17" fmla="*/ 362902500 h 25"/>
                  <a:gd name="T18" fmla="*/ 200249336 w 34"/>
                  <a:gd name="T19" fmla="*/ 145161000 h 25"/>
                  <a:gd name="T20" fmla="*/ 185945812 w 34"/>
                  <a:gd name="T21" fmla="*/ 101612700 h 25"/>
                  <a:gd name="T22" fmla="*/ 143035240 w 34"/>
                  <a:gd name="T23" fmla="*/ 87096600 h 25"/>
                  <a:gd name="T24" fmla="*/ 100124668 w 34"/>
                  <a:gd name="T25" fmla="*/ 101612700 h 25"/>
                  <a:gd name="T26" fmla="*/ 85821144 w 34"/>
                  <a:gd name="T27" fmla="*/ 145161000 h 25"/>
                  <a:gd name="T28" fmla="*/ 85821144 w 34"/>
                  <a:gd name="T29" fmla="*/ 362902500 h 25"/>
                  <a:gd name="T30" fmla="*/ 0 w 34"/>
                  <a:gd name="T31" fmla="*/ 362902500 h 25"/>
                  <a:gd name="T32" fmla="*/ 0 w 34"/>
                  <a:gd name="T33" fmla="*/ 0 h 25"/>
                  <a:gd name="T34" fmla="*/ 85821144 w 34"/>
                  <a:gd name="T35" fmla="*/ 0 h 25"/>
                  <a:gd name="T36" fmla="*/ 85821144 w 34"/>
                  <a:gd name="T37" fmla="*/ 43548300 h 25"/>
                  <a:gd name="T38" fmla="*/ 171642288 w 34"/>
                  <a:gd name="T39" fmla="*/ 0 h 25"/>
                  <a:gd name="T40" fmla="*/ 257463432 w 34"/>
                  <a:gd name="T41" fmla="*/ 43548300 h 25"/>
                  <a:gd name="T42" fmla="*/ 357588100 w 34"/>
                  <a:gd name="T43" fmla="*/ 0 h 25"/>
                  <a:gd name="T44" fmla="*/ 443409244 w 34"/>
                  <a:gd name="T45" fmla="*/ 29032200 h 25"/>
                  <a:gd name="T46" fmla="*/ 486319816 w 34"/>
                  <a:gd name="T47" fmla="*/ 130644900 h 25"/>
                  <a:gd name="T48" fmla="*/ 486319816 w 34"/>
                  <a:gd name="T49" fmla="*/ 362902500 h 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4" h="25">
                    <a:moveTo>
                      <a:pt x="34" y="25"/>
                    </a:moveTo>
                    <a:cubicBezTo>
                      <a:pt x="28" y="25"/>
                      <a:pt x="28" y="25"/>
                      <a:pt x="28" y="25"/>
                    </a:cubicBezTo>
                    <a:cubicBezTo>
                      <a:pt x="28" y="10"/>
                      <a:pt x="28" y="10"/>
                      <a:pt x="28" y="10"/>
                    </a:cubicBezTo>
                    <a:cubicBezTo>
                      <a:pt x="28" y="9"/>
                      <a:pt x="27" y="7"/>
                      <a:pt x="27" y="7"/>
                    </a:cubicBezTo>
                    <a:cubicBezTo>
                      <a:pt x="26" y="6"/>
                      <a:pt x="25" y="6"/>
                      <a:pt x="24" y="6"/>
                    </a:cubicBezTo>
                    <a:cubicBezTo>
                      <a:pt x="23" y="6"/>
                      <a:pt x="22" y="6"/>
                      <a:pt x="21" y="7"/>
                    </a:cubicBezTo>
                    <a:cubicBezTo>
                      <a:pt x="20" y="7"/>
                      <a:pt x="20" y="8"/>
                      <a:pt x="20" y="10"/>
                    </a:cubicBezTo>
                    <a:cubicBezTo>
                      <a:pt x="20" y="25"/>
                      <a:pt x="20" y="25"/>
                      <a:pt x="20" y="25"/>
                    </a:cubicBezTo>
                    <a:cubicBezTo>
                      <a:pt x="14" y="25"/>
                      <a:pt x="14" y="25"/>
                      <a:pt x="14" y="25"/>
                    </a:cubicBezTo>
                    <a:cubicBezTo>
                      <a:pt x="14" y="10"/>
                      <a:pt x="14" y="10"/>
                      <a:pt x="14" y="10"/>
                    </a:cubicBezTo>
                    <a:cubicBezTo>
                      <a:pt x="14" y="9"/>
                      <a:pt x="13" y="7"/>
                      <a:pt x="13" y="7"/>
                    </a:cubicBezTo>
                    <a:cubicBezTo>
                      <a:pt x="12" y="6"/>
                      <a:pt x="11" y="6"/>
                      <a:pt x="10" y="6"/>
                    </a:cubicBezTo>
                    <a:cubicBezTo>
                      <a:pt x="9" y="6"/>
                      <a:pt x="8" y="6"/>
                      <a:pt x="7" y="7"/>
                    </a:cubicBezTo>
                    <a:cubicBezTo>
                      <a:pt x="6" y="7"/>
                      <a:pt x="6" y="9"/>
                      <a:pt x="6" y="10"/>
                    </a:cubicBezTo>
                    <a:cubicBezTo>
                      <a:pt x="6" y="25"/>
                      <a:pt x="6" y="25"/>
                      <a:pt x="6" y="25"/>
                    </a:cubicBezTo>
                    <a:cubicBezTo>
                      <a:pt x="0" y="25"/>
                      <a:pt x="0" y="25"/>
                      <a:pt x="0" y="25"/>
                    </a:cubicBezTo>
                    <a:cubicBezTo>
                      <a:pt x="0" y="0"/>
                      <a:pt x="0" y="0"/>
                      <a:pt x="0" y="0"/>
                    </a:cubicBezTo>
                    <a:cubicBezTo>
                      <a:pt x="6" y="0"/>
                      <a:pt x="6" y="0"/>
                      <a:pt x="6" y="0"/>
                    </a:cubicBezTo>
                    <a:cubicBezTo>
                      <a:pt x="6" y="3"/>
                      <a:pt x="6" y="3"/>
                      <a:pt x="6" y="3"/>
                    </a:cubicBezTo>
                    <a:cubicBezTo>
                      <a:pt x="7" y="1"/>
                      <a:pt x="9" y="0"/>
                      <a:pt x="12" y="0"/>
                    </a:cubicBezTo>
                    <a:cubicBezTo>
                      <a:pt x="14" y="0"/>
                      <a:pt x="17" y="1"/>
                      <a:pt x="18" y="3"/>
                    </a:cubicBezTo>
                    <a:cubicBezTo>
                      <a:pt x="20" y="1"/>
                      <a:pt x="22" y="0"/>
                      <a:pt x="25" y="0"/>
                    </a:cubicBezTo>
                    <a:cubicBezTo>
                      <a:pt x="28" y="0"/>
                      <a:pt x="30" y="1"/>
                      <a:pt x="31" y="2"/>
                    </a:cubicBezTo>
                    <a:cubicBezTo>
                      <a:pt x="33" y="4"/>
                      <a:pt x="34" y="6"/>
                      <a:pt x="34" y="9"/>
                    </a:cubicBezTo>
                    <a:lnTo>
                      <a:pt x="34" y="25"/>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 name="Freeform 20"/>
              <p:cNvSpPr>
                <a:spLocks noEditPoints="1"/>
              </p:cNvSpPr>
              <p:nvPr/>
            </p:nvSpPr>
            <p:spPr bwMode="auto">
              <a:xfrm>
                <a:off x="5645150" y="3660776"/>
                <a:ext cx="74613" cy="95250"/>
              </a:xfrm>
              <a:custGeom>
                <a:avLst/>
                <a:gdLst>
                  <a:gd name="T0" fmla="*/ 180929064 w 20"/>
                  <a:gd name="T1" fmla="*/ 261289800 h 25"/>
                  <a:gd name="T2" fmla="*/ 125260304 w 20"/>
                  <a:gd name="T3" fmla="*/ 290322000 h 25"/>
                  <a:gd name="T4" fmla="*/ 69587814 w 20"/>
                  <a:gd name="T5" fmla="*/ 246773700 h 25"/>
                  <a:gd name="T6" fmla="*/ 125260304 w 20"/>
                  <a:gd name="T7" fmla="*/ 203225400 h 25"/>
                  <a:gd name="T8" fmla="*/ 194848119 w 20"/>
                  <a:gd name="T9" fmla="*/ 203225400 h 25"/>
                  <a:gd name="T10" fmla="*/ 194848119 w 20"/>
                  <a:gd name="T11" fmla="*/ 232257600 h 25"/>
                  <a:gd name="T12" fmla="*/ 180929064 w 20"/>
                  <a:gd name="T13" fmla="*/ 261289800 h 25"/>
                  <a:gd name="T14" fmla="*/ 278354988 w 20"/>
                  <a:gd name="T15" fmla="*/ 130644900 h 25"/>
                  <a:gd name="T16" fmla="*/ 125260304 w 20"/>
                  <a:gd name="T17" fmla="*/ 0 h 25"/>
                  <a:gd name="T18" fmla="*/ 55672490 w 20"/>
                  <a:gd name="T19" fmla="*/ 14516100 h 25"/>
                  <a:gd name="T20" fmla="*/ 13919055 w 20"/>
                  <a:gd name="T21" fmla="*/ 58064400 h 25"/>
                  <a:gd name="T22" fmla="*/ 55672490 w 20"/>
                  <a:gd name="T23" fmla="*/ 101612700 h 25"/>
                  <a:gd name="T24" fmla="*/ 125260304 w 20"/>
                  <a:gd name="T25" fmla="*/ 72580500 h 25"/>
                  <a:gd name="T26" fmla="*/ 194848119 w 20"/>
                  <a:gd name="T27" fmla="*/ 130644900 h 25"/>
                  <a:gd name="T28" fmla="*/ 194848119 w 20"/>
                  <a:gd name="T29" fmla="*/ 145161000 h 25"/>
                  <a:gd name="T30" fmla="*/ 111341249 w 20"/>
                  <a:gd name="T31" fmla="*/ 145161000 h 25"/>
                  <a:gd name="T32" fmla="*/ 27834380 w 20"/>
                  <a:gd name="T33" fmla="*/ 174193200 h 25"/>
                  <a:gd name="T34" fmla="*/ 0 w 20"/>
                  <a:gd name="T35" fmla="*/ 246773700 h 25"/>
                  <a:gd name="T36" fmla="*/ 27834380 w 20"/>
                  <a:gd name="T37" fmla="*/ 333870300 h 25"/>
                  <a:gd name="T38" fmla="*/ 111341249 w 20"/>
                  <a:gd name="T39" fmla="*/ 362902500 h 25"/>
                  <a:gd name="T40" fmla="*/ 194848119 w 20"/>
                  <a:gd name="T41" fmla="*/ 319354200 h 25"/>
                  <a:gd name="T42" fmla="*/ 194848119 w 20"/>
                  <a:gd name="T43" fmla="*/ 362902500 h 25"/>
                  <a:gd name="T44" fmla="*/ 278354988 w 20"/>
                  <a:gd name="T45" fmla="*/ 362902500 h 25"/>
                  <a:gd name="T46" fmla="*/ 278354988 w 20"/>
                  <a:gd name="T47" fmla="*/ 13064490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3" y="18"/>
                    </a:moveTo>
                    <a:cubicBezTo>
                      <a:pt x="12" y="19"/>
                      <a:pt x="11" y="20"/>
                      <a:pt x="9" y="20"/>
                    </a:cubicBezTo>
                    <a:cubicBezTo>
                      <a:pt x="7" y="20"/>
                      <a:pt x="5" y="19"/>
                      <a:pt x="5" y="17"/>
                    </a:cubicBezTo>
                    <a:cubicBezTo>
                      <a:pt x="5" y="15"/>
                      <a:pt x="7" y="14"/>
                      <a:pt x="9" y="14"/>
                    </a:cubicBezTo>
                    <a:cubicBezTo>
                      <a:pt x="14" y="14"/>
                      <a:pt x="14" y="14"/>
                      <a:pt x="14" y="14"/>
                    </a:cubicBezTo>
                    <a:cubicBezTo>
                      <a:pt x="14" y="16"/>
                      <a:pt x="14" y="16"/>
                      <a:pt x="14" y="16"/>
                    </a:cubicBezTo>
                    <a:cubicBezTo>
                      <a:pt x="14" y="17"/>
                      <a:pt x="13" y="18"/>
                      <a:pt x="13" y="18"/>
                    </a:cubicBezTo>
                    <a:moveTo>
                      <a:pt x="20" y="9"/>
                    </a:moveTo>
                    <a:cubicBezTo>
                      <a:pt x="20" y="3"/>
                      <a:pt x="16" y="0"/>
                      <a:pt x="9" y="0"/>
                    </a:cubicBezTo>
                    <a:cubicBezTo>
                      <a:pt x="7" y="0"/>
                      <a:pt x="6" y="0"/>
                      <a:pt x="4" y="1"/>
                    </a:cubicBezTo>
                    <a:cubicBezTo>
                      <a:pt x="3" y="1"/>
                      <a:pt x="2" y="2"/>
                      <a:pt x="1" y="4"/>
                    </a:cubicBezTo>
                    <a:cubicBezTo>
                      <a:pt x="4" y="7"/>
                      <a:pt x="4" y="7"/>
                      <a:pt x="4" y="7"/>
                    </a:cubicBezTo>
                    <a:cubicBezTo>
                      <a:pt x="6" y="6"/>
                      <a:pt x="7" y="5"/>
                      <a:pt x="9" y="5"/>
                    </a:cubicBezTo>
                    <a:cubicBezTo>
                      <a:pt x="12" y="5"/>
                      <a:pt x="14" y="7"/>
                      <a:pt x="14" y="9"/>
                    </a:cubicBezTo>
                    <a:cubicBezTo>
                      <a:pt x="14" y="10"/>
                      <a:pt x="14" y="10"/>
                      <a:pt x="14" y="10"/>
                    </a:cubicBezTo>
                    <a:cubicBezTo>
                      <a:pt x="8" y="10"/>
                      <a:pt x="8" y="10"/>
                      <a:pt x="8" y="10"/>
                    </a:cubicBezTo>
                    <a:cubicBezTo>
                      <a:pt x="5" y="10"/>
                      <a:pt x="3" y="11"/>
                      <a:pt x="2" y="12"/>
                    </a:cubicBezTo>
                    <a:cubicBezTo>
                      <a:pt x="0" y="14"/>
                      <a:pt x="0" y="15"/>
                      <a:pt x="0" y="17"/>
                    </a:cubicBezTo>
                    <a:cubicBezTo>
                      <a:pt x="0" y="19"/>
                      <a:pt x="0" y="21"/>
                      <a:pt x="2" y="23"/>
                    </a:cubicBezTo>
                    <a:cubicBezTo>
                      <a:pt x="3" y="24"/>
                      <a:pt x="5" y="25"/>
                      <a:pt x="8" y="25"/>
                    </a:cubicBezTo>
                    <a:cubicBezTo>
                      <a:pt x="10" y="25"/>
                      <a:pt x="12" y="24"/>
                      <a:pt x="14" y="22"/>
                    </a:cubicBezTo>
                    <a:cubicBezTo>
                      <a:pt x="14" y="25"/>
                      <a:pt x="14" y="25"/>
                      <a:pt x="14"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 name="Freeform 21"/>
              <p:cNvSpPr>
                <a:spLocks/>
              </p:cNvSpPr>
              <p:nvPr/>
            </p:nvSpPr>
            <p:spPr bwMode="auto">
              <a:xfrm>
                <a:off x="5741988" y="3660776"/>
                <a:ext cx="68263" cy="95250"/>
              </a:xfrm>
              <a:custGeom>
                <a:avLst/>
                <a:gdLst>
                  <a:gd name="T0" fmla="*/ 258879843 w 18"/>
                  <a:gd name="T1" fmla="*/ 43548300 h 25"/>
                  <a:gd name="T2" fmla="*/ 186968565 w 18"/>
                  <a:gd name="T3" fmla="*/ 101612700 h 25"/>
                  <a:gd name="T4" fmla="*/ 143822556 w 18"/>
                  <a:gd name="T5" fmla="*/ 87096600 h 25"/>
                  <a:gd name="T6" fmla="*/ 100676548 w 18"/>
                  <a:gd name="T7" fmla="*/ 101612700 h 25"/>
                  <a:gd name="T8" fmla="*/ 86292017 w 18"/>
                  <a:gd name="T9" fmla="*/ 145161000 h 25"/>
                  <a:gd name="T10" fmla="*/ 86292017 w 18"/>
                  <a:gd name="T11" fmla="*/ 362902500 h 25"/>
                  <a:gd name="T12" fmla="*/ 0 w 18"/>
                  <a:gd name="T13" fmla="*/ 362902500 h 25"/>
                  <a:gd name="T14" fmla="*/ 0 w 18"/>
                  <a:gd name="T15" fmla="*/ 0 h 25"/>
                  <a:gd name="T16" fmla="*/ 86292017 w 18"/>
                  <a:gd name="T17" fmla="*/ 0 h 25"/>
                  <a:gd name="T18" fmla="*/ 86292017 w 18"/>
                  <a:gd name="T19" fmla="*/ 43548300 h 25"/>
                  <a:gd name="T20" fmla="*/ 172587826 w 18"/>
                  <a:gd name="T21" fmla="*/ 0 h 25"/>
                  <a:gd name="T22" fmla="*/ 258879843 w 18"/>
                  <a:gd name="T23" fmla="*/ 43548300 h 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25">
                    <a:moveTo>
                      <a:pt x="18" y="3"/>
                    </a:moveTo>
                    <a:cubicBezTo>
                      <a:pt x="13" y="7"/>
                      <a:pt x="13" y="7"/>
                      <a:pt x="13" y="7"/>
                    </a:cubicBezTo>
                    <a:cubicBezTo>
                      <a:pt x="12" y="6"/>
                      <a:pt x="11" y="6"/>
                      <a:pt x="10" y="6"/>
                    </a:cubicBezTo>
                    <a:cubicBezTo>
                      <a:pt x="9" y="6"/>
                      <a:pt x="8" y="6"/>
                      <a:pt x="7" y="7"/>
                    </a:cubicBezTo>
                    <a:cubicBezTo>
                      <a:pt x="6" y="8"/>
                      <a:pt x="6" y="9"/>
                      <a:pt x="6" y="10"/>
                    </a:cubicBezTo>
                    <a:cubicBezTo>
                      <a:pt x="6" y="25"/>
                      <a:pt x="6" y="25"/>
                      <a:pt x="6" y="25"/>
                    </a:cubicBezTo>
                    <a:cubicBezTo>
                      <a:pt x="0" y="25"/>
                      <a:pt x="0" y="25"/>
                      <a:pt x="0" y="25"/>
                    </a:cubicBezTo>
                    <a:cubicBezTo>
                      <a:pt x="0" y="0"/>
                      <a:pt x="0" y="0"/>
                      <a:pt x="0" y="0"/>
                    </a:cubicBezTo>
                    <a:cubicBezTo>
                      <a:pt x="6" y="0"/>
                      <a:pt x="6" y="0"/>
                      <a:pt x="6" y="0"/>
                    </a:cubicBezTo>
                    <a:cubicBezTo>
                      <a:pt x="6" y="3"/>
                      <a:pt x="6" y="3"/>
                      <a:pt x="6" y="3"/>
                    </a:cubicBezTo>
                    <a:cubicBezTo>
                      <a:pt x="7" y="1"/>
                      <a:pt x="9" y="0"/>
                      <a:pt x="12" y="0"/>
                    </a:cubicBezTo>
                    <a:cubicBezTo>
                      <a:pt x="14" y="0"/>
                      <a:pt x="16" y="1"/>
                      <a:pt x="18" y="3"/>
                    </a:cubicBezTo>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 name="Freeform 22"/>
              <p:cNvSpPr>
                <a:spLocks noEditPoints="1"/>
              </p:cNvSpPr>
              <p:nvPr/>
            </p:nvSpPr>
            <p:spPr bwMode="auto">
              <a:xfrm>
                <a:off x="5821363" y="3630613"/>
                <a:ext cx="22225" cy="125413"/>
              </a:xfrm>
              <a:custGeom>
                <a:avLst/>
                <a:gdLst>
                  <a:gd name="T0" fmla="*/ 35282188 w 14"/>
                  <a:gd name="T1" fmla="*/ 25201663 h 79"/>
                  <a:gd name="T2" fmla="*/ 0 w 14"/>
                  <a:gd name="T3" fmla="*/ 25201663 h 79"/>
                  <a:gd name="T4" fmla="*/ 0 w 14"/>
                  <a:gd name="T5" fmla="*/ 0 h 79"/>
                  <a:gd name="T6" fmla="*/ 35282188 w 14"/>
                  <a:gd name="T7" fmla="*/ 0 h 79"/>
                  <a:gd name="T8" fmla="*/ 35282188 w 14"/>
                  <a:gd name="T9" fmla="*/ 25201663 h 79"/>
                  <a:gd name="T10" fmla="*/ 35282188 w 14"/>
                  <a:gd name="T11" fmla="*/ 199093931 h 79"/>
                  <a:gd name="T12" fmla="*/ 0 w 14"/>
                  <a:gd name="T13" fmla="*/ 199093931 h 79"/>
                  <a:gd name="T14" fmla="*/ 0 w 14"/>
                  <a:gd name="T15" fmla="*/ 47883953 h 79"/>
                  <a:gd name="T16" fmla="*/ 35282188 w 14"/>
                  <a:gd name="T17" fmla="*/ 47883953 h 79"/>
                  <a:gd name="T18" fmla="*/ 35282188 w 14"/>
                  <a:gd name="T19" fmla="*/ 199093931 h 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79">
                    <a:moveTo>
                      <a:pt x="14" y="10"/>
                    </a:moveTo>
                    <a:lnTo>
                      <a:pt x="0" y="10"/>
                    </a:lnTo>
                    <a:lnTo>
                      <a:pt x="0" y="0"/>
                    </a:lnTo>
                    <a:lnTo>
                      <a:pt x="14" y="0"/>
                    </a:lnTo>
                    <a:lnTo>
                      <a:pt x="14" y="10"/>
                    </a:lnTo>
                    <a:close/>
                    <a:moveTo>
                      <a:pt x="14" y="79"/>
                    </a:moveTo>
                    <a:lnTo>
                      <a:pt x="0" y="79"/>
                    </a:lnTo>
                    <a:lnTo>
                      <a:pt x="0" y="19"/>
                    </a:lnTo>
                    <a:lnTo>
                      <a:pt x="14" y="19"/>
                    </a:lnTo>
                    <a:lnTo>
                      <a:pt x="14"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 name="Freeform 23"/>
              <p:cNvSpPr>
                <a:spLocks/>
              </p:cNvSpPr>
              <p:nvPr/>
            </p:nvSpPr>
            <p:spPr bwMode="auto">
              <a:xfrm>
                <a:off x="5897563" y="3630613"/>
                <a:ext cx="74613" cy="125413"/>
              </a:xfrm>
              <a:custGeom>
                <a:avLst/>
                <a:gdLst>
                  <a:gd name="T0" fmla="*/ 278354988 w 20"/>
                  <a:gd name="T1" fmla="*/ 317747137 h 33"/>
                  <a:gd name="T2" fmla="*/ 236601554 w 20"/>
                  <a:gd name="T3" fmla="*/ 433290514 h 33"/>
                  <a:gd name="T4" fmla="*/ 125260304 w 20"/>
                  <a:gd name="T5" fmla="*/ 476618805 h 33"/>
                  <a:gd name="T6" fmla="*/ 0 w 20"/>
                  <a:gd name="T7" fmla="*/ 418845216 h 33"/>
                  <a:gd name="T8" fmla="*/ 69587814 w 20"/>
                  <a:gd name="T9" fmla="*/ 361075428 h 33"/>
                  <a:gd name="T10" fmla="*/ 125260304 w 20"/>
                  <a:gd name="T11" fmla="*/ 389962223 h 33"/>
                  <a:gd name="T12" fmla="*/ 194848119 w 20"/>
                  <a:gd name="T13" fmla="*/ 317747137 h 33"/>
                  <a:gd name="T14" fmla="*/ 194848119 w 20"/>
                  <a:gd name="T15" fmla="*/ 0 h 33"/>
                  <a:gd name="T16" fmla="*/ 278354988 w 20"/>
                  <a:gd name="T17" fmla="*/ 0 h 33"/>
                  <a:gd name="T18" fmla="*/ 278354988 w 20"/>
                  <a:gd name="T19" fmla="*/ 317747137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33">
                    <a:moveTo>
                      <a:pt x="20" y="22"/>
                    </a:moveTo>
                    <a:cubicBezTo>
                      <a:pt x="20" y="25"/>
                      <a:pt x="19" y="28"/>
                      <a:pt x="17" y="30"/>
                    </a:cubicBezTo>
                    <a:cubicBezTo>
                      <a:pt x="15" y="32"/>
                      <a:pt x="12" y="33"/>
                      <a:pt x="9" y="33"/>
                    </a:cubicBezTo>
                    <a:cubicBezTo>
                      <a:pt x="5" y="33"/>
                      <a:pt x="3" y="32"/>
                      <a:pt x="0" y="29"/>
                    </a:cubicBezTo>
                    <a:cubicBezTo>
                      <a:pt x="5" y="25"/>
                      <a:pt x="5" y="25"/>
                      <a:pt x="5" y="25"/>
                    </a:cubicBezTo>
                    <a:cubicBezTo>
                      <a:pt x="6" y="27"/>
                      <a:pt x="7" y="27"/>
                      <a:pt x="9" y="27"/>
                    </a:cubicBezTo>
                    <a:cubicBezTo>
                      <a:pt x="12" y="27"/>
                      <a:pt x="14" y="25"/>
                      <a:pt x="14" y="22"/>
                    </a:cubicBezTo>
                    <a:cubicBezTo>
                      <a:pt x="14" y="0"/>
                      <a:pt x="14" y="0"/>
                      <a:pt x="14" y="0"/>
                    </a:cubicBezTo>
                    <a:cubicBezTo>
                      <a:pt x="20" y="0"/>
                      <a:pt x="20" y="0"/>
                      <a:pt x="20" y="0"/>
                    </a:cubicBezTo>
                    <a:lnTo>
                      <a:pt x="20" y="2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 name="Freeform 24"/>
              <p:cNvSpPr>
                <a:spLocks noEditPoints="1"/>
              </p:cNvSpPr>
              <p:nvPr/>
            </p:nvSpPr>
            <p:spPr bwMode="auto">
              <a:xfrm>
                <a:off x="5994400" y="3660776"/>
                <a:ext cx="79375" cy="95250"/>
              </a:xfrm>
              <a:custGeom>
                <a:avLst/>
                <a:gdLst>
                  <a:gd name="T0" fmla="*/ 85721220 w 21"/>
                  <a:gd name="T1" fmla="*/ 145161000 h 25"/>
                  <a:gd name="T2" fmla="*/ 85721220 w 21"/>
                  <a:gd name="T3" fmla="*/ 116128800 h 25"/>
                  <a:gd name="T4" fmla="*/ 142867440 w 21"/>
                  <a:gd name="T5" fmla="*/ 72580500 h 25"/>
                  <a:gd name="T6" fmla="*/ 200013661 w 21"/>
                  <a:gd name="T7" fmla="*/ 116128800 h 25"/>
                  <a:gd name="T8" fmla="*/ 214297381 w 21"/>
                  <a:gd name="T9" fmla="*/ 145161000 h 25"/>
                  <a:gd name="T10" fmla="*/ 85721220 w 21"/>
                  <a:gd name="T11" fmla="*/ 145161000 h 25"/>
                  <a:gd name="T12" fmla="*/ 300018601 w 21"/>
                  <a:gd name="T13" fmla="*/ 174193200 h 25"/>
                  <a:gd name="T14" fmla="*/ 257159881 w 21"/>
                  <a:gd name="T15" fmla="*/ 58064400 h 25"/>
                  <a:gd name="T16" fmla="*/ 142867440 w 21"/>
                  <a:gd name="T17" fmla="*/ 0 h 25"/>
                  <a:gd name="T18" fmla="*/ 42858720 w 21"/>
                  <a:gd name="T19" fmla="*/ 43548300 h 25"/>
                  <a:gd name="T20" fmla="*/ 0 w 21"/>
                  <a:gd name="T21" fmla="*/ 188709300 h 25"/>
                  <a:gd name="T22" fmla="*/ 157151161 w 21"/>
                  <a:gd name="T23" fmla="*/ 362902500 h 25"/>
                  <a:gd name="T24" fmla="*/ 228584881 w 21"/>
                  <a:gd name="T25" fmla="*/ 348386400 h 25"/>
                  <a:gd name="T26" fmla="*/ 285731101 w 21"/>
                  <a:gd name="T27" fmla="*/ 304838100 h 25"/>
                  <a:gd name="T28" fmla="*/ 228584881 w 21"/>
                  <a:gd name="T29" fmla="*/ 261289800 h 25"/>
                  <a:gd name="T30" fmla="*/ 157151161 w 21"/>
                  <a:gd name="T31" fmla="*/ 290322000 h 25"/>
                  <a:gd name="T32" fmla="*/ 100004940 w 21"/>
                  <a:gd name="T33" fmla="*/ 261289800 h 25"/>
                  <a:gd name="T34" fmla="*/ 85721220 w 21"/>
                  <a:gd name="T35" fmla="*/ 203225400 h 25"/>
                  <a:gd name="T36" fmla="*/ 300018601 w 21"/>
                  <a:gd name="T37" fmla="*/ 203225400 h 25"/>
                  <a:gd name="T38" fmla="*/ 300018601 w 21"/>
                  <a:gd name="T39" fmla="*/ 17419320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6" y="8"/>
                    </a:cubicBezTo>
                    <a:cubicBezTo>
                      <a:pt x="7" y="6"/>
                      <a:pt x="8" y="5"/>
                      <a:pt x="10" y="5"/>
                    </a:cubicBezTo>
                    <a:cubicBezTo>
                      <a:pt x="12" y="5"/>
                      <a:pt x="14" y="6"/>
                      <a:pt x="14" y="8"/>
                    </a:cubicBezTo>
                    <a:cubicBezTo>
                      <a:pt x="15" y="8"/>
                      <a:pt x="15" y="9"/>
                      <a:pt x="15" y="10"/>
                    </a:cubicBezTo>
                    <a:lnTo>
                      <a:pt x="6" y="10"/>
                    </a:lnTo>
                    <a:close/>
                    <a:moveTo>
                      <a:pt x="21" y="12"/>
                    </a:moveTo>
                    <a:cubicBezTo>
                      <a:pt x="21" y="8"/>
                      <a:pt x="20" y="6"/>
                      <a:pt x="18" y="4"/>
                    </a:cubicBezTo>
                    <a:cubicBezTo>
                      <a:pt x="16" y="1"/>
                      <a:pt x="14" y="0"/>
                      <a:pt x="10" y="0"/>
                    </a:cubicBezTo>
                    <a:cubicBezTo>
                      <a:pt x="7" y="0"/>
                      <a:pt x="5" y="1"/>
                      <a:pt x="3" y="3"/>
                    </a:cubicBezTo>
                    <a:cubicBezTo>
                      <a:pt x="1" y="6"/>
                      <a:pt x="0" y="9"/>
                      <a:pt x="0" y="13"/>
                    </a:cubicBezTo>
                    <a:cubicBezTo>
                      <a:pt x="0" y="21"/>
                      <a:pt x="4" y="25"/>
                      <a:pt x="11" y="25"/>
                    </a:cubicBezTo>
                    <a:cubicBezTo>
                      <a:pt x="13" y="25"/>
                      <a:pt x="15" y="25"/>
                      <a:pt x="16" y="24"/>
                    </a:cubicBezTo>
                    <a:cubicBezTo>
                      <a:pt x="18" y="23"/>
                      <a:pt x="19" y="22"/>
                      <a:pt x="20" y="21"/>
                    </a:cubicBezTo>
                    <a:cubicBezTo>
                      <a:pt x="16" y="18"/>
                      <a:pt x="16" y="18"/>
                      <a:pt x="16" y="18"/>
                    </a:cubicBezTo>
                    <a:cubicBezTo>
                      <a:pt x="15" y="19"/>
                      <a:pt x="13" y="20"/>
                      <a:pt x="11" y="20"/>
                    </a:cubicBezTo>
                    <a:cubicBezTo>
                      <a:pt x="9" y="20"/>
                      <a:pt x="8" y="19"/>
                      <a:pt x="7" y="18"/>
                    </a:cubicBezTo>
                    <a:cubicBezTo>
                      <a:pt x="6"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 name="Freeform 25"/>
              <p:cNvSpPr>
                <a:spLocks noEditPoints="1"/>
              </p:cNvSpPr>
              <p:nvPr/>
            </p:nvSpPr>
            <p:spPr bwMode="auto">
              <a:xfrm>
                <a:off x="6089650" y="3660776"/>
                <a:ext cx="77788" cy="95250"/>
              </a:xfrm>
              <a:custGeom>
                <a:avLst/>
                <a:gdLst>
                  <a:gd name="T0" fmla="*/ 82325633 w 21"/>
                  <a:gd name="T1" fmla="*/ 145161000 h 25"/>
                  <a:gd name="T2" fmla="*/ 96045955 w 21"/>
                  <a:gd name="T3" fmla="*/ 116128800 h 25"/>
                  <a:gd name="T4" fmla="*/ 150930945 w 21"/>
                  <a:gd name="T5" fmla="*/ 72580500 h 25"/>
                  <a:gd name="T6" fmla="*/ 205815935 w 21"/>
                  <a:gd name="T7" fmla="*/ 116128800 h 25"/>
                  <a:gd name="T8" fmla="*/ 205815935 w 21"/>
                  <a:gd name="T9" fmla="*/ 145161000 h 25"/>
                  <a:gd name="T10" fmla="*/ 82325633 w 21"/>
                  <a:gd name="T11" fmla="*/ 145161000 h 25"/>
                  <a:gd name="T12" fmla="*/ 288141569 w 21"/>
                  <a:gd name="T13" fmla="*/ 174193200 h 25"/>
                  <a:gd name="T14" fmla="*/ 246976900 w 21"/>
                  <a:gd name="T15" fmla="*/ 58064400 h 25"/>
                  <a:gd name="T16" fmla="*/ 150930945 w 21"/>
                  <a:gd name="T17" fmla="*/ 0 h 25"/>
                  <a:gd name="T18" fmla="*/ 41164669 w 21"/>
                  <a:gd name="T19" fmla="*/ 43548300 h 25"/>
                  <a:gd name="T20" fmla="*/ 0 w 21"/>
                  <a:gd name="T21" fmla="*/ 188709300 h 25"/>
                  <a:gd name="T22" fmla="*/ 150930945 w 21"/>
                  <a:gd name="T23" fmla="*/ 362902500 h 25"/>
                  <a:gd name="T24" fmla="*/ 233256578 w 21"/>
                  <a:gd name="T25" fmla="*/ 348386400 h 25"/>
                  <a:gd name="T26" fmla="*/ 274421247 w 21"/>
                  <a:gd name="T27" fmla="*/ 304838100 h 25"/>
                  <a:gd name="T28" fmla="*/ 233256578 w 21"/>
                  <a:gd name="T29" fmla="*/ 261289800 h 25"/>
                  <a:gd name="T30" fmla="*/ 150930945 w 21"/>
                  <a:gd name="T31" fmla="*/ 290322000 h 25"/>
                  <a:gd name="T32" fmla="*/ 96045955 w 21"/>
                  <a:gd name="T33" fmla="*/ 261289800 h 25"/>
                  <a:gd name="T34" fmla="*/ 82325633 w 21"/>
                  <a:gd name="T35" fmla="*/ 203225400 h 25"/>
                  <a:gd name="T36" fmla="*/ 288141569 w 21"/>
                  <a:gd name="T37" fmla="*/ 203225400 h 25"/>
                  <a:gd name="T38" fmla="*/ 288141569 w 21"/>
                  <a:gd name="T39" fmla="*/ 17419320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7" y="8"/>
                    </a:cubicBezTo>
                    <a:cubicBezTo>
                      <a:pt x="7" y="6"/>
                      <a:pt x="9" y="5"/>
                      <a:pt x="11" y="5"/>
                    </a:cubicBezTo>
                    <a:cubicBezTo>
                      <a:pt x="13" y="5"/>
                      <a:pt x="14" y="6"/>
                      <a:pt x="15" y="8"/>
                    </a:cubicBezTo>
                    <a:cubicBezTo>
                      <a:pt x="15" y="8"/>
                      <a:pt x="15" y="9"/>
                      <a:pt x="15" y="10"/>
                    </a:cubicBezTo>
                    <a:lnTo>
                      <a:pt x="6" y="10"/>
                    </a:lnTo>
                    <a:close/>
                    <a:moveTo>
                      <a:pt x="21" y="12"/>
                    </a:moveTo>
                    <a:cubicBezTo>
                      <a:pt x="21" y="8"/>
                      <a:pt x="20" y="6"/>
                      <a:pt x="18" y="4"/>
                    </a:cubicBezTo>
                    <a:cubicBezTo>
                      <a:pt x="17" y="1"/>
                      <a:pt x="14" y="0"/>
                      <a:pt x="11" y="0"/>
                    </a:cubicBezTo>
                    <a:cubicBezTo>
                      <a:pt x="8" y="0"/>
                      <a:pt x="5" y="1"/>
                      <a:pt x="3" y="3"/>
                    </a:cubicBezTo>
                    <a:cubicBezTo>
                      <a:pt x="1" y="6"/>
                      <a:pt x="0" y="9"/>
                      <a:pt x="0" y="13"/>
                    </a:cubicBezTo>
                    <a:cubicBezTo>
                      <a:pt x="0" y="21"/>
                      <a:pt x="4" y="25"/>
                      <a:pt x="11" y="25"/>
                    </a:cubicBezTo>
                    <a:cubicBezTo>
                      <a:pt x="13" y="25"/>
                      <a:pt x="15" y="25"/>
                      <a:pt x="17" y="24"/>
                    </a:cubicBezTo>
                    <a:cubicBezTo>
                      <a:pt x="18" y="23"/>
                      <a:pt x="19" y="22"/>
                      <a:pt x="20" y="21"/>
                    </a:cubicBezTo>
                    <a:cubicBezTo>
                      <a:pt x="17" y="18"/>
                      <a:pt x="17" y="18"/>
                      <a:pt x="17" y="18"/>
                    </a:cubicBezTo>
                    <a:cubicBezTo>
                      <a:pt x="15" y="19"/>
                      <a:pt x="13" y="20"/>
                      <a:pt x="11" y="20"/>
                    </a:cubicBezTo>
                    <a:cubicBezTo>
                      <a:pt x="10" y="20"/>
                      <a:pt x="8" y="19"/>
                      <a:pt x="7" y="18"/>
                    </a:cubicBezTo>
                    <a:cubicBezTo>
                      <a:pt x="7"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 name="Freeform 26"/>
              <p:cNvSpPr>
                <a:spLocks/>
              </p:cNvSpPr>
              <p:nvPr/>
            </p:nvSpPr>
            <p:spPr bwMode="auto">
              <a:xfrm>
                <a:off x="6183313" y="3638551"/>
                <a:ext cx="49213" cy="117475"/>
              </a:xfrm>
              <a:custGeom>
                <a:avLst/>
                <a:gdLst>
                  <a:gd name="T0" fmla="*/ 186301490 w 13"/>
                  <a:gd name="T1" fmla="*/ 445173407 h 31"/>
                  <a:gd name="T2" fmla="*/ 128979702 w 13"/>
                  <a:gd name="T3" fmla="*/ 445173407 h 31"/>
                  <a:gd name="T4" fmla="*/ 57321788 w 13"/>
                  <a:gd name="T5" fmla="*/ 402090398 h 31"/>
                  <a:gd name="T6" fmla="*/ 28660894 w 13"/>
                  <a:gd name="T7" fmla="*/ 344648913 h 31"/>
                  <a:gd name="T8" fmla="*/ 28660894 w 13"/>
                  <a:gd name="T9" fmla="*/ 172324456 h 31"/>
                  <a:gd name="T10" fmla="*/ 0 w 13"/>
                  <a:gd name="T11" fmla="*/ 172324456 h 31"/>
                  <a:gd name="T12" fmla="*/ 0 w 13"/>
                  <a:gd name="T13" fmla="*/ 100524494 h 31"/>
                  <a:gd name="T14" fmla="*/ 28660894 w 13"/>
                  <a:gd name="T15" fmla="*/ 100524494 h 31"/>
                  <a:gd name="T16" fmla="*/ 28660894 w 13"/>
                  <a:gd name="T17" fmla="*/ 0 h 31"/>
                  <a:gd name="T18" fmla="*/ 114647362 w 13"/>
                  <a:gd name="T19" fmla="*/ 0 h 31"/>
                  <a:gd name="T20" fmla="*/ 114647362 w 13"/>
                  <a:gd name="T21" fmla="*/ 100524494 h 31"/>
                  <a:gd name="T22" fmla="*/ 186301490 w 13"/>
                  <a:gd name="T23" fmla="*/ 100524494 h 31"/>
                  <a:gd name="T24" fmla="*/ 186301490 w 13"/>
                  <a:gd name="T25" fmla="*/ 172324456 h 31"/>
                  <a:gd name="T26" fmla="*/ 114647362 w 13"/>
                  <a:gd name="T27" fmla="*/ 172324456 h 31"/>
                  <a:gd name="T28" fmla="*/ 114647362 w 13"/>
                  <a:gd name="T29" fmla="*/ 330290436 h 31"/>
                  <a:gd name="T30" fmla="*/ 143308256 w 13"/>
                  <a:gd name="T31" fmla="*/ 359011179 h 31"/>
                  <a:gd name="T32" fmla="*/ 186301490 w 13"/>
                  <a:gd name="T33" fmla="*/ 359011179 h 31"/>
                  <a:gd name="T34" fmla="*/ 186301490 w 13"/>
                  <a:gd name="T35" fmla="*/ 445173407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31">
                    <a:moveTo>
                      <a:pt x="13" y="31"/>
                    </a:moveTo>
                    <a:cubicBezTo>
                      <a:pt x="9" y="31"/>
                      <a:pt x="9" y="31"/>
                      <a:pt x="9" y="31"/>
                    </a:cubicBezTo>
                    <a:cubicBezTo>
                      <a:pt x="7" y="31"/>
                      <a:pt x="5" y="30"/>
                      <a:pt x="4" y="28"/>
                    </a:cubicBezTo>
                    <a:cubicBezTo>
                      <a:pt x="3" y="27"/>
                      <a:pt x="2" y="26"/>
                      <a:pt x="2" y="24"/>
                    </a:cubicBezTo>
                    <a:cubicBezTo>
                      <a:pt x="2" y="12"/>
                      <a:pt x="2" y="12"/>
                      <a:pt x="2" y="12"/>
                    </a:cubicBezTo>
                    <a:cubicBezTo>
                      <a:pt x="0" y="12"/>
                      <a:pt x="0" y="12"/>
                      <a:pt x="0" y="12"/>
                    </a:cubicBezTo>
                    <a:cubicBezTo>
                      <a:pt x="0" y="7"/>
                      <a:pt x="0" y="7"/>
                      <a:pt x="0" y="7"/>
                    </a:cubicBezTo>
                    <a:cubicBezTo>
                      <a:pt x="2" y="7"/>
                      <a:pt x="2" y="7"/>
                      <a:pt x="2" y="7"/>
                    </a:cubicBezTo>
                    <a:cubicBezTo>
                      <a:pt x="2" y="0"/>
                      <a:pt x="2" y="0"/>
                      <a:pt x="2" y="0"/>
                    </a:cubicBezTo>
                    <a:cubicBezTo>
                      <a:pt x="8" y="0"/>
                      <a:pt x="8" y="0"/>
                      <a:pt x="8" y="0"/>
                    </a:cubicBezTo>
                    <a:cubicBezTo>
                      <a:pt x="8" y="7"/>
                      <a:pt x="8" y="7"/>
                      <a:pt x="8" y="7"/>
                    </a:cubicBezTo>
                    <a:cubicBezTo>
                      <a:pt x="13" y="7"/>
                      <a:pt x="13" y="7"/>
                      <a:pt x="13" y="7"/>
                    </a:cubicBezTo>
                    <a:cubicBezTo>
                      <a:pt x="13" y="12"/>
                      <a:pt x="13" y="12"/>
                      <a:pt x="13" y="12"/>
                    </a:cubicBezTo>
                    <a:cubicBezTo>
                      <a:pt x="8" y="12"/>
                      <a:pt x="8" y="12"/>
                      <a:pt x="8" y="12"/>
                    </a:cubicBezTo>
                    <a:cubicBezTo>
                      <a:pt x="8" y="23"/>
                      <a:pt x="8" y="23"/>
                      <a:pt x="8" y="23"/>
                    </a:cubicBezTo>
                    <a:cubicBezTo>
                      <a:pt x="8" y="25"/>
                      <a:pt x="9" y="25"/>
                      <a:pt x="10" y="25"/>
                    </a:cubicBezTo>
                    <a:cubicBezTo>
                      <a:pt x="13" y="25"/>
                      <a:pt x="13" y="25"/>
                      <a:pt x="13" y="25"/>
                    </a:cubicBezTo>
                    <a:lnTo>
                      <a:pt x="13" y="31"/>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 name="Rectangle 27"/>
              <p:cNvSpPr>
                <a:spLocks noChangeArrowheads="1"/>
              </p:cNvSpPr>
              <p:nvPr/>
            </p:nvSpPr>
            <p:spPr bwMode="auto">
              <a:xfrm>
                <a:off x="6250488" y="3729395"/>
                <a:ext cx="26488" cy="26504"/>
              </a:xfrm>
              <a:prstGeom prst="rect">
                <a:avLst/>
              </a:prstGeom>
              <a:solidFill>
                <a:srgbClr val="2B252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4" name="Group 9"/>
            <p:cNvGrpSpPr>
              <a:grpSpLocks/>
            </p:cNvGrpSpPr>
            <p:nvPr/>
          </p:nvGrpSpPr>
          <p:grpSpPr bwMode="auto">
            <a:xfrm>
              <a:off x="2863850" y="3078163"/>
              <a:ext cx="3413126" cy="552450"/>
              <a:chOff x="2863850" y="3078163"/>
              <a:chExt cx="3413126" cy="552450"/>
            </a:xfrm>
          </p:grpSpPr>
          <p:sp>
            <p:nvSpPr>
              <p:cNvPr id="5" name="Freeform 28"/>
              <p:cNvSpPr>
                <a:spLocks/>
              </p:cNvSpPr>
              <p:nvPr/>
            </p:nvSpPr>
            <p:spPr bwMode="auto">
              <a:xfrm>
                <a:off x="4772025" y="3273426"/>
                <a:ext cx="157163" cy="158750"/>
              </a:xfrm>
              <a:custGeom>
                <a:avLst/>
                <a:gdLst>
                  <a:gd name="T0" fmla="*/ 182032174 w 42"/>
                  <a:gd name="T1" fmla="*/ 457169762 h 42"/>
                  <a:gd name="T2" fmla="*/ 588100204 w 42"/>
                  <a:gd name="T3" fmla="*/ 457169762 h 42"/>
                  <a:gd name="T4" fmla="*/ 588100204 w 42"/>
                  <a:gd name="T5" fmla="*/ 600037202 h 42"/>
                  <a:gd name="T6" fmla="*/ 0 w 42"/>
                  <a:gd name="T7" fmla="*/ 600037202 h 42"/>
                  <a:gd name="T8" fmla="*/ 0 w 42"/>
                  <a:gd name="T9" fmla="*/ 0 h 42"/>
                  <a:gd name="T10" fmla="*/ 56009900 w 42"/>
                  <a:gd name="T11" fmla="*/ 0 h 42"/>
                  <a:gd name="T12" fmla="*/ 182032174 w 42"/>
                  <a:gd name="T13" fmla="*/ 100004940 h 42"/>
                  <a:gd name="T14" fmla="*/ 182032174 w 42"/>
                  <a:gd name="T15" fmla="*/ 457169762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2">
                    <a:moveTo>
                      <a:pt x="13" y="32"/>
                    </a:moveTo>
                    <a:cubicBezTo>
                      <a:pt x="42" y="32"/>
                      <a:pt x="42" y="32"/>
                      <a:pt x="42" y="32"/>
                    </a:cubicBezTo>
                    <a:cubicBezTo>
                      <a:pt x="42" y="42"/>
                      <a:pt x="42" y="42"/>
                      <a:pt x="42" y="42"/>
                    </a:cubicBezTo>
                    <a:cubicBezTo>
                      <a:pt x="0" y="42"/>
                      <a:pt x="0" y="42"/>
                      <a:pt x="0" y="42"/>
                    </a:cubicBezTo>
                    <a:cubicBezTo>
                      <a:pt x="0" y="0"/>
                      <a:pt x="0" y="0"/>
                      <a:pt x="0" y="0"/>
                    </a:cubicBezTo>
                    <a:cubicBezTo>
                      <a:pt x="4" y="0"/>
                      <a:pt x="4" y="0"/>
                      <a:pt x="4" y="0"/>
                    </a:cubicBezTo>
                    <a:cubicBezTo>
                      <a:pt x="10" y="0"/>
                      <a:pt x="13" y="2"/>
                      <a:pt x="13" y="7"/>
                    </a:cubicBezTo>
                    <a:lnTo>
                      <a:pt x="13" y="3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 name="Freeform 29"/>
              <p:cNvSpPr>
                <a:spLocks/>
              </p:cNvSpPr>
              <p:nvPr/>
            </p:nvSpPr>
            <p:spPr bwMode="auto">
              <a:xfrm>
                <a:off x="4462463" y="3273426"/>
                <a:ext cx="211138" cy="158750"/>
              </a:xfrm>
              <a:custGeom>
                <a:avLst/>
                <a:gdLst>
                  <a:gd name="T0" fmla="*/ 184798535 w 56"/>
                  <a:gd name="T1" fmla="*/ 228584881 h 42"/>
                  <a:gd name="T2" fmla="*/ 255876634 w 56"/>
                  <a:gd name="T3" fmla="*/ 228584881 h 42"/>
                  <a:gd name="T4" fmla="*/ 440675169 w 56"/>
                  <a:gd name="T5" fmla="*/ 57146220 h 42"/>
                  <a:gd name="T6" fmla="*/ 611259591 w 56"/>
                  <a:gd name="T7" fmla="*/ 0 h 42"/>
                  <a:gd name="T8" fmla="*/ 753412020 w 56"/>
                  <a:gd name="T9" fmla="*/ 0 h 42"/>
                  <a:gd name="T10" fmla="*/ 426461057 w 56"/>
                  <a:gd name="T11" fmla="*/ 300018601 h 42"/>
                  <a:gd name="T12" fmla="*/ 796058126 w 56"/>
                  <a:gd name="T13" fmla="*/ 600037202 h 42"/>
                  <a:gd name="T14" fmla="*/ 653905697 w 56"/>
                  <a:gd name="T15" fmla="*/ 600037202 h 42"/>
                  <a:gd name="T16" fmla="*/ 469107162 w 56"/>
                  <a:gd name="T17" fmla="*/ 542890982 h 42"/>
                  <a:gd name="T18" fmla="*/ 255876634 w 56"/>
                  <a:gd name="T19" fmla="*/ 371452321 h 42"/>
                  <a:gd name="T20" fmla="*/ 184798535 w 56"/>
                  <a:gd name="T21" fmla="*/ 371452321 h 42"/>
                  <a:gd name="T22" fmla="*/ 184798535 w 56"/>
                  <a:gd name="T23" fmla="*/ 600037202 h 42"/>
                  <a:gd name="T24" fmla="*/ 0 w 56"/>
                  <a:gd name="T25" fmla="*/ 600037202 h 42"/>
                  <a:gd name="T26" fmla="*/ 0 w 56"/>
                  <a:gd name="T27" fmla="*/ 0 h 42"/>
                  <a:gd name="T28" fmla="*/ 184798535 w 56"/>
                  <a:gd name="T29" fmla="*/ 0 h 42"/>
                  <a:gd name="T30" fmla="*/ 184798535 w 56"/>
                  <a:gd name="T31" fmla="*/ 228584881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6" h="42">
                    <a:moveTo>
                      <a:pt x="13" y="16"/>
                    </a:moveTo>
                    <a:cubicBezTo>
                      <a:pt x="18" y="16"/>
                      <a:pt x="18" y="16"/>
                      <a:pt x="18" y="16"/>
                    </a:cubicBezTo>
                    <a:cubicBezTo>
                      <a:pt x="23" y="12"/>
                      <a:pt x="27" y="8"/>
                      <a:pt x="31" y="4"/>
                    </a:cubicBezTo>
                    <a:cubicBezTo>
                      <a:pt x="35" y="1"/>
                      <a:pt x="39" y="0"/>
                      <a:pt x="43" y="0"/>
                    </a:cubicBezTo>
                    <a:cubicBezTo>
                      <a:pt x="53" y="0"/>
                      <a:pt x="53" y="0"/>
                      <a:pt x="53" y="0"/>
                    </a:cubicBezTo>
                    <a:cubicBezTo>
                      <a:pt x="30" y="21"/>
                      <a:pt x="30" y="21"/>
                      <a:pt x="30" y="21"/>
                    </a:cubicBezTo>
                    <a:cubicBezTo>
                      <a:pt x="56" y="42"/>
                      <a:pt x="56" y="42"/>
                      <a:pt x="56" y="42"/>
                    </a:cubicBezTo>
                    <a:cubicBezTo>
                      <a:pt x="46" y="42"/>
                      <a:pt x="46" y="42"/>
                      <a:pt x="46" y="42"/>
                    </a:cubicBezTo>
                    <a:cubicBezTo>
                      <a:pt x="40" y="42"/>
                      <a:pt x="37" y="42"/>
                      <a:pt x="33" y="38"/>
                    </a:cubicBezTo>
                    <a:cubicBezTo>
                      <a:pt x="18" y="26"/>
                      <a:pt x="18" y="26"/>
                      <a:pt x="18" y="26"/>
                    </a:cubicBezTo>
                    <a:cubicBezTo>
                      <a:pt x="13" y="26"/>
                      <a:pt x="13" y="26"/>
                      <a:pt x="13" y="26"/>
                    </a:cubicBezTo>
                    <a:cubicBezTo>
                      <a:pt x="13" y="42"/>
                      <a:pt x="13" y="42"/>
                      <a:pt x="13" y="42"/>
                    </a:cubicBezTo>
                    <a:cubicBezTo>
                      <a:pt x="0" y="42"/>
                      <a:pt x="0" y="42"/>
                      <a:pt x="0" y="42"/>
                    </a:cubicBezTo>
                    <a:cubicBezTo>
                      <a:pt x="0" y="0"/>
                      <a:pt x="0" y="0"/>
                      <a:pt x="0" y="0"/>
                    </a:cubicBezTo>
                    <a:cubicBezTo>
                      <a:pt x="13" y="0"/>
                      <a:pt x="13" y="0"/>
                      <a:pt x="13" y="0"/>
                    </a:cubicBezTo>
                    <a:lnTo>
                      <a:pt x="13" y="16"/>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7" name="Freeform 30"/>
              <p:cNvSpPr>
                <a:spLocks/>
              </p:cNvSpPr>
              <p:nvPr/>
            </p:nvSpPr>
            <p:spPr bwMode="auto">
              <a:xfrm>
                <a:off x="3984625" y="3273426"/>
                <a:ext cx="203200" cy="158750"/>
              </a:xfrm>
              <a:custGeom>
                <a:avLst/>
                <a:gdLst>
                  <a:gd name="T0" fmla="*/ 184080385 w 54"/>
                  <a:gd name="T1" fmla="*/ 600037202 h 42"/>
                  <a:gd name="T2" fmla="*/ 0 w 54"/>
                  <a:gd name="T3" fmla="*/ 600037202 h 42"/>
                  <a:gd name="T4" fmla="*/ 0 w 54"/>
                  <a:gd name="T5" fmla="*/ 0 h 42"/>
                  <a:gd name="T6" fmla="*/ 84960178 w 54"/>
                  <a:gd name="T7" fmla="*/ 0 h 42"/>
                  <a:gd name="T8" fmla="*/ 184080385 w 54"/>
                  <a:gd name="T9" fmla="*/ 100004940 h 42"/>
                  <a:gd name="T10" fmla="*/ 184080385 w 54"/>
                  <a:gd name="T11" fmla="*/ 214297381 h 42"/>
                  <a:gd name="T12" fmla="*/ 566397422 w 54"/>
                  <a:gd name="T13" fmla="*/ 214297381 h 42"/>
                  <a:gd name="T14" fmla="*/ 566397422 w 54"/>
                  <a:gd name="T15" fmla="*/ 100004940 h 42"/>
                  <a:gd name="T16" fmla="*/ 679673896 w 54"/>
                  <a:gd name="T17" fmla="*/ 0 h 42"/>
                  <a:gd name="T18" fmla="*/ 764634074 w 54"/>
                  <a:gd name="T19" fmla="*/ 0 h 42"/>
                  <a:gd name="T20" fmla="*/ 764634074 w 54"/>
                  <a:gd name="T21" fmla="*/ 114292440 h 42"/>
                  <a:gd name="T22" fmla="*/ 764634074 w 54"/>
                  <a:gd name="T23" fmla="*/ 600037202 h 42"/>
                  <a:gd name="T24" fmla="*/ 566397422 w 54"/>
                  <a:gd name="T25" fmla="*/ 600037202 h 42"/>
                  <a:gd name="T26" fmla="*/ 566397422 w 54"/>
                  <a:gd name="T27" fmla="*/ 371452321 h 42"/>
                  <a:gd name="T28" fmla="*/ 184080385 w 54"/>
                  <a:gd name="T29" fmla="*/ 371452321 h 42"/>
                  <a:gd name="T30" fmla="*/ 184080385 w 54"/>
                  <a:gd name="T31" fmla="*/ 600037202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4" h="42">
                    <a:moveTo>
                      <a:pt x="13" y="42"/>
                    </a:moveTo>
                    <a:cubicBezTo>
                      <a:pt x="0" y="42"/>
                      <a:pt x="0" y="42"/>
                      <a:pt x="0" y="42"/>
                    </a:cubicBezTo>
                    <a:cubicBezTo>
                      <a:pt x="0" y="0"/>
                      <a:pt x="0" y="0"/>
                      <a:pt x="0" y="0"/>
                    </a:cubicBezTo>
                    <a:cubicBezTo>
                      <a:pt x="6" y="0"/>
                      <a:pt x="6" y="0"/>
                      <a:pt x="6" y="0"/>
                    </a:cubicBezTo>
                    <a:cubicBezTo>
                      <a:pt x="11" y="0"/>
                      <a:pt x="13" y="3"/>
                      <a:pt x="13" y="7"/>
                    </a:cubicBezTo>
                    <a:cubicBezTo>
                      <a:pt x="13" y="15"/>
                      <a:pt x="13" y="15"/>
                      <a:pt x="13" y="15"/>
                    </a:cubicBezTo>
                    <a:cubicBezTo>
                      <a:pt x="40" y="15"/>
                      <a:pt x="40" y="15"/>
                      <a:pt x="40" y="15"/>
                    </a:cubicBezTo>
                    <a:cubicBezTo>
                      <a:pt x="40" y="7"/>
                      <a:pt x="40" y="7"/>
                      <a:pt x="40" y="7"/>
                    </a:cubicBezTo>
                    <a:cubicBezTo>
                      <a:pt x="40" y="4"/>
                      <a:pt x="42" y="0"/>
                      <a:pt x="48" y="0"/>
                    </a:cubicBezTo>
                    <a:cubicBezTo>
                      <a:pt x="54" y="0"/>
                      <a:pt x="54" y="0"/>
                      <a:pt x="54" y="0"/>
                    </a:cubicBezTo>
                    <a:cubicBezTo>
                      <a:pt x="54" y="8"/>
                      <a:pt x="54" y="8"/>
                      <a:pt x="54" y="8"/>
                    </a:cubicBezTo>
                    <a:cubicBezTo>
                      <a:pt x="54" y="42"/>
                      <a:pt x="54" y="42"/>
                      <a:pt x="54" y="42"/>
                    </a:cubicBezTo>
                    <a:cubicBezTo>
                      <a:pt x="40" y="42"/>
                      <a:pt x="40" y="42"/>
                      <a:pt x="40" y="42"/>
                    </a:cubicBezTo>
                    <a:cubicBezTo>
                      <a:pt x="40" y="26"/>
                      <a:pt x="40" y="26"/>
                      <a:pt x="40" y="26"/>
                    </a:cubicBezTo>
                    <a:cubicBezTo>
                      <a:pt x="13" y="26"/>
                      <a:pt x="13" y="26"/>
                      <a:pt x="13" y="26"/>
                    </a:cubicBezTo>
                    <a:lnTo>
                      <a:pt x="13"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8" name="Freeform 31"/>
              <p:cNvSpPr>
                <a:spLocks/>
              </p:cNvSpPr>
              <p:nvPr/>
            </p:nvSpPr>
            <p:spPr bwMode="auto">
              <a:xfrm>
                <a:off x="4951413" y="3273426"/>
                <a:ext cx="180975" cy="158750"/>
              </a:xfrm>
              <a:custGeom>
                <a:avLst/>
                <a:gdLst>
                  <a:gd name="T0" fmla="*/ 682332305 w 48"/>
                  <a:gd name="T1" fmla="*/ 142867440 h 42"/>
                  <a:gd name="T2" fmla="*/ 199012175 w 48"/>
                  <a:gd name="T3" fmla="*/ 142867440 h 42"/>
                  <a:gd name="T4" fmla="*/ 199012175 w 48"/>
                  <a:gd name="T5" fmla="*/ 242872381 h 42"/>
                  <a:gd name="T6" fmla="*/ 682332305 w 48"/>
                  <a:gd name="T7" fmla="*/ 242872381 h 42"/>
                  <a:gd name="T8" fmla="*/ 682332305 w 48"/>
                  <a:gd name="T9" fmla="*/ 371452321 h 42"/>
                  <a:gd name="T10" fmla="*/ 199012175 w 48"/>
                  <a:gd name="T11" fmla="*/ 371452321 h 42"/>
                  <a:gd name="T12" fmla="*/ 199012175 w 48"/>
                  <a:gd name="T13" fmla="*/ 457169762 h 42"/>
                  <a:gd name="T14" fmla="*/ 682332305 w 48"/>
                  <a:gd name="T15" fmla="*/ 457169762 h 42"/>
                  <a:gd name="T16" fmla="*/ 682332305 w 48"/>
                  <a:gd name="T17" fmla="*/ 600037202 h 42"/>
                  <a:gd name="T18" fmla="*/ 0 w 48"/>
                  <a:gd name="T19" fmla="*/ 600037202 h 42"/>
                  <a:gd name="T20" fmla="*/ 0 w 48"/>
                  <a:gd name="T21" fmla="*/ 142867440 h 42"/>
                  <a:gd name="T22" fmla="*/ 156366170 w 48"/>
                  <a:gd name="T23" fmla="*/ 0 h 42"/>
                  <a:gd name="T24" fmla="*/ 682332305 w 48"/>
                  <a:gd name="T25" fmla="*/ 0 h 42"/>
                  <a:gd name="T26" fmla="*/ 682332305 w 48"/>
                  <a:gd name="T27" fmla="*/ 142867440 h 4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42">
                    <a:moveTo>
                      <a:pt x="48" y="10"/>
                    </a:moveTo>
                    <a:cubicBezTo>
                      <a:pt x="14" y="10"/>
                      <a:pt x="14" y="10"/>
                      <a:pt x="14" y="10"/>
                    </a:cubicBezTo>
                    <a:cubicBezTo>
                      <a:pt x="14" y="17"/>
                      <a:pt x="14" y="17"/>
                      <a:pt x="14" y="17"/>
                    </a:cubicBezTo>
                    <a:cubicBezTo>
                      <a:pt x="48" y="17"/>
                      <a:pt x="48" y="17"/>
                      <a:pt x="48" y="17"/>
                    </a:cubicBezTo>
                    <a:cubicBezTo>
                      <a:pt x="48" y="26"/>
                      <a:pt x="48" y="26"/>
                      <a:pt x="48" y="26"/>
                    </a:cubicBezTo>
                    <a:cubicBezTo>
                      <a:pt x="14" y="26"/>
                      <a:pt x="14" y="26"/>
                      <a:pt x="14" y="26"/>
                    </a:cubicBezTo>
                    <a:cubicBezTo>
                      <a:pt x="14" y="32"/>
                      <a:pt x="14" y="32"/>
                      <a:pt x="14" y="32"/>
                    </a:cubicBezTo>
                    <a:cubicBezTo>
                      <a:pt x="48" y="32"/>
                      <a:pt x="48" y="32"/>
                      <a:pt x="48" y="32"/>
                    </a:cubicBezTo>
                    <a:cubicBezTo>
                      <a:pt x="48" y="42"/>
                      <a:pt x="48" y="42"/>
                      <a:pt x="48" y="42"/>
                    </a:cubicBezTo>
                    <a:cubicBezTo>
                      <a:pt x="0" y="42"/>
                      <a:pt x="0" y="42"/>
                      <a:pt x="0" y="42"/>
                    </a:cubicBezTo>
                    <a:cubicBezTo>
                      <a:pt x="0" y="10"/>
                      <a:pt x="0" y="10"/>
                      <a:pt x="0" y="10"/>
                    </a:cubicBezTo>
                    <a:cubicBezTo>
                      <a:pt x="1" y="5"/>
                      <a:pt x="3" y="1"/>
                      <a:pt x="11" y="0"/>
                    </a:cubicBezTo>
                    <a:cubicBezTo>
                      <a:pt x="48" y="0"/>
                      <a:pt x="48" y="0"/>
                      <a:pt x="48" y="0"/>
                    </a:cubicBezTo>
                    <a:lnTo>
                      <a:pt x="48" y="1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9" name="Freeform 32"/>
              <p:cNvSpPr>
                <a:spLocks/>
              </p:cNvSpPr>
              <p:nvPr/>
            </p:nvSpPr>
            <p:spPr bwMode="auto">
              <a:xfrm>
                <a:off x="5143500" y="3273426"/>
                <a:ext cx="233363" cy="158750"/>
              </a:xfrm>
              <a:custGeom>
                <a:avLst/>
                <a:gdLst>
                  <a:gd name="T0" fmla="*/ 538349621 w 62"/>
                  <a:gd name="T1" fmla="*/ 600037202 h 42"/>
                  <a:gd name="T2" fmla="*/ 340009891 w 62"/>
                  <a:gd name="T3" fmla="*/ 600037202 h 42"/>
                  <a:gd name="T4" fmla="*/ 340009891 w 62"/>
                  <a:gd name="T5" fmla="*/ 385739821 h 42"/>
                  <a:gd name="T6" fmla="*/ 0 w 62"/>
                  <a:gd name="T7" fmla="*/ 0 h 42"/>
                  <a:gd name="T8" fmla="*/ 155837553 w 62"/>
                  <a:gd name="T9" fmla="*/ 0 h 42"/>
                  <a:gd name="T10" fmla="*/ 283340321 w 62"/>
                  <a:gd name="T11" fmla="*/ 57146220 h 42"/>
                  <a:gd name="T12" fmla="*/ 439181638 w 62"/>
                  <a:gd name="T13" fmla="*/ 242872381 h 42"/>
                  <a:gd name="T14" fmla="*/ 595019191 w 62"/>
                  <a:gd name="T15" fmla="*/ 57146220 h 42"/>
                  <a:gd name="T16" fmla="*/ 750856744 w 62"/>
                  <a:gd name="T17" fmla="*/ 0 h 42"/>
                  <a:gd name="T18" fmla="*/ 878359512 w 62"/>
                  <a:gd name="T19" fmla="*/ 0 h 42"/>
                  <a:gd name="T20" fmla="*/ 538349621 w 62"/>
                  <a:gd name="T21" fmla="*/ 385739821 h 42"/>
                  <a:gd name="T22" fmla="*/ 538349621 w 62"/>
                  <a:gd name="T23" fmla="*/ 600037202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2" h="42">
                    <a:moveTo>
                      <a:pt x="38" y="42"/>
                    </a:moveTo>
                    <a:cubicBezTo>
                      <a:pt x="24" y="42"/>
                      <a:pt x="24" y="42"/>
                      <a:pt x="24" y="42"/>
                    </a:cubicBezTo>
                    <a:cubicBezTo>
                      <a:pt x="24" y="27"/>
                      <a:pt x="24" y="27"/>
                      <a:pt x="24" y="27"/>
                    </a:cubicBezTo>
                    <a:cubicBezTo>
                      <a:pt x="0" y="0"/>
                      <a:pt x="0" y="0"/>
                      <a:pt x="0" y="0"/>
                    </a:cubicBezTo>
                    <a:cubicBezTo>
                      <a:pt x="11" y="0"/>
                      <a:pt x="11" y="0"/>
                      <a:pt x="11" y="0"/>
                    </a:cubicBezTo>
                    <a:cubicBezTo>
                      <a:pt x="14" y="0"/>
                      <a:pt x="17" y="1"/>
                      <a:pt x="20" y="4"/>
                    </a:cubicBezTo>
                    <a:cubicBezTo>
                      <a:pt x="31" y="17"/>
                      <a:pt x="31" y="17"/>
                      <a:pt x="31" y="17"/>
                    </a:cubicBezTo>
                    <a:cubicBezTo>
                      <a:pt x="35" y="13"/>
                      <a:pt x="38" y="9"/>
                      <a:pt x="42" y="4"/>
                    </a:cubicBezTo>
                    <a:cubicBezTo>
                      <a:pt x="44" y="2"/>
                      <a:pt x="47" y="0"/>
                      <a:pt x="53" y="0"/>
                    </a:cubicBezTo>
                    <a:cubicBezTo>
                      <a:pt x="62" y="0"/>
                      <a:pt x="62" y="0"/>
                      <a:pt x="62" y="0"/>
                    </a:cubicBezTo>
                    <a:cubicBezTo>
                      <a:pt x="38" y="27"/>
                      <a:pt x="38" y="27"/>
                      <a:pt x="38" y="27"/>
                    </a:cubicBezTo>
                    <a:lnTo>
                      <a:pt x="38"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0" name="Freeform 33"/>
              <p:cNvSpPr>
                <a:spLocks/>
              </p:cNvSpPr>
              <p:nvPr/>
            </p:nvSpPr>
            <p:spPr bwMode="auto">
              <a:xfrm>
                <a:off x="5389563" y="3273426"/>
                <a:ext cx="157163" cy="158750"/>
              </a:xfrm>
              <a:custGeom>
                <a:avLst/>
                <a:gdLst>
                  <a:gd name="T0" fmla="*/ 182032174 w 42"/>
                  <a:gd name="T1" fmla="*/ 457169762 h 42"/>
                  <a:gd name="T2" fmla="*/ 588100204 w 42"/>
                  <a:gd name="T3" fmla="*/ 457169762 h 42"/>
                  <a:gd name="T4" fmla="*/ 588100204 w 42"/>
                  <a:gd name="T5" fmla="*/ 600037202 h 42"/>
                  <a:gd name="T6" fmla="*/ 0 w 42"/>
                  <a:gd name="T7" fmla="*/ 600037202 h 42"/>
                  <a:gd name="T8" fmla="*/ 0 w 42"/>
                  <a:gd name="T9" fmla="*/ 0 h 42"/>
                  <a:gd name="T10" fmla="*/ 70012375 w 42"/>
                  <a:gd name="T11" fmla="*/ 0 h 42"/>
                  <a:gd name="T12" fmla="*/ 182032174 w 42"/>
                  <a:gd name="T13" fmla="*/ 100004940 h 42"/>
                  <a:gd name="T14" fmla="*/ 182032174 w 42"/>
                  <a:gd name="T15" fmla="*/ 457169762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2">
                    <a:moveTo>
                      <a:pt x="13" y="32"/>
                    </a:moveTo>
                    <a:cubicBezTo>
                      <a:pt x="42" y="32"/>
                      <a:pt x="42" y="32"/>
                      <a:pt x="42" y="32"/>
                    </a:cubicBezTo>
                    <a:cubicBezTo>
                      <a:pt x="42" y="42"/>
                      <a:pt x="42" y="42"/>
                      <a:pt x="42" y="42"/>
                    </a:cubicBezTo>
                    <a:cubicBezTo>
                      <a:pt x="0" y="42"/>
                      <a:pt x="0" y="42"/>
                      <a:pt x="0" y="42"/>
                    </a:cubicBezTo>
                    <a:cubicBezTo>
                      <a:pt x="0" y="0"/>
                      <a:pt x="0" y="0"/>
                      <a:pt x="0" y="0"/>
                    </a:cubicBezTo>
                    <a:cubicBezTo>
                      <a:pt x="5" y="0"/>
                      <a:pt x="5" y="0"/>
                      <a:pt x="5" y="0"/>
                    </a:cubicBezTo>
                    <a:cubicBezTo>
                      <a:pt x="10" y="0"/>
                      <a:pt x="13" y="2"/>
                      <a:pt x="13" y="7"/>
                    </a:cubicBezTo>
                    <a:lnTo>
                      <a:pt x="13" y="3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1" name="Freeform 34"/>
              <p:cNvSpPr>
                <a:spLocks/>
              </p:cNvSpPr>
              <p:nvPr/>
            </p:nvSpPr>
            <p:spPr bwMode="auto">
              <a:xfrm>
                <a:off x="5818188" y="3273426"/>
                <a:ext cx="222250" cy="158750"/>
              </a:xfrm>
              <a:custGeom>
                <a:avLst/>
                <a:gdLst>
                  <a:gd name="T0" fmla="*/ 837204449 w 59"/>
                  <a:gd name="T1" fmla="*/ 600037202 h 42"/>
                  <a:gd name="T2" fmla="*/ 553406267 w 59"/>
                  <a:gd name="T3" fmla="*/ 600037202 h 42"/>
                  <a:gd name="T4" fmla="*/ 184467500 w 59"/>
                  <a:gd name="T5" fmla="*/ 171438661 h 42"/>
                  <a:gd name="T6" fmla="*/ 184467500 w 59"/>
                  <a:gd name="T7" fmla="*/ 600037202 h 42"/>
                  <a:gd name="T8" fmla="*/ 0 w 59"/>
                  <a:gd name="T9" fmla="*/ 600037202 h 42"/>
                  <a:gd name="T10" fmla="*/ 0 w 59"/>
                  <a:gd name="T11" fmla="*/ 0 h 42"/>
                  <a:gd name="T12" fmla="*/ 156087305 w 59"/>
                  <a:gd name="T13" fmla="*/ 0 h 42"/>
                  <a:gd name="T14" fmla="*/ 383128864 w 59"/>
                  <a:gd name="T15" fmla="*/ 114292440 h 42"/>
                  <a:gd name="T16" fmla="*/ 638546852 w 59"/>
                  <a:gd name="T17" fmla="*/ 442886042 h 42"/>
                  <a:gd name="T18" fmla="*/ 638546852 w 59"/>
                  <a:gd name="T19" fmla="*/ 0 h 42"/>
                  <a:gd name="T20" fmla="*/ 837204449 w 59"/>
                  <a:gd name="T21" fmla="*/ 0 h 42"/>
                  <a:gd name="T22" fmla="*/ 837204449 w 59"/>
                  <a:gd name="T23" fmla="*/ 600037202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42">
                    <a:moveTo>
                      <a:pt x="59" y="42"/>
                    </a:moveTo>
                    <a:cubicBezTo>
                      <a:pt x="39" y="42"/>
                      <a:pt x="39" y="42"/>
                      <a:pt x="39" y="42"/>
                    </a:cubicBezTo>
                    <a:cubicBezTo>
                      <a:pt x="13" y="12"/>
                      <a:pt x="13" y="12"/>
                      <a:pt x="13" y="12"/>
                    </a:cubicBezTo>
                    <a:cubicBezTo>
                      <a:pt x="13" y="42"/>
                      <a:pt x="13" y="42"/>
                      <a:pt x="13" y="42"/>
                    </a:cubicBezTo>
                    <a:cubicBezTo>
                      <a:pt x="0" y="42"/>
                      <a:pt x="0" y="42"/>
                      <a:pt x="0" y="42"/>
                    </a:cubicBezTo>
                    <a:cubicBezTo>
                      <a:pt x="0" y="0"/>
                      <a:pt x="0" y="0"/>
                      <a:pt x="0" y="0"/>
                    </a:cubicBezTo>
                    <a:cubicBezTo>
                      <a:pt x="11" y="0"/>
                      <a:pt x="11" y="0"/>
                      <a:pt x="11" y="0"/>
                    </a:cubicBezTo>
                    <a:cubicBezTo>
                      <a:pt x="19" y="0"/>
                      <a:pt x="23" y="4"/>
                      <a:pt x="27" y="8"/>
                    </a:cubicBezTo>
                    <a:cubicBezTo>
                      <a:pt x="45" y="31"/>
                      <a:pt x="45" y="31"/>
                      <a:pt x="45" y="31"/>
                    </a:cubicBezTo>
                    <a:cubicBezTo>
                      <a:pt x="45" y="0"/>
                      <a:pt x="45" y="0"/>
                      <a:pt x="45" y="0"/>
                    </a:cubicBezTo>
                    <a:cubicBezTo>
                      <a:pt x="59" y="0"/>
                      <a:pt x="59" y="0"/>
                      <a:pt x="59" y="0"/>
                    </a:cubicBezTo>
                    <a:lnTo>
                      <a:pt x="59"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2" name="Freeform 35"/>
              <p:cNvSpPr>
                <a:spLocks noEditPoints="1"/>
              </p:cNvSpPr>
              <p:nvPr/>
            </p:nvSpPr>
            <p:spPr bwMode="auto">
              <a:xfrm>
                <a:off x="6062663" y="3273426"/>
                <a:ext cx="214313" cy="158750"/>
              </a:xfrm>
              <a:custGeom>
                <a:avLst/>
                <a:gdLst>
                  <a:gd name="T0" fmla="*/ 480647661 w 57"/>
                  <a:gd name="T1" fmla="*/ 142867440 h 42"/>
                  <a:gd name="T2" fmla="*/ 183775277 w 57"/>
                  <a:gd name="T3" fmla="*/ 142867440 h 42"/>
                  <a:gd name="T4" fmla="*/ 183775277 w 57"/>
                  <a:gd name="T5" fmla="*/ 457169762 h 42"/>
                  <a:gd name="T6" fmla="*/ 494784799 w 57"/>
                  <a:gd name="T7" fmla="*/ 457169762 h 42"/>
                  <a:gd name="T8" fmla="*/ 579603869 w 57"/>
                  <a:gd name="T9" fmla="*/ 428598542 h 42"/>
                  <a:gd name="T10" fmla="*/ 607878145 w 57"/>
                  <a:gd name="T11" fmla="*/ 357164821 h 42"/>
                  <a:gd name="T12" fmla="*/ 607878145 w 57"/>
                  <a:gd name="T13" fmla="*/ 257159881 h 42"/>
                  <a:gd name="T14" fmla="*/ 579603869 w 57"/>
                  <a:gd name="T15" fmla="*/ 171438661 h 42"/>
                  <a:gd name="T16" fmla="*/ 480647661 w 57"/>
                  <a:gd name="T17" fmla="*/ 142867440 h 42"/>
                  <a:gd name="T18" fmla="*/ 537192454 w 57"/>
                  <a:gd name="T19" fmla="*/ 0 h 42"/>
                  <a:gd name="T20" fmla="*/ 735108630 w 57"/>
                  <a:gd name="T21" fmla="*/ 42858720 h 42"/>
                  <a:gd name="T22" fmla="*/ 805790561 w 57"/>
                  <a:gd name="T23" fmla="*/ 200013661 h 42"/>
                  <a:gd name="T24" fmla="*/ 805790561 w 57"/>
                  <a:gd name="T25" fmla="*/ 414311042 h 42"/>
                  <a:gd name="T26" fmla="*/ 749242008 w 57"/>
                  <a:gd name="T27" fmla="*/ 557178482 h 42"/>
                  <a:gd name="T28" fmla="*/ 593741007 w 57"/>
                  <a:gd name="T29" fmla="*/ 600037202 h 42"/>
                  <a:gd name="T30" fmla="*/ 0 w 57"/>
                  <a:gd name="T31" fmla="*/ 600037202 h 42"/>
                  <a:gd name="T32" fmla="*/ 0 w 57"/>
                  <a:gd name="T33" fmla="*/ 0 h 42"/>
                  <a:gd name="T34" fmla="*/ 537192454 w 57"/>
                  <a:gd name="T35" fmla="*/ 0 h 4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7" h="42">
                    <a:moveTo>
                      <a:pt x="34" y="10"/>
                    </a:moveTo>
                    <a:cubicBezTo>
                      <a:pt x="13" y="10"/>
                      <a:pt x="13" y="10"/>
                      <a:pt x="13" y="10"/>
                    </a:cubicBezTo>
                    <a:cubicBezTo>
                      <a:pt x="13" y="32"/>
                      <a:pt x="13" y="32"/>
                      <a:pt x="13" y="32"/>
                    </a:cubicBezTo>
                    <a:cubicBezTo>
                      <a:pt x="35" y="32"/>
                      <a:pt x="35" y="32"/>
                      <a:pt x="35" y="32"/>
                    </a:cubicBezTo>
                    <a:cubicBezTo>
                      <a:pt x="38" y="32"/>
                      <a:pt x="40" y="31"/>
                      <a:pt x="41" y="30"/>
                    </a:cubicBezTo>
                    <a:cubicBezTo>
                      <a:pt x="43" y="29"/>
                      <a:pt x="43" y="27"/>
                      <a:pt x="43" y="25"/>
                    </a:cubicBezTo>
                    <a:cubicBezTo>
                      <a:pt x="43" y="18"/>
                      <a:pt x="43" y="18"/>
                      <a:pt x="43" y="18"/>
                    </a:cubicBezTo>
                    <a:cubicBezTo>
                      <a:pt x="43" y="15"/>
                      <a:pt x="43" y="13"/>
                      <a:pt x="41" y="12"/>
                    </a:cubicBezTo>
                    <a:cubicBezTo>
                      <a:pt x="39" y="11"/>
                      <a:pt x="37" y="10"/>
                      <a:pt x="34" y="10"/>
                    </a:cubicBezTo>
                    <a:moveTo>
                      <a:pt x="38" y="0"/>
                    </a:moveTo>
                    <a:cubicBezTo>
                      <a:pt x="44" y="0"/>
                      <a:pt x="49" y="1"/>
                      <a:pt x="52" y="3"/>
                    </a:cubicBezTo>
                    <a:cubicBezTo>
                      <a:pt x="55" y="6"/>
                      <a:pt x="57" y="9"/>
                      <a:pt x="57" y="14"/>
                    </a:cubicBezTo>
                    <a:cubicBezTo>
                      <a:pt x="57" y="29"/>
                      <a:pt x="57" y="29"/>
                      <a:pt x="57" y="29"/>
                    </a:cubicBezTo>
                    <a:cubicBezTo>
                      <a:pt x="57" y="33"/>
                      <a:pt x="55" y="37"/>
                      <a:pt x="53" y="39"/>
                    </a:cubicBezTo>
                    <a:cubicBezTo>
                      <a:pt x="51" y="41"/>
                      <a:pt x="47" y="42"/>
                      <a:pt x="42" y="42"/>
                    </a:cubicBezTo>
                    <a:cubicBezTo>
                      <a:pt x="0" y="42"/>
                      <a:pt x="0" y="42"/>
                      <a:pt x="0" y="42"/>
                    </a:cubicBezTo>
                    <a:cubicBezTo>
                      <a:pt x="0" y="0"/>
                      <a:pt x="0" y="0"/>
                      <a:pt x="0" y="0"/>
                    </a:cubicBezTo>
                    <a:lnTo>
                      <a:pt x="38" y="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3" name="Freeform 36"/>
              <p:cNvSpPr>
                <a:spLocks/>
              </p:cNvSpPr>
              <p:nvPr/>
            </p:nvSpPr>
            <p:spPr bwMode="auto">
              <a:xfrm>
                <a:off x="3756025" y="3273426"/>
                <a:ext cx="203200" cy="163513"/>
              </a:xfrm>
              <a:custGeom>
                <a:avLst/>
                <a:gdLst>
                  <a:gd name="T0" fmla="*/ 509757304 w 54"/>
                  <a:gd name="T1" fmla="*/ 477180368 h 43"/>
                  <a:gd name="T2" fmla="*/ 566397422 w 54"/>
                  <a:gd name="T3" fmla="*/ 462718974 h 43"/>
                  <a:gd name="T4" fmla="*/ 580553689 w 54"/>
                  <a:gd name="T5" fmla="*/ 433799989 h 43"/>
                  <a:gd name="T6" fmla="*/ 566397422 w 54"/>
                  <a:gd name="T7" fmla="*/ 390419610 h 43"/>
                  <a:gd name="T8" fmla="*/ 481437244 w 54"/>
                  <a:gd name="T9" fmla="*/ 375958216 h 43"/>
                  <a:gd name="T10" fmla="*/ 198236652 w 54"/>
                  <a:gd name="T11" fmla="*/ 361500625 h 43"/>
                  <a:gd name="T12" fmla="*/ 42480089 w 54"/>
                  <a:gd name="T13" fmla="*/ 318120245 h 43"/>
                  <a:gd name="T14" fmla="*/ 0 w 54"/>
                  <a:gd name="T15" fmla="*/ 187979108 h 43"/>
                  <a:gd name="T16" fmla="*/ 14160030 w 54"/>
                  <a:gd name="T17" fmla="*/ 101218350 h 43"/>
                  <a:gd name="T18" fmla="*/ 42480089 w 54"/>
                  <a:gd name="T19" fmla="*/ 43380379 h 43"/>
                  <a:gd name="T20" fmla="*/ 113280237 w 54"/>
                  <a:gd name="T21" fmla="*/ 0 h 43"/>
                  <a:gd name="T22" fmla="*/ 254876770 w 54"/>
                  <a:gd name="T23" fmla="*/ 0 h 43"/>
                  <a:gd name="T24" fmla="*/ 552237393 w 54"/>
                  <a:gd name="T25" fmla="*/ 0 h 43"/>
                  <a:gd name="T26" fmla="*/ 693833926 w 54"/>
                  <a:gd name="T27" fmla="*/ 28918985 h 43"/>
                  <a:gd name="T28" fmla="*/ 750474044 w 54"/>
                  <a:gd name="T29" fmla="*/ 130141137 h 43"/>
                  <a:gd name="T30" fmla="*/ 283196830 w 54"/>
                  <a:gd name="T31" fmla="*/ 130141137 h 43"/>
                  <a:gd name="T32" fmla="*/ 212396681 w 54"/>
                  <a:gd name="T33" fmla="*/ 144598729 h 43"/>
                  <a:gd name="T34" fmla="*/ 198236652 w 54"/>
                  <a:gd name="T35" fmla="*/ 173521517 h 43"/>
                  <a:gd name="T36" fmla="*/ 212396681 w 54"/>
                  <a:gd name="T37" fmla="*/ 216898093 h 43"/>
                  <a:gd name="T38" fmla="*/ 269036800 w 54"/>
                  <a:gd name="T39" fmla="*/ 231359487 h 43"/>
                  <a:gd name="T40" fmla="*/ 580553689 w 54"/>
                  <a:gd name="T41" fmla="*/ 231359487 h 43"/>
                  <a:gd name="T42" fmla="*/ 722153985 w 54"/>
                  <a:gd name="T43" fmla="*/ 274739866 h 43"/>
                  <a:gd name="T44" fmla="*/ 764634074 w 54"/>
                  <a:gd name="T45" fmla="*/ 433799989 h 43"/>
                  <a:gd name="T46" fmla="*/ 750474044 w 54"/>
                  <a:gd name="T47" fmla="*/ 535018339 h 43"/>
                  <a:gd name="T48" fmla="*/ 693833926 w 54"/>
                  <a:gd name="T49" fmla="*/ 592860112 h 43"/>
                  <a:gd name="T50" fmla="*/ 637193807 w 54"/>
                  <a:gd name="T51" fmla="*/ 607317703 h 43"/>
                  <a:gd name="T52" fmla="*/ 509757304 w 54"/>
                  <a:gd name="T53" fmla="*/ 621779097 h 43"/>
                  <a:gd name="T54" fmla="*/ 254876770 w 54"/>
                  <a:gd name="T55" fmla="*/ 621779097 h 43"/>
                  <a:gd name="T56" fmla="*/ 56640119 w 54"/>
                  <a:gd name="T57" fmla="*/ 578398718 h 43"/>
                  <a:gd name="T58" fmla="*/ 0 w 54"/>
                  <a:gd name="T59" fmla="*/ 477180368 h 43"/>
                  <a:gd name="T60" fmla="*/ 509757304 w 54"/>
                  <a:gd name="T61" fmla="*/ 477180368 h 4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43">
                    <a:moveTo>
                      <a:pt x="36" y="33"/>
                    </a:moveTo>
                    <a:cubicBezTo>
                      <a:pt x="38" y="33"/>
                      <a:pt x="39" y="33"/>
                      <a:pt x="40" y="32"/>
                    </a:cubicBezTo>
                    <a:cubicBezTo>
                      <a:pt x="40" y="32"/>
                      <a:pt x="41" y="31"/>
                      <a:pt x="41" y="30"/>
                    </a:cubicBezTo>
                    <a:cubicBezTo>
                      <a:pt x="41" y="28"/>
                      <a:pt x="40" y="27"/>
                      <a:pt x="40" y="27"/>
                    </a:cubicBezTo>
                    <a:cubicBezTo>
                      <a:pt x="39" y="26"/>
                      <a:pt x="37" y="26"/>
                      <a:pt x="34" y="26"/>
                    </a:cubicBezTo>
                    <a:cubicBezTo>
                      <a:pt x="14" y="25"/>
                      <a:pt x="14" y="25"/>
                      <a:pt x="14" y="25"/>
                    </a:cubicBezTo>
                    <a:cubicBezTo>
                      <a:pt x="8" y="25"/>
                      <a:pt x="5" y="24"/>
                      <a:pt x="3" y="22"/>
                    </a:cubicBezTo>
                    <a:cubicBezTo>
                      <a:pt x="1" y="21"/>
                      <a:pt x="0" y="17"/>
                      <a:pt x="0" y="13"/>
                    </a:cubicBezTo>
                    <a:cubicBezTo>
                      <a:pt x="0" y="10"/>
                      <a:pt x="1" y="8"/>
                      <a:pt x="1" y="7"/>
                    </a:cubicBezTo>
                    <a:cubicBezTo>
                      <a:pt x="2" y="5"/>
                      <a:pt x="2" y="4"/>
                      <a:pt x="3" y="3"/>
                    </a:cubicBezTo>
                    <a:cubicBezTo>
                      <a:pt x="5" y="2"/>
                      <a:pt x="6" y="1"/>
                      <a:pt x="8" y="0"/>
                    </a:cubicBezTo>
                    <a:cubicBezTo>
                      <a:pt x="10" y="0"/>
                      <a:pt x="14" y="0"/>
                      <a:pt x="18" y="0"/>
                    </a:cubicBezTo>
                    <a:cubicBezTo>
                      <a:pt x="39" y="0"/>
                      <a:pt x="39" y="0"/>
                      <a:pt x="39" y="0"/>
                    </a:cubicBezTo>
                    <a:cubicBezTo>
                      <a:pt x="44" y="0"/>
                      <a:pt x="47" y="0"/>
                      <a:pt x="49" y="2"/>
                    </a:cubicBezTo>
                    <a:cubicBezTo>
                      <a:pt x="51" y="4"/>
                      <a:pt x="52" y="6"/>
                      <a:pt x="53" y="9"/>
                    </a:cubicBezTo>
                    <a:cubicBezTo>
                      <a:pt x="20" y="9"/>
                      <a:pt x="20" y="9"/>
                      <a:pt x="20" y="9"/>
                    </a:cubicBezTo>
                    <a:cubicBezTo>
                      <a:pt x="18" y="9"/>
                      <a:pt x="16" y="9"/>
                      <a:pt x="15" y="10"/>
                    </a:cubicBezTo>
                    <a:cubicBezTo>
                      <a:pt x="14" y="10"/>
                      <a:pt x="14" y="11"/>
                      <a:pt x="14" y="12"/>
                    </a:cubicBezTo>
                    <a:cubicBezTo>
                      <a:pt x="14" y="13"/>
                      <a:pt x="14" y="14"/>
                      <a:pt x="15" y="15"/>
                    </a:cubicBezTo>
                    <a:cubicBezTo>
                      <a:pt x="16" y="15"/>
                      <a:pt x="17" y="16"/>
                      <a:pt x="19" y="16"/>
                    </a:cubicBezTo>
                    <a:cubicBezTo>
                      <a:pt x="41" y="16"/>
                      <a:pt x="41" y="16"/>
                      <a:pt x="41" y="16"/>
                    </a:cubicBezTo>
                    <a:cubicBezTo>
                      <a:pt x="46" y="16"/>
                      <a:pt x="49" y="17"/>
                      <a:pt x="51" y="19"/>
                    </a:cubicBezTo>
                    <a:cubicBezTo>
                      <a:pt x="53" y="21"/>
                      <a:pt x="54" y="25"/>
                      <a:pt x="54" y="30"/>
                    </a:cubicBezTo>
                    <a:cubicBezTo>
                      <a:pt x="54" y="33"/>
                      <a:pt x="54" y="35"/>
                      <a:pt x="53" y="37"/>
                    </a:cubicBezTo>
                    <a:cubicBezTo>
                      <a:pt x="53" y="38"/>
                      <a:pt x="51" y="40"/>
                      <a:pt x="49" y="41"/>
                    </a:cubicBezTo>
                    <a:cubicBezTo>
                      <a:pt x="48" y="41"/>
                      <a:pt x="47" y="42"/>
                      <a:pt x="45" y="42"/>
                    </a:cubicBezTo>
                    <a:cubicBezTo>
                      <a:pt x="43" y="43"/>
                      <a:pt x="40" y="43"/>
                      <a:pt x="36" y="43"/>
                    </a:cubicBezTo>
                    <a:cubicBezTo>
                      <a:pt x="18" y="43"/>
                      <a:pt x="18" y="43"/>
                      <a:pt x="18" y="43"/>
                    </a:cubicBezTo>
                    <a:cubicBezTo>
                      <a:pt x="11" y="43"/>
                      <a:pt x="6" y="42"/>
                      <a:pt x="4" y="40"/>
                    </a:cubicBezTo>
                    <a:cubicBezTo>
                      <a:pt x="2" y="39"/>
                      <a:pt x="0" y="36"/>
                      <a:pt x="0" y="33"/>
                    </a:cubicBezTo>
                    <a:lnTo>
                      <a:pt x="36" y="33"/>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4" name="Freeform 37"/>
              <p:cNvSpPr>
                <a:spLocks noEditPoints="1"/>
              </p:cNvSpPr>
              <p:nvPr/>
            </p:nvSpPr>
            <p:spPr bwMode="auto">
              <a:xfrm>
                <a:off x="3506788" y="3273426"/>
                <a:ext cx="241300" cy="158750"/>
              </a:xfrm>
              <a:custGeom>
                <a:avLst/>
                <a:gdLst>
                  <a:gd name="T0" fmla="*/ 90725625 w 152"/>
                  <a:gd name="T1" fmla="*/ 252015625 h 100"/>
                  <a:gd name="T2" fmla="*/ 0 w 152"/>
                  <a:gd name="T3" fmla="*/ 252015625 h 100"/>
                  <a:gd name="T4" fmla="*/ 143649700 w 152"/>
                  <a:gd name="T5" fmla="*/ 0 h 100"/>
                  <a:gd name="T6" fmla="*/ 244455950 w 152"/>
                  <a:gd name="T7" fmla="*/ 0 h 100"/>
                  <a:gd name="T8" fmla="*/ 383063750 w 152"/>
                  <a:gd name="T9" fmla="*/ 252015625 h 100"/>
                  <a:gd name="T10" fmla="*/ 299899388 w 152"/>
                  <a:gd name="T11" fmla="*/ 252015625 h 100"/>
                  <a:gd name="T12" fmla="*/ 269657513 w 152"/>
                  <a:gd name="T13" fmla="*/ 211693125 h 100"/>
                  <a:gd name="T14" fmla="*/ 113407825 w 152"/>
                  <a:gd name="T15" fmla="*/ 211693125 h 100"/>
                  <a:gd name="T16" fmla="*/ 90725625 w 152"/>
                  <a:gd name="T17" fmla="*/ 252015625 h 100"/>
                  <a:gd name="T18" fmla="*/ 143649700 w 152"/>
                  <a:gd name="T19" fmla="*/ 151209375 h 100"/>
                  <a:gd name="T20" fmla="*/ 244455950 w 152"/>
                  <a:gd name="T21" fmla="*/ 151209375 h 100"/>
                  <a:gd name="T22" fmla="*/ 191531875 w 152"/>
                  <a:gd name="T23" fmla="*/ 60483750 h 100"/>
                  <a:gd name="T24" fmla="*/ 143649700 w 152"/>
                  <a:gd name="T25" fmla="*/ 151209375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2" h="100">
                    <a:moveTo>
                      <a:pt x="36" y="100"/>
                    </a:moveTo>
                    <a:lnTo>
                      <a:pt x="0" y="100"/>
                    </a:lnTo>
                    <a:lnTo>
                      <a:pt x="57" y="0"/>
                    </a:lnTo>
                    <a:lnTo>
                      <a:pt x="97" y="0"/>
                    </a:lnTo>
                    <a:lnTo>
                      <a:pt x="152" y="100"/>
                    </a:lnTo>
                    <a:lnTo>
                      <a:pt x="119" y="100"/>
                    </a:lnTo>
                    <a:lnTo>
                      <a:pt x="107" y="84"/>
                    </a:lnTo>
                    <a:lnTo>
                      <a:pt x="45" y="84"/>
                    </a:lnTo>
                    <a:lnTo>
                      <a:pt x="36" y="100"/>
                    </a:lnTo>
                    <a:close/>
                    <a:moveTo>
                      <a:pt x="57" y="60"/>
                    </a:moveTo>
                    <a:lnTo>
                      <a:pt x="97" y="60"/>
                    </a:lnTo>
                    <a:lnTo>
                      <a:pt x="76" y="24"/>
                    </a:lnTo>
                    <a:lnTo>
                      <a:pt x="57" y="6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5" name="Freeform 38"/>
              <p:cNvSpPr>
                <a:spLocks noEditPoints="1"/>
              </p:cNvSpPr>
              <p:nvPr/>
            </p:nvSpPr>
            <p:spPr bwMode="auto">
              <a:xfrm>
                <a:off x="4214813" y="3273426"/>
                <a:ext cx="222250" cy="163513"/>
              </a:xfrm>
              <a:custGeom>
                <a:avLst/>
                <a:gdLst>
                  <a:gd name="T0" fmla="*/ 297988280 w 59"/>
                  <a:gd name="T1" fmla="*/ 621779097 h 43"/>
                  <a:gd name="T2" fmla="*/ 141897208 w 59"/>
                  <a:gd name="T3" fmla="*/ 607317703 h 43"/>
                  <a:gd name="T4" fmla="*/ 70950487 w 59"/>
                  <a:gd name="T5" fmla="*/ 578398718 h 43"/>
                  <a:gd name="T6" fmla="*/ 14190097 w 59"/>
                  <a:gd name="T7" fmla="*/ 506099353 h 43"/>
                  <a:gd name="T8" fmla="*/ 0 w 59"/>
                  <a:gd name="T9" fmla="*/ 390419610 h 43"/>
                  <a:gd name="T10" fmla="*/ 0 w 59"/>
                  <a:gd name="T11" fmla="*/ 231359487 h 43"/>
                  <a:gd name="T12" fmla="*/ 14190097 w 59"/>
                  <a:gd name="T13" fmla="*/ 101218350 h 43"/>
                  <a:gd name="T14" fmla="*/ 70950487 w 59"/>
                  <a:gd name="T15" fmla="*/ 28918985 h 43"/>
                  <a:gd name="T16" fmla="*/ 141897208 w 59"/>
                  <a:gd name="T17" fmla="*/ 0 h 43"/>
                  <a:gd name="T18" fmla="*/ 297988280 w 59"/>
                  <a:gd name="T19" fmla="*/ 0 h 43"/>
                  <a:gd name="T20" fmla="*/ 525026072 w 59"/>
                  <a:gd name="T21" fmla="*/ 0 h 43"/>
                  <a:gd name="T22" fmla="*/ 681117144 w 59"/>
                  <a:gd name="T23" fmla="*/ 0 h 43"/>
                  <a:gd name="T24" fmla="*/ 766253962 w 59"/>
                  <a:gd name="T25" fmla="*/ 28918985 h 43"/>
                  <a:gd name="T26" fmla="*/ 808824254 w 59"/>
                  <a:gd name="T27" fmla="*/ 101218350 h 43"/>
                  <a:gd name="T28" fmla="*/ 837204449 w 59"/>
                  <a:gd name="T29" fmla="*/ 216898093 h 43"/>
                  <a:gd name="T30" fmla="*/ 837204449 w 59"/>
                  <a:gd name="T31" fmla="*/ 390419610 h 43"/>
                  <a:gd name="T32" fmla="*/ 808824254 w 59"/>
                  <a:gd name="T33" fmla="*/ 506099353 h 43"/>
                  <a:gd name="T34" fmla="*/ 766253962 w 59"/>
                  <a:gd name="T35" fmla="*/ 578398718 h 43"/>
                  <a:gd name="T36" fmla="*/ 681117144 w 59"/>
                  <a:gd name="T37" fmla="*/ 607317703 h 43"/>
                  <a:gd name="T38" fmla="*/ 525026072 w 59"/>
                  <a:gd name="T39" fmla="*/ 621779097 h 43"/>
                  <a:gd name="T40" fmla="*/ 297988280 w 59"/>
                  <a:gd name="T41" fmla="*/ 621779097 h 43"/>
                  <a:gd name="T42" fmla="*/ 354748669 w 59"/>
                  <a:gd name="T43" fmla="*/ 462718974 h 43"/>
                  <a:gd name="T44" fmla="*/ 468265682 w 59"/>
                  <a:gd name="T45" fmla="*/ 462718974 h 43"/>
                  <a:gd name="T46" fmla="*/ 610166657 w 59"/>
                  <a:gd name="T47" fmla="*/ 433799989 h 43"/>
                  <a:gd name="T48" fmla="*/ 638546852 w 59"/>
                  <a:gd name="T49" fmla="*/ 347039231 h 43"/>
                  <a:gd name="T50" fmla="*/ 638546852 w 59"/>
                  <a:gd name="T51" fmla="*/ 260278472 h 43"/>
                  <a:gd name="T52" fmla="*/ 610166657 w 59"/>
                  <a:gd name="T53" fmla="*/ 173521517 h 43"/>
                  <a:gd name="T54" fmla="*/ 468265682 w 59"/>
                  <a:gd name="T55" fmla="*/ 144598729 h 43"/>
                  <a:gd name="T56" fmla="*/ 354748669 w 59"/>
                  <a:gd name="T57" fmla="*/ 144598729 h 43"/>
                  <a:gd name="T58" fmla="*/ 227037792 w 59"/>
                  <a:gd name="T59" fmla="*/ 173521517 h 43"/>
                  <a:gd name="T60" fmla="*/ 184467500 w 59"/>
                  <a:gd name="T61" fmla="*/ 260278472 h 43"/>
                  <a:gd name="T62" fmla="*/ 184467500 w 59"/>
                  <a:gd name="T63" fmla="*/ 347039231 h 43"/>
                  <a:gd name="T64" fmla="*/ 227037792 w 59"/>
                  <a:gd name="T65" fmla="*/ 433799989 h 43"/>
                  <a:gd name="T66" fmla="*/ 354748669 w 59"/>
                  <a:gd name="T67" fmla="*/ 462718974 h 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9" h="43">
                    <a:moveTo>
                      <a:pt x="21" y="43"/>
                    </a:moveTo>
                    <a:cubicBezTo>
                      <a:pt x="16" y="43"/>
                      <a:pt x="13" y="42"/>
                      <a:pt x="10" y="42"/>
                    </a:cubicBezTo>
                    <a:cubicBezTo>
                      <a:pt x="8" y="42"/>
                      <a:pt x="6" y="41"/>
                      <a:pt x="5" y="40"/>
                    </a:cubicBezTo>
                    <a:cubicBezTo>
                      <a:pt x="3" y="39"/>
                      <a:pt x="2" y="37"/>
                      <a:pt x="1" y="35"/>
                    </a:cubicBezTo>
                    <a:cubicBezTo>
                      <a:pt x="0" y="33"/>
                      <a:pt x="0" y="30"/>
                      <a:pt x="0" y="27"/>
                    </a:cubicBezTo>
                    <a:cubicBezTo>
                      <a:pt x="0" y="16"/>
                      <a:pt x="0" y="16"/>
                      <a:pt x="0" y="16"/>
                    </a:cubicBezTo>
                    <a:cubicBezTo>
                      <a:pt x="0" y="12"/>
                      <a:pt x="0" y="9"/>
                      <a:pt x="1" y="7"/>
                    </a:cubicBezTo>
                    <a:cubicBezTo>
                      <a:pt x="2" y="5"/>
                      <a:pt x="3" y="4"/>
                      <a:pt x="5" y="2"/>
                    </a:cubicBezTo>
                    <a:cubicBezTo>
                      <a:pt x="6" y="1"/>
                      <a:pt x="8" y="1"/>
                      <a:pt x="10" y="0"/>
                    </a:cubicBezTo>
                    <a:cubicBezTo>
                      <a:pt x="13" y="0"/>
                      <a:pt x="17" y="0"/>
                      <a:pt x="21" y="0"/>
                    </a:cubicBezTo>
                    <a:cubicBezTo>
                      <a:pt x="37" y="0"/>
                      <a:pt x="37" y="0"/>
                      <a:pt x="37" y="0"/>
                    </a:cubicBezTo>
                    <a:cubicBezTo>
                      <a:pt x="42" y="0"/>
                      <a:pt x="46" y="0"/>
                      <a:pt x="48" y="0"/>
                    </a:cubicBezTo>
                    <a:cubicBezTo>
                      <a:pt x="51" y="1"/>
                      <a:pt x="52" y="1"/>
                      <a:pt x="54" y="2"/>
                    </a:cubicBezTo>
                    <a:cubicBezTo>
                      <a:pt x="56" y="4"/>
                      <a:pt x="57" y="5"/>
                      <a:pt x="57" y="7"/>
                    </a:cubicBezTo>
                    <a:cubicBezTo>
                      <a:pt x="58" y="9"/>
                      <a:pt x="59" y="12"/>
                      <a:pt x="59" y="15"/>
                    </a:cubicBezTo>
                    <a:cubicBezTo>
                      <a:pt x="59" y="27"/>
                      <a:pt x="59" y="27"/>
                      <a:pt x="59" y="27"/>
                    </a:cubicBezTo>
                    <a:cubicBezTo>
                      <a:pt x="59" y="30"/>
                      <a:pt x="58" y="33"/>
                      <a:pt x="57" y="35"/>
                    </a:cubicBezTo>
                    <a:cubicBezTo>
                      <a:pt x="57" y="37"/>
                      <a:pt x="56" y="39"/>
                      <a:pt x="54" y="40"/>
                    </a:cubicBezTo>
                    <a:cubicBezTo>
                      <a:pt x="52" y="41"/>
                      <a:pt x="51" y="42"/>
                      <a:pt x="48" y="42"/>
                    </a:cubicBezTo>
                    <a:cubicBezTo>
                      <a:pt x="46" y="42"/>
                      <a:pt x="42" y="43"/>
                      <a:pt x="37" y="43"/>
                    </a:cubicBezTo>
                    <a:lnTo>
                      <a:pt x="21" y="43"/>
                    </a:lnTo>
                    <a:close/>
                    <a:moveTo>
                      <a:pt x="25" y="32"/>
                    </a:moveTo>
                    <a:cubicBezTo>
                      <a:pt x="33" y="32"/>
                      <a:pt x="33" y="32"/>
                      <a:pt x="33" y="32"/>
                    </a:cubicBezTo>
                    <a:cubicBezTo>
                      <a:pt x="38" y="32"/>
                      <a:pt x="41" y="32"/>
                      <a:pt x="43" y="30"/>
                    </a:cubicBezTo>
                    <a:cubicBezTo>
                      <a:pt x="44" y="29"/>
                      <a:pt x="45" y="27"/>
                      <a:pt x="45" y="24"/>
                    </a:cubicBezTo>
                    <a:cubicBezTo>
                      <a:pt x="45" y="18"/>
                      <a:pt x="45" y="18"/>
                      <a:pt x="45" y="18"/>
                    </a:cubicBezTo>
                    <a:cubicBezTo>
                      <a:pt x="45" y="15"/>
                      <a:pt x="44" y="13"/>
                      <a:pt x="43" y="12"/>
                    </a:cubicBezTo>
                    <a:cubicBezTo>
                      <a:pt x="41" y="11"/>
                      <a:pt x="38" y="10"/>
                      <a:pt x="33" y="10"/>
                    </a:cubicBezTo>
                    <a:cubicBezTo>
                      <a:pt x="25" y="10"/>
                      <a:pt x="25" y="10"/>
                      <a:pt x="25" y="10"/>
                    </a:cubicBezTo>
                    <a:cubicBezTo>
                      <a:pt x="20" y="10"/>
                      <a:pt x="17" y="11"/>
                      <a:pt x="16" y="12"/>
                    </a:cubicBezTo>
                    <a:cubicBezTo>
                      <a:pt x="14" y="13"/>
                      <a:pt x="13" y="15"/>
                      <a:pt x="13" y="18"/>
                    </a:cubicBezTo>
                    <a:cubicBezTo>
                      <a:pt x="13" y="24"/>
                      <a:pt x="13" y="24"/>
                      <a:pt x="13" y="24"/>
                    </a:cubicBezTo>
                    <a:cubicBezTo>
                      <a:pt x="13" y="27"/>
                      <a:pt x="14" y="29"/>
                      <a:pt x="16" y="30"/>
                    </a:cubicBezTo>
                    <a:cubicBezTo>
                      <a:pt x="17" y="32"/>
                      <a:pt x="20" y="32"/>
                      <a:pt x="25" y="32"/>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6" name="Freeform 39"/>
              <p:cNvSpPr>
                <a:spLocks noEditPoints="1"/>
              </p:cNvSpPr>
              <p:nvPr/>
            </p:nvSpPr>
            <p:spPr bwMode="auto">
              <a:xfrm>
                <a:off x="5562600" y="3273426"/>
                <a:ext cx="239713" cy="158750"/>
              </a:xfrm>
              <a:custGeom>
                <a:avLst/>
                <a:gdLst>
                  <a:gd name="T0" fmla="*/ 83166123 w 151"/>
                  <a:gd name="T1" fmla="*/ 252015625 h 100"/>
                  <a:gd name="T2" fmla="*/ 0 w 151"/>
                  <a:gd name="T3" fmla="*/ 252015625 h 100"/>
                  <a:gd name="T4" fmla="*/ 136088721 w 151"/>
                  <a:gd name="T5" fmla="*/ 0 h 100"/>
                  <a:gd name="T6" fmla="*/ 236895182 w 151"/>
                  <a:gd name="T7" fmla="*/ 0 h 100"/>
                  <a:gd name="T8" fmla="*/ 380545181 w 151"/>
                  <a:gd name="T9" fmla="*/ 252015625 h 100"/>
                  <a:gd name="T10" fmla="*/ 292338735 w 151"/>
                  <a:gd name="T11" fmla="*/ 252015625 h 100"/>
                  <a:gd name="T12" fmla="*/ 267137120 w 151"/>
                  <a:gd name="T13" fmla="*/ 211693125 h 100"/>
                  <a:gd name="T14" fmla="*/ 105846783 w 151"/>
                  <a:gd name="T15" fmla="*/ 211693125 h 100"/>
                  <a:gd name="T16" fmla="*/ 83166123 w 151"/>
                  <a:gd name="T17" fmla="*/ 252015625 h 100"/>
                  <a:gd name="T18" fmla="*/ 136088721 w 151"/>
                  <a:gd name="T19" fmla="*/ 151209375 h 100"/>
                  <a:gd name="T20" fmla="*/ 236895182 w 151"/>
                  <a:gd name="T21" fmla="*/ 151209375 h 100"/>
                  <a:gd name="T22" fmla="*/ 189012907 w 151"/>
                  <a:gd name="T23" fmla="*/ 60483750 h 100"/>
                  <a:gd name="T24" fmla="*/ 136088721 w 151"/>
                  <a:gd name="T25" fmla="*/ 151209375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 h="100">
                    <a:moveTo>
                      <a:pt x="33" y="100"/>
                    </a:moveTo>
                    <a:lnTo>
                      <a:pt x="0" y="100"/>
                    </a:lnTo>
                    <a:lnTo>
                      <a:pt x="54" y="0"/>
                    </a:lnTo>
                    <a:lnTo>
                      <a:pt x="94" y="0"/>
                    </a:lnTo>
                    <a:lnTo>
                      <a:pt x="151" y="100"/>
                    </a:lnTo>
                    <a:lnTo>
                      <a:pt x="116" y="100"/>
                    </a:lnTo>
                    <a:lnTo>
                      <a:pt x="106" y="84"/>
                    </a:lnTo>
                    <a:lnTo>
                      <a:pt x="42" y="84"/>
                    </a:lnTo>
                    <a:lnTo>
                      <a:pt x="33" y="100"/>
                    </a:lnTo>
                    <a:close/>
                    <a:moveTo>
                      <a:pt x="54" y="60"/>
                    </a:moveTo>
                    <a:lnTo>
                      <a:pt x="94" y="60"/>
                    </a:lnTo>
                    <a:lnTo>
                      <a:pt x="75" y="24"/>
                    </a:lnTo>
                    <a:lnTo>
                      <a:pt x="54" y="6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7" name="Freeform 40"/>
              <p:cNvSpPr>
                <a:spLocks/>
              </p:cNvSpPr>
              <p:nvPr/>
            </p:nvSpPr>
            <p:spPr bwMode="auto">
              <a:xfrm>
                <a:off x="3059113" y="3273426"/>
                <a:ext cx="173038" cy="139700"/>
              </a:xfrm>
              <a:custGeom>
                <a:avLst/>
                <a:gdLst>
                  <a:gd name="T0" fmla="*/ 466961851 w 46"/>
                  <a:gd name="T1" fmla="*/ 71277205 h 37"/>
                  <a:gd name="T2" fmla="*/ 481113351 w 46"/>
                  <a:gd name="T3" fmla="*/ 0 h 37"/>
                  <a:gd name="T4" fmla="*/ 169802942 w 46"/>
                  <a:gd name="T5" fmla="*/ 0 h 37"/>
                  <a:gd name="T6" fmla="*/ 155655204 w 46"/>
                  <a:gd name="T7" fmla="*/ 0 h 37"/>
                  <a:gd name="T8" fmla="*/ 141503705 w 46"/>
                  <a:gd name="T9" fmla="*/ 42767078 h 37"/>
                  <a:gd name="T10" fmla="*/ 169802942 w 46"/>
                  <a:gd name="T11" fmla="*/ 57024030 h 37"/>
                  <a:gd name="T12" fmla="*/ 198105940 w 46"/>
                  <a:gd name="T13" fmla="*/ 114044284 h 37"/>
                  <a:gd name="T14" fmla="*/ 99052970 w 46"/>
                  <a:gd name="T15" fmla="*/ 427670784 h 37"/>
                  <a:gd name="T16" fmla="*/ 14151499 w 46"/>
                  <a:gd name="T17" fmla="*/ 470437862 h 37"/>
                  <a:gd name="T18" fmla="*/ 0 w 46"/>
                  <a:gd name="T19" fmla="*/ 527461892 h 37"/>
                  <a:gd name="T20" fmla="*/ 0 w 46"/>
                  <a:gd name="T21" fmla="*/ 527461892 h 37"/>
                  <a:gd name="T22" fmla="*/ 580166320 w 46"/>
                  <a:gd name="T23" fmla="*/ 527461892 h 37"/>
                  <a:gd name="T24" fmla="*/ 650916292 w 46"/>
                  <a:gd name="T25" fmla="*/ 299369549 h 37"/>
                  <a:gd name="T26" fmla="*/ 594314058 w 46"/>
                  <a:gd name="T27" fmla="*/ 299369549 h 37"/>
                  <a:gd name="T28" fmla="*/ 566014821 w 46"/>
                  <a:gd name="T29" fmla="*/ 384903705 h 37"/>
                  <a:gd name="T30" fmla="*/ 509412587 w 46"/>
                  <a:gd name="T31" fmla="*/ 441927735 h 37"/>
                  <a:gd name="T32" fmla="*/ 325458146 w 46"/>
                  <a:gd name="T33" fmla="*/ 456184686 h 37"/>
                  <a:gd name="T34" fmla="*/ 311306647 w 46"/>
                  <a:gd name="T35" fmla="*/ 456184686 h 37"/>
                  <a:gd name="T36" fmla="*/ 297158910 w 46"/>
                  <a:gd name="T37" fmla="*/ 441927735 h 37"/>
                  <a:gd name="T38" fmla="*/ 396208118 w 46"/>
                  <a:gd name="T39" fmla="*/ 114044284 h 37"/>
                  <a:gd name="T40" fmla="*/ 466961851 w 46"/>
                  <a:gd name="T41" fmla="*/ 71277205 h 3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6" h="37">
                    <a:moveTo>
                      <a:pt x="33" y="5"/>
                    </a:moveTo>
                    <a:cubicBezTo>
                      <a:pt x="34" y="3"/>
                      <a:pt x="34" y="2"/>
                      <a:pt x="34" y="0"/>
                    </a:cubicBezTo>
                    <a:cubicBezTo>
                      <a:pt x="12" y="0"/>
                      <a:pt x="12" y="0"/>
                      <a:pt x="12" y="0"/>
                    </a:cubicBezTo>
                    <a:cubicBezTo>
                      <a:pt x="11" y="0"/>
                      <a:pt x="11" y="0"/>
                      <a:pt x="11" y="0"/>
                    </a:cubicBezTo>
                    <a:cubicBezTo>
                      <a:pt x="10" y="3"/>
                      <a:pt x="10" y="3"/>
                      <a:pt x="10" y="3"/>
                    </a:cubicBezTo>
                    <a:cubicBezTo>
                      <a:pt x="10" y="4"/>
                      <a:pt x="11" y="4"/>
                      <a:pt x="12" y="4"/>
                    </a:cubicBezTo>
                    <a:cubicBezTo>
                      <a:pt x="14" y="5"/>
                      <a:pt x="14" y="6"/>
                      <a:pt x="14" y="8"/>
                    </a:cubicBezTo>
                    <a:cubicBezTo>
                      <a:pt x="7" y="30"/>
                      <a:pt x="7" y="30"/>
                      <a:pt x="7" y="30"/>
                    </a:cubicBezTo>
                    <a:cubicBezTo>
                      <a:pt x="6" y="33"/>
                      <a:pt x="4" y="33"/>
                      <a:pt x="1" y="33"/>
                    </a:cubicBezTo>
                    <a:cubicBezTo>
                      <a:pt x="1" y="35"/>
                      <a:pt x="0" y="35"/>
                      <a:pt x="0" y="37"/>
                    </a:cubicBezTo>
                    <a:cubicBezTo>
                      <a:pt x="0" y="37"/>
                      <a:pt x="0" y="37"/>
                      <a:pt x="0" y="37"/>
                    </a:cubicBezTo>
                    <a:cubicBezTo>
                      <a:pt x="41" y="37"/>
                      <a:pt x="41" y="37"/>
                      <a:pt x="41" y="37"/>
                    </a:cubicBezTo>
                    <a:cubicBezTo>
                      <a:pt x="46" y="21"/>
                      <a:pt x="46" y="21"/>
                      <a:pt x="46" y="21"/>
                    </a:cubicBezTo>
                    <a:cubicBezTo>
                      <a:pt x="45" y="21"/>
                      <a:pt x="44" y="21"/>
                      <a:pt x="42" y="21"/>
                    </a:cubicBezTo>
                    <a:cubicBezTo>
                      <a:pt x="41" y="23"/>
                      <a:pt x="41" y="25"/>
                      <a:pt x="40" y="27"/>
                    </a:cubicBezTo>
                    <a:cubicBezTo>
                      <a:pt x="39" y="29"/>
                      <a:pt x="38" y="30"/>
                      <a:pt x="36" y="31"/>
                    </a:cubicBezTo>
                    <a:cubicBezTo>
                      <a:pt x="32" y="33"/>
                      <a:pt x="29" y="32"/>
                      <a:pt x="23" y="32"/>
                    </a:cubicBezTo>
                    <a:cubicBezTo>
                      <a:pt x="23" y="32"/>
                      <a:pt x="22" y="32"/>
                      <a:pt x="22" y="32"/>
                    </a:cubicBezTo>
                    <a:cubicBezTo>
                      <a:pt x="21" y="32"/>
                      <a:pt x="21" y="32"/>
                      <a:pt x="21" y="31"/>
                    </a:cubicBezTo>
                    <a:cubicBezTo>
                      <a:pt x="28" y="8"/>
                      <a:pt x="28" y="8"/>
                      <a:pt x="28" y="8"/>
                    </a:cubicBezTo>
                    <a:cubicBezTo>
                      <a:pt x="29" y="5"/>
                      <a:pt x="31" y="5"/>
                      <a:pt x="33" y="5"/>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8" name="Freeform 41"/>
              <p:cNvSpPr>
                <a:spLocks noEditPoints="1"/>
              </p:cNvSpPr>
              <p:nvPr/>
            </p:nvSpPr>
            <p:spPr bwMode="auto">
              <a:xfrm>
                <a:off x="2863850" y="3078163"/>
                <a:ext cx="549275" cy="552450"/>
              </a:xfrm>
              <a:custGeom>
                <a:avLst/>
                <a:gdLst>
                  <a:gd name="T0" fmla="*/ 1033231421 w 146"/>
                  <a:gd name="T1" fmla="*/ 0 h 145"/>
                  <a:gd name="T2" fmla="*/ 2066459080 w 146"/>
                  <a:gd name="T3" fmla="*/ 1059675300 h 145"/>
                  <a:gd name="T4" fmla="*/ 1033231421 w 146"/>
                  <a:gd name="T5" fmla="*/ 2104834500 h 145"/>
                  <a:gd name="T6" fmla="*/ 0 w 146"/>
                  <a:gd name="T7" fmla="*/ 1059675300 h 145"/>
                  <a:gd name="T8" fmla="*/ 1033231421 w 146"/>
                  <a:gd name="T9" fmla="*/ 0 h 145"/>
                  <a:gd name="T10" fmla="*/ 1033231421 w 146"/>
                  <a:gd name="T11" fmla="*/ 609676200 h 145"/>
                  <a:gd name="T12" fmla="*/ 1486153804 w 146"/>
                  <a:gd name="T13" fmla="*/ 1059675300 h 145"/>
                  <a:gd name="T14" fmla="*/ 1033231421 w 146"/>
                  <a:gd name="T15" fmla="*/ 1509674400 h 145"/>
                  <a:gd name="T16" fmla="*/ 580305275 w 146"/>
                  <a:gd name="T17" fmla="*/ 1059675300 h 145"/>
                  <a:gd name="T18" fmla="*/ 1033231421 w 146"/>
                  <a:gd name="T19" fmla="*/ 609676200 h 145"/>
                  <a:gd name="T20" fmla="*/ 1061537894 w 146"/>
                  <a:gd name="T21" fmla="*/ 159677100 h 145"/>
                  <a:gd name="T22" fmla="*/ 481228857 w 146"/>
                  <a:gd name="T23" fmla="*/ 1030643100 h 145"/>
                  <a:gd name="T24" fmla="*/ 325539491 w 146"/>
                  <a:gd name="T25" fmla="*/ 522579600 h 145"/>
                  <a:gd name="T26" fmla="*/ 339692728 w 146"/>
                  <a:gd name="T27" fmla="*/ 508063500 h 145"/>
                  <a:gd name="T28" fmla="*/ 1061537894 w 146"/>
                  <a:gd name="T29" fmla="*/ 159677100 h 145"/>
                  <a:gd name="T30" fmla="*/ 155693127 w 146"/>
                  <a:gd name="T31" fmla="*/ 1016127000 h 145"/>
                  <a:gd name="T32" fmla="*/ 1004921185 w 146"/>
                  <a:gd name="T33" fmla="*/ 1611287100 h 145"/>
                  <a:gd name="T34" fmla="*/ 509539092 w 146"/>
                  <a:gd name="T35" fmla="*/ 1770964200 h 145"/>
                  <a:gd name="T36" fmla="*/ 495385855 w 146"/>
                  <a:gd name="T37" fmla="*/ 1770964200 h 145"/>
                  <a:gd name="T38" fmla="*/ 155693127 w 146"/>
                  <a:gd name="T39" fmla="*/ 1016127000 h 145"/>
                  <a:gd name="T40" fmla="*/ 1004921185 w 146"/>
                  <a:gd name="T41" fmla="*/ 1959673500 h 145"/>
                  <a:gd name="T42" fmla="*/ 1585230223 w 146"/>
                  <a:gd name="T43" fmla="*/ 1074191400 h 145"/>
                  <a:gd name="T44" fmla="*/ 1740919588 w 146"/>
                  <a:gd name="T45" fmla="*/ 1596771000 h 145"/>
                  <a:gd name="T46" fmla="*/ 1726766352 w 146"/>
                  <a:gd name="T47" fmla="*/ 1611287100 h 145"/>
                  <a:gd name="T48" fmla="*/ 1004921185 w 146"/>
                  <a:gd name="T49" fmla="*/ 1959673500 h 145"/>
                  <a:gd name="T50" fmla="*/ 1910765952 w 146"/>
                  <a:gd name="T51" fmla="*/ 1088707500 h 145"/>
                  <a:gd name="T52" fmla="*/ 1061537894 w 146"/>
                  <a:gd name="T53" fmla="*/ 508063500 h 145"/>
                  <a:gd name="T54" fmla="*/ 1556919988 w 146"/>
                  <a:gd name="T55" fmla="*/ 333870300 h 145"/>
                  <a:gd name="T56" fmla="*/ 1571073224 w 146"/>
                  <a:gd name="T57" fmla="*/ 348386400 h 145"/>
                  <a:gd name="T58" fmla="*/ 1910765952 w 146"/>
                  <a:gd name="T59" fmla="*/ 1088707500 h 1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46" h="145">
                    <a:moveTo>
                      <a:pt x="73" y="0"/>
                    </a:moveTo>
                    <a:cubicBezTo>
                      <a:pt x="113" y="0"/>
                      <a:pt x="146" y="33"/>
                      <a:pt x="146" y="73"/>
                    </a:cubicBezTo>
                    <a:cubicBezTo>
                      <a:pt x="146" y="113"/>
                      <a:pt x="113" y="145"/>
                      <a:pt x="73" y="145"/>
                    </a:cubicBezTo>
                    <a:cubicBezTo>
                      <a:pt x="33" y="145"/>
                      <a:pt x="0" y="113"/>
                      <a:pt x="0" y="73"/>
                    </a:cubicBezTo>
                    <a:cubicBezTo>
                      <a:pt x="0" y="33"/>
                      <a:pt x="33" y="0"/>
                      <a:pt x="73" y="0"/>
                    </a:cubicBezTo>
                    <a:moveTo>
                      <a:pt x="73" y="42"/>
                    </a:moveTo>
                    <a:cubicBezTo>
                      <a:pt x="90" y="42"/>
                      <a:pt x="105" y="56"/>
                      <a:pt x="105" y="73"/>
                    </a:cubicBezTo>
                    <a:cubicBezTo>
                      <a:pt x="105" y="90"/>
                      <a:pt x="90" y="104"/>
                      <a:pt x="73" y="104"/>
                    </a:cubicBezTo>
                    <a:cubicBezTo>
                      <a:pt x="56" y="104"/>
                      <a:pt x="41" y="90"/>
                      <a:pt x="41" y="73"/>
                    </a:cubicBezTo>
                    <a:cubicBezTo>
                      <a:pt x="41" y="56"/>
                      <a:pt x="56" y="42"/>
                      <a:pt x="73" y="42"/>
                    </a:cubicBezTo>
                    <a:moveTo>
                      <a:pt x="75" y="11"/>
                    </a:moveTo>
                    <a:cubicBezTo>
                      <a:pt x="66" y="15"/>
                      <a:pt x="37" y="35"/>
                      <a:pt x="34" y="71"/>
                    </a:cubicBezTo>
                    <a:cubicBezTo>
                      <a:pt x="30" y="66"/>
                      <a:pt x="23" y="52"/>
                      <a:pt x="23" y="36"/>
                    </a:cubicBezTo>
                    <a:cubicBezTo>
                      <a:pt x="24" y="35"/>
                      <a:pt x="24" y="35"/>
                      <a:pt x="24" y="35"/>
                    </a:cubicBezTo>
                    <a:cubicBezTo>
                      <a:pt x="28" y="26"/>
                      <a:pt x="51" y="8"/>
                      <a:pt x="75" y="11"/>
                    </a:cubicBezTo>
                    <a:moveTo>
                      <a:pt x="11" y="70"/>
                    </a:moveTo>
                    <a:cubicBezTo>
                      <a:pt x="15" y="79"/>
                      <a:pt x="35" y="108"/>
                      <a:pt x="71" y="111"/>
                    </a:cubicBezTo>
                    <a:cubicBezTo>
                      <a:pt x="67" y="115"/>
                      <a:pt x="52" y="122"/>
                      <a:pt x="36" y="122"/>
                    </a:cubicBezTo>
                    <a:cubicBezTo>
                      <a:pt x="35" y="122"/>
                      <a:pt x="35" y="122"/>
                      <a:pt x="35" y="122"/>
                    </a:cubicBezTo>
                    <a:cubicBezTo>
                      <a:pt x="27" y="118"/>
                      <a:pt x="9" y="95"/>
                      <a:pt x="11" y="70"/>
                    </a:cubicBezTo>
                    <a:moveTo>
                      <a:pt x="71" y="135"/>
                    </a:moveTo>
                    <a:cubicBezTo>
                      <a:pt x="80" y="130"/>
                      <a:pt x="109" y="110"/>
                      <a:pt x="112" y="74"/>
                    </a:cubicBezTo>
                    <a:cubicBezTo>
                      <a:pt x="116" y="79"/>
                      <a:pt x="123" y="94"/>
                      <a:pt x="123" y="110"/>
                    </a:cubicBezTo>
                    <a:cubicBezTo>
                      <a:pt x="122" y="111"/>
                      <a:pt x="122" y="111"/>
                      <a:pt x="122" y="111"/>
                    </a:cubicBezTo>
                    <a:cubicBezTo>
                      <a:pt x="118" y="119"/>
                      <a:pt x="95" y="137"/>
                      <a:pt x="71" y="135"/>
                    </a:cubicBezTo>
                    <a:moveTo>
                      <a:pt x="135" y="75"/>
                    </a:moveTo>
                    <a:cubicBezTo>
                      <a:pt x="131" y="66"/>
                      <a:pt x="111" y="37"/>
                      <a:pt x="75" y="35"/>
                    </a:cubicBezTo>
                    <a:cubicBezTo>
                      <a:pt x="79" y="30"/>
                      <a:pt x="94" y="23"/>
                      <a:pt x="110" y="23"/>
                    </a:cubicBezTo>
                    <a:cubicBezTo>
                      <a:pt x="111" y="24"/>
                      <a:pt x="111" y="24"/>
                      <a:pt x="111" y="24"/>
                    </a:cubicBezTo>
                    <a:cubicBezTo>
                      <a:pt x="119" y="28"/>
                      <a:pt x="137" y="51"/>
                      <a:pt x="135" y="75"/>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spTree>
    <p:extLst>
      <p:ext uri="{BB962C8B-B14F-4D97-AF65-F5344CB8AC3E}">
        <p14:creationId xmlns:p14="http://schemas.microsoft.com/office/powerpoint/2010/main" val="414671213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2"/>
            </p:custDataLst>
          </p:nvPr>
        </p:nvSpPr>
        <p:spPr>
          <a:xfrm>
            <a:off x="1" y="1"/>
            <a:ext cx="158751" cy="158751"/>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121917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sym typeface="Calibri" panose="020F0502020204030204" pitchFamily="34" charset="0"/>
            </a:endParaRPr>
          </a:p>
        </p:txBody>
      </p:sp>
      <p:sp>
        <p:nvSpPr>
          <p:cNvPr id="5" name="FooterSimple" hidden="1"/>
          <p:cNvSpPr txBox="1"/>
          <p:nvPr userDrawn="1">
            <p:custDataLst>
              <p:tags r:id="rId3"/>
            </p:custDataLst>
          </p:nvPr>
        </p:nvSpPr>
        <p:spPr>
          <a:xfrm rot="16200000">
            <a:off x="10562168" y="5118309"/>
            <a:ext cx="2743200" cy="96950"/>
          </a:xfrm>
          <a:prstGeom prst="rect">
            <a:avLst/>
          </a:prstGeom>
          <a:noFill/>
        </p:spPr>
        <p:txBody>
          <a:bodyPr lIns="0" tIns="0" rIns="0" bIns="0" anchor="b">
            <a:spAutoFit/>
          </a:bodyPr>
          <a:lstStyle/>
          <a:p>
            <a:pPr marL="0" marR="0" lvl="0" indent="0" algn="l" defTabSz="121917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Calibri"/>
                <a:ea typeface="+mn-ea"/>
                <a:cs typeface="+mn-cs"/>
                <a:sym typeface="+mn-lt"/>
              </a:rPr>
              <a:t>DSE &amp; DSM Training Deck_with Intune Login.pptx</a:t>
            </a:r>
            <a:endParaRPr kumimoji="0" lang="en-US" sz="700" b="0" i="0" u="none" strike="noStrike" kern="1200" cap="none" spc="0" normalizeH="0" baseline="0" noProof="0" dirty="0">
              <a:ln>
                <a:noFill/>
              </a:ln>
              <a:solidFill>
                <a:prstClr val="white">
                  <a:lumMod val="50000"/>
                </a:prstClr>
              </a:solidFill>
              <a:effectLst/>
              <a:uLnTx/>
              <a:uFillTx/>
              <a:latin typeface="Calibri"/>
              <a:ea typeface="+mn-ea"/>
              <a:cs typeface="+mn-cs"/>
              <a:sym typeface="+mn-lt"/>
            </a:endParaRPr>
          </a:p>
        </p:txBody>
      </p:sp>
      <p:sp>
        <p:nvSpPr>
          <p:cNvPr id="6" name="Line 11"/>
          <p:cNvSpPr>
            <a:spLocks noChangeShapeType="1"/>
          </p:cNvSpPr>
          <p:nvPr userDrawn="1"/>
        </p:nvSpPr>
        <p:spPr bwMode="auto">
          <a:xfrm>
            <a:off x="0" y="1253067"/>
            <a:ext cx="12192000" cy="0"/>
          </a:xfrm>
          <a:prstGeom prst="line">
            <a:avLst/>
          </a:prstGeom>
          <a:noFill/>
          <a:ln w="63500">
            <a:solidFill>
              <a:srgbClr val="808080"/>
            </a:solidFill>
            <a:round/>
            <a:headEnd/>
            <a:tailEnd/>
          </a:ln>
          <a:extLst>
            <a:ext uri="{909E8E84-426E-40DD-AFC4-6F175D3DCCD1}">
              <a14:hiddenFill xmlns:a14="http://schemas.microsoft.com/office/drawing/2010/main">
                <a:noFill/>
              </a14:hiddenFill>
            </a:ext>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Calibri"/>
              <a:ea typeface="+mn-ea"/>
              <a:cs typeface="+mn-cs"/>
              <a:sym typeface="+mn-lt"/>
            </a:endParaRPr>
          </a:p>
        </p:txBody>
      </p:sp>
      <p:pic>
        <p:nvPicPr>
          <p:cNvPr id="7" name="Picture 11"/>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065934" y="112185"/>
            <a:ext cx="994833" cy="994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307778" y="689478"/>
            <a:ext cx="10614225" cy="339225"/>
          </a:xfrm>
        </p:spPr>
        <p:txBody>
          <a:bodyPr/>
          <a:lstStyle>
            <a:lvl1pPr>
              <a:defRPr>
                <a:latin typeface="+mj-lt"/>
                <a:ea typeface="+mj-ea"/>
                <a:cs typeface="+mj-cs"/>
                <a:sym typeface="+mj-lt"/>
              </a:defRPr>
            </a:lvl1pPr>
          </a:lstStyle>
          <a:p>
            <a:r>
              <a:rPr lang="en-US"/>
              <a:t>Click to edit Master title style</a:t>
            </a:r>
            <a:endParaRPr lang="en-US" dirty="0"/>
          </a:p>
        </p:txBody>
      </p:sp>
      <p:sp>
        <p:nvSpPr>
          <p:cNvPr id="9" name="Date Placeholder 3"/>
          <p:cNvSpPr>
            <a:spLocks noGrp="1"/>
          </p:cNvSpPr>
          <p:nvPr>
            <p:ph type="dt" sz="half" idx="10"/>
          </p:nvPr>
        </p:nvSpPr>
        <p:spPr>
          <a:xfrm>
            <a:off x="10155767" y="6532663"/>
            <a:ext cx="1481667" cy="153888"/>
          </a:xfrm>
        </p:spPr>
        <p:txBody>
          <a:bodyPr wrap="square" lIns="0" tIns="0" rIns="0" bIns="0" anchor="b">
            <a:spAutoFit/>
          </a:bodyPr>
          <a:lstStyle>
            <a:lvl1pPr algn="r">
              <a:defRPr sz="1000">
                <a:solidFill>
                  <a:schemeClr val="tx1"/>
                </a:solidFill>
                <a:latin typeface="+mn-lt"/>
                <a:ea typeface="+mn-ea"/>
                <a:cs typeface="+mn-cs"/>
                <a:sym typeface="+mn-lt"/>
              </a:defRPr>
            </a:lvl1pPr>
          </a:lstStyle>
          <a:p>
            <a:pPr defTabSz="1219170">
              <a:defRPr/>
            </a:pPr>
            <a:endParaRPr lang="en-US">
              <a:solidFill>
                <a:prstClr val="black"/>
              </a:solidFill>
            </a:endParaRPr>
          </a:p>
        </p:txBody>
      </p:sp>
    </p:spTree>
    <p:extLst>
      <p:ext uri="{BB962C8B-B14F-4D97-AF65-F5344CB8AC3E}">
        <p14:creationId xmlns:p14="http://schemas.microsoft.com/office/powerpoint/2010/main" val="1548453660"/>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After Sales Support layout 1">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04601" y="-12699"/>
            <a:ext cx="774700"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12">
            <a:extLst>
              <a:ext uri="{FF2B5EF4-FFF2-40B4-BE49-F238E27FC236}">
                <a16:creationId xmlns:a16="http://schemas.microsoft.com/office/drawing/2014/main" id="{9334D842-888D-4852-BE61-491A2F8CBB6E}"/>
              </a:ext>
            </a:extLst>
          </p:cNvPr>
          <p:cNvSpPr>
            <a:spLocks noGrp="1"/>
          </p:cNvSpPr>
          <p:nvPr>
            <p:ph type="body" sz="quarter" idx="10"/>
          </p:nvPr>
        </p:nvSpPr>
        <p:spPr>
          <a:xfrm>
            <a:off x="13063" y="1"/>
            <a:ext cx="11377883" cy="761867"/>
          </a:xfrm>
        </p:spPr>
        <p:txBody>
          <a:bodyPr anchor="ctr">
            <a:normAutofit/>
          </a:bodyPr>
          <a:lstStyle>
            <a:lvl1pPr marL="0" indent="0" algn="ctr">
              <a:buNone/>
              <a:defRPr sz="3600" b="1">
                <a:solidFill>
                  <a:schemeClr val="tx1"/>
                </a:solidFill>
                <a:latin typeface="Century Gothic" panose="020B0502020202020204" pitchFamily="34" charset="0"/>
              </a:defRPr>
            </a:lvl1pPr>
          </a:lstStyle>
          <a:p>
            <a:pPr lvl="0"/>
            <a:endParaRPr lang="en-IN" dirty="0"/>
          </a:p>
        </p:txBody>
      </p:sp>
    </p:spTree>
    <p:extLst>
      <p:ext uri="{BB962C8B-B14F-4D97-AF65-F5344CB8AC3E}">
        <p14:creationId xmlns:p14="http://schemas.microsoft.com/office/powerpoint/2010/main" val="101860164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46934" y="148167"/>
            <a:ext cx="622300" cy="620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4F63DCBE-15F8-4AC4-BDDF-F3FCB171ED61}"/>
              </a:ext>
            </a:extLst>
          </p:cNvPr>
          <p:cNvSpPr/>
          <p:nvPr userDrawn="1"/>
        </p:nvSpPr>
        <p:spPr>
          <a:xfrm>
            <a:off x="273051" y="156634"/>
            <a:ext cx="368300" cy="723900"/>
          </a:xfrm>
          <a:prstGeom prst="rect">
            <a:avLst/>
          </a:prstGeom>
          <a:solidFill>
            <a:srgbClr val="0089C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0C7BF96B-52B9-4468-895F-03CC7655E9F6}"/>
              </a:ext>
            </a:extLst>
          </p:cNvPr>
          <p:cNvSpPr/>
          <p:nvPr userDrawn="1"/>
        </p:nvSpPr>
        <p:spPr>
          <a:xfrm>
            <a:off x="1" y="156634"/>
            <a:ext cx="190500" cy="723900"/>
          </a:xfrm>
          <a:prstGeom prst="rect">
            <a:avLst/>
          </a:prstGeom>
          <a:solidFill>
            <a:srgbClr val="0089C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6" name="Straight Connector 5">
            <a:extLst>
              <a:ext uri="{FF2B5EF4-FFF2-40B4-BE49-F238E27FC236}">
                <a16:creationId xmlns:a16="http://schemas.microsoft.com/office/drawing/2014/main" id="{7C1380B8-D9A5-444E-BE82-128F8872EC7B}"/>
              </a:ext>
            </a:extLst>
          </p:cNvPr>
          <p:cNvCxnSpPr/>
          <p:nvPr userDrawn="1"/>
        </p:nvCxnSpPr>
        <p:spPr>
          <a:xfrm>
            <a:off x="723901" y="880533"/>
            <a:ext cx="10723033"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7" name="Title 5">
            <a:extLst>
              <a:ext uri="{FF2B5EF4-FFF2-40B4-BE49-F238E27FC236}">
                <a16:creationId xmlns:a16="http://schemas.microsoft.com/office/drawing/2014/main" id="{AE5712BB-CC71-45AE-9B5B-1FEAFCA32365}"/>
              </a:ext>
            </a:extLst>
          </p:cNvPr>
          <p:cNvSpPr>
            <a:spLocks noGrp="1"/>
          </p:cNvSpPr>
          <p:nvPr>
            <p:ph type="title"/>
          </p:nvPr>
        </p:nvSpPr>
        <p:spPr>
          <a:xfrm>
            <a:off x="723326" y="196625"/>
            <a:ext cx="10314793" cy="662783"/>
          </a:xfrm>
        </p:spPr>
        <p:txBody>
          <a:bodyPr>
            <a:normAutofit/>
          </a:bodyPr>
          <a:lstStyle>
            <a:lvl1pPr>
              <a:defRPr sz="3600"/>
            </a:lvl1pPr>
          </a:lstStyle>
          <a:p>
            <a:r>
              <a:rPr lang="en-US" dirty="0"/>
              <a:t>Click to edit Master title style</a:t>
            </a:r>
          </a:p>
        </p:txBody>
      </p:sp>
    </p:spTree>
    <p:extLst>
      <p:ext uri="{BB962C8B-B14F-4D97-AF65-F5344CB8AC3E}">
        <p14:creationId xmlns:p14="http://schemas.microsoft.com/office/powerpoint/2010/main" val="519479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defTabSz="1219170">
              <a:defRPr/>
            </a:pPr>
            <a:fld id="{DD0D7B44-7D3F-4D09-9ECB-12B47A5F6CE1}"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1219170">
              <a:defRPr/>
            </a:pPr>
            <a:fld id="{2DE55F20-1889-4BA8-952C-5D81F2DB9FE1}"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20450912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1219170"/>
            <a:fld id="{FCDC3EC3-F503-4593-87FA-632892E2ED25}" type="datetimeFigureOut">
              <a:rPr lang="en-US" smtClean="0">
                <a:solidFill>
                  <a:prstClr val="black">
                    <a:tint val="75000"/>
                  </a:prstClr>
                </a:solidFill>
              </a:rPr>
              <a:pPr defTabSz="1219170"/>
              <a:t>12/1/202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1219170"/>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1219170"/>
            <a:fld id="{BA3D8712-1930-4307-AAF2-C718ECB8B04A}" type="slidenum">
              <a:rPr lang="en-US" smtClean="0">
                <a:solidFill>
                  <a:prstClr val="black">
                    <a:tint val="75000"/>
                  </a:prstClr>
                </a:solidFill>
              </a:rPr>
              <a:pPr defTabSz="1219170"/>
              <a:t>‹#›</a:t>
            </a:fld>
            <a:endParaRPr lang="en-US">
              <a:solidFill>
                <a:prstClr val="black">
                  <a:tint val="75000"/>
                </a:prstClr>
              </a:solidFill>
            </a:endParaRPr>
          </a:p>
        </p:txBody>
      </p:sp>
    </p:spTree>
    <p:extLst>
      <p:ext uri="{BB962C8B-B14F-4D97-AF65-F5344CB8AC3E}">
        <p14:creationId xmlns:p14="http://schemas.microsoft.com/office/powerpoint/2010/main" val="293352212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normAutofit/>
          </a:bodyPr>
          <a:lstStyle>
            <a:lvl1pPr>
              <a:defRPr sz="3467"/>
            </a:lvl1pPr>
            <a:lvl2pPr>
              <a:defRPr sz="2667"/>
            </a:lvl2pPr>
            <a:lvl3pPr>
              <a:defRPr sz="2400"/>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defTabSz="1219170">
              <a:defRPr/>
            </a:pPr>
            <a:fld id="{1988BCD6-38AB-418F-9BE8-4EDB22D89E71}"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1219170">
              <a:defRPr/>
            </a:pPr>
            <a:fld id="{A5EAB5B2-7BD5-45A5-B682-B714BB9BC1A5}"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277744932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Rectangle: Top Corners Snipped 6"/>
          <p:cNvSpPr/>
          <p:nvPr userDrawn="1"/>
        </p:nvSpPr>
        <p:spPr>
          <a:xfrm rot="10800000">
            <a:off x="609600" y="0"/>
            <a:ext cx="9144000" cy="1026584"/>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1" name="Content Placeholder 10"/>
          <p:cNvSpPr>
            <a:spLocks noGrp="1"/>
          </p:cNvSpPr>
          <p:nvPr>
            <p:ph sz="quarter" idx="11"/>
          </p:nvPr>
        </p:nvSpPr>
        <p:spPr>
          <a:xfrm>
            <a:off x="711201" y="-6932"/>
            <a:ext cx="9042399" cy="1034451"/>
          </a:xfrm>
        </p:spPr>
        <p:txBody>
          <a:bodyPr anchor="ctr">
            <a:normAutofit/>
          </a:bodyPr>
          <a:lstStyle>
            <a:lvl1pPr marL="0" indent="0">
              <a:buNone/>
              <a:defRPr sz="4267" b="0" i="0">
                <a:latin typeface="Century Gothic" panose="020B0502020202020204" pitchFamily="34" charset="0"/>
              </a:defRPr>
            </a:lvl1pPr>
          </a:lstStyle>
          <a:p>
            <a:pPr lvl="0"/>
            <a:endParaRPr lang="en-US" dirty="0"/>
          </a:p>
        </p:txBody>
      </p:sp>
    </p:spTree>
    <p:extLst>
      <p:ext uri="{BB962C8B-B14F-4D97-AF65-F5344CB8AC3E}">
        <p14:creationId xmlns:p14="http://schemas.microsoft.com/office/powerpoint/2010/main" val="369914876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965325"/>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65325"/>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defTabSz="1219170">
              <a:defRPr/>
            </a:pPr>
            <a:fld id="{A0338C25-ABBB-430A-94F4-2E4CEED1F636}"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1219170">
              <a:defRPr/>
            </a:pPr>
            <a:fld id="{2D327CA5-B1C5-4519-B2B7-D5CF4368A1CF}"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371955773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07968" y="64788"/>
            <a:ext cx="9969633" cy="1039091"/>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303755" y="1535113"/>
            <a:ext cx="5250459" cy="639763"/>
          </a:xfrm>
        </p:spPr>
        <p:txBody>
          <a:bodyPr anchor="b"/>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1303755" y="2174875"/>
            <a:ext cx="5250459" cy="3951288"/>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746384" y="1535113"/>
            <a:ext cx="5252521" cy="639763"/>
          </a:xfrm>
        </p:spPr>
        <p:txBody>
          <a:bodyPr anchor="b"/>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746384" y="2174875"/>
            <a:ext cx="5252521" cy="3951288"/>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defTabSz="1219170">
              <a:defRPr/>
            </a:pPr>
            <a:fld id="{CF7FE1A0-4B7E-4F5B-93D0-7F2574327E86}"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defTabSz="1219170">
              <a:defRPr/>
            </a:pPr>
            <a:fld id="{29FB1590-9887-4B2F-9275-1370228C7641}"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349995757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defTabSz="1219170">
              <a:defRPr/>
            </a:pPr>
            <a:fld id="{7AAB5FF9-D735-44C1-A03F-E9E015A022BF}"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defTabSz="1219170">
              <a:defRPr/>
            </a:pPr>
            <a:fld id="{E73D0376-6838-49C1-B646-B6208E110A4B}"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154265120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defTabSz="1219170">
              <a:defRPr/>
            </a:pPr>
            <a:fld id="{E095C60F-5863-40A7-B3F5-8A924A8E0DEC}"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defTabSz="1219170">
              <a:defRPr/>
            </a:pPr>
            <a:fld id="{F73F86EB-7DCD-4D03-92BA-82A53AA44C03}"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188237531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22401" y="1334917"/>
            <a:ext cx="3314945" cy="960372"/>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1335678"/>
            <a:ext cx="6815667" cy="4837284"/>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429241" y="2295288"/>
            <a:ext cx="3314945" cy="3876912"/>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defTabSz="1219170">
              <a:defRPr/>
            </a:pPr>
            <a:fld id="{609A19EB-1B9A-4EC0-B0F4-26558E059F46}"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1219170">
              <a:defRPr/>
            </a:pPr>
            <a:fld id="{EF99A2AA-7FAC-45D9-9C05-DEC8ACC0C54B}"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328783140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1498599"/>
            <a:ext cx="7315200" cy="3228975"/>
          </a:xfr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defTabSz="1219170">
              <a:defRPr/>
            </a:pPr>
            <a:fld id="{47863A1B-423F-426D-B24A-4D7C41206C74}"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1219170">
              <a:defRPr/>
            </a:pPr>
            <a:fld id="{EC32D896-DCC1-45A7-87B2-C4F05D83EAA9}"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153522126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defTabSz="1219170">
              <a:defRPr/>
            </a:pPr>
            <a:fld id="{47B51885-85AE-4E3B-BDF5-89241C29D94E}"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1219170">
              <a:defRPr/>
            </a:pPr>
            <a:fld id="{DE600689-FFAB-420E-B759-70AA96F1CB09}"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138376855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1307433"/>
            <a:ext cx="2743200" cy="4826636"/>
          </a:xfrm>
        </p:spPr>
        <p:txBody>
          <a:bodyPr vert="eaVert"/>
          <a:lstStyle>
            <a:lvl1pPr>
              <a:defRPr sz="4267"/>
            </a:lvl1pPr>
          </a:lstStyle>
          <a:p>
            <a:r>
              <a:rPr lang="en-US" dirty="0"/>
              <a:t>Click to edit Master title style</a:t>
            </a:r>
          </a:p>
        </p:txBody>
      </p:sp>
      <p:sp>
        <p:nvSpPr>
          <p:cNvPr id="3" name="Vertical Text Placeholder 2"/>
          <p:cNvSpPr>
            <a:spLocks noGrp="1"/>
          </p:cNvSpPr>
          <p:nvPr>
            <p:ph type="body" orient="vert" idx="1"/>
          </p:nvPr>
        </p:nvSpPr>
        <p:spPr>
          <a:xfrm>
            <a:off x="609600" y="1307433"/>
            <a:ext cx="8026400" cy="4826636"/>
          </a:xfrm>
        </p:spPr>
        <p:txBody>
          <a:bodyPr vert="eaVert">
            <a:normAutofit/>
          </a:bodyPr>
          <a:lstStyle>
            <a:lvl1pPr>
              <a:defRPr sz="3200"/>
            </a:lvl1pPr>
            <a:lvl2pPr>
              <a:defRPr sz="2667"/>
            </a:lvl2pPr>
            <a:lvl3pPr>
              <a:defRPr sz="2400"/>
            </a:lvl3pPr>
            <a:lvl4pPr>
              <a:defRPr sz="2133"/>
            </a:lvl4pPr>
            <a:lvl5pPr>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defTabSz="1219170">
              <a:defRPr/>
            </a:pPr>
            <a:fld id="{023C37F1-C502-43C3-9C66-7A66B9376E6A}"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1219170">
              <a:defRPr/>
            </a:pPr>
            <a:fld id="{41CE3F8B-3354-4335-8A5F-9C23FA642986}"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38823031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1219170"/>
            <a:fld id="{FCDC3EC3-F503-4593-87FA-632892E2ED25}" type="datetimeFigureOut">
              <a:rPr lang="en-US" smtClean="0">
                <a:solidFill>
                  <a:prstClr val="black">
                    <a:tint val="75000"/>
                  </a:prstClr>
                </a:solidFill>
              </a:rPr>
              <a:pPr defTabSz="1219170"/>
              <a:t>12/1/202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1219170"/>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1219170"/>
            <a:fld id="{BA3D8712-1930-4307-AAF2-C718ECB8B04A}" type="slidenum">
              <a:rPr lang="en-US" smtClean="0">
                <a:solidFill>
                  <a:prstClr val="black">
                    <a:tint val="75000"/>
                  </a:prstClr>
                </a:solidFill>
              </a:rPr>
              <a:pPr defTabSz="1219170"/>
              <a:t>‹#›</a:t>
            </a:fld>
            <a:endParaRPr lang="en-US">
              <a:solidFill>
                <a:prstClr val="black">
                  <a:tint val="75000"/>
                </a:prstClr>
              </a:solidFill>
            </a:endParaRPr>
          </a:p>
        </p:txBody>
      </p:sp>
    </p:spTree>
    <p:extLst>
      <p:ext uri="{BB962C8B-B14F-4D97-AF65-F5344CB8AC3E}">
        <p14:creationId xmlns:p14="http://schemas.microsoft.com/office/powerpoint/2010/main" val="315196211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735633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Heading 1_Title Slide">
    <p:spTree>
      <p:nvGrpSpPr>
        <p:cNvPr id="1" name=""/>
        <p:cNvGrpSpPr/>
        <p:nvPr/>
      </p:nvGrpSpPr>
      <p:grpSpPr>
        <a:xfrm>
          <a:off x="0" y="0"/>
          <a:ext cx="0" cy="0"/>
          <a:chOff x="0" y="0"/>
          <a:chExt cx="0" cy="0"/>
        </a:xfrm>
      </p:grpSpPr>
      <p:grpSp>
        <p:nvGrpSpPr>
          <p:cNvPr id="2" name="Group 7"/>
          <p:cNvGrpSpPr>
            <a:grpSpLocks/>
          </p:cNvGrpSpPr>
          <p:nvPr userDrawn="1"/>
        </p:nvGrpSpPr>
        <p:grpSpPr bwMode="auto">
          <a:xfrm>
            <a:off x="8113184" y="266701"/>
            <a:ext cx="3818467" cy="791633"/>
            <a:chOff x="2863850" y="3078163"/>
            <a:chExt cx="3413126" cy="708026"/>
          </a:xfrm>
        </p:grpSpPr>
        <p:grpSp>
          <p:nvGrpSpPr>
            <p:cNvPr id="3" name="Group 8"/>
            <p:cNvGrpSpPr>
              <a:grpSpLocks/>
            </p:cNvGrpSpPr>
            <p:nvPr/>
          </p:nvGrpSpPr>
          <p:grpSpPr bwMode="auto">
            <a:xfrm>
              <a:off x="4357688" y="3630613"/>
              <a:ext cx="1919288" cy="155576"/>
              <a:chOff x="4357688" y="3630613"/>
              <a:chExt cx="1919288" cy="155576"/>
            </a:xfrm>
          </p:grpSpPr>
          <p:sp>
            <p:nvSpPr>
              <p:cNvPr id="19" name="Freeform 7"/>
              <p:cNvSpPr>
                <a:spLocks noEditPoints="1"/>
              </p:cNvSpPr>
              <p:nvPr/>
            </p:nvSpPr>
            <p:spPr bwMode="auto">
              <a:xfrm>
                <a:off x="4357688" y="3630613"/>
                <a:ext cx="109538" cy="125413"/>
              </a:xfrm>
              <a:custGeom>
                <a:avLst/>
                <a:gdLst>
                  <a:gd name="T0" fmla="*/ 60484026 w 69"/>
                  <a:gd name="T1" fmla="*/ 126008315 h 79"/>
                  <a:gd name="T2" fmla="*/ 83166330 w 69"/>
                  <a:gd name="T3" fmla="*/ 55443659 h 79"/>
                  <a:gd name="T4" fmla="*/ 108368007 w 69"/>
                  <a:gd name="T5" fmla="*/ 126008315 h 79"/>
                  <a:gd name="T6" fmla="*/ 60484026 w 69"/>
                  <a:gd name="T7" fmla="*/ 126008315 h 79"/>
                  <a:gd name="T8" fmla="*/ 100806710 w 69"/>
                  <a:gd name="T9" fmla="*/ 0 h 79"/>
                  <a:gd name="T10" fmla="*/ 70564697 w 69"/>
                  <a:gd name="T11" fmla="*/ 0 h 79"/>
                  <a:gd name="T12" fmla="*/ 0 w 69"/>
                  <a:gd name="T13" fmla="*/ 199093931 h 79"/>
                  <a:gd name="T14" fmla="*/ 35282349 w 69"/>
                  <a:gd name="T15" fmla="*/ 199093931 h 79"/>
                  <a:gd name="T16" fmla="*/ 47883981 w 69"/>
                  <a:gd name="T17" fmla="*/ 163811603 h 79"/>
                  <a:gd name="T18" fmla="*/ 118448678 w 69"/>
                  <a:gd name="T19" fmla="*/ 163811603 h 79"/>
                  <a:gd name="T20" fmla="*/ 131048723 w 69"/>
                  <a:gd name="T21" fmla="*/ 199093931 h 79"/>
                  <a:gd name="T22" fmla="*/ 173892369 w 69"/>
                  <a:gd name="T23" fmla="*/ 199093931 h 79"/>
                  <a:gd name="T24" fmla="*/ 100806710 w 69"/>
                  <a:gd name="T25" fmla="*/ 0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9" h="79">
                    <a:moveTo>
                      <a:pt x="24" y="50"/>
                    </a:moveTo>
                    <a:lnTo>
                      <a:pt x="33" y="22"/>
                    </a:lnTo>
                    <a:lnTo>
                      <a:pt x="43" y="50"/>
                    </a:lnTo>
                    <a:lnTo>
                      <a:pt x="24" y="50"/>
                    </a:lnTo>
                    <a:close/>
                    <a:moveTo>
                      <a:pt x="40" y="0"/>
                    </a:moveTo>
                    <a:lnTo>
                      <a:pt x="28" y="0"/>
                    </a:lnTo>
                    <a:lnTo>
                      <a:pt x="0" y="79"/>
                    </a:lnTo>
                    <a:lnTo>
                      <a:pt x="14" y="79"/>
                    </a:lnTo>
                    <a:lnTo>
                      <a:pt x="19" y="65"/>
                    </a:lnTo>
                    <a:lnTo>
                      <a:pt x="47" y="65"/>
                    </a:lnTo>
                    <a:lnTo>
                      <a:pt x="52" y="79"/>
                    </a:lnTo>
                    <a:lnTo>
                      <a:pt x="69" y="79"/>
                    </a:lnTo>
                    <a:lnTo>
                      <a:pt x="40" y="0"/>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0" name="Freeform 8"/>
              <p:cNvSpPr>
                <a:spLocks noEditPoints="1"/>
              </p:cNvSpPr>
              <p:nvPr/>
            </p:nvSpPr>
            <p:spPr bwMode="auto">
              <a:xfrm>
                <a:off x="4473575" y="3660776"/>
                <a:ext cx="76200" cy="95250"/>
              </a:xfrm>
              <a:custGeom>
                <a:avLst/>
                <a:gdLst>
                  <a:gd name="T0" fmla="*/ 188709300 w 20"/>
                  <a:gd name="T1" fmla="*/ 261289800 h 25"/>
                  <a:gd name="T2" fmla="*/ 130644900 w 20"/>
                  <a:gd name="T3" fmla="*/ 290322000 h 25"/>
                  <a:gd name="T4" fmla="*/ 72580500 w 20"/>
                  <a:gd name="T5" fmla="*/ 246773700 h 25"/>
                  <a:gd name="T6" fmla="*/ 130644900 w 20"/>
                  <a:gd name="T7" fmla="*/ 203225400 h 25"/>
                  <a:gd name="T8" fmla="*/ 188709300 w 20"/>
                  <a:gd name="T9" fmla="*/ 203225400 h 25"/>
                  <a:gd name="T10" fmla="*/ 188709300 w 20"/>
                  <a:gd name="T11" fmla="*/ 232257600 h 25"/>
                  <a:gd name="T12" fmla="*/ 188709300 w 20"/>
                  <a:gd name="T13" fmla="*/ 261289800 h 25"/>
                  <a:gd name="T14" fmla="*/ 290322000 w 20"/>
                  <a:gd name="T15" fmla="*/ 130644900 h 25"/>
                  <a:gd name="T16" fmla="*/ 130644900 w 20"/>
                  <a:gd name="T17" fmla="*/ 0 h 25"/>
                  <a:gd name="T18" fmla="*/ 58064400 w 20"/>
                  <a:gd name="T19" fmla="*/ 14516100 h 25"/>
                  <a:gd name="T20" fmla="*/ 14516100 w 20"/>
                  <a:gd name="T21" fmla="*/ 58064400 h 25"/>
                  <a:gd name="T22" fmla="*/ 58064400 w 20"/>
                  <a:gd name="T23" fmla="*/ 101612700 h 25"/>
                  <a:gd name="T24" fmla="*/ 130644900 w 20"/>
                  <a:gd name="T25" fmla="*/ 72580500 h 25"/>
                  <a:gd name="T26" fmla="*/ 188709300 w 20"/>
                  <a:gd name="T27" fmla="*/ 130644900 h 25"/>
                  <a:gd name="T28" fmla="*/ 188709300 w 20"/>
                  <a:gd name="T29" fmla="*/ 145161000 h 25"/>
                  <a:gd name="T30" fmla="*/ 116128800 w 20"/>
                  <a:gd name="T31" fmla="*/ 145161000 h 25"/>
                  <a:gd name="T32" fmla="*/ 29032200 w 20"/>
                  <a:gd name="T33" fmla="*/ 174193200 h 25"/>
                  <a:gd name="T34" fmla="*/ 0 w 20"/>
                  <a:gd name="T35" fmla="*/ 246773700 h 25"/>
                  <a:gd name="T36" fmla="*/ 29032200 w 20"/>
                  <a:gd name="T37" fmla="*/ 333870300 h 25"/>
                  <a:gd name="T38" fmla="*/ 116128800 w 20"/>
                  <a:gd name="T39" fmla="*/ 362902500 h 25"/>
                  <a:gd name="T40" fmla="*/ 203225400 w 20"/>
                  <a:gd name="T41" fmla="*/ 319354200 h 25"/>
                  <a:gd name="T42" fmla="*/ 203225400 w 20"/>
                  <a:gd name="T43" fmla="*/ 362902500 h 25"/>
                  <a:gd name="T44" fmla="*/ 290322000 w 20"/>
                  <a:gd name="T45" fmla="*/ 362902500 h 25"/>
                  <a:gd name="T46" fmla="*/ 290322000 w 20"/>
                  <a:gd name="T47" fmla="*/ 13064490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3" y="18"/>
                    </a:moveTo>
                    <a:cubicBezTo>
                      <a:pt x="12" y="19"/>
                      <a:pt x="11" y="20"/>
                      <a:pt x="9" y="20"/>
                    </a:cubicBezTo>
                    <a:cubicBezTo>
                      <a:pt x="7" y="20"/>
                      <a:pt x="5" y="19"/>
                      <a:pt x="5" y="17"/>
                    </a:cubicBezTo>
                    <a:cubicBezTo>
                      <a:pt x="5" y="15"/>
                      <a:pt x="7" y="14"/>
                      <a:pt x="9" y="14"/>
                    </a:cubicBezTo>
                    <a:cubicBezTo>
                      <a:pt x="13" y="14"/>
                      <a:pt x="13" y="14"/>
                      <a:pt x="13" y="14"/>
                    </a:cubicBezTo>
                    <a:cubicBezTo>
                      <a:pt x="13" y="16"/>
                      <a:pt x="13" y="16"/>
                      <a:pt x="13" y="16"/>
                    </a:cubicBezTo>
                    <a:cubicBezTo>
                      <a:pt x="13" y="17"/>
                      <a:pt x="13" y="18"/>
                      <a:pt x="13" y="18"/>
                    </a:cubicBezTo>
                    <a:moveTo>
                      <a:pt x="20" y="9"/>
                    </a:moveTo>
                    <a:cubicBezTo>
                      <a:pt x="20" y="3"/>
                      <a:pt x="16" y="0"/>
                      <a:pt x="9" y="0"/>
                    </a:cubicBezTo>
                    <a:cubicBezTo>
                      <a:pt x="7" y="0"/>
                      <a:pt x="6" y="0"/>
                      <a:pt x="4" y="1"/>
                    </a:cubicBezTo>
                    <a:cubicBezTo>
                      <a:pt x="3" y="1"/>
                      <a:pt x="2" y="2"/>
                      <a:pt x="1" y="4"/>
                    </a:cubicBezTo>
                    <a:cubicBezTo>
                      <a:pt x="4" y="7"/>
                      <a:pt x="4" y="7"/>
                      <a:pt x="4" y="7"/>
                    </a:cubicBezTo>
                    <a:cubicBezTo>
                      <a:pt x="6" y="6"/>
                      <a:pt x="7" y="5"/>
                      <a:pt x="9" y="5"/>
                    </a:cubicBezTo>
                    <a:cubicBezTo>
                      <a:pt x="12" y="5"/>
                      <a:pt x="13" y="7"/>
                      <a:pt x="13" y="9"/>
                    </a:cubicBezTo>
                    <a:cubicBezTo>
                      <a:pt x="13" y="10"/>
                      <a:pt x="13" y="10"/>
                      <a:pt x="13" y="10"/>
                    </a:cubicBezTo>
                    <a:cubicBezTo>
                      <a:pt x="8" y="10"/>
                      <a:pt x="8" y="10"/>
                      <a:pt x="8" y="10"/>
                    </a:cubicBezTo>
                    <a:cubicBezTo>
                      <a:pt x="5" y="10"/>
                      <a:pt x="3" y="11"/>
                      <a:pt x="2" y="12"/>
                    </a:cubicBezTo>
                    <a:cubicBezTo>
                      <a:pt x="0" y="14"/>
                      <a:pt x="0" y="15"/>
                      <a:pt x="0" y="17"/>
                    </a:cubicBezTo>
                    <a:cubicBezTo>
                      <a:pt x="0" y="19"/>
                      <a:pt x="0" y="21"/>
                      <a:pt x="2" y="23"/>
                    </a:cubicBezTo>
                    <a:cubicBezTo>
                      <a:pt x="3" y="24"/>
                      <a:pt x="5" y="25"/>
                      <a:pt x="8" y="25"/>
                    </a:cubicBezTo>
                    <a:cubicBezTo>
                      <a:pt x="10" y="25"/>
                      <a:pt x="12" y="24"/>
                      <a:pt x="14" y="22"/>
                    </a:cubicBezTo>
                    <a:cubicBezTo>
                      <a:pt x="14" y="25"/>
                      <a:pt x="14" y="25"/>
                      <a:pt x="14"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1" name="Freeform 9"/>
              <p:cNvSpPr>
                <a:spLocks noEditPoints="1"/>
              </p:cNvSpPr>
              <p:nvPr/>
            </p:nvSpPr>
            <p:spPr bwMode="auto">
              <a:xfrm>
                <a:off x="4572000" y="3660776"/>
                <a:ext cx="74613" cy="125413"/>
              </a:xfrm>
              <a:custGeom>
                <a:avLst/>
                <a:gdLst>
                  <a:gd name="T0" fmla="*/ 194848119 w 20"/>
                  <a:gd name="T1" fmla="*/ 245532051 h 33"/>
                  <a:gd name="T2" fmla="*/ 139179360 w 20"/>
                  <a:gd name="T3" fmla="*/ 274415045 h 33"/>
                  <a:gd name="T4" fmla="*/ 83506870 w 20"/>
                  <a:gd name="T5" fmla="*/ 245532051 h 33"/>
                  <a:gd name="T6" fmla="*/ 83506870 w 20"/>
                  <a:gd name="T7" fmla="*/ 187758463 h 33"/>
                  <a:gd name="T8" fmla="*/ 83506870 w 20"/>
                  <a:gd name="T9" fmla="*/ 115543377 h 33"/>
                  <a:gd name="T10" fmla="*/ 139179360 w 20"/>
                  <a:gd name="T11" fmla="*/ 86656583 h 33"/>
                  <a:gd name="T12" fmla="*/ 194848119 w 20"/>
                  <a:gd name="T13" fmla="*/ 115543377 h 33"/>
                  <a:gd name="T14" fmla="*/ 194848119 w 20"/>
                  <a:gd name="T15" fmla="*/ 187758463 h 33"/>
                  <a:gd name="T16" fmla="*/ 194848119 w 20"/>
                  <a:gd name="T17" fmla="*/ 245532051 h 33"/>
                  <a:gd name="T18" fmla="*/ 278354988 w 20"/>
                  <a:gd name="T19" fmla="*/ 101101880 h 33"/>
                  <a:gd name="T20" fmla="*/ 250520609 w 20"/>
                  <a:gd name="T21" fmla="*/ 28886794 h 33"/>
                  <a:gd name="T22" fmla="*/ 167013739 w 20"/>
                  <a:gd name="T23" fmla="*/ 0 h 33"/>
                  <a:gd name="T24" fmla="*/ 83506870 w 20"/>
                  <a:gd name="T25" fmla="*/ 43328291 h 33"/>
                  <a:gd name="T26" fmla="*/ 83506870 w 20"/>
                  <a:gd name="T27" fmla="*/ 0 h 33"/>
                  <a:gd name="T28" fmla="*/ 0 w 20"/>
                  <a:gd name="T29" fmla="*/ 0 h 33"/>
                  <a:gd name="T30" fmla="*/ 0 w 20"/>
                  <a:gd name="T31" fmla="*/ 476618805 h 33"/>
                  <a:gd name="T32" fmla="*/ 83506870 w 20"/>
                  <a:gd name="T33" fmla="*/ 476618805 h 33"/>
                  <a:gd name="T34" fmla="*/ 83506870 w 20"/>
                  <a:gd name="T35" fmla="*/ 317747137 h 33"/>
                  <a:gd name="T36" fmla="*/ 167013739 w 20"/>
                  <a:gd name="T37" fmla="*/ 361075428 h 33"/>
                  <a:gd name="T38" fmla="*/ 250520609 w 20"/>
                  <a:gd name="T39" fmla="*/ 332188634 h 33"/>
                  <a:gd name="T40" fmla="*/ 278354988 w 20"/>
                  <a:gd name="T41" fmla="*/ 259973548 h 33"/>
                  <a:gd name="T42" fmla="*/ 278354988 w 20"/>
                  <a:gd name="T43" fmla="*/ 187758463 h 33"/>
                  <a:gd name="T44" fmla="*/ 278354988 w 20"/>
                  <a:gd name="T45" fmla="*/ 101101880 h 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33">
                    <a:moveTo>
                      <a:pt x="14" y="17"/>
                    </a:moveTo>
                    <a:cubicBezTo>
                      <a:pt x="13" y="19"/>
                      <a:pt x="12" y="19"/>
                      <a:pt x="10" y="19"/>
                    </a:cubicBezTo>
                    <a:cubicBezTo>
                      <a:pt x="8" y="19"/>
                      <a:pt x="7" y="19"/>
                      <a:pt x="6" y="17"/>
                    </a:cubicBezTo>
                    <a:cubicBezTo>
                      <a:pt x="6" y="16"/>
                      <a:pt x="6" y="15"/>
                      <a:pt x="6" y="13"/>
                    </a:cubicBezTo>
                    <a:cubicBezTo>
                      <a:pt x="6" y="10"/>
                      <a:pt x="6" y="9"/>
                      <a:pt x="6" y="8"/>
                    </a:cubicBezTo>
                    <a:cubicBezTo>
                      <a:pt x="7" y="6"/>
                      <a:pt x="8" y="6"/>
                      <a:pt x="10" y="6"/>
                    </a:cubicBezTo>
                    <a:cubicBezTo>
                      <a:pt x="12" y="6"/>
                      <a:pt x="13" y="6"/>
                      <a:pt x="14" y="8"/>
                    </a:cubicBezTo>
                    <a:cubicBezTo>
                      <a:pt x="14" y="9"/>
                      <a:pt x="14" y="10"/>
                      <a:pt x="14" y="13"/>
                    </a:cubicBezTo>
                    <a:cubicBezTo>
                      <a:pt x="14" y="15"/>
                      <a:pt x="14" y="16"/>
                      <a:pt x="14" y="17"/>
                    </a:cubicBezTo>
                    <a:moveTo>
                      <a:pt x="20" y="7"/>
                    </a:moveTo>
                    <a:cubicBezTo>
                      <a:pt x="19" y="5"/>
                      <a:pt x="19" y="3"/>
                      <a:pt x="18" y="2"/>
                    </a:cubicBezTo>
                    <a:cubicBezTo>
                      <a:pt x="16" y="1"/>
                      <a:pt x="14" y="0"/>
                      <a:pt x="12" y="0"/>
                    </a:cubicBezTo>
                    <a:cubicBezTo>
                      <a:pt x="9" y="0"/>
                      <a:pt x="7" y="1"/>
                      <a:pt x="6" y="3"/>
                    </a:cubicBezTo>
                    <a:cubicBezTo>
                      <a:pt x="6" y="0"/>
                      <a:pt x="6" y="0"/>
                      <a:pt x="6" y="0"/>
                    </a:cubicBezTo>
                    <a:cubicBezTo>
                      <a:pt x="0" y="0"/>
                      <a:pt x="0" y="0"/>
                      <a:pt x="0" y="0"/>
                    </a:cubicBezTo>
                    <a:cubicBezTo>
                      <a:pt x="0" y="33"/>
                      <a:pt x="0" y="33"/>
                      <a:pt x="0" y="33"/>
                    </a:cubicBezTo>
                    <a:cubicBezTo>
                      <a:pt x="6" y="33"/>
                      <a:pt x="6" y="33"/>
                      <a:pt x="6" y="33"/>
                    </a:cubicBezTo>
                    <a:cubicBezTo>
                      <a:pt x="6" y="22"/>
                      <a:pt x="6" y="22"/>
                      <a:pt x="6" y="22"/>
                    </a:cubicBezTo>
                    <a:cubicBezTo>
                      <a:pt x="7" y="24"/>
                      <a:pt x="9" y="25"/>
                      <a:pt x="12" y="25"/>
                    </a:cubicBezTo>
                    <a:cubicBezTo>
                      <a:pt x="14" y="25"/>
                      <a:pt x="16" y="24"/>
                      <a:pt x="18" y="23"/>
                    </a:cubicBezTo>
                    <a:cubicBezTo>
                      <a:pt x="19" y="22"/>
                      <a:pt x="19" y="20"/>
                      <a:pt x="20" y="18"/>
                    </a:cubicBezTo>
                    <a:cubicBezTo>
                      <a:pt x="20" y="17"/>
                      <a:pt x="20" y="15"/>
                      <a:pt x="20" y="13"/>
                    </a:cubicBezTo>
                    <a:cubicBezTo>
                      <a:pt x="20" y="10"/>
                      <a:pt x="20" y="8"/>
                      <a:pt x="20" y="7"/>
                    </a:cubicBezTo>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2" name="Freeform 10"/>
              <p:cNvSpPr>
                <a:spLocks/>
              </p:cNvSpPr>
              <p:nvPr/>
            </p:nvSpPr>
            <p:spPr bwMode="auto">
              <a:xfrm>
                <a:off x="4670425" y="3630613"/>
                <a:ext cx="82550" cy="125413"/>
              </a:xfrm>
              <a:custGeom>
                <a:avLst/>
                <a:gdLst>
                  <a:gd name="T0" fmla="*/ 131048125 w 52"/>
                  <a:gd name="T1" fmla="*/ 199093931 h 79"/>
                  <a:gd name="T2" fmla="*/ 83165950 w 52"/>
                  <a:gd name="T3" fmla="*/ 199093931 h 79"/>
                  <a:gd name="T4" fmla="*/ 47883763 w 52"/>
                  <a:gd name="T5" fmla="*/ 138609940 h 79"/>
                  <a:gd name="T6" fmla="*/ 35282188 w 52"/>
                  <a:gd name="T7" fmla="*/ 151209978 h 79"/>
                  <a:gd name="T8" fmla="*/ 35282188 w 52"/>
                  <a:gd name="T9" fmla="*/ 199093931 h 79"/>
                  <a:gd name="T10" fmla="*/ 0 w 52"/>
                  <a:gd name="T11" fmla="*/ 199093931 h 79"/>
                  <a:gd name="T12" fmla="*/ 0 w 52"/>
                  <a:gd name="T13" fmla="*/ 0 h 79"/>
                  <a:gd name="T14" fmla="*/ 35282188 w 52"/>
                  <a:gd name="T15" fmla="*/ 0 h 79"/>
                  <a:gd name="T16" fmla="*/ 35282188 w 52"/>
                  <a:gd name="T17" fmla="*/ 108367945 h 79"/>
                  <a:gd name="T18" fmla="*/ 83165950 w 52"/>
                  <a:gd name="T19" fmla="*/ 47883953 h 79"/>
                  <a:gd name="T20" fmla="*/ 123488450 w 52"/>
                  <a:gd name="T21" fmla="*/ 47883953 h 79"/>
                  <a:gd name="T22" fmla="*/ 70564375 w 52"/>
                  <a:gd name="T23" fmla="*/ 108367945 h 79"/>
                  <a:gd name="T24" fmla="*/ 131048125 w 52"/>
                  <a:gd name="T25" fmla="*/ 199093931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2" h="79">
                    <a:moveTo>
                      <a:pt x="52" y="79"/>
                    </a:moveTo>
                    <a:lnTo>
                      <a:pt x="33" y="79"/>
                    </a:lnTo>
                    <a:lnTo>
                      <a:pt x="19" y="55"/>
                    </a:lnTo>
                    <a:lnTo>
                      <a:pt x="14" y="60"/>
                    </a:lnTo>
                    <a:lnTo>
                      <a:pt x="14" y="79"/>
                    </a:lnTo>
                    <a:lnTo>
                      <a:pt x="0" y="79"/>
                    </a:lnTo>
                    <a:lnTo>
                      <a:pt x="0" y="0"/>
                    </a:lnTo>
                    <a:lnTo>
                      <a:pt x="14" y="0"/>
                    </a:lnTo>
                    <a:lnTo>
                      <a:pt x="14" y="43"/>
                    </a:lnTo>
                    <a:lnTo>
                      <a:pt x="33" y="19"/>
                    </a:lnTo>
                    <a:lnTo>
                      <a:pt x="49" y="19"/>
                    </a:lnTo>
                    <a:lnTo>
                      <a:pt x="28" y="43"/>
                    </a:lnTo>
                    <a:lnTo>
                      <a:pt x="52"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3" name="Freeform 11"/>
              <p:cNvSpPr>
                <a:spLocks noEditPoints="1"/>
              </p:cNvSpPr>
              <p:nvPr/>
            </p:nvSpPr>
            <p:spPr bwMode="auto">
              <a:xfrm>
                <a:off x="4767263" y="3630613"/>
                <a:ext cx="23813" cy="125413"/>
              </a:xfrm>
              <a:custGeom>
                <a:avLst/>
                <a:gdLst>
                  <a:gd name="T0" fmla="*/ 37803931 w 15"/>
                  <a:gd name="T1" fmla="*/ 25201663 h 79"/>
                  <a:gd name="T2" fmla="*/ 0 w 15"/>
                  <a:gd name="T3" fmla="*/ 25201663 h 79"/>
                  <a:gd name="T4" fmla="*/ 0 w 15"/>
                  <a:gd name="T5" fmla="*/ 0 h 79"/>
                  <a:gd name="T6" fmla="*/ 37803931 w 15"/>
                  <a:gd name="T7" fmla="*/ 0 h 79"/>
                  <a:gd name="T8" fmla="*/ 37803931 w 15"/>
                  <a:gd name="T9" fmla="*/ 25201663 h 79"/>
                  <a:gd name="T10" fmla="*/ 37803931 w 15"/>
                  <a:gd name="T11" fmla="*/ 199093931 h 79"/>
                  <a:gd name="T12" fmla="*/ 0 w 15"/>
                  <a:gd name="T13" fmla="*/ 199093931 h 79"/>
                  <a:gd name="T14" fmla="*/ 0 w 15"/>
                  <a:gd name="T15" fmla="*/ 47883953 h 79"/>
                  <a:gd name="T16" fmla="*/ 37803931 w 15"/>
                  <a:gd name="T17" fmla="*/ 47883953 h 79"/>
                  <a:gd name="T18" fmla="*/ 37803931 w 15"/>
                  <a:gd name="T19" fmla="*/ 199093931 h 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 h="79">
                    <a:moveTo>
                      <a:pt x="15" y="10"/>
                    </a:moveTo>
                    <a:lnTo>
                      <a:pt x="0" y="10"/>
                    </a:lnTo>
                    <a:lnTo>
                      <a:pt x="0" y="0"/>
                    </a:lnTo>
                    <a:lnTo>
                      <a:pt x="15" y="0"/>
                    </a:lnTo>
                    <a:lnTo>
                      <a:pt x="15" y="10"/>
                    </a:lnTo>
                    <a:close/>
                    <a:moveTo>
                      <a:pt x="15" y="79"/>
                    </a:moveTo>
                    <a:lnTo>
                      <a:pt x="0" y="79"/>
                    </a:lnTo>
                    <a:lnTo>
                      <a:pt x="0" y="19"/>
                    </a:lnTo>
                    <a:lnTo>
                      <a:pt x="15" y="19"/>
                    </a:lnTo>
                    <a:lnTo>
                      <a:pt x="15"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4" name="Freeform 12"/>
              <p:cNvSpPr>
                <a:spLocks/>
              </p:cNvSpPr>
              <p:nvPr/>
            </p:nvSpPr>
            <p:spPr bwMode="auto">
              <a:xfrm>
                <a:off x="4843463" y="3630613"/>
                <a:ext cx="74613" cy="125413"/>
              </a:xfrm>
              <a:custGeom>
                <a:avLst/>
                <a:gdLst>
                  <a:gd name="T0" fmla="*/ 278354988 w 20"/>
                  <a:gd name="T1" fmla="*/ 317747137 h 33"/>
                  <a:gd name="T2" fmla="*/ 236601554 w 20"/>
                  <a:gd name="T3" fmla="*/ 433290514 h 33"/>
                  <a:gd name="T4" fmla="*/ 111341249 w 20"/>
                  <a:gd name="T5" fmla="*/ 476618805 h 33"/>
                  <a:gd name="T6" fmla="*/ 0 w 20"/>
                  <a:gd name="T7" fmla="*/ 418845216 h 33"/>
                  <a:gd name="T8" fmla="*/ 55672490 w 20"/>
                  <a:gd name="T9" fmla="*/ 361075428 h 33"/>
                  <a:gd name="T10" fmla="*/ 111341249 w 20"/>
                  <a:gd name="T11" fmla="*/ 389962223 h 33"/>
                  <a:gd name="T12" fmla="*/ 194848119 w 20"/>
                  <a:gd name="T13" fmla="*/ 317747137 h 33"/>
                  <a:gd name="T14" fmla="*/ 194848119 w 20"/>
                  <a:gd name="T15" fmla="*/ 0 h 33"/>
                  <a:gd name="T16" fmla="*/ 278354988 w 20"/>
                  <a:gd name="T17" fmla="*/ 0 h 33"/>
                  <a:gd name="T18" fmla="*/ 278354988 w 20"/>
                  <a:gd name="T19" fmla="*/ 317747137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33">
                    <a:moveTo>
                      <a:pt x="20" y="22"/>
                    </a:moveTo>
                    <a:cubicBezTo>
                      <a:pt x="20" y="25"/>
                      <a:pt x="19" y="28"/>
                      <a:pt x="17" y="30"/>
                    </a:cubicBezTo>
                    <a:cubicBezTo>
                      <a:pt x="14" y="32"/>
                      <a:pt x="12" y="33"/>
                      <a:pt x="8" y="33"/>
                    </a:cubicBezTo>
                    <a:cubicBezTo>
                      <a:pt x="5" y="33"/>
                      <a:pt x="2" y="32"/>
                      <a:pt x="0" y="29"/>
                    </a:cubicBezTo>
                    <a:cubicBezTo>
                      <a:pt x="4" y="25"/>
                      <a:pt x="4" y="25"/>
                      <a:pt x="4" y="25"/>
                    </a:cubicBezTo>
                    <a:cubicBezTo>
                      <a:pt x="5" y="27"/>
                      <a:pt x="7" y="27"/>
                      <a:pt x="8" y="27"/>
                    </a:cubicBezTo>
                    <a:cubicBezTo>
                      <a:pt x="12" y="27"/>
                      <a:pt x="14" y="25"/>
                      <a:pt x="14" y="22"/>
                    </a:cubicBezTo>
                    <a:cubicBezTo>
                      <a:pt x="14" y="0"/>
                      <a:pt x="14" y="0"/>
                      <a:pt x="14" y="0"/>
                    </a:cubicBezTo>
                    <a:cubicBezTo>
                      <a:pt x="20" y="0"/>
                      <a:pt x="20" y="0"/>
                      <a:pt x="20" y="0"/>
                    </a:cubicBezTo>
                    <a:lnTo>
                      <a:pt x="20" y="2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5" name="Freeform 13"/>
              <p:cNvSpPr>
                <a:spLocks noEditPoints="1"/>
              </p:cNvSpPr>
              <p:nvPr/>
            </p:nvSpPr>
            <p:spPr bwMode="auto">
              <a:xfrm>
                <a:off x="4940300" y="3660776"/>
                <a:ext cx="79375" cy="95250"/>
              </a:xfrm>
              <a:custGeom>
                <a:avLst/>
                <a:gdLst>
                  <a:gd name="T0" fmla="*/ 71433720 w 21"/>
                  <a:gd name="T1" fmla="*/ 145161000 h 25"/>
                  <a:gd name="T2" fmla="*/ 85721220 w 21"/>
                  <a:gd name="T3" fmla="*/ 116128800 h 25"/>
                  <a:gd name="T4" fmla="*/ 142867440 w 21"/>
                  <a:gd name="T5" fmla="*/ 72580500 h 25"/>
                  <a:gd name="T6" fmla="*/ 200013661 w 21"/>
                  <a:gd name="T7" fmla="*/ 116128800 h 25"/>
                  <a:gd name="T8" fmla="*/ 214297381 w 21"/>
                  <a:gd name="T9" fmla="*/ 145161000 h 25"/>
                  <a:gd name="T10" fmla="*/ 71433720 w 21"/>
                  <a:gd name="T11" fmla="*/ 145161000 h 25"/>
                  <a:gd name="T12" fmla="*/ 300018601 w 21"/>
                  <a:gd name="T13" fmla="*/ 174193200 h 25"/>
                  <a:gd name="T14" fmla="*/ 257159881 w 21"/>
                  <a:gd name="T15" fmla="*/ 58064400 h 25"/>
                  <a:gd name="T16" fmla="*/ 142867440 w 21"/>
                  <a:gd name="T17" fmla="*/ 0 h 25"/>
                  <a:gd name="T18" fmla="*/ 28575000 w 21"/>
                  <a:gd name="T19" fmla="*/ 43548300 h 25"/>
                  <a:gd name="T20" fmla="*/ 0 w 21"/>
                  <a:gd name="T21" fmla="*/ 188709300 h 25"/>
                  <a:gd name="T22" fmla="*/ 157151161 w 21"/>
                  <a:gd name="T23" fmla="*/ 362902500 h 25"/>
                  <a:gd name="T24" fmla="*/ 228584881 w 21"/>
                  <a:gd name="T25" fmla="*/ 348386400 h 25"/>
                  <a:gd name="T26" fmla="*/ 285731101 w 21"/>
                  <a:gd name="T27" fmla="*/ 304838100 h 25"/>
                  <a:gd name="T28" fmla="*/ 228584881 w 21"/>
                  <a:gd name="T29" fmla="*/ 261289800 h 25"/>
                  <a:gd name="T30" fmla="*/ 157151161 w 21"/>
                  <a:gd name="T31" fmla="*/ 290322000 h 25"/>
                  <a:gd name="T32" fmla="*/ 100004940 w 21"/>
                  <a:gd name="T33" fmla="*/ 261289800 h 25"/>
                  <a:gd name="T34" fmla="*/ 71433720 w 21"/>
                  <a:gd name="T35" fmla="*/ 203225400 h 25"/>
                  <a:gd name="T36" fmla="*/ 300018601 w 21"/>
                  <a:gd name="T37" fmla="*/ 203225400 h 25"/>
                  <a:gd name="T38" fmla="*/ 300018601 w 21"/>
                  <a:gd name="T39" fmla="*/ 17419320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5" y="10"/>
                    </a:moveTo>
                    <a:cubicBezTo>
                      <a:pt x="5" y="9"/>
                      <a:pt x="6" y="8"/>
                      <a:pt x="6" y="8"/>
                    </a:cubicBezTo>
                    <a:cubicBezTo>
                      <a:pt x="7" y="6"/>
                      <a:pt x="8" y="5"/>
                      <a:pt x="10" y="5"/>
                    </a:cubicBezTo>
                    <a:cubicBezTo>
                      <a:pt x="12" y="5"/>
                      <a:pt x="13" y="6"/>
                      <a:pt x="14" y="8"/>
                    </a:cubicBezTo>
                    <a:cubicBezTo>
                      <a:pt x="14" y="8"/>
                      <a:pt x="15" y="9"/>
                      <a:pt x="15" y="10"/>
                    </a:cubicBezTo>
                    <a:lnTo>
                      <a:pt x="5" y="10"/>
                    </a:lnTo>
                    <a:close/>
                    <a:moveTo>
                      <a:pt x="21" y="12"/>
                    </a:moveTo>
                    <a:cubicBezTo>
                      <a:pt x="21" y="8"/>
                      <a:pt x="20" y="6"/>
                      <a:pt x="18" y="4"/>
                    </a:cubicBezTo>
                    <a:cubicBezTo>
                      <a:pt x="16" y="1"/>
                      <a:pt x="13" y="0"/>
                      <a:pt x="10" y="0"/>
                    </a:cubicBezTo>
                    <a:cubicBezTo>
                      <a:pt x="7" y="0"/>
                      <a:pt x="4" y="1"/>
                      <a:pt x="2" y="3"/>
                    </a:cubicBezTo>
                    <a:cubicBezTo>
                      <a:pt x="0" y="6"/>
                      <a:pt x="0" y="9"/>
                      <a:pt x="0" y="13"/>
                    </a:cubicBezTo>
                    <a:cubicBezTo>
                      <a:pt x="0" y="21"/>
                      <a:pt x="3" y="25"/>
                      <a:pt x="11" y="25"/>
                    </a:cubicBezTo>
                    <a:cubicBezTo>
                      <a:pt x="13" y="25"/>
                      <a:pt x="14" y="25"/>
                      <a:pt x="16" y="24"/>
                    </a:cubicBezTo>
                    <a:cubicBezTo>
                      <a:pt x="17" y="23"/>
                      <a:pt x="18" y="22"/>
                      <a:pt x="20" y="21"/>
                    </a:cubicBezTo>
                    <a:cubicBezTo>
                      <a:pt x="16" y="18"/>
                      <a:pt x="16" y="18"/>
                      <a:pt x="16" y="18"/>
                    </a:cubicBezTo>
                    <a:cubicBezTo>
                      <a:pt x="15" y="19"/>
                      <a:pt x="13" y="20"/>
                      <a:pt x="11" y="20"/>
                    </a:cubicBezTo>
                    <a:cubicBezTo>
                      <a:pt x="9" y="20"/>
                      <a:pt x="8" y="19"/>
                      <a:pt x="7" y="18"/>
                    </a:cubicBezTo>
                    <a:cubicBezTo>
                      <a:pt x="6" y="17"/>
                      <a:pt x="5" y="16"/>
                      <a:pt x="5"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6" name="Freeform 14"/>
              <p:cNvSpPr>
                <a:spLocks noEditPoints="1"/>
              </p:cNvSpPr>
              <p:nvPr/>
            </p:nvSpPr>
            <p:spPr bwMode="auto">
              <a:xfrm>
                <a:off x="5035550" y="3660776"/>
                <a:ext cx="77788" cy="95250"/>
              </a:xfrm>
              <a:custGeom>
                <a:avLst/>
                <a:gdLst>
                  <a:gd name="T0" fmla="*/ 82325633 w 21"/>
                  <a:gd name="T1" fmla="*/ 145161000 h 25"/>
                  <a:gd name="T2" fmla="*/ 82325633 w 21"/>
                  <a:gd name="T3" fmla="*/ 116128800 h 25"/>
                  <a:gd name="T4" fmla="*/ 137210624 w 21"/>
                  <a:gd name="T5" fmla="*/ 72580500 h 25"/>
                  <a:gd name="T6" fmla="*/ 192095614 w 21"/>
                  <a:gd name="T7" fmla="*/ 116128800 h 25"/>
                  <a:gd name="T8" fmla="*/ 205815935 w 21"/>
                  <a:gd name="T9" fmla="*/ 145161000 h 25"/>
                  <a:gd name="T10" fmla="*/ 82325633 w 21"/>
                  <a:gd name="T11" fmla="*/ 145161000 h 25"/>
                  <a:gd name="T12" fmla="*/ 288141569 w 21"/>
                  <a:gd name="T13" fmla="*/ 174193200 h 25"/>
                  <a:gd name="T14" fmla="*/ 246976900 w 21"/>
                  <a:gd name="T15" fmla="*/ 58064400 h 25"/>
                  <a:gd name="T16" fmla="*/ 137210624 w 21"/>
                  <a:gd name="T17" fmla="*/ 0 h 25"/>
                  <a:gd name="T18" fmla="*/ 41164669 w 21"/>
                  <a:gd name="T19" fmla="*/ 43548300 h 25"/>
                  <a:gd name="T20" fmla="*/ 0 w 21"/>
                  <a:gd name="T21" fmla="*/ 188709300 h 25"/>
                  <a:gd name="T22" fmla="*/ 150930945 w 21"/>
                  <a:gd name="T23" fmla="*/ 362902500 h 25"/>
                  <a:gd name="T24" fmla="*/ 219536257 w 21"/>
                  <a:gd name="T25" fmla="*/ 348386400 h 25"/>
                  <a:gd name="T26" fmla="*/ 274421247 w 21"/>
                  <a:gd name="T27" fmla="*/ 304838100 h 25"/>
                  <a:gd name="T28" fmla="*/ 219536257 w 21"/>
                  <a:gd name="T29" fmla="*/ 261289800 h 25"/>
                  <a:gd name="T30" fmla="*/ 150930945 w 21"/>
                  <a:gd name="T31" fmla="*/ 290322000 h 25"/>
                  <a:gd name="T32" fmla="*/ 96045955 w 21"/>
                  <a:gd name="T33" fmla="*/ 261289800 h 25"/>
                  <a:gd name="T34" fmla="*/ 82325633 w 21"/>
                  <a:gd name="T35" fmla="*/ 203225400 h 25"/>
                  <a:gd name="T36" fmla="*/ 288141569 w 21"/>
                  <a:gd name="T37" fmla="*/ 203225400 h 25"/>
                  <a:gd name="T38" fmla="*/ 288141569 w 21"/>
                  <a:gd name="T39" fmla="*/ 17419320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6" y="8"/>
                    </a:cubicBezTo>
                    <a:cubicBezTo>
                      <a:pt x="7" y="6"/>
                      <a:pt x="8" y="5"/>
                      <a:pt x="10" y="5"/>
                    </a:cubicBezTo>
                    <a:cubicBezTo>
                      <a:pt x="12" y="5"/>
                      <a:pt x="14" y="6"/>
                      <a:pt x="14" y="8"/>
                    </a:cubicBezTo>
                    <a:cubicBezTo>
                      <a:pt x="15" y="8"/>
                      <a:pt x="15" y="9"/>
                      <a:pt x="15" y="10"/>
                    </a:cubicBezTo>
                    <a:lnTo>
                      <a:pt x="6" y="10"/>
                    </a:lnTo>
                    <a:close/>
                    <a:moveTo>
                      <a:pt x="21" y="12"/>
                    </a:moveTo>
                    <a:cubicBezTo>
                      <a:pt x="21" y="8"/>
                      <a:pt x="20" y="6"/>
                      <a:pt x="18" y="4"/>
                    </a:cubicBezTo>
                    <a:cubicBezTo>
                      <a:pt x="16" y="1"/>
                      <a:pt x="14" y="0"/>
                      <a:pt x="10" y="0"/>
                    </a:cubicBezTo>
                    <a:cubicBezTo>
                      <a:pt x="7" y="0"/>
                      <a:pt x="5" y="1"/>
                      <a:pt x="3" y="3"/>
                    </a:cubicBezTo>
                    <a:cubicBezTo>
                      <a:pt x="1" y="6"/>
                      <a:pt x="0" y="9"/>
                      <a:pt x="0" y="13"/>
                    </a:cubicBezTo>
                    <a:cubicBezTo>
                      <a:pt x="0" y="21"/>
                      <a:pt x="4" y="25"/>
                      <a:pt x="11" y="25"/>
                    </a:cubicBezTo>
                    <a:cubicBezTo>
                      <a:pt x="13" y="25"/>
                      <a:pt x="15" y="25"/>
                      <a:pt x="16" y="24"/>
                    </a:cubicBezTo>
                    <a:cubicBezTo>
                      <a:pt x="17" y="23"/>
                      <a:pt x="19" y="22"/>
                      <a:pt x="20" y="21"/>
                    </a:cubicBezTo>
                    <a:cubicBezTo>
                      <a:pt x="16" y="18"/>
                      <a:pt x="16" y="18"/>
                      <a:pt x="16" y="18"/>
                    </a:cubicBezTo>
                    <a:cubicBezTo>
                      <a:pt x="15" y="19"/>
                      <a:pt x="13" y="20"/>
                      <a:pt x="11" y="20"/>
                    </a:cubicBezTo>
                    <a:cubicBezTo>
                      <a:pt x="9" y="20"/>
                      <a:pt x="8" y="19"/>
                      <a:pt x="7" y="18"/>
                    </a:cubicBezTo>
                    <a:cubicBezTo>
                      <a:pt x="6"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7" name="Freeform 15"/>
              <p:cNvSpPr>
                <a:spLocks/>
              </p:cNvSpPr>
              <p:nvPr/>
            </p:nvSpPr>
            <p:spPr bwMode="auto">
              <a:xfrm>
                <a:off x="5126038" y="3638551"/>
                <a:ext cx="47625" cy="117475"/>
              </a:xfrm>
              <a:custGeom>
                <a:avLst/>
                <a:gdLst>
                  <a:gd name="T0" fmla="*/ 174472356 w 13"/>
                  <a:gd name="T1" fmla="*/ 445173407 h 31"/>
                  <a:gd name="T2" fmla="*/ 134210913 w 13"/>
                  <a:gd name="T3" fmla="*/ 445173407 h 31"/>
                  <a:gd name="T4" fmla="*/ 67103625 w 13"/>
                  <a:gd name="T5" fmla="*/ 402090398 h 31"/>
                  <a:gd name="T6" fmla="*/ 40261442 w 13"/>
                  <a:gd name="T7" fmla="*/ 344648913 h 31"/>
                  <a:gd name="T8" fmla="*/ 40261442 w 13"/>
                  <a:gd name="T9" fmla="*/ 172324456 h 31"/>
                  <a:gd name="T10" fmla="*/ 0 w 13"/>
                  <a:gd name="T11" fmla="*/ 172324456 h 31"/>
                  <a:gd name="T12" fmla="*/ 0 w 13"/>
                  <a:gd name="T13" fmla="*/ 100524494 h 31"/>
                  <a:gd name="T14" fmla="*/ 40261442 w 13"/>
                  <a:gd name="T15" fmla="*/ 100524494 h 31"/>
                  <a:gd name="T16" fmla="*/ 40261442 w 13"/>
                  <a:gd name="T17" fmla="*/ 0 h 31"/>
                  <a:gd name="T18" fmla="*/ 120787990 w 13"/>
                  <a:gd name="T19" fmla="*/ 0 h 31"/>
                  <a:gd name="T20" fmla="*/ 120787990 w 13"/>
                  <a:gd name="T21" fmla="*/ 100524494 h 31"/>
                  <a:gd name="T22" fmla="*/ 174472356 w 13"/>
                  <a:gd name="T23" fmla="*/ 100524494 h 31"/>
                  <a:gd name="T24" fmla="*/ 174472356 w 13"/>
                  <a:gd name="T25" fmla="*/ 172324456 h 31"/>
                  <a:gd name="T26" fmla="*/ 120787990 w 13"/>
                  <a:gd name="T27" fmla="*/ 172324456 h 31"/>
                  <a:gd name="T28" fmla="*/ 120787990 w 13"/>
                  <a:gd name="T29" fmla="*/ 330290436 h 31"/>
                  <a:gd name="T30" fmla="*/ 147630173 w 13"/>
                  <a:gd name="T31" fmla="*/ 359011179 h 31"/>
                  <a:gd name="T32" fmla="*/ 174472356 w 13"/>
                  <a:gd name="T33" fmla="*/ 359011179 h 31"/>
                  <a:gd name="T34" fmla="*/ 174472356 w 13"/>
                  <a:gd name="T35" fmla="*/ 445173407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31">
                    <a:moveTo>
                      <a:pt x="13" y="31"/>
                    </a:moveTo>
                    <a:cubicBezTo>
                      <a:pt x="10" y="31"/>
                      <a:pt x="10" y="31"/>
                      <a:pt x="10" y="31"/>
                    </a:cubicBezTo>
                    <a:cubicBezTo>
                      <a:pt x="8" y="31"/>
                      <a:pt x="6" y="30"/>
                      <a:pt x="5" y="28"/>
                    </a:cubicBezTo>
                    <a:cubicBezTo>
                      <a:pt x="3" y="27"/>
                      <a:pt x="3" y="26"/>
                      <a:pt x="3" y="24"/>
                    </a:cubicBezTo>
                    <a:cubicBezTo>
                      <a:pt x="3" y="12"/>
                      <a:pt x="3" y="12"/>
                      <a:pt x="3" y="12"/>
                    </a:cubicBezTo>
                    <a:cubicBezTo>
                      <a:pt x="0" y="12"/>
                      <a:pt x="0" y="12"/>
                      <a:pt x="0" y="12"/>
                    </a:cubicBezTo>
                    <a:cubicBezTo>
                      <a:pt x="0" y="7"/>
                      <a:pt x="0" y="7"/>
                      <a:pt x="0" y="7"/>
                    </a:cubicBezTo>
                    <a:cubicBezTo>
                      <a:pt x="3" y="7"/>
                      <a:pt x="3" y="7"/>
                      <a:pt x="3" y="7"/>
                    </a:cubicBezTo>
                    <a:cubicBezTo>
                      <a:pt x="3" y="0"/>
                      <a:pt x="3" y="0"/>
                      <a:pt x="3" y="0"/>
                    </a:cubicBezTo>
                    <a:cubicBezTo>
                      <a:pt x="9" y="0"/>
                      <a:pt x="9" y="0"/>
                      <a:pt x="9" y="0"/>
                    </a:cubicBezTo>
                    <a:cubicBezTo>
                      <a:pt x="9" y="7"/>
                      <a:pt x="9" y="7"/>
                      <a:pt x="9" y="7"/>
                    </a:cubicBezTo>
                    <a:cubicBezTo>
                      <a:pt x="13" y="7"/>
                      <a:pt x="13" y="7"/>
                      <a:pt x="13" y="7"/>
                    </a:cubicBezTo>
                    <a:cubicBezTo>
                      <a:pt x="13" y="12"/>
                      <a:pt x="13" y="12"/>
                      <a:pt x="13" y="12"/>
                    </a:cubicBezTo>
                    <a:cubicBezTo>
                      <a:pt x="9" y="12"/>
                      <a:pt x="9" y="12"/>
                      <a:pt x="9" y="12"/>
                    </a:cubicBezTo>
                    <a:cubicBezTo>
                      <a:pt x="9" y="23"/>
                      <a:pt x="9" y="23"/>
                      <a:pt x="9" y="23"/>
                    </a:cubicBezTo>
                    <a:cubicBezTo>
                      <a:pt x="9" y="25"/>
                      <a:pt x="10" y="25"/>
                      <a:pt x="11" y="25"/>
                    </a:cubicBezTo>
                    <a:cubicBezTo>
                      <a:pt x="13" y="25"/>
                      <a:pt x="13" y="25"/>
                      <a:pt x="13" y="25"/>
                    </a:cubicBezTo>
                    <a:lnTo>
                      <a:pt x="13" y="31"/>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8" name="Rectangle 16"/>
              <p:cNvSpPr>
                <a:spLocks noChangeArrowheads="1"/>
              </p:cNvSpPr>
              <p:nvPr/>
            </p:nvSpPr>
            <p:spPr bwMode="auto">
              <a:xfrm>
                <a:off x="5192873" y="3729395"/>
                <a:ext cx="26488" cy="26504"/>
              </a:xfrm>
              <a:prstGeom prst="rect">
                <a:avLst/>
              </a:prstGeom>
              <a:solidFill>
                <a:srgbClr val="2B252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 name="Freeform 17"/>
              <p:cNvSpPr>
                <a:spLocks/>
              </p:cNvSpPr>
              <p:nvPr/>
            </p:nvSpPr>
            <p:spPr bwMode="auto">
              <a:xfrm>
                <a:off x="5287963" y="3630613"/>
                <a:ext cx="88900" cy="125413"/>
              </a:xfrm>
              <a:custGeom>
                <a:avLst/>
                <a:gdLst>
                  <a:gd name="T0" fmla="*/ 141128750 w 56"/>
                  <a:gd name="T1" fmla="*/ 199093931 h 79"/>
                  <a:gd name="T2" fmla="*/ 105846563 w 56"/>
                  <a:gd name="T3" fmla="*/ 199093931 h 79"/>
                  <a:gd name="T4" fmla="*/ 105846563 w 56"/>
                  <a:gd name="T5" fmla="*/ 115927650 h 79"/>
                  <a:gd name="T6" fmla="*/ 35282188 w 56"/>
                  <a:gd name="T7" fmla="*/ 115927650 h 79"/>
                  <a:gd name="T8" fmla="*/ 35282188 w 56"/>
                  <a:gd name="T9" fmla="*/ 199093931 h 79"/>
                  <a:gd name="T10" fmla="*/ 0 w 56"/>
                  <a:gd name="T11" fmla="*/ 199093931 h 79"/>
                  <a:gd name="T12" fmla="*/ 0 w 56"/>
                  <a:gd name="T13" fmla="*/ 0 h 79"/>
                  <a:gd name="T14" fmla="*/ 35282188 w 56"/>
                  <a:gd name="T15" fmla="*/ 0 h 79"/>
                  <a:gd name="T16" fmla="*/ 35282188 w 56"/>
                  <a:gd name="T17" fmla="*/ 78125949 h 79"/>
                  <a:gd name="T18" fmla="*/ 105846563 w 56"/>
                  <a:gd name="T19" fmla="*/ 78125949 h 79"/>
                  <a:gd name="T20" fmla="*/ 105846563 w 56"/>
                  <a:gd name="T21" fmla="*/ 0 h 79"/>
                  <a:gd name="T22" fmla="*/ 141128750 w 56"/>
                  <a:gd name="T23" fmla="*/ 0 h 79"/>
                  <a:gd name="T24" fmla="*/ 141128750 w 56"/>
                  <a:gd name="T25" fmla="*/ 199093931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6" h="79">
                    <a:moveTo>
                      <a:pt x="56" y="79"/>
                    </a:moveTo>
                    <a:lnTo>
                      <a:pt x="42" y="79"/>
                    </a:lnTo>
                    <a:lnTo>
                      <a:pt x="42" y="46"/>
                    </a:lnTo>
                    <a:lnTo>
                      <a:pt x="14" y="46"/>
                    </a:lnTo>
                    <a:lnTo>
                      <a:pt x="14" y="79"/>
                    </a:lnTo>
                    <a:lnTo>
                      <a:pt x="0" y="79"/>
                    </a:lnTo>
                    <a:lnTo>
                      <a:pt x="0" y="0"/>
                    </a:lnTo>
                    <a:lnTo>
                      <a:pt x="14" y="0"/>
                    </a:lnTo>
                    <a:lnTo>
                      <a:pt x="14" y="31"/>
                    </a:lnTo>
                    <a:lnTo>
                      <a:pt x="42" y="31"/>
                    </a:lnTo>
                    <a:lnTo>
                      <a:pt x="42" y="0"/>
                    </a:lnTo>
                    <a:lnTo>
                      <a:pt x="56" y="0"/>
                    </a:lnTo>
                    <a:lnTo>
                      <a:pt x="56"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 name="Freeform 18"/>
              <p:cNvSpPr>
                <a:spLocks noEditPoints="1"/>
              </p:cNvSpPr>
              <p:nvPr/>
            </p:nvSpPr>
            <p:spPr bwMode="auto">
              <a:xfrm>
                <a:off x="5395913" y="3660776"/>
                <a:ext cx="76200" cy="95250"/>
              </a:xfrm>
              <a:custGeom>
                <a:avLst/>
                <a:gdLst>
                  <a:gd name="T0" fmla="*/ 203225400 w 20"/>
                  <a:gd name="T1" fmla="*/ 261289800 h 25"/>
                  <a:gd name="T2" fmla="*/ 145161000 w 20"/>
                  <a:gd name="T3" fmla="*/ 290322000 h 25"/>
                  <a:gd name="T4" fmla="*/ 87096600 w 20"/>
                  <a:gd name="T5" fmla="*/ 246773700 h 25"/>
                  <a:gd name="T6" fmla="*/ 145161000 w 20"/>
                  <a:gd name="T7" fmla="*/ 203225400 h 25"/>
                  <a:gd name="T8" fmla="*/ 203225400 w 20"/>
                  <a:gd name="T9" fmla="*/ 203225400 h 25"/>
                  <a:gd name="T10" fmla="*/ 203225400 w 20"/>
                  <a:gd name="T11" fmla="*/ 232257600 h 25"/>
                  <a:gd name="T12" fmla="*/ 203225400 w 20"/>
                  <a:gd name="T13" fmla="*/ 261289800 h 25"/>
                  <a:gd name="T14" fmla="*/ 290322000 w 20"/>
                  <a:gd name="T15" fmla="*/ 130644900 h 25"/>
                  <a:gd name="T16" fmla="*/ 145161000 w 20"/>
                  <a:gd name="T17" fmla="*/ 0 h 25"/>
                  <a:gd name="T18" fmla="*/ 72580500 w 20"/>
                  <a:gd name="T19" fmla="*/ 14516100 h 25"/>
                  <a:gd name="T20" fmla="*/ 14516100 w 20"/>
                  <a:gd name="T21" fmla="*/ 58064400 h 25"/>
                  <a:gd name="T22" fmla="*/ 72580500 w 20"/>
                  <a:gd name="T23" fmla="*/ 101612700 h 25"/>
                  <a:gd name="T24" fmla="*/ 145161000 w 20"/>
                  <a:gd name="T25" fmla="*/ 72580500 h 25"/>
                  <a:gd name="T26" fmla="*/ 203225400 w 20"/>
                  <a:gd name="T27" fmla="*/ 130644900 h 25"/>
                  <a:gd name="T28" fmla="*/ 203225400 w 20"/>
                  <a:gd name="T29" fmla="*/ 145161000 h 25"/>
                  <a:gd name="T30" fmla="*/ 130644900 w 20"/>
                  <a:gd name="T31" fmla="*/ 145161000 h 25"/>
                  <a:gd name="T32" fmla="*/ 43548300 w 20"/>
                  <a:gd name="T33" fmla="*/ 174193200 h 25"/>
                  <a:gd name="T34" fmla="*/ 0 w 20"/>
                  <a:gd name="T35" fmla="*/ 246773700 h 25"/>
                  <a:gd name="T36" fmla="*/ 43548300 w 20"/>
                  <a:gd name="T37" fmla="*/ 333870300 h 25"/>
                  <a:gd name="T38" fmla="*/ 130644900 w 20"/>
                  <a:gd name="T39" fmla="*/ 362902500 h 25"/>
                  <a:gd name="T40" fmla="*/ 217741500 w 20"/>
                  <a:gd name="T41" fmla="*/ 319354200 h 25"/>
                  <a:gd name="T42" fmla="*/ 217741500 w 20"/>
                  <a:gd name="T43" fmla="*/ 362902500 h 25"/>
                  <a:gd name="T44" fmla="*/ 290322000 w 20"/>
                  <a:gd name="T45" fmla="*/ 362902500 h 25"/>
                  <a:gd name="T46" fmla="*/ 290322000 w 20"/>
                  <a:gd name="T47" fmla="*/ 13064490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4" y="18"/>
                    </a:moveTo>
                    <a:cubicBezTo>
                      <a:pt x="13" y="19"/>
                      <a:pt x="12" y="20"/>
                      <a:pt x="10" y="20"/>
                    </a:cubicBezTo>
                    <a:cubicBezTo>
                      <a:pt x="7" y="20"/>
                      <a:pt x="6" y="19"/>
                      <a:pt x="6" y="17"/>
                    </a:cubicBezTo>
                    <a:cubicBezTo>
                      <a:pt x="6" y="15"/>
                      <a:pt x="7" y="14"/>
                      <a:pt x="10" y="14"/>
                    </a:cubicBezTo>
                    <a:cubicBezTo>
                      <a:pt x="14" y="14"/>
                      <a:pt x="14" y="14"/>
                      <a:pt x="14" y="14"/>
                    </a:cubicBezTo>
                    <a:cubicBezTo>
                      <a:pt x="14" y="16"/>
                      <a:pt x="14" y="16"/>
                      <a:pt x="14" y="16"/>
                    </a:cubicBezTo>
                    <a:cubicBezTo>
                      <a:pt x="14" y="17"/>
                      <a:pt x="14" y="18"/>
                      <a:pt x="14" y="18"/>
                    </a:cubicBezTo>
                    <a:moveTo>
                      <a:pt x="20" y="9"/>
                    </a:moveTo>
                    <a:cubicBezTo>
                      <a:pt x="20" y="3"/>
                      <a:pt x="17" y="0"/>
                      <a:pt x="10" y="0"/>
                    </a:cubicBezTo>
                    <a:cubicBezTo>
                      <a:pt x="8" y="0"/>
                      <a:pt x="6" y="0"/>
                      <a:pt x="5" y="1"/>
                    </a:cubicBezTo>
                    <a:cubicBezTo>
                      <a:pt x="4" y="1"/>
                      <a:pt x="3" y="2"/>
                      <a:pt x="1" y="4"/>
                    </a:cubicBezTo>
                    <a:cubicBezTo>
                      <a:pt x="5" y="7"/>
                      <a:pt x="5" y="7"/>
                      <a:pt x="5" y="7"/>
                    </a:cubicBezTo>
                    <a:cubicBezTo>
                      <a:pt x="6" y="6"/>
                      <a:pt x="8" y="5"/>
                      <a:pt x="10" y="5"/>
                    </a:cubicBezTo>
                    <a:cubicBezTo>
                      <a:pt x="13" y="5"/>
                      <a:pt x="14" y="7"/>
                      <a:pt x="14" y="9"/>
                    </a:cubicBezTo>
                    <a:cubicBezTo>
                      <a:pt x="14" y="10"/>
                      <a:pt x="14" y="10"/>
                      <a:pt x="14" y="10"/>
                    </a:cubicBezTo>
                    <a:cubicBezTo>
                      <a:pt x="9" y="10"/>
                      <a:pt x="9" y="10"/>
                      <a:pt x="9" y="10"/>
                    </a:cubicBezTo>
                    <a:cubicBezTo>
                      <a:pt x="6" y="10"/>
                      <a:pt x="4" y="11"/>
                      <a:pt x="3" y="12"/>
                    </a:cubicBezTo>
                    <a:cubicBezTo>
                      <a:pt x="1" y="14"/>
                      <a:pt x="0" y="15"/>
                      <a:pt x="0" y="17"/>
                    </a:cubicBezTo>
                    <a:cubicBezTo>
                      <a:pt x="0" y="19"/>
                      <a:pt x="1" y="21"/>
                      <a:pt x="3" y="23"/>
                    </a:cubicBezTo>
                    <a:cubicBezTo>
                      <a:pt x="4" y="24"/>
                      <a:pt x="6" y="25"/>
                      <a:pt x="9" y="25"/>
                    </a:cubicBezTo>
                    <a:cubicBezTo>
                      <a:pt x="11" y="25"/>
                      <a:pt x="13" y="24"/>
                      <a:pt x="15" y="22"/>
                    </a:cubicBezTo>
                    <a:cubicBezTo>
                      <a:pt x="15" y="25"/>
                      <a:pt x="15" y="25"/>
                      <a:pt x="15"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 name="Freeform 19"/>
              <p:cNvSpPr>
                <a:spLocks/>
              </p:cNvSpPr>
              <p:nvPr/>
            </p:nvSpPr>
            <p:spPr bwMode="auto">
              <a:xfrm>
                <a:off x="5497513" y="3660776"/>
                <a:ext cx="128588" cy="95250"/>
              </a:xfrm>
              <a:custGeom>
                <a:avLst/>
                <a:gdLst>
                  <a:gd name="T0" fmla="*/ 486319816 w 34"/>
                  <a:gd name="T1" fmla="*/ 362902500 h 25"/>
                  <a:gd name="T2" fmla="*/ 400498672 w 34"/>
                  <a:gd name="T3" fmla="*/ 362902500 h 25"/>
                  <a:gd name="T4" fmla="*/ 400498672 w 34"/>
                  <a:gd name="T5" fmla="*/ 145161000 h 25"/>
                  <a:gd name="T6" fmla="*/ 386195148 w 34"/>
                  <a:gd name="T7" fmla="*/ 101612700 h 25"/>
                  <a:gd name="T8" fmla="*/ 343284576 w 34"/>
                  <a:gd name="T9" fmla="*/ 87096600 h 25"/>
                  <a:gd name="T10" fmla="*/ 300374004 w 34"/>
                  <a:gd name="T11" fmla="*/ 101612700 h 25"/>
                  <a:gd name="T12" fmla="*/ 286070480 w 34"/>
                  <a:gd name="T13" fmla="*/ 145161000 h 25"/>
                  <a:gd name="T14" fmla="*/ 286070480 w 34"/>
                  <a:gd name="T15" fmla="*/ 362902500 h 25"/>
                  <a:gd name="T16" fmla="*/ 200249336 w 34"/>
                  <a:gd name="T17" fmla="*/ 362902500 h 25"/>
                  <a:gd name="T18" fmla="*/ 200249336 w 34"/>
                  <a:gd name="T19" fmla="*/ 145161000 h 25"/>
                  <a:gd name="T20" fmla="*/ 185945812 w 34"/>
                  <a:gd name="T21" fmla="*/ 101612700 h 25"/>
                  <a:gd name="T22" fmla="*/ 143035240 w 34"/>
                  <a:gd name="T23" fmla="*/ 87096600 h 25"/>
                  <a:gd name="T24" fmla="*/ 100124668 w 34"/>
                  <a:gd name="T25" fmla="*/ 101612700 h 25"/>
                  <a:gd name="T26" fmla="*/ 85821144 w 34"/>
                  <a:gd name="T27" fmla="*/ 145161000 h 25"/>
                  <a:gd name="T28" fmla="*/ 85821144 w 34"/>
                  <a:gd name="T29" fmla="*/ 362902500 h 25"/>
                  <a:gd name="T30" fmla="*/ 0 w 34"/>
                  <a:gd name="T31" fmla="*/ 362902500 h 25"/>
                  <a:gd name="T32" fmla="*/ 0 w 34"/>
                  <a:gd name="T33" fmla="*/ 0 h 25"/>
                  <a:gd name="T34" fmla="*/ 85821144 w 34"/>
                  <a:gd name="T35" fmla="*/ 0 h 25"/>
                  <a:gd name="T36" fmla="*/ 85821144 w 34"/>
                  <a:gd name="T37" fmla="*/ 43548300 h 25"/>
                  <a:gd name="T38" fmla="*/ 171642288 w 34"/>
                  <a:gd name="T39" fmla="*/ 0 h 25"/>
                  <a:gd name="T40" fmla="*/ 257463432 w 34"/>
                  <a:gd name="T41" fmla="*/ 43548300 h 25"/>
                  <a:gd name="T42" fmla="*/ 357588100 w 34"/>
                  <a:gd name="T43" fmla="*/ 0 h 25"/>
                  <a:gd name="T44" fmla="*/ 443409244 w 34"/>
                  <a:gd name="T45" fmla="*/ 29032200 h 25"/>
                  <a:gd name="T46" fmla="*/ 486319816 w 34"/>
                  <a:gd name="T47" fmla="*/ 130644900 h 25"/>
                  <a:gd name="T48" fmla="*/ 486319816 w 34"/>
                  <a:gd name="T49" fmla="*/ 362902500 h 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4" h="25">
                    <a:moveTo>
                      <a:pt x="34" y="25"/>
                    </a:moveTo>
                    <a:cubicBezTo>
                      <a:pt x="28" y="25"/>
                      <a:pt x="28" y="25"/>
                      <a:pt x="28" y="25"/>
                    </a:cubicBezTo>
                    <a:cubicBezTo>
                      <a:pt x="28" y="10"/>
                      <a:pt x="28" y="10"/>
                      <a:pt x="28" y="10"/>
                    </a:cubicBezTo>
                    <a:cubicBezTo>
                      <a:pt x="28" y="9"/>
                      <a:pt x="27" y="7"/>
                      <a:pt x="27" y="7"/>
                    </a:cubicBezTo>
                    <a:cubicBezTo>
                      <a:pt x="26" y="6"/>
                      <a:pt x="25" y="6"/>
                      <a:pt x="24" y="6"/>
                    </a:cubicBezTo>
                    <a:cubicBezTo>
                      <a:pt x="23" y="6"/>
                      <a:pt x="22" y="6"/>
                      <a:pt x="21" y="7"/>
                    </a:cubicBezTo>
                    <a:cubicBezTo>
                      <a:pt x="20" y="7"/>
                      <a:pt x="20" y="8"/>
                      <a:pt x="20" y="10"/>
                    </a:cubicBezTo>
                    <a:cubicBezTo>
                      <a:pt x="20" y="25"/>
                      <a:pt x="20" y="25"/>
                      <a:pt x="20" y="25"/>
                    </a:cubicBezTo>
                    <a:cubicBezTo>
                      <a:pt x="14" y="25"/>
                      <a:pt x="14" y="25"/>
                      <a:pt x="14" y="25"/>
                    </a:cubicBezTo>
                    <a:cubicBezTo>
                      <a:pt x="14" y="10"/>
                      <a:pt x="14" y="10"/>
                      <a:pt x="14" y="10"/>
                    </a:cubicBezTo>
                    <a:cubicBezTo>
                      <a:pt x="14" y="9"/>
                      <a:pt x="13" y="7"/>
                      <a:pt x="13" y="7"/>
                    </a:cubicBezTo>
                    <a:cubicBezTo>
                      <a:pt x="12" y="6"/>
                      <a:pt x="11" y="6"/>
                      <a:pt x="10" y="6"/>
                    </a:cubicBezTo>
                    <a:cubicBezTo>
                      <a:pt x="9" y="6"/>
                      <a:pt x="8" y="6"/>
                      <a:pt x="7" y="7"/>
                    </a:cubicBezTo>
                    <a:cubicBezTo>
                      <a:pt x="6" y="7"/>
                      <a:pt x="6" y="9"/>
                      <a:pt x="6" y="10"/>
                    </a:cubicBezTo>
                    <a:cubicBezTo>
                      <a:pt x="6" y="25"/>
                      <a:pt x="6" y="25"/>
                      <a:pt x="6" y="25"/>
                    </a:cubicBezTo>
                    <a:cubicBezTo>
                      <a:pt x="0" y="25"/>
                      <a:pt x="0" y="25"/>
                      <a:pt x="0" y="25"/>
                    </a:cubicBezTo>
                    <a:cubicBezTo>
                      <a:pt x="0" y="0"/>
                      <a:pt x="0" y="0"/>
                      <a:pt x="0" y="0"/>
                    </a:cubicBezTo>
                    <a:cubicBezTo>
                      <a:pt x="6" y="0"/>
                      <a:pt x="6" y="0"/>
                      <a:pt x="6" y="0"/>
                    </a:cubicBezTo>
                    <a:cubicBezTo>
                      <a:pt x="6" y="3"/>
                      <a:pt x="6" y="3"/>
                      <a:pt x="6" y="3"/>
                    </a:cubicBezTo>
                    <a:cubicBezTo>
                      <a:pt x="7" y="1"/>
                      <a:pt x="9" y="0"/>
                      <a:pt x="12" y="0"/>
                    </a:cubicBezTo>
                    <a:cubicBezTo>
                      <a:pt x="14" y="0"/>
                      <a:pt x="17" y="1"/>
                      <a:pt x="18" y="3"/>
                    </a:cubicBezTo>
                    <a:cubicBezTo>
                      <a:pt x="20" y="1"/>
                      <a:pt x="22" y="0"/>
                      <a:pt x="25" y="0"/>
                    </a:cubicBezTo>
                    <a:cubicBezTo>
                      <a:pt x="28" y="0"/>
                      <a:pt x="30" y="1"/>
                      <a:pt x="31" y="2"/>
                    </a:cubicBezTo>
                    <a:cubicBezTo>
                      <a:pt x="33" y="4"/>
                      <a:pt x="34" y="6"/>
                      <a:pt x="34" y="9"/>
                    </a:cubicBezTo>
                    <a:lnTo>
                      <a:pt x="34" y="25"/>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 name="Freeform 20"/>
              <p:cNvSpPr>
                <a:spLocks noEditPoints="1"/>
              </p:cNvSpPr>
              <p:nvPr/>
            </p:nvSpPr>
            <p:spPr bwMode="auto">
              <a:xfrm>
                <a:off x="5645150" y="3660776"/>
                <a:ext cx="74613" cy="95250"/>
              </a:xfrm>
              <a:custGeom>
                <a:avLst/>
                <a:gdLst>
                  <a:gd name="T0" fmla="*/ 180929064 w 20"/>
                  <a:gd name="T1" fmla="*/ 261289800 h 25"/>
                  <a:gd name="T2" fmla="*/ 125260304 w 20"/>
                  <a:gd name="T3" fmla="*/ 290322000 h 25"/>
                  <a:gd name="T4" fmla="*/ 69587814 w 20"/>
                  <a:gd name="T5" fmla="*/ 246773700 h 25"/>
                  <a:gd name="T6" fmla="*/ 125260304 w 20"/>
                  <a:gd name="T7" fmla="*/ 203225400 h 25"/>
                  <a:gd name="T8" fmla="*/ 194848119 w 20"/>
                  <a:gd name="T9" fmla="*/ 203225400 h 25"/>
                  <a:gd name="T10" fmla="*/ 194848119 w 20"/>
                  <a:gd name="T11" fmla="*/ 232257600 h 25"/>
                  <a:gd name="T12" fmla="*/ 180929064 w 20"/>
                  <a:gd name="T13" fmla="*/ 261289800 h 25"/>
                  <a:gd name="T14" fmla="*/ 278354988 w 20"/>
                  <a:gd name="T15" fmla="*/ 130644900 h 25"/>
                  <a:gd name="T16" fmla="*/ 125260304 w 20"/>
                  <a:gd name="T17" fmla="*/ 0 h 25"/>
                  <a:gd name="T18" fmla="*/ 55672490 w 20"/>
                  <a:gd name="T19" fmla="*/ 14516100 h 25"/>
                  <a:gd name="T20" fmla="*/ 13919055 w 20"/>
                  <a:gd name="T21" fmla="*/ 58064400 h 25"/>
                  <a:gd name="T22" fmla="*/ 55672490 w 20"/>
                  <a:gd name="T23" fmla="*/ 101612700 h 25"/>
                  <a:gd name="T24" fmla="*/ 125260304 w 20"/>
                  <a:gd name="T25" fmla="*/ 72580500 h 25"/>
                  <a:gd name="T26" fmla="*/ 194848119 w 20"/>
                  <a:gd name="T27" fmla="*/ 130644900 h 25"/>
                  <a:gd name="T28" fmla="*/ 194848119 w 20"/>
                  <a:gd name="T29" fmla="*/ 145161000 h 25"/>
                  <a:gd name="T30" fmla="*/ 111341249 w 20"/>
                  <a:gd name="T31" fmla="*/ 145161000 h 25"/>
                  <a:gd name="T32" fmla="*/ 27834380 w 20"/>
                  <a:gd name="T33" fmla="*/ 174193200 h 25"/>
                  <a:gd name="T34" fmla="*/ 0 w 20"/>
                  <a:gd name="T35" fmla="*/ 246773700 h 25"/>
                  <a:gd name="T36" fmla="*/ 27834380 w 20"/>
                  <a:gd name="T37" fmla="*/ 333870300 h 25"/>
                  <a:gd name="T38" fmla="*/ 111341249 w 20"/>
                  <a:gd name="T39" fmla="*/ 362902500 h 25"/>
                  <a:gd name="T40" fmla="*/ 194848119 w 20"/>
                  <a:gd name="T41" fmla="*/ 319354200 h 25"/>
                  <a:gd name="T42" fmla="*/ 194848119 w 20"/>
                  <a:gd name="T43" fmla="*/ 362902500 h 25"/>
                  <a:gd name="T44" fmla="*/ 278354988 w 20"/>
                  <a:gd name="T45" fmla="*/ 362902500 h 25"/>
                  <a:gd name="T46" fmla="*/ 278354988 w 20"/>
                  <a:gd name="T47" fmla="*/ 13064490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3" y="18"/>
                    </a:moveTo>
                    <a:cubicBezTo>
                      <a:pt x="12" y="19"/>
                      <a:pt x="11" y="20"/>
                      <a:pt x="9" y="20"/>
                    </a:cubicBezTo>
                    <a:cubicBezTo>
                      <a:pt x="7" y="20"/>
                      <a:pt x="5" y="19"/>
                      <a:pt x="5" y="17"/>
                    </a:cubicBezTo>
                    <a:cubicBezTo>
                      <a:pt x="5" y="15"/>
                      <a:pt x="7" y="14"/>
                      <a:pt x="9" y="14"/>
                    </a:cubicBezTo>
                    <a:cubicBezTo>
                      <a:pt x="14" y="14"/>
                      <a:pt x="14" y="14"/>
                      <a:pt x="14" y="14"/>
                    </a:cubicBezTo>
                    <a:cubicBezTo>
                      <a:pt x="14" y="16"/>
                      <a:pt x="14" y="16"/>
                      <a:pt x="14" y="16"/>
                    </a:cubicBezTo>
                    <a:cubicBezTo>
                      <a:pt x="14" y="17"/>
                      <a:pt x="13" y="18"/>
                      <a:pt x="13" y="18"/>
                    </a:cubicBezTo>
                    <a:moveTo>
                      <a:pt x="20" y="9"/>
                    </a:moveTo>
                    <a:cubicBezTo>
                      <a:pt x="20" y="3"/>
                      <a:pt x="16" y="0"/>
                      <a:pt x="9" y="0"/>
                    </a:cubicBezTo>
                    <a:cubicBezTo>
                      <a:pt x="7" y="0"/>
                      <a:pt x="6" y="0"/>
                      <a:pt x="4" y="1"/>
                    </a:cubicBezTo>
                    <a:cubicBezTo>
                      <a:pt x="3" y="1"/>
                      <a:pt x="2" y="2"/>
                      <a:pt x="1" y="4"/>
                    </a:cubicBezTo>
                    <a:cubicBezTo>
                      <a:pt x="4" y="7"/>
                      <a:pt x="4" y="7"/>
                      <a:pt x="4" y="7"/>
                    </a:cubicBezTo>
                    <a:cubicBezTo>
                      <a:pt x="6" y="6"/>
                      <a:pt x="7" y="5"/>
                      <a:pt x="9" y="5"/>
                    </a:cubicBezTo>
                    <a:cubicBezTo>
                      <a:pt x="12" y="5"/>
                      <a:pt x="14" y="7"/>
                      <a:pt x="14" y="9"/>
                    </a:cubicBezTo>
                    <a:cubicBezTo>
                      <a:pt x="14" y="10"/>
                      <a:pt x="14" y="10"/>
                      <a:pt x="14" y="10"/>
                    </a:cubicBezTo>
                    <a:cubicBezTo>
                      <a:pt x="8" y="10"/>
                      <a:pt x="8" y="10"/>
                      <a:pt x="8" y="10"/>
                    </a:cubicBezTo>
                    <a:cubicBezTo>
                      <a:pt x="5" y="10"/>
                      <a:pt x="3" y="11"/>
                      <a:pt x="2" y="12"/>
                    </a:cubicBezTo>
                    <a:cubicBezTo>
                      <a:pt x="0" y="14"/>
                      <a:pt x="0" y="15"/>
                      <a:pt x="0" y="17"/>
                    </a:cubicBezTo>
                    <a:cubicBezTo>
                      <a:pt x="0" y="19"/>
                      <a:pt x="0" y="21"/>
                      <a:pt x="2" y="23"/>
                    </a:cubicBezTo>
                    <a:cubicBezTo>
                      <a:pt x="3" y="24"/>
                      <a:pt x="5" y="25"/>
                      <a:pt x="8" y="25"/>
                    </a:cubicBezTo>
                    <a:cubicBezTo>
                      <a:pt x="10" y="25"/>
                      <a:pt x="12" y="24"/>
                      <a:pt x="14" y="22"/>
                    </a:cubicBezTo>
                    <a:cubicBezTo>
                      <a:pt x="14" y="25"/>
                      <a:pt x="14" y="25"/>
                      <a:pt x="14"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 name="Freeform 21"/>
              <p:cNvSpPr>
                <a:spLocks/>
              </p:cNvSpPr>
              <p:nvPr/>
            </p:nvSpPr>
            <p:spPr bwMode="auto">
              <a:xfrm>
                <a:off x="5741988" y="3660776"/>
                <a:ext cx="68263" cy="95250"/>
              </a:xfrm>
              <a:custGeom>
                <a:avLst/>
                <a:gdLst>
                  <a:gd name="T0" fmla="*/ 258879843 w 18"/>
                  <a:gd name="T1" fmla="*/ 43548300 h 25"/>
                  <a:gd name="T2" fmla="*/ 186968565 w 18"/>
                  <a:gd name="T3" fmla="*/ 101612700 h 25"/>
                  <a:gd name="T4" fmla="*/ 143822556 w 18"/>
                  <a:gd name="T5" fmla="*/ 87096600 h 25"/>
                  <a:gd name="T6" fmla="*/ 100676548 w 18"/>
                  <a:gd name="T7" fmla="*/ 101612700 h 25"/>
                  <a:gd name="T8" fmla="*/ 86292017 w 18"/>
                  <a:gd name="T9" fmla="*/ 145161000 h 25"/>
                  <a:gd name="T10" fmla="*/ 86292017 w 18"/>
                  <a:gd name="T11" fmla="*/ 362902500 h 25"/>
                  <a:gd name="T12" fmla="*/ 0 w 18"/>
                  <a:gd name="T13" fmla="*/ 362902500 h 25"/>
                  <a:gd name="T14" fmla="*/ 0 w 18"/>
                  <a:gd name="T15" fmla="*/ 0 h 25"/>
                  <a:gd name="T16" fmla="*/ 86292017 w 18"/>
                  <a:gd name="T17" fmla="*/ 0 h 25"/>
                  <a:gd name="T18" fmla="*/ 86292017 w 18"/>
                  <a:gd name="T19" fmla="*/ 43548300 h 25"/>
                  <a:gd name="T20" fmla="*/ 172587826 w 18"/>
                  <a:gd name="T21" fmla="*/ 0 h 25"/>
                  <a:gd name="T22" fmla="*/ 258879843 w 18"/>
                  <a:gd name="T23" fmla="*/ 43548300 h 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25">
                    <a:moveTo>
                      <a:pt x="18" y="3"/>
                    </a:moveTo>
                    <a:cubicBezTo>
                      <a:pt x="13" y="7"/>
                      <a:pt x="13" y="7"/>
                      <a:pt x="13" y="7"/>
                    </a:cubicBezTo>
                    <a:cubicBezTo>
                      <a:pt x="12" y="6"/>
                      <a:pt x="11" y="6"/>
                      <a:pt x="10" y="6"/>
                    </a:cubicBezTo>
                    <a:cubicBezTo>
                      <a:pt x="9" y="6"/>
                      <a:pt x="8" y="6"/>
                      <a:pt x="7" y="7"/>
                    </a:cubicBezTo>
                    <a:cubicBezTo>
                      <a:pt x="6" y="8"/>
                      <a:pt x="6" y="9"/>
                      <a:pt x="6" y="10"/>
                    </a:cubicBezTo>
                    <a:cubicBezTo>
                      <a:pt x="6" y="25"/>
                      <a:pt x="6" y="25"/>
                      <a:pt x="6" y="25"/>
                    </a:cubicBezTo>
                    <a:cubicBezTo>
                      <a:pt x="0" y="25"/>
                      <a:pt x="0" y="25"/>
                      <a:pt x="0" y="25"/>
                    </a:cubicBezTo>
                    <a:cubicBezTo>
                      <a:pt x="0" y="0"/>
                      <a:pt x="0" y="0"/>
                      <a:pt x="0" y="0"/>
                    </a:cubicBezTo>
                    <a:cubicBezTo>
                      <a:pt x="6" y="0"/>
                      <a:pt x="6" y="0"/>
                      <a:pt x="6" y="0"/>
                    </a:cubicBezTo>
                    <a:cubicBezTo>
                      <a:pt x="6" y="3"/>
                      <a:pt x="6" y="3"/>
                      <a:pt x="6" y="3"/>
                    </a:cubicBezTo>
                    <a:cubicBezTo>
                      <a:pt x="7" y="1"/>
                      <a:pt x="9" y="0"/>
                      <a:pt x="12" y="0"/>
                    </a:cubicBezTo>
                    <a:cubicBezTo>
                      <a:pt x="14" y="0"/>
                      <a:pt x="16" y="1"/>
                      <a:pt x="18" y="3"/>
                    </a:cubicBezTo>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 name="Freeform 22"/>
              <p:cNvSpPr>
                <a:spLocks noEditPoints="1"/>
              </p:cNvSpPr>
              <p:nvPr/>
            </p:nvSpPr>
            <p:spPr bwMode="auto">
              <a:xfrm>
                <a:off x="5821363" y="3630613"/>
                <a:ext cx="22225" cy="125413"/>
              </a:xfrm>
              <a:custGeom>
                <a:avLst/>
                <a:gdLst>
                  <a:gd name="T0" fmla="*/ 35282188 w 14"/>
                  <a:gd name="T1" fmla="*/ 25201663 h 79"/>
                  <a:gd name="T2" fmla="*/ 0 w 14"/>
                  <a:gd name="T3" fmla="*/ 25201663 h 79"/>
                  <a:gd name="T4" fmla="*/ 0 w 14"/>
                  <a:gd name="T5" fmla="*/ 0 h 79"/>
                  <a:gd name="T6" fmla="*/ 35282188 w 14"/>
                  <a:gd name="T7" fmla="*/ 0 h 79"/>
                  <a:gd name="T8" fmla="*/ 35282188 w 14"/>
                  <a:gd name="T9" fmla="*/ 25201663 h 79"/>
                  <a:gd name="T10" fmla="*/ 35282188 w 14"/>
                  <a:gd name="T11" fmla="*/ 199093931 h 79"/>
                  <a:gd name="T12" fmla="*/ 0 w 14"/>
                  <a:gd name="T13" fmla="*/ 199093931 h 79"/>
                  <a:gd name="T14" fmla="*/ 0 w 14"/>
                  <a:gd name="T15" fmla="*/ 47883953 h 79"/>
                  <a:gd name="T16" fmla="*/ 35282188 w 14"/>
                  <a:gd name="T17" fmla="*/ 47883953 h 79"/>
                  <a:gd name="T18" fmla="*/ 35282188 w 14"/>
                  <a:gd name="T19" fmla="*/ 199093931 h 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79">
                    <a:moveTo>
                      <a:pt x="14" y="10"/>
                    </a:moveTo>
                    <a:lnTo>
                      <a:pt x="0" y="10"/>
                    </a:lnTo>
                    <a:lnTo>
                      <a:pt x="0" y="0"/>
                    </a:lnTo>
                    <a:lnTo>
                      <a:pt x="14" y="0"/>
                    </a:lnTo>
                    <a:lnTo>
                      <a:pt x="14" y="10"/>
                    </a:lnTo>
                    <a:close/>
                    <a:moveTo>
                      <a:pt x="14" y="79"/>
                    </a:moveTo>
                    <a:lnTo>
                      <a:pt x="0" y="79"/>
                    </a:lnTo>
                    <a:lnTo>
                      <a:pt x="0" y="19"/>
                    </a:lnTo>
                    <a:lnTo>
                      <a:pt x="14" y="19"/>
                    </a:lnTo>
                    <a:lnTo>
                      <a:pt x="14"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 name="Freeform 23"/>
              <p:cNvSpPr>
                <a:spLocks/>
              </p:cNvSpPr>
              <p:nvPr/>
            </p:nvSpPr>
            <p:spPr bwMode="auto">
              <a:xfrm>
                <a:off x="5897563" y="3630613"/>
                <a:ext cx="74613" cy="125413"/>
              </a:xfrm>
              <a:custGeom>
                <a:avLst/>
                <a:gdLst>
                  <a:gd name="T0" fmla="*/ 278354988 w 20"/>
                  <a:gd name="T1" fmla="*/ 317747137 h 33"/>
                  <a:gd name="T2" fmla="*/ 236601554 w 20"/>
                  <a:gd name="T3" fmla="*/ 433290514 h 33"/>
                  <a:gd name="T4" fmla="*/ 125260304 w 20"/>
                  <a:gd name="T5" fmla="*/ 476618805 h 33"/>
                  <a:gd name="T6" fmla="*/ 0 w 20"/>
                  <a:gd name="T7" fmla="*/ 418845216 h 33"/>
                  <a:gd name="T8" fmla="*/ 69587814 w 20"/>
                  <a:gd name="T9" fmla="*/ 361075428 h 33"/>
                  <a:gd name="T10" fmla="*/ 125260304 w 20"/>
                  <a:gd name="T11" fmla="*/ 389962223 h 33"/>
                  <a:gd name="T12" fmla="*/ 194848119 w 20"/>
                  <a:gd name="T13" fmla="*/ 317747137 h 33"/>
                  <a:gd name="T14" fmla="*/ 194848119 w 20"/>
                  <a:gd name="T15" fmla="*/ 0 h 33"/>
                  <a:gd name="T16" fmla="*/ 278354988 w 20"/>
                  <a:gd name="T17" fmla="*/ 0 h 33"/>
                  <a:gd name="T18" fmla="*/ 278354988 w 20"/>
                  <a:gd name="T19" fmla="*/ 317747137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33">
                    <a:moveTo>
                      <a:pt x="20" y="22"/>
                    </a:moveTo>
                    <a:cubicBezTo>
                      <a:pt x="20" y="25"/>
                      <a:pt x="19" y="28"/>
                      <a:pt x="17" y="30"/>
                    </a:cubicBezTo>
                    <a:cubicBezTo>
                      <a:pt x="15" y="32"/>
                      <a:pt x="12" y="33"/>
                      <a:pt x="9" y="33"/>
                    </a:cubicBezTo>
                    <a:cubicBezTo>
                      <a:pt x="5" y="33"/>
                      <a:pt x="3" y="32"/>
                      <a:pt x="0" y="29"/>
                    </a:cubicBezTo>
                    <a:cubicBezTo>
                      <a:pt x="5" y="25"/>
                      <a:pt x="5" y="25"/>
                      <a:pt x="5" y="25"/>
                    </a:cubicBezTo>
                    <a:cubicBezTo>
                      <a:pt x="6" y="27"/>
                      <a:pt x="7" y="27"/>
                      <a:pt x="9" y="27"/>
                    </a:cubicBezTo>
                    <a:cubicBezTo>
                      <a:pt x="12" y="27"/>
                      <a:pt x="14" y="25"/>
                      <a:pt x="14" y="22"/>
                    </a:cubicBezTo>
                    <a:cubicBezTo>
                      <a:pt x="14" y="0"/>
                      <a:pt x="14" y="0"/>
                      <a:pt x="14" y="0"/>
                    </a:cubicBezTo>
                    <a:cubicBezTo>
                      <a:pt x="20" y="0"/>
                      <a:pt x="20" y="0"/>
                      <a:pt x="20" y="0"/>
                    </a:cubicBezTo>
                    <a:lnTo>
                      <a:pt x="20" y="2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 name="Freeform 24"/>
              <p:cNvSpPr>
                <a:spLocks noEditPoints="1"/>
              </p:cNvSpPr>
              <p:nvPr/>
            </p:nvSpPr>
            <p:spPr bwMode="auto">
              <a:xfrm>
                <a:off x="5994400" y="3660776"/>
                <a:ext cx="79375" cy="95250"/>
              </a:xfrm>
              <a:custGeom>
                <a:avLst/>
                <a:gdLst>
                  <a:gd name="T0" fmla="*/ 85721220 w 21"/>
                  <a:gd name="T1" fmla="*/ 145161000 h 25"/>
                  <a:gd name="T2" fmla="*/ 85721220 w 21"/>
                  <a:gd name="T3" fmla="*/ 116128800 h 25"/>
                  <a:gd name="T4" fmla="*/ 142867440 w 21"/>
                  <a:gd name="T5" fmla="*/ 72580500 h 25"/>
                  <a:gd name="T6" fmla="*/ 200013661 w 21"/>
                  <a:gd name="T7" fmla="*/ 116128800 h 25"/>
                  <a:gd name="T8" fmla="*/ 214297381 w 21"/>
                  <a:gd name="T9" fmla="*/ 145161000 h 25"/>
                  <a:gd name="T10" fmla="*/ 85721220 w 21"/>
                  <a:gd name="T11" fmla="*/ 145161000 h 25"/>
                  <a:gd name="T12" fmla="*/ 300018601 w 21"/>
                  <a:gd name="T13" fmla="*/ 174193200 h 25"/>
                  <a:gd name="T14" fmla="*/ 257159881 w 21"/>
                  <a:gd name="T15" fmla="*/ 58064400 h 25"/>
                  <a:gd name="T16" fmla="*/ 142867440 w 21"/>
                  <a:gd name="T17" fmla="*/ 0 h 25"/>
                  <a:gd name="T18" fmla="*/ 42858720 w 21"/>
                  <a:gd name="T19" fmla="*/ 43548300 h 25"/>
                  <a:gd name="T20" fmla="*/ 0 w 21"/>
                  <a:gd name="T21" fmla="*/ 188709300 h 25"/>
                  <a:gd name="T22" fmla="*/ 157151161 w 21"/>
                  <a:gd name="T23" fmla="*/ 362902500 h 25"/>
                  <a:gd name="T24" fmla="*/ 228584881 w 21"/>
                  <a:gd name="T25" fmla="*/ 348386400 h 25"/>
                  <a:gd name="T26" fmla="*/ 285731101 w 21"/>
                  <a:gd name="T27" fmla="*/ 304838100 h 25"/>
                  <a:gd name="T28" fmla="*/ 228584881 w 21"/>
                  <a:gd name="T29" fmla="*/ 261289800 h 25"/>
                  <a:gd name="T30" fmla="*/ 157151161 w 21"/>
                  <a:gd name="T31" fmla="*/ 290322000 h 25"/>
                  <a:gd name="T32" fmla="*/ 100004940 w 21"/>
                  <a:gd name="T33" fmla="*/ 261289800 h 25"/>
                  <a:gd name="T34" fmla="*/ 85721220 w 21"/>
                  <a:gd name="T35" fmla="*/ 203225400 h 25"/>
                  <a:gd name="T36" fmla="*/ 300018601 w 21"/>
                  <a:gd name="T37" fmla="*/ 203225400 h 25"/>
                  <a:gd name="T38" fmla="*/ 300018601 w 21"/>
                  <a:gd name="T39" fmla="*/ 17419320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6" y="8"/>
                    </a:cubicBezTo>
                    <a:cubicBezTo>
                      <a:pt x="7" y="6"/>
                      <a:pt x="8" y="5"/>
                      <a:pt x="10" y="5"/>
                    </a:cubicBezTo>
                    <a:cubicBezTo>
                      <a:pt x="12" y="5"/>
                      <a:pt x="14" y="6"/>
                      <a:pt x="14" y="8"/>
                    </a:cubicBezTo>
                    <a:cubicBezTo>
                      <a:pt x="15" y="8"/>
                      <a:pt x="15" y="9"/>
                      <a:pt x="15" y="10"/>
                    </a:cubicBezTo>
                    <a:lnTo>
                      <a:pt x="6" y="10"/>
                    </a:lnTo>
                    <a:close/>
                    <a:moveTo>
                      <a:pt x="21" y="12"/>
                    </a:moveTo>
                    <a:cubicBezTo>
                      <a:pt x="21" y="8"/>
                      <a:pt x="20" y="6"/>
                      <a:pt x="18" y="4"/>
                    </a:cubicBezTo>
                    <a:cubicBezTo>
                      <a:pt x="16" y="1"/>
                      <a:pt x="14" y="0"/>
                      <a:pt x="10" y="0"/>
                    </a:cubicBezTo>
                    <a:cubicBezTo>
                      <a:pt x="7" y="0"/>
                      <a:pt x="5" y="1"/>
                      <a:pt x="3" y="3"/>
                    </a:cubicBezTo>
                    <a:cubicBezTo>
                      <a:pt x="1" y="6"/>
                      <a:pt x="0" y="9"/>
                      <a:pt x="0" y="13"/>
                    </a:cubicBezTo>
                    <a:cubicBezTo>
                      <a:pt x="0" y="21"/>
                      <a:pt x="4" y="25"/>
                      <a:pt x="11" y="25"/>
                    </a:cubicBezTo>
                    <a:cubicBezTo>
                      <a:pt x="13" y="25"/>
                      <a:pt x="15" y="25"/>
                      <a:pt x="16" y="24"/>
                    </a:cubicBezTo>
                    <a:cubicBezTo>
                      <a:pt x="18" y="23"/>
                      <a:pt x="19" y="22"/>
                      <a:pt x="20" y="21"/>
                    </a:cubicBezTo>
                    <a:cubicBezTo>
                      <a:pt x="16" y="18"/>
                      <a:pt x="16" y="18"/>
                      <a:pt x="16" y="18"/>
                    </a:cubicBezTo>
                    <a:cubicBezTo>
                      <a:pt x="15" y="19"/>
                      <a:pt x="13" y="20"/>
                      <a:pt x="11" y="20"/>
                    </a:cubicBezTo>
                    <a:cubicBezTo>
                      <a:pt x="9" y="20"/>
                      <a:pt x="8" y="19"/>
                      <a:pt x="7" y="18"/>
                    </a:cubicBezTo>
                    <a:cubicBezTo>
                      <a:pt x="6"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 name="Freeform 25"/>
              <p:cNvSpPr>
                <a:spLocks noEditPoints="1"/>
              </p:cNvSpPr>
              <p:nvPr/>
            </p:nvSpPr>
            <p:spPr bwMode="auto">
              <a:xfrm>
                <a:off x="6089650" y="3660776"/>
                <a:ext cx="77788" cy="95250"/>
              </a:xfrm>
              <a:custGeom>
                <a:avLst/>
                <a:gdLst>
                  <a:gd name="T0" fmla="*/ 82325633 w 21"/>
                  <a:gd name="T1" fmla="*/ 145161000 h 25"/>
                  <a:gd name="T2" fmla="*/ 96045955 w 21"/>
                  <a:gd name="T3" fmla="*/ 116128800 h 25"/>
                  <a:gd name="T4" fmla="*/ 150930945 w 21"/>
                  <a:gd name="T5" fmla="*/ 72580500 h 25"/>
                  <a:gd name="T6" fmla="*/ 205815935 w 21"/>
                  <a:gd name="T7" fmla="*/ 116128800 h 25"/>
                  <a:gd name="T8" fmla="*/ 205815935 w 21"/>
                  <a:gd name="T9" fmla="*/ 145161000 h 25"/>
                  <a:gd name="T10" fmla="*/ 82325633 w 21"/>
                  <a:gd name="T11" fmla="*/ 145161000 h 25"/>
                  <a:gd name="T12" fmla="*/ 288141569 w 21"/>
                  <a:gd name="T13" fmla="*/ 174193200 h 25"/>
                  <a:gd name="T14" fmla="*/ 246976900 w 21"/>
                  <a:gd name="T15" fmla="*/ 58064400 h 25"/>
                  <a:gd name="T16" fmla="*/ 150930945 w 21"/>
                  <a:gd name="T17" fmla="*/ 0 h 25"/>
                  <a:gd name="T18" fmla="*/ 41164669 w 21"/>
                  <a:gd name="T19" fmla="*/ 43548300 h 25"/>
                  <a:gd name="T20" fmla="*/ 0 w 21"/>
                  <a:gd name="T21" fmla="*/ 188709300 h 25"/>
                  <a:gd name="T22" fmla="*/ 150930945 w 21"/>
                  <a:gd name="T23" fmla="*/ 362902500 h 25"/>
                  <a:gd name="T24" fmla="*/ 233256578 w 21"/>
                  <a:gd name="T25" fmla="*/ 348386400 h 25"/>
                  <a:gd name="T26" fmla="*/ 274421247 w 21"/>
                  <a:gd name="T27" fmla="*/ 304838100 h 25"/>
                  <a:gd name="T28" fmla="*/ 233256578 w 21"/>
                  <a:gd name="T29" fmla="*/ 261289800 h 25"/>
                  <a:gd name="T30" fmla="*/ 150930945 w 21"/>
                  <a:gd name="T31" fmla="*/ 290322000 h 25"/>
                  <a:gd name="T32" fmla="*/ 96045955 w 21"/>
                  <a:gd name="T33" fmla="*/ 261289800 h 25"/>
                  <a:gd name="T34" fmla="*/ 82325633 w 21"/>
                  <a:gd name="T35" fmla="*/ 203225400 h 25"/>
                  <a:gd name="T36" fmla="*/ 288141569 w 21"/>
                  <a:gd name="T37" fmla="*/ 203225400 h 25"/>
                  <a:gd name="T38" fmla="*/ 288141569 w 21"/>
                  <a:gd name="T39" fmla="*/ 17419320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7" y="8"/>
                    </a:cubicBezTo>
                    <a:cubicBezTo>
                      <a:pt x="7" y="6"/>
                      <a:pt x="9" y="5"/>
                      <a:pt x="11" y="5"/>
                    </a:cubicBezTo>
                    <a:cubicBezTo>
                      <a:pt x="13" y="5"/>
                      <a:pt x="14" y="6"/>
                      <a:pt x="15" y="8"/>
                    </a:cubicBezTo>
                    <a:cubicBezTo>
                      <a:pt x="15" y="8"/>
                      <a:pt x="15" y="9"/>
                      <a:pt x="15" y="10"/>
                    </a:cubicBezTo>
                    <a:lnTo>
                      <a:pt x="6" y="10"/>
                    </a:lnTo>
                    <a:close/>
                    <a:moveTo>
                      <a:pt x="21" y="12"/>
                    </a:moveTo>
                    <a:cubicBezTo>
                      <a:pt x="21" y="8"/>
                      <a:pt x="20" y="6"/>
                      <a:pt x="18" y="4"/>
                    </a:cubicBezTo>
                    <a:cubicBezTo>
                      <a:pt x="17" y="1"/>
                      <a:pt x="14" y="0"/>
                      <a:pt x="11" y="0"/>
                    </a:cubicBezTo>
                    <a:cubicBezTo>
                      <a:pt x="8" y="0"/>
                      <a:pt x="5" y="1"/>
                      <a:pt x="3" y="3"/>
                    </a:cubicBezTo>
                    <a:cubicBezTo>
                      <a:pt x="1" y="6"/>
                      <a:pt x="0" y="9"/>
                      <a:pt x="0" y="13"/>
                    </a:cubicBezTo>
                    <a:cubicBezTo>
                      <a:pt x="0" y="21"/>
                      <a:pt x="4" y="25"/>
                      <a:pt x="11" y="25"/>
                    </a:cubicBezTo>
                    <a:cubicBezTo>
                      <a:pt x="13" y="25"/>
                      <a:pt x="15" y="25"/>
                      <a:pt x="17" y="24"/>
                    </a:cubicBezTo>
                    <a:cubicBezTo>
                      <a:pt x="18" y="23"/>
                      <a:pt x="19" y="22"/>
                      <a:pt x="20" y="21"/>
                    </a:cubicBezTo>
                    <a:cubicBezTo>
                      <a:pt x="17" y="18"/>
                      <a:pt x="17" y="18"/>
                      <a:pt x="17" y="18"/>
                    </a:cubicBezTo>
                    <a:cubicBezTo>
                      <a:pt x="15" y="19"/>
                      <a:pt x="13" y="20"/>
                      <a:pt x="11" y="20"/>
                    </a:cubicBezTo>
                    <a:cubicBezTo>
                      <a:pt x="10" y="20"/>
                      <a:pt x="8" y="19"/>
                      <a:pt x="7" y="18"/>
                    </a:cubicBezTo>
                    <a:cubicBezTo>
                      <a:pt x="7"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 name="Freeform 26"/>
              <p:cNvSpPr>
                <a:spLocks/>
              </p:cNvSpPr>
              <p:nvPr/>
            </p:nvSpPr>
            <p:spPr bwMode="auto">
              <a:xfrm>
                <a:off x="6183313" y="3638551"/>
                <a:ext cx="49213" cy="117475"/>
              </a:xfrm>
              <a:custGeom>
                <a:avLst/>
                <a:gdLst>
                  <a:gd name="T0" fmla="*/ 186301490 w 13"/>
                  <a:gd name="T1" fmla="*/ 445173407 h 31"/>
                  <a:gd name="T2" fmla="*/ 128979702 w 13"/>
                  <a:gd name="T3" fmla="*/ 445173407 h 31"/>
                  <a:gd name="T4" fmla="*/ 57321788 w 13"/>
                  <a:gd name="T5" fmla="*/ 402090398 h 31"/>
                  <a:gd name="T6" fmla="*/ 28660894 w 13"/>
                  <a:gd name="T7" fmla="*/ 344648913 h 31"/>
                  <a:gd name="T8" fmla="*/ 28660894 w 13"/>
                  <a:gd name="T9" fmla="*/ 172324456 h 31"/>
                  <a:gd name="T10" fmla="*/ 0 w 13"/>
                  <a:gd name="T11" fmla="*/ 172324456 h 31"/>
                  <a:gd name="T12" fmla="*/ 0 w 13"/>
                  <a:gd name="T13" fmla="*/ 100524494 h 31"/>
                  <a:gd name="T14" fmla="*/ 28660894 w 13"/>
                  <a:gd name="T15" fmla="*/ 100524494 h 31"/>
                  <a:gd name="T16" fmla="*/ 28660894 w 13"/>
                  <a:gd name="T17" fmla="*/ 0 h 31"/>
                  <a:gd name="T18" fmla="*/ 114647362 w 13"/>
                  <a:gd name="T19" fmla="*/ 0 h 31"/>
                  <a:gd name="T20" fmla="*/ 114647362 w 13"/>
                  <a:gd name="T21" fmla="*/ 100524494 h 31"/>
                  <a:gd name="T22" fmla="*/ 186301490 w 13"/>
                  <a:gd name="T23" fmla="*/ 100524494 h 31"/>
                  <a:gd name="T24" fmla="*/ 186301490 w 13"/>
                  <a:gd name="T25" fmla="*/ 172324456 h 31"/>
                  <a:gd name="T26" fmla="*/ 114647362 w 13"/>
                  <a:gd name="T27" fmla="*/ 172324456 h 31"/>
                  <a:gd name="T28" fmla="*/ 114647362 w 13"/>
                  <a:gd name="T29" fmla="*/ 330290436 h 31"/>
                  <a:gd name="T30" fmla="*/ 143308256 w 13"/>
                  <a:gd name="T31" fmla="*/ 359011179 h 31"/>
                  <a:gd name="T32" fmla="*/ 186301490 w 13"/>
                  <a:gd name="T33" fmla="*/ 359011179 h 31"/>
                  <a:gd name="T34" fmla="*/ 186301490 w 13"/>
                  <a:gd name="T35" fmla="*/ 445173407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31">
                    <a:moveTo>
                      <a:pt x="13" y="31"/>
                    </a:moveTo>
                    <a:cubicBezTo>
                      <a:pt x="9" y="31"/>
                      <a:pt x="9" y="31"/>
                      <a:pt x="9" y="31"/>
                    </a:cubicBezTo>
                    <a:cubicBezTo>
                      <a:pt x="7" y="31"/>
                      <a:pt x="5" y="30"/>
                      <a:pt x="4" y="28"/>
                    </a:cubicBezTo>
                    <a:cubicBezTo>
                      <a:pt x="3" y="27"/>
                      <a:pt x="2" y="26"/>
                      <a:pt x="2" y="24"/>
                    </a:cubicBezTo>
                    <a:cubicBezTo>
                      <a:pt x="2" y="12"/>
                      <a:pt x="2" y="12"/>
                      <a:pt x="2" y="12"/>
                    </a:cubicBezTo>
                    <a:cubicBezTo>
                      <a:pt x="0" y="12"/>
                      <a:pt x="0" y="12"/>
                      <a:pt x="0" y="12"/>
                    </a:cubicBezTo>
                    <a:cubicBezTo>
                      <a:pt x="0" y="7"/>
                      <a:pt x="0" y="7"/>
                      <a:pt x="0" y="7"/>
                    </a:cubicBezTo>
                    <a:cubicBezTo>
                      <a:pt x="2" y="7"/>
                      <a:pt x="2" y="7"/>
                      <a:pt x="2" y="7"/>
                    </a:cubicBezTo>
                    <a:cubicBezTo>
                      <a:pt x="2" y="0"/>
                      <a:pt x="2" y="0"/>
                      <a:pt x="2" y="0"/>
                    </a:cubicBezTo>
                    <a:cubicBezTo>
                      <a:pt x="8" y="0"/>
                      <a:pt x="8" y="0"/>
                      <a:pt x="8" y="0"/>
                    </a:cubicBezTo>
                    <a:cubicBezTo>
                      <a:pt x="8" y="7"/>
                      <a:pt x="8" y="7"/>
                      <a:pt x="8" y="7"/>
                    </a:cubicBezTo>
                    <a:cubicBezTo>
                      <a:pt x="13" y="7"/>
                      <a:pt x="13" y="7"/>
                      <a:pt x="13" y="7"/>
                    </a:cubicBezTo>
                    <a:cubicBezTo>
                      <a:pt x="13" y="12"/>
                      <a:pt x="13" y="12"/>
                      <a:pt x="13" y="12"/>
                    </a:cubicBezTo>
                    <a:cubicBezTo>
                      <a:pt x="8" y="12"/>
                      <a:pt x="8" y="12"/>
                      <a:pt x="8" y="12"/>
                    </a:cubicBezTo>
                    <a:cubicBezTo>
                      <a:pt x="8" y="23"/>
                      <a:pt x="8" y="23"/>
                      <a:pt x="8" y="23"/>
                    </a:cubicBezTo>
                    <a:cubicBezTo>
                      <a:pt x="8" y="25"/>
                      <a:pt x="9" y="25"/>
                      <a:pt x="10" y="25"/>
                    </a:cubicBezTo>
                    <a:cubicBezTo>
                      <a:pt x="13" y="25"/>
                      <a:pt x="13" y="25"/>
                      <a:pt x="13" y="25"/>
                    </a:cubicBezTo>
                    <a:lnTo>
                      <a:pt x="13" y="31"/>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 name="Rectangle 27"/>
              <p:cNvSpPr>
                <a:spLocks noChangeArrowheads="1"/>
              </p:cNvSpPr>
              <p:nvPr/>
            </p:nvSpPr>
            <p:spPr bwMode="auto">
              <a:xfrm>
                <a:off x="6250488" y="3729395"/>
                <a:ext cx="26488" cy="26504"/>
              </a:xfrm>
              <a:prstGeom prst="rect">
                <a:avLst/>
              </a:prstGeom>
              <a:solidFill>
                <a:srgbClr val="2B252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4" name="Group 9"/>
            <p:cNvGrpSpPr>
              <a:grpSpLocks/>
            </p:cNvGrpSpPr>
            <p:nvPr/>
          </p:nvGrpSpPr>
          <p:grpSpPr bwMode="auto">
            <a:xfrm>
              <a:off x="2863850" y="3078163"/>
              <a:ext cx="3413126" cy="552450"/>
              <a:chOff x="2863850" y="3078163"/>
              <a:chExt cx="3413126" cy="552450"/>
            </a:xfrm>
          </p:grpSpPr>
          <p:sp>
            <p:nvSpPr>
              <p:cNvPr id="5" name="Freeform 28"/>
              <p:cNvSpPr>
                <a:spLocks/>
              </p:cNvSpPr>
              <p:nvPr/>
            </p:nvSpPr>
            <p:spPr bwMode="auto">
              <a:xfrm>
                <a:off x="4772025" y="3273426"/>
                <a:ext cx="157163" cy="158750"/>
              </a:xfrm>
              <a:custGeom>
                <a:avLst/>
                <a:gdLst>
                  <a:gd name="T0" fmla="*/ 182032174 w 42"/>
                  <a:gd name="T1" fmla="*/ 457169762 h 42"/>
                  <a:gd name="T2" fmla="*/ 588100204 w 42"/>
                  <a:gd name="T3" fmla="*/ 457169762 h 42"/>
                  <a:gd name="T4" fmla="*/ 588100204 w 42"/>
                  <a:gd name="T5" fmla="*/ 600037202 h 42"/>
                  <a:gd name="T6" fmla="*/ 0 w 42"/>
                  <a:gd name="T7" fmla="*/ 600037202 h 42"/>
                  <a:gd name="T8" fmla="*/ 0 w 42"/>
                  <a:gd name="T9" fmla="*/ 0 h 42"/>
                  <a:gd name="T10" fmla="*/ 56009900 w 42"/>
                  <a:gd name="T11" fmla="*/ 0 h 42"/>
                  <a:gd name="T12" fmla="*/ 182032174 w 42"/>
                  <a:gd name="T13" fmla="*/ 100004940 h 42"/>
                  <a:gd name="T14" fmla="*/ 182032174 w 42"/>
                  <a:gd name="T15" fmla="*/ 457169762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2">
                    <a:moveTo>
                      <a:pt x="13" y="32"/>
                    </a:moveTo>
                    <a:cubicBezTo>
                      <a:pt x="42" y="32"/>
                      <a:pt x="42" y="32"/>
                      <a:pt x="42" y="32"/>
                    </a:cubicBezTo>
                    <a:cubicBezTo>
                      <a:pt x="42" y="42"/>
                      <a:pt x="42" y="42"/>
                      <a:pt x="42" y="42"/>
                    </a:cubicBezTo>
                    <a:cubicBezTo>
                      <a:pt x="0" y="42"/>
                      <a:pt x="0" y="42"/>
                      <a:pt x="0" y="42"/>
                    </a:cubicBezTo>
                    <a:cubicBezTo>
                      <a:pt x="0" y="0"/>
                      <a:pt x="0" y="0"/>
                      <a:pt x="0" y="0"/>
                    </a:cubicBezTo>
                    <a:cubicBezTo>
                      <a:pt x="4" y="0"/>
                      <a:pt x="4" y="0"/>
                      <a:pt x="4" y="0"/>
                    </a:cubicBezTo>
                    <a:cubicBezTo>
                      <a:pt x="10" y="0"/>
                      <a:pt x="13" y="2"/>
                      <a:pt x="13" y="7"/>
                    </a:cubicBezTo>
                    <a:lnTo>
                      <a:pt x="13" y="3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 name="Freeform 29"/>
              <p:cNvSpPr>
                <a:spLocks/>
              </p:cNvSpPr>
              <p:nvPr/>
            </p:nvSpPr>
            <p:spPr bwMode="auto">
              <a:xfrm>
                <a:off x="4462463" y="3273426"/>
                <a:ext cx="211138" cy="158750"/>
              </a:xfrm>
              <a:custGeom>
                <a:avLst/>
                <a:gdLst>
                  <a:gd name="T0" fmla="*/ 184798535 w 56"/>
                  <a:gd name="T1" fmla="*/ 228584881 h 42"/>
                  <a:gd name="T2" fmla="*/ 255876634 w 56"/>
                  <a:gd name="T3" fmla="*/ 228584881 h 42"/>
                  <a:gd name="T4" fmla="*/ 440675169 w 56"/>
                  <a:gd name="T5" fmla="*/ 57146220 h 42"/>
                  <a:gd name="T6" fmla="*/ 611259591 w 56"/>
                  <a:gd name="T7" fmla="*/ 0 h 42"/>
                  <a:gd name="T8" fmla="*/ 753412020 w 56"/>
                  <a:gd name="T9" fmla="*/ 0 h 42"/>
                  <a:gd name="T10" fmla="*/ 426461057 w 56"/>
                  <a:gd name="T11" fmla="*/ 300018601 h 42"/>
                  <a:gd name="T12" fmla="*/ 796058126 w 56"/>
                  <a:gd name="T13" fmla="*/ 600037202 h 42"/>
                  <a:gd name="T14" fmla="*/ 653905697 w 56"/>
                  <a:gd name="T15" fmla="*/ 600037202 h 42"/>
                  <a:gd name="T16" fmla="*/ 469107162 w 56"/>
                  <a:gd name="T17" fmla="*/ 542890982 h 42"/>
                  <a:gd name="T18" fmla="*/ 255876634 w 56"/>
                  <a:gd name="T19" fmla="*/ 371452321 h 42"/>
                  <a:gd name="T20" fmla="*/ 184798535 w 56"/>
                  <a:gd name="T21" fmla="*/ 371452321 h 42"/>
                  <a:gd name="T22" fmla="*/ 184798535 w 56"/>
                  <a:gd name="T23" fmla="*/ 600037202 h 42"/>
                  <a:gd name="T24" fmla="*/ 0 w 56"/>
                  <a:gd name="T25" fmla="*/ 600037202 h 42"/>
                  <a:gd name="T26" fmla="*/ 0 w 56"/>
                  <a:gd name="T27" fmla="*/ 0 h 42"/>
                  <a:gd name="T28" fmla="*/ 184798535 w 56"/>
                  <a:gd name="T29" fmla="*/ 0 h 42"/>
                  <a:gd name="T30" fmla="*/ 184798535 w 56"/>
                  <a:gd name="T31" fmla="*/ 228584881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6" h="42">
                    <a:moveTo>
                      <a:pt x="13" y="16"/>
                    </a:moveTo>
                    <a:cubicBezTo>
                      <a:pt x="18" y="16"/>
                      <a:pt x="18" y="16"/>
                      <a:pt x="18" y="16"/>
                    </a:cubicBezTo>
                    <a:cubicBezTo>
                      <a:pt x="23" y="12"/>
                      <a:pt x="27" y="8"/>
                      <a:pt x="31" y="4"/>
                    </a:cubicBezTo>
                    <a:cubicBezTo>
                      <a:pt x="35" y="1"/>
                      <a:pt x="39" y="0"/>
                      <a:pt x="43" y="0"/>
                    </a:cubicBezTo>
                    <a:cubicBezTo>
                      <a:pt x="53" y="0"/>
                      <a:pt x="53" y="0"/>
                      <a:pt x="53" y="0"/>
                    </a:cubicBezTo>
                    <a:cubicBezTo>
                      <a:pt x="30" y="21"/>
                      <a:pt x="30" y="21"/>
                      <a:pt x="30" y="21"/>
                    </a:cubicBezTo>
                    <a:cubicBezTo>
                      <a:pt x="56" y="42"/>
                      <a:pt x="56" y="42"/>
                      <a:pt x="56" y="42"/>
                    </a:cubicBezTo>
                    <a:cubicBezTo>
                      <a:pt x="46" y="42"/>
                      <a:pt x="46" y="42"/>
                      <a:pt x="46" y="42"/>
                    </a:cubicBezTo>
                    <a:cubicBezTo>
                      <a:pt x="40" y="42"/>
                      <a:pt x="37" y="42"/>
                      <a:pt x="33" y="38"/>
                    </a:cubicBezTo>
                    <a:cubicBezTo>
                      <a:pt x="18" y="26"/>
                      <a:pt x="18" y="26"/>
                      <a:pt x="18" y="26"/>
                    </a:cubicBezTo>
                    <a:cubicBezTo>
                      <a:pt x="13" y="26"/>
                      <a:pt x="13" y="26"/>
                      <a:pt x="13" y="26"/>
                    </a:cubicBezTo>
                    <a:cubicBezTo>
                      <a:pt x="13" y="42"/>
                      <a:pt x="13" y="42"/>
                      <a:pt x="13" y="42"/>
                    </a:cubicBezTo>
                    <a:cubicBezTo>
                      <a:pt x="0" y="42"/>
                      <a:pt x="0" y="42"/>
                      <a:pt x="0" y="42"/>
                    </a:cubicBezTo>
                    <a:cubicBezTo>
                      <a:pt x="0" y="0"/>
                      <a:pt x="0" y="0"/>
                      <a:pt x="0" y="0"/>
                    </a:cubicBezTo>
                    <a:cubicBezTo>
                      <a:pt x="13" y="0"/>
                      <a:pt x="13" y="0"/>
                      <a:pt x="13" y="0"/>
                    </a:cubicBezTo>
                    <a:lnTo>
                      <a:pt x="13" y="16"/>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7" name="Freeform 30"/>
              <p:cNvSpPr>
                <a:spLocks/>
              </p:cNvSpPr>
              <p:nvPr/>
            </p:nvSpPr>
            <p:spPr bwMode="auto">
              <a:xfrm>
                <a:off x="3984625" y="3273426"/>
                <a:ext cx="203200" cy="158750"/>
              </a:xfrm>
              <a:custGeom>
                <a:avLst/>
                <a:gdLst>
                  <a:gd name="T0" fmla="*/ 184080385 w 54"/>
                  <a:gd name="T1" fmla="*/ 600037202 h 42"/>
                  <a:gd name="T2" fmla="*/ 0 w 54"/>
                  <a:gd name="T3" fmla="*/ 600037202 h 42"/>
                  <a:gd name="T4" fmla="*/ 0 w 54"/>
                  <a:gd name="T5" fmla="*/ 0 h 42"/>
                  <a:gd name="T6" fmla="*/ 84960178 w 54"/>
                  <a:gd name="T7" fmla="*/ 0 h 42"/>
                  <a:gd name="T8" fmla="*/ 184080385 w 54"/>
                  <a:gd name="T9" fmla="*/ 100004940 h 42"/>
                  <a:gd name="T10" fmla="*/ 184080385 w 54"/>
                  <a:gd name="T11" fmla="*/ 214297381 h 42"/>
                  <a:gd name="T12" fmla="*/ 566397422 w 54"/>
                  <a:gd name="T13" fmla="*/ 214297381 h 42"/>
                  <a:gd name="T14" fmla="*/ 566397422 w 54"/>
                  <a:gd name="T15" fmla="*/ 100004940 h 42"/>
                  <a:gd name="T16" fmla="*/ 679673896 w 54"/>
                  <a:gd name="T17" fmla="*/ 0 h 42"/>
                  <a:gd name="T18" fmla="*/ 764634074 w 54"/>
                  <a:gd name="T19" fmla="*/ 0 h 42"/>
                  <a:gd name="T20" fmla="*/ 764634074 w 54"/>
                  <a:gd name="T21" fmla="*/ 114292440 h 42"/>
                  <a:gd name="T22" fmla="*/ 764634074 w 54"/>
                  <a:gd name="T23" fmla="*/ 600037202 h 42"/>
                  <a:gd name="T24" fmla="*/ 566397422 w 54"/>
                  <a:gd name="T25" fmla="*/ 600037202 h 42"/>
                  <a:gd name="T26" fmla="*/ 566397422 w 54"/>
                  <a:gd name="T27" fmla="*/ 371452321 h 42"/>
                  <a:gd name="T28" fmla="*/ 184080385 w 54"/>
                  <a:gd name="T29" fmla="*/ 371452321 h 42"/>
                  <a:gd name="T30" fmla="*/ 184080385 w 54"/>
                  <a:gd name="T31" fmla="*/ 600037202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4" h="42">
                    <a:moveTo>
                      <a:pt x="13" y="42"/>
                    </a:moveTo>
                    <a:cubicBezTo>
                      <a:pt x="0" y="42"/>
                      <a:pt x="0" y="42"/>
                      <a:pt x="0" y="42"/>
                    </a:cubicBezTo>
                    <a:cubicBezTo>
                      <a:pt x="0" y="0"/>
                      <a:pt x="0" y="0"/>
                      <a:pt x="0" y="0"/>
                    </a:cubicBezTo>
                    <a:cubicBezTo>
                      <a:pt x="6" y="0"/>
                      <a:pt x="6" y="0"/>
                      <a:pt x="6" y="0"/>
                    </a:cubicBezTo>
                    <a:cubicBezTo>
                      <a:pt x="11" y="0"/>
                      <a:pt x="13" y="3"/>
                      <a:pt x="13" y="7"/>
                    </a:cubicBezTo>
                    <a:cubicBezTo>
                      <a:pt x="13" y="15"/>
                      <a:pt x="13" y="15"/>
                      <a:pt x="13" y="15"/>
                    </a:cubicBezTo>
                    <a:cubicBezTo>
                      <a:pt x="40" y="15"/>
                      <a:pt x="40" y="15"/>
                      <a:pt x="40" y="15"/>
                    </a:cubicBezTo>
                    <a:cubicBezTo>
                      <a:pt x="40" y="7"/>
                      <a:pt x="40" y="7"/>
                      <a:pt x="40" y="7"/>
                    </a:cubicBezTo>
                    <a:cubicBezTo>
                      <a:pt x="40" y="4"/>
                      <a:pt x="42" y="0"/>
                      <a:pt x="48" y="0"/>
                    </a:cubicBezTo>
                    <a:cubicBezTo>
                      <a:pt x="54" y="0"/>
                      <a:pt x="54" y="0"/>
                      <a:pt x="54" y="0"/>
                    </a:cubicBezTo>
                    <a:cubicBezTo>
                      <a:pt x="54" y="8"/>
                      <a:pt x="54" y="8"/>
                      <a:pt x="54" y="8"/>
                    </a:cubicBezTo>
                    <a:cubicBezTo>
                      <a:pt x="54" y="42"/>
                      <a:pt x="54" y="42"/>
                      <a:pt x="54" y="42"/>
                    </a:cubicBezTo>
                    <a:cubicBezTo>
                      <a:pt x="40" y="42"/>
                      <a:pt x="40" y="42"/>
                      <a:pt x="40" y="42"/>
                    </a:cubicBezTo>
                    <a:cubicBezTo>
                      <a:pt x="40" y="26"/>
                      <a:pt x="40" y="26"/>
                      <a:pt x="40" y="26"/>
                    </a:cubicBezTo>
                    <a:cubicBezTo>
                      <a:pt x="13" y="26"/>
                      <a:pt x="13" y="26"/>
                      <a:pt x="13" y="26"/>
                    </a:cubicBezTo>
                    <a:lnTo>
                      <a:pt x="13"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8" name="Freeform 31"/>
              <p:cNvSpPr>
                <a:spLocks/>
              </p:cNvSpPr>
              <p:nvPr/>
            </p:nvSpPr>
            <p:spPr bwMode="auto">
              <a:xfrm>
                <a:off x="4951413" y="3273426"/>
                <a:ext cx="180975" cy="158750"/>
              </a:xfrm>
              <a:custGeom>
                <a:avLst/>
                <a:gdLst>
                  <a:gd name="T0" fmla="*/ 682332305 w 48"/>
                  <a:gd name="T1" fmla="*/ 142867440 h 42"/>
                  <a:gd name="T2" fmla="*/ 199012175 w 48"/>
                  <a:gd name="T3" fmla="*/ 142867440 h 42"/>
                  <a:gd name="T4" fmla="*/ 199012175 w 48"/>
                  <a:gd name="T5" fmla="*/ 242872381 h 42"/>
                  <a:gd name="T6" fmla="*/ 682332305 w 48"/>
                  <a:gd name="T7" fmla="*/ 242872381 h 42"/>
                  <a:gd name="T8" fmla="*/ 682332305 w 48"/>
                  <a:gd name="T9" fmla="*/ 371452321 h 42"/>
                  <a:gd name="T10" fmla="*/ 199012175 w 48"/>
                  <a:gd name="T11" fmla="*/ 371452321 h 42"/>
                  <a:gd name="T12" fmla="*/ 199012175 w 48"/>
                  <a:gd name="T13" fmla="*/ 457169762 h 42"/>
                  <a:gd name="T14" fmla="*/ 682332305 w 48"/>
                  <a:gd name="T15" fmla="*/ 457169762 h 42"/>
                  <a:gd name="T16" fmla="*/ 682332305 w 48"/>
                  <a:gd name="T17" fmla="*/ 600037202 h 42"/>
                  <a:gd name="T18" fmla="*/ 0 w 48"/>
                  <a:gd name="T19" fmla="*/ 600037202 h 42"/>
                  <a:gd name="T20" fmla="*/ 0 w 48"/>
                  <a:gd name="T21" fmla="*/ 142867440 h 42"/>
                  <a:gd name="T22" fmla="*/ 156366170 w 48"/>
                  <a:gd name="T23" fmla="*/ 0 h 42"/>
                  <a:gd name="T24" fmla="*/ 682332305 w 48"/>
                  <a:gd name="T25" fmla="*/ 0 h 42"/>
                  <a:gd name="T26" fmla="*/ 682332305 w 48"/>
                  <a:gd name="T27" fmla="*/ 142867440 h 4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42">
                    <a:moveTo>
                      <a:pt x="48" y="10"/>
                    </a:moveTo>
                    <a:cubicBezTo>
                      <a:pt x="14" y="10"/>
                      <a:pt x="14" y="10"/>
                      <a:pt x="14" y="10"/>
                    </a:cubicBezTo>
                    <a:cubicBezTo>
                      <a:pt x="14" y="17"/>
                      <a:pt x="14" y="17"/>
                      <a:pt x="14" y="17"/>
                    </a:cubicBezTo>
                    <a:cubicBezTo>
                      <a:pt x="48" y="17"/>
                      <a:pt x="48" y="17"/>
                      <a:pt x="48" y="17"/>
                    </a:cubicBezTo>
                    <a:cubicBezTo>
                      <a:pt x="48" y="26"/>
                      <a:pt x="48" y="26"/>
                      <a:pt x="48" y="26"/>
                    </a:cubicBezTo>
                    <a:cubicBezTo>
                      <a:pt x="14" y="26"/>
                      <a:pt x="14" y="26"/>
                      <a:pt x="14" y="26"/>
                    </a:cubicBezTo>
                    <a:cubicBezTo>
                      <a:pt x="14" y="32"/>
                      <a:pt x="14" y="32"/>
                      <a:pt x="14" y="32"/>
                    </a:cubicBezTo>
                    <a:cubicBezTo>
                      <a:pt x="48" y="32"/>
                      <a:pt x="48" y="32"/>
                      <a:pt x="48" y="32"/>
                    </a:cubicBezTo>
                    <a:cubicBezTo>
                      <a:pt x="48" y="42"/>
                      <a:pt x="48" y="42"/>
                      <a:pt x="48" y="42"/>
                    </a:cubicBezTo>
                    <a:cubicBezTo>
                      <a:pt x="0" y="42"/>
                      <a:pt x="0" y="42"/>
                      <a:pt x="0" y="42"/>
                    </a:cubicBezTo>
                    <a:cubicBezTo>
                      <a:pt x="0" y="10"/>
                      <a:pt x="0" y="10"/>
                      <a:pt x="0" y="10"/>
                    </a:cubicBezTo>
                    <a:cubicBezTo>
                      <a:pt x="1" y="5"/>
                      <a:pt x="3" y="1"/>
                      <a:pt x="11" y="0"/>
                    </a:cubicBezTo>
                    <a:cubicBezTo>
                      <a:pt x="48" y="0"/>
                      <a:pt x="48" y="0"/>
                      <a:pt x="48" y="0"/>
                    </a:cubicBezTo>
                    <a:lnTo>
                      <a:pt x="48" y="1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9" name="Freeform 32"/>
              <p:cNvSpPr>
                <a:spLocks/>
              </p:cNvSpPr>
              <p:nvPr/>
            </p:nvSpPr>
            <p:spPr bwMode="auto">
              <a:xfrm>
                <a:off x="5143500" y="3273426"/>
                <a:ext cx="233363" cy="158750"/>
              </a:xfrm>
              <a:custGeom>
                <a:avLst/>
                <a:gdLst>
                  <a:gd name="T0" fmla="*/ 538349621 w 62"/>
                  <a:gd name="T1" fmla="*/ 600037202 h 42"/>
                  <a:gd name="T2" fmla="*/ 340009891 w 62"/>
                  <a:gd name="T3" fmla="*/ 600037202 h 42"/>
                  <a:gd name="T4" fmla="*/ 340009891 w 62"/>
                  <a:gd name="T5" fmla="*/ 385739821 h 42"/>
                  <a:gd name="T6" fmla="*/ 0 w 62"/>
                  <a:gd name="T7" fmla="*/ 0 h 42"/>
                  <a:gd name="T8" fmla="*/ 155837553 w 62"/>
                  <a:gd name="T9" fmla="*/ 0 h 42"/>
                  <a:gd name="T10" fmla="*/ 283340321 w 62"/>
                  <a:gd name="T11" fmla="*/ 57146220 h 42"/>
                  <a:gd name="T12" fmla="*/ 439181638 w 62"/>
                  <a:gd name="T13" fmla="*/ 242872381 h 42"/>
                  <a:gd name="T14" fmla="*/ 595019191 w 62"/>
                  <a:gd name="T15" fmla="*/ 57146220 h 42"/>
                  <a:gd name="T16" fmla="*/ 750856744 w 62"/>
                  <a:gd name="T17" fmla="*/ 0 h 42"/>
                  <a:gd name="T18" fmla="*/ 878359512 w 62"/>
                  <a:gd name="T19" fmla="*/ 0 h 42"/>
                  <a:gd name="T20" fmla="*/ 538349621 w 62"/>
                  <a:gd name="T21" fmla="*/ 385739821 h 42"/>
                  <a:gd name="T22" fmla="*/ 538349621 w 62"/>
                  <a:gd name="T23" fmla="*/ 600037202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2" h="42">
                    <a:moveTo>
                      <a:pt x="38" y="42"/>
                    </a:moveTo>
                    <a:cubicBezTo>
                      <a:pt x="24" y="42"/>
                      <a:pt x="24" y="42"/>
                      <a:pt x="24" y="42"/>
                    </a:cubicBezTo>
                    <a:cubicBezTo>
                      <a:pt x="24" y="27"/>
                      <a:pt x="24" y="27"/>
                      <a:pt x="24" y="27"/>
                    </a:cubicBezTo>
                    <a:cubicBezTo>
                      <a:pt x="0" y="0"/>
                      <a:pt x="0" y="0"/>
                      <a:pt x="0" y="0"/>
                    </a:cubicBezTo>
                    <a:cubicBezTo>
                      <a:pt x="11" y="0"/>
                      <a:pt x="11" y="0"/>
                      <a:pt x="11" y="0"/>
                    </a:cubicBezTo>
                    <a:cubicBezTo>
                      <a:pt x="14" y="0"/>
                      <a:pt x="17" y="1"/>
                      <a:pt x="20" y="4"/>
                    </a:cubicBezTo>
                    <a:cubicBezTo>
                      <a:pt x="31" y="17"/>
                      <a:pt x="31" y="17"/>
                      <a:pt x="31" y="17"/>
                    </a:cubicBezTo>
                    <a:cubicBezTo>
                      <a:pt x="35" y="13"/>
                      <a:pt x="38" y="9"/>
                      <a:pt x="42" y="4"/>
                    </a:cubicBezTo>
                    <a:cubicBezTo>
                      <a:pt x="44" y="2"/>
                      <a:pt x="47" y="0"/>
                      <a:pt x="53" y="0"/>
                    </a:cubicBezTo>
                    <a:cubicBezTo>
                      <a:pt x="62" y="0"/>
                      <a:pt x="62" y="0"/>
                      <a:pt x="62" y="0"/>
                    </a:cubicBezTo>
                    <a:cubicBezTo>
                      <a:pt x="38" y="27"/>
                      <a:pt x="38" y="27"/>
                      <a:pt x="38" y="27"/>
                    </a:cubicBezTo>
                    <a:lnTo>
                      <a:pt x="38"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0" name="Freeform 33"/>
              <p:cNvSpPr>
                <a:spLocks/>
              </p:cNvSpPr>
              <p:nvPr/>
            </p:nvSpPr>
            <p:spPr bwMode="auto">
              <a:xfrm>
                <a:off x="5389563" y="3273426"/>
                <a:ext cx="157163" cy="158750"/>
              </a:xfrm>
              <a:custGeom>
                <a:avLst/>
                <a:gdLst>
                  <a:gd name="T0" fmla="*/ 182032174 w 42"/>
                  <a:gd name="T1" fmla="*/ 457169762 h 42"/>
                  <a:gd name="T2" fmla="*/ 588100204 w 42"/>
                  <a:gd name="T3" fmla="*/ 457169762 h 42"/>
                  <a:gd name="T4" fmla="*/ 588100204 w 42"/>
                  <a:gd name="T5" fmla="*/ 600037202 h 42"/>
                  <a:gd name="T6" fmla="*/ 0 w 42"/>
                  <a:gd name="T7" fmla="*/ 600037202 h 42"/>
                  <a:gd name="T8" fmla="*/ 0 w 42"/>
                  <a:gd name="T9" fmla="*/ 0 h 42"/>
                  <a:gd name="T10" fmla="*/ 70012375 w 42"/>
                  <a:gd name="T11" fmla="*/ 0 h 42"/>
                  <a:gd name="T12" fmla="*/ 182032174 w 42"/>
                  <a:gd name="T13" fmla="*/ 100004940 h 42"/>
                  <a:gd name="T14" fmla="*/ 182032174 w 42"/>
                  <a:gd name="T15" fmla="*/ 457169762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2">
                    <a:moveTo>
                      <a:pt x="13" y="32"/>
                    </a:moveTo>
                    <a:cubicBezTo>
                      <a:pt x="42" y="32"/>
                      <a:pt x="42" y="32"/>
                      <a:pt x="42" y="32"/>
                    </a:cubicBezTo>
                    <a:cubicBezTo>
                      <a:pt x="42" y="42"/>
                      <a:pt x="42" y="42"/>
                      <a:pt x="42" y="42"/>
                    </a:cubicBezTo>
                    <a:cubicBezTo>
                      <a:pt x="0" y="42"/>
                      <a:pt x="0" y="42"/>
                      <a:pt x="0" y="42"/>
                    </a:cubicBezTo>
                    <a:cubicBezTo>
                      <a:pt x="0" y="0"/>
                      <a:pt x="0" y="0"/>
                      <a:pt x="0" y="0"/>
                    </a:cubicBezTo>
                    <a:cubicBezTo>
                      <a:pt x="5" y="0"/>
                      <a:pt x="5" y="0"/>
                      <a:pt x="5" y="0"/>
                    </a:cubicBezTo>
                    <a:cubicBezTo>
                      <a:pt x="10" y="0"/>
                      <a:pt x="13" y="2"/>
                      <a:pt x="13" y="7"/>
                    </a:cubicBezTo>
                    <a:lnTo>
                      <a:pt x="13" y="3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1" name="Freeform 34"/>
              <p:cNvSpPr>
                <a:spLocks/>
              </p:cNvSpPr>
              <p:nvPr/>
            </p:nvSpPr>
            <p:spPr bwMode="auto">
              <a:xfrm>
                <a:off x="5818188" y="3273426"/>
                <a:ext cx="222250" cy="158750"/>
              </a:xfrm>
              <a:custGeom>
                <a:avLst/>
                <a:gdLst>
                  <a:gd name="T0" fmla="*/ 837204449 w 59"/>
                  <a:gd name="T1" fmla="*/ 600037202 h 42"/>
                  <a:gd name="T2" fmla="*/ 553406267 w 59"/>
                  <a:gd name="T3" fmla="*/ 600037202 h 42"/>
                  <a:gd name="T4" fmla="*/ 184467500 w 59"/>
                  <a:gd name="T5" fmla="*/ 171438661 h 42"/>
                  <a:gd name="T6" fmla="*/ 184467500 w 59"/>
                  <a:gd name="T7" fmla="*/ 600037202 h 42"/>
                  <a:gd name="T8" fmla="*/ 0 w 59"/>
                  <a:gd name="T9" fmla="*/ 600037202 h 42"/>
                  <a:gd name="T10" fmla="*/ 0 w 59"/>
                  <a:gd name="T11" fmla="*/ 0 h 42"/>
                  <a:gd name="T12" fmla="*/ 156087305 w 59"/>
                  <a:gd name="T13" fmla="*/ 0 h 42"/>
                  <a:gd name="T14" fmla="*/ 383128864 w 59"/>
                  <a:gd name="T15" fmla="*/ 114292440 h 42"/>
                  <a:gd name="T16" fmla="*/ 638546852 w 59"/>
                  <a:gd name="T17" fmla="*/ 442886042 h 42"/>
                  <a:gd name="T18" fmla="*/ 638546852 w 59"/>
                  <a:gd name="T19" fmla="*/ 0 h 42"/>
                  <a:gd name="T20" fmla="*/ 837204449 w 59"/>
                  <a:gd name="T21" fmla="*/ 0 h 42"/>
                  <a:gd name="T22" fmla="*/ 837204449 w 59"/>
                  <a:gd name="T23" fmla="*/ 600037202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42">
                    <a:moveTo>
                      <a:pt x="59" y="42"/>
                    </a:moveTo>
                    <a:cubicBezTo>
                      <a:pt x="39" y="42"/>
                      <a:pt x="39" y="42"/>
                      <a:pt x="39" y="42"/>
                    </a:cubicBezTo>
                    <a:cubicBezTo>
                      <a:pt x="13" y="12"/>
                      <a:pt x="13" y="12"/>
                      <a:pt x="13" y="12"/>
                    </a:cubicBezTo>
                    <a:cubicBezTo>
                      <a:pt x="13" y="42"/>
                      <a:pt x="13" y="42"/>
                      <a:pt x="13" y="42"/>
                    </a:cubicBezTo>
                    <a:cubicBezTo>
                      <a:pt x="0" y="42"/>
                      <a:pt x="0" y="42"/>
                      <a:pt x="0" y="42"/>
                    </a:cubicBezTo>
                    <a:cubicBezTo>
                      <a:pt x="0" y="0"/>
                      <a:pt x="0" y="0"/>
                      <a:pt x="0" y="0"/>
                    </a:cubicBezTo>
                    <a:cubicBezTo>
                      <a:pt x="11" y="0"/>
                      <a:pt x="11" y="0"/>
                      <a:pt x="11" y="0"/>
                    </a:cubicBezTo>
                    <a:cubicBezTo>
                      <a:pt x="19" y="0"/>
                      <a:pt x="23" y="4"/>
                      <a:pt x="27" y="8"/>
                    </a:cubicBezTo>
                    <a:cubicBezTo>
                      <a:pt x="45" y="31"/>
                      <a:pt x="45" y="31"/>
                      <a:pt x="45" y="31"/>
                    </a:cubicBezTo>
                    <a:cubicBezTo>
                      <a:pt x="45" y="0"/>
                      <a:pt x="45" y="0"/>
                      <a:pt x="45" y="0"/>
                    </a:cubicBezTo>
                    <a:cubicBezTo>
                      <a:pt x="59" y="0"/>
                      <a:pt x="59" y="0"/>
                      <a:pt x="59" y="0"/>
                    </a:cubicBezTo>
                    <a:lnTo>
                      <a:pt x="59"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2" name="Freeform 35"/>
              <p:cNvSpPr>
                <a:spLocks noEditPoints="1"/>
              </p:cNvSpPr>
              <p:nvPr/>
            </p:nvSpPr>
            <p:spPr bwMode="auto">
              <a:xfrm>
                <a:off x="6062663" y="3273426"/>
                <a:ext cx="214313" cy="158750"/>
              </a:xfrm>
              <a:custGeom>
                <a:avLst/>
                <a:gdLst>
                  <a:gd name="T0" fmla="*/ 480647661 w 57"/>
                  <a:gd name="T1" fmla="*/ 142867440 h 42"/>
                  <a:gd name="T2" fmla="*/ 183775277 w 57"/>
                  <a:gd name="T3" fmla="*/ 142867440 h 42"/>
                  <a:gd name="T4" fmla="*/ 183775277 w 57"/>
                  <a:gd name="T5" fmla="*/ 457169762 h 42"/>
                  <a:gd name="T6" fmla="*/ 494784799 w 57"/>
                  <a:gd name="T7" fmla="*/ 457169762 h 42"/>
                  <a:gd name="T8" fmla="*/ 579603869 w 57"/>
                  <a:gd name="T9" fmla="*/ 428598542 h 42"/>
                  <a:gd name="T10" fmla="*/ 607878145 w 57"/>
                  <a:gd name="T11" fmla="*/ 357164821 h 42"/>
                  <a:gd name="T12" fmla="*/ 607878145 w 57"/>
                  <a:gd name="T13" fmla="*/ 257159881 h 42"/>
                  <a:gd name="T14" fmla="*/ 579603869 w 57"/>
                  <a:gd name="T15" fmla="*/ 171438661 h 42"/>
                  <a:gd name="T16" fmla="*/ 480647661 w 57"/>
                  <a:gd name="T17" fmla="*/ 142867440 h 42"/>
                  <a:gd name="T18" fmla="*/ 537192454 w 57"/>
                  <a:gd name="T19" fmla="*/ 0 h 42"/>
                  <a:gd name="T20" fmla="*/ 735108630 w 57"/>
                  <a:gd name="T21" fmla="*/ 42858720 h 42"/>
                  <a:gd name="T22" fmla="*/ 805790561 w 57"/>
                  <a:gd name="T23" fmla="*/ 200013661 h 42"/>
                  <a:gd name="T24" fmla="*/ 805790561 w 57"/>
                  <a:gd name="T25" fmla="*/ 414311042 h 42"/>
                  <a:gd name="T26" fmla="*/ 749242008 w 57"/>
                  <a:gd name="T27" fmla="*/ 557178482 h 42"/>
                  <a:gd name="T28" fmla="*/ 593741007 w 57"/>
                  <a:gd name="T29" fmla="*/ 600037202 h 42"/>
                  <a:gd name="T30" fmla="*/ 0 w 57"/>
                  <a:gd name="T31" fmla="*/ 600037202 h 42"/>
                  <a:gd name="T32" fmla="*/ 0 w 57"/>
                  <a:gd name="T33" fmla="*/ 0 h 42"/>
                  <a:gd name="T34" fmla="*/ 537192454 w 57"/>
                  <a:gd name="T35" fmla="*/ 0 h 4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7" h="42">
                    <a:moveTo>
                      <a:pt x="34" y="10"/>
                    </a:moveTo>
                    <a:cubicBezTo>
                      <a:pt x="13" y="10"/>
                      <a:pt x="13" y="10"/>
                      <a:pt x="13" y="10"/>
                    </a:cubicBezTo>
                    <a:cubicBezTo>
                      <a:pt x="13" y="32"/>
                      <a:pt x="13" y="32"/>
                      <a:pt x="13" y="32"/>
                    </a:cubicBezTo>
                    <a:cubicBezTo>
                      <a:pt x="35" y="32"/>
                      <a:pt x="35" y="32"/>
                      <a:pt x="35" y="32"/>
                    </a:cubicBezTo>
                    <a:cubicBezTo>
                      <a:pt x="38" y="32"/>
                      <a:pt x="40" y="31"/>
                      <a:pt x="41" y="30"/>
                    </a:cubicBezTo>
                    <a:cubicBezTo>
                      <a:pt x="43" y="29"/>
                      <a:pt x="43" y="27"/>
                      <a:pt x="43" y="25"/>
                    </a:cubicBezTo>
                    <a:cubicBezTo>
                      <a:pt x="43" y="18"/>
                      <a:pt x="43" y="18"/>
                      <a:pt x="43" y="18"/>
                    </a:cubicBezTo>
                    <a:cubicBezTo>
                      <a:pt x="43" y="15"/>
                      <a:pt x="43" y="13"/>
                      <a:pt x="41" y="12"/>
                    </a:cubicBezTo>
                    <a:cubicBezTo>
                      <a:pt x="39" y="11"/>
                      <a:pt x="37" y="10"/>
                      <a:pt x="34" y="10"/>
                    </a:cubicBezTo>
                    <a:moveTo>
                      <a:pt x="38" y="0"/>
                    </a:moveTo>
                    <a:cubicBezTo>
                      <a:pt x="44" y="0"/>
                      <a:pt x="49" y="1"/>
                      <a:pt x="52" y="3"/>
                    </a:cubicBezTo>
                    <a:cubicBezTo>
                      <a:pt x="55" y="6"/>
                      <a:pt x="57" y="9"/>
                      <a:pt x="57" y="14"/>
                    </a:cubicBezTo>
                    <a:cubicBezTo>
                      <a:pt x="57" y="29"/>
                      <a:pt x="57" y="29"/>
                      <a:pt x="57" y="29"/>
                    </a:cubicBezTo>
                    <a:cubicBezTo>
                      <a:pt x="57" y="33"/>
                      <a:pt x="55" y="37"/>
                      <a:pt x="53" y="39"/>
                    </a:cubicBezTo>
                    <a:cubicBezTo>
                      <a:pt x="51" y="41"/>
                      <a:pt x="47" y="42"/>
                      <a:pt x="42" y="42"/>
                    </a:cubicBezTo>
                    <a:cubicBezTo>
                      <a:pt x="0" y="42"/>
                      <a:pt x="0" y="42"/>
                      <a:pt x="0" y="42"/>
                    </a:cubicBezTo>
                    <a:cubicBezTo>
                      <a:pt x="0" y="0"/>
                      <a:pt x="0" y="0"/>
                      <a:pt x="0" y="0"/>
                    </a:cubicBezTo>
                    <a:lnTo>
                      <a:pt x="38" y="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3" name="Freeform 36"/>
              <p:cNvSpPr>
                <a:spLocks/>
              </p:cNvSpPr>
              <p:nvPr/>
            </p:nvSpPr>
            <p:spPr bwMode="auto">
              <a:xfrm>
                <a:off x="3756025" y="3273426"/>
                <a:ext cx="203200" cy="163513"/>
              </a:xfrm>
              <a:custGeom>
                <a:avLst/>
                <a:gdLst>
                  <a:gd name="T0" fmla="*/ 509757304 w 54"/>
                  <a:gd name="T1" fmla="*/ 477180368 h 43"/>
                  <a:gd name="T2" fmla="*/ 566397422 w 54"/>
                  <a:gd name="T3" fmla="*/ 462718974 h 43"/>
                  <a:gd name="T4" fmla="*/ 580553689 w 54"/>
                  <a:gd name="T5" fmla="*/ 433799989 h 43"/>
                  <a:gd name="T6" fmla="*/ 566397422 w 54"/>
                  <a:gd name="T7" fmla="*/ 390419610 h 43"/>
                  <a:gd name="T8" fmla="*/ 481437244 w 54"/>
                  <a:gd name="T9" fmla="*/ 375958216 h 43"/>
                  <a:gd name="T10" fmla="*/ 198236652 w 54"/>
                  <a:gd name="T11" fmla="*/ 361500625 h 43"/>
                  <a:gd name="T12" fmla="*/ 42480089 w 54"/>
                  <a:gd name="T13" fmla="*/ 318120245 h 43"/>
                  <a:gd name="T14" fmla="*/ 0 w 54"/>
                  <a:gd name="T15" fmla="*/ 187979108 h 43"/>
                  <a:gd name="T16" fmla="*/ 14160030 w 54"/>
                  <a:gd name="T17" fmla="*/ 101218350 h 43"/>
                  <a:gd name="T18" fmla="*/ 42480089 w 54"/>
                  <a:gd name="T19" fmla="*/ 43380379 h 43"/>
                  <a:gd name="T20" fmla="*/ 113280237 w 54"/>
                  <a:gd name="T21" fmla="*/ 0 h 43"/>
                  <a:gd name="T22" fmla="*/ 254876770 w 54"/>
                  <a:gd name="T23" fmla="*/ 0 h 43"/>
                  <a:gd name="T24" fmla="*/ 552237393 w 54"/>
                  <a:gd name="T25" fmla="*/ 0 h 43"/>
                  <a:gd name="T26" fmla="*/ 693833926 w 54"/>
                  <a:gd name="T27" fmla="*/ 28918985 h 43"/>
                  <a:gd name="T28" fmla="*/ 750474044 w 54"/>
                  <a:gd name="T29" fmla="*/ 130141137 h 43"/>
                  <a:gd name="T30" fmla="*/ 283196830 w 54"/>
                  <a:gd name="T31" fmla="*/ 130141137 h 43"/>
                  <a:gd name="T32" fmla="*/ 212396681 w 54"/>
                  <a:gd name="T33" fmla="*/ 144598729 h 43"/>
                  <a:gd name="T34" fmla="*/ 198236652 w 54"/>
                  <a:gd name="T35" fmla="*/ 173521517 h 43"/>
                  <a:gd name="T36" fmla="*/ 212396681 w 54"/>
                  <a:gd name="T37" fmla="*/ 216898093 h 43"/>
                  <a:gd name="T38" fmla="*/ 269036800 w 54"/>
                  <a:gd name="T39" fmla="*/ 231359487 h 43"/>
                  <a:gd name="T40" fmla="*/ 580553689 w 54"/>
                  <a:gd name="T41" fmla="*/ 231359487 h 43"/>
                  <a:gd name="T42" fmla="*/ 722153985 w 54"/>
                  <a:gd name="T43" fmla="*/ 274739866 h 43"/>
                  <a:gd name="T44" fmla="*/ 764634074 w 54"/>
                  <a:gd name="T45" fmla="*/ 433799989 h 43"/>
                  <a:gd name="T46" fmla="*/ 750474044 w 54"/>
                  <a:gd name="T47" fmla="*/ 535018339 h 43"/>
                  <a:gd name="T48" fmla="*/ 693833926 w 54"/>
                  <a:gd name="T49" fmla="*/ 592860112 h 43"/>
                  <a:gd name="T50" fmla="*/ 637193807 w 54"/>
                  <a:gd name="T51" fmla="*/ 607317703 h 43"/>
                  <a:gd name="T52" fmla="*/ 509757304 w 54"/>
                  <a:gd name="T53" fmla="*/ 621779097 h 43"/>
                  <a:gd name="T54" fmla="*/ 254876770 w 54"/>
                  <a:gd name="T55" fmla="*/ 621779097 h 43"/>
                  <a:gd name="T56" fmla="*/ 56640119 w 54"/>
                  <a:gd name="T57" fmla="*/ 578398718 h 43"/>
                  <a:gd name="T58" fmla="*/ 0 w 54"/>
                  <a:gd name="T59" fmla="*/ 477180368 h 43"/>
                  <a:gd name="T60" fmla="*/ 509757304 w 54"/>
                  <a:gd name="T61" fmla="*/ 477180368 h 4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43">
                    <a:moveTo>
                      <a:pt x="36" y="33"/>
                    </a:moveTo>
                    <a:cubicBezTo>
                      <a:pt x="38" y="33"/>
                      <a:pt x="39" y="33"/>
                      <a:pt x="40" y="32"/>
                    </a:cubicBezTo>
                    <a:cubicBezTo>
                      <a:pt x="40" y="32"/>
                      <a:pt x="41" y="31"/>
                      <a:pt x="41" y="30"/>
                    </a:cubicBezTo>
                    <a:cubicBezTo>
                      <a:pt x="41" y="28"/>
                      <a:pt x="40" y="27"/>
                      <a:pt x="40" y="27"/>
                    </a:cubicBezTo>
                    <a:cubicBezTo>
                      <a:pt x="39" y="26"/>
                      <a:pt x="37" y="26"/>
                      <a:pt x="34" y="26"/>
                    </a:cubicBezTo>
                    <a:cubicBezTo>
                      <a:pt x="14" y="25"/>
                      <a:pt x="14" y="25"/>
                      <a:pt x="14" y="25"/>
                    </a:cubicBezTo>
                    <a:cubicBezTo>
                      <a:pt x="8" y="25"/>
                      <a:pt x="5" y="24"/>
                      <a:pt x="3" y="22"/>
                    </a:cubicBezTo>
                    <a:cubicBezTo>
                      <a:pt x="1" y="21"/>
                      <a:pt x="0" y="17"/>
                      <a:pt x="0" y="13"/>
                    </a:cubicBezTo>
                    <a:cubicBezTo>
                      <a:pt x="0" y="10"/>
                      <a:pt x="1" y="8"/>
                      <a:pt x="1" y="7"/>
                    </a:cubicBezTo>
                    <a:cubicBezTo>
                      <a:pt x="2" y="5"/>
                      <a:pt x="2" y="4"/>
                      <a:pt x="3" y="3"/>
                    </a:cubicBezTo>
                    <a:cubicBezTo>
                      <a:pt x="5" y="2"/>
                      <a:pt x="6" y="1"/>
                      <a:pt x="8" y="0"/>
                    </a:cubicBezTo>
                    <a:cubicBezTo>
                      <a:pt x="10" y="0"/>
                      <a:pt x="14" y="0"/>
                      <a:pt x="18" y="0"/>
                    </a:cubicBezTo>
                    <a:cubicBezTo>
                      <a:pt x="39" y="0"/>
                      <a:pt x="39" y="0"/>
                      <a:pt x="39" y="0"/>
                    </a:cubicBezTo>
                    <a:cubicBezTo>
                      <a:pt x="44" y="0"/>
                      <a:pt x="47" y="0"/>
                      <a:pt x="49" y="2"/>
                    </a:cubicBezTo>
                    <a:cubicBezTo>
                      <a:pt x="51" y="4"/>
                      <a:pt x="52" y="6"/>
                      <a:pt x="53" y="9"/>
                    </a:cubicBezTo>
                    <a:cubicBezTo>
                      <a:pt x="20" y="9"/>
                      <a:pt x="20" y="9"/>
                      <a:pt x="20" y="9"/>
                    </a:cubicBezTo>
                    <a:cubicBezTo>
                      <a:pt x="18" y="9"/>
                      <a:pt x="16" y="9"/>
                      <a:pt x="15" y="10"/>
                    </a:cubicBezTo>
                    <a:cubicBezTo>
                      <a:pt x="14" y="10"/>
                      <a:pt x="14" y="11"/>
                      <a:pt x="14" y="12"/>
                    </a:cubicBezTo>
                    <a:cubicBezTo>
                      <a:pt x="14" y="13"/>
                      <a:pt x="14" y="14"/>
                      <a:pt x="15" y="15"/>
                    </a:cubicBezTo>
                    <a:cubicBezTo>
                      <a:pt x="16" y="15"/>
                      <a:pt x="17" y="16"/>
                      <a:pt x="19" y="16"/>
                    </a:cubicBezTo>
                    <a:cubicBezTo>
                      <a:pt x="41" y="16"/>
                      <a:pt x="41" y="16"/>
                      <a:pt x="41" y="16"/>
                    </a:cubicBezTo>
                    <a:cubicBezTo>
                      <a:pt x="46" y="16"/>
                      <a:pt x="49" y="17"/>
                      <a:pt x="51" y="19"/>
                    </a:cubicBezTo>
                    <a:cubicBezTo>
                      <a:pt x="53" y="21"/>
                      <a:pt x="54" y="25"/>
                      <a:pt x="54" y="30"/>
                    </a:cubicBezTo>
                    <a:cubicBezTo>
                      <a:pt x="54" y="33"/>
                      <a:pt x="54" y="35"/>
                      <a:pt x="53" y="37"/>
                    </a:cubicBezTo>
                    <a:cubicBezTo>
                      <a:pt x="53" y="38"/>
                      <a:pt x="51" y="40"/>
                      <a:pt x="49" y="41"/>
                    </a:cubicBezTo>
                    <a:cubicBezTo>
                      <a:pt x="48" y="41"/>
                      <a:pt x="47" y="42"/>
                      <a:pt x="45" y="42"/>
                    </a:cubicBezTo>
                    <a:cubicBezTo>
                      <a:pt x="43" y="43"/>
                      <a:pt x="40" y="43"/>
                      <a:pt x="36" y="43"/>
                    </a:cubicBezTo>
                    <a:cubicBezTo>
                      <a:pt x="18" y="43"/>
                      <a:pt x="18" y="43"/>
                      <a:pt x="18" y="43"/>
                    </a:cubicBezTo>
                    <a:cubicBezTo>
                      <a:pt x="11" y="43"/>
                      <a:pt x="6" y="42"/>
                      <a:pt x="4" y="40"/>
                    </a:cubicBezTo>
                    <a:cubicBezTo>
                      <a:pt x="2" y="39"/>
                      <a:pt x="0" y="36"/>
                      <a:pt x="0" y="33"/>
                    </a:cubicBezTo>
                    <a:lnTo>
                      <a:pt x="36" y="33"/>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4" name="Freeform 37"/>
              <p:cNvSpPr>
                <a:spLocks noEditPoints="1"/>
              </p:cNvSpPr>
              <p:nvPr/>
            </p:nvSpPr>
            <p:spPr bwMode="auto">
              <a:xfrm>
                <a:off x="3506788" y="3273426"/>
                <a:ext cx="241300" cy="158750"/>
              </a:xfrm>
              <a:custGeom>
                <a:avLst/>
                <a:gdLst>
                  <a:gd name="T0" fmla="*/ 90725625 w 152"/>
                  <a:gd name="T1" fmla="*/ 252015625 h 100"/>
                  <a:gd name="T2" fmla="*/ 0 w 152"/>
                  <a:gd name="T3" fmla="*/ 252015625 h 100"/>
                  <a:gd name="T4" fmla="*/ 143649700 w 152"/>
                  <a:gd name="T5" fmla="*/ 0 h 100"/>
                  <a:gd name="T6" fmla="*/ 244455950 w 152"/>
                  <a:gd name="T7" fmla="*/ 0 h 100"/>
                  <a:gd name="T8" fmla="*/ 383063750 w 152"/>
                  <a:gd name="T9" fmla="*/ 252015625 h 100"/>
                  <a:gd name="T10" fmla="*/ 299899388 w 152"/>
                  <a:gd name="T11" fmla="*/ 252015625 h 100"/>
                  <a:gd name="T12" fmla="*/ 269657513 w 152"/>
                  <a:gd name="T13" fmla="*/ 211693125 h 100"/>
                  <a:gd name="T14" fmla="*/ 113407825 w 152"/>
                  <a:gd name="T15" fmla="*/ 211693125 h 100"/>
                  <a:gd name="T16" fmla="*/ 90725625 w 152"/>
                  <a:gd name="T17" fmla="*/ 252015625 h 100"/>
                  <a:gd name="T18" fmla="*/ 143649700 w 152"/>
                  <a:gd name="T19" fmla="*/ 151209375 h 100"/>
                  <a:gd name="T20" fmla="*/ 244455950 w 152"/>
                  <a:gd name="T21" fmla="*/ 151209375 h 100"/>
                  <a:gd name="T22" fmla="*/ 191531875 w 152"/>
                  <a:gd name="T23" fmla="*/ 60483750 h 100"/>
                  <a:gd name="T24" fmla="*/ 143649700 w 152"/>
                  <a:gd name="T25" fmla="*/ 151209375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2" h="100">
                    <a:moveTo>
                      <a:pt x="36" y="100"/>
                    </a:moveTo>
                    <a:lnTo>
                      <a:pt x="0" y="100"/>
                    </a:lnTo>
                    <a:lnTo>
                      <a:pt x="57" y="0"/>
                    </a:lnTo>
                    <a:lnTo>
                      <a:pt x="97" y="0"/>
                    </a:lnTo>
                    <a:lnTo>
                      <a:pt x="152" y="100"/>
                    </a:lnTo>
                    <a:lnTo>
                      <a:pt x="119" y="100"/>
                    </a:lnTo>
                    <a:lnTo>
                      <a:pt x="107" y="84"/>
                    </a:lnTo>
                    <a:lnTo>
                      <a:pt x="45" y="84"/>
                    </a:lnTo>
                    <a:lnTo>
                      <a:pt x="36" y="100"/>
                    </a:lnTo>
                    <a:close/>
                    <a:moveTo>
                      <a:pt x="57" y="60"/>
                    </a:moveTo>
                    <a:lnTo>
                      <a:pt x="97" y="60"/>
                    </a:lnTo>
                    <a:lnTo>
                      <a:pt x="76" y="24"/>
                    </a:lnTo>
                    <a:lnTo>
                      <a:pt x="57" y="6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5" name="Freeform 38"/>
              <p:cNvSpPr>
                <a:spLocks noEditPoints="1"/>
              </p:cNvSpPr>
              <p:nvPr/>
            </p:nvSpPr>
            <p:spPr bwMode="auto">
              <a:xfrm>
                <a:off x="4214813" y="3273426"/>
                <a:ext cx="222250" cy="163513"/>
              </a:xfrm>
              <a:custGeom>
                <a:avLst/>
                <a:gdLst>
                  <a:gd name="T0" fmla="*/ 297988280 w 59"/>
                  <a:gd name="T1" fmla="*/ 621779097 h 43"/>
                  <a:gd name="T2" fmla="*/ 141897208 w 59"/>
                  <a:gd name="T3" fmla="*/ 607317703 h 43"/>
                  <a:gd name="T4" fmla="*/ 70950487 w 59"/>
                  <a:gd name="T5" fmla="*/ 578398718 h 43"/>
                  <a:gd name="T6" fmla="*/ 14190097 w 59"/>
                  <a:gd name="T7" fmla="*/ 506099353 h 43"/>
                  <a:gd name="T8" fmla="*/ 0 w 59"/>
                  <a:gd name="T9" fmla="*/ 390419610 h 43"/>
                  <a:gd name="T10" fmla="*/ 0 w 59"/>
                  <a:gd name="T11" fmla="*/ 231359487 h 43"/>
                  <a:gd name="T12" fmla="*/ 14190097 w 59"/>
                  <a:gd name="T13" fmla="*/ 101218350 h 43"/>
                  <a:gd name="T14" fmla="*/ 70950487 w 59"/>
                  <a:gd name="T15" fmla="*/ 28918985 h 43"/>
                  <a:gd name="T16" fmla="*/ 141897208 w 59"/>
                  <a:gd name="T17" fmla="*/ 0 h 43"/>
                  <a:gd name="T18" fmla="*/ 297988280 w 59"/>
                  <a:gd name="T19" fmla="*/ 0 h 43"/>
                  <a:gd name="T20" fmla="*/ 525026072 w 59"/>
                  <a:gd name="T21" fmla="*/ 0 h 43"/>
                  <a:gd name="T22" fmla="*/ 681117144 w 59"/>
                  <a:gd name="T23" fmla="*/ 0 h 43"/>
                  <a:gd name="T24" fmla="*/ 766253962 w 59"/>
                  <a:gd name="T25" fmla="*/ 28918985 h 43"/>
                  <a:gd name="T26" fmla="*/ 808824254 w 59"/>
                  <a:gd name="T27" fmla="*/ 101218350 h 43"/>
                  <a:gd name="T28" fmla="*/ 837204449 w 59"/>
                  <a:gd name="T29" fmla="*/ 216898093 h 43"/>
                  <a:gd name="T30" fmla="*/ 837204449 w 59"/>
                  <a:gd name="T31" fmla="*/ 390419610 h 43"/>
                  <a:gd name="T32" fmla="*/ 808824254 w 59"/>
                  <a:gd name="T33" fmla="*/ 506099353 h 43"/>
                  <a:gd name="T34" fmla="*/ 766253962 w 59"/>
                  <a:gd name="T35" fmla="*/ 578398718 h 43"/>
                  <a:gd name="T36" fmla="*/ 681117144 w 59"/>
                  <a:gd name="T37" fmla="*/ 607317703 h 43"/>
                  <a:gd name="T38" fmla="*/ 525026072 w 59"/>
                  <a:gd name="T39" fmla="*/ 621779097 h 43"/>
                  <a:gd name="T40" fmla="*/ 297988280 w 59"/>
                  <a:gd name="T41" fmla="*/ 621779097 h 43"/>
                  <a:gd name="T42" fmla="*/ 354748669 w 59"/>
                  <a:gd name="T43" fmla="*/ 462718974 h 43"/>
                  <a:gd name="T44" fmla="*/ 468265682 w 59"/>
                  <a:gd name="T45" fmla="*/ 462718974 h 43"/>
                  <a:gd name="T46" fmla="*/ 610166657 w 59"/>
                  <a:gd name="T47" fmla="*/ 433799989 h 43"/>
                  <a:gd name="T48" fmla="*/ 638546852 w 59"/>
                  <a:gd name="T49" fmla="*/ 347039231 h 43"/>
                  <a:gd name="T50" fmla="*/ 638546852 w 59"/>
                  <a:gd name="T51" fmla="*/ 260278472 h 43"/>
                  <a:gd name="T52" fmla="*/ 610166657 w 59"/>
                  <a:gd name="T53" fmla="*/ 173521517 h 43"/>
                  <a:gd name="T54" fmla="*/ 468265682 w 59"/>
                  <a:gd name="T55" fmla="*/ 144598729 h 43"/>
                  <a:gd name="T56" fmla="*/ 354748669 w 59"/>
                  <a:gd name="T57" fmla="*/ 144598729 h 43"/>
                  <a:gd name="T58" fmla="*/ 227037792 w 59"/>
                  <a:gd name="T59" fmla="*/ 173521517 h 43"/>
                  <a:gd name="T60" fmla="*/ 184467500 w 59"/>
                  <a:gd name="T61" fmla="*/ 260278472 h 43"/>
                  <a:gd name="T62" fmla="*/ 184467500 w 59"/>
                  <a:gd name="T63" fmla="*/ 347039231 h 43"/>
                  <a:gd name="T64" fmla="*/ 227037792 w 59"/>
                  <a:gd name="T65" fmla="*/ 433799989 h 43"/>
                  <a:gd name="T66" fmla="*/ 354748669 w 59"/>
                  <a:gd name="T67" fmla="*/ 462718974 h 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9" h="43">
                    <a:moveTo>
                      <a:pt x="21" y="43"/>
                    </a:moveTo>
                    <a:cubicBezTo>
                      <a:pt x="16" y="43"/>
                      <a:pt x="13" y="42"/>
                      <a:pt x="10" y="42"/>
                    </a:cubicBezTo>
                    <a:cubicBezTo>
                      <a:pt x="8" y="42"/>
                      <a:pt x="6" y="41"/>
                      <a:pt x="5" y="40"/>
                    </a:cubicBezTo>
                    <a:cubicBezTo>
                      <a:pt x="3" y="39"/>
                      <a:pt x="2" y="37"/>
                      <a:pt x="1" y="35"/>
                    </a:cubicBezTo>
                    <a:cubicBezTo>
                      <a:pt x="0" y="33"/>
                      <a:pt x="0" y="30"/>
                      <a:pt x="0" y="27"/>
                    </a:cubicBezTo>
                    <a:cubicBezTo>
                      <a:pt x="0" y="16"/>
                      <a:pt x="0" y="16"/>
                      <a:pt x="0" y="16"/>
                    </a:cubicBezTo>
                    <a:cubicBezTo>
                      <a:pt x="0" y="12"/>
                      <a:pt x="0" y="9"/>
                      <a:pt x="1" y="7"/>
                    </a:cubicBezTo>
                    <a:cubicBezTo>
                      <a:pt x="2" y="5"/>
                      <a:pt x="3" y="4"/>
                      <a:pt x="5" y="2"/>
                    </a:cubicBezTo>
                    <a:cubicBezTo>
                      <a:pt x="6" y="1"/>
                      <a:pt x="8" y="1"/>
                      <a:pt x="10" y="0"/>
                    </a:cubicBezTo>
                    <a:cubicBezTo>
                      <a:pt x="13" y="0"/>
                      <a:pt x="17" y="0"/>
                      <a:pt x="21" y="0"/>
                    </a:cubicBezTo>
                    <a:cubicBezTo>
                      <a:pt x="37" y="0"/>
                      <a:pt x="37" y="0"/>
                      <a:pt x="37" y="0"/>
                    </a:cubicBezTo>
                    <a:cubicBezTo>
                      <a:pt x="42" y="0"/>
                      <a:pt x="46" y="0"/>
                      <a:pt x="48" y="0"/>
                    </a:cubicBezTo>
                    <a:cubicBezTo>
                      <a:pt x="51" y="1"/>
                      <a:pt x="52" y="1"/>
                      <a:pt x="54" y="2"/>
                    </a:cubicBezTo>
                    <a:cubicBezTo>
                      <a:pt x="56" y="4"/>
                      <a:pt x="57" y="5"/>
                      <a:pt x="57" y="7"/>
                    </a:cubicBezTo>
                    <a:cubicBezTo>
                      <a:pt x="58" y="9"/>
                      <a:pt x="59" y="12"/>
                      <a:pt x="59" y="15"/>
                    </a:cubicBezTo>
                    <a:cubicBezTo>
                      <a:pt x="59" y="27"/>
                      <a:pt x="59" y="27"/>
                      <a:pt x="59" y="27"/>
                    </a:cubicBezTo>
                    <a:cubicBezTo>
                      <a:pt x="59" y="30"/>
                      <a:pt x="58" y="33"/>
                      <a:pt x="57" y="35"/>
                    </a:cubicBezTo>
                    <a:cubicBezTo>
                      <a:pt x="57" y="37"/>
                      <a:pt x="56" y="39"/>
                      <a:pt x="54" y="40"/>
                    </a:cubicBezTo>
                    <a:cubicBezTo>
                      <a:pt x="52" y="41"/>
                      <a:pt x="51" y="42"/>
                      <a:pt x="48" y="42"/>
                    </a:cubicBezTo>
                    <a:cubicBezTo>
                      <a:pt x="46" y="42"/>
                      <a:pt x="42" y="43"/>
                      <a:pt x="37" y="43"/>
                    </a:cubicBezTo>
                    <a:lnTo>
                      <a:pt x="21" y="43"/>
                    </a:lnTo>
                    <a:close/>
                    <a:moveTo>
                      <a:pt x="25" y="32"/>
                    </a:moveTo>
                    <a:cubicBezTo>
                      <a:pt x="33" y="32"/>
                      <a:pt x="33" y="32"/>
                      <a:pt x="33" y="32"/>
                    </a:cubicBezTo>
                    <a:cubicBezTo>
                      <a:pt x="38" y="32"/>
                      <a:pt x="41" y="32"/>
                      <a:pt x="43" y="30"/>
                    </a:cubicBezTo>
                    <a:cubicBezTo>
                      <a:pt x="44" y="29"/>
                      <a:pt x="45" y="27"/>
                      <a:pt x="45" y="24"/>
                    </a:cubicBezTo>
                    <a:cubicBezTo>
                      <a:pt x="45" y="18"/>
                      <a:pt x="45" y="18"/>
                      <a:pt x="45" y="18"/>
                    </a:cubicBezTo>
                    <a:cubicBezTo>
                      <a:pt x="45" y="15"/>
                      <a:pt x="44" y="13"/>
                      <a:pt x="43" y="12"/>
                    </a:cubicBezTo>
                    <a:cubicBezTo>
                      <a:pt x="41" y="11"/>
                      <a:pt x="38" y="10"/>
                      <a:pt x="33" y="10"/>
                    </a:cubicBezTo>
                    <a:cubicBezTo>
                      <a:pt x="25" y="10"/>
                      <a:pt x="25" y="10"/>
                      <a:pt x="25" y="10"/>
                    </a:cubicBezTo>
                    <a:cubicBezTo>
                      <a:pt x="20" y="10"/>
                      <a:pt x="17" y="11"/>
                      <a:pt x="16" y="12"/>
                    </a:cubicBezTo>
                    <a:cubicBezTo>
                      <a:pt x="14" y="13"/>
                      <a:pt x="13" y="15"/>
                      <a:pt x="13" y="18"/>
                    </a:cubicBezTo>
                    <a:cubicBezTo>
                      <a:pt x="13" y="24"/>
                      <a:pt x="13" y="24"/>
                      <a:pt x="13" y="24"/>
                    </a:cubicBezTo>
                    <a:cubicBezTo>
                      <a:pt x="13" y="27"/>
                      <a:pt x="14" y="29"/>
                      <a:pt x="16" y="30"/>
                    </a:cubicBezTo>
                    <a:cubicBezTo>
                      <a:pt x="17" y="32"/>
                      <a:pt x="20" y="32"/>
                      <a:pt x="25" y="32"/>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6" name="Freeform 39"/>
              <p:cNvSpPr>
                <a:spLocks noEditPoints="1"/>
              </p:cNvSpPr>
              <p:nvPr/>
            </p:nvSpPr>
            <p:spPr bwMode="auto">
              <a:xfrm>
                <a:off x="5562600" y="3273426"/>
                <a:ext cx="239713" cy="158750"/>
              </a:xfrm>
              <a:custGeom>
                <a:avLst/>
                <a:gdLst>
                  <a:gd name="T0" fmla="*/ 83166123 w 151"/>
                  <a:gd name="T1" fmla="*/ 252015625 h 100"/>
                  <a:gd name="T2" fmla="*/ 0 w 151"/>
                  <a:gd name="T3" fmla="*/ 252015625 h 100"/>
                  <a:gd name="T4" fmla="*/ 136088721 w 151"/>
                  <a:gd name="T5" fmla="*/ 0 h 100"/>
                  <a:gd name="T6" fmla="*/ 236895182 w 151"/>
                  <a:gd name="T7" fmla="*/ 0 h 100"/>
                  <a:gd name="T8" fmla="*/ 380545181 w 151"/>
                  <a:gd name="T9" fmla="*/ 252015625 h 100"/>
                  <a:gd name="T10" fmla="*/ 292338735 w 151"/>
                  <a:gd name="T11" fmla="*/ 252015625 h 100"/>
                  <a:gd name="T12" fmla="*/ 267137120 w 151"/>
                  <a:gd name="T13" fmla="*/ 211693125 h 100"/>
                  <a:gd name="T14" fmla="*/ 105846783 w 151"/>
                  <a:gd name="T15" fmla="*/ 211693125 h 100"/>
                  <a:gd name="T16" fmla="*/ 83166123 w 151"/>
                  <a:gd name="T17" fmla="*/ 252015625 h 100"/>
                  <a:gd name="T18" fmla="*/ 136088721 w 151"/>
                  <a:gd name="T19" fmla="*/ 151209375 h 100"/>
                  <a:gd name="T20" fmla="*/ 236895182 w 151"/>
                  <a:gd name="T21" fmla="*/ 151209375 h 100"/>
                  <a:gd name="T22" fmla="*/ 189012907 w 151"/>
                  <a:gd name="T23" fmla="*/ 60483750 h 100"/>
                  <a:gd name="T24" fmla="*/ 136088721 w 151"/>
                  <a:gd name="T25" fmla="*/ 151209375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 h="100">
                    <a:moveTo>
                      <a:pt x="33" y="100"/>
                    </a:moveTo>
                    <a:lnTo>
                      <a:pt x="0" y="100"/>
                    </a:lnTo>
                    <a:lnTo>
                      <a:pt x="54" y="0"/>
                    </a:lnTo>
                    <a:lnTo>
                      <a:pt x="94" y="0"/>
                    </a:lnTo>
                    <a:lnTo>
                      <a:pt x="151" y="100"/>
                    </a:lnTo>
                    <a:lnTo>
                      <a:pt x="116" y="100"/>
                    </a:lnTo>
                    <a:lnTo>
                      <a:pt x="106" y="84"/>
                    </a:lnTo>
                    <a:lnTo>
                      <a:pt x="42" y="84"/>
                    </a:lnTo>
                    <a:lnTo>
                      <a:pt x="33" y="100"/>
                    </a:lnTo>
                    <a:close/>
                    <a:moveTo>
                      <a:pt x="54" y="60"/>
                    </a:moveTo>
                    <a:lnTo>
                      <a:pt x="94" y="60"/>
                    </a:lnTo>
                    <a:lnTo>
                      <a:pt x="75" y="24"/>
                    </a:lnTo>
                    <a:lnTo>
                      <a:pt x="54" y="6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7" name="Freeform 40"/>
              <p:cNvSpPr>
                <a:spLocks/>
              </p:cNvSpPr>
              <p:nvPr/>
            </p:nvSpPr>
            <p:spPr bwMode="auto">
              <a:xfrm>
                <a:off x="3059113" y="3273426"/>
                <a:ext cx="173038" cy="139700"/>
              </a:xfrm>
              <a:custGeom>
                <a:avLst/>
                <a:gdLst>
                  <a:gd name="T0" fmla="*/ 466961851 w 46"/>
                  <a:gd name="T1" fmla="*/ 71277205 h 37"/>
                  <a:gd name="T2" fmla="*/ 481113351 w 46"/>
                  <a:gd name="T3" fmla="*/ 0 h 37"/>
                  <a:gd name="T4" fmla="*/ 169802942 w 46"/>
                  <a:gd name="T5" fmla="*/ 0 h 37"/>
                  <a:gd name="T6" fmla="*/ 155655204 w 46"/>
                  <a:gd name="T7" fmla="*/ 0 h 37"/>
                  <a:gd name="T8" fmla="*/ 141503705 w 46"/>
                  <a:gd name="T9" fmla="*/ 42767078 h 37"/>
                  <a:gd name="T10" fmla="*/ 169802942 w 46"/>
                  <a:gd name="T11" fmla="*/ 57024030 h 37"/>
                  <a:gd name="T12" fmla="*/ 198105940 w 46"/>
                  <a:gd name="T13" fmla="*/ 114044284 h 37"/>
                  <a:gd name="T14" fmla="*/ 99052970 w 46"/>
                  <a:gd name="T15" fmla="*/ 427670784 h 37"/>
                  <a:gd name="T16" fmla="*/ 14151499 w 46"/>
                  <a:gd name="T17" fmla="*/ 470437862 h 37"/>
                  <a:gd name="T18" fmla="*/ 0 w 46"/>
                  <a:gd name="T19" fmla="*/ 527461892 h 37"/>
                  <a:gd name="T20" fmla="*/ 0 w 46"/>
                  <a:gd name="T21" fmla="*/ 527461892 h 37"/>
                  <a:gd name="T22" fmla="*/ 580166320 w 46"/>
                  <a:gd name="T23" fmla="*/ 527461892 h 37"/>
                  <a:gd name="T24" fmla="*/ 650916292 w 46"/>
                  <a:gd name="T25" fmla="*/ 299369549 h 37"/>
                  <a:gd name="T26" fmla="*/ 594314058 w 46"/>
                  <a:gd name="T27" fmla="*/ 299369549 h 37"/>
                  <a:gd name="T28" fmla="*/ 566014821 w 46"/>
                  <a:gd name="T29" fmla="*/ 384903705 h 37"/>
                  <a:gd name="T30" fmla="*/ 509412587 w 46"/>
                  <a:gd name="T31" fmla="*/ 441927735 h 37"/>
                  <a:gd name="T32" fmla="*/ 325458146 w 46"/>
                  <a:gd name="T33" fmla="*/ 456184686 h 37"/>
                  <a:gd name="T34" fmla="*/ 311306647 w 46"/>
                  <a:gd name="T35" fmla="*/ 456184686 h 37"/>
                  <a:gd name="T36" fmla="*/ 297158910 w 46"/>
                  <a:gd name="T37" fmla="*/ 441927735 h 37"/>
                  <a:gd name="T38" fmla="*/ 396208118 w 46"/>
                  <a:gd name="T39" fmla="*/ 114044284 h 37"/>
                  <a:gd name="T40" fmla="*/ 466961851 w 46"/>
                  <a:gd name="T41" fmla="*/ 71277205 h 3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6" h="37">
                    <a:moveTo>
                      <a:pt x="33" y="5"/>
                    </a:moveTo>
                    <a:cubicBezTo>
                      <a:pt x="34" y="3"/>
                      <a:pt x="34" y="2"/>
                      <a:pt x="34" y="0"/>
                    </a:cubicBezTo>
                    <a:cubicBezTo>
                      <a:pt x="12" y="0"/>
                      <a:pt x="12" y="0"/>
                      <a:pt x="12" y="0"/>
                    </a:cubicBezTo>
                    <a:cubicBezTo>
                      <a:pt x="11" y="0"/>
                      <a:pt x="11" y="0"/>
                      <a:pt x="11" y="0"/>
                    </a:cubicBezTo>
                    <a:cubicBezTo>
                      <a:pt x="10" y="3"/>
                      <a:pt x="10" y="3"/>
                      <a:pt x="10" y="3"/>
                    </a:cubicBezTo>
                    <a:cubicBezTo>
                      <a:pt x="10" y="4"/>
                      <a:pt x="11" y="4"/>
                      <a:pt x="12" y="4"/>
                    </a:cubicBezTo>
                    <a:cubicBezTo>
                      <a:pt x="14" y="5"/>
                      <a:pt x="14" y="6"/>
                      <a:pt x="14" y="8"/>
                    </a:cubicBezTo>
                    <a:cubicBezTo>
                      <a:pt x="7" y="30"/>
                      <a:pt x="7" y="30"/>
                      <a:pt x="7" y="30"/>
                    </a:cubicBezTo>
                    <a:cubicBezTo>
                      <a:pt x="6" y="33"/>
                      <a:pt x="4" y="33"/>
                      <a:pt x="1" y="33"/>
                    </a:cubicBezTo>
                    <a:cubicBezTo>
                      <a:pt x="1" y="35"/>
                      <a:pt x="0" y="35"/>
                      <a:pt x="0" y="37"/>
                    </a:cubicBezTo>
                    <a:cubicBezTo>
                      <a:pt x="0" y="37"/>
                      <a:pt x="0" y="37"/>
                      <a:pt x="0" y="37"/>
                    </a:cubicBezTo>
                    <a:cubicBezTo>
                      <a:pt x="41" y="37"/>
                      <a:pt x="41" y="37"/>
                      <a:pt x="41" y="37"/>
                    </a:cubicBezTo>
                    <a:cubicBezTo>
                      <a:pt x="46" y="21"/>
                      <a:pt x="46" y="21"/>
                      <a:pt x="46" y="21"/>
                    </a:cubicBezTo>
                    <a:cubicBezTo>
                      <a:pt x="45" y="21"/>
                      <a:pt x="44" y="21"/>
                      <a:pt x="42" y="21"/>
                    </a:cubicBezTo>
                    <a:cubicBezTo>
                      <a:pt x="41" y="23"/>
                      <a:pt x="41" y="25"/>
                      <a:pt x="40" y="27"/>
                    </a:cubicBezTo>
                    <a:cubicBezTo>
                      <a:pt x="39" y="29"/>
                      <a:pt x="38" y="30"/>
                      <a:pt x="36" y="31"/>
                    </a:cubicBezTo>
                    <a:cubicBezTo>
                      <a:pt x="32" y="33"/>
                      <a:pt x="29" y="32"/>
                      <a:pt x="23" y="32"/>
                    </a:cubicBezTo>
                    <a:cubicBezTo>
                      <a:pt x="23" y="32"/>
                      <a:pt x="22" y="32"/>
                      <a:pt x="22" y="32"/>
                    </a:cubicBezTo>
                    <a:cubicBezTo>
                      <a:pt x="21" y="32"/>
                      <a:pt x="21" y="32"/>
                      <a:pt x="21" y="31"/>
                    </a:cubicBezTo>
                    <a:cubicBezTo>
                      <a:pt x="28" y="8"/>
                      <a:pt x="28" y="8"/>
                      <a:pt x="28" y="8"/>
                    </a:cubicBezTo>
                    <a:cubicBezTo>
                      <a:pt x="29" y="5"/>
                      <a:pt x="31" y="5"/>
                      <a:pt x="33" y="5"/>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8" name="Freeform 41"/>
              <p:cNvSpPr>
                <a:spLocks noEditPoints="1"/>
              </p:cNvSpPr>
              <p:nvPr/>
            </p:nvSpPr>
            <p:spPr bwMode="auto">
              <a:xfrm>
                <a:off x="2863850" y="3078163"/>
                <a:ext cx="549275" cy="552450"/>
              </a:xfrm>
              <a:custGeom>
                <a:avLst/>
                <a:gdLst>
                  <a:gd name="T0" fmla="*/ 1033231421 w 146"/>
                  <a:gd name="T1" fmla="*/ 0 h 145"/>
                  <a:gd name="T2" fmla="*/ 2066459080 w 146"/>
                  <a:gd name="T3" fmla="*/ 1059675300 h 145"/>
                  <a:gd name="T4" fmla="*/ 1033231421 w 146"/>
                  <a:gd name="T5" fmla="*/ 2104834500 h 145"/>
                  <a:gd name="T6" fmla="*/ 0 w 146"/>
                  <a:gd name="T7" fmla="*/ 1059675300 h 145"/>
                  <a:gd name="T8" fmla="*/ 1033231421 w 146"/>
                  <a:gd name="T9" fmla="*/ 0 h 145"/>
                  <a:gd name="T10" fmla="*/ 1033231421 w 146"/>
                  <a:gd name="T11" fmla="*/ 609676200 h 145"/>
                  <a:gd name="T12" fmla="*/ 1486153804 w 146"/>
                  <a:gd name="T13" fmla="*/ 1059675300 h 145"/>
                  <a:gd name="T14" fmla="*/ 1033231421 w 146"/>
                  <a:gd name="T15" fmla="*/ 1509674400 h 145"/>
                  <a:gd name="T16" fmla="*/ 580305275 w 146"/>
                  <a:gd name="T17" fmla="*/ 1059675300 h 145"/>
                  <a:gd name="T18" fmla="*/ 1033231421 w 146"/>
                  <a:gd name="T19" fmla="*/ 609676200 h 145"/>
                  <a:gd name="T20" fmla="*/ 1061537894 w 146"/>
                  <a:gd name="T21" fmla="*/ 159677100 h 145"/>
                  <a:gd name="T22" fmla="*/ 481228857 w 146"/>
                  <a:gd name="T23" fmla="*/ 1030643100 h 145"/>
                  <a:gd name="T24" fmla="*/ 325539491 w 146"/>
                  <a:gd name="T25" fmla="*/ 522579600 h 145"/>
                  <a:gd name="T26" fmla="*/ 339692728 w 146"/>
                  <a:gd name="T27" fmla="*/ 508063500 h 145"/>
                  <a:gd name="T28" fmla="*/ 1061537894 w 146"/>
                  <a:gd name="T29" fmla="*/ 159677100 h 145"/>
                  <a:gd name="T30" fmla="*/ 155693127 w 146"/>
                  <a:gd name="T31" fmla="*/ 1016127000 h 145"/>
                  <a:gd name="T32" fmla="*/ 1004921185 w 146"/>
                  <a:gd name="T33" fmla="*/ 1611287100 h 145"/>
                  <a:gd name="T34" fmla="*/ 509539092 w 146"/>
                  <a:gd name="T35" fmla="*/ 1770964200 h 145"/>
                  <a:gd name="T36" fmla="*/ 495385855 w 146"/>
                  <a:gd name="T37" fmla="*/ 1770964200 h 145"/>
                  <a:gd name="T38" fmla="*/ 155693127 w 146"/>
                  <a:gd name="T39" fmla="*/ 1016127000 h 145"/>
                  <a:gd name="T40" fmla="*/ 1004921185 w 146"/>
                  <a:gd name="T41" fmla="*/ 1959673500 h 145"/>
                  <a:gd name="T42" fmla="*/ 1585230223 w 146"/>
                  <a:gd name="T43" fmla="*/ 1074191400 h 145"/>
                  <a:gd name="T44" fmla="*/ 1740919588 w 146"/>
                  <a:gd name="T45" fmla="*/ 1596771000 h 145"/>
                  <a:gd name="T46" fmla="*/ 1726766352 w 146"/>
                  <a:gd name="T47" fmla="*/ 1611287100 h 145"/>
                  <a:gd name="T48" fmla="*/ 1004921185 w 146"/>
                  <a:gd name="T49" fmla="*/ 1959673500 h 145"/>
                  <a:gd name="T50" fmla="*/ 1910765952 w 146"/>
                  <a:gd name="T51" fmla="*/ 1088707500 h 145"/>
                  <a:gd name="T52" fmla="*/ 1061537894 w 146"/>
                  <a:gd name="T53" fmla="*/ 508063500 h 145"/>
                  <a:gd name="T54" fmla="*/ 1556919988 w 146"/>
                  <a:gd name="T55" fmla="*/ 333870300 h 145"/>
                  <a:gd name="T56" fmla="*/ 1571073224 w 146"/>
                  <a:gd name="T57" fmla="*/ 348386400 h 145"/>
                  <a:gd name="T58" fmla="*/ 1910765952 w 146"/>
                  <a:gd name="T59" fmla="*/ 1088707500 h 1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46" h="145">
                    <a:moveTo>
                      <a:pt x="73" y="0"/>
                    </a:moveTo>
                    <a:cubicBezTo>
                      <a:pt x="113" y="0"/>
                      <a:pt x="146" y="33"/>
                      <a:pt x="146" y="73"/>
                    </a:cubicBezTo>
                    <a:cubicBezTo>
                      <a:pt x="146" y="113"/>
                      <a:pt x="113" y="145"/>
                      <a:pt x="73" y="145"/>
                    </a:cubicBezTo>
                    <a:cubicBezTo>
                      <a:pt x="33" y="145"/>
                      <a:pt x="0" y="113"/>
                      <a:pt x="0" y="73"/>
                    </a:cubicBezTo>
                    <a:cubicBezTo>
                      <a:pt x="0" y="33"/>
                      <a:pt x="33" y="0"/>
                      <a:pt x="73" y="0"/>
                    </a:cubicBezTo>
                    <a:moveTo>
                      <a:pt x="73" y="42"/>
                    </a:moveTo>
                    <a:cubicBezTo>
                      <a:pt x="90" y="42"/>
                      <a:pt x="105" y="56"/>
                      <a:pt x="105" y="73"/>
                    </a:cubicBezTo>
                    <a:cubicBezTo>
                      <a:pt x="105" y="90"/>
                      <a:pt x="90" y="104"/>
                      <a:pt x="73" y="104"/>
                    </a:cubicBezTo>
                    <a:cubicBezTo>
                      <a:pt x="56" y="104"/>
                      <a:pt x="41" y="90"/>
                      <a:pt x="41" y="73"/>
                    </a:cubicBezTo>
                    <a:cubicBezTo>
                      <a:pt x="41" y="56"/>
                      <a:pt x="56" y="42"/>
                      <a:pt x="73" y="42"/>
                    </a:cubicBezTo>
                    <a:moveTo>
                      <a:pt x="75" y="11"/>
                    </a:moveTo>
                    <a:cubicBezTo>
                      <a:pt x="66" y="15"/>
                      <a:pt x="37" y="35"/>
                      <a:pt x="34" y="71"/>
                    </a:cubicBezTo>
                    <a:cubicBezTo>
                      <a:pt x="30" y="66"/>
                      <a:pt x="23" y="52"/>
                      <a:pt x="23" y="36"/>
                    </a:cubicBezTo>
                    <a:cubicBezTo>
                      <a:pt x="24" y="35"/>
                      <a:pt x="24" y="35"/>
                      <a:pt x="24" y="35"/>
                    </a:cubicBezTo>
                    <a:cubicBezTo>
                      <a:pt x="28" y="26"/>
                      <a:pt x="51" y="8"/>
                      <a:pt x="75" y="11"/>
                    </a:cubicBezTo>
                    <a:moveTo>
                      <a:pt x="11" y="70"/>
                    </a:moveTo>
                    <a:cubicBezTo>
                      <a:pt x="15" y="79"/>
                      <a:pt x="35" y="108"/>
                      <a:pt x="71" y="111"/>
                    </a:cubicBezTo>
                    <a:cubicBezTo>
                      <a:pt x="67" y="115"/>
                      <a:pt x="52" y="122"/>
                      <a:pt x="36" y="122"/>
                    </a:cubicBezTo>
                    <a:cubicBezTo>
                      <a:pt x="35" y="122"/>
                      <a:pt x="35" y="122"/>
                      <a:pt x="35" y="122"/>
                    </a:cubicBezTo>
                    <a:cubicBezTo>
                      <a:pt x="27" y="118"/>
                      <a:pt x="9" y="95"/>
                      <a:pt x="11" y="70"/>
                    </a:cubicBezTo>
                    <a:moveTo>
                      <a:pt x="71" y="135"/>
                    </a:moveTo>
                    <a:cubicBezTo>
                      <a:pt x="80" y="130"/>
                      <a:pt x="109" y="110"/>
                      <a:pt x="112" y="74"/>
                    </a:cubicBezTo>
                    <a:cubicBezTo>
                      <a:pt x="116" y="79"/>
                      <a:pt x="123" y="94"/>
                      <a:pt x="123" y="110"/>
                    </a:cubicBezTo>
                    <a:cubicBezTo>
                      <a:pt x="122" y="111"/>
                      <a:pt x="122" y="111"/>
                      <a:pt x="122" y="111"/>
                    </a:cubicBezTo>
                    <a:cubicBezTo>
                      <a:pt x="118" y="119"/>
                      <a:pt x="95" y="137"/>
                      <a:pt x="71" y="135"/>
                    </a:cubicBezTo>
                    <a:moveTo>
                      <a:pt x="135" y="75"/>
                    </a:moveTo>
                    <a:cubicBezTo>
                      <a:pt x="131" y="66"/>
                      <a:pt x="111" y="37"/>
                      <a:pt x="75" y="35"/>
                    </a:cubicBezTo>
                    <a:cubicBezTo>
                      <a:pt x="79" y="30"/>
                      <a:pt x="94" y="23"/>
                      <a:pt x="110" y="23"/>
                    </a:cubicBezTo>
                    <a:cubicBezTo>
                      <a:pt x="111" y="24"/>
                      <a:pt x="111" y="24"/>
                      <a:pt x="111" y="24"/>
                    </a:cubicBezTo>
                    <a:cubicBezTo>
                      <a:pt x="119" y="28"/>
                      <a:pt x="137" y="51"/>
                      <a:pt x="135" y="75"/>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spTree>
    <p:extLst>
      <p:ext uri="{BB962C8B-B14F-4D97-AF65-F5344CB8AC3E}">
        <p14:creationId xmlns:p14="http://schemas.microsoft.com/office/powerpoint/2010/main" val="81518828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2"/>
            </p:custDataLst>
          </p:nvPr>
        </p:nvSpPr>
        <p:spPr>
          <a:xfrm>
            <a:off x="1" y="1"/>
            <a:ext cx="158751" cy="158751"/>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121917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sym typeface="Calibri" panose="020F0502020204030204" pitchFamily="34" charset="0"/>
            </a:endParaRPr>
          </a:p>
        </p:txBody>
      </p:sp>
      <p:sp>
        <p:nvSpPr>
          <p:cNvPr id="5" name="FooterSimple" hidden="1"/>
          <p:cNvSpPr txBox="1"/>
          <p:nvPr userDrawn="1">
            <p:custDataLst>
              <p:tags r:id="rId3"/>
            </p:custDataLst>
          </p:nvPr>
        </p:nvSpPr>
        <p:spPr>
          <a:xfrm rot="16200000">
            <a:off x="10562168" y="5118309"/>
            <a:ext cx="2743200" cy="96950"/>
          </a:xfrm>
          <a:prstGeom prst="rect">
            <a:avLst/>
          </a:prstGeom>
          <a:noFill/>
        </p:spPr>
        <p:txBody>
          <a:bodyPr lIns="0" tIns="0" rIns="0" bIns="0" anchor="b">
            <a:spAutoFit/>
          </a:bodyPr>
          <a:lstStyle/>
          <a:p>
            <a:pPr marL="0" marR="0" lvl="0" indent="0" algn="l" defTabSz="121917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Calibri"/>
                <a:ea typeface="+mn-ea"/>
                <a:cs typeface="+mn-cs"/>
                <a:sym typeface="+mn-lt"/>
              </a:rPr>
              <a:t>DSE &amp; DSM Training Deck_with Intune Login.pptx</a:t>
            </a:r>
            <a:endParaRPr kumimoji="0" lang="en-US" sz="700" b="0" i="0" u="none" strike="noStrike" kern="1200" cap="none" spc="0" normalizeH="0" baseline="0" noProof="0" dirty="0">
              <a:ln>
                <a:noFill/>
              </a:ln>
              <a:solidFill>
                <a:prstClr val="white">
                  <a:lumMod val="50000"/>
                </a:prstClr>
              </a:solidFill>
              <a:effectLst/>
              <a:uLnTx/>
              <a:uFillTx/>
              <a:latin typeface="Calibri"/>
              <a:ea typeface="+mn-ea"/>
              <a:cs typeface="+mn-cs"/>
              <a:sym typeface="+mn-lt"/>
            </a:endParaRPr>
          </a:p>
        </p:txBody>
      </p:sp>
      <p:sp>
        <p:nvSpPr>
          <p:cNvPr id="6" name="Line 11"/>
          <p:cNvSpPr>
            <a:spLocks noChangeShapeType="1"/>
          </p:cNvSpPr>
          <p:nvPr userDrawn="1"/>
        </p:nvSpPr>
        <p:spPr bwMode="auto">
          <a:xfrm>
            <a:off x="0" y="1253067"/>
            <a:ext cx="12192000" cy="0"/>
          </a:xfrm>
          <a:prstGeom prst="line">
            <a:avLst/>
          </a:prstGeom>
          <a:noFill/>
          <a:ln w="63500">
            <a:solidFill>
              <a:srgbClr val="808080"/>
            </a:solidFill>
            <a:round/>
            <a:headEnd/>
            <a:tailEnd/>
          </a:ln>
          <a:extLst>
            <a:ext uri="{909E8E84-426E-40DD-AFC4-6F175D3DCCD1}">
              <a14:hiddenFill xmlns:a14="http://schemas.microsoft.com/office/drawing/2010/main">
                <a:noFill/>
              </a14:hiddenFill>
            </a:ext>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Calibri"/>
              <a:ea typeface="+mn-ea"/>
              <a:cs typeface="+mn-cs"/>
              <a:sym typeface="+mn-lt"/>
            </a:endParaRPr>
          </a:p>
        </p:txBody>
      </p:sp>
      <p:pic>
        <p:nvPicPr>
          <p:cNvPr id="7" name="Picture 11"/>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065934" y="112185"/>
            <a:ext cx="994833" cy="994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307778" y="689478"/>
            <a:ext cx="10614225" cy="339225"/>
          </a:xfrm>
        </p:spPr>
        <p:txBody>
          <a:bodyPr/>
          <a:lstStyle>
            <a:lvl1pPr>
              <a:defRPr>
                <a:latin typeface="+mj-lt"/>
                <a:ea typeface="+mj-ea"/>
                <a:cs typeface="+mj-cs"/>
                <a:sym typeface="+mj-lt"/>
              </a:defRPr>
            </a:lvl1pPr>
          </a:lstStyle>
          <a:p>
            <a:r>
              <a:rPr lang="en-US"/>
              <a:t>Click to edit Master title style</a:t>
            </a:r>
            <a:endParaRPr lang="en-US" dirty="0"/>
          </a:p>
        </p:txBody>
      </p:sp>
      <p:sp>
        <p:nvSpPr>
          <p:cNvPr id="9" name="Date Placeholder 3"/>
          <p:cNvSpPr>
            <a:spLocks noGrp="1"/>
          </p:cNvSpPr>
          <p:nvPr>
            <p:ph type="dt" sz="half" idx="10"/>
          </p:nvPr>
        </p:nvSpPr>
        <p:spPr>
          <a:xfrm>
            <a:off x="10155767" y="6532663"/>
            <a:ext cx="1481667" cy="153888"/>
          </a:xfrm>
        </p:spPr>
        <p:txBody>
          <a:bodyPr wrap="square" lIns="0" tIns="0" rIns="0" bIns="0" anchor="b">
            <a:spAutoFit/>
          </a:bodyPr>
          <a:lstStyle>
            <a:lvl1pPr algn="r">
              <a:defRPr sz="1000">
                <a:solidFill>
                  <a:schemeClr val="tx1"/>
                </a:solidFill>
                <a:latin typeface="+mn-lt"/>
                <a:ea typeface="+mn-ea"/>
                <a:cs typeface="+mn-cs"/>
                <a:sym typeface="+mn-lt"/>
              </a:defRPr>
            </a:lvl1pPr>
          </a:lstStyle>
          <a:p>
            <a:pPr defTabSz="1219170">
              <a:defRPr/>
            </a:pPr>
            <a:endParaRPr lang="en-US">
              <a:solidFill>
                <a:prstClr val="black"/>
              </a:solidFill>
            </a:endParaRPr>
          </a:p>
        </p:txBody>
      </p:sp>
    </p:spTree>
    <p:extLst>
      <p:ext uri="{BB962C8B-B14F-4D97-AF65-F5344CB8AC3E}">
        <p14:creationId xmlns:p14="http://schemas.microsoft.com/office/powerpoint/2010/main" val="308818685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4_After Sales Support layout 1">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04601" y="-12699"/>
            <a:ext cx="774700"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12">
            <a:extLst>
              <a:ext uri="{FF2B5EF4-FFF2-40B4-BE49-F238E27FC236}">
                <a16:creationId xmlns:a16="http://schemas.microsoft.com/office/drawing/2014/main" id="{9334D842-888D-4852-BE61-491A2F8CBB6E}"/>
              </a:ext>
            </a:extLst>
          </p:cNvPr>
          <p:cNvSpPr>
            <a:spLocks noGrp="1"/>
          </p:cNvSpPr>
          <p:nvPr>
            <p:ph type="body" sz="quarter" idx="10"/>
          </p:nvPr>
        </p:nvSpPr>
        <p:spPr>
          <a:xfrm>
            <a:off x="13063" y="1"/>
            <a:ext cx="11377883" cy="761867"/>
          </a:xfrm>
        </p:spPr>
        <p:txBody>
          <a:bodyPr anchor="ctr">
            <a:normAutofit/>
          </a:bodyPr>
          <a:lstStyle>
            <a:lvl1pPr marL="0" indent="0" algn="ctr">
              <a:buNone/>
              <a:defRPr sz="3600" b="1">
                <a:solidFill>
                  <a:schemeClr val="tx1"/>
                </a:solidFill>
                <a:latin typeface="Century Gothic" panose="020B0502020202020204" pitchFamily="34" charset="0"/>
              </a:defRPr>
            </a:lvl1pPr>
          </a:lstStyle>
          <a:p>
            <a:pPr lvl="0"/>
            <a:endParaRPr lang="en-IN" dirty="0"/>
          </a:p>
        </p:txBody>
      </p:sp>
    </p:spTree>
    <p:extLst>
      <p:ext uri="{BB962C8B-B14F-4D97-AF65-F5344CB8AC3E}">
        <p14:creationId xmlns:p14="http://schemas.microsoft.com/office/powerpoint/2010/main" val="259709110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46934" y="148167"/>
            <a:ext cx="622300" cy="620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4F63DCBE-15F8-4AC4-BDDF-F3FCB171ED61}"/>
              </a:ext>
            </a:extLst>
          </p:cNvPr>
          <p:cNvSpPr/>
          <p:nvPr userDrawn="1"/>
        </p:nvSpPr>
        <p:spPr>
          <a:xfrm>
            <a:off x="273051" y="156634"/>
            <a:ext cx="368300" cy="723900"/>
          </a:xfrm>
          <a:prstGeom prst="rect">
            <a:avLst/>
          </a:prstGeom>
          <a:solidFill>
            <a:srgbClr val="0089C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0C7BF96B-52B9-4468-895F-03CC7655E9F6}"/>
              </a:ext>
            </a:extLst>
          </p:cNvPr>
          <p:cNvSpPr/>
          <p:nvPr userDrawn="1"/>
        </p:nvSpPr>
        <p:spPr>
          <a:xfrm>
            <a:off x="1" y="156634"/>
            <a:ext cx="190500" cy="723900"/>
          </a:xfrm>
          <a:prstGeom prst="rect">
            <a:avLst/>
          </a:prstGeom>
          <a:solidFill>
            <a:srgbClr val="0089C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6" name="Straight Connector 5">
            <a:extLst>
              <a:ext uri="{FF2B5EF4-FFF2-40B4-BE49-F238E27FC236}">
                <a16:creationId xmlns:a16="http://schemas.microsoft.com/office/drawing/2014/main" id="{7C1380B8-D9A5-444E-BE82-128F8872EC7B}"/>
              </a:ext>
            </a:extLst>
          </p:cNvPr>
          <p:cNvCxnSpPr/>
          <p:nvPr userDrawn="1"/>
        </p:nvCxnSpPr>
        <p:spPr>
          <a:xfrm>
            <a:off x="723901" y="880533"/>
            <a:ext cx="10723033"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7" name="Title 5">
            <a:extLst>
              <a:ext uri="{FF2B5EF4-FFF2-40B4-BE49-F238E27FC236}">
                <a16:creationId xmlns:a16="http://schemas.microsoft.com/office/drawing/2014/main" id="{AE5712BB-CC71-45AE-9B5B-1FEAFCA32365}"/>
              </a:ext>
            </a:extLst>
          </p:cNvPr>
          <p:cNvSpPr>
            <a:spLocks noGrp="1"/>
          </p:cNvSpPr>
          <p:nvPr>
            <p:ph type="title"/>
          </p:nvPr>
        </p:nvSpPr>
        <p:spPr>
          <a:xfrm>
            <a:off x="723326" y="196625"/>
            <a:ext cx="10314793" cy="662783"/>
          </a:xfrm>
        </p:spPr>
        <p:txBody>
          <a:bodyPr>
            <a:normAutofit/>
          </a:bodyPr>
          <a:lstStyle>
            <a:lvl1pPr>
              <a:defRPr sz="3600"/>
            </a:lvl1pPr>
          </a:lstStyle>
          <a:p>
            <a:r>
              <a:rPr lang="en-US" dirty="0"/>
              <a:t>Click to edit Master title style</a:t>
            </a:r>
          </a:p>
        </p:txBody>
      </p:sp>
    </p:spTree>
    <p:extLst>
      <p:ext uri="{BB962C8B-B14F-4D97-AF65-F5344CB8AC3E}">
        <p14:creationId xmlns:p14="http://schemas.microsoft.com/office/powerpoint/2010/main" val="343165139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defTabSz="1219170">
              <a:defRPr/>
            </a:pPr>
            <a:fld id="{DD0D7B44-7D3F-4D09-9ECB-12B47A5F6CE1}"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1219170">
              <a:defRPr/>
            </a:pPr>
            <a:fld id="{2DE55F20-1889-4BA8-952C-5D81F2DB9FE1}"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413121666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normAutofit/>
          </a:bodyPr>
          <a:lstStyle>
            <a:lvl1pPr>
              <a:defRPr sz="3467"/>
            </a:lvl1pPr>
            <a:lvl2pPr>
              <a:defRPr sz="2667"/>
            </a:lvl2pPr>
            <a:lvl3pPr>
              <a:defRPr sz="2400"/>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defTabSz="1219170">
              <a:defRPr/>
            </a:pPr>
            <a:fld id="{1988BCD6-38AB-418F-9BE8-4EDB22D89E71}"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1219170">
              <a:defRPr/>
            </a:pPr>
            <a:fld id="{A5EAB5B2-7BD5-45A5-B682-B714BB9BC1A5}"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332607533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Rectangle: Top Corners Snipped 6"/>
          <p:cNvSpPr/>
          <p:nvPr userDrawn="1"/>
        </p:nvSpPr>
        <p:spPr>
          <a:xfrm rot="10800000">
            <a:off x="609600" y="0"/>
            <a:ext cx="9144000" cy="1026584"/>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1" name="Content Placeholder 10"/>
          <p:cNvSpPr>
            <a:spLocks noGrp="1"/>
          </p:cNvSpPr>
          <p:nvPr>
            <p:ph sz="quarter" idx="11"/>
          </p:nvPr>
        </p:nvSpPr>
        <p:spPr>
          <a:xfrm>
            <a:off x="711201" y="-6932"/>
            <a:ext cx="9042399" cy="1034451"/>
          </a:xfrm>
        </p:spPr>
        <p:txBody>
          <a:bodyPr anchor="ctr">
            <a:normAutofit/>
          </a:bodyPr>
          <a:lstStyle>
            <a:lvl1pPr marL="0" indent="0">
              <a:buNone/>
              <a:defRPr sz="4267" b="0" i="0">
                <a:latin typeface="Century Gothic" panose="020B0502020202020204" pitchFamily="34" charset="0"/>
              </a:defRPr>
            </a:lvl1pPr>
          </a:lstStyle>
          <a:p>
            <a:pPr lvl="0"/>
            <a:endParaRPr lang="en-US" dirty="0"/>
          </a:p>
        </p:txBody>
      </p:sp>
    </p:spTree>
    <p:extLst>
      <p:ext uri="{BB962C8B-B14F-4D97-AF65-F5344CB8AC3E}">
        <p14:creationId xmlns:p14="http://schemas.microsoft.com/office/powerpoint/2010/main" val="242187057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965325"/>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65325"/>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defTabSz="1219170">
              <a:defRPr/>
            </a:pPr>
            <a:fld id="{A0338C25-ABBB-430A-94F4-2E4CEED1F636}"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1219170">
              <a:defRPr/>
            </a:pPr>
            <a:fld id="{2D327CA5-B1C5-4519-B2B7-D5CF4368A1CF}"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254284532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07968" y="64788"/>
            <a:ext cx="9969633" cy="1039091"/>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303755" y="1535113"/>
            <a:ext cx="5250459" cy="639763"/>
          </a:xfrm>
        </p:spPr>
        <p:txBody>
          <a:bodyPr anchor="b"/>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1303755" y="2174875"/>
            <a:ext cx="5250459" cy="3951288"/>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746384" y="1535113"/>
            <a:ext cx="5252521" cy="639763"/>
          </a:xfrm>
        </p:spPr>
        <p:txBody>
          <a:bodyPr anchor="b"/>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746384" y="2174875"/>
            <a:ext cx="5252521" cy="3951288"/>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defTabSz="1219170">
              <a:defRPr/>
            </a:pPr>
            <a:fld id="{CF7FE1A0-4B7E-4F5B-93D0-7F2574327E86}"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defTabSz="1219170">
              <a:defRPr/>
            </a:pPr>
            <a:fld id="{29FB1590-9887-4B2F-9275-1370228C7641}"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32760965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9"/>
        <p:cNvGrpSpPr/>
        <p:nvPr/>
      </p:nvGrpSpPr>
      <p:grpSpPr>
        <a:xfrm>
          <a:off x="0" y="0"/>
          <a:ext cx="0" cy="0"/>
          <a:chOff x="0" y="0"/>
          <a:chExt cx="0" cy="0"/>
        </a:xfrm>
      </p:grpSpPr>
      <p:grpSp>
        <p:nvGrpSpPr>
          <p:cNvPr id="20" name="Google Shape;20;g91f7f3216c_0_87"/>
          <p:cNvGrpSpPr/>
          <p:nvPr/>
        </p:nvGrpSpPr>
        <p:grpSpPr>
          <a:xfrm>
            <a:off x="5875200" y="1"/>
            <a:ext cx="6316800" cy="6857420"/>
            <a:chOff x="4406400" y="0"/>
            <a:chExt cx="4737600" cy="5143065"/>
          </a:xfrm>
        </p:grpSpPr>
        <p:sp>
          <p:nvSpPr>
            <p:cNvPr id="21" name="Google Shape;21;g91f7f3216c_0_87"/>
            <p:cNvSpPr/>
            <p:nvPr/>
          </p:nvSpPr>
          <p:spPr>
            <a:xfrm rot="5400000">
              <a:off x="4408200" y="-1800"/>
              <a:ext cx="4734000" cy="4737600"/>
            </a:xfrm>
            <a:prstGeom prst="diagStripe">
              <a:avLst>
                <a:gd name="adj" fmla="val 49469"/>
              </a:avLst>
            </a:prstGeom>
            <a:solidFill>
              <a:schemeClr val="lt1">
                <a:alpha val="346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 name="Google Shape;22;g91f7f3216c_0_87"/>
            <p:cNvSpPr/>
            <p:nvPr/>
          </p:nvSpPr>
          <p:spPr>
            <a:xfrm rot="5400000">
              <a:off x="4841125" y="5700"/>
              <a:ext cx="4298100" cy="4286700"/>
            </a:xfrm>
            <a:prstGeom prst="diagStripe">
              <a:avLst>
                <a:gd name="adj" fmla="val 0"/>
              </a:avLst>
            </a:prstGeom>
            <a:solidFill>
              <a:schemeClr val="lt1">
                <a:alpha val="346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 name="Google Shape;23;g91f7f3216c_0_87"/>
            <p:cNvSpPr/>
            <p:nvPr/>
          </p:nvSpPr>
          <p:spPr>
            <a:xfrm rot="-5400000">
              <a:off x="5618399" y="1236468"/>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 name="Google Shape;24;g91f7f3216c_0_87"/>
            <p:cNvSpPr/>
            <p:nvPr/>
          </p:nvSpPr>
          <p:spPr>
            <a:xfrm flipH="1">
              <a:off x="5849857" y="1443956"/>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 name="Google Shape;25;g91f7f3216c_0_87"/>
            <p:cNvSpPr/>
            <p:nvPr/>
          </p:nvSpPr>
          <p:spPr>
            <a:xfrm rot="-5400000">
              <a:off x="5987081" y="2469465"/>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 name="Google Shape;26;g91f7f3216c_0_87"/>
            <p:cNvSpPr/>
            <p:nvPr/>
          </p:nvSpPr>
          <p:spPr>
            <a:xfrm flipH="1">
              <a:off x="6222115" y="2676953"/>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 name="Google Shape;27;g91f7f3216c_0_87"/>
            <p:cNvSpPr/>
            <p:nvPr/>
          </p:nvSpPr>
          <p:spPr>
            <a:xfrm rot="-5400000">
              <a:off x="6675341" y="1862018"/>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 name="Google Shape;28;g91f7f3216c_0_87"/>
            <p:cNvSpPr/>
            <p:nvPr/>
          </p:nvSpPr>
          <p:spPr>
            <a:xfrm flipH="1">
              <a:off x="6908099" y="2069505"/>
              <a:ext cx="808800" cy="808800"/>
            </a:xfrm>
            <a:prstGeom prst="diagStripe">
              <a:avLst>
                <a:gd name="adj" fmla="val 50000"/>
              </a:avLst>
            </a:prstGeom>
            <a:solidFill>
              <a:schemeClr val="lt2"/>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 name="Google Shape;29;g91f7f3216c_0_87"/>
            <p:cNvSpPr/>
            <p:nvPr/>
          </p:nvSpPr>
          <p:spPr>
            <a:xfrm rot="-5400000">
              <a:off x="6861141" y="2477810"/>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 name="Google Shape;30;g91f7f3216c_0_87"/>
            <p:cNvSpPr/>
            <p:nvPr/>
          </p:nvSpPr>
          <p:spPr>
            <a:xfrm flipH="1">
              <a:off x="7965266" y="2692963"/>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 name="Google Shape;31;g91f7f3216c_0_87"/>
            <p:cNvSpPr/>
            <p:nvPr/>
          </p:nvSpPr>
          <p:spPr>
            <a:xfrm flipH="1">
              <a:off x="8145082" y="3308755"/>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 name="Google Shape;32;g91f7f3216c_0_87"/>
            <p:cNvSpPr/>
            <p:nvPr/>
          </p:nvSpPr>
          <p:spPr>
            <a:xfrm rot="-5400000">
              <a:off x="7047599" y="3095015"/>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 name="Google Shape;33;g91f7f3216c_0_87"/>
            <p:cNvSpPr/>
            <p:nvPr/>
          </p:nvSpPr>
          <p:spPr>
            <a:xfrm flipH="1">
              <a:off x="7276649" y="3302502"/>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 name="Google Shape;34;g91f7f3216c_0_87"/>
            <p:cNvSpPr/>
            <p:nvPr/>
          </p:nvSpPr>
          <p:spPr>
            <a:xfrm rot="-5400000">
              <a:off x="7227414" y="3710807"/>
              <a:ext cx="808800" cy="808800"/>
            </a:xfrm>
            <a:prstGeom prst="diagStripe">
              <a:avLst>
                <a:gd name="adj" fmla="val 50000"/>
              </a:avLst>
            </a:prstGeom>
            <a:solidFill>
              <a:schemeClr val="accent1"/>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 name="Google Shape;35;g91f7f3216c_0_87"/>
            <p:cNvSpPr/>
            <p:nvPr/>
          </p:nvSpPr>
          <p:spPr>
            <a:xfrm flipH="1">
              <a:off x="7462448" y="3918294"/>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 name="Google Shape;36;g91f7f3216c_0_87"/>
            <p:cNvSpPr/>
            <p:nvPr/>
          </p:nvSpPr>
          <p:spPr>
            <a:xfrm rot="-5400000">
              <a:off x="8102491" y="3718473"/>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7" name="Google Shape;37;g91f7f3216c_0_87"/>
            <p:cNvSpPr/>
            <p:nvPr/>
          </p:nvSpPr>
          <p:spPr>
            <a:xfrm flipH="1">
              <a:off x="8334533" y="3925960"/>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 name="Google Shape;38;g91f7f3216c_0_87"/>
            <p:cNvSpPr/>
            <p:nvPr/>
          </p:nvSpPr>
          <p:spPr>
            <a:xfrm rot="-5400000">
              <a:off x="8288290" y="4334265"/>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39" name="Google Shape;39;g91f7f3216c_0_87"/>
          <p:cNvSpPr txBox="1">
            <a:spLocks noGrp="1"/>
          </p:cNvSpPr>
          <p:nvPr>
            <p:ph type="title"/>
          </p:nvPr>
        </p:nvSpPr>
        <p:spPr>
          <a:xfrm>
            <a:off x="1098467" y="2737333"/>
            <a:ext cx="6116000" cy="1531600"/>
          </a:xfrm>
          <a:prstGeom prst="rect">
            <a:avLst/>
          </a:prstGeom>
        </p:spPr>
        <p:txBody>
          <a:bodyPr spcFirstLastPara="1" wrap="square" lIns="91425" tIns="91425" rIns="91425" bIns="91425" anchor="ctr"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40" name="Google Shape;40;g91f7f3216c_0_8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defTabSz="1219170">
              <a:buClr>
                <a:srgbClr val="000000"/>
              </a:buClr>
            </a:pPr>
            <a:fld id="{00000000-1234-1234-1234-123412341234}" type="slidenum">
              <a:rPr lang="en-GB" kern="0" smtClean="0">
                <a:solidFill>
                  <a:srgbClr val="FFFFFF"/>
                </a:solidFill>
              </a:rPr>
              <a:pPr defTabSz="1219170">
                <a:buClr>
                  <a:srgbClr val="000000"/>
                </a:buClr>
              </a:pPr>
              <a:t>‹#›</a:t>
            </a:fld>
            <a:endParaRPr lang="en-GB" kern="0">
              <a:solidFill>
                <a:srgbClr val="FFFFFF"/>
              </a:solidFill>
            </a:endParaRPr>
          </a:p>
        </p:txBody>
      </p:sp>
    </p:spTree>
    <p:extLst>
      <p:ext uri="{BB962C8B-B14F-4D97-AF65-F5344CB8AC3E}">
        <p14:creationId xmlns:p14="http://schemas.microsoft.com/office/powerpoint/2010/main" val="41250442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22401" y="1334917"/>
            <a:ext cx="3314945" cy="960372"/>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1335678"/>
            <a:ext cx="6815667" cy="4837284"/>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429241" y="2295288"/>
            <a:ext cx="3314945" cy="3876912"/>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pPr defTabSz="1219170"/>
            <a:fld id="{FCDC3EC3-F503-4593-87FA-632892E2ED25}" type="datetimeFigureOut">
              <a:rPr lang="en-US" smtClean="0">
                <a:solidFill>
                  <a:prstClr val="black">
                    <a:tint val="75000"/>
                  </a:prstClr>
                </a:solidFill>
              </a:rPr>
              <a:pPr defTabSz="1219170"/>
              <a:t>12/1/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1219170"/>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1219170"/>
            <a:fld id="{BA3D8712-1930-4307-AAF2-C718ECB8B04A}" type="slidenum">
              <a:rPr lang="en-US" smtClean="0">
                <a:solidFill>
                  <a:prstClr val="black">
                    <a:tint val="75000"/>
                  </a:prstClr>
                </a:solidFill>
              </a:rPr>
              <a:pPr defTabSz="1219170"/>
              <a:t>‹#›</a:t>
            </a:fld>
            <a:endParaRPr lang="en-US">
              <a:solidFill>
                <a:prstClr val="black">
                  <a:tint val="75000"/>
                </a:prstClr>
              </a:solidFill>
            </a:endParaRPr>
          </a:p>
        </p:txBody>
      </p:sp>
    </p:spTree>
    <p:extLst>
      <p:ext uri="{BB962C8B-B14F-4D97-AF65-F5344CB8AC3E}">
        <p14:creationId xmlns:p14="http://schemas.microsoft.com/office/powerpoint/2010/main" val="396620627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defTabSz="1219170">
              <a:defRPr/>
            </a:pPr>
            <a:fld id="{7AAB5FF9-D735-44C1-A03F-E9E015A022BF}"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defTabSz="1219170">
              <a:defRPr/>
            </a:pPr>
            <a:fld id="{E73D0376-6838-49C1-B646-B6208E110A4B}"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73414677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defTabSz="1219170">
              <a:defRPr/>
            </a:pPr>
            <a:fld id="{E095C60F-5863-40A7-B3F5-8A924A8E0DEC}"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defTabSz="1219170">
              <a:defRPr/>
            </a:pPr>
            <a:fld id="{F73F86EB-7DCD-4D03-92BA-82A53AA44C03}"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366781656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22401" y="1334917"/>
            <a:ext cx="3314945" cy="960372"/>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1335678"/>
            <a:ext cx="6815667" cy="4837284"/>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429241" y="2295288"/>
            <a:ext cx="3314945" cy="3876912"/>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defTabSz="1219170">
              <a:defRPr/>
            </a:pPr>
            <a:fld id="{609A19EB-1B9A-4EC0-B0F4-26558E059F46}"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1219170">
              <a:defRPr/>
            </a:pPr>
            <a:fld id="{EF99A2AA-7FAC-45D9-9C05-DEC8ACC0C54B}"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31308419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1498599"/>
            <a:ext cx="7315200" cy="3228975"/>
          </a:xfr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defTabSz="1219170">
              <a:defRPr/>
            </a:pPr>
            <a:fld id="{47863A1B-423F-426D-B24A-4D7C41206C74}"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1219170">
              <a:defRPr/>
            </a:pPr>
            <a:fld id="{EC32D896-DCC1-45A7-87B2-C4F05D83EAA9}"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201077635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defTabSz="1219170">
              <a:defRPr/>
            </a:pPr>
            <a:fld id="{47B51885-85AE-4E3B-BDF5-89241C29D94E}"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1219170">
              <a:defRPr/>
            </a:pPr>
            <a:fld id="{DE600689-FFAB-420E-B759-70AA96F1CB09}"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23540327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1307433"/>
            <a:ext cx="2743200" cy="4826636"/>
          </a:xfrm>
        </p:spPr>
        <p:txBody>
          <a:bodyPr vert="eaVert"/>
          <a:lstStyle>
            <a:lvl1pPr>
              <a:defRPr sz="4267"/>
            </a:lvl1pPr>
          </a:lstStyle>
          <a:p>
            <a:r>
              <a:rPr lang="en-US" dirty="0"/>
              <a:t>Click to edit Master title style</a:t>
            </a:r>
          </a:p>
        </p:txBody>
      </p:sp>
      <p:sp>
        <p:nvSpPr>
          <p:cNvPr id="3" name="Vertical Text Placeholder 2"/>
          <p:cNvSpPr>
            <a:spLocks noGrp="1"/>
          </p:cNvSpPr>
          <p:nvPr>
            <p:ph type="body" orient="vert" idx="1"/>
          </p:nvPr>
        </p:nvSpPr>
        <p:spPr>
          <a:xfrm>
            <a:off x="609600" y="1307433"/>
            <a:ext cx="8026400" cy="4826636"/>
          </a:xfrm>
        </p:spPr>
        <p:txBody>
          <a:bodyPr vert="eaVert">
            <a:normAutofit/>
          </a:bodyPr>
          <a:lstStyle>
            <a:lvl1pPr>
              <a:defRPr sz="3200"/>
            </a:lvl1pPr>
            <a:lvl2pPr>
              <a:defRPr sz="2667"/>
            </a:lvl2pPr>
            <a:lvl3pPr>
              <a:defRPr sz="2400"/>
            </a:lvl3pPr>
            <a:lvl4pPr>
              <a:defRPr sz="2133"/>
            </a:lvl4pPr>
            <a:lvl5pPr>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defTabSz="1219170">
              <a:defRPr/>
            </a:pPr>
            <a:fld id="{023C37F1-C502-43C3-9C66-7A66B9376E6A}"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1219170">
              <a:defRPr/>
            </a:pPr>
            <a:fld id="{41CE3F8B-3354-4335-8A5F-9C23FA642986}"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357116214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7347556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Heading 1_Title Slide">
    <p:spTree>
      <p:nvGrpSpPr>
        <p:cNvPr id="1" name=""/>
        <p:cNvGrpSpPr/>
        <p:nvPr/>
      </p:nvGrpSpPr>
      <p:grpSpPr>
        <a:xfrm>
          <a:off x="0" y="0"/>
          <a:ext cx="0" cy="0"/>
          <a:chOff x="0" y="0"/>
          <a:chExt cx="0" cy="0"/>
        </a:xfrm>
      </p:grpSpPr>
      <p:grpSp>
        <p:nvGrpSpPr>
          <p:cNvPr id="2" name="Group 7"/>
          <p:cNvGrpSpPr>
            <a:grpSpLocks/>
          </p:cNvGrpSpPr>
          <p:nvPr userDrawn="1"/>
        </p:nvGrpSpPr>
        <p:grpSpPr bwMode="auto">
          <a:xfrm>
            <a:off x="8113184" y="266701"/>
            <a:ext cx="3818467" cy="791633"/>
            <a:chOff x="2863850" y="3078163"/>
            <a:chExt cx="3413126" cy="708026"/>
          </a:xfrm>
        </p:grpSpPr>
        <p:grpSp>
          <p:nvGrpSpPr>
            <p:cNvPr id="3" name="Group 8"/>
            <p:cNvGrpSpPr>
              <a:grpSpLocks/>
            </p:cNvGrpSpPr>
            <p:nvPr/>
          </p:nvGrpSpPr>
          <p:grpSpPr bwMode="auto">
            <a:xfrm>
              <a:off x="4357688" y="3630613"/>
              <a:ext cx="1919288" cy="155576"/>
              <a:chOff x="4357688" y="3630613"/>
              <a:chExt cx="1919288" cy="155576"/>
            </a:xfrm>
          </p:grpSpPr>
          <p:sp>
            <p:nvSpPr>
              <p:cNvPr id="19" name="Freeform 7"/>
              <p:cNvSpPr>
                <a:spLocks noEditPoints="1"/>
              </p:cNvSpPr>
              <p:nvPr/>
            </p:nvSpPr>
            <p:spPr bwMode="auto">
              <a:xfrm>
                <a:off x="4357688" y="3630613"/>
                <a:ext cx="109538" cy="125413"/>
              </a:xfrm>
              <a:custGeom>
                <a:avLst/>
                <a:gdLst>
                  <a:gd name="T0" fmla="*/ 60484026 w 69"/>
                  <a:gd name="T1" fmla="*/ 126008315 h 79"/>
                  <a:gd name="T2" fmla="*/ 83166330 w 69"/>
                  <a:gd name="T3" fmla="*/ 55443659 h 79"/>
                  <a:gd name="T4" fmla="*/ 108368007 w 69"/>
                  <a:gd name="T5" fmla="*/ 126008315 h 79"/>
                  <a:gd name="T6" fmla="*/ 60484026 w 69"/>
                  <a:gd name="T7" fmla="*/ 126008315 h 79"/>
                  <a:gd name="T8" fmla="*/ 100806710 w 69"/>
                  <a:gd name="T9" fmla="*/ 0 h 79"/>
                  <a:gd name="T10" fmla="*/ 70564697 w 69"/>
                  <a:gd name="T11" fmla="*/ 0 h 79"/>
                  <a:gd name="T12" fmla="*/ 0 w 69"/>
                  <a:gd name="T13" fmla="*/ 199093931 h 79"/>
                  <a:gd name="T14" fmla="*/ 35282349 w 69"/>
                  <a:gd name="T15" fmla="*/ 199093931 h 79"/>
                  <a:gd name="T16" fmla="*/ 47883981 w 69"/>
                  <a:gd name="T17" fmla="*/ 163811603 h 79"/>
                  <a:gd name="T18" fmla="*/ 118448678 w 69"/>
                  <a:gd name="T19" fmla="*/ 163811603 h 79"/>
                  <a:gd name="T20" fmla="*/ 131048723 w 69"/>
                  <a:gd name="T21" fmla="*/ 199093931 h 79"/>
                  <a:gd name="T22" fmla="*/ 173892369 w 69"/>
                  <a:gd name="T23" fmla="*/ 199093931 h 79"/>
                  <a:gd name="T24" fmla="*/ 100806710 w 69"/>
                  <a:gd name="T25" fmla="*/ 0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9" h="79">
                    <a:moveTo>
                      <a:pt x="24" y="50"/>
                    </a:moveTo>
                    <a:lnTo>
                      <a:pt x="33" y="22"/>
                    </a:lnTo>
                    <a:lnTo>
                      <a:pt x="43" y="50"/>
                    </a:lnTo>
                    <a:lnTo>
                      <a:pt x="24" y="50"/>
                    </a:lnTo>
                    <a:close/>
                    <a:moveTo>
                      <a:pt x="40" y="0"/>
                    </a:moveTo>
                    <a:lnTo>
                      <a:pt x="28" y="0"/>
                    </a:lnTo>
                    <a:lnTo>
                      <a:pt x="0" y="79"/>
                    </a:lnTo>
                    <a:lnTo>
                      <a:pt x="14" y="79"/>
                    </a:lnTo>
                    <a:lnTo>
                      <a:pt x="19" y="65"/>
                    </a:lnTo>
                    <a:lnTo>
                      <a:pt x="47" y="65"/>
                    </a:lnTo>
                    <a:lnTo>
                      <a:pt x="52" y="79"/>
                    </a:lnTo>
                    <a:lnTo>
                      <a:pt x="69" y="79"/>
                    </a:lnTo>
                    <a:lnTo>
                      <a:pt x="40" y="0"/>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0" name="Freeform 8"/>
              <p:cNvSpPr>
                <a:spLocks noEditPoints="1"/>
              </p:cNvSpPr>
              <p:nvPr/>
            </p:nvSpPr>
            <p:spPr bwMode="auto">
              <a:xfrm>
                <a:off x="4473575" y="3660776"/>
                <a:ext cx="76200" cy="95250"/>
              </a:xfrm>
              <a:custGeom>
                <a:avLst/>
                <a:gdLst>
                  <a:gd name="T0" fmla="*/ 188709300 w 20"/>
                  <a:gd name="T1" fmla="*/ 261289800 h 25"/>
                  <a:gd name="T2" fmla="*/ 130644900 w 20"/>
                  <a:gd name="T3" fmla="*/ 290322000 h 25"/>
                  <a:gd name="T4" fmla="*/ 72580500 w 20"/>
                  <a:gd name="T5" fmla="*/ 246773700 h 25"/>
                  <a:gd name="T6" fmla="*/ 130644900 w 20"/>
                  <a:gd name="T7" fmla="*/ 203225400 h 25"/>
                  <a:gd name="T8" fmla="*/ 188709300 w 20"/>
                  <a:gd name="T9" fmla="*/ 203225400 h 25"/>
                  <a:gd name="T10" fmla="*/ 188709300 w 20"/>
                  <a:gd name="T11" fmla="*/ 232257600 h 25"/>
                  <a:gd name="T12" fmla="*/ 188709300 w 20"/>
                  <a:gd name="T13" fmla="*/ 261289800 h 25"/>
                  <a:gd name="T14" fmla="*/ 290322000 w 20"/>
                  <a:gd name="T15" fmla="*/ 130644900 h 25"/>
                  <a:gd name="T16" fmla="*/ 130644900 w 20"/>
                  <a:gd name="T17" fmla="*/ 0 h 25"/>
                  <a:gd name="T18" fmla="*/ 58064400 w 20"/>
                  <a:gd name="T19" fmla="*/ 14516100 h 25"/>
                  <a:gd name="T20" fmla="*/ 14516100 w 20"/>
                  <a:gd name="T21" fmla="*/ 58064400 h 25"/>
                  <a:gd name="T22" fmla="*/ 58064400 w 20"/>
                  <a:gd name="T23" fmla="*/ 101612700 h 25"/>
                  <a:gd name="T24" fmla="*/ 130644900 w 20"/>
                  <a:gd name="T25" fmla="*/ 72580500 h 25"/>
                  <a:gd name="T26" fmla="*/ 188709300 w 20"/>
                  <a:gd name="T27" fmla="*/ 130644900 h 25"/>
                  <a:gd name="T28" fmla="*/ 188709300 w 20"/>
                  <a:gd name="T29" fmla="*/ 145161000 h 25"/>
                  <a:gd name="T30" fmla="*/ 116128800 w 20"/>
                  <a:gd name="T31" fmla="*/ 145161000 h 25"/>
                  <a:gd name="T32" fmla="*/ 29032200 w 20"/>
                  <a:gd name="T33" fmla="*/ 174193200 h 25"/>
                  <a:gd name="T34" fmla="*/ 0 w 20"/>
                  <a:gd name="T35" fmla="*/ 246773700 h 25"/>
                  <a:gd name="T36" fmla="*/ 29032200 w 20"/>
                  <a:gd name="T37" fmla="*/ 333870300 h 25"/>
                  <a:gd name="T38" fmla="*/ 116128800 w 20"/>
                  <a:gd name="T39" fmla="*/ 362902500 h 25"/>
                  <a:gd name="T40" fmla="*/ 203225400 w 20"/>
                  <a:gd name="T41" fmla="*/ 319354200 h 25"/>
                  <a:gd name="T42" fmla="*/ 203225400 w 20"/>
                  <a:gd name="T43" fmla="*/ 362902500 h 25"/>
                  <a:gd name="T44" fmla="*/ 290322000 w 20"/>
                  <a:gd name="T45" fmla="*/ 362902500 h 25"/>
                  <a:gd name="T46" fmla="*/ 290322000 w 20"/>
                  <a:gd name="T47" fmla="*/ 13064490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3" y="18"/>
                    </a:moveTo>
                    <a:cubicBezTo>
                      <a:pt x="12" y="19"/>
                      <a:pt x="11" y="20"/>
                      <a:pt x="9" y="20"/>
                    </a:cubicBezTo>
                    <a:cubicBezTo>
                      <a:pt x="7" y="20"/>
                      <a:pt x="5" y="19"/>
                      <a:pt x="5" y="17"/>
                    </a:cubicBezTo>
                    <a:cubicBezTo>
                      <a:pt x="5" y="15"/>
                      <a:pt x="7" y="14"/>
                      <a:pt x="9" y="14"/>
                    </a:cubicBezTo>
                    <a:cubicBezTo>
                      <a:pt x="13" y="14"/>
                      <a:pt x="13" y="14"/>
                      <a:pt x="13" y="14"/>
                    </a:cubicBezTo>
                    <a:cubicBezTo>
                      <a:pt x="13" y="16"/>
                      <a:pt x="13" y="16"/>
                      <a:pt x="13" y="16"/>
                    </a:cubicBezTo>
                    <a:cubicBezTo>
                      <a:pt x="13" y="17"/>
                      <a:pt x="13" y="18"/>
                      <a:pt x="13" y="18"/>
                    </a:cubicBezTo>
                    <a:moveTo>
                      <a:pt x="20" y="9"/>
                    </a:moveTo>
                    <a:cubicBezTo>
                      <a:pt x="20" y="3"/>
                      <a:pt x="16" y="0"/>
                      <a:pt x="9" y="0"/>
                    </a:cubicBezTo>
                    <a:cubicBezTo>
                      <a:pt x="7" y="0"/>
                      <a:pt x="6" y="0"/>
                      <a:pt x="4" y="1"/>
                    </a:cubicBezTo>
                    <a:cubicBezTo>
                      <a:pt x="3" y="1"/>
                      <a:pt x="2" y="2"/>
                      <a:pt x="1" y="4"/>
                    </a:cubicBezTo>
                    <a:cubicBezTo>
                      <a:pt x="4" y="7"/>
                      <a:pt x="4" y="7"/>
                      <a:pt x="4" y="7"/>
                    </a:cubicBezTo>
                    <a:cubicBezTo>
                      <a:pt x="6" y="6"/>
                      <a:pt x="7" y="5"/>
                      <a:pt x="9" y="5"/>
                    </a:cubicBezTo>
                    <a:cubicBezTo>
                      <a:pt x="12" y="5"/>
                      <a:pt x="13" y="7"/>
                      <a:pt x="13" y="9"/>
                    </a:cubicBezTo>
                    <a:cubicBezTo>
                      <a:pt x="13" y="10"/>
                      <a:pt x="13" y="10"/>
                      <a:pt x="13" y="10"/>
                    </a:cubicBezTo>
                    <a:cubicBezTo>
                      <a:pt x="8" y="10"/>
                      <a:pt x="8" y="10"/>
                      <a:pt x="8" y="10"/>
                    </a:cubicBezTo>
                    <a:cubicBezTo>
                      <a:pt x="5" y="10"/>
                      <a:pt x="3" y="11"/>
                      <a:pt x="2" y="12"/>
                    </a:cubicBezTo>
                    <a:cubicBezTo>
                      <a:pt x="0" y="14"/>
                      <a:pt x="0" y="15"/>
                      <a:pt x="0" y="17"/>
                    </a:cubicBezTo>
                    <a:cubicBezTo>
                      <a:pt x="0" y="19"/>
                      <a:pt x="0" y="21"/>
                      <a:pt x="2" y="23"/>
                    </a:cubicBezTo>
                    <a:cubicBezTo>
                      <a:pt x="3" y="24"/>
                      <a:pt x="5" y="25"/>
                      <a:pt x="8" y="25"/>
                    </a:cubicBezTo>
                    <a:cubicBezTo>
                      <a:pt x="10" y="25"/>
                      <a:pt x="12" y="24"/>
                      <a:pt x="14" y="22"/>
                    </a:cubicBezTo>
                    <a:cubicBezTo>
                      <a:pt x="14" y="25"/>
                      <a:pt x="14" y="25"/>
                      <a:pt x="14"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1" name="Freeform 9"/>
              <p:cNvSpPr>
                <a:spLocks noEditPoints="1"/>
              </p:cNvSpPr>
              <p:nvPr/>
            </p:nvSpPr>
            <p:spPr bwMode="auto">
              <a:xfrm>
                <a:off x="4572000" y="3660776"/>
                <a:ext cx="74613" cy="125413"/>
              </a:xfrm>
              <a:custGeom>
                <a:avLst/>
                <a:gdLst>
                  <a:gd name="T0" fmla="*/ 194848119 w 20"/>
                  <a:gd name="T1" fmla="*/ 245532051 h 33"/>
                  <a:gd name="T2" fmla="*/ 139179360 w 20"/>
                  <a:gd name="T3" fmla="*/ 274415045 h 33"/>
                  <a:gd name="T4" fmla="*/ 83506870 w 20"/>
                  <a:gd name="T5" fmla="*/ 245532051 h 33"/>
                  <a:gd name="T6" fmla="*/ 83506870 w 20"/>
                  <a:gd name="T7" fmla="*/ 187758463 h 33"/>
                  <a:gd name="T8" fmla="*/ 83506870 w 20"/>
                  <a:gd name="T9" fmla="*/ 115543377 h 33"/>
                  <a:gd name="T10" fmla="*/ 139179360 w 20"/>
                  <a:gd name="T11" fmla="*/ 86656583 h 33"/>
                  <a:gd name="T12" fmla="*/ 194848119 w 20"/>
                  <a:gd name="T13" fmla="*/ 115543377 h 33"/>
                  <a:gd name="T14" fmla="*/ 194848119 w 20"/>
                  <a:gd name="T15" fmla="*/ 187758463 h 33"/>
                  <a:gd name="T16" fmla="*/ 194848119 w 20"/>
                  <a:gd name="T17" fmla="*/ 245532051 h 33"/>
                  <a:gd name="T18" fmla="*/ 278354988 w 20"/>
                  <a:gd name="T19" fmla="*/ 101101880 h 33"/>
                  <a:gd name="T20" fmla="*/ 250520609 w 20"/>
                  <a:gd name="T21" fmla="*/ 28886794 h 33"/>
                  <a:gd name="T22" fmla="*/ 167013739 w 20"/>
                  <a:gd name="T23" fmla="*/ 0 h 33"/>
                  <a:gd name="T24" fmla="*/ 83506870 w 20"/>
                  <a:gd name="T25" fmla="*/ 43328291 h 33"/>
                  <a:gd name="T26" fmla="*/ 83506870 w 20"/>
                  <a:gd name="T27" fmla="*/ 0 h 33"/>
                  <a:gd name="T28" fmla="*/ 0 w 20"/>
                  <a:gd name="T29" fmla="*/ 0 h 33"/>
                  <a:gd name="T30" fmla="*/ 0 w 20"/>
                  <a:gd name="T31" fmla="*/ 476618805 h 33"/>
                  <a:gd name="T32" fmla="*/ 83506870 w 20"/>
                  <a:gd name="T33" fmla="*/ 476618805 h 33"/>
                  <a:gd name="T34" fmla="*/ 83506870 w 20"/>
                  <a:gd name="T35" fmla="*/ 317747137 h 33"/>
                  <a:gd name="T36" fmla="*/ 167013739 w 20"/>
                  <a:gd name="T37" fmla="*/ 361075428 h 33"/>
                  <a:gd name="T38" fmla="*/ 250520609 w 20"/>
                  <a:gd name="T39" fmla="*/ 332188634 h 33"/>
                  <a:gd name="T40" fmla="*/ 278354988 w 20"/>
                  <a:gd name="T41" fmla="*/ 259973548 h 33"/>
                  <a:gd name="T42" fmla="*/ 278354988 w 20"/>
                  <a:gd name="T43" fmla="*/ 187758463 h 33"/>
                  <a:gd name="T44" fmla="*/ 278354988 w 20"/>
                  <a:gd name="T45" fmla="*/ 101101880 h 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33">
                    <a:moveTo>
                      <a:pt x="14" y="17"/>
                    </a:moveTo>
                    <a:cubicBezTo>
                      <a:pt x="13" y="19"/>
                      <a:pt x="12" y="19"/>
                      <a:pt x="10" y="19"/>
                    </a:cubicBezTo>
                    <a:cubicBezTo>
                      <a:pt x="8" y="19"/>
                      <a:pt x="7" y="19"/>
                      <a:pt x="6" y="17"/>
                    </a:cubicBezTo>
                    <a:cubicBezTo>
                      <a:pt x="6" y="16"/>
                      <a:pt x="6" y="15"/>
                      <a:pt x="6" y="13"/>
                    </a:cubicBezTo>
                    <a:cubicBezTo>
                      <a:pt x="6" y="10"/>
                      <a:pt x="6" y="9"/>
                      <a:pt x="6" y="8"/>
                    </a:cubicBezTo>
                    <a:cubicBezTo>
                      <a:pt x="7" y="6"/>
                      <a:pt x="8" y="6"/>
                      <a:pt x="10" y="6"/>
                    </a:cubicBezTo>
                    <a:cubicBezTo>
                      <a:pt x="12" y="6"/>
                      <a:pt x="13" y="6"/>
                      <a:pt x="14" y="8"/>
                    </a:cubicBezTo>
                    <a:cubicBezTo>
                      <a:pt x="14" y="9"/>
                      <a:pt x="14" y="10"/>
                      <a:pt x="14" y="13"/>
                    </a:cubicBezTo>
                    <a:cubicBezTo>
                      <a:pt x="14" y="15"/>
                      <a:pt x="14" y="16"/>
                      <a:pt x="14" y="17"/>
                    </a:cubicBezTo>
                    <a:moveTo>
                      <a:pt x="20" y="7"/>
                    </a:moveTo>
                    <a:cubicBezTo>
                      <a:pt x="19" y="5"/>
                      <a:pt x="19" y="3"/>
                      <a:pt x="18" y="2"/>
                    </a:cubicBezTo>
                    <a:cubicBezTo>
                      <a:pt x="16" y="1"/>
                      <a:pt x="14" y="0"/>
                      <a:pt x="12" y="0"/>
                    </a:cubicBezTo>
                    <a:cubicBezTo>
                      <a:pt x="9" y="0"/>
                      <a:pt x="7" y="1"/>
                      <a:pt x="6" y="3"/>
                    </a:cubicBezTo>
                    <a:cubicBezTo>
                      <a:pt x="6" y="0"/>
                      <a:pt x="6" y="0"/>
                      <a:pt x="6" y="0"/>
                    </a:cubicBezTo>
                    <a:cubicBezTo>
                      <a:pt x="0" y="0"/>
                      <a:pt x="0" y="0"/>
                      <a:pt x="0" y="0"/>
                    </a:cubicBezTo>
                    <a:cubicBezTo>
                      <a:pt x="0" y="33"/>
                      <a:pt x="0" y="33"/>
                      <a:pt x="0" y="33"/>
                    </a:cubicBezTo>
                    <a:cubicBezTo>
                      <a:pt x="6" y="33"/>
                      <a:pt x="6" y="33"/>
                      <a:pt x="6" y="33"/>
                    </a:cubicBezTo>
                    <a:cubicBezTo>
                      <a:pt x="6" y="22"/>
                      <a:pt x="6" y="22"/>
                      <a:pt x="6" y="22"/>
                    </a:cubicBezTo>
                    <a:cubicBezTo>
                      <a:pt x="7" y="24"/>
                      <a:pt x="9" y="25"/>
                      <a:pt x="12" y="25"/>
                    </a:cubicBezTo>
                    <a:cubicBezTo>
                      <a:pt x="14" y="25"/>
                      <a:pt x="16" y="24"/>
                      <a:pt x="18" y="23"/>
                    </a:cubicBezTo>
                    <a:cubicBezTo>
                      <a:pt x="19" y="22"/>
                      <a:pt x="19" y="20"/>
                      <a:pt x="20" y="18"/>
                    </a:cubicBezTo>
                    <a:cubicBezTo>
                      <a:pt x="20" y="17"/>
                      <a:pt x="20" y="15"/>
                      <a:pt x="20" y="13"/>
                    </a:cubicBezTo>
                    <a:cubicBezTo>
                      <a:pt x="20" y="10"/>
                      <a:pt x="20" y="8"/>
                      <a:pt x="20" y="7"/>
                    </a:cubicBezTo>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2" name="Freeform 10"/>
              <p:cNvSpPr>
                <a:spLocks/>
              </p:cNvSpPr>
              <p:nvPr/>
            </p:nvSpPr>
            <p:spPr bwMode="auto">
              <a:xfrm>
                <a:off x="4670425" y="3630613"/>
                <a:ext cx="82550" cy="125413"/>
              </a:xfrm>
              <a:custGeom>
                <a:avLst/>
                <a:gdLst>
                  <a:gd name="T0" fmla="*/ 131048125 w 52"/>
                  <a:gd name="T1" fmla="*/ 199093931 h 79"/>
                  <a:gd name="T2" fmla="*/ 83165950 w 52"/>
                  <a:gd name="T3" fmla="*/ 199093931 h 79"/>
                  <a:gd name="T4" fmla="*/ 47883763 w 52"/>
                  <a:gd name="T5" fmla="*/ 138609940 h 79"/>
                  <a:gd name="T6" fmla="*/ 35282188 w 52"/>
                  <a:gd name="T7" fmla="*/ 151209978 h 79"/>
                  <a:gd name="T8" fmla="*/ 35282188 w 52"/>
                  <a:gd name="T9" fmla="*/ 199093931 h 79"/>
                  <a:gd name="T10" fmla="*/ 0 w 52"/>
                  <a:gd name="T11" fmla="*/ 199093931 h 79"/>
                  <a:gd name="T12" fmla="*/ 0 w 52"/>
                  <a:gd name="T13" fmla="*/ 0 h 79"/>
                  <a:gd name="T14" fmla="*/ 35282188 w 52"/>
                  <a:gd name="T15" fmla="*/ 0 h 79"/>
                  <a:gd name="T16" fmla="*/ 35282188 w 52"/>
                  <a:gd name="T17" fmla="*/ 108367945 h 79"/>
                  <a:gd name="T18" fmla="*/ 83165950 w 52"/>
                  <a:gd name="T19" fmla="*/ 47883953 h 79"/>
                  <a:gd name="T20" fmla="*/ 123488450 w 52"/>
                  <a:gd name="T21" fmla="*/ 47883953 h 79"/>
                  <a:gd name="T22" fmla="*/ 70564375 w 52"/>
                  <a:gd name="T23" fmla="*/ 108367945 h 79"/>
                  <a:gd name="T24" fmla="*/ 131048125 w 52"/>
                  <a:gd name="T25" fmla="*/ 199093931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2" h="79">
                    <a:moveTo>
                      <a:pt x="52" y="79"/>
                    </a:moveTo>
                    <a:lnTo>
                      <a:pt x="33" y="79"/>
                    </a:lnTo>
                    <a:lnTo>
                      <a:pt x="19" y="55"/>
                    </a:lnTo>
                    <a:lnTo>
                      <a:pt x="14" y="60"/>
                    </a:lnTo>
                    <a:lnTo>
                      <a:pt x="14" y="79"/>
                    </a:lnTo>
                    <a:lnTo>
                      <a:pt x="0" y="79"/>
                    </a:lnTo>
                    <a:lnTo>
                      <a:pt x="0" y="0"/>
                    </a:lnTo>
                    <a:lnTo>
                      <a:pt x="14" y="0"/>
                    </a:lnTo>
                    <a:lnTo>
                      <a:pt x="14" y="43"/>
                    </a:lnTo>
                    <a:lnTo>
                      <a:pt x="33" y="19"/>
                    </a:lnTo>
                    <a:lnTo>
                      <a:pt x="49" y="19"/>
                    </a:lnTo>
                    <a:lnTo>
                      <a:pt x="28" y="43"/>
                    </a:lnTo>
                    <a:lnTo>
                      <a:pt x="52"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3" name="Freeform 11"/>
              <p:cNvSpPr>
                <a:spLocks noEditPoints="1"/>
              </p:cNvSpPr>
              <p:nvPr/>
            </p:nvSpPr>
            <p:spPr bwMode="auto">
              <a:xfrm>
                <a:off x="4767263" y="3630613"/>
                <a:ext cx="23813" cy="125413"/>
              </a:xfrm>
              <a:custGeom>
                <a:avLst/>
                <a:gdLst>
                  <a:gd name="T0" fmla="*/ 37803931 w 15"/>
                  <a:gd name="T1" fmla="*/ 25201663 h 79"/>
                  <a:gd name="T2" fmla="*/ 0 w 15"/>
                  <a:gd name="T3" fmla="*/ 25201663 h 79"/>
                  <a:gd name="T4" fmla="*/ 0 w 15"/>
                  <a:gd name="T5" fmla="*/ 0 h 79"/>
                  <a:gd name="T6" fmla="*/ 37803931 w 15"/>
                  <a:gd name="T7" fmla="*/ 0 h 79"/>
                  <a:gd name="T8" fmla="*/ 37803931 w 15"/>
                  <a:gd name="T9" fmla="*/ 25201663 h 79"/>
                  <a:gd name="T10" fmla="*/ 37803931 w 15"/>
                  <a:gd name="T11" fmla="*/ 199093931 h 79"/>
                  <a:gd name="T12" fmla="*/ 0 w 15"/>
                  <a:gd name="T13" fmla="*/ 199093931 h 79"/>
                  <a:gd name="T14" fmla="*/ 0 w 15"/>
                  <a:gd name="T15" fmla="*/ 47883953 h 79"/>
                  <a:gd name="T16" fmla="*/ 37803931 w 15"/>
                  <a:gd name="T17" fmla="*/ 47883953 h 79"/>
                  <a:gd name="T18" fmla="*/ 37803931 w 15"/>
                  <a:gd name="T19" fmla="*/ 199093931 h 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 h="79">
                    <a:moveTo>
                      <a:pt x="15" y="10"/>
                    </a:moveTo>
                    <a:lnTo>
                      <a:pt x="0" y="10"/>
                    </a:lnTo>
                    <a:lnTo>
                      <a:pt x="0" y="0"/>
                    </a:lnTo>
                    <a:lnTo>
                      <a:pt x="15" y="0"/>
                    </a:lnTo>
                    <a:lnTo>
                      <a:pt x="15" y="10"/>
                    </a:lnTo>
                    <a:close/>
                    <a:moveTo>
                      <a:pt x="15" y="79"/>
                    </a:moveTo>
                    <a:lnTo>
                      <a:pt x="0" y="79"/>
                    </a:lnTo>
                    <a:lnTo>
                      <a:pt x="0" y="19"/>
                    </a:lnTo>
                    <a:lnTo>
                      <a:pt x="15" y="19"/>
                    </a:lnTo>
                    <a:lnTo>
                      <a:pt x="15"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4" name="Freeform 12"/>
              <p:cNvSpPr>
                <a:spLocks/>
              </p:cNvSpPr>
              <p:nvPr/>
            </p:nvSpPr>
            <p:spPr bwMode="auto">
              <a:xfrm>
                <a:off x="4843463" y="3630613"/>
                <a:ext cx="74613" cy="125413"/>
              </a:xfrm>
              <a:custGeom>
                <a:avLst/>
                <a:gdLst>
                  <a:gd name="T0" fmla="*/ 278354988 w 20"/>
                  <a:gd name="T1" fmla="*/ 317747137 h 33"/>
                  <a:gd name="T2" fmla="*/ 236601554 w 20"/>
                  <a:gd name="T3" fmla="*/ 433290514 h 33"/>
                  <a:gd name="T4" fmla="*/ 111341249 w 20"/>
                  <a:gd name="T5" fmla="*/ 476618805 h 33"/>
                  <a:gd name="T6" fmla="*/ 0 w 20"/>
                  <a:gd name="T7" fmla="*/ 418845216 h 33"/>
                  <a:gd name="T8" fmla="*/ 55672490 w 20"/>
                  <a:gd name="T9" fmla="*/ 361075428 h 33"/>
                  <a:gd name="T10" fmla="*/ 111341249 w 20"/>
                  <a:gd name="T11" fmla="*/ 389962223 h 33"/>
                  <a:gd name="T12" fmla="*/ 194848119 w 20"/>
                  <a:gd name="T13" fmla="*/ 317747137 h 33"/>
                  <a:gd name="T14" fmla="*/ 194848119 w 20"/>
                  <a:gd name="T15" fmla="*/ 0 h 33"/>
                  <a:gd name="T16" fmla="*/ 278354988 w 20"/>
                  <a:gd name="T17" fmla="*/ 0 h 33"/>
                  <a:gd name="T18" fmla="*/ 278354988 w 20"/>
                  <a:gd name="T19" fmla="*/ 317747137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33">
                    <a:moveTo>
                      <a:pt x="20" y="22"/>
                    </a:moveTo>
                    <a:cubicBezTo>
                      <a:pt x="20" y="25"/>
                      <a:pt x="19" y="28"/>
                      <a:pt x="17" y="30"/>
                    </a:cubicBezTo>
                    <a:cubicBezTo>
                      <a:pt x="14" y="32"/>
                      <a:pt x="12" y="33"/>
                      <a:pt x="8" y="33"/>
                    </a:cubicBezTo>
                    <a:cubicBezTo>
                      <a:pt x="5" y="33"/>
                      <a:pt x="2" y="32"/>
                      <a:pt x="0" y="29"/>
                    </a:cubicBezTo>
                    <a:cubicBezTo>
                      <a:pt x="4" y="25"/>
                      <a:pt x="4" y="25"/>
                      <a:pt x="4" y="25"/>
                    </a:cubicBezTo>
                    <a:cubicBezTo>
                      <a:pt x="5" y="27"/>
                      <a:pt x="7" y="27"/>
                      <a:pt x="8" y="27"/>
                    </a:cubicBezTo>
                    <a:cubicBezTo>
                      <a:pt x="12" y="27"/>
                      <a:pt x="14" y="25"/>
                      <a:pt x="14" y="22"/>
                    </a:cubicBezTo>
                    <a:cubicBezTo>
                      <a:pt x="14" y="0"/>
                      <a:pt x="14" y="0"/>
                      <a:pt x="14" y="0"/>
                    </a:cubicBezTo>
                    <a:cubicBezTo>
                      <a:pt x="20" y="0"/>
                      <a:pt x="20" y="0"/>
                      <a:pt x="20" y="0"/>
                    </a:cubicBezTo>
                    <a:lnTo>
                      <a:pt x="20" y="2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5" name="Freeform 13"/>
              <p:cNvSpPr>
                <a:spLocks noEditPoints="1"/>
              </p:cNvSpPr>
              <p:nvPr/>
            </p:nvSpPr>
            <p:spPr bwMode="auto">
              <a:xfrm>
                <a:off x="4940300" y="3660776"/>
                <a:ext cx="79375" cy="95250"/>
              </a:xfrm>
              <a:custGeom>
                <a:avLst/>
                <a:gdLst>
                  <a:gd name="T0" fmla="*/ 71433720 w 21"/>
                  <a:gd name="T1" fmla="*/ 145161000 h 25"/>
                  <a:gd name="T2" fmla="*/ 85721220 w 21"/>
                  <a:gd name="T3" fmla="*/ 116128800 h 25"/>
                  <a:gd name="T4" fmla="*/ 142867440 w 21"/>
                  <a:gd name="T5" fmla="*/ 72580500 h 25"/>
                  <a:gd name="T6" fmla="*/ 200013661 w 21"/>
                  <a:gd name="T7" fmla="*/ 116128800 h 25"/>
                  <a:gd name="T8" fmla="*/ 214297381 w 21"/>
                  <a:gd name="T9" fmla="*/ 145161000 h 25"/>
                  <a:gd name="T10" fmla="*/ 71433720 w 21"/>
                  <a:gd name="T11" fmla="*/ 145161000 h 25"/>
                  <a:gd name="T12" fmla="*/ 300018601 w 21"/>
                  <a:gd name="T13" fmla="*/ 174193200 h 25"/>
                  <a:gd name="T14" fmla="*/ 257159881 w 21"/>
                  <a:gd name="T15" fmla="*/ 58064400 h 25"/>
                  <a:gd name="T16" fmla="*/ 142867440 w 21"/>
                  <a:gd name="T17" fmla="*/ 0 h 25"/>
                  <a:gd name="T18" fmla="*/ 28575000 w 21"/>
                  <a:gd name="T19" fmla="*/ 43548300 h 25"/>
                  <a:gd name="T20" fmla="*/ 0 w 21"/>
                  <a:gd name="T21" fmla="*/ 188709300 h 25"/>
                  <a:gd name="T22" fmla="*/ 157151161 w 21"/>
                  <a:gd name="T23" fmla="*/ 362902500 h 25"/>
                  <a:gd name="T24" fmla="*/ 228584881 w 21"/>
                  <a:gd name="T25" fmla="*/ 348386400 h 25"/>
                  <a:gd name="T26" fmla="*/ 285731101 w 21"/>
                  <a:gd name="T27" fmla="*/ 304838100 h 25"/>
                  <a:gd name="T28" fmla="*/ 228584881 w 21"/>
                  <a:gd name="T29" fmla="*/ 261289800 h 25"/>
                  <a:gd name="T30" fmla="*/ 157151161 w 21"/>
                  <a:gd name="T31" fmla="*/ 290322000 h 25"/>
                  <a:gd name="T32" fmla="*/ 100004940 w 21"/>
                  <a:gd name="T33" fmla="*/ 261289800 h 25"/>
                  <a:gd name="T34" fmla="*/ 71433720 w 21"/>
                  <a:gd name="T35" fmla="*/ 203225400 h 25"/>
                  <a:gd name="T36" fmla="*/ 300018601 w 21"/>
                  <a:gd name="T37" fmla="*/ 203225400 h 25"/>
                  <a:gd name="T38" fmla="*/ 300018601 w 21"/>
                  <a:gd name="T39" fmla="*/ 17419320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5" y="10"/>
                    </a:moveTo>
                    <a:cubicBezTo>
                      <a:pt x="5" y="9"/>
                      <a:pt x="6" y="8"/>
                      <a:pt x="6" y="8"/>
                    </a:cubicBezTo>
                    <a:cubicBezTo>
                      <a:pt x="7" y="6"/>
                      <a:pt x="8" y="5"/>
                      <a:pt x="10" y="5"/>
                    </a:cubicBezTo>
                    <a:cubicBezTo>
                      <a:pt x="12" y="5"/>
                      <a:pt x="13" y="6"/>
                      <a:pt x="14" y="8"/>
                    </a:cubicBezTo>
                    <a:cubicBezTo>
                      <a:pt x="14" y="8"/>
                      <a:pt x="15" y="9"/>
                      <a:pt x="15" y="10"/>
                    </a:cubicBezTo>
                    <a:lnTo>
                      <a:pt x="5" y="10"/>
                    </a:lnTo>
                    <a:close/>
                    <a:moveTo>
                      <a:pt x="21" y="12"/>
                    </a:moveTo>
                    <a:cubicBezTo>
                      <a:pt x="21" y="8"/>
                      <a:pt x="20" y="6"/>
                      <a:pt x="18" y="4"/>
                    </a:cubicBezTo>
                    <a:cubicBezTo>
                      <a:pt x="16" y="1"/>
                      <a:pt x="13" y="0"/>
                      <a:pt x="10" y="0"/>
                    </a:cubicBezTo>
                    <a:cubicBezTo>
                      <a:pt x="7" y="0"/>
                      <a:pt x="4" y="1"/>
                      <a:pt x="2" y="3"/>
                    </a:cubicBezTo>
                    <a:cubicBezTo>
                      <a:pt x="0" y="6"/>
                      <a:pt x="0" y="9"/>
                      <a:pt x="0" y="13"/>
                    </a:cubicBezTo>
                    <a:cubicBezTo>
                      <a:pt x="0" y="21"/>
                      <a:pt x="3" y="25"/>
                      <a:pt x="11" y="25"/>
                    </a:cubicBezTo>
                    <a:cubicBezTo>
                      <a:pt x="13" y="25"/>
                      <a:pt x="14" y="25"/>
                      <a:pt x="16" y="24"/>
                    </a:cubicBezTo>
                    <a:cubicBezTo>
                      <a:pt x="17" y="23"/>
                      <a:pt x="18" y="22"/>
                      <a:pt x="20" y="21"/>
                    </a:cubicBezTo>
                    <a:cubicBezTo>
                      <a:pt x="16" y="18"/>
                      <a:pt x="16" y="18"/>
                      <a:pt x="16" y="18"/>
                    </a:cubicBezTo>
                    <a:cubicBezTo>
                      <a:pt x="15" y="19"/>
                      <a:pt x="13" y="20"/>
                      <a:pt x="11" y="20"/>
                    </a:cubicBezTo>
                    <a:cubicBezTo>
                      <a:pt x="9" y="20"/>
                      <a:pt x="8" y="19"/>
                      <a:pt x="7" y="18"/>
                    </a:cubicBezTo>
                    <a:cubicBezTo>
                      <a:pt x="6" y="17"/>
                      <a:pt x="5" y="16"/>
                      <a:pt x="5"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6" name="Freeform 14"/>
              <p:cNvSpPr>
                <a:spLocks noEditPoints="1"/>
              </p:cNvSpPr>
              <p:nvPr/>
            </p:nvSpPr>
            <p:spPr bwMode="auto">
              <a:xfrm>
                <a:off x="5035550" y="3660776"/>
                <a:ext cx="77788" cy="95250"/>
              </a:xfrm>
              <a:custGeom>
                <a:avLst/>
                <a:gdLst>
                  <a:gd name="T0" fmla="*/ 82325633 w 21"/>
                  <a:gd name="T1" fmla="*/ 145161000 h 25"/>
                  <a:gd name="T2" fmla="*/ 82325633 w 21"/>
                  <a:gd name="T3" fmla="*/ 116128800 h 25"/>
                  <a:gd name="T4" fmla="*/ 137210624 w 21"/>
                  <a:gd name="T5" fmla="*/ 72580500 h 25"/>
                  <a:gd name="T6" fmla="*/ 192095614 w 21"/>
                  <a:gd name="T7" fmla="*/ 116128800 h 25"/>
                  <a:gd name="T8" fmla="*/ 205815935 w 21"/>
                  <a:gd name="T9" fmla="*/ 145161000 h 25"/>
                  <a:gd name="T10" fmla="*/ 82325633 w 21"/>
                  <a:gd name="T11" fmla="*/ 145161000 h 25"/>
                  <a:gd name="T12" fmla="*/ 288141569 w 21"/>
                  <a:gd name="T13" fmla="*/ 174193200 h 25"/>
                  <a:gd name="T14" fmla="*/ 246976900 w 21"/>
                  <a:gd name="T15" fmla="*/ 58064400 h 25"/>
                  <a:gd name="T16" fmla="*/ 137210624 w 21"/>
                  <a:gd name="T17" fmla="*/ 0 h 25"/>
                  <a:gd name="T18" fmla="*/ 41164669 w 21"/>
                  <a:gd name="T19" fmla="*/ 43548300 h 25"/>
                  <a:gd name="T20" fmla="*/ 0 w 21"/>
                  <a:gd name="T21" fmla="*/ 188709300 h 25"/>
                  <a:gd name="T22" fmla="*/ 150930945 w 21"/>
                  <a:gd name="T23" fmla="*/ 362902500 h 25"/>
                  <a:gd name="T24" fmla="*/ 219536257 w 21"/>
                  <a:gd name="T25" fmla="*/ 348386400 h 25"/>
                  <a:gd name="T26" fmla="*/ 274421247 w 21"/>
                  <a:gd name="T27" fmla="*/ 304838100 h 25"/>
                  <a:gd name="T28" fmla="*/ 219536257 w 21"/>
                  <a:gd name="T29" fmla="*/ 261289800 h 25"/>
                  <a:gd name="T30" fmla="*/ 150930945 w 21"/>
                  <a:gd name="T31" fmla="*/ 290322000 h 25"/>
                  <a:gd name="T32" fmla="*/ 96045955 w 21"/>
                  <a:gd name="T33" fmla="*/ 261289800 h 25"/>
                  <a:gd name="T34" fmla="*/ 82325633 w 21"/>
                  <a:gd name="T35" fmla="*/ 203225400 h 25"/>
                  <a:gd name="T36" fmla="*/ 288141569 w 21"/>
                  <a:gd name="T37" fmla="*/ 203225400 h 25"/>
                  <a:gd name="T38" fmla="*/ 288141569 w 21"/>
                  <a:gd name="T39" fmla="*/ 17419320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6" y="8"/>
                    </a:cubicBezTo>
                    <a:cubicBezTo>
                      <a:pt x="7" y="6"/>
                      <a:pt x="8" y="5"/>
                      <a:pt x="10" y="5"/>
                    </a:cubicBezTo>
                    <a:cubicBezTo>
                      <a:pt x="12" y="5"/>
                      <a:pt x="14" y="6"/>
                      <a:pt x="14" y="8"/>
                    </a:cubicBezTo>
                    <a:cubicBezTo>
                      <a:pt x="15" y="8"/>
                      <a:pt x="15" y="9"/>
                      <a:pt x="15" y="10"/>
                    </a:cubicBezTo>
                    <a:lnTo>
                      <a:pt x="6" y="10"/>
                    </a:lnTo>
                    <a:close/>
                    <a:moveTo>
                      <a:pt x="21" y="12"/>
                    </a:moveTo>
                    <a:cubicBezTo>
                      <a:pt x="21" y="8"/>
                      <a:pt x="20" y="6"/>
                      <a:pt x="18" y="4"/>
                    </a:cubicBezTo>
                    <a:cubicBezTo>
                      <a:pt x="16" y="1"/>
                      <a:pt x="14" y="0"/>
                      <a:pt x="10" y="0"/>
                    </a:cubicBezTo>
                    <a:cubicBezTo>
                      <a:pt x="7" y="0"/>
                      <a:pt x="5" y="1"/>
                      <a:pt x="3" y="3"/>
                    </a:cubicBezTo>
                    <a:cubicBezTo>
                      <a:pt x="1" y="6"/>
                      <a:pt x="0" y="9"/>
                      <a:pt x="0" y="13"/>
                    </a:cubicBezTo>
                    <a:cubicBezTo>
                      <a:pt x="0" y="21"/>
                      <a:pt x="4" y="25"/>
                      <a:pt x="11" y="25"/>
                    </a:cubicBezTo>
                    <a:cubicBezTo>
                      <a:pt x="13" y="25"/>
                      <a:pt x="15" y="25"/>
                      <a:pt x="16" y="24"/>
                    </a:cubicBezTo>
                    <a:cubicBezTo>
                      <a:pt x="17" y="23"/>
                      <a:pt x="19" y="22"/>
                      <a:pt x="20" y="21"/>
                    </a:cubicBezTo>
                    <a:cubicBezTo>
                      <a:pt x="16" y="18"/>
                      <a:pt x="16" y="18"/>
                      <a:pt x="16" y="18"/>
                    </a:cubicBezTo>
                    <a:cubicBezTo>
                      <a:pt x="15" y="19"/>
                      <a:pt x="13" y="20"/>
                      <a:pt x="11" y="20"/>
                    </a:cubicBezTo>
                    <a:cubicBezTo>
                      <a:pt x="9" y="20"/>
                      <a:pt x="8" y="19"/>
                      <a:pt x="7" y="18"/>
                    </a:cubicBezTo>
                    <a:cubicBezTo>
                      <a:pt x="6"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7" name="Freeform 15"/>
              <p:cNvSpPr>
                <a:spLocks/>
              </p:cNvSpPr>
              <p:nvPr/>
            </p:nvSpPr>
            <p:spPr bwMode="auto">
              <a:xfrm>
                <a:off x="5126038" y="3638551"/>
                <a:ext cx="47625" cy="117475"/>
              </a:xfrm>
              <a:custGeom>
                <a:avLst/>
                <a:gdLst>
                  <a:gd name="T0" fmla="*/ 174472356 w 13"/>
                  <a:gd name="T1" fmla="*/ 445173407 h 31"/>
                  <a:gd name="T2" fmla="*/ 134210913 w 13"/>
                  <a:gd name="T3" fmla="*/ 445173407 h 31"/>
                  <a:gd name="T4" fmla="*/ 67103625 w 13"/>
                  <a:gd name="T5" fmla="*/ 402090398 h 31"/>
                  <a:gd name="T6" fmla="*/ 40261442 w 13"/>
                  <a:gd name="T7" fmla="*/ 344648913 h 31"/>
                  <a:gd name="T8" fmla="*/ 40261442 w 13"/>
                  <a:gd name="T9" fmla="*/ 172324456 h 31"/>
                  <a:gd name="T10" fmla="*/ 0 w 13"/>
                  <a:gd name="T11" fmla="*/ 172324456 h 31"/>
                  <a:gd name="T12" fmla="*/ 0 w 13"/>
                  <a:gd name="T13" fmla="*/ 100524494 h 31"/>
                  <a:gd name="T14" fmla="*/ 40261442 w 13"/>
                  <a:gd name="T15" fmla="*/ 100524494 h 31"/>
                  <a:gd name="T16" fmla="*/ 40261442 w 13"/>
                  <a:gd name="T17" fmla="*/ 0 h 31"/>
                  <a:gd name="T18" fmla="*/ 120787990 w 13"/>
                  <a:gd name="T19" fmla="*/ 0 h 31"/>
                  <a:gd name="T20" fmla="*/ 120787990 w 13"/>
                  <a:gd name="T21" fmla="*/ 100524494 h 31"/>
                  <a:gd name="T22" fmla="*/ 174472356 w 13"/>
                  <a:gd name="T23" fmla="*/ 100524494 h 31"/>
                  <a:gd name="T24" fmla="*/ 174472356 w 13"/>
                  <a:gd name="T25" fmla="*/ 172324456 h 31"/>
                  <a:gd name="T26" fmla="*/ 120787990 w 13"/>
                  <a:gd name="T27" fmla="*/ 172324456 h 31"/>
                  <a:gd name="T28" fmla="*/ 120787990 w 13"/>
                  <a:gd name="T29" fmla="*/ 330290436 h 31"/>
                  <a:gd name="T30" fmla="*/ 147630173 w 13"/>
                  <a:gd name="T31" fmla="*/ 359011179 h 31"/>
                  <a:gd name="T32" fmla="*/ 174472356 w 13"/>
                  <a:gd name="T33" fmla="*/ 359011179 h 31"/>
                  <a:gd name="T34" fmla="*/ 174472356 w 13"/>
                  <a:gd name="T35" fmla="*/ 445173407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31">
                    <a:moveTo>
                      <a:pt x="13" y="31"/>
                    </a:moveTo>
                    <a:cubicBezTo>
                      <a:pt x="10" y="31"/>
                      <a:pt x="10" y="31"/>
                      <a:pt x="10" y="31"/>
                    </a:cubicBezTo>
                    <a:cubicBezTo>
                      <a:pt x="8" y="31"/>
                      <a:pt x="6" y="30"/>
                      <a:pt x="5" y="28"/>
                    </a:cubicBezTo>
                    <a:cubicBezTo>
                      <a:pt x="3" y="27"/>
                      <a:pt x="3" y="26"/>
                      <a:pt x="3" y="24"/>
                    </a:cubicBezTo>
                    <a:cubicBezTo>
                      <a:pt x="3" y="12"/>
                      <a:pt x="3" y="12"/>
                      <a:pt x="3" y="12"/>
                    </a:cubicBezTo>
                    <a:cubicBezTo>
                      <a:pt x="0" y="12"/>
                      <a:pt x="0" y="12"/>
                      <a:pt x="0" y="12"/>
                    </a:cubicBezTo>
                    <a:cubicBezTo>
                      <a:pt x="0" y="7"/>
                      <a:pt x="0" y="7"/>
                      <a:pt x="0" y="7"/>
                    </a:cubicBezTo>
                    <a:cubicBezTo>
                      <a:pt x="3" y="7"/>
                      <a:pt x="3" y="7"/>
                      <a:pt x="3" y="7"/>
                    </a:cubicBezTo>
                    <a:cubicBezTo>
                      <a:pt x="3" y="0"/>
                      <a:pt x="3" y="0"/>
                      <a:pt x="3" y="0"/>
                    </a:cubicBezTo>
                    <a:cubicBezTo>
                      <a:pt x="9" y="0"/>
                      <a:pt x="9" y="0"/>
                      <a:pt x="9" y="0"/>
                    </a:cubicBezTo>
                    <a:cubicBezTo>
                      <a:pt x="9" y="7"/>
                      <a:pt x="9" y="7"/>
                      <a:pt x="9" y="7"/>
                    </a:cubicBezTo>
                    <a:cubicBezTo>
                      <a:pt x="13" y="7"/>
                      <a:pt x="13" y="7"/>
                      <a:pt x="13" y="7"/>
                    </a:cubicBezTo>
                    <a:cubicBezTo>
                      <a:pt x="13" y="12"/>
                      <a:pt x="13" y="12"/>
                      <a:pt x="13" y="12"/>
                    </a:cubicBezTo>
                    <a:cubicBezTo>
                      <a:pt x="9" y="12"/>
                      <a:pt x="9" y="12"/>
                      <a:pt x="9" y="12"/>
                    </a:cubicBezTo>
                    <a:cubicBezTo>
                      <a:pt x="9" y="23"/>
                      <a:pt x="9" y="23"/>
                      <a:pt x="9" y="23"/>
                    </a:cubicBezTo>
                    <a:cubicBezTo>
                      <a:pt x="9" y="25"/>
                      <a:pt x="10" y="25"/>
                      <a:pt x="11" y="25"/>
                    </a:cubicBezTo>
                    <a:cubicBezTo>
                      <a:pt x="13" y="25"/>
                      <a:pt x="13" y="25"/>
                      <a:pt x="13" y="25"/>
                    </a:cubicBezTo>
                    <a:lnTo>
                      <a:pt x="13" y="31"/>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8" name="Rectangle 16"/>
              <p:cNvSpPr>
                <a:spLocks noChangeArrowheads="1"/>
              </p:cNvSpPr>
              <p:nvPr/>
            </p:nvSpPr>
            <p:spPr bwMode="auto">
              <a:xfrm>
                <a:off x="5192873" y="3729395"/>
                <a:ext cx="26488" cy="26504"/>
              </a:xfrm>
              <a:prstGeom prst="rect">
                <a:avLst/>
              </a:prstGeom>
              <a:solidFill>
                <a:srgbClr val="2B252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 name="Freeform 17"/>
              <p:cNvSpPr>
                <a:spLocks/>
              </p:cNvSpPr>
              <p:nvPr/>
            </p:nvSpPr>
            <p:spPr bwMode="auto">
              <a:xfrm>
                <a:off x="5287963" y="3630613"/>
                <a:ext cx="88900" cy="125413"/>
              </a:xfrm>
              <a:custGeom>
                <a:avLst/>
                <a:gdLst>
                  <a:gd name="T0" fmla="*/ 141128750 w 56"/>
                  <a:gd name="T1" fmla="*/ 199093931 h 79"/>
                  <a:gd name="T2" fmla="*/ 105846563 w 56"/>
                  <a:gd name="T3" fmla="*/ 199093931 h 79"/>
                  <a:gd name="T4" fmla="*/ 105846563 w 56"/>
                  <a:gd name="T5" fmla="*/ 115927650 h 79"/>
                  <a:gd name="T6" fmla="*/ 35282188 w 56"/>
                  <a:gd name="T7" fmla="*/ 115927650 h 79"/>
                  <a:gd name="T8" fmla="*/ 35282188 w 56"/>
                  <a:gd name="T9" fmla="*/ 199093931 h 79"/>
                  <a:gd name="T10" fmla="*/ 0 w 56"/>
                  <a:gd name="T11" fmla="*/ 199093931 h 79"/>
                  <a:gd name="T12" fmla="*/ 0 w 56"/>
                  <a:gd name="T13" fmla="*/ 0 h 79"/>
                  <a:gd name="T14" fmla="*/ 35282188 w 56"/>
                  <a:gd name="T15" fmla="*/ 0 h 79"/>
                  <a:gd name="T16" fmla="*/ 35282188 w 56"/>
                  <a:gd name="T17" fmla="*/ 78125949 h 79"/>
                  <a:gd name="T18" fmla="*/ 105846563 w 56"/>
                  <a:gd name="T19" fmla="*/ 78125949 h 79"/>
                  <a:gd name="T20" fmla="*/ 105846563 w 56"/>
                  <a:gd name="T21" fmla="*/ 0 h 79"/>
                  <a:gd name="T22" fmla="*/ 141128750 w 56"/>
                  <a:gd name="T23" fmla="*/ 0 h 79"/>
                  <a:gd name="T24" fmla="*/ 141128750 w 56"/>
                  <a:gd name="T25" fmla="*/ 199093931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6" h="79">
                    <a:moveTo>
                      <a:pt x="56" y="79"/>
                    </a:moveTo>
                    <a:lnTo>
                      <a:pt x="42" y="79"/>
                    </a:lnTo>
                    <a:lnTo>
                      <a:pt x="42" y="46"/>
                    </a:lnTo>
                    <a:lnTo>
                      <a:pt x="14" y="46"/>
                    </a:lnTo>
                    <a:lnTo>
                      <a:pt x="14" y="79"/>
                    </a:lnTo>
                    <a:lnTo>
                      <a:pt x="0" y="79"/>
                    </a:lnTo>
                    <a:lnTo>
                      <a:pt x="0" y="0"/>
                    </a:lnTo>
                    <a:lnTo>
                      <a:pt x="14" y="0"/>
                    </a:lnTo>
                    <a:lnTo>
                      <a:pt x="14" y="31"/>
                    </a:lnTo>
                    <a:lnTo>
                      <a:pt x="42" y="31"/>
                    </a:lnTo>
                    <a:lnTo>
                      <a:pt x="42" y="0"/>
                    </a:lnTo>
                    <a:lnTo>
                      <a:pt x="56" y="0"/>
                    </a:lnTo>
                    <a:lnTo>
                      <a:pt x="56"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 name="Freeform 18"/>
              <p:cNvSpPr>
                <a:spLocks noEditPoints="1"/>
              </p:cNvSpPr>
              <p:nvPr/>
            </p:nvSpPr>
            <p:spPr bwMode="auto">
              <a:xfrm>
                <a:off x="5395913" y="3660776"/>
                <a:ext cx="76200" cy="95250"/>
              </a:xfrm>
              <a:custGeom>
                <a:avLst/>
                <a:gdLst>
                  <a:gd name="T0" fmla="*/ 203225400 w 20"/>
                  <a:gd name="T1" fmla="*/ 261289800 h 25"/>
                  <a:gd name="T2" fmla="*/ 145161000 w 20"/>
                  <a:gd name="T3" fmla="*/ 290322000 h 25"/>
                  <a:gd name="T4" fmla="*/ 87096600 w 20"/>
                  <a:gd name="T5" fmla="*/ 246773700 h 25"/>
                  <a:gd name="T6" fmla="*/ 145161000 w 20"/>
                  <a:gd name="T7" fmla="*/ 203225400 h 25"/>
                  <a:gd name="T8" fmla="*/ 203225400 w 20"/>
                  <a:gd name="T9" fmla="*/ 203225400 h 25"/>
                  <a:gd name="T10" fmla="*/ 203225400 w 20"/>
                  <a:gd name="T11" fmla="*/ 232257600 h 25"/>
                  <a:gd name="T12" fmla="*/ 203225400 w 20"/>
                  <a:gd name="T13" fmla="*/ 261289800 h 25"/>
                  <a:gd name="T14" fmla="*/ 290322000 w 20"/>
                  <a:gd name="T15" fmla="*/ 130644900 h 25"/>
                  <a:gd name="T16" fmla="*/ 145161000 w 20"/>
                  <a:gd name="T17" fmla="*/ 0 h 25"/>
                  <a:gd name="T18" fmla="*/ 72580500 w 20"/>
                  <a:gd name="T19" fmla="*/ 14516100 h 25"/>
                  <a:gd name="T20" fmla="*/ 14516100 w 20"/>
                  <a:gd name="T21" fmla="*/ 58064400 h 25"/>
                  <a:gd name="T22" fmla="*/ 72580500 w 20"/>
                  <a:gd name="T23" fmla="*/ 101612700 h 25"/>
                  <a:gd name="T24" fmla="*/ 145161000 w 20"/>
                  <a:gd name="T25" fmla="*/ 72580500 h 25"/>
                  <a:gd name="T26" fmla="*/ 203225400 w 20"/>
                  <a:gd name="T27" fmla="*/ 130644900 h 25"/>
                  <a:gd name="T28" fmla="*/ 203225400 w 20"/>
                  <a:gd name="T29" fmla="*/ 145161000 h 25"/>
                  <a:gd name="T30" fmla="*/ 130644900 w 20"/>
                  <a:gd name="T31" fmla="*/ 145161000 h 25"/>
                  <a:gd name="T32" fmla="*/ 43548300 w 20"/>
                  <a:gd name="T33" fmla="*/ 174193200 h 25"/>
                  <a:gd name="T34" fmla="*/ 0 w 20"/>
                  <a:gd name="T35" fmla="*/ 246773700 h 25"/>
                  <a:gd name="T36" fmla="*/ 43548300 w 20"/>
                  <a:gd name="T37" fmla="*/ 333870300 h 25"/>
                  <a:gd name="T38" fmla="*/ 130644900 w 20"/>
                  <a:gd name="T39" fmla="*/ 362902500 h 25"/>
                  <a:gd name="T40" fmla="*/ 217741500 w 20"/>
                  <a:gd name="T41" fmla="*/ 319354200 h 25"/>
                  <a:gd name="T42" fmla="*/ 217741500 w 20"/>
                  <a:gd name="T43" fmla="*/ 362902500 h 25"/>
                  <a:gd name="T44" fmla="*/ 290322000 w 20"/>
                  <a:gd name="T45" fmla="*/ 362902500 h 25"/>
                  <a:gd name="T46" fmla="*/ 290322000 w 20"/>
                  <a:gd name="T47" fmla="*/ 13064490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4" y="18"/>
                    </a:moveTo>
                    <a:cubicBezTo>
                      <a:pt x="13" y="19"/>
                      <a:pt x="12" y="20"/>
                      <a:pt x="10" y="20"/>
                    </a:cubicBezTo>
                    <a:cubicBezTo>
                      <a:pt x="7" y="20"/>
                      <a:pt x="6" y="19"/>
                      <a:pt x="6" y="17"/>
                    </a:cubicBezTo>
                    <a:cubicBezTo>
                      <a:pt x="6" y="15"/>
                      <a:pt x="7" y="14"/>
                      <a:pt x="10" y="14"/>
                    </a:cubicBezTo>
                    <a:cubicBezTo>
                      <a:pt x="14" y="14"/>
                      <a:pt x="14" y="14"/>
                      <a:pt x="14" y="14"/>
                    </a:cubicBezTo>
                    <a:cubicBezTo>
                      <a:pt x="14" y="16"/>
                      <a:pt x="14" y="16"/>
                      <a:pt x="14" y="16"/>
                    </a:cubicBezTo>
                    <a:cubicBezTo>
                      <a:pt x="14" y="17"/>
                      <a:pt x="14" y="18"/>
                      <a:pt x="14" y="18"/>
                    </a:cubicBezTo>
                    <a:moveTo>
                      <a:pt x="20" y="9"/>
                    </a:moveTo>
                    <a:cubicBezTo>
                      <a:pt x="20" y="3"/>
                      <a:pt x="17" y="0"/>
                      <a:pt x="10" y="0"/>
                    </a:cubicBezTo>
                    <a:cubicBezTo>
                      <a:pt x="8" y="0"/>
                      <a:pt x="6" y="0"/>
                      <a:pt x="5" y="1"/>
                    </a:cubicBezTo>
                    <a:cubicBezTo>
                      <a:pt x="4" y="1"/>
                      <a:pt x="3" y="2"/>
                      <a:pt x="1" y="4"/>
                    </a:cubicBezTo>
                    <a:cubicBezTo>
                      <a:pt x="5" y="7"/>
                      <a:pt x="5" y="7"/>
                      <a:pt x="5" y="7"/>
                    </a:cubicBezTo>
                    <a:cubicBezTo>
                      <a:pt x="6" y="6"/>
                      <a:pt x="8" y="5"/>
                      <a:pt x="10" y="5"/>
                    </a:cubicBezTo>
                    <a:cubicBezTo>
                      <a:pt x="13" y="5"/>
                      <a:pt x="14" y="7"/>
                      <a:pt x="14" y="9"/>
                    </a:cubicBezTo>
                    <a:cubicBezTo>
                      <a:pt x="14" y="10"/>
                      <a:pt x="14" y="10"/>
                      <a:pt x="14" y="10"/>
                    </a:cubicBezTo>
                    <a:cubicBezTo>
                      <a:pt x="9" y="10"/>
                      <a:pt x="9" y="10"/>
                      <a:pt x="9" y="10"/>
                    </a:cubicBezTo>
                    <a:cubicBezTo>
                      <a:pt x="6" y="10"/>
                      <a:pt x="4" y="11"/>
                      <a:pt x="3" y="12"/>
                    </a:cubicBezTo>
                    <a:cubicBezTo>
                      <a:pt x="1" y="14"/>
                      <a:pt x="0" y="15"/>
                      <a:pt x="0" y="17"/>
                    </a:cubicBezTo>
                    <a:cubicBezTo>
                      <a:pt x="0" y="19"/>
                      <a:pt x="1" y="21"/>
                      <a:pt x="3" y="23"/>
                    </a:cubicBezTo>
                    <a:cubicBezTo>
                      <a:pt x="4" y="24"/>
                      <a:pt x="6" y="25"/>
                      <a:pt x="9" y="25"/>
                    </a:cubicBezTo>
                    <a:cubicBezTo>
                      <a:pt x="11" y="25"/>
                      <a:pt x="13" y="24"/>
                      <a:pt x="15" y="22"/>
                    </a:cubicBezTo>
                    <a:cubicBezTo>
                      <a:pt x="15" y="25"/>
                      <a:pt x="15" y="25"/>
                      <a:pt x="15"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 name="Freeform 19"/>
              <p:cNvSpPr>
                <a:spLocks/>
              </p:cNvSpPr>
              <p:nvPr/>
            </p:nvSpPr>
            <p:spPr bwMode="auto">
              <a:xfrm>
                <a:off x="5497513" y="3660776"/>
                <a:ext cx="128588" cy="95250"/>
              </a:xfrm>
              <a:custGeom>
                <a:avLst/>
                <a:gdLst>
                  <a:gd name="T0" fmla="*/ 486319816 w 34"/>
                  <a:gd name="T1" fmla="*/ 362902500 h 25"/>
                  <a:gd name="T2" fmla="*/ 400498672 w 34"/>
                  <a:gd name="T3" fmla="*/ 362902500 h 25"/>
                  <a:gd name="T4" fmla="*/ 400498672 w 34"/>
                  <a:gd name="T5" fmla="*/ 145161000 h 25"/>
                  <a:gd name="T6" fmla="*/ 386195148 w 34"/>
                  <a:gd name="T7" fmla="*/ 101612700 h 25"/>
                  <a:gd name="T8" fmla="*/ 343284576 w 34"/>
                  <a:gd name="T9" fmla="*/ 87096600 h 25"/>
                  <a:gd name="T10" fmla="*/ 300374004 w 34"/>
                  <a:gd name="T11" fmla="*/ 101612700 h 25"/>
                  <a:gd name="T12" fmla="*/ 286070480 w 34"/>
                  <a:gd name="T13" fmla="*/ 145161000 h 25"/>
                  <a:gd name="T14" fmla="*/ 286070480 w 34"/>
                  <a:gd name="T15" fmla="*/ 362902500 h 25"/>
                  <a:gd name="T16" fmla="*/ 200249336 w 34"/>
                  <a:gd name="T17" fmla="*/ 362902500 h 25"/>
                  <a:gd name="T18" fmla="*/ 200249336 w 34"/>
                  <a:gd name="T19" fmla="*/ 145161000 h 25"/>
                  <a:gd name="T20" fmla="*/ 185945812 w 34"/>
                  <a:gd name="T21" fmla="*/ 101612700 h 25"/>
                  <a:gd name="T22" fmla="*/ 143035240 w 34"/>
                  <a:gd name="T23" fmla="*/ 87096600 h 25"/>
                  <a:gd name="T24" fmla="*/ 100124668 w 34"/>
                  <a:gd name="T25" fmla="*/ 101612700 h 25"/>
                  <a:gd name="T26" fmla="*/ 85821144 w 34"/>
                  <a:gd name="T27" fmla="*/ 145161000 h 25"/>
                  <a:gd name="T28" fmla="*/ 85821144 w 34"/>
                  <a:gd name="T29" fmla="*/ 362902500 h 25"/>
                  <a:gd name="T30" fmla="*/ 0 w 34"/>
                  <a:gd name="T31" fmla="*/ 362902500 h 25"/>
                  <a:gd name="T32" fmla="*/ 0 w 34"/>
                  <a:gd name="T33" fmla="*/ 0 h 25"/>
                  <a:gd name="T34" fmla="*/ 85821144 w 34"/>
                  <a:gd name="T35" fmla="*/ 0 h 25"/>
                  <a:gd name="T36" fmla="*/ 85821144 w 34"/>
                  <a:gd name="T37" fmla="*/ 43548300 h 25"/>
                  <a:gd name="T38" fmla="*/ 171642288 w 34"/>
                  <a:gd name="T39" fmla="*/ 0 h 25"/>
                  <a:gd name="T40" fmla="*/ 257463432 w 34"/>
                  <a:gd name="T41" fmla="*/ 43548300 h 25"/>
                  <a:gd name="T42" fmla="*/ 357588100 w 34"/>
                  <a:gd name="T43" fmla="*/ 0 h 25"/>
                  <a:gd name="T44" fmla="*/ 443409244 w 34"/>
                  <a:gd name="T45" fmla="*/ 29032200 h 25"/>
                  <a:gd name="T46" fmla="*/ 486319816 w 34"/>
                  <a:gd name="T47" fmla="*/ 130644900 h 25"/>
                  <a:gd name="T48" fmla="*/ 486319816 w 34"/>
                  <a:gd name="T49" fmla="*/ 362902500 h 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4" h="25">
                    <a:moveTo>
                      <a:pt x="34" y="25"/>
                    </a:moveTo>
                    <a:cubicBezTo>
                      <a:pt x="28" y="25"/>
                      <a:pt x="28" y="25"/>
                      <a:pt x="28" y="25"/>
                    </a:cubicBezTo>
                    <a:cubicBezTo>
                      <a:pt x="28" y="10"/>
                      <a:pt x="28" y="10"/>
                      <a:pt x="28" y="10"/>
                    </a:cubicBezTo>
                    <a:cubicBezTo>
                      <a:pt x="28" y="9"/>
                      <a:pt x="27" y="7"/>
                      <a:pt x="27" y="7"/>
                    </a:cubicBezTo>
                    <a:cubicBezTo>
                      <a:pt x="26" y="6"/>
                      <a:pt x="25" y="6"/>
                      <a:pt x="24" y="6"/>
                    </a:cubicBezTo>
                    <a:cubicBezTo>
                      <a:pt x="23" y="6"/>
                      <a:pt x="22" y="6"/>
                      <a:pt x="21" y="7"/>
                    </a:cubicBezTo>
                    <a:cubicBezTo>
                      <a:pt x="20" y="7"/>
                      <a:pt x="20" y="8"/>
                      <a:pt x="20" y="10"/>
                    </a:cubicBezTo>
                    <a:cubicBezTo>
                      <a:pt x="20" y="25"/>
                      <a:pt x="20" y="25"/>
                      <a:pt x="20" y="25"/>
                    </a:cubicBezTo>
                    <a:cubicBezTo>
                      <a:pt x="14" y="25"/>
                      <a:pt x="14" y="25"/>
                      <a:pt x="14" y="25"/>
                    </a:cubicBezTo>
                    <a:cubicBezTo>
                      <a:pt x="14" y="10"/>
                      <a:pt x="14" y="10"/>
                      <a:pt x="14" y="10"/>
                    </a:cubicBezTo>
                    <a:cubicBezTo>
                      <a:pt x="14" y="9"/>
                      <a:pt x="13" y="7"/>
                      <a:pt x="13" y="7"/>
                    </a:cubicBezTo>
                    <a:cubicBezTo>
                      <a:pt x="12" y="6"/>
                      <a:pt x="11" y="6"/>
                      <a:pt x="10" y="6"/>
                    </a:cubicBezTo>
                    <a:cubicBezTo>
                      <a:pt x="9" y="6"/>
                      <a:pt x="8" y="6"/>
                      <a:pt x="7" y="7"/>
                    </a:cubicBezTo>
                    <a:cubicBezTo>
                      <a:pt x="6" y="7"/>
                      <a:pt x="6" y="9"/>
                      <a:pt x="6" y="10"/>
                    </a:cubicBezTo>
                    <a:cubicBezTo>
                      <a:pt x="6" y="25"/>
                      <a:pt x="6" y="25"/>
                      <a:pt x="6" y="25"/>
                    </a:cubicBezTo>
                    <a:cubicBezTo>
                      <a:pt x="0" y="25"/>
                      <a:pt x="0" y="25"/>
                      <a:pt x="0" y="25"/>
                    </a:cubicBezTo>
                    <a:cubicBezTo>
                      <a:pt x="0" y="0"/>
                      <a:pt x="0" y="0"/>
                      <a:pt x="0" y="0"/>
                    </a:cubicBezTo>
                    <a:cubicBezTo>
                      <a:pt x="6" y="0"/>
                      <a:pt x="6" y="0"/>
                      <a:pt x="6" y="0"/>
                    </a:cubicBezTo>
                    <a:cubicBezTo>
                      <a:pt x="6" y="3"/>
                      <a:pt x="6" y="3"/>
                      <a:pt x="6" y="3"/>
                    </a:cubicBezTo>
                    <a:cubicBezTo>
                      <a:pt x="7" y="1"/>
                      <a:pt x="9" y="0"/>
                      <a:pt x="12" y="0"/>
                    </a:cubicBezTo>
                    <a:cubicBezTo>
                      <a:pt x="14" y="0"/>
                      <a:pt x="17" y="1"/>
                      <a:pt x="18" y="3"/>
                    </a:cubicBezTo>
                    <a:cubicBezTo>
                      <a:pt x="20" y="1"/>
                      <a:pt x="22" y="0"/>
                      <a:pt x="25" y="0"/>
                    </a:cubicBezTo>
                    <a:cubicBezTo>
                      <a:pt x="28" y="0"/>
                      <a:pt x="30" y="1"/>
                      <a:pt x="31" y="2"/>
                    </a:cubicBezTo>
                    <a:cubicBezTo>
                      <a:pt x="33" y="4"/>
                      <a:pt x="34" y="6"/>
                      <a:pt x="34" y="9"/>
                    </a:cubicBezTo>
                    <a:lnTo>
                      <a:pt x="34" y="25"/>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 name="Freeform 20"/>
              <p:cNvSpPr>
                <a:spLocks noEditPoints="1"/>
              </p:cNvSpPr>
              <p:nvPr/>
            </p:nvSpPr>
            <p:spPr bwMode="auto">
              <a:xfrm>
                <a:off x="5645150" y="3660776"/>
                <a:ext cx="74613" cy="95250"/>
              </a:xfrm>
              <a:custGeom>
                <a:avLst/>
                <a:gdLst>
                  <a:gd name="T0" fmla="*/ 180929064 w 20"/>
                  <a:gd name="T1" fmla="*/ 261289800 h 25"/>
                  <a:gd name="T2" fmla="*/ 125260304 w 20"/>
                  <a:gd name="T3" fmla="*/ 290322000 h 25"/>
                  <a:gd name="T4" fmla="*/ 69587814 w 20"/>
                  <a:gd name="T5" fmla="*/ 246773700 h 25"/>
                  <a:gd name="T6" fmla="*/ 125260304 w 20"/>
                  <a:gd name="T7" fmla="*/ 203225400 h 25"/>
                  <a:gd name="T8" fmla="*/ 194848119 w 20"/>
                  <a:gd name="T9" fmla="*/ 203225400 h 25"/>
                  <a:gd name="T10" fmla="*/ 194848119 w 20"/>
                  <a:gd name="T11" fmla="*/ 232257600 h 25"/>
                  <a:gd name="T12" fmla="*/ 180929064 w 20"/>
                  <a:gd name="T13" fmla="*/ 261289800 h 25"/>
                  <a:gd name="T14" fmla="*/ 278354988 w 20"/>
                  <a:gd name="T15" fmla="*/ 130644900 h 25"/>
                  <a:gd name="T16" fmla="*/ 125260304 w 20"/>
                  <a:gd name="T17" fmla="*/ 0 h 25"/>
                  <a:gd name="T18" fmla="*/ 55672490 w 20"/>
                  <a:gd name="T19" fmla="*/ 14516100 h 25"/>
                  <a:gd name="T20" fmla="*/ 13919055 w 20"/>
                  <a:gd name="T21" fmla="*/ 58064400 h 25"/>
                  <a:gd name="T22" fmla="*/ 55672490 w 20"/>
                  <a:gd name="T23" fmla="*/ 101612700 h 25"/>
                  <a:gd name="T24" fmla="*/ 125260304 w 20"/>
                  <a:gd name="T25" fmla="*/ 72580500 h 25"/>
                  <a:gd name="T26" fmla="*/ 194848119 w 20"/>
                  <a:gd name="T27" fmla="*/ 130644900 h 25"/>
                  <a:gd name="T28" fmla="*/ 194848119 w 20"/>
                  <a:gd name="T29" fmla="*/ 145161000 h 25"/>
                  <a:gd name="T30" fmla="*/ 111341249 w 20"/>
                  <a:gd name="T31" fmla="*/ 145161000 h 25"/>
                  <a:gd name="T32" fmla="*/ 27834380 w 20"/>
                  <a:gd name="T33" fmla="*/ 174193200 h 25"/>
                  <a:gd name="T34" fmla="*/ 0 w 20"/>
                  <a:gd name="T35" fmla="*/ 246773700 h 25"/>
                  <a:gd name="T36" fmla="*/ 27834380 w 20"/>
                  <a:gd name="T37" fmla="*/ 333870300 h 25"/>
                  <a:gd name="T38" fmla="*/ 111341249 w 20"/>
                  <a:gd name="T39" fmla="*/ 362902500 h 25"/>
                  <a:gd name="T40" fmla="*/ 194848119 w 20"/>
                  <a:gd name="T41" fmla="*/ 319354200 h 25"/>
                  <a:gd name="T42" fmla="*/ 194848119 w 20"/>
                  <a:gd name="T43" fmla="*/ 362902500 h 25"/>
                  <a:gd name="T44" fmla="*/ 278354988 w 20"/>
                  <a:gd name="T45" fmla="*/ 362902500 h 25"/>
                  <a:gd name="T46" fmla="*/ 278354988 w 20"/>
                  <a:gd name="T47" fmla="*/ 13064490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3" y="18"/>
                    </a:moveTo>
                    <a:cubicBezTo>
                      <a:pt x="12" y="19"/>
                      <a:pt x="11" y="20"/>
                      <a:pt x="9" y="20"/>
                    </a:cubicBezTo>
                    <a:cubicBezTo>
                      <a:pt x="7" y="20"/>
                      <a:pt x="5" y="19"/>
                      <a:pt x="5" y="17"/>
                    </a:cubicBezTo>
                    <a:cubicBezTo>
                      <a:pt x="5" y="15"/>
                      <a:pt x="7" y="14"/>
                      <a:pt x="9" y="14"/>
                    </a:cubicBezTo>
                    <a:cubicBezTo>
                      <a:pt x="14" y="14"/>
                      <a:pt x="14" y="14"/>
                      <a:pt x="14" y="14"/>
                    </a:cubicBezTo>
                    <a:cubicBezTo>
                      <a:pt x="14" y="16"/>
                      <a:pt x="14" y="16"/>
                      <a:pt x="14" y="16"/>
                    </a:cubicBezTo>
                    <a:cubicBezTo>
                      <a:pt x="14" y="17"/>
                      <a:pt x="13" y="18"/>
                      <a:pt x="13" y="18"/>
                    </a:cubicBezTo>
                    <a:moveTo>
                      <a:pt x="20" y="9"/>
                    </a:moveTo>
                    <a:cubicBezTo>
                      <a:pt x="20" y="3"/>
                      <a:pt x="16" y="0"/>
                      <a:pt x="9" y="0"/>
                    </a:cubicBezTo>
                    <a:cubicBezTo>
                      <a:pt x="7" y="0"/>
                      <a:pt x="6" y="0"/>
                      <a:pt x="4" y="1"/>
                    </a:cubicBezTo>
                    <a:cubicBezTo>
                      <a:pt x="3" y="1"/>
                      <a:pt x="2" y="2"/>
                      <a:pt x="1" y="4"/>
                    </a:cubicBezTo>
                    <a:cubicBezTo>
                      <a:pt x="4" y="7"/>
                      <a:pt x="4" y="7"/>
                      <a:pt x="4" y="7"/>
                    </a:cubicBezTo>
                    <a:cubicBezTo>
                      <a:pt x="6" y="6"/>
                      <a:pt x="7" y="5"/>
                      <a:pt x="9" y="5"/>
                    </a:cubicBezTo>
                    <a:cubicBezTo>
                      <a:pt x="12" y="5"/>
                      <a:pt x="14" y="7"/>
                      <a:pt x="14" y="9"/>
                    </a:cubicBezTo>
                    <a:cubicBezTo>
                      <a:pt x="14" y="10"/>
                      <a:pt x="14" y="10"/>
                      <a:pt x="14" y="10"/>
                    </a:cubicBezTo>
                    <a:cubicBezTo>
                      <a:pt x="8" y="10"/>
                      <a:pt x="8" y="10"/>
                      <a:pt x="8" y="10"/>
                    </a:cubicBezTo>
                    <a:cubicBezTo>
                      <a:pt x="5" y="10"/>
                      <a:pt x="3" y="11"/>
                      <a:pt x="2" y="12"/>
                    </a:cubicBezTo>
                    <a:cubicBezTo>
                      <a:pt x="0" y="14"/>
                      <a:pt x="0" y="15"/>
                      <a:pt x="0" y="17"/>
                    </a:cubicBezTo>
                    <a:cubicBezTo>
                      <a:pt x="0" y="19"/>
                      <a:pt x="0" y="21"/>
                      <a:pt x="2" y="23"/>
                    </a:cubicBezTo>
                    <a:cubicBezTo>
                      <a:pt x="3" y="24"/>
                      <a:pt x="5" y="25"/>
                      <a:pt x="8" y="25"/>
                    </a:cubicBezTo>
                    <a:cubicBezTo>
                      <a:pt x="10" y="25"/>
                      <a:pt x="12" y="24"/>
                      <a:pt x="14" y="22"/>
                    </a:cubicBezTo>
                    <a:cubicBezTo>
                      <a:pt x="14" y="25"/>
                      <a:pt x="14" y="25"/>
                      <a:pt x="14"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 name="Freeform 21"/>
              <p:cNvSpPr>
                <a:spLocks/>
              </p:cNvSpPr>
              <p:nvPr/>
            </p:nvSpPr>
            <p:spPr bwMode="auto">
              <a:xfrm>
                <a:off x="5741988" y="3660776"/>
                <a:ext cx="68263" cy="95250"/>
              </a:xfrm>
              <a:custGeom>
                <a:avLst/>
                <a:gdLst>
                  <a:gd name="T0" fmla="*/ 258879843 w 18"/>
                  <a:gd name="T1" fmla="*/ 43548300 h 25"/>
                  <a:gd name="T2" fmla="*/ 186968565 w 18"/>
                  <a:gd name="T3" fmla="*/ 101612700 h 25"/>
                  <a:gd name="T4" fmla="*/ 143822556 w 18"/>
                  <a:gd name="T5" fmla="*/ 87096600 h 25"/>
                  <a:gd name="T6" fmla="*/ 100676548 w 18"/>
                  <a:gd name="T7" fmla="*/ 101612700 h 25"/>
                  <a:gd name="T8" fmla="*/ 86292017 w 18"/>
                  <a:gd name="T9" fmla="*/ 145161000 h 25"/>
                  <a:gd name="T10" fmla="*/ 86292017 w 18"/>
                  <a:gd name="T11" fmla="*/ 362902500 h 25"/>
                  <a:gd name="T12" fmla="*/ 0 w 18"/>
                  <a:gd name="T13" fmla="*/ 362902500 h 25"/>
                  <a:gd name="T14" fmla="*/ 0 w 18"/>
                  <a:gd name="T15" fmla="*/ 0 h 25"/>
                  <a:gd name="T16" fmla="*/ 86292017 w 18"/>
                  <a:gd name="T17" fmla="*/ 0 h 25"/>
                  <a:gd name="T18" fmla="*/ 86292017 w 18"/>
                  <a:gd name="T19" fmla="*/ 43548300 h 25"/>
                  <a:gd name="T20" fmla="*/ 172587826 w 18"/>
                  <a:gd name="T21" fmla="*/ 0 h 25"/>
                  <a:gd name="T22" fmla="*/ 258879843 w 18"/>
                  <a:gd name="T23" fmla="*/ 43548300 h 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25">
                    <a:moveTo>
                      <a:pt x="18" y="3"/>
                    </a:moveTo>
                    <a:cubicBezTo>
                      <a:pt x="13" y="7"/>
                      <a:pt x="13" y="7"/>
                      <a:pt x="13" y="7"/>
                    </a:cubicBezTo>
                    <a:cubicBezTo>
                      <a:pt x="12" y="6"/>
                      <a:pt x="11" y="6"/>
                      <a:pt x="10" y="6"/>
                    </a:cubicBezTo>
                    <a:cubicBezTo>
                      <a:pt x="9" y="6"/>
                      <a:pt x="8" y="6"/>
                      <a:pt x="7" y="7"/>
                    </a:cubicBezTo>
                    <a:cubicBezTo>
                      <a:pt x="6" y="8"/>
                      <a:pt x="6" y="9"/>
                      <a:pt x="6" y="10"/>
                    </a:cubicBezTo>
                    <a:cubicBezTo>
                      <a:pt x="6" y="25"/>
                      <a:pt x="6" y="25"/>
                      <a:pt x="6" y="25"/>
                    </a:cubicBezTo>
                    <a:cubicBezTo>
                      <a:pt x="0" y="25"/>
                      <a:pt x="0" y="25"/>
                      <a:pt x="0" y="25"/>
                    </a:cubicBezTo>
                    <a:cubicBezTo>
                      <a:pt x="0" y="0"/>
                      <a:pt x="0" y="0"/>
                      <a:pt x="0" y="0"/>
                    </a:cubicBezTo>
                    <a:cubicBezTo>
                      <a:pt x="6" y="0"/>
                      <a:pt x="6" y="0"/>
                      <a:pt x="6" y="0"/>
                    </a:cubicBezTo>
                    <a:cubicBezTo>
                      <a:pt x="6" y="3"/>
                      <a:pt x="6" y="3"/>
                      <a:pt x="6" y="3"/>
                    </a:cubicBezTo>
                    <a:cubicBezTo>
                      <a:pt x="7" y="1"/>
                      <a:pt x="9" y="0"/>
                      <a:pt x="12" y="0"/>
                    </a:cubicBezTo>
                    <a:cubicBezTo>
                      <a:pt x="14" y="0"/>
                      <a:pt x="16" y="1"/>
                      <a:pt x="18" y="3"/>
                    </a:cubicBezTo>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 name="Freeform 22"/>
              <p:cNvSpPr>
                <a:spLocks noEditPoints="1"/>
              </p:cNvSpPr>
              <p:nvPr/>
            </p:nvSpPr>
            <p:spPr bwMode="auto">
              <a:xfrm>
                <a:off x="5821363" y="3630613"/>
                <a:ext cx="22225" cy="125413"/>
              </a:xfrm>
              <a:custGeom>
                <a:avLst/>
                <a:gdLst>
                  <a:gd name="T0" fmla="*/ 35282188 w 14"/>
                  <a:gd name="T1" fmla="*/ 25201663 h 79"/>
                  <a:gd name="T2" fmla="*/ 0 w 14"/>
                  <a:gd name="T3" fmla="*/ 25201663 h 79"/>
                  <a:gd name="T4" fmla="*/ 0 w 14"/>
                  <a:gd name="T5" fmla="*/ 0 h 79"/>
                  <a:gd name="T6" fmla="*/ 35282188 w 14"/>
                  <a:gd name="T7" fmla="*/ 0 h 79"/>
                  <a:gd name="T8" fmla="*/ 35282188 w 14"/>
                  <a:gd name="T9" fmla="*/ 25201663 h 79"/>
                  <a:gd name="T10" fmla="*/ 35282188 w 14"/>
                  <a:gd name="T11" fmla="*/ 199093931 h 79"/>
                  <a:gd name="T12" fmla="*/ 0 w 14"/>
                  <a:gd name="T13" fmla="*/ 199093931 h 79"/>
                  <a:gd name="T14" fmla="*/ 0 w 14"/>
                  <a:gd name="T15" fmla="*/ 47883953 h 79"/>
                  <a:gd name="T16" fmla="*/ 35282188 w 14"/>
                  <a:gd name="T17" fmla="*/ 47883953 h 79"/>
                  <a:gd name="T18" fmla="*/ 35282188 w 14"/>
                  <a:gd name="T19" fmla="*/ 199093931 h 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79">
                    <a:moveTo>
                      <a:pt x="14" y="10"/>
                    </a:moveTo>
                    <a:lnTo>
                      <a:pt x="0" y="10"/>
                    </a:lnTo>
                    <a:lnTo>
                      <a:pt x="0" y="0"/>
                    </a:lnTo>
                    <a:lnTo>
                      <a:pt x="14" y="0"/>
                    </a:lnTo>
                    <a:lnTo>
                      <a:pt x="14" y="10"/>
                    </a:lnTo>
                    <a:close/>
                    <a:moveTo>
                      <a:pt x="14" y="79"/>
                    </a:moveTo>
                    <a:lnTo>
                      <a:pt x="0" y="79"/>
                    </a:lnTo>
                    <a:lnTo>
                      <a:pt x="0" y="19"/>
                    </a:lnTo>
                    <a:lnTo>
                      <a:pt x="14" y="19"/>
                    </a:lnTo>
                    <a:lnTo>
                      <a:pt x="14"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 name="Freeform 23"/>
              <p:cNvSpPr>
                <a:spLocks/>
              </p:cNvSpPr>
              <p:nvPr/>
            </p:nvSpPr>
            <p:spPr bwMode="auto">
              <a:xfrm>
                <a:off x="5897563" y="3630613"/>
                <a:ext cx="74613" cy="125413"/>
              </a:xfrm>
              <a:custGeom>
                <a:avLst/>
                <a:gdLst>
                  <a:gd name="T0" fmla="*/ 278354988 w 20"/>
                  <a:gd name="T1" fmla="*/ 317747137 h 33"/>
                  <a:gd name="T2" fmla="*/ 236601554 w 20"/>
                  <a:gd name="T3" fmla="*/ 433290514 h 33"/>
                  <a:gd name="T4" fmla="*/ 125260304 w 20"/>
                  <a:gd name="T5" fmla="*/ 476618805 h 33"/>
                  <a:gd name="T6" fmla="*/ 0 w 20"/>
                  <a:gd name="T7" fmla="*/ 418845216 h 33"/>
                  <a:gd name="T8" fmla="*/ 69587814 w 20"/>
                  <a:gd name="T9" fmla="*/ 361075428 h 33"/>
                  <a:gd name="T10" fmla="*/ 125260304 w 20"/>
                  <a:gd name="T11" fmla="*/ 389962223 h 33"/>
                  <a:gd name="T12" fmla="*/ 194848119 w 20"/>
                  <a:gd name="T13" fmla="*/ 317747137 h 33"/>
                  <a:gd name="T14" fmla="*/ 194848119 w 20"/>
                  <a:gd name="T15" fmla="*/ 0 h 33"/>
                  <a:gd name="T16" fmla="*/ 278354988 w 20"/>
                  <a:gd name="T17" fmla="*/ 0 h 33"/>
                  <a:gd name="T18" fmla="*/ 278354988 w 20"/>
                  <a:gd name="T19" fmla="*/ 317747137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33">
                    <a:moveTo>
                      <a:pt x="20" y="22"/>
                    </a:moveTo>
                    <a:cubicBezTo>
                      <a:pt x="20" y="25"/>
                      <a:pt x="19" y="28"/>
                      <a:pt x="17" y="30"/>
                    </a:cubicBezTo>
                    <a:cubicBezTo>
                      <a:pt x="15" y="32"/>
                      <a:pt x="12" y="33"/>
                      <a:pt x="9" y="33"/>
                    </a:cubicBezTo>
                    <a:cubicBezTo>
                      <a:pt x="5" y="33"/>
                      <a:pt x="3" y="32"/>
                      <a:pt x="0" y="29"/>
                    </a:cubicBezTo>
                    <a:cubicBezTo>
                      <a:pt x="5" y="25"/>
                      <a:pt x="5" y="25"/>
                      <a:pt x="5" y="25"/>
                    </a:cubicBezTo>
                    <a:cubicBezTo>
                      <a:pt x="6" y="27"/>
                      <a:pt x="7" y="27"/>
                      <a:pt x="9" y="27"/>
                    </a:cubicBezTo>
                    <a:cubicBezTo>
                      <a:pt x="12" y="27"/>
                      <a:pt x="14" y="25"/>
                      <a:pt x="14" y="22"/>
                    </a:cubicBezTo>
                    <a:cubicBezTo>
                      <a:pt x="14" y="0"/>
                      <a:pt x="14" y="0"/>
                      <a:pt x="14" y="0"/>
                    </a:cubicBezTo>
                    <a:cubicBezTo>
                      <a:pt x="20" y="0"/>
                      <a:pt x="20" y="0"/>
                      <a:pt x="20" y="0"/>
                    </a:cubicBezTo>
                    <a:lnTo>
                      <a:pt x="20" y="2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 name="Freeform 24"/>
              <p:cNvSpPr>
                <a:spLocks noEditPoints="1"/>
              </p:cNvSpPr>
              <p:nvPr/>
            </p:nvSpPr>
            <p:spPr bwMode="auto">
              <a:xfrm>
                <a:off x="5994400" y="3660776"/>
                <a:ext cx="79375" cy="95250"/>
              </a:xfrm>
              <a:custGeom>
                <a:avLst/>
                <a:gdLst>
                  <a:gd name="T0" fmla="*/ 85721220 w 21"/>
                  <a:gd name="T1" fmla="*/ 145161000 h 25"/>
                  <a:gd name="T2" fmla="*/ 85721220 w 21"/>
                  <a:gd name="T3" fmla="*/ 116128800 h 25"/>
                  <a:gd name="T4" fmla="*/ 142867440 w 21"/>
                  <a:gd name="T5" fmla="*/ 72580500 h 25"/>
                  <a:gd name="T6" fmla="*/ 200013661 w 21"/>
                  <a:gd name="T7" fmla="*/ 116128800 h 25"/>
                  <a:gd name="T8" fmla="*/ 214297381 w 21"/>
                  <a:gd name="T9" fmla="*/ 145161000 h 25"/>
                  <a:gd name="T10" fmla="*/ 85721220 w 21"/>
                  <a:gd name="T11" fmla="*/ 145161000 h 25"/>
                  <a:gd name="T12" fmla="*/ 300018601 w 21"/>
                  <a:gd name="T13" fmla="*/ 174193200 h 25"/>
                  <a:gd name="T14" fmla="*/ 257159881 w 21"/>
                  <a:gd name="T15" fmla="*/ 58064400 h 25"/>
                  <a:gd name="T16" fmla="*/ 142867440 w 21"/>
                  <a:gd name="T17" fmla="*/ 0 h 25"/>
                  <a:gd name="T18" fmla="*/ 42858720 w 21"/>
                  <a:gd name="T19" fmla="*/ 43548300 h 25"/>
                  <a:gd name="T20" fmla="*/ 0 w 21"/>
                  <a:gd name="T21" fmla="*/ 188709300 h 25"/>
                  <a:gd name="T22" fmla="*/ 157151161 w 21"/>
                  <a:gd name="T23" fmla="*/ 362902500 h 25"/>
                  <a:gd name="T24" fmla="*/ 228584881 w 21"/>
                  <a:gd name="T25" fmla="*/ 348386400 h 25"/>
                  <a:gd name="T26" fmla="*/ 285731101 w 21"/>
                  <a:gd name="T27" fmla="*/ 304838100 h 25"/>
                  <a:gd name="T28" fmla="*/ 228584881 w 21"/>
                  <a:gd name="T29" fmla="*/ 261289800 h 25"/>
                  <a:gd name="T30" fmla="*/ 157151161 w 21"/>
                  <a:gd name="T31" fmla="*/ 290322000 h 25"/>
                  <a:gd name="T32" fmla="*/ 100004940 w 21"/>
                  <a:gd name="T33" fmla="*/ 261289800 h 25"/>
                  <a:gd name="T34" fmla="*/ 85721220 w 21"/>
                  <a:gd name="T35" fmla="*/ 203225400 h 25"/>
                  <a:gd name="T36" fmla="*/ 300018601 w 21"/>
                  <a:gd name="T37" fmla="*/ 203225400 h 25"/>
                  <a:gd name="T38" fmla="*/ 300018601 w 21"/>
                  <a:gd name="T39" fmla="*/ 17419320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6" y="8"/>
                    </a:cubicBezTo>
                    <a:cubicBezTo>
                      <a:pt x="7" y="6"/>
                      <a:pt x="8" y="5"/>
                      <a:pt x="10" y="5"/>
                    </a:cubicBezTo>
                    <a:cubicBezTo>
                      <a:pt x="12" y="5"/>
                      <a:pt x="14" y="6"/>
                      <a:pt x="14" y="8"/>
                    </a:cubicBezTo>
                    <a:cubicBezTo>
                      <a:pt x="15" y="8"/>
                      <a:pt x="15" y="9"/>
                      <a:pt x="15" y="10"/>
                    </a:cubicBezTo>
                    <a:lnTo>
                      <a:pt x="6" y="10"/>
                    </a:lnTo>
                    <a:close/>
                    <a:moveTo>
                      <a:pt x="21" y="12"/>
                    </a:moveTo>
                    <a:cubicBezTo>
                      <a:pt x="21" y="8"/>
                      <a:pt x="20" y="6"/>
                      <a:pt x="18" y="4"/>
                    </a:cubicBezTo>
                    <a:cubicBezTo>
                      <a:pt x="16" y="1"/>
                      <a:pt x="14" y="0"/>
                      <a:pt x="10" y="0"/>
                    </a:cubicBezTo>
                    <a:cubicBezTo>
                      <a:pt x="7" y="0"/>
                      <a:pt x="5" y="1"/>
                      <a:pt x="3" y="3"/>
                    </a:cubicBezTo>
                    <a:cubicBezTo>
                      <a:pt x="1" y="6"/>
                      <a:pt x="0" y="9"/>
                      <a:pt x="0" y="13"/>
                    </a:cubicBezTo>
                    <a:cubicBezTo>
                      <a:pt x="0" y="21"/>
                      <a:pt x="4" y="25"/>
                      <a:pt x="11" y="25"/>
                    </a:cubicBezTo>
                    <a:cubicBezTo>
                      <a:pt x="13" y="25"/>
                      <a:pt x="15" y="25"/>
                      <a:pt x="16" y="24"/>
                    </a:cubicBezTo>
                    <a:cubicBezTo>
                      <a:pt x="18" y="23"/>
                      <a:pt x="19" y="22"/>
                      <a:pt x="20" y="21"/>
                    </a:cubicBezTo>
                    <a:cubicBezTo>
                      <a:pt x="16" y="18"/>
                      <a:pt x="16" y="18"/>
                      <a:pt x="16" y="18"/>
                    </a:cubicBezTo>
                    <a:cubicBezTo>
                      <a:pt x="15" y="19"/>
                      <a:pt x="13" y="20"/>
                      <a:pt x="11" y="20"/>
                    </a:cubicBezTo>
                    <a:cubicBezTo>
                      <a:pt x="9" y="20"/>
                      <a:pt x="8" y="19"/>
                      <a:pt x="7" y="18"/>
                    </a:cubicBezTo>
                    <a:cubicBezTo>
                      <a:pt x="6"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 name="Freeform 25"/>
              <p:cNvSpPr>
                <a:spLocks noEditPoints="1"/>
              </p:cNvSpPr>
              <p:nvPr/>
            </p:nvSpPr>
            <p:spPr bwMode="auto">
              <a:xfrm>
                <a:off x="6089650" y="3660776"/>
                <a:ext cx="77788" cy="95250"/>
              </a:xfrm>
              <a:custGeom>
                <a:avLst/>
                <a:gdLst>
                  <a:gd name="T0" fmla="*/ 82325633 w 21"/>
                  <a:gd name="T1" fmla="*/ 145161000 h 25"/>
                  <a:gd name="T2" fmla="*/ 96045955 w 21"/>
                  <a:gd name="T3" fmla="*/ 116128800 h 25"/>
                  <a:gd name="T4" fmla="*/ 150930945 w 21"/>
                  <a:gd name="T5" fmla="*/ 72580500 h 25"/>
                  <a:gd name="T6" fmla="*/ 205815935 w 21"/>
                  <a:gd name="T7" fmla="*/ 116128800 h 25"/>
                  <a:gd name="T8" fmla="*/ 205815935 w 21"/>
                  <a:gd name="T9" fmla="*/ 145161000 h 25"/>
                  <a:gd name="T10" fmla="*/ 82325633 w 21"/>
                  <a:gd name="T11" fmla="*/ 145161000 h 25"/>
                  <a:gd name="T12" fmla="*/ 288141569 w 21"/>
                  <a:gd name="T13" fmla="*/ 174193200 h 25"/>
                  <a:gd name="T14" fmla="*/ 246976900 w 21"/>
                  <a:gd name="T15" fmla="*/ 58064400 h 25"/>
                  <a:gd name="T16" fmla="*/ 150930945 w 21"/>
                  <a:gd name="T17" fmla="*/ 0 h 25"/>
                  <a:gd name="T18" fmla="*/ 41164669 w 21"/>
                  <a:gd name="T19" fmla="*/ 43548300 h 25"/>
                  <a:gd name="T20" fmla="*/ 0 w 21"/>
                  <a:gd name="T21" fmla="*/ 188709300 h 25"/>
                  <a:gd name="T22" fmla="*/ 150930945 w 21"/>
                  <a:gd name="T23" fmla="*/ 362902500 h 25"/>
                  <a:gd name="T24" fmla="*/ 233256578 w 21"/>
                  <a:gd name="T25" fmla="*/ 348386400 h 25"/>
                  <a:gd name="T26" fmla="*/ 274421247 w 21"/>
                  <a:gd name="T27" fmla="*/ 304838100 h 25"/>
                  <a:gd name="T28" fmla="*/ 233256578 w 21"/>
                  <a:gd name="T29" fmla="*/ 261289800 h 25"/>
                  <a:gd name="T30" fmla="*/ 150930945 w 21"/>
                  <a:gd name="T31" fmla="*/ 290322000 h 25"/>
                  <a:gd name="T32" fmla="*/ 96045955 w 21"/>
                  <a:gd name="T33" fmla="*/ 261289800 h 25"/>
                  <a:gd name="T34" fmla="*/ 82325633 w 21"/>
                  <a:gd name="T35" fmla="*/ 203225400 h 25"/>
                  <a:gd name="T36" fmla="*/ 288141569 w 21"/>
                  <a:gd name="T37" fmla="*/ 203225400 h 25"/>
                  <a:gd name="T38" fmla="*/ 288141569 w 21"/>
                  <a:gd name="T39" fmla="*/ 17419320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7" y="8"/>
                    </a:cubicBezTo>
                    <a:cubicBezTo>
                      <a:pt x="7" y="6"/>
                      <a:pt x="9" y="5"/>
                      <a:pt x="11" y="5"/>
                    </a:cubicBezTo>
                    <a:cubicBezTo>
                      <a:pt x="13" y="5"/>
                      <a:pt x="14" y="6"/>
                      <a:pt x="15" y="8"/>
                    </a:cubicBezTo>
                    <a:cubicBezTo>
                      <a:pt x="15" y="8"/>
                      <a:pt x="15" y="9"/>
                      <a:pt x="15" y="10"/>
                    </a:cubicBezTo>
                    <a:lnTo>
                      <a:pt x="6" y="10"/>
                    </a:lnTo>
                    <a:close/>
                    <a:moveTo>
                      <a:pt x="21" y="12"/>
                    </a:moveTo>
                    <a:cubicBezTo>
                      <a:pt x="21" y="8"/>
                      <a:pt x="20" y="6"/>
                      <a:pt x="18" y="4"/>
                    </a:cubicBezTo>
                    <a:cubicBezTo>
                      <a:pt x="17" y="1"/>
                      <a:pt x="14" y="0"/>
                      <a:pt x="11" y="0"/>
                    </a:cubicBezTo>
                    <a:cubicBezTo>
                      <a:pt x="8" y="0"/>
                      <a:pt x="5" y="1"/>
                      <a:pt x="3" y="3"/>
                    </a:cubicBezTo>
                    <a:cubicBezTo>
                      <a:pt x="1" y="6"/>
                      <a:pt x="0" y="9"/>
                      <a:pt x="0" y="13"/>
                    </a:cubicBezTo>
                    <a:cubicBezTo>
                      <a:pt x="0" y="21"/>
                      <a:pt x="4" y="25"/>
                      <a:pt x="11" y="25"/>
                    </a:cubicBezTo>
                    <a:cubicBezTo>
                      <a:pt x="13" y="25"/>
                      <a:pt x="15" y="25"/>
                      <a:pt x="17" y="24"/>
                    </a:cubicBezTo>
                    <a:cubicBezTo>
                      <a:pt x="18" y="23"/>
                      <a:pt x="19" y="22"/>
                      <a:pt x="20" y="21"/>
                    </a:cubicBezTo>
                    <a:cubicBezTo>
                      <a:pt x="17" y="18"/>
                      <a:pt x="17" y="18"/>
                      <a:pt x="17" y="18"/>
                    </a:cubicBezTo>
                    <a:cubicBezTo>
                      <a:pt x="15" y="19"/>
                      <a:pt x="13" y="20"/>
                      <a:pt x="11" y="20"/>
                    </a:cubicBezTo>
                    <a:cubicBezTo>
                      <a:pt x="10" y="20"/>
                      <a:pt x="8" y="19"/>
                      <a:pt x="7" y="18"/>
                    </a:cubicBezTo>
                    <a:cubicBezTo>
                      <a:pt x="7"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 name="Freeform 26"/>
              <p:cNvSpPr>
                <a:spLocks/>
              </p:cNvSpPr>
              <p:nvPr/>
            </p:nvSpPr>
            <p:spPr bwMode="auto">
              <a:xfrm>
                <a:off x="6183313" y="3638551"/>
                <a:ext cx="49213" cy="117475"/>
              </a:xfrm>
              <a:custGeom>
                <a:avLst/>
                <a:gdLst>
                  <a:gd name="T0" fmla="*/ 186301490 w 13"/>
                  <a:gd name="T1" fmla="*/ 445173407 h 31"/>
                  <a:gd name="T2" fmla="*/ 128979702 w 13"/>
                  <a:gd name="T3" fmla="*/ 445173407 h 31"/>
                  <a:gd name="T4" fmla="*/ 57321788 w 13"/>
                  <a:gd name="T5" fmla="*/ 402090398 h 31"/>
                  <a:gd name="T6" fmla="*/ 28660894 w 13"/>
                  <a:gd name="T7" fmla="*/ 344648913 h 31"/>
                  <a:gd name="T8" fmla="*/ 28660894 w 13"/>
                  <a:gd name="T9" fmla="*/ 172324456 h 31"/>
                  <a:gd name="T10" fmla="*/ 0 w 13"/>
                  <a:gd name="T11" fmla="*/ 172324456 h 31"/>
                  <a:gd name="T12" fmla="*/ 0 w 13"/>
                  <a:gd name="T13" fmla="*/ 100524494 h 31"/>
                  <a:gd name="T14" fmla="*/ 28660894 w 13"/>
                  <a:gd name="T15" fmla="*/ 100524494 h 31"/>
                  <a:gd name="T16" fmla="*/ 28660894 w 13"/>
                  <a:gd name="T17" fmla="*/ 0 h 31"/>
                  <a:gd name="T18" fmla="*/ 114647362 w 13"/>
                  <a:gd name="T19" fmla="*/ 0 h 31"/>
                  <a:gd name="T20" fmla="*/ 114647362 w 13"/>
                  <a:gd name="T21" fmla="*/ 100524494 h 31"/>
                  <a:gd name="T22" fmla="*/ 186301490 w 13"/>
                  <a:gd name="T23" fmla="*/ 100524494 h 31"/>
                  <a:gd name="T24" fmla="*/ 186301490 w 13"/>
                  <a:gd name="T25" fmla="*/ 172324456 h 31"/>
                  <a:gd name="T26" fmla="*/ 114647362 w 13"/>
                  <a:gd name="T27" fmla="*/ 172324456 h 31"/>
                  <a:gd name="T28" fmla="*/ 114647362 w 13"/>
                  <a:gd name="T29" fmla="*/ 330290436 h 31"/>
                  <a:gd name="T30" fmla="*/ 143308256 w 13"/>
                  <a:gd name="T31" fmla="*/ 359011179 h 31"/>
                  <a:gd name="T32" fmla="*/ 186301490 w 13"/>
                  <a:gd name="T33" fmla="*/ 359011179 h 31"/>
                  <a:gd name="T34" fmla="*/ 186301490 w 13"/>
                  <a:gd name="T35" fmla="*/ 445173407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31">
                    <a:moveTo>
                      <a:pt x="13" y="31"/>
                    </a:moveTo>
                    <a:cubicBezTo>
                      <a:pt x="9" y="31"/>
                      <a:pt x="9" y="31"/>
                      <a:pt x="9" y="31"/>
                    </a:cubicBezTo>
                    <a:cubicBezTo>
                      <a:pt x="7" y="31"/>
                      <a:pt x="5" y="30"/>
                      <a:pt x="4" y="28"/>
                    </a:cubicBezTo>
                    <a:cubicBezTo>
                      <a:pt x="3" y="27"/>
                      <a:pt x="2" y="26"/>
                      <a:pt x="2" y="24"/>
                    </a:cubicBezTo>
                    <a:cubicBezTo>
                      <a:pt x="2" y="12"/>
                      <a:pt x="2" y="12"/>
                      <a:pt x="2" y="12"/>
                    </a:cubicBezTo>
                    <a:cubicBezTo>
                      <a:pt x="0" y="12"/>
                      <a:pt x="0" y="12"/>
                      <a:pt x="0" y="12"/>
                    </a:cubicBezTo>
                    <a:cubicBezTo>
                      <a:pt x="0" y="7"/>
                      <a:pt x="0" y="7"/>
                      <a:pt x="0" y="7"/>
                    </a:cubicBezTo>
                    <a:cubicBezTo>
                      <a:pt x="2" y="7"/>
                      <a:pt x="2" y="7"/>
                      <a:pt x="2" y="7"/>
                    </a:cubicBezTo>
                    <a:cubicBezTo>
                      <a:pt x="2" y="0"/>
                      <a:pt x="2" y="0"/>
                      <a:pt x="2" y="0"/>
                    </a:cubicBezTo>
                    <a:cubicBezTo>
                      <a:pt x="8" y="0"/>
                      <a:pt x="8" y="0"/>
                      <a:pt x="8" y="0"/>
                    </a:cubicBezTo>
                    <a:cubicBezTo>
                      <a:pt x="8" y="7"/>
                      <a:pt x="8" y="7"/>
                      <a:pt x="8" y="7"/>
                    </a:cubicBezTo>
                    <a:cubicBezTo>
                      <a:pt x="13" y="7"/>
                      <a:pt x="13" y="7"/>
                      <a:pt x="13" y="7"/>
                    </a:cubicBezTo>
                    <a:cubicBezTo>
                      <a:pt x="13" y="12"/>
                      <a:pt x="13" y="12"/>
                      <a:pt x="13" y="12"/>
                    </a:cubicBezTo>
                    <a:cubicBezTo>
                      <a:pt x="8" y="12"/>
                      <a:pt x="8" y="12"/>
                      <a:pt x="8" y="12"/>
                    </a:cubicBezTo>
                    <a:cubicBezTo>
                      <a:pt x="8" y="23"/>
                      <a:pt x="8" y="23"/>
                      <a:pt x="8" y="23"/>
                    </a:cubicBezTo>
                    <a:cubicBezTo>
                      <a:pt x="8" y="25"/>
                      <a:pt x="9" y="25"/>
                      <a:pt x="10" y="25"/>
                    </a:cubicBezTo>
                    <a:cubicBezTo>
                      <a:pt x="13" y="25"/>
                      <a:pt x="13" y="25"/>
                      <a:pt x="13" y="25"/>
                    </a:cubicBezTo>
                    <a:lnTo>
                      <a:pt x="13" y="31"/>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 name="Rectangle 27"/>
              <p:cNvSpPr>
                <a:spLocks noChangeArrowheads="1"/>
              </p:cNvSpPr>
              <p:nvPr/>
            </p:nvSpPr>
            <p:spPr bwMode="auto">
              <a:xfrm>
                <a:off x="6250488" y="3729395"/>
                <a:ext cx="26488" cy="26504"/>
              </a:xfrm>
              <a:prstGeom prst="rect">
                <a:avLst/>
              </a:prstGeom>
              <a:solidFill>
                <a:srgbClr val="2B252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4" name="Group 9"/>
            <p:cNvGrpSpPr>
              <a:grpSpLocks/>
            </p:cNvGrpSpPr>
            <p:nvPr/>
          </p:nvGrpSpPr>
          <p:grpSpPr bwMode="auto">
            <a:xfrm>
              <a:off x="2863850" y="3078163"/>
              <a:ext cx="3413126" cy="552450"/>
              <a:chOff x="2863850" y="3078163"/>
              <a:chExt cx="3413126" cy="552450"/>
            </a:xfrm>
          </p:grpSpPr>
          <p:sp>
            <p:nvSpPr>
              <p:cNvPr id="5" name="Freeform 28"/>
              <p:cNvSpPr>
                <a:spLocks/>
              </p:cNvSpPr>
              <p:nvPr/>
            </p:nvSpPr>
            <p:spPr bwMode="auto">
              <a:xfrm>
                <a:off x="4772025" y="3273426"/>
                <a:ext cx="157163" cy="158750"/>
              </a:xfrm>
              <a:custGeom>
                <a:avLst/>
                <a:gdLst>
                  <a:gd name="T0" fmla="*/ 182032174 w 42"/>
                  <a:gd name="T1" fmla="*/ 457169762 h 42"/>
                  <a:gd name="T2" fmla="*/ 588100204 w 42"/>
                  <a:gd name="T3" fmla="*/ 457169762 h 42"/>
                  <a:gd name="T4" fmla="*/ 588100204 w 42"/>
                  <a:gd name="T5" fmla="*/ 600037202 h 42"/>
                  <a:gd name="T6" fmla="*/ 0 w 42"/>
                  <a:gd name="T7" fmla="*/ 600037202 h 42"/>
                  <a:gd name="T8" fmla="*/ 0 w 42"/>
                  <a:gd name="T9" fmla="*/ 0 h 42"/>
                  <a:gd name="T10" fmla="*/ 56009900 w 42"/>
                  <a:gd name="T11" fmla="*/ 0 h 42"/>
                  <a:gd name="T12" fmla="*/ 182032174 w 42"/>
                  <a:gd name="T13" fmla="*/ 100004940 h 42"/>
                  <a:gd name="T14" fmla="*/ 182032174 w 42"/>
                  <a:gd name="T15" fmla="*/ 457169762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2">
                    <a:moveTo>
                      <a:pt x="13" y="32"/>
                    </a:moveTo>
                    <a:cubicBezTo>
                      <a:pt x="42" y="32"/>
                      <a:pt x="42" y="32"/>
                      <a:pt x="42" y="32"/>
                    </a:cubicBezTo>
                    <a:cubicBezTo>
                      <a:pt x="42" y="42"/>
                      <a:pt x="42" y="42"/>
                      <a:pt x="42" y="42"/>
                    </a:cubicBezTo>
                    <a:cubicBezTo>
                      <a:pt x="0" y="42"/>
                      <a:pt x="0" y="42"/>
                      <a:pt x="0" y="42"/>
                    </a:cubicBezTo>
                    <a:cubicBezTo>
                      <a:pt x="0" y="0"/>
                      <a:pt x="0" y="0"/>
                      <a:pt x="0" y="0"/>
                    </a:cubicBezTo>
                    <a:cubicBezTo>
                      <a:pt x="4" y="0"/>
                      <a:pt x="4" y="0"/>
                      <a:pt x="4" y="0"/>
                    </a:cubicBezTo>
                    <a:cubicBezTo>
                      <a:pt x="10" y="0"/>
                      <a:pt x="13" y="2"/>
                      <a:pt x="13" y="7"/>
                    </a:cubicBezTo>
                    <a:lnTo>
                      <a:pt x="13" y="3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 name="Freeform 29"/>
              <p:cNvSpPr>
                <a:spLocks/>
              </p:cNvSpPr>
              <p:nvPr/>
            </p:nvSpPr>
            <p:spPr bwMode="auto">
              <a:xfrm>
                <a:off x="4462463" y="3273426"/>
                <a:ext cx="211138" cy="158750"/>
              </a:xfrm>
              <a:custGeom>
                <a:avLst/>
                <a:gdLst>
                  <a:gd name="T0" fmla="*/ 184798535 w 56"/>
                  <a:gd name="T1" fmla="*/ 228584881 h 42"/>
                  <a:gd name="T2" fmla="*/ 255876634 w 56"/>
                  <a:gd name="T3" fmla="*/ 228584881 h 42"/>
                  <a:gd name="T4" fmla="*/ 440675169 w 56"/>
                  <a:gd name="T5" fmla="*/ 57146220 h 42"/>
                  <a:gd name="T6" fmla="*/ 611259591 w 56"/>
                  <a:gd name="T7" fmla="*/ 0 h 42"/>
                  <a:gd name="T8" fmla="*/ 753412020 w 56"/>
                  <a:gd name="T9" fmla="*/ 0 h 42"/>
                  <a:gd name="T10" fmla="*/ 426461057 w 56"/>
                  <a:gd name="T11" fmla="*/ 300018601 h 42"/>
                  <a:gd name="T12" fmla="*/ 796058126 w 56"/>
                  <a:gd name="T13" fmla="*/ 600037202 h 42"/>
                  <a:gd name="T14" fmla="*/ 653905697 w 56"/>
                  <a:gd name="T15" fmla="*/ 600037202 h 42"/>
                  <a:gd name="T16" fmla="*/ 469107162 w 56"/>
                  <a:gd name="T17" fmla="*/ 542890982 h 42"/>
                  <a:gd name="T18" fmla="*/ 255876634 w 56"/>
                  <a:gd name="T19" fmla="*/ 371452321 h 42"/>
                  <a:gd name="T20" fmla="*/ 184798535 w 56"/>
                  <a:gd name="T21" fmla="*/ 371452321 h 42"/>
                  <a:gd name="T22" fmla="*/ 184798535 w 56"/>
                  <a:gd name="T23" fmla="*/ 600037202 h 42"/>
                  <a:gd name="T24" fmla="*/ 0 w 56"/>
                  <a:gd name="T25" fmla="*/ 600037202 h 42"/>
                  <a:gd name="T26" fmla="*/ 0 w 56"/>
                  <a:gd name="T27" fmla="*/ 0 h 42"/>
                  <a:gd name="T28" fmla="*/ 184798535 w 56"/>
                  <a:gd name="T29" fmla="*/ 0 h 42"/>
                  <a:gd name="T30" fmla="*/ 184798535 w 56"/>
                  <a:gd name="T31" fmla="*/ 228584881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6" h="42">
                    <a:moveTo>
                      <a:pt x="13" y="16"/>
                    </a:moveTo>
                    <a:cubicBezTo>
                      <a:pt x="18" y="16"/>
                      <a:pt x="18" y="16"/>
                      <a:pt x="18" y="16"/>
                    </a:cubicBezTo>
                    <a:cubicBezTo>
                      <a:pt x="23" y="12"/>
                      <a:pt x="27" y="8"/>
                      <a:pt x="31" y="4"/>
                    </a:cubicBezTo>
                    <a:cubicBezTo>
                      <a:pt x="35" y="1"/>
                      <a:pt x="39" y="0"/>
                      <a:pt x="43" y="0"/>
                    </a:cubicBezTo>
                    <a:cubicBezTo>
                      <a:pt x="53" y="0"/>
                      <a:pt x="53" y="0"/>
                      <a:pt x="53" y="0"/>
                    </a:cubicBezTo>
                    <a:cubicBezTo>
                      <a:pt x="30" y="21"/>
                      <a:pt x="30" y="21"/>
                      <a:pt x="30" y="21"/>
                    </a:cubicBezTo>
                    <a:cubicBezTo>
                      <a:pt x="56" y="42"/>
                      <a:pt x="56" y="42"/>
                      <a:pt x="56" y="42"/>
                    </a:cubicBezTo>
                    <a:cubicBezTo>
                      <a:pt x="46" y="42"/>
                      <a:pt x="46" y="42"/>
                      <a:pt x="46" y="42"/>
                    </a:cubicBezTo>
                    <a:cubicBezTo>
                      <a:pt x="40" y="42"/>
                      <a:pt x="37" y="42"/>
                      <a:pt x="33" y="38"/>
                    </a:cubicBezTo>
                    <a:cubicBezTo>
                      <a:pt x="18" y="26"/>
                      <a:pt x="18" y="26"/>
                      <a:pt x="18" y="26"/>
                    </a:cubicBezTo>
                    <a:cubicBezTo>
                      <a:pt x="13" y="26"/>
                      <a:pt x="13" y="26"/>
                      <a:pt x="13" y="26"/>
                    </a:cubicBezTo>
                    <a:cubicBezTo>
                      <a:pt x="13" y="42"/>
                      <a:pt x="13" y="42"/>
                      <a:pt x="13" y="42"/>
                    </a:cubicBezTo>
                    <a:cubicBezTo>
                      <a:pt x="0" y="42"/>
                      <a:pt x="0" y="42"/>
                      <a:pt x="0" y="42"/>
                    </a:cubicBezTo>
                    <a:cubicBezTo>
                      <a:pt x="0" y="0"/>
                      <a:pt x="0" y="0"/>
                      <a:pt x="0" y="0"/>
                    </a:cubicBezTo>
                    <a:cubicBezTo>
                      <a:pt x="13" y="0"/>
                      <a:pt x="13" y="0"/>
                      <a:pt x="13" y="0"/>
                    </a:cubicBezTo>
                    <a:lnTo>
                      <a:pt x="13" y="16"/>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7" name="Freeform 30"/>
              <p:cNvSpPr>
                <a:spLocks/>
              </p:cNvSpPr>
              <p:nvPr/>
            </p:nvSpPr>
            <p:spPr bwMode="auto">
              <a:xfrm>
                <a:off x="3984625" y="3273426"/>
                <a:ext cx="203200" cy="158750"/>
              </a:xfrm>
              <a:custGeom>
                <a:avLst/>
                <a:gdLst>
                  <a:gd name="T0" fmla="*/ 184080385 w 54"/>
                  <a:gd name="T1" fmla="*/ 600037202 h 42"/>
                  <a:gd name="T2" fmla="*/ 0 w 54"/>
                  <a:gd name="T3" fmla="*/ 600037202 h 42"/>
                  <a:gd name="T4" fmla="*/ 0 w 54"/>
                  <a:gd name="T5" fmla="*/ 0 h 42"/>
                  <a:gd name="T6" fmla="*/ 84960178 w 54"/>
                  <a:gd name="T7" fmla="*/ 0 h 42"/>
                  <a:gd name="T8" fmla="*/ 184080385 w 54"/>
                  <a:gd name="T9" fmla="*/ 100004940 h 42"/>
                  <a:gd name="T10" fmla="*/ 184080385 w 54"/>
                  <a:gd name="T11" fmla="*/ 214297381 h 42"/>
                  <a:gd name="T12" fmla="*/ 566397422 w 54"/>
                  <a:gd name="T13" fmla="*/ 214297381 h 42"/>
                  <a:gd name="T14" fmla="*/ 566397422 w 54"/>
                  <a:gd name="T15" fmla="*/ 100004940 h 42"/>
                  <a:gd name="T16" fmla="*/ 679673896 w 54"/>
                  <a:gd name="T17" fmla="*/ 0 h 42"/>
                  <a:gd name="T18" fmla="*/ 764634074 w 54"/>
                  <a:gd name="T19" fmla="*/ 0 h 42"/>
                  <a:gd name="T20" fmla="*/ 764634074 w 54"/>
                  <a:gd name="T21" fmla="*/ 114292440 h 42"/>
                  <a:gd name="T22" fmla="*/ 764634074 w 54"/>
                  <a:gd name="T23" fmla="*/ 600037202 h 42"/>
                  <a:gd name="T24" fmla="*/ 566397422 w 54"/>
                  <a:gd name="T25" fmla="*/ 600037202 h 42"/>
                  <a:gd name="T26" fmla="*/ 566397422 w 54"/>
                  <a:gd name="T27" fmla="*/ 371452321 h 42"/>
                  <a:gd name="T28" fmla="*/ 184080385 w 54"/>
                  <a:gd name="T29" fmla="*/ 371452321 h 42"/>
                  <a:gd name="T30" fmla="*/ 184080385 w 54"/>
                  <a:gd name="T31" fmla="*/ 600037202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4" h="42">
                    <a:moveTo>
                      <a:pt x="13" y="42"/>
                    </a:moveTo>
                    <a:cubicBezTo>
                      <a:pt x="0" y="42"/>
                      <a:pt x="0" y="42"/>
                      <a:pt x="0" y="42"/>
                    </a:cubicBezTo>
                    <a:cubicBezTo>
                      <a:pt x="0" y="0"/>
                      <a:pt x="0" y="0"/>
                      <a:pt x="0" y="0"/>
                    </a:cubicBezTo>
                    <a:cubicBezTo>
                      <a:pt x="6" y="0"/>
                      <a:pt x="6" y="0"/>
                      <a:pt x="6" y="0"/>
                    </a:cubicBezTo>
                    <a:cubicBezTo>
                      <a:pt x="11" y="0"/>
                      <a:pt x="13" y="3"/>
                      <a:pt x="13" y="7"/>
                    </a:cubicBezTo>
                    <a:cubicBezTo>
                      <a:pt x="13" y="15"/>
                      <a:pt x="13" y="15"/>
                      <a:pt x="13" y="15"/>
                    </a:cubicBezTo>
                    <a:cubicBezTo>
                      <a:pt x="40" y="15"/>
                      <a:pt x="40" y="15"/>
                      <a:pt x="40" y="15"/>
                    </a:cubicBezTo>
                    <a:cubicBezTo>
                      <a:pt x="40" y="7"/>
                      <a:pt x="40" y="7"/>
                      <a:pt x="40" y="7"/>
                    </a:cubicBezTo>
                    <a:cubicBezTo>
                      <a:pt x="40" y="4"/>
                      <a:pt x="42" y="0"/>
                      <a:pt x="48" y="0"/>
                    </a:cubicBezTo>
                    <a:cubicBezTo>
                      <a:pt x="54" y="0"/>
                      <a:pt x="54" y="0"/>
                      <a:pt x="54" y="0"/>
                    </a:cubicBezTo>
                    <a:cubicBezTo>
                      <a:pt x="54" y="8"/>
                      <a:pt x="54" y="8"/>
                      <a:pt x="54" y="8"/>
                    </a:cubicBezTo>
                    <a:cubicBezTo>
                      <a:pt x="54" y="42"/>
                      <a:pt x="54" y="42"/>
                      <a:pt x="54" y="42"/>
                    </a:cubicBezTo>
                    <a:cubicBezTo>
                      <a:pt x="40" y="42"/>
                      <a:pt x="40" y="42"/>
                      <a:pt x="40" y="42"/>
                    </a:cubicBezTo>
                    <a:cubicBezTo>
                      <a:pt x="40" y="26"/>
                      <a:pt x="40" y="26"/>
                      <a:pt x="40" y="26"/>
                    </a:cubicBezTo>
                    <a:cubicBezTo>
                      <a:pt x="13" y="26"/>
                      <a:pt x="13" y="26"/>
                      <a:pt x="13" y="26"/>
                    </a:cubicBezTo>
                    <a:lnTo>
                      <a:pt x="13"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8" name="Freeform 31"/>
              <p:cNvSpPr>
                <a:spLocks/>
              </p:cNvSpPr>
              <p:nvPr/>
            </p:nvSpPr>
            <p:spPr bwMode="auto">
              <a:xfrm>
                <a:off x="4951413" y="3273426"/>
                <a:ext cx="180975" cy="158750"/>
              </a:xfrm>
              <a:custGeom>
                <a:avLst/>
                <a:gdLst>
                  <a:gd name="T0" fmla="*/ 682332305 w 48"/>
                  <a:gd name="T1" fmla="*/ 142867440 h 42"/>
                  <a:gd name="T2" fmla="*/ 199012175 w 48"/>
                  <a:gd name="T3" fmla="*/ 142867440 h 42"/>
                  <a:gd name="T4" fmla="*/ 199012175 w 48"/>
                  <a:gd name="T5" fmla="*/ 242872381 h 42"/>
                  <a:gd name="T6" fmla="*/ 682332305 w 48"/>
                  <a:gd name="T7" fmla="*/ 242872381 h 42"/>
                  <a:gd name="T8" fmla="*/ 682332305 w 48"/>
                  <a:gd name="T9" fmla="*/ 371452321 h 42"/>
                  <a:gd name="T10" fmla="*/ 199012175 w 48"/>
                  <a:gd name="T11" fmla="*/ 371452321 h 42"/>
                  <a:gd name="T12" fmla="*/ 199012175 w 48"/>
                  <a:gd name="T13" fmla="*/ 457169762 h 42"/>
                  <a:gd name="T14" fmla="*/ 682332305 w 48"/>
                  <a:gd name="T15" fmla="*/ 457169762 h 42"/>
                  <a:gd name="T16" fmla="*/ 682332305 w 48"/>
                  <a:gd name="T17" fmla="*/ 600037202 h 42"/>
                  <a:gd name="T18" fmla="*/ 0 w 48"/>
                  <a:gd name="T19" fmla="*/ 600037202 h 42"/>
                  <a:gd name="T20" fmla="*/ 0 w 48"/>
                  <a:gd name="T21" fmla="*/ 142867440 h 42"/>
                  <a:gd name="T22" fmla="*/ 156366170 w 48"/>
                  <a:gd name="T23" fmla="*/ 0 h 42"/>
                  <a:gd name="T24" fmla="*/ 682332305 w 48"/>
                  <a:gd name="T25" fmla="*/ 0 h 42"/>
                  <a:gd name="T26" fmla="*/ 682332305 w 48"/>
                  <a:gd name="T27" fmla="*/ 142867440 h 4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42">
                    <a:moveTo>
                      <a:pt x="48" y="10"/>
                    </a:moveTo>
                    <a:cubicBezTo>
                      <a:pt x="14" y="10"/>
                      <a:pt x="14" y="10"/>
                      <a:pt x="14" y="10"/>
                    </a:cubicBezTo>
                    <a:cubicBezTo>
                      <a:pt x="14" y="17"/>
                      <a:pt x="14" y="17"/>
                      <a:pt x="14" y="17"/>
                    </a:cubicBezTo>
                    <a:cubicBezTo>
                      <a:pt x="48" y="17"/>
                      <a:pt x="48" y="17"/>
                      <a:pt x="48" y="17"/>
                    </a:cubicBezTo>
                    <a:cubicBezTo>
                      <a:pt x="48" y="26"/>
                      <a:pt x="48" y="26"/>
                      <a:pt x="48" y="26"/>
                    </a:cubicBezTo>
                    <a:cubicBezTo>
                      <a:pt x="14" y="26"/>
                      <a:pt x="14" y="26"/>
                      <a:pt x="14" y="26"/>
                    </a:cubicBezTo>
                    <a:cubicBezTo>
                      <a:pt x="14" y="32"/>
                      <a:pt x="14" y="32"/>
                      <a:pt x="14" y="32"/>
                    </a:cubicBezTo>
                    <a:cubicBezTo>
                      <a:pt x="48" y="32"/>
                      <a:pt x="48" y="32"/>
                      <a:pt x="48" y="32"/>
                    </a:cubicBezTo>
                    <a:cubicBezTo>
                      <a:pt x="48" y="42"/>
                      <a:pt x="48" y="42"/>
                      <a:pt x="48" y="42"/>
                    </a:cubicBezTo>
                    <a:cubicBezTo>
                      <a:pt x="0" y="42"/>
                      <a:pt x="0" y="42"/>
                      <a:pt x="0" y="42"/>
                    </a:cubicBezTo>
                    <a:cubicBezTo>
                      <a:pt x="0" y="10"/>
                      <a:pt x="0" y="10"/>
                      <a:pt x="0" y="10"/>
                    </a:cubicBezTo>
                    <a:cubicBezTo>
                      <a:pt x="1" y="5"/>
                      <a:pt x="3" y="1"/>
                      <a:pt x="11" y="0"/>
                    </a:cubicBezTo>
                    <a:cubicBezTo>
                      <a:pt x="48" y="0"/>
                      <a:pt x="48" y="0"/>
                      <a:pt x="48" y="0"/>
                    </a:cubicBezTo>
                    <a:lnTo>
                      <a:pt x="48" y="1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9" name="Freeform 32"/>
              <p:cNvSpPr>
                <a:spLocks/>
              </p:cNvSpPr>
              <p:nvPr/>
            </p:nvSpPr>
            <p:spPr bwMode="auto">
              <a:xfrm>
                <a:off x="5143500" y="3273426"/>
                <a:ext cx="233363" cy="158750"/>
              </a:xfrm>
              <a:custGeom>
                <a:avLst/>
                <a:gdLst>
                  <a:gd name="T0" fmla="*/ 538349621 w 62"/>
                  <a:gd name="T1" fmla="*/ 600037202 h 42"/>
                  <a:gd name="T2" fmla="*/ 340009891 w 62"/>
                  <a:gd name="T3" fmla="*/ 600037202 h 42"/>
                  <a:gd name="T4" fmla="*/ 340009891 w 62"/>
                  <a:gd name="T5" fmla="*/ 385739821 h 42"/>
                  <a:gd name="T6" fmla="*/ 0 w 62"/>
                  <a:gd name="T7" fmla="*/ 0 h 42"/>
                  <a:gd name="T8" fmla="*/ 155837553 w 62"/>
                  <a:gd name="T9" fmla="*/ 0 h 42"/>
                  <a:gd name="T10" fmla="*/ 283340321 w 62"/>
                  <a:gd name="T11" fmla="*/ 57146220 h 42"/>
                  <a:gd name="T12" fmla="*/ 439181638 w 62"/>
                  <a:gd name="T13" fmla="*/ 242872381 h 42"/>
                  <a:gd name="T14" fmla="*/ 595019191 w 62"/>
                  <a:gd name="T15" fmla="*/ 57146220 h 42"/>
                  <a:gd name="T16" fmla="*/ 750856744 w 62"/>
                  <a:gd name="T17" fmla="*/ 0 h 42"/>
                  <a:gd name="T18" fmla="*/ 878359512 w 62"/>
                  <a:gd name="T19" fmla="*/ 0 h 42"/>
                  <a:gd name="T20" fmla="*/ 538349621 w 62"/>
                  <a:gd name="T21" fmla="*/ 385739821 h 42"/>
                  <a:gd name="T22" fmla="*/ 538349621 w 62"/>
                  <a:gd name="T23" fmla="*/ 600037202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2" h="42">
                    <a:moveTo>
                      <a:pt x="38" y="42"/>
                    </a:moveTo>
                    <a:cubicBezTo>
                      <a:pt x="24" y="42"/>
                      <a:pt x="24" y="42"/>
                      <a:pt x="24" y="42"/>
                    </a:cubicBezTo>
                    <a:cubicBezTo>
                      <a:pt x="24" y="27"/>
                      <a:pt x="24" y="27"/>
                      <a:pt x="24" y="27"/>
                    </a:cubicBezTo>
                    <a:cubicBezTo>
                      <a:pt x="0" y="0"/>
                      <a:pt x="0" y="0"/>
                      <a:pt x="0" y="0"/>
                    </a:cubicBezTo>
                    <a:cubicBezTo>
                      <a:pt x="11" y="0"/>
                      <a:pt x="11" y="0"/>
                      <a:pt x="11" y="0"/>
                    </a:cubicBezTo>
                    <a:cubicBezTo>
                      <a:pt x="14" y="0"/>
                      <a:pt x="17" y="1"/>
                      <a:pt x="20" y="4"/>
                    </a:cubicBezTo>
                    <a:cubicBezTo>
                      <a:pt x="31" y="17"/>
                      <a:pt x="31" y="17"/>
                      <a:pt x="31" y="17"/>
                    </a:cubicBezTo>
                    <a:cubicBezTo>
                      <a:pt x="35" y="13"/>
                      <a:pt x="38" y="9"/>
                      <a:pt x="42" y="4"/>
                    </a:cubicBezTo>
                    <a:cubicBezTo>
                      <a:pt x="44" y="2"/>
                      <a:pt x="47" y="0"/>
                      <a:pt x="53" y="0"/>
                    </a:cubicBezTo>
                    <a:cubicBezTo>
                      <a:pt x="62" y="0"/>
                      <a:pt x="62" y="0"/>
                      <a:pt x="62" y="0"/>
                    </a:cubicBezTo>
                    <a:cubicBezTo>
                      <a:pt x="38" y="27"/>
                      <a:pt x="38" y="27"/>
                      <a:pt x="38" y="27"/>
                    </a:cubicBezTo>
                    <a:lnTo>
                      <a:pt x="38"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0" name="Freeform 33"/>
              <p:cNvSpPr>
                <a:spLocks/>
              </p:cNvSpPr>
              <p:nvPr/>
            </p:nvSpPr>
            <p:spPr bwMode="auto">
              <a:xfrm>
                <a:off x="5389563" y="3273426"/>
                <a:ext cx="157163" cy="158750"/>
              </a:xfrm>
              <a:custGeom>
                <a:avLst/>
                <a:gdLst>
                  <a:gd name="T0" fmla="*/ 182032174 w 42"/>
                  <a:gd name="T1" fmla="*/ 457169762 h 42"/>
                  <a:gd name="T2" fmla="*/ 588100204 w 42"/>
                  <a:gd name="T3" fmla="*/ 457169762 h 42"/>
                  <a:gd name="T4" fmla="*/ 588100204 w 42"/>
                  <a:gd name="T5" fmla="*/ 600037202 h 42"/>
                  <a:gd name="T6" fmla="*/ 0 w 42"/>
                  <a:gd name="T7" fmla="*/ 600037202 h 42"/>
                  <a:gd name="T8" fmla="*/ 0 w 42"/>
                  <a:gd name="T9" fmla="*/ 0 h 42"/>
                  <a:gd name="T10" fmla="*/ 70012375 w 42"/>
                  <a:gd name="T11" fmla="*/ 0 h 42"/>
                  <a:gd name="T12" fmla="*/ 182032174 w 42"/>
                  <a:gd name="T13" fmla="*/ 100004940 h 42"/>
                  <a:gd name="T14" fmla="*/ 182032174 w 42"/>
                  <a:gd name="T15" fmla="*/ 457169762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2">
                    <a:moveTo>
                      <a:pt x="13" y="32"/>
                    </a:moveTo>
                    <a:cubicBezTo>
                      <a:pt x="42" y="32"/>
                      <a:pt x="42" y="32"/>
                      <a:pt x="42" y="32"/>
                    </a:cubicBezTo>
                    <a:cubicBezTo>
                      <a:pt x="42" y="42"/>
                      <a:pt x="42" y="42"/>
                      <a:pt x="42" y="42"/>
                    </a:cubicBezTo>
                    <a:cubicBezTo>
                      <a:pt x="0" y="42"/>
                      <a:pt x="0" y="42"/>
                      <a:pt x="0" y="42"/>
                    </a:cubicBezTo>
                    <a:cubicBezTo>
                      <a:pt x="0" y="0"/>
                      <a:pt x="0" y="0"/>
                      <a:pt x="0" y="0"/>
                    </a:cubicBezTo>
                    <a:cubicBezTo>
                      <a:pt x="5" y="0"/>
                      <a:pt x="5" y="0"/>
                      <a:pt x="5" y="0"/>
                    </a:cubicBezTo>
                    <a:cubicBezTo>
                      <a:pt x="10" y="0"/>
                      <a:pt x="13" y="2"/>
                      <a:pt x="13" y="7"/>
                    </a:cubicBezTo>
                    <a:lnTo>
                      <a:pt x="13" y="3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1" name="Freeform 34"/>
              <p:cNvSpPr>
                <a:spLocks/>
              </p:cNvSpPr>
              <p:nvPr/>
            </p:nvSpPr>
            <p:spPr bwMode="auto">
              <a:xfrm>
                <a:off x="5818188" y="3273426"/>
                <a:ext cx="222250" cy="158750"/>
              </a:xfrm>
              <a:custGeom>
                <a:avLst/>
                <a:gdLst>
                  <a:gd name="T0" fmla="*/ 837204449 w 59"/>
                  <a:gd name="T1" fmla="*/ 600037202 h 42"/>
                  <a:gd name="T2" fmla="*/ 553406267 w 59"/>
                  <a:gd name="T3" fmla="*/ 600037202 h 42"/>
                  <a:gd name="T4" fmla="*/ 184467500 w 59"/>
                  <a:gd name="T5" fmla="*/ 171438661 h 42"/>
                  <a:gd name="T6" fmla="*/ 184467500 w 59"/>
                  <a:gd name="T7" fmla="*/ 600037202 h 42"/>
                  <a:gd name="T8" fmla="*/ 0 w 59"/>
                  <a:gd name="T9" fmla="*/ 600037202 h 42"/>
                  <a:gd name="T10" fmla="*/ 0 w 59"/>
                  <a:gd name="T11" fmla="*/ 0 h 42"/>
                  <a:gd name="T12" fmla="*/ 156087305 w 59"/>
                  <a:gd name="T13" fmla="*/ 0 h 42"/>
                  <a:gd name="T14" fmla="*/ 383128864 w 59"/>
                  <a:gd name="T15" fmla="*/ 114292440 h 42"/>
                  <a:gd name="T16" fmla="*/ 638546852 w 59"/>
                  <a:gd name="T17" fmla="*/ 442886042 h 42"/>
                  <a:gd name="T18" fmla="*/ 638546852 w 59"/>
                  <a:gd name="T19" fmla="*/ 0 h 42"/>
                  <a:gd name="T20" fmla="*/ 837204449 w 59"/>
                  <a:gd name="T21" fmla="*/ 0 h 42"/>
                  <a:gd name="T22" fmla="*/ 837204449 w 59"/>
                  <a:gd name="T23" fmla="*/ 600037202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42">
                    <a:moveTo>
                      <a:pt x="59" y="42"/>
                    </a:moveTo>
                    <a:cubicBezTo>
                      <a:pt x="39" y="42"/>
                      <a:pt x="39" y="42"/>
                      <a:pt x="39" y="42"/>
                    </a:cubicBezTo>
                    <a:cubicBezTo>
                      <a:pt x="13" y="12"/>
                      <a:pt x="13" y="12"/>
                      <a:pt x="13" y="12"/>
                    </a:cubicBezTo>
                    <a:cubicBezTo>
                      <a:pt x="13" y="42"/>
                      <a:pt x="13" y="42"/>
                      <a:pt x="13" y="42"/>
                    </a:cubicBezTo>
                    <a:cubicBezTo>
                      <a:pt x="0" y="42"/>
                      <a:pt x="0" y="42"/>
                      <a:pt x="0" y="42"/>
                    </a:cubicBezTo>
                    <a:cubicBezTo>
                      <a:pt x="0" y="0"/>
                      <a:pt x="0" y="0"/>
                      <a:pt x="0" y="0"/>
                    </a:cubicBezTo>
                    <a:cubicBezTo>
                      <a:pt x="11" y="0"/>
                      <a:pt x="11" y="0"/>
                      <a:pt x="11" y="0"/>
                    </a:cubicBezTo>
                    <a:cubicBezTo>
                      <a:pt x="19" y="0"/>
                      <a:pt x="23" y="4"/>
                      <a:pt x="27" y="8"/>
                    </a:cubicBezTo>
                    <a:cubicBezTo>
                      <a:pt x="45" y="31"/>
                      <a:pt x="45" y="31"/>
                      <a:pt x="45" y="31"/>
                    </a:cubicBezTo>
                    <a:cubicBezTo>
                      <a:pt x="45" y="0"/>
                      <a:pt x="45" y="0"/>
                      <a:pt x="45" y="0"/>
                    </a:cubicBezTo>
                    <a:cubicBezTo>
                      <a:pt x="59" y="0"/>
                      <a:pt x="59" y="0"/>
                      <a:pt x="59" y="0"/>
                    </a:cubicBezTo>
                    <a:lnTo>
                      <a:pt x="59"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2" name="Freeform 35"/>
              <p:cNvSpPr>
                <a:spLocks noEditPoints="1"/>
              </p:cNvSpPr>
              <p:nvPr/>
            </p:nvSpPr>
            <p:spPr bwMode="auto">
              <a:xfrm>
                <a:off x="6062663" y="3273426"/>
                <a:ext cx="214313" cy="158750"/>
              </a:xfrm>
              <a:custGeom>
                <a:avLst/>
                <a:gdLst>
                  <a:gd name="T0" fmla="*/ 480647661 w 57"/>
                  <a:gd name="T1" fmla="*/ 142867440 h 42"/>
                  <a:gd name="T2" fmla="*/ 183775277 w 57"/>
                  <a:gd name="T3" fmla="*/ 142867440 h 42"/>
                  <a:gd name="T4" fmla="*/ 183775277 w 57"/>
                  <a:gd name="T5" fmla="*/ 457169762 h 42"/>
                  <a:gd name="T6" fmla="*/ 494784799 w 57"/>
                  <a:gd name="T7" fmla="*/ 457169762 h 42"/>
                  <a:gd name="T8" fmla="*/ 579603869 w 57"/>
                  <a:gd name="T9" fmla="*/ 428598542 h 42"/>
                  <a:gd name="T10" fmla="*/ 607878145 w 57"/>
                  <a:gd name="T11" fmla="*/ 357164821 h 42"/>
                  <a:gd name="T12" fmla="*/ 607878145 w 57"/>
                  <a:gd name="T13" fmla="*/ 257159881 h 42"/>
                  <a:gd name="T14" fmla="*/ 579603869 w 57"/>
                  <a:gd name="T15" fmla="*/ 171438661 h 42"/>
                  <a:gd name="T16" fmla="*/ 480647661 w 57"/>
                  <a:gd name="T17" fmla="*/ 142867440 h 42"/>
                  <a:gd name="T18" fmla="*/ 537192454 w 57"/>
                  <a:gd name="T19" fmla="*/ 0 h 42"/>
                  <a:gd name="T20" fmla="*/ 735108630 w 57"/>
                  <a:gd name="T21" fmla="*/ 42858720 h 42"/>
                  <a:gd name="T22" fmla="*/ 805790561 w 57"/>
                  <a:gd name="T23" fmla="*/ 200013661 h 42"/>
                  <a:gd name="T24" fmla="*/ 805790561 w 57"/>
                  <a:gd name="T25" fmla="*/ 414311042 h 42"/>
                  <a:gd name="T26" fmla="*/ 749242008 w 57"/>
                  <a:gd name="T27" fmla="*/ 557178482 h 42"/>
                  <a:gd name="T28" fmla="*/ 593741007 w 57"/>
                  <a:gd name="T29" fmla="*/ 600037202 h 42"/>
                  <a:gd name="T30" fmla="*/ 0 w 57"/>
                  <a:gd name="T31" fmla="*/ 600037202 h 42"/>
                  <a:gd name="T32" fmla="*/ 0 w 57"/>
                  <a:gd name="T33" fmla="*/ 0 h 42"/>
                  <a:gd name="T34" fmla="*/ 537192454 w 57"/>
                  <a:gd name="T35" fmla="*/ 0 h 4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7" h="42">
                    <a:moveTo>
                      <a:pt x="34" y="10"/>
                    </a:moveTo>
                    <a:cubicBezTo>
                      <a:pt x="13" y="10"/>
                      <a:pt x="13" y="10"/>
                      <a:pt x="13" y="10"/>
                    </a:cubicBezTo>
                    <a:cubicBezTo>
                      <a:pt x="13" y="32"/>
                      <a:pt x="13" y="32"/>
                      <a:pt x="13" y="32"/>
                    </a:cubicBezTo>
                    <a:cubicBezTo>
                      <a:pt x="35" y="32"/>
                      <a:pt x="35" y="32"/>
                      <a:pt x="35" y="32"/>
                    </a:cubicBezTo>
                    <a:cubicBezTo>
                      <a:pt x="38" y="32"/>
                      <a:pt x="40" y="31"/>
                      <a:pt x="41" y="30"/>
                    </a:cubicBezTo>
                    <a:cubicBezTo>
                      <a:pt x="43" y="29"/>
                      <a:pt x="43" y="27"/>
                      <a:pt x="43" y="25"/>
                    </a:cubicBezTo>
                    <a:cubicBezTo>
                      <a:pt x="43" y="18"/>
                      <a:pt x="43" y="18"/>
                      <a:pt x="43" y="18"/>
                    </a:cubicBezTo>
                    <a:cubicBezTo>
                      <a:pt x="43" y="15"/>
                      <a:pt x="43" y="13"/>
                      <a:pt x="41" y="12"/>
                    </a:cubicBezTo>
                    <a:cubicBezTo>
                      <a:pt x="39" y="11"/>
                      <a:pt x="37" y="10"/>
                      <a:pt x="34" y="10"/>
                    </a:cubicBezTo>
                    <a:moveTo>
                      <a:pt x="38" y="0"/>
                    </a:moveTo>
                    <a:cubicBezTo>
                      <a:pt x="44" y="0"/>
                      <a:pt x="49" y="1"/>
                      <a:pt x="52" y="3"/>
                    </a:cubicBezTo>
                    <a:cubicBezTo>
                      <a:pt x="55" y="6"/>
                      <a:pt x="57" y="9"/>
                      <a:pt x="57" y="14"/>
                    </a:cubicBezTo>
                    <a:cubicBezTo>
                      <a:pt x="57" y="29"/>
                      <a:pt x="57" y="29"/>
                      <a:pt x="57" y="29"/>
                    </a:cubicBezTo>
                    <a:cubicBezTo>
                      <a:pt x="57" y="33"/>
                      <a:pt x="55" y="37"/>
                      <a:pt x="53" y="39"/>
                    </a:cubicBezTo>
                    <a:cubicBezTo>
                      <a:pt x="51" y="41"/>
                      <a:pt x="47" y="42"/>
                      <a:pt x="42" y="42"/>
                    </a:cubicBezTo>
                    <a:cubicBezTo>
                      <a:pt x="0" y="42"/>
                      <a:pt x="0" y="42"/>
                      <a:pt x="0" y="42"/>
                    </a:cubicBezTo>
                    <a:cubicBezTo>
                      <a:pt x="0" y="0"/>
                      <a:pt x="0" y="0"/>
                      <a:pt x="0" y="0"/>
                    </a:cubicBezTo>
                    <a:lnTo>
                      <a:pt x="38" y="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3" name="Freeform 36"/>
              <p:cNvSpPr>
                <a:spLocks/>
              </p:cNvSpPr>
              <p:nvPr/>
            </p:nvSpPr>
            <p:spPr bwMode="auto">
              <a:xfrm>
                <a:off x="3756025" y="3273426"/>
                <a:ext cx="203200" cy="163513"/>
              </a:xfrm>
              <a:custGeom>
                <a:avLst/>
                <a:gdLst>
                  <a:gd name="T0" fmla="*/ 509757304 w 54"/>
                  <a:gd name="T1" fmla="*/ 477180368 h 43"/>
                  <a:gd name="T2" fmla="*/ 566397422 w 54"/>
                  <a:gd name="T3" fmla="*/ 462718974 h 43"/>
                  <a:gd name="T4" fmla="*/ 580553689 w 54"/>
                  <a:gd name="T5" fmla="*/ 433799989 h 43"/>
                  <a:gd name="T6" fmla="*/ 566397422 w 54"/>
                  <a:gd name="T7" fmla="*/ 390419610 h 43"/>
                  <a:gd name="T8" fmla="*/ 481437244 w 54"/>
                  <a:gd name="T9" fmla="*/ 375958216 h 43"/>
                  <a:gd name="T10" fmla="*/ 198236652 w 54"/>
                  <a:gd name="T11" fmla="*/ 361500625 h 43"/>
                  <a:gd name="T12" fmla="*/ 42480089 w 54"/>
                  <a:gd name="T13" fmla="*/ 318120245 h 43"/>
                  <a:gd name="T14" fmla="*/ 0 w 54"/>
                  <a:gd name="T15" fmla="*/ 187979108 h 43"/>
                  <a:gd name="T16" fmla="*/ 14160030 w 54"/>
                  <a:gd name="T17" fmla="*/ 101218350 h 43"/>
                  <a:gd name="T18" fmla="*/ 42480089 w 54"/>
                  <a:gd name="T19" fmla="*/ 43380379 h 43"/>
                  <a:gd name="T20" fmla="*/ 113280237 w 54"/>
                  <a:gd name="T21" fmla="*/ 0 h 43"/>
                  <a:gd name="T22" fmla="*/ 254876770 w 54"/>
                  <a:gd name="T23" fmla="*/ 0 h 43"/>
                  <a:gd name="T24" fmla="*/ 552237393 w 54"/>
                  <a:gd name="T25" fmla="*/ 0 h 43"/>
                  <a:gd name="T26" fmla="*/ 693833926 w 54"/>
                  <a:gd name="T27" fmla="*/ 28918985 h 43"/>
                  <a:gd name="T28" fmla="*/ 750474044 w 54"/>
                  <a:gd name="T29" fmla="*/ 130141137 h 43"/>
                  <a:gd name="T30" fmla="*/ 283196830 w 54"/>
                  <a:gd name="T31" fmla="*/ 130141137 h 43"/>
                  <a:gd name="T32" fmla="*/ 212396681 w 54"/>
                  <a:gd name="T33" fmla="*/ 144598729 h 43"/>
                  <a:gd name="T34" fmla="*/ 198236652 w 54"/>
                  <a:gd name="T35" fmla="*/ 173521517 h 43"/>
                  <a:gd name="T36" fmla="*/ 212396681 w 54"/>
                  <a:gd name="T37" fmla="*/ 216898093 h 43"/>
                  <a:gd name="T38" fmla="*/ 269036800 w 54"/>
                  <a:gd name="T39" fmla="*/ 231359487 h 43"/>
                  <a:gd name="T40" fmla="*/ 580553689 w 54"/>
                  <a:gd name="T41" fmla="*/ 231359487 h 43"/>
                  <a:gd name="T42" fmla="*/ 722153985 w 54"/>
                  <a:gd name="T43" fmla="*/ 274739866 h 43"/>
                  <a:gd name="T44" fmla="*/ 764634074 w 54"/>
                  <a:gd name="T45" fmla="*/ 433799989 h 43"/>
                  <a:gd name="T46" fmla="*/ 750474044 w 54"/>
                  <a:gd name="T47" fmla="*/ 535018339 h 43"/>
                  <a:gd name="T48" fmla="*/ 693833926 w 54"/>
                  <a:gd name="T49" fmla="*/ 592860112 h 43"/>
                  <a:gd name="T50" fmla="*/ 637193807 w 54"/>
                  <a:gd name="T51" fmla="*/ 607317703 h 43"/>
                  <a:gd name="T52" fmla="*/ 509757304 w 54"/>
                  <a:gd name="T53" fmla="*/ 621779097 h 43"/>
                  <a:gd name="T54" fmla="*/ 254876770 w 54"/>
                  <a:gd name="T55" fmla="*/ 621779097 h 43"/>
                  <a:gd name="T56" fmla="*/ 56640119 w 54"/>
                  <a:gd name="T57" fmla="*/ 578398718 h 43"/>
                  <a:gd name="T58" fmla="*/ 0 w 54"/>
                  <a:gd name="T59" fmla="*/ 477180368 h 43"/>
                  <a:gd name="T60" fmla="*/ 509757304 w 54"/>
                  <a:gd name="T61" fmla="*/ 477180368 h 4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43">
                    <a:moveTo>
                      <a:pt x="36" y="33"/>
                    </a:moveTo>
                    <a:cubicBezTo>
                      <a:pt x="38" y="33"/>
                      <a:pt x="39" y="33"/>
                      <a:pt x="40" y="32"/>
                    </a:cubicBezTo>
                    <a:cubicBezTo>
                      <a:pt x="40" y="32"/>
                      <a:pt x="41" y="31"/>
                      <a:pt x="41" y="30"/>
                    </a:cubicBezTo>
                    <a:cubicBezTo>
                      <a:pt x="41" y="28"/>
                      <a:pt x="40" y="27"/>
                      <a:pt x="40" y="27"/>
                    </a:cubicBezTo>
                    <a:cubicBezTo>
                      <a:pt x="39" y="26"/>
                      <a:pt x="37" y="26"/>
                      <a:pt x="34" y="26"/>
                    </a:cubicBezTo>
                    <a:cubicBezTo>
                      <a:pt x="14" y="25"/>
                      <a:pt x="14" y="25"/>
                      <a:pt x="14" y="25"/>
                    </a:cubicBezTo>
                    <a:cubicBezTo>
                      <a:pt x="8" y="25"/>
                      <a:pt x="5" y="24"/>
                      <a:pt x="3" y="22"/>
                    </a:cubicBezTo>
                    <a:cubicBezTo>
                      <a:pt x="1" y="21"/>
                      <a:pt x="0" y="17"/>
                      <a:pt x="0" y="13"/>
                    </a:cubicBezTo>
                    <a:cubicBezTo>
                      <a:pt x="0" y="10"/>
                      <a:pt x="1" y="8"/>
                      <a:pt x="1" y="7"/>
                    </a:cubicBezTo>
                    <a:cubicBezTo>
                      <a:pt x="2" y="5"/>
                      <a:pt x="2" y="4"/>
                      <a:pt x="3" y="3"/>
                    </a:cubicBezTo>
                    <a:cubicBezTo>
                      <a:pt x="5" y="2"/>
                      <a:pt x="6" y="1"/>
                      <a:pt x="8" y="0"/>
                    </a:cubicBezTo>
                    <a:cubicBezTo>
                      <a:pt x="10" y="0"/>
                      <a:pt x="14" y="0"/>
                      <a:pt x="18" y="0"/>
                    </a:cubicBezTo>
                    <a:cubicBezTo>
                      <a:pt x="39" y="0"/>
                      <a:pt x="39" y="0"/>
                      <a:pt x="39" y="0"/>
                    </a:cubicBezTo>
                    <a:cubicBezTo>
                      <a:pt x="44" y="0"/>
                      <a:pt x="47" y="0"/>
                      <a:pt x="49" y="2"/>
                    </a:cubicBezTo>
                    <a:cubicBezTo>
                      <a:pt x="51" y="4"/>
                      <a:pt x="52" y="6"/>
                      <a:pt x="53" y="9"/>
                    </a:cubicBezTo>
                    <a:cubicBezTo>
                      <a:pt x="20" y="9"/>
                      <a:pt x="20" y="9"/>
                      <a:pt x="20" y="9"/>
                    </a:cubicBezTo>
                    <a:cubicBezTo>
                      <a:pt x="18" y="9"/>
                      <a:pt x="16" y="9"/>
                      <a:pt x="15" y="10"/>
                    </a:cubicBezTo>
                    <a:cubicBezTo>
                      <a:pt x="14" y="10"/>
                      <a:pt x="14" y="11"/>
                      <a:pt x="14" y="12"/>
                    </a:cubicBezTo>
                    <a:cubicBezTo>
                      <a:pt x="14" y="13"/>
                      <a:pt x="14" y="14"/>
                      <a:pt x="15" y="15"/>
                    </a:cubicBezTo>
                    <a:cubicBezTo>
                      <a:pt x="16" y="15"/>
                      <a:pt x="17" y="16"/>
                      <a:pt x="19" y="16"/>
                    </a:cubicBezTo>
                    <a:cubicBezTo>
                      <a:pt x="41" y="16"/>
                      <a:pt x="41" y="16"/>
                      <a:pt x="41" y="16"/>
                    </a:cubicBezTo>
                    <a:cubicBezTo>
                      <a:pt x="46" y="16"/>
                      <a:pt x="49" y="17"/>
                      <a:pt x="51" y="19"/>
                    </a:cubicBezTo>
                    <a:cubicBezTo>
                      <a:pt x="53" y="21"/>
                      <a:pt x="54" y="25"/>
                      <a:pt x="54" y="30"/>
                    </a:cubicBezTo>
                    <a:cubicBezTo>
                      <a:pt x="54" y="33"/>
                      <a:pt x="54" y="35"/>
                      <a:pt x="53" y="37"/>
                    </a:cubicBezTo>
                    <a:cubicBezTo>
                      <a:pt x="53" y="38"/>
                      <a:pt x="51" y="40"/>
                      <a:pt x="49" y="41"/>
                    </a:cubicBezTo>
                    <a:cubicBezTo>
                      <a:pt x="48" y="41"/>
                      <a:pt x="47" y="42"/>
                      <a:pt x="45" y="42"/>
                    </a:cubicBezTo>
                    <a:cubicBezTo>
                      <a:pt x="43" y="43"/>
                      <a:pt x="40" y="43"/>
                      <a:pt x="36" y="43"/>
                    </a:cubicBezTo>
                    <a:cubicBezTo>
                      <a:pt x="18" y="43"/>
                      <a:pt x="18" y="43"/>
                      <a:pt x="18" y="43"/>
                    </a:cubicBezTo>
                    <a:cubicBezTo>
                      <a:pt x="11" y="43"/>
                      <a:pt x="6" y="42"/>
                      <a:pt x="4" y="40"/>
                    </a:cubicBezTo>
                    <a:cubicBezTo>
                      <a:pt x="2" y="39"/>
                      <a:pt x="0" y="36"/>
                      <a:pt x="0" y="33"/>
                    </a:cubicBezTo>
                    <a:lnTo>
                      <a:pt x="36" y="33"/>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4" name="Freeform 37"/>
              <p:cNvSpPr>
                <a:spLocks noEditPoints="1"/>
              </p:cNvSpPr>
              <p:nvPr/>
            </p:nvSpPr>
            <p:spPr bwMode="auto">
              <a:xfrm>
                <a:off x="3506788" y="3273426"/>
                <a:ext cx="241300" cy="158750"/>
              </a:xfrm>
              <a:custGeom>
                <a:avLst/>
                <a:gdLst>
                  <a:gd name="T0" fmla="*/ 90725625 w 152"/>
                  <a:gd name="T1" fmla="*/ 252015625 h 100"/>
                  <a:gd name="T2" fmla="*/ 0 w 152"/>
                  <a:gd name="T3" fmla="*/ 252015625 h 100"/>
                  <a:gd name="T4" fmla="*/ 143649700 w 152"/>
                  <a:gd name="T5" fmla="*/ 0 h 100"/>
                  <a:gd name="T6" fmla="*/ 244455950 w 152"/>
                  <a:gd name="T7" fmla="*/ 0 h 100"/>
                  <a:gd name="T8" fmla="*/ 383063750 w 152"/>
                  <a:gd name="T9" fmla="*/ 252015625 h 100"/>
                  <a:gd name="T10" fmla="*/ 299899388 w 152"/>
                  <a:gd name="T11" fmla="*/ 252015625 h 100"/>
                  <a:gd name="T12" fmla="*/ 269657513 w 152"/>
                  <a:gd name="T13" fmla="*/ 211693125 h 100"/>
                  <a:gd name="T14" fmla="*/ 113407825 w 152"/>
                  <a:gd name="T15" fmla="*/ 211693125 h 100"/>
                  <a:gd name="T16" fmla="*/ 90725625 w 152"/>
                  <a:gd name="T17" fmla="*/ 252015625 h 100"/>
                  <a:gd name="T18" fmla="*/ 143649700 w 152"/>
                  <a:gd name="T19" fmla="*/ 151209375 h 100"/>
                  <a:gd name="T20" fmla="*/ 244455950 w 152"/>
                  <a:gd name="T21" fmla="*/ 151209375 h 100"/>
                  <a:gd name="T22" fmla="*/ 191531875 w 152"/>
                  <a:gd name="T23" fmla="*/ 60483750 h 100"/>
                  <a:gd name="T24" fmla="*/ 143649700 w 152"/>
                  <a:gd name="T25" fmla="*/ 151209375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2" h="100">
                    <a:moveTo>
                      <a:pt x="36" y="100"/>
                    </a:moveTo>
                    <a:lnTo>
                      <a:pt x="0" y="100"/>
                    </a:lnTo>
                    <a:lnTo>
                      <a:pt x="57" y="0"/>
                    </a:lnTo>
                    <a:lnTo>
                      <a:pt x="97" y="0"/>
                    </a:lnTo>
                    <a:lnTo>
                      <a:pt x="152" y="100"/>
                    </a:lnTo>
                    <a:lnTo>
                      <a:pt x="119" y="100"/>
                    </a:lnTo>
                    <a:lnTo>
                      <a:pt x="107" y="84"/>
                    </a:lnTo>
                    <a:lnTo>
                      <a:pt x="45" y="84"/>
                    </a:lnTo>
                    <a:lnTo>
                      <a:pt x="36" y="100"/>
                    </a:lnTo>
                    <a:close/>
                    <a:moveTo>
                      <a:pt x="57" y="60"/>
                    </a:moveTo>
                    <a:lnTo>
                      <a:pt x="97" y="60"/>
                    </a:lnTo>
                    <a:lnTo>
                      <a:pt x="76" y="24"/>
                    </a:lnTo>
                    <a:lnTo>
                      <a:pt x="57" y="6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5" name="Freeform 38"/>
              <p:cNvSpPr>
                <a:spLocks noEditPoints="1"/>
              </p:cNvSpPr>
              <p:nvPr/>
            </p:nvSpPr>
            <p:spPr bwMode="auto">
              <a:xfrm>
                <a:off x="4214813" y="3273426"/>
                <a:ext cx="222250" cy="163513"/>
              </a:xfrm>
              <a:custGeom>
                <a:avLst/>
                <a:gdLst>
                  <a:gd name="T0" fmla="*/ 297988280 w 59"/>
                  <a:gd name="T1" fmla="*/ 621779097 h 43"/>
                  <a:gd name="T2" fmla="*/ 141897208 w 59"/>
                  <a:gd name="T3" fmla="*/ 607317703 h 43"/>
                  <a:gd name="T4" fmla="*/ 70950487 w 59"/>
                  <a:gd name="T5" fmla="*/ 578398718 h 43"/>
                  <a:gd name="T6" fmla="*/ 14190097 w 59"/>
                  <a:gd name="T7" fmla="*/ 506099353 h 43"/>
                  <a:gd name="T8" fmla="*/ 0 w 59"/>
                  <a:gd name="T9" fmla="*/ 390419610 h 43"/>
                  <a:gd name="T10" fmla="*/ 0 w 59"/>
                  <a:gd name="T11" fmla="*/ 231359487 h 43"/>
                  <a:gd name="T12" fmla="*/ 14190097 w 59"/>
                  <a:gd name="T13" fmla="*/ 101218350 h 43"/>
                  <a:gd name="T14" fmla="*/ 70950487 w 59"/>
                  <a:gd name="T15" fmla="*/ 28918985 h 43"/>
                  <a:gd name="T16" fmla="*/ 141897208 w 59"/>
                  <a:gd name="T17" fmla="*/ 0 h 43"/>
                  <a:gd name="T18" fmla="*/ 297988280 w 59"/>
                  <a:gd name="T19" fmla="*/ 0 h 43"/>
                  <a:gd name="T20" fmla="*/ 525026072 w 59"/>
                  <a:gd name="T21" fmla="*/ 0 h 43"/>
                  <a:gd name="T22" fmla="*/ 681117144 w 59"/>
                  <a:gd name="T23" fmla="*/ 0 h 43"/>
                  <a:gd name="T24" fmla="*/ 766253962 w 59"/>
                  <a:gd name="T25" fmla="*/ 28918985 h 43"/>
                  <a:gd name="T26" fmla="*/ 808824254 w 59"/>
                  <a:gd name="T27" fmla="*/ 101218350 h 43"/>
                  <a:gd name="T28" fmla="*/ 837204449 w 59"/>
                  <a:gd name="T29" fmla="*/ 216898093 h 43"/>
                  <a:gd name="T30" fmla="*/ 837204449 w 59"/>
                  <a:gd name="T31" fmla="*/ 390419610 h 43"/>
                  <a:gd name="T32" fmla="*/ 808824254 w 59"/>
                  <a:gd name="T33" fmla="*/ 506099353 h 43"/>
                  <a:gd name="T34" fmla="*/ 766253962 w 59"/>
                  <a:gd name="T35" fmla="*/ 578398718 h 43"/>
                  <a:gd name="T36" fmla="*/ 681117144 w 59"/>
                  <a:gd name="T37" fmla="*/ 607317703 h 43"/>
                  <a:gd name="T38" fmla="*/ 525026072 w 59"/>
                  <a:gd name="T39" fmla="*/ 621779097 h 43"/>
                  <a:gd name="T40" fmla="*/ 297988280 w 59"/>
                  <a:gd name="T41" fmla="*/ 621779097 h 43"/>
                  <a:gd name="T42" fmla="*/ 354748669 w 59"/>
                  <a:gd name="T43" fmla="*/ 462718974 h 43"/>
                  <a:gd name="T44" fmla="*/ 468265682 w 59"/>
                  <a:gd name="T45" fmla="*/ 462718974 h 43"/>
                  <a:gd name="T46" fmla="*/ 610166657 w 59"/>
                  <a:gd name="T47" fmla="*/ 433799989 h 43"/>
                  <a:gd name="T48" fmla="*/ 638546852 w 59"/>
                  <a:gd name="T49" fmla="*/ 347039231 h 43"/>
                  <a:gd name="T50" fmla="*/ 638546852 w 59"/>
                  <a:gd name="T51" fmla="*/ 260278472 h 43"/>
                  <a:gd name="T52" fmla="*/ 610166657 w 59"/>
                  <a:gd name="T53" fmla="*/ 173521517 h 43"/>
                  <a:gd name="T54" fmla="*/ 468265682 w 59"/>
                  <a:gd name="T55" fmla="*/ 144598729 h 43"/>
                  <a:gd name="T56" fmla="*/ 354748669 w 59"/>
                  <a:gd name="T57" fmla="*/ 144598729 h 43"/>
                  <a:gd name="T58" fmla="*/ 227037792 w 59"/>
                  <a:gd name="T59" fmla="*/ 173521517 h 43"/>
                  <a:gd name="T60" fmla="*/ 184467500 w 59"/>
                  <a:gd name="T61" fmla="*/ 260278472 h 43"/>
                  <a:gd name="T62" fmla="*/ 184467500 w 59"/>
                  <a:gd name="T63" fmla="*/ 347039231 h 43"/>
                  <a:gd name="T64" fmla="*/ 227037792 w 59"/>
                  <a:gd name="T65" fmla="*/ 433799989 h 43"/>
                  <a:gd name="T66" fmla="*/ 354748669 w 59"/>
                  <a:gd name="T67" fmla="*/ 462718974 h 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9" h="43">
                    <a:moveTo>
                      <a:pt x="21" y="43"/>
                    </a:moveTo>
                    <a:cubicBezTo>
                      <a:pt x="16" y="43"/>
                      <a:pt x="13" y="42"/>
                      <a:pt x="10" y="42"/>
                    </a:cubicBezTo>
                    <a:cubicBezTo>
                      <a:pt x="8" y="42"/>
                      <a:pt x="6" y="41"/>
                      <a:pt x="5" y="40"/>
                    </a:cubicBezTo>
                    <a:cubicBezTo>
                      <a:pt x="3" y="39"/>
                      <a:pt x="2" y="37"/>
                      <a:pt x="1" y="35"/>
                    </a:cubicBezTo>
                    <a:cubicBezTo>
                      <a:pt x="0" y="33"/>
                      <a:pt x="0" y="30"/>
                      <a:pt x="0" y="27"/>
                    </a:cubicBezTo>
                    <a:cubicBezTo>
                      <a:pt x="0" y="16"/>
                      <a:pt x="0" y="16"/>
                      <a:pt x="0" y="16"/>
                    </a:cubicBezTo>
                    <a:cubicBezTo>
                      <a:pt x="0" y="12"/>
                      <a:pt x="0" y="9"/>
                      <a:pt x="1" y="7"/>
                    </a:cubicBezTo>
                    <a:cubicBezTo>
                      <a:pt x="2" y="5"/>
                      <a:pt x="3" y="4"/>
                      <a:pt x="5" y="2"/>
                    </a:cubicBezTo>
                    <a:cubicBezTo>
                      <a:pt x="6" y="1"/>
                      <a:pt x="8" y="1"/>
                      <a:pt x="10" y="0"/>
                    </a:cubicBezTo>
                    <a:cubicBezTo>
                      <a:pt x="13" y="0"/>
                      <a:pt x="17" y="0"/>
                      <a:pt x="21" y="0"/>
                    </a:cubicBezTo>
                    <a:cubicBezTo>
                      <a:pt x="37" y="0"/>
                      <a:pt x="37" y="0"/>
                      <a:pt x="37" y="0"/>
                    </a:cubicBezTo>
                    <a:cubicBezTo>
                      <a:pt x="42" y="0"/>
                      <a:pt x="46" y="0"/>
                      <a:pt x="48" y="0"/>
                    </a:cubicBezTo>
                    <a:cubicBezTo>
                      <a:pt x="51" y="1"/>
                      <a:pt x="52" y="1"/>
                      <a:pt x="54" y="2"/>
                    </a:cubicBezTo>
                    <a:cubicBezTo>
                      <a:pt x="56" y="4"/>
                      <a:pt x="57" y="5"/>
                      <a:pt x="57" y="7"/>
                    </a:cubicBezTo>
                    <a:cubicBezTo>
                      <a:pt x="58" y="9"/>
                      <a:pt x="59" y="12"/>
                      <a:pt x="59" y="15"/>
                    </a:cubicBezTo>
                    <a:cubicBezTo>
                      <a:pt x="59" y="27"/>
                      <a:pt x="59" y="27"/>
                      <a:pt x="59" y="27"/>
                    </a:cubicBezTo>
                    <a:cubicBezTo>
                      <a:pt x="59" y="30"/>
                      <a:pt x="58" y="33"/>
                      <a:pt x="57" y="35"/>
                    </a:cubicBezTo>
                    <a:cubicBezTo>
                      <a:pt x="57" y="37"/>
                      <a:pt x="56" y="39"/>
                      <a:pt x="54" y="40"/>
                    </a:cubicBezTo>
                    <a:cubicBezTo>
                      <a:pt x="52" y="41"/>
                      <a:pt x="51" y="42"/>
                      <a:pt x="48" y="42"/>
                    </a:cubicBezTo>
                    <a:cubicBezTo>
                      <a:pt x="46" y="42"/>
                      <a:pt x="42" y="43"/>
                      <a:pt x="37" y="43"/>
                    </a:cubicBezTo>
                    <a:lnTo>
                      <a:pt x="21" y="43"/>
                    </a:lnTo>
                    <a:close/>
                    <a:moveTo>
                      <a:pt x="25" y="32"/>
                    </a:moveTo>
                    <a:cubicBezTo>
                      <a:pt x="33" y="32"/>
                      <a:pt x="33" y="32"/>
                      <a:pt x="33" y="32"/>
                    </a:cubicBezTo>
                    <a:cubicBezTo>
                      <a:pt x="38" y="32"/>
                      <a:pt x="41" y="32"/>
                      <a:pt x="43" y="30"/>
                    </a:cubicBezTo>
                    <a:cubicBezTo>
                      <a:pt x="44" y="29"/>
                      <a:pt x="45" y="27"/>
                      <a:pt x="45" y="24"/>
                    </a:cubicBezTo>
                    <a:cubicBezTo>
                      <a:pt x="45" y="18"/>
                      <a:pt x="45" y="18"/>
                      <a:pt x="45" y="18"/>
                    </a:cubicBezTo>
                    <a:cubicBezTo>
                      <a:pt x="45" y="15"/>
                      <a:pt x="44" y="13"/>
                      <a:pt x="43" y="12"/>
                    </a:cubicBezTo>
                    <a:cubicBezTo>
                      <a:pt x="41" y="11"/>
                      <a:pt x="38" y="10"/>
                      <a:pt x="33" y="10"/>
                    </a:cubicBezTo>
                    <a:cubicBezTo>
                      <a:pt x="25" y="10"/>
                      <a:pt x="25" y="10"/>
                      <a:pt x="25" y="10"/>
                    </a:cubicBezTo>
                    <a:cubicBezTo>
                      <a:pt x="20" y="10"/>
                      <a:pt x="17" y="11"/>
                      <a:pt x="16" y="12"/>
                    </a:cubicBezTo>
                    <a:cubicBezTo>
                      <a:pt x="14" y="13"/>
                      <a:pt x="13" y="15"/>
                      <a:pt x="13" y="18"/>
                    </a:cubicBezTo>
                    <a:cubicBezTo>
                      <a:pt x="13" y="24"/>
                      <a:pt x="13" y="24"/>
                      <a:pt x="13" y="24"/>
                    </a:cubicBezTo>
                    <a:cubicBezTo>
                      <a:pt x="13" y="27"/>
                      <a:pt x="14" y="29"/>
                      <a:pt x="16" y="30"/>
                    </a:cubicBezTo>
                    <a:cubicBezTo>
                      <a:pt x="17" y="32"/>
                      <a:pt x="20" y="32"/>
                      <a:pt x="25" y="32"/>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6" name="Freeform 39"/>
              <p:cNvSpPr>
                <a:spLocks noEditPoints="1"/>
              </p:cNvSpPr>
              <p:nvPr/>
            </p:nvSpPr>
            <p:spPr bwMode="auto">
              <a:xfrm>
                <a:off x="5562600" y="3273426"/>
                <a:ext cx="239713" cy="158750"/>
              </a:xfrm>
              <a:custGeom>
                <a:avLst/>
                <a:gdLst>
                  <a:gd name="T0" fmla="*/ 83166123 w 151"/>
                  <a:gd name="T1" fmla="*/ 252015625 h 100"/>
                  <a:gd name="T2" fmla="*/ 0 w 151"/>
                  <a:gd name="T3" fmla="*/ 252015625 h 100"/>
                  <a:gd name="T4" fmla="*/ 136088721 w 151"/>
                  <a:gd name="T5" fmla="*/ 0 h 100"/>
                  <a:gd name="T6" fmla="*/ 236895182 w 151"/>
                  <a:gd name="T7" fmla="*/ 0 h 100"/>
                  <a:gd name="T8" fmla="*/ 380545181 w 151"/>
                  <a:gd name="T9" fmla="*/ 252015625 h 100"/>
                  <a:gd name="T10" fmla="*/ 292338735 w 151"/>
                  <a:gd name="T11" fmla="*/ 252015625 h 100"/>
                  <a:gd name="T12" fmla="*/ 267137120 w 151"/>
                  <a:gd name="T13" fmla="*/ 211693125 h 100"/>
                  <a:gd name="T14" fmla="*/ 105846783 w 151"/>
                  <a:gd name="T15" fmla="*/ 211693125 h 100"/>
                  <a:gd name="T16" fmla="*/ 83166123 w 151"/>
                  <a:gd name="T17" fmla="*/ 252015625 h 100"/>
                  <a:gd name="T18" fmla="*/ 136088721 w 151"/>
                  <a:gd name="T19" fmla="*/ 151209375 h 100"/>
                  <a:gd name="T20" fmla="*/ 236895182 w 151"/>
                  <a:gd name="T21" fmla="*/ 151209375 h 100"/>
                  <a:gd name="T22" fmla="*/ 189012907 w 151"/>
                  <a:gd name="T23" fmla="*/ 60483750 h 100"/>
                  <a:gd name="T24" fmla="*/ 136088721 w 151"/>
                  <a:gd name="T25" fmla="*/ 151209375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 h="100">
                    <a:moveTo>
                      <a:pt x="33" y="100"/>
                    </a:moveTo>
                    <a:lnTo>
                      <a:pt x="0" y="100"/>
                    </a:lnTo>
                    <a:lnTo>
                      <a:pt x="54" y="0"/>
                    </a:lnTo>
                    <a:lnTo>
                      <a:pt x="94" y="0"/>
                    </a:lnTo>
                    <a:lnTo>
                      <a:pt x="151" y="100"/>
                    </a:lnTo>
                    <a:lnTo>
                      <a:pt x="116" y="100"/>
                    </a:lnTo>
                    <a:lnTo>
                      <a:pt x="106" y="84"/>
                    </a:lnTo>
                    <a:lnTo>
                      <a:pt x="42" y="84"/>
                    </a:lnTo>
                    <a:lnTo>
                      <a:pt x="33" y="100"/>
                    </a:lnTo>
                    <a:close/>
                    <a:moveTo>
                      <a:pt x="54" y="60"/>
                    </a:moveTo>
                    <a:lnTo>
                      <a:pt x="94" y="60"/>
                    </a:lnTo>
                    <a:lnTo>
                      <a:pt x="75" y="24"/>
                    </a:lnTo>
                    <a:lnTo>
                      <a:pt x="54" y="6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7" name="Freeform 40"/>
              <p:cNvSpPr>
                <a:spLocks/>
              </p:cNvSpPr>
              <p:nvPr/>
            </p:nvSpPr>
            <p:spPr bwMode="auto">
              <a:xfrm>
                <a:off x="3059113" y="3273426"/>
                <a:ext cx="173038" cy="139700"/>
              </a:xfrm>
              <a:custGeom>
                <a:avLst/>
                <a:gdLst>
                  <a:gd name="T0" fmla="*/ 466961851 w 46"/>
                  <a:gd name="T1" fmla="*/ 71277205 h 37"/>
                  <a:gd name="T2" fmla="*/ 481113351 w 46"/>
                  <a:gd name="T3" fmla="*/ 0 h 37"/>
                  <a:gd name="T4" fmla="*/ 169802942 w 46"/>
                  <a:gd name="T5" fmla="*/ 0 h 37"/>
                  <a:gd name="T6" fmla="*/ 155655204 w 46"/>
                  <a:gd name="T7" fmla="*/ 0 h 37"/>
                  <a:gd name="T8" fmla="*/ 141503705 w 46"/>
                  <a:gd name="T9" fmla="*/ 42767078 h 37"/>
                  <a:gd name="T10" fmla="*/ 169802942 w 46"/>
                  <a:gd name="T11" fmla="*/ 57024030 h 37"/>
                  <a:gd name="T12" fmla="*/ 198105940 w 46"/>
                  <a:gd name="T13" fmla="*/ 114044284 h 37"/>
                  <a:gd name="T14" fmla="*/ 99052970 w 46"/>
                  <a:gd name="T15" fmla="*/ 427670784 h 37"/>
                  <a:gd name="T16" fmla="*/ 14151499 w 46"/>
                  <a:gd name="T17" fmla="*/ 470437862 h 37"/>
                  <a:gd name="T18" fmla="*/ 0 w 46"/>
                  <a:gd name="T19" fmla="*/ 527461892 h 37"/>
                  <a:gd name="T20" fmla="*/ 0 w 46"/>
                  <a:gd name="T21" fmla="*/ 527461892 h 37"/>
                  <a:gd name="T22" fmla="*/ 580166320 w 46"/>
                  <a:gd name="T23" fmla="*/ 527461892 h 37"/>
                  <a:gd name="T24" fmla="*/ 650916292 w 46"/>
                  <a:gd name="T25" fmla="*/ 299369549 h 37"/>
                  <a:gd name="T26" fmla="*/ 594314058 w 46"/>
                  <a:gd name="T27" fmla="*/ 299369549 h 37"/>
                  <a:gd name="T28" fmla="*/ 566014821 w 46"/>
                  <a:gd name="T29" fmla="*/ 384903705 h 37"/>
                  <a:gd name="T30" fmla="*/ 509412587 w 46"/>
                  <a:gd name="T31" fmla="*/ 441927735 h 37"/>
                  <a:gd name="T32" fmla="*/ 325458146 w 46"/>
                  <a:gd name="T33" fmla="*/ 456184686 h 37"/>
                  <a:gd name="T34" fmla="*/ 311306647 w 46"/>
                  <a:gd name="T35" fmla="*/ 456184686 h 37"/>
                  <a:gd name="T36" fmla="*/ 297158910 w 46"/>
                  <a:gd name="T37" fmla="*/ 441927735 h 37"/>
                  <a:gd name="T38" fmla="*/ 396208118 w 46"/>
                  <a:gd name="T39" fmla="*/ 114044284 h 37"/>
                  <a:gd name="T40" fmla="*/ 466961851 w 46"/>
                  <a:gd name="T41" fmla="*/ 71277205 h 3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6" h="37">
                    <a:moveTo>
                      <a:pt x="33" y="5"/>
                    </a:moveTo>
                    <a:cubicBezTo>
                      <a:pt x="34" y="3"/>
                      <a:pt x="34" y="2"/>
                      <a:pt x="34" y="0"/>
                    </a:cubicBezTo>
                    <a:cubicBezTo>
                      <a:pt x="12" y="0"/>
                      <a:pt x="12" y="0"/>
                      <a:pt x="12" y="0"/>
                    </a:cubicBezTo>
                    <a:cubicBezTo>
                      <a:pt x="11" y="0"/>
                      <a:pt x="11" y="0"/>
                      <a:pt x="11" y="0"/>
                    </a:cubicBezTo>
                    <a:cubicBezTo>
                      <a:pt x="10" y="3"/>
                      <a:pt x="10" y="3"/>
                      <a:pt x="10" y="3"/>
                    </a:cubicBezTo>
                    <a:cubicBezTo>
                      <a:pt x="10" y="4"/>
                      <a:pt x="11" y="4"/>
                      <a:pt x="12" y="4"/>
                    </a:cubicBezTo>
                    <a:cubicBezTo>
                      <a:pt x="14" y="5"/>
                      <a:pt x="14" y="6"/>
                      <a:pt x="14" y="8"/>
                    </a:cubicBezTo>
                    <a:cubicBezTo>
                      <a:pt x="7" y="30"/>
                      <a:pt x="7" y="30"/>
                      <a:pt x="7" y="30"/>
                    </a:cubicBezTo>
                    <a:cubicBezTo>
                      <a:pt x="6" y="33"/>
                      <a:pt x="4" y="33"/>
                      <a:pt x="1" y="33"/>
                    </a:cubicBezTo>
                    <a:cubicBezTo>
                      <a:pt x="1" y="35"/>
                      <a:pt x="0" y="35"/>
                      <a:pt x="0" y="37"/>
                    </a:cubicBezTo>
                    <a:cubicBezTo>
                      <a:pt x="0" y="37"/>
                      <a:pt x="0" y="37"/>
                      <a:pt x="0" y="37"/>
                    </a:cubicBezTo>
                    <a:cubicBezTo>
                      <a:pt x="41" y="37"/>
                      <a:pt x="41" y="37"/>
                      <a:pt x="41" y="37"/>
                    </a:cubicBezTo>
                    <a:cubicBezTo>
                      <a:pt x="46" y="21"/>
                      <a:pt x="46" y="21"/>
                      <a:pt x="46" y="21"/>
                    </a:cubicBezTo>
                    <a:cubicBezTo>
                      <a:pt x="45" y="21"/>
                      <a:pt x="44" y="21"/>
                      <a:pt x="42" y="21"/>
                    </a:cubicBezTo>
                    <a:cubicBezTo>
                      <a:pt x="41" y="23"/>
                      <a:pt x="41" y="25"/>
                      <a:pt x="40" y="27"/>
                    </a:cubicBezTo>
                    <a:cubicBezTo>
                      <a:pt x="39" y="29"/>
                      <a:pt x="38" y="30"/>
                      <a:pt x="36" y="31"/>
                    </a:cubicBezTo>
                    <a:cubicBezTo>
                      <a:pt x="32" y="33"/>
                      <a:pt x="29" y="32"/>
                      <a:pt x="23" y="32"/>
                    </a:cubicBezTo>
                    <a:cubicBezTo>
                      <a:pt x="23" y="32"/>
                      <a:pt x="22" y="32"/>
                      <a:pt x="22" y="32"/>
                    </a:cubicBezTo>
                    <a:cubicBezTo>
                      <a:pt x="21" y="32"/>
                      <a:pt x="21" y="32"/>
                      <a:pt x="21" y="31"/>
                    </a:cubicBezTo>
                    <a:cubicBezTo>
                      <a:pt x="28" y="8"/>
                      <a:pt x="28" y="8"/>
                      <a:pt x="28" y="8"/>
                    </a:cubicBezTo>
                    <a:cubicBezTo>
                      <a:pt x="29" y="5"/>
                      <a:pt x="31" y="5"/>
                      <a:pt x="33" y="5"/>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8" name="Freeform 41"/>
              <p:cNvSpPr>
                <a:spLocks noEditPoints="1"/>
              </p:cNvSpPr>
              <p:nvPr/>
            </p:nvSpPr>
            <p:spPr bwMode="auto">
              <a:xfrm>
                <a:off x="2863850" y="3078163"/>
                <a:ext cx="549275" cy="552450"/>
              </a:xfrm>
              <a:custGeom>
                <a:avLst/>
                <a:gdLst>
                  <a:gd name="T0" fmla="*/ 1033231421 w 146"/>
                  <a:gd name="T1" fmla="*/ 0 h 145"/>
                  <a:gd name="T2" fmla="*/ 2066459080 w 146"/>
                  <a:gd name="T3" fmla="*/ 1059675300 h 145"/>
                  <a:gd name="T4" fmla="*/ 1033231421 w 146"/>
                  <a:gd name="T5" fmla="*/ 2104834500 h 145"/>
                  <a:gd name="T6" fmla="*/ 0 w 146"/>
                  <a:gd name="T7" fmla="*/ 1059675300 h 145"/>
                  <a:gd name="T8" fmla="*/ 1033231421 w 146"/>
                  <a:gd name="T9" fmla="*/ 0 h 145"/>
                  <a:gd name="T10" fmla="*/ 1033231421 w 146"/>
                  <a:gd name="T11" fmla="*/ 609676200 h 145"/>
                  <a:gd name="T12" fmla="*/ 1486153804 w 146"/>
                  <a:gd name="T13" fmla="*/ 1059675300 h 145"/>
                  <a:gd name="T14" fmla="*/ 1033231421 w 146"/>
                  <a:gd name="T15" fmla="*/ 1509674400 h 145"/>
                  <a:gd name="T16" fmla="*/ 580305275 w 146"/>
                  <a:gd name="T17" fmla="*/ 1059675300 h 145"/>
                  <a:gd name="T18" fmla="*/ 1033231421 w 146"/>
                  <a:gd name="T19" fmla="*/ 609676200 h 145"/>
                  <a:gd name="T20" fmla="*/ 1061537894 w 146"/>
                  <a:gd name="T21" fmla="*/ 159677100 h 145"/>
                  <a:gd name="T22" fmla="*/ 481228857 w 146"/>
                  <a:gd name="T23" fmla="*/ 1030643100 h 145"/>
                  <a:gd name="T24" fmla="*/ 325539491 w 146"/>
                  <a:gd name="T25" fmla="*/ 522579600 h 145"/>
                  <a:gd name="T26" fmla="*/ 339692728 w 146"/>
                  <a:gd name="T27" fmla="*/ 508063500 h 145"/>
                  <a:gd name="T28" fmla="*/ 1061537894 w 146"/>
                  <a:gd name="T29" fmla="*/ 159677100 h 145"/>
                  <a:gd name="T30" fmla="*/ 155693127 w 146"/>
                  <a:gd name="T31" fmla="*/ 1016127000 h 145"/>
                  <a:gd name="T32" fmla="*/ 1004921185 w 146"/>
                  <a:gd name="T33" fmla="*/ 1611287100 h 145"/>
                  <a:gd name="T34" fmla="*/ 509539092 w 146"/>
                  <a:gd name="T35" fmla="*/ 1770964200 h 145"/>
                  <a:gd name="T36" fmla="*/ 495385855 w 146"/>
                  <a:gd name="T37" fmla="*/ 1770964200 h 145"/>
                  <a:gd name="T38" fmla="*/ 155693127 w 146"/>
                  <a:gd name="T39" fmla="*/ 1016127000 h 145"/>
                  <a:gd name="T40" fmla="*/ 1004921185 w 146"/>
                  <a:gd name="T41" fmla="*/ 1959673500 h 145"/>
                  <a:gd name="T42" fmla="*/ 1585230223 w 146"/>
                  <a:gd name="T43" fmla="*/ 1074191400 h 145"/>
                  <a:gd name="T44" fmla="*/ 1740919588 w 146"/>
                  <a:gd name="T45" fmla="*/ 1596771000 h 145"/>
                  <a:gd name="T46" fmla="*/ 1726766352 w 146"/>
                  <a:gd name="T47" fmla="*/ 1611287100 h 145"/>
                  <a:gd name="T48" fmla="*/ 1004921185 w 146"/>
                  <a:gd name="T49" fmla="*/ 1959673500 h 145"/>
                  <a:gd name="T50" fmla="*/ 1910765952 w 146"/>
                  <a:gd name="T51" fmla="*/ 1088707500 h 145"/>
                  <a:gd name="T52" fmla="*/ 1061537894 w 146"/>
                  <a:gd name="T53" fmla="*/ 508063500 h 145"/>
                  <a:gd name="T54" fmla="*/ 1556919988 w 146"/>
                  <a:gd name="T55" fmla="*/ 333870300 h 145"/>
                  <a:gd name="T56" fmla="*/ 1571073224 w 146"/>
                  <a:gd name="T57" fmla="*/ 348386400 h 145"/>
                  <a:gd name="T58" fmla="*/ 1910765952 w 146"/>
                  <a:gd name="T59" fmla="*/ 1088707500 h 1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46" h="145">
                    <a:moveTo>
                      <a:pt x="73" y="0"/>
                    </a:moveTo>
                    <a:cubicBezTo>
                      <a:pt x="113" y="0"/>
                      <a:pt x="146" y="33"/>
                      <a:pt x="146" y="73"/>
                    </a:cubicBezTo>
                    <a:cubicBezTo>
                      <a:pt x="146" y="113"/>
                      <a:pt x="113" y="145"/>
                      <a:pt x="73" y="145"/>
                    </a:cubicBezTo>
                    <a:cubicBezTo>
                      <a:pt x="33" y="145"/>
                      <a:pt x="0" y="113"/>
                      <a:pt x="0" y="73"/>
                    </a:cubicBezTo>
                    <a:cubicBezTo>
                      <a:pt x="0" y="33"/>
                      <a:pt x="33" y="0"/>
                      <a:pt x="73" y="0"/>
                    </a:cubicBezTo>
                    <a:moveTo>
                      <a:pt x="73" y="42"/>
                    </a:moveTo>
                    <a:cubicBezTo>
                      <a:pt x="90" y="42"/>
                      <a:pt x="105" y="56"/>
                      <a:pt x="105" y="73"/>
                    </a:cubicBezTo>
                    <a:cubicBezTo>
                      <a:pt x="105" y="90"/>
                      <a:pt x="90" y="104"/>
                      <a:pt x="73" y="104"/>
                    </a:cubicBezTo>
                    <a:cubicBezTo>
                      <a:pt x="56" y="104"/>
                      <a:pt x="41" y="90"/>
                      <a:pt x="41" y="73"/>
                    </a:cubicBezTo>
                    <a:cubicBezTo>
                      <a:pt x="41" y="56"/>
                      <a:pt x="56" y="42"/>
                      <a:pt x="73" y="42"/>
                    </a:cubicBezTo>
                    <a:moveTo>
                      <a:pt x="75" y="11"/>
                    </a:moveTo>
                    <a:cubicBezTo>
                      <a:pt x="66" y="15"/>
                      <a:pt x="37" y="35"/>
                      <a:pt x="34" y="71"/>
                    </a:cubicBezTo>
                    <a:cubicBezTo>
                      <a:pt x="30" y="66"/>
                      <a:pt x="23" y="52"/>
                      <a:pt x="23" y="36"/>
                    </a:cubicBezTo>
                    <a:cubicBezTo>
                      <a:pt x="24" y="35"/>
                      <a:pt x="24" y="35"/>
                      <a:pt x="24" y="35"/>
                    </a:cubicBezTo>
                    <a:cubicBezTo>
                      <a:pt x="28" y="26"/>
                      <a:pt x="51" y="8"/>
                      <a:pt x="75" y="11"/>
                    </a:cubicBezTo>
                    <a:moveTo>
                      <a:pt x="11" y="70"/>
                    </a:moveTo>
                    <a:cubicBezTo>
                      <a:pt x="15" y="79"/>
                      <a:pt x="35" y="108"/>
                      <a:pt x="71" y="111"/>
                    </a:cubicBezTo>
                    <a:cubicBezTo>
                      <a:pt x="67" y="115"/>
                      <a:pt x="52" y="122"/>
                      <a:pt x="36" y="122"/>
                    </a:cubicBezTo>
                    <a:cubicBezTo>
                      <a:pt x="35" y="122"/>
                      <a:pt x="35" y="122"/>
                      <a:pt x="35" y="122"/>
                    </a:cubicBezTo>
                    <a:cubicBezTo>
                      <a:pt x="27" y="118"/>
                      <a:pt x="9" y="95"/>
                      <a:pt x="11" y="70"/>
                    </a:cubicBezTo>
                    <a:moveTo>
                      <a:pt x="71" y="135"/>
                    </a:moveTo>
                    <a:cubicBezTo>
                      <a:pt x="80" y="130"/>
                      <a:pt x="109" y="110"/>
                      <a:pt x="112" y="74"/>
                    </a:cubicBezTo>
                    <a:cubicBezTo>
                      <a:pt x="116" y="79"/>
                      <a:pt x="123" y="94"/>
                      <a:pt x="123" y="110"/>
                    </a:cubicBezTo>
                    <a:cubicBezTo>
                      <a:pt x="122" y="111"/>
                      <a:pt x="122" y="111"/>
                      <a:pt x="122" y="111"/>
                    </a:cubicBezTo>
                    <a:cubicBezTo>
                      <a:pt x="118" y="119"/>
                      <a:pt x="95" y="137"/>
                      <a:pt x="71" y="135"/>
                    </a:cubicBezTo>
                    <a:moveTo>
                      <a:pt x="135" y="75"/>
                    </a:moveTo>
                    <a:cubicBezTo>
                      <a:pt x="131" y="66"/>
                      <a:pt x="111" y="37"/>
                      <a:pt x="75" y="35"/>
                    </a:cubicBezTo>
                    <a:cubicBezTo>
                      <a:pt x="79" y="30"/>
                      <a:pt x="94" y="23"/>
                      <a:pt x="110" y="23"/>
                    </a:cubicBezTo>
                    <a:cubicBezTo>
                      <a:pt x="111" y="24"/>
                      <a:pt x="111" y="24"/>
                      <a:pt x="111" y="24"/>
                    </a:cubicBezTo>
                    <a:cubicBezTo>
                      <a:pt x="119" y="28"/>
                      <a:pt x="137" y="51"/>
                      <a:pt x="135" y="75"/>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spTree>
    <p:extLst>
      <p:ext uri="{BB962C8B-B14F-4D97-AF65-F5344CB8AC3E}">
        <p14:creationId xmlns:p14="http://schemas.microsoft.com/office/powerpoint/2010/main" val="412964807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2"/>
            </p:custDataLst>
          </p:nvPr>
        </p:nvSpPr>
        <p:spPr>
          <a:xfrm>
            <a:off x="1" y="1"/>
            <a:ext cx="158751" cy="158751"/>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121917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sym typeface="Calibri" panose="020F0502020204030204" pitchFamily="34" charset="0"/>
            </a:endParaRPr>
          </a:p>
        </p:txBody>
      </p:sp>
      <p:sp>
        <p:nvSpPr>
          <p:cNvPr id="5" name="FooterSimple" hidden="1"/>
          <p:cNvSpPr txBox="1"/>
          <p:nvPr userDrawn="1">
            <p:custDataLst>
              <p:tags r:id="rId3"/>
            </p:custDataLst>
          </p:nvPr>
        </p:nvSpPr>
        <p:spPr>
          <a:xfrm rot="16200000">
            <a:off x="10562168" y="5118309"/>
            <a:ext cx="2743200" cy="96950"/>
          </a:xfrm>
          <a:prstGeom prst="rect">
            <a:avLst/>
          </a:prstGeom>
          <a:noFill/>
        </p:spPr>
        <p:txBody>
          <a:bodyPr lIns="0" tIns="0" rIns="0" bIns="0" anchor="b">
            <a:spAutoFit/>
          </a:bodyPr>
          <a:lstStyle/>
          <a:p>
            <a:pPr marL="0" marR="0" lvl="0" indent="0" algn="l" defTabSz="121917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Calibri"/>
                <a:ea typeface="+mn-ea"/>
                <a:cs typeface="+mn-cs"/>
                <a:sym typeface="+mn-lt"/>
              </a:rPr>
              <a:t>DSE &amp; DSM Training Deck_with Intune Login.pptx</a:t>
            </a:r>
            <a:endParaRPr kumimoji="0" lang="en-US" sz="700" b="0" i="0" u="none" strike="noStrike" kern="1200" cap="none" spc="0" normalizeH="0" baseline="0" noProof="0" dirty="0">
              <a:ln>
                <a:noFill/>
              </a:ln>
              <a:solidFill>
                <a:prstClr val="white">
                  <a:lumMod val="50000"/>
                </a:prstClr>
              </a:solidFill>
              <a:effectLst/>
              <a:uLnTx/>
              <a:uFillTx/>
              <a:latin typeface="Calibri"/>
              <a:ea typeface="+mn-ea"/>
              <a:cs typeface="+mn-cs"/>
              <a:sym typeface="+mn-lt"/>
            </a:endParaRPr>
          </a:p>
        </p:txBody>
      </p:sp>
      <p:sp>
        <p:nvSpPr>
          <p:cNvPr id="6" name="Line 11"/>
          <p:cNvSpPr>
            <a:spLocks noChangeShapeType="1"/>
          </p:cNvSpPr>
          <p:nvPr userDrawn="1"/>
        </p:nvSpPr>
        <p:spPr bwMode="auto">
          <a:xfrm>
            <a:off x="0" y="1253067"/>
            <a:ext cx="12192000" cy="0"/>
          </a:xfrm>
          <a:prstGeom prst="line">
            <a:avLst/>
          </a:prstGeom>
          <a:noFill/>
          <a:ln w="63500">
            <a:solidFill>
              <a:srgbClr val="808080"/>
            </a:solidFill>
            <a:round/>
            <a:headEnd/>
            <a:tailEnd/>
          </a:ln>
          <a:extLst>
            <a:ext uri="{909E8E84-426E-40DD-AFC4-6F175D3DCCD1}">
              <a14:hiddenFill xmlns:a14="http://schemas.microsoft.com/office/drawing/2010/main">
                <a:noFill/>
              </a14:hiddenFill>
            </a:ext>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Calibri"/>
              <a:ea typeface="+mn-ea"/>
              <a:cs typeface="+mn-cs"/>
              <a:sym typeface="+mn-lt"/>
            </a:endParaRPr>
          </a:p>
        </p:txBody>
      </p:sp>
      <p:pic>
        <p:nvPicPr>
          <p:cNvPr id="7" name="Picture 11"/>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065934" y="112185"/>
            <a:ext cx="994833" cy="994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307778" y="689478"/>
            <a:ext cx="10614225" cy="339225"/>
          </a:xfrm>
        </p:spPr>
        <p:txBody>
          <a:bodyPr/>
          <a:lstStyle>
            <a:lvl1pPr>
              <a:defRPr>
                <a:latin typeface="+mj-lt"/>
                <a:ea typeface="+mj-ea"/>
                <a:cs typeface="+mj-cs"/>
                <a:sym typeface="+mj-lt"/>
              </a:defRPr>
            </a:lvl1pPr>
          </a:lstStyle>
          <a:p>
            <a:r>
              <a:rPr lang="en-US"/>
              <a:t>Click to edit Master title style</a:t>
            </a:r>
            <a:endParaRPr lang="en-US" dirty="0"/>
          </a:p>
        </p:txBody>
      </p:sp>
      <p:sp>
        <p:nvSpPr>
          <p:cNvPr id="9" name="Date Placeholder 3"/>
          <p:cNvSpPr>
            <a:spLocks noGrp="1"/>
          </p:cNvSpPr>
          <p:nvPr>
            <p:ph type="dt" sz="half" idx="10"/>
          </p:nvPr>
        </p:nvSpPr>
        <p:spPr>
          <a:xfrm>
            <a:off x="10155767" y="6532663"/>
            <a:ext cx="1481667" cy="153888"/>
          </a:xfrm>
        </p:spPr>
        <p:txBody>
          <a:bodyPr wrap="square" lIns="0" tIns="0" rIns="0" bIns="0" anchor="b">
            <a:spAutoFit/>
          </a:bodyPr>
          <a:lstStyle>
            <a:lvl1pPr algn="r">
              <a:defRPr sz="1000">
                <a:solidFill>
                  <a:schemeClr val="tx1"/>
                </a:solidFill>
                <a:latin typeface="+mn-lt"/>
                <a:ea typeface="+mn-ea"/>
                <a:cs typeface="+mn-cs"/>
                <a:sym typeface="+mn-lt"/>
              </a:defRPr>
            </a:lvl1pPr>
          </a:lstStyle>
          <a:p>
            <a:pPr defTabSz="1219170">
              <a:defRPr/>
            </a:pPr>
            <a:endParaRPr lang="en-US">
              <a:solidFill>
                <a:prstClr val="black"/>
              </a:solidFill>
            </a:endParaRPr>
          </a:p>
        </p:txBody>
      </p:sp>
    </p:spTree>
    <p:extLst>
      <p:ext uri="{BB962C8B-B14F-4D97-AF65-F5344CB8AC3E}">
        <p14:creationId xmlns:p14="http://schemas.microsoft.com/office/powerpoint/2010/main" val="2373062763"/>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4_After Sales Support layout 1">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04601" y="-12699"/>
            <a:ext cx="774700"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12">
            <a:extLst>
              <a:ext uri="{FF2B5EF4-FFF2-40B4-BE49-F238E27FC236}">
                <a16:creationId xmlns:a16="http://schemas.microsoft.com/office/drawing/2014/main" id="{9334D842-888D-4852-BE61-491A2F8CBB6E}"/>
              </a:ext>
            </a:extLst>
          </p:cNvPr>
          <p:cNvSpPr>
            <a:spLocks noGrp="1"/>
          </p:cNvSpPr>
          <p:nvPr>
            <p:ph type="body" sz="quarter" idx="10"/>
          </p:nvPr>
        </p:nvSpPr>
        <p:spPr>
          <a:xfrm>
            <a:off x="13063" y="1"/>
            <a:ext cx="11377883" cy="761867"/>
          </a:xfrm>
        </p:spPr>
        <p:txBody>
          <a:bodyPr anchor="ctr">
            <a:normAutofit/>
          </a:bodyPr>
          <a:lstStyle>
            <a:lvl1pPr marL="0" indent="0" algn="ctr">
              <a:buNone/>
              <a:defRPr sz="3600" b="1">
                <a:solidFill>
                  <a:schemeClr val="tx1"/>
                </a:solidFill>
                <a:latin typeface="Century Gothic" panose="020B0502020202020204" pitchFamily="34" charset="0"/>
              </a:defRPr>
            </a:lvl1pPr>
          </a:lstStyle>
          <a:p>
            <a:pPr lvl="0"/>
            <a:endParaRPr lang="en-IN" dirty="0"/>
          </a:p>
        </p:txBody>
      </p:sp>
    </p:spTree>
    <p:extLst>
      <p:ext uri="{BB962C8B-B14F-4D97-AF65-F5344CB8AC3E}">
        <p14:creationId xmlns:p14="http://schemas.microsoft.com/office/powerpoint/2010/main" val="36087672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1498599"/>
            <a:ext cx="7315200" cy="3228975"/>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pPr defTabSz="1219170"/>
            <a:fld id="{FCDC3EC3-F503-4593-87FA-632892E2ED25}" type="datetimeFigureOut">
              <a:rPr lang="en-US" smtClean="0">
                <a:solidFill>
                  <a:prstClr val="black">
                    <a:tint val="75000"/>
                  </a:prstClr>
                </a:solidFill>
              </a:rPr>
              <a:pPr defTabSz="1219170"/>
              <a:t>12/1/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1219170"/>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1219170"/>
            <a:fld id="{BA3D8712-1930-4307-AAF2-C718ECB8B04A}" type="slidenum">
              <a:rPr lang="en-US" smtClean="0">
                <a:solidFill>
                  <a:prstClr val="black">
                    <a:tint val="75000"/>
                  </a:prstClr>
                </a:solidFill>
              </a:rPr>
              <a:pPr defTabSz="1219170"/>
              <a:t>‹#›</a:t>
            </a:fld>
            <a:endParaRPr lang="en-US">
              <a:solidFill>
                <a:prstClr val="black">
                  <a:tint val="75000"/>
                </a:prstClr>
              </a:solidFill>
            </a:endParaRPr>
          </a:p>
        </p:txBody>
      </p:sp>
    </p:spTree>
    <p:extLst>
      <p:ext uri="{BB962C8B-B14F-4D97-AF65-F5344CB8AC3E}">
        <p14:creationId xmlns:p14="http://schemas.microsoft.com/office/powerpoint/2010/main" val="364600515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46934" y="148167"/>
            <a:ext cx="622300" cy="620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4F63DCBE-15F8-4AC4-BDDF-F3FCB171ED61}"/>
              </a:ext>
            </a:extLst>
          </p:cNvPr>
          <p:cNvSpPr/>
          <p:nvPr userDrawn="1"/>
        </p:nvSpPr>
        <p:spPr>
          <a:xfrm>
            <a:off x="273051" y="156634"/>
            <a:ext cx="368300" cy="723900"/>
          </a:xfrm>
          <a:prstGeom prst="rect">
            <a:avLst/>
          </a:prstGeom>
          <a:solidFill>
            <a:srgbClr val="0089C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0C7BF96B-52B9-4468-895F-03CC7655E9F6}"/>
              </a:ext>
            </a:extLst>
          </p:cNvPr>
          <p:cNvSpPr/>
          <p:nvPr userDrawn="1"/>
        </p:nvSpPr>
        <p:spPr>
          <a:xfrm>
            <a:off x="1" y="156634"/>
            <a:ext cx="190500" cy="723900"/>
          </a:xfrm>
          <a:prstGeom prst="rect">
            <a:avLst/>
          </a:prstGeom>
          <a:solidFill>
            <a:srgbClr val="0089C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6" name="Straight Connector 5">
            <a:extLst>
              <a:ext uri="{FF2B5EF4-FFF2-40B4-BE49-F238E27FC236}">
                <a16:creationId xmlns:a16="http://schemas.microsoft.com/office/drawing/2014/main" id="{7C1380B8-D9A5-444E-BE82-128F8872EC7B}"/>
              </a:ext>
            </a:extLst>
          </p:cNvPr>
          <p:cNvCxnSpPr/>
          <p:nvPr userDrawn="1"/>
        </p:nvCxnSpPr>
        <p:spPr>
          <a:xfrm>
            <a:off x="723901" y="880533"/>
            <a:ext cx="10723033"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7" name="Title 5">
            <a:extLst>
              <a:ext uri="{FF2B5EF4-FFF2-40B4-BE49-F238E27FC236}">
                <a16:creationId xmlns:a16="http://schemas.microsoft.com/office/drawing/2014/main" id="{AE5712BB-CC71-45AE-9B5B-1FEAFCA32365}"/>
              </a:ext>
            </a:extLst>
          </p:cNvPr>
          <p:cNvSpPr>
            <a:spLocks noGrp="1"/>
          </p:cNvSpPr>
          <p:nvPr>
            <p:ph type="title"/>
          </p:nvPr>
        </p:nvSpPr>
        <p:spPr>
          <a:xfrm>
            <a:off x="723326" y="196625"/>
            <a:ext cx="10314793" cy="662783"/>
          </a:xfrm>
        </p:spPr>
        <p:txBody>
          <a:bodyPr>
            <a:normAutofit/>
          </a:bodyPr>
          <a:lstStyle>
            <a:lvl1pPr>
              <a:defRPr sz="3600"/>
            </a:lvl1pPr>
          </a:lstStyle>
          <a:p>
            <a:r>
              <a:rPr lang="en-US" dirty="0"/>
              <a:t>Click to edit Master title style</a:t>
            </a:r>
          </a:p>
        </p:txBody>
      </p:sp>
    </p:spTree>
    <p:extLst>
      <p:ext uri="{BB962C8B-B14F-4D97-AF65-F5344CB8AC3E}">
        <p14:creationId xmlns:p14="http://schemas.microsoft.com/office/powerpoint/2010/main" val="179454099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graphicFrame>
        <p:nvGraphicFramePr>
          <p:cNvPr id="3" name="Object 9"/>
          <p:cNvGraphicFramePr>
            <a:graphicFrameLocks noChangeAspect="1"/>
          </p:cNvGraphicFramePr>
          <p:nvPr userDrawn="1"/>
        </p:nvGraphicFramePr>
        <p:xfrm>
          <a:off x="9753600" y="4602163"/>
          <a:ext cx="2438400" cy="1827212"/>
        </p:xfrm>
        <a:graphic>
          <a:graphicData uri="http://schemas.openxmlformats.org/presentationml/2006/ole">
            <mc:AlternateContent xmlns:mc="http://schemas.openxmlformats.org/markup-compatibility/2006">
              <mc:Choice xmlns:v="urn:schemas-microsoft-com:vml" Requires="v">
                <p:oleObj name="Image" r:id="rId2" imgW="12990476" imgH="9739683" progId="">
                  <p:embed/>
                </p:oleObj>
              </mc:Choice>
              <mc:Fallback>
                <p:oleObj name="Image" r:id="rId2" imgW="12990476" imgH="9739683" progId="">
                  <p:embed/>
                  <p:pic>
                    <p:nvPicPr>
                      <p:cNvPr id="3" name="Object 9"/>
                      <p:cNvPicPr>
                        <a:picLocks noChangeAspect="1" noChangeArrowheads="1"/>
                      </p:cNvPicPr>
                      <p:nvPr/>
                    </p:nvPicPr>
                    <p:blipFill>
                      <a:blip r:embed="rId3">
                        <a:extLst>
                          <a:ext uri="{28A0092B-C50C-407E-A947-70E740481C1C}">
                            <a14:useLocalDpi xmlns:a14="http://schemas.microsoft.com/office/drawing/2010/main" val="0"/>
                          </a:ext>
                        </a:extLst>
                      </a:blip>
                      <a:srcRect l="80000" t="73351"/>
                      <a:stretch>
                        <a:fillRect/>
                      </a:stretch>
                    </p:blipFill>
                    <p:spPr bwMode="auto">
                      <a:xfrm>
                        <a:off x="9753600" y="4602163"/>
                        <a:ext cx="2438400" cy="1827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4" name="Picture 7" descr="1"/>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6429376"/>
            <a:ext cx="12192000"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9245600" y="228600"/>
            <a:ext cx="2641600"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59" name="Rectangle 2"/>
          <p:cNvSpPr>
            <a:spLocks noGrp="1" noChangeArrowheads="1"/>
          </p:cNvSpPr>
          <p:nvPr>
            <p:ph type="ctrTitle"/>
          </p:nvPr>
        </p:nvSpPr>
        <p:spPr>
          <a:xfrm>
            <a:off x="914400" y="2130426"/>
            <a:ext cx="10363200" cy="1470025"/>
          </a:xfrm>
        </p:spPr>
        <p:txBody>
          <a:bodyPr/>
          <a:lstStyle>
            <a:lvl1pPr algn="ctr">
              <a:defRPr sz="3600" smtClean="0"/>
            </a:lvl1pPr>
          </a:lstStyle>
          <a:p>
            <a:r>
              <a:rPr lang="en-US"/>
              <a:t>Click to edit Master title style</a:t>
            </a:r>
          </a:p>
        </p:txBody>
      </p:sp>
      <p:sp>
        <p:nvSpPr>
          <p:cNvPr id="6" name="Rectangle 6"/>
          <p:cNvSpPr>
            <a:spLocks noGrp="1" noChangeArrowheads="1"/>
          </p:cNvSpPr>
          <p:nvPr>
            <p:ph type="sldNum" sz="quarter" idx="12"/>
          </p:nvPr>
        </p:nvSpPr>
        <p:spPr>
          <a:xfrm>
            <a:off x="11470317" y="6534150"/>
            <a:ext cx="1117600" cy="476250"/>
          </a:xfrm>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6BFE3B5-E25F-4E8A-986C-89A7D407CCC3}" type="slidenum">
              <a:rPr kumimoji="0" lang="en-US" sz="1800" b="0" i="0" u="none" strike="noStrike" kern="1200" cap="none" spc="0" normalizeH="0" baseline="0" noProof="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7252959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6"/>
          <p:cNvSpPr>
            <a:spLocks noGrp="1" noChangeArrowheads="1"/>
          </p:cNvSpPr>
          <p:nvPr>
            <p:ph type="sldNum" sz="quarter" idx="11"/>
          </p:nvPr>
        </p:nvSpPr>
        <p:spPr>
          <a:xfrm>
            <a:off x="11533381" y="6534150"/>
            <a:ext cx="1117600" cy="476250"/>
          </a:xfrm>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B38A799-DF3A-41FB-813B-D4B25A73A16B}" type="slidenum">
              <a:rPr kumimoji="0" lang="en-US" sz="1800" b="0" i="0" u="none" strike="noStrike" kern="1200" cap="none" spc="0" normalizeH="0" baseline="0" noProof="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89857201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1"/>
          </p:nvPr>
        </p:nvSpPr>
        <p:spPr>
          <a:xfrm>
            <a:off x="11449296" y="6534150"/>
            <a:ext cx="1117600" cy="476250"/>
          </a:xfrm>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B38A799-DF3A-41FB-813B-D4B25A73A16B}" type="slidenum">
              <a:rPr kumimoji="0" lang="en-US" sz="1800" b="0" i="0" u="none" strike="noStrike" kern="1200" cap="none" spc="0" normalizeH="0" baseline="0" noProof="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90599614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sldNum" sz="quarter" idx="11"/>
          </p:nvPr>
        </p:nvSpPr>
        <p:spPr>
          <a:xfrm>
            <a:off x="11512360" y="6534150"/>
            <a:ext cx="1117600" cy="476250"/>
          </a:xfrm>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B38A799-DF3A-41FB-813B-D4B25A73A16B}" type="slidenum">
              <a:rPr kumimoji="0" lang="en-US" sz="1800" b="0" i="0" u="none" strike="noStrike" kern="1200" cap="none" spc="0" normalizeH="0" baseline="0" noProof="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7915475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828800" y="1143001"/>
            <a:ext cx="4876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908800" y="1143001"/>
            <a:ext cx="4876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sldNum" sz="quarter" idx="11"/>
          </p:nvPr>
        </p:nvSpPr>
        <p:spPr>
          <a:xfrm>
            <a:off x="11596445" y="6534150"/>
            <a:ext cx="1117600" cy="476250"/>
          </a:xfrm>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B38A799-DF3A-41FB-813B-D4B25A73A16B}" type="slidenum">
              <a:rPr kumimoji="0" lang="en-US" sz="1800" b="0" i="0" u="none" strike="noStrike" kern="1200" cap="none" spc="0" normalizeH="0" baseline="0" noProof="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44372598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sldNum" sz="quarter" idx="11"/>
          </p:nvPr>
        </p:nvSpPr>
        <p:spPr>
          <a:xfrm>
            <a:off x="11533381" y="6534150"/>
            <a:ext cx="1117600" cy="476250"/>
          </a:xfrm>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B38A799-DF3A-41FB-813B-D4B25A73A16B}" type="slidenum">
              <a:rPr kumimoji="0" lang="en-US" sz="1800" b="0" i="0" u="none" strike="noStrike" kern="1200" cap="none" spc="0" normalizeH="0" baseline="0" noProof="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77574379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p:cNvSpPr>
            <a:spLocks noGrp="1" noChangeArrowheads="1"/>
          </p:cNvSpPr>
          <p:nvPr>
            <p:ph type="sldNum" sz="quarter" idx="11"/>
          </p:nvPr>
        </p:nvSpPr>
        <p:spPr>
          <a:xfrm>
            <a:off x="11512360" y="6534150"/>
            <a:ext cx="1117600" cy="476250"/>
          </a:xfrm>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B38A799-DF3A-41FB-813B-D4B25A73A16B}" type="slidenum">
              <a:rPr kumimoji="0" lang="en-US" sz="1800" b="0" i="0" u="none" strike="noStrike" kern="1200" cap="none" spc="0" normalizeH="0" baseline="0" noProof="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80586173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1"/>
          </p:nvPr>
        </p:nvSpPr>
        <p:spPr>
          <a:xfrm>
            <a:off x="11533381" y="6534150"/>
            <a:ext cx="1117600" cy="476250"/>
          </a:xfrm>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B38A799-DF3A-41FB-813B-D4B25A73A16B}" type="slidenum">
              <a:rPr kumimoji="0" lang="en-US" sz="1800" b="0" i="0" u="none" strike="noStrike" kern="1200" cap="none" spc="0" normalizeH="0" baseline="0" noProof="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97315755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1"/>
          </p:nvPr>
        </p:nvSpPr>
        <p:spPr>
          <a:xfrm>
            <a:off x="11554403" y="6534150"/>
            <a:ext cx="1117600" cy="476250"/>
          </a:xfrm>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B38A799-DF3A-41FB-813B-D4B25A73A16B}" type="slidenum">
              <a:rPr kumimoji="0" lang="en-US" sz="1800" b="0" i="0" u="none" strike="noStrike" kern="1200" cap="none" spc="0" normalizeH="0" baseline="0" noProof="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110004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219170"/>
            <a:fld id="{FCDC3EC3-F503-4593-87FA-632892E2ED25}" type="datetimeFigureOut">
              <a:rPr lang="en-US" smtClean="0">
                <a:solidFill>
                  <a:prstClr val="black">
                    <a:tint val="75000"/>
                  </a:prstClr>
                </a:solidFill>
              </a:rPr>
              <a:pPr defTabSz="1219170"/>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21917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219170"/>
            <a:fld id="{BA3D8712-1930-4307-AAF2-C718ECB8B04A}" type="slidenum">
              <a:rPr lang="en-US" smtClean="0">
                <a:solidFill>
                  <a:prstClr val="black">
                    <a:tint val="75000"/>
                  </a:prstClr>
                </a:solidFill>
              </a:rPr>
              <a:pPr defTabSz="1219170"/>
              <a:t>‹#›</a:t>
            </a:fld>
            <a:endParaRPr lang="en-US">
              <a:solidFill>
                <a:prstClr val="black">
                  <a:tint val="75000"/>
                </a:prstClr>
              </a:solidFill>
            </a:endParaRPr>
          </a:p>
        </p:txBody>
      </p:sp>
    </p:spTree>
    <p:extLst>
      <p:ext uri="{BB962C8B-B14F-4D97-AF65-F5344CB8AC3E}">
        <p14:creationId xmlns:p14="http://schemas.microsoft.com/office/powerpoint/2010/main" val="2308380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1"/>
          </p:nvPr>
        </p:nvSpPr>
        <p:spPr>
          <a:xfrm>
            <a:off x="11533381" y="6534150"/>
            <a:ext cx="1117600" cy="476250"/>
          </a:xfrm>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B38A799-DF3A-41FB-813B-D4B25A73A16B}" type="slidenum">
              <a:rPr kumimoji="0" lang="en-US" sz="1800" b="0" i="0" u="none" strike="noStrike" kern="1200" cap="none" spc="0" normalizeH="0" baseline="0" noProof="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2394293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1"/>
          </p:nvPr>
        </p:nvSpPr>
        <p:spPr>
          <a:xfrm>
            <a:off x="11491339" y="6534150"/>
            <a:ext cx="1117600" cy="476250"/>
          </a:xfrm>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B38A799-DF3A-41FB-813B-D4B25A73A16B}" type="slidenum">
              <a:rPr kumimoji="0" lang="en-US" sz="1800" b="0" i="0" u="none" strike="noStrike" kern="1200" cap="none" spc="0" normalizeH="0" baseline="0" noProof="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94965315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6400" y="76201"/>
            <a:ext cx="2489200" cy="55927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828800" y="76201"/>
            <a:ext cx="7264400" cy="55927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1"/>
          </p:nvPr>
        </p:nvSpPr>
        <p:spPr>
          <a:xfrm>
            <a:off x="11554403" y="6534150"/>
            <a:ext cx="1117600" cy="476250"/>
          </a:xfrm>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B38A799-DF3A-41FB-813B-D4B25A73A16B}" type="slidenum">
              <a:rPr kumimoji="0" lang="en-US" sz="1800" b="0" i="0" u="none" strike="noStrike" kern="1200" cap="none" spc="0" normalizeH="0" baseline="0" noProof="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6045128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4"/>
          <p:cNvSpPr>
            <a:spLocks noGrp="1" noChangeArrowheads="1"/>
          </p:cNvSpPr>
          <p:nvPr>
            <p:ph type="dt" sz="half" idx="10"/>
          </p:nvPr>
        </p:nvSpPr>
        <p:spPr>
          <a:xfrm>
            <a:off x="914400" y="6553200"/>
            <a:ext cx="2540000" cy="304800"/>
          </a:xfrm>
          <a:prstGeom prst="rect">
            <a:avLst/>
          </a:prstGeom>
          <a:ln/>
        </p:spPr>
        <p:txBody>
          <a:bodyPr/>
          <a:lstStyle>
            <a:lvl1pPr>
              <a:defRPr>
                <a:solidFill>
                  <a:srgbClr val="0083E6"/>
                </a:solidFill>
                <a:latin typeface="+mn-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1" u="none" strike="noStrike" kern="1200" cap="none" spc="0" normalizeH="0" baseline="0" noProof="0" dirty="0">
              <a:ln>
                <a:noFill/>
              </a:ln>
              <a:solidFill>
                <a:srgbClr val="0083E6"/>
              </a:solidFill>
              <a:effectLst/>
              <a:uLnTx/>
              <a:uFillTx/>
              <a:latin typeface="Arial"/>
              <a:ea typeface="+mn-ea"/>
              <a:cs typeface="+mn-cs"/>
            </a:endParaRPr>
          </a:p>
        </p:txBody>
      </p:sp>
      <p:sp>
        <p:nvSpPr>
          <p:cNvPr id="5" name="Rectangle 5"/>
          <p:cNvSpPr>
            <a:spLocks noGrp="1" noChangeArrowheads="1"/>
          </p:cNvSpPr>
          <p:nvPr>
            <p:ph type="ftr" sz="quarter" idx="11"/>
          </p:nvPr>
        </p:nvSpPr>
        <p:spPr>
          <a:xfrm>
            <a:off x="4165600" y="6553200"/>
            <a:ext cx="3860800" cy="304800"/>
          </a:xfrm>
          <a:prstGeom prst="rect">
            <a:avLst/>
          </a:prstGeom>
          <a:ln/>
        </p:spPr>
        <p:txBody>
          <a:bodyPr/>
          <a:lstStyle>
            <a:lvl1pPr>
              <a:defRPr>
                <a:solidFill>
                  <a:srgbClr val="0083E6"/>
                </a:solidFill>
                <a:latin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1800" b="1" i="1" u="none" strike="noStrike" kern="1200" cap="none" spc="0" normalizeH="0" baseline="0" noProof="0" dirty="0">
              <a:ln>
                <a:noFill/>
              </a:ln>
              <a:solidFill>
                <a:srgbClr val="0083E6"/>
              </a:solidFill>
              <a:effectLst/>
              <a:uLnTx/>
              <a:uFillTx/>
              <a:latin typeface="Arial"/>
              <a:ea typeface="+mn-ea"/>
              <a:cs typeface="+mn-cs"/>
            </a:endParaRPr>
          </a:p>
        </p:txBody>
      </p:sp>
      <p:sp>
        <p:nvSpPr>
          <p:cNvPr id="6" name="Rectangle 6"/>
          <p:cNvSpPr>
            <a:spLocks noGrp="1" noChangeArrowheads="1"/>
          </p:cNvSpPr>
          <p:nvPr>
            <p:ph type="sldNum" sz="quarter" idx="12"/>
          </p:nvPr>
        </p:nvSpPr>
        <p:spPr>
          <a:xfrm>
            <a:off x="10566400" y="6534150"/>
            <a:ext cx="1117600" cy="476250"/>
          </a:xfrm>
          <a:prstGeom prst="rect">
            <a:avLst/>
          </a:prstGeom>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6BFE3B5-E25F-4E8A-986C-89A7D407CCC3}" type="slidenum">
              <a:rPr kumimoji="0" lang="en-US" sz="1800" b="0" i="0" u="none" strike="noStrike" kern="1200" cap="none" spc="0" normalizeH="0" baseline="0" noProof="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67115329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679133" rtl="0" eaLnBrk="1" fontAlgn="auto" latinLnBrk="0" hangingPunct="1">
              <a:lnSpc>
                <a:spcPct val="100000"/>
              </a:lnSpc>
              <a:spcBef>
                <a:spcPts val="0"/>
              </a:spcBef>
              <a:spcAft>
                <a:spcPts val="0"/>
              </a:spcAft>
              <a:buClrTx/>
              <a:buSzTx/>
              <a:buFontTx/>
              <a:buNone/>
              <a:tabLst/>
              <a:defRPr/>
            </a:pPr>
            <a:fld id="{7422662C-4EA5-40CB-AF95-82CA1EC35BEA}" type="slidenum">
              <a:rPr kumimoji="0" 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67913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04087022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5A3C351-DC41-4C36-A399-79F3544B6A78}"/>
              </a:ext>
            </a:extLst>
          </p:cNvPr>
          <p:cNvSpPr>
            <a:spLocks noGrp="1"/>
          </p:cNvSpPr>
          <p:nvPr>
            <p:ph type="sldNum" sz="quarter" idx="12"/>
          </p:nvPr>
        </p:nvSpPr>
        <p:spPr>
          <a:xfrm>
            <a:off x="8739051" y="63547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74C42B1-5A19-486C-A487-15095F4D7BCC}" type="slidenum">
              <a:rPr kumimoji="0" lang="en-IN" sz="1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7" name="Rectangle 2">
            <a:extLst>
              <a:ext uri="{FF2B5EF4-FFF2-40B4-BE49-F238E27FC236}">
                <a16:creationId xmlns:a16="http://schemas.microsoft.com/office/drawing/2014/main" id="{43C3F905-0E8A-4650-B331-BE0A6CCCE670}"/>
              </a:ext>
            </a:extLst>
          </p:cNvPr>
          <p:cNvSpPr>
            <a:spLocks noGrp="1" noChangeArrowheads="1"/>
          </p:cNvSpPr>
          <p:nvPr>
            <p:ph type="title"/>
          </p:nvPr>
        </p:nvSpPr>
        <p:spPr bwMode="auto">
          <a:xfrm>
            <a:off x="457200" y="171451"/>
            <a:ext cx="10639168" cy="520876"/>
          </a:xfrm>
          <a:prstGeom prst="rect">
            <a:avLst/>
          </a:prstGeom>
          <a:noFill/>
          <a:ln w="9525">
            <a:noFill/>
            <a:miter lim="800000"/>
            <a:headEnd/>
            <a:tailEnd/>
          </a:ln>
        </p:spPr>
        <p:txBody>
          <a:bodyPr vert="horz" wrap="square" lIns="91429" tIns="45715" rIns="91429" bIns="45715" numCol="1" anchor="ctr" anchorCtr="0" compatLnSpc="1">
            <a:prstTxWarp prst="textNoShape">
              <a:avLst/>
            </a:prstTxWarp>
          </a:bodyPr>
          <a:lstStyle>
            <a:lvl1pPr>
              <a:defRPr sz="3200"/>
            </a:lvl1pPr>
          </a:lstStyle>
          <a:p>
            <a:pPr lvl="0"/>
            <a:r>
              <a:rPr lang="en-US"/>
              <a:t>Click to edit Master title style</a:t>
            </a:r>
            <a:endParaRPr lang="en-US" dirty="0"/>
          </a:p>
        </p:txBody>
      </p:sp>
      <p:sp>
        <p:nvSpPr>
          <p:cNvPr id="8" name="Rectangle 3">
            <a:extLst>
              <a:ext uri="{FF2B5EF4-FFF2-40B4-BE49-F238E27FC236}">
                <a16:creationId xmlns:a16="http://schemas.microsoft.com/office/drawing/2014/main" id="{320D48BA-C8B2-40B5-B1CA-EF31CAE4AD26}"/>
              </a:ext>
            </a:extLst>
          </p:cNvPr>
          <p:cNvSpPr>
            <a:spLocks noGrp="1" noChangeArrowheads="1"/>
          </p:cNvSpPr>
          <p:nvPr>
            <p:ph idx="1"/>
          </p:nvPr>
        </p:nvSpPr>
        <p:spPr bwMode="auto">
          <a:xfrm>
            <a:off x="431075" y="1371599"/>
            <a:ext cx="11051176" cy="4950817"/>
          </a:xfrm>
          <a:prstGeom prst="rect">
            <a:avLst/>
          </a:prstGeom>
          <a:noFill/>
          <a:ln w="9525">
            <a:noFill/>
            <a:miter lim="800000"/>
            <a:headEnd/>
            <a:tailEnd/>
          </a:ln>
        </p:spPr>
        <p:txBody>
          <a:bodyPr vert="horz" wrap="square" lIns="91429" tIns="45715" rIns="91429" bIns="45715" numCol="1" anchor="t" anchorCtr="0" compatLnSpc="1">
            <a:prstTxWarp prst="textNoShape">
              <a:avLst/>
            </a:prstTxWarp>
          </a:bodyPr>
          <a:lstStyle>
            <a:lvl2pPr>
              <a:defRPr sz="1800"/>
            </a:lvl2pPr>
            <a:lvl3pPr>
              <a:defRPr sz="18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037559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9486E7A4-0D55-4B2E-BDA5-5D79F9ACF32A}"/>
              </a:ext>
            </a:extLst>
          </p:cNvPr>
          <p:cNvCxnSpPr>
            <a:cxnSpLocks/>
          </p:cNvCxnSpPr>
          <p:nvPr userDrawn="1"/>
        </p:nvCxnSpPr>
        <p:spPr>
          <a:xfrm>
            <a:off x="-57159" y="869549"/>
            <a:ext cx="12249159" cy="0"/>
          </a:xfrm>
          <a:prstGeom prst="line">
            <a:avLst/>
          </a:prstGeom>
          <a:ln w="28575">
            <a:solidFill>
              <a:srgbClr val="084964"/>
            </a:solidFill>
          </a:ln>
        </p:spPr>
        <p:style>
          <a:lnRef idx="1">
            <a:schemeClr val="accent1"/>
          </a:lnRef>
          <a:fillRef idx="0">
            <a:schemeClr val="accent1"/>
          </a:fillRef>
          <a:effectRef idx="0">
            <a:schemeClr val="accent1"/>
          </a:effectRef>
          <a:fontRef idx="minor">
            <a:schemeClr val="tx1"/>
          </a:fontRef>
        </p:style>
      </p:cxnSp>
      <p:sp>
        <p:nvSpPr>
          <p:cNvPr id="7" name="Freeform: Shape 6">
            <a:extLst>
              <a:ext uri="{FF2B5EF4-FFF2-40B4-BE49-F238E27FC236}">
                <a16:creationId xmlns:a16="http://schemas.microsoft.com/office/drawing/2014/main" id="{183E6FDB-82DC-4A5E-BB6B-4714A5B7F7FC}"/>
              </a:ext>
            </a:extLst>
          </p:cNvPr>
          <p:cNvSpPr/>
          <p:nvPr userDrawn="1"/>
        </p:nvSpPr>
        <p:spPr>
          <a:xfrm flipV="1">
            <a:off x="65626" y="0"/>
            <a:ext cx="1469718" cy="861388"/>
          </a:xfrm>
          <a:custGeom>
            <a:avLst/>
            <a:gdLst>
              <a:gd name="connsiteX0" fmla="*/ 0 w 1469718"/>
              <a:gd name="connsiteY0" fmla="*/ 861388 h 861388"/>
              <a:gd name="connsiteX1" fmla="*/ 1029084 w 1469718"/>
              <a:gd name="connsiteY1" fmla="*/ 861388 h 861388"/>
              <a:gd name="connsiteX2" fmla="*/ 1469718 w 1469718"/>
              <a:gd name="connsiteY2" fmla="*/ 0 h 861388"/>
              <a:gd name="connsiteX3" fmla="*/ 0 w 1469718"/>
              <a:gd name="connsiteY3" fmla="*/ 0 h 861388"/>
            </a:gdLst>
            <a:ahLst/>
            <a:cxnLst>
              <a:cxn ang="0">
                <a:pos x="connsiteX0" y="connsiteY0"/>
              </a:cxn>
              <a:cxn ang="0">
                <a:pos x="connsiteX1" y="connsiteY1"/>
              </a:cxn>
              <a:cxn ang="0">
                <a:pos x="connsiteX2" y="connsiteY2"/>
              </a:cxn>
              <a:cxn ang="0">
                <a:pos x="connsiteX3" y="connsiteY3"/>
              </a:cxn>
            </a:cxnLst>
            <a:rect l="l" t="t" r="r" b="b"/>
            <a:pathLst>
              <a:path w="1469718" h="861388">
                <a:moveTo>
                  <a:pt x="0" y="861388"/>
                </a:moveTo>
                <a:lnTo>
                  <a:pt x="1029084" y="861388"/>
                </a:lnTo>
                <a:lnTo>
                  <a:pt x="1469718" y="0"/>
                </a:lnTo>
                <a:lnTo>
                  <a:pt x="0" y="0"/>
                </a:lnTo>
                <a:close/>
              </a:path>
            </a:pathLst>
          </a:custGeom>
          <a:solidFill>
            <a:srgbClr val="4CA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Freeform: Shape 8">
            <a:extLst>
              <a:ext uri="{FF2B5EF4-FFF2-40B4-BE49-F238E27FC236}">
                <a16:creationId xmlns:a16="http://schemas.microsoft.com/office/drawing/2014/main" id="{5BA21840-99FE-41A5-80D2-C37DE7F22428}"/>
              </a:ext>
            </a:extLst>
          </p:cNvPr>
          <p:cNvSpPr/>
          <p:nvPr userDrawn="1"/>
        </p:nvSpPr>
        <p:spPr>
          <a:xfrm flipV="1">
            <a:off x="0" y="0"/>
            <a:ext cx="1151668" cy="861388"/>
          </a:xfrm>
          <a:custGeom>
            <a:avLst/>
            <a:gdLst>
              <a:gd name="connsiteX0" fmla="*/ 0 w 1151668"/>
              <a:gd name="connsiteY0" fmla="*/ 861388 h 861388"/>
              <a:gd name="connsiteX1" fmla="*/ 711034 w 1151668"/>
              <a:gd name="connsiteY1" fmla="*/ 861388 h 861388"/>
              <a:gd name="connsiteX2" fmla="*/ 1151668 w 1151668"/>
              <a:gd name="connsiteY2" fmla="*/ 0 h 861388"/>
              <a:gd name="connsiteX3" fmla="*/ 0 w 1151668"/>
              <a:gd name="connsiteY3" fmla="*/ 0 h 861388"/>
            </a:gdLst>
            <a:ahLst/>
            <a:cxnLst>
              <a:cxn ang="0">
                <a:pos x="connsiteX0" y="connsiteY0"/>
              </a:cxn>
              <a:cxn ang="0">
                <a:pos x="connsiteX1" y="connsiteY1"/>
              </a:cxn>
              <a:cxn ang="0">
                <a:pos x="connsiteX2" y="connsiteY2"/>
              </a:cxn>
              <a:cxn ang="0">
                <a:pos x="connsiteX3" y="connsiteY3"/>
              </a:cxn>
            </a:cxnLst>
            <a:rect l="l" t="t" r="r" b="b"/>
            <a:pathLst>
              <a:path w="1151668" h="861388">
                <a:moveTo>
                  <a:pt x="0" y="861388"/>
                </a:moveTo>
                <a:lnTo>
                  <a:pt x="711034" y="861388"/>
                </a:lnTo>
                <a:lnTo>
                  <a:pt x="1151668" y="0"/>
                </a:lnTo>
                <a:lnTo>
                  <a:pt x="0" y="0"/>
                </a:lnTo>
                <a:close/>
              </a:path>
            </a:pathLst>
          </a:custGeom>
          <a:solidFill>
            <a:srgbClr val="084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E0076FA7-8025-4DDE-B34D-42C88E7CFE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47175" y="141390"/>
            <a:ext cx="622040" cy="622040"/>
          </a:xfrm>
          <a:prstGeom prst="rect">
            <a:avLst/>
          </a:prstGeom>
        </p:spPr>
      </p:pic>
    </p:spTree>
    <p:extLst>
      <p:ext uri="{BB962C8B-B14F-4D97-AF65-F5344CB8AC3E}">
        <p14:creationId xmlns:p14="http://schemas.microsoft.com/office/powerpoint/2010/main" val="316707120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9376" y="188640"/>
            <a:ext cx="9753600" cy="792162"/>
          </a:xfrm>
        </p:spPr>
        <p:txBody>
          <a:bodyPr/>
          <a:lstStyle/>
          <a:p>
            <a:r>
              <a:rPr lang="en-US"/>
              <a:t>Click to edit Master title style</a:t>
            </a:r>
          </a:p>
        </p:txBody>
      </p:sp>
    </p:spTree>
    <p:extLst>
      <p:ext uri="{BB962C8B-B14F-4D97-AF65-F5344CB8AC3E}">
        <p14:creationId xmlns:p14="http://schemas.microsoft.com/office/powerpoint/2010/main" val="283814531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6"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tint val="75000"/>
                  </a:srgbClr>
                </a:solidFill>
                <a:effectLst/>
                <a:uLnTx/>
                <a:uFillTx/>
                <a:latin typeface="Calibri" panose="020F0502020204030204"/>
                <a:ea typeface="+mn-ea"/>
                <a:cs typeface="+mn-cs"/>
              </a:rPr>
              <a:t>Corporate Plan FY 21-25   | Feb 2020</a:t>
            </a:r>
          </a:p>
        </p:txBody>
      </p:sp>
      <p:sp>
        <p:nvSpPr>
          <p:cNvPr id="7"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A3D8712-1930-4307-AAF2-C718ECB8B04A}" type="slidenum">
              <a:rPr kumimoji="0" lang="en-US" sz="16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15701" y="273051"/>
            <a:ext cx="622040" cy="622040"/>
          </a:xfrm>
          <a:prstGeom prst="rect">
            <a:avLst/>
          </a:prstGeom>
        </p:spPr>
      </p:pic>
      <p:cxnSp>
        <p:nvCxnSpPr>
          <p:cNvPr id="9" name="Straight Connector 8"/>
          <p:cNvCxnSpPr/>
          <p:nvPr userDrawn="1"/>
        </p:nvCxnSpPr>
        <p:spPr>
          <a:xfrm>
            <a:off x="-6349" y="1184275"/>
            <a:ext cx="12204700" cy="0"/>
          </a:xfrm>
          <a:prstGeom prst="line">
            <a:avLst/>
          </a:prstGeom>
          <a:ln w="635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5B2A55FA-E90E-405D-841A-2B107C8A6ADA}"/>
              </a:ext>
            </a:extLst>
          </p:cNvPr>
          <p:cNvSpPr>
            <a:spLocks noGrp="1"/>
          </p:cNvSpPr>
          <p:nvPr>
            <p:ph type="title"/>
          </p:nvPr>
        </p:nvSpPr>
        <p:spPr>
          <a:xfrm>
            <a:off x="406400" y="123433"/>
            <a:ext cx="10972800" cy="944628"/>
          </a:xfrm>
          <a:prstGeom prst="rect">
            <a:avLst/>
          </a:prstGeom>
        </p:spPr>
        <p:txBody>
          <a:bodyPr vert="horz" lIns="91440" tIns="45720" rIns="91440" bIns="45720" rtlCol="0" anchor="ctr">
            <a:normAutofit/>
          </a:bodyPr>
          <a:lstStyle>
            <a:lvl1pPr algn="l">
              <a:defRPr sz="4266"/>
            </a:lvl1pPr>
          </a:lstStyle>
          <a:p>
            <a:r>
              <a:rPr lang="en-US"/>
              <a:t>Click to edit Master title style</a:t>
            </a:r>
          </a:p>
        </p:txBody>
      </p:sp>
    </p:spTree>
    <p:extLst>
      <p:ext uri="{BB962C8B-B14F-4D97-AF65-F5344CB8AC3E}">
        <p14:creationId xmlns:p14="http://schemas.microsoft.com/office/powerpoint/2010/main" val="423090646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562708" y="1508400"/>
            <a:ext cx="11068061" cy="4590000"/>
          </a:xfrm>
          <a:prstGeom prst="rect">
            <a:avLst/>
          </a:prstGeom>
        </p:spPr>
        <p:txBody>
          <a:bodyPr lIns="0" tIns="0" rIns="0" bIns="0"/>
          <a:lstStyle>
            <a:lvl1pPr marL="0" indent="-173038">
              <a:buClr>
                <a:schemeClr val="tx2"/>
              </a:buClr>
              <a:buFont typeface="Arial" pitchFamily="34" charset="0"/>
              <a:buChar char="•"/>
              <a:tabLst/>
              <a:defRPr b="0"/>
            </a:lvl1pPr>
            <a:lvl2pPr marL="628650" indent="-228600">
              <a:buFont typeface="Arial" pitchFamily="34" charset="0"/>
              <a:buChar char="–"/>
              <a:defRPr/>
            </a:lvl2pPr>
            <a:lvl3pPr marL="1074738" indent="-228600">
              <a:defRPr/>
            </a:lvl3pPr>
            <a:lvl4pPr marL="1545336" indent="-228600">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98838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1307433"/>
            <a:ext cx="2743200" cy="4826636"/>
          </a:xfrm>
        </p:spPr>
        <p:txBody>
          <a:bodyPr vert="eaVert"/>
          <a:lstStyle>
            <a:lvl1pPr>
              <a:defRPr sz="4267"/>
            </a:lvl1pPr>
          </a:lstStyle>
          <a:p>
            <a:r>
              <a:rPr lang="en-US" dirty="0"/>
              <a:t>Click to edit Master title style</a:t>
            </a:r>
          </a:p>
        </p:txBody>
      </p:sp>
      <p:sp>
        <p:nvSpPr>
          <p:cNvPr id="3" name="Vertical Text Placeholder 2"/>
          <p:cNvSpPr>
            <a:spLocks noGrp="1"/>
          </p:cNvSpPr>
          <p:nvPr>
            <p:ph type="body" orient="vert" idx="1"/>
          </p:nvPr>
        </p:nvSpPr>
        <p:spPr>
          <a:xfrm>
            <a:off x="609600" y="1307433"/>
            <a:ext cx="8026400" cy="4826636"/>
          </a:xfrm>
        </p:spPr>
        <p:txBody>
          <a:bodyPr vert="eaVert">
            <a:normAutofit/>
          </a:bodyPr>
          <a:lstStyle>
            <a:lvl1pPr>
              <a:defRPr sz="3200"/>
            </a:lvl1pPr>
            <a:lvl2pPr>
              <a:defRPr sz="2667"/>
            </a:lvl2pPr>
            <a:lvl3pPr>
              <a:defRPr sz="2400"/>
            </a:lvl3pPr>
            <a:lvl4pPr>
              <a:defRPr sz="2133"/>
            </a:lvl4pPr>
            <a:lvl5pPr>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219170"/>
            <a:fld id="{FCDC3EC3-F503-4593-87FA-632892E2ED25}" type="datetimeFigureOut">
              <a:rPr lang="en-US" smtClean="0">
                <a:solidFill>
                  <a:prstClr val="black">
                    <a:tint val="75000"/>
                  </a:prstClr>
                </a:solidFill>
              </a:rPr>
              <a:pPr defTabSz="1219170"/>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21917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219170"/>
            <a:fld id="{BA3D8712-1930-4307-AAF2-C718ECB8B04A}" type="slidenum">
              <a:rPr lang="en-US" smtClean="0">
                <a:solidFill>
                  <a:prstClr val="black">
                    <a:tint val="75000"/>
                  </a:prstClr>
                </a:solidFill>
              </a:rPr>
              <a:pPr defTabSz="1219170"/>
              <a:t>‹#›</a:t>
            </a:fld>
            <a:endParaRPr lang="en-US">
              <a:solidFill>
                <a:prstClr val="black">
                  <a:tint val="75000"/>
                </a:prstClr>
              </a:solidFill>
            </a:endParaRPr>
          </a:p>
        </p:txBody>
      </p:sp>
    </p:spTree>
    <p:extLst>
      <p:ext uri="{BB962C8B-B14F-4D97-AF65-F5344CB8AC3E}">
        <p14:creationId xmlns:p14="http://schemas.microsoft.com/office/powerpoint/2010/main" val="137273614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E41318F-C72C-43DD-8235-6C0EE519A72E}"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287607-390D-4A5C-A193-274F8115C7A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609939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E41318F-C72C-43DD-8235-6C0EE519A72E}"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287607-390D-4A5C-A193-274F8115C7A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15146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E41318F-C72C-43DD-8235-6C0EE519A72E}"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287607-390D-4A5C-A193-274F8115C7A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344421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E41318F-C72C-43DD-8235-6C0EE519A72E}"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287607-390D-4A5C-A193-274F8115C7A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675875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E41318F-C72C-43DD-8235-6C0EE519A72E}"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287607-390D-4A5C-A193-274F8115C7A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193966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E41318F-C72C-43DD-8235-6C0EE519A72E}"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287607-390D-4A5C-A193-274F8115C7A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814847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E41318F-C72C-43DD-8235-6C0EE519A72E}"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287607-390D-4A5C-A193-274F8115C7A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0637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E41318F-C72C-43DD-8235-6C0EE519A72E}"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287607-390D-4A5C-A193-274F8115C7A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805874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E41318F-C72C-43DD-8235-6C0EE519A72E}"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287607-390D-4A5C-A193-274F8115C7A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993694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E41318F-C72C-43DD-8235-6C0EE519A72E}"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287607-390D-4A5C-A193-274F8115C7A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7766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defTabSz="1219170">
              <a:defRPr/>
            </a:pPr>
            <a:fld id="{E65D7EA5-2C5D-45CB-A802-9CED8CA3B0D6}"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1219170">
              <a:defRPr/>
            </a:pPr>
            <a:fld id="{C60D1B56-6946-4E8E-8F52-4CFB660B0662}"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183878685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E41318F-C72C-43DD-8235-6C0EE519A72E}"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287607-390D-4A5C-A193-274F8115C7A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470841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5A3C351-DC41-4C36-A399-79F3544B6A78}"/>
              </a:ext>
            </a:extLst>
          </p:cNvPr>
          <p:cNvSpPr>
            <a:spLocks noGrp="1"/>
          </p:cNvSpPr>
          <p:nvPr>
            <p:ph type="sldNum" sz="quarter" idx="12"/>
          </p:nvPr>
        </p:nvSpPr>
        <p:spPr>
          <a:xfrm>
            <a:off x="8739051" y="63547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C42B1-5A19-486C-A487-15095F4D7BCC}"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2">
            <a:extLst>
              <a:ext uri="{FF2B5EF4-FFF2-40B4-BE49-F238E27FC236}">
                <a16:creationId xmlns:a16="http://schemas.microsoft.com/office/drawing/2014/main" id="{43C3F905-0E8A-4650-B331-BE0A6CCCE670}"/>
              </a:ext>
            </a:extLst>
          </p:cNvPr>
          <p:cNvSpPr>
            <a:spLocks noGrp="1" noChangeArrowheads="1"/>
          </p:cNvSpPr>
          <p:nvPr>
            <p:ph type="title"/>
          </p:nvPr>
        </p:nvSpPr>
        <p:spPr bwMode="auto">
          <a:xfrm>
            <a:off x="457200" y="171451"/>
            <a:ext cx="10639168" cy="520876"/>
          </a:xfrm>
          <a:prstGeom prst="rect">
            <a:avLst/>
          </a:prstGeom>
          <a:noFill/>
          <a:ln w="9525">
            <a:noFill/>
            <a:miter lim="800000"/>
            <a:headEnd/>
            <a:tailEnd/>
          </a:ln>
        </p:spPr>
        <p:txBody>
          <a:bodyPr vert="horz" wrap="square" lIns="91429" tIns="45715" rIns="91429" bIns="45715" numCol="1" anchor="ctr" anchorCtr="0" compatLnSpc="1">
            <a:prstTxWarp prst="textNoShape">
              <a:avLst/>
            </a:prstTxWarp>
          </a:bodyPr>
          <a:lstStyle>
            <a:lvl1pPr>
              <a:defRPr sz="3200"/>
            </a:lvl1pPr>
          </a:lstStyle>
          <a:p>
            <a:pPr lvl="0"/>
            <a:r>
              <a:rPr lang="en-US"/>
              <a:t>Click to edit Master title style</a:t>
            </a:r>
            <a:endParaRPr lang="en-US" dirty="0"/>
          </a:p>
        </p:txBody>
      </p:sp>
      <p:sp>
        <p:nvSpPr>
          <p:cNvPr id="8" name="Rectangle 3">
            <a:extLst>
              <a:ext uri="{FF2B5EF4-FFF2-40B4-BE49-F238E27FC236}">
                <a16:creationId xmlns:a16="http://schemas.microsoft.com/office/drawing/2014/main" id="{320D48BA-C8B2-40B5-B1CA-EF31CAE4AD26}"/>
              </a:ext>
            </a:extLst>
          </p:cNvPr>
          <p:cNvSpPr>
            <a:spLocks noGrp="1" noChangeArrowheads="1"/>
          </p:cNvSpPr>
          <p:nvPr>
            <p:ph idx="1"/>
          </p:nvPr>
        </p:nvSpPr>
        <p:spPr bwMode="auto">
          <a:xfrm>
            <a:off x="431075" y="1371599"/>
            <a:ext cx="11051176" cy="4950817"/>
          </a:xfrm>
          <a:prstGeom prst="rect">
            <a:avLst/>
          </a:prstGeom>
          <a:noFill/>
          <a:ln w="9525">
            <a:noFill/>
            <a:miter lim="800000"/>
            <a:headEnd/>
            <a:tailEnd/>
          </a:ln>
        </p:spPr>
        <p:txBody>
          <a:bodyPr vert="horz" wrap="square" lIns="91429" tIns="45715" rIns="91429" bIns="45715" numCol="1" anchor="t" anchorCtr="0" compatLnSpc="1">
            <a:prstTxWarp prst="textNoShape">
              <a:avLst/>
            </a:prstTxWarp>
          </a:bodyPr>
          <a:lstStyle>
            <a:lvl2pPr>
              <a:defRPr sz="1800"/>
            </a:lvl2pPr>
            <a:lvl3pPr>
              <a:defRPr sz="18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967014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Title and Vertical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381757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23A83-6AE3-4178-A7B0-EB2B384037B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8F5A155-553F-4F08-B19F-D70487C27916}"/>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D996D99-00A4-4C76-A3A8-149B9A8D9224}"/>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20C7F5A2-30E2-4D33-8D94-0F5F50F64D6D}"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85236988-66A6-4CE8-B185-CAE65DCB9A35}"/>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1443799-A1CD-4447-A07F-1B1A5DA75B4D}"/>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386E278-4CEC-4A7E-B1F2-CC86BC75A26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40847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A5850-5688-4860-A10C-493FFA7295E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250D67-8891-426E-AA6D-4C4F74AC636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07A8F5-263F-4CC2-A7F2-92E8901911C7}"/>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20C7F5A2-30E2-4D33-8D94-0F5F50F64D6D}"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B7FD1FCF-EA3B-407C-9F3E-C04B79C972A5}"/>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B171A345-41D1-48E5-9376-170098E1FCFA}"/>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386E278-4CEC-4A7E-B1F2-CC86BC75A26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074522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5548FF-FA83-4DB9-93F8-52737105A321}"/>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BA6F893-F997-4437-A9EE-61EBF08F40A8}"/>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C230623-80FD-4E30-BA6B-60CE46278DC4}"/>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20C7F5A2-30E2-4D33-8D94-0F5F50F64D6D}"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88224C9-9D9B-44A4-A5A0-B75B020D018A}"/>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9FF8DF62-EE72-454F-A2E2-0F4247A38AC7}"/>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386E278-4CEC-4A7E-B1F2-CC86BC75A26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089383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8EF948-B0BD-4EE8-8755-F4FB6281B96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FCD25B-3964-4B5E-A789-F7D192D99EA6}"/>
              </a:ext>
            </a:extLst>
          </p:cNvPr>
          <p:cNvSpPr>
            <a:spLocks noGrp="1"/>
          </p:cNvSpPr>
          <p:nvPr>
            <p:ph sz="half" idx="1"/>
          </p:nvPr>
        </p:nvSpPr>
        <p:spPr>
          <a:xfrm>
            <a:off x="838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932E94D-EC3C-4AE1-A4D2-7682FD62B1E4}"/>
              </a:ext>
            </a:extLst>
          </p:cNvPr>
          <p:cNvSpPr>
            <a:spLocks noGrp="1"/>
          </p:cNvSpPr>
          <p:nvPr>
            <p:ph sz="half" idx="2"/>
          </p:nvPr>
        </p:nvSpPr>
        <p:spPr>
          <a:xfrm>
            <a:off x="6172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A0591CE-D74D-4026-9880-3CD6F40150E1}"/>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20C7F5A2-30E2-4D33-8D94-0F5F50F64D6D}"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D7F0114A-F0EE-4BA5-911A-D6F473479F0C}"/>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3037F4CE-EF30-47A4-B858-54A5BA1FAA5B}"/>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386E278-4CEC-4A7E-B1F2-CC86BC75A26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42738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E9ABA-BFA3-4207-B0D4-0DF189D1752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DC45318-A974-4EF6-AEFC-92420C7C972F}"/>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8D3B1951-0E33-4302-B282-F1C78040A0E8}"/>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8970316-D961-4DA9-9094-BAFAB0FC2868}"/>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5EE553DA-CCCC-4313-82C2-13AF46A95189}"/>
              </a:ext>
            </a:extLst>
          </p:cNvPr>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E3FB5A4-1C2C-4080-B435-8D12C794C4B0}"/>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20C7F5A2-30E2-4D33-8D94-0F5F50F64D6D}"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a:extLst>
              <a:ext uri="{FF2B5EF4-FFF2-40B4-BE49-F238E27FC236}">
                <a16:creationId xmlns:a16="http://schemas.microsoft.com/office/drawing/2014/main" id="{E7B2F50C-1C85-4068-89E0-BA7BD07BC7DA}"/>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a:extLst>
              <a:ext uri="{FF2B5EF4-FFF2-40B4-BE49-F238E27FC236}">
                <a16:creationId xmlns:a16="http://schemas.microsoft.com/office/drawing/2014/main" id="{D186D4AE-CD86-46F8-B5FD-C8F658EE62E1}"/>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386E278-4CEC-4A7E-B1F2-CC86BC75A26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495881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F145F-B5E7-4244-BD13-C8DA91F931A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233AFCA-2D20-4B35-9AAA-08BBD468E6BA}"/>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20C7F5A2-30E2-4D33-8D94-0F5F50F64D6D}"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a:extLst>
              <a:ext uri="{FF2B5EF4-FFF2-40B4-BE49-F238E27FC236}">
                <a16:creationId xmlns:a16="http://schemas.microsoft.com/office/drawing/2014/main" id="{3AE26E09-C732-45E0-AC8D-2923B9E3BCA3}"/>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E9FCD77D-0321-4DD4-ADD4-1BF9D6EE9CC3}"/>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386E278-4CEC-4A7E-B1F2-CC86BC75A26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42766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24C2A32-CFF5-41D3-BE3E-43947B570072}"/>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20C7F5A2-30E2-4D33-8D94-0F5F50F64D6D}"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52835474-311B-4F59-A8C5-F8C820F536C4}"/>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9560F83D-EA37-4571-91CC-603F62FD5998}"/>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386E278-4CEC-4A7E-B1F2-CC86BC75A26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29260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normAutofit/>
          </a:bodyPr>
          <a:lstStyle>
            <a:lvl1pPr>
              <a:defRPr sz="3467"/>
            </a:lvl1pPr>
            <a:lvl2pPr>
              <a:defRPr sz="2667"/>
            </a:lvl2pPr>
            <a:lvl3pPr>
              <a:defRPr sz="2400"/>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defTabSz="1219170">
              <a:defRPr/>
            </a:pPr>
            <a:fld id="{C8B62E72-270E-4D7C-A599-2683C17CC5FC}"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1219170">
              <a:defRPr/>
            </a:pPr>
            <a:fld id="{F970A214-5104-48F5-8D84-09594AFA1104}"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208292529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B1331-45F5-4789-A4DE-857F1F3855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E2F9E1C-463E-420A-A9BF-D026CEE8CA8E}"/>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F6AE29-A4C3-43F0-B110-767EED418A23}"/>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E04E1E8-AAF4-46CB-A1D5-592F5DA5633F}"/>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20C7F5A2-30E2-4D33-8D94-0F5F50F64D6D}"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4ECD37E4-C37E-4F99-B13B-DE873EFB0F59}"/>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9E411807-6648-4CCB-8063-68ED1F858205}"/>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386E278-4CEC-4A7E-B1F2-CC86BC75A26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372036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966EE-D5E2-4A28-BD1D-A9BF3D88355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705F49C-8E3B-419D-A84D-D07A89F3B7E5}"/>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A7DA1DA7-7573-4984-8841-BF6B736E19B9}"/>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01C63C1-9909-4BE1-A052-36ABA5E584D9}"/>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20C7F5A2-30E2-4D33-8D94-0F5F50F64D6D}"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5AE44F61-F4BC-422D-ADC9-E68F09FC0695}"/>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FDB3DB2C-98A9-491D-AA4D-CD016CA16F27}"/>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386E278-4CEC-4A7E-B1F2-CC86BC75A26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455537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725CB9-63C9-4473-AF85-7C2A35E3528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9A936B6-F4CF-42D2-9A26-D3BC3A05F1FA}"/>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30279E-8ACF-47FB-B880-394A9CB704F0}"/>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20C7F5A2-30E2-4D33-8D94-0F5F50F64D6D}"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9B82ED9-CD76-4995-88CB-64E9A6974C57}"/>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F3F9040-BF16-4628-A0BA-393C1123256D}"/>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386E278-4CEC-4A7E-B1F2-CC86BC75A26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789412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8A0D80C-4E7F-4CC7-9E6A-7E84502F56C1}"/>
              </a:ext>
            </a:extLst>
          </p:cNvPr>
          <p:cNvSpPr>
            <a:spLocks noGrp="1"/>
          </p:cNvSpPr>
          <p:nvPr>
            <p:ph type="title" orient="vert"/>
          </p:nvPr>
        </p:nvSpPr>
        <p:spPr>
          <a:xfrm>
            <a:off x="8724901" y="365126"/>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E3B3CBD-6E16-41B7-832A-989FFCDDC0DA}"/>
              </a:ext>
            </a:extLst>
          </p:cNvPr>
          <p:cNvSpPr>
            <a:spLocks noGrp="1"/>
          </p:cNvSpPr>
          <p:nvPr>
            <p:ph type="body" orient="vert" idx="1"/>
          </p:nvPr>
        </p:nvSpPr>
        <p:spPr>
          <a:xfrm>
            <a:off x="838201" y="365126"/>
            <a:ext cx="7734300" cy="581183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D33738-9C36-4AFB-9C0F-63FCC9D1464D}"/>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20C7F5A2-30E2-4D33-8D94-0F5F50F64D6D}"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B1A21280-DC8C-43CA-B031-360A81B50167}"/>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9EE5AB67-8655-45A8-B39D-076EBCCC8BFE}"/>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386E278-4CEC-4A7E-B1F2-CC86BC75A26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589990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bg1">
            <a:alpha val="66000"/>
          </a:schemeClr>
        </a:solidFill>
        <a:effectLst/>
      </p:bgPr>
    </p:bg>
    <p:spTree>
      <p:nvGrpSpPr>
        <p:cNvPr id="1" name=""/>
        <p:cNvGrpSpPr/>
        <p:nvPr/>
      </p:nvGrpSpPr>
      <p:grpSpPr>
        <a:xfrm>
          <a:off x="0" y="0"/>
          <a:ext cx="0" cy="0"/>
          <a:chOff x="0" y="0"/>
          <a:chExt cx="0" cy="0"/>
        </a:xfrm>
      </p:grpSpPr>
      <p:pic>
        <p:nvPicPr>
          <p:cNvPr id="6" name="Picture 5" descr="A truck parked on the side of a road&#10;&#10;Description generated with high confidence">
            <a:extLst>
              <a:ext uri="{FF2B5EF4-FFF2-40B4-BE49-F238E27FC236}">
                <a16:creationId xmlns:a16="http://schemas.microsoft.com/office/drawing/2014/main" id="{A0DABE20-88FE-405F-8B2B-004B30F12F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46"/>
          <a:stretch/>
        </p:blipFill>
        <p:spPr>
          <a:xfrm>
            <a:off x="0" y="1084230"/>
            <a:ext cx="12192000" cy="4840020"/>
          </a:xfrm>
          <a:prstGeom prst="rect">
            <a:avLst/>
          </a:prstGeom>
        </p:spPr>
      </p:pic>
      <p:sp>
        <p:nvSpPr>
          <p:cNvPr id="7" name="Rectangle 6">
            <a:extLst>
              <a:ext uri="{FF2B5EF4-FFF2-40B4-BE49-F238E27FC236}">
                <a16:creationId xmlns:a16="http://schemas.microsoft.com/office/drawing/2014/main" id="{2C9E0808-8906-4E45-A3AD-2FBE1C73752F}"/>
              </a:ext>
            </a:extLst>
          </p:cNvPr>
          <p:cNvSpPr/>
          <p:nvPr userDrawn="1"/>
        </p:nvSpPr>
        <p:spPr>
          <a:xfrm>
            <a:off x="0" y="0"/>
            <a:ext cx="12192000" cy="6858000"/>
          </a:xfrm>
          <a:prstGeom prst="rect">
            <a:avLst/>
          </a:prstGeom>
          <a:solidFill>
            <a:schemeClr val="bg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4807530"/>
      </p:ext>
    </p:extLst>
  </p:cSld>
  <p:clrMapOvr>
    <a:overrideClrMapping bg1="lt1" tx1="dk1" bg2="lt2" tx2="dk2" accent1="accent1" accent2="accent2" accent3="accent3" accent4="accent4" accent5="accent5" accent6="accent6" hlink="hlink" folHlink="folHlink"/>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562708" y="1508400"/>
            <a:ext cx="11068061" cy="4590000"/>
          </a:xfrm>
          <a:prstGeom prst="rect">
            <a:avLst/>
          </a:prstGeom>
        </p:spPr>
        <p:txBody>
          <a:bodyPr lIns="0" tIns="0" rIns="0" bIns="0"/>
          <a:lstStyle>
            <a:lvl1pPr marL="0" indent="-173034">
              <a:buClr>
                <a:schemeClr val="tx2"/>
              </a:buClr>
              <a:buFont typeface="Arial" pitchFamily="34" charset="0"/>
              <a:buChar char="•"/>
              <a:tabLst/>
              <a:defRPr b="0"/>
            </a:lvl1pPr>
            <a:lvl2pPr marL="628635" indent="-228594">
              <a:buFont typeface="Arial" pitchFamily="34" charset="0"/>
              <a:buChar char="–"/>
              <a:defRPr/>
            </a:lvl2pPr>
            <a:lvl3pPr marL="1074712" indent="-228594">
              <a:defRPr/>
            </a:lvl3pPr>
            <a:lvl4pPr marL="1545297" indent="-228594">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340439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1">
            <a:lumMod val="95000"/>
            <a:alpha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7614" y="3043730"/>
            <a:ext cx="5472863" cy="2137871"/>
          </a:xfrm>
        </p:spPr>
        <p:txBody>
          <a:bodyPr lIns="0" tIns="0" rIns="0" bIns="0" anchor="b" anchorCtr="0">
            <a:noAutofit/>
          </a:bodyPr>
          <a:lstStyle>
            <a:lvl1pPr algn="l">
              <a:defRPr lang="en-US" sz="4000" b="0" kern="1200" smtClean="0">
                <a:solidFill>
                  <a:schemeClr val="tx1">
                    <a:lumMod val="75000"/>
                    <a:lumOff val="25000"/>
                  </a:schemeClr>
                </a:solidFill>
                <a:latin typeface="Arial" panose="020B0604020202020204" pitchFamily="34" charset="0"/>
                <a:ea typeface="+mj-ea"/>
                <a:cs typeface="Arial" panose="020B0604020202020204" pitchFamily="34" charset="0"/>
              </a:defRPr>
            </a:lvl1pPr>
          </a:lstStyle>
          <a:p>
            <a:r>
              <a:rPr lang="en-US" dirty="0"/>
              <a:t>CLICK TO EDIT</a:t>
            </a:r>
          </a:p>
        </p:txBody>
      </p:sp>
      <p:sp>
        <p:nvSpPr>
          <p:cNvPr id="4" name="Date Placeholder 3"/>
          <p:cNvSpPr>
            <a:spLocks noGrp="1"/>
          </p:cNvSpPr>
          <p:nvPr>
            <p:ph type="dt" sz="half" idx="10"/>
          </p:nvPr>
        </p:nvSpPr>
        <p:spPr/>
        <p:txBody>
          <a:bodyPr/>
          <a:lstStyle/>
          <a:p>
            <a:pPr marL="0" marR="0" lvl="0" indent="0" algn="l" defTabSz="1218956" rtl="0" eaLnBrk="1" fontAlgn="auto" latinLnBrk="0" hangingPunct="1">
              <a:lnSpc>
                <a:spcPct val="100000"/>
              </a:lnSpc>
              <a:spcBef>
                <a:spcPts val="0"/>
              </a:spcBef>
              <a:spcAft>
                <a:spcPts val="0"/>
              </a:spcAft>
              <a:buClrTx/>
              <a:buSzTx/>
              <a:buFontTx/>
              <a:buNone/>
              <a:tabLst/>
              <a:defRPr/>
            </a:pPr>
            <a:fld id="{9578D6DB-6798-42D2-B9AD-FC6F1C72FC30}"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1218956"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121895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1218956" rtl="0" eaLnBrk="1" fontAlgn="auto" latinLnBrk="0" hangingPunct="1">
              <a:lnSpc>
                <a:spcPct val="100000"/>
              </a:lnSpc>
              <a:spcBef>
                <a:spcPts val="0"/>
              </a:spcBef>
              <a:spcAft>
                <a:spcPts val="0"/>
              </a:spcAft>
              <a:buClrTx/>
              <a:buSzTx/>
              <a:buFontTx/>
              <a:buNone/>
              <a:tabLst/>
              <a:defRPr/>
            </a:pPr>
            <a:fld id="{E5EDE275-BE14-4364-AEA2-5F5667C0FD4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1218956"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Content Placeholder 6"/>
          <p:cNvSpPr>
            <a:spLocks noGrp="1"/>
          </p:cNvSpPr>
          <p:nvPr>
            <p:ph sz="quarter" idx="13"/>
          </p:nvPr>
        </p:nvSpPr>
        <p:spPr>
          <a:xfrm>
            <a:off x="614298" y="5357597"/>
            <a:ext cx="5481703" cy="738404"/>
          </a:xfrm>
        </p:spPr>
        <p:txBody>
          <a:bodyPr lIns="0" rIns="0">
            <a:normAutofit/>
          </a:bodyPr>
          <a:lstStyle>
            <a:lvl1pPr marL="0" indent="0">
              <a:buFontTx/>
              <a:buNone/>
              <a:defRPr sz="1800">
                <a:latin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162447063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5 Images">
    <p:spTree>
      <p:nvGrpSpPr>
        <p:cNvPr id="1" name=""/>
        <p:cNvGrpSpPr/>
        <p:nvPr/>
      </p:nvGrpSpPr>
      <p:grpSpPr>
        <a:xfrm>
          <a:off x="0" y="0"/>
          <a:ext cx="0" cy="0"/>
          <a:chOff x="0" y="0"/>
          <a:chExt cx="0" cy="0"/>
        </a:xfrm>
      </p:grpSpPr>
      <p:cxnSp>
        <p:nvCxnSpPr>
          <p:cNvPr id="20" name="直線コネクタ 6">
            <a:extLst>
              <a:ext uri="{FF2B5EF4-FFF2-40B4-BE49-F238E27FC236}">
                <a16:creationId xmlns:a16="http://schemas.microsoft.com/office/drawing/2014/main" id="{A1536FA8-83DC-4723-98E4-EA84177B4A63}"/>
              </a:ext>
            </a:extLst>
          </p:cNvPr>
          <p:cNvCxnSpPr/>
          <p:nvPr userDrawn="1"/>
        </p:nvCxnSpPr>
        <p:spPr>
          <a:xfrm>
            <a:off x="18919" y="848713"/>
            <a:ext cx="11387253" cy="0"/>
          </a:xfrm>
          <a:prstGeom prst="line">
            <a:avLst/>
          </a:prstGeom>
          <a:ln w="12700">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1389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700"/>
            <a:ext cx="12192000" cy="1179288"/>
          </a:xfrm>
          <a:prstGeom prst="rect">
            <a:avLst/>
          </a:prstGeom>
        </p:spPr>
        <p:txBody>
          <a:bodyPr anchor="ctr"/>
          <a:lstStyle>
            <a:lvl1pPr algn="l">
              <a:defRPr>
                <a:solidFill>
                  <a:schemeClr val="bg1"/>
                </a:solidFill>
              </a:defRPr>
            </a:lvl1pPr>
          </a:lstStyle>
          <a:p>
            <a:r>
              <a:rPr lang="en-US" altLang="ko-KR" dirty="0"/>
              <a:t> Click to edit title</a:t>
            </a:r>
            <a:endParaRPr lang="ko-KR" altLang="en-US" dirty="0"/>
          </a:p>
        </p:txBody>
      </p:sp>
      <p:sp>
        <p:nvSpPr>
          <p:cNvPr id="4" name="Content Placeholder 2"/>
          <p:cNvSpPr>
            <a:spLocks noGrp="1"/>
          </p:cNvSpPr>
          <p:nvPr>
            <p:ph idx="1"/>
          </p:nvPr>
        </p:nvSpPr>
        <p:spPr>
          <a:xfrm>
            <a:off x="527381" y="1508788"/>
            <a:ext cx="11329259" cy="614197"/>
          </a:xfrm>
          <a:prstGeom prst="rect">
            <a:avLst/>
          </a:prstGeom>
        </p:spPr>
        <p:txBody>
          <a:bodyPr anchor="ctr"/>
          <a:lstStyle>
            <a:lvl1pPr marL="0" indent="0">
              <a:buNone/>
              <a:defRPr sz="2667">
                <a:solidFill>
                  <a:schemeClr val="tx1">
                    <a:lumMod val="75000"/>
                    <a:lumOff val="25000"/>
                  </a:schemeClr>
                </a:solidFill>
              </a:defRPr>
            </a:lvl1pPr>
          </a:lstStyle>
          <a:p>
            <a:pPr lvl="0"/>
            <a:r>
              <a:rPr lang="en-US" altLang="ko-KR" dirty="0"/>
              <a:t>Click to edit Master text styles</a:t>
            </a:r>
          </a:p>
        </p:txBody>
      </p:sp>
      <p:sp>
        <p:nvSpPr>
          <p:cNvPr id="5" name="Content Placeholder 2"/>
          <p:cNvSpPr>
            <a:spLocks noGrp="1"/>
          </p:cNvSpPr>
          <p:nvPr>
            <p:ph idx="10"/>
          </p:nvPr>
        </p:nvSpPr>
        <p:spPr>
          <a:xfrm>
            <a:off x="541173" y="2411015"/>
            <a:ext cx="11329259" cy="3994316"/>
          </a:xfrm>
          <a:prstGeom prst="rect">
            <a:avLst/>
          </a:prstGeom>
        </p:spPr>
        <p:txBody>
          <a:bodyPr lIns="396000" anchor="t"/>
          <a:lstStyle>
            <a:lvl1pPr marL="0" indent="0">
              <a:buNone/>
              <a:defRPr sz="1867">
                <a:solidFill>
                  <a:schemeClr val="tx1">
                    <a:lumMod val="75000"/>
                    <a:lumOff val="25000"/>
                  </a:schemeClr>
                </a:solidFill>
              </a:defRPr>
            </a:lvl1pPr>
          </a:lstStyle>
          <a:p>
            <a:pPr lvl="0"/>
            <a:r>
              <a:rPr lang="en-US" altLang="ko-KR" dirty="0"/>
              <a:t>Click to edit Master text styles</a:t>
            </a:r>
          </a:p>
        </p:txBody>
      </p:sp>
    </p:spTree>
    <p:extLst>
      <p:ext uri="{BB962C8B-B14F-4D97-AF65-F5344CB8AC3E}">
        <p14:creationId xmlns:p14="http://schemas.microsoft.com/office/powerpoint/2010/main" val="357586503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2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159564" y="0"/>
            <a:ext cx="10032437" cy="1179288"/>
          </a:xfrm>
          <a:prstGeom prst="rect">
            <a:avLst/>
          </a:prstGeom>
        </p:spPr>
        <p:txBody>
          <a:bodyPr anchor="ctr"/>
          <a:lstStyle>
            <a:lvl1pPr algn="l">
              <a:defRPr>
                <a:solidFill>
                  <a:schemeClr val="tx1">
                    <a:lumMod val="75000"/>
                    <a:lumOff val="25000"/>
                  </a:schemeClr>
                </a:solidFill>
              </a:defRPr>
            </a:lvl1pPr>
          </a:lstStyle>
          <a:p>
            <a:r>
              <a:rPr lang="en-US" altLang="ko-KR" dirty="0"/>
              <a:t> Click to edit title</a:t>
            </a:r>
            <a:endParaRPr lang="ko-KR" altLang="en-US" dirty="0"/>
          </a:p>
        </p:txBody>
      </p:sp>
      <p:sp>
        <p:nvSpPr>
          <p:cNvPr id="4" name="Content Placeholder 2"/>
          <p:cNvSpPr>
            <a:spLocks noGrp="1"/>
          </p:cNvSpPr>
          <p:nvPr>
            <p:ph idx="1"/>
          </p:nvPr>
        </p:nvSpPr>
        <p:spPr>
          <a:xfrm>
            <a:off x="2639616" y="1316767"/>
            <a:ext cx="9217024" cy="614197"/>
          </a:xfrm>
          <a:prstGeom prst="rect">
            <a:avLst/>
          </a:prstGeom>
        </p:spPr>
        <p:txBody>
          <a:bodyPr anchor="ctr"/>
          <a:lstStyle>
            <a:lvl1pPr marL="0" indent="0">
              <a:buNone/>
              <a:defRPr sz="2667">
                <a:solidFill>
                  <a:schemeClr val="tx1">
                    <a:lumMod val="75000"/>
                    <a:lumOff val="25000"/>
                  </a:schemeClr>
                </a:solidFill>
              </a:defRPr>
            </a:lvl1pPr>
          </a:lstStyle>
          <a:p>
            <a:pPr lvl="0"/>
            <a:r>
              <a:rPr lang="en-US" altLang="ko-KR" dirty="0"/>
              <a:t>Click to edit Master text styles</a:t>
            </a:r>
          </a:p>
        </p:txBody>
      </p:sp>
      <p:sp>
        <p:nvSpPr>
          <p:cNvPr id="5" name="Content Placeholder 2"/>
          <p:cNvSpPr>
            <a:spLocks noGrp="1"/>
          </p:cNvSpPr>
          <p:nvPr>
            <p:ph idx="10"/>
          </p:nvPr>
        </p:nvSpPr>
        <p:spPr>
          <a:xfrm>
            <a:off x="2653408" y="2218995"/>
            <a:ext cx="9217024" cy="3994316"/>
          </a:xfrm>
          <a:prstGeom prst="rect">
            <a:avLst/>
          </a:prstGeom>
        </p:spPr>
        <p:txBody>
          <a:bodyPr lIns="396000" anchor="t"/>
          <a:lstStyle>
            <a:lvl1pPr marL="0" indent="0">
              <a:buNone/>
              <a:defRPr sz="1867">
                <a:solidFill>
                  <a:schemeClr val="tx1">
                    <a:lumMod val="75000"/>
                    <a:lumOff val="25000"/>
                  </a:schemeClr>
                </a:solidFill>
              </a:defRPr>
            </a:lvl1pPr>
          </a:lstStyle>
          <a:p>
            <a:pPr lvl="0"/>
            <a:r>
              <a:rPr lang="en-US" altLang="ko-KR" dirty="0"/>
              <a:t>Click to edit Master text styles</a:t>
            </a:r>
          </a:p>
        </p:txBody>
      </p:sp>
    </p:spTree>
    <p:extLst>
      <p:ext uri="{BB962C8B-B14F-4D97-AF65-F5344CB8AC3E}">
        <p14:creationId xmlns:p14="http://schemas.microsoft.com/office/powerpoint/2010/main" val="24428763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Rectangle: Top Corners Snipped 6"/>
          <p:cNvSpPr/>
          <p:nvPr userDrawn="1"/>
        </p:nvSpPr>
        <p:spPr>
          <a:xfrm rot="10800000">
            <a:off x="609600" y="0"/>
            <a:ext cx="9144000" cy="1026584"/>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1" name="Content Placeholder 10"/>
          <p:cNvSpPr>
            <a:spLocks noGrp="1"/>
          </p:cNvSpPr>
          <p:nvPr>
            <p:ph sz="quarter" idx="11"/>
          </p:nvPr>
        </p:nvSpPr>
        <p:spPr>
          <a:xfrm>
            <a:off x="711201" y="-6932"/>
            <a:ext cx="9042399" cy="1034451"/>
          </a:xfrm>
        </p:spPr>
        <p:txBody>
          <a:bodyPr anchor="ctr">
            <a:normAutofit/>
          </a:bodyPr>
          <a:lstStyle>
            <a:lvl1pPr marL="0" indent="0">
              <a:buNone/>
              <a:defRPr sz="4267" b="0" i="0">
                <a:latin typeface="Century Gothic" panose="020B0502020202020204" pitchFamily="34" charset="0"/>
              </a:defRPr>
            </a:lvl1pPr>
          </a:lstStyle>
          <a:p>
            <a:pPr lvl="0"/>
            <a:endParaRPr lang="en-US" dirty="0"/>
          </a:p>
        </p:txBody>
      </p:sp>
    </p:spTree>
    <p:extLst>
      <p:ext uri="{BB962C8B-B14F-4D97-AF65-F5344CB8AC3E}">
        <p14:creationId xmlns:p14="http://schemas.microsoft.com/office/powerpoint/2010/main" val="394208085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764D6-38DE-497E-B82B-95949E4D814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E38B936A-20BA-443F-960B-38960E780B83}"/>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2BEF29C4-F7C3-4F16-A2F5-D690265EF502}"/>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EE11086-EAE5-4F52-803E-90BAAB47F4F9}"/>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D37ED54F-C0E0-4327-AA76-3A8FDADEE26D}"/>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582578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5F92F-7CA9-4F96-AEC8-E29C070EB29D}"/>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8FDCD90B-8748-46C0-A39A-83D749C480E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042CE235-7349-42E1-AB38-7AC55822D56F}"/>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8617B389-79D2-47D6-BF35-81BE2E6F2667}"/>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614B614E-D52C-4BF5-A25B-907CA51814E3}"/>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95795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3E923C-E081-49EC-8815-24B40F324C74}"/>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1BF0E967-4598-4946-B527-F50ED393D305}"/>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EBEE93E-91EC-43BF-92F6-24887EEF504E}"/>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BE68E5E0-6997-40C9-9BB4-835E7FD2CB02}"/>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BAD0D191-9805-4359-968B-3EBFF4C0DE7D}"/>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164167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54B0E-5124-49A2-97C6-213894691261}"/>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A3144B28-A531-4B96-A5BD-D76D480B7225}"/>
              </a:ext>
            </a:extLst>
          </p:cNvPr>
          <p:cNvSpPr>
            <a:spLocks noGrp="1"/>
          </p:cNvSpPr>
          <p:nvPr>
            <p:ph sz="half" idx="1"/>
          </p:nvPr>
        </p:nvSpPr>
        <p:spPr>
          <a:xfrm>
            <a:off x="838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B6556715-F048-4F5C-9E7B-D225352E0239}"/>
              </a:ext>
            </a:extLst>
          </p:cNvPr>
          <p:cNvSpPr>
            <a:spLocks noGrp="1"/>
          </p:cNvSpPr>
          <p:nvPr>
            <p:ph sz="half" idx="2"/>
          </p:nvPr>
        </p:nvSpPr>
        <p:spPr>
          <a:xfrm>
            <a:off x="6172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D511371F-901B-48F0-8F7C-96D91C9881BA}"/>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DE687A46-0477-4B3E-8AB1-1E3EDAAB4416}"/>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A535483C-01F0-4D5F-9CDE-FAD26A64AB01}"/>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463690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024AE-A9C1-4CA1-8B2D-C0EE8459225C}"/>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0AA6F267-47B9-4E84-BD12-EEE84FF07C08}"/>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5AF247F-2B33-42A4-8A88-DCF6D660A428}"/>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513F1F4D-3B07-4C3C-9702-87652934A417}"/>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C8A5831-9AD3-425B-842C-5715CF0A7ED4}"/>
              </a:ext>
            </a:extLst>
          </p:cNvPr>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933D6844-4FCD-4CA6-A8D5-1A8463C7AC20}"/>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a:extLst>
              <a:ext uri="{FF2B5EF4-FFF2-40B4-BE49-F238E27FC236}">
                <a16:creationId xmlns:a16="http://schemas.microsoft.com/office/drawing/2014/main" id="{9CD26751-DFBD-4BEF-80BD-AABC2EB6C547}"/>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a:extLst>
              <a:ext uri="{FF2B5EF4-FFF2-40B4-BE49-F238E27FC236}">
                <a16:creationId xmlns:a16="http://schemas.microsoft.com/office/drawing/2014/main" id="{DB06D8D9-3A9A-4706-8D62-C802D60D0662}"/>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826699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9AC5D0-92BC-4B98-900A-B94B9147956B}"/>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A2D6C20C-418F-4678-AD29-ED2815ADC6F9}"/>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a:extLst>
              <a:ext uri="{FF2B5EF4-FFF2-40B4-BE49-F238E27FC236}">
                <a16:creationId xmlns:a16="http://schemas.microsoft.com/office/drawing/2014/main" id="{A0BDA317-FA33-4A56-A0C1-5AEF70246C4D}"/>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88CBBA03-8C0E-410D-8C42-430BE935A7D3}"/>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575015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25E38B3-E889-4DB3-820E-54DFD32ACE47}"/>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124E1DC2-C96C-4C0E-BD93-399EF94667AC}"/>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E6B30C26-8A1E-4B0D-AD82-9AC43BF5B6A9}"/>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195922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8FC8E-F877-4222-8530-B2B3042225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B3A79765-2F60-4217-8BF1-D614A52E5FF9}"/>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4F89B0FC-4E8D-40F1-BCFD-0A9716CD433A}"/>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422179C-8367-40E5-A94A-C685B74D64F2}"/>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34032FD4-F19B-41DE-A373-9B1A8CBF2228}"/>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68C6BB32-7A7A-464C-B514-FB6BAD2BDDCA}"/>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539635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90FF4-610F-478E-93CB-754FE1A569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0F8DE0B3-24C7-4F2F-AB55-1A9A935D4DDD}"/>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IN"/>
          </a:p>
        </p:txBody>
      </p:sp>
      <p:sp>
        <p:nvSpPr>
          <p:cNvPr id="4" name="Text Placeholder 3">
            <a:extLst>
              <a:ext uri="{FF2B5EF4-FFF2-40B4-BE49-F238E27FC236}">
                <a16:creationId xmlns:a16="http://schemas.microsoft.com/office/drawing/2014/main" id="{C53DF26B-6362-4E3B-882A-3C9C984D43EA}"/>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CAB8532-B2D1-4EF0-91F7-D0F863E683D8}"/>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17F583DE-AC6B-4923-AE93-6C6E995A2C99}"/>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D94054E0-4213-4264-AFE5-4CAF12F1CE3C}"/>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311582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4C8BE-D996-41B0-8F5E-4260BC1F0DFB}"/>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F8389269-6036-418B-8E18-D1F4E22086B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3356243-E002-4107-9B1F-FE462C381AC0}"/>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824BC12-8819-4C7C-8448-CBAE03E52348}"/>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4D1F2319-6FB6-4B7C-A79D-C7DBBFC3EB91}"/>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16776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965325"/>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65325"/>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defTabSz="1219170">
              <a:defRPr/>
            </a:pPr>
            <a:fld id="{789458C6-2302-41DA-8C2F-9F46DF7A5E15}"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1219170">
              <a:defRPr/>
            </a:pPr>
            <a:fld id="{1A4E2FE4-294A-4870-ABB0-DB3FA88BBDBA}"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143153103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D5671D9-93C3-4207-A019-F384D868E6F5}"/>
              </a:ext>
            </a:extLst>
          </p:cNvPr>
          <p:cNvSpPr>
            <a:spLocks noGrp="1"/>
          </p:cNvSpPr>
          <p:nvPr>
            <p:ph type="title" orient="vert"/>
          </p:nvPr>
        </p:nvSpPr>
        <p:spPr>
          <a:xfrm>
            <a:off x="8724901" y="365126"/>
            <a:ext cx="2628900" cy="5811839"/>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2EBED4F8-60C6-4C02-9702-B3B407607945}"/>
              </a:ext>
            </a:extLst>
          </p:cNvPr>
          <p:cNvSpPr>
            <a:spLocks noGrp="1"/>
          </p:cNvSpPr>
          <p:nvPr>
            <p:ph type="body" orient="vert" idx="1"/>
          </p:nvPr>
        </p:nvSpPr>
        <p:spPr>
          <a:xfrm>
            <a:off x="838201" y="365126"/>
            <a:ext cx="7734300" cy="581183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968EEFC-C49D-4E54-853B-BB51F69A7DEB}"/>
              </a:ext>
            </a:extLst>
          </p:cNvPr>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BAE040C3-8135-4EEE-968B-C73A9A6DD886}"/>
              </a:ext>
            </a:extLst>
          </p:cNvPr>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83F7D5FA-C22A-4CC2-8CC2-2F1F1824BE0B}"/>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594661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246811"/>
            <a:ext cx="9144000" cy="727575"/>
          </a:xfrm>
          <a:prstGeom prst="rect">
            <a:avLst/>
          </a:prstGeom>
        </p:spPr>
        <p:txBody>
          <a:bodyPr anchor="b"/>
          <a:lstStyle>
            <a:lvl1pPr algn="ctr">
              <a:defRPr sz="4399"/>
            </a:lvl1pPr>
          </a:lstStyle>
          <a:p>
            <a:r>
              <a:rPr lang="en-US"/>
              <a:t>Click to edit Master title style</a:t>
            </a:r>
            <a:endParaRPr lang="en-IN" dirty="0"/>
          </a:p>
        </p:txBody>
      </p:sp>
      <p:sp>
        <p:nvSpPr>
          <p:cNvPr id="3" name="Subtitle 2"/>
          <p:cNvSpPr>
            <a:spLocks noGrp="1"/>
          </p:cNvSpPr>
          <p:nvPr>
            <p:ph type="subTitle" idx="1"/>
          </p:nvPr>
        </p:nvSpPr>
        <p:spPr>
          <a:xfrm>
            <a:off x="1524000" y="3602041"/>
            <a:ext cx="9144000" cy="525825"/>
          </a:xfrm>
          <a:prstGeom prst="rect">
            <a:avLst/>
          </a:prstGeom>
        </p:spPr>
        <p:txBody>
          <a:bodyPr/>
          <a:lstStyle>
            <a:lvl1pPr marL="0" indent="0" algn="ctr">
              <a:buNone/>
              <a:defRPr sz="2399"/>
            </a:lvl1pPr>
            <a:lvl2pPr marL="457051" indent="0" algn="ctr">
              <a:buNone/>
              <a:defRPr sz="1999"/>
            </a:lvl2pPr>
            <a:lvl3pPr marL="914104" indent="0" algn="ctr">
              <a:buNone/>
              <a:defRPr sz="1799"/>
            </a:lvl3pPr>
            <a:lvl4pPr marL="1371155" indent="0" algn="ctr">
              <a:buNone/>
              <a:defRPr sz="1600"/>
            </a:lvl4pPr>
            <a:lvl5pPr marL="1828205"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Click to edit Master subtitle style</a:t>
            </a:r>
            <a:endParaRPr lang="en-IN" dirty="0"/>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fld id="{83CDDF50-2691-4A96-A320-FAE26882475A}" type="datetimeFigureOut">
              <a:rPr kumimoji="0" lang="en-IN" sz="1799"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104" rtl="0" eaLnBrk="1" fontAlgn="auto" latinLnBrk="0" hangingPunct="1">
                <a:lnSpc>
                  <a:spcPct val="100000"/>
                </a:lnSpc>
                <a:spcBef>
                  <a:spcPts val="0"/>
                </a:spcBef>
                <a:spcAft>
                  <a:spcPts val="0"/>
                </a:spcAft>
                <a:buClrTx/>
                <a:buSzTx/>
                <a:buFontTx/>
                <a:buNone/>
                <a:tabLst/>
                <a:defRPr/>
              </a:pPr>
              <a:t>01-12-2022</a:t>
            </a:fld>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marL="0" marR="0" lvl="0" indent="0" algn="r" defTabSz="914104" rtl="0" eaLnBrk="1" fontAlgn="auto" latinLnBrk="0" hangingPunct="1">
              <a:lnSpc>
                <a:spcPct val="100000"/>
              </a:lnSpc>
              <a:spcBef>
                <a:spcPts val="0"/>
              </a:spcBef>
              <a:spcAft>
                <a:spcPts val="0"/>
              </a:spcAft>
              <a:buClrTx/>
              <a:buSzTx/>
              <a:buFontTx/>
              <a:buNone/>
              <a:tabLst/>
              <a:defRPr/>
            </a:pPr>
            <a:fld id="{E74C42B1-5A19-486C-A487-15095F4D7BCC}"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104"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434170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31076" y="6363518"/>
            <a:ext cx="27432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fld id="{83CDDF50-2691-4A96-A320-FAE26882475A}" type="datetimeFigureOut">
              <a:rPr kumimoji="0" lang="en-IN" sz="1799"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104" rtl="0" eaLnBrk="1" fontAlgn="auto" latinLnBrk="0" hangingPunct="1">
                <a:lnSpc>
                  <a:spcPct val="100000"/>
                </a:lnSpc>
                <a:spcBef>
                  <a:spcPts val="0"/>
                </a:spcBef>
                <a:spcAft>
                  <a:spcPts val="0"/>
                </a:spcAft>
                <a:buClrTx/>
                <a:buSzTx/>
                <a:buFontTx/>
                <a:buNone/>
                <a:tabLst/>
                <a:defRPr/>
              </a:pPr>
              <a:t>01-12-2022</a:t>
            </a:fld>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a:xfrm>
            <a:off x="8739051" y="6354718"/>
            <a:ext cx="2743200" cy="365125"/>
          </a:xfrm>
          <a:prstGeom prst="rect">
            <a:avLst/>
          </a:prstGeom>
        </p:spPr>
        <p:txBody>
          <a:bodyPr/>
          <a:lstStyle/>
          <a:p>
            <a:pPr marL="0" marR="0" lvl="0" indent="0" algn="r" defTabSz="914104" rtl="0" eaLnBrk="1" fontAlgn="auto" latinLnBrk="0" hangingPunct="1">
              <a:lnSpc>
                <a:spcPct val="100000"/>
              </a:lnSpc>
              <a:spcBef>
                <a:spcPts val="0"/>
              </a:spcBef>
              <a:spcAft>
                <a:spcPts val="0"/>
              </a:spcAft>
              <a:buClrTx/>
              <a:buSzTx/>
              <a:buFontTx/>
              <a:buNone/>
              <a:tabLst/>
              <a:defRPr/>
            </a:pPr>
            <a:fld id="{E74C42B1-5A19-486C-A487-15095F4D7BCC}"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104"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
        <p:nvSpPr>
          <p:cNvPr id="8" name="Rectangle 3"/>
          <p:cNvSpPr>
            <a:spLocks noGrp="1" noChangeArrowheads="1"/>
          </p:cNvSpPr>
          <p:nvPr>
            <p:ph idx="1"/>
          </p:nvPr>
        </p:nvSpPr>
        <p:spPr bwMode="auto">
          <a:xfrm>
            <a:off x="431075" y="1371601"/>
            <a:ext cx="11051176" cy="4950817"/>
          </a:xfrm>
          <a:prstGeom prst="rect">
            <a:avLst/>
          </a:prstGeom>
          <a:noFill/>
          <a:ln w="9525">
            <a:noFill/>
            <a:miter lim="800000"/>
          </a:ln>
        </p:spPr>
        <p:txBody>
          <a:bodyPr vert="horz" wrap="square" lIns="91429" tIns="45715" rIns="91429" bIns="45715" numCol="1" anchor="t" anchorCtr="0" compatLnSpc="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097602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49" y="1709741"/>
            <a:ext cx="10515600" cy="2852737"/>
          </a:xfrm>
          <a:prstGeom prst="rect">
            <a:avLst/>
          </a:prstGeom>
        </p:spPr>
        <p:txBody>
          <a:bodyPr anchor="ctr"/>
          <a:lstStyle>
            <a:lvl1pPr algn="ctr">
              <a:defRPr sz="4399"/>
            </a:lvl1pPr>
          </a:lstStyle>
          <a:p>
            <a:r>
              <a:rPr lang="en-US"/>
              <a:t>Click to edit Master title style</a:t>
            </a:r>
            <a:endParaRPr lang="en-IN" dirty="0"/>
          </a:p>
        </p:txBody>
      </p:sp>
      <p:sp>
        <p:nvSpPr>
          <p:cNvPr id="3" name="Text Placeholder 2"/>
          <p:cNvSpPr>
            <a:spLocks noGrp="1"/>
          </p:cNvSpPr>
          <p:nvPr>
            <p:ph type="body" idx="1"/>
          </p:nvPr>
        </p:nvSpPr>
        <p:spPr>
          <a:xfrm>
            <a:off x="831849" y="4589465"/>
            <a:ext cx="10515600" cy="1500187"/>
          </a:xfrm>
          <a:prstGeom prst="rect">
            <a:avLst/>
          </a:prstGeom>
        </p:spPr>
        <p:txBody>
          <a:bodyPr anchor="ctr"/>
          <a:lstStyle>
            <a:lvl1pPr marL="0" indent="0" algn="ctr">
              <a:buNone/>
              <a:defRPr sz="2399">
                <a:solidFill>
                  <a:schemeClr val="tx1">
                    <a:tint val="75000"/>
                  </a:schemeClr>
                </a:solidFill>
              </a:defRPr>
            </a:lvl1pPr>
            <a:lvl2pPr marL="457051" indent="0">
              <a:buNone/>
              <a:defRPr sz="1999">
                <a:solidFill>
                  <a:schemeClr val="tx1">
                    <a:tint val="75000"/>
                  </a:schemeClr>
                </a:solidFill>
              </a:defRPr>
            </a:lvl2pPr>
            <a:lvl3pPr marL="914104" indent="0">
              <a:buNone/>
              <a:defRPr sz="1799">
                <a:solidFill>
                  <a:schemeClr val="tx1">
                    <a:tint val="75000"/>
                  </a:schemeClr>
                </a:solidFill>
              </a:defRPr>
            </a:lvl3pPr>
            <a:lvl4pPr marL="1371155" indent="0">
              <a:buNone/>
              <a:defRPr sz="1600">
                <a:solidFill>
                  <a:schemeClr val="tx1">
                    <a:tint val="75000"/>
                  </a:schemeClr>
                </a:solidFill>
              </a:defRPr>
            </a:lvl4pPr>
            <a:lvl5pPr marL="1828205" indent="0">
              <a:buNone/>
              <a:defRPr sz="1600">
                <a:solidFill>
                  <a:schemeClr val="tx1">
                    <a:tint val="75000"/>
                  </a:schemeClr>
                </a:solidFill>
              </a:defRPr>
            </a:lvl5pPr>
            <a:lvl6pPr marL="2285258" indent="0">
              <a:buNone/>
              <a:defRPr sz="1600">
                <a:solidFill>
                  <a:schemeClr val="tx1">
                    <a:tint val="75000"/>
                  </a:schemeClr>
                </a:solidFill>
              </a:defRPr>
            </a:lvl6pPr>
            <a:lvl7pPr marL="2742309" indent="0">
              <a:buNone/>
              <a:defRPr sz="1600">
                <a:solidFill>
                  <a:schemeClr val="tx1">
                    <a:tint val="75000"/>
                  </a:schemeClr>
                </a:solidFill>
              </a:defRPr>
            </a:lvl7pPr>
            <a:lvl8pPr marL="3199360" indent="0">
              <a:buNone/>
              <a:defRPr sz="1600">
                <a:solidFill>
                  <a:schemeClr val="tx1">
                    <a:tint val="75000"/>
                  </a:schemeClr>
                </a:solidFill>
              </a:defRPr>
            </a:lvl8pPr>
            <a:lvl9pPr marL="3656411"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fld id="{83CDDF50-2691-4A96-A320-FAE26882475A}" type="datetimeFigureOut">
              <a:rPr kumimoji="0" lang="en-IN" sz="1799"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104" rtl="0" eaLnBrk="1" fontAlgn="auto" latinLnBrk="0" hangingPunct="1">
                <a:lnSpc>
                  <a:spcPct val="100000"/>
                </a:lnSpc>
                <a:spcBef>
                  <a:spcPts val="0"/>
                </a:spcBef>
                <a:spcAft>
                  <a:spcPts val="0"/>
                </a:spcAft>
                <a:buClrTx/>
                <a:buSzTx/>
                <a:buFontTx/>
                <a:buNone/>
                <a:tabLst/>
                <a:defRPr/>
              </a:pPr>
              <a:t>01-12-2022</a:t>
            </a:fld>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marL="0" marR="0" lvl="0" indent="0" algn="r" defTabSz="914104" rtl="0" eaLnBrk="1" fontAlgn="auto" latinLnBrk="0" hangingPunct="1">
              <a:lnSpc>
                <a:spcPct val="100000"/>
              </a:lnSpc>
              <a:spcBef>
                <a:spcPts val="0"/>
              </a:spcBef>
              <a:spcAft>
                <a:spcPts val="0"/>
              </a:spcAft>
              <a:buClrTx/>
              <a:buSzTx/>
              <a:buFontTx/>
              <a:buNone/>
              <a:tabLst/>
              <a:defRPr/>
            </a:pPr>
            <a:fld id="{E74C42B1-5A19-486C-A487-15095F4D7BCC}"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104"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7951707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81001" y="1348669"/>
            <a:ext cx="5418911" cy="4817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199" y="1348670"/>
            <a:ext cx="5638803" cy="48169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a:xfrm>
            <a:off x="381000" y="6356352"/>
            <a:ext cx="27432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fld id="{83CDDF50-2691-4A96-A320-FAE26882475A}" type="datetimeFigureOut">
              <a:rPr kumimoji="0" lang="en-IN" sz="1799"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104" rtl="0" eaLnBrk="1" fontAlgn="auto" latinLnBrk="0" hangingPunct="1">
                <a:lnSpc>
                  <a:spcPct val="100000"/>
                </a:lnSpc>
                <a:spcBef>
                  <a:spcPts val="0"/>
                </a:spcBef>
                <a:spcAft>
                  <a:spcPts val="0"/>
                </a:spcAft>
                <a:buClrTx/>
                <a:buSzTx/>
                <a:buFontTx/>
                <a:buNone/>
                <a:tabLst/>
                <a:defRPr/>
              </a:pPr>
              <a:t>01-12-2022</a:t>
            </a:fld>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2"/>
          </p:nvPr>
        </p:nvSpPr>
        <p:spPr>
          <a:xfrm>
            <a:off x="9067800" y="6356352"/>
            <a:ext cx="2743200" cy="365125"/>
          </a:xfrm>
          <a:prstGeom prst="rect">
            <a:avLst/>
          </a:prstGeom>
        </p:spPr>
        <p:txBody>
          <a:bodyPr/>
          <a:lstStyle/>
          <a:p>
            <a:pPr marL="0" marR="0" lvl="0" indent="0" algn="r" defTabSz="914104" rtl="0" eaLnBrk="1" fontAlgn="auto" latinLnBrk="0" hangingPunct="1">
              <a:lnSpc>
                <a:spcPct val="100000"/>
              </a:lnSpc>
              <a:spcBef>
                <a:spcPts val="0"/>
              </a:spcBef>
              <a:spcAft>
                <a:spcPts val="0"/>
              </a:spcAft>
              <a:buClrTx/>
              <a:buSzTx/>
              <a:buFontTx/>
              <a:buNone/>
              <a:tabLst/>
              <a:defRPr/>
            </a:pPr>
            <a:fld id="{E74C42B1-5A19-486C-A487-15095F4D7BCC}"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104"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Tree>
    <p:extLst>
      <p:ext uri="{BB962C8B-B14F-4D97-AF65-F5344CB8AC3E}">
        <p14:creationId xmlns:p14="http://schemas.microsoft.com/office/powerpoint/2010/main" val="349271902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1001" y="1295334"/>
            <a:ext cx="5418911" cy="368911"/>
          </a:xfrm>
          <a:prstGeom prst="rect">
            <a:avLst/>
          </a:prstGeom>
        </p:spPr>
        <p:txBody>
          <a:bodyPr anchor="b"/>
          <a:lstStyle>
            <a:lvl1pPr marL="0" indent="0">
              <a:buNone/>
              <a:defRPr sz="2399" b="1"/>
            </a:lvl1pPr>
            <a:lvl2pPr marL="457051" indent="0">
              <a:buNone/>
              <a:defRPr sz="1999" b="1"/>
            </a:lvl2pPr>
            <a:lvl3pPr marL="914104" indent="0">
              <a:buNone/>
              <a:defRPr sz="1799" b="1"/>
            </a:lvl3pPr>
            <a:lvl4pPr marL="1371155" indent="0">
              <a:buNone/>
              <a:defRPr sz="1600" b="1"/>
            </a:lvl4pPr>
            <a:lvl5pPr marL="1828205" indent="0">
              <a:buNone/>
              <a:defRPr sz="1600" b="1"/>
            </a:lvl5pPr>
            <a:lvl6pPr marL="2285258" indent="0">
              <a:buNone/>
              <a:defRPr sz="1600" b="1"/>
            </a:lvl6pPr>
            <a:lvl7pPr marL="2742309" indent="0">
              <a:buNone/>
              <a:defRPr sz="1600" b="1"/>
            </a:lvl7pPr>
            <a:lvl8pPr marL="3199360" indent="0">
              <a:buNone/>
              <a:defRPr sz="1600" b="1"/>
            </a:lvl8pPr>
            <a:lvl9pPr marL="3656411" indent="0">
              <a:buNone/>
              <a:defRPr sz="1600" b="1"/>
            </a:lvl9pPr>
          </a:lstStyle>
          <a:p>
            <a:pPr lvl="0"/>
            <a:r>
              <a:rPr lang="en-US"/>
              <a:t>Edit Master text styles</a:t>
            </a:r>
          </a:p>
        </p:txBody>
      </p:sp>
      <p:sp>
        <p:nvSpPr>
          <p:cNvPr id="5" name="Text Placeholder 4"/>
          <p:cNvSpPr>
            <a:spLocks noGrp="1"/>
          </p:cNvSpPr>
          <p:nvPr>
            <p:ph type="body" sz="quarter" idx="3"/>
          </p:nvPr>
        </p:nvSpPr>
        <p:spPr>
          <a:xfrm>
            <a:off x="6172200" y="1330578"/>
            <a:ext cx="5638800" cy="368911"/>
          </a:xfrm>
          <a:prstGeom prst="rect">
            <a:avLst/>
          </a:prstGeom>
        </p:spPr>
        <p:txBody>
          <a:bodyPr anchor="b"/>
          <a:lstStyle>
            <a:lvl1pPr marL="0" indent="0">
              <a:buNone/>
              <a:defRPr sz="2399" b="1"/>
            </a:lvl1pPr>
            <a:lvl2pPr marL="457051" indent="0">
              <a:buNone/>
              <a:defRPr sz="1999" b="1"/>
            </a:lvl2pPr>
            <a:lvl3pPr marL="914104" indent="0">
              <a:buNone/>
              <a:defRPr sz="1799" b="1"/>
            </a:lvl3pPr>
            <a:lvl4pPr marL="1371155" indent="0">
              <a:buNone/>
              <a:defRPr sz="1600" b="1"/>
            </a:lvl4pPr>
            <a:lvl5pPr marL="1828205" indent="0">
              <a:buNone/>
              <a:defRPr sz="1600" b="1"/>
            </a:lvl5pPr>
            <a:lvl6pPr marL="2285258" indent="0">
              <a:buNone/>
              <a:defRPr sz="1600" b="1"/>
            </a:lvl6pPr>
            <a:lvl7pPr marL="2742309" indent="0">
              <a:buNone/>
              <a:defRPr sz="1600" b="1"/>
            </a:lvl7pPr>
            <a:lvl8pPr marL="3199360" indent="0">
              <a:buNone/>
              <a:defRPr sz="1600" b="1"/>
            </a:lvl8pPr>
            <a:lvl9pPr marL="3656411" indent="0">
              <a:buNone/>
              <a:defRPr sz="1600" b="1"/>
            </a:lvl9pPr>
          </a:lstStyle>
          <a:p>
            <a:pPr lvl="0"/>
            <a:r>
              <a:rPr lang="en-US"/>
              <a:t>Edit Master text styles</a:t>
            </a:r>
          </a:p>
        </p:txBody>
      </p:sp>
      <p:sp>
        <p:nvSpPr>
          <p:cNvPr id="10"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
        <p:nvSpPr>
          <p:cNvPr id="11" name="Content Placeholder 2"/>
          <p:cNvSpPr>
            <a:spLocks noGrp="1"/>
          </p:cNvSpPr>
          <p:nvPr>
            <p:ph sz="half" idx="10"/>
          </p:nvPr>
        </p:nvSpPr>
        <p:spPr>
          <a:xfrm>
            <a:off x="381001" y="1854926"/>
            <a:ext cx="5418911" cy="431074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2" name="Content Placeholder 3"/>
          <p:cNvSpPr>
            <a:spLocks noGrp="1"/>
          </p:cNvSpPr>
          <p:nvPr>
            <p:ph sz="half" idx="2"/>
          </p:nvPr>
        </p:nvSpPr>
        <p:spPr>
          <a:xfrm>
            <a:off x="6172199" y="1854926"/>
            <a:ext cx="5638803" cy="431074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3" name="Date Placeholder 4"/>
          <p:cNvSpPr>
            <a:spLocks noGrp="1"/>
          </p:cNvSpPr>
          <p:nvPr>
            <p:ph type="dt" sz="half" idx="11"/>
          </p:nvPr>
        </p:nvSpPr>
        <p:spPr>
          <a:xfrm>
            <a:off x="381000" y="6356352"/>
            <a:ext cx="27432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fld id="{83CDDF50-2691-4A96-A320-FAE26882475A}" type="datetimeFigureOut">
              <a:rPr kumimoji="0" lang="en-IN" sz="1799"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104" rtl="0" eaLnBrk="1" fontAlgn="auto" latinLnBrk="0" hangingPunct="1">
                <a:lnSpc>
                  <a:spcPct val="100000"/>
                </a:lnSpc>
                <a:spcBef>
                  <a:spcPts val="0"/>
                </a:spcBef>
                <a:spcAft>
                  <a:spcPts val="0"/>
                </a:spcAft>
                <a:buClrTx/>
                <a:buSzTx/>
                <a:buFontTx/>
                <a:buNone/>
                <a:tabLst/>
                <a:defRPr/>
              </a:pPr>
              <a:t>01-12-2022</a:t>
            </a:fld>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14" name="Footer Placeholder 5"/>
          <p:cNvSpPr>
            <a:spLocks noGrp="1"/>
          </p:cNvSpPr>
          <p:nvPr>
            <p:ph type="ftr" sz="quarter" idx="12"/>
          </p:nvPr>
        </p:nvSpPr>
        <p:spPr>
          <a:xfrm>
            <a:off x="4038600" y="6356352"/>
            <a:ext cx="41148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15" name="Slide Number Placeholder 6"/>
          <p:cNvSpPr>
            <a:spLocks noGrp="1"/>
          </p:cNvSpPr>
          <p:nvPr>
            <p:ph type="sldNum" sz="quarter" idx="13"/>
          </p:nvPr>
        </p:nvSpPr>
        <p:spPr>
          <a:xfrm>
            <a:off x="9067800" y="6356352"/>
            <a:ext cx="2743200" cy="365125"/>
          </a:xfrm>
          <a:prstGeom prst="rect">
            <a:avLst/>
          </a:prstGeom>
        </p:spPr>
        <p:txBody>
          <a:bodyPr/>
          <a:lstStyle/>
          <a:p>
            <a:pPr marL="0" marR="0" lvl="0" indent="0" algn="r" defTabSz="914104" rtl="0" eaLnBrk="1" fontAlgn="auto" latinLnBrk="0" hangingPunct="1">
              <a:lnSpc>
                <a:spcPct val="100000"/>
              </a:lnSpc>
              <a:spcBef>
                <a:spcPts val="0"/>
              </a:spcBef>
              <a:spcAft>
                <a:spcPts val="0"/>
              </a:spcAft>
              <a:buClrTx/>
              <a:buSzTx/>
              <a:buFontTx/>
              <a:buNone/>
              <a:tabLst/>
              <a:defRPr/>
            </a:pPr>
            <a:fld id="{E74C42B1-5A19-486C-A487-15095F4D7BCC}"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104"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678679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
        <p:nvSpPr>
          <p:cNvPr id="11" name="Date Placeholder 4"/>
          <p:cNvSpPr>
            <a:spLocks noGrp="1"/>
          </p:cNvSpPr>
          <p:nvPr>
            <p:ph type="dt" sz="half" idx="11"/>
          </p:nvPr>
        </p:nvSpPr>
        <p:spPr>
          <a:xfrm>
            <a:off x="381000" y="6356352"/>
            <a:ext cx="27432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fld id="{83CDDF50-2691-4A96-A320-FAE26882475A}" type="datetimeFigureOut">
              <a:rPr kumimoji="0" lang="en-IN" sz="1799"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104" rtl="0" eaLnBrk="1" fontAlgn="auto" latinLnBrk="0" hangingPunct="1">
                <a:lnSpc>
                  <a:spcPct val="100000"/>
                </a:lnSpc>
                <a:spcBef>
                  <a:spcPts val="0"/>
                </a:spcBef>
                <a:spcAft>
                  <a:spcPts val="0"/>
                </a:spcAft>
                <a:buClrTx/>
                <a:buSzTx/>
                <a:buFontTx/>
                <a:buNone/>
                <a:tabLst/>
                <a:defRPr/>
              </a:pPr>
              <a:t>01-12-2022</a:t>
            </a:fld>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12" name="Footer Placeholder 5"/>
          <p:cNvSpPr>
            <a:spLocks noGrp="1"/>
          </p:cNvSpPr>
          <p:nvPr>
            <p:ph type="ftr" sz="quarter" idx="12"/>
          </p:nvPr>
        </p:nvSpPr>
        <p:spPr>
          <a:xfrm>
            <a:off x="4038600" y="6356352"/>
            <a:ext cx="41148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13" name="Slide Number Placeholder 6"/>
          <p:cNvSpPr>
            <a:spLocks noGrp="1"/>
          </p:cNvSpPr>
          <p:nvPr>
            <p:ph type="sldNum" sz="quarter" idx="13"/>
          </p:nvPr>
        </p:nvSpPr>
        <p:spPr>
          <a:xfrm>
            <a:off x="9067800" y="6356352"/>
            <a:ext cx="2743200" cy="365125"/>
          </a:xfrm>
          <a:prstGeom prst="rect">
            <a:avLst/>
          </a:prstGeom>
        </p:spPr>
        <p:txBody>
          <a:bodyPr/>
          <a:lstStyle/>
          <a:p>
            <a:pPr marL="0" marR="0" lvl="0" indent="0" algn="r" defTabSz="914104" rtl="0" eaLnBrk="1" fontAlgn="auto" latinLnBrk="0" hangingPunct="1">
              <a:lnSpc>
                <a:spcPct val="100000"/>
              </a:lnSpc>
              <a:spcBef>
                <a:spcPts val="0"/>
              </a:spcBef>
              <a:spcAft>
                <a:spcPts val="0"/>
              </a:spcAft>
              <a:buClrTx/>
              <a:buSzTx/>
              <a:buFontTx/>
              <a:buNone/>
              <a:tabLst/>
              <a:defRPr/>
            </a:pPr>
            <a:fld id="{E74C42B1-5A19-486C-A487-15095F4D7BCC}"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104"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4017593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36564" y="1423851"/>
            <a:ext cx="4932272" cy="638675"/>
          </a:xfrm>
          <a:prstGeom prst="rect">
            <a:avLst/>
          </a:prstGeom>
        </p:spPr>
        <p:txBody>
          <a:bodyPr anchor="b"/>
          <a:lstStyle>
            <a:lvl1pPr>
              <a:defRPr sz="2799"/>
            </a:lvl1pPr>
          </a:lstStyle>
          <a:p>
            <a:r>
              <a:rPr lang="en-US"/>
              <a:t>Click to edit Master title style</a:t>
            </a:r>
            <a:endParaRPr lang="en-IN" dirty="0"/>
          </a:p>
        </p:txBody>
      </p:sp>
      <p:sp>
        <p:nvSpPr>
          <p:cNvPr id="3" name="Content Placeholder 2"/>
          <p:cNvSpPr>
            <a:spLocks noGrp="1"/>
          </p:cNvSpPr>
          <p:nvPr>
            <p:ph idx="1"/>
          </p:nvPr>
        </p:nvSpPr>
        <p:spPr>
          <a:xfrm>
            <a:off x="5786846" y="1423853"/>
            <a:ext cx="5968591" cy="4794068"/>
          </a:xfrm>
          <a:prstGeom prst="rect">
            <a:avLst/>
          </a:prstGeo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4" name="Text Placeholder 3"/>
          <p:cNvSpPr>
            <a:spLocks noGrp="1"/>
          </p:cNvSpPr>
          <p:nvPr>
            <p:ph type="body" sz="half" idx="2"/>
          </p:nvPr>
        </p:nvSpPr>
        <p:spPr>
          <a:xfrm>
            <a:off x="436564" y="2049463"/>
            <a:ext cx="4932272" cy="4106007"/>
          </a:xfrm>
          <a:prstGeom prst="rect">
            <a:avLst/>
          </a:prstGeom>
        </p:spPr>
        <p:txBody>
          <a:bodyPr/>
          <a:lstStyle>
            <a:lvl1pPr marL="0" indent="0">
              <a:buNone/>
              <a:defRPr sz="1799"/>
            </a:lvl1pPr>
            <a:lvl2pPr marL="457051" indent="0">
              <a:buNone/>
              <a:defRPr sz="1400"/>
            </a:lvl2pPr>
            <a:lvl3pPr marL="914104" indent="0">
              <a:buNone/>
              <a:defRPr sz="1200"/>
            </a:lvl3pPr>
            <a:lvl4pPr marL="1371155" indent="0">
              <a:buNone/>
              <a:defRPr sz="1000"/>
            </a:lvl4pPr>
            <a:lvl5pPr marL="1828205" indent="0">
              <a:buNone/>
              <a:defRPr sz="1000"/>
            </a:lvl5pPr>
            <a:lvl6pPr marL="2285258" indent="0">
              <a:buNone/>
              <a:defRPr sz="1000"/>
            </a:lvl6pPr>
            <a:lvl7pPr marL="2742309" indent="0">
              <a:buNone/>
              <a:defRPr sz="1000"/>
            </a:lvl7pPr>
            <a:lvl8pPr marL="3199360" indent="0">
              <a:buNone/>
              <a:defRPr sz="1000"/>
            </a:lvl8pPr>
            <a:lvl9pPr marL="3656411" indent="0">
              <a:buNone/>
              <a:defRPr sz="1000"/>
            </a:lvl9pPr>
          </a:lstStyle>
          <a:p>
            <a:pPr lvl="0"/>
            <a:r>
              <a:rPr lang="en-US"/>
              <a:t>Edit Master text styles</a:t>
            </a:r>
          </a:p>
        </p:txBody>
      </p:sp>
      <p:sp>
        <p:nvSpPr>
          <p:cNvPr id="8" name="Date Placeholder 4"/>
          <p:cNvSpPr>
            <a:spLocks noGrp="1"/>
          </p:cNvSpPr>
          <p:nvPr>
            <p:ph type="dt" sz="half" idx="11"/>
          </p:nvPr>
        </p:nvSpPr>
        <p:spPr>
          <a:xfrm>
            <a:off x="381000" y="6356352"/>
            <a:ext cx="27432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fld id="{83CDDF50-2691-4A96-A320-FAE26882475A}" type="datetimeFigureOut">
              <a:rPr kumimoji="0" lang="en-IN" sz="1799"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104" rtl="0" eaLnBrk="1" fontAlgn="auto" latinLnBrk="0" hangingPunct="1">
                <a:lnSpc>
                  <a:spcPct val="100000"/>
                </a:lnSpc>
                <a:spcBef>
                  <a:spcPts val="0"/>
                </a:spcBef>
                <a:spcAft>
                  <a:spcPts val="0"/>
                </a:spcAft>
                <a:buClrTx/>
                <a:buSzTx/>
                <a:buFontTx/>
                <a:buNone/>
                <a:tabLst/>
                <a:defRPr/>
              </a:pPr>
              <a:t>01-12-2022</a:t>
            </a:fld>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9" name="Footer Placeholder 5"/>
          <p:cNvSpPr>
            <a:spLocks noGrp="1"/>
          </p:cNvSpPr>
          <p:nvPr>
            <p:ph type="ftr" sz="quarter" idx="12"/>
          </p:nvPr>
        </p:nvSpPr>
        <p:spPr>
          <a:xfrm>
            <a:off x="4038600" y="6356352"/>
            <a:ext cx="4114800" cy="365125"/>
          </a:xfrm>
          <a:prstGeom prst="rect">
            <a:avLst/>
          </a:prstGeom>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prstClr val="black"/>
              </a:solidFill>
              <a:effectLst/>
              <a:uLnTx/>
              <a:uFillTx/>
              <a:latin typeface="Calibri"/>
              <a:ea typeface="+mn-ea"/>
              <a:cs typeface="+mn-cs"/>
            </a:endParaRPr>
          </a:p>
        </p:txBody>
      </p:sp>
      <p:sp>
        <p:nvSpPr>
          <p:cNvPr id="10" name="Slide Number Placeholder 6"/>
          <p:cNvSpPr>
            <a:spLocks noGrp="1"/>
          </p:cNvSpPr>
          <p:nvPr>
            <p:ph type="sldNum" sz="quarter" idx="13"/>
          </p:nvPr>
        </p:nvSpPr>
        <p:spPr>
          <a:xfrm>
            <a:off x="9012236" y="6364152"/>
            <a:ext cx="2743200" cy="365125"/>
          </a:xfrm>
          <a:prstGeom prst="rect">
            <a:avLst/>
          </a:prstGeom>
        </p:spPr>
        <p:txBody>
          <a:bodyPr/>
          <a:lstStyle/>
          <a:p>
            <a:pPr marL="0" marR="0" lvl="0" indent="0" algn="r" defTabSz="914104" rtl="0" eaLnBrk="1" fontAlgn="auto" latinLnBrk="0" hangingPunct="1">
              <a:lnSpc>
                <a:spcPct val="100000"/>
              </a:lnSpc>
              <a:spcBef>
                <a:spcPts val="0"/>
              </a:spcBef>
              <a:spcAft>
                <a:spcPts val="0"/>
              </a:spcAft>
              <a:buClrTx/>
              <a:buSzTx/>
              <a:buFontTx/>
              <a:buNone/>
              <a:tabLst/>
              <a:defRPr/>
            </a:pPr>
            <a:fld id="{E74C42B1-5A19-486C-A487-15095F4D7BCC}"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104"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
        <p:nvSpPr>
          <p:cNvPr id="11" name="Rectangle 2"/>
          <p:cNvSpPr txBox="1">
            <a:spLocks noChangeArrowheads="1"/>
          </p:cNvSpPr>
          <p:nvPr/>
        </p:nvSpPr>
        <p:spPr bwMode="auto">
          <a:xfrm>
            <a:off x="457201" y="171451"/>
            <a:ext cx="7823200" cy="520876"/>
          </a:xfrm>
          <a:prstGeom prst="rect">
            <a:avLst/>
          </a:prstGeom>
          <a:noFill/>
          <a:ln w="9525">
            <a:noFill/>
            <a:miter lim="800000"/>
          </a:ln>
        </p:spPr>
        <p:txBody>
          <a:bodyPr vert="horz" wrap="square" lIns="91405" tIns="45703" rIns="91405" bIns="45703" numCol="1" anchor="ctr" anchorCtr="0" compatLnSpc="1"/>
          <a:lstStyle>
            <a:lvl1pPr algn="l" defTabSz="914400" rtl="0" eaLnBrk="1" latinLnBrk="0" hangingPunct="1">
              <a:lnSpc>
                <a:spcPct val="90000"/>
              </a:lnSpc>
              <a:spcBef>
                <a:spcPct val="0"/>
              </a:spcBef>
              <a:buNone/>
              <a:defRPr sz="3600" kern="1200">
                <a:solidFill>
                  <a:schemeClr val="tx1"/>
                </a:solidFill>
                <a:latin typeface="+mn-lt"/>
                <a:ea typeface="+mj-ea"/>
                <a:cs typeface="+mj-cs"/>
              </a:defRPr>
            </a:lvl1pPr>
          </a:lstStyle>
          <a:p>
            <a:pPr marL="0" marR="0" lvl="0" indent="0" algn="l" defTabSz="914104" rtl="0" eaLnBrk="1" fontAlgn="auto" latinLnBrk="0" hangingPunct="1">
              <a:lnSpc>
                <a:spcPct val="90000"/>
              </a:lnSpc>
              <a:spcBef>
                <a:spcPct val="0"/>
              </a:spcBef>
              <a:spcAft>
                <a:spcPts val="0"/>
              </a:spcAft>
              <a:buClrTx/>
              <a:buSzTx/>
              <a:buFontTx/>
              <a:buNone/>
              <a:tabLst/>
              <a:defRPr/>
            </a:pPr>
            <a:r>
              <a:rPr kumimoji="0" lang="en-US" sz="3599" b="0" i="0" u="none" strike="noStrike" kern="1200" cap="none" spc="0" normalizeH="0" baseline="0" noProof="0" dirty="0">
                <a:ln>
                  <a:noFill/>
                </a:ln>
                <a:solidFill>
                  <a:prstClr val="black"/>
                </a:solidFill>
                <a:effectLst/>
                <a:uLnTx/>
                <a:uFillTx/>
                <a:latin typeface="Calibri"/>
                <a:ea typeface="+mj-ea"/>
                <a:cs typeface="+mj-cs"/>
              </a:rPr>
              <a:t>Click to edit Master title</a:t>
            </a:r>
          </a:p>
        </p:txBody>
      </p:sp>
    </p:spTree>
    <p:extLst>
      <p:ext uri="{BB962C8B-B14F-4D97-AF65-F5344CB8AC3E}">
        <p14:creationId xmlns:p14="http://schemas.microsoft.com/office/powerpoint/2010/main" val="195890908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905216" rtl="0" eaLnBrk="1" fontAlgn="auto" latinLnBrk="0" hangingPunct="1">
              <a:lnSpc>
                <a:spcPct val="100000"/>
              </a:lnSpc>
              <a:spcBef>
                <a:spcPts val="0"/>
              </a:spcBef>
              <a:spcAft>
                <a:spcPts val="0"/>
              </a:spcAft>
              <a:buClrTx/>
              <a:buSzTx/>
              <a:buFontTx/>
              <a:buNone/>
              <a:tabLst/>
              <a:defRPr/>
            </a:pPr>
            <a:fld id="{7422662C-4EA5-40CB-AF95-82CA1EC35BEA}" type="slidenum">
              <a:rPr kumimoji="0" lang="en-US" sz="12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05216"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5483058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fld id="{9F566EA9-9EDB-495D-880D-E1C735BBEB7E}" type="datetimeFigureOut">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104" rtl="0" eaLnBrk="1" fontAlgn="auto" latinLnBrk="0" hangingPunct="1">
                <a:lnSpc>
                  <a:spcPct val="100000"/>
                </a:lnSpc>
                <a:spcBef>
                  <a:spcPts val="0"/>
                </a:spcBef>
                <a:spcAft>
                  <a:spcPts val="0"/>
                </a:spcAft>
                <a:buClrTx/>
                <a:buSzTx/>
                <a:buFontTx/>
                <a:buNone/>
                <a:tabLst/>
                <a:defRPr/>
              </a:pPr>
              <a:t>12/1/2022</a:t>
            </a:fld>
            <a:endParaRPr kumimoji="0" lang="en-US"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l" defTabSz="91410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104" rtl="0" eaLnBrk="1" fontAlgn="auto" latinLnBrk="0" hangingPunct="1">
              <a:lnSpc>
                <a:spcPct val="100000"/>
              </a:lnSpc>
              <a:spcBef>
                <a:spcPts val="0"/>
              </a:spcBef>
              <a:spcAft>
                <a:spcPts val="0"/>
              </a:spcAft>
              <a:buClrTx/>
              <a:buSzTx/>
              <a:buFontTx/>
              <a:buNone/>
              <a:tabLst/>
              <a:defRPr/>
            </a:pPr>
            <a:fld id="{F7C73892-8A5D-4336-831B-64421740343D}"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104"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3079024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07968" y="64788"/>
            <a:ext cx="9969633" cy="1039091"/>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303755" y="1535113"/>
            <a:ext cx="5250459" cy="639763"/>
          </a:xfrm>
        </p:spPr>
        <p:txBody>
          <a:bodyPr anchor="b"/>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1303755" y="2174875"/>
            <a:ext cx="5250459" cy="3951288"/>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746384" y="1535113"/>
            <a:ext cx="5252521" cy="639763"/>
          </a:xfrm>
        </p:spPr>
        <p:txBody>
          <a:bodyPr anchor="b"/>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746384" y="2174875"/>
            <a:ext cx="5252521" cy="3951288"/>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defTabSz="1219170">
              <a:defRPr/>
            </a:pPr>
            <a:fld id="{1E4EDBA0-E3CE-4832-A697-E95D3EC00679}"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defTabSz="1219170">
              <a:defRPr/>
            </a:pPr>
            <a:fld id="{9ACCB01F-F40A-4226-80BC-B0DB40511D5A}"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104474695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562710" y="1508400"/>
            <a:ext cx="11068061" cy="4590000"/>
          </a:xfrm>
          <a:prstGeom prst="rect">
            <a:avLst/>
          </a:prstGeom>
        </p:spPr>
        <p:txBody>
          <a:bodyPr lIns="0" tIns="0" rIns="0" bIns="0"/>
          <a:lstStyle>
            <a:lvl1pPr marL="0" indent="-172982">
              <a:buClr>
                <a:schemeClr val="tx2"/>
              </a:buClr>
              <a:buFont typeface="Arial" pitchFamily="34" charset="0"/>
              <a:buChar char="•"/>
              <a:tabLst/>
              <a:defRPr b="0"/>
            </a:lvl1pPr>
            <a:lvl2pPr marL="628446" indent="-228525">
              <a:buFont typeface="Arial" pitchFamily="34" charset="0"/>
              <a:buChar char="–"/>
              <a:defRPr/>
            </a:lvl2pPr>
            <a:lvl3pPr marL="1074389" indent="-228525">
              <a:defRPr/>
            </a:lvl3pPr>
            <a:lvl4pPr marL="1544833" indent="-228525">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237424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521279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Cover slide layout">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97C212F7-184D-4A49-A276-228D2606CDAA}"/>
              </a:ext>
            </a:extLst>
          </p:cNvPr>
          <p:cNvSpPr/>
          <p:nvPr userDrawn="1"/>
        </p:nvSpPr>
        <p:spPr>
          <a:xfrm rot="2710283">
            <a:off x="3230158" y="-3604333"/>
            <a:ext cx="5188207" cy="13481605"/>
          </a:xfrm>
          <a:custGeom>
            <a:avLst/>
            <a:gdLst>
              <a:gd name="connsiteX0" fmla="*/ 4872276 w 5188206"/>
              <a:gd name="connsiteY0" fmla="*/ 0 h 13481605"/>
              <a:gd name="connsiteX1" fmla="*/ 5188206 w 5188206"/>
              <a:gd name="connsiteY1" fmla="*/ 314046 h 13481605"/>
              <a:gd name="connsiteX2" fmla="*/ 5188206 w 5188206"/>
              <a:gd name="connsiteY2" fmla="*/ 9409991 h 13481605"/>
              <a:gd name="connsiteX3" fmla="*/ 1140878 w 5188206"/>
              <a:gd name="connsiteY3" fmla="*/ 13481605 h 13481605"/>
              <a:gd name="connsiteX4" fmla="*/ 0 w 5188206"/>
              <a:gd name="connsiteY4" fmla="*/ 12347532 h 13481605"/>
              <a:gd name="connsiteX5" fmla="*/ 1 w 5188206"/>
              <a:gd name="connsiteY5" fmla="*/ 4901511 h 1348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8206" h="13481605">
                <a:moveTo>
                  <a:pt x="4872276" y="0"/>
                </a:moveTo>
                <a:lnTo>
                  <a:pt x="5188206" y="314046"/>
                </a:lnTo>
                <a:lnTo>
                  <a:pt x="5188206" y="9409991"/>
                </a:lnTo>
                <a:lnTo>
                  <a:pt x="1140878" y="13481605"/>
                </a:lnTo>
                <a:lnTo>
                  <a:pt x="0" y="12347532"/>
                </a:lnTo>
                <a:lnTo>
                  <a:pt x="1" y="4901511"/>
                </a:lnTo>
                <a:close/>
              </a:path>
            </a:pathLst>
          </a:custGeom>
          <a:solidFill>
            <a:schemeClr val="accent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pic>
        <p:nvPicPr>
          <p:cNvPr id="2" name="Picture 1">
            <a:extLst>
              <a:ext uri="{FF2B5EF4-FFF2-40B4-BE49-F238E27FC236}">
                <a16:creationId xmlns:a16="http://schemas.microsoft.com/office/drawing/2014/main" id="{206C027D-380B-4189-ADCD-4C61FF036C00}"/>
              </a:ext>
            </a:extLst>
          </p:cNvPr>
          <p:cNvPicPr>
            <a:picLocks noChangeAspect="1"/>
          </p:cNvPicPr>
          <p:nvPr userDrawn="1"/>
        </p:nvPicPr>
        <p:blipFill rotWithShape="1">
          <a:blip r:embed="rId2">
            <a:alphaModFix amt="29000"/>
            <a:extLst>
              <a:ext uri="{28A0092B-C50C-407E-A947-70E740481C1C}">
                <a14:useLocalDpi xmlns:a14="http://schemas.microsoft.com/office/drawing/2010/main" val="0"/>
              </a:ext>
            </a:extLst>
          </a:blip>
          <a:srcRect l="25587" t="29014" r="22468" b="1915"/>
          <a:stretch/>
        </p:blipFill>
        <p:spPr>
          <a:xfrm>
            <a:off x="7291763" y="1"/>
            <a:ext cx="4900239" cy="6858000"/>
          </a:xfrm>
          <a:prstGeom prst="rect">
            <a:avLst/>
          </a:prstGeom>
        </p:spPr>
      </p:pic>
      <p:pic>
        <p:nvPicPr>
          <p:cNvPr id="3" name="Picture 2">
            <a:extLst>
              <a:ext uri="{FF2B5EF4-FFF2-40B4-BE49-F238E27FC236}">
                <a16:creationId xmlns:a16="http://schemas.microsoft.com/office/drawing/2014/main" id="{CA200259-84FB-42E8-BC41-9E22E38BFFB8}"/>
              </a:ext>
            </a:extLst>
          </p:cNvPr>
          <p:cNvPicPr>
            <a:picLocks noChangeAspect="1"/>
          </p:cNvPicPr>
          <p:nvPr userDrawn="1"/>
        </p:nvPicPr>
        <p:blipFill rotWithShape="1">
          <a:blip r:embed="rId2">
            <a:alphaModFix amt="29000"/>
            <a:extLst>
              <a:ext uri="{28A0092B-C50C-407E-A947-70E740481C1C}">
                <a14:useLocalDpi xmlns:a14="http://schemas.microsoft.com/office/drawing/2010/main" val="0"/>
              </a:ext>
            </a:extLst>
          </a:blip>
          <a:srcRect l="59969" t="27510"/>
          <a:stretch/>
        </p:blipFill>
        <p:spPr>
          <a:xfrm>
            <a:off x="-147" y="0"/>
            <a:ext cx="3611440" cy="6904883"/>
          </a:xfrm>
          <a:prstGeom prst="rect">
            <a:avLst/>
          </a:prstGeom>
        </p:spPr>
      </p:pic>
      <p:sp>
        <p:nvSpPr>
          <p:cNvPr id="4" name="Freeform: Shape 3">
            <a:extLst>
              <a:ext uri="{FF2B5EF4-FFF2-40B4-BE49-F238E27FC236}">
                <a16:creationId xmlns:a16="http://schemas.microsoft.com/office/drawing/2014/main" id="{0363273D-08D0-4F61-9C43-8F313C85A4FB}"/>
              </a:ext>
            </a:extLst>
          </p:cNvPr>
          <p:cNvSpPr/>
          <p:nvPr userDrawn="1"/>
        </p:nvSpPr>
        <p:spPr>
          <a:xfrm rot="18917560">
            <a:off x="6757340" y="5310245"/>
            <a:ext cx="2184923" cy="719635"/>
          </a:xfrm>
          <a:custGeom>
            <a:avLst/>
            <a:gdLst>
              <a:gd name="connsiteX0" fmla="*/ 212221 w 2598991"/>
              <a:gd name="connsiteY0" fmla="*/ 705872 h 856013"/>
              <a:gd name="connsiteX1" fmla="*/ 212221 w 2598991"/>
              <a:gd name="connsiteY1" fmla="*/ 705873 h 856013"/>
              <a:gd name="connsiteX2" fmla="*/ 212221 w 2598991"/>
              <a:gd name="connsiteY2" fmla="*/ 705873 h 856013"/>
              <a:gd name="connsiteX3" fmla="*/ 0 w 2598991"/>
              <a:gd name="connsiteY3" fmla="*/ 150139 h 856013"/>
              <a:gd name="connsiteX4" fmla="*/ 0 w 2598991"/>
              <a:gd name="connsiteY4" fmla="*/ 150139 h 856013"/>
              <a:gd name="connsiteX5" fmla="*/ 0 w 2598991"/>
              <a:gd name="connsiteY5" fmla="*/ 150140 h 856013"/>
              <a:gd name="connsiteX6" fmla="*/ 150140 w 2598991"/>
              <a:gd name="connsiteY6" fmla="*/ 0 h 856013"/>
              <a:gd name="connsiteX7" fmla="*/ 1824103 w 2598991"/>
              <a:gd name="connsiteY7" fmla="*/ 0 h 856013"/>
              <a:gd name="connsiteX8" fmla="*/ 1974243 w 2598991"/>
              <a:gd name="connsiteY8" fmla="*/ 150140 h 856013"/>
              <a:gd name="connsiteX9" fmla="*/ 1974242 w 2598991"/>
              <a:gd name="connsiteY9" fmla="*/ 150140 h 856013"/>
              <a:gd name="connsiteX10" fmla="*/ 1930267 w 2598991"/>
              <a:gd name="connsiteY10" fmla="*/ 256305 h 856013"/>
              <a:gd name="connsiteX11" fmla="*/ 1894334 w 2598991"/>
              <a:gd name="connsiteY11" fmla="*/ 280532 h 856013"/>
              <a:gd name="connsiteX12" fmla="*/ 2457031 w 2598991"/>
              <a:gd name="connsiteY12" fmla="*/ 280532 h 856013"/>
              <a:gd name="connsiteX13" fmla="*/ 2598991 w 2598991"/>
              <a:gd name="connsiteY13" fmla="*/ 422492 h 856013"/>
              <a:gd name="connsiteX14" fmla="*/ 2598990 w 2598991"/>
              <a:gd name="connsiteY14" fmla="*/ 422492 h 856013"/>
              <a:gd name="connsiteX15" fmla="*/ 2457030 w 2598991"/>
              <a:gd name="connsiteY15" fmla="*/ 564452 h 856013"/>
              <a:gd name="connsiteX16" fmla="*/ 2079510 w 2598991"/>
              <a:gd name="connsiteY16" fmla="*/ 564452 h 856013"/>
              <a:gd name="connsiteX17" fmla="*/ 2094765 w 2598991"/>
              <a:gd name="connsiteY17" fmla="*/ 567532 h 856013"/>
              <a:gd name="connsiteX18" fmla="*/ 2186464 w 2598991"/>
              <a:gd name="connsiteY18" fmla="*/ 705873 h 856013"/>
              <a:gd name="connsiteX19" fmla="*/ 2186463 w 2598991"/>
              <a:gd name="connsiteY19" fmla="*/ 705873 h 856013"/>
              <a:gd name="connsiteX20" fmla="*/ 2036323 w 2598991"/>
              <a:gd name="connsiteY20" fmla="*/ 856013 h 856013"/>
              <a:gd name="connsiteX21" fmla="*/ 362361 w 2598991"/>
              <a:gd name="connsiteY21" fmla="*/ 856012 h 856013"/>
              <a:gd name="connsiteX22" fmla="*/ 224020 w 2598991"/>
              <a:gd name="connsiteY22" fmla="*/ 764313 h 856013"/>
              <a:gd name="connsiteX23" fmla="*/ 212221 w 2598991"/>
              <a:gd name="connsiteY23" fmla="*/ 705873 h 856013"/>
              <a:gd name="connsiteX24" fmla="*/ 224020 w 2598991"/>
              <a:gd name="connsiteY24" fmla="*/ 647432 h 856013"/>
              <a:gd name="connsiteX25" fmla="*/ 362361 w 2598991"/>
              <a:gd name="connsiteY25" fmla="*/ 555733 h 856013"/>
              <a:gd name="connsiteX26" fmla="*/ 469765 w 2598991"/>
              <a:gd name="connsiteY26" fmla="*/ 555733 h 856013"/>
              <a:gd name="connsiteX27" fmla="*/ 480117 w 2598991"/>
              <a:gd name="connsiteY27" fmla="*/ 553643 h 856013"/>
              <a:gd name="connsiteX28" fmla="*/ 566820 w 2598991"/>
              <a:gd name="connsiteY28" fmla="*/ 422839 h 856013"/>
              <a:gd name="connsiteX29" fmla="*/ 566821 w 2598991"/>
              <a:gd name="connsiteY29" fmla="*/ 422839 h 856013"/>
              <a:gd name="connsiteX30" fmla="*/ 515161 w 2598991"/>
              <a:gd name="connsiteY30" fmla="*/ 313296 h 856013"/>
              <a:gd name="connsiteX31" fmla="*/ 493706 w 2598991"/>
              <a:gd name="connsiteY31" fmla="*/ 300279 h 856013"/>
              <a:gd name="connsiteX32" fmla="*/ 150140 w 2598991"/>
              <a:gd name="connsiteY32" fmla="*/ 300279 h 856013"/>
              <a:gd name="connsiteX33" fmla="*/ 11799 w 2598991"/>
              <a:gd name="connsiteY33" fmla="*/ 208580 h 856013"/>
              <a:gd name="connsiteX34" fmla="*/ 0 w 2598991"/>
              <a:gd name="connsiteY34" fmla="*/ 150139 h 856013"/>
              <a:gd name="connsiteX35" fmla="*/ 11799 w 2598991"/>
              <a:gd name="connsiteY35" fmla="*/ 91699 h 856013"/>
              <a:gd name="connsiteX36" fmla="*/ 150140 w 2598991"/>
              <a:gd name="connsiteY36" fmla="*/ 0 h 85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98991" h="856013">
                <a:moveTo>
                  <a:pt x="212221" y="705872"/>
                </a:moveTo>
                <a:lnTo>
                  <a:pt x="212221" y="705873"/>
                </a:lnTo>
                <a:lnTo>
                  <a:pt x="212221" y="705873"/>
                </a:lnTo>
                <a:close/>
                <a:moveTo>
                  <a:pt x="0" y="150139"/>
                </a:moveTo>
                <a:lnTo>
                  <a:pt x="0" y="150139"/>
                </a:lnTo>
                <a:lnTo>
                  <a:pt x="0" y="150140"/>
                </a:lnTo>
                <a:close/>
                <a:moveTo>
                  <a:pt x="150140" y="0"/>
                </a:moveTo>
                <a:lnTo>
                  <a:pt x="1824103" y="0"/>
                </a:lnTo>
                <a:cubicBezTo>
                  <a:pt x="1907023" y="0"/>
                  <a:pt x="1974243" y="67220"/>
                  <a:pt x="1974243" y="150140"/>
                </a:cubicBezTo>
                <a:lnTo>
                  <a:pt x="1974242" y="150140"/>
                </a:lnTo>
                <a:cubicBezTo>
                  <a:pt x="1974242" y="191600"/>
                  <a:pt x="1957437" y="229135"/>
                  <a:pt x="1930267" y="256305"/>
                </a:cubicBezTo>
                <a:lnTo>
                  <a:pt x="1894334" y="280532"/>
                </a:lnTo>
                <a:lnTo>
                  <a:pt x="2457031" y="280532"/>
                </a:lnTo>
                <a:cubicBezTo>
                  <a:pt x="2535433" y="280532"/>
                  <a:pt x="2598991" y="344090"/>
                  <a:pt x="2598991" y="422492"/>
                </a:cubicBezTo>
                <a:lnTo>
                  <a:pt x="2598990" y="422492"/>
                </a:lnTo>
                <a:cubicBezTo>
                  <a:pt x="2598990" y="500894"/>
                  <a:pt x="2535432" y="564452"/>
                  <a:pt x="2457030" y="564452"/>
                </a:cubicBezTo>
                <a:lnTo>
                  <a:pt x="2079510" y="564452"/>
                </a:lnTo>
                <a:lnTo>
                  <a:pt x="2094765" y="567532"/>
                </a:lnTo>
                <a:cubicBezTo>
                  <a:pt x="2148653" y="590324"/>
                  <a:pt x="2186464" y="643683"/>
                  <a:pt x="2186464" y="705873"/>
                </a:cubicBezTo>
                <a:lnTo>
                  <a:pt x="2186463" y="705873"/>
                </a:lnTo>
                <a:cubicBezTo>
                  <a:pt x="2186463" y="788793"/>
                  <a:pt x="2119243" y="856013"/>
                  <a:pt x="2036323" y="856013"/>
                </a:cubicBezTo>
                <a:lnTo>
                  <a:pt x="362361" y="856012"/>
                </a:lnTo>
                <a:cubicBezTo>
                  <a:pt x="300171" y="856012"/>
                  <a:pt x="246812" y="818201"/>
                  <a:pt x="224020" y="764313"/>
                </a:cubicBezTo>
                <a:lnTo>
                  <a:pt x="212221" y="705873"/>
                </a:lnTo>
                <a:lnTo>
                  <a:pt x="224020" y="647432"/>
                </a:lnTo>
                <a:cubicBezTo>
                  <a:pt x="246812" y="593544"/>
                  <a:pt x="300171" y="555733"/>
                  <a:pt x="362361" y="555733"/>
                </a:cubicBezTo>
                <a:lnTo>
                  <a:pt x="469765" y="555733"/>
                </a:lnTo>
                <a:lnTo>
                  <a:pt x="480117" y="553643"/>
                </a:lnTo>
                <a:cubicBezTo>
                  <a:pt x="531069" y="532092"/>
                  <a:pt x="566820" y="481641"/>
                  <a:pt x="566820" y="422839"/>
                </a:cubicBezTo>
                <a:lnTo>
                  <a:pt x="566821" y="422839"/>
                </a:lnTo>
                <a:cubicBezTo>
                  <a:pt x="566821" y="378738"/>
                  <a:pt x="546711" y="339334"/>
                  <a:pt x="515161" y="313296"/>
                </a:cubicBezTo>
                <a:lnTo>
                  <a:pt x="493706" y="300279"/>
                </a:lnTo>
                <a:lnTo>
                  <a:pt x="150140" y="300279"/>
                </a:lnTo>
                <a:cubicBezTo>
                  <a:pt x="87950" y="300279"/>
                  <a:pt x="34591" y="262468"/>
                  <a:pt x="11799" y="208580"/>
                </a:cubicBezTo>
                <a:lnTo>
                  <a:pt x="0" y="150139"/>
                </a:lnTo>
                <a:lnTo>
                  <a:pt x="11799" y="91699"/>
                </a:lnTo>
                <a:cubicBezTo>
                  <a:pt x="34591" y="37811"/>
                  <a:pt x="87950" y="0"/>
                  <a:pt x="150140" y="0"/>
                </a:cubicBezTo>
                <a:close/>
              </a:path>
            </a:pathLst>
          </a:custGeom>
          <a:solidFill>
            <a:schemeClr val="accent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5" name="Freeform: Shape 4">
            <a:extLst>
              <a:ext uri="{FF2B5EF4-FFF2-40B4-BE49-F238E27FC236}">
                <a16:creationId xmlns:a16="http://schemas.microsoft.com/office/drawing/2014/main" id="{8F144AE0-43B5-4072-B84A-2621F7237F1E}"/>
              </a:ext>
            </a:extLst>
          </p:cNvPr>
          <p:cNvSpPr/>
          <p:nvPr userDrawn="1"/>
        </p:nvSpPr>
        <p:spPr>
          <a:xfrm rot="18917560">
            <a:off x="2315319" y="657620"/>
            <a:ext cx="2184923" cy="719635"/>
          </a:xfrm>
          <a:custGeom>
            <a:avLst/>
            <a:gdLst>
              <a:gd name="connsiteX0" fmla="*/ 212221 w 2598991"/>
              <a:gd name="connsiteY0" fmla="*/ 705872 h 856013"/>
              <a:gd name="connsiteX1" fmla="*/ 212221 w 2598991"/>
              <a:gd name="connsiteY1" fmla="*/ 705873 h 856013"/>
              <a:gd name="connsiteX2" fmla="*/ 212221 w 2598991"/>
              <a:gd name="connsiteY2" fmla="*/ 705873 h 856013"/>
              <a:gd name="connsiteX3" fmla="*/ 0 w 2598991"/>
              <a:gd name="connsiteY3" fmla="*/ 150139 h 856013"/>
              <a:gd name="connsiteX4" fmla="*/ 0 w 2598991"/>
              <a:gd name="connsiteY4" fmla="*/ 150139 h 856013"/>
              <a:gd name="connsiteX5" fmla="*/ 0 w 2598991"/>
              <a:gd name="connsiteY5" fmla="*/ 150140 h 856013"/>
              <a:gd name="connsiteX6" fmla="*/ 150140 w 2598991"/>
              <a:gd name="connsiteY6" fmla="*/ 0 h 856013"/>
              <a:gd name="connsiteX7" fmla="*/ 1824103 w 2598991"/>
              <a:gd name="connsiteY7" fmla="*/ 0 h 856013"/>
              <a:gd name="connsiteX8" fmla="*/ 1974243 w 2598991"/>
              <a:gd name="connsiteY8" fmla="*/ 150140 h 856013"/>
              <a:gd name="connsiteX9" fmla="*/ 1974242 w 2598991"/>
              <a:gd name="connsiteY9" fmla="*/ 150140 h 856013"/>
              <a:gd name="connsiteX10" fmla="*/ 1930267 w 2598991"/>
              <a:gd name="connsiteY10" fmla="*/ 256305 h 856013"/>
              <a:gd name="connsiteX11" fmla="*/ 1894334 w 2598991"/>
              <a:gd name="connsiteY11" fmla="*/ 280532 h 856013"/>
              <a:gd name="connsiteX12" fmla="*/ 2457031 w 2598991"/>
              <a:gd name="connsiteY12" fmla="*/ 280532 h 856013"/>
              <a:gd name="connsiteX13" fmla="*/ 2598991 w 2598991"/>
              <a:gd name="connsiteY13" fmla="*/ 422492 h 856013"/>
              <a:gd name="connsiteX14" fmla="*/ 2598990 w 2598991"/>
              <a:gd name="connsiteY14" fmla="*/ 422492 h 856013"/>
              <a:gd name="connsiteX15" fmla="*/ 2457030 w 2598991"/>
              <a:gd name="connsiteY15" fmla="*/ 564452 h 856013"/>
              <a:gd name="connsiteX16" fmla="*/ 2079510 w 2598991"/>
              <a:gd name="connsiteY16" fmla="*/ 564452 h 856013"/>
              <a:gd name="connsiteX17" fmla="*/ 2094765 w 2598991"/>
              <a:gd name="connsiteY17" fmla="*/ 567532 h 856013"/>
              <a:gd name="connsiteX18" fmla="*/ 2186464 w 2598991"/>
              <a:gd name="connsiteY18" fmla="*/ 705873 h 856013"/>
              <a:gd name="connsiteX19" fmla="*/ 2186463 w 2598991"/>
              <a:gd name="connsiteY19" fmla="*/ 705873 h 856013"/>
              <a:gd name="connsiteX20" fmla="*/ 2036323 w 2598991"/>
              <a:gd name="connsiteY20" fmla="*/ 856013 h 856013"/>
              <a:gd name="connsiteX21" fmla="*/ 362361 w 2598991"/>
              <a:gd name="connsiteY21" fmla="*/ 856012 h 856013"/>
              <a:gd name="connsiteX22" fmla="*/ 224020 w 2598991"/>
              <a:gd name="connsiteY22" fmla="*/ 764313 h 856013"/>
              <a:gd name="connsiteX23" fmla="*/ 212221 w 2598991"/>
              <a:gd name="connsiteY23" fmla="*/ 705873 h 856013"/>
              <a:gd name="connsiteX24" fmla="*/ 224020 w 2598991"/>
              <a:gd name="connsiteY24" fmla="*/ 647432 h 856013"/>
              <a:gd name="connsiteX25" fmla="*/ 362361 w 2598991"/>
              <a:gd name="connsiteY25" fmla="*/ 555733 h 856013"/>
              <a:gd name="connsiteX26" fmla="*/ 469765 w 2598991"/>
              <a:gd name="connsiteY26" fmla="*/ 555733 h 856013"/>
              <a:gd name="connsiteX27" fmla="*/ 480117 w 2598991"/>
              <a:gd name="connsiteY27" fmla="*/ 553643 h 856013"/>
              <a:gd name="connsiteX28" fmla="*/ 566820 w 2598991"/>
              <a:gd name="connsiteY28" fmla="*/ 422839 h 856013"/>
              <a:gd name="connsiteX29" fmla="*/ 566821 w 2598991"/>
              <a:gd name="connsiteY29" fmla="*/ 422839 h 856013"/>
              <a:gd name="connsiteX30" fmla="*/ 515161 w 2598991"/>
              <a:gd name="connsiteY30" fmla="*/ 313296 h 856013"/>
              <a:gd name="connsiteX31" fmla="*/ 493706 w 2598991"/>
              <a:gd name="connsiteY31" fmla="*/ 300279 h 856013"/>
              <a:gd name="connsiteX32" fmla="*/ 150140 w 2598991"/>
              <a:gd name="connsiteY32" fmla="*/ 300279 h 856013"/>
              <a:gd name="connsiteX33" fmla="*/ 11799 w 2598991"/>
              <a:gd name="connsiteY33" fmla="*/ 208580 h 856013"/>
              <a:gd name="connsiteX34" fmla="*/ 0 w 2598991"/>
              <a:gd name="connsiteY34" fmla="*/ 150139 h 856013"/>
              <a:gd name="connsiteX35" fmla="*/ 11799 w 2598991"/>
              <a:gd name="connsiteY35" fmla="*/ 91699 h 856013"/>
              <a:gd name="connsiteX36" fmla="*/ 150140 w 2598991"/>
              <a:gd name="connsiteY36" fmla="*/ 0 h 85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98991" h="856013">
                <a:moveTo>
                  <a:pt x="212221" y="705872"/>
                </a:moveTo>
                <a:lnTo>
                  <a:pt x="212221" y="705873"/>
                </a:lnTo>
                <a:lnTo>
                  <a:pt x="212221" y="705873"/>
                </a:lnTo>
                <a:close/>
                <a:moveTo>
                  <a:pt x="0" y="150139"/>
                </a:moveTo>
                <a:lnTo>
                  <a:pt x="0" y="150139"/>
                </a:lnTo>
                <a:lnTo>
                  <a:pt x="0" y="150140"/>
                </a:lnTo>
                <a:close/>
                <a:moveTo>
                  <a:pt x="150140" y="0"/>
                </a:moveTo>
                <a:lnTo>
                  <a:pt x="1824103" y="0"/>
                </a:lnTo>
                <a:cubicBezTo>
                  <a:pt x="1907023" y="0"/>
                  <a:pt x="1974243" y="67220"/>
                  <a:pt x="1974243" y="150140"/>
                </a:cubicBezTo>
                <a:lnTo>
                  <a:pt x="1974242" y="150140"/>
                </a:lnTo>
                <a:cubicBezTo>
                  <a:pt x="1974242" y="191600"/>
                  <a:pt x="1957437" y="229135"/>
                  <a:pt x="1930267" y="256305"/>
                </a:cubicBezTo>
                <a:lnTo>
                  <a:pt x="1894334" y="280532"/>
                </a:lnTo>
                <a:lnTo>
                  <a:pt x="2457031" y="280532"/>
                </a:lnTo>
                <a:cubicBezTo>
                  <a:pt x="2535433" y="280532"/>
                  <a:pt x="2598991" y="344090"/>
                  <a:pt x="2598991" y="422492"/>
                </a:cubicBezTo>
                <a:lnTo>
                  <a:pt x="2598990" y="422492"/>
                </a:lnTo>
                <a:cubicBezTo>
                  <a:pt x="2598990" y="500894"/>
                  <a:pt x="2535432" y="564452"/>
                  <a:pt x="2457030" y="564452"/>
                </a:cubicBezTo>
                <a:lnTo>
                  <a:pt x="2079510" y="564452"/>
                </a:lnTo>
                <a:lnTo>
                  <a:pt x="2094765" y="567532"/>
                </a:lnTo>
                <a:cubicBezTo>
                  <a:pt x="2148653" y="590324"/>
                  <a:pt x="2186464" y="643683"/>
                  <a:pt x="2186464" y="705873"/>
                </a:cubicBezTo>
                <a:lnTo>
                  <a:pt x="2186463" y="705873"/>
                </a:lnTo>
                <a:cubicBezTo>
                  <a:pt x="2186463" y="788793"/>
                  <a:pt x="2119243" y="856013"/>
                  <a:pt x="2036323" y="856013"/>
                </a:cubicBezTo>
                <a:lnTo>
                  <a:pt x="362361" y="856012"/>
                </a:lnTo>
                <a:cubicBezTo>
                  <a:pt x="300171" y="856012"/>
                  <a:pt x="246812" y="818201"/>
                  <a:pt x="224020" y="764313"/>
                </a:cubicBezTo>
                <a:lnTo>
                  <a:pt x="212221" y="705873"/>
                </a:lnTo>
                <a:lnTo>
                  <a:pt x="224020" y="647432"/>
                </a:lnTo>
                <a:cubicBezTo>
                  <a:pt x="246812" y="593544"/>
                  <a:pt x="300171" y="555733"/>
                  <a:pt x="362361" y="555733"/>
                </a:cubicBezTo>
                <a:lnTo>
                  <a:pt x="469765" y="555733"/>
                </a:lnTo>
                <a:lnTo>
                  <a:pt x="480117" y="553643"/>
                </a:lnTo>
                <a:cubicBezTo>
                  <a:pt x="531069" y="532092"/>
                  <a:pt x="566820" y="481641"/>
                  <a:pt x="566820" y="422839"/>
                </a:cubicBezTo>
                <a:lnTo>
                  <a:pt x="566821" y="422839"/>
                </a:lnTo>
                <a:cubicBezTo>
                  <a:pt x="566821" y="378738"/>
                  <a:pt x="546711" y="339334"/>
                  <a:pt x="515161" y="313296"/>
                </a:cubicBezTo>
                <a:lnTo>
                  <a:pt x="493706" y="300279"/>
                </a:lnTo>
                <a:lnTo>
                  <a:pt x="150140" y="300279"/>
                </a:lnTo>
                <a:cubicBezTo>
                  <a:pt x="87950" y="300279"/>
                  <a:pt x="34591" y="262468"/>
                  <a:pt x="11799" y="208580"/>
                </a:cubicBezTo>
                <a:lnTo>
                  <a:pt x="0" y="150139"/>
                </a:lnTo>
                <a:lnTo>
                  <a:pt x="11799" y="91699"/>
                </a:lnTo>
                <a:cubicBezTo>
                  <a:pt x="34591" y="37811"/>
                  <a:pt x="87950" y="0"/>
                  <a:pt x="150140" y="0"/>
                </a:cubicBezTo>
                <a:close/>
              </a:path>
            </a:pathLst>
          </a:custGeom>
          <a:solidFill>
            <a:schemeClr val="accent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6" name="Rectangle: Rounded Corners 5">
            <a:extLst>
              <a:ext uri="{FF2B5EF4-FFF2-40B4-BE49-F238E27FC236}">
                <a16:creationId xmlns:a16="http://schemas.microsoft.com/office/drawing/2014/main" id="{4F73E14A-31CD-46CC-9655-417F344E964D}"/>
              </a:ext>
            </a:extLst>
          </p:cNvPr>
          <p:cNvSpPr/>
          <p:nvPr userDrawn="1"/>
        </p:nvSpPr>
        <p:spPr>
          <a:xfrm rot="18900000">
            <a:off x="3249097" y="3545174"/>
            <a:ext cx="898779" cy="18823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7" name="Rectangle: Rounded Corners 6">
            <a:extLst>
              <a:ext uri="{FF2B5EF4-FFF2-40B4-BE49-F238E27FC236}">
                <a16:creationId xmlns:a16="http://schemas.microsoft.com/office/drawing/2014/main" id="{7B359B05-6AC3-460B-AADD-EF4FE88E5E15}"/>
              </a:ext>
            </a:extLst>
          </p:cNvPr>
          <p:cNvSpPr/>
          <p:nvPr userDrawn="1"/>
        </p:nvSpPr>
        <p:spPr>
          <a:xfrm rot="18900000">
            <a:off x="3933048" y="3402148"/>
            <a:ext cx="471088" cy="9866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8" name="Cross 7">
            <a:extLst>
              <a:ext uri="{FF2B5EF4-FFF2-40B4-BE49-F238E27FC236}">
                <a16:creationId xmlns:a16="http://schemas.microsoft.com/office/drawing/2014/main" id="{01AE4C7D-0581-4EF7-B01A-57774F1B5217}"/>
              </a:ext>
            </a:extLst>
          </p:cNvPr>
          <p:cNvSpPr/>
          <p:nvPr userDrawn="1"/>
        </p:nvSpPr>
        <p:spPr>
          <a:xfrm>
            <a:off x="8690531" y="3132960"/>
            <a:ext cx="296040" cy="296040"/>
          </a:xfrm>
          <a:prstGeom prst="plus">
            <a:avLst>
              <a:gd name="adj" fmla="val 437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9" name="Cross 8">
            <a:extLst>
              <a:ext uri="{FF2B5EF4-FFF2-40B4-BE49-F238E27FC236}">
                <a16:creationId xmlns:a16="http://schemas.microsoft.com/office/drawing/2014/main" id="{E15BDB5E-8F00-405C-BB7A-30DEF75B5163}"/>
              </a:ext>
            </a:extLst>
          </p:cNvPr>
          <p:cNvSpPr/>
          <p:nvPr userDrawn="1"/>
        </p:nvSpPr>
        <p:spPr>
          <a:xfrm rot="1642289">
            <a:off x="1982541" y="4138539"/>
            <a:ext cx="296040" cy="296040"/>
          </a:xfrm>
          <a:prstGeom prst="plus">
            <a:avLst>
              <a:gd name="adj" fmla="val 437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0" name="Isosceles Triangle 9">
            <a:extLst>
              <a:ext uri="{FF2B5EF4-FFF2-40B4-BE49-F238E27FC236}">
                <a16:creationId xmlns:a16="http://schemas.microsoft.com/office/drawing/2014/main" id="{DEAC9489-BCB7-4E3A-A896-B35B3A48F178}"/>
              </a:ext>
            </a:extLst>
          </p:cNvPr>
          <p:cNvSpPr/>
          <p:nvPr userDrawn="1"/>
        </p:nvSpPr>
        <p:spPr>
          <a:xfrm rot="12056913">
            <a:off x="5363427" y="5089804"/>
            <a:ext cx="251203" cy="216553"/>
          </a:xfrm>
          <a:prstGeom prst="triangl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1" name="Isosceles Triangle 10">
            <a:extLst>
              <a:ext uri="{FF2B5EF4-FFF2-40B4-BE49-F238E27FC236}">
                <a16:creationId xmlns:a16="http://schemas.microsoft.com/office/drawing/2014/main" id="{6B27FEF4-8DD6-4FAC-9895-F6E35C1DA54A}"/>
              </a:ext>
            </a:extLst>
          </p:cNvPr>
          <p:cNvSpPr/>
          <p:nvPr userDrawn="1"/>
        </p:nvSpPr>
        <p:spPr>
          <a:xfrm rot="12056913">
            <a:off x="8103105" y="591385"/>
            <a:ext cx="251203" cy="216553"/>
          </a:xfrm>
          <a:prstGeom prst="triangl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2" name="Oval 11">
            <a:extLst>
              <a:ext uri="{FF2B5EF4-FFF2-40B4-BE49-F238E27FC236}">
                <a16:creationId xmlns:a16="http://schemas.microsoft.com/office/drawing/2014/main" id="{14D70D1D-AA00-4B06-A452-6DFDE7FFF4E9}"/>
              </a:ext>
            </a:extLst>
          </p:cNvPr>
          <p:cNvSpPr/>
          <p:nvPr userDrawn="1"/>
        </p:nvSpPr>
        <p:spPr>
          <a:xfrm>
            <a:off x="3621419" y="2170599"/>
            <a:ext cx="213463" cy="213463"/>
          </a:xfrm>
          <a:prstGeom prst="ellips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3" name="Oval 12">
            <a:extLst>
              <a:ext uri="{FF2B5EF4-FFF2-40B4-BE49-F238E27FC236}">
                <a16:creationId xmlns:a16="http://schemas.microsoft.com/office/drawing/2014/main" id="{85D1B683-76F6-46BE-9D4C-38ADA1B32309}"/>
              </a:ext>
            </a:extLst>
          </p:cNvPr>
          <p:cNvSpPr/>
          <p:nvPr userDrawn="1"/>
        </p:nvSpPr>
        <p:spPr>
          <a:xfrm>
            <a:off x="10794551" y="1222469"/>
            <a:ext cx="213463" cy="213463"/>
          </a:xfrm>
          <a:prstGeom prst="ellips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5" name="Rectangle: Rounded Corners 14">
            <a:extLst>
              <a:ext uri="{FF2B5EF4-FFF2-40B4-BE49-F238E27FC236}">
                <a16:creationId xmlns:a16="http://schemas.microsoft.com/office/drawing/2014/main" id="{0B4C9FD5-DF32-4DAC-8E2E-373DFB75D439}"/>
              </a:ext>
            </a:extLst>
          </p:cNvPr>
          <p:cNvSpPr/>
          <p:nvPr userDrawn="1"/>
        </p:nvSpPr>
        <p:spPr>
          <a:xfrm rot="18900000">
            <a:off x="7806765" y="2002512"/>
            <a:ext cx="898779" cy="18823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6" name="Rectangle: Rounded Corners 15">
            <a:extLst>
              <a:ext uri="{FF2B5EF4-FFF2-40B4-BE49-F238E27FC236}">
                <a16:creationId xmlns:a16="http://schemas.microsoft.com/office/drawing/2014/main" id="{94E87BE3-6EEF-461A-BBF4-750890F3D4AF}"/>
              </a:ext>
            </a:extLst>
          </p:cNvPr>
          <p:cNvSpPr/>
          <p:nvPr userDrawn="1"/>
        </p:nvSpPr>
        <p:spPr>
          <a:xfrm rot="18900000">
            <a:off x="8490717" y="1859485"/>
            <a:ext cx="471088" cy="9866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Tree>
    <p:extLst>
      <p:ext uri="{BB962C8B-B14F-4D97-AF65-F5344CB8AC3E}">
        <p14:creationId xmlns:p14="http://schemas.microsoft.com/office/powerpoint/2010/main" val="304128308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1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1" y="287261"/>
            <a:ext cx="12192000" cy="724247"/>
          </a:xfrm>
          <a:prstGeom prst="rect">
            <a:avLst/>
          </a:prstGeom>
        </p:spPr>
        <p:txBody>
          <a:bodyPr anchor="ctr"/>
          <a:lstStyle>
            <a:lvl1pPr marL="0" indent="0" algn="ctr">
              <a:buNone/>
              <a:defRPr sz="5397" b="0" baseline="0">
                <a:solidFill>
                  <a:schemeClr val="tx1">
                    <a:lumMod val="85000"/>
                    <a:lumOff val="15000"/>
                  </a:schemeClr>
                </a:solidFill>
                <a:latin typeface="+mj-lt"/>
                <a:cs typeface="Arial" pitchFamily="34" charset="0"/>
              </a:defRPr>
            </a:lvl1pPr>
          </a:lstStyle>
          <a:p>
            <a:pPr lvl="0"/>
            <a:r>
              <a:rPr lang="en-US" altLang="ko-KR" dirty="0"/>
              <a:t>BASIC LAYOUT</a:t>
            </a:r>
          </a:p>
        </p:txBody>
      </p:sp>
      <p:grpSp>
        <p:nvGrpSpPr>
          <p:cNvPr id="6" name="Group 5">
            <a:extLst>
              <a:ext uri="{FF2B5EF4-FFF2-40B4-BE49-F238E27FC236}">
                <a16:creationId xmlns:a16="http://schemas.microsoft.com/office/drawing/2014/main" id="{39E32B89-F037-40D0-AF12-764A7C2FA486}"/>
              </a:ext>
            </a:extLst>
          </p:cNvPr>
          <p:cNvGrpSpPr/>
          <p:nvPr userDrawn="1"/>
        </p:nvGrpSpPr>
        <p:grpSpPr>
          <a:xfrm>
            <a:off x="-9524" y="6378431"/>
            <a:ext cx="12280605" cy="489096"/>
            <a:chOff x="-10633" y="6411432"/>
            <a:chExt cx="11109042" cy="446567"/>
          </a:xfrm>
        </p:grpSpPr>
        <p:sp>
          <p:nvSpPr>
            <p:cNvPr id="7" name="Graphic 41">
              <a:extLst>
                <a:ext uri="{FF2B5EF4-FFF2-40B4-BE49-F238E27FC236}">
                  <a16:creationId xmlns:a16="http://schemas.microsoft.com/office/drawing/2014/main" id="{3BC4C72F-286E-4B83-A4A4-AD0BA626627E}"/>
                </a:ext>
              </a:extLst>
            </p:cNvPr>
            <p:cNvSpPr/>
            <p:nvPr userDrawn="1"/>
          </p:nvSpPr>
          <p:spPr>
            <a:xfrm>
              <a:off x="-10633" y="6411432"/>
              <a:ext cx="5608465" cy="446567"/>
            </a:xfrm>
            <a:custGeom>
              <a:avLst/>
              <a:gdLst>
                <a:gd name="connsiteX0" fmla="*/ 7144 w 6400800"/>
                <a:gd name="connsiteY0" fmla="*/ 511016 h 514350"/>
                <a:gd name="connsiteX1" fmla="*/ 6354604 w 6400800"/>
                <a:gd name="connsiteY1" fmla="*/ 511016 h 514350"/>
                <a:gd name="connsiteX2" fmla="*/ 6354604 w 6400800"/>
                <a:gd name="connsiteY2" fmla="*/ 409099 h 514350"/>
                <a:gd name="connsiteX3" fmla="*/ 6327934 w 6400800"/>
                <a:gd name="connsiteY3" fmla="*/ 415766 h 514350"/>
                <a:gd name="connsiteX4" fmla="*/ 6327934 w 6400800"/>
                <a:gd name="connsiteY4" fmla="*/ 404336 h 514350"/>
                <a:gd name="connsiteX5" fmla="*/ 6328887 w 6400800"/>
                <a:gd name="connsiteY5" fmla="*/ 383381 h 514350"/>
                <a:gd name="connsiteX6" fmla="*/ 6329839 w 6400800"/>
                <a:gd name="connsiteY6" fmla="*/ 365284 h 514350"/>
                <a:gd name="connsiteX7" fmla="*/ 6324124 w 6400800"/>
                <a:gd name="connsiteY7" fmla="*/ 383381 h 514350"/>
                <a:gd name="connsiteX8" fmla="*/ 6319362 w 6400800"/>
                <a:gd name="connsiteY8" fmla="*/ 404336 h 514350"/>
                <a:gd name="connsiteX9" fmla="*/ 6316504 w 6400800"/>
                <a:gd name="connsiteY9" fmla="*/ 419576 h 514350"/>
                <a:gd name="connsiteX10" fmla="*/ 6303169 w 6400800"/>
                <a:gd name="connsiteY10" fmla="*/ 423386 h 514350"/>
                <a:gd name="connsiteX11" fmla="*/ 6304121 w 6400800"/>
                <a:gd name="connsiteY11" fmla="*/ 405289 h 514350"/>
                <a:gd name="connsiteX12" fmla="*/ 6319362 w 6400800"/>
                <a:gd name="connsiteY12" fmla="*/ 358616 h 514350"/>
                <a:gd name="connsiteX13" fmla="*/ 6322219 w 6400800"/>
                <a:gd name="connsiteY13" fmla="*/ 349091 h 514350"/>
                <a:gd name="connsiteX14" fmla="*/ 6334601 w 6400800"/>
                <a:gd name="connsiteY14" fmla="*/ 312896 h 514350"/>
                <a:gd name="connsiteX15" fmla="*/ 6349842 w 6400800"/>
                <a:gd name="connsiteY15" fmla="*/ 269081 h 514350"/>
                <a:gd name="connsiteX16" fmla="*/ 6363176 w 6400800"/>
                <a:gd name="connsiteY16" fmla="*/ 228124 h 514350"/>
                <a:gd name="connsiteX17" fmla="*/ 6375559 w 6400800"/>
                <a:gd name="connsiteY17" fmla="*/ 190976 h 514350"/>
                <a:gd name="connsiteX18" fmla="*/ 6393656 w 6400800"/>
                <a:gd name="connsiteY18" fmla="*/ 134779 h 514350"/>
                <a:gd name="connsiteX19" fmla="*/ 6400324 w 6400800"/>
                <a:gd name="connsiteY19" fmla="*/ 113824 h 514350"/>
                <a:gd name="connsiteX20" fmla="*/ 6389846 w 6400800"/>
                <a:gd name="connsiteY20" fmla="*/ 133826 h 514350"/>
                <a:gd name="connsiteX21" fmla="*/ 6380321 w 6400800"/>
                <a:gd name="connsiteY21" fmla="*/ 153829 h 514350"/>
                <a:gd name="connsiteX22" fmla="*/ 6392704 w 6400800"/>
                <a:gd name="connsiteY22" fmla="*/ 110966 h 514350"/>
                <a:gd name="connsiteX23" fmla="*/ 6399371 w 6400800"/>
                <a:gd name="connsiteY23" fmla="*/ 87154 h 514350"/>
                <a:gd name="connsiteX24" fmla="*/ 6388894 w 6400800"/>
                <a:gd name="connsiteY24" fmla="*/ 109061 h 514350"/>
                <a:gd name="connsiteX25" fmla="*/ 6377464 w 6400800"/>
                <a:gd name="connsiteY25" fmla="*/ 134779 h 514350"/>
                <a:gd name="connsiteX26" fmla="*/ 6364129 w 6400800"/>
                <a:gd name="connsiteY26" fmla="*/ 168116 h 514350"/>
                <a:gd name="connsiteX27" fmla="*/ 6332696 w 6400800"/>
                <a:gd name="connsiteY27" fmla="*/ 253841 h 514350"/>
                <a:gd name="connsiteX28" fmla="*/ 6316504 w 6400800"/>
                <a:gd name="connsiteY28" fmla="*/ 302419 h 514350"/>
                <a:gd name="connsiteX29" fmla="*/ 6314599 w 6400800"/>
                <a:gd name="connsiteY29" fmla="*/ 308134 h 514350"/>
                <a:gd name="connsiteX30" fmla="*/ 6317456 w 6400800"/>
                <a:gd name="connsiteY30" fmla="*/ 287179 h 514350"/>
                <a:gd name="connsiteX31" fmla="*/ 6319362 w 6400800"/>
                <a:gd name="connsiteY31" fmla="*/ 267176 h 514350"/>
                <a:gd name="connsiteX32" fmla="*/ 6320314 w 6400800"/>
                <a:gd name="connsiteY32" fmla="*/ 250031 h 514350"/>
                <a:gd name="connsiteX33" fmla="*/ 6314599 w 6400800"/>
                <a:gd name="connsiteY33" fmla="*/ 266224 h 514350"/>
                <a:gd name="connsiteX34" fmla="*/ 6302217 w 6400800"/>
                <a:gd name="connsiteY34" fmla="*/ 310039 h 514350"/>
                <a:gd name="connsiteX35" fmla="*/ 6293644 w 6400800"/>
                <a:gd name="connsiteY35" fmla="*/ 339566 h 514350"/>
                <a:gd name="connsiteX36" fmla="*/ 6286976 w 6400800"/>
                <a:gd name="connsiteY36" fmla="*/ 362426 h 514350"/>
                <a:gd name="connsiteX37" fmla="*/ 6284119 w 6400800"/>
                <a:gd name="connsiteY37" fmla="*/ 335756 h 514350"/>
                <a:gd name="connsiteX38" fmla="*/ 6288881 w 6400800"/>
                <a:gd name="connsiteY38" fmla="*/ 318611 h 514350"/>
                <a:gd name="connsiteX39" fmla="*/ 6302217 w 6400800"/>
                <a:gd name="connsiteY39" fmla="*/ 274796 h 514350"/>
                <a:gd name="connsiteX40" fmla="*/ 6307931 w 6400800"/>
                <a:gd name="connsiteY40" fmla="*/ 255746 h 514350"/>
                <a:gd name="connsiteX41" fmla="*/ 6313646 w 6400800"/>
                <a:gd name="connsiteY41" fmla="*/ 238601 h 514350"/>
                <a:gd name="connsiteX42" fmla="*/ 6323171 w 6400800"/>
                <a:gd name="connsiteY42" fmla="*/ 210026 h 514350"/>
                <a:gd name="connsiteX43" fmla="*/ 6330792 w 6400800"/>
                <a:gd name="connsiteY43" fmla="*/ 185261 h 514350"/>
                <a:gd name="connsiteX44" fmla="*/ 6319362 w 6400800"/>
                <a:gd name="connsiteY44" fmla="*/ 208121 h 514350"/>
                <a:gd name="connsiteX45" fmla="*/ 6306026 w 6400800"/>
                <a:gd name="connsiteY45" fmla="*/ 234791 h 514350"/>
                <a:gd name="connsiteX46" fmla="*/ 6298406 w 6400800"/>
                <a:gd name="connsiteY46" fmla="*/ 250984 h 514350"/>
                <a:gd name="connsiteX47" fmla="*/ 6290787 w 6400800"/>
                <a:gd name="connsiteY47" fmla="*/ 270034 h 514350"/>
                <a:gd name="connsiteX48" fmla="*/ 6278404 w 6400800"/>
                <a:gd name="connsiteY48" fmla="*/ 301466 h 514350"/>
                <a:gd name="connsiteX49" fmla="*/ 6277451 w 6400800"/>
                <a:gd name="connsiteY49" fmla="*/ 292894 h 514350"/>
                <a:gd name="connsiteX50" fmla="*/ 6276499 w 6400800"/>
                <a:gd name="connsiteY50" fmla="*/ 306229 h 514350"/>
                <a:gd name="connsiteX51" fmla="*/ 6273642 w 6400800"/>
                <a:gd name="connsiteY51" fmla="*/ 312896 h 514350"/>
                <a:gd name="connsiteX52" fmla="*/ 6269831 w 6400800"/>
                <a:gd name="connsiteY52" fmla="*/ 322421 h 514350"/>
                <a:gd name="connsiteX53" fmla="*/ 6273642 w 6400800"/>
                <a:gd name="connsiteY53" fmla="*/ 300514 h 514350"/>
                <a:gd name="connsiteX54" fmla="*/ 6283167 w 6400800"/>
                <a:gd name="connsiteY54" fmla="*/ 252889 h 514350"/>
                <a:gd name="connsiteX55" fmla="*/ 6287929 w 6400800"/>
                <a:gd name="connsiteY55" fmla="*/ 231934 h 514350"/>
                <a:gd name="connsiteX56" fmla="*/ 6292692 w 6400800"/>
                <a:gd name="connsiteY56" fmla="*/ 212884 h 514350"/>
                <a:gd name="connsiteX57" fmla="*/ 6300312 w 6400800"/>
                <a:gd name="connsiteY57" fmla="*/ 181451 h 514350"/>
                <a:gd name="connsiteX58" fmla="*/ 6306026 w 6400800"/>
                <a:gd name="connsiteY58" fmla="*/ 153829 h 514350"/>
                <a:gd name="connsiteX59" fmla="*/ 6296501 w 6400800"/>
                <a:gd name="connsiteY59" fmla="*/ 180499 h 514350"/>
                <a:gd name="connsiteX60" fmla="*/ 6286024 w 6400800"/>
                <a:gd name="connsiteY60" fmla="*/ 210979 h 514350"/>
                <a:gd name="connsiteX61" fmla="*/ 6279356 w 6400800"/>
                <a:gd name="connsiteY61" fmla="*/ 230029 h 514350"/>
                <a:gd name="connsiteX62" fmla="*/ 6273642 w 6400800"/>
                <a:gd name="connsiteY62" fmla="*/ 250984 h 514350"/>
                <a:gd name="connsiteX63" fmla="*/ 6260306 w 6400800"/>
                <a:gd name="connsiteY63" fmla="*/ 298609 h 514350"/>
                <a:gd name="connsiteX64" fmla="*/ 6246971 w 6400800"/>
                <a:gd name="connsiteY64" fmla="*/ 351949 h 514350"/>
                <a:gd name="connsiteX65" fmla="*/ 6236494 w 6400800"/>
                <a:gd name="connsiteY65" fmla="*/ 396716 h 514350"/>
                <a:gd name="connsiteX66" fmla="*/ 6235542 w 6400800"/>
                <a:gd name="connsiteY66" fmla="*/ 394811 h 514350"/>
                <a:gd name="connsiteX67" fmla="*/ 6234589 w 6400800"/>
                <a:gd name="connsiteY67" fmla="*/ 370046 h 514350"/>
                <a:gd name="connsiteX68" fmla="*/ 6230779 w 6400800"/>
                <a:gd name="connsiteY68" fmla="*/ 389096 h 514350"/>
                <a:gd name="connsiteX69" fmla="*/ 6227921 w 6400800"/>
                <a:gd name="connsiteY69" fmla="*/ 384334 h 514350"/>
                <a:gd name="connsiteX70" fmla="*/ 6216492 w 6400800"/>
                <a:gd name="connsiteY70" fmla="*/ 367189 h 514350"/>
                <a:gd name="connsiteX71" fmla="*/ 6223159 w 6400800"/>
                <a:gd name="connsiteY71" fmla="*/ 348139 h 514350"/>
                <a:gd name="connsiteX72" fmla="*/ 6236494 w 6400800"/>
                <a:gd name="connsiteY72" fmla="*/ 310991 h 514350"/>
                <a:gd name="connsiteX73" fmla="*/ 6247924 w 6400800"/>
                <a:gd name="connsiteY73" fmla="*/ 279559 h 514350"/>
                <a:gd name="connsiteX74" fmla="*/ 6256496 w 6400800"/>
                <a:gd name="connsiteY74" fmla="*/ 254794 h 514350"/>
                <a:gd name="connsiteX75" fmla="*/ 6264117 w 6400800"/>
                <a:gd name="connsiteY75" fmla="*/ 233839 h 514350"/>
                <a:gd name="connsiteX76" fmla="*/ 6252687 w 6400800"/>
                <a:gd name="connsiteY76" fmla="*/ 253841 h 514350"/>
                <a:gd name="connsiteX77" fmla="*/ 6240304 w 6400800"/>
                <a:gd name="connsiteY77" fmla="*/ 276701 h 514350"/>
                <a:gd name="connsiteX78" fmla="*/ 6225064 w 6400800"/>
                <a:gd name="connsiteY78" fmla="*/ 307181 h 514350"/>
                <a:gd name="connsiteX79" fmla="*/ 6208871 w 6400800"/>
                <a:gd name="connsiteY79" fmla="*/ 343376 h 514350"/>
                <a:gd name="connsiteX80" fmla="*/ 6205062 w 6400800"/>
                <a:gd name="connsiteY80" fmla="*/ 351949 h 514350"/>
                <a:gd name="connsiteX81" fmla="*/ 6204109 w 6400800"/>
                <a:gd name="connsiteY81" fmla="*/ 350996 h 514350"/>
                <a:gd name="connsiteX82" fmla="*/ 6210776 w 6400800"/>
                <a:gd name="connsiteY82" fmla="*/ 320516 h 514350"/>
                <a:gd name="connsiteX83" fmla="*/ 6222206 w 6400800"/>
                <a:gd name="connsiteY83" fmla="*/ 268129 h 514350"/>
                <a:gd name="connsiteX84" fmla="*/ 6226017 w 6400800"/>
                <a:gd name="connsiteY84" fmla="*/ 248126 h 514350"/>
                <a:gd name="connsiteX85" fmla="*/ 6218396 w 6400800"/>
                <a:gd name="connsiteY85" fmla="*/ 267176 h 514350"/>
                <a:gd name="connsiteX86" fmla="*/ 6209824 w 6400800"/>
                <a:gd name="connsiteY86" fmla="*/ 289084 h 514350"/>
                <a:gd name="connsiteX87" fmla="*/ 6199346 w 6400800"/>
                <a:gd name="connsiteY87" fmla="*/ 317659 h 514350"/>
                <a:gd name="connsiteX88" fmla="*/ 6193631 w 6400800"/>
                <a:gd name="connsiteY88" fmla="*/ 335756 h 514350"/>
                <a:gd name="connsiteX89" fmla="*/ 6184106 w 6400800"/>
                <a:gd name="connsiteY89" fmla="*/ 322421 h 514350"/>
                <a:gd name="connsiteX90" fmla="*/ 6181249 w 6400800"/>
                <a:gd name="connsiteY90" fmla="*/ 318611 h 514350"/>
                <a:gd name="connsiteX91" fmla="*/ 6184106 w 6400800"/>
                <a:gd name="connsiteY91" fmla="*/ 302419 h 514350"/>
                <a:gd name="connsiteX92" fmla="*/ 6189821 w 6400800"/>
                <a:gd name="connsiteY92" fmla="*/ 274796 h 514350"/>
                <a:gd name="connsiteX93" fmla="*/ 6195537 w 6400800"/>
                <a:gd name="connsiteY93" fmla="*/ 250984 h 514350"/>
                <a:gd name="connsiteX94" fmla="*/ 6186012 w 6400800"/>
                <a:gd name="connsiteY94" fmla="*/ 273844 h 514350"/>
                <a:gd name="connsiteX95" fmla="*/ 6176487 w 6400800"/>
                <a:gd name="connsiteY95" fmla="*/ 300514 h 514350"/>
                <a:gd name="connsiteX96" fmla="*/ 6173629 w 6400800"/>
                <a:gd name="connsiteY96" fmla="*/ 309086 h 514350"/>
                <a:gd name="connsiteX97" fmla="*/ 6172676 w 6400800"/>
                <a:gd name="connsiteY97" fmla="*/ 308134 h 514350"/>
                <a:gd name="connsiteX98" fmla="*/ 6174581 w 6400800"/>
                <a:gd name="connsiteY98" fmla="*/ 294799 h 514350"/>
                <a:gd name="connsiteX99" fmla="*/ 6180296 w 6400800"/>
                <a:gd name="connsiteY99" fmla="*/ 263366 h 514350"/>
                <a:gd name="connsiteX100" fmla="*/ 6185059 w 6400800"/>
                <a:gd name="connsiteY100" fmla="*/ 236696 h 514350"/>
                <a:gd name="connsiteX101" fmla="*/ 6188869 w 6400800"/>
                <a:gd name="connsiteY101" fmla="*/ 215741 h 514350"/>
                <a:gd name="connsiteX102" fmla="*/ 6192679 w 6400800"/>
                <a:gd name="connsiteY102" fmla="*/ 197644 h 514350"/>
                <a:gd name="connsiteX103" fmla="*/ 6185059 w 6400800"/>
                <a:gd name="connsiteY103" fmla="*/ 214789 h 514350"/>
                <a:gd name="connsiteX104" fmla="*/ 6168867 w 6400800"/>
                <a:gd name="connsiteY104" fmla="*/ 260509 h 514350"/>
                <a:gd name="connsiteX105" fmla="*/ 6163151 w 6400800"/>
                <a:gd name="connsiteY105" fmla="*/ 280511 h 514350"/>
                <a:gd name="connsiteX106" fmla="*/ 6159342 w 6400800"/>
                <a:gd name="connsiteY106" fmla="*/ 253841 h 514350"/>
                <a:gd name="connsiteX107" fmla="*/ 6154579 w 6400800"/>
                <a:gd name="connsiteY107" fmla="*/ 225266 h 514350"/>
                <a:gd name="connsiteX108" fmla="*/ 6156484 w 6400800"/>
                <a:gd name="connsiteY108" fmla="*/ 285274 h 514350"/>
                <a:gd name="connsiteX109" fmla="*/ 6143149 w 6400800"/>
                <a:gd name="connsiteY109" fmla="*/ 268129 h 514350"/>
                <a:gd name="connsiteX110" fmla="*/ 6143149 w 6400800"/>
                <a:gd name="connsiteY110" fmla="*/ 267176 h 514350"/>
                <a:gd name="connsiteX111" fmla="*/ 6146006 w 6400800"/>
                <a:gd name="connsiteY111" fmla="*/ 256699 h 514350"/>
                <a:gd name="connsiteX112" fmla="*/ 6161246 w 6400800"/>
                <a:gd name="connsiteY112" fmla="*/ 178594 h 514350"/>
                <a:gd name="connsiteX113" fmla="*/ 6152674 w 6400800"/>
                <a:gd name="connsiteY113" fmla="*/ 200501 h 514350"/>
                <a:gd name="connsiteX114" fmla="*/ 6152674 w 6400800"/>
                <a:gd name="connsiteY114" fmla="*/ 197644 h 514350"/>
                <a:gd name="connsiteX115" fmla="*/ 6156484 w 6400800"/>
                <a:gd name="connsiteY115" fmla="*/ 172879 h 514350"/>
                <a:gd name="connsiteX116" fmla="*/ 6160294 w 6400800"/>
                <a:gd name="connsiteY116" fmla="*/ 150971 h 514350"/>
                <a:gd name="connsiteX117" fmla="*/ 6152674 w 6400800"/>
                <a:gd name="connsiteY117" fmla="*/ 171926 h 514350"/>
                <a:gd name="connsiteX118" fmla="*/ 6145054 w 6400800"/>
                <a:gd name="connsiteY118" fmla="*/ 196691 h 514350"/>
                <a:gd name="connsiteX119" fmla="*/ 6138387 w 6400800"/>
                <a:gd name="connsiteY119" fmla="*/ 220504 h 514350"/>
                <a:gd name="connsiteX120" fmla="*/ 6135529 w 6400800"/>
                <a:gd name="connsiteY120" fmla="*/ 202406 h 514350"/>
                <a:gd name="connsiteX121" fmla="*/ 6134576 w 6400800"/>
                <a:gd name="connsiteY121" fmla="*/ 221456 h 514350"/>
                <a:gd name="connsiteX122" fmla="*/ 6132671 w 6400800"/>
                <a:gd name="connsiteY122" fmla="*/ 242411 h 514350"/>
                <a:gd name="connsiteX123" fmla="*/ 6131719 w 6400800"/>
                <a:gd name="connsiteY123" fmla="*/ 249079 h 514350"/>
                <a:gd name="connsiteX124" fmla="*/ 6130767 w 6400800"/>
                <a:gd name="connsiteY124" fmla="*/ 253841 h 514350"/>
                <a:gd name="connsiteX125" fmla="*/ 6129814 w 6400800"/>
                <a:gd name="connsiteY125" fmla="*/ 251936 h 514350"/>
                <a:gd name="connsiteX126" fmla="*/ 6130767 w 6400800"/>
                <a:gd name="connsiteY126" fmla="*/ 254794 h 514350"/>
                <a:gd name="connsiteX127" fmla="*/ 6129814 w 6400800"/>
                <a:gd name="connsiteY127" fmla="*/ 261461 h 514350"/>
                <a:gd name="connsiteX128" fmla="*/ 6129814 w 6400800"/>
                <a:gd name="connsiteY128" fmla="*/ 243364 h 514350"/>
                <a:gd name="connsiteX129" fmla="*/ 6126004 w 6400800"/>
                <a:gd name="connsiteY129" fmla="*/ 274796 h 514350"/>
                <a:gd name="connsiteX130" fmla="*/ 6125051 w 6400800"/>
                <a:gd name="connsiteY130" fmla="*/ 281464 h 514350"/>
                <a:gd name="connsiteX131" fmla="*/ 6122194 w 6400800"/>
                <a:gd name="connsiteY131" fmla="*/ 267176 h 514350"/>
                <a:gd name="connsiteX132" fmla="*/ 6117431 w 6400800"/>
                <a:gd name="connsiteY132" fmla="*/ 243364 h 514350"/>
                <a:gd name="connsiteX133" fmla="*/ 6118384 w 6400800"/>
                <a:gd name="connsiteY133" fmla="*/ 267176 h 514350"/>
                <a:gd name="connsiteX134" fmla="*/ 6119337 w 6400800"/>
                <a:gd name="connsiteY134" fmla="*/ 300514 h 514350"/>
                <a:gd name="connsiteX135" fmla="*/ 6114574 w 6400800"/>
                <a:gd name="connsiteY135" fmla="*/ 317659 h 514350"/>
                <a:gd name="connsiteX136" fmla="*/ 6114574 w 6400800"/>
                <a:gd name="connsiteY136" fmla="*/ 307181 h 514350"/>
                <a:gd name="connsiteX137" fmla="*/ 6112669 w 6400800"/>
                <a:gd name="connsiteY137" fmla="*/ 286226 h 514350"/>
                <a:gd name="connsiteX138" fmla="*/ 6109812 w 6400800"/>
                <a:gd name="connsiteY138" fmla="*/ 270986 h 514350"/>
                <a:gd name="connsiteX139" fmla="*/ 6105049 w 6400800"/>
                <a:gd name="connsiteY139" fmla="*/ 258604 h 514350"/>
                <a:gd name="connsiteX140" fmla="*/ 6106001 w 6400800"/>
                <a:gd name="connsiteY140" fmla="*/ 272891 h 514350"/>
                <a:gd name="connsiteX141" fmla="*/ 6106001 w 6400800"/>
                <a:gd name="connsiteY141" fmla="*/ 282416 h 514350"/>
                <a:gd name="connsiteX142" fmla="*/ 6104096 w 6400800"/>
                <a:gd name="connsiteY142" fmla="*/ 273844 h 514350"/>
                <a:gd name="connsiteX143" fmla="*/ 6102192 w 6400800"/>
                <a:gd name="connsiteY143" fmla="*/ 268129 h 514350"/>
                <a:gd name="connsiteX144" fmla="*/ 6101239 w 6400800"/>
                <a:gd name="connsiteY144" fmla="*/ 253841 h 514350"/>
                <a:gd name="connsiteX145" fmla="*/ 6103144 w 6400800"/>
                <a:gd name="connsiteY145" fmla="*/ 247174 h 514350"/>
                <a:gd name="connsiteX146" fmla="*/ 6107906 w 6400800"/>
                <a:gd name="connsiteY146" fmla="*/ 225266 h 514350"/>
                <a:gd name="connsiteX147" fmla="*/ 6111717 w 6400800"/>
                <a:gd name="connsiteY147" fmla="*/ 205264 h 514350"/>
                <a:gd name="connsiteX148" fmla="*/ 6104096 w 6400800"/>
                <a:gd name="connsiteY148" fmla="*/ 223361 h 514350"/>
                <a:gd name="connsiteX149" fmla="*/ 6099334 w 6400800"/>
                <a:gd name="connsiteY149" fmla="*/ 234791 h 514350"/>
                <a:gd name="connsiteX150" fmla="*/ 6096476 w 6400800"/>
                <a:gd name="connsiteY150" fmla="*/ 206216 h 514350"/>
                <a:gd name="connsiteX151" fmla="*/ 6097429 w 6400800"/>
                <a:gd name="connsiteY151" fmla="*/ 199549 h 514350"/>
                <a:gd name="connsiteX152" fmla="*/ 6101239 w 6400800"/>
                <a:gd name="connsiteY152" fmla="*/ 177641 h 514350"/>
                <a:gd name="connsiteX153" fmla="*/ 6104096 w 6400800"/>
                <a:gd name="connsiteY153" fmla="*/ 157639 h 514350"/>
                <a:gd name="connsiteX154" fmla="*/ 6107906 w 6400800"/>
                <a:gd name="connsiteY154" fmla="*/ 124301 h 514350"/>
                <a:gd name="connsiteX155" fmla="*/ 6110764 w 6400800"/>
                <a:gd name="connsiteY155" fmla="*/ 95726 h 514350"/>
                <a:gd name="connsiteX156" fmla="*/ 6104096 w 6400800"/>
                <a:gd name="connsiteY156" fmla="*/ 124301 h 514350"/>
                <a:gd name="connsiteX157" fmla="*/ 6096476 w 6400800"/>
                <a:gd name="connsiteY157" fmla="*/ 156686 h 514350"/>
                <a:gd name="connsiteX158" fmla="*/ 6091714 w 6400800"/>
                <a:gd name="connsiteY158" fmla="*/ 176689 h 514350"/>
                <a:gd name="connsiteX159" fmla="*/ 6085999 w 6400800"/>
                <a:gd name="connsiteY159" fmla="*/ 198596 h 514350"/>
                <a:gd name="connsiteX160" fmla="*/ 6081237 w 6400800"/>
                <a:gd name="connsiteY160" fmla="*/ 214789 h 514350"/>
                <a:gd name="connsiteX161" fmla="*/ 6074569 w 6400800"/>
                <a:gd name="connsiteY161" fmla="*/ 201454 h 514350"/>
                <a:gd name="connsiteX162" fmla="*/ 6079331 w 6400800"/>
                <a:gd name="connsiteY162" fmla="*/ 219551 h 514350"/>
                <a:gd name="connsiteX163" fmla="*/ 6073617 w 6400800"/>
                <a:gd name="connsiteY163" fmla="*/ 230029 h 514350"/>
                <a:gd name="connsiteX164" fmla="*/ 6069806 w 6400800"/>
                <a:gd name="connsiteY164" fmla="*/ 237649 h 514350"/>
                <a:gd name="connsiteX165" fmla="*/ 6069806 w 6400800"/>
                <a:gd name="connsiteY165" fmla="*/ 228124 h 514350"/>
                <a:gd name="connsiteX166" fmla="*/ 6069806 w 6400800"/>
                <a:gd name="connsiteY166" fmla="*/ 205264 h 514350"/>
                <a:gd name="connsiteX167" fmla="*/ 6065996 w 6400800"/>
                <a:gd name="connsiteY167" fmla="*/ 228124 h 514350"/>
                <a:gd name="connsiteX168" fmla="*/ 6061234 w 6400800"/>
                <a:gd name="connsiteY168" fmla="*/ 253841 h 514350"/>
                <a:gd name="connsiteX169" fmla="*/ 6059329 w 6400800"/>
                <a:gd name="connsiteY169" fmla="*/ 263366 h 514350"/>
                <a:gd name="connsiteX170" fmla="*/ 6057424 w 6400800"/>
                <a:gd name="connsiteY170" fmla="*/ 268129 h 514350"/>
                <a:gd name="connsiteX171" fmla="*/ 6048851 w 6400800"/>
                <a:gd name="connsiteY171" fmla="*/ 294799 h 514350"/>
                <a:gd name="connsiteX172" fmla="*/ 6041231 w 6400800"/>
                <a:gd name="connsiteY172" fmla="*/ 324326 h 514350"/>
                <a:gd name="connsiteX173" fmla="*/ 6041231 w 6400800"/>
                <a:gd name="connsiteY173" fmla="*/ 325279 h 514350"/>
                <a:gd name="connsiteX174" fmla="*/ 6033612 w 6400800"/>
                <a:gd name="connsiteY174" fmla="*/ 306229 h 514350"/>
                <a:gd name="connsiteX175" fmla="*/ 6029801 w 6400800"/>
                <a:gd name="connsiteY175" fmla="*/ 296704 h 514350"/>
                <a:gd name="connsiteX176" fmla="*/ 6029801 w 6400800"/>
                <a:gd name="connsiteY176" fmla="*/ 295751 h 514350"/>
                <a:gd name="connsiteX177" fmla="*/ 6031706 w 6400800"/>
                <a:gd name="connsiteY177" fmla="*/ 281464 h 514350"/>
                <a:gd name="connsiteX178" fmla="*/ 6033612 w 6400800"/>
                <a:gd name="connsiteY178" fmla="*/ 269081 h 514350"/>
                <a:gd name="connsiteX179" fmla="*/ 6027896 w 6400800"/>
                <a:gd name="connsiteY179" fmla="*/ 280511 h 514350"/>
                <a:gd name="connsiteX180" fmla="*/ 6025039 w 6400800"/>
                <a:gd name="connsiteY180" fmla="*/ 286226 h 514350"/>
                <a:gd name="connsiteX181" fmla="*/ 6020276 w 6400800"/>
                <a:gd name="connsiteY181" fmla="*/ 272891 h 514350"/>
                <a:gd name="connsiteX182" fmla="*/ 6008846 w 6400800"/>
                <a:gd name="connsiteY182" fmla="*/ 244316 h 514350"/>
                <a:gd name="connsiteX183" fmla="*/ 6016467 w 6400800"/>
                <a:gd name="connsiteY183" fmla="*/ 273844 h 514350"/>
                <a:gd name="connsiteX184" fmla="*/ 6022181 w 6400800"/>
                <a:gd name="connsiteY184" fmla="*/ 293846 h 514350"/>
                <a:gd name="connsiteX185" fmla="*/ 6019324 w 6400800"/>
                <a:gd name="connsiteY185" fmla="*/ 302419 h 514350"/>
                <a:gd name="connsiteX186" fmla="*/ 6016467 w 6400800"/>
                <a:gd name="connsiteY186" fmla="*/ 311944 h 514350"/>
                <a:gd name="connsiteX187" fmla="*/ 6010751 w 6400800"/>
                <a:gd name="connsiteY187" fmla="*/ 333851 h 514350"/>
                <a:gd name="connsiteX188" fmla="*/ 6010751 w 6400800"/>
                <a:gd name="connsiteY188" fmla="*/ 334804 h 514350"/>
                <a:gd name="connsiteX189" fmla="*/ 6003131 w 6400800"/>
                <a:gd name="connsiteY189" fmla="*/ 320516 h 514350"/>
                <a:gd name="connsiteX190" fmla="*/ 5996464 w 6400800"/>
                <a:gd name="connsiteY190" fmla="*/ 308134 h 514350"/>
                <a:gd name="connsiteX191" fmla="*/ 5999321 w 6400800"/>
                <a:gd name="connsiteY191" fmla="*/ 302419 h 514350"/>
                <a:gd name="connsiteX192" fmla="*/ 6007894 w 6400800"/>
                <a:gd name="connsiteY192" fmla="*/ 283369 h 514350"/>
                <a:gd name="connsiteX193" fmla="*/ 6014562 w 6400800"/>
                <a:gd name="connsiteY193" fmla="*/ 267176 h 514350"/>
                <a:gd name="connsiteX194" fmla="*/ 6004084 w 6400800"/>
                <a:gd name="connsiteY194" fmla="*/ 281464 h 514350"/>
                <a:gd name="connsiteX195" fmla="*/ 5993606 w 6400800"/>
                <a:gd name="connsiteY195" fmla="*/ 297656 h 514350"/>
                <a:gd name="connsiteX196" fmla="*/ 5989796 w 6400800"/>
                <a:gd name="connsiteY196" fmla="*/ 273844 h 514350"/>
                <a:gd name="connsiteX197" fmla="*/ 5991701 w 6400800"/>
                <a:gd name="connsiteY197" fmla="*/ 250984 h 514350"/>
                <a:gd name="connsiteX198" fmla="*/ 5997417 w 6400800"/>
                <a:gd name="connsiteY198" fmla="*/ 212884 h 514350"/>
                <a:gd name="connsiteX199" fmla="*/ 6003131 w 6400800"/>
                <a:gd name="connsiteY199" fmla="*/ 179546 h 514350"/>
                <a:gd name="connsiteX200" fmla="*/ 5993606 w 6400800"/>
                <a:gd name="connsiteY200" fmla="*/ 211931 h 514350"/>
                <a:gd name="connsiteX201" fmla="*/ 5985034 w 6400800"/>
                <a:gd name="connsiteY201" fmla="*/ 248126 h 514350"/>
                <a:gd name="connsiteX202" fmla="*/ 5974556 w 6400800"/>
                <a:gd name="connsiteY202" fmla="*/ 206216 h 514350"/>
                <a:gd name="connsiteX203" fmla="*/ 5974556 w 6400800"/>
                <a:gd name="connsiteY203" fmla="*/ 206216 h 514350"/>
                <a:gd name="connsiteX204" fmla="*/ 5977414 w 6400800"/>
                <a:gd name="connsiteY204" fmla="*/ 178594 h 514350"/>
                <a:gd name="connsiteX205" fmla="*/ 5979319 w 6400800"/>
                <a:gd name="connsiteY205" fmla="*/ 153829 h 514350"/>
                <a:gd name="connsiteX206" fmla="*/ 5973604 w 6400800"/>
                <a:gd name="connsiteY206" fmla="*/ 177641 h 514350"/>
                <a:gd name="connsiteX207" fmla="*/ 5969794 w 6400800"/>
                <a:gd name="connsiteY207" fmla="*/ 191929 h 514350"/>
                <a:gd name="connsiteX208" fmla="*/ 5959317 w 6400800"/>
                <a:gd name="connsiteY208" fmla="*/ 160496 h 514350"/>
                <a:gd name="connsiteX209" fmla="*/ 5946934 w 6400800"/>
                <a:gd name="connsiteY209" fmla="*/ 130016 h 514350"/>
                <a:gd name="connsiteX210" fmla="*/ 5934551 w 6400800"/>
                <a:gd name="connsiteY210" fmla="*/ 104299 h 514350"/>
                <a:gd name="connsiteX211" fmla="*/ 5943124 w 6400800"/>
                <a:gd name="connsiteY211" fmla="*/ 131921 h 514350"/>
                <a:gd name="connsiteX212" fmla="*/ 5951696 w 6400800"/>
                <a:gd name="connsiteY212" fmla="*/ 163354 h 514350"/>
                <a:gd name="connsiteX213" fmla="*/ 5961221 w 6400800"/>
                <a:gd name="connsiteY213" fmla="*/ 204311 h 514350"/>
                <a:gd name="connsiteX214" fmla="*/ 5964079 w 6400800"/>
                <a:gd name="connsiteY214" fmla="*/ 216694 h 514350"/>
                <a:gd name="connsiteX215" fmla="*/ 5962174 w 6400800"/>
                <a:gd name="connsiteY215" fmla="*/ 222409 h 514350"/>
                <a:gd name="connsiteX216" fmla="*/ 5958364 w 6400800"/>
                <a:gd name="connsiteY216" fmla="*/ 235744 h 514350"/>
                <a:gd name="connsiteX217" fmla="*/ 5956459 w 6400800"/>
                <a:gd name="connsiteY217" fmla="*/ 232886 h 514350"/>
                <a:gd name="connsiteX218" fmla="*/ 5956459 w 6400800"/>
                <a:gd name="connsiteY218" fmla="*/ 231934 h 514350"/>
                <a:gd name="connsiteX219" fmla="*/ 5956459 w 6400800"/>
                <a:gd name="connsiteY219" fmla="*/ 232886 h 514350"/>
                <a:gd name="connsiteX220" fmla="*/ 5938362 w 6400800"/>
                <a:gd name="connsiteY220" fmla="*/ 199549 h 514350"/>
                <a:gd name="connsiteX221" fmla="*/ 5927884 w 6400800"/>
                <a:gd name="connsiteY221" fmla="*/ 180499 h 514350"/>
                <a:gd name="connsiteX222" fmla="*/ 5953601 w 6400800"/>
                <a:gd name="connsiteY222" fmla="*/ 250984 h 514350"/>
                <a:gd name="connsiteX223" fmla="*/ 5952649 w 6400800"/>
                <a:gd name="connsiteY223" fmla="*/ 255746 h 514350"/>
                <a:gd name="connsiteX224" fmla="*/ 5945029 w 6400800"/>
                <a:gd name="connsiteY224" fmla="*/ 282416 h 514350"/>
                <a:gd name="connsiteX225" fmla="*/ 5944076 w 6400800"/>
                <a:gd name="connsiteY225" fmla="*/ 285274 h 514350"/>
                <a:gd name="connsiteX226" fmla="*/ 5940267 w 6400800"/>
                <a:gd name="connsiteY226" fmla="*/ 271939 h 514350"/>
                <a:gd name="connsiteX227" fmla="*/ 5928837 w 6400800"/>
                <a:gd name="connsiteY227" fmla="*/ 237649 h 514350"/>
                <a:gd name="connsiteX228" fmla="*/ 5922169 w 6400800"/>
                <a:gd name="connsiteY228" fmla="*/ 220504 h 514350"/>
                <a:gd name="connsiteX229" fmla="*/ 5923121 w 6400800"/>
                <a:gd name="connsiteY229" fmla="*/ 216694 h 514350"/>
                <a:gd name="connsiteX230" fmla="*/ 5921217 w 6400800"/>
                <a:gd name="connsiteY230" fmla="*/ 219551 h 514350"/>
                <a:gd name="connsiteX231" fmla="*/ 5917406 w 6400800"/>
                <a:gd name="connsiteY231" fmla="*/ 211931 h 514350"/>
                <a:gd name="connsiteX232" fmla="*/ 5908834 w 6400800"/>
                <a:gd name="connsiteY232" fmla="*/ 194786 h 514350"/>
                <a:gd name="connsiteX233" fmla="*/ 5907881 w 6400800"/>
                <a:gd name="connsiteY233" fmla="*/ 183356 h 514350"/>
                <a:gd name="connsiteX234" fmla="*/ 5905024 w 6400800"/>
                <a:gd name="connsiteY234" fmla="*/ 159544 h 514350"/>
                <a:gd name="connsiteX235" fmla="*/ 5904071 w 6400800"/>
                <a:gd name="connsiteY235" fmla="*/ 184309 h 514350"/>
                <a:gd name="connsiteX236" fmla="*/ 5903119 w 6400800"/>
                <a:gd name="connsiteY236" fmla="*/ 211931 h 514350"/>
                <a:gd name="connsiteX237" fmla="*/ 5902167 w 6400800"/>
                <a:gd name="connsiteY237" fmla="*/ 229076 h 514350"/>
                <a:gd name="connsiteX238" fmla="*/ 5902167 w 6400800"/>
                <a:gd name="connsiteY238" fmla="*/ 248126 h 514350"/>
                <a:gd name="connsiteX239" fmla="*/ 5903119 w 6400800"/>
                <a:gd name="connsiteY239" fmla="*/ 270034 h 514350"/>
                <a:gd name="connsiteX240" fmla="*/ 5900262 w 6400800"/>
                <a:gd name="connsiteY240" fmla="*/ 285274 h 514350"/>
                <a:gd name="connsiteX241" fmla="*/ 5899309 w 6400800"/>
                <a:gd name="connsiteY241" fmla="*/ 282416 h 514350"/>
                <a:gd name="connsiteX242" fmla="*/ 5895499 w 6400800"/>
                <a:gd name="connsiteY242" fmla="*/ 263366 h 514350"/>
                <a:gd name="connsiteX243" fmla="*/ 5891689 w 6400800"/>
                <a:gd name="connsiteY243" fmla="*/ 248126 h 514350"/>
                <a:gd name="connsiteX244" fmla="*/ 5891689 w 6400800"/>
                <a:gd name="connsiteY244" fmla="*/ 245269 h 514350"/>
                <a:gd name="connsiteX245" fmla="*/ 5890737 w 6400800"/>
                <a:gd name="connsiteY245" fmla="*/ 247174 h 514350"/>
                <a:gd name="connsiteX246" fmla="*/ 5890737 w 6400800"/>
                <a:gd name="connsiteY246" fmla="*/ 247174 h 514350"/>
                <a:gd name="connsiteX247" fmla="*/ 5890737 w 6400800"/>
                <a:gd name="connsiteY247" fmla="*/ 248126 h 514350"/>
                <a:gd name="connsiteX248" fmla="*/ 5881212 w 6400800"/>
                <a:gd name="connsiteY248" fmla="*/ 275749 h 514350"/>
                <a:gd name="connsiteX249" fmla="*/ 5878354 w 6400800"/>
                <a:gd name="connsiteY249" fmla="*/ 262414 h 514350"/>
                <a:gd name="connsiteX250" fmla="*/ 5874544 w 6400800"/>
                <a:gd name="connsiteY250" fmla="*/ 240506 h 514350"/>
                <a:gd name="connsiteX251" fmla="*/ 5874544 w 6400800"/>
                <a:gd name="connsiteY251" fmla="*/ 262414 h 514350"/>
                <a:gd name="connsiteX252" fmla="*/ 5875496 w 6400800"/>
                <a:gd name="connsiteY252" fmla="*/ 290989 h 514350"/>
                <a:gd name="connsiteX253" fmla="*/ 5873592 w 6400800"/>
                <a:gd name="connsiteY253" fmla="*/ 298609 h 514350"/>
                <a:gd name="connsiteX254" fmla="*/ 5870734 w 6400800"/>
                <a:gd name="connsiteY254" fmla="*/ 271939 h 514350"/>
                <a:gd name="connsiteX255" fmla="*/ 5867876 w 6400800"/>
                <a:gd name="connsiteY255" fmla="*/ 292894 h 514350"/>
                <a:gd name="connsiteX256" fmla="*/ 5866924 w 6400800"/>
                <a:gd name="connsiteY256" fmla="*/ 269081 h 514350"/>
                <a:gd name="connsiteX257" fmla="*/ 5865971 w 6400800"/>
                <a:gd name="connsiteY257" fmla="*/ 243364 h 514350"/>
                <a:gd name="connsiteX258" fmla="*/ 5873592 w 6400800"/>
                <a:gd name="connsiteY258" fmla="*/ 225266 h 514350"/>
                <a:gd name="connsiteX259" fmla="*/ 5865971 w 6400800"/>
                <a:gd name="connsiteY259" fmla="*/ 237649 h 514350"/>
                <a:gd name="connsiteX260" fmla="*/ 5865971 w 6400800"/>
                <a:gd name="connsiteY260" fmla="*/ 230029 h 514350"/>
                <a:gd name="connsiteX261" fmla="*/ 5865019 w 6400800"/>
                <a:gd name="connsiteY261" fmla="*/ 194786 h 514350"/>
                <a:gd name="connsiteX262" fmla="*/ 5863114 w 6400800"/>
                <a:gd name="connsiteY262" fmla="*/ 141446 h 514350"/>
                <a:gd name="connsiteX263" fmla="*/ 5862162 w 6400800"/>
                <a:gd name="connsiteY263" fmla="*/ 121444 h 514350"/>
                <a:gd name="connsiteX264" fmla="*/ 5859304 w 6400800"/>
                <a:gd name="connsiteY264" fmla="*/ 141446 h 514350"/>
                <a:gd name="connsiteX265" fmla="*/ 5856446 w 6400800"/>
                <a:gd name="connsiteY265" fmla="*/ 161449 h 514350"/>
                <a:gd name="connsiteX266" fmla="*/ 5853589 w 6400800"/>
                <a:gd name="connsiteY266" fmla="*/ 120491 h 514350"/>
                <a:gd name="connsiteX267" fmla="*/ 5851684 w 6400800"/>
                <a:gd name="connsiteY267" fmla="*/ 98584 h 514350"/>
                <a:gd name="connsiteX268" fmla="*/ 5849779 w 6400800"/>
                <a:gd name="connsiteY268" fmla="*/ 120491 h 514350"/>
                <a:gd name="connsiteX269" fmla="*/ 5847874 w 6400800"/>
                <a:gd name="connsiteY269" fmla="*/ 146209 h 514350"/>
                <a:gd name="connsiteX270" fmla="*/ 5846921 w 6400800"/>
                <a:gd name="connsiteY270" fmla="*/ 179546 h 514350"/>
                <a:gd name="connsiteX271" fmla="*/ 5846921 w 6400800"/>
                <a:gd name="connsiteY271" fmla="*/ 262414 h 514350"/>
                <a:gd name="connsiteX272" fmla="*/ 5846921 w 6400800"/>
                <a:gd name="connsiteY272" fmla="*/ 269081 h 514350"/>
                <a:gd name="connsiteX273" fmla="*/ 5843112 w 6400800"/>
                <a:gd name="connsiteY273" fmla="*/ 274796 h 514350"/>
                <a:gd name="connsiteX274" fmla="*/ 5840254 w 6400800"/>
                <a:gd name="connsiteY274" fmla="*/ 261461 h 514350"/>
                <a:gd name="connsiteX275" fmla="*/ 5841206 w 6400800"/>
                <a:gd name="connsiteY275" fmla="*/ 242411 h 514350"/>
                <a:gd name="connsiteX276" fmla="*/ 5841206 w 6400800"/>
                <a:gd name="connsiteY276" fmla="*/ 223361 h 514350"/>
                <a:gd name="connsiteX277" fmla="*/ 5837396 w 6400800"/>
                <a:gd name="connsiteY277" fmla="*/ 242411 h 514350"/>
                <a:gd name="connsiteX278" fmla="*/ 5836444 w 6400800"/>
                <a:gd name="connsiteY278" fmla="*/ 245269 h 514350"/>
                <a:gd name="connsiteX279" fmla="*/ 5829776 w 6400800"/>
                <a:gd name="connsiteY279" fmla="*/ 215741 h 514350"/>
                <a:gd name="connsiteX280" fmla="*/ 5824062 w 6400800"/>
                <a:gd name="connsiteY280" fmla="*/ 189071 h 514350"/>
                <a:gd name="connsiteX281" fmla="*/ 5825967 w 6400800"/>
                <a:gd name="connsiteY281" fmla="*/ 215741 h 514350"/>
                <a:gd name="connsiteX282" fmla="*/ 5828824 w 6400800"/>
                <a:gd name="connsiteY282" fmla="*/ 246221 h 514350"/>
                <a:gd name="connsiteX283" fmla="*/ 5831681 w 6400800"/>
                <a:gd name="connsiteY283" fmla="*/ 268129 h 514350"/>
                <a:gd name="connsiteX284" fmla="*/ 5826919 w 6400800"/>
                <a:gd name="connsiteY284" fmla="*/ 276701 h 514350"/>
                <a:gd name="connsiteX285" fmla="*/ 5825967 w 6400800"/>
                <a:gd name="connsiteY285" fmla="*/ 270986 h 514350"/>
                <a:gd name="connsiteX286" fmla="*/ 5822156 w 6400800"/>
                <a:gd name="connsiteY286" fmla="*/ 250031 h 514350"/>
                <a:gd name="connsiteX287" fmla="*/ 5818346 w 6400800"/>
                <a:gd name="connsiteY287" fmla="*/ 231934 h 514350"/>
                <a:gd name="connsiteX288" fmla="*/ 5818346 w 6400800"/>
                <a:gd name="connsiteY288" fmla="*/ 250031 h 514350"/>
                <a:gd name="connsiteX289" fmla="*/ 5818346 w 6400800"/>
                <a:gd name="connsiteY289" fmla="*/ 270986 h 514350"/>
                <a:gd name="connsiteX290" fmla="*/ 5812631 w 6400800"/>
                <a:gd name="connsiteY290" fmla="*/ 262414 h 514350"/>
                <a:gd name="connsiteX291" fmla="*/ 5812631 w 6400800"/>
                <a:gd name="connsiteY291" fmla="*/ 246221 h 514350"/>
                <a:gd name="connsiteX292" fmla="*/ 5814537 w 6400800"/>
                <a:gd name="connsiteY292" fmla="*/ 220504 h 514350"/>
                <a:gd name="connsiteX293" fmla="*/ 5816442 w 6400800"/>
                <a:gd name="connsiteY293" fmla="*/ 221456 h 514350"/>
                <a:gd name="connsiteX294" fmla="*/ 5819299 w 6400800"/>
                <a:gd name="connsiteY294" fmla="*/ 224314 h 514350"/>
                <a:gd name="connsiteX295" fmla="*/ 5822156 w 6400800"/>
                <a:gd name="connsiteY295" fmla="*/ 231934 h 514350"/>
                <a:gd name="connsiteX296" fmla="*/ 5821204 w 6400800"/>
                <a:gd name="connsiteY296" fmla="*/ 223361 h 514350"/>
                <a:gd name="connsiteX297" fmla="*/ 5818346 w 6400800"/>
                <a:gd name="connsiteY297" fmla="*/ 219551 h 514350"/>
                <a:gd name="connsiteX298" fmla="*/ 5813584 w 6400800"/>
                <a:gd name="connsiteY298" fmla="*/ 217646 h 514350"/>
                <a:gd name="connsiteX299" fmla="*/ 5811679 w 6400800"/>
                <a:gd name="connsiteY299" fmla="*/ 217646 h 514350"/>
                <a:gd name="connsiteX300" fmla="*/ 5811679 w 6400800"/>
                <a:gd name="connsiteY300" fmla="*/ 219551 h 514350"/>
                <a:gd name="connsiteX301" fmla="*/ 5805012 w 6400800"/>
                <a:gd name="connsiteY301" fmla="*/ 246221 h 514350"/>
                <a:gd name="connsiteX302" fmla="*/ 5803106 w 6400800"/>
                <a:gd name="connsiteY302" fmla="*/ 256699 h 514350"/>
                <a:gd name="connsiteX303" fmla="*/ 5796439 w 6400800"/>
                <a:gd name="connsiteY303" fmla="*/ 264319 h 514350"/>
                <a:gd name="connsiteX304" fmla="*/ 5795487 w 6400800"/>
                <a:gd name="connsiteY304" fmla="*/ 253841 h 514350"/>
                <a:gd name="connsiteX305" fmla="*/ 5794534 w 6400800"/>
                <a:gd name="connsiteY305" fmla="*/ 248126 h 514350"/>
                <a:gd name="connsiteX306" fmla="*/ 5794534 w 6400800"/>
                <a:gd name="connsiteY306" fmla="*/ 253841 h 514350"/>
                <a:gd name="connsiteX307" fmla="*/ 5793581 w 6400800"/>
                <a:gd name="connsiteY307" fmla="*/ 268129 h 514350"/>
                <a:gd name="connsiteX308" fmla="*/ 5791676 w 6400800"/>
                <a:gd name="connsiteY308" fmla="*/ 270034 h 514350"/>
                <a:gd name="connsiteX309" fmla="*/ 5791676 w 6400800"/>
                <a:gd name="connsiteY309" fmla="*/ 270034 h 514350"/>
                <a:gd name="connsiteX310" fmla="*/ 5787867 w 6400800"/>
                <a:gd name="connsiteY310" fmla="*/ 239554 h 514350"/>
                <a:gd name="connsiteX311" fmla="*/ 5793581 w 6400800"/>
                <a:gd name="connsiteY311" fmla="*/ 224314 h 514350"/>
                <a:gd name="connsiteX312" fmla="*/ 5786914 w 6400800"/>
                <a:gd name="connsiteY312" fmla="*/ 234791 h 514350"/>
                <a:gd name="connsiteX313" fmla="*/ 5785009 w 6400800"/>
                <a:gd name="connsiteY313" fmla="*/ 205264 h 514350"/>
                <a:gd name="connsiteX314" fmla="*/ 5795487 w 6400800"/>
                <a:gd name="connsiteY314" fmla="*/ 183356 h 514350"/>
                <a:gd name="connsiteX315" fmla="*/ 5795487 w 6400800"/>
                <a:gd name="connsiteY315" fmla="*/ 184309 h 514350"/>
                <a:gd name="connsiteX316" fmla="*/ 5795487 w 6400800"/>
                <a:gd name="connsiteY316" fmla="*/ 183356 h 514350"/>
                <a:gd name="connsiteX317" fmla="*/ 5797392 w 6400800"/>
                <a:gd name="connsiteY317" fmla="*/ 178594 h 514350"/>
                <a:gd name="connsiteX318" fmla="*/ 5812631 w 6400800"/>
                <a:gd name="connsiteY318" fmla="*/ 145256 h 514350"/>
                <a:gd name="connsiteX319" fmla="*/ 5825967 w 6400800"/>
                <a:gd name="connsiteY319" fmla="*/ 115729 h 514350"/>
                <a:gd name="connsiteX320" fmla="*/ 5809774 w 6400800"/>
                <a:gd name="connsiteY320" fmla="*/ 143351 h 514350"/>
                <a:gd name="connsiteX321" fmla="*/ 5791676 w 6400800"/>
                <a:gd name="connsiteY321" fmla="*/ 173831 h 514350"/>
                <a:gd name="connsiteX322" fmla="*/ 5788819 w 6400800"/>
                <a:gd name="connsiteY322" fmla="*/ 170974 h 514350"/>
                <a:gd name="connsiteX323" fmla="*/ 5783104 w 6400800"/>
                <a:gd name="connsiteY323" fmla="*/ 169069 h 514350"/>
                <a:gd name="connsiteX324" fmla="*/ 5781199 w 6400800"/>
                <a:gd name="connsiteY324" fmla="*/ 169069 h 514350"/>
                <a:gd name="connsiteX325" fmla="*/ 5781199 w 6400800"/>
                <a:gd name="connsiteY325" fmla="*/ 170974 h 514350"/>
                <a:gd name="connsiteX326" fmla="*/ 5777389 w 6400800"/>
                <a:gd name="connsiteY326" fmla="*/ 197644 h 514350"/>
                <a:gd name="connsiteX327" fmla="*/ 5766912 w 6400800"/>
                <a:gd name="connsiteY327" fmla="*/ 217646 h 514350"/>
                <a:gd name="connsiteX328" fmla="*/ 5752624 w 6400800"/>
                <a:gd name="connsiteY328" fmla="*/ 244316 h 514350"/>
                <a:gd name="connsiteX329" fmla="*/ 5751671 w 6400800"/>
                <a:gd name="connsiteY329" fmla="*/ 233839 h 514350"/>
                <a:gd name="connsiteX330" fmla="*/ 5749767 w 6400800"/>
                <a:gd name="connsiteY330" fmla="*/ 216694 h 514350"/>
                <a:gd name="connsiteX331" fmla="*/ 5757387 w 6400800"/>
                <a:gd name="connsiteY331" fmla="*/ 190024 h 514350"/>
                <a:gd name="connsiteX332" fmla="*/ 5749767 w 6400800"/>
                <a:gd name="connsiteY332" fmla="*/ 210979 h 514350"/>
                <a:gd name="connsiteX333" fmla="*/ 5748814 w 6400800"/>
                <a:gd name="connsiteY333" fmla="*/ 204311 h 514350"/>
                <a:gd name="connsiteX334" fmla="*/ 5745004 w 6400800"/>
                <a:gd name="connsiteY334" fmla="*/ 178594 h 514350"/>
                <a:gd name="connsiteX335" fmla="*/ 5745004 w 6400800"/>
                <a:gd name="connsiteY335" fmla="*/ 204311 h 514350"/>
                <a:gd name="connsiteX336" fmla="*/ 5745004 w 6400800"/>
                <a:gd name="connsiteY336" fmla="*/ 222409 h 514350"/>
                <a:gd name="connsiteX337" fmla="*/ 5744051 w 6400800"/>
                <a:gd name="connsiteY337" fmla="*/ 225266 h 514350"/>
                <a:gd name="connsiteX338" fmla="*/ 5731669 w 6400800"/>
                <a:gd name="connsiteY338" fmla="*/ 259556 h 514350"/>
                <a:gd name="connsiteX339" fmla="*/ 5731669 w 6400800"/>
                <a:gd name="connsiteY339" fmla="*/ 258604 h 514350"/>
                <a:gd name="connsiteX340" fmla="*/ 5734526 w 6400800"/>
                <a:gd name="connsiteY340" fmla="*/ 238601 h 514350"/>
                <a:gd name="connsiteX341" fmla="*/ 5727859 w 6400800"/>
                <a:gd name="connsiteY341" fmla="*/ 258604 h 514350"/>
                <a:gd name="connsiteX342" fmla="*/ 5725954 w 6400800"/>
                <a:gd name="connsiteY342" fmla="*/ 264319 h 514350"/>
                <a:gd name="connsiteX343" fmla="*/ 5725954 w 6400800"/>
                <a:gd name="connsiteY343" fmla="*/ 263366 h 514350"/>
                <a:gd name="connsiteX344" fmla="*/ 5725954 w 6400800"/>
                <a:gd name="connsiteY344" fmla="*/ 262414 h 514350"/>
                <a:gd name="connsiteX345" fmla="*/ 5726906 w 6400800"/>
                <a:gd name="connsiteY345" fmla="*/ 256699 h 514350"/>
                <a:gd name="connsiteX346" fmla="*/ 5729764 w 6400800"/>
                <a:gd name="connsiteY346" fmla="*/ 242411 h 514350"/>
                <a:gd name="connsiteX347" fmla="*/ 5732621 w 6400800"/>
                <a:gd name="connsiteY347" fmla="*/ 230029 h 514350"/>
                <a:gd name="connsiteX348" fmla="*/ 5737384 w 6400800"/>
                <a:gd name="connsiteY348" fmla="*/ 210026 h 514350"/>
                <a:gd name="connsiteX349" fmla="*/ 5741194 w 6400800"/>
                <a:gd name="connsiteY349" fmla="*/ 191929 h 514350"/>
                <a:gd name="connsiteX350" fmla="*/ 5739289 w 6400800"/>
                <a:gd name="connsiteY350" fmla="*/ 196691 h 514350"/>
                <a:gd name="connsiteX351" fmla="*/ 5740242 w 6400800"/>
                <a:gd name="connsiteY351" fmla="*/ 190024 h 514350"/>
                <a:gd name="connsiteX352" fmla="*/ 5731669 w 6400800"/>
                <a:gd name="connsiteY352" fmla="*/ 211931 h 514350"/>
                <a:gd name="connsiteX353" fmla="*/ 5726906 w 6400800"/>
                <a:gd name="connsiteY353" fmla="*/ 224314 h 514350"/>
                <a:gd name="connsiteX354" fmla="*/ 5725001 w 6400800"/>
                <a:gd name="connsiteY354" fmla="*/ 228124 h 514350"/>
                <a:gd name="connsiteX355" fmla="*/ 5720239 w 6400800"/>
                <a:gd name="connsiteY355" fmla="*/ 240506 h 514350"/>
                <a:gd name="connsiteX356" fmla="*/ 5717381 w 6400800"/>
                <a:gd name="connsiteY356" fmla="*/ 250031 h 514350"/>
                <a:gd name="connsiteX357" fmla="*/ 5715476 w 6400800"/>
                <a:gd name="connsiteY357" fmla="*/ 254794 h 514350"/>
                <a:gd name="connsiteX358" fmla="*/ 5709762 w 6400800"/>
                <a:gd name="connsiteY358" fmla="*/ 272891 h 514350"/>
                <a:gd name="connsiteX359" fmla="*/ 5704046 w 6400800"/>
                <a:gd name="connsiteY359" fmla="*/ 290989 h 514350"/>
                <a:gd name="connsiteX360" fmla="*/ 5696426 w 6400800"/>
                <a:gd name="connsiteY360" fmla="*/ 275749 h 514350"/>
                <a:gd name="connsiteX361" fmla="*/ 5695474 w 6400800"/>
                <a:gd name="connsiteY361" fmla="*/ 269081 h 514350"/>
                <a:gd name="connsiteX362" fmla="*/ 5695474 w 6400800"/>
                <a:gd name="connsiteY362" fmla="*/ 272891 h 514350"/>
                <a:gd name="connsiteX363" fmla="*/ 5688806 w 6400800"/>
                <a:gd name="connsiteY363" fmla="*/ 259556 h 514350"/>
                <a:gd name="connsiteX364" fmla="*/ 5680234 w 6400800"/>
                <a:gd name="connsiteY364" fmla="*/ 243364 h 514350"/>
                <a:gd name="connsiteX365" fmla="*/ 5684996 w 6400800"/>
                <a:gd name="connsiteY365" fmla="*/ 260509 h 514350"/>
                <a:gd name="connsiteX366" fmla="*/ 5694521 w 6400800"/>
                <a:gd name="connsiteY366" fmla="*/ 292894 h 514350"/>
                <a:gd name="connsiteX367" fmla="*/ 5694521 w 6400800"/>
                <a:gd name="connsiteY367" fmla="*/ 309086 h 514350"/>
                <a:gd name="connsiteX368" fmla="*/ 5694521 w 6400800"/>
                <a:gd name="connsiteY368" fmla="*/ 323374 h 514350"/>
                <a:gd name="connsiteX369" fmla="*/ 5691664 w 6400800"/>
                <a:gd name="connsiteY369" fmla="*/ 331946 h 514350"/>
                <a:gd name="connsiteX370" fmla="*/ 5689759 w 6400800"/>
                <a:gd name="connsiteY370" fmla="*/ 329089 h 514350"/>
                <a:gd name="connsiteX371" fmla="*/ 5689759 w 6400800"/>
                <a:gd name="connsiteY371" fmla="*/ 320516 h 514350"/>
                <a:gd name="connsiteX372" fmla="*/ 5687854 w 6400800"/>
                <a:gd name="connsiteY372" fmla="*/ 286226 h 514350"/>
                <a:gd name="connsiteX373" fmla="*/ 5684996 w 6400800"/>
                <a:gd name="connsiteY373" fmla="*/ 319564 h 514350"/>
                <a:gd name="connsiteX374" fmla="*/ 5681187 w 6400800"/>
                <a:gd name="connsiteY374" fmla="*/ 312896 h 514350"/>
                <a:gd name="connsiteX375" fmla="*/ 5675471 w 6400800"/>
                <a:gd name="connsiteY375" fmla="*/ 273844 h 514350"/>
                <a:gd name="connsiteX376" fmla="*/ 5672614 w 6400800"/>
                <a:gd name="connsiteY376" fmla="*/ 253841 h 514350"/>
                <a:gd name="connsiteX377" fmla="*/ 5670709 w 6400800"/>
                <a:gd name="connsiteY377" fmla="*/ 235744 h 514350"/>
                <a:gd name="connsiteX378" fmla="*/ 5667851 w 6400800"/>
                <a:gd name="connsiteY378" fmla="*/ 207169 h 514350"/>
                <a:gd name="connsiteX379" fmla="*/ 5665946 w 6400800"/>
                <a:gd name="connsiteY379" fmla="*/ 188119 h 514350"/>
                <a:gd name="connsiteX380" fmla="*/ 5666899 w 6400800"/>
                <a:gd name="connsiteY380" fmla="*/ 183356 h 514350"/>
                <a:gd name="connsiteX381" fmla="*/ 5665946 w 6400800"/>
                <a:gd name="connsiteY381" fmla="*/ 186214 h 514350"/>
                <a:gd name="connsiteX382" fmla="*/ 5664994 w 6400800"/>
                <a:gd name="connsiteY382" fmla="*/ 181451 h 514350"/>
                <a:gd name="connsiteX383" fmla="*/ 5664994 w 6400800"/>
                <a:gd name="connsiteY383" fmla="*/ 188119 h 514350"/>
                <a:gd name="connsiteX384" fmla="*/ 5654517 w 6400800"/>
                <a:gd name="connsiteY384" fmla="*/ 211931 h 514350"/>
                <a:gd name="connsiteX385" fmla="*/ 5653564 w 6400800"/>
                <a:gd name="connsiteY385" fmla="*/ 205264 h 514350"/>
                <a:gd name="connsiteX386" fmla="*/ 5652612 w 6400800"/>
                <a:gd name="connsiteY386" fmla="*/ 189071 h 514350"/>
                <a:gd name="connsiteX387" fmla="*/ 5657374 w 6400800"/>
                <a:gd name="connsiteY387" fmla="*/ 179546 h 514350"/>
                <a:gd name="connsiteX388" fmla="*/ 5652612 w 6400800"/>
                <a:gd name="connsiteY388" fmla="*/ 187166 h 514350"/>
                <a:gd name="connsiteX389" fmla="*/ 5652612 w 6400800"/>
                <a:gd name="connsiteY389" fmla="*/ 185261 h 514350"/>
                <a:gd name="connsiteX390" fmla="*/ 5651659 w 6400800"/>
                <a:gd name="connsiteY390" fmla="*/ 167164 h 514350"/>
                <a:gd name="connsiteX391" fmla="*/ 5649754 w 6400800"/>
                <a:gd name="connsiteY391" fmla="*/ 179546 h 514350"/>
                <a:gd name="connsiteX392" fmla="*/ 5649754 w 6400800"/>
                <a:gd name="connsiteY392" fmla="*/ 178594 h 514350"/>
                <a:gd name="connsiteX393" fmla="*/ 5647849 w 6400800"/>
                <a:gd name="connsiteY393" fmla="*/ 159544 h 514350"/>
                <a:gd name="connsiteX394" fmla="*/ 5646896 w 6400800"/>
                <a:gd name="connsiteY394" fmla="*/ 142399 h 514350"/>
                <a:gd name="connsiteX395" fmla="*/ 5645944 w 6400800"/>
                <a:gd name="connsiteY395" fmla="*/ 114776 h 514350"/>
                <a:gd name="connsiteX396" fmla="*/ 5644992 w 6400800"/>
                <a:gd name="connsiteY396" fmla="*/ 90011 h 514350"/>
                <a:gd name="connsiteX397" fmla="*/ 5641181 w 6400800"/>
                <a:gd name="connsiteY397" fmla="*/ 113824 h 514350"/>
                <a:gd name="connsiteX398" fmla="*/ 5639276 w 6400800"/>
                <a:gd name="connsiteY398" fmla="*/ 141446 h 514350"/>
                <a:gd name="connsiteX399" fmla="*/ 5638324 w 6400800"/>
                <a:gd name="connsiteY399" fmla="*/ 158591 h 514350"/>
                <a:gd name="connsiteX400" fmla="*/ 5638324 w 6400800"/>
                <a:gd name="connsiteY400" fmla="*/ 177641 h 514350"/>
                <a:gd name="connsiteX401" fmla="*/ 5639276 w 6400800"/>
                <a:gd name="connsiteY401" fmla="*/ 205264 h 514350"/>
                <a:gd name="connsiteX402" fmla="*/ 5637371 w 6400800"/>
                <a:gd name="connsiteY402" fmla="*/ 208121 h 514350"/>
                <a:gd name="connsiteX403" fmla="*/ 5636419 w 6400800"/>
                <a:gd name="connsiteY403" fmla="*/ 209074 h 514350"/>
                <a:gd name="connsiteX404" fmla="*/ 5636419 w 6400800"/>
                <a:gd name="connsiteY404" fmla="*/ 208121 h 514350"/>
                <a:gd name="connsiteX405" fmla="*/ 5636419 w 6400800"/>
                <a:gd name="connsiteY405" fmla="*/ 209074 h 514350"/>
                <a:gd name="connsiteX406" fmla="*/ 5631656 w 6400800"/>
                <a:gd name="connsiteY406" fmla="*/ 215741 h 514350"/>
                <a:gd name="connsiteX407" fmla="*/ 5626894 w 6400800"/>
                <a:gd name="connsiteY407" fmla="*/ 192881 h 514350"/>
                <a:gd name="connsiteX408" fmla="*/ 5626894 w 6400800"/>
                <a:gd name="connsiteY408" fmla="*/ 222409 h 514350"/>
                <a:gd name="connsiteX409" fmla="*/ 5626894 w 6400800"/>
                <a:gd name="connsiteY409" fmla="*/ 223361 h 514350"/>
                <a:gd name="connsiteX410" fmla="*/ 5618321 w 6400800"/>
                <a:gd name="connsiteY410" fmla="*/ 211931 h 514350"/>
                <a:gd name="connsiteX411" fmla="*/ 5593556 w 6400800"/>
                <a:gd name="connsiteY411" fmla="*/ 181451 h 514350"/>
                <a:gd name="connsiteX412" fmla="*/ 5570696 w 6400800"/>
                <a:gd name="connsiteY412" fmla="*/ 155734 h 514350"/>
                <a:gd name="connsiteX413" fmla="*/ 5590699 w 6400800"/>
                <a:gd name="connsiteY413" fmla="*/ 184309 h 514350"/>
                <a:gd name="connsiteX414" fmla="*/ 5612606 w 6400800"/>
                <a:gd name="connsiteY414" fmla="*/ 217646 h 514350"/>
                <a:gd name="connsiteX415" fmla="*/ 5616417 w 6400800"/>
                <a:gd name="connsiteY415" fmla="*/ 223361 h 514350"/>
                <a:gd name="connsiteX416" fmla="*/ 5620226 w 6400800"/>
                <a:gd name="connsiteY416" fmla="*/ 233839 h 514350"/>
                <a:gd name="connsiteX417" fmla="*/ 5620226 w 6400800"/>
                <a:gd name="connsiteY417" fmla="*/ 234791 h 514350"/>
                <a:gd name="connsiteX418" fmla="*/ 5616417 w 6400800"/>
                <a:gd name="connsiteY418" fmla="*/ 241459 h 514350"/>
                <a:gd name="connsiteX419" fmla="*/ 5616417 w 6400800"/>
                <a:gd name="connsiteY419" fmla="*/ 240506 h 514350"/>
                <a:gd name="connsiteX420" fmla="*/ 5616417 w 6400800"/>
                <a:gd name="connsiteY420" fmla="*/ 241459 h 514350"/>
                <a:gd name="connsiteX421" fmla="*/ 5614512 w 6400800"/>
                <a:gd name="connsiteY421" fmla="*/ 245269 h 514350"/>
                <a:gd name="connsiteX422" fmla="*/ 5594509 w 6400800"/>
                <a:gd name="connsiteY422" fmla="*/ 280511 h 514350"/>
                <a:gd name="connsiteX423" fmla="*/ 5594509 w 6400800"/>
                <a:gd name="connsiteY423" fmla="*/ 275749 h 514350"/>
                <a:gd name="connsiteX424" fmla="*/ 5594509 w 6400800"/>
                <a:gd name="connsiteY424" fmla="*/ 268129 h 514350"/>
                <a:gd name="connsiteX425" fmla="*/ 5596414 w 6400800"/>
                <a:gd name="connsiteY425" fmla="*/ 256699 h 514350"/>
                <a:gd name="connsiteX426" fmla="*/ 5594509 w 6400800"/>
                <a:gd name="connsiteY426" fmla="*/ 263366 h 514350"/>
                <a:gd name="connsiteX427" fmla="*/ 5594509 w 6400800"/>
                <a:gd name="connsiteY427" fmla="*/ 262414 h 514350"/>
                <a:gd name="connsiteX428" fmla="*/ 5592604 w 6400800"/>
                <a:gd name="connsiteY428" fmla="*/ 250031 h 514350"/>
                <a:gd name="connsiteX429" fmla="*/ 5590699 w 6400800"/>
                <a:gd name="connsiteY429" fmla="*/ 232886 h 514350"/>
                <a:gd name="connsiteX430" fmla="*/ 5596414 w 6400800"/>
                <a:gd name="connsiteY430" fmla="*/ 217646 h 514350"/>
                <a:gd name="connsiteX431" fmla="*/ 5589746 w 6400800"/>
                <a:gd name="connsiteY431" fmla="*/ 230029 h 514350"/>
                <a:gd name="connsiteX432" fmla="*/ 5589746 w 6400800"/>
                <a:gd name="connsiteY432" fmla="*/ 230029 h 514350"/>
                <a:gd name="connsiteX433" fmla="*/ 5586889 w 6400800"/>
                <a:gd name="connsiteY433" fmla="*/ 211931 h 514350"/>
                <a:gd name="connsiteX434" fmla="*/ 5585937 w 6400800"/>
                <a:gd name="connsiteY434" fmla="*/ 230029 h 514350"/>
                <a:gd name="connsiteX435" fmla="*/ 5585937 w 6400800"/>
                <a:gd name="connsiteY435" fmla="*/ 230981 h 514350"/>
                <a:gd name="connsiteX436" fmla="*/ 5583079 w 6400800"/>
                <a:gd name="connsiteY436" fmla="*/ 213836 h 514350"/>
                <a:gd name="connsiteX437" fmla="*/ 5583079 w 6400800"/>
                <a:gd name="connsiteY437" fmla="*/ 242411 h 514350"/>
                <a:gd name="connsiteX438" fmla="*/ 5581174 w 6400800"/>
                <a:gd name="connsiteY438" fmla="*/ 246221 h 514350"/>
                <a:gd name="connsiteX439" fmla="*/ 5579269 w 6400800"/>
                <a:gd name="connsiteY439" fmla="*/ 250031 h 514350"/>
                <a:gd name="connsiteX440" fmla="*/ 5571649 w 6400800"/>
                <a:gd name="connsiteY440" fmla="*/ 209074 h 514350"/>
                <a:gd name="connsiteX441" fmla="*/ 5567839 w 6400800"/>
                <a:gd name="connsiteY441" fmla="*/ 189071 h 514350"/>
                <a:gd name="connsiteX442" fmla="*/ 5563076 w 6400800"/>
                <a:gd name="connsiteY442" fmla="*/ 170974 h 514350"/>
                <a:gd name="connsiteX443" fmla="*/ 5555456 w 6400800"/>
                <a:gd name="connsiteY443" fmla="*/ 141446 h 514350"/>
                <a:gd name="connsiteX444" fmla="*/ 5548789 w 6400800"/>
                <a:gd name="connsiteY444" fmla="*/ 115729 h 514350"/>
                <a:gd name="connsiteX445" fmla="*/ 5551646 w 6400800"/>
                <a:gd name="connsiteY445" fmla="*/ 142399 h 514350"/>
                <a:gd name="connsiteX446" fmla="*/ 5555456 w 6400800"/>
                <a:gd name="connsiteY446" fmla="*/ 172879 h 514350"/>
                <a:gd name="connsiteX447" fmla="*/ 5558314 w 6400800"/>
                <a:gd name="connsiteY447" fmla="*/ 190976 h 514350"/>
                <a:gd name="connsiteX448" fmla="*/ 5560219 w 6400800"/>
                <a:gd name="connsiteY448" fmla="*/ 211931 h 514350"/>
                <a:gd name="connsiteX449" fmla="*/ 5564981 w 6400800"/>
                <a:gd name="connsiteY449" fmla="*/ 257651 h 514350"/>
                <a:gd name="connsiteX450" fmla="*/ 5565934 w 6400800"/>
                <a:gd name="connsiteY450" fmla="*/ 274796 h 514350"/>
                <a:gd name="connsiteX451" fmla="*/ 5564029 w 6400800"/>
                <a:gd name="connsiteY451" fmla="*/ 278606 h 514350"/>
                <a:gd name="connsiteX452" fmla="*/ 5561171 w 6400800"/>
                <a:gd name="connsiteY452" fmla="*/ 284321 h 514350"/>
                <a:gd name="connsiteX453" fmla="*/ 5549742 w 6400800"/>
                <a:gd name="connsiteY453" fmla="*/ 264319 h 514350"/>
                <a:gd name="connsiteX454" fmla="*/ 5548789 w 6400800"/>
                <a:gd name="connsiteY454" fmla="*/ 261461 h 514350"/>
                <a:gd name="connsiteX455" fmla="*/ 5544026 w 6400800"/>
                <a:gd name="connsiteY455" fmla="*/ 247174 h 514350"/>
                <a:gd name="connsiteX456" fmla="*/ 5547837 w 6400800"/>
                <a:gd name="connsiteY456" fmla="*/ 228124 h 514350"/>
                <a:gd name="connsiteX457" fmla="*/ 5542121 w 6400800"/>
                <a:gd name="connsiteY457" fmla="*/ 241459 h 514350"/>
                <a:gd name="connsiteX458" fmla="*/ 5541169 w 6400800"/>
                <a:gd name="connsiteY458" fmla="*/ 238601 h 514350"/>
                <a:gd name="connsiteX459" fmla="*/ 5538312 w 6400800"/>
                <a:gd name="connsiteY459" fmla="*/ 230029 h 514350"/>
                <a:gd name="connsiteX460" fmla="*/ 5551646 w 6400800"/>
                <a:gd name="connsiteY460" fmla="*/ 167164 h 514350"/>
                <a:gd name="connsiteX461" fmla="*/ 5528787 w 6400800"/>
                <a:gd name="connsiteY461" fmla="*/ 225266 h 514350"/>
                <a:gd name="connsiteX462" fmla="*/ 5524976 w 6400800"/>
                <a:gd name="connsiteY462" fmla="*/ 217646 h 514350"/>
                <a:gd name="connsiteX463" fmla="*/ 5524024 w 6400800"/>
                <a:gd name="connsiteY463" fmla="*/ 207169 h 514350"/>
                <a:gd name="connsiteX464" fmla="*/ 5521167 w 6400800"/>
                <a:gd name="connsiteY464" fmla="*/ 185261 h 514350"/>
                <a:gd name="connsiteX465" fmla="*/ 5520214 w 6400800"/>
                <a:gd name="connsiteY465" fmla="*/ 207169 h 514350"/>
                <a:gd name="connsiteX466" fmla="*/ 5520214 w 6400800"/>
                <a:gd name="connsiteY466" fmla="*/ 232886 h 514350"/>
                <a:gd name="connsiteX467" fmla="*/ 5520214 w 6400800"/>
                <a:gd name="connsiteY467" fmla="*/ 248126 h 514350"/>
                <a:gd name="connsiteX468" fmla="*/ 5520214 w 6400800"/>
                <a:gd name="connsiteY468" fmla="*/ 250984 h 514350"/>
                <a:gd name="connsiteX469" fmla="*/ 5505926 w 6400800"/>
                <a:gd name="connsiteY469" fmla="*/ 291941 h 514350"/>
                <a:gd name="connsiteX470" fmla="*/ 5503069 w 6400800"/>
                <a:gd name="connsiteY470" fmla="*/ 300514 h 514350"/>
                <a:gd name="connsiteX471" fmla="*/ 5498306 w 6400800"/>
                <a:gd name="connsiteY471" fmla="*/ 290989 h 514350"/>
                <a:gd name="connsiteX472" fmla="*/ 5498306 w 6400800"/>
                <a:gd name="connsiteY472" fmla="*/ 285274 h 514350"/>
                <a:gd name="connsiteX473" fmla="*/ 5499259 w 6400800"/>
                <a:gd name="connsiteY473" fmla="*/ 269081 h 514350"/>
                <a:gd name="connsiteX474" fmla="*/ 5494496 w 6400800"/>
                <a:gd name="connsiteY474" fmla="*/ 284321 h 514350"/>
                <a:gd name="connsiteX475" fmla="*/ 5481162 w 6400800"/>
                <a:gd name="connsiteY475" fmla="*/ 257651 h 514350"/>
                <a:gd name="connsiteX476" fmla="*/ 5483067 w 6400800"/>
                <a:gd name="connsiteY476" fmla="*/ 251936 h 514350"/>
                <a:gd name="connsiteX477" fmla="*/ 5492592 w 6400800"/>
                <a:gd name="connsiteY477" fmla="*/ 224314 h 514350"/>
                <a:gd name="connsiteX478" fmla="*/ 5500212 w 6400800"/>
                <a:gd name="connsiteY478" fmla="*/ 200501 h 514350"/>
                <a:gd name="connsiteX479" fmla="*/ 5493544 w 6400800"/>
                <a:gd name="connsiteY479" fmla="*/ 212884 h 514350"/>
                <a:gd name="connsiteX480" fmla="*/ 5502117 w 6400800"/>
                <a:gd name="connsiteY480" fmla="*/ 188119 h 514350"/>
                <a:gd name="connsiteX481" fmla="*/ 5511642 w 6400800"/>
                <a:gd name="connsiteY481" fmla="*/ 160496 h 514350"/>
                <a:gd name="connsiteX482" fmla="*/ 5498306 w 6400800"/>
                <a:gd name="connsiteY482" fmla="*/ 186214 h 514350"/>
                <a:gd name="connsiteX483" fmla="*/ 5484019 w 6400800"/>
                <a:gd name="connsiteY483" fmla="*/ 215741 h 514350"/>
                <a:gd name="connsiteX484" fmla="*/ 5475446 w 6400800"/>
                <a:gd name="connsiteY484" fmla="*/ 233839 h 514350"/>
                <a:gd name="connsiteX485" fmla="*/ 5472589 w 6400800"/>
                <a:gd name="connsiteY485" fmla="*/ 241459 h 514350"/>
                <a:gd name="connsiteX486" fmla="*/ 5461159 w 6400800"/>
                <a:gd name="connsiteY486" fmla="*/ 221456 h 514350"/>
                <a:gd name="connsiteX487" fmla="*/ 5469731 w 6400800"/>
                <a:gd name="connsiteY487" fmla="*/ 248126 h 514350"/>
                <a:gd name="connsiteX488" fmla="*/ 5466874 w 6400800"/>
                <a:gd name="connsiteY488" fmla="*/ 254794 h 514350"/>
                <a:gd name="connsiteX489" fmla="*/ 5465921 w 6400800"/>
                <a:gd name="connsiteY489" fmla="*/ 257651 h 514350"/>
                <a:gd name="connsiteX490" fmla="*/ 5464969 w 6400800"/>
                <a:gd name="connsiteY490" fmla="*/ 256699 h 514350"/>
                <a:gd name="connsiteX491" fmla="*/ 5455444 w 6400800"/>
                <a:gd name="connsiteY491" fmla="*/ 246221 h 514350"/>
                <a:gd name="connsiteX492" fmla="*/ 5452587 w 6400800"/>
                <a:gd name="connsiteY492" fmla="*/ 230029 h 514350"/>
                <a:gd name="connsiteX493" fmla="*/ 5448776 w 6400800"/>
                <a:gd name="connsiteY493" fmla="*/ 214789 h 514350"/>
                <a:gd name="connsiteX494" fmla="*/ 5442109 w 6400800"/>
                <a:gd name="connsiteY494" fmla="*/ 190024 h 514350"/>
                <a:gd name="connsiteX495" fmla="*/ 5442109 w 6400800"/>
                <a:gd name="connsiteY495" fmla="*/ 190024 h 514350"/>
                <a:gd name="connsiteX496" fmla="*/ 5442109 w 6400800"/>
                <a:gd name="connsiteY496" fmla="*/ 180499 h 514350"/>
                <a:gd name="connsiteX497" fmla="*/ 5441156 w 6400800"/>
                <a:gd name="connsiteY497" fmla="*/ 186214 h 514350"/>
                <a:gd name="connsiteX498" fmla="*/ 5436394 w 6400800"/>
                <a:gd name="connsiteY498" fmla="*/ 169069 h 514350"/>
                <a:gd name="connsiteX499" fmla="*/ 5438299 w 6400800"/>
                <a:gd name="connsiteY499" fmla="*/ 190976 h 514350"/>
                <a:gd name="connsiteX500" fmla="*/ 5439251 w 6400800"/>
                <a:gd name="connsiteY500" fmla="*/ 195739 h 514350"/>
                <a:gd name="connsiteX501" fmla="*/ 5433537 w 6400800"/>
                <a:gd name="connsiteY501" fmla="*/ 225266 h 514350"/>
                <a:gd name="connsiteX502" fmla="*/ 5429726 w 6400800"/>
                <a:gd name="connsiteY502" fmla="*/ 221456 h 514350"/>
                <a:gd name="connsiteX503" fmla="*/ 5433537 w 6400800"/>
                <a:gd name="connsiteY503" fmla="*/ 225266 h 514350"/>
                <a:gd name="connsiteX504" fmla="*/ 5430679 w 6400800"/>
                <a:gd name="connsiteY504" fmla="*/ 240506 h 514350"/>
                <a:gd name="connsiteX505" fmla="*/ 5428774 w 6400800"/>
                <a:gd name="connsiteY505" fmla="*/ 228124 h 514350"/>
                <a:gd name="connsiteX506" fmla="*/ 5428774 w 6400800"/>
                <a:gd name="connsiteY506" fmla="*/ 242411 h 514350"/>
                <a:gd name="connsiteX507" fmla="*/ 5424012 w 6400800"/>
                <a:gd name="connsiteY507" fmla="*/ 222409 h 514350"/>
                <a:gd name="connsiteX508" fmla="*/ 5419249 w 6400800"/>
                <a:gd name="connsiteY508" fmla="*/ 200501 h 514350"/>
                <a:gd name="connsiteX509" fmla="*/ 5420201 w 6400800"/>
                <a:gd name="connsiteY509" fmla="*/ 223361 h 514350"/>
                <a:gd name="connsiteX510" fmla="*/ 5424964 w 6400800"/>
                <a:gd name="connsiteY510" fmla="*/ 274796 h 514350"/>
                <a:gd name="connsiteX511" fmla="*/ 5420201 w 6400800"/>
                <a:gd name="connsiteY511" fmla="*/ 299561 h 514350"/>
                <a:gd name="connsiteX512" fmla="*/ 5418296 w 6400800"/>
                <a:gd name="connsiteY512" fmla="*/ 305276 h 514350"/>
                <a:gd name="connsiteX513" fmla="*/ 5415439 w 6400800"/>
                <a:gd name="connsiteY513" fmla="*/ 298609 h 514350"/>
                <a:gd name="connsiteX514" fmla="*/ 5417344 w 6400800"/>
                <a:gd name="connsiteY514" fmla="*/ 291941 h 514350"/>
                <a:gd name="connsiteX515" fmla="*/ 5414487 w 6400800"/>
                <a:gd name="connsiteY515" fmla="*/ 296704 h 514350"/>
                <a:gd name="connsiteX516" fmla="*/ 5414487 w 6400800"/>
                <a:gd name="connsiteY516" fmla="*/ 295751 h 514350"/>
                <a:gd name="connsiteX517" fmla="*/ 5411629 w 6400800"/>
                <a:gd name="connsiteY517" fmla="*/ 287179 h 514350"/>
                <a:gd name="connsiteX518" fmla="*/ 5414487 w 6400800"/>
                <a:gd name="connsiteY518" fmla="*/ 268129 h 514350"/>
                <a:gd name="connsiteX519" fmla="*/ 5409724 w 6400800"/>
                <a:gd name="connsiteY519" fmla="*/ 282416 h 514350"/>
                <a:gd name="connsiteX520" fmla="*/ 5404009 w 6400800"/>
                <a:gd name="connsiteY520" fmla="*/ 267176 h 514350"/>
                <a:gd name="connsiteX521" fmla="*/ 5399246 w 6400800"/>
                <a:gd name="connsiteY521" fmla="*/ 253841 h 514350"/>
                <a:gd name="connsiteX522" fmla="*/ 5400199 w 6400800"/>
                <a:gd name="connsiteY522" fmla="*/ 232886 h 514350"/>
                <a:gd name="connsiteX523" fmla="*/ 5396389 w 6400800"/>
                <a:gd name="connsiteY523" fmla="*/ 247174 h 514350"/>
                <a:gd name="connsiteX524" fmla="*/ 5395437 w 6400800"/>
                <a:gd name="connsiteY524" fmla="*/ 244316 h 514350"/>
                <a:gd name="connsiteX525" fmla="*/ 5387817 w 6400800"/>
                <a:gd name="connsiteY525" fmla="*/ 224314 h 514350"/>
                <a:gd name="connsiteX526" fmla="*/ 5391626 w 6400800"/>
                <a:gd name="connsiteY526" fmla="*/ 245269 h 514350"/>
                <a:gd name="connsiteX527" fmla="*/ 5394484 w 6400800"/>
                <a:gd name="connsiteY527" fmla="*/ 257651 h 514350"/>
                <a:gd name="connsiteX528" fmla="*/ 5384959 w 6400800"/>
                <a:gd name="connsiteY528" fmla="*/ 300514 h 514350"/>
                <a:gd name="connsiteX529" fmla="*/ 5384006 w 6400800"/>
                <a:gd name="connsiteY529" fmla="*/ 297656 h 514350"/>
                <a:gd name="connsiteX530" fmla="*/ 5382101 w 6400800"/>
                <a:gd name="connsiteY530" fmla="*/ 283369 h 514350"/>
                <a:gd name="connsiteX531" fmla="*/ 5382101 w 6400800"/>
                <a:gd name="connsiteY531" fmla="*/ 287179 h 514350"/>
                <a:gd name="connsiteX532" fmla="*/ 5380196 w 6400800"/>
                <a:gd name="connsiteY532" fmla="*/ 276701 h 514350"/>
                <a:gd name="connsiteX533" fmla="*/ 5379244 w 6400800"/>
                <a:gd name="connsiteY533" fmla="*/ 272891 h 514350"/>
                <a:gd name="connsiteX534" fmla="*/ 5380196 w 6400800"/>
                <a:gd name="connsiteY534" fmla="*/ 269081 h 514350"/>
                <a:gd name="connsiteX535" fmla="*/ 5379244 w 6400800"/>
                <a:gd name="connsiteY535" fmla="*/ 271939 h 514350"/>
                <a:gd name="connsiteX536" fmla="*/ 5372576 w 6400800"/>
                <a:gd name="connsiteY536" fmla="*/ 241459 h 514350"/>
                <a:gd name="connsiteX537" fmla="*/ 5373529 w 6400800"/>
                <a:gd name="connsiteY537" fmla="*/ 232886 h 514350"/>
                <a:gd name="connsiteX538" fmla="*/ 5378292 w 6400800"/>
                <a:gd name="connsiteY538" fmla="*/ 190024 h 514350"/>
                <a:gd name="connsiteX539" fmla="*/ 5384006 w 6400800"/>
                <a:gd name="connsiteY539" fmla="*/ 153829 h 514350"/>
                <a:gd name="connsiteX540" fmla="*/ 5386864 w 6400800"/>
                <a:gd name="connsiteY540" fmla="*/ 138589 h 514350"/>
                <a:gd name="connsiteX541" fmla="*/ 5389721 w 6400800"/>
                <a:gd name="connsiteY541" fmla="*/ 126206 h 514350"/>
                <a:gd name="connsiteX542" fmla="*/ 5394484 w 6400800"/>
                <a:gd name="connsiteY542" fmla="*/ 102394 h 514350"/>
                <a:gd name="connsiteX543" fmla="*/ 5385912 w 6400800"/>
                <a:gd name="connsiteY543" fmla="*/ 125254 h 514350"/>
                <a:gd name="connsiteX544" fmla="*/ 5381149 w 6400800"/>
                <a:gd name="connsiteY544" fmla="*/ 137636 h 514350"/>
                <a:gd name="connsiteX545" fmla="*/ 5376387 w 6400800"/>
                <a:gd name="connsiteY545" fmla="*/ 151924 h 514350"/>
                <a:gd name="connsiteX546" fmla="*/ 5366862 w 6400800"/>
                <a:gd name="connsiteY546" fmla="*/ 188119 h 514350"/>
                <a:gd name="connsiteX547" fmla="*/ 5363051 w 6400800"/>
                <a:gd name="connsiteY547" fmla="*/ 205264 h 514350"/>
                <a:gd name="connsiteX548" fmla="*/ 5360194 w 6400800"/>
                <a:gd name="connsiteY548" fmla="*/ 196691 h 514350"/>
                <a:gd name="connsiteX549" fmla="*/ 5361146 w 6400800"/>
                <a:gd name="connsiteY549" fmla="*/ 210979 h 514350"/>
                <a:gd name="connsiteX550" fmla="*/ 5357337 w 6400800"/>
                <a:gd name="connsiteY550" fmla="*/ 230981 h 514350"/>
                <a:gd name="connsiteX551" fmla="*/ 5355431 w 6400800"/>
                <a:gd name="connsiteY551" fmla="*/ 245269 h 514350"/>
                <a:gd name="connsiteX552" fmla="*/ 5354479 w 6400800"/>
                <a:gd name="connsiteY552" fmla="*/ 235744 h 514350"/>
                <a:gd name="connsiteX553" fmla="*/ 5354479 w 6400800"/>
                <a:gd name="connsiteY553" fmla="*/ 230029 h 514350"/>
                <a:gd name="connsiteX554" fmla="*/ 5355431 w 6400800"/>
                <a:gd name="connsiteY554" fmla="*/ 210979 h 514350"/>
                <a:gd name="connsiteX555" fmla="*/ 5352574 w 6400800"/>
                <a:gd name="connsiteY555" fmla="*/ 222409 h 514350"/>
                <a:gd name="connsiteX556" fmla="*/ 5347812 w 6400800"/>
                <a:gd name="connsiteY556" fmla="*/ 190024 h 514350"/>
                <a:gd name="connsiteX557" fmla="*/ 5347812 w 6400800"/>
                <a:gd name="connsiteY557" fmla="*/ 179546 h 514350"/>
                <a:gd name="connsiteX558" fmla="*/ 5347812 w 6400800"/>
                <a:gd name="connsiteY558" fmla="*/ 160496 h 514350"/>
                <a:gd name="connsiteX559" fmla="*/ 5344954 w 6400800"/>
                <a:gd name="connsiteY559" fmla="*/ 173831 h 514350"/>
                <a:gd name="connsiteX560" fmla="*/ 5341144 w 6400800"/>
                <a:gd name="connsiteY560" fmla="*/ 150019 h 514350"/>
                <a:gd name="connsiteX561" fmla="*/ 5342096 w 6400800"/>
                <a:gd name="connsiteY561" fmla="*/ 177641 h 514350"/>
                <a:gd name="connsiteX562" fmla="*/ 5342096 w 6400800"/>
                <a:gd name="connsiteY562" fmla="*/ 187166 h 514350"/>
                <a:gd name="connsiteX563" fmla="*/ 5340192 w 6400800"/>
                <a:gd name="connsiteY563" fmla="*/ 200501 h 514350"/>
                <a:gd name="connsiteX564" fmla="*/ 5337334 w 6400800"/>
                <a:gd name="connsiteY564" fmla="*/ 229076 h 514350"/>
                <a:gd name="connsiteX565" fmla="*/ 5336381 w 6400800"/>
                <a:gd name="connsiteY565" fmla="*/ 263366 h 514350"/>
                <a:gd name="connsiteX566" fmla="*/ 5336381 w 6400800"/>
                <a:gd name="connsiteY566" fmla="*/ 282416 h 514350"/>
                <a:gd name="connsiteX567" fmla="*/ 5336381 w 6400800"/>
                <a:gd name="connsiteY567" fmla="*/ 282416 h 514350"/>
                <a:gd name="connsiteX568" fmla="*/ 5333524 w 6400800"/>
                <a:gd name="connsiteY568" fmla="*/ 293846 h 514350"/>
                <a:gd name="connsiteX569" fmla="*/ 5332571 w 6400800"/>
                <a:gd name="connsiteY569" fmla="*/ 291941 h 514350"/>
                <a:gd name="connsiteX570" fmla="*/ 5327809 w 6400800"/>
                <a:gd name="connsiteY570" fmla="*/ 278606 h 514350"/>
                <a:gd name="connsiteX571" fmla="*/ 5319237 w 6400800"/>
                <a:gd name="connsiteY571" fmla="*/ 252889 h 514350"/>
                <a:gd name="connsiteX572" fmla="*/ 5310664 w 6400800"/>
                <a:gd name="connsiteY572" fmla="*/ 230029 h 514350"/>
                <a:gd name="connsiteX573" fmla="*/ 5315426 w 6400800"/>
                <a:gd name="connsiteY573" fmla="*/ 253841 h 514350"/>
                <a:gd name="connsiteX574" fmla="*/ 5318284 w 6400800"/>
                <a:gd name="connsiteY574" fmla="*/ 267176 h 514350"/>
                <a:gd name="connsiteX575" fmla="*/ 5315426 w 6400800"/>
                <a:gd name="connsiteY575" fmla="*/ 263366 h 514350"/>
                <a:gd name="connsiteX576" fmla="*/ 5320189 w 6400800"/>
                <a:gd name="connsiteY576" fmla="*/ 276701 h 514350"/>
                <a:gd name="connsiteX577" fmla="*/ 5321142 w 6400800"/>
                <a:gd name="connsiteY577" fmla="*/ 281464 h 514350"/>
                <a:gd name="connsiteX578" fmla="*/ 5324951 w 6400800"/>
                <a:gd name="connsiteY578" fmla="*/ 297656 h 514350"/>
                <a:gd name="connsiteX579" fmla="*/ 5326856 w 6400800"/>
                <a:gd name="connsiteY579" fmla="*/ 306229 h 514350"/>
                <a:gd name="connsiteX580" fmla="*/ 5316379 w 6400800"/>
                <a:gd name="connsiteY580" fmla="*/ 322421 h 514350"/>
                <a:gd name="connsiteX581" fmla="*/ 5306854 w 6400800"/>
                <a:gd name="connsiteY581" fmla="*/ 338614 h 514350"/>
                <a:gd name="connsiteX582" fmla="*/ 5298281 w 6400800"/>
                <a:gd name="connsiteY582" fmla="*/ 354806 h 514350"/>
                <a:gd name="connsiteX583" fmla="*/ 5298281 w 6400800"/>
                <a:gd name="connsiteY583" fmla="*/ 344329 h 514350"/>
                <a:gd name="connsiteX584" fmla="*/ 5301139 w 6400800"/>
                <a:gd name="connsiteY584" fmla="*/ 318611 h 514350"/>
                <a:gd name="connsiteX585" fmla="*/ 5305901 w 6400800"/>
                <a:gd name="connsiteY585" fmla="*/ 291941 h 514350"/>
                <a:gd name="connsiteX586" fmla="*/ 5311617 w 6400800"/>
                <a:gd name="connsiteY586" fmla="*/ 269081 h 514350"/>
                <a:gd name="connsiteX587" fmla="*/ 5302092 w 6400800"/>
                <a:gd name="connsiteY587" fmla="*/ 290989 h 514350"/>
                <a:gd name="connsiteX588" fmla="*/ 5299234 w 6400800"/>
                <a:gd name="connsiteY588" fmla="*/ 298609 h 514350"/>
                <a:gd name="connsiteX589" fmla="*/ 5299234 w 6400800"/>
                <a:gd name="connsiteY589" fmla="*/ 263366 h 514350"/>
                <a:gd name="connsiteX590" fmla="*/ 5290662 w 6400800"/>
                <a:gd name="connsiteY590" fmla="*/ 317659 h 514350"/>
                <a:gd name="connsiteX591" fmla="*/ 5289709 w 6400800"/>
                <a:gd name="connsiteY591" fmla="*/ 312896 h 514350"/>
                <a:gd name="connsiteX592" fmla="*/ 5284946 w 6400800"/>
                <a:gd name="connsiteY592" fmla="*/ 295751 h 514350"/>
                <a:gd name="connsiteX593" fmla="*/ 5284946 w 6400800"/>
                <a:gd name="connsiteY593" fmla="*/ 295751 h 514350"/>
                <a:gd name="connsiteX594" fmla="*/ 5284946 w 6400800"/>
                <a:gd name="connsiteY594" fmla="*/ 295751 h 514350"/>
                <a:gd name="connsiteX595" fmla="*/ 5282089 w 6400800"/>
                <a:gd name="connsiteY595" fmla="*/ 284321 h 514350"/>
                <a:gd name="connsiteX596" fmla="*/ 5281137 w 6400800"/>
                <a:gd name="connsiteY596" fmla="*/ 282416 h 514350"/>
                <a:gd name="connsiteX597" fmla="*/ 5288756 w 6400800"/>
                <a:gd name="connsiteY597" fmla="*/ 252889 h 514350"/>
                <a:gd name="connsiteX598" fmla="*/ 5279231 w 6400800"/>
                <a:gd name="connsiteY598" fmla="*/ 273844 h 514350"/>
                <a:gd name="connsiteX599" fmla="*/ 5275421 w 6400800"/>
                <a:gd name="connsiteY599" fmla="*/ 262414 h 514350"/>
                <a:gd name="connsiteX600" fmla="*/ 5268754 w 6400800"/>
                <a:gd name="connsiteY600" fmla="*/ 243364 h 514350"/>
                <a:gd name="connsiteX601" fmla="*/ 5271612 w 6400800"/>
                <a:gd name="connsiteY601" fmla="*/ 262414 h 514350"/>
                <a:gd name="connsiteX602" fmla="*/ 5274469 w 6400800"/>
                <a:gd name="connsiteY602" fmla="*/ 283369 h 514350"/>
                <a:gd name="connsiteX603" fmla="*/ 5263039 w 6400800"/>
                <a:gd name="connsiteY603" fmla="*/ 310039 h 514350"/>
                <a:gd name="connsiteX604" fmla="*/ 5263039 w 6400800"/>
                <a:gd name="connsiteY604" fmla="*/ 302419 h 514350"/>
                <a:gd name="connsiteX605" fmla="*/ 5260181 w 6400800"/>
                <a:gd name="connsiteY605" fmla="*/ 310039 h 514350"/>
                <a:gd name="connsiteX606" fmla="*/ 5260181 w 6400800"/>
                <a:gd name="connsiteY606" fmla="*/ 309086 h 514350"/>
                <a:gd name="connsiteX607" fmla="*/ 5261134 w 6400800"/>
                <a:gd name="connsiteY607" fmla="*/ 301466 h 514350"/>
                <a:gd name="connsiteX608" fmla="*/ 5262087 w 6400800"/>
                <a:gd name="connsiteY608" fmla="*/ 284321 h 514350"/>
                <a:gd name="connsiteX609" fmla="*/ 5263039 w 6400800"/>
                <a:gd name="connsiteY609" fmla="*/ 269081 h 514350"/>
                <a:gd name="connsiteX610" fmla="*/ 5258276 w 6400800"/>
                <a:gd name="connsiteY610" fmla="*/ 283369 h 514350"/>
                <a:gd name="connsiteX611" fmla="*/ 5257324 w 6400800"/>
                <a:gd name="connsiteY611" fmla="*/ 287179 h 514350"/>
                <a:gd name="connsiteX612" fmla="*/ 5255419 w 6400800"/>
                <a:gd name="connsiteY612" fmla="*/ 273844 h 514350"/>
                <a:gd name="connsiteX613" fmla="*/ 5255419 w 6400800"/>
                <a:gd name="connsiteY613" fmla="*/ 271939 h 514350"/>
                <a:gd name="connsiteX614" fmla="*/ 5255419 w 6400800"/>
                <a:gd name="connsiteY614" fmla="*/ 270986 h 514350"/>
                <a:gd name="connsiteX615" fmla="*/ 5256371 w 6400800"/>
                <a:gd name="connsiteY615" fmla="*/ 266224 h 514350"/>
                <a:gd name="connsiteX616" fmla="*/ 5255419 w 6400800"/>
                <a:gd name="connsiteY616" fmla="*/ 268129 h 514350"/>
                <a:gd name="connsiteX617" fmla="*/ 5258276 w 6400800"/>
                <a:gd name="connsiteY617" fmla="*/ 232886 h 514350"/>
                <a:gd name="connsiteX618" fmla="*/ 5263039 w 6400800"/>
                <a:gd name="connsiteY618" fmla="*/ 158591 h 514350"/>
                <a:gd name="connsiteX619" fmla="*/ 5252562 w 6400800"/>
                <a:gd name="connsiteY619" fmla="*/ 204311 h 514350"/>
                <a:gd name="connsiteX620" fmla="*/ 5255419 w 6400800"/>
                <a:gd name="connsiteY620" fmla="*/ 173831 h 514350"/>
                <a:gd name="connsiteX621" fmla="*/ 5258276 w 6400800"/>
                <a:gd name="connsiteY621" fmla="*/ 140494 h 514350"/>
                <a:gd name="connsiteX622" fmla="*/ 5260181 w 6400800"/>
                <a:gd name="connsiteY622" fmla="*/ 110966 h 514350"/>
                <a:gd name="connsiteX623" fmla="*/ 5254467 w 6400800"/>
                <a:gd name="connsiteY623" fmla="*/ 139541 h 514350"/>
                <a:gd name="connsiteX624" fmla="*/ 5247799 w 6400800"/>
                <a:gd name="connsiteY624" fmla="*/ 172879 h 514350"/>
                <a:gd name="connsiteX625" fmla="*/ 5243989 w 6400800"/>
                <a:gd name="connsiteY625" fmla="*/ 192881 h 514350"/>
                <a:gd name="connsiteX626" fmla="*/ 5243037 w 6400800"/>
                <a:gd name="connsiteY626" fmla="*/ 201454 h 514350"/>
                <a:gd name="connsiteX627" fmla="*/ 5241131 w 6400800"/>
                <a:gd name="connsiteY627" fmla="*/ 194786 h 514350"/>
                <a:gd name="connsiteX628" fmla="*/ 5241131 w 6400800"/>
                <a:gd name="connsiteY628" fmla="*/ 209074 h 514350"/>
                <a:gd name="connsiteX629" fmla="*/ 5240179 w 6400800"/>
                <a:gd name="connsiteY629" fmla="*/ 215741 h 514350"/>
                <a:gd name="connsiteX630" fmla="*/ 5235417 w 6400800"/>
                <a:gd name="connsiteY630" fmla="*/ 246221 h 514350"/>
                <a:gd name="connsiteX631" fmla="*/ 5230654 w 6400800"/>
                <a:gd name="connsiteY631" fmla="*/ 252889 h 514350"/>
                <a:gd name="connsiteX632" fmla="*/ 5222081 w 6400800"/>
                <a:gd name="connsiteY632" fmla="*/ 266224 h 514350"/>
                <a:gd name="connsiteX633" fmla="*/ 5215414 w 6400800"/>
                <a:gd name="connsiteY633" fmla="*/ 279559 h 514350"/>
                <a:gd name="connsiteX634" fmla="*/ 5215414 w 6400800"/>
                <a:gd name="connsiteY634" fmla="*/ 278606 h 514350"/>
                <a:gd name="connsiteX635" fmla="*/ 5216367 w 6400800"/>
                <a:gd name="connsiteY635" fmla="*/ 275749 h 514350"/>
                <a:gd name="connsiteX636" fmla="*/ 5215414 w 6400800"/>
                <a:gd name="connsiteY636" fmla="*/ 277654 h 514350"/>
                <a:gd name="connsiteX637" fmla="*/ 5211604 w 6400800"/>
                <a:gd name="connsiteY637" fmla="*/ 249079 h 514350"/>
                <a:gd name="connsiteX638" fmla="*/ 5208746 w 6400800"/>
                <a:gd name="connsiteY638" fmla="*/ 224314 h 514350"/>
                <a:gd name="connsiteX639" fmla="*/ 5205889 w 6400800"/>
                <a:gd name="connsiteY639" fmla="*/ 202406 h 514350"/>
                <a:gd name="connsiteX640" fmla="*/ 5204937 w 6400800"/>
                <a:gd name="connsiteY640" fmla="*/ 224314 h 514350"/>
                <a:gd name="connsiteX641" fmla="*/ 5204937 w 6400800"/>
                <a:gd name="connsiteY641" fmla="*/ 249079 h 514350"/>
                <a:gd name="connsiteX642" fmla="*/ 5204937 w 6400800"/>
                <a:gd name="connsiteY642" fmla="*/ 264319 h 514350"/>
                <a:gd name="connsiteX643" fmla="*/ 5205889 w 6400800"/>
                <a:gd name="connsiteY643" fmla="*/ 281464 h 514350"/>
                <a:gd name="connsiteX644" fmla="*/ 5205889 w 6400800"/>
                <a:gd name="connsiteY644" fmla="*/ 289084 h 514350"/>
                <a:gd name="connsiteX645" fmla="*/ 5203984 w 6400800"/>
                <a:gd name="connsiteY645" fmla="*/ 286226 h 514350"/>
                <a:gd name="connsiteX646" fmla="*/ 5205889 w 6400800"/>
                <a:gd name="connsiteY646" fmla="*/ 290989 h 514350"/>
                <a:gd name="connsiteX647" fmla="*/ 5205889 w 6400800"/>
                <a:gd name="connsiteY647" fmla="*/ 291941 h 514350"/>
                <a:gd name="connsiteX648" fmla="*/ 5203984 w 6400800"/>
                <a:gd name="connsiteY648" fmla="*/ 287179 h 514350"/>
                <a:gd name="connsiteX649" fmla="*/ 5203984 w 6400800"/>
                <a:gd name="connsiteY649" fmla="*/ 287179 h 514350"/>
                <a:gd name="connsiteX650" fmla="*/ 5203984 w 6400800"/>
                <a:gd name="connsiteY650" fmla="*/ 287179 h 514350"/>
                <a:gd name="connsiteX651" fmla="*/ 5199221 w 6400800"/>
                <a:gd name="connsiteY651" fmla="*/ 278606 h 514350"/>
                <a:gd name="connsiteX652" fmla="*/ 5202079 w 6400800"/>
                <a:gd name="connsiteY652" fmla="*/ 290989 h 514350"/>
                <a:gd name="connsiteX653" fmla="*/ 5198269 w 6400800"/>
                <a:gd name="connsiteY653" fmla="*/ 300514 h 514350"/>
                <a:gd name="connsiteX654" fmla="*/ 5195412 w 6400800"/>
                <a:gd name="connsiteY654" fmla="*/ 295751 h 514350"/>
                <a:gd name="connsiteX655" fmla="*/ 5191601 w 6400800"/>
                <a:gd name="connsiteY655" fmla="*/ 263366 h 514350"/>
                <a:gd name="connsiteX656" fmla="*/ 5184934 w 6400800"/>
                <a:gd name="connsiteY656" fmla="*/ 190024 h 514350"/>
                <a:gd name="connsiteX657" fmla="*/ 5183981 w 6400800"/>
                <a:gd name="connsiteY657" fmla="*/ 169069 h 514350"/>
                <a:gd name="connsiteX658" fmla="*/ 5183981 w 6400800"/>
                <a:gd name="connsiteY658" fmla="*/ 161449 h 514350"/>
                <a:gd name="connsiteX659" fmla="*/ 5183029 w 6400800"/>
                <a:gd name="connsiteY659" fmla="*/ 169069 h 514350"/>
                <a:gd name="connsiteX660" fmla="*/ 5181124 w 6400800"/>
                <a:gd name="connsiteY660" fmla="*/ 190024 h 514350"/>
                <a:gd name="connsiteX661" fmla="*/ 5180171 w 6400800"/>
                <a:gd name="connsiteY661" fmla="*/ 211931 h 514350"/>
                <a:gd name="connsiteX662" fmla="*/ 5177314 w 6400800"/>
                <a:gd name="connsiteY662" fmla="*/ 215741 h 514350"/>
                <a:gd name="connsiteX663" fmla="*/ 5165884 w 6400800"/>
                <a:gd name="connsiteY663" fmla="*/ 231934 h 514350"/>
                <a:gd name="connsiteX664" fmla="*/ 5163979 w 6400800"/>
                <a:gd name="connsiteY664" fmla="*/ 235744 h 514350"/>
                <a:gd name="connsiteX665" fmla="*/ 5161121 w 6400800"/>
                <a:gd name="connsiteY665" fmla="*/ 230029 h 514350"/>
                <a:gd name="connsiteX666" fmla="*/ 5161121 w 6400800"/>
                <a:gd name="connsiteY666" fmla="*/ 229076 h 514350"/>
                <a:gd name="connsiteX667" fmla="*/ 5163026 w 6400800"/>
                <a:gd name="connsiteY667" fmla="*/ 213836 h 514350"/>
                <a:gd name="connsiteX668" fmla="*/ 5163979 w 6400800"/>
                <a:gd name="connsiteY668" fmla="*/ 208121 h 514350"/>
                <a:gd name="connsiteX669" fmla="*/ 5158264 w 6400800"/>
                <a:gd name="connsiteY669" fmla="*/ 224314 h 514350"/>
                <a:gd name="connsiteX670" fmla="*/ 5156359 w 6400800"/>
                <a:gd name="connsiteY670" fmla="*/ 220504 h 514350"/>
                <a:gd name="connsiteX671" fmla="*/ 5147787 w 6400800"/>
                <a:gd name="connsiteY671" fmla="*/ 205264 h 514350"/>
                <a:gd name="connsiteX672" fmla="*/ 5144929 w 6400800"/>
                <a:gd name="connsiteY672" fmla="*/ 178594 h 514350"/>
                <a:gd name="connsiteX673" fmla="*/ 5141119 w 6400800"/>
                <a:gd name="connsiteY673" fmla="*/ 149066 h 514350"/>
                <a:gd name="connsiteX674" fmla="*/ 5141119 w 6400800"/>
                <a:gd name="connsiteY674" fmla="*/ 178594 h 514350"/>
                <a:gd name="connsiteX675" fmla="*/ 5141119 w 6400800"/>
                <a:gd name="connsiteY675" fmla="*/ 255746 h 514350"/>
                <a:gd name="connsiteX676" fmla="*/ 5141119 w 6400800"/>
                <a:gd name="connsiteY676" fmla="*/ 258604 h 514350"/>
                <a:gd name="connsiteX677" fmla="*/ 5139214 w 6400800"/>
                <a:gd name="connsiteY677" fmla="*/ 260509 h 514350"/>
                <a:gd name="connsiteX678" fmla="*/ 5134451 w 6400800"/>
                <a:gd name="connsiteY678" fmla="*/ 265271 h 514350"/>
                <a:gd name="connsiteX679" fmla="*/ 5128737 w 6400800"/>
                <a:gd name="connsiteY679" fmla="*/ 184309 h 514350"/>
                <a:gd name="connsiteX680" fmla="*/ 5124926 w 6400800"/>
                <a:gd name="connsiteY680" fmla="*/ 236696 h 514350"/>
                <a:gd name="connsiteX681" fmla="*/ 5119212 w 6400800"/>
                <a:gd name="connsiteY681" fmla="*/ 219551 h 514350"/>
                <a:gd name="connsiteX682" fmla="*/ 5123974 w 6400800"/>
                <a:gd name="connsiteY682" fmla="*/ 249079 h 514350"/>
                <a:gd name="connsiteX683" fmla="*/ 5123021 w 6400800"/>
                <a:gd name="connsiteY683" fmla="*/ 258604 h 514350"/>
                <a:gd name="connsiteX684" fmla="*/ 5120164 w 6400800"/>
                <a:gd name="connsiteY684" fmla="*/ 279559 h 514350"/>
                <a:gd name="connsiteX685" fmla="*/ 5116354 w 6400800"/>
                <a:gd name="connsiteY685" fmla="*/ 285274 h 514350"/>
                <a:gd name="connsiteX686" fmla="*/ 5106829 w 6400800"/>
                <a:gd name="connsiteY686" fmla="*/ 298609 h 514350"/>
                <a:gd name="connsiteX687" fmla="*/ 5103971 w 6400800"/>
                <a:gd name="connsiteY687" fmla="*/ 303371 h 514350"/>
                <a:gd name="connsiteX688" fmla="*/ 5085874 w 6400800"/>
                <a:gd name="connsiteY688" fmla="*/ 261461 h 514350"/>
                <a:gd name="connsiteX689" fmla="*/ 5086826 w 6400800"/>
                <a:gd name="connsiteY689" fmla="*/ 261461 h 514350"/>
                <a:gd name="connsiteX690" fmla="*/ 5091589 w 6400800"/>
                <a:gd name="connsiteY690" fmla="*/ 260509 h 514350"/>
                <a:gd name="connsiteX691" fmla="*/ 5086826 w 6400800"/>
                <a:gd name="connsiteY691" fmla="*/ 260509 h 514350"/>
                <a:gd name="connsiteX692" fmla="*/ 5085874 w 6400800"/>
                <a:gd name="connsiteY692" fmla="*/ 260509 h 514350"/>
                <a:gd name="connsiteX693" fmla="*/ 5071587 w 6400800"/>
                <a:gd name="connsiteY693" fmla="*/ 230029 h 514350"/>
                <a:gd name="connsiteX694" fmla="*/ 5071587 w 6400800"/>
                <a:gd name="connsiteY694" fmla="*/ 222409 h 514350"/>
                <a:gd name="connsiteX695" fmla="*/ 5069681 w 6400800"/>
                <a:gd name="connsiteY695" fmla="*/ 227171 h 514350"/>
                <a:gd name="connsiteX696" fmla="*/ 5062062 w 6400800"/>
                <a:gd name="connsiteY696" fmla="*/ 192881 h 514350"/>
                <a:gd name="connsiteX697" fmla="*/ 5058251 w 6400800"/>
                <a:gd name="connsiteY697" fmla="*/ 174784 h 514350"/>
                <a:gd name="connsiteX698" fmla="*/ 5055394 w 6400800"/>
                <a:gd name="connsiteY698" fmla="*/ 159544 h 514350"/>
                <a:gd name="connsiteX699" fmla="*/ 5049679 w 6400800"/>
                <a:gd name="connsiteY699" fmla="*/ 130016 h 514350"/>
                <a:gd name="connsiteX700" fmla="*/ 5050631 w 6400800"/>
                <a:gd name="connsiteY700" fmla="*/ 159544 h 514350"/>
                <a:gd name="connsiteX701" fmla="*/ 5051584 w 6400800"/>
                <a:gd name="connsiteY701" fmla="*/ 174784 h 514350"/>
                <a:gd name="connsiteX702" fmla="*/ 5053489 w 6400800"/>
                <a:gd name="connsiteY702" fmla="*/ 192881 h 514350"/>
                <a:gd name="connsiteX703" fmla="*/ 5059204 w 6400800"/>
                <a:gd name="connsiteY703" fmla="*/ 236696 h 514350"/>
                <a:gd name="connsiteX704" fmla="*/ 5061109 w 6400800"/>
                <a:gd name="connsiteY704" fmla="*/ 249079 h 514350"/>
                <a:gd name="connsiteX705" fmla="*/ 5055394 w 6400800"/>
                <a:gd name="connsiteY705" fmla="*/ 270034 h 514350"/>
                <a:gd name="connsiteX706" fmla="*/ 5052537 w 6400800"/>
                <a:gd name="connsiteY706" fmla="*/ 271939 h 514350"/>
                <a:gd name="connsiteX707" fmla="*/ 5052537 w 6400800"/>
                <a:gd name="connsiteY707" fmla="*/ 271939 h 514350"/>
                <a:gd name="connsiteX708" fmla="*/ 5051584 w 6400800"/>
                <a:gd name="connsiteY708" fmla="*/ 267176 h 514350"/>
                <a:gd name="connsiteX709" fmla="*/ 5051584 w 6400800"/>
                <a:gd name="connsiteY709" fmla="*/ 269081 h 514350"/>
                <a:gd name="connsiteX710" fmla="*/ 5048726 w 6400800"/>
                <a:gd name="connsiteY710" fmla="*/ 261461 h 514350"/>
                <a:gd name="connsiteX711" fmla="*/ 5048726 w 6400800"/>
                <a:gd name="connsiteY711" fmla="*/ 261461 h 514350"/>
                <a:gd name="connsiteX712" fmla="*/ 5050631 w 6400800"/>
                <a:gd name="connsiteY712" fmla="*/ 252889 h 514350"/>
                <a:gd name="connsiteX713" fmla="*/ 5047774 w 6400800"/>
                <a:gd name="connsiteY713" fmla="*/ 259556 h 514350"/>
                <a:gd name="connsiteX714" fmla="*/ 5039201 w 6400800"/>
                <a:gd name="connsiteY714" fmla="*/ 236696 h 514350"/>
                <a:gd name="connsiteX715" fmla="*/ 5031581 w 6400800"/>
                <a:gd name="connsiteY715" fmla="*/ 214789 h 514350"/>
                <a:gd name="connsiteX716" fmla="*/ 5035392 w 6400800"/>
                <a:gd name="connsiteY716" fmla="*/ 237649 h 514350"/>
                <a:gd name="connsiteX717" fmla="*/ 5039201 w 6400800"/>
                <a:gd name="connsiteY717" fmla="*/ 256699 h 514350"/>
                <a:gd name="connsiteX718" fmla="*/ 5034439 w 6400800"/>
                <a:gd name="connsiteY718" fmla="*/ 265271 h 514350"/>
                <a:gd name="connsiteX719" fmla="*/ 5034439 w 6400800"/>
                <a:gd name="connsiteY719" fmla="*/ 262414 h 514350"/>
                <a:gd name="connsiteX720" fmla="*/ 5030629 w 6400800"/>
                <a:gd name="connsiteY720" fmla="*/ 241459 h 514350"/>
                <a:gd name="connsiteX721" fmla="*/ 5026819 w 6400800"/>
                <a:gd name="connsiteY721" fmla="*/ 223361 h 514350"/>
                <a:gd name="connsiteX722" fmla="*/ 5025867 w 6400800"/>
                <a:gd name="connsiteY722" fmla="*/ 242411 h 514350"/>
                <a:gd name="connsiteX723" fmla="*/ 5025867 w 6400800"/>
                <a:gd name="connsiteY723" fmla="*/ 263366 h 514350"/>
                <a:gd name="connsiteX724" fmla="*/ 5025867 w 6400800"/>
                <a:gd name="connsiteY724" fmla="*/ 276701 h 514350"/>
                <a:gd name="connsiteX725" fmla="*/ 5025867 w 6400800"/>
                <a:gd name="connsiteY725" fmla="*/ 281464 h 514350"/>
                <a:gd name="connsiteX726" fmla="*/ 5010626 w 6400800"/>
                <a:gd name="connsiteY726" fmla="*/ 263366 h 514350"/>
                <a:gd name="connsiteX727" fmla="*/ 4995387 w 6400800"/>
                <a:gd name="connsiteY727" fmla="*/ 248126 h 514350"/>
                <a:gd name="connsiteX728" fmla="*/ 4997292 w 6400800"/>
                <a:gd name="connsiteY728" fmla="*/ 243364 h 514350"/>
                <a:gd name="connsiteX729" fmla="*/ 4994434 w 6400800"/>
                <a:gd name="connsiteY729" fmla="*/ 248126 h 514350"/>
                <a:gd name="connsiteX730" fmla="*/ 4992529 w 6400800"/>
                <a:gd name="connsiteY730" fmla="*/ 246221 h 514350"/>
                <a:gd name="connsiteX731" fmla="*/ 4994434 w 6400800"/>
                <a:gd name="connsiteY731" fmla="*/ 190024 h 514350"/>
                <a:gd name="connsiteX732" fmla="*/ 4983004 w 6400800"/>
                <a:gd name="connsiteY732" fmla="*/ 240506 h 514350"/>
                <a:gd name="connsiteX733" fmla="*/ 4981099 w 6400800"/>
                <a:gd name="connsiteY733" fmla="*/ 238601 h 514350"/>
                <a:gd name="connsiteX734" fmla="*/ 4959192 w 6400800"/>
                <a:gd name="connsiteY734" fmla="*/ 219551 h 514350"/>
                <a:gd name="connsiteX735" fmla="*/ 4978242 w 6400800"/>
                <a:gd name="connsiteY735" fmla="*/ 241459 h 514350"/>
                <a:gd name="connsiteX736" fmla="*/ 4982051 w 6400800"/>
                <a:gd name="connsiteY736" fmla="*/ 246221 h 514350"/>
                <a:gd name="connsiteX737" fmla="*/ 4982051 w 6400800"/>
                <a:gd name="connsiteY737" fmla="*/ 248126 h 514350"/>
                <a:gd name="connsiteX738" fmla="*/ 4976337 w 6400800"/>
                <a:gd name="connsiteY738" fmla="*/ 279559 h 514350"/>
                <a:gd name="connsiteX739" fmla="*/ 4969669 w 6400800"/>
                <a:gd name="connsiteY739" fmla="*/ 290989 h 514350"/>
                <a:gd name="connsiteX740" fmla="*/ 4960144 w 6400800"/>
                <a:gd name="connsiteY740" fmla="*/ 265271 h 514350"/>
                <a:gd name="connsiteX741" fmla="*/ 4960144 w 6400800"/>
                <a:gd name="connsiteY741" fmla="*/ 264319 h 514350"/>
                <a:gd name="connsiteX742" fmla="*/ 4959192 w 6400800"/>
                <a:gd name="connsiteY742" fmla="*/ 237649 h 514350"/>
                <a:gd name="connsiteX743" fmla="*/ 4958239 w 6400800"/>
                <a:gd name="connsiteY743" fmla="*/ 214789 h 514350"/>
                <a:gd name="connsiteX744" fmla="*/ 4968717 w 6400800"/>
                <a:gd name="connsiteY744" fmla="*/ 164306 h 514350"/>
                <a:gd name="connsiteX745" fmla="*/ 4974431 w 6400800"/>
                <a:gd name="connsiteY745" fmla="*/ 134779 h 514350"/>
                <a:gd name="connsiteX746" fmla="*/ 4964906 w 6400800"/>
                <a:gd name="connsiteY746" fmla="*/ 163354 h 514350"/>
                <a:gd name="connsiteX747" fmla="*/ 4955381 w 6400800"/>
                <a:gd name="connsiteY747" fmla="*/ 191929 h 514350"/>
                <a:gd name="connsiteX748" fmla="*/ 4955381 w 6400800"/>
                <a:gd name="connsiteY748" fmla="*/ 176689 h 514350"/>
                <a:gd name="connsiteX749" fmla="*/ 4952524 w 6400800"/>
                <a:gd name="connsiteY749" fmla="*/ 202406 h 514350"/>
                <a:gd name="connsiteX750" fmla="*/ 4952524 w 6400800"/>
                <a:gd name="connsiteY750" fmla="*/ 203359 h 514350"/>
                <a:gd name="connsiteX751" fmla="*/ 4944904 w 6400800"/>
                <a:gd name="connsiteY751" fmla="*/ 227171 h 514350"/>
                <a:gd name="connsiteX752" fmla="*/ 4944904 w 6400800"/>
                <a:gd name="connsiteY752" fmla="*/ 226219 h 514350"/>
                <a:gd name="connsiteX753" fmla="*/ 4936331 w 6400800"/>
                <a:gd name="connsiteY753" fmla="*/ 199549 h 514350"/>
                <a:gd name="connsiteX754" fmla="*/ 4942046 w 6400800"/>
                <a:gd name="connsiteY754" fmla="*/ 236696 h 514350"/>
                <a:gd name="connsiteX755" fmla="*/ 4941094 w 6400800"/>
                <a:gd name="connsiteY755" fmla="*/ 239554 h 514350"/>
                <a:gd name="connsiteX756" fmla="*/ 4922996 w 6400800"/>
                <a:gd name="connsiteY756" fmla="*/ 292894 h 514350"/>
                <a:gd name="connsiteX757" fmla="*/ 4922996 w 6400800"/>
                <a:gd name="connsiteY757" fmla="*/ 289084 h 514350"/>
                <a:gd name="connsiteX758" fmla="*/ 4920139 w 6400800"/>
                <a:gd name="connsiteY758" fmla="*/ 269081 h 514350"/>
                <a:gd name="connsiteX759" fmla="*/ 4919187 w 6400800"/>
                <a:gd name="connsiteY759" fmla="*/ 290036 h 514350"/>
                <a:gd name="connsiteX760" fmla="*/ 4919187 w 6400800"/>
                <a:gd name="connsiteY760" fmla="*/ 296704 h 514350"/>
                <a:gd name="connsiteX761" fmla="*/ 4917281 w 6400800"/>
                <a:gd name="connsiteY761" fmla="*/ 289084 h 514350"/>
                <a:gd name="connsiteX762" fmla="*/ 4911567 w 6400800"/>
                <a:gd name="connsiteY762" fmla="*/ 266224 h 514350"/>
                <a:gd name="connsiteX763" fmla="*/ 4904899 w 6400800"/>
                <a:gd name="connsiteY763" fmla="*/ 246221 h 514350"/>
                <a:gd name="connsiteX764" fmla="*/ 4907756 w 6400800"/>
                <a:gd name="connsiteY764" fmla="*/ 267176 h 514350"/>
                <a:gd name="connsiteX765" fmla="*/ 4909662 w 6400800"/>
                <a:gd name="connsiteY765" fmla="*/ 290989 h 514350"/>
                <a:gd name="connsiteX766" fmla="*/ 4911567 w 6400800"/>
                <a:gd name="connsiteY766" fmla="*/ 321469 h 514350"/>
                <a:gd name="connsiteX767" fmla="*/ 4908709 w 6400800"/>
                <a:gd name="connsiteY767" fmla="*/ 327184 h 514350"/>
                <a:gd name="connsiteX768" fmla="*/ 4902042 w 6400800"/>
                <a:gd name="connsiteY768" fmla="*/ 313849 h 514350"/>
                <a:gd name="connsiteX769" fmla="*/ 4894421 w 6400800"/>
                <a:gd name="connsiteY769" fmla="*/ 298609 h 514350"/>
                <a:gd name="connsiteX770" fmla="*/ 4892517 w 6400800"/>
                <a:gd name="connsiteY770" fmla="*/ 285274 h 514350"/>
                <a:gd name="connsiteX771" fmla="*/ 4891564 w 6400800"/>
                <a:gd name="connsiteY771" fmla="*/ 293846 h 514350"/>
                <a:gd name="connsiteX772" fmla="*/ 4888706 w 6400800"/>
                <a:gd name="connsiteY772" fmla="*/ 289084 h 514350"/>
                <a:gd name="connsiteX773" fmla="*/ 4891564 w 6400800"/>
                <a:gd name="connsiteY773" fmla="*/ 295751 h 514350"/>
                <a:gd name="connsiteX774" fmla="*/ 4887754 w 6400800"/>
                <a:gd name="connsiteY774" fmla="*/ 348139 h 514350"/>
                <a:gd name="connsiteX775" fmla="*/ 4887754 w 6400800"/>
                <a:gd name="connsiteY775" fmla="*/ 357664 h 514350"/>
                <a:gd name="connsiteX776" fmla="*/ 4882991 w 6400800"/>
                <a:gd name="connsiteY776" fmla="*/ 350996 h 514350"/>
                <a:gd name="connsiteX777" fmla="*/ 4882039 w 6400800"/>
                <a:gd name="connsiteY777" fmla="*/ 338614 h 514350"/>
                <a:gd name="connsiteX778" fmla="*/ 4882039 w 6400800"/>
                <a:gd name="connsiteY778" fmla="*/ 337661 h 514350"/>
                <a:gd name="connsiteX779" fmla="*/ 4883944 w 6400800"/>
                <a:gd name="connsiteY779" fmla="*/ 327184 h 514350"/>
                <a:gd name="connsiteX780" fmla="*/ 4885849 w 6400800"/>
                <a:gd name="connsiteY780" fmla="*/ 319564 h 514350"/>
                <a:gd name="connsiteX781" fmla="*/ 4887754 w 6400800"/>
                <a:gd name="connsiteY781" fmla="*/ 312896 h 514350"/>
                <a:gd name="connsiteX782" fmla="*/ 4884896 w 6400800"/>
                <a:gd name="connsiteY782" fmla="*/ 318611 h 514350"/>
                <a:gd name="connsiteX783" fmla="*/ 4882039 w 6400800"/>
                <a:gd name="connsiteY783" fmla="*/ 326231 h 514350"/>
                <a:gd name="connsiteX784" fmla="*/ 4882039 w 6400800"/>
                <a:gd name="connsiteY784" fmla="*/ 328136 h 514350"/>
                <a:gd name="connsiteX785" fmla="*/ 4882039 w 6400800"/>
                <a:gd name="connsiteY785" fmla="*/ 326231 h 514350"/>
                <a:gd name="connsiteX786" fmla="*/ 4877276 w 6400800"/>
                <a:gd name="connsiteY786" fmla="*/ 288131 h 514350"/>
                <a:gd name="connsiteX787" fmla="*/ 4873466 w 6400800"/>
                <a:gd name="connsiteY787" fmla="*/ 263366 h 514350"/>
                <a:gd name="connsiteX788" fmla="*/ 4878229 w 6400800"/>
                <a:gd name="connsiteY788" fmla="*/ 238601 h 514350"/>
                <a:gd name="connsiteX789" fmla="*/ 4882039 w 6400800"/>
                <a:gd name="connsiteY789" fmla="*/ 211931 h 514350"/>
                <a:gd name="connsiteX790" fmla="*/ 4874419 w 6400800"/>
                <a:gd name="connsiteY790" fmla="*/ 237649 h 514350"/>
                <a:gd name="connsiteX791" fmla="*/ 4870609 w 6400800"/>
                <a:gd name="connsiteY791" fmla="*/ 249079 h 514350"/>
                <a:gd name="connsiteX792" fmla="*/ 4866799 w 6400800"/>
                <a:gd name="connsiteY792" fmla="*/ 231934 h 514350"/>
                <a:gd name="connsiteX793" fmla="*/ 4862037 w 6400800"/>
                <a:gd name="connsiteY793" fmla="*/ 210979 h 514350"/>
                <a:gd name="connsiteX794" fmla="*/ 4862989 w 6400800"/>
                <a:gd name="connsiteY794" fmla="*/ 232886 h 514350"/>
                <a:gd name="connsiteX795" fmla="*/ 4863941 w 6400800"/>
                <a:gd name="connsiteY795" fmla="*/ 248126 h 514350"/>
                <a:gd name="connsiteX796" fmla="*/ 4863941 w 6400800"/>
                <a:gd name="connsiteY796" fmla="*/ 261461 h 514350"/>
                <a:gd name="connsiteX797" fmla="*/ 4860131 w 6400800"/>
                <a:gd name="connsiteY797" fmla="*/ 264319 h 514350"/>
                <a:gd name="connsiteX798" fmla="*/ 4843939 w 6400800"/>
                <a:gd name="connsiteY798" fmla="*/ 281464 h 514350"/>
                <a:gd name="connsiteX799" fmla="*/ 4841081 w 6400800"/>
                <a:gd name="connsiteY799" fmla="*/ 270986 h 514350"/>
                <a:gd name="connsiteX800" fmla="*/ 4842987 w 6400800"/>
                <a:gd name="connsiteY800" fmla="*/ 266224 h 514350"/>
                <a:gd name="connsiteX801" fmla="*/ 4841081 w 6400800"/>
                <a:gd name="connsiteY801" fmla="*/ 269081 h 514350"/>
                <a:gd name="connsiteX802" fmla="*/ 4840129 w 6400800"/>
                <a:gd name="connsiteY802" fmla="*/ 262414 h 514350"/>
                <a:gd name="connsiteX803" fmla="*/ 4840129 w 6400800"/>
                <a:gd name="connsiteY803" fmla="*/ 270034 h 514350"/>
                <a:gd name="connsiteX804" fmla="*/ 4833462 w 6400800"/>
                <a:gd name="connsiteY804" fmla="*/ 278606 h 514350"/>
                <a:gd name="connsiteX805" fmla="*/ 4822984 w 6400800"/>
                <a:gd name="connsiteY805" fmla="*/ 294799 h 514350"/>
                <a:gd name="connsiteX806" fmla="*/ 4816316 w 6400800"/>
                <a:gd name="connsiteY806" fmla="*/ 304324 h 514350"/>
                <a:gd name="connsiteX807" fmla="*/ 4809649 w 6400800"/>
                <a:gd name="connsiteY807" fmla="*/ 315754 h 514350"/>
                <a:gd name="connsiteX808" fmla="*/ 4807744 w 6400800"/>
                <a:gd name="connsiteY808" fmla="*/ 318611 h 514350"/>
                <a:gd name="connsiteX809" fmla="*/ 4807744 w 6400800"/>
                <a:gd name="connsiteY809" fmla="*/ 304324 h 514350"/>
                <a:gd name="connsiteX810" fmla="*/ 4803934 w 6400800"/>
                <a:gd name="connsiteY810" fmla="*/ 327184 h 514350"/>
                <a:gd name="connsiteX811" fmla="*/ 4795362 w 6400800"/>
                <a:gd name="connsiteY811" fmla="*/ 342424 h 514350"/>
                <a:gd name="connsiteX812" fmla="*/ 4795362 w 6400800"/>
                <a:gd name="connsiteY812" fmla="*/ 324326 h 514350"/>
                <a:gd name="connsiteX813" fmla="*/ 4795362 w 6400800"/>
                <a:gd name="connsiteY813" fmla="*/ 311944 h 514350"/>
                <a:gd name="connsiteX814" fmla="*/ 4796314 w 6400800"/>
                <a:gd name="connsiteY814" fmla="*/ 302419 h 514350"/>
                <a:gd name="connsiteX815" fmla="*/ 4797266 w 6400800"/>
                <a:gd name="connsiteY815" fmla="*/ 297656 h 514350"/>
                <a:gd name="connsiteX816" fmla="*/ 4803934 w 6400800"/>
                <a:gd name="connsiteY816" fmla="*/ 264319 h 514350"/>
                <a:gd name="connsiteX817" fmla="*/ 4815364 w 6400800"/>
                <a:gd name="connsiteY817" fmla="*/ 192881 h 514350"/>
                <a:gd name="connsiteX818" fmla="*/ 4792504 w 6400800"/>
                <a:gd name="connsiteY818" fmla="*/ 262414 h 514350"/>
                <a:gd name="connsiteX819" fmla="*/ 4790599 w 6400800"/>
                <a:gd name="connsiteY819" fmla="*/ 268129 h 514350"/>
                <a:gd name="connsiteX820" fmla="*/ 4788694 w 6400800"/>
                <a:gd name="connsiteY820" fmla="*/ 250031 h 514350"/>
                <a:gd name="connsiteX821" fmla="*/ 4787741 w 6400800"/>
                <a:gd name="connsiteY821" fmla="*/ 270986 h 514350"/>
                <a:gd name="connsiteX822" fmla="*/ 4787741 w 6400800"/>
                <a:gd name="connsiteY822" fmla="*/ 281464 h 514350"/>
                <a:gd name="connsiteX823" fmla="*/ 4782979 w 6400800"/>
                <a:gd name="connsiteY823" fmla="*/ 299561 h 514350"/>
                <a:gd name="connsiteX824" fmla="*/ 4782979 w 6400800"/>
                <a:gd name="connsiteY824" fmla="*/ 293846 h 514350"/>
                <a:gd name="connsiteX825" fmla="*/ 4784884 w 6400800"/>
                <a:gd name="connsiteY825" fmla="*/ 263366 h 514350"/>
                <a:gd name="connsiteX826" fmla="*/ 4786789 w 6400800"/>
                <a:gd name="connsiteY826" fmla="*/ 239554 h 514350"/>
                <a:gd name="connsiteX827" fmla="*/ 4789647 w 6400800"/>
                <a:gd name="connsiteY827" fmla="*/ 218599 h 514350"/>
                <a:gd name="connsiteX828" fmla="*/ 4782979 w 6400800"/>
                <a:gd name="connsiteY828" fmla="*/ 238601 h 514350"/>
                <a:gd name="connsiteX829" fmla="*/ 4777264 w 6400800"/>
                <a:gd name="connsiteY829" fmla="*/ 262414 h 514350"/>
                <a:gd name="connsiteX830" fmla="*/ 4776312 w 6400800"/>
                <a:gd name="connsiteY830" fmla="*/ 269081 h 514350"/>
                <a:gd name="connsiteX831" fmla="*/ 4773454 w 6400800"/>
                <a:gd name="connsiteY831" fmla="*/ 251936 h 514350"/>
                <a:gd name="connsiteX832" fmla="*/ 4773454 w 6400800"/>
                <a:gd name="connsiteY832" fmla="*/ 284321 h 514350"/>
                <a:gd name="connsiteX833" fmla="*/ 4771549 w 6400800"/>
                <a:gd name="connsiteY833" fmla="*/ 293846 h 514350"/>
                <a:gd name="connsiteX834" fmla="*/ 4771549 w 6400800"/>
                <a:gd name="connsiteY834" fmla="*/ 295751 h 514350"/>
                <a:gd name="connsiteX835" fmla="*/ 4767739 w 6400800"/>
                <a:gd name="connsiteY835" fmla="*/ 260509 h 514350"/>
                <a:gd name="connsiteX836" fmla="*/ 4764881 w 6400800"/>
                <a:gd name="connsiteY836" fmla="*/ 297656 h 514350"/>
                <a:gd name="connsiteX837" fmla="*/ 4755356 w 6400800"/>
                <a:gd name="connsiteY837" fmla="*/ 276701 h 514350"/>
                <a:gd name="connsiteX838" fmla="*/ 4750594 w 6400800"/>
                <a:gd name="connsiteY838" fmla="*/ 270034 h 514350"/>
                <a:gd name="connsiteX839" fmla="*/ 4758214 w 6400800"/>
                <a:gd name="connsiteY839" fmla="*/ 243364 h 514350"/>
                <a:gd name="connsiteX840" fmla="*/ 4780122 w 6400800"/>
                <a:gd name="connsiteY840" fmla="*/ 161449 h 514350"/>
                <a:gd name="connsiteX841" fmla="*/ 4787741 w 6400800"/>
                <a:gd name="connsiteY841" fmla="*/ 130016 h 514350"/>
                <a:gd name="connsiteX842" fmla="*/ 4776312 w 6400800"/>
                <a:gd name="connsiteY842" fmla="*/ 160496 h 514350"/>
                <a:gd name="connsiteX843" fmla="*/ 4747737 w 6400800"/>
                <a:gd name="connsiteY843" fmla="*/ 240506 h 514350"/>
                <a:gd name="connsiteX844" fmla="*/ 4742022 w 6400800"/>
                <a:gd name="connsiteY844" fmla="*/ 257651 h 514350"/>
                <a:gd name="connsiteX845" fmla="*/ 4742022 w 6400800"/>
                <a:gd name="connsiteY845" fmla="*/ 257651 h 514350"/>
                <a:gd name="connsiteX846" fmla="*/ 4727734 w 6400800"/>
                <a:gd name="connsiteY846" fmla="*/ 244316 h 514350"/>
                <a:gd name="connsiteX847" fmla="*/ 4721066 w 6400800"/>
                <a:gd name="connsiteY847" fmla="*/ 240506 h 514350"/>
                <a:gd name="connsiteX848" fmla="*/ 4716304 w 6400800"/>
                <a:gd name="connsiteY848" fmla="*/ 238601 h 514350"/>
                <a:gd name="connsiteX849" fmla="*/ 4712494 w 6400800"/>
                <a:gd name="connsiteY849" fmla="*/ 237649 h 514350"/>
                <a:gd name="connsiteX850" fmla="*/ 4716304 w 6400800"/>
                <a:gd name="connsiteY850" fmla="*/ 239554 h 514350"/>
                <a:gd name="connsiteX851" fmla="*/ 4725829 w 6400800"/>
                <a:gd name="connsiteY851" fmla="*/ 246221 h 514350"/>
                <a:gd name="connsiteX852" fmla="*/ 4736306 w 6400800"/>
                <a:gd name="connsiteY852" fmla="*/ 260509 h 514350"/>
                <a:gd name="connsiteX853" fmla="*/ 4739164 w 6400800"/>
                <a:gd name="connsiteY853" fmla="*/ 266224 h 514350"/>
                <a:gd name="connsiteX854" fmla="*/ 4729639 w 6400800"/>
                <a:gd name="connsiteY854" fmla="*/ 293846 h 514350"/>
                <a:gd name="connsiteX855" fmla="*/ 4728687 w 6400800"/>
                <a:gd name="connsiteY855" fmla="*/ 295751 h 514350"/>
                <a:gd name="connsiteX856" fmla="*/ 4728687 w 6400800"/>
                <a:gd name="connsiteY856" fmla="*/ 294799 h 514350"/>
                <a:gd name="connsiteX857" fmla="*/ 4728687 w 6400800"/>
                <a:gd name="connsiteY857" fmla="*/ 290989 h 514350"/>
                <a:gd name="connsiteX858" fmla="*/ 4727734 w 6400800"/>
                <a:gd name="connsiteY858" fmla="*/ 293846 h 514350"/>
                <a:gd name="connsiteX859" fmla="*/ 4717256 w 6400800"/>
                <a:gd name="connsiteY859" fmla="*/ 270986 h 514350"/>
                <a:gd name="connsiteX860" fmla="*/ 4714399 w 6400800"/>
                <a:gd name="connsiteY860" fmla="*/ 265271 h 514350"/>
                <a:gd name="connsiteX861" fmla="*/ 4716304 w 6400800"/>
                <a:gd name="connsiteY861" fmla="*/ 252889 h 514350"/>
                <a:gd name="connsiteX862" fmla="*/ 4713447 w 6400800"/>
                <a:gd name="connsiteY862" fmla="*/ 262414 h 514350"/>
                <a:gd name="connsiteX863" fmla="*/ 4706779 w 6400800"/>
                <a:gd name="connsiteY863" fmla="*/ 248126 h 514350"/>
                <a:gd name="connsiteX864" fmla="*/ 4712494 w 6400800"/>
                <a:gd name="connsiteY864" fmla="*/ 267176 h 514350"/>
                <a:gd name="connsiteX865" fmla="*/ 4708684 w 6400800"/>
                <a:gd name="connsiteY865" fmla="*/ 277654 h 514350"/>
                <a:gd name="connsiteX866" fmla="*/ 4694397 w 6400800"/>
                <a:gd name="connsiteY866" fmla="*/ 236696 h 514350"/>
                <a:gd name="connsiteX867" fmla="*/ 4702969 w 6400800"/>
                <a:gd name="connsiteY867" fmla="*/ 293846 h 514350"/>
                <a:gd name="connsiteX868" fmla="*/ 4691539 w 6400800"/>
                <a:gd name="connsiteY868" fmla="*/ 331946 h 514350"/>
                <a:gd name="connsiteX869" fmla="*/ 4690587 w 6400800"/>
                <a:gd name="connsiteY869" fmla="*/ 329089 h 514350"/>
                <a:gd name="connsiteX870" fmla="*/ 4682966 w 6400800"/>
                <a:gd name="connsiteY870" fmla="*/ 313849 h 514350"/>
                <a:gd name="connsiteX871" fmla="*/ 4684872 w 6400800"/>
                <a:gd name="connsiteY871" fmla="*/ 322421 h 514350"/>
                <a:gd name="connsiteX872" fmla="*/ 4684872 w 6400800"/>
                <a:gd name="connsiteY872" fmla="*/ 322421 h 514350"/>
                <a:gd name="connsiteX873" fmla="*/ 4671537 w 6400800"/>
                <a:gd name="connsiteY873" fmla="*/ 304324 h 514350"/>
                <a:gd name="connsiteX874" fmla="*/ 4682014 w 6400800"/>
                <a:gd name="connsiteY874" fmla="*/ 324326 h 514350"/>
                <a:gd name="connsiteX875" fmla="*/ 4688681 w 6400800"/>
                <a:gd name="connsiteY875" fmla="*/ 337661 h 514350"/>
                <a:gd name="connsiteX876" fmla="*/ 4689634 w 6400800"/>
                <a:gd name="connsiteY876" fmla="*/ 340519 h 514350"/>
                <a:gd name="connsiteX877" fmla="*/ 4682966 w 6400800"/>
                <a:gd name="connsiteY877" fmla="*/ 366236 h 514350"/>
                <a:gd name="connsiteX878" fmla="*/ 4678204 w 6400800"/>
                <a:gd name="connsiteY878" fmla="*/ 359569 h 514350"/>
                <a:gd name="connsiteX879" fmla="*/ 4669631 w 6400800"/>
                <a:gd name="connsiteY879" fmla="*/ 349091 h 514350"/>
                <a:gd name="connsiteX880" fmla="*/ 4668679 w 6400800"/>
                <a:gd name="connsiteY880" fmla="*/ 348139 h 514350"/>
                <a:gd name="connsiteX881" fmla="*/ 4669631 w 6400800"/>
                <a:gd name="connsiteY881" fmla="*/ 330994 h 514350"/>
                <a:gd name="connsiteX882" fmla="*/ 4669631 w 6400800"/>
                <a:gd name="connsiteY882" fmla="*/ 310991 h 514350"/>
                <a:gd name="connsiteX883" fmla="*/ 4669631 w 6400800"/>
                <a:gd name="connsiteY883" fmla="*/ 313849 h 514350"/>
                <a:gd name="connsiteX884" fmla="*/ 4670584 w 6400800"/>
                <a:gd name="connsiteY884" fmla="*/ 301466 h 514350"/>
                <a:gd name="connsiteX885" fmla="*/ 4670584 w 6400800"/>
                <a:gd name="connsiteY885" fmla="*/ 287179 h 514350"/>
                <a:gd name="connsiteX886" fmla="*/ 4675347 w 6400800"/>
                <a:gd name="connsiteY886" fmla="*/ 274796 h 514350"/>
                <a:gd name="connsiteX887" fmla="*/ 4689634 w 6400800"/>
                <a:gd name="connsiteY887" fmla="*/ 250984 h 514350"/>
                <a:gd name="connsiteX888" fmla="*/ 4681062 w 6400800"/>
                <a:gd name="connsiteY888" fmla="*/ 262414 h 514350"/>
                <a:gd name="connsiteX889" fmla="*/ 4686776 w 6400800"/>
                <a:gd name="connsiteY889" fmla="*/ 248126 h 514350"/>
                <a:gd name="connsiteX890" fmla="*/ 4675347 w 6400800"/>
                <a:gd name="connsiteY890" fmla="*/ 265271 h 514350"/>
                <a:gd name="connsiteX891" fmla="*/ 4670584 w 6400800"/>
                <a:gd name="connsiteY891" fmla="*/ 272891 h 514350"/>
                <a:gd name="connsiteX892" fmla="*/ 4670584 w 6400800"/>
                <a:gd name="connsiteY892" fmla="*/ 268129 h 514350"/>
                <a:gd name="connsiteX893" fmla="*/ 4668679 w 6400800"/>
                <a:gd name="connsiteY893" fmla="*/ 250984 h 514350"/>
                <a:gd name="connsiteX894" fmla="*/ 4669631 w 6400800"/>
                <a:gd name="connsiteY894" fmla="*/ 247174 h 514350"/>
                <a:gd name="connsiteX895" fmla="*/ 4671537 w 6400800"/>
                <a:gd name="connsiteY895" fmla="*/ 222409 h 514350"/>
                <a:gd name="connsiteX896" fmla="*/ 4670584 w 6400800"/>
                <a:gd name="connsiteY896" fmla="*/ 229076 h 514350"/>
                <a:gd name="connsiteX897" fmla="*/ 4666774 w 6400800"/>
                <a:gd name="connsiteY897" fmla="*/ 242411 h 514350"/>
                <a:gd name="connsiteX898" fmla="*/ 4666774 w 6400800"/>
                <a:gd name="connsiteY898" fmla="*/ 241459 h 514350"/>
                <a:gd name="connsiteX899" fmla="*/ 4666774 w 6400800"/>
                <a:gd name="connsiteY899" fmla="*/ 241459 h 514350"/>
                <a:gd name="connsiteX900" fmla="*/ 4666774 w 6400800"/>
                <a:gd name="connsiteY900" fmla="*/ 241459 h 514350"/>
                <a:gd name="connsiteX901" fmla="*/ 4662012 w 6400800"/>
                <a:gd name="connsiteY901" fmla="*/ 228124 h 514350"/>
                <a:gd name="connsiteX902" fmla="*/ 4660106 w 6400800"/>
                <a:gd name="connsiteY902" fmla="*/ 222409 h 514350"/>
                <a:gd name="connsiteX903" fmla="*/ 4661059 w 6400800"/>
                <a:gd name="connsiteY903" fmla="*/ 228124 h 514350"/>
                <a:gd name="connsiteX904" fmla="*/ 4662964 w 6400800"/>
                <a:gd name="connsiteY904" fmla="*/ 244316 h 514350"/>
                <a:gd name="connsiteX905" fmla="*/ 4662964 w 6400800"/>
                <a:gd name="connsiteY905" fmla="*/ 246221 h 514350"/>
                <a:gd name="connsiteX906" fmla="*/ 4662964 w 6400800"/>
                <a:gd name="connsiteY906" fmla="*/ 246221 h 514350"/>
                <a:gd name="connsiteX907" fmla="*/ 4654391 w 6400800"/>
                <a:gd name="connsiteY907" fmla="*/ 262414 h 514350"/>
                <a:gd name="connsiteX908" fmla="*/ 4650581 w 6400800"/>
                <a:gd name="connsiteY908" fmla="*/ 271939 h 514350"/>
                <a:gd name="connsiteX909" fmla="*/ 4646772 w 6400800"/>
                <a:gd name="connsiteY909" fmla="*/ 261461 h 514350"/>
                <a:gd name="connsiteX910" fmla="*/ 4645819 w 6400800"/>
                <a:gd name="connsiteY910" fmla="*/ 259556 h 514350"/>
                <a:gd name="connsiteX911" fmla="*/ 4646772 w 6400800"/>
                <a:gd name="connsiteY911" fmla="*/ 253841 h 514350"/>
                <a:gd name="connsiteX912" fmla="*/ 4653439 w 6400800"/>
                <a:gd name="connsiteY912" fmla="*/ 227171 h 514350"/>
                <a:gd name="connsiteX913" fmla="*/ 4660106 w 6400800"/>
                <a:gd name="connsiteY913" fmla="*/ 204311 h 514350"/>
                <a:gd name="connsiteX914" fmla="*/ 4650581 w 6400800"/>
                <a:gd name="connsiteY914" fmla="*/ 226219 h 514350"/>
                <a:gd name="connsiteX915" fmla="*/ 4641056 w 6400800"/>
                <a:gd name="connsiteY915" fmla="*/ 251936 h 514350"/>
                <a:gd name="connsiteX916" fmla="*/ 4636294 w 6400800"/>
                <a:gd name="connsiteY916" fmla="*/ 267176 h 514350"/>
                <a:gd name="connsiteX917" fmla="*/ 4636294 w 6400800"/>
                <a:gd name="connsiteY917" fmla="*/ 259556 h 514350"/>
                <a:gd name="connsiteX918" fmla="*/ 4638199 w 6400800"/>
                <a:gd name="connsiteY918" fmla="*/ 242411 h 514350"/>
                <a:gd name="connsiteX919" fmla="*/ 4639151 w 6400800"/>
                <a:gd name="connsiteY919" fmla="*/ 235744 h 514350"/>
                <a:gd name="connsiteX920" fmla="*/ 4637247 w 6400800"/>
                <a:gd name="connsiteY920" fmla="*/ 241459 h 514350"/>
                <a:gd name="connsiteX921" fmla="*/ 4632484 w 6400800"/>
                <a:gd name="connsiteY921" fmla="*/ 258604 h 514350"/>
                <a:gd name="connsiteX922" fmla="*/ 4632484 w 6400800"/>
                <a:gd name="connsiteY922" fmla="*/ 258604 h 514350"/>
                <a:gd name="connsiteX923" fmla="*/ 4631531 w 6400800"/>
                <a:gd name="connsiteY923" fmla="*/ 254794 h 514350"/>
                <a:gd name="connsiteX924" fmla="*/ 4632484 w 6400800"/>
                <a:gd name="connsiteY924" fmla="*/ 259556 h 514350"/>
                <a:gd name="connsiteX925" fmla="*/ 4628674 w 6400800"/>
                <a:gd name="connsiteY925" fmla="*/ 285274 h 514350"/>
                <a:gd name="connsiteX926" fmla="*/ 4628674 w 6400800"/>
                <a:gd name="connsiteY926" fmla="*/ 293846 h 514350"/>
                <a:gd name="connsiteX927" fmla="*/ 4625816 w 6400800"/>
                <a:gd name="connsiteY927" fmla="*/ 303371 h 514350"/>
                <a:gd name="connsiteX928" fmla="*/ 4610576 w 6400800"/>
                <a:gd name="connsiteY928" fmla="*/ 293846 h 514350"/>
                <a:gd name="connsiteX929" fmla="*/ 4604862 w 6400800"/>
                <a:gd name="connsiteY929" fmla="*/ 290989 h 514350"/>
                <a:gd name="connsiteX930" fmla="*/ 4610576 w 6400800"/>
                <a:gd name="connsiteY930" fmla="*/ 294799 h 514350"/>
                <a:gd name="connsiteX931" fmla="*/ 4624864 w 6400800"/>
                <a:gd name="connsiteY931" fmla="*/ 307181 h 514350"/>
                <a:gd name="connsiteX932" fmla="*/ 4625816 w 6400800"/>
                <a:gd name="connsiteY932" fmla="*/ 308134 h 514350"/>
                <a:gd name="connsiteX933" fmla="*/ 4622006 w 6400800"/>
                <a:gd name="connsiteY933" fmla="*/ 325279 h 514350"/>
                <a:gd name="connsiteX934" fmla="*/ 4619149 w 6400800"/>
                <a:gd name="connsiteY934" fmla="*/ 343376 h 514350"/>
                <a:gd name="connsiteX935" fmla="*/ 4607719 w 6400800"/>
                <a:gd name="connsiteY935" fmla="*/ 306229 h 514350"/>
                <a:gd name="connsiteX936" fmla="*/ 4602956 w 6400800"/>
                <a:gd name="connsiteY936" fmla="*/ 290989 h 514350"/>
                <a:gd name="connsiteX937" fmla="*/ 4601051 w 6400800"/>
                <a:gd name="connsiteY937" fmla="*/ 269081 h 514350"/>
                <a:gd name="connsiteX938" fmla="*/ 4599147 w 6400800"/>
                <a:gd name="connsiteY938" fmla="*/ 248126 h 514350"/>
                <a:gd name="connsiteX939" fmla="*/ 4597241 w 6400800"/>
                <a:gd name="connsiteY939" fmla="*/ 269081 h 514350"/>
                <a:gd name="connsiteX940" fmla="*/ 4597241 w 6400800"/>
                <a:gd name="connsiteY940" fmla="*/ 271939 h 514350"/>
                <a:gd name="connsiteX941" fmla="*/ 4589622 w 6400800"/>
                <a:gd name="connsiteY941" fmla="*/ 250031 h 514350"/>
                <a:gd name="connsiteX942" fmla="*/ 4589622 w 6400800"/>
                <a:gd name="connsiteY942" fmla="*/ 240506 h 514350"/>
                <a:gd name="connsiteX943" fmla="*/ 4590574 w 6400800"/>
                <a:gd name="connsiteY943" fmla="*/ 197644 h 514350"/>
                <a:gd name="connsiteX944" fmla="*/ 4590574 w 6400800"/>
                <a:gd name="connsiteY944" fmla="*/ 109061 h 514350"/>
                <a:gd name="connsiteX945" fmla="*/ 4579144 w 6400800"/>
                <a:gd name="connsiteY945" fmla="*/ 197644 h 514350"/>
                <a:gd name="connsiteX946" fmla="*/ 4574381 w 6400800"/>
                <a:gd name="connsiteY946" fmla="*/ 240506 h 514350"/>
                <a:gd name="connsiteX947" fmla="*/ 4573429 w 6400800"/>
                <a:gd name="connsiteY947" fmla="*/ 256699 h 514350"/>
                <a:gd name="connsiteX948" fmla="*/ 4572476 w 6400800"/>
                <a:gd name="connsiteY948" fmla="*/ 257651 h 514350"/>
                <a:gd name="connsiteX949" fmla="*/ 4563904 w 6400800"/>
                <a:gd name="connsiteY949" fmla="*/ 265271 h 514350"/>
                <a:gd name="connsiteX950" fmla="*/ 4563904 w 6400800"/>
                <a:gd name="connsiteY950" fmla="*/ 264319 h 514350"/>
                <a:gd name="connsiteX951" fmla="*/ 4559141 w 6400800"/>
                <a:gd name="connsiteY951" fmla="*/ 255746 h 514350"/>
                <a:gd name="connsiteX952" fmla="*/ 4560094 w 6400800"/>
                <a:gd name="connsiteY952" fmla="*/ 249079 h 514350"/>
                <a:gd name="connsiteX953" fmla="*/ 4576287 w 6400800"/>
                <a:gd name="connsiteY953" fmla="*/ 159544 h 514350"/>
                <a:gd name="connsiteX954" fmla="*/ 4550569 w 6400800"/>
                <a:gd name="connsiteY954" fmla="*/ 243364 h 514350"/>
                <a:gd name="connsiteX955" fmla="*/ 4550569 w 6400800"/>
                <a:gd name="connsiteY955" fmla="*/ 243364 h 514350"/>
                <a:gd name="connsiteX956" fmla="*/ 4550569 w 6400800"/>
                <a:gd name="connsiteY956" fmla="*/ 243364 h 514350"/>
                <a:gd name="connsiteX957" fmla="*/ 4549616 w 6400800"/>
                <a:gd name="connsiteY957" fmla="*/ 246221 h 514350"/>
                <a:gd name="connsiteX958" fmla="*/ 4548664 w 6400800"/>
                <a:gd name="connsiteY958" fmla="*/ 248126 h 514350"/>
                <a:gd name="connsiteX959" fmla="*/ 4548664 w 6400800"/>
                <a:gd name="connsiteY959" fmla="*/ 248126 h 514350"/>
                <a:gd name="connsiteX960" fmla="*/ 4548664 w 6400800"/>
                <a:gd name="connsiteY960" fmla="*/ 248126 h 514350"/>
                <a:gd name="connsiteX961" fmla="*/ 4536281 w 6400800"/>
                <a:gd name="connsiteY961" fmla="*/ 292894 h 514350"/>
                <a:gd name="connsiteX962" fmla="*/ 4531519 w 6400800"/>
                <a:gd name="connsiteY962" fmla="*/ 241459 h 514350"/>
                <a:gd name="connsiteX963" fmla="*/ 4525804 w 6400800"/>
                <a:gd name="connsiteY963" fmla="*/ 303371 h 514350"/>
                <a:gd name="connsiteX964" fmla="*/ 4525804 w 6400800"/>
                <a:gd name="connsiteY964" fmla="*/ 309086 h 514350"/>
                <a:gd name="connsiteX965" fmla="*/ 4524851 w 6400800"/>
                <a:gd name="connsiteY965" fmla="*/ 308134 h 514350"/>
                <a:gd name="connsiteX966" fmla="*/ 4525804 w 6400800"/>
                <a:gd name="connsiteY966" fmla="*/ 310039 h 514350"/>
                <a:gd name="connsiteX967" fmla="*/ 4523899 w 6400800"/>
                <a:gd name="connsiteY967" fmla="*/ 333851 h 514350"/>
                <a:gd name="connsiteX968" fmla="*/ 4523899 w 6400800"/>
                <a:gd name="connsiteY968" fmla="*/ 337661 h 514350"/>
                <a:gd name="connsiteX969" fmla="*/ 4522947 w 6400800"/>
                <a:gd name="connsiteY969" fmla="*/ 339566 h 514350"/>
                <a:gd name="connsiteX970" fmla="*/ 4517231 w 6400800"/>
                <a:gd name="connsiteY970" fmla="*/ 322421 h 514350"/>
                <a:gd name="connsiteX971" fmla="*/ 4514374 w 6400800"/>
                <a:gd name="connsiteY971" fmla="*/ 301466 h 514350"/>
                <a:gd name="connsiteX972" fmla="*/ 4517231 w 6400800"/>
                <a:gd name="connsiteY972" fmla="*/ 297656 h 514350"/>
                <a:gd name="connsiteX973" fmla="*/ 4521041 w 6400800"/>
                <a:gd name="connsiteY973" fmla="*/ 291941 h 514350"/>
                <a:gd name="connsiteX974" fmla="*/ 4516279 w 6400800"/>
                <a:gd name="connsiteY974" fmla="*/ 297656 h 514350"/>
                <a:gd name="connsiteX975" fmla="*/ 4514374 w 6400800"/>
                <a:gd name="connsiteY975" fmla="*/ 300514 h 514350"/>
                <a:gd name="connsiteX976" fmla="*/ 4514374 w 6400800"/>
                <a:gd name="connsiteY976" fmla="*/ 298609 h 514350"/>
                <a:gd name="connsiteX977" fmla="*/ 4517231 w 6400800"/>
                <a:gd name="connsiteY977" fmla="*/ 293846 h 514350"/>
                <a:gd name="connsiteX978" fmla="*/ 4520089 w 6400800"/>
                <a:gd name="connsiteY978" fmla="*/ 288131 h 514350"/>
                <a:gd name="connsiteX979" fmla="*/ 4516279 w 6400800"/>
                <a:gd name="connsiteY979" fmla="*/ 292894 h 514350"/>
                <a:gd name="connsiteX980" fmla="*/ 4514374 w 6400800"/>
                <a:gd name="connsiteY980" fmla="*/ 295751 h 514350"/>
                <a:gd name="connsiteX981" fmla="*/ 4512469 w 6400800"/>
                <a:gd name="connsiteY981" fmla="*/ 281464 h 514350"/>
                <a:gd name="connsiteX982" fmla="*/ 4511516 w 6400800"/>
                <a:gd name="connsiteY982" fmla="*/ 268129 h 514350"/>
                <a:gd name="connsiteX983" fmla="*/ 4510564 w 6400800"/>
                <a:gd name="connsiteY983" fmla="*/ 272891 h 514350"/>
                <a:gd name="connsiteX984" fmla="*/ 4506754 w 6400800"/>
                <a:gd name="connsiteY984" fmla="*/ 250984 h 514350"/>
                <a:gd name="connsiteX985" fmla="*/ 4506754 w 6400800"/>
                <a:gd name="connsiteY985" fmla="*/ 292894 h 514350"/>
                <a:gd name="connsiteX986" fmla="*/ 4501991 w 6400800"/>
                <a:gd name="connsiteY986" fmla="*/ 282416 h 514350"/>
                <a:gd name="connsiteX987" fmla="*/ 4494372 w 6400800"/>
                <a:gd name="connsiteY987" fmla="*/ 267176 h 514350"/>
                <a:gd name="connsiteX988" fmla="*/ 4486751 w 6400800"/>
                <a:gd name="connsiteY988" fmla="*/ 254794 h 514350"/>
                <a:gd name="connsiteX989" fmla="*/ 4480084 w 6400800"/>
                <a:gd name="connsiteY989" fmla="*/ 245269 h 514350"/>
                <a:gd name="connsiteX990" fmla="*/ 4474369 w 6400800"/>
                <a:gd name="connsiteY990" fmla="*/ 238601 h 514350"/>
                <a:gd name="connsiteX991" fmla="*/ 4469606 w 6400800"/>
                <a:gd name="connsiteY991" fmla="*/ 233839 h 514350"/>
                <a:gd name="connsiteX992" fmla="*/ 4471512 w 6400800"/>
                <a:gd name="connsiteY992" fmla="*/ 225266 h 514350"/>
                <a:gd name="connsiteX993" fmla="*/ 4477226 w 6400800"/>
                <a:gd name="connsiteY993" fmla="*/ 198596 h 514350"/>
                <a:gd name="connsiteX994" fmla="*/ 4481037 w 6400800"/>
                <a:gd name="connsiteY994" fmla="*/ 175736 h 514350"/>
                <a:gd name="connsiteX995" fmla="*/ 4473416 w 6400800"/>
                <a:gd name="connsiteY995" fmla="*/ 197644 h 514350"/>
                <a:gd name="connsiteX996" fmla="*/ 4463891 w 6400800"/>
                <a:gd name="connsiteY996" fmla="*/ 222409 h 514350"/>
                <a:gd name="connsiteX997" fmla="*/ 4455319 w 6400800"/>
                <a:gd name="connsiteY997" fmla="*/ 244316 h 514350"/>
                <a:gd name="connsiteX998" fmla="*/ 4453414 w 6400800"/>
                <a:gd name="connsiteY998" fmla="*/ 237649 h 514350"/>
                <a:gd name="connsiteX999" fmla="*/ 4454366 w 6400800"/>
                <a:gd name="connsiteY999" fmla="*/ 247174 h 514350"/>
                <a:gd name="connsiteX1000" fmla="*/ 4451509 w 6400800"/>
                <a:gd name="connsiteY1000" fmla="*/ 253841 h 514350"/>
                <a:gd name="connsiteX1001" fmla="*/ 4436269 w 6400800"/>
                <a:gd name="connsiteY1001" fmla="*/ 289084 h 514350"/>
                <a:gd name="connsiteX1002" fmla="*/ 4435316 w 6400800"/>
                <a:gd name="connsiteY1002" fmla="*/ 287179 h 514350"/>
                <a:gd name="connsiteX1003" fmla="*/ 4438174 w 6400800"/>
                <a:gd name="connsiteY1003" fmla="*/ 274796 h 514350"/>
                <a:gd name="connsiteX1004" fmla="*/ 4444841 w 6400800"/>
                <a:gd name="connsiteY1004" fmla="*/ 247174 h 514350"/>
                <a:gd name="connsiteX1005" fmla="*/ 4454366 w 6400800"/>
                <a:gd name="connsiteY1005" fmla="*/ 195739 h 514350"/>
                <a:gd name="connsiteX1006" fmla="*/ 4460081 w 6400800"/>
                <a:gd name="connsiteY1006" fmla="*/ 151924 h 514350"/>
                <a:gd name="connsiteX1007" fmla="*/ 4461987 w 6400800"/>
                <a:gd name="connsiteY1007" fmla="*/ 133826 h 514350"/>
                <a:gd name="connsiteX1008" fmla="*/ 4462939 w 6400800"/>
                <a:gd name="connsiteY1008" fmla="*/ 118586 h 514350"/>
                <a:gd name="connsiteX1009" fmla="*/ 4463891 w 6400800"/>
                <a:gd name="connsiteY1009" fmla="*/ 89059 h 514350"/>
                <a:gd name="connsiteX1010" fmla="*/ 4458176 w 6400800"/>
                <a:gd name="connsiteY1010" fmla="*/ 118586 h 514350"/>
                <a:gd name="connsiteX1011" fmla="*/ 4455319 w 6400800"/>
                <a:gd name="connsiteY1011" fmla="*/ 133826 h 514350"/>
                <a:gd name="connsiteX1012" fmla="*/ 4451509 w 6400800"/>
                <a:gd name="connsiteY1012" fmla="*/ 151924 h 514350"/>
                <a:gd name="connsiteX1013" fmla="*/ 4441984 w 6400800"/>
                <a:gd name="connsiteY1013" fmla="*/ 194786 h 514350"/>
                <a:gd name="connsiteX1014" fmla="*/ 4428649 w 6400800"/>
                <a:gd name="connsiteY1014" fmla="*/ 245269 h 514350"/>
                <a:gd name="connsiteX1015" fmla="*/ 4421981 w 6400800"/>
                <a:gd name="connsiteY1015" fmla="*/ 269081 h 514350"/>
                <a:gd name="connsiteX1016" fmla="*/ 4414362 w 6400800"/>
                <a:gd name="connsiteY1016" fmla="*/ 258604 h 514350"/>
                <a:gd name="connsiteX1017" fmla="*/ 4394359 w 6400800"/>
                <a:gd name="connsiteY1017" fmla="*/ 230029 h 514350"/>
                <a:gd name="connsiteX1018" fmla="*/ 4387691 w 6400800"/>
                <a:gd name="connsiteY1018" fmla="*/ 221456 h 514350"/>
                <a:gd name="connsiteX1019" fmla="*/ 4395312 w 6400800"/>
                <a:gd name="connsiteY1019" fmla="*/ 180499 h 514350"/>
                <a:gd name="connsiteX1020" fmla="*/ 4382929 w 6400800"/>
                <a:gd name="connsiteY1020" fmla="*/ 215741 h 514350"/>
                <a:gd name="connsiteX1021" fmla="*/ 4375309 w 6400800"/>
                <a:gd name="connsiteY1021" fmla="*/ 206216 h 514350"/>
                <a:gd name="connsiteX1022" fmla="*/ 4381976 w 6400800"/>
                <a:gd name="connsiteY1022" fmla="*/ 218599 h 514350"/>
                <a:gd name="connsiteX1023" fmla="*/ 4369594 w 6400800"/>
                <a:gd name="connsiteY1023" fmla="*/ 259556 h 514350"/>
                <a:gd name="connsiteX1024" fmla="*/ 4368641 w 6400800"/>
                <a:gd name="connsiteY1024" fmla="*/ 241459 h 514350"/>
                <a:gd name="connsiteX1025" fmla="*/ 4366737 w 6400800"/>
                <a:gd name="connsiteY1025" fmla="*/ 263366 h 514350"/>
                <a:gd name="connsiteX1026" fmla="*/ 4365784 w 6400800"/>
                <a:gd name="connsiteY1026" fmla="*/ 274796 h 514350"/>
                <a:gd name="connsiteX1027" fmla="*/ 4362926 w 6400800"/>
                <a:gd name="connsiteY1027" fmla="*/ 285274 h 514350"/>
                <a:gd name="connsiteX1028" fmla="*/ 4362926 w 6400800"/>
                <a:gd name="connsiteY1028" fmla="*/ 282416 h 514350"/>
                <a:gd name="connsiteX1029" fmla="*/ 4361022 w 6400800"/>
                <a:gd name="connsiteY1029" fmla="*/ 261461 h 514350"/>
                <a:gd name="connsiteX1030" fmla="*/ 4359116 w 6400800"/>
                <a:gd name="connsiteY1030" fmla="*/ 283369 h 514350"/>
                <a:gd name="connsiteX1031" fmla="*/ 4359116 w 6400800"/>
                <a:gd name="connsiteY1031" fmla="*/ 290989 h 514350"/>
                <a:gd name="connsiteX1032" fmla="*/ 4357212 w 6400800"/>
                <a:gd name="connsiteY1032" fmla="*/ 295751 h 514350"/>
                <a:gd name="connsiteX1033" fmla="*/ 4351497 w 6400800"/>
                <a:gd name="connsiteY1033" fmla="*/ 284321 h 514350"/>
                <a:gd name="connsiteX1034" fmla="*/ 4351497 w 6400800"/>
                <a:gd name="connsiteY1034" fmla="*/ 257651 h 514350"/>
                <a:gd name="connsiteX1035" fmla="*/ 4351497 w 6400800"/>
                <a:gd name="connsiteY1035" fmla="*/ 238601 h 514350"/>
                <a:gd name="connsiteX1036" fmla="*/ 4349591 w 6400800"/>
                <a:gd name="connsiteY1036" fmla="*/ 221456 h 514350"/>
                <a:gd name="connsiteX1037" fmla="*/ 4345781 w 6400800"/>
                <a:gd name="connsiteY1037" fmla="*/ 194786 h 514350"/>
                <a:gd name="connsiteX1038" fmla="*/ 4342924 w 6400800"/>
                <a:gd name="connsiteY1038" fmla="*/ 170974 h 514350"/>
                <a:gd name="connsiteX1039" fmla="*/ 4341972 w 6400800"/>
                <a:gd name="connsiteY1039" fmla="*/ 194786 h 514350"/>
                <a:gd name="connsiteX1040" fmla="*/ 4341972 w 6400800"/>
                <a:gd name="connsiteY1040" fmla="*/ 217646 h 514350"/>
                <a:gd name="connsiteX1041" fmla="*/ 4340066 w 6400800"/>
                <a:gd name="connsiteY1041" fmla="*/ 205264 h 514350"/>
                <a:gd name="connsiteX1042" fmla="*/ 4339114 w 6400800"/>
                <a:gd name="connsiteY1042" fmla="*/ 226219 h 514350"/>
                <a:gd name="connsiteX1043" fmla="*/ 4338162 w 6400800"/>
                <a:gd name="connsiteY1043" fmla="*/ 250031 h 514350"/>
                <a:gd name="connsiteX1044" fmla="*/ 4338162 w 6400800"/>
                <a:gd name="connsiteY1044" fmla="*/ 252889 h 514350"/>
                <a:gd name="connsiteX1045" fmla="*/ 4337209 w 6400800"/>
                <a:gd name="connsiteY1045" fmla="*/ 250984 h 514350"/>
                <a:gd name="connsiteX1046" fmla="*/ 4318159 w 6400800"/>
                <a:gd name="connsiteY1046" fmla="*/ 196691 h 514350"/>
                <a:gd name="connsiteX1047" fmla="*/ 4289584 w 6400800"/>
                <a:gd name="connsiteY1047" fmla="*/ 116681 h 514350"/>
                <a:gd name="connsiteX1048" fmla="*/ 4278154 w 6400800"/>
                <a:gd name="connsiteY1048" fmla="*/ 86201 h 514350"/>
                <a:gd name="connsiteX1049" fmla="*/ 4285774 w 6400800"/>
                <a:gd name="connsiteY1049" fmla="*/ 117634 h 514350"/>
                <a:gd name="connsiteX1050" fmla="*/ 4307681 w 6400800"/>
                <a:gd name="connsiteY1050" fmla="*/ 199549 h 514350"/>
                <a:gd name="connsiteX1051" fmla="*/ 4334351 w 6400800"/>
                <a:gd name="connsiteY1051" fmla="*/ 295751 h 514350"/>
                <a:gd name="connsiteX1052" fmla="*/ 4334351 w 6400800"/>
                <a:gd name="connsiteY1052" fmla="*/ 296704 h 514350"/>
                <a:gd name="connsiteX1053" fmla="*/ 4334351 w 6400800"/>
                <a:gd name="connsiteY1053" fmla="*/ 294799 h 514350"/>
                <a:gd name="connsiteX1054" fmla="*/ 4334351 w 6400800"/>
                <a:gd name="connsiteY1054" fmla="*/ 301466 h 514350"/>
                <a:gd name="connsiteX1055" fmla="*/ 4333399 w 6400800"/>
                <a:gd name="connsiteY1055" fmla="*/ 315754 h 514350"/>
                <a:gd name="connsiteX1056" fmla="*/ 4329589 w 6400800"/>
                <a:gd name="connsiteY1056" fmla="*/ 344329 h 514350"/>
                <a:gd name="connsiteX1057" fmla="*/ 4328637 w 6400800"/>
                <a:gd name="connsiteY1057" fmla="*/ 343376 h 514350"/>
                <a:gd name="connsiteX1058" fmla="*/ 4326731 w 6400800"/>
                <a:gd name="connsiteY1058" fmla="*/ 340519 h 514350"/>
                <a:gd name="connsiteX1059" fmla="*/ 4325779 w 6400800"/>
                <a:gd name="connsiteY1059" fmla="*/ 333851 h 514350"/>
                <a:gd name="connsiteX1060" fmla="*/ 4315301 w 6400800"/>
                <a:gd name="connsiteY1060" fmla="*/ 267176 h 514350"/>
                <a:gd name="connsiteX1061" fmla="*/ 4301966 w 6400800"/>
                <a:gd name="connsiteY1061" fmla="*/ 202406 h 514350"/>
                <a:gd name="connsiteX1062" fmla="*/ 4303872 w 6400800"/>
                <a:gd name="connsiteY1062" fmla="*/ 268129 h 514350"/>
                <a:gd name="connsiteX1063" fmla="*/ 4303872 w 6400800"/>
                <a:gd name="connsiteY1063" fmla="*/ 274796 h 514350"/>
                <a:gd name="connsiteX1064" fmla="*/ 4301966 w 6400800"/>
                <a:gd name="connsiteY1064" fmla="*/ 290036 h 514350"/>
                <a:gd name="connsiteX1065" fmla="*/ 4300062 w 6400800"/>
                <a:gd name="connsiteY1065" fmla="*/ 300514 h 514350"/>
                <a:gd name="connsiteX1066" fmla="*/ 4288631 w 6400800"/>
                <a:gd name="connsiteY1066" fmla="*/ 286226 h 514350"/>
                <a:gd name="connsiteX1067" fmla="*/ 4299109 w 6400800"/>
                <a:gd name="connsiteY1067" fmla="*/ 305276 h 514350"/>
                <a:gd name="connsiteX1068" fmla="*/ 4296251 w 6400800"/>
                <a:gd name="connsiteY1068" fmla="*/ 323374 h 514350"/>
                <a:gd name="connsiteX1069" fmla="*/ 4292441 w 6400800"/>
                <a:gd name="connsiteY1069" fmla="*/ 346234 h 514350"/>
                <a:gd name="connsiteX1070" fmla="*/ 4290537 w 6400800"/>
                <a:gd name="connsiteY1070" fmla="*/ 343376 h 514350"/>
                <a:gd name="connsiteX1071" fmla="*/ 4288631 w 6400800"/>
                <a:gd name="connsiteY1071" fmla="*/ 308134 h 514350"/>
                <a:gd name="connsiteX1072" fmla="*/ 4281964 w 6400800"/>
                <a:gd name="connsiteY1072" fmla="*/ 231934 h 514350"/>
                <a:gd name="connsiteX1073" fmla="*/ 4277201 w 6400800"/>
                <a:gd name="connsiteY1073" fmla="*/ 309086 h 514350"/>
                <a:gd name="connsiteX1074" fmla="*/ 4277201 w 6400800"/>
                <a:gd name="connsiteY1074" fmla="*/ 318611 h 514350"/>
                <a:gd name="connsiteX1075" fmla="*/ 4273391 w 6400800"/>
                <a:gd name="connsiteY1075" fmla="*/ 310039 h 514350"/>
                <a:gd name="connsiteX1076" fmla="*/ 4272439 w 6400800"/>
                <a:gd name="connsiteY1076" fmla="*/ 303371 h 514350"/>
                <a:gd name="connsiteX1077" fmla="*/ 4270534 w 6400800"/>
                <a:gd name="connsiteY1077" fmla="*/ 273844 h 514350"/>
                <a:gd name="connsiteX1078" fmla="*/ 4269581 w 6400800"/>
                <a:gd name="connsiteY1078" fmla="*/ 260509 h 514350"/>
                <a:gd name="connsiteX1079" fmla="*/ 4269581 w 6400800"/>
                <a:gd name="connsiteY1079" fmla="*/ 255746 h 514350"/>
                <a:gd name="connsiteX1080" fmla="*/ 4270534 w 6400800"/>
                <a:gd name="connsiteY1080" fmla="*/ 234791 h 514350"/>
                <a:gd name="connsiteX1081" fmla="*/ 4273391 w 6400800"/>
                <a:gd name="connsiteY1081" fmla="*/ 155734 h 514350"/>
                <a:gd name="connsiteX1082" fmla="*/ 4259104 w 6400800"/>
                <a:gd name="connsiteY1082" fmla="*/ 233839 h 514350"/>
                <a:gd name="connsiteX1083" fmla="*/ 4253389 w 6400800"/>
                <a:gd name="connsiteY1083" fmla="*/ 271939 h 514350"/>
                <a:gd name="connsiteX1084" fmla="*/ 4252437 w 6400800"/>
                <a:gd name="connsiteY1084" fmla="*/ 270034 h 514350"/>
                <a:gd name="connsiteX1085" fmla="*/ 4253389 w 6400800"/>
                <a:gd name="connsiteY1085" fmla="*/ 262414 h 514350"/>
                <a:gd name="connsiteX1086" fmla="*/ 4255294 w 6400800"/>
                <a:gd name="connsiteY1086" fmla="*/ 240506 h 514350"/>
                <a:gd name="connsiteX1087" fmla="*/ 4249579 w 6400800"/>
                <a:gd name="connsiteY1087" fmla="*/ 262414 h 514350"/>
                <a:gd name="connsiteX1088" fmla="*/ 4248626 w 6400800"/>
                <a:gd name="connsiteY1088" fmla="*/ 264319 h 514350"/>
                <a:gd name="connsiteX1089" fmla="*/ 4246722 w 6400800"/>
                <a:gd name="connsiteY1089" fmla="*/ 261461 h 514350"/>
                <a:gd name="connsiteX1090" fmla="*/ 4244816 w 6400800"/>
                <a:gd name="connsiteY1090" fmla="*/ 257651 h 514350"/>
                <a:gd name="connsiteX1091" fmla="*/ 4244816 w 6400800"/>
                <a:gd name="connsiteY1091" fmla="*/ 251936 h 514350"/>
                <a:gd name="connsiteX1092" fmla="*/ 4243864 w 6400800"/>
                <a:gd name="connsiteY1092" fmla="*/ 256699 h 514350"/>
                <a:gd name="connsiteX1093" fmla="*/ 4240054 w 6400800"/>
                <a:gd name="connsiteY1093" fmla="*/ 251936 h 514350"/>
                <a:gd name="connsiteX1094" fmla="*/ 4229576 w 6400800"/>
                <a:gd name="connsiteY1094" fmla="*/ 235744 h 514350"/>
                <a:gd name="connsiteX1095" fmla="*/ 4220051 w 6400800"/>
                <a:gd name="connsiteY1095" fmla="*/ 222409 h 514350"/>
                <a:gd name="connsiteX1096" fmla="*/ 4226719 w 6400800"/>
                <a:gd name="connsiteY1096" fmla="*/ 237649 h 514350"/>
                <a:gd name="connsiteX1097" fmla="*/ 4234339 w 6400800"/>
                <a:gd name="connsiteY1097" fmla="*/ 254794 h 514350"/>
                <a:gd name="connsiteX1098" fmla="*/ 4236244 w 6400800"/>
                <a:gd name="connsiteY1098" fmla="*/ 258604 h 514350"/>
                <a:gd name="connsiteX1099" fmla="*/ 4231481 w 6400800"/>
                <a:gd name="connsiteY1099" fmla="*/ 251936 h 514350"/>
                <a:gd name="connsiteX1100" fmla="*/ 4220051 w 6400800"/>
                <a:gd name="connsiteY1100" fmla="*/ 237649 h 514350"/>
                <a:gd name="connsiteX1101" fmla="*/ 4202906 w 6400800"/>
                <a:gd name="connsiteY1101" fmla="*/ 219551 h 514350"/>
                <a:gd name="connsiteX1102" fmla="*/ 4196239 w 6400800"/>
                <a:gd name="connsiteY1102" fmla="*/ 213836 h 514350"/>
                <a:gd name="connsiteX1103" fmla="*/ 4201954 w 6400800"/>
                <a:gd name="connsiteY1103" fmla="*/ 220504 h 514350"/>
                <a:gd name="connsiteX1104" fmla="*/ 4216241 w 6400800"/>
                <a:gd name="connsiteY1104" fmla="*/ 240506 h 514350"/>
                <a:gd name="connsiteX1105" fmla="*/ 4225766 w 6400800"/>
                <a:gd name="connsiteY1105" fmla="*/ 255746 h 514350"/>
                <a:gd name="connsiteX1106" fmla="*/ 4235291 w 6400800"/>
                <a:gd name="connsiteY1106" fmla="*/ 273844 h 514350"/>
                <a:gd name="connsiteX1107" fmla="*/ 4235291 w 6400800"/>
                <a:gd name="connsiteY1107" fmla="*/ 274796 h 514350"/>
                <a:gd name="connsiteX1108" fmla="*/ 4235291 w 6400800"/>
                <a:gd name="connsiteY1108" fmla="*/ 282416 h 514350"/>
                <a:gd name="connsiteX1109" fmla="*/ 4234339 w 6400800"/>
                <a:gd name="connsiteY1109" fmla="*/ 281464 h 514350"/>
                <a:gd name="connsiteX1110" fmla="*/ 4229576 w 6400800"/>
                <a:gd name="connsiteY1110" fmla="*/ 276701 h 514350"/>
                <a:gd name="connsiteX1111" fmla="*/ 4233387 w 6400800"/>
                <a:gd name="connsiteY1111" fmla="*/ 282416 h 514350"/>
                <a:gd name="connsiteX1112" fmla="*/ 4235291 w 6400800"/>
                <a:gd name="connsiteY1112" fmla="*/ 284321 h 514350"/>
                <a:gd name="connsiteX1113" fmla="*/ 4235291 w 6400800"/>
                <a:gd name="connsiteY1113" fmla="*/ 285274 h 514350"/>
                <a:gd name="connsiteX1114" fmla="*/ 4229576 w 6400800"/>
                <a:gd name="connsiteY1114" fmla="*/ 310039 h 514350"/>
                <a:gd name="connsiteX1115" fmla="*/ 4222909 w 6400800"/>
                <a:gd name="connsiteY1115" fmla="*/ 295751 h 514350"/>
                <a:gd name="connsiteX1116" fmla="*/ 4228624 w 6400800"/>
                <a:gd name="connsiteY1116" fmla="*/ 316706 h 514350"/>
                <a:gd name="connsiteX1117" fmla="*/ 4226719 w 6400800"/>
                <a:gd name="connsiteY1117" fmla="*/ 327184 h 514350"/>
                <a:gd name="connsiteX1118" fmla="*/ 4223862 w 6400800"/>
                <a:gd name="connsiteY1118" fmla="*/ 341471 h 514350"/>
                <a:gd name="connsiteX1119" fmla="*/ 4222909 w 6400800"/>
                <a:gd name="connsiteY1119" fmla="*/ 334804 h 514350"/>
                <a:gd name="connsiteX1120" fmla="*/ 4219099 w 6400800"/>
                <a:gd name="connsiteY1120" fmla="*/ 311944 h 514350"/>
                <a:gd name="connsiteX1121" fmla="*/ 4219099 w 6400800"/>
                <a:gd name="connsiteY1121" fmla="*/ 331946 h 514350"/>
                <a:gd name="connsiteX1122" fmla="*/ 4217194 w 6400800"/>
                <a:gd name="connsiteY1122" fmla="*/ 322421 h 514350"/>
                <a:gd name="connsiteX1123" fmla="*/ 4198144 w 6400800"/>
                <a:gd name="connsiteY1123" fmla="*/ 240506 h 514350"/>
                <a:gd name="connsiteX1124" fmla="*/ 4205764 w 6400800"/>
                <a:gd name="connsiteY1124" fmla="*/ 323374 h 514350"/>
                <a:gd name="connsiteX1125" fmla="*/ 4210526 w 6400800"/>
                <a:gd name="connsiteY1125" fmla="*/ 364331 h 514350"/>
                <a:gd name="connsiteX1126" fmla="*/ 4210526 w 6400800"/>
                <a:gd name="connsiteY1126" fmla="*/ 363379 h 514350"/>
                <a:gd name="connsiteX1127" fmla="*/ 4206716 w 6400800"/>
                <a:gd name="connsiteY1127" fmla="*/ 350044 h 514350"/>
                <a:gd name="connsiteX1128" fmla="*/ 4202906 w 6400800"/>
                <a:gd name="connsiteY1128" fmla="*/ 338614 h 514350"/>
                <a:gd name="connsiteX1129" fmla="*/ 4202906 w 6400800"/>
                <a:gd name="connsiteY1129" fmla="*/ 350996 h 514350"/>
                <a:gd name="connsiteX1130" fmla="*/ 4202906 w 6400800"/>
                <a:gd name="connsiteY1130" fmla="*/ 365284 h 514350"/>
                <a:gd name="connsiteX1131" fmla="*/ 4202906 w 6400800"/>
                <a:gd name="connsiteY1131" fmla="*/ 373856 h 514350"/>
                <a:gd name="connsiteX1132" fmla="*/ 4202906 w 6400800"/>
                <a:gd name="connsiteY1132" fmla="*/ 380524 h 514350"/>
                <a:gd name="connsiteX1133" fmla="*/ 4201954 w 6400800"/>
                <a:gd name="connsiteY1133" fmla="*/ 378619 h 514350"/>
                <a:gd name="connsiteX1134" fmla="*/ 4201001 w 6400800"/>
                <a:gd name="connsiteY1134" fmla="*/ 361474 h 514350"/>
                <a:gd name="connsiteX1135" fmla="*/ 4196239 w 6400800"/>
                <a:gd name="connsiteY1135" fmla="*/ 290989 h 514350"/>
                <a:gd name="connsiteX1136" fmla="*/ 4191476 w 6400800"/>
                <a:gd name="connsiteY1136" fmla="*/ 343376 h 514350"/>
                <a:gd name="connsiteX1137" fmla="*/ 4188619 w 6400800"/>
                <a:gd name="connsiteY1137" fmla="*/ 335756 h 514350"/>
                <a:gd name="connsiteX1138" fmla="*/ 4181951 w 6400800"/>
                <a:gd name="connsiteY1138" fmla="*/ 319564 h 514350"/>
                <a:gd name="connsiteX1139" fmla="*/ 4180999 w 6400800"/>
                <a:gd name="connsiteY1139" fmla="*/ 316706 h 514350"/>
                <a:gd name="connsiteX1140" fmla="*/ 4180999 w 6400800"/>
                <a:gd name="connsiteY1140" fmla="*/ 256699 h 514350"/>
                <a:gd name="connsiteX1141" fmla="*/ 4180999 w 6400800"/>
                <a:gd name="connsiteY1141" fmla="*/ 230029 h 514350"/>
                <a:gd name="connsiteX1142" fmla="*/ 4177189 w 6400800"/>
                <a:gd name="connsiteY1142" fmla="*/ 256699 h 514350"/>
                <a:gd name="connsiteX1143" fmla="*/ 4175284 w 6400800"/>
                <a:gd name="connsiteY1143" fmla="*/ 270034 h 514350"/>
                <a:gd name="connsiteX1144" fmla="*/ 4174331 w 6400800"/>
                <a:gd name="connsiteY1144" fmla="*/ 251936 h 514350"/>
                <a:gd name="connsiteX1145" fmla="*/ 4168616 w 6400800"/>
                <a:gd name="connsiteY1145" fmla="*/ 176689 h 514350"/>
                <a:gd name="connsiteX1146" fmla="*/ 4162901 w 6400800"/>
                <a:gd name="connsiteY1146" fmla="*/ 251936 h 514350"/>
                <a:gd name="connsiteX1147" fmla="*/ 4160996 w 6400800"/>
                <a:gd name="connsiteY1147" fmla="*/ 287179 h 514350"/>
                <a:gd name="connsiteX1148" fmla="*/ 4154329 w 6400800"/>
                <a:gd name="connsiteY1148" fmla="*/ 303371 h 514350"/>
                <a:gd name="connsiteX1149" fmla="*/ 4146709 w 6400800"/>
                <a:gd name="connsiteY1149" fmla="*/ 280511 h 514350"/>
                <a:gd name="connsiteX1150" fmla="*/ 4140041 w 6400800"/>
                <a:gd name="connsiteY1150" fmla="*/ 246221 h 514350"/>
                <a:gd name="connsiteX1151" fmla="*/ 4133374 w 6400800"/>
                <a:gd name="connsiteY1151" fmla="*/ 224314 h 514350"/>
                <a:gd name="connsiteX1152" fmla="*/ 4134326 w 6400800"/>
                <a:gd name="connsiteY1152" fmla="*/ 230029 h 514350"/>
                <a:gd name="connsiteX1153" fmla="*/ 4136231 w 6400800"/>
                <a:gd name="connsiteY1153" fmla="*/ 247174 h 514350"/>
                <a:gd name="connsiteX1154" fmla="*/ 4136231 w 6400800"/>
                <a:gd name="connsiteY1154" fmla="*/ 250031 h 514350"/>
                <a:gd name="connsiteX1155" fmla="*/ 4118134 w 6400800"/>
                <a:gd name="connsiteY1155" fmla="*/ 197644 h 514350"/>
                <a:gd name="connsiteX1156" fmla="*/ 4093369 w 6400800"/>
                <a:gd name="connsiteY1156" fmla="*/ 121444 h 514350"/>
                <a:gd name="connsiteX1157" fmla="*/ 4083844 w 6400800"/>
                <a:gd name="connsiteY1157" fmla="*/ 92869 h 514350"/>
                <a:gd name="connsiteX1158" fmla="*/ 4089559 w 6400800"/>
                <a:gd name="connsiteY1158" fmla="*/ 122396 h 514350"/>
                <a:gd name="connsiteX1159" fmla="*/ 4106704 w 6400800"/>
                <a:gd name="connsiteY1159" fmla="*/ 200501 h 514350"/>
                <a:gd name="connsiteX1160" fmla="*/ 4119086 w 6400800"/>
                <a:gd name="connsiteY1160" fmla="*/ 248126 h 514350"/>
                <a:gd name="connsiteX1161" fmla="*/ 4117181 w 6400800"/>
                <a:gd name="connsiteY1161" fmla="*/ 262414 h 514350"/>
                <a:gd name="connsiteX1162" fmla="*/ 4114324 w 6400800"/>
                <a:gd name="connsiteY1162" fmla="*/ 290036 h 514350"/>
                <a:gd name="connsiteX1163" fmla="*/ 4110514 w 6400800"/>
                <a:gd name="connsiteY1163" fmla="*/ 284321 h 514350"/>
                <a:gd name="connsiteX1164" fmla="*/ 4114324 w 6400800"/>
                <a:gd name="connsiteY1164" fmla="*/ 269081 h 514350"/>
                <a:gd name="connsiteX1165" fmla="*/ 4108609 w 6400800"/>
                <a:gd name="connsiteY1165" fmla="*/ 282416 h 514350"/>
                <a:gd name="connsiteX1166" fmla="*/ 4102894 w 6400800"/>
                <a:gd name="connsiteY1166" fmla="*/ 273844 h 514350"/>
                <a:gd name="connsiteX1167" fmla="*/ 4096226 w 6400800"/>
                <a:gd name="connsiteY1167" fmla="*/ 263366 h 514350"/>
                <a:gd name="connsiteX1168" fmla="*/ 4097179 w 6400800"/>
                <a:gd name="connsiteY1168" fmla="*/ 262414 h 514350"/>
                <a:gd name="connsiteX1169" fmla="*/ 4096226 w 6400800"/>
                <a:gd name="connsiteY1169" fmla="*/ 263366 h 514350"/>
                <a:gd name="connsiteX1170" fmla="*/ 4090511 w 6400800"/>
                <a:gd name="connsiteY1170" fmla="*/ 253841 h 514350"/>
                <a:gd name="connsiteX1171" fmla="*/ 4090511 w 6400800"/>
                <a:gd name="connsiteY1171" fmla="*/ 252889 h 514350"/>
                <a:gd name="connsiteX1172" fmla="*/ 4090511 w 6400800"/>
                <a:gd name="connsiteY1172" fmla="*/ 238601 h 514350"/>
                <a:gd name="connsiteX1173" fmla="*/ 4090511 w 6400800"/>
                <a:gd name="connsiteY1173" fmla="*/ 215741 h 514350"/>
                <a:gd name="connsiteX1174" fmla="*/ 4089559 w 6400800"/>
                <a:gd name="connsiteY1174" fmla="*/ 195739 h 514350"/>
                <a:gd name="connsiteX1175" fmla="*/ 4086701 w 6400800"/>
                <a:gd name="connsiteY1175" fmla="*/ 214789 h 514350"/>
                <a:gd name="connsiteX1176" fmla="*/ 4083844 w 6400800"/>
                <a:gd name="connsiteY1176" fmla="*/ 236696 h 514350"/>
                <a:gd name="connsiteX1177" fmla="*/ 4083844 w 6400800"/>
                <a:gd name="connsiteY1177" fmla="*/ 239554 h 514350"/>
                <a:gd name="connsiteX1178" fmla="*/ 4081939 w 6400800"/>
                <a:gd name="connsiteY1178" fmla="*/ 236696 h 514350"/>
                <a:gd name="connsiteX1179" fmla="*/ 4081939 w 6400800"/>
                <a:gd name="connsiteY1179" fmla="*/ 234791 h 514350"/>
                <a:gd name="connsiteX1180" fmla="*/ 4081939 w 6400800"/>
                <a:gd name="connsiteY1180" fmla="*/ 210026 h 514350"/>
                <a:gd name="connsiteX1181" fmla="*/ 4081939 w 6400800"/>
                <a:gd name="connsiteY1181" fmla="*/ 188119 h 514350"/>
                <a:gd name="connsiteX1182" fmla="*/ 4078129 w 6400800"/>
                <a:gd name="connsiteY1182" fmla="*/ 210026 h 514350"/>
                <a:gd name="connsiteX1183" fmla="*/ 4075271 w 6400800"/>
                <a:gd name="connsiteY1183" fmla="*/ 227171 h 514350"/>
                <a:gd name="connsiteX1184" fmla="*/ 4059079 w 6400800"/>
                <a:gd name="connsiteY1184" fmla="*/ 202406 h 514350"/>
                <a:gd name="connsiteX1185" fmla="*/ 4073366 w 6400800"/>
                <a:gd name="connsiteY1185" fmla="*/ 236696 h 514350"/>
                <a:gd name="connsiteX1186" fmla="*/ 4071461 w 6400800"/>
                <a:gd name="connsiteY1186" fmla="*/ 250984 h 514350"/>
                <a:gd name="connsiteX1187" fmla="*/ 4067651 w 6400800"/>
                <a:gd name="connsiteY1187" fmla="*/ 268129 h 514350"/>
                <a:gd name="connsiteX1188" fmla="*/ 4064794 w 6400800"/>
                <a:gd name="connsiteY1188" fmla="*/ 279559 h 514350"/>
                <a:gd name="connsiteX1189" fmla="*/ 4061936 w 6400800"/>
                <a:gd name="connsiteY1189" fmla="*/ 253841 h 514350"/>
                <a:gd name="connsiteX1190" fmla="*/ 4054316 w 6400800"/>
                <a:gd name="connsiteY1190" fmla="*/ 207169 h 514350"/>
                <a:gd name="connsiteX1191" fmla="*/ 4050506 w 6400800"/>
                <a:gd name="connsiteY1191" fmla="*/ 186214 h 514350"/>
                <a:gd name="connsiteX1192" fmla="*/ 4046696 w 6400800"/>
                <a:gd name="connsiteY1192" fmla="*/ 168116 h 514350"/>
                <a:gd name="connsiteX1193" fmla="*/ 4040029 w 6400800"/>
                <a:gd name="connsiteY1193" fmla="*/ 137636 h 514350"/>
                <a:gd name="connsiteX1194" fmla="*/ 4034314 w 6400800"/>
                <a:gd name="connsiteY1194" fmla="*/ 111919 h 514350"/>
                <a:gd name="connsiteX1195" fmla="*/ 4036219 w 6400800"/>
                <a:gd name="connsiteY1195" fmla="*/ 138589 h 514350"/>
                <a:gd name="connsiteX1196" fmla="*/ 4039076 w 6400800"/>
                <a:gd name="connsiteY1196" fmla="*/ 169069 h 514350"/>
                <a:gd name="connsiteX1197" fmla="*/ 4042886 w 6400800"/>
                <a:gd name="connsiteY1197" fmla="*/ 208121 h 514350"/>
                <a:gd name="connsiteX1198" fmla="*/ 4044791 w 6400800"/>
                <a:gd name="connsiteY1198" fmla="*/ 238601 h 514350"/>
                <a:gd name="connsiteX1199" fmla="*/ 4031456 w 6400800"/>
                <a:gd name="connsiteY1199" fmla="*/ 170021 h 514350"/>
                <a:gd name="connsiteX1200" fmla="*/ 4036219 w 6400800"/>
                <a:gd name="connsiteY1200" fmla="*/ 252889 h 514350"/>
                <a:gd name="connsiteX1201" fmla="*/ 4037171 w 6400800"/>
                <a:gd name="connsiteY1201" fmla="*/ 264319 h 514350"/>
                <a:gd name="connsiteX1202" fmla="*/ 4035266 w 6400800"/>
                <a:gd name="connsiteY1202" fmla="*/ 271939 h 514350"/>
                <a:gd name="connsiteX1203" fmla="*/ 4030504 w 6400800"/>
                <a:gd name="connsiteY1203" fmla="*/ 266224 h 514350"/>
                <a:gd name="connsiteX1204" fmla="*/ 4023836 w 6400800"/>
                <a:gd name="connsiteY1204" fmla="*/ 258604 h 514350"/>
                <a:gd name="connsiteX1205" fmla="*/ 4009549 w 6400800"/>
                <a:gd name="connsiteY1205" fmla="*/ 229076 h 514350"/>
                <a:gd name="connsiteX1206" fmla="*/ 3996214 w 6400800"/>
                <a:gd name="connsiteY1206" fmla="*/ 203359 h 514350"/>
                <a:gd name="connsiteX1207" fmla="*/ 4005739 w 6400800"/>
                <a:gd name="connsiteY1207" fmla="*/ 230981 h 514350"/>
                <a:gd name="connsiteX1208" fmla="*/ 4014311 w 6400800"/>
                <a:gd name="connsiteY1208" fmla="*/ 255746 h 514350"/>
                <a:gd name="connsiteX1209" fmla="*/ 4007644 w 6400800"/>
                <a:gd name="connsiteY1209" fmla="*/ 243364 h 514350"/>
                <a:gd name="connsiteX1210" fmla="*/ 4015264 w 6400800"/>
                <a:gd name="connsiteY1210" fmla="*/ 267176 h 514350"/>
                <a:gd name="connsiteX1211" fmla="*/ 4024789 w 6400800"/>
                <a:gd name="connsiteY1211" fmla="*/ 294799 h 514350"/>
                <a:gd name="connsiteX1212" fmla="*/ 4026694 w 6400800"/>
                <a:gd name="connsiteY1212" fmla="*/ 301466 h 514350"/>
                <a:gd name="connsiteX1213" fmla="*/ 4017169 w 6400800"/>
                <a:gd name="connsiteY1213" fmla="*/ 329089 h 514350"/>
                <a:gd name="connsiteX1214" fmla="*/ 4016216 w 6400800"/>
                <a:gd name="connsiteY1214" fmla="*/ 328136 h 514350"/>
                <a:gd name="connsiteX1215" fmla="*/ 4005739 w 6400800"/>
                <a:gd name="connsiteY1215" fmla="*/ 320516 h 514350"/>
                <a:gd name="connsiteX1216" fmla="*/ 4005739 w 6400800"/>
                <a:gd name="connsiteY1216" fmla="*/ 318611 h 514350"/>
                <a:gd name="connsiteX1217" fmla="*/ 4004786 w 6400800"/>
                <a:gd name="connsiteY1217" fmla="*/ 310991 h 514350"/>
                <a:gd name="connsiteX1218" fmla="*/ 4002881 w 6400800"/>
                <a:gd name="connsiteY1218" fmla="*/ 269081 h 514350"/>
                <a:gd name="connsiteX1219" fmla="*/ 4000024 w 6400800"/>
                <a:gd name="connsiteY1219" fmla="*/ 284321 h 514350"/>
                <a:gd name="connsiteX1220" fmla="*/ 3993356 w 6400800"/>
                <a:gd name="connsiteY1220" fmla="*/ 248126 h 514350"/>
                <a:gd name="connsiteX1221" fmla="*/ 3993356 w 6400800"/>
                <a:gd name="connsiteY1221" fmla="*/ 286226 h 514350"/>
                <a:gd name="connsiteX1222" fmla="*/ 3992404 w 6400800"/>
                <a:gd name="connsiteY1222" fmla="*/ 286226 h 514350"/>
                <a:gd name="connsiteX1223" fmla="*/ 3990499 w 6400800"/>
                <a:gd name="connsiteY1223" fmla="*/ 287179 h 514350"/>
                <a:gd name="connsiteX1224" fmla="*/ 3985736 w 6400800"/>
                <a:gd name="connsiteY1224" fmla="*/ 292894 h 514350"/>
                <a:gd name="connsiteX1225" fmla="*/ 3985736 w 6400800"/>
                <a:gd name="connsiteY1225" fmla="*/ 292894 h 514350"/>
                <a:gd name="connsiteX1226" fmla="*/ 3985736 w 6400800"/>
                <a:gd name="connsiteY1226" fmla="*/ 293846 h 514350"/>
                <a:gd name="connsiteX1227" fmla="*/ 3983831 w 6400800"/>
                <a:gd name="connsiteY1227" fmla="*/ 313849 h 514350"/>
                <a:gd name="connsiteX1228" fmla="*/ 3978116 w 6400800"/>
                <a:gd name="connsiteY1228" fmla="*/ 303371 h 514350"/>
                <a:gd name="connsiteX1229" fmla="*/ 3987641 w 6400800"/>
                <a:gd name="connsiteY1229" fmla="*/ 272891 h 514350"/>
                <a:gd name="connsiteX1230" fmla="*/ 3976211 w 6400800"/>
                <a:gd name="connsiteY1230" fmla="*/ 298609 h 514350"/>
                <a:gd name="connsiteX1231" fmla="*/ 3973354 w 6400800"/>
                <a:gd name="connsiteY1231" fmla="*/ 293846 h 514350"/>
                <a:gd name="connsiteX1232" fmla="*/ 3973354 w 6400800"/>
                <a:gd name="connsiteY1232" fmla="*/ 288131 h 514350"/>
                <a:gd name="connsiteX1233" fmla="*/ 3973354 w 6400800"/>
                <a:gd name="connsiteY1233" fmla="*/ 287179 h 514350"/>
                <a:gd name="connsiteX1234" fmla="*/ 3977164 w 6400800"/>
                <a:gd name="connsiteY1234" fmla="*/ 278606 h 514350"/>
                <a:gd name="connsiteX1235" fmla="*/ 3980974 w 6400800"/>
                <a:gd name="connsiteY1235" fmla="*/ 270986 h 514350"/>
                <a:gd name="connsiteX1236" fmla="*/ 3976211 w 6400800"/>
                <a:gd name="connsiteY1236" fmla="*/ 277654 h 514350"/>
                <a:gd name="connsiteX1237" fmla="*/ 3973354 w 6400800"/>
                <a:gd name="connsiteY1237" fmla="*/ 282416 h 514350"/>
                <a:gd name="connsiteX1238" fmla="*/ 3974306 w 6400800"/>
                <a:gd name="connsiteY1238" fmla="*/ 254794 h 514350"/>
                <a:gd name="connsiteX1239" fmla="*/ 3975259 w 6400800"/>
                <a:gd name="connsiteY1239" fmla="*/ 230029 h 514350"/>
                <a:gd name="connsiteX1240" fmla="*/ 3970496 w 6400800"/>
                <a:gd name="connsiteY1240" fmla="*/ 254794 h 514350"/>
                <a:gd name="connsiteX1241" fmla="*/ 3965734 w 6400800"/>
                <a:gd name="connsiteY1241" fmla="*/ 281464 h 514350"/>
                <a:gd name="connsiteX1242" fmla="*/ 3961924 w 6400800"/>
                <a:gd name="connsiteY1242" fmla="*/ 274796 h 514350"/>
                <a:gd name="connsiteX1243" fmla="*/ 3962876 w 6400800"/>
                <a:gd name="connsiteY1243" fmla="*/ 269081 h 514350"/>
                <a:gd name="connsiteX1244" fmla="*/ 3966686 w 6400800"/>
                <a:gd name="connsiteY1244" fmla="*/ 245269 h 514350"/>
                <a:gd name="connsiteX1245" fmla="*/ 3959066 w 6400800"/>
                <a:gd name="connsiteY1245" fmla="*/ 268129 h 514350"/>
                <a:gd name="connsiteX1246" fmla="*/ 3959066 w 6400800"/>
                <a:gd name="connsiteY1246" fmla="*/ 269081 h 514350"/>
                <a:gd name="connsiteX1247" fmla="*/ 3958114 w 6400800"/>
                <a:gd name="connsiteY1247" fmla="*/ 267176 h 514350"/>
                <a:gd name="connsiteX1248" fmla="*/ 3958114 w 6400800"/>
                <a:gd name="connsiteY1248" fmla="*/ 269081 h 514350"/>
                <a:gd name="connsiteX1249" fmla="*/ 3955256 w 6400800"/>
                <a:gd name="connsiteY1249" fmla="*/ 264319 h 514350"/>
                <a:gd name="connsiteX1250" fmla="*/ 3954304 w 6400800"/>
                <a:gd name="connsiteY1250" fmla="*/ 247174 h 514350"/>
                <a:gd name="connsiteX1251" fmla="*/ 3951446 w 6400800"/>
                <a:gd name="connsiteY1251" fmla="*/ 214789 h 514350"/>
                <a:gd name="connsiteX1252" fmla="*/ 3947636 w 6400800"/>
                <a:gd name="connsiteY1252" fmla="*/ 190024 h 514350"/>
                <a:gd name="connsiteX1253" fmla="*/ 3943826 w 6400800"/>
                <a:gd name="connsiteY1253" fmla="*/ 169069 h 514350"/>
                <a:gd name="connsiteX1254" fmla="*/ 3943826 w 6400800"/>
                <a:gd name="connsiteY1254" fmla="*/ 190024 h 514350"/>
                <a:gd name="connsiteX1255" fmla="*/ 3943826 w 6400800"/>
                <a:gd name="connsiteY1255" fmla="*/ 214789 h 514350"/>
                <a:gd name="connsiteX1256" fmla="*/ 3943826 w 6400800"/>
                <a:gd name="connsiteY1256" fmla="*/ 225266 h 514350"/>
                <a:gd name="connsiteX1257" fmla="*/ 3940969 w 6400800"/>
                <a:gd name="connsiteY1257" fmla="*/ 215741 h 514350"/>
                <a:gd name="connsiteX1258" fmla="*/ 3939064 w 6400800"/>
                <a:gd name="connsiteY1258" fmla="*/ 207169 h 514350"/>
                <a:gd name="connsiteX1259" fmla="*/ 3940016 w 6400800"/>
                <a:gd name="connsiteY1259" fmla="*/ 205264 h 514350"/>
                <a:gd name="connsiteX1260" fmla="*/ 3939064 w 6400800"/>
                <a:gd name="connsiteY1260" fmla="*/ 206216 h 514350"/>
                <a:gd name="connsiteX1261" fmla="*/ 3936206 w 6400800"/>
                <a:gd name="connsiteY1261" fmla="*/ 197644 h 514350"/>
                <a:gd name="connsiteX1262" fmla="*/ 3937159 w 6400800"/>
                <a:gd name="connsiteY1262" fmla="*/ 208121 h 514350"/>
                <a:gd name="connsiteX1263" fmla="*/ 3929539 w 6400800"/>
                <a:gd name="connsiteY1263" fmla="*/ 216694 h 514350"/>
                <a:gd name="connsiteX1264" fmla="*/ 3925729 w 6400800"/>
                <a:gd name="connsiteY1264" fmla="*/ 197644 h 514350"/>
                <a:gd name="connsiteX1265" fmla="*/ 3916204 w 6400800"/>
                <a:gd name="connsiteY1265" fmla="*/ 158591 h 514350"/>
                <a:gd name="connsiteX1266" fmla="*/ 3912394 w 6400800"/>
                <a:gd name="connsiteY1266" fmla="*/ 144304 h 514350"/>
                <a:gd name="connsiteX1267" fmla="*/ 3915251 w 6400800"/>
                <a:gd name="connsiteY1267" fmla="*/ 139541 h 514350"/>
                <a:gd name="connsiteX1268" fmla="*/ 3935254 w 6400800"/>
                <a:gd name="connsiteY1268" fmla="*/ 110966 h 514350"/>
                <a:gd name="connsiteX1269" fmla="*/ 3912394 w 6400800"/>
                <a:gd name="connsiteY1269" fmla="*/ 136684 h 514350"/>
                <a:gd name="connsiteX1270" fmla="*/ 3910489 w 6400800"/>
                <a:gd name="connsiteY1270" fmla="*/ 138589 h 514350"/>
                <a:gd name="connsiteX1271" fmla="*/ 3906679 w 6400800"/>
                <a:gd name="connsiteY1271" fmla="*/ 128111 h 514350"/>
                <a:gd name="connsiteX1272" fmla="*/ 3898106 w 6400800"/>
                <a:gd name="connsiteY1272" fmla="*/ 102394 h 514350"/>
                <a:gd name="connsiteX1273" fmla="*/ 3902869 w 6400800"/>
                <a:gd name="connsiteY1273" fmla="*/ 129064 h 514350"/>
                <a:gd name="connsiteX1274" fmla="*/ 3905726 w 6400800"/>
                <a:gd name="connsiteY1274" fmla="*/ 143351 h 514350"/>
                <a:gd name="connsiteX1275" fmla="*/ 3905726 w 6400800"/>
                <a:gd name="connsiteY1275" fmla="*/ 143351 h 514350"/>
                <a:gd name="connsiteX1276" fmla="*/ 3887629 w 6400800"/>
                <a:gd name="connsiteY1276" fmla="*/ 167164 h 514350"/>
                <a:gd name="connsiteX1277" fmla="*/ 3866674 w 6400800"/>
                <a:gd name="connsiteY1277" fmla="*/ 195739 h 514350"/>
                <a:gd name="connsiteX1278" fmla="*/ 3862864 w 6400800"/>
                <a:gd name="connsiteY1278" fmla="*/ 182404 h 514350"/>
                <a:gd name="connsiteX1279" fmla="*/ 3854291 w 6400800"/>
                <a:gd name="connsiteY1279" fmla="*/ 155734 h 514350"/>
                <a:gd name="connsiteX1280" fmla="*/ 3859054 w 6400800"/>
                <a:gd name="connsiteY1280" fmla="*/ 183356 h 514350"/>
                <a:gd name="connsiteX1281" fmla="*/ 3862864 w 6400800"/>
                <a:gd name="connsiteY1281" fmla="*/ 202406 h 514350"/>
                <a:gd name="connsiteX1282" fmla="*/ 3858101 w 6400800"/>
                <a:gd name="connsiteY1282" fmla="*/ 209074 h 514350"/>
                <a:gd name="connsiteX1283" fmla="*/ 3853339 w 6400800"/>
                <a:gd name="connsiteY1283" fmla="*/ 216694 h 514350"/>
                <a:gd name="connsiteX1284" fmla="*/ 3849529 w 6400800"/>
                <a:gd name="connsiteY1284" fmla="*/ 195739 h 514350"/>
                <a:gd name="connsiteX1285" fmla="*/ 3852386 w 6400800"/>
                <a:gd name="connsiteY1285" fmla="*/ 178594 h 514350"/>
                <a:gd name="connsiteX1286" fmla="*/ 3855244 w 6400800"/>
                <a:gd name="connsiteY1286" fmla="*/ 158591 h 514350"/>
                <a:gd name="connsiteX1287" fmla="*/ 3848576 w 6400800"/>
                <a:gd name="connsiteY1287" fmla="*/ 177641 h 514350"/>
                <a:gd name="connsiteX1288" fmla="*/ 3841909 w 6400800"/>
                <a:gd name="connsiteY1288" fmla="*/ 199549 h 514350"/>
                <a:gd name="connsiteX1289" fmla="*/ 3838099 w 6400800"/>
                <a:gd name="connsiteY1289" fmla="*/ 212884 h 514350"/>
                <a:gd name="connsiteX1290" fmla="*/ 3835241 w 6400800"/>
                <a:gd name="connsiteY1290" fmla="*/ 225266 h 514350"/>
                <a:gd name="connsiteX1291" fmla="*/ 3834289 w 6400800"/>
                <a:gd name="connsiteY1291" fmla="*/ 222409 h 514350"/>
                <a:gd name="connsiteX1292" fmla="*/ 3825716 w 6400800"/>
                <a:gd name="connsiteY1292" fmla="*/ 209074 h 514350"/>
                <a:gd name="connsiteX1293" fmla="*/ 3809524 w 6400800"/>
                <a:gd name="connsiteY1293" fmla="*/ 184309 h 514350"/>
                <a:gd name="connsiteX1294" fmla="*/ 3821906 w 6400800"/>
                <a:gd name="connsiteY1294" fmla="*/ 210979 h 514350"/>
                <a:gd name="connsiteX1295" fmla="*/ 3828574 w 6400800"/>
                <a:gd name="connsiteY1295" fmla="*/ 224314 h 514350"/>
                <a:gd name="connsiteX1296" fmla="*/ 3832384 w 6400800"/>
                <a:gd name="connsiteY1296" fmla="*/ 234791 h 514350"/>
                <a:gd name="connsiteX1297" fmla="*/ 3828574 w 6400800"/>
                <a:gd name="connsiteY1297" fmla="*/ 254794 h 514350"/>
                <a:gd name="connsiteX1298" fmla="*/ 3825716 w 6400800"/>
                <a:gd name="connsiteY1298" fmla="*/ 259556 h 514350"/>
                <a:gd name="connsiteX1299" fmla="*/ 3820954 w 6400800"/>
                <a:gd name="connsiteY1299" fmla="*/ 269081 h 514350"/>
                <a:gd name="connsiteX1300" fmla="*/ 3820001 w 6400800"/>
                <a:gd name="connsiteY1300" fmla="*/ 267176 h 514350"/>
                <a:gd name="connsiteX1301" fmla="*/ 3804761 w 6400800"/>
                <a:gd name="connsiteY1301" fmla="*/ 249079 h 514350"/>
                <a:gd name="connsiteX1302" fmla="*/ 3817144 w 6400800"/>
                <a:gd name="connsiteY1302" fmla="*/ 270034 h 514350"/>
                <a:gd name="connsiteX1303" fmla="*/ 3819049 w 6400800"/>
                <a:gd name="connsiteY1303" fmla="*/ 272891 h 514350"/>
                <a:gd name="connsiteX1304" fmla="*/ 3806666 w 6400800"/>
                <a:gd name="connsiteY1304" fmla="*/ 294799 h 514350"/>
                <a:gd name="connsiteX1305" fmla="*/ 3806666 w 6400800"/>
                <a:gd name="connsiteY1305" fmla="*/ 294799 h 514350"/>
                <a:gd name="connsiteX1306" fmla="*/ 3803809 w 6400800"/>
                <a:gd name="connsiteY1306" fmla="*/ 290989 h 514350"/>
                <a:gd name="connsiteX1307" fmla="*/ 3802856 w 6400800"/>
                <a:gd name="connsiteY1307" fmla="*/ 287179 h 514350"/>
                <a:gd name="connsiteX1308" fmla="*/ 3799999 w 6400800"/>
                <a:gd name="connsiteY1308" fmla="*/ 276701 h 514350"/>
                <a:gd name="connsiteX1309" fmla="*/ 3795236 w 6400800"/>
                <a:gd name="connsiteY1309" fmla="*/ 260509 h 514350"/>
                <a:gd name="connsiteX1310" fmla="*/ 3790474 w 6400800"/>
                <a:gd name="connsiteY1310" fmla="*/ 246221 h 514350"/>
                <a:gd name="connsiteX1311" fmla="*/ 3791426 w 6400800"/>
                <a:gd name="connsiteY1311" fmla="*/ 260509 h 514350"/>
                <a:gd name="connsiteX1312" fmla="*/ 3792379 w 6400800"/>
                <a:gd name="connsiteY1312" fmla="*/ 273844 h 514350"/>
                <a:gd name="connsiteX1313" fmla="*/ 3787616 w 6400800"/>
                <a:gd name="connsiteY1313" fmla="*/ 268129 h 514350"/>
                <a:gd name="connsiteX1314" fmla="*/ 3777139 w 6400800"/>
                <a:gd name="connsiteY1314" fmla="*/ 255746 h 514350"/>
                <a:gd name="connsiteX1315" fmla="*/ 3773329 w 6400800"/>
                <a:gd name="connsiteY1315" fmla="*/ 246221 h 514350"/>
                <a:gd name="connsiteX1316" fmla="*/ 3764756 w 6400800"/>
                <a:gd name="connsiteY1316" fmla="*/ 224314 h 514350"/>
                <a:gd name="connsiteX1317" fmla="*/ 3769519 w 6400800"/>
                <a:gd name="connsiteY1317" fmla="*/ 247174 h 514350"/>
                <a:gd name="connsiteX1318" fmla="*/ 3776186 w 6400800"/>
                <a:gd name="connsiteY1318" fmla="*/ 273844 h 514350"/>
                <a:gd name="connsiteX1319" fmla="*/ 3781901 w 6400800"/>
                <a:gd name="connsiteY1319" fmla="*/ 299561 h 514350"/>
                <a:gd name="connsiteX1320" fmla="*/ 3760946 w 6400800"/>
                <a:gd name="connsiteY1320" fmla="*/ 234791 h 514350"/>
                <a:gd name="connsiteX1321" fmla="*/ 3755231 w 6400800"/>
                <a:gd name="connsiteY1321" fmla="*/ 218599 h 514350"/>
                <a:gd name="connsiteX1322" fmla="*/ 3759041 w 6400800"/>
                <a:gd name="connsiteY1322" fmla="*/ 211931 h 514350"/>
                <a:gd name="connsiteX1323" fmla="*/ 3754279 w 6400800"/>
                <a:gd name="connsiteY1323" fmla="*/ 217646 h 514350"/>
                <a:gd name="connsiteX1324" fmla="*/ 3750469 w 6400800"/>
                <a:gd name="connsiteY1324" fmla="*/ 208121 h 514350"/>
                <a:gd name="connsiteX1325" fmla="*/ 3752374 w 6400800"/>
                <a:gd name="connsiteY1325" fmla="*/ 197644 h 514350"/>
                <a:gd name="connsiteX1326" fmla="*/ 3748564 w 6400800"/>
                <a:gd name="connsiteY1326" fmla="*/ 205264 h 514350"/>
                <a:gd name="connsiteX1327" fmla="*/ 3734276 w 6400800"/>
                <a:gd name="connsiteY1327" fmla="*/ 167164 h 514350"/>
                <a:gd name="connsiteX1328" fmla="*/ 3742849 w 6400800"/>
                <a:gd name="connsiteY1328" fmla="*/ 217646 h 514350"/>
                <a:gd name="connsiteX1329" fmla="*/ 3736181 w 6400800"/>
                <a:gd name="connsiteY1329" fmla="*/ 236696 h 514350"/>
                <a:gd name="connsiteX1330" fmla="*/ 3735229 w 6400800"/>
                <a:gd name="connsiteY1330" fmla="*/ 238601 h 514350"/>
                <a:gd name="connsiteX1331" fmla="*/ 3730466 w 6400800"/>
                <a:gd name="connsiteY1331" fmla="*/ 245269 h 514350"/>
                <a:gd name="connsiteX1332" fmla="*/ 3726656 w 6400800"/>
                <a:gd name="connsiteY1332" fmla="*/ 236696 h 514350"/>
                <a:gd name="connsiteX1333" fmla="*/ 3726656 w 6400800"/>
                <a:gd name="connsiteY1333" fmla="*/ 232886 h 514350"/>
                <a:gd name="connsiteX1334" fmla="*/ 3725704 w 6400800"/>
                <a:gd name="connsiteY1334" fmla="*/ 214789 h 514350"/>
                <a:gd name="connsiteX1335" fmla="*/ 3722846 w 6400800"/>
                <a:gd name="connsiteY1335" fmla="*/ 230029 h 514350"/>
                <a:gd name="connsiteX1336" fmla="*/ 3721894 w 6400800"/>
                <a:gd name="connsiteY1336" fmla="*/ 229076 h 514350"/>
                <a:gd name="connsiteX1337" fmla="*/ 3721894 w 6400800"/>
                <a:gd name="connsiteY1337" fmla="*/ 229076 h 514350"/>
                <a:gd name="connsiteX1338" fmla="*/ 3725704 w 6400800"/>
                <a:gd name="connsiteY1338" fmla="*/ 190976 h 514350"/>
                <a:gd name="connsiteX1339" fmla="*/ 3727609 w 6400800"/>
                <a:gd name="connsiteY1339" fmla="*/ 172879 h 514350"/>
                <a:gd name="connsiteX1340" fmla="*/ 3730466 w 6400800"/>
                <a:gd name="connsiteY1340" fmla="*/ 155734 h 514350"/>
                <a:gd name="connsiteX1341" fmla="*/ 3734276 w 6400800"/>
                <a:gd name="connsiteY1341" fmla="*/ 128111 h 514350"/>
                <a:gd name="connsiteX1342" fmla="*/ 3737134 w 6400800"/>
                <a:gd name="connsiteY1342" fmla="*/ 104299 h 514350"/>
                <a:gd name="connsiteX1343" fmla="*/ 3730466 w 6400800"/>
                <a:gd name="connsiteY1343" fmla="*/ 127159 h 514350"/>
                <a:gd name="connsiteX1344" fmla="*/ 3722846 w 6400800"/>
                <a:gd name="connsiteY1344" fmla="*/ 153829 h 514350"/>
                <a:gd name="connsiteX1345" fmla="*/ 3718084 w 6400800"/>
                <a:gd name="connsiteY1345" fmla="*/ 170021 h 514350"/>
                <a:gd name="connsiteX1346" fmla="*/ 3714274 w 6400800"/>
                <a:gd name="connsiteY1346" fmla="*/ 188119 h 514350"/>
                <a:gd name="connsiteX1347" fmla="*/ 3710464 w 6400800"/>
                <a:gd name="connsiteY1347" fmla="*/ 208121 h 514350"/>
                <a:gd name="connsiteX1348" fmla="*/ 3710464 w 6400800"/>
                <a:gd name="connsiteY1348" fmla="*/ 207169 h 514350"/>
                <a:gd name="connsiteX1349" fmla="*/ 3691414 w 6400800"/>
                <a:gd name="connsiteY1349" fmla="*/ 174784 h 514350"/>
                <a:gd name="connsiteX1350" fmla="*/ 3677126 w 6400800"/>
                <a:gd name="connsiteY1350" fmla="*/ 150971 h 514350"/>
                <a:gd name="connsiteX1351" fmla="*/ 3678079 w 6400800"/>
                <a:gd name="connsiteY1351" fmla="*/ 137636 h 514350"/>
                <a:gd name="connsiteX1352" fmla="*/ 3675221 w 6400800"/>
                <a:gd name="connsiteY1352" fmla="*/ 149066 h 514350"/>
                <a:gd name="connsiteX1353" fmla="*/ 3674269 w 6400800"/>
                <a:gd name="connsiteY1353" fmla="*/ 147161 h 514350"/>
                <a:gd name="connsiteX1354" fmla="*/ 3675221 w 6400800"/>
                <a:gd name="connsiteY1354" fmla="*/ 150019 h 514350"/>
                <a:gd name="connsiteX1355" fmla="*/ 3672364 w 6400800"/>
                <a:gd name="connsiteY1355" fmla="*/ 164306 h 514350"/>
                <a:gd name="connsiteX1356" fmla="*/ 3665696 w 6400800"/>
                <a:gd name="connsiteY1356" fmla="*/ 194786 h 514350"/>
                <a:gd name="connsiteX1357" fmla="*/ 3662839 w 6400800"/>
                <a:gd name="connsiteY1357" fmla="*/ 209074 h 514350"/>
                <a:gd name="connsiteX1358" fmla="*/ 3661886 w 6400800"/>
                <a:gd name="connsiteY1358" fmla="*/ 210026 h 514350"/>
                <a:gd name="connsiteX1359" fmla="*/ 3658076 w 6400800"/>
                <a:gd name="connsiteY1359" fmla="*/ 216694 h 514350"/>
                <a:gd name="connsiteX1360" fmla="*/ 3658076 w 6400800"/>
                <a:gd name="connsiteY1360" fmla="*/ 174784 h 514350"/>
                <a:gd name="connsiteX1361" fmla="*/ 3645694 w 6400800"/>
                <a:gd name="connsiteY1361" fmla="*/ 239554 h 514350"/>
                <a:gd name="connsiteX1362" fmla="*/ 3644741 w 6400800"/>
                <a:gd name="connsiteY1362" fmla="*/ 246221 h 514350"/>
                <a:gd name="connsiteX1363" fmla="*/ 3643789 w 6400800"/>
                <a:gd name="connsiteY1363" fmla="*/ 249079 h 514350"/>
                <a:gd name="connsiteX1364" fmla="*/ 3640931 w 6400800"/>
                <a:gd name="connsiteY1364" fmla="*/ 259556 h 514350"/>
                <a:gd name="connsiteX1365" fmla="*/ 3633311 w 6400800"/>
                <a:gd name="connsiteY1365" fmla="*/ 243364 h 514350"/>
                <a:gd name="connsiteX1366" fmla="*/ 3639979 w 6400800"/>
                <a:gd name="connsiteY1366" fmla="*/ 265271 h 514350"/>
                <a:gd name="connsiteX1367" fmla="*/ 3637121 w 6400800"/>
                <a:gd name="connsiteY1367" fmla="*/ 275749 h 514350"/>
                <a:gd name="connsiteX1368" fmla="*/ 3627596 w 6400800"/>
                <a:gd name="connsiteY1368" fmla="*/ 261461 h 514350"/>
                <a:gd name="connsiteX1369" fmla="*/ 3635216 w 6400800"/>
                <a:gd name="connsiteY1369" fmla="*/ 280511 h 514350"/>
                <a:gd name="connsiteX1370" fmla="*/ 3635216 w 6400800"/>
                <a:gd name="connsiteY1370" fmla="*/ 281464 h 514350"/>
                <a:gd name="connsiteX1371" fmla="*/ 3630454 w 6400800"/>
                <a:gd name="connsiteY1371" fmla="*/ 309086 h 514350"/>
                <a:gd name="connsiteX1372" fmla="*/ 3627596 w 6400800"/>
                <a:gd name="connsiteY1372" fmla="*/ 332899 h 514350"/>
                <a:gd name="connsiteX1373" fmla="*/ 3620929 w 6400800"/>
                <a:gd name="connsiteY1373" fmla="*/ 312896 h 514350"/>
                <a:gd name="connsiteX1374" fmla="*/ 3620929 w 6400800"/>
                <a:gd name="connsiteY1374" fmla="*/ 309086 h 514350"/>
                <a:gd name="connsiteX1375" fmla="*/ 3619976 w 6400800"/>
                <a:gd name="connsiteY1375" fmla="*/ 310991 h 514350"/>
                <a:gd name="connsiteX1376" fmla="*/ 3619024 w 6400800"/>
                <a:gd name="connsiteY1376" fmla="*/ 308134 h 514350"/>
                <a:gd name="connsiteX1377" fmla="*/ 3622834 w 6400800"/>
                <a:gd name="connsiteY1377" fmla="*/ 272891 h 514350"/>
                <a:gd name="connsiteX1378" fmla="*/ 3626644 w 6400800"/>
                <a:gd name="connsiteY1378" fmla="*/ 221456 h 514350"/>
                <a:gd name="connsiteX1379" fmla="*/ 3630454 w 6400800"/>
                <a:gd name="connsiteY1379" fmla="*/ 211931 h 514350"/>
                <a:gd name="connsiteX1380" fmla="*/ 3626644 w 6400800"/>
                <a:gd name="connsiteY1380" fmla="*/ 216694 h 514350"/>
                <a:gd name="connsiteX1381" fmla="*/ 3626644 w 6400800"/>
                <a:gd name="connsiteY1381" fmla="*/ 214789 h 514350"/>
                <a:gd name="connsiteX1382" fmla="*/ 3626644 w 6400800"/>
                <a:gd name="connsiteY1382" fmla="*/ 192881 h 514350"/>
                <a:gd name="connsiteX1383" fmla="*/ 3622834 w 6400800"/>
                <a:gd name="connsiteY1383" fmla="*/ 214789 h 514350"/>
                <a:gd name="connsiteX1384" fmla="*/ 3620929 w 6400800"/>
                <a:gd name="connsiteY1384" fmla="*/ 226219 h 514350"/>
                <a:gd name="connsiteX1385" fmla="*/ 3620929 w 6400800"/>
                <a:gd name="connsiteY1385" fmla="*/ 227171 h 514350"/>
                <a:gd name="connsiteX1386" fmla="*/ 3609499 w 6400800"/>
                <a:gd name="connsiteY1386" fmla="*/ 243364 h 514350"/>
                <a:gd name="connsiteX1387" fmla="*/ 3603784 w 6400800"/>
                <a:gd name="connsiteY1387" fmla="*/ 251936 h 514350"/>
                <a:gd name="connsiteX1388" fmla="*/ 3613309 w 6400800"/>
                <a:gd name="connsiteY1388" fmla="*/ 225266 h 514350"/>
                <a:gd name="connsiteX1389" fmla="*/ 3619024 w 6400800"/>
                <a:gd name="connsiteY1389" fmla="*/ 208121 h 514350"/>
                <a:gd name="connsiteX1390" fmla="*/ 3624739 w 6400800"/>
                <a:gd name="connsiteY1390" fmla="*/ 192881 h 514350"/>
                <a:gd name="connsiteX1391" fmla="*/ 3634264 w 6400800"/>
                <a:gd name="connsiteY1391" fmla="*/ 168116 h 514350"/>
                <a:gd name="connsiteX1392" fmla="*/ 3642836 w 6400800"/>
                <a:gd name="connsiteY1392" fmla="*/ 146209 h 514350"/>
                <a:gd name="connsiteX1393" fmla="*/ 3631406 w 6400800"/>
                <a:gd name="connsiteY1393" fmla="*/ 166211 h 514350"/>
                <a:gd name="connsiteX1394" fmla="*/ 3618071 w 6400800"/>
                <a:gd name="connsiteY1394" fmla="*/ 189071 h 514350"/>
                <a:gd name="connsiteX1395" fmla="*/ 3610451 w 6400800"/>
                <a:gd name="connsiteY1395" fmla="*/ 203359 h 514350"/>
                <a:gd name="connsiteX1396" fmla="*/ 3602831 w 6400800"/>
                <a:gd name="connsiteY1396" fmla="*/ 219551 h 514350"/>
                <a:gd name="connsiteX1397" fmla="*/ 3588544 w 6400800"/>
                <a:gd name="connsiteY1397" fmla="*/ 250031 h 514350"/>
                <a:gd name="connsiteX1398" fmla="*/ 3588544 w 6400800"/>
                <a:gd name="connsiteY1398" fmla="*/ 242411 h 514350"/>
                <a:gd name="connsiteX1399" fmla="*/ 3585686 w 6400800"/>
                <a:gd name="connsiteY1399" fmla="*/ 256699 h 514350"/>
                <a:gd name="connsiteX1400" fmla="*/ 3585686 w 6400800"/>
                <a:gd name="connsiteY1400" fmla="*/ 257651 h 514350"/>
                <a:gd name="connsiteX1401" fmla="*/ 3579971 w 6400800"/>
                <a:gd name="connsiteY1401" fmla="*/ 270986 h 514350"/>
                <a:gd name="connsiteX1402" fmla="*/ 3573304 w 6400800"/>
                <a:gd name="connsiteY1402" fmla="*/ 282416 h 514350"/>
                <a:gd name="connsiteX1403" fmla="*/ 3568541 w 6400800"/>
                <a:gd name="connsiteY1403" fmla="*/ 263366 h 514350"/>
                <a:gd name="connsiteX1404" fmla="*/ 3564731 w 6400800"/>
                <a:gd name="connsiteY1404" fmla="*/ 248126 h 514350"/>
                <a:gd name="connsiteX1405" fmla="*/ 3564731 w 6400800"/>
                <a:gd name="connsiteY1405" fmla="*/ 248126 h 514350"/>
                <a:gd name="connsiteX1406" fmla="*/ 3562826 w 6400800"/>
                <a:gd name="connsiteY1406" fmla="*/ 237649 h 514350"/>
                <a:gd name="connsiteX1407" fmla="*/ 3561874 w 6400800"/>
                <a:gd name="connsiteY1407" fmla="*/ 233839 h 514350"/>
                <a:gd name="connsiteX1408" fmla="*/ 3566636 w 6400800"/>
                <a:gd name="connsiteY1408" fmla="*/ 227171 h 514350"/>
                <a:gd name="connsiteX1409" fmla="*/ 3561874 w 6400800"/>
                <a:gd name="connsiteY1409" fmla="*/ 230981 h 514350"/>
                <a:gd name="connsiteX1410" fmla="*/ 3559016 w 6400800"/>
                <a:gd name="connsiteY1410" fmla="*/ 218599 h 514350"/>
                <a:gd name="connsiteX1411" fmla="*/ 3559016 w 6400800"/>
                <a:gd name="connsiteY1411" fmla="*/ 231934 h 514350"/>
                <a:gd name="connsiteX1412" fmla="*/ 3554254 w 6400800"/>
                <a:gd name="connsiteY1412" fmla="*/ 220504 h 514350"/>
                <a:gd name="connsiteX1413" fmla="*/ 3569494 w 6400800"/>
                <a:gd name="connsiteY1413" fmla="*/ 197644 h 514350"/>
                <a:gd name="connsiteX1414" fmla="*/ 3585686 w 6400800"/>
                <a:gd name="connsiteY1414" fmla="*/ 174784 h 514350"/>
                <a:gd name="connsiteX1415" fmla="*/ 3600926 w 6400800"/>
                <a:gd name="connsiteY1415" fmla="*/ 154781 h 514350"/>
                <a:gd name="connsiteX1416" fmla="*/ 3582829 w 6400800"/>
                <a:gd name="connsiteY1416" fmla="*/ 171926 h 514350"/>
                <a:gd name="connsiteX1417" fmla="*/ 3562826 w 6400800"/>
                <a:gd name="connsiteY1417" fmla="*/ 192881 h 514350"/>
                <a:gd name="connsiteX1418" fmla="*/ 3549491 w 6400800"/>
                <a:gd name="connsiteY1418" fmla="*/ 209074 h 514350"/>
                <a:gd name="connsiteX1419" fmla="*/ 3542824 w 6400800"/>
                <a:gd name="connsiteY1419" fmla="*/ 193834 h 514350"/>
                <a:gd name="connsiteX1420" fmla="*/ 3546634 w 6400800"/>
                <a:gd name="connsiteY1420" fmla="*/ 212884 h 514350"/>
                <a:gd name="connsiteX1421" fmla="*/ 3539966 w 6400800"/>
                <a:gd name="connsiteY1421" fmla="*/ 222409 h 514350"/>
                <a:gd name="connsiteX1422" fmla="*/ 3539014 w 6400800"/>
                <a:gd name="connsiteY1422" fmla="*/ 223361 h 514350"/>
                <a:gd name="connsiteX1423" fmla="*/ 3539014 w 6400800"/>
                <a:gd name="connsiteY1423" fmla="*/ 210979 h 514350"/>
                <a:gd name="connsiteX1424" fmla="*/ 3539014 w 6400800"/>
                <a:gd name="connsiteY1424" fmla="*/ 184309 h 514350"/>
                <a:gd name="connsiteX1425" fmla="*/ 3539014 w 6400800"/>
                <a:gd name="connsiteY1425" fmla="*/ 173831 h 514350"/>
                <a:gd name="connsiteX1426" fmla="*/ 3540919 w 6400800"/>
                <a:gd name="connsiteY1426" fmla="*/ 170021 h 514350"/>
                <a:gd name="connsiteX1427" fmla="*/ 3539014 w 6400800"/>
                <a:gd name="connsiteY1427" fmla="*/ 172879 h 514350"/>
                <a:gd name="connsiteX1428" fmla="*/ 3539014 w 6400800"/>
                <a:gd name="connsiteY1428" fmla="*/ 162401 h 514350"/>
                <a:gd name="connsiteX1429" fmla="*/ 3537109 w 6400800"/>
                <a:gd name="connsiteY1429" fmla="*/ 176689 h 514350"/>
                <a:gd name="connsiteX1430" fmla="*/ 3527584 w 6400800"/>
                <a:gd name="connsiteY1430" fmla="*/ 190976 h 514350"/>
                <a:gd name="connsiteX1431" fmla="*/ 3511391 w 6400800"/>
                <a:gd name="connsiteY1431" fmla="*/ 214789 h 514350"/>
                <a:gd name="connsiteX1432" fmla="*/ 3510439 w 6400800"/>
                <a:gd name="connsiteY1432" fmla="*/ 215741 h 514350"/>
                <a:gd name="connsiteX1433" fmla="*/ 3508534 w 6400800"/>
                <a:gd name="connsiteY1433" fmla="*/ 201454 h 514350"/>
                <a:gd name="connsiteX1434" fmla="*/ 3505676 w 6400800"/>
                <a:gd name="connsiteY1434" fmla="*/ 180499 h 514350"/>
                <a:gd name="connsiteX1435" fmla="*/ 3504724 w 6400800"/>
                <a:gd name="connsiteY1435" fmla="*/ 202406 h 514350"/>
                <a:gd name="connsiteX1436" fmla="*/ 3503771 w 6400800"/>
                <a:gd name="connsiteY1436" fmla="*/ 226219 h 514350"/>
                <a:gd name="connsiteX1437" fmla="*/ 3500914 w 6400800"/>
                <a:gd name="connsiteY1437" fmla="*/ 230981 h 514350"/>
                <a:gd name="connsiteX1438" fmla="*/ 3491389 w 6400800"/>
                <a:gd name="connsiteY1438" fmla="*/ 247174 h 514350"/>
                <a:gd name="connsiteX1439" fmla="*/ 3483769 w 6400800"/>
                <a:gd name="connsiteY1439" fmla="*/ 230029 h 514350"/>
                <a:gd name="connsiteX1440" fmla="*/ 3469481 w 6400800"/>
                <a:gd name="connsiteY1440" fmla="*/ 200501 h 514350"/>
                <a:gd name="connsiteX1441" fmla="*/ 3471386 w 6400800"/>
                <a:gd name="connsiteY1441" fmla="*/ 190976 h 514350"/>
                <a:gd name="connsiteX1442" fmla="*/ 3477101 w 6400800"/>
                <a:gd name="connsiteY1442" fmla="*/ 167164 h 514350"/>
                <a:gd name="connsiteX1443" fmla="*/ 3482816 w 6400800"/>
                <a:gd name="connsiteY1443" fmla="*/ 146209 h 514350"/>
                <a:gd name="connsiteX1444" fmla="*/ 3492341 w 6400800"/>
                <a:gd name="connsiteY1444" fmla="*/ 111919 h 514350"/>
                <a:gd name="connsiteX1445" fmla="*/ 3499961 w 6400800"/>
                <a:gd name="connsiteY1445" fmla="*/ 82391 h 514350"/>
                <a:gd name="connsiteX1446" fmla="*/ 3488531 w 6400800"/>
                <a:gd name="connsiteY1446" fmla="*/ 110966 h 514350"/>
                <a:gd name="connsiteX1447" fmla="*/ 3476149 w 6400800"/>
                <a:gd name="connsiteY1447" fmla="*/ 144304 h 514350"/>
                <a:gd name="connsiteX1448" fmla="*/ 3468529 w 6400800"/>
                <a:gd name="connsiteY1448" fmla="*/ 164306 h 514350"/>
                <a:gd name="connsiteX1449" fmla="*/ 3461861 w 6400800"/>
                <a:gd name="connsiteY1449" fmla="*/ 185261 h 514350"/>
                <a:gd name="connsiteX1450" fmla="*/ 3452336 w 6400800"/>
                <a:gd name="connsiteY1450" fmla="*/ 168116 h 514350"/>
                <a:gd name="connsiteX1451" fmla="*/ 3460909 w 6400800"/>
                <a:gd name="connsiteY1451" fmla="*/ 189071 h 514350"/>
                <a:gd name="connsiteX1452" fmla="*/ 3450431 w 6400800"/>
                <a:gd name="connsiteY1452" fmla="*/ 225266 h 514350"/>
                <a:gd name="connsiteX1453" fmla="*/ 3441859 w 6400800"/>
                <a:gd name="connsiteY1453" fmla="*/ 210026 h 514350"/>
                <a:gd name="connsiteX1454" fmla="*/ 3442811 w 6400800"/>
                <a:gd name="connsiteY1454" fmla="*/ 208121 h 514350"/>
                <a:gd name="connsiteX1455" fmla="*/ 3445669 w 6400800"/>
                <a:gd name="connsiteY1455" fmla="*/ 190976 h 514350"/>
                <a:gd name="connsiteX1456" fmla="*/ 3439001 w 6400800"/>
                <a:gd name="connsiteY1456" fmla="*/ 205264 h 514350"/>
                <a:gd name="connsiteX1457" fmla="*/ 3439001 w 6400800"/>
                <a:gd name="connsiteY1457" fmla="*/ 205264 h 514350"/>
                <a:gd name="connsiteX1458" fmla="*/ 3438049 w 6400800"/>
                <a:gd name="connsiteY1458" fmla="*/ 165259 h 514350"/>
                <a:gd name="connsiteX1459" fmla="*/ 3437096 w 6400800"/>
                <a:gd name="connsiteY1459" fmla="*/ 135731 h 514350"/>
                <a:gd name="connsiteX1460" fmla="*/ 3435191 w 6400800"/>
                <a:gd name="connsiteY1460" fmla="*/ 112871 h 514350"/>
                <a:gd name="connsiteX1461" fmla="*/ 3433286 w 6400800"/>
                <a:gd name="connsiteY1461" fmla="*/ 92869 h 514350"/>
                <a:gd name="connsiteX1462" fmla="*/ 3431381 w 6400800"/>
                <a:gd name="connsiteY1462" fmla="*/ 112871 h 514350"/>
                <a:gd name="connsiteX1463" fmla="*/ 3428524 w 6400800"/>
                <a:gd name="connsiteY1463" fmla="*/ 149066 h 514350"/>
                <a:gd name="connsiteX1464" fmla="*/ 3428524 w 6400800"/>
                <a:gd name="connsiteY1464" fmla="*/ 150019 h 514350"/>
                <a:gd name="connsiteX1465" fmla="*/ 3426619 w 6400800"/>
                <a:gd name="connsiteY1465" fmla="*/ 131921 h 514350"/>
                <a:gd name="connsiteX1466" fmla="*/ 3423761 w 6400800"/>
                <a:gd name="connsiteY1466" fmla="*/ 113824 h 514350"/>
                <a:gd name="connsiteX1467" fmla="*/ 3422809 w 6400800"/>
                <a:gd name="connsiteY1467" fmla="*/ 131921 h 514350"/>
                <a:gd name="connsiteX1468" fmla="*/ 3420904 w 6400800"/>
                <a:gd name="connsiteY1468" fmla="*/ 174784 h 514350"/>
                <a:gd name="connsiteX1469" fmla="*/ 3412331 w 6400800"/>
                <a:gd name="connsiteY1469" fmla="*/ 162401 h 514350"/>
                <a:gd name="connsiteX1470" fmla="*/ 3398044 w 6400800"/>
                <a:gd name="connsiteY1470" fmla="*/ 141446 h 514350"/>
                <a:gd name="connsiteX1471" fmla="*/ 3401854 w 6400800"/>
                <a:gd name="connsiteY1471" fmla="*/ 123349 h 514350"/>
                <a:gd name="connsiteX1472" fmla="*/ 3396139 w 6400800"/>
                <a:gd name="connsiteY1472" fmla="*/ 139541 h 514350"/>
                <a:gd name="connsiteX1473" fmla="*/ 3391376 w 6400800"/>
                <a:gd name="connsiteY1473" fmla="*/ 132874 h 514350"/>
                <a:gd name="connsiteX1474" fmla="*/ 3395186 w 6400800"/>
                <a:gd name="connsiteY1474" fmla="*/ 139541 h 514350"/>
                <a:gd name="connsiteX1475" fmla="*/ 3395186 w 6400800"/>
                <a:gd name="connsiteY1475" fmla="*/ 141446 h 514350"/>
                <a:gd name="connsiteX1476" fmla="*/ 3382804 w 6400800"/>
                <a:gd name="connsiteY1476" fmla="*/ 177641 h 514350"/>
                <a:gd name="connsiteX1477" fmla="*/ 3382804 w 6400800"/>
                <a:gd name="connsiteY1477" fmla="*/ 172879 h 514350"/>
                <a:gd name="connsiteX1478" fmla="*/ 3381851 w 6400800"/>
                <a:gd name="connsiteY1478" fmla="*/ 150971 h 514350"/>
                <a:gd name="connsiteX1479" fmla="*/ 3378994 w 6400800"/>
                <a:gd name="connsiteY1479" fmla="*/ 172879 h 514350"/>
                <a:gd name="connsiteX1480" fmla="*/ 3376136 w 6400800"/>
                <a:gd name="connsiteY1480" fmla="*/ 197644 h 514350"/>
                <a:gd name="connsiteX1481" fmla="*/ 3365659 w 6400800"/>
                <a:gd name="connsiteY1481" fmla="*/ 234791 h 514350"/>
                <a:gd name="connsiteX1482" fmla="*/ 3358991 w 6400800"/>
                <a:gd name="connsiteY1482" fmla="*/ 253841 h 514350"/>
                <a:gd name="connsiteX1483" fmla="*/ 3358039 w 6400800"/>
                <a:gd name="connsiteY1483" fmla="*/ 257651 h 514350"/>
                <a:gd name="connsiteX1484" fmla="*/ 3351371 w 6400800"/>
                <a:gd name="connsiteY1484" fmla="*/ 239554 h 514350"/>
                <a:gd name="connsiteX1485" fmla="*/ 3351371 w 6400800"/>
                <a:gd name="connsiteY1485" fmla="*/ 237649 h 514350"/>
                <a:gd name="connsiteX1486" fmla="*/ 3351371 w 6400800"/>
                <a:gd name="connsiteY1486" fmla="*/ 238601 h 514350"/>
                <a:gd name="connsiteX1487" fmla="*/ 3344704 w 6400800"/>
                <a:gd name="connsiteY1487" fmla="*/ 221456 h 514350"/>
                <a:gd name="connsiteX1488" fmla="*/ 3349466 w 6400800"/>
                <a:gd name="connsiteY1488" fmla="*/ 248126 h 514350"/>
                <a:gd name="connsiteX1489" fmla="*/ 3347561 w 6400800"/>
                <a:gd name="connsiteY1489" fmla="*/ 265271 h 514350"/>
                <a:gd name="connsiteX1490" fmla="*/ 3345656 w 6400800"/>
                <a:gd name="connsiteY1490" fmla="*/ 283369 h 514350"/>
                <a:gd name="connsiteX1491" fmla="*/ 3343751 w 6400800"/>
                <a:gd name="connsiteY1491" fmla="*/ 287179 h 514350"/>
                <a:gd name="connsiteX1492" fmla="*/ 3339941 w 6400800"/>
                <a:gd name="connsiteY1492" fmla="*/ 274796 h 514350"/>
                <a:gd name="connsiteX1493" fmla="*/ 3325654 w 6400800"/>
                <a:gd name="connsiteY1493" fmla="*/ 231934 h 514350"/>
                <a:gd name="connsiteX1494" fmla="*/ 3328511 w 6400800"/>
                <a:gd name="connsiteY1494" fmla="*/ 216694 h 514350"/>
                <a:gd name="connsiteX1495" fmla="*/ 3338036 w 6400800"/>
                <a:gd name="connsiteY1495" fmla="*/ 170974 h 514350"/>
                <a:gd name="connsiteX1496" fmla="*/ 3346609 w 6400800"/>
                <a:gd name="connsiteY1496" fmla="*/ 136684 h 514350"/>
                <a:gd name="connsiteX1497" fmla="*/ 3355181 w 6400800"/>
                <a:gd name="connsiteY1497" fmla="*/ 106204 h 514350"/>
                <a:gd name="connsiteX1498" fmla="*/ 3342799 w 6400800"/>
                <a:gd name="connsiteY1498" fmla="*/ 134779 h 514350"/>
                <a:gd name="connsiteX1499" fmla="*/ 3330416 w 6400800"/>
                <a:gd name="connsiteY1499" fmla="*/ 169069 h 514350"/>
                <a:gd name="connsiteX1500" fmla="*/ 3318986 w 6400800"/>
                <a:gd name="connsiteY1500" fmla="*/ 208121 h 514350"/>
                <a:gd name="connsiteX1501" fmla="*/ 3318986 w 6400800"/>
                <a:gd name="connsiteY1501" fmla="*/ 203359 h 514350"/>
                <a:gd name="connsiteX1502" fmla="*/ 3320891 w 6400800"/>
                <a:gd name="connsiteY1502" fmla="*/ 195739 h 514350"/>
                <a:gd name="connsiteX1503" fmla="*/ 3327559 w 6400800"/>
                <a:gd name="connsiteY1503" fmla="*/ 170021 h 514350"/>
                <a:gd name="connsiteX1504" fmla="*/ 3332321 w 6400800"/>
                <a:gd name="connsiteY1504" fmla="*/ 147161 h 514350"/>
                <a:gd name="connsiteX1505" fmla="*/ 3323749 w 6400800"/>
                <a:gd name="connsiteY1505" fmla="*/ 169069 h 514350"/>
                <a:gd name="connsiteX1506" fmla="*/ 3322796 w 6400800"/>
                <a:gd name="connsiteY1506" fmla="*/ 171926 h 514350"/>
                <a:gd name="connsiteX1507" fmla="*/ 3323749 w 6400800"/>
                <a:gd name="connsiteY1507" fmla="*/ 165259 h 514350"/>
                <a:gd name="connsiteX1508" fmla="*/ 3328511 w 6400800"/>
                <a:gd name="connsiteY1508" fmla="*/ 147161 h 514350"/>
                <a:gd name="connsiteX1509" fmla="*/ 3336131 w 6400800"/>
                <a:gd name="connsiteY1509" fmla="*/ 116681 h 514350"/>
                <a:gd name="connsiteX1510" fmla="*/ 3341846 w 6400800"/>
                <a:gd name="connsiteY1510" fmla="*/ 90011 h 514350"/>
                <a:gd name="connsiteX1511" fmla="*/ 3332321 w 6400800"/>
                <a:gd name="connsiteY1511" fmla="*/ 114776 h 514350"/>
                <a:gd name="connsiteX1512" fmla="*/ 3321844 w 6400800"/>
                <a:gd name="connsiteY1512" fmla="*/ 143351 h 514350"/>
                <a:gd name="connsiteX1513" fmla="*/ 3315176 w 6400800"/>
                <a:gd name="connsiteY1513" fmla="*/ 161449 h 514350"/>
                <a:gd name="connsiteX1514" fmla="*/ 3308509 w 6400800"/>
                <a:gd name="connsiteY1514" fmla="*/ 181451 h 514350"/>
                <a:gd name="connsiteX1515" fmla="*/ 3308509 w 6400800"/>
                <a:gd name="connsiteY1515" fmla="*/ 181451 h 514350"/>
                <a:gd name="connsiteX1516" fmla="*/ 3306604 w 6400800"/>
                <a:gd name="connsiteY1516" fmla="*/ 176689 h 514350"/>
                <a:gd name="connsiteX1517" fmla="*/ 3292316 w 6400800"/>
                <a:gd name="connsiteY1517" fmla="*/ 140494 h 514350"/>
                <a:gd name="connsiteX1518" fmla="*/ 3305651 w 6400800"/>
                <a:gd name="connsiteY1518" fmla="*/ 189071 h 514350"/>
                <a:gd name="connsiteX1519" fmla="*/ 3294221 w 6400800"/>
                <a:gd name="connsiteY1519" fmla="*/ 227171 h 514350"/>
                <a:gd name="connsiteX1520" fmla="*/ 3293269 w 6400800"/>
                <a:gd name="connsiteY1520" fmla="*/ 230981 h 514350"/>
                <a:gd name="connsiteX1521" fmla="*/ 3292316 w 6400800"/>
                <a:gd name="connsiteY1521" fmla="*/ 229076 h 514350"/>
                <a:gd name="connsiteX1522" fmla="*/ 3277076 w 6400800"/>
                <a:gd name="connsiteY1522" fmla="*/ 197644 h 514350"/>
                <a:gd name="connsiteX1523" fmla="*/ 3291364 w 6400800"/>
                <a:gd name="connsiteY1523" fmla="*/ 237649 h 514350"/>
                <a:gd name="connsiteX1524" fmla="*/ 3285649 w 6400800"/>
                <a:gd name="connsiteY1524" fmla="*/ 257651 h 514350"/>
                <a:gd name="connsiteX1525" fmla="*/ 3277076 w 6400800"/>
                <a:gd name="connsiteY1525" fmla="*/ 246221 h 514350"/>
                <a:gd name="connsiteX1526" fmla="*/ 3274219 w 6400800"/>
                <a:gd name="connsiteY1526" fmla="*/ 242411 h 514350"/>
                <a:gd name="connsiteX1527" fmla="*/ 3277076 w 6400800"/>
                <a:gd name="connsiteY1527" fmla="*/ 199549 h 514350"/>
                <a:gd name="connsiteX1528" fmla="*/ 3272314 w 6400800"/>
                <a:gd name="connsiteY1528" fmla="*/ 217646 h 514350"/>
                <a:gd name="connsiteX1529" fmla="*/ 3268504 w 6400800"/>
                <a:gd name="connsiteY1529" fmla="*/ 234791 h 514350"/>
                <a:gd name="connsiteX1530" fmla="*/ 3258979 w 6400800"/>
                <a:gd name="connsiteY1530" fmla="*/ 223361 h 514350"/>
                <a:gd name="connsiteX1531" fmla="*/ 3241834 w 6400800"/>
                <a:gd name="connsiteY1531" fmla="*/ 203359 h 514350"/>
                <a:gd name="connsiteX1532" fmla="*/ 3256121 w 6400800"/>
                <a:gd name="connsiteY1532" fmla="*/ 226219 h 514350"/>
                <a:gd name="connsiteX1533" fmla="*/ 3266599 w 6400800"/>
                <a:gd name="connsiteY1533" fmla="*/ 243364 h 514350"/>
                <a:gd name="connsiteX1534" fmla="*/ 3260884 w 6400800"/>
                <a:gd name="connsiteY1534" fmla="*/ 265271 h 514350"/>
                <a:gd name="connsiteX1535" fmla="*/ 3256121 w 6400800"/>
                <a:gd name="connsiteY1535" fmla="*/ 288131 h 514350"/>
                <a:gd name="connsiteX1536" fmla="*/ 3256121 w 6400800"/>
                <a:gd name="connsiteY1536" fmla="*/ 287179 h 514350"/>
                <a:gd name="connsiteX1537" fmla="*/ 3256121 w 6400800"/>
                <a:gd name="connsiteY1537" fmla="*/ 289084 h 514350"/>
                <a:gd name="connsiteX1538" fmla="*/ 3255169 w 6400800"/>
                <a:gd name="connsiteY1538" fmla="*/ 293846 h 514350"/>
                <a:gd name="connsiteX1539" fmla="*/ 3253264 w 6400800"/>
                <a:gd name="connsiteY1539" fmla="*/ 290036 h 514350"/>
                <a:gd name="connsiteX1540" fmla="*/ 3254216 w 6400800"/>
                <a:gd name="connsiteY1540" fmla="*/ 280511 h 514350"/>
                <a:gd name="connsiteX1541" fmla="*/ 3252311 w 6400800"/>
                <a:gd name="connsiteY1541" fmla="*/ 287179 h 514350"/>
                <a:gd name="connsiteX1542" fmla="*/ 3246596 w 6400800"/>
                <a:gd name="connsiteY1542" fmla="*/ 276701 h 514350"/>
                <a:gd name="connsiteX1543" fmla="*/ 3251359 w 6400800"/>
                <a:gd name="connsiteY1543" fmla="*/ 290989 h 514350"/>
                <a:gd name="connsiteX1544" fmla="*/ 3249454 w 6400800"/>
                <a:gd name="connsiteY1544" fmla="*/ 298609 h 514350"/>
                <a:gd name="connsiteX1545" fmla="*/ 3247549 w 6400800"/>
                <a:gd name="connsiteY1545" fmla="*/ 304324 h 514350"/>
                <a:gd name="connsiteX1546" fmla="*/ 3246596 w 6400800"/>
                <a:gd name="connsiteY1546" fmla="*/ 301466 h 514350"/>
                <a:gd name="connsiteX1547" fmla="*/ 3246596 w 6400800"/>
                <a:gd name="connsiteY1547" fmla="*/ 306229 h 514350"/>
                <a:gd name="connsiteX1548" fmla="*/ 3243739 w 6400800"/>
                <a:gd name="connsiteY1548" fmla="*/ 317659 h 514350"/>
                <a:gd name="connsiteX1549" fmla="*/ 3239929 w 6400800"/>
                <a:gd name="connsiteY1549" fmla="*/ 304324 h 514350"/>
                <a:gd name="connsiteX1550" fmla="*/ 3242786 w 6400800"/>
                <a:gd name="connsiteY1550" fmla="*/ 296704 h 514350"/>
                <a:gd name="connsiteX1551" fmla="*/ 3238976 w 6400800"/>
                <a:gd name="connsiteY1551" fmla="*/ 302419 h 514350"/>
                <a:gd name="connsiteX1552" fmla="*/ 3236119 w 6400800"/>
                <a:gd name="connsiteY1552" fmla="*/ 293846 h 514350"/>
                <a:gd name="connsiteX1553" fmla="*/ 3235166 w 6400800"/>
                <a:gd name="connsiteY1553" fmla="*/ 290036 h 514350"/>
                <a:gd name="connsiteX1554" fmla="*/ 3241834 w 6400800"/>
                <a:gd name="connsiteY1554" fmla="*/ 273844 h 514350"/>
                <a:gd name="connsiteX1555" fmla="*/ 3249454 w 6400800"/>
                <a:gd name="connsiteY1555" fmla="*/ 256699 h 514350"/>
                <a:gd name="connsiteX1556" fmla="*/ 3256121 w 6400800"/>
                <a:gd name="connsiteY1556" fmla="*/ 242411 h 514350"/>
                <a:gd name="connsiteX1557" fmla="*/ 3245644 w 6400800"/>
                <a:gd name="connsiteY1557" fmla="*/ 254794 h 514350"/>
                <a:gd name="connsiteX1558" fmla="*/ 3235166 w 6400800"/>
                <a:gd name="connsiteY1558" fmla="*/ 270034 h 514350"/>
                <a:gd name="connsiteX1559" fmla="*/ 3230404 w 6400800"/>
                <a:gd name="connsiteY1559" fmla="*/ 276701 h 514350"/>
                <a:gd name="connsiteX1560" fmla="*/ 3229451 w 6400800"/>
                <a:gd name="connsiteY1560" fmla="*/ 272891 h 514350"/>
                <a:gd name="connsiteX1561" fmla="*/ 3222784 w 6400800"/>
                <a:gd name="connsiteY1561" fmla="*/ 253841 h 514350"/>
                <a:gd name="connsiteX1562" fmla="*/ 3218021 w 6400800"/>
                <a:gd name="connsiteY1562" fmla="*/ 241459 h 514350"/>
                <a:gd name="connsiteX1563" fmla="*/ 3218021 w 6400800"/>
                <a:gd name="connsiteY1563" fmla="*/ 236696 h 514350"/>
                <a:gd name="connsiteX1564" fmla="*/ 3222784 w 6400800"/>
                <a:gd name="connsiteY1564" fmla="*/ 206216 h 514350"/>
                <a:gd name="connsiteX1565" fmla="*/ 3229451 w 6400800"/>
                <a:gd name="connsiteY1565" fmla="*/ 166211 h 514350"/>
                <a:gd name="connsiteX1566" fmla="*/ 3235166 w 6400800"/>
                <a:gd name="connsiteY1566" fmla="*/ 135731 h 514350"/>
                <a:gd name="connsiteX1567" fmla="*/ 3239929 w 6400800"/>
                <a:gd name="connsiteY1567" fmla="*/ 109061 h 514350"/>
                <a:gd name="connsiteX1568" fmla="*/ 3231356 w 6400800"/>
                <a:gd name="connsiteY1568" fmla="*/ 134779 h 514350"/>
                <a:gd name="connsiteX1569" fmla="*/ 3212306 w 6400800"/>
                <a:gd name="connsiteY1569" fmla="*/ 204311 h 514350"/>
                <a:gd name="connsiteX1570" fmla="*/ 3209449 w 6400800"/>
                <a:gd name="connsiteY1570" fmla="*/ 215741 h 514350"/>
                <a:gd name="connsiteX1571" fmla="*/ 3204686 w 6400800"/>
                <a:gd name="connsiteY1571" fmla="*/ 204311 h 514350"/>
                <a:gd name="connsiteX1572" fmla="*/ 3203734 w 6400800"/>
                <a:gd name="connsiteY1572" fmla="*/ 175736 h 514350"/>
                <a:gd name="connsiteX1573" fmla="*/ 3200876 w 6400800"/>
                <a:gd name="connsiteY1573" fmla="*/ 206216 h 514350"/>
                <a:gd name="connsiteX1574" fmla="*/ 3196114 w 6400800"/>
                <a:gd name="connsiteY1574" fmla="*/ 240506 h 514350"/>
                <a:gd name="connsiteX1575" fmla="*/ 3195161 w 6400800"/>
                <a:gd name="connsiteY1575" fmla="*/ 243364 h 514350"/>
                <a:gd name="connsiteX1576" fmla="*/ 3196114 w 6400800"/>
                <a:gd name="connsiteY1576" fmla="*/ 217646 h 514350"/>
                <a:gd name="connsiteX1577" fmla="*/ 3198019 w 6400800"/>
                <a:gd name="connsiteY1577" fmla="*/ 180499 h 514350"/>
                <a:gd name="connsiteX1578" fmla="*/ 3199924 w 6400800"/>
                <a:gd name="connsiteY1578" fmla="*/ 151924 h 514350"/>
                <a:gd name="connsiteX1579" fmla="*/ 3200876 w 6400800"/>
                <a:gd name="connsiteY1579" fmla="*/ 127159 h 514350"/>
                <a:gd name="connsiteX1580" fmla="*/ 3195161 w 6400800"/>
                <a:gd name="connsiteY1580" fmla="*/ 151924 h 514350"/>
                <a:gd name="connsiteX1581" fmla="*/ 3184684 w 6400800"/>
                <a:gd name="connsiteY1581" fmla="*/ 217646 h 514350"/>
                <a:gd name="connsiteX1582" fmla="*/ 3181826 w 6400800"/>
                <a:gd name="connsiteY1582" fmla="*/ 235744 h 514350"/>
                <a:gd name="connsiteX1583" fmla="*/ 3179921 w 6400800"/>
                <a:gd name="connsiteY1583" fmla="*/ 231934 h 514350"/>
                <a:gd name="connsiteX1584" fmla="*/ 3179921 w 6400800"/>
                <a:gd name="connsiteY1584" fmla="*/ 224314 h 514350"/>
                <a:gd name="connsiteX1585" fmla="*/ 3178969 w 6400800"/>
                <a:gd name="connsiteY1585" fmla="*/ 230029 h 514350"/>
                <a:gd name="connsiteX1586" fmla="*/ 3177064 w 6400800"/>
                <a:gd name="connsiteY1586" fmla="*/ 227171 h 514350"/>
                <a:gd name="connsiteX1587" fmla="*/ 3178016 w 6400800"/>
                <a:gd name="connsiteY1587" fmla="*/ 231934 h 514350"/>
                <a:gd name="connsiteX1588" fmla="*/ 3174206 w 6400800"/>
                <a:gd name="connsiteY1588" fmla="*/ 250984 h 514350"/>
                <a:gd name="connsiteX1589" fmla="*/ 3170396 w 6400800"/>
                <a:gd name="connsiteY1589" fmla="*/ 277654 h 514350"/>
                <a:gd name="connsiteX1590" fmla="*/ 3169444 w 6400800"/>
                <a:gd name="connsiteY1590" fmla="*/ 275749 h 514350"/>
                <a:gd name="connsiteX1591" fmla="*/ 3163729 w 6400800"/>
                <a:gd name="connsiteY1591" fmla="*/ 215741 h 514350"/>
                <a:gd name="connsiteX1592" fmla="*/ 3162776 w 6400800"/>
                <a:gd name="connsiteY1592" fmla="*/ 207169 h 514350"/>
                <a:gd name="connsiteX1593" fmla="*/ 3163729 w 6400800"/>
                <a:gd name="connsiteY1593" fmla="*/ 203359 h 514350"/>
                <a:gd name="connsiteX1594" fmla="*/ 3174206 w 6400800"/>
                <a:gd name="connsiteY1594" fmla="*/ 132874 h 514350"/>
                <a:gd name="connsiteX1595" fmla="*/ 3178016 w 6400800"/>
                <a:gd name="connsiteY1595" fmla="*/ 106204 h 514350"/>
                <a:gd name="connsiteX1596" fmla="*/ 3170396 w 6400800"/>
                <a:gd name="connsiteY1596" fmla="*/ 131921 h 514350"/>
                <a:gd name="connsiteX1597" fmla="*/ 3158014 w 6400800"/>
                <a:gd name="connsiteY1597" fmla="*/ 177641 h 514350"/>
                <a:gd name="connsiteX1598" fmla="*/ 3154204 w 6400800"/>
                <a:gd name="connsiteY1598" fmla="*/ 159544 h 514350"/>
                <a:gd name="connsiteX1599" fmla="*/ 3149441 w 6400800"/>
                <a:gd name="connsiteY1599" fmla="*/ 134779 h 514350"/>
                <a:gd name="connsiteX1600" fmla="*/ 3143726 w 6400800"/>
                <a:gd name="connsiteY1600" fmla="*/ 112871 h 514350"/>
                <a:gd name="connsiteX1601" fmla="*/ 3133249 w 6400800"/>
                <a:gd name="connsiteY1601" fmla="*/ 77629 h 514350"/>
                <a:gd name="connsiteX1602" fmla="*/ 3122771 w 6400800"/>
                <a:gd name="connsiteY1602" fmla="*/ 47149 h 514350"/>
                <a:gd name="connsiteX1603" fmla="*/ 3129439 w 6400800"/>
                <a:gd name="connsiteY1603" fmla="*/ 78581 h 514350"/>
                <a:gd name="connsiteX1604" fmla="*/ 3136106 w 6400800"/>
                <a:gd name="connsiteY1604" fmla="*/ 114776 h 514350"/>
                <a:gd name="connsiteX1605" fmla="*/ 3139916 w 6400800"/>
                <a:gd name="connsiteY1605" fmla="*/ 136684 h 514350"/>
                <a:gd name="connsiteX1606" fmla="*/ 3142774 w 6400800"/>
                <a:gd name="connsiteY1606" fmla="*/ 161449 h 514350"/>
                <a:gd name="connsiteX1607" fmla="*/ 3147536 w 6400800"/>
                <a:gd name="connsiteY1607" fmla="*/ 213836 h 514350"/>
                <a:gd name="connsiteX1608" fmla="*/ 3146584 w 6400800"/>
                <a:gd name="connsiteY1608" fmla="*/ 217646 h 514350"/>
                <a:gd name="connsiteX1609" fmla="*/ 3143726 w 6400800"/>
                <a:gd name="connsiteY1609" fmla="*/ 210026 h 514350"/>
                <a:gd name="connsiteX1610" fmla="*/ 3138964 w 6400800"/>
                <a:gd name="connsiteY1610" fmla="*/ 196691 h 514350"/>
                <a:gd name="connsiteX1611" fmla="*/ 3134201 w 6400800"/>
                <a:gd name="connsiteY1611" fmla="*/ 179546 h 514350"/>
                <a:gd name="connsiteX1612" fmla="*/ 3126581 w 6400800"/>
                <a:gd name="connsiteY1612" fmla="*/ 155734 h 514350"/>
                <a:gd name="connsiteX1613" fmla="*/ 3129439 w 6400800"/>
                <a:gd name="connsiteY1613" fmla="*/ 172879 h 514350"/>
                <a:gd name="connsiteX1614" fmla="*/ 3118961 w 6400800"/>
                <a:gd name="connsiteY1614" fmla="*/ 150019 h 514350"/>
                <a:gd name="connsiteX1615" fmla="*/ 3112294 w 6400800"/>
                <a:gd name="connsiteY1615" fmla="*/ 136684 h 514350"/>
                <a:gd name="connsiteX1616" fmla="*/ 3102769 w 6400800"/>
                <a:gd name="connsiteY1616" fmla="*/ 113824 h 514350"/>
                <a:gd name="connsiteX1617" fmla="*/ 3090386 w 6400800"/>
                <a:gd name="connsiteY1617" fmla="*/ 87154 h 514350"/>
                <a:gd name="connsiteX1618" fmla="*/ 3099911 w 6400800"/>
                <a:gd name="connsiteY1618" fmla="*/ 114776 h 514350"/>
                <a:gd name="connsiteX1619" fmla="*/ 3109436 w 6400800"/>
                <a:gd name="connsiteY1619" fmla="*/ 146209 h 514350"/>
                <a:gd name="connsiteX1620" fmla="*/ 3115151 w 6400800"/>
                <a:gd name="connsiteY1620" fmla="*/ 167164 h 514350"/>
                <a:gd name="connsiteX1621" fmla="*/ 3109436 w 6400800"/>
                <a:gd name="connsiteY1621" fmla="*/ 155734 h 514350"/>
                <a:gd name="connsiteX1622" fmla="*/ 3116104 w 6400800"/>
                <a:gd name="connsiteY1622" fmla="*/ 176689 h 514350"/>
                <a:gd name="connsiteX1623" fmla="*/ 3121819 w 6400800"/>
                <a:gd name="connsiteY1623" fmla="*/ 194786 h 514350"/>
                <a:gd name="connsiteX1624" fmla="*/ 3125629 w 6400800"/>
                <a:gd name="connsiteY1624" fmla="*/ 213836 h 514350"/>
                <a:gd name="connsiteX1625" fmla="*/ 3123724 w 6400800"/>
                <a:gd name="connsiteY1625" fmla="*/ 215741 h 514350"/>
                <a:gd name="connsiteX1626" fmla="*/ 3122771 w 6400800"/>
                <a:gd name="connsiteY1626" fmla="*/ 210979 h 514350"/>
                <a:gd name="connsiteX1627" fmla="*/ 3122771 w 6400800"/>
                <a:gd name="connsiteY1627" fmla="*/ 216694 h 514350"/>
                <a:gd name="connsiteX1628" fmla="*/ 3113246 w 6400800"/>
                <a:gd name="connsiteY1628" fmla="*/ 228124 h 514350"/>
                <a:gd name="connsiteX1629" fmla="*/ 3113246 w 6400800"/>
                <a:gd name="connsiteY1629" fmla="*/ 228124 h 514350"/>
                <a:gd name="connsiteX1630" fmla="*/ 3110389 w 6400800"/>
                <a:gd name="connsiteY1630" fmla="*/ 191929 h 514350"/>
                <a:gd name="connsiteX1631" fmla="*/ 3108484 w 6400800"/>
                <a:gd name="connsiteY1631" fmla="*/ 171926 h 514350"/>
                <a:gd name="connsiteX1632" fmla="*/ 3106579 w 6400800"/>
                <a:gd name="connsiteY1632" fmla="*/ 192881 h 514350"/>
                <a:gd name="connsiteX1633" fmla="*/ 3104674 w 6400800"/>
                <a:gd name="connsiteY1633" fmla="*/ 228124 h 514350"/>
                <a:gd name="connsiteX1634" fmla="*/ 3104674 w 6400800"/>
                <a:gd name="connsiteY1634" fmla="*/ 227171 h 514350"/>
                <a:gd name="connsiteX1635" fmla="*/ 3097054 w 6400800"/>
                <a:gd name="connsiteY1635" fmla="*/ 208121 h 514350"/>
                <a:gd name="connsiteX1636" fmla="*/ 3100864 w 6400800"/>
                <a:gd name="connsiteY1636" fmla="*/ 228124 h 514350"/>
                <a:gd name="connsiteX1637" fmla="*/ 3103721 w 6400800"/>
                <a:gd name="connsiteY1637" fmla="*/ 244316 h 514350"/>
                <a:gd name="connsiteX1638" fmla="*/ 3096101 w 6400800"/>
                <a:gd name="connsiteY1638" fmla="*/ 255746 h 514350"/>
                <a:gd name="connsiteX1639" fmla="*/ 3087529 w 6400800"/>
                <a:gd name="connsiteY1639" fmla="*/ 270034 h 514350"/>
                <a:gd name="connsiteX1640" fmla="*/ 3082766 w 6400800"/>
                <a:gd name="connsiteY1640" fmla="*/ 252889 h 514350"/>
                <a:gd name="connsiteX1641" fmla="*/ 3077051 w 6400800"/>
                <a:gd name="connsiteY1641" fmla="*/ 233839 h 514350"/>
                <a:gd name="connsiteX1642" fmla="*/ 3078956 w 6400800"/>
                <a:gd name="connsiteY1642" fmla="*/ 252889 h 514350"/>
                <a:gd name="connsiteX1643" fmla="*/ 3079909 w 6400800"/>
                <a:gd name="connsiteY1643" fmla="*/ 264319 h 514350"/>
                <a:gd name="connsiteX1644" fmla="*/ 3077051 w 6400800"/>
                <a:gd name="connsiteY1644" fmla="*/ 255746 h 514350"/>
                <a:gd name="connsiteX1645" fmla="*/ 3074194 w 6400800"/>
                <a:gd name="connsiteY1645" fmla="*/ 248126 h 514350"/>
                <a:gd name="connsiteX1646" fmla="*/ 3074194 w 6400800"/>
                <a:gd name="connsiteY1646" fmla="*/ 242411 h 514350"/>
                <a:gd name="connsiteX1647" fmla="*/ 3075146 w 6400800"/>
                <a:gd name="connsiteY1647" fmla="*/ 229076 h 514350"/>
                <a:gd name="connsiteX1648" fmla="*/ 3077051 w 6400800"/>
                <a:gd name="connsiteY1648" fmla="*/ 220504 h 514350"/>
                <a:gd name="connsiteX1649" fmla="*/ 3086576 w 6400800"/>
                <a:gd name="connsiteY1649" fmla="*/ 189071 h 514350"/>
                <a:gd name="connsiteX1650" fmla="*/ 3096101 w 6400800"/>
                <a:gd name="connsiteY1650" fmla="*/ 161449 h 514350"/>
                <a:gd name="connsiteX1651" fmla="*/ 3083719 w 6400800"/>
                <a:gd name="connsiteY1651" fmla="*/ 188119 h 514350"/>
                <a:gd name="connsiteX1652" fmla="*/ 3071336 w 6400800"/>
                <a:gd name="connsiteY1652" fmla="*/ 218599 h 514350"/>
                <a:gd name="connsiteX1653" fmla="*/ 3068479 w 6400800"/>
                <a:gd name="connsiteY1653" fmla="*/ 224314 h 514350"/>
                <a:gd name="connsiteX1654" fmla="*/ 3068479 w 6400800"/>
                <a:gd name="connsiteY1654" fmla="*/ 216694 h 514350"/>
                <a:gd name="connsiteX1655" fmla="*/ 3069431 w 6400800"/>
                <a:gd name="connsiteY1655" fmla="*/ 209074 h 514350"/>
                <a:gd name="connsiteX1656" fmla="*/ 3072289 w 6400800"/>
                <a:gd name="connsiteY1656" fmla="*/ 181451 h 514350"/>
                <a:gd name="connsiteX1657" fmla="*/ 3073241 w 6400800"/>
                <a:gd name="connsiteY1657" fmla="*/ 157639 h 514350"/>
                <a:gd name="connsiteX1658" fmla="*/ 3067526 w 6400800"/>
                <a:gd name="connsiteY1658" fmla="*/ 180499 h 514350"/>
                <a:gd name="connsiteX1659" fmla="*/ 3066574 w 6400800"/>
                <a:gd name="connsiteY1659" fmla="*/ 183356 h 514350"/>
                <a:gd name="connsiteX1660" fmla="*/ 3064669 w 6400800"/>
                <a:gd name="connsiteY1660" fmla="*/ 148114 h 514350"/>
                <a:gd name="connsiteX1661" fmla="*/ 3064669 w 6400800"/>
                <a:gd name="connsiteY1661" fmla="*/ 145256 h 514350"/>
                <a:gd name="connsiteX1662" fmla="*/ 3064669 w 6400800"/>
                <a:gd name="connsiteY1662" fmla="*/ 146209 h 514350"/>
                <a:gd name="connsiteX1663" fmla="*/ 3063716 w 6400800"/>
                <a:gd name="connsiteY1663" fmla="*/ 131921 h 514350"/>
                <a:gd name="connsiteX1664" fmla="*/ 3058954 w 6400800"/>
                <a:gd name="connsiteY1664" fmla="*/ 174784 h 514350"/>
                <a:gd name="connsiteX1665" fmla="*/ 3056096 w 6400800"/>
                <a:gd name="connsiteY1665" fmla="*/ 190976 h 514350"/>
                <a:gd name="connsiteX1666" fmla="*/ 3054191 w 6400800"/>
                <a:gd name="connsiteY1666" fmla="*/ 201454 h 514350"/>
                <a:gd name="connsiteX1667" fmla="*/ 3049429 w 6400800"/>
                <a:gd name="connsiteY1667" fmla="*/ 189071 h 514350"/>
                <a:gd name="connsiteX1668" fmla="*/ 3049429 w 6400800"/>
                <a:gd name="connsiteY1668" fmla="*/ 188119 h 514350"/>
                <a:gd name="connsiteX1669" fmla="*/ 3056096 w 6400800"/>
                <a:gd name="connsiteY1669" fmla="*/ 151924 h 514350"/>
                <a:gd name="connsiteX1670" fmla="*/ 3062764 w 6400800"/>
                <a:gd name="connsiteY1670" fmla="*/ 120491 h 514350"/>
                <a:gd name="connsiteX1671" fmla="*/ 3052286 w 6400800"/>
                <a:gd name="connsiteY1671" fmla="*/ 150971 h 514350"/>
                <a:gd name="connsiteX1672" fmla="*/ 3041809 w 6400800"/>
                <a:gd name="connsiteY1672" fmla="*/ 186214 h 514350"/>
                <a:gd name="connsiteX1673" fmla="*/ 3036094 w 6400800"/>
                <a:gd name="connsiteY1673" fmla="*/ 208121 h 514350"/>
                <a:gd name="connsiteX1674" fmla="*/ 3034189 w 6400800"/>
                <a:gd name="connsiteY1674" fmla="*/ 215741 h 514350"/>
                <a:gd name="connsiteX1675" fmla="*/ 3032284 w 6400800"/>
                <a:gd name="connsiteY1675" fmla="*/ 205264 h 514350"/>
                <a:gd name="connsiteX1676" fmla="*/ 3048476 w 6400800"/>
                <a:gd name="connsiteY1676" fmla="*/ 148114 h 514350"/>
                <a:gd name="connsiteX1677" fmla="*/ 3057049 w 6400800"/>
                <a:gd name="connsiteY1677" fmla="*/ 123349 h 514350"/>
                <a:gd name="connsiteX1678" fmla="*/ 3054191 w 6400800"/>
                <a:gd name="connsiteY1678" fmla="*/ 129064 h 514350"/>
                <a:gd name="connsiteX1679" fmla="*/ 3045619 w 6400800"/>
                <a:gd name="connsiteY1679" fmla="*/ 146209 h 514350"/>
                <a:gd name="connsiteX1680" fmla="*/ 3029426 w 6400800"/>
                <a:gd name="connsiteY1680" fmla="*/ 184309 h 514350"/>
                <a:gd name="connsiteX1681" fmla="*/ 3029426 w 6400800"/>
                <a:gd name="connsiteY1681" fmla="*/ 167164 h 514350"/>
                <a:gd name="connsiteX1682" fmla="*/ 3030379 w 6400800"/>
                <a:gd name="connsiteY1682" fmla="*/ 140494 h 514350"/>
                <a:gd name="connsiteX1683" fmla="*/ 3025616 w 6400800"/>
                <a:gd name="connsiteY1683" fmla="*/ 166211 h 514350"/>
                <a:gd name="connsiteX1684" fmla="*/ 3022759 w 6400800"/>
                <a:gd name="connsiteY1684" fmla="*/ 196691 h 514350"/>
                <a:gd name="connsiteX1685" fmla="*/ 3022759 w 6400800"/>
                <a:gd name="connsiteY1685" fmla="*/ 202406 h 514350"/>
                <a:gd name="connsiteX1686" fmla="*/ 3019901 w 6400800"/>
                <a:gd name="connsiteY1686" fmla="*/ 210979 h 514350"/>
                <a:gd name="connsiteX1687" fmla="*/ 3011329 w 6400800"/>
                <a:gd name="connsiteY1687" fmla="*/ 234791 h 514350"/>
                <a:gd name="connsiteX1688" fmla="*/ 3007519 w 6400800"/>
                <a:gd name="connsiteY1688" fmla="*/ 226219 h 514350"/>
                <a:gd name="connsiteX1689" fmla="*/ 3011329 w 6400800"/>
                <a:gd name="connsiteY1689" fmla="*/ 215741 h 514350"/>
                <a:gd name="connsiteX1690" fmla="*/ 3006566 w 6400800"/>
                <a:gd name="connsiteY1690" fmla="*/ 222409 h 514350"/>
                <a:gd name="connsiteX1691" fmla="*/ 3001804 w 6400800"/>
                <a:gd name="connsiteY1691" fmla="*/ 202406 h 514350"/>
                <a:gd name="connsiteX1692" fmla="*/ 3000851 w 6400800"/>
                <a:gd name="connsiteY1692" fmla="*/ 197644 h 514350"/>
                <a:gd name="connsiteX1693" fmla="*/ 3003709 w 6400800"/>
                <a:gd name="connsiteY1693" fmla="*/ 189071 h 514350"/>
                <a:gd name="connsiteX1694" fmla="*/ 3011329 w 6400800"/>
                <a:gd name="connsiteY1694" fmla="*/ 164306 h 514350"/>
                <a:gd name="connsiteX1695" fmla="*/ 3018949 w 6400800"/>
                <a:gd name="connsiteY1695" fmla="*/ 142399 h 514350"/>
                <a:gd name="connsiteX1696" fmla="*/ 3007519 w 6400800"/>
                <a:gd name="connsiteY1696" fmla="*/ 162401 h 514350"/>
                <a:gd name="connsiteX1697" fmla="*/ 2997994 w 6400800"/>
                <a:gd name="connsiteY1697" fmla="*/ 182404 h 514350"/>
                <a:gd name="connsiteX1698" fmla="*/ 2995136 w 6400800"/>
                <a:gd name="connsiteY1698" fmla="*/ 169069 h 514350"/>
                <a:gd name="connsiteX1699" fmla="*/ 3014186 w 6400800"/>
                <a:gd name="connsiteY1699" fmla="*/ 100489 h 514350"/>
                <a:gd name="connsiteX1700" fmla="*/ 3021806 w 6400800"/>
                <a:gd name="connsiteY1700" fmla="*/ 76676 h 514350"/>
                <a:gd name="connsiteX1701" fmla="*/ 3024664 w 6400800"/>
                <a:gd name="connsiteY1701" fmla="*/ 68104 h 514350"/>
                <a:gd name="connsiteX1702" fmla="*/ 3020854 w 6400800"/>
                <a:gd name="connsiteY1702" fmla="*/ 75724 h 514350"/>
                <a:gd name="connsiteX1703" fmla="*/ 3010376 w 6400800"/>
                <a:gd name="connsiteY1703" fmla="*/ 98584 h 514350"/>
                <a:gd name="connsiteX1704" fmla="*/ 2996089 w 6400800"/>
                <a:gd name="connsiteY1704" fmla="*/ 134779 h 514350"/>
                <a:gd name="connsiteX1705" fmla="*/ 2991326 w 6400800"/>
                <a:gd name="connsiteY1705" fmla="*/ 148114 h 514350"/>
                <a:gd name="connsiteX1706" fmla="*/ 2987516 w 6400800"/>
                <a:gd name="connsiteY1706" fmla="*/ 122396 h 514350"/>
                <a:gd name="connsiteX1707" fmla="*/ 2984659 w 6400800"/>
                <a:gd name="connsiteY1707" fmla="*/ 91916 h 514350"/>
                <a:gd name="connsiteX1708" fmla="*/ 2983706 w 6400800"/>
                <a:gd name="connsiteY1708" fmla="*/ 122396 h 514350"/>
                <a:gd name="connsiteX1709" fmla="*/ 2985611 w 6400800"/>
                <a:gd name="connsiteY1709" fmla="*/ 157639 h 514350"/>
                <a:gd name="connsiteX1710" fmla="*/ 2985611 w 6400800"/>
                <a:gd name="connsiteY1710" fmla="*/ 163354 h 514350"/>
                <a:gd name="connsiteX1711" fmla="*/ 2978944 w 6400800"/>
                <a:gd name="connsiteY1711" fmla="*/ 182404 h 514350"/>
                <a:gd name="connsiteX1712" fmla="*/ 2960846 w 6400800"/>
                <a:gd name="connsiteY1712" fmla="*/ 238601 h 514350"/>
                <a:gd name="connsiteX1713" fmla="*/ 2959894 w 6400800"/>
                <a:gd name="connsiteY1713" fmla="*/ 234791 h 514350"/>
                <a:gd name="connsiteX1714" fmla="*/ 2960846 w 6400800"/>
                <a:gd name="connsiteY1714" fmla="*/ 239554 h 514350"/>
                <a:gd name="connsiteX1715" fmla="*/ 2950369 w 6400800"/>
                <a:gd name="connsiteY1715" fmla="*/ 274796 h 514350"/>
                <a:gd name="connsiteX1716" fmla="*/ 2952274 w 6400800"/>
                <a:gd name="connsiteY1716" fmla="*/ 264319 h 514350"/>
                <a:gd name="connsiteX1717" fmla="*/ 2944654 w 6400800"/>
                <a:gd name="connsiteY1717" fmla="*/ 284321 h 514350"/>
                <a:gd name="connsiteX1718" fmla="*/ 2944654 w 6400800"/>
                <a:gd name="connsiteY1718" fmla="*/ 283369 h 514350"/>
                <a:gd name="connsiteX1719" fmla="*/ 2945606 w 6400800"/>
                <a:gd name="connsiteY1719" fmla="*/ 277654 h 514350"/>
                <a:gd name="connsiteX1720" fmla="*/ 2949416 w 6400800"/>
                <a:gd name="connsiteY1720" fmla="*/ 238601 h 514350"/>
                <a:gd name="connsiteX1721" fmla="*/ 2951321 w 6400800"/>
                <a:gd name="connsiteY1721" fmla="*/ 221456 h 514350"/>
                <a:gd name="connsiteX1722" fmla="*/ 2953226 w 6400800"/>
                <a:gd name="connsiteY1722" fmla="*/ 205264 h 514350"/>
                <a:gd name="connsiteX1723" fmla="*/ 2956084 w 6400800"/>
                <a:gd name="connsiteY1723" fmla="*/ 179546 h 514350"/>
                <a:gd name="connsiteX1724" fmla="*/ 2958941 w 6400800"/>
                <a:gd name="connsiteY1724" fmla="*/ 156686 h 514350"/>
                <a:gd name="connsiteX1725" fmla="*/ 2952274 w 6400800"/>
                <a:gd name="connsiteY1725" fmla="*/ 178594 h 514350"/>
                <a:gd name="connsiteX1726" fmla="*/ 2945606 w 6400800"/>
                <a:gd name="connsiteY1726" fmla="*/ 203359 h 514350"/>
                <a:gd name="connsiteX1727" fmla="*/ 2941796 w 6400800"/>
                <a:gd name="connsiteY1727" fmla="*/ 218599 h 514350"/>
                <a:gd name="connsiteX1728" fmla="*/ 2937986 w 6400800"/>
                <a:gd name="connsiteY1728" fmla="*/ 235744 h 514350"/>
                <a:gd name="connsiteX1729" fmla="*/ 2931319 w 6400800"/>
                <a:gd name="connsiteY1729" fmla="*/ 270034 h 514350"/>
                <a:gd name="connsiteX1730" fmla="*/ 2929414 w 6400800"/>
                <a:gd name="connsiteY1730" fmla="*/ 260509 h 514350"/>
                <a:gd name="connsiteX1731" fmla="*/ 2928461 w 6400800"/>
                <a:gd name="connsiteY1731" fmla="*/ 256699 h 514350"/>
                <a:gd name="connsiteX1732" fmla="*/ 2931319 w 6400800"/>
                <a:gd name="connsiteY1732" fmla="*/ 251936 h 514350"/>
                <a:gd name="connsiteX1733" fmla="*/ 2927509 w 6400800"/>
                <a:gd name="connsiteY1733" fmla="*/ 254794 h 514350"/>
                <a:gd name="connsiteX1734" fmla="*/ 2925604 w 6400800"/>
                <a:gd name="connsiteY1734" fmla="*/ 247174 h 514350"/>
                <a:gd name="connsiteX1735" fmla="*/ 2931319 w 6400800"/>
                <a:gd name="connsiteY1735" fmla="*/ 231934 h 514350"/>
                <a:gd name="connsiteX1736" fmla="*/ 2924651 w 6400800"/>
                <a:gd name="connsiteY1736" fmla="*/ 243364 h 514350"/>
                <a:gd name="connsiteX1737" fmla="*/ 2922746 w 6400800"/>
                <a:gd name="connsiteY1737" fmla="*/ 237649 h 514350"/>
                <a:gd name="connsiteX1738" fmla="*/ 2922746 w 6400800"/>
                <a:gd name="connsiteY1738" fmla="*/ 236696 h 514350"/>
                <a:gd name="connsiteX1739" fmla="*/ 2921794 w 6400800"/>
                <a:gd name="connsiteY1739" fmla="*/ 236696 h 514350"/>
                <a:gd name="connsiteX1740" fmla="*/ 2916079 w 6400800"/>
                <a:gd name="connsiteY1740" fmla="*/ 236696 h 514350"/>
                <a:gd name="connsiteX1741" fmla="*/ 2916079 w 6400800"/>
                <a:gd name="connsiteY1741" fmla="*/ 236696 h 514350"/>
                <a:gd name="connsiteX1742" fmla="*/ 2935129 w 6400800"/>
                <a:gd name="connsiteY1742" fmla="*/ 176689 h 514350"/>
                <a:gd name="connsiteX1743" fmla="*/ 2909411 w 6400800"/>
                <a:gd name="connsiteY1743" fmla="*/ 230029 h 514350"/>
                <a:gd name="connsiteX1744" fmla="*/ 2902744 w 6400800"/>
                <a:gd name="connsiteY1744" fmla="*/ 211931 h 514350"/>
                <a:gd name="connsiteX1745" fmla="*/ 2900839 w 6400800"/>
                <a:gd name="connsiteY1745" fmla="*/ 195739 h 514350"/>
                <a:gd name="connsiteX1746" fmla="*/ 2897981 w 6400800"/>
                <a:gd name="connsiteY1746" fmla="*/ 173831 h 514350"/>
                <a:gd name="connsiteX1747" fmla="*/ 2896076 w 6400800"/>
                <a:gd name="connsiteY1747" fmla="*/ 153829 h 514350"/>
                <a:gd name="connsiteX1748" fmla="*/ 2893219 w 6400800"/>
                <a:gd name="connsiteY1748" fmla="*/ 121444 h 514350"/>
                <a:gd name="connsiteX1749" fmla="*/ 2890361 w 6400800"/>
                <a:gd name="connsiteY1749" fmla="*/ 93821 h 514350"/>
                <a:gd name="connsiteX1750" fmla="*/ 2889409 w 6400800"/>
                <a:gd name="connsiteY1750" fmla="*/ 121444 h 514350"/>
                <a:gd name="connsiteX1751" fmla="*/ 2889409 w 6400800"/>
                <a:gd name="connsiteY1751" fmla="*/ 153829 h 514350"/>
                <a:gd name="connsiteX1752" fmla="*/ 2889409 w 6400800"/>
                <a:gd name="connsiteY1752" fmla="*/ 173831 h 514350"/>
                <a:gd name="connsiteX1753" fmla="*/ 2890361 w 6400800"/>
                <a:gd name="connsiteY1753" fmla="*/ 195739 h 514350"/>
                <a:gd name="connsiteX1754" fmla="*/ 2891314 w 6400800"/>
                <a:gd name="connsiteY1754" fmla="*/ 211931 h 514350"/>
                <a:gd name="connsiteX1755" fmla="*/ 2887504 w 6400800"/>
                <a:gd name="connsiteY1755" fmla="*/ 217646 h 514350"/>
                <a:gd name="connsiteX1756" fmla="*/ 2885599 w 6400800"/>
                <a:gd name="connsiteY1756" fmla="*/ 221456 h 514350"/>
                <a:gd name="connsiteX1757" fmla="*/ 2880836 w 6400800"/>
                <a:gd name="connsiteY1757" fmla="*/ 195739 h 514350"/>
                <a:gd name="connsiteX1758" fmla="*/ 2874169 w 6400800"/>
                <a:gd name="connsiteY1758" fmla="*/ 166211 h 514350"/>
                <a:gd name="connsiteX1759" fmla="*/ 2867501 w 6400800"/>
                <a:gd name="connsiteY1759" fmla="*/ 144304 h 514350"/>
                <a:gd name="connsiteX1760" fmla="*/ 2860834 w 6400800"/>
                <a:gd name="connsiteY1760" fmla="*/ 125254 h 514350"/>
                <a:gd name="connsiteX1761" fmla="*/ 2863691 w 6400800"/>
                <a:gd name="connsiteY1761" fmla="*/ 145256 h 514350"/>
                <a:gd name="connsiteX1762" fmla="*/ 2866549 w 6400800"/>
                <a:gd name="connsiteY1762" fmla="*/ 168116 h 514350"/>
                <a:gd name="connsiteX1763" fmla="*/ 2869406 w 6400800"/>
                <a:gd name="connsiteY1763" fmla="*/ 197644 h 514350"/>
                <a:gd name="connsiteX1764" fmla="*/ 2872264 w 6400800"/>
                <a:gd name="connsiteY1764" fmla="*/ 232886 h 514350"/>
                <a:gd name="connsiteX1765" fmla="*/ 2873216 w 6400800"/>
                <a:gd name="connsiteY1765" fmla="*/ 247174 h 514350"/>
                <a:gd name="connsiteX1766" fmla="*/ 2864644 w 6400800"/>
                <a:gd name="connsiteY1766" fmla="*/ 270034 h 514350"/>
                <a:gd name="connsiteX1767" fmla="*/ 2863691 w 6400800"/>
                <a:gd name="connsiteY1767" fmla="*/ 274796 h 514350"/>
                <a:gd name="connsiteX1768" fmla="*/ 2855119 w 6400800"/>
                <a:gd name="connsiteY1768" fmla="*/ 257651 h 514350"/>
                <a:gd name="connsiteX1769" fmla="*/ 2841784 w 6400800"/>
                <a:gd name="connsiteY1769" fmla="*/ 230029 h 514350"/>
                <a:gd name="connsiteX1770" fmla="*/ 2855119 w 6400800"/>
                <a:gd name="connsiteY1770" fmla="*/ 226219 h 514350"/>
                <a:gd name="connsiteX1771" fmla="*/ 2853214 w 6400800"/>
                <a:gd name="connsiteY1771" fmla="*/ 231934 h 514350"/>
                <a:gd name="connsiteX1772" fmla="*/ 2840831 w 6400800"/>
                <a:gd name="connsiteY1772" fmla="*/ 209074 h 514350"/>
                <a:gd name="connsiteX1773" fmla="*/ 2866549 w 6400800"/>
                <a:gd name="connsiteY1773" fmla="*/ 150971 h 514350"/>
                <a:gd name="connsiteX1774" fmla="*/ 2835116 w 6400800"/>
                <a:gd name="connsiteY1774" fmla="*/ 198596 h 514350"/>
                <a:gd name="connsiteX1775" fmla="*/ 2829401 w 6400800"/>
                <a:gd name="connsiteY1775" fmla="*/ 188119 h 514350"/>
                <a:gd name="connsiteX1776" fmla="*/ 2820829 w 6400800"/>
                <a:gd name="connsiteY1776" fmla="*/ 132874 h 514350"/>
                <a:gd name="connsiteX1777" fmla="*/ 2821781 w 6400800"/>
                <a:gd name="connsiteY1777" fmla="*/ 173831 h 514350"/>
                <a:gd name="connsiteX1778" fmla="*/ 2807494 w 6400800"/>
                <a:gd name="connsiteY1778" fmla="*/ 151924 h 514350"/>
                <a:gd name="connsiteX1779" fmla="*/ 2782729 w 6400800"/>
                <a:gd name="connsiteY1779" fmla="*/ 115729 h 514350"/>
                <a:gd name="connsiteX1780" fmla="*/ 2759869 w 6400800"/>
                <a:gd name="connsiteY1780" fmla="*/ 85249 h 514350"/>
                <a:gd name="connsiteX1781" fmla="*/ 2778919 w 6400800"/>
                <a:gd name="connsiteY1781" fmla="*/ 118586 h 514350"/>
                <a:gd name="connsiteX1782" fmla="*/ 2799874 w 6400800"/>
                <a:gd name="connsiteY1782" fmla="*/ 156686 h 514350"/>
                <a:gd name="connsiteX1783" fmla="*/ 2812256 w 6400800"/>
                <a:gd name="connsiteY1783" fmla="*/ 180499 h 514350"/>
                <a:gd name="connsiteX1784" fmla="*/ 2820829 w 6400800"/>
                <a:gd name="connsiteY1784" fmla="*/ 197644 h 514350"/>
                <a:gd name="connsiteX1785" fmla="*/ 2820829 w 6400800"/>
                <a:gd name="connsiteY1785" fmla="*/ 204311 h 514350"/>
                <a:gd name="connsiteX1786" fmla="*/ 2821781 w 6400800"/>
                <a:gd name="connsiteY1786" fmla="*/ 218599 h 514350"/>
                <a:gd name="connsiteX1787" fmla="*/ 2817019 w 6400800"/>
                <a:gd name="connsiteY1787" fmla="*/ 227171 h 514350"/>
                <a:gd name="connsiteX1788" fmla="*/ 2806541 w 6400800"/>
                <a:gd name="connsiteY1788" fmla="*/ 211931 h 514350"/>
                <a:gd name="connsiteX1789" fmla="*/ 2805589 w 6400800"/>
                <a:gd name="connsiteY1789" fmla="*/ 210026 h 514350"/>
                <a:gd name="connsiteX1790" fmla="*/ 2806541 w 6400800"/>
                <a:gd name="connsiteY1790" fmla="*/ 208121 h 514350"/>
                <a:gd name="connsiteX1791" fmla="*/ 2805589 w 6400800"/>
                <a:gd name="connsiteY1791" fmla="*/ 209074 h 514350"/>
                <a:gd name="connsiteX1792" fmla="*/ 2792254 w 6400800"/>
                <a:gd name="connsiteY1792" fmla="*/ 191929 h 514350"/>
                <a:gd name="connsiteX1793" fmla="*/ 2767489 w 6400800"/>
                <a:gd name="connsiteY1793" fmla="*/ 161449 h 514350"/>
                <a:gd name="connsiteX1794" fmla="*/ 2765584 w 6400800"/>
                <a:gd name="connsiteY1794" fmla="*/ 158591 h 514350"/>
                <a:gd name="connsiteX1795" fmla="*/ 2765584 w 6400800"/>
                <a:gd name="connsiteY1795" fmla="*/ 155734 h 514350"/>
                <a:gd name="connsiteX1796" fmla="*/ 2762726 w 6400800"/>
                <a:gd name="connsiteY1796" fmla="*/ 128111 h 514350"/>
                <a:gd name="connsiteX1797" fmla="*/ 2759869 w 6400800"/>
                <a:gd name="connsiteY1797" fmla="*/ 103346 h 514350"/>
                <a:gd name="connsiteX1798" fmla="*/ 2758916 w 6400800"/>
                <a:gd name="connsiteY1798" fmla="*/ 128111 h 514350"/>
                <a:gd name="connsiteX1799" fmla="*/ 2758916 w 6400800"/>
                <a:gd name="connsiteY1799" fmla="*/ 150019 h 514350"/>
                <a:gd name="connsiteX1800" fmla="*/ 2745581 w 6400800"/>
                <a:gd name="connsiteY1800" fmla="*/ 135731 h 514350"/>
                <a:gd name="connsiteX1801" fmla="*/ 2758916 w 6400800"/>
                <a:gd name="connsiteY1801" fmla="*/ 153829 h 514350"/>
                <a:gd name="connsiteX1802" fmla="*/ 2758916 w 6400800"/>
                <a:gd name="connsiteY1802" fmla="*/ 155734 h 514350"/>
                <a:gd name="connsiteX1803" fmla="*/ 2758916 w 6400800"/>
                <a:gd name="connsiteY1803" fmla="*/ 172879 h 514350"/>
                <a:gd name="connsiteX1804" fmla="*/ 2759869 w 6400800"/>
                <a:gd name="connsiteY1804" fmla="*/ 191929 h 514350"/>
                <a:gd name="connsiteX1805" fmla="*/ 2761774 w 6400800"/>
                <a:gd name="connsiteY1805" fmla="*/ 219551 h 514350"/>
                <a:gd name="connsiteX1806" fmla="*/ 2760821 w 6400800"/>
                <a:gd name="connsiteY1806" fmla="*/ 217646 h 514350"/>
                <a:gd name="connsiteX1807" fmla="*/ 2760821 w 6400800"/>
                <a:gd name="connsiteY1807" fmla="*/ 216694 h 514350"/>
                <a:gd name="connsiteX1808" fmla="*/ 2760821 w 6400800"/>
                <a:gd name="connsiteY1808" fmla="*/ 217646 h 514350"/>
                <a:gd name="connsiteX1809" fmla="*/ 2741771 w 6400800"/>
                <a:gd name="connsiteY1809" fmla="*/ 172879 h 514350"/>
                <a:gd name="connsiteX1810" fmla="*/ 2757011 w 6400800"/>
                <a:gd name="connsiteY1810" fmla="*/ 228124 h 514350"/>
                <a:gd name="connsiteX1811" fmla="*/ 2743676 w 6400800"/>
                <a:gd name="connsiteY1811" fmla="*/ 268129 h 514350"/>
                <a:gd name="connsiteX1812" fmla="*/ 2736056 w 6400800"/>
                <a:gd name="connsiteY1812" fmla="*/ 254794 h 514350"/>
                <a:gd name="connsiteX1813" fmla="*/ 2737009 w 6400800"/>
                <a:gd name="connsiteY1813" fmla="*/ 232886 h 514350"/>
                <a:gd name="connsiteX1814" fmla="*/ 2732246 w 6400800"/>
                <a:gd name="connsiteY1814" fmla="*/ 249079 h 514350"/>
                <a:gd name="connsiteX1815" fmla="*/ 2730341 w 6400800"/>
                <a:gd name="connsiteY1815" fmla="*/ 246221 h 514350"/>
                <a:gd name="connsiteX1816" fmla="*/ 2731294 w 6400800"/>
                <a:gd name="connsiteY1816" fmla="*/ 250031 h 514350"/>
                <a:gd name="connsiteX1817" fmla="*/ 2729389 w 6400800"/>
                <a:gd name="connsiteY1817" fmla="*/ 258604 h 514350"/>
                <a:gd name="connsiteX1818" fmla="*/ 2729389 w 6400800"/>
                <a:gd name="connsiteY1818" fmla="*/ 247174 h 514350"/>
                <a:gd name="connsiteX1819" fmla="*/ 2731294 w 6400800"/>
                <a:gd name="connsiteY1819" fmla="*/ 218599 h 514350"/>
                <a:gd name="connsiteX1820" fmla="*/ 2733199 w 6400800"/>
                <a:gd name="connsiteY1820" fmla="*/ 219551 h 514350"/>
                <a:gd name="connsiteX1821" fmla="*/ 2736056 w 6400800"/>
                <a:gd name="connsiteY1821" fmla="*/ 222409 h 514350"/>
                <a:gd name="connsiteX1822" fmla="*/ 2738914 w 6400800"/>
                <a:gd name="connsiteY1822" fmla="*/ 230981 h 514350"/>
                <a:gd name="connsiteX1823" fmla="*/ 2737961 w 6400800"/>
                <a:gd name="connsiteY1823" fmla="*/ 222409 h 514350"/>
                <a:gd name="connsiteX1824" fmla="*/ 2735104 w 6400800"/>
                <a:gd name="connsiteY1824" fmla="*/ 218599 h 514350"/>
                <a:gd name="connsiteX1825" fmla="*/ 2730341 w 6400800"/>
                <a:gd name="connsiteY1825" fmla="*/ 216694 h 514350"/>
                <a:gd name="connsiteX1826" fmla="*/ 2728436 w 6400800"/>
                <a:gd name="connsiteY1826" fmla="*/ 216694 h 514350"/>
                <a:gd name="connsiteX1827" fmla="*/ 2728436 w 6400800"/>
                <a:gd name="connsiteY1827" fmla="*/ 218599 h 514350"/>
                <a:gd name="connsiteX1828" fmla="*/ 2721769 w 6400800"/>
                <a:gd name="connsiteY1828" fmla="*/ 248126 h 514350"/>
                <a:gd name="connsiteX1829" fmla="*/ 2719864 w 6400800"/>
                <a:gd name="connsiteY1829" fmla="*/ 260509 h 514350"/>
                <a:gd name="connsiteX1830" fmla="*/ 2717006 w 6400800"/>
                <a:gd name="connsiteY1830" fmla="*/ 254794 h 514350"/>
                <a:gd name="connsiteX1831" fmla="*/ 2717006 w 6400800"/>
                <a:gd name="connsiteY1831" fmla="*/ 253841 h 514350"/>
                <a:gd name="connsiteX1832" fmla="*/ 2718911 w 6400800"/>
                <a:gd name="connsiteY1832" fmla="*/ 238601 h 514350"/>
                <a:gd name="connsiteX1833" fmla="*/ 2716054 w 6400800"/>
                <a:gd name="connsiteY1833" fmla="*/ 247174 h 514350"/>
                <a:gd name="connsiteX1834" fmla="*/ 2716054 w 6400800"/>
                <a:gd name="connsiteY1834" fmla="*/ 176689 h 514350"/>
                <a:gd name="connsiteX1835" fmla="*/ 2713196 w 6400800"/>
                <a:gd name="connsiteY1835" fmla="*/ 198596 h 514350"/>
                <a:gd name="connsiteX1836" fmla="*/ 2709386 w 6400800"/>
                <a:gd name="connsiteY1836" fmla="*/ 230029 h 514350"/>
                <a:gd name="connsiteX1837" fmla="*/ 2704624 w 6400800"/>
                <a:gd name="connsiteY1837" fmla="*/ 218599 h 514350"/>
                <a:gd name="connsiteX1838" fmla="*/ 2703671 w 6400800"/>
                <a:gd name="connsiteY1838" fmla="*/ 199549 h 514350"/>
                <a:gd name="connsiteX1839" fmla="*/ 2703671 w 6400800"/>
                <a:gd name="connsiteY1839" fmla="*/ 163354 h 514350"/>
                <a:gd name="connsiteX1840" fmla="*/ 2706529 w 6400800"/>
                <a:gd name="connsiteY1840" fmla="*/ 164306 h 514350"/>
                <a:gd name="connsiteX1841" fmla="*/ 2710339 w 6400800"/>
                <a:gd name="connsiteY1841" fmla="*/ 167164 h 514350"/>
                <a:gd name="connsiteX1842" fmla="*/ 2714149 w 6400800"/>
                <a:gd name="connsiteY1842" fmla="*/ 176689 h 514350"/>
                <a:gd name="connsiteX1843" fmla="*/ 2712244 w 6400800"/>
                <a:gd name="connsiteY1843" fmla="*/ 166211 h 514350"/>
                <a:gd name="connsiteX1844" fmla="*/ 2708434 w 6400800"/>
                <a:gd name="connsiteY1844" fmla="*/ 161449 h 514350"/>
                <a:gd name="connsiteX1845" fmla="*/ 2702719 w 6400800"/>
                <a:gd name="connsiteY1845" fmla="*/ 159544 h 514350"/>
                <a:gd name="connsiteX1846" fmla="*/ 2700814 w 6400800"/>
                <a:gd name="connsiteY1846" fmla="*/ 159544 h 514350"/>
                <a:gd name="connsiteX1847" fmla="*/ 2700814 w 6400800"/>
                <a:gd name="connsiteY1847" fmla="*/ 161449 h 514350"/>
                <a:gd name="connsiteX1848" fmla="*/ 2697004 w 6400800"/>
                <a:gd name="connsiteY1848" fmla="*/ 193834 h 514350"/>
                <a:gd name="connsiteX1849" fmla="*/ 2693194 w 6400800"/>
                <a:gd name="connsiteY1849" fmla="*/ 181451 h 514350"/>
                <a:gd name="connsiteX1850" fmla="*/ 2697004 w 6400800"/>
                <a:gd name="connsiteY1850" fmla="*/ 198596 h 514350"/>
                <a:gd name="connsiteX1851" fmla="*/ 2697004 w 6400800"/>
                <a:gd name="connsiteY1851" fmla="*/ 198596 h 514350"/>
                <a:gd name="connsiteX1852" fmla="*/ 2696051 w 6400800"/>
                <a:gd name="connsiteY1852" fmla="*/ 236696 h 514350"/>
                <a:gd name="connsiteX1853" fmla="*/ 2697004 w 6400800"/>
                <a:gd name="connsiteY1853" fmla="*/ 262414 h 514350"/>
                <a:gd name="connsiteX1854" fmla="*/ 2697004 w 6400800"/>
                <a:gd name="connsiteY1854" fmla="*/ 263366 h 514350"/>
                <a:gd name="connsiteX1855" fmla="*/ 2696051 w 6400800"/>
                <a:gd name="connsiteY1855" fmla="*/ 265271 h 514350"/>
                <a:gd name="connsiteX1856" fmla="*/ 2694146 w 6400800"/>
                <a:gd name="connsiteY1856" fmla="*/ 261461 h 514350"/>
                <a:gd name="connsiteX1857" fmla="*/ 2685574 w 6400800"/>
                <a:gd name="connsiteY1857" fmla="*/ 246221 h 514350"/>
                <a:gd name="connsiteX1858" fmla="*/ 2677954 w 6400800"/>
                <a:gd name="connsiteY1858" fmla="*/ 210979 h 514350"/>
                <a:gd name="connsiteX1859" fmla="*/ 2676049 w 6400800"/>
                <a:gd name="connsiteY1859" fmla="*/ 200501 h 514350"/>
                <a:gd name="connsiteX1860" fmla="*/ 2681764 w 6400800"/>
                <a:gd name="connsiteY1860" fmla="*/ 173831 h 514350"/>
                <a:gd name="connsiteX1861" fmla="*/ 2687479 w 6400800"/>
                <a:gd name="connsiteY1861" fmla="*/ 144304 h 514350"/>
                <a:gd name="connsiteX1862" fmla="*/ 2691289 w 6400800"/>
                <a:gd name="connsiteY1862" fmla="*/ 118586 h 514350"/>
                <a:gd name="connsiteX1863" fmla="*/ 2683669 w 6400800"/>
                <a:gd name="connsiteY1863" fmla="*/ 143351 h 514350"/>
                <a:gd name="connsiteX1864" fmla="*/ 2677954 w 6400800"/>
                <a:gd name="connsiteY1864" fmla="*/ 162401 h 514350"/>
                <a:gd name="connsiteX1865" fmla="*/ 2673191 w 6400800"/>
                <a:gd name="connsiteY1865" fmla="*/ 176689 h 514350"/>
                <a:gd name="connsiteX1866" fmla="*/ 2673191 w 6400800"/>
                <a:gd name="connsiteY1866" fmla="*/ 177641 h 514350"/>
                <a:gd name="connsiteX1867" fmla="*/ 2672239 w 6400800"/>
                <a:gd name="connsiteY1867" fmla="*/ 173831 h 514350"/>
                <a:gd name="connsiteX1868" fmla="*/ 2666524 w 6400800"/>
                <a:gd name="connsiteY1868" fmla="*/ 146209 h 514350"/>
                <a:gd name="connsiteX1869" fmla="*/ 2661761 w 6400800"/>
                <a:gd name="connsiteY1869" fmla="*/ 121444 h 514350"/>
                <a:gd name="connsiteX1870" fmla="*/ 2662714 w 6400800"/>
                <a:gd name="connsiteY1870" fmla="*/ 146209 h 514350"/>
                <a:gd name="connsiteX1871" fmla="*/ 2666524 w 6400800"/>
                <a:gd name="connsiteY1871" fmla="*/ 196691 h 514350"/>
                <a:gd name="connsiteX1872" fmla="*/ 2665571 w 6400800"/>
                <a:gd name="connsiteY1872" fmla="*/ 200501 h 514350"/>
                <a:gd name="connsiteX1873" fmla="*/ 2664619 w 6400800"/>
                <a:gd name="connsiteY1873" fmla="*/ 204311 h 514350"/>
                <a:gd name="connsiteX1874" fmla="*/ 2649379 w 6400800"/>
                <a:gd name="connsiteY1874" fmla="*/ 174784 h 514350"/>
                <a:gd name="connsiteX1875" fmla="*/ 2634139 w 6400800"/>
                <a:gd name="connsiteY1875" fmla="*/ 141446 h 514350"/>
                <a:gd name="connsiteX1876" fmla="*/ 2646521 w 6400800"/>
                <a:gd name="connsiteY1876" fmla="*/ 176689 h 514350"/>
                <a:gd name="connsiteX1877" fmla="*/ 2661761 w 6400800"/>
                <a:gd name="connsiteY1877" fmla="*/ 214789 h 514350"/>
                <a:gd name="connsiteX1878" fmla="*/ 2660809 w 6400800"/>
                <a:gd name="connsiteY1878" fmla="*/ 216694 h 514350"/>
                <a:gd name="connsiteX1879" fmla="*/ 2652236 w 6400800"/>
                <a:gd name="connsiteY1879" fmla="*/ 201454 h 514350"/>
                <a:gd name="connsiteX1880" fmla="*/ 2648426 w 6400800"/>
                <a:gd name="connsiteY1880" fmla="*/ 196691 h 514350"/>
                <a:gd name="connsiteX1881" fmla="*/ 2651284 w 6400800"/>
                <a:gd name="connsiteY1881" fmla="*/ 202406 h 514350"/>
                <a:gd name="connsiteX1882" fmla="*/ 2657951 w 6400800"/>
                <a:gd name="connsiteY1882" fmla="*/ 218599 h 514350"/>
                <a:gd name="connsiteX1883" fmla="*/ 2658904 w 6400800"/>
                <a:gd name="connsiteY1883" fmla="*/ 223361 h 514350"/>
                <a:gd name="connsiteX1884" fmla="*/ 2657951 w 6400800"/>
                <a:gd name="connsiteY1884" fmla="*/ 226219 h 514350"/>
                <a:gd name="connsiteX1885" fmla="*/ 2647474 w 6400800"/>
                <a:gd name="connsiteY1885" fmla="*/ 193834 h 514350"/>
                <a:gd name="connsiteX1886" fmla="*/ 2638901 w 6400800"/>
                <a:gd name="connsiteY1886" fmla="*/ 169069 h 514350"/>
                <a:gd name="connsiteX1887" fmla="*/ 2631281 w 6400800"/>
                <a:gd name="connsiteY1887" fmla="*/ 147161 h 514350"/>
                <a:gd name="connsiteX1888" fmla="*/ 2635091 w 6400800"/>
                <a:gd name="connsiteY1888" fmla="*/ 170021 h 514350"/>
                <a:gd name="connsiteX1889" fmla="*/ 2647474 w 6400800"/>
                <a:gd name="connsiteY1889" fmla="*/ 230029 h 514350"/>
                <a:gd name="connsiteX1890" fmla="*/ 2651284 w 6400800"/>
                <a:gd name="connsiteY1890" fmla="*/ 247174 h 514350"/>
                <a:gd name="connsiteX1891" fmla="*/ 2642711 w 6400800"/>
                <a:gd name="connsiteY1891" fmla="*/ 273844 h 514350"/>
                <a:gd name="connsiteX1892" fmla="*/ 2640806 w 6400800"/>
                <a:gd name="connsiteY1892" fmla="*/ 270034 h 514350"/>
                <a:gd name="connsiteX1893" fmla="*/ 2639854 w 6400800"/>
                <a:gd name="connsiteY1893" fmla="*/ 268129 h 514350"/>
                <a:gd name="connsiteX1894" fmla="*/ 2643664 w 6400800"/>
                <a:gd name="connsiteY1894" fmla="*/ 220504 h 514350"/>
                <a:gd name="connsiteX1895" fmla="*/ 2636996 w 6400800"/>
                <a:gd name="connsiteY1895" fmla="*/ 247174 h 514350"/>
                <a:gd name="connsiteX1896" fmla="*/ 2636044 w 6400800"/>
                <a:gd name="connsiteY1896" fmla="*/ 204311 h 514350"/>
                <a:gd name="connsiteX1897" fmla="*/ 2630329 w 6400800"/>
                <a:gd name="connsiteY1897" fmla="*/ 240506 h 514350"/>
                <a:gd name="connsiteX1898" fmla="*/ 2623661 w 6400800"/>
                <a:gd name="connsiteY1898" fmla="*/ 206216 h 514350"/>
                <a:gd name="connsiteX1899" fmla="*/ 2610326 w 6400800"/>
                <a:gd name="connsiteY1899" fmla="*/ 147161 h 514350"/>
                <a:gd name="connsiteX1900" fmla="*/ 2615089 w 6400800"/>
                <a:gd name="connsiteY1900" fmla="*/ 137636 h 514350"/>
                <a:gd name="connsiteX1901" fmla="*/ 2610326 w 6400800"/>
                <a:gd name="connsiteY1901" fmla="*/ 145256 h 514350"/>
                <a:gd name="connsiteX1902" fmla="*/ 2609374 w 6400800"/>
                <a:gd name="connsiteY1902" fmla="*/ 143351 h 514350"/>
                <a:gd name="connsiteX1903" fmla="*/ 2603659 w 6400800"/>
                <a:gd name="connsiteY1903" fmla="*/ 119539 h 514350"/>
                <a:gd name="connsiteX1904" fmla="*/ 2605564 w 6400800"/>
                <a:gd name="connsiteY1904" fmla="*/ 144304 h 514350"/>
                <a:gd name="connsiteX1905" fmla="*/ 2606516 w 6400800"/>
                <a:gd name="connsiteY1905" fmla="*/ 150971 h 514350"/>
                <a:gd name="connsiteX1906" fmla="*/ 2600801 w 6400800"/>
                <a:gd name="connsiteY1906" fmla="*/ 158591 h 514350"/>
                <a:gd name="connsiteX1907" fmla="*/ 2589371 w 6400800"/>
                <a:gd name="connsiteY1907" fmla="*/ 175736 h 514350"/>
                <a:gd name="connsiteX1908" fmla="*/ 2588419 w 6400800"/>
                <a:gd name="connsiteY1908" fmla="*/ 171926 h 514350"/>
                <a:gd name="connsiteX1909" fmla="*/ 2583656 w 6400800"/>
                <a:gd name="connsiteY1909" fmla="*/ 147161 h 514350"/>
                <a:gd name="connsiteX1910" fmla="*/ 2584609 w 6400800"/>
                <a:gd name="connsiteY1910" fmla="*/ 171926 h 514350"/>
                <a:gd name="connsiteX1911" fmla="*/ 2585561 w 6400800"/>
                <a:gd name="connsiteY1911" fmla="*/ 182404 h 514350"/>
                <a:gd name="connsiteX1912" fmla="*/ 2585561 w 6400800"/>
                <a:gd name="connsiteY1912" fmla="*/ 182404 h 514350"/>
                <a:gd name="connsiteX1913" fmla="*/ 2576036 w 6400800"/>
                <a:gd name="connsiteY1913" fmla="*/ 198596 h 514350"/>
                <a:gd name="connsiteX1914" fmla="*/ 2574131 w 6400800"/>
                <a:gd name="connsiteY1914" fmla="*/ 177641 h 514350"/>
                <a:gd name="connsiteX1915" fmla="*/ 2573179 w 6400800"/>
                <a:gd name="connsiteY1915" fmla="*/ 157639 h 514350"/>
                <a:gd name="connsiteX1916" fmla="*/ 2571274 w 6400800"/>
                <a:gd name="connsiteY1916" fmla="*/ 170974 h 514350"/>
                <a:gd name="connsiteX1917" fmla="*/ 2571274 w 6400800"/>
                <a:gd name="connsiteY1917" fmla="*/ 170021 h 514350"/>
                <a:gd name="connsiteX1918" fmla="*/ 2569369 w 6400800"/>
                <a:gd name="connsiteY1918" fmla="*/ 149066 h 514350"/>
                <a:gd name="connsiteX1919" fmla="*/ 2568416 w 6400800"/>
                <a:gd name="connsiteY1919" fmla="*/ 130016 h 514350"/>
                <a:gd name="connsiteX1920" fmla="*/ 2567464 w 6400800"/>
                <a:gd name="connsiteY1920" fmla="*/ 99536 h 514350"/>
                <a:gd name="connsiteX1921" fmla="*/ 2566511 w 6400800"/>
                <a:gd name="connsiteY1921" fmla="*/ 72866 h 514350"/>
                <a:gd name="connsiteX1922" fmla="*/ 2562701 w 6400800"/>
                <a:gd name="connsiteY1922" fmla="*/ 99536 h 514350"/>
                <a:gd name="connsiteX1923" fmla="*/ 2560796 w 6400800"/>
                <a:gd name="connsiteY1923" fmla="*/ 130016 h 514350"/>
                <a:gd name="connsiteX1924" fmla="*/ 2559844 w 6400800"/>
                <a:gd name="connsiteY1924" fmla="*/ 149066 h 514350"/>
                <a:gd name="connsiteX1925" fmla="*/ 2559844 w 6400800"/>
                <a:gd name="connsiteY1925" fmla="*/ 170021 h 514350"/>
                <a:gd name="connsiteX1926" fmla="*/ 2560796 w 6400800"/>
                <a:gd name="connsiteY1926" fmla="*/ 195739 h 514350"/>
                <a:gd name="connsiteX1927" fmla="*/ 2558891 w 6400800"/>
                <a:gd name="connsiteY1927" fmla="*/ 191929 h 514350"/>
                <a:gd name="connsiteX1928" fmla="*/ 2561749 w 6400800"/>
                <a:gd name="connsiteY1928" fmla="*/ 200501 h 514350"/>
                <a:gd name="connsiteX1929" fmla="*/ 2562701 w 6400800"/>
                <a:gd name="connsiteY1929" fmla="*/ 217646 h 514350"/>
                <a:gd name="connsiteX1930" fmla="*/ 2562701 w 6400800"/>
                <a:gd name="connsiteY1930" fmla="*/ 223361 h 514350"/>
                <a:gd name="connsiteX1931" fmla="*/ 2551271 w 6400800"/>
                <a:gd name="connsiteY1931" fmla="*/ 247174 h 514350"/>
                <a:gd name="connsiteX1932" fmla="*/ 2549366 w 6400800"/>
                <a:gd name="connsiteY1932" fmla="*/ 230029 h 514350"/>
                <a:gd name="connsiteX1933" fmla="*/ 2555081 w 6400800"/>
                <a:gd name="connsiteY1933" fmla="*/ 212884 h 514350"/>
                <a:gd name="connsiteX1934" fmla="*/ 2546509 w 6400800"/>
                <a:gd name="connsiteY1934" fmla="*/ 228124 h 514350"/>
                <a:gd name="connsiteX1935" fmla="*/ 2547461 w 6400800"/>
                <a:gd name="connsiteY1935" fmla="*/ 222409 h 514350"/>
                <a:gd name="connsiteX1936" fmla="*/ 2553176 w 6400800"/>
                <a:gd name="connsiteY1936" fmla="*/ 196691 h 514350"/>
                <a:gd name="connsiteX1937" fmla="*/ 2543651 w 6400800"/>
                <a:gd name="connsiteY1937" fmla="*/ 221456 h 514350"/>
                <a:gd name="connsiteX1938" fmla="*/ 2536984 w 6400800"/>
                <a:gd name="connsiteY1938" fmla="*/ 246221 h 514350"/>
                <a:gd name="connsiteX1939" fmla="*/ 2536984 w 6400800"/>
                <a:gd name="connsiteY1939" fmla="*/ 244316 h 514350"/>
                <a:gd name="connsiteX1940" fmla="*/ 2534126 w 6400800"/>
                <a:gd name="connsiteY1940" fmla="*/ 221456 h 514350"/>
                <a:gd name="connsiteX1941" fmla="*/ 2533174 w 6400800"/>
                <a:gd name="connsiteY1941" fmla="*/ 244316 h 514350"/>
                <a:gd name="connsiteX1942" fmla="*/ 2533174 w 6400800"/>
                <a:gd name="connsiteY1942" fmla="*/ 250984 h 514350"/>
                <a:gd name="connsiteX1943" fmla="*/ 2532221 w 6400800"/>
                <a:gd name="connsiteY1943" fmla="*/ 245269 h 514350"/>
                <a:gd name="connsiteX1944" fmla="*/ 2524601 w 6400800"/>
                <a:gd name="connsiteY1944" fmla="*/ 213836 h 514350"/>
                <a:gd name="connsiteX1945" fmla="*/ 2517934 w 6400800"/>
                <a:gd name="connsiteY1945" fmla="*/ 190024 h 514350"/>
                <a:gd name="connsiteX1946" fmla="*/ 2511266 w 6400800"/>
                <a:gd name="connsiteY1946" fmla="*/ 169069 h 514350"/>
                <a:gd name="connsiteX1947" fmla="*/ 2514124 w 6400800"/>
                <a:gd name="connsiteY1947" fmla="*/ 190976 h 514350"/>
                <a:gd name="connsiteX1948" fmla="*/ 2516981 w 6400800"/>
                <a:gd name="connsiteY1948" fmla="*/ 215741 h 514350"/>
                <a:gd name="connsiteX1949" fmla="*/ 2520791 w 6400800"/>
                <a:gd name="connsiteY1949" fmla="*/ 248126 h 514350"/>
                <a:gd name="connsiteX1950" fmla="*/ 2523649 w 6400800"/>
                <a:gd name="connsiteY1950" fmla="*/ 277654 h 514350"/>
                <a:gd name="connsiteX1951" fmla="*/ 2521744 w 6400800"/>
                <a:gd name="connsiteY1951" fmla="*/ 282416 h 514350"/>
                <a:gd name="connsiteX1952" fmla="*/ 2516981 w 6400800"/>
                <a:gd name="connsiteY1952" fmla="*/ 263366 h 514350"/>
                <a:gd name="connsiteX1953" fmla="*/ 2511266 w 6400800"/>
                <a:gd name="connsiteY1953" fmla="*/ 243364 h 514350"/>
                <a:gd name="connsiteX1954" fmla="*/ 2513171 w 6400800"/>
                <a:gd name="connsiteY1954" fmla="*/ 264319 h 514350"/>
                <a:gd name="connsiteX1955" fmla="*/ 2514124 w 6400800"/>
                <a:gd name="connsiteY1955" fmla="*/ 277654 h 514350"/>
                <a:gd name="connsiteX1956" fmla="*/ 2504599 w 6400800"/>
                <a:gd name="connsiteY1956" fmla="*/ 256699 h 514350"/>
                <a:gd name="connsiteX1957" fmla="*/ 2504599 w 6400800"/>
                <a:gd name="connsiteY1957" fmla="*/ 253841 h 514350"/>
                <a:gd name="connsiteX1958" fmla="*/ 2503646 w 6400800"/>
                <a:gd name="connsiteY1958" fmla="*/ 255746 h 514350"/>
                <a:gd name="connsiteX1959" fmla="*/ 2497931 w 6400800"/>
                <a:gd name="connsiteY1959" fmla="*/ 243364 h 514350"/>
                <a:gd name="connsiteX1960" fmla="*/ 2502694 w 6400800"/>
                <a:gd name="connsiteY1960" fmla="*/ 259556 h 514350"/>
                <a:gd name="connsiteX1961" fmla="*/ 2499836 w 6400800"/>
                <a:gd name="connsiteY1961" fmla="*/ 267176 h 514350"/>
                <a:gd name="connsiteX1962" fmla="*/ 2498884 w 6400800"/>
                <a:gd name="connsiteY1962" fmla="*/ 270034 h 514350"/>
                <a:gd name="connsiteX1963" fmla="*/ 2494121 w 6400800"/>
                <a:gd name="connsiteY1963" fmla="*/ 223361 h 514350"/>
                <a:gd name="connsiteX1964" fmla="*/ 2496026 w 6400800"/>
                <a:gd name="connsiteY1964" fmla="*/ 220504 h 514350"/>
                <a:gd name="connsiteX1965" fmla="*/ 2506504 w 6400800"/>
                <a:gd name="connsiteY1965" fmla="*/ 203359 h 514350"/>
                <a:gd name="connsiteX1966" fmla="*/ 2510314 w 6400800"/>
                <a:gd name="connsiteY1966" fmla="*/ 197644 h 514350"/>
                <a:gd name="connsiteX1967" fmla="*/ 2505551 w 6400800"/>
                <a:gd name="connsiteY1967" fmla="*/ 203359 h 514350"/>
                <a:gd name="connsiteX1968" fmla="*/ 2493169 w 6400800"/>
                <a:gd name="connsiteY1968" fmla="*/ 217646 h 514350"/>
                <a:gd name="connsiteX1969" fmla="*/ 2493169 w 6400800"/>
                <a:gd name="connsiteY1969" fmla="*/ 216694 h 514350"/>
                <a:gd name="connsiteX1970" fmla="*/ 2491264 w 6400800"/>
                <a:gd name="connsiteY1970" fmla="*/ 196691 h 514350"/>
                <a:gd name="connsiteX1971" fmla="*/ 2501741 w 6400800"/>
                <a:gd name="connsiteY1971" fmla="*/ 183356 h 514350"/>
                <a:gd name="connsiteX1972" fmla="*/ 2490311 w 6400800"/>
                <a:gd name="connsiteY1972" fmla="*/ 192881 h 514350"/>
                <a:gd name="connsiteX1973" fmla="*/ 2489359 w 6400800"/>
                <a:gd name="connsiteY1973" fmla="*/ 176689 h 514350"/>
                <a:gd name="connsiteX1974" fmla="*/ 2497931 w 6400800"/>
                <a:gd name="connsiteY1974" fmla="*/ 165259 h 514350"/>
                <a:gd name="connsiteX1975" fmla="*/ 2502694 w 6400800"/>
                <a:gd name="connsiteY1975" fmla="*/ 159544 h 514350"/>
                <a:gd name="connsiteX1976" fmla="*/ 2496979 w 6400800"/>
                <a:gd name="connsiteY1976" fmla="*/ 164306 h 514350"/>
                <a:gd name="connsiteX1977" fmla="*/ 2489359 w 6400800"/>
                <a:gd name="connsiteY1977" fmla="*/ 171926 h 514350"/>
                <a:gd name="connsiteX1978" fmla="*/ 2488406 w 6400800"/>
                <a:gd name="connsiteY1978" fmla="*/ 153829 h 514350"/>
                <a:gd name="connsiteX1979" fmla="*/ 2487454 w 6400800"/>
                <a:gd name="connsiteY1979" fmla="*/ 135731 h 514350"/>
                <a:gd name="connsiteX1980" fmla="*/ 2494121 w 6400800"/>
                <a:gd name="connsiteY1980" fmla="*/ 125254 h 514350"/>
                <a:gd name="connsiteX1981" fmla="*/ 2487454 w 6400800"/>
                <a:gd name="connsiteY1981" fmla="*/ 132874 h 514350"/>
                <a:gd name="connsiteX1982" fmla="*/ 2487454 w 6400800"/>
                <a:gd name="connsiteY1982" fmla="*/ 129064 h 514350"/>
                <a:gd name="connsiteX1983" fmla="*/ 2486501 w 6400800"/>
                <a:gd name="connsiteY1983" fmla="*/ 132874 h 514350"/>
                <a:gd name="connsiteX1984" fmla="*/ 2475071 w 6400800"/>
                <a:gd name="connsiteY1984" fmla="*/ 146209 h 514350"/>
                <a:gd name="connsiteX1985" fmla="*/ 2455069 w 6400800"/>
                <a:gd name="connsiteY1985" fmla="*/ 171926 h 514350"/>
                <a:gd name="connsiteX1986" fmla="*/ 2442686 w 6400800"/>
                <a:gd name="connsiteY1986" fmla="*/ 188119 h 514350"/>
                <a:gd name="connsiteX1987" fmla="*/ 2433161 w 6400800"/>
                <a:gd name="connsiteY1987" fmla="*/ 203359 h 514350"/>
                <a:gd name="connsiteX1988" fmla="*/ 2432209 w 6400800"/>
                <a:gd name="connsiteY1988" fmla="*/ 191929 h 514350"/>
                <a:gd name="connsiteX1989" fmla="*/ 2425541 w 6400800"/>
                <a:gd name="connsiteY1989" fmla="*/ 110966 h 514350"/>
                <a:gd name="connsiteX1990" fmla="*/ 2424589 w 6400800"/>
                <a:gd name="connsiteY1990" fmla="*/ 88106 h 514350"/>
                <a:gd name="connsiteX1991" fmla="*/ 2424589 w 6400800"/>
                <a:gd name="connsiteY1991" fmla="*/ 80486 h 514350"/>
                <a:gd name="connsiteX1992" fmla="*/ 2423636 w 6400800"/>
                <a:gd name="connsiteY1992" fmla="*/ 88106 h 514350"/>
                <a:gd name="connsiteX1993" fmla="*/ 2421731 w 6400800"/>
                <a:gd name="connsiteY1993" fmla="*/ 110966 h 514350"/>
                <a:gd name="connsiteX1994" fmla="*/ 2420779 w 6400800"/>
                <a:gd name="connsiteY1994" fmla="*/ 146209 h 514350"/>
                <a:gd name="connsiteX1995" fmla="*/ 2421731 w 6400800"/>
                <a:gd name="connsiteY1995" fmla="*/ 191929 h 514350"/>
                <a:gd name="connsiteX1996" fmla="*/ 2422684 w 6400800"/>
                <a:gd name="connsiteY1996" fmla="*/ 220504 h 514350"/>
                <a:gd name="connsiteX1997" fmla="*/ 2405539 w 6400800"/>
                <a:gd name="connsiteY1997" fmla="*/ 250031 h 514350"/>
                <a:gd name="connsiteX1998" fmla="*/ 2401729 w 6400800"/>
                <a:gd name="connsiteY1998" fmla="*/ 256699 h 514350"/>
                <a:gd name="connsiteX1999" fmla="*/ 2400776 w 6400800"/>
                <a:gd name="connsiteY1999" fmla="*/ 255746 h 514350"/>
                <a:gd name="connsiteX2000" fmla="*/ 2392204 w 6400800"/>
                <a:gd name="connsiteY2000" fmla="*/ 233839 h 514350"/>
                <a:gd name="connsiteX2001" fmla="*/ 2385536 w 6400800"/>
                <a:gd name="connsiteY2001" fmla="*/ 170974 h 514350"/>
                <a:gd name="connsiteX2002" fmla="*/ 2382679 w 6400800"/>
                <a:gd name="connsiteY2002" fmla="*/ 150971 h 514350"/>
                <a:gd name="connsiteX2003" fmla="*/ 2384584 w 6400800"/>
                <a:gd name="connsiteY2003" fmla="*/ 140494 h 514350"/>
                <a:gd name="connsiteX2004" fmla="*/ 2382679 w 6400800"/>
                <a:gd name="connsiteY2004" fmla="*/ 135731 h 514350"/>
                <a:gd name="connsiteX2005" fmla="*/ 2390299 w 6400800"/>
                <a:gd name="connsiteY2005" fmla="*/ 114776 h 514350"/>
                <a:gd name="connsiteX2006" fmla="*/ 2427446 w 6400800"/>
                <a:gd name="connsiteY2006" fmla="*/ 12859 h 514350"/>
                <a:gd name="connsiteX2007" fmla="*/ 2380774 w 6400800"/>
                <a:gd name="connsiteY2007" fmla="*/ 110014 h 514350"/>
                <a:gd name="connsiteX2008" fmla="*/ 2358866 w 6400800"/>
                <a:gd name="connsiteY2008" fmla="*/ 157639 h 514350"/>
                <a:gd name="connsiteX2009" fmla="*/ 2355056 w 6400800"/>
                <a:gd name="connsiteY2009" fmla="*/ 166211 h 514350"/>
                <a:gd name="connsiteX2010" fmla="*/ 2357914 w 6400800"/>
                <a:gd name="connsiteY2010" fmla="*/ 155734 h 514350"/>
                <a:gd name="connsiteX2011" fmla="*/ 2362676 w 6400800"/>
                <a:gd name="connsiteY2011" fmla="*/ 132874 h 514350"/>
                <a:gd name="connsiteX2012" fmla="*/ 2354104 w 6400800"/>
                <a:gd name="connsiteY2012" fmla="*/ 154781 h 514350"/>
                <a:gd name="connsiteX2013" fmla="*/ 2344579 w 6400800"/>
                <a:gd name="connsiteY2013" fmla="*/ 179546 h 514350"/>
                <a:gd name="connsiteX2014" fmla="*/ 2334101 w 6400800"/>
                <a:gd name="connsiteY2014" fmla="*/ 211931 h 514350"/>
                <a:gd name="connsiteX2015" fmla="*/ 2334101 w 6400800"/>
                <a:gd name="connsiteY2015" fmla="*/ 211931 h 514350"/>
                <a:gd name="connsiteX2016" fmla="*/ 2340769 w 6400800"/>
                <a:gd name="connsiteY2016" fmla="*/ 171926 h 514350"/>
                <a:gd name="connsiteX2017" fmla="*/ 2347436 w 6400800"/>
                <a:gd name="connsiteY2017" fmla="*/ 130969 h 514350"/>
                <a:gd name="connsiteX2018" fmla="*/ 2354104 w 6400800"/>
                <a:gd name="connsiteY2018" fmla="*/ 99536 h 514350"/>
                <a:gd name="connsiteX2019" fmla="*/ 2358866 w 6400800"/>
                <a:gd name="connsiteY2019" fmla="*/ 71914 h 514350"/>
                <a:gd name="connsiteX2020" fmla="*/ 2350294 w 6400800"/>
                <a:gd name="connsiteY2020" fmla="*/ 98584 h 514350"/>
                <a:gd name="connsiteX2021" fmla="*/ 2340769 w 6400800"/>
                <a:gd name="connsiteY2021" fmla="*/ 129064 h 514350"/>
                <a:gd name="connsiteX2022" fmla="*/ 2330291 w 6400800"/>
                <a:gd name="connsiteY2022" fmla="*/ 170021 h 514350"/>
                <a:gd name="connsiteX2023" fmla="*/ 2324576 w 6400800"/>
                <a:gd name="connsiteY2023" fmla="*/ 193834 h 514350"/>
                <a:gd name="connsiteX2024" fmla="*/ 2320766 w 6400800"/>
                <a:gd name="connsiteY2024" fmla="*/ 185261 h 514350"/>
                <a:gd name="connsiteX2025" fmla="*/ 2326481 w 6400800"/>
                <a:gd name="connsiteY2025" fmla="*/ 157639 h 514350"/>
                <a:gd name="connsiteX2026" fmla="*/ 2318861 w 6400800"/>
                <a:gd name="connsiteY2026" fmla="*/ 179546 h 514350"/>
                <a:gd name="connsiteX2027" fmla="*/ 2315051 w 6400800"/>
                <a:gd name="connsiteY2027" fmla="*/ 170974 h 514350"/>
                <a:gd name="connsiteX2028" fmla="*/ 2317909 w 6400800"/>
                <a:gd name="connsiteY2028" fmla="*/ 181451 h 514350"/>
                <a:gd name="connsiteX2029" fmla="*/ 2313146 w 6400800"/>
                <a:gd name="connsiteY2029" fmla="*/ 193834 h 514350"/>
                <a:gd name="connsiteX2030" fmla="*/ 2311241 w 6400800"/>
                <a:gd name="connsiteY2030" fmla="*/ 190976 h 514350"/>
                <a:gd name="connsiteX2031" fmla="*/ 2314099 w 6400800"/>
                <a:gd name="connsiteY2031" fmla="*/ 141446 h 514350"/>
                <a:gd name="connsiteX2032" fmla="*/ 2298859 w 6400800"/>
                <a:gd name="connsiteY2032" fmla="*/ 202406 h 514350"/>
                <a:gd name="connsiteX2033" fmla="*/ 2292191 w 6400800"/>
                <a:gd name="connsiteY2033" fmla="*/ 231934 h 514350"/>
                <a:gd name="connsiteX2034" fmla="*/ 2289334 w 6400800"/>
                <a:gd name="connsiteY2034" fmla="*/ 250031 h 514350"/>
                <a:gd name="connsiteX2035" fmla="*/ 2285524 w 6400800"/>
                <a:gd name="connsiteY2035" fmla="*/ 259556 h 514350"/>
                <a:gd name="connsiteX2036" fmla="*/ 2275999 w 6400800"/>
                <a:gd name="connsiteY2036" fmla="*/ 287179 h 514350"/>
                <a:gd name="connsiteX2037" fmla="*/ 2275999 w 6400800"/>
                <a:gd name="connsiteY2037" fmla="*/ 288131 h 514350"/>
                <a:gd name="connsiteX2038" fmla="*/ 2275999 w 6400800"/>
                <a:gd name="connsiteY2038" fmla="*/ 282416 h 514350"/>
                <a:gd name="connsiteX2039" fmla="*/ 2276951 w 6400800"/>
                <a:gd name="connsiteY2039" fmla="*/ 265271 h 514350"/>
                <a:gd name="connsiteX2040" fmla="*/ 2272189 w 6400800"/>
                <a:gd name="connsiteY2040" fmla="*/ 281464 h 514350"/>
                <a:gd name="connsiteX2041" fmla="*/ 2269331 w 6400800"/>
                <a:gd name="connsiteY2041" fmla="*/ 290989 h 514350"/>
                <a:gd name="connsiteX2042" fmla="*/ 2269331 w 6400800"/>
                <a:gd name="connsiteY2042" fmla="*/ 290989 h 514350"/>
                <a:gd name="connsiteX2043" fmla="*/ 2269331 w 6400800"/>
                <a:gd name="connsiteY2043" fmla="*/ 261461 h 514350"/>
                <a:gd name="connsiteX2044" fmla="*/ 2270284 w 6400800"/>
                <a:gd name="connsiteY2044" fmla="*/ 238601 h 514350"/>
                <a:gd name="connsiteX2045" fmla="*/ 2272189 w 6400800"/>
                <a:gd name="connsiteY2045" fmla="*/ 225266 h 514350"/>
                <a:gd name="connsiteX2046" fmla="*/ 2275999 w 6400800"/>
                <a:gd name="connsiteY2046" fmla="*/ 210979 h 514350"/>
                <a:gd name="connsiteX2047" fmla="*/ 2266474 w 6400800"/>
                <a:gd name="connsiteY2047" fmla="*/ 232886 h 514350"/>
                <a:gd name="connsiteX2048" fmla="*/ 2267426 w 6400800"/>
                <a:gd name="connsiteY2048" fmla="*/ 228124 h 514350"/>
                <a:gd name="connsiteX2049" fmla="*/ 2263616 w 6400800"/>
                <a:gd name="connsiteY2049" fmla="*/ 235744 h 514350"/>
                <a:gd name="connsiteX2050" fmla="*/ 2265521 w 6400800"/>
                <a:gd name="connsiteY2050" fmla="*/ 220504 h 514350"/>
                <a:gd name="connsiteX2051" fmla="*/ 2256949 w 6400800"/>
                <a:gd name="connsiteY2051" fmla="*/ 247174 h 514350"/>
                <a:gd name="connsiteX2052" fmla="*/ 2252186 w 6400800"/>
                <a:gd name="connsiteY2052" fmla="*/ 258604 h 514350"/>
                <a:gd name="connsiteX2053" fmla="*/ 2250281 w 6400800"/>
                <a:gd name="connsiteY2053" fmla="*/ 262414 h 514350"/>
                <a:gd name="connsiteX2054" fmla="*/ 2255044 w 6400800"/>
                <a:gd name="connsiteY2054" fmla="*/ 243364 h 514350"/>
                <a:gd name="connsiteX2055" fmla="*/ 2267426 w 6400800"/>
                <a:gd name="connsiteY2055" fmla="*/ 178594 h 514350"/>
                <a:gd name="connsiteX2056" fmla="*/ 2270284 w 6400800"/>
                <a:gd name="connsiteY2056" fmla="*/ 153829 h 514350"/>
                <a:gd name="connsiteX2057" fmla="*/ 2262664 w 6400800"/>
                <a:gd name="connsiteY2057" fmla="*/ 177641 h 514350"/>
                <a:gd name="connsiteX2058" fmla="*/ 2254091 w 6400800"/>
                <a:gd name="connsiteY2058" fmla="*/ 205264 h 514350"/>
                <a:gd name="connsiteX2059" fmla="*/ 2246471 w 6400800"/>
                <a:gd name="connsiteY2059" fmla="*/ 230981 h 514350"/>
                <a:gd name="connsiteX2060" fmla="*/ 2241709 w 6400800"/>
                <a:gd name="connsiteY2060" fmla="*/ 244316 h 514350"/>
                <a:gd name="connsiteX2061" fmla="*/ 2239804 w 6400800"/>
                <a:gd name="connsiteY2061" fmla="*/ 233839 h 514350"/>
                <a:gd name="connsiteX2062" fmla="*/ 2233136 w 6400800"/>
                <a:gd name="connsiteY2062" fmla="*/ 205264 h 514350"/>
                <a:gd name="connsiteX2063" fmla="*/ 2237899 w 6400800"/>
                <a:gd name="connsiteY2063" fmla="*/ 255746 h 514350"/>
                <a:gd name="connsiteX2064" fmla="*/ 2234089 w 6400800"/>
                <a:gd name="connsiteY2064" fmla="*/ 269081 h 514350"/>
                <a:gd name="connsiteX2065" fmla="*/ 2233136 w 6400800"/>
                <a:gd name="connsiteY2065" fmla="*/ 270034 h 514350"/>
                <a:gd name="connsiteX2066" fmla="*/ 2233136 w 6400800"/>
                <a:gd name="connsiteY2066" fmla="*/ 263366 h 514350"/>
                <a:gd name="connsiteX2067" fmla="*/ 2231231 w 6400800"/>
                <a:gd name="connsiteY2067" fmla="*/ 234791 h 514350"/>
                <a:gd name="connsiteX2068" fmla="*/ 2228374 w 6400800"/>
                <a:gd name="connsiteY2068" fmla="*/ 207169 h 514350"/>
                <a:gd name="connsiteX2069" fmla="*/ 2230279 w 6400800"/>
                <a:gd name="connsiteY2069" fmla="*/ 193834 h 514350"/>
                <a:gd name="connsiteX2070" fmla="*/ 2226469 w 6400800"/>
                <a:gd name="connsiteY2070" fmla="*/ 204311 h 514350"/>
                <a:gd name="connsiteX2071" fmla="*/ 2222659 w 6400800"/>
                <a:gd name="connsiteY2071" fmla="*/ 200501 h 514350"/>
                <a:gd name="connsiteX2072" fmla="*/ 2220754 w 6400800"/>
                <a:gd name="connsiteY2072" fmla="*/ 199549 h 514350"/>
                <a:gd name="connsiteX2073" fmla="*/ 2217896 w 6400800"/>
                <a:gd name="connsiteY2073" fmla="*/ 199549 h 514350"/>
                <a:gd name="connsiteX2074" fmla="*/ 2215039 w 6400800"/>
                <a:gd name="connsiteY2074" fmla="*/ 202406 h 514350"/>
                <a:gd name="connsiteX2075" fmla="*/ 2213134 w 6400800"/>
                <a:gd name="connsiteY2075" fmla="*/ 214789 h 514350"/>
                <a:gd name="connsiteX2076" fmla="*/ 2217896 w 6400800"/>
                <a:gd name="connsiteY2076" fmla="*/ 203359 h 514350"/>
                <a:gd name="connsiteX2077" fmla="*/ 2219801 w 6400800"/>
                <a:gd name="connsiteY2077" fmla="*/ 201454 h 514350"/>
                <a:gd name="connsiteX2078" fmla="*/ 2220754 w 6400800"/>
                <a:gd name="connsiteY2078" fmla="*/ 202406 h 514350"/>
                <a:gd name="connsiteX2079" fmla="*/ 2223611 w 6400800"/>
                <a:gd name="connsiteY2079" fmla="*/ 207169 h 514350"/>
                <a:gd name="connsiteX2080" fmla="*/ 2223611 w 6400800"/>
                <a:gd name="connsiteY2080" fmla="*/ 215741 h 514350"/>
                <a:gd name="connsiteX2081" fmla="*/ 2223611 w 6400800"/>
                <a:gd name="connsiteY2081" fmla="*/ 215741 h 514350"/>
                <a:gd name="connsiteX2082" fmla="*/ 2215991 w 6400800"/>
                <a:gd name="connsiteY2082" fmla="*/ 241459 h 514350"/>
                <a:gd name="connsiteX2083" fmla="*/ 2206466 w 6400800"/>
                <a:gd name="connsiteY2083" fmla="*/ 274796 h 514350"/>
                <a:gd name="connsiteX2084" fmla="*/ 2196941 w 6400800"/>
                <a:gd name="connsiteY2084" fmla="*/ 313849 h 514350"/>
                <a:gd name="connsiteX2085" fmla="*/ 2195989 w 6400800"/>
                <a:gd name="connsiteY2085" fmla="*/ 305276 h 514350"/>
                <a:gd name="connsiteX2086" fmla="*/ 2195036 w 6400800"/>
                <a:gd name="connsiteY2086" fmla="*/ 317659 h 514350"/>
                <a:gd name="connsiteX2087" fmla="*/ 2193131 w 6400800"/>
                <a:gd name="connsiteY2087" fmla="*/ 314801 h 514350"/>
                <a:gd name="connsiteX2088" fmla="*/ 2195036 w 6400800"/>
                <a:gd name="connsiteY2088" fmla="*/ 318611 h 514350"/>
                <a:gd name="connsiteX2089" fmla="*/ 2195036 w 6400800"/>
                <a:gd name="connsiteY2089" fmla="*/ 323374 h 514350"/>
                <a:gd name="connsiteX2090" fmla="*/ 2192179 w 6400800"/>
                <a:gd name="connsiteY2090" fmla="*/ 334804 h 514350"/>
                <a:gd name="connsiteX2091" fmla="*/ 2190274 w 6400800"/>
                <a:gd name="connsiteY2091" fmla="*/ 330994 h 514350"/>
                <a:gd name="connsiteX2092" fmla="*/ 2191226 w 6400800"/>
                <a:gd name="connsiteY2092" fmla="*/ 330041 h 514350"/>
                <a:gd name="connsiteX2093" fmla="*/ 2190274 w 6400800"/>
                <a:gd name="connsiteY2093" fmla="*/ 330994 h 514350"/>
                <a:gd name="connsiteX2094" fmla="*/ 2188369 w 6400800"/>
                <a:gd name="connsiteY2094" fmla="*/ 326231 h 514350"/>
                <a:gd name="connsiteX2095" fmla="*/ 2189321 w 6400800"/>
                <a:gd name="connsiteY2095" fmla="*/ 331946 h 514350"/>
                <a:gd name="connsiteX2096" fmla="*/ 2188369 w 6400800"/>
                <a:gd name="connsiteY2096" fmla="*/ 332899 h 514350"/>
                <a:gd name="connsiteX2097" fmla="*/ 2185511 w 6400800"/>
                <a:gd name="connsiteY2097" fmla="*/ 315754 h 514350"/>
                <a:gd name="connsiteX2098" fmla="*/ 2184559 w 6400800"/>
                <a:gd name="connsiteY2098" fmla="*/ 336709 h 514350"/>
                <a:gd name="connsiteX2099" fmla="*/ 2184559 w 6400800"/>
                <a:gd name="connsiteY2099" fmla="*/ 337661 h 514350"/>
                <a:gd name="connsiteX2100" fmla="*/ 2179796 w 6400800"/>
                <a:gd name="connsiteY2100" fmla="*/ 343376 h 514350"/>
                <a:gd name="connsiteX2101" fmla="*/ 2178844 w 6400800"/>
                <a:gd name="connsiteY2101" fmla="*/ 340519 h 514350"/>
                <a:gd name="connsiteX2102" fmla="*/ 2192179 w 6400800"/>
                <a:gd name="connsiteY2102" fmla="*/ 283369 h 514350"/>
                <a:gd name="connsiteX2103" fmla="*/ 2212181 w 6400800"/>
                <a:gd name="connsiteY2103" fmla="*/ 190024 h 514350"/>
                <a:gd name="connsiteX2104" fmla="*/ 2183606 w 6400800"/>
                <a:gd name="connsiteY2104" fmla="*/ 272891 h 514350"/>
                <a:gd name="connsiteX2105" fmla="*/ 2187416 w 6400800"/>
                <a:gd name="connsiteY2105" fmla="*/ 253841 h 514350"/>
                <a:gd name="connsiteX2106" fmla="*/ 2192179 w 6400800"/>
                <a:gd name="connsiteY2106" fmla="*/ 231934 h 514350"/>
                <a:gd name="connsiteX2107" fmla="*/ 2196941 w 6400800"/>
                <a:gd name="connsiteY2107" fmla="*/ 210026 h 514350"/>
                <a:gd name="connsiteX2108" fmla="*/ 2200751 w 6400800"/>
                <a:gd name="connsiteY2108" fmla="*/ 193834 h 514350"/>
                <a:gd name="connsiteX2109" fmla="*/ 2204561 w 6400800"/>
                <a:gd name="connsiteY2109" fmla="*/ 179546 h 514350"/>
                <a:gd name="connsiteX2110" fmla="*/ 2211229 w 6400800"/>
                <a:gd name="connsiteY2110" fmla="*/ 155734 h 514350"/>
                <a:gd name="connsiteX2111" fmla="*/ 2217896 w 6400800"/>
                <a:gd name="connsiteY2111" fmla="*/ 134779 h 514350"/>
                <a:gd name="connsiteX2112" fmla="*/ 2211229 w 6400800"/>
                <a:gd name="connsiteY2112" fmla="*/ 148114 h 514350"/>
                <a:gd name="connsiteX2113" fmla="*/ 2211229 w 6400800"/>
                <a:gd name="connsiteY2113" fmla="*/ 147161 h 514350"/>
                <a:gd name="connsiteX2114" fmla="*/ 2216944 w 6400800"/>
                <a:gd name="connsiteY2114" fmla="*/ 125254 h 514350"/>
                <a:gd name="connsiteX2115" fmla="*/ 2222659 w 6400800"/>
                <a:gd name="connsiteY2115" fmla="*/ 105251 h 514350"/>
                <a:gd name="connsiteX2116" fmla="*/ 2233136 w 6400800"/>
                <a:gd name="connsiteY2116" fmla="*/ 72866 h 514350"/>
                <a:gd name="connsiteX2117" fmla="*/ 2242661 w 6400800"/>
                <a:gd name="connsiteY2117" fmla="*/ 45244 h 514350"/>
                <a:gd name="connsiteX2118" fmla="*/ 2229326 w 6400800"/>
                <a:gd name="connsiteY2118" fmla="*/ 71914 h 514350"/>
                <a:gd name="connsiteX2119" fmla="*/ 2215991 w 6400800"/>
                <a:gd name="connsiteY2119" fmla="*/ 103346 h 514350"/>
                <a:gd name="connsiteX2120" fmla="*/ 2208371 w 6400800"/>
                <a:gd name="connsiteY2120" fmla="*/ 122396 h 514350"/>
                <a:gd name="connsiteX2121" fmla="*/ 2200751 w 6400800"/>
                <a:gd name="connsiteY2121" fmla="*/ 144304 h 514350"/>
                <a:gd name="connsiteX2122" fmla="*/ 2184559 w 6400800"/>
                <a:gd name="connsiteY2122" fmla="*/ 193834 h 514350"/>
                <a:gd name="connsiteX2123" fmla="*/ 2175034 w 6400800"/>
                <a:gd name="connsiteY2123" fmla="*/ 228124 h 514350"/>
                <a:gd name="connsiteX2124" fmla="*/ 2177891 w 6400800"/>
                <a:gd name="connsiteY2124" fmla="*/ 203359 h 514350"/>
                <a:gd name="connsiteX2125" fmla="*/ 2178844 w 6400800"/>
                <a:gd name="connsiteY2125" fmla="*/ 190024 h 514350"/>
                <a:gd name="connsiteX2126" fmla="*/ 2180749 w 6400800"/>
                <a:gd name="connsiteY2126" fmla="*/ 184309 h 514350"/>
                <a:gd name="connsiteX2127" fmla="*/ 2179796 w 6400800"/>
                <a:gd name="connsiteY2127" fmla="*/ 187166 h 514350"/>
                <a:gd name="connsiteX2128" fmla="*/ 2180749 w 6400800"/>
                <a:gd name="connsiteY2128" fmla="*/ 176689 h 514350"/>
                <a:gd name="connsiteX2129" fmla="*/ 2175986 w 6400800"/>
                <a:gd name="connsiteY2129" fmla="*/ 194786 h 514350"/>
                <a:gd name="connsiteX2130" fmla="*/ 2170271 w 6400800"/>
                <a:gd name="connsiteY2130" fmla="*/ 208121 h 514350"/>
                <a:gd name="connsiteX2131" fmla="*/ 2144554 w 6400800"/>
                <a:gd name="connsiteY2131" fmla="*/ 271939 h 514350"/>
                <a:gd name="connsiteX2132" fmla="*/ 2135029 w 6400800"/>
                <a:gd name="connsiteY2132" fmla="*/ 296704 h 514350"/>
                <a:gd name="connsiteX2133" fmla="*/ 2135029 w 6400800"/>
                <a:gd name="connsiteY2133" fmla="*/ 295751 h 514350"/>
                <a:gd name="connsiteX2134" fmla="*/ 2129314 w 6400800"/>
                <a:gd name="connsiteY2134" fmla="*/ 282416 h 514350"/>
                <a:gd name="connsiteX2135" fmla="*/ 2137886 w 6400800"/>
                <a:gd name="connsiteY2135" fmla="*/ 231934 h 514350"/>
                <a:gd name="connsiteX2136" fmla="*/ 2141696 w 6400800"/>
                <a:gd name="connsiteY2136" fmla="*/ 210026 h 514350"/>
                <a:gd name="connsiteX2137" fmla="*/ 2134076 w 6400800"/>
                <a:gd name="connsiteY2137" fmla="*/ 230981 h 514350"/>
                <a:gd name="connsiteX2138" fmla="*/ 2123599 w 6400800"/>
                <a:gd name="connsiteY2138" fmla="*/ 263366 h 514350"/>
                <a:gd name="connsiteX2139" fmla="*/ 2122646 w 6400800"/>
                <a:gd name="connsiteY2139" fmla="*/ 253841 h 514350"/>
                <a:gd name="connsiteX2140" fmla="*/ 2117884 w 6400800"/>
                <a:gd name="connsiteY2140" fmla="*/ 211931 h 514350"/>
                <a:gd name="connsiteX2141" fmla="*/ 2112169 w 6400800"/>
                <a:gd name="connsiteY2141" fmla="*/ 176689 h 514350"/>
                <a:gd name="connsiteX2142" fmla="*/ 2107406 w 6400800"/>
                <a:gd name="connsiteY2142" fmla="*/ 150019 h 514350"/>
                <a:gd name="connsiteX2143" fmla="*/ 2102644 w 6400800"/>
                <a:gd name="connsiteY2143" fmla="*/ 127159 h 514350"/>
                <a:gd name="connsiteX2144" fmla="*/ 2103596 w 6400800"/>
                <a:gd name="connsiteY2144" fmla="*/ 150971 h 514350"/>
                <a:gd name="connsiteX2145" fmla="*/ 2104549 w 6400800"/>
                <a:gd name="connsiteY2145" fmla="*/ 168116 h 514350"/>
                <a:gd name="connsiteX2146" fmla="*/ 2104549 w 6400800"/>
                <a:gd name="connsiteY2146" fmla="*/ 183356 h 514350"/>
                <a:gd name="connsiteX2147" fmla="*/ 2105501 w 6400800"/>
                <a:gd name="connsiteY2147" fmla="*/ 207169 h 514350"/>
                <a:gd name="connsiteX2148" fmla="*/ 2106454 w 6400800"/>
                <a:gd name="connsiteY2148" fmla="*/ 225266 h 514350"/>
                <a:gd name="connsiteX2149" fmla="*/ 2104549 w 6400800"/>
                <a:gd name="connsiteY2149" fmla="*/ 221456 h 514350"/>
                <a:gd name="connsiteX2150" fmla="*/ 2104549 w 6400800"/>
                <a:gd name="connsiteY2150" fmla="*/ 221456 h 514350"/>
                <a:gd name="connsiteX2151" fmla="*/ 2104549 w 6400800"/>
                <a:gd name="connsiteY2151" fmla="*/ 221456 h 514350"/>
                <a:gd name="connsiteX2152" fmla="*/ 2102644 w 6400800"/>
                <a:gd name="connsiteY2152" fmla="*/ 215741 h 514350"/>
                <a:gd name="connsiteX2153" fmla="*/ 2101691 w 6400800"/>
                <a:gd name="connsiteY2153" fmla="*/ 205264 h 514350"/>
                <a:gd name="connsiteX2154" fmla="*/ 2098834 w 6400800"/>
                <a:gd name="connsiteY2154" fmla="*/ 176689 h 514350"/>
                <a:gd name="connsiteX2155" fmla="*/ 2097881 w 6400800"/>
                <a:gd name="connsiteY2155" fmla="*/ 168116 h 514350"/>
                <a:gd name="connsiteX2156" fmla="*/ 2102644 w 6400800"/>
                <a:gd name="connsiteY2156" fmla="*/ 149066 h 514350"/>
                <a:gd name="connsiteX2157" fmla="*/ 2096929 w 6400800"/>
                <a:gd name="connsiteY2157" fmla="*/ 162401 h 514350"/>
                <a:gd name="connsiteX2158" fmla="*/ 2095024 w 6400800"/>
                <a:gd name="connsiteY2158" fmla="*/ 151924 h 514350"/>
                <a:gd name="connsiteX2159" fmla="*/ 2095024 w 6400800"/>
                <a:gd name="connsiteY2159" fmla="*/ 167164 h 514350"/>
                <a:gd name="connsiteX2160" fmla="*/ 2066449 w 6400800"/>
                <a:gd name="connsiteY2160" fmla="*/ 235744 h 514350"/>
                <a:gd name="connsiteX2161" fmla="*/ 2056924 w 6400800"/>
                <a:gd name="connsiteY2161" fmla="*/ 259556 h 514350"/>
                <a:gd name="connsiteX2162" fmla="*/ 2063591 w 6400800"/>
                <a:gd name="connsiteY2162" fmla="*/ 219551 h 514350"/>
                <a:gd name="connsiteX2163" fmla="*/ 2052161 w 6400800"/>
                <a:gd name="connsiteY2163" fmla="*/ 252889 h 514350"/>
                <a:gd name="connsiteX2164" fmla="*/ 2050256 w 6400800"/>
                <a:gd name="connsiteY2164" fmla="*/ 248126 h 514350"/>
                <a:gd name="connsiteX2165" fmla="*/ 2050256 w 6400800"/>
                <a:gd name="connsiteY2165" fmla="*/ 233839 h 514350"/>
                <a:gd name="connsiteX2166" fmla="*/ 2048351 w 6400800"/>
                <a:gd name="connsiteY2166" fmla="*/ 244316 h 514350"/>
                <a:gd name="connsiteX2167" fmla="*/ 2046446 w 6400800"/>
                <a:gd name="connsiteY2167" fmla="*/ 240506 h 514350"/>
                <a:gd name="connsiteX2168" fmla="*/ 2047399 w 6400800"/>
                <a:gd name="connsiteY2168" fmla="*/ 247174 h 514350"/>
                <a:gd name="connsiteX2169" fmla="*/ 2044541 w 6400800"/>
                <a:gd name="connsiteY2169" fmla="*/ 266224 h 514350"/>
                <a:gd name="connsiteX2170" fmla="*/ 2043589 w 6400800"/>
                <a:gd name="connsiteY2170" fmla="*/ 259556 h 514350"/>
                <a:gd name="connsiteX2171" fmla="*/ 2041684 w 6400800"/>
                <a:gd name="connsiteY2171" fmla="*/ 249079 h 514350"/>
                <a:gd name="connsiteX2172" fmla="*/ 2048351 w 6400800"/>
                <a:gd name="connsiteY2172" fmla="*/ 184309 h 514350"/>
                <a:gd name="connsiteX2173" fmla="*/ 2039779 w 6400800"/>
                <a:gd name="connsiteY2173" fmla="*/ 216694 h 514350"/>
                <a:gd name="connsiteX2174" fmla="*/ 2036921 w 6400800"/>
                <a:gd name="connsiteY2174" fmla="*/ 223361 h 514350"/>
                <a:gd name="connsiteX2175" fmla="*/ 2035969 w 6400800"/>
                <a:gd name="connsiteY2175" fmla="*/ 218599 h 514350"/>
                <a:gd name="connsiteX2176" fmla="*/ 2031206 w 6400800"/>
                <a:gd name="connsiteY2176" fmla="*/ 187166 h 514350"/>
                <a:gd name="connsiteX2177" fmla="*/ 2028349 w 6400800"/>
                <a:gd name="connsiteY2177" fmla="*/ 169069 h 514350"/>
                <a:gd name="connsiteX2178" fmla="*/ 2031206 w 6400800"/>
                <a:gd name="connsiteY2178" fmla="*/ 147161 h 514350"/>
                <a:gd name="connsiteX2179" fmla="*/ 2028349 w 6400800"/>
                <a:gd name="connsiteY2179" fmla="*/ 157639 h 514350"/>
                <a:gd name="connsiteX2180" fmla="*/ 2030254 w 6400800"/>
                <a:gd name="connsiteY2180" fmla="*/ 138589 h 514350"/>
                <a:gd name="connsiteX2181" fmla="*/ 2023586 w 6400800"/>
                <a:gd name="connsiteY2181" fmla="*/ 160496 h 514350"/>
                <a:gd name="connsiteX2182" fmla="*/ 2017871 w 6400800"/>
                <a:gd name="connsiteY2182" fmla="*/ 186214 h 514350"/>
                <a:gd name="connsiteX2183" fmla="*/ 2016919 w 6400800"/>
                <a:gd name="connsiteY2183" fmla="*/ 191929 h 514350"/>
                <a:gd name="connsiteX2184" fmla="*/ 2016919 w 6400800"/>
                <a:gd name="connsiteY2184" fmla="*/ 190976 h 514350"/>
                <a:gd name="connsiteX2185" fmla="*/ 2019776 w 6400800"/>
                <a:gd name="connsiteY2185" fmla="*/ 158591 h 514350"/>
                <a:gd name="connsiteX2186" fmla="*/ 2015014 w 6400800"/>
                <a:gd name="connsiteY2186" fmla="*/ 178594 h 514350"/>
                <a:gd name="connsiteX2187" fmla="*/ 2014061 w 6400800"/>
                <a:gd name="connsiteY2187" fmla="*/ 174784 h 514350"/>
                <a:gd name="connsiteX2188" fmla="*/ 2014061 w 6400800"/>
                <a:gd name="connsiteY2188" fmla="*/ 177641 h 514350"/>
                <a:gd name="connsiteX2189" fmla="*/ 2011204 w 6400800"/>
                <a:gd name="connsiteY2189" fmla="*/ 163354 h 514350"/>
                <a:gd name="connsiteX2190" fmla="*/ 2003584 w 6400800"/>
                <a:gd name="connsiteY2190" fmla="*/ 125254 h 514350"/>
                <a:gd name="connsiteX2191" fmla="*/ 1996916 w 6400800"/>
                <a:gd name="connsiteY2191" fmla="*/ 91916 h 514350"/>
                <a:gd name="connsiteX2192" fmla="*/ 1999774 w 6400800"/>
                <a:gd name="connsiteY2192" fmla="*/ 125254 h 514350"/>
                <a:gd name="connsiteX2193" fmla="*/ 2003584 w 6400800"/>
                <a:gd name="connsiteY2193" fmla="*/ 164306 h 514350"/>
                <a:gd name="connsiteX2194" fmla="*/ 2008346 w 6400800"/>
                <a:gd name="connsiteY2194" fmla="*/ 203359 h 514350"/>
                <a:gd name="connsiteX2195" fmla="*/ 1999774 w 6400800"/>
                <a:gd name="connsiteY2195" fmla="*/ 240506 h 514350"/>
                <a:gd name="connsiteX2196" fmla="*/ 1984534 w 6400800"/>
                <a:gd name="connsiteY2196" fmla="*/ 314801 h 514350"/>
                <a:gd name="connsiteX2197" fmla="*/ 1984534 w 6400800"/>
                <a:gd name="connsiteY2197" fmla="*/ 283369 h 514350"/>
                <a:gd name="connsiteX2198" fmla="*/ 1984534 w 6400800"/>
                <a:gd name="connsiteY2198" fmla="*/ 267176 h 514350"/>
                <a:gd name="connsiteX2199" fmla="*/ 1986439 w 6400800"/>
                <a:gd name="connsiteY2199" fmla="*/ 263366 h 514350"/>
                <a:gd name="connsiteX2200" fmla="*/ 1984534 w 6400800"/>
                <a:gd name="connsiteY2200" fmla="*/ 265271 h 514350"/>
                <a:gd name="connsiteX2201" fmla="*/ 1985486 w 6400800"/>
                <a:gd name="connsiteY2201" fmla="*/ 243364 h 514350"/>
                <a:gd name="connsiteX2202" fmla="*/ 1987391 w 6400800"/>
                <a:gd name="connsiteY2202" fmla="*/ 212884 h 514350"/>
                <a:gd name="connsiteX2203" fmla="*/ 1989296 w 6400800"/>
                <a:gd name="connsiteY2203" fmla="*/ 186214 h 514350"/>
                <a:gd name="connsiteX2204" fmla="*/ 1983581 w 6400800"/>
                <a:gd name="connsiteY2204" fmla="*/ 211931 h 514350"/>
                <a:gd name="connsiteX2205" fmla="*/ 1978819 w 6400800"/>
                <a:gd name="connsiteY2205" fmla="*/ 242411 h 514350"/>
                <a:gd name="connsiteX2206" fmla="*/ 1974056 w 6400800"/>
                <a:gd name="connsiteY2206" fmla="*/ 281464 h 514350"/>
                <a:gd name="connsiteX2207" fmla="*/ 1973104 w 6400800"/>
                <a:gd name="connsiteY2207" fmla="*/ 282416 h 514350"/>
                <a:gd name="connsiteX2208" fmla="*/ 1968341 w 6400800"/>
                <a:gd name="connsiteY2208" fmla="*/ 289084 h 514350"/>
                <a:gd name="connsiteX2209" fmla="*/ 1968341 w 6400800"/>
                <a:gd name="connsiteY2209" fmla="*/ 283369 h 514350"/>
                <a:gd name="connsiteX2210" fmla="*/ 1973104 w 6400800"/>
                <a:gd name="connsiteY2210" fmla="*/ 274796 h 514350"/>
                <a:gd name="connsiteX2211" fmla="*/ 1968341 w 6400800"/>
                <a:gd name="connsiteY2211" fmla="*/ 280511 h 514350"/>
                <a:gd name="connsiteX2212" fmla="*/ 1973104 w 6400800"/>
                <a:gd name="connsiteY2212" fmla="*/ 224314 h 514350"/>
                <a:gd name="connsiteX2213" fmla="*/ 1976914 w 6400800"/>
                <a:gd name="connsiteY2213" fmla="*/ 187166 h 514350"/>
                <a:gd name="connsiteX2214" fmla="*/ 1967389 w 6400800"/>
                <a:gd name="connsiteY2214" fmla="*/ 218599 h 514350"/>
                <a:gd name="connsiteX2215" fmla="*/ 1967389 w 6400800"/>
                <a:gd name="connsiteY2215" fmla="*/ 216694 h 514350"/>
                <a:gd name="connsiteX2216" fmla="*/ 1966436 w 6400800"/>
                <a:gd name="connsiteY2216" fmla="*/ 220504 h 514350"/>
                <a:gd name="connsiteX2217" fmla="*/ 1957864 w 6400800"/>
                <a:gd name="connsiteY2217" fmla="*/ 250031 h 514350"/>
                <a:gd name="connsiteX2218" fmla="*/ 1952149 w 6400800"/>
                <a:gd name="connsiteY2218" fmla="*/ 271939 h 514350"/>
                <a:gd name="connsiteX2219" fmla="*/ 1941671 w 6400800"/>
                <a:gd name="connsiteY2219" fmla="*/ 221456 h 514350"/>
                <a:gd name="connsiteX2220" fmla="*/ 1942624 w 6400800"/>
                <a:gd name="connsiteY2220" fmla="*/ 213836 h 514350"/>
                <a:gd name="connsiteX2221" fmla="*/ 1952149 w 6400800"/>
                <a:gd name="connsiteY2221" fmla="*/ 186214 h 514350"/>
                <a:gd name="connsiteX2222" fmla="*/ 1962626 w 6400800"/>
                <a:gd name="connsiteY2222" fmla="*/ 157639 h 514350"/>
                <a:gd name="connsiteX2223" fmla="*/ 1948339 w 6400800"/>
                <a:gd name="connsiteY2223" fmla="*/ 185261 h 514350"/>
                <a:gd name="connsiteX2224" fmla="*/ 1945481 w 6400800"/>
                <a:gd name="connsiteY2224" fmla="*/ 190976 h 514350"/>
                <a:gd name="connsiteX2225" fmla="*/ 1945481 w 6400800"/>
                <a:gd name="connsiteY2225" fmla="*/ 189071 h 514350"/>
                <a:gd name="connsiteX2226" fmla="*/ 1944529 w 6400800"/>
                <a:gd name="connsiteY2226" fmla="*/ 192881 h 514350"/>
                <a:gd name="connsiteX2227" fmla="*/ 1938814 w 6400800"/>
                <a:gd name="connsiteY2227" fmla="*/ 205264 h 514350"/>
                <a:gd name="connsiteX2228" fmla="*/ 1935004 w 6400800"/>
                <a:gd name="connsiteY2228" fmla="*/ 148114 h 514350"/>
                <a:gd name="connsiteX2229" fmla="*/ 1928336 w 6400800"/>
                <a:gd name="connsiteY2229" fmla="*/ 224314 h 514350"/>
                <a:gd name="connsiteX2230" fmla="*/ 1928336 w 6400800"/>
                <a:gd name="connsiteY2230" fmla="*/ 229076 h 514350"/>
                <a:gd name="connsiteX2231" fmla="*/ 1924526 w 6400800"/>
                <a:gd name="connsiteY2231" fmla="*/ 236696 h 514350"/>
                <a:gd name="connsiteX2232" fmla="*/ 1915001 w 6400800"/>
                <a:gd name="connsiteY2232" fmla="*/ 258604 h 514350"/>
                <a:gd name="connsiteX2233" fmla="*/ 1911191 w 6400800"/>
                <a:gd name="connsiteY2233" fmla="*/ 268129 h 514350"/>
                <a:gd name="connsiteX2234" fmla="*/ 1907381 w 6400800"/>
                <a:gd name="connsiteY2234" fmla="*/ 259556 h 514350"/>
                <a:gd name="connsiteX2235" fmla="*/ 1907381 w 6400800"/>
                <a:gd name="connsiteY2235" fmla="*/ 258604 h 514350"/>
                <a:gd name="connsiteX2236" fmla="*/ 1907381 w 6400800"/>
                <a:gd name="connsiteY2236" fmla="*/ 258604 h 514350"/>
                <a:gd name="connsiteX2237" fmla="*/ 1900714 w 6400800"/>
                <a:gd name="connsiteY2237" fmla="*/ 253841 h 514350"/>
                <a:gd name="connsiteX2238" fmla="*/ 1897856 w 6400800"/>
                <a:gd name="connsiteY2238" fmla="*/ 252889 h 514350"/>
                <a:gd name="connsiteX2239" fmla="*/ 1896904 w 6400800"/>
                <a:gd name="connsiteY2239" fmla="*/ 252889 h 514350"/>
                <a:gd name="connsiteX2240" fmla="*/ 1896904 w 6400800"/>
                <a:gd name="connsiteY2240" fmla="*/ 250984 h 514350"/>
                <a:gd name="connsiteX2241" fmla="*/ 1897856 w 6400800"/>
                <a:gd name="connsiteY2241" fmla="*/ 246221 h 514350"/>
                <a:gd name="connsiteX2242" fmla="*/ 1902619 w 6400800"/>
                <a:gd name="connsiteY2242" fmla="*/ 230029 h 514350"/>
                <a:gd name="connsiteX2243" fmla="*/ 1903571 w 6400800"/>
                <a:gd name="connsiteY2243" fmla="*/ 226219 h 514350"/>
                <a:gd name="connsiteX2244" fmla="*/ 1902619 w 6400800"/>
                <a:gd name="connsiteY2244" fmla="*/ 227171 h 514350"/>
                <a:gd name="connsiteX2245" fmla="*/ 1906429 w 6400800"/>
                <a:gd name="connsiteY2245" fmla="*/ 214789 h 514350"/>
                <a:gd name="connsiteX2246" fmla="*/ 1915001 w 6400800"/>
                <a:gd name="connsiteY2246" fmla="*/ 190976 h 514350"/>
                <a:gd name="connsiteX2247" fmla="*/ 1922621 w 6400800"/>
                <a:gd name="connsiteY2247" fmla="*/ 170021 h 514350"/>
                <a:gd name="connsiteX2248" fmla="*/ 1911191 w 6400800"/>
                <a:gd name="connsiteY2248" fmla="*/ 189071 h 514350"/>
                <a:gd name="connsiteX2249" fmla="*/ 1899761 w 6400800"/>
                <a:gd name="connsiteY2249" fmla="*/ 211931 h 514350"/>
                <a:gd name="connsiteX2250" fmla="*/ 1893094 w 6400800"/>
                <a:gd name="connsiteY2250" fmla="*/ 226219 h 514350"/>
                <a:gd name="connsiteX2251" fmla="*/ 1889284 w 6400800"/>
                <a:gd name="connsiteY2251" fmla="*/ 235744 h 514350"/>
                <a:gd name="connsiteX2252" fmla="*/ 1888331 w 6400800"/>
                <a:gd name="connsiteY2252" fmla="*/ 232886 h 514350"/>
                <a:gd name="connsiteX2253" fmla="*/ 1889284 w 6400800"/>
                <a:gd name="connsiteY2253" fmla="*/ 216694 h 514350"/>
                <a:gd name="connsiteX2254" fmla="*/ 1891189 w 6400800"/>
                <a:gd name="connsiteY2254" fmla="*/ 200501 h 514350"/>
                <a:gd name="connsiteX2255" fmla="*/ 1894046 w 6400800"/>
                <a:gd name="connsiteY2255" fmla="*/ 187166 h 514350"/>
                <a:gd name="connsiteX2256" fmla="*/ 1899761 w 6400800"/>
                <a:gd name="connsiteY2256" fmla="*/ 169069 h 514350"/>
                <a:gd name="connsiteX2257" fmla="*/ 1902619 w 6400800"/>
                <a:gd name="connsiteY2257" fmla="*/ 162401 h 514350"/>
                <a:gd name="connsiteX2258" fmla="*/ 1898809 w 6400800"/>
                <a:gd name="connsiteY2258" fmla="*/ 168116 h 514350"/>
                <a:gd name="connsiteX2259" fmla="*/ 1890236 w 6400800"/>
                <a:gd name="connsiteY2259" fmla="*/ 186214 h 514350"/>
                <a:gd name="connsiteX2260" fmla="*/ 1885474 w 6400800"/>
                <a:gd name="connsiteY2260" fmla="*/ 199549 h 514350"/>
                <a:gd name="connsiteX2261" fmla="*/ 1882616 w 6400800"/>
                <a:gd name="connsiteY2261" fmla="*/ 213836 h 514350"/>
                <a:gd name="connsiteX2262" fmla="*/ 1882616 w 6400800"/>
                <a:gd name="connsiteY2262" fmla="*/ 210026 h 514350"/>
                <a:gd name="connsiteX2263" fmla="*/ 1878806 w 6400800"/>
                <a:gd name="connsiteY2263" fmla="*/ 228124 h 514350"/>
                <a:gd name="connsiteX2264" fmla="*/ 1874996 w 6400800"/>
                <a:gd name="connsiteY2264" fmla="*/ 243364 h 514350"/>
                <a:gd name="connsiteX2265" fmla="*/ 1874996 w 6400800"/>
                <a:gd name="connsiteY2265" fmla="*/ 237649 h 514350"/>
                <a:gd name="connsiteX2266" fmla="*/ 1872139 w 6400800"/>
                <a:gd name="connsiteY2266" fmla="*/ 255746 h 514350"/>
                <a:gd name="connsiteX2267" fmla="*/ 1868329 w 6400800"/>
                <a:gd name="connsiteY2267" fmla="*/ 270986 h 514350"/>
                <a:gd name="connsiteX2268" fmla="*/ 1869281 w 6400800"/>
                <a:gd name="connsiteY2268" fmla="*/ 259556 h 514350"/>
                <a:gd name="connsiteX2269" fmla="*/ 1874996 w 6400800"/>
                <a:gd name="connsiteY2269" fmla="*/ 213836 h 514350"/>
                <a:gd name="connsiteX2270" fmla="*/ 1877854 w 6400800"/>
                <a:gd name="connsiteY2270" fmla="*/ 193834 h 514350"/>
                <a:gd name="connsiteX2271" fmla="*/ 1881664 w 6400800"/>
                <a:gd name="connsiteY2271" fmla="*/ 175736 h 514350"/>
                <a:gd name="connsiteX2272" fmla="*/ 1888331 w 6400800"/>
                <a:gd name="connsiteY2272" fmla="*/ 146209 h 514350"/>
                <a:gd name="connsiteX2273" fmla="*/ 1894999 w 6400800"/>
                <a:gd name="connsiteY2273" fmla="*/ 120491 h 514350"/>
                <a:gd name="connsiteX2274" fmla="*/ 1885474 w 6400800"/>
                <a:gd name="connsiteY2274" fmla="*/ 144304 h 514350"/>
                <a:gd name="connsiteX2275" fmla="*/ 1875949 w 6400800"/>
                <a:gd name="connsiteY2275" fmla="*/ 172879 h 514350"/>
                <a:gd name="connsiteX2276" fmla="*/ 1870234 w 6400800"/>
                <a:gd name="connsiteY2276" fmla="*/ 190976 h 514350"/>
                <a:gd name="connsiteX2277" fmla="*/ 1865471 w 6400800"/>
                <a:gd name="connsiteY2277" fmla="*/ 210979 h 514350"/>
                <a:gd name="connsiteX2278" fmla="*/ 1858804 w 6400800"/>
                <a:gd name="connsiteY2278" fmla="*/ 238601 h 514350"/>
                <a:gd name="connsiteX2279" fmla="*/ 1856899 w 6400800"/>
                <a:gd name="connsiteY2279" fmla="*/ 194786 h 514350"/>
                <a:gd name="connsiteX2280" fmla="*/ 1854994 w 6400800"/>
                <a:gd name="connsiteY2280" fmla="*/ 172879 h 514350"/>
                <a:gd name="connsiteX2281" fmla="*/ 1853089 w 6400800"/>
                <a:gd name="connsiteY2281" fmla="*/ 194786 h 514350"/>
                <a:gd name="connsiteX2282" fmla="*/ 1848326 w 6400800"/>
                <a:gd name="connsiteY2282" fmla="*/ 250984 h 514350"/>
                <a:gd name="connsiteX2283" fmla="*/ 1845469 w 6400800"/>
                <a:gd name="connsiteY2283" fmla="*/ 282416 h 514350"/>
                <a:gd name="connsiteX2284" fmla="*/ 1839754 w 6400800"/>
                <a:gd name="connsiteY2284" fmla="*/ 273844 h 514350"/>
                <a:gd name="connsiteX2285" fmla="*/ 1838801 w 6400800"/>
                <a:gd name="connsiteY2285" fmla="*/ 269081 h 514350"/>
                <a:gd name="connsiteX2286" fmla="*/ 1838801 w 6400800"/>
                <a:gd name="connsiteY2286" fmla="*/ 272891 h 514350"/>
                <a:gd name="connsiteX2287" fmla="*/ 1827371 w 6400800"/>
                <a:gd name="connsiteY2287" fmla="*/ 256699 h 514350"/>
                <a:gd name="connsiteX2288" fmla="*/ 1828324 w 6400800"/>
                <a:gd name="connsiteY2288" fmla="*/ 190976 h 514350"/>
                <a:gd name="connsiteX2289" fmla="*/ 1822609 w 6400800"/>
                <a:gd name="connsiteY2289" fmla="*/ 222409 h 514350"/>
                <a:gd name="connsiteX2290" fmla="*/ 1822609 w 6400800"/>
                <a:gd name="connsiteY2290" fmla="*/ 214789 h 514350"/>
                <a:gd name="connsiteX2291" fmla="*/ 1822609 w 6400800"/>
                <a:gd name="connsiteY2291" fmla="*/ 161449 h 514350"/>
                <a:gd name="connsiteX2292" fmla="*/ 1823561 w 6400800"/>
                <a:gd name="connsiteY2292" fmla="*/ 113824 h 514350"/>
                <a:gd name="connsiteX2293" fmla="*/ 1823561 w 6400800"/>
                <a:gd name="connsiteY2293" fmla="*/ 15716 h 514350"/>
                <a:gd name="connsiteX2294" fmla="*/ 1812131 w 6400800"/>
                <a:gd name="connsiteY2294" fmla="*/ 112871 h 514350"/>
                <a:gd name="connsiteX2295" fmla="*/ 1807369 w 6400800"/>
                <a:gd name="connsiteY2295" fmla="*/ 160496 h 514350"/>
                <a:gd name="connsiteX2296" fmla="*/ 1805464 w 6400800"/>
                <a:gd name="connsiteY2296" fmla="*/ 209074 h 514350"/>
                <a:gd name="connsiteX2297" fmla="*/ 1801654 w 6400800"/>
                <a:gd name="connsiteY2297" fmla="*/ 211931 h 514350"/>
                <a:gd name="connsiteX2298" fmla="*/ 1801654 w 6400800"/>
                <a:gd name="connsiteY2298" fmla="*/ 211931 h 514350"/>
                <a:gd name="connsiteX2299" fmla="*/ 1801654 w 6400800"/>
                <a:gd name="connsiteY2299" fmla="*/ 212884 h 514350"/>
                <a:gd name="connsiteX2300" fmla="*/ 1790224 w 6400800"/>
                <a:gd name="connsiteY2300" fmla="*/ 237649 h 514350"/>
                <a:gd name="connsiteX2301" fmla="*/ 1790224 w 6400800"/>
                <a:gd name="connsiteY2301" fmla="*/ 207169 h 514350"/>
                <a:gd name="connsiteX2302" fmla="*/ 1786414 w 6400800"/>
                <a:gd name="connsiteY2302" fmla="*/ 239554 h 514350"/>
                <a:gd name="connsiteX2303" fmla="*/ 1784509 w 6400800"/>
                <a:gd name="connsiteY2303" fmla="*/ 250984 h 514350"/>
                <a:gd name="connsiteX2304" fmla="*/ 1783556 w 6400800"/>
                <a:gd name="connsiteY2304" fmla="*/ 252889 h 514350"/>
                <a:gd name="connsiteX2305" fmla="*/ 1776889 w 6400800"/>
                <a:gd name="connsiteY2305" fmla="*/ 226219 h 514350"/>
                <a:gd name="connsiteX2306" fmla="*/ 1777841 w 6400800"/>
                <a:gd name="connsiteY2306" fmla="*/ 253841 h 514350"/>
                <a:gd name="connsiteX2307" fmla="*/ 1768316 w 6400800"/>
                <a:gd name="connsiteY2307" fmla="*/ 230029 h 514350"/>
                <a:gd name="connsiteX2308" fmla="*/ 1759744 w 6400800"/>
                <a:gd name="connsiteY2308" fmla="*/ 209074 h 514350"/>
                <a:gd name="connsiteX2309" fmla="*/ 1759744 w 6400800"/>
                <a:gd name="connsiteY2309" fmla="*/ 208121 h 514350"/>
                <a:gd name="connsiteX2310" fmla="*/ 1761649 w 6400800"/>
                <a:gd name="connsiteY2310" fmla="*/ 198596 h 514350"/>
                <a:gd name="connsiteX2311" fmla="*/ 1759744 w 6400800"/>
                <a:gd name="connsiteY2311" fmla="*/ 203359 h 514350"/>
                <a:gd name="connsiteX2312" fmla="*/ 1759744 w 6400800"/>
                <a:gd name="connsiteY2312" fmla="*/ 195739 h 514350"/>
                <a:gd name="connsiteX2313" fmla="*/ 1761649 w 6400800"/>
                <a:gd name="connsiteY2313" fmla="*/ 171926 h 514350"/>
                <a:gd name="connsiteX2314" fmla="*/ 1762601 w 6400800"/>
                <a:gd name="connsiteY2314" fmla="*/ 151924 h 514350"/>
                <a:gd name="connsiteX2315" fmla="*/ 1756886 w 6400800"/>
                <a:gd name="connsiteY2315" fmla="*/ 171926 h 514350"/>
                <a:gd name="connsiteX2316" fmla="*/ 1749266 w 6400800"/>
                <a:gd name="connsiteY2316" fmla="*/ 205264 h 514350"/>
                <a:gd name="connsiteX2317" fmla="*/ 1745456 w 6400800"/>
                <a:gd name="connsiteY2317" fmla="*/ 197644 h 514350"/>
                <a:gd name="connsiteX2318" fmla="*/ 1749266 w 6400800"/>
                <a:gd name="connsiteY2318" fmla="*/ 208121 h 514350"/>
                <a:gd name="connsiteX2319" fmla="*/ 1746409 w 6400800"/>
                <a:gd name="connsiteY2319" fmla="*/ 225266 h 514350"/>
                <a:gd name="connsiteX2320" fmla="*/ 1746409 w 6400800"/>
                <a:gd name="connsiteY2320" fmla="*/ 228124 h 514350"/>
                <a:gd name="connsiteX2321" fmla="*/ 1737836 w 6400800"/>
                <a:gd name="connsiteY2321" fmla="*/ 171926 h 514350"/>
                <a:gd name="connsiteX2322" fmla="*/ 1738789 w 6400800"/>
                <a:gd name="connsiteY2322" fmla="*/ 252889 h 514350"/>
                <a:gd name="connsiteX2323" fmla="*/ 1736884 w 6400800"/>
                <a:gd name="connsiteY2323" fmla="*/ 256699 h 514350"/>
                <a:gd name="connsiteX2324" fmla="*/ 1735931 w 6400800"/>
                <a:gd name="connsiteY2324" fmla="*/ 252889 h 514350"/>
                <a:gd name="connsiteX2325" fmla="*/ 1735931 w 6400800"/>
                <a:gd name="connsiteY2325" fmla="*/ 257651 h 514350"/>
                <a:gd name="connsiteX2326" fmla="*/ 1733074 w 6400800"/>
                <a:gd name="connsiteY2326" fmla="*/ 264319 h 514350"/>
                <a:gd name="connsiteX2327" fmla="*/ 1727359 w 6400800"/>
                <a:gd name="connsiteY2327" fmla="*/ 283369 h 514350"/>
                <a:gd name="connsiteX2328" fmla="*/ 1722596 w 6400800"/>
                <a:gd name="connsiteY2328" fmla="*/ 299561 h 514350"/>
                <a:gd name="connsiteX2329" fmla="*/ 1718786 w 6400800"/>
                <a:gd name="connsiteY2329" fmla="*/ 267176 h 514350"/>
                <a:gd name="connsiteX2330" fmla="*/ 1716881 w 6400800"/>
                <a:gd name="connsiteY2330" fmla="*/ 317659 h 514350"/>
                <a:gd name="connsiteX2331" fmla="*/ 1716881 w 6400800"/>
                <a:gd name="connsiteY2331" fmla="*/ 318611 h 514350"/>
                <a:gd name="connsiteX2332" fmla="*/ 1714976 w 6400800"/>
                <a:gd name="connsiteY2332" fmla="*/ 316706 h 514350"/>
                <a:gd name="connsiteX2333" fmla="*/ 1707356 w 6400800"/>
                <a:gd name="connsiteY2333" fmla="*/ 288131 h 514350"/>
                <a:gd name="connsiteX2334" fmla="*/ 1709261 w 6400800"/>
                <a:gd name="connsiteY2334" fmla="*/ 237649 h 514350"/>
                <a:gd name="connsiteX2335" fmla="*/ 1710214 w 6400800"/>
                <a:gd name="connsiteY2335" fmla="*/ 163354 h 514350"/>
                <a:gd name="connsiteX2336" fmla="*/ 1698784 w 6400800"/>
                <a:gd name="connsiteY2336" fmla="*/ 229076 h 514350"/>
                <a:gd name="connsiteX2337" fmla="*/ 1694021 w 6400800"/>
                <a:gd name="connsiteY2337" fmla="*/ 203359 h 514350"/>
                <a:gd name="connsiteX2338" fmla="*/ 1699736 w 6400800"/>
                <a:gd name="connsiteY2338" fmla="*/ 170021 h 514350"/>
                <a:gd name="connsiteX2339" fmla="*/ 1706404 w 6400800"/>
                <a:gd name="connsiteY2339" fmla="*/ 119539 h 514350"/>
                <a:gd name="connsiteX2340" fmla="*/ 1710214 w 6400800"/>
                <a:gd name="connsiteY2340" fmla="*/ 80486 h 514350"/>
                <a:gd name="connsiteX2341" fmla="*/ 1713071 w 6400800"/>
                <a:gd name="connsiteY2341" fmla="*/ 47149 h 514350"/>
                <a:gd name="connsiteX2342" fmla="*/ 1706404 w 6400800"/>
                <a:gd name="connsiteY2342" fmla="*/ 80486 h 514350"/>
                <a:gd name="connsiteX2343" fmla="*/ 1698784 w 6400800"/>
                <a:gd name="connsiteY2343" fmla="*/ 118586 h 514350"/>
                <a:gd name="connsiteX2344" fmla="*/ 1688306 w 6400800"/>
                <a:gd name="connsiteY2344" fmla="*/ 168116 h 514350"/>
                <a:gd name="connsiteX2345" fmla="*/ 1687354 w 6400800"/>
                <a:gd name="connsiteY2345" fmla="*/ 171926 h 514350"/>
                <a:gd name="connsiteX2346" fmla="*/ 1684496 w 6400800"/>
                <a:gd name="connsiteY2346" fmla="*/ 160496 h 514350"/>
                <a:gd name="connsiteX2347" fmla="*/ 1685449 w 6400800"/>
                <a:gd name="connsiteY2347" fmla="*/ 179546 h 514350"/>
                <a:gd name="connsiteX2348" fmla="*/ 1681639 w 6400800"/>
                <a:gd name="connsiteY2348" fmla="*/ 197644 h 514350"/>
                <a:gd name="connsiteX2349" fmla="*/ 1680686 w 6400800"/>
                <a:gd name="connsiteY2349" fmla="*/ 192881 h 514350"/>
                <a:gd name="connsiteX2350" fmla="*/ 1681639 w 6400800"/>
                <a:gd name="connsiteY2350" fmla="*/ 174784 h 514350"/>
                <a:gd name="connsiteX2351" fmla="*/ 1682591 w 6400800"/>
                <a:gd name="connsiteY2351" fmla="*/ 143351 h 514350"/>
                <a:gd name="connsiteX2352" fmla="*/ 1683544 w 6400800"/>
                <a:gd name="connsiteY2352" fmla="*/ 115729 h 514350"/>
                <a:gd name="connsiteX2353" fmla="*/ 1678781 w 6400800"/>
                <a:gd name="connsiteY2353" fmla="*/ 143351 h 514350"/>
                <a:gd name="connsiteX2354" fmla="*/ 1674019 w 6400800"/>
                <a:gd name="connsiteY2354" fmla="*/ 174784 h 514350"/>
                <a:gd name="connsiteX2355" fmla="*/ 1666399 w 6400800"/>
                <a:gd name="connsiteY2355" fmla="*/ 215741 h 514350"/>
                <a:gd name="connsiteX2356" fmla="*/ 1663541 w 6400800"/>
                <a:gd name="connsiteY2356" fmla="*/ 231934 h 514350"/>
                <a:gd name="connsiteX2357" fmla="*/ 1661636 w 6400800"/>
                <a:gd name="connsiteY2357" fmla="*/ 225266 h 514350"/>
                <a:gd name="connsiteX2358" fmla="*/ 1662589 w 6400800"/>
                <a:gd name="connsiteY2358" fmla="*/ 236696 h 514350"/>
                <a:gd name="connsiteX2359" fmla="*/ 1659731 w 6400800"/>
                <a:gd name="connsiteY2359" fmla="*/ 253841 h 514350"/>
                <a:gd name="connsiteX2360" fmla="*/ 1658779 w 6400800"/>
                <a:gd name="connsiteY2360" fmla="*/ 251936 h 514350"/>
                <a:gd name="connsiteX2361" fmla="*/ 1646396 w 6400800"/>
                <a:gd name="connsiteY2361" fmla="*/ 223361 h 514350"/>
                <a:gd name="connsiteX2362" fmla="*/ 1642586 w 6400800"/>
                <a:gd name="connsiteY2362" fmla="*/ 215741 h 514350"/>
                <a:gd name="connsiteX2363" fmla="*/ 1642586 w 6400800"/>
                <a:gd name="connsiteY2363" fmla="*/ 202406 h 514350"/>
                <a:gd name="connsiteX2364" fmla="*/ 1640681 w 6400800"/>
                <a:gd name="connsiteY2364" fmla="*/ 154781 h 514350"/>
                <a:gd name="connsiteX2365" fmla="*/ 1635919 w 6400800"/>
                <a:gd name="connsiteY2365" fmla="*/ 111919 h 514350"/>
                <a:gd name="connsiteX2366" fmla="*/ 1624489 w 6400800"/>
                <a:gd name="connsiteY2366" fmla="*/ 23336 h 514350"/>
                <a:gd name="connsiteX2367" fmla="*/ 1624489 w 6400800"/>
                <a:gd name="connsiteY2367" fmla="*/ 111919 h 514350"/>
                <a:gd name="connsiteX2368" fmla="*/ 1625441 w 6400800"/>
                <a:gd name="connsiteY2368" fmla="*/ 154781 h 514350"/>
                <a:gd name="connsiteX2369" fmla="*/ 1625441 w 6400800"/>
                <a:gd name="connsiteY2369" fmla="*/ 202406 h 514350"/>
                <a:gd name="connsiteX2370" fmla="*/ 1625441 w 6400800"/>
                <a:gd name="connsiteY2370" fmla="*/ 225266 h 514350"/>
                <a:gd name="connsiteX2371" fmla="*/ 1625441 w 6400800"/>
                <a:gd name="connsiteY2371" fmla="*/ 230981 h 514350"/>
                <a:gd name="connsiteX2372" fmla="*/ 1623536 w 6400800"/>
                <a:gd name="connsiteY2372" fmla="*/ 227171 h 514350"/>
                <a:gd name="connsiteX2373" fmla="*/ 1619726 w 6400800"/>
                <a:gd name="connsiteY2373" fmla="*/ 203359 h 514350"/>
                <a:gd name="connsiteX2374" fmla="*/ 1619726 w 6400800"/>
                <a:gd name="connsiteY2374" fmla="*/ 217646 h 514350"/>
                <a:gd name="connsiteX2375" fmla="*/ 1608296 w 6400800"/>
                <a:gd name="connsiteY2375" fmla="*/ 190976 h 514350"/>
                <a:gd name="connsiteX2376" fmla="*/ 1619726 w 6400800"/>
                <a:gd name="connsiteY2376" fmla="*/ 233839 h 514350"/>
                <a:gd name="connsiteX2377" fmla="*/ 1619726 w 6400800"/>
                <a:gd name="connsiteY2377" fmla="*/ 242411 h 514350"/>
                <a:gd name="connsiteX2378" fmla="*/ 1613059 w 6400800"/>
                <a:gd name="connsiteY2378" fmla="*/ 233839 h 514350"/>
                <a:gd name="connsiteX2379" fmla="*/ 1619726 w 6400800"/>
                <a:gd name="connsiteY2379" fmla="*/ 247174 h 514350"/>
                <a:gd name="connsiteX2380" fmla="*/ 1610201 w 6400800"/>
                <a:gd name="connsiteY2380" fmla="*/ 264319 h 514350"/>
                <a:gd name="connsiteX2381" fmla="*/ 1607344 w 6400800"/>
                <a:gd name="connsiteY2381" fmla="*/ 270034 h 514350"/>
                <a:gd name="connsiteX2382" fmla="*/ 1606391 w 6400800"/>
                <a:gd name="connsiteY2382" fmla="*/ 269081 h 514350"/>
                <a:gd name="connsiteX2383" fmla="*/ 1607344 w 6400800"/>
                <a:gd name="connsiteY2383" fmla="*/ 270034 h 514350"/>
                <a:gd name="connsiteX2384" fmla="*/ 1601629 w 6400800"/>
                <a:gd name="connsiteY2384" fmla="*/ 282416 h 514350"/>
                <a:gd name="connsiteX2385" fmla="*/ 1600676 w 6400800"/>
                <a:gd name="connsiteY2385" fmla="*/ 269081 h 514350"/>
                <a:gd name="connsiteX2386" fmla="*/ 1595914 w 6400800"/>
                <a:gd name="connsiteY2386" fmla="*/ 207169 h 514350"/>
                <a:gd name="connsiteX2387" fmla="*/ 1594009 w 6400800"/>
                <a:gd name="connsiteY2387" fmla="*/ 183356 h 514350"/>
                <a:gd name="connsiteX2388" fmla="*/ 1592104 w 6400800"/>
                <a:gd name="connsiteY2388" fmla="*/ 207169 h 514350"/>
                <a:gd name="connsiteX2389" fmla="*/ 1591151 w 6400800"/>
                <a:gd name="connsiteY2389" fmla="*/ 227171 h 514350"/>
                <a:gd name="connsiteX2390" fmla="*/ 1583531 w 6400800"/>
                <a:gd name="connsiteY2390" fmla="*/ 197644 h 514350"/>
                <a:gd name="connsiteX2391" fmla="*/ 1578769 w 6400800"/>
                <a:gd name="connsiteY2391" fmla="*/ 179546 h 514350"/>
                <a:gd name="connsiteX2392" fmla="*/ 1573054 w 6400800"/>
                <a:gd name="connsiteY2392" fmla="*/ 163354 h 514350"/>
                <a:gd name="connsiteX2393" fmla="*/ 1563529 w 6400800"/>
                <a:gd name="connsiteY2393" fmla="*/ 137636 h 514350"/>
                <a:gd name="connsiteX2394" fmla="*/ 1554004 w 6400800"/>
                <a:gd name="connsiteY2394" fmla="*/ 115729 h 514350"/>
                <a:gd name="connsiteX2395" fmla="*/ 1560671 w 6400800"/>
                <a:gd name="connsiteY2395" fmla="*/ 138589 h 514350"/>
                <a:gd name="connsiteX2396" fmla="*/ 1567339 w 6400800"/>
                <a:gd name="connsiteY2396" fmla="*/ 165259 h 514350"/>
                <a:gd name="connsiteX2397" fmla="*/ 1571149 w 6400800"/>
                <a:gd name="connsiteY2397" fmla="*/ 181451 h 514350"/>
                <a:gd name="connsiteX2398" fmla="*/ 1574006 w 6400800"/>
                <a:gd name="connsiteY2398" fmla="*/ 199549 h 514350"/>
                <a:gd name="connsiteX2399" fmla="*/ 1579721 w 6400800"/>
                <a:gd name="connsiteY2399" fmla="*/ 240506 h 514350"/>
                <a:gd name="connsiteX2400" fmla="*/ 1584484 w 6400800"/>
                <a:gd name="connsiteY2400" fmla="*/ 283369 h 514350"/>
                <a:gd name="connsiteX2401" fmla="*/ 1576864 w 6400800"/>
                <a:gd name="connsiteY2401" fmla="*/ 258604 h 514350"/>
                <a:gd name="connsiteX2402" fmla="*/ 1573054 w 6400800"/>
                <a:gd name="connsiteY2402" fmla="*/ 249079 h 514350"/>
                <a:gd name="connsiteX2403" fmla="*/ 1573054 w 6400800"/>
                <a:gd name="connsiteY2403" fmla="*/ 247174 h 514350"/>
                <a:gd name="connsiteX2404" fmla="*/ 1572101 w 6400800"/>
                <a:gd name="connsiteY2404" fmla="*/ 234791 h 514350"/>
                <a:gd name="connsiteX2405" fmla="*/ 1567339 w 6400800"/>
                <a:gd name="connsiteY2405" fmla="*/ 198596 h 514350"/>
                <a:gd name="connsiteX2406" fmla="*/ 1563529 w 6400800"/>
                <a:gd name="connsiteY2406" fmla="*/ 184309 h 514350"/>
                <a:gd name="connsiteX2407" fmla="*/ 1558766 w 6400800"/>
                <a:gd name="connsiteY2407" fmla="*/ 171926 h 514350"/>
                <a:gd name="connsiteX2408" fmla="*/ 1550194 w 6400800"/>
                <a:gd name="connsiteY2408" fmla="*/ 155734 h 514350"/>
                <a:gd name="connsiteX2409" fmla="*/ 1546384 w 6400800"/>
                <a:gd name="connsiteY2409" fmla="*/ 150019 h 514350"/>
                <a:gd name="connsiteX2410" fmla="*/ 1549241 w 6400800"/>
                <a:gd name="connsiteY2410" fmla="*/ 155734 h 514350"/>
                <a:gd name="connsiteX2411" fmla="*/ 1554956 w 6400800"/>
                <a:gd name="connsiteY2411" fmla="*/ 171926 h 514350"/>
                <a:gd name="connsiteX2412" fmla="*/ 1557814 w 6400800"/>
                <a:gd name="connsiteY2412" fmla="*/ 184309 h 514350"/>
                <a:gd name="connsiteX2413" fmla="*/ 1559719 w 6400800"/>
                <a:gd name="connsiteY2413" fmla="*/ 198596 h 514350"/>
                <a:gd name="connsiteX2414" fmla="*/ 1560671 w 6400800"/>
                <a:gd name="connsiteY2414" fmla="*/ 213836 h 514350"/>
                <a:gd name="connsiteX2415" fmla="*/ 1559719 w 6400800"/>
                <a:gd name="connsiteY2415" fmla="*/ 216694 h 514350"/>
                <a:gd name="connsiteX2416" fmla="*/ 1555909 w 6400800"/>
                <a:gd name="connsiteY2416" fmla="*/ 208121 h 514350"/>
                <a:gd name="connsiteX2417" fmla="*/ 1549241 w 6400800"/>
                <a:gd name="connsiteY2417" fmla="*/ 194786 h 514350"/>
                <a:gd name="connsiteX2418" fmla="*/ 1537811 w 6400800"/>
                <a:gd name="connsiteY2418" fmla="*/ 173831 h 514350"/>
                <a:gd name="connsiteX2419" fmla="*/ 1526381 w 6400800"/>
                <a:gd name="connsiteY2419" fmla="*/ 156686 h 514350"/>
                <a:gd name="connsiteX2420" fmla="*/ 1534001 w 6400800"/>
                <a:gd name="connsiteY2420" fmla="*/ 175736 h 514350"/>
                <a:gd name="connsiteX2421" fmla="*/ 1542574 w 6400800"/>
                <a:gd name="connsiteY2421" fmla="*/ 197644 h 514350"/>
                <a:gd name="connsiteX2422" fmla="*/ 1546384 w 6400800"/>
                <a:gd name="connsiteY2422" fmla="*/ 209074 h 514350"/>
                <a:gd name="connsiteX2423" fmla="*/ 1545431 w 6400800"/>
                <a:gd name="connsiteY2423" fmla="*/ 208121 h 514350"/>
                <a:gd name="connsiteX2424" fmla="*/ 1546384 w 6400800"/>
                <a:gd name="connsiteY2424" fmla="*/ 210979 h 514350"/>
                <a:gd name="connsiteX2425" fmla="*/ 1551146 w 6400800"/>
                <a:gd name="connsiteY2425" fmla="*/ 226219 h 514350"/>
                <a:gd name="connsiteX2426" fmla="*/ 1552099 w 6400800"/>
                <a:gd name="connsiteY2426" fmla="*/ 230981 h 514350"/>
                <a:gd name="connsiteX2427" fmla="*/ 1553051 w 6400800"/>
                <a:gd name="connsiteY2427" fmla="*/ 235744 h 514350"/>
                <a:gd name="connsiteX2428" fmla="*/ 1554004 w 6400800"/>
                <a:gd name="connsiteY2428" fmla="*/ 241459 h 514350"/>
                <a:gd name="connsiteX2429" fmla="*/ 1554004 w 6400800"/>
                <a:gd name="connsiteY2429" fmla="*/ 244316 h 514350"/>
                <a:gd name="connsiteX2430" fmla="*/ 1553051 w 6400800"/>
                <a:gd name="connsiteY2430" fmla="*/ 250031 h 514350"/>
                <a:gd name="connsiteX2431" fmla="*/ 1547336 w 6400800"/>
                <a:gd name="connsiteY2431" fmla="*/ 263366 h 514350"/>
                <a:gd name="connsiteX2432" fmla="*/ 1542574 w 6400800"/>
                <a:gd name="connsiteY2432" fmla="*/ 251936 h 514350"/>
                <a:gd name="connsiteX2433" fmla="*/ 1542574 w 6400800"/>
                <a:gd name="connsiteY2433" fmla="*/ 243364 h 514350"/>
                <a:gd name="connsiteX2434" fmla="*/ 1542574 w 6400800"/>
                <a:gd name="connsiteY2434" fmla="*/ 222409 h 514350"/>
                <a:gd name="connsiteX2435" fmla="*/ 1538764 w 6400800"/>
                <a:gd name="connsiteY2435" fmla="*/ 243364 h 514350"/>
                <a:gd name="connsiteX2436" fmla="*/ 1538764 w 6400800"/>
                <a:gd name="connsiteY2436" fmla="*/ 243364 h 514350"/>
                <a:gd name="connsiteX2437" fmla="*/ 1531144 w 6400800"/>
                <a:gd name="connsiteY2437" fmla="*/ 226219 h 514350"/>
                <a:gd name="connsiteX2438" fmla="*/ 1537811 w 6400800"/>
                <a:gd name="connsiteY2438" fmla="*/ 250031 h 514350"/>
                <a:gd name="connsiteX2439" fmla="*/ 1536859 w 6400800"/>
                <a:gd name="connsiteY2439" fmla="*/ 258604 h 514350"/>
                <a:gd name="connsiteX2440" fmla="*/ 1531144 w 6400800"/>
                <a:gd name="connsiteY2440" fmla="*/ 239554 h 514350"/>
                <a:gd name="connsiteX2441" fmla="*/ 1525429 w 6400800"/>
                <a:gd name="connsiteY2441" fmla="*/ 220504 h 514350"/>
                <a:gd name="connsiteX2442" fmla="*/ 1521619 w 6400800"/>
                <a:gd name="connsiteY2442" fmla="*/ 211931 h 514350"/>
                <a:gd name="connsiteX2443" fmla="*/ 1515904 w 6400800"/>
                <a:gd name="connsiteY2443" fmla="*/ 150019 h 514350"/>
                <a:gd name="connsiteX2444" fmla="*/ 1513046 w 6400800"/>
                <a:gd name="connsiteY2444" fmla="*/ 192881 h 514350"/>
                <a:gd name="connsiteX2445" fmla="*/ 1506379 w 6400800"/>
                <a:gd name="connsiteY2445" fmla="*/ 177641 h 514350"/>
                <a:gd name="connsiteX2446" fmla="*/ 1495901 w 6400800"/>
                <a:gd name="connsiteY2446" fmla="*/ 154781 h 514350"/>
                <a:gd name="connsiteX2447" fmla="*/ 1502569 w 6400800"/>
                <a:gd name="connsiteY2447" fmla="*/ 178594 h 514350"/>
                <a:gd name="connsiteX2448" fmla="*/ 1505426 w 6400800"/>
                <a:gd name="connsiteY2448" fmla="*/ 190024 h 514350"/>
                <a:gd name="connsiteX2449" fmla="*/ 1504474 w 6400800"/>
                <a:gd name="connsiteY2449" fmla="*/ 189071 h 514350"/>
                <a:gd name="connsiteX2450" fmla="*/ 1510189 w 6400800"/>
                <a:gd name="connsiteY2450" fmla="*/ 210026 h 514350"/>
                <a:gd name="connsiteX2451" fmla="*/ 1511141 w 6400800"/>
                <a:gd name="connsiteY2451" fmla="*/ 213836 h 514350"/>
                <a:gd name="connsiteX2452" fmla="*/ 1510189 w 6400800"/>
                <a:gd name="connsiteY2452" fmla="*/ 233839 h 514350"/>
                <a:gd name="connsiteX2453" fmla="*/ 1509236 w 6400800"/>
                <a:gd name="connsiteY2453" fmla="*/ 258604 h 514350"/>
                <a:gd name="connsiteX2454" fmla="*/ 1498759 w 6400800"/>
                <a:gd name="connsiteY2454" fmla="*/ 230981 h 514350"/>
                <a:gd name="connsiteX2455" fmla="*/ 1508284 w 6400800"/>
                <a:gd name="connsiteY2455" fmla="*/ 275749 h 514350"/>
                <a:gd name="connsiteX2456" fmla="*/ 1507331 w 6400800"/>
                <a:gd name="connsiteY2456" fmla="*/ 288131 h 514350"/>
                <a:gd name="connsiteX2457" fmla="*/ 1504474 w 6400800"/>
                <a:gd name="connsiteY2457" fmla="*/ 292894 h 514350"/>
                <a:gd name="connsiteX2458" fmla="*/ 1500664 w 6400800"/>
                <a:gd name="connsiteY2458" fmla="*/ 298609 h 514350"/>
                <a:gd name="connsiteX2459" fmla="*/ 1493044 w 6400800"/>
                <a:gd name="connsiteY2459" fmla="*/ 266224 h 514350"/>
                <a:gd name="connsiteX2460" fmla="*/ 1497806 w 6400800"/>
                <a:gd name="connsiteY2460" fmla="*/ 246221 h 514350"/>
                <a:gd name="connsiteX2461" fmla="*/ 1491139 w 6400800"/>
                <a:gd name="connsiteY2461" fmla="*/ 260509 h 514350"/>
                <a:gd name="connsiteX2462" fmla="*/ 1491139 w 6400800"/>
                <a:gd name="connsiteY2462" fmla="*/ 259556 h 514350"/>
                <a:gd name="connsiteX2463" fmla="*/ 1490186 w 6400800"/>
                <a:gd name="connsiteY2463" fmla="*/ 244316 h 514350"/>
                <a:gd name="connsiteX2464" fmla="*/ 1489234 w 6400800"/>
                <a:gd name="connsiteY2464" fmla="*/ 238601 h 514350"/>
                <a:gd name="connsiteX2465" fmla="*/ 1489234 w 6400800"/>
                <a:gd name="connsiteY2465" fmla="*/ 237649 h 514350"/>
                <a:gd name="connsiteX2466" fmla="*/ 1489234 w 6400800"/>
                <a:gd name="connsiteY2466" fmla="*/ 238601 h 514350"/>
                <a:gd name="connsiteX2467" fmla="*/ 1486376 w 6400800"/>
                <a:gd name="connsiteY2467" fmla="*/ 219551 h 514350"/>
                <a:gd name="connsiteX2468" fmla="*/ 1482566 w 6400800"/>
                <a:gd name="connsiteY2468" fmla="*/ 198596 h 514350"/>
                <a:gd name="connsiteX2469" fmla="*/ 1482566 w 6400800"/>
                <a:gd name="connsiteY2469" fmla="*/ 220504 h 514350"/>
                <a:gd name="connsiteX2470" fmla="*/ 1482566 w 6400800"/>
                <a:gd name="connsiteY2470" fmla="*/ 228124 h 514350"/>
                <a:gd name="connsiteX2471" fmla="*/ 1473041 w 6400800"/>
                <a:gd name="connsiteY2471" fmla="*/ 193834 h 514350"/>
                <a:gd name="connsiteX2472" fmla="*/ 1479709 w 6400800"/>
                <a:gd name="connsiteY2472" fmla="*/ 259556 h 514350"/>
                <a:gd name="connsiteX2473" fmla="*/ 1478756 w 6400800"/>
                <a:gd name="connsiteY2473" fmla="*/ 262414 h 514350"/>
                <a:gd name="connsiteX2474" fmla="*/ 1476851 w 6400800"/>
                <a:gd name="connsiteY2474" fmla="*/ 266224 h 514350"/>
                <a:gd name="connsiteX2475" fmla="*/ 1475899 w 6400800"/>
                <a:gd name="connsiteY2475" fmla="*/ 257651 h 514350"/>
                <a:gd name="connsiteX2476" fmla="*/ 1471136 w 6400800"/>
                <a:gd name="connsiteY2476" fmla="*/ 221456 h 514350"/>
                <a:gd name="connsiteX2477" fmla="*/ 1466374 w 6400800"/>
                <a:gd name="connsiteY2477" fmla="*/ 193834 h 514350"/>
                <a:gd name="connsiteX2478" fmla="*/ 1460659 w 6400800"/>
                <a:gd name="connsiteY2478" fmla="*/ 170021 h 514350"/>
                <a:gd name="connsiteX2479" fmla="*/ 1462564 w 6400800"/>
                <a:gd name="connsiteY2479" fmla="*/ 193834 h 514350"/>
                <a:gd name="connsiteX2480" fmla="*/ 1464469 w 6400800"/>
                <a:gd name="connsiteY2480" fmla="*/ 221456 h 514350"/>
                <a:gd name="connsiteX2481" fmla="*/ 1465421 w 6400800"/>
                <a:gd name="connsiteY2481" fmla="*/ 257651 h 514350"/>
                <a:gd name="connsiteX2482" fmla="*/ 1465421 w 6400800"/>
                <a:gd name="connsiteY2482" fmla="*/ 275749 h 514350"/>
                <a:gd name="connsiteX2483" fmla="*/ 1455896 w 6400800"/>
                <a:gd name="connsiteY2483" fmla="*/ 246221 h 514350"/>
                <a:gd name="connsiteX2484" fmla="*/ 1447324 w 6400800"/>
                <a:gd name="connsiteY2484" fmla="*/ 218599 h 514350"/>
                <a:gd name="connsiteX2485" fmla="*/ 1439704 w 6400800"/>
                <a:gd name="connsiteY2485" fmla="*/ 194786 h 514350"/>
                <a:gd name="connsiteX2486" fmla="*/ 1442561 w 6400800"/>
                <a:gd name="connsiteY2486" fmla="*/ 215741 h 514350"/>
                <a:gd name="connsiteX2487" fmla="*/ 1435894 w 6400800"/>
                <a:gd name="connsiteY2487" fmla="*/ 185261 h 514350"/>
                <a:gd name="connsiteX2488" fmla="*/ 1435894 w 6400800"/>
                <a:gd name="connsiteY2488" fmla="*/ 159544 h 514350"/>
                <a:gd name="connsiteX2489" fmla="*/ 1433036 w 6400800"/>
                <a:gd name="connsiteY2489" fmla="*/ 173831 h 514350"/>
                <a:gd name="connsiteX2490" fmla="*/ 1430179 w 6400800"/>
                <a:gd name="connsiteY2490" fmla="*/ 160496 h 514350"/>
                <a:gd name="connsiteX2491" fmla="*/ 1430179 w 6400800"/>
                <a:gd name="connsiteY2491" fmla="*/ 166211 h 514350"/>
                <a:gd name="connsiteX2492" fmla="*/ 1425416 w 6400800"/>
                <a:gd name="connsiteY2492" fmla="*/ 147161 h 514350"/>
                <a:gd name="connsiteX2493" fmla="*/ 1418749 w 6400800"/>
                <a:gd name="connsiteY2493" fmla="*/ 127159 h 514350"/>
                <a:gd name="connsiteX2494" fmla="*/ 1421606 w 6400800"/>
                <a:gd name="connsiteY2494" fmla="*/ 148114 h 514350"/>
                <a:gd name="connsiteX2495" fmla="*/ 1423511 w 6400800"/>
                <a:gd name="connsiteY2495" fmla="*/ 171926 h 514350"/>
                <a:gd name="connsiteX2496" fmla="*/ 1425416 w 6400800"/>
                <a:gd name="connsiteY2496" fmla="*/ 202406 h 514350"/>
                <a:gd name="connsiteX2497" fmla="*/ 1426369 w 6400800"/>
                <a:gd name="connsiteY2497" fmla="*/ 218599 h 514350"/>
                <a:gd name="connsiteX2498" fmla="*/ 1424464 w 6400800"/>
                <a:gd name="connsiteY2498" fmla="*/ 235744 h 514350"/>
                <a:gd name="connsiteX2499" fmla="*/ 1421606 w 6400800"/>
                <a:gd name="connsiteY2499" fmla="*/ 226219 h 514350"/>
                <a:gd name="connsiteX2500" fmla="*/ 1415891 w 6400800"/>
                <a:gd name="connsiteY2500" fmla="*/ 210026 h 514350"/>
                <a:gd name="connsiteX2501" fmla="*/ 1410176 w 6400800"/>
                <a:gd name="connsiteY2501" fmla="*/ 195739 h 514350"/>
                <a:gd name="connsiteX2502" fmla="*/ 1412081 w 6400800"/>
                <a:gd name="connsiteY2502" fmla="*/ 210979 h 514350"/>
                <a:gd name="connsiteX2503" fmla="*/ 1414939 w 6400800"/>
                <a:gd name="connsiteY2503" fmla="*/ 228124 h 514350"/>
                <a:gd name="connsiteX2504" fmla="*/ 1416844 w 6400800"/>
                <a:gd name="connsiteY2504" fmla="*/ 250031 h 514350"/>
                <a:gd name="connsiteX2505" fmla="*/ 1418749 w 6400800"/>
                <a:gd name="connsiteY2505" fmla="*/ 268129 h 514350"/>
                <a:gd name="connsiteX2506" fmla="*/ 1413034 w 6400800"/>
                <a:gd name="connsiteY2506" fmla="*/ 277654 h 514350"/>
                <a:gd name="connsiteX2507" fmla="*/ 1411129 w 6400800"/>
                <a:gd name="connsiteY2507" fmla="*/ 271939 h 514350"/>
                <a:gd name="connsiteX2508" fmla="*/ 1401604 w 6400800"/>
                <a:gd name="connsiteY2508" fmla="*/ 215741 h 514350"/>
                <a:gd name="connsiteX2509" fmla="*/ 1400651 w 6400800"/>
                <a:gd name="connsiteY2509" fmla="*/ 243364 h 514350"/>
                <a:gd name="connsiteX2510" fmla="*/ 1392079 w 6400800"/>
                <a:gd name="connsiteY2510" fmla="*/ 219551 h 514350"/>
                <a:gd name="connsiteX2511" fmla="*/ 1393031 w 6400800"/>
                <a:gd name="connsiteY2511" fmla="*/ 213836 h 514350"/>
                <a:gd name="connsiteX2512" fmla="*/ 1395889 w 6400800"/>
                <a:gd name="connsiteY2512" fmla="*/ 210979 h 514350"/>
                <a:gd name="connsiteX2513" fmla="*/ 1400651 w 6400800"/>
                <a:gd name="connsiteY2513" fmla="*/ 205264 h 514350"/>
                <a:gd name="connsiteX2514" fmla="*/ 1394936 w 6400800"/>
                <a:gd name="connsiteY2514" fmla="*/ 210026 h 514350"/>
                <a:gd name="connsiteX2515" fmla="*/ 1393031 w 6400800"/>
                <a:gd name="connsiteY2515" fmla="*/ 210979 h 514350"/>
                <a:gd name="connsiteX2516" fmla="*/ 1394936 w 6400800"/>
                <a:gd name="connsiteY2516" fmla="*/ 202406 h 514350"/>
                <a:gd name="connsiteX2517" fmla="*/ 1391126 w 6400800"/>
                <a:gd name="connsiteY2517" fmla="*/ 212884 h 514350"/>
                <a:gd name="connsiteX2518" fmla="*/ 1390174 w 6400800"/>
                <a:gd name="connsiteY2518" fmla="*/ 213836 h 514350"/>
                <a:gd name="connsiteX2519" fmla="*/ 1384459 w 6400800"/>
                <a:gd name="connsiteY2519" fmla="*/ 199549 h 514350"/>
                <a:gd name="connsiteX2520" fmla="*/ 1387316 w 6400800"/>
                <a:gd name="connsiteY2520" fmla="*/ 215741 h 514350"/>
                <a:gd name="connsiteX2521" fmla="*/ 1378744 w 6400800"/>
                <a:gd name="connsiteY2521" fmla="*/ 224314 h 514350"/>
                <a:gd name="connsiteX2522" fmla="*/ 1367314 w 6400800"/>
                <a:gd name="connsiteY2522" fmla="*/ 240506 h 514350"/>
                <a:gd name="connsiteX2523" fmla="*/ 1354931 w 6400800"/>
                <a:gd name="connsiteY2523" fmla="*/ 209074 h 514350"/>
                <a:gd name="connsiteX2524" fmla="*/ 1354931 w 6400800"/>
                <a:gd name="connsiteY2524" fmla="*/ 185261 h 514350"/>
                <a:gd name="connsiteX2525" fmla="*/ 1354931 w 6400800"/>
                <a:gd name="connsiteY2525" fmla="*/ 157639 h 514350"/>
                <a:gd name="connsiteX2526" fmla="*/ 1351121 w 6400800"/>
                <a:gd name="connsiteY2526" fmla="*/ 185261 h 514350"/>
                <a:gd name="connsiteX2527" fmla="*/ 1349216 w 6400800"/>
                <a:gd name="connsiteY2527" fmla="*/ 197644 h 514350"/>
                <a:gd name="connsiteX2528" fmla="*/ 1343501 w 6400800"/>
                <a:gd name="connsiteY2528" fmla="*/ 186214 h 514350"/>
                <a:gd name="connsiteX2529" fmla="*/ 1344454 w 6400800"/>
                <a:gd name="connsiteY2529" fmla="*/ 171926 h 514350"/>
                <a:gd name="connsiteX2530" fmla="*/ 1344454 w 6400800"/>
                <a:gd name="connsiteY2530" fmla="*/ 157639 h 514350"/>
                <a:gd name="connsiteX2531" fmla="*/ 1345406 w 6400800"/>
                <a:gd name="connsiteY2531" fmla="*/ 142399 h 514350"/>
                <a:gd name="connsiteX2532" fmla="*/ 1346359 w 6400800"/>
                <a:gd name="connsiteY2532" fmla="*/ 120491 h 514350"/>
                <a:gd name="connsiteX2533" fmla="*/ 1341596 w 6400800"/>
                <a:gd name="connsiteY2533" fmla="*/ 141446 h 514350"/>
                <a:gd name="connsiteX2534" fmla="*/ 1336834 w 6400800"/>
                <a:gd name="connsiteY2534" fmla="*/ 166211 h 514350"/>
                <a:gd name="connsiteX2535" fmla="*/ 1335881 w 6400800"/>
                <a:gd name="connsiteY2535" fmla="*/ 169069 h 514350"/>
                <a:gd name="connsiteX2536" fmla="*/ 1327309 w 6400800"/>
                <a:gd name="connsiteY2536" fmla="*/ 150971 h 514350"/>
                <a:gd name="connsiteX2537" fmla="*/ 1280636 w 6400800"/>
                <a:gd name="connsiteY2537" fmla="*/ 53816 h 514350"/>
                <a:gd name="connsiteX2538" fmla="*/ 1317784 w 6400800"/>
                <a:gd name="connsiteY2538" fmla="*/ 155734 h 514350"/>
                <a:gd name="connsiteX2539" fmla="*/ 1332071 w 6400800"/>
                <a:gd name="connsiteY2539" fmla="*/ 193834 h 514350"/>
                <a:gd name="connsiteX2540" fmla="*/ 1331119 w 6400800"/>
                <a:gd name="connsiteY2540" fmla="*/ 197644 h 514350"/>
                <a:gd name="connsiteX2541" fmla="*/ 1326356 w 6400800"/>
                <a:gd name="connsiteY2541" fmla="*/ 235744 h 514350"/>
                <a:gd name="connsiteX2542" fmla="*/ 1321594 w 6400800"/>
                <a:gd name="connsiteY2542" fmla="*/ 277654 h 514350"/>
                <a:gd name="connsiteX2543" fmla="*/ 1319689 w 6400800"/>
                <a:gd name="connsiteY2543" fmla="*/ 293846 h 514350"/>
                <a:gd name="connsiteX2544" fmla="*/ 1317784 w 6400800"/>
                <a:gd name="connsiteY2544" fmla="*/ 290989 h 514350"/>
                <a:gd name="connsiteX2545" fmla="*/ 1317784 w 6400800"/>
                <a:gd name="connsiteY2545" fmla="*/ 289084 h 514350"/>
                <a:gd name="connsiteX2546" fmla="*/ 1316831 w 6400800"/>
                <a:gd name="connsiteY2546" fmla="*/ 290989 h 514350"/>
                <a:gd name="connsiteX2547" fmla="*/ 1315879 w 6400800"/>
                <a:gd name="connsiteY2547" fmla="*/ 288131 h 514350"/>
                <a:gd name="connsiteX2548" fmla="*/ 1313974 w 6400800"/>
                <a:gd name="connsiteY2548" fmla="*/ 285274 h 514350"/>
                <a:gd name="connsiteX2549" fmla="*/ 1316831 w 6400800"/>
                <a:gd name="connsiteY2549" fmla="*/ 244316 h 514350"/>
                <a:gd name="connsiteX2550" fmla="*/ 1309211 w 6400800"/>
                <a:gd name="connsiteY2550" fmla="*/ 277654 h 514350"/>
                <a:gd name="connsiteX2551" fmla="*/ 1298734 w 6400800"/>
                <a:gd name="connsiteY2551" fmla="*/ 260509 h 514350"/>
                <a:gd name="connsiteX2552" fmla="*/ 1313974 w 6400800"/>
                <a:gd name="connsiteY2552" fmla="*/ 199549 h 514350"/>
                <a:gd name="connsiteX2553" fmla="*/ 1319689 w 6400800"/>
                <a:gd name="connsiteY2553" fmla="*/ 172879 h 514350"/>
                <a:gd name="connsiteX2554" fmla="*/ 1291114 w 6400800"/>
                <a:gd name="connsiteY2554" fmla="*/ 249079 h 514350"/>
                <a:gd name="connsiteX2555" fmla="*/ 1281589 w 6400800"/>
                <a:gd name="connsiteY2555" fmla="*/ 234791 h 514350"/>
                <a:gd name="connsiteX2556" fmla="*/ 1267301 w 6400800"/>
                <a:gd name="connsiteY2556" fmla="*/ 215741 h 514350"/>
                <a:gd name="connsiteX2557" fmla="*/ 1275874 w 6400800"/>
                <a:gd name="connsiteY2557" fmla="*/ 232886 h 514350"/>
                <a:gd name="connsiteX2558" fmla="*/ 1272064 w 6400800"/>
                <a:gd name="connsiteY2558" fmla="*/ 243364 h 514350"/>
                <a:gd name="connsiteX2559" fmla="*/ 1261586 w 6400800"/>
                <a:gd name="connsiteY2559" fmla="*/ 227171 h 514350"/>
                <a:gd name="connsiteX2560" fmla="*/ 1249204 w 6400800"/>
                <a:gd name="connsiteY2560" fmla="*/ 210979 h 514350"/>
                <a:gd name="connsiteX2561" fmla="*/ 1247299 w 6400800"/>
                <a:gd name="connsiteY2561" fmla="*/ 208121 h 514350"/>
                <a:gd name="connsiteX2562" fmla="*/ 1251109 w 6400800"/>
                <a:gd name="connsiteY2562" fmla="*/ 199549 h 514350"/>
                <a:gd name="connsiteX2563" fmla="*/ 1246346 w 6400800"/>
                <a:gd name="connsiteY2563" fmla="*/ 206216 h 514350"/>
                <a:gd name="connsiteX2564" fmla="*/ 1229201 w 6400800"/>
                <a:gd name="connsiteY2564" fmla="*/ 184309 h 514350"/>
                <a:gd name="connsiteX2565" fmla="*/ 1211104 w 6400800"/>
                <a:gd name="connsiteY2565" fmla="*/ 162401 h 514350"/>
                <a:gd name="connsiteX2566" fmla="*/ 1226344 w 6400800"/>
                <a:gd name="connsiteY2566" fmla="*/ 186214 h 514350"/>
                <a:gd name="connsiteX2567" fmla="*/ 1242536 w 6400800"/>
                <a:gd name="connsiteY2567" fmla="*/ 211931 h 514350"/>
                <a:gd name="connsiteX2568" fmla="*/ 1236821 w 6400800"/>
                <a:gd name="connsiteY2568" fmla="*/ 220504 h 514350"/>
                <a:gd name="connsiteX2569" fmla="*/ 1233011 w 6400800"/>
                <a:gd name="connsiteY2569" fmla="*/ 226219 h 514350"/>
                <a:gd name="connsiteX2570" fmla="*/ 1231106 w 6400800"/>
                <a:gd name="connsiteY2570" fmla="*/ 212884 h 514350"/>
                <a:gd name="connsiteX2571" fmla="*/ 1228249 w 6400800"/>
                <a:gd name="connsiteY2571" fmla="*/ 209074 h 514350"/>
                <a:gd name="connsiteX2572" fmla="*/ 1226344 w 6400800"/>
                <a:gd name="connsiteY2572" fmla="*/ 209074 h 514350"/>
                <a:gd name="connsiteX2573" fmla="*/ 1223486 w 6400800"/>
                <a:gd name="connsiteY2573" fmla="*/ 199549 h 514350"/>
                <a:gd name="connsiteX2574" fmla="*/ 1215866 w 6400800"/>
                <a:gd name="connsiteY2574" fmla="*/ 179546 h 514350"/>
                <a:gd name="connsiteX2575" fmla="*/ 1219676 w 6400800"/>
                <a:gd name="connsiteY2575" fmla="*/ 200501 h 514350"/>
                <a:gd name="connsiteX2576" fmla="*/ 1221581 w 6400800"/>
                <a:gd name="connsiteY2576" fmla="*/ 211931 h 514350"/>
                <a:gd name="connsiteX2577" fmla="*/ 1220629 w 6400800"/>
                <a:gd name="connsiteY2577" fmla="*/ 213836 h 514350"/>
                <a:gd name="connsiteX2578" fmla="*/ 1207294 w 6400800"/>
                <a:gd name="connsiteY2578" fmla="*/ 200501 h 514350"/>
                <a:gd name="connsiteX2579" fmla="*/ 1201579 w 6400800"/>
                <a:gd name="connsiteY2579" fmla="*/ 195739 h 514350"/>
                <a:gd name="connsiteX2580" fmla="*/ 1206341 w 6400800"/>
                <a:gd name="connsiteY2580" fmla="*/ 201454 h 514350"/>
                <a:gd name="connsiteX2581" fmla="*/ 1217771 w 6400800"/>
                <a:gd name="connsiteY2581" fmla="*/ 217646 h 514350"/>
                <a:gd name="connsiteX2582" fmla="*/ 1217771 w 6400800"/>
                <a:gd name="connsiteY2582" fmla="*/ 217646 h 514350"/>
                <a:gd name="connsiteX2583" fmla="*/ 1216819 w 6400800"/>
                <a:gd name="connsiteY2583" fmla="*/ 231934 h 514350"/>
                <a:gd name="connsiteX2584" fmla="*/ 1202531 w 6400800"/>
                <a:gd name="connsiteY2584" fmla="*/ 219551 h 514350"/>
                <a:gd name="connsiteX2585" fmla="*/ 1215866 w 6400800"/>
                <a:gd name="connsiteY2585" fmla="*/ 236696 h 514350"/>
                <a:gd name="connsiteX2586" fmla="*/ 1214914 w 6400800"/>
                <a:gd name="connsiteY2586" fmla="*/ 249079 h 514350"/>
                <a:gd name="connsiteX2587" fmla="*/ 1214914 w 6400800"/>
                <a:gd name="connsiteY2587" fmla="*/ 255746 h 514350"/>
                <a:gd name="connsiteX2588" fmla="*/ 1213961 w 6400800"/>
                <a:gd name="connsiteY2588" fmla="*/ 250984 h 514350"/>
                <a:gd name="connsiteX2589" fmla="*/ 1213961 w 6400800"/>
                <a:gd name="connsiteY2589" fmla="*/ 250031 h 514350"/>
                <a:gd name="connsiteX2590" fmla="*/ 1214914 w 6400800"/>
                <a:gd name="connsiteY2590" fmla="*/ 249079 h 514350"/>
                <a:gd name="connsiteX2591" fmla="*/ 1213961 w 6400800"/>
                <a:gd name="connsiteY2591" fmla="*/ 250031 h 514350"/>
                <a:gd name="connsiteX2592" fmla="*/ 1207294 w 6400800"/>
                <a:gd name="connsiteY2592" fmla="*/ 229076 h 514350"/>
                <a:gd name="connsiteX2593" fmla="*/ 1200626 w 6400800"/>
                <a:gd name="connsiteY2593" fmla="*/ 212884 h 514350"/>
                <a:gd name="connsiteX2594" fmla="*/ 1193959 w 6400800"/>
                <a:gd name="connsiteY2594" fmla="*/ 198596 h 514350"/>
                <a:gd name="connsiteX2595" fmla="*/ 1196816 w 6400800"/>
                <a:gd name="connsiteY2595" fmla="*/ 213836 h 514350"/>
                <a:gd name="connsiteX2596" fmla="*/ 1200626 w 6400800"/>
                <a:gd name="connsiteY2596" fmla="*/ 230981 h 514350"/>
                <a:gd name="connsiteX2597" fmla="*/ 1204436 w 6400800"/>
                <a:gd name="connsiteY2597" fmla="*/ 252889 h 514350"/>
                <a:gd name="connsiteX2598" fmla="*/ 1205389 w 6400800"/>
                <a:gd name="connsiteY2598" fmla="*/ 258604 h 514350"/>
                <a:gd name="connsiteX2599" fmla="*/ 1196816 w 6400800"/>
                <a:gd name="connsiteY2599" fmla="*/ 239554 h 514350"/>
                <a:gd name="connsiteX2600" fmla="*/ 1189196 w 6400800"/>
                <a:gd name="connsiteY2600" fmla="*/ 224314 h 514350"/>
                <a:gd name="connsiteX2601" fmla="*/ 1181576 w 6400800"/>
                <a:gd name="connsiteY2601" fmla="*/ 211931 h 514350"/>
                <a:gd name="connsiteX2602" fmla="*/ 1185386 w 6400800"/>
                <a:gd name="connsiteY2602" fmla="*/ 225266 h 514350"/>
                <a:gd name="connsiteX2603" fmla="*/ 1190149 w 6400800"/>
                <a:gd name="connsiteY2603" fmla="*/ 241459 h 514350"/>
                <a:gd name="connsiteX2604" fmla="*/ 1194911 w 6400800"/>
                <a:gd name="connsiteY2604" fmla="*/ 262414 h 514350"/>
                <a:gd name="connsiteX2605" fmla="*/ 1197769 w 6400800"/>
                <a:gd name="connsiteY2605" fmla="*/ 276701 h 514350"/>
                <a:gd name="connsiteX2606" fmla="*/ 1193959 w 6400800"/>
                <a:gd name="connsiteY2606" fmla="*/ 284321 h 514350"/>
                <a:gd name="connsiteX2607" fmla="*/ 1193959 w 6400800"/>
                <a:gd name="connsiteY2607" fmla="*/ 283369 h 514350"/>
                <a:gd name="connsiteX2608" fmla="*/ 1193006 w 6400800"/>
                <a:gd name="connsiteY2608" fmla="*/ 279559 h 514350"/>
                <a:gd name="connsiteX2609" fmla="*/ 1193959 w 6400800"/>
                <a:gd name="connsiteY2609" fmla="*/ 276701 h 514350"/>
                <a:gd name="connsiteX2610" fmla="*/ 1193006 w 6400800"/>
                <a:gd name="connsiteY2610" fmla="*/ 278606 h 514350"/>
                <a:gd name="connsiteX2611" fmla="*/ 1184434 w 6400800"/>
                <a:gd name="connsiteY2611" fmla="*/ 250984 h 514350"/>
                <a:gd name="connsiteX2612" fmla="*/ 1174909 w 6400800"/>
                <a:gd name="connsiteY2612" fmla="*/ 227171 h 514350"/>
                <a:gd name="connsiteX2613" fmla="*/ 1174909 w 6400800"/>
                <a:gd name="connsiteY2613" fmla="*/ 223361 h 514350"/>
                <a:gd name="connsiteX2614" fmla="*/ 1175861 w 6400800"/>
                <a:gd name="connsiteY2614" fmla="*/ 196691 h 514350"/>
                <a:gd name="connsiteX2615" fmla="*/ 1174909 w 6400800"/>
                <a:gd name="connsiteY2615" fmla="*/ 173831 h 514350"/>
                <a:gd name="connsiteX2616" fmla="*/ 1172051 w 6400800"/>
                <a:gd name="connsiteY2616" fmla="*/ 196691 h 514350"/>
                <a:gd name="connsiteX2617" fmla="*/ 1168241 w 6400800"/>
                <a:gd name="connsiteY2617" fmla="*/ 223361 h 514350"/>
                <a:gd name="connsiteX2618" fmla="*/ 1168241 w 6400800"/>
                <a:gd name="connsiteY2618" fmla="*/ 226219 h 514350"/>
                <a:gd name="connsiteX2619" fmla="*/ 1162526 w 6400800"/>
                <a:gd name="connsiteY2619" fmla="*/ 238601 h 514350"/>
                <a:gd name="connsiteX2620" fmla="*/ 1158716 w 6400800"/>
                <a:gd name="connsiteY2620" fmla="*/ 215741 h 514350"/>
                <a:gd name="connsiteX2621" fmla="*/ 1152049 w 6400800"/>
                <a:gd name="connsiteY2621" fmla="*/ 189071 h 514350"/>
                <a:gd name="connsiteX2622" fmla="*/ 1136809 w 6400800"/>
                <a:gd name="connsiteY2622" fmla="*/ 133826 h 514350"/>
                <a:gd name="connsiteX2623" fmla="*/ 1140619 w 6400800"/>
                <a:gd name="connsiteY2623" fmla="*/ 190024 h 514350"/>
                <a:gd name="connsiteX2624" fmla="*/ 1143476 w 6400800"/>
                <a:gd name="connsiteY2624" fmla="*/ 217646 h 514350"/>
                <a:gd name="connsiteX2625" fmla="*/ 1146334 w 6400800"/>
                <a:gd name="connsiteY2625" fmla="*/ 248126 h 514350"/>
                <a:gd name="connsiteX2626" fmla="*/ 1147286 w 6400800"/>
                <a:gd name="connsiteY2626" fmla="*/ 261461 h 514350"/>
                <a:gd name="connsiteX2627" fmla="*/ 1147286 w 6400800"/>
                <a:gd name="connsiteY2627" fmla="*/ 261461 h 514350"/>
                <a:gd name="connsiteX2628" fmla="*/ 1147286 w 6400800"/>
                <a:gd name="connsiteY2628" fmla="*/ 258604 h 514350"/>
                <a:gd name="connsiteX2629" fmla="*/ 1147286 w 6400800"/>
                <a:gd name="connsiteY2629" fmla="*/ 260509 h 514350"/>
                <a:gd name="connsiteX2630" fmla="*/ 1143476 w 6400800"/>
                <a:gd name="connsiteY2630" fmla="*/ 251936 h 514350"/>
                <a:gd name="connsiteX2631" fmla="*/ 1141571 w 6400800"/>
                <a:gd name="connsiteY2631" fmla="*/ 249079 h 514350"/>
                <a:gd name="connsiteX2632" fmla="*/ 1141571 w 6400800"/>
                <a:gd name="connsiteY2632" fmla="*/ 237649 h 514350"/>
                <a:gd name="connsiteX2633" fmla="*/ 1139666 w 6400800"/>
                <a:gd name="connsiteY2633" fmla="*/ 246221 h 514350"/>
                <a:gd name="connsiteX2634" fmla="*/ 1132046 w 6400800"/>
                <a:gd name="connsiteY2634" fmla="*/ 231934 h 514350"/>
                <a:gd name="connsiteX2635" fmla="*/ 1132046 w 6400800"/>
                <a:gd name="connsiteY2635" fmla="*/ 230981 h 514350"/>
                <a:gd name="connsiteX2636" fmla="*/ 1120616 w 6400800"/>
                <a:gd name="connsiteY2636" fmla="*/ 177641 h 514350"/>
                <a:gd name="connsiteX2637" fmla="*/ 1110139 w 6400800"/>
                <a:gd name="connsiteY2637" fmla="*/ 132874 h 514350"/>
                <a:gd name="connsiteX2638" fmla="*/ 1100614 w 6400800"/>
                <a:gd name="connsiteY2638" fmla="*/ 98584 h 514350"/>
                <a:gd name="connsiteX2639" fmla="*/ 1092041 w 6400800"/>
                <a:gd name="connsiteY2639" fmla="*/ 69056 h 514350"/>
                <a:gd name="connsiteX2640" fmla="*/ 1096804 w 6400800"/>
                <a:gd name="connsiteY2640" fmla="*/ 99536 h 514350"/>
                <a:gd name="connsiteX2641" fmla="*/ 1103471 w 6400800"/>
                <a:gd name="connsiteY2641" fmla="*/ 134779 h 514350"/>
                <a:gd name="connsiteX2642" fmla="*/ 1110139 w 6400800"/>
                <a:gd name="connsiteY2642" fmla="*/ 180499 h 514350"/>
                <a:gd name="connsiteX2643" fmla="*/ 1112996 w 6400800"/>
                <a:gd name="connsiteY2643" fmla="*/ 199549 h 514350"/>
                <a:gd name="connsiteX2644" fmla="*/ 1110139 w 6400800"/>
                <a:gd name="connsiteY2644" fmla="*/ 194786 h 514350"/>
                <a:gd name="connsiteX2645" fmla="*/ 1106329 w 6400800"/>
                <a:gd name="connsiteY2645" fmla="*/ 190024 h 514350"/>
                <a:gd name="connsiteX2646" fmla="*/ 1105376 w 6400800"/>
                <a:gd name="connsiteY2646" fmla="*/ 188119 h 514350"/>
                <a:gd name="connsiteX2647" fmla="*/ 1095851 w 6400800"/>
                <a:gd name="connsiteY2647" fmla="*/ 160496 h 514350"/>
                <a:gd name="connsiteX2648" fmla="*/ 1087279 w 6400800"/>
                <a:gd name="connsiteY2648" fmla="*/ 136684 h 514350"/>
                <a:gd name="connsiteX2649" fmla="*/ 1092041 w 6400800"/>
                <a:gd name="connsiteY2649" fmla="*/ 161449 h 514350"/>
                <a:gd name="connsiteX2650" fmla="*/ 1098709 w 6400800"/>
                <a:gd name="connsiteY2650" fmla="*/ 190024 h 514350"/>
                <a:gd name="connsiteX2651" fmla="*/ 1103471 w 6400800"/>
                <a:gd name="connsiteY2651" fmla="*/ 215741 h 514350"/>
                <a:gd name="connsiteX2652" fmla="*/ 1097756 w 6400800"/>
                <a:gd name="connsiteY2652" fmla="*/ 200501 h 514350"/>
                <a:gd name="connsiteX2653" fmla="*/ 1102519 w 6400800"/>
                <a:gd name="connsiteY2653" fmla="*/ 224314 h 514350"/>
                <a:gd name="connsiteX2654" fmla="*/ 1094899 w 6400800"/>
                <a:gd name="connsiteY2654" fmla="*/ 233839 h 514350"/>
                <a:gd name="connsiteX2655" fmla="*/ 1089184 w 6400800"/>
                <a:gd name="connsiteY2655" fmla="*/ 209074 h 514350"/>
                <a:gd name="connsiteX2656" fmla="*/ 1084421 w 6400800"/>
                <a:gd name="connsiteY2656" fmla="*/ 166211 h 514350"/>
                <a:gd name="connsiteX2657" fmla="*/ 1083469 w 6400800"/>
                <a:gd name="connsiteY2657" fmla="*/ 184309 h 514350"/>
                <a:gd name="connsiteX2658" fmla="*/ 1073944 w 6400800"/>
                <a:gd name="connsiteY2658" fmla="*/ 149066 h 514350"/>
                <a:gd name="connsiteX2659" fmla="*/ 1066324 w 6400800"/>
                <a:gd name="connsiteY2659" fmla="*/ 123349 h 514350"/>
                <a:gd name="connsiteX2660" fmla="*/ 1075849 w 6400800"/>
                <a:gd name="connsiteY2660" fmla="*/ 94774 h 514350"/>
                <a:gd name="connsiteX2661" fmla="*/ 1064419 w 6400800"/>
                <a:gd name="connsiteY2661" fmla="*/ 119539 h 514350"/>
                <a:gd name="connsiteX2662" fmla="*/ 1057751 w 6400800"/>
                <a:gd name="connsiteY2662" fmla="*/ 100489 h 514350"/>
                <a:gd name="connsiteX2663" fmla="*/ 1050131 w 6400800"/>
                <a:gd name="connsiteY2663" fmla="*/ 78581 h 514350"/>
                <a:gd name="connsiteX2664" fmla="*/ 1042511 w 6400800"/>
                <a:gd name="connsiteY2664" fmla="*/ 59531 h 514350"/>
                <a:gd name="connsiteX2665" fmla="*/ 1029176 w 6400800"/>
                <a:gd name="connsiteY2665" fmla="*/ 28099 h 514350"/>
                <a:gd name="connsiteX2666" fmla="*/ 1012984 w 6400800"/>
                <a:gd name="connsiteY2666" fmla="*/ 7144 h 514350"/>
                <a:gd name="connsiteX2667" fmla="*/ 1022509 w 6400800"/>
                <a:gd name="connsiteY2667" fmla="*/ 34766 h 514350"/>
                <a:gd name="connsiteX2668" fmla="*/ 1032986 w 6400800"/>
                <a:gd name="connsiteY2668" fmla="*/ 67151 h 514350"/>
                <a:gd name="connsiteX2669" fmla="*/ 1038701 w 6400800"/>
                <a:gd name="connsiteY2669" fmla="*/ 87154 h 514350"/>
                <a:gd name="connsiteX2670" fmla="*/ 1044416 w 6400800"/>
                <a:gd name="connsiteY2670" fmla="*/ 109061 h 514350"/>
                <a:gd name="connsiteX2671" fmla="*/ 1044416 w 6400800"/>
                <a:gd name="connsiteY2671" fmla="*/ 110014 h 514350"/>
                <a:gd name="connsiteX2672" fmla="*/ 1037749 w 6400800"/>
                <a:gd name="connsiteY2672" fmla="*/ 96679 h 514350"/>
                <a:gd name="connsiteX2673" fmla="*/ 1044416 w 6400800"/>
                <a:gd name="connsiteY2673" fmla="*/ 117634 h 514350"/>
                <a:gd name="connsiteX2674" fmla="*/ 1051084 w 6400800"/>
                <a:gd name="connsiteY2674" fmla="*/ 141446 h 514350"/>
                <a:gd name="connsiteX2675" fmla="*/ 1052036 w 6400800"/>
                <a:gd name="connsiteY2675" fmla="*/ 146209 h 514350"/>
                <a:gd name="connsiteX2676" fmla="*/ 1037749 w 6400800"/>
                <a:gd name="connsiteY2676" fmla="*/ 172879 h 514350"/>
                <a:gd name="connsiteX2677" fmla="*/ 1024414 w 6400800"/>
                <a:gd name="connsiteY2677" fmla="*/ 195739 h 514350"/>
                <a:gd name="connsiteX2678" fmla="*/ 1023461 w 6400800"/>
                <a:gd name="connsiteY2678" fmla="*/ 192881 h 514350"/>
                <a:gd name="connsiteX2679" fmla="*/ 1023461 w 6400800"/>
                <a:gd name="connsiteY2679" fmla="*/ 184309 h 514350"/>
                <a:gd name="connsiteX2680" fmla="*/ 1024414 w 6400800"/>
                <a:gd name="connsiteY2680" fmla="*/ 142399 h 514350"/>
                <a:gd name="connsiteX2681" fmla="*/ 1023461 w 6400800"/>
                <a:gd name="connsiteY2681" fmla="*/ 110014 h 514350"/>
                <a:gd name="connsiteX2682" fmla="*/ 1021556 w 6400800"/>
                <a:gd name="connsiteY2682" fmla="*/ 89059 h 514350"/>
                <a:gd name="connsiteX2683" fmla="*/ 1020604 w 6400800"/>
                <a:gd name="connsiteY2683" fmla="*/ 81439 h 514350"/>
                <a:gd name="connsiteX2684" fmla="*/ 1020604 w 6400800"/>
                <a:gd name="connsiteY2684" fmla="*/ 89059 h 514350"/>
                <a:gd name="connsiteX2685" fmla="*/ 1019651 w 6400800"/>
                <a:gd name="connsiteY2685" fmla="*/ 110014 h 514350"/>
                <a:gd name="connsiteX2686" fmla="*/ 1014889 w 6400800"/>
                <a:gd name="connsiteY2686" fmla="*/ 165259 h 514350"/>
                <a:gd name="connsiteX2687" fmla="*/ 1013936 w 6400800"/>
                <a:gd name="connsiteY2687" fmla="*/ 161449 h 514350"/>
                <a:gd name="connsiteX2688" fmla="*/ 1014889 w 6400800"/>
                <a:gd name="connsiteY2688" fmla="*/ 168116 h 514350"/>
                <a:gd name="connsiteX2689" fmla="*/ 1012984 w 6400800"/>
                <a:gd name="connsiteY2689" fmla="*/ 183356 h 514350"/>
                <a:gd name="connsiteX2690" fmla="*/ 1007269 w 6400800"/>
                <a:gd name="connsiteY2690" fmla="*/ 224314 h 514350"/>
                <a:gd name="connsiteX2691" fmla="*/ 972026 w 6400800"/>
                <a:gd name="connsiteY2691" fmla="*/ 283369 h 514350"/>
                <a:gd name="connsiteX2692" fmla="*/ 971074 w 6400800"/>
                <a:gd name="connsiteY2692" fmla="*/ 269081 h 514350"/>
                <a:gd name="connsiteX2693" fmla="*/ 977741 w 6400800"/>
                <a:gd name="connsiteY2693" fmla="*/ 251936 h 514350"/>
                <a:gd name="connsiteX2694" fmla="*/ 992981 w 6400800"/>
                <a:gd name="connsiteY2694" fmla="*/ 206216 h 514350"/>
                <a:gd name="connsiteX2695" fmla="*/ 1002506 w 6400800"/>
                <a:gd name="connsiteY2695" fmla="*/ 170974 h 514350"/>
                <a:gd name="connsiteX2696" fmla="*/ 1009174 w 6400800"/>
                <a:gd name="connsiteY2696" fmla="*/ 139541 h 514350"/>
                <a:gd name="connsiteX2697" fmla="*/ 998696 w 6400800"/>
                <a:gd name="connsiteY2697" fmla="*/ 170021 h 514350"/>
                <a:gd name="connsiteX2698" fmla="*/ 985361 w 6400800"/>
                <a:gd name="connsiteY2698" fmla="*/ 204311 h 514350"/>
                <a:gd name="connsiteX2699" fmla="*/ 966311 w 6400800"/>
                <a:gd name="connsiteY2699" fmla="*/ 248126 h 514350"/>
                <a:gd name="connsiteX2700" fmla="*/ 960596 w 6400800"/>
                <a:gd name="connsiteY2700" fmla="*/ 260509 h 514350"/>
                <a:gd name="connsiteX2701" fmla="*/ 961549 w 6400800"/>
                <a:gd name="connsiteY2701" fmla="*/ 225266 h 514350"/>
                <a:gd name="connsiteX2702" fmla="*/ 969169 w 6400800"/>
                <a:gd name="connsiteY2702" fmla="*/ 206216 h 514350"/>
                <a:gd name="connsiteX2703" fmla="*/ 961549 w 6400800"/>
                <a:gd name="connsiteY2703" fmla="*/ 218599 h 514350"/>
                <a:gd name="connsiteX2704" fmla="*/ 961549 w 6400800"/>
                <a:gd name="connsiteY2704" fmla="*/ 206216 h 514350"/>
                <a:gd name="connsiteX2705" fmla="*/ 958691 w 6400800"/>
                <a:gd name="connsiteY2705" fmla="*/ 149066 h 514350"/>
                <a:gd name="connsiteX2706" fmla="*/ 956786 w 6400800"/>
                <a:gd name="connsiteY2706" fmla="*/ 134779 h 514350"/>
                <a:gd name="connsiteX2707" fmla="*/ 957739 w 6400800"/>
                <a:gd name="connsiteY2707" fmla="*/ 131921 h 514350"/>
                <a:gd name="connsiteX2708" fmla="*/ 956786 w 6400800"/>
                <a:gd name="connsiteY2708" fmla="*/ 133826 h 514350"/>
                <a:gd name="connsiteX2709" fmla="*/ 956786 w 6400800"/>
                <a:gd name="connsiteY2709" fmla="*/ 132874 h 514350"/>
                <a:gd name="connsiteX2710" fmla="*/ 955834 w 6400800"/>
                <a:gd name="connsiteY2710" fmla="*/ 127159 h 514350"/>
                <a:gd name="connsiteX2711" fmla="*/ 955834 w 6400800"/>
                <a:gd name="connsiteY2711" fmla="*/ 136684 h 514350"/>
                <a:gd name="connsiteX2712" fmla="*/ 927259 w 6400800"/>
                <a:gd name="connsiteY2712" fmla="*/ 206216 h 514350"/>
                <a:gd name="connsiteX2713" fmla="*/ 927259 w 6400800"/>
                <a:gd name="connsiteY2713" fmla="*/ 205264 h 514350"/>
                <a:gd name="connsiteX2714" fmla="*/ 930116 w 6400800"/>
                <a:gd name="connsiteY2714" fmla="*/ 183356 h 514350"/>
                <a:gd name="connsiteX2715" fmla="*/ 932974 w 6400800"/>
                <a:gd name="connsiteY2715" fmla="*/ 164306 h 514350"/>
                <a:gd name="connsiteX2716" fmla="*/ 926306 w 6400800"/>
                <a:gd name="connsiteY2716" fmla="*/ 183356 h 514350"/>
                <a:gd name="connsiteX2717" fmla="*/ 920591 w 6400800"/>
                <a:gd name="connsiteY2717" fmla="*/ 203359 h 514350"/>
                <a:gd name="connsiteX2718" fmla="*/ 910114 w 6400800"/>
                <a:gd name="connsiteY2718" fmla="*/ 171926 h 514350"/>
                <a:gd name="connsiteX2719" fmla="*/ 907256 w 6400800"/>
                <a:gd name="connsiteY2719" fmla="*/ 164306 h 514350"/>
                <a:gd name="connsiteX2720" fmla="*/ 912019 w 6400800"/>
                <a:gd name="connsiteY2720" fmla="*/ 157639 h 514350"/>
                <a:gd name="connsiteX2721" fmla="*/ 933926 w 6400800"/>
                <a:gd name="connsiteY2721" fmla="*/ 124301 h 514350"/>
                <a:gd name="connsiteX2722" fmla="*/ 953929 w 6400800"/>
                <a:gd name="connsiteY2722" fmla="*/ 95726 h 514350"/>
                <a:gd name="connsiteX2723" fmla="*/ 931069 w 6400800"/>
                <a:gd name="connsiteY2723" fmla="*/ 121444 h 514350"/>
                <a:gd name="connsiteX2724" fmla="*/ 906304 w 6400800"/>
                <a:gd name="connsiteY2724" fmla="*/ 151924 h 514350"/>
                <a:gd name="connsiteX2725" fmla="*/ 904399 w 6400800"/>
                <a:gd name="connsiteY2725" fmla="*/ 154781 h 514350"/>
                <a:gd name="connsiteX2726" fmla="*/ 894874 w 6400800"/>
                <a:gd name="connsiteY2726" fmla="*/ 131921 h 514350"/>
                <a:gd name="connsiteX2727" fmla="*/ 892016 w 6400800"/>
                <a:gd name="connsiteY2727" fmla="*/ 126206 h 514350"/>
                <a:gd name="connsiteX2728" fmla="*/ 897731 w 6400800"/>
                <a:gd name="connsiteY2728" fmla="*/ 115729 h 514350"/>
                <a:gd name="connsiteX2729" fmla="*/ 918686 w 6400800"/>
                <a:gd name="connsiteY2729" fmla="*/ 77629 h 514350"/>
                <a:gd name="connsiteX2730" fmla="*/ 937736 w 6400800"/>
                <a:gd name="connsiteY2730" fmla="*/ 44291 h 514350"/>
                <a:gd name="connsiteX2731" fmla="*/ 914876 w 6400800"/>
                <a:gd name="connsiteY2731" fmla="*/ 74771 h 514350"/>
                <a:gd name="connsiteX2732" fmla="*/ 890111 w 6400800"/>
                <a:gd name="connsiteY2732" fmla="*/ 110966 h 514350"/>
                <a:gd name="connsiteX2733" fmla="*/ 886301 w 6400800"/>
                <a:gd name="connsiteY2733" fmla="*/ 116681 h 514350"/>
                <a:gd name="connsiteX2734" fmla="*/ 874871 w 6400800"/>
                <a:gd name="connsiteY2734" fmla="*/ 92869 h 514350"/>
                <a:gd name="connsiteX2735" fmla="*/ 873919 w 6400800"/>
                <a:gd name="connsiteY2735" fmla="*/ 90964 h 514350"/>
                <a:gd name="connsiteX2736" fmla="*/ 872966 w 6400800"/>
                <a:gd name="connsiteY2736" fmla="*/ 91916 h 514350"/>
                <a:gd name="connsiteX2737" fmla="*/ 868204 w 6400800"/>
                <a:gd name="connsiteY2737" fmla="*/ 95726 h 514350"/>
                <a:gd name="connsiteX2738" fmla="*/ 866299 w 6400800"/>
                <a:gd name="connsiteY2738" fmla="*/ 101441 h 514350"/>
                <a:gd name="connsiteX2739" fmla="*/ 868204 w 6400800"/>
                <a:gd name="connsiteY2739" fmla="*/ 113824 h 514350"/>
                <a:gd name="connsiteX2740" fmla="*/ 868204 w 6400800"/>
                <a:gd name="connsiteY2740" fmla="*/ 102394 h 514350"/>
                <a:gd name="connsiteX2741" fmla="*/ 870109 w 6400800"/>
                <a:gd name="connsiteY2741" fmla="*/ 97631 h 514350"/>
                <a:gd name="connsiteX2742" fmla="*/ 872966 w 6400800"/>
                <a:gd name="connsiteY2742" fmla="*/ 95726 h 514350"/>
                <a:gd name="connsiteX2743" fmla="*/ 882491 w 6400800"/>
                <a:gd name="connsiteY2743" fmla="*/ 122396 h 514350"/>
                <a:gd name="connsiteX2744" fmla="*/ 875824 w 6400800"/>
                <a:gd name="connsiteY2744" fmla="*/ 132874 h 514350"/>
                <a:gd name="connsiteX2745" fmla="*/ 860584 w 6400800"/>
                <a:gd name="connsiteY2745" fmla="*/ 159544 h 514350"/>
                <a:gd name="connsiteX2746" fmla="*/ 837724 w 6400800"/>
                <a:gd name="connsiteY2746" fmla="*/ 203359 h 514350"/>
                <a:gd name="connsiteX2747" fmla="*/ 832009 w 6400800"/>
                <a:gd name="connsiteY2747" fmla="*/ 194786 h 514350"/>
                <a:gd name="connsiteX2748" fmla="*/ 838676 w 6400800"/>
                <a:gd name="connsiteY2748" fmla="*/ 137636 h 514350"/>
                <a:gd name="connsiteX2749" fmla="*/ 840581 w 6400800"/>
                <a:gd name="connsiteY2749" fmla="*/ 115729 h 514350"/>
                <a:gd name="connsiteX2750" fmla="*/ 834866 w 6400800"/>
                <a:gd name="connsiteY2750" fmla="*/ 137636 h 514350"/>
                <a:gd name="connsiteX2751" fmla="*/ 820579 w 6400800"/>
                <a:gd name="connsiteY2751" fmla="*/ 194786 h 514350"/>
                <a:gd name="connsiteX2752" fmla="*/ 818674 w 6400800"/>
                <a:gd name="connsiteY2752" fmla="*/ 204311 h 514350"/>
                <a:gd name="connsiteX2753" fmla="*/ 815816 w 6400800"/>
                <a:gd name="connsiteY2753" fmla="*/ 197644 h 514350"/>
                <a:gd name="connsiteX2754" fmla="*/ 807244 w 6400800"/>
                <a:gd name="connsiteY2754" fmla="*/ 174784 h 514350"/>
                <a:gd name="connsiteX2755" fmla="*/ 812006 w 6400800"/>
                <a:gd name="connsiteY2755" fmla="*/ 198596 h 514350"/>
                <a:gd name="connsiteX2756" fmla="*/ 814864 w 6400800"/>
                <a:gd name="connsiteY2756" fmla="*/ 210979 h 514350"/>
                <a:gd name="connsiteX2757" fmla="*/ 815816 w 6400800"/>
                <a:gd name="connsiteY2757" fmla="*/ 216694 h 514350"/>
                <a:gd name="connsiteX2758" fmla="*/ 811054 w 6400800"/>
                <a:gd name="connsiteY2758" fmla="*/ 239554 h 514350"/>
                <a:gd name="connsiteX2759" fmla="*/ 808196 w 6400800"/>
                <a:gd name="connsiteY2759" fmla="*/ 219551 h 514350"/>
                <a:gd name="connsiteX2760" fmla="*/ 807244 w 6400800"/>
                <a:gd name="connsiteY2760" fmla="*/ 264319 h 514350"/>
                <a:gd name="connsiteX2761" fmla="*/ 807244 w 6400800"/>
                <a:gd name="connsiteY2761" fmla="*/ 266224 h 514350"/>
                <a:gd name="connsiteX2762" fmla="*/ 798671 w 6400800"/>
                <a:gd name="connsiteY2762" fmla="*/ 246221 h 514350"/>
                <a:gd name="connsiteX2763" fmla="*/ 800576 w 6400800"/>
                <a:gd name="connsiteY2763" fmla="*/ 239554 h 514350"/>
                <a:gd name="connsiteX2764" fmla="*/ 797719 w 6400800"/>
                <a:gd name="connsiteY2764" fmla="*/ 245269 h 514350"/>
                <a:gd name="connsiteX2765" fmla="*/ 796766 w 6400800"/>
                <a:gd name="connsiteY2765" fmla="*/ 242411 h 514350"/>
                <a:gd name="connsiteX2766" fmla="*/ 792956 w 6400800"/>
                <a:gd name="connsiteY2766" fmla="*/ 233839 h 514350"/>
                <a:gd name="connsiteX2767" fmla="*/ 796766 w 6400800"/>
                <a:gd name="connsiteY2767" fmla="*/ 218599 h 514350"/>
                <a:gd name="connsiteX2768" fmla="*/ 809149 w 6400800"/>
                <a:gd name="connsiteY2768" fmla="*/ 164306 h 514350"/>
                <a:gd name="connsiteX2769" fmla="*/ 812959 w 6400800"/>
                <a:gd name="connsiteY2769" fmla="*/ 143351 h 514350"/>
                <a:gd name="connsiteX2770" fmla="*/ 805339 w 6400800"/>
                <a:gd name="connsiteY2770" fmla="*/ 163354 h 514350"/>
                <a:gd name="connsiteX2771" fmla="*/ 796766 w 6400800"/>
                <a:gd name="connsiteY2771" fmla="*/ 186214 h 514350"/>
                <a:gd name="connsiteX2772" fmla="*/ 785336 w 6400800"/>
                <a:gd name="connsiteY2772" fmla="*/ 215741 h 514350"/>
                <a:gd name="connsiteX2773" fmla="*/ 784384 w 6400800"/>
                <a:gd name="connsiteY2773" fmla="*/ 218599 h 514350"/>
                <a:gd name="connsiteX2774" fmla="*/ 776764 w 6400800"/>
                <a:gd name="connsiteY2774" fmla="*/ 205264 h 514350"/>
                <a:gd name="connsiteX2775" fmla="*/ 774859 w 6400800"/>
                <a:gd name="connsiteY2775" fmla="*/ 202406 h 514350"/>
                <a:gd name="connsiteX2776" fmla="*/ 774859 w 6400800"/>
                <a:gd name="connsiteY2776" fmla="*/ 201454 h 514350"/>
                <a:gd name="connsiteX2777" fmla="*/ 780574 w 6400800"/>
                <a:gd name="connsiteY2777" fmla="*/ 142399 h 514350"/>
                <a:gd name="connsiteX2778" fmla="*/ 781526 w 6400800"/>
                <a:gd name="connsiteY2778" fmla="*/ 119539 h 514350"/>
                <a:gd name="connsiteX2779" fmla="*/ 776764 w 6400800"/>
                <a:gd name="connsiteY2779" fmla="*/ 141446 h 514350"/>
                <a:gd name="connsiteX2780" fmla="*/ 771049 w 6400800"/>
                <a:gd name="connsiteY2780" fmla="*/ 167164 h 514350"/>
                <a:gd name="connsiteX2781" fmla="*/ 766286 w 6400800"/>
                <a:gd name="connsiteY2781" fmla="*/ 189071 h 514350"/>
                <a:gd name="connsiteX2782" fmla="*/ 758666 w 6400800"/>
                <a:gd name="connsiteY2782" fmla="*/ 178594 h 514350"/>
                <a:gd name="connsiteX2783" fmla="*/ 745331 w 6400800"/>
                <a:gd name="connsiteY2783" fmla="*/ 163354 h 514350"/>
                <a:gd name="connsiteX2784" fmla="*/ 740569 w 6400800"/>
                <a:gd name="connsiteY2784" fmla="*/ 157639 h 514350"/>
                <a:gd name="connsiteX2785" fmla="*/ 744379 w 6400800"/>
                <a:gd name="connsiteY2785" fmla="*/ 163354 h 514350"/>
                <a:gd name="connsiteX2786" fmla="*/ 754856 w 6400800"/>
                <a:gd name="connsiteY2786" fmla="*/ 180499 h 514350"/>
                <a:gd name="connsiteX2787" fmla="*/ 763429 w 6400800"/>
                <a:gd name="connsiteY2787" fmla="*/ 196691 h 514350"/>
                <a:gd name="connsiteX2788" fmla="*/ 762476 w 6400800"/>
                <a:gd name="connsiteY2788" fmla="*/ 199549 h 514350"/>
                <a:gd name="connsiteX2789" fmla="*/ 753904 w 6400800"/>
                <a:gd name="connsiteY2789" fmla="*/ 238601 h 514350"/>
                <a:gd name="connsiteX2790" fmla="*/ 747236 w 6400800"/>
                <a:gd name="connsiteY2790" fmla="*/ 224314 h 514350"/>
                <a:gd name="connsiteX2791" fmla="*/ 752951 w 6400800"/>
                <a:gd name="connsiteY2791" fmla="*/ 241459 h 514350"/>
                <a:gd name="connsiteX2792" fmla="*/ 751046 w 6400800"/>
                <a:gd name="connsiteY2792" fmla="*/ 243364 h 514350"/>
                <a:gd name="connsiteX2793" fmla="*/ 749141 w 6400800"/>
                <a:gd name="connsiteY2793" fmla="*/ 252889 h 514350"/>
                <a:gd name="connsiteX2794" fmla="*/ 752951 w 6400800"/>
                <a:gd name="connsiteY2794" fmla="*/ 244316 h 514350"/>
                <a:gd name="connsiteX2795" fmla="*/ 752951 w 6400800"/>
                <a:gd name="connsiteY2795" fmla="*/ 244316 h 514350"/>
                <a:gd name="connsiteX2796" fmla="*/ 744379 w 6400800"/>
                <a:gd name="connsiteY2796" fmla="*/ 282416 h 514350"/>
                <a:gd name="connsiteX2797" fmla="*/ 741521 w 6400800"/>
                <a:gd name="connsiteY2797" fmla="*/ 296704 h 514350"/>
                <a:gd name="connsiteX2798" fmla="*/ 738664 w 6400800"/>
                <a:gd name="connsiteY2798" fmla="*/ 306229 h 514350"/>
                <a:gd name="connsiteX2799" fmla="*/ 738664 w 6400800"/>
                <a:gd name="connsiteY2799" fmla="*/ 306229 h 514350"/>
                <a:gd name="connsiteX2800" fmla="*/ 737711 w 6400800"/>
                <a:gd name="connsiteY2800" fmla="*/ 293846 h 514350"/>
                <a:gd name="connsiteX2801" fmla="*/ 733901 w 6400800"/>
                <a:gd name="connsiteY2801" fmla="*/ 270034 h 514350"/>
                <a:gd name="connsiteX2802" fmla="*/ 731996 w 6400800"/>
                <a:gd name="connsiteY2802" fmla="*/ 259556 h 514350"/>
                <a:gd name="connsiteX2803" fmla="*/ 731044 w 6400800"/>
                <a:gd name="connsiteY2803" fmla="*/ 257651 h 514350"/>
                <a:gd name="connsiteX2804" fmla="*/ 725329 w 6400800"/>
                <a:gd name="connsiteY2804" fmla="*/ 210979 h 514350"/>
                <a:gd name="connsiteX2805" fmla="*/ 722471 w 6400800"/>
                <a:gd name="connsiteY2805" fmla="*/ 186214 h 514350"/>
                <a:gd name="connsiteX2806" fmla="*/ 722471 w 6400800"/>
                <a:gd name="connsiteY2806" fmla="*/ 199549 h 514350"/>
                <a:gd name="connsiteX2807" fmla="*/ 709136 w 6400800"/>
                <a:gd name="connsiteY2807" fmla="*/ 243364 h 514350"/>
                <a:gd name="connsiteX2808" fmla="*/ 704374 w 6400800"/>
                <a:gd name="connsiteY2808" fmla="*/ 229076 h 514350"/>
                <a:gd name="connsiteX2809" fmla="*/ 687229 w 6400800"/>
                <a:gd name="connsiteY2809" fmla="*/ 181451 h 514350"/>
                <a:gd name="connsiteX2810" fmla="*/ 679609 w 6400800"/>
                <a:gd name="connsiteY2810" fmla="*/ 161449 h 514350"/>
                <a:gd name="connsiteX2811" fmla="*/ 679609 w 6400800"/>
                <a:gd name="connsiteY2811" fmla="*/ 148114 h 514350"/>
                <a:gd name="connsiteX2812" fmla="*/ 679609 w 6400800"/>
                <a:gd name="connsiteY2812" fmla="*/ 122396 h 514350"/>
                <a:gd name="connsiteX2813" fmla="*/ 678656 w 6400800"/>
                <a:gd name="connsiteY2813" fmla="*/ 100489 h 514350"/>
                <a:gd name="connsiteX2814" fmla="*/ 675799 w 6400800"/>
                <a:gd name="connsiteY2814" fmla="*/ 122396 h 514350"/>
                <a:gd name="connsiteX2815" fmla="*/ 672941 w 6400800"/>
                <a:gd name="connsiteY2815" fmla="*/ 144304 h 514350"/>
                <a:gd name="connsiteX2816" fmla="*/ 663416 w 6400800"/>
                <a:gd name="connsiteY2816" fmla="*/ 122396 h 514350"/>
                <a:gd name="connsiteX2817" fmla="*/ 659606 w 6400800"/>
                <a:gd name="connsiteY2817" fmla="*/ 114776 h 514350"/>
                <a:gd name="connsiteX2818" fmla="*/ 662464 w 6400800"/>
                <a:gd name="connsiteY2818" fmla="*/ 123349 h 514350"/>
                <a:gd name="connsiteX2819" fmla="*/ 670084 w 6400800"/>
                <a:gd name="connsiteY2819" fmla="*/ 147161 h 514350"/>
                <a:gd name="connsiteX2820" fmla="*/ 671989 w 6400800"/>
                <a:gd name="connsiteY2820" fmla="*/ 153829 h 514350"/>
                <a:gd name="connsiteX2821" fmla="*/ 671036 w 6400800"/>
                <a:gd name="connsiteY2821" fmla="*/ 164306 h 514350"/>
                <a:gd name="connsiteX2822" fmla="*/ 668179 w 6400800"/>
                <a:gd name="connsiteY2822" fmla="*/ 181451 h 514350"/>
                <a:gd name="connsiteX2823" fmla="*/ 662464 w 6400800"/>
                <a:gd name="connsiteY2823" fmla="*/ 219551 h 514350"/>
                <a:gd name="connsiteX2824" fmla="*/ 658654 w 6400800"/>
                <a:gd name="connsiteY2824" fmla="*/ 239554 h 514350"/>
                <a:gd name="connsiteX2825" fmla="*/ 655796 w 6400800"/>
                <a:gd name="connsiteY2825" fmla="*/ 231934 h 514350"/>
                <a:gd name="connsiteX2826" fmla="*/ 657701 w 6400800"/>
                <a:gd name="connsiteY2826" fmla="*/ 210026 h 514350"/>
                <a:gd name="connsiteX2827" fmla="*/ 653891 w 6400800"/>
                <a:gd name="connsiteY2827" fmla="*/ 226219 h 514350"/>
                <a:gd name="connsiteX2828" fmla="*/ 638651 w 6400800"/>
                <a:gd name="connsiteY2828" fmla="*/ 191929 h 514350"/>
                <a:gd name="connsiteX2829" fmla="*/ 630079 w 6400800"/>
                <a:gd name="connsiteY2829" fmla="*/ 174784 h 514350"/>
                <a:gd name="connsiteX2830" fmla="*/ 627221 w 6400800"/>
                <a:gd name="connsiteY2830" fmla="*/ 169069 h 514350"/>
                <a:gd name="connsiteX2831" fmla="*/ 635794 w 6400800"/>
                <a:gd name="connsiteY2831" fmla="*/ 193834 h 514350"/>
                <a:gd name="connsiteX2832" fmla="*/ 649129 w 6400800"/>
                <a:gd name="connsiteY2832" fmla="*/ 240506 h 514350"/>
                <a:gd name="connsiteX2833" fmla="*/ 650081 w 6400800"/>
                <a:gd name="connsiteY2833" fmla="*/ 244316 h 514350"/>
                <a:gd name="connsiteX2834" fmla="*/ 647224 w 6400800"/>
                <a:gd name="connsiteY2834" fmla="*/ 262414 h 514350"/>
                <a:gd name="connsiteX2835" fmla="*/ 644366 w 6400800"/>
                <a:gd name="connsiteY2835" fmla="*/ 279559 h 514350"/>
                <a:gd name="connsiteX2836" fmla="*/ 642461 w 6400800"/>
                <a:gd name="connsiteY2836" fmla="*/ 298609 h 514350"/>
                <a:gd name="connsiteX2837" fmla="*/ 642461 w 6400800"/>
                <a:gd name="connsiteY2837" fmla="*/ 298609 h 514350"/>
                <a:gd name="connsiteX2838" fmla="*/ 642461 w 6400800"/>
                <a:gd name="connsiteY2838" fmla="*/ 294799 h 514350"/>
                <a:gd name="connsiteX2839" fmla="*/ 641509 w 6400800"/>
                <a:gd name="connsiteY2839" fmla="*/ 315754 h 514350"/>
                <a:gd name="connsiteX2840" fmla="*/ 641509 w 6400800"/>
                <a:gd name="connsiteY2840" fmla="*/ 317659 h 514350"/>
                <a:gd name="connsiteX2841" fmla="*/ 639604 w 6400800"/>
                <a:gd name="connsiteY2841" fmla="*/ 309086 h 514350"/>
                <a:gd name="connsiteX2842" fmla="*/ 640556 w 6400800"/>
                <a:gd name="connsiteY2842" fmla="*/ 304324 h 514350"/>
                <a:gd name="connsiteX2843" fmla="*/ 638651 w 6400800"/>
                <a:gd name="connsiteY2843" fmla="*/ 307181 h 514350"/>
                <a:gd name="connsiteX2844" fmla="*/ 632936 w 6400800"/>
                <a:gd name="connsiteY2844" fmla="*/ 284321 h 514350"/>
                <a:gd name="connsiteX2845" fmla="*/ 624364 w 6400800"/>
                <a:gd name="connsiteY2845" fmla="*/ 250031 h 514350"/>
                <a:gd name="connsiteX2846" fmla="*/ 617696 w 6400800"/>
                <a:gd name="connsiteY2846" fmla="*/ 223361 h 514350"/>
                <a:gd name="connsiteX2847" fmla="*/ 614839 w 6400800"/>
                <a:gd name="connsiteY2847" fmla="*/ 210979 h 514350"/>
                <a:gd name="connsiteX2848" fmla="*/ 615791 w 6400800"/>
                <a:gd name="connsiteY2848" fmla="*/ 190024 h 514350"/>
                <a:gd name="connsiteX2849" fmla="*/ 617696 w 6400800"/>
                <a:gd name="connsiteY2849" fmla="*/ 126206 h 514350"/>
                <a:gd name="connsiteX2850" fmla="*/ 607219 w 6400800"/>
                <a:gd name="connsiteY2850" fmla="*/ 187166 h 514350"/>
                <a:gd name="connsiteX2851" fmla="*/ 606266 w 6400800"/>
                <a:gd name="connsiteY2851" fmla="*/ 184309 h 514350"/>
                <a:gd name="connsiteX2852" fmla="*/ 606266 w 6400800"/>
                <a:gd name="connsiteY2852" fmla="*/ 189071 h 514350"/>
                <a:gd name="connsiteX2853" fmla="*/ 601504 w 6400800"/>
                <a:gd name="connsiteY2853" fmla="*/ 215741 h 514350"/>
                <a:gd name="connsiteX2854" fmla="*/ 599599 w 6400800"/>
                <a:gd name="connsiteY2854" fmla="*/ 210979 h 514350"/>
                <a:gd name="connsiteX2855" fmla="*/ 591026 w 6400800"/>
                <a:gd name="connsiteY2855" fmla="*/ 191929 h 514350"/>
                <a:gd name="connsiteX2856" fmla="*/ 595789 w 6400800"/>
                <a:gd name="connsiteY2856" fmla="*/ 212884 h 514350"/>
                <a:gd name="connsiteX2857" fmla="*/ 599599 w 6400800"/>
                <a:gd name="connsiteY2857" fmla="*/ 230029 h 514350"/>
                <a:gd name="connsiteX2858" fmla="*/ 595789 w 6400800"/>
                <a:gd name="connsiteY2858" fmla="*/ 251936 h 514350"/>
                <a:gd name="connsiteX2859" fmla="*/ 589121 w 6400800"/>
                <a:gd name="connsiteY2859" fmla="*/ 294799 h 514350"/>
                <a:gd name="connsiteX2860" fmla="*/ 582454 w 6400800"/>
                <a:gd name="connsiteY2860" fmla="*/ 284321 h 514350"/>
                <a:gd name="connsiteX2861" fmla="*/ 585311 w 6400800"/>
                <a:gd name="connsiteY2861" fmla="*/ 265271 h 514350"/>
                <a:gd name="connsiteX2862" fmla="*/ 588169 w 6400800"/>
                <a:gd name="connsiteY2862" fmla="*/ 244316 h 514350"/>
                <a:gd name="connsiteX2863" fmla="*/ 591026 w 6400800"/>
                <a:gd name="connsiteY2863" fmla="*/ 225266 h 514350"/>
                <a:gd name="connsiteX2864" fmla="*/ 584359 w 6400800"/>
                <a:gd name="connsiteY2864" fmla="*/ 243364 h 514350"/>
                <a:gd name="connsiteX2865" fmla="*/ 579596 w 6400800"/>
                <a:gd name="connsiteY2865" fmla="*/ 258604 h 514350"/>
                <a:gd name="connsiteX2866" fmla="*/ 577691 w 6400800"/>
                <a:gd name="connsiteY2866" fmla="*/ 231934 h 514350"/>
                <a:gd name="connsiteX2867" fmla="*/ 575786 w 6400800"/>
                <a:gd name="connsiteY2867" fmla="*/ 210979 h 514350"/>
                <a:gd name="connsiteX2868" fmla="*/ 573881 w 6400800"/>
                <a:gd name="connsiteY2868" fmla="*/ 230981 h 514350"/>
                <a:gd name="connsiteX2869" fmla="*/ 571024 w 6400800"/>
                <a:gd name="connsiteY2869" fmla="*/ 267176 h 514350"/>
                <a:gd name="connsiteX2870" fmla="*/ 571024 w 6400800"/>
                <a:gd name="connsiteY2870" fmla="*/ 267176 h 514350"/>
                <a:gd name="connsiteX2871" fmla="*/ 567214 w 6400800"/>
                <a:gd name="connsiteY2871" fmla="*/ 262414 h 514350"/>
                <a:gd name="connsiteX2872" fmla="*/ 552926 w 6400800"/>
                <a:gd name="connsiteY2872" fmla="*/ 219551 h 514350"/>
                <a:gd name="connsiteX2873" fmla="*/ 552926 w 6400800"/>
                <a:gd name="connsiteY2873" fmla="*/ 218599 h 514350"/>
                <a:gd name="connsiteX2874" fmla="*/ 555784 w 6400800"/>
                <a:gd name="connsiteY2874" fmla="*/ 189071 h 514350"/>
                <a:gd name="connsiteX2875" fmla="*/ 558641 w 6400800"/>
                <a:gd name="connsiteY2875" fmla="*/ 162401 h 514350"/>
                <a:gd name="connsiteX2876" fmla="*/ 561499 w 6400800"/>
                <a:gd name="connsiteY2876" fmla="*/ 141446 h 514350"/>
                <a:gd name="connsiteX2877" fmla="*/ 564356 w 6400800"/>
                <a:gd name="connsiteY2877" fmla="*/ 123349 h 514350"/>
                <a:gd name="connsiteX2878" fmla="*/ 557689 w 6400800"/>
                <a:gd name="connsiteY2878" fmla="*/ 140494 h 514350"/>
                <a:gd name="connsiteX2879" fmla="*/ 551021 w 6400800"/>
                <a:gd name="connsiteY2879" fmla="*/ 160496 h 514350"/>
                <a:gd name="connsiteX2880" fmla="*/ 544354 w 6400800"/>
                <a:gd name="connsiteY2880" fmla="*/ 187166 h 514350"/>
                <a:gd name="connsiteX2881" fmla="*/ 537686 w 6400800"/>
                <a:gd name="connsiteY2881" fmla="*/ 218599 h 514350"/>
                <a:gd name="connsiteX2882" fmla="*/ 535781 w 6400800"/>
                <a:gd name="connsiteY2882" fmla="*/ 231934 h 514350"/>
                <a:gd name="connsiteX2883" fmla="*/ 534829 w 6400800"/>
                <a:gd name="connsiteY2883" fmla="*/ 220504 h 514350"/>
                <a:gd name="connsiteX2884" fmla="*/ 532924 w 6400800"/>
                <a:gd name="connsiteY2884" fmla="*/ 205264 h 514350"/>
                <a:gd name="connsiteX2885" fmla="*/ 533876 w 6400800"/>
                <a:gd name="connsiteY2885" fmla="*/ 186214 h 514350"/>
                <a:gd name="connsiteX2886" fmla="*/ 534829 w 6400800"/>
                <a:gd name="connsiteY2886" fmla="*/ 166211 h 514350"/>
                <a:gd name="connsiteX2887" fmla="*/ 534829 w 6400800"/>
                <a:gd name="connsiteY2887" fmla="*/ 148114 h 514350"/>
                <a:gd name="connsiteX2888" fmla="*/ 534829 w 6400800"/>
                <a:gd name="connsiteY2888" fmla="*/ 118586 h 514350"/>
                <a:gd name="connsiteX2889" fmla="*/ 533876 w 6400800"/>
                <a:gd name="connsiteY2889" fmla="*/ 92869 h 514350"/>
                <a:gd name="connsiteX2890" fmla="*/ 531019 w 6400800"/>
                <a:gd name="connsiteY2890" fmla="*/ 118586 h 514350"/>
                <a:gd name="connsiteX2891" fmla="*/ 528161 w 6400800"/>
                <a:gd name="connsiteY2891" fmla="*/ 147161 h 514350"/>
                <a:gd name="connsiteX2892" fmla="*/ 526256 w 6400800"/>
                <a:gd name="connsiteY2892" fmla="*/ 165259 h 514350"/>
                <a:gd name="connsiteX2893" fmla="*/ 523399 w 6400800"/>
                <a:gd name="connsiteY2893" fmla="*/ 185261 h 514350"/>
                <a:gd name="connsiteX2894" fmla="*/ 521494 w 6400800"/>
                <a:gd name="connsiteY2894" fmla="*/ 197644 h 514350"/>
                <a:gd name="connsiteX2895" fmla="*/ 513874 w 6400800"/>
                <a:gd name="connsiteY2895" fmla="*/ 170021 h 514350"/>
                <a:gd name="connsiteX2896" fmla="*/ 506254 w 6400800"/>
                <a:gd name="connsiteY2896" fmla="*/ 144304 h 514350"/>
                <a:gd name="connsiteX2897" fmla="*/ 510064 w 6400800"/>
                <a:gd name="connsiteY2897" fmla="*/ 170974 h 514350"/>
                <a:gd name="connsiteX2898" fmla="*/ 517684 w 6400800"/>
                <a:gd name="connsiteY2898" fmla="*/ 222409 h 514350"/>
                <a:gd name="connsiteX2899" fmla="*/ 516731 w 6400800"/>
                <a:gd name="connsiteY2899" fmla="*/ 230029 h 514350"/>
                <a:gd name="connsiteX2900" fmla="*/ 512921 w 6400800"/>
                <a:gd name="connsiteY2900" fmla="*/ 251936 h 514350"/>
                <a:gd name="connsiteX2901" fmla="*/ 487204 w 6400800"/>
                <a:gd name="connsiteY2901" fmla="*/ 172879 h 514350"/>
                <a:gd name="connsiteX2902" fmla="*/ 485299 w 6400800"/>
                <a:gd name="connsiteY2902" fmla="*/ 164306 h 514350"/>
                <a:gd name="connsiteX2903" fmla="*/ 486251 w 6400800"/>
                <a:gd name="connsiteY2903" fmla="*/ 189071 h 514350"/>
                <a:gd name="connsiteX2904" fmla="*/ 488156 w 6400800"/>
                <a:gd name="connsiteY2904" fmla="*/ 217646 h 514350"/>
                <a:gd name="connsiteX2905" fmla="*/ 489109 w 6400800"/>
                <a:gd name="connsiteY2905" fmla="*/ 238601 h 514350"/>
                <a:gd name="connsiteX2906" fmla="*/ 486251 w 6400800"/>
                <a:gd name="connsiteY2906" fmla="*/ 223361 h 514350"/>
                <a:gd name="connsiteX2907" fmla="*/ 482441 w 6400800"/>
                <a:gd name="connsiteY2907" fmla="*/ 207169 h 514350"/>
                <a:gd name="connsiteX2908" fmla="*/ 478631 w 6400800"/>
                <a:gd name="connsiteY2908" fmla="*/ 192881 h 514350"/>
                <a:gd name="connsiteX2909" fmla="*/ 471964 w 6400800"/>
                <a:gd name="connsiteY2909" fmla="*/ 170021 h 514350"/>
                <a:gd name="connsiteX2910" fmla="*/ 465296 w 6400800"/>
                <a:gd name="connsiteY2910" fmla="*/ 150019 h 514350"/>
                <a:gd name="connsiteX2911" fmla="*/ 468154 w 6400800"/>
                <a:gd name="connsiteY2911" fmla="*/ 170021 h 514350"/>
                <a:gd name="connsiteX2912" fmla="*/ 471011 w 6400800"/>
                <a:gd name="connsiteY2912" fmla="*/ 193834 h 514350"/>
                <a:gd name="connsiteX2913" fmla="*/ 472916 w 6400800"/>
                <a:gd name="connsiteY2913" fmla="*/ 208121 h 514350"/>
                <a:gd name="connsiteX2914" fmla="*/ 474821 w 6400800"/>
                <a:gd name="connsiteY2914" fmla="*/ 224314 h 514350"/>
                <a:gd name="connsiteX2915" fmla="*/ 478631 w 6400800"/>
                <a:gd name="connsiteY2915" fmla="*/ 255746 h 514350"/>
                <a:gd name="connsiteX2916" fmla="*/ 474821 w 6400800"/>
                <a:gd name="connsiteY2916" fmla="*/ 240506 h 514350"/>
                <a:gd name="connsiteX2917" fmla="*/ 455771 w 6400800"/>
                <a:gd name="connsiteY2917" fmla="*/ 170974 h 514350"/>
                <a:gd name="connsiteX2918" fmla="*/ 447199 w 6400800"/>
                <a:gd name="connsiteY2918" fmla="*/ 145256 h 514350"/>
                <a:gd name="connsiteX2919" fmla="*/ 451961 w 6400800"/>
                <a:gd name="connsiteY2919" fmla="*/ 171926 h 514350"/>
                <a:gd name="connsiteX2920" fmla="*/ 457676 w 6400800"/>
                <a:gd name="connsiteY2920" fmla="*/ 202406 h 514350"/>
                <a:gd name="connsiteX2921" fmla="*/ 464344 w 6400800"/>
                <a:gd name="connsiteY2921" fmla="*/ 242411 h 514350"/>
                <a:gd name="connsiteX2922" fmla="*/ 471011 w 6400800"/>
                <a:gd name="connsiteY2922" fmla="*/ 282416 h 514350"/>
                <a:gd name="connsiteX2923" fmla="*/ 467201 w 6400800"/>
                <a:gd name="connsiteY2923" fmla="*/ 272891 h 514350"/>
                <a:gd name="connsiteX2924" fmla="*/ 459581 w 6400800"/>
                <a:gd name="connsiteY2924" fmla="*/ 255746 h 514350"/>
                <a:gd name="connsiteX2925" fmla="*/ 463391 w 6400800"/>
                <a:gd name="connsiteY2925" fmla="*/ 273844 h 514350"/>
                <a:gd name="connsiteX2926" fmla="*/ 468154 w 6400800"/>
                <a:gd name="connsiteY2926" fmla="*/ 293846 h 514350"/>
                <a:gd name="connsiteX2927" fmla="*/ 471011 w 6400800"/>
                <a:gd name="connsiteY2927" fmla="*/ 306229 h 514350"/>
                <a:gd name="connsiteX2928" fmla="*/ 473869 w 6400800"/>
                <a:gd name="connsiteY2928" fmla="*/ 320516 h 514350"/>
                <a:gd name="connsiteX2929" fmla="*/ 479584 w 6400800"/>
                <a:gd name="connsiteY2929" fmla="*/ 351949 h 514350"/>
                <a:gd name="connsiteX2930" fmla="*/ 479584 w 6400800"/>
                <a:gd name="connsiteY2930" fmla="*/ 353854 h 514350"/>
                <a:gd name="connsiteX2931" fmla="*/ 478631 w 6400800"/>
                <a:gd name="connsiteY2931" fmla="*/ 351949 h 514350"/>
                <a:gd name="connsiteX2932" fmla="*/ 471964 w 6400800"/>
                <a:gd name="connsiteY2932" fmla="*/ 338614 h 514350"/>
                <a:gd name="connsiteX2933" fmla="*/ 470059 w 6400800"/>
                <a:gd name="connsiteY2933" fmla="*/ 324326 h 514350"/>
                <a:gd name="connsiteX2934" fmla="*/ 462439 w 6400800"/>
                <a:gd name="connsiteY2934" fmla="*/ 280511 h 514350"/>
                <a:gd name="connsiteX2935" fmla="*/ 452914 w 6400800"/>
                <a:gd name="connsiteY2935" fmla="*/ 240506 h 514350"/>
                <a:gd name="connsiteX2936" fmla="*/ 441484 w 6400800"/>
                <a:gd name="connsiteY2936" fmla="*/ 205264 h 514350"/>
                <a:gd name="connsiteX2937" fmla="*/ 437674 w 6400800"/>
                <a:gd name="connsiteY2937" fmla="*/ 194786 h 514350"/>
                <a:gd name="connsiteX2938" fmla="*/ 440531 w 6400800"/>
                <a:gd name="connsiteY2938" fmla="*/ 167164 h 514350"/>
                <a:gd name="connsiteX2939" fmla="*/ 442436 w 6400800"/>
                <a:gd name="connsiteY2939" fmla="*/ 128111 h 514350"/>
                <a:gd name="connsiteX2940" fmla="*/ 441484 w 6400800"/>
                <a:gd name="connsiteY2940" fmla="*/ 94774 h 514350"/>
                <a:gd name="connsiteX2941" fmla="*/ 438626 w 6400800"/>
                <a:gd name="connsiteY2941" fmla="*/ 128111 h 514350"/>
                <a:gd name="connsiteX2942" fmla="*/ 433864 w 6400800"/>
                <a:gd name="connsiteY2942" fmla="*/ 166211 h 514350"/>
                <a:gd name="connsiteX2943" fmla="*/ 431959 w 6400800"/>
                <a:gd name="connsiteY2943" fmla="*/ 178594 h 514350"/>
                <a:gd name="connsiteX2944" fmla="*/ 431006 w 6400800"/>
                <a:gd name="connsiteY2944" fmla="*/ 175736 h 514350"/>
                <a:gd name="connsiteX2945" fmla="*/ 419576 w 6400800"/>
                <a:gd name="connsiteY2945" fmla="*/ 153829 h 514350"/>
                <a:gd name="connsiteX2946" fmla="*/ 408146 w 6400800"/>
                <a:gd name="connsiteY2946" fmla="*/ 135731 h 514350"/>
                <a:gd name="connsiteX2947" fmla="*/ 415766 w 6400800"/>
                <a:gd name="connsiteY2947" fmla="*/ 155734 h 514350"/>
                <a:gd name="connsiteX2948" fmla="*/ 423386 w 6400800"/>
                <a:gd name="connsiteY2948" fmla="*/ 178594 h 514350"/>
                <a:gd name="connsiteX2949" fmla="*/ 428149 w 6400800"/>
                <a:gd name="connsiteY2949" fmla="*/ 195739 h 514350"/>
                <a:gd name="connsiteX2950" fmla="*/ 424339 w 6400800"/>
                <a:gd name="connsiteY2950" fmla="*/ 214789 h 514350"/>
                <a:gd name="connsiteX2951" fmla="*/ 424339 w 6400800"/>
                <a:gd name="connsiteY2951" fmla="*/ 214789 h 514350"/>
                <a:gd name="connsiteX2952" fmla="*/ 415766 w 6400800"/>
                <a:gd name="connsiteY2952" fmla="*/ 202406 h 514350"/>
                <a:gd name="connsiteX2953" fmla="*/ 421481 w 6400800"/>
                <a:gd name="connsiteY2953" fmla="*/ 216694 h 514350"/>
                <a:gd name="connsiteX2954" fmla="*/ 423386 w 6400800"/>
                <a:gd name="connsiteY2954" fmla="*/ 223361 h 514350"/>
                <a:gd name="connsiteX2955" fmla="*/ 412909 w 6400800"/>
                <a:gd name="connsiteY2955" fmla="*/ 272891 h 514350"/>
                <a:gd name="connsiteX2956" fmla="*/ 405289 w 6400800"/>
                <a:gd name="connsiteY2956" fmla="*/ 253841 h 514350"/>
                <a:gd name="connsiteX2957" fmla="*/ 405289 w 6400800"/>
                <a:gd name="connsiteY2957" fmla="*/ 253841 h 514350"/>
                <a:gd name="connsiteX2958" fmla="*/ 404336 w 6400800"/>
                <a:gd name="connsiteY2958" fmla="*/ 210026 h 514350"/>
                <a:gd name="connsiteX2959" fmla="*/ 401479 w 6400800"/>
                <a:gd name="connsiteY2959" fmla="*/ 176689 h 514350"/>
                <a:gd name="connsiteX2960" fmla="*/ 396716 w 6400800"/>
                <a:gd name="connsiteY2960" fmla="*/ 148114 h 514350"/>
                <a:gd name="connsiteX2961" fmla="*/ 397669 w 6400800"/>
                <a:gd name="connsiteY2961" fmla="*/ 177641 h 514350"/>
                <a:gd name="connsiteX2962" fmla="*/ 396716 w 6400800"/>
                <a:gd name="connsiteY2962" fmla="*/ 206216 h 514350"/>
                <a:gd name="connsiteX2963" fmla="*/ 389096 w 6400800"/>
                <a:gd name="connsiteY2963" fmla="*/ 244316 h 514350"/>
                <a:gd name="connsiteX2964" fmla="*/ 381476 w 6400800"/>
                <a:gd name="connsiteY2964" fmla="*/ 219551 h 514350"/>
                <a:gd name="connsiteX2965" fmla="*/ 374809 w 6400800"/>
                <a:gd name="connsiteY2965" fmla="*/ 199549 h 514350"/>
                <a:gd name="connsiteX2966" fmla="*/ 372904 w 6400800"/>
                <a:gd name="connsiteY2966" fmla="*/ 194786 h 514350"/>
                <a:gd name="connsiteX2967" fmla="*/ 372904 w 6400800"/>
                <a:gd name="connsiteY2967" fmla="*/ 190976 h 514350"/>
                <a:gd name="connsiteX2968" fmla="*/ 370046 w 6400800"/>
                <a:gd name="connsiteY2968" fmla="*/ 177641 h 514350"/>
                <a:gd name="connsiteX2969" fmla="*/ 366236 w 6400800"/>
                <a:gd name="connsiteY2969" fmla="*/ 155734 h 514350"/>
                <a:gd name="connsiteX2970" fmla="*/ 364331 w 6400800"/>
                <a:gd name="connsiteY2970" fmla="*/ 148114 h 514350"/>
                <a:gd name="connsiteX2971" fmla="*/ 363379 w 6400800"/>
                <a:gd name="connsiteY2971" fmla="*/ 135731 h 514350"/>
                <a:gd name="connsiteX2972" fmla="*/ 363379 w 6400800"/>
                <a:gd name="connsiteY2972" fmla="*/ 140494 h 514350"/>
                <a:gd name="connsiteX2973" fmla="*/ 362426 w 6400800"/>
                <a:gd name="connsiteY2973" fmla="*/ 136684 h 514350"/>
                <a:gd name="connsiteX2974" fmla="*/ 362426 w 6400800"/>
                <a:gd name="connsiteY2974" fmla="*/ 151924 h 514350"/>
                <a:gd name="connsiteX2975" fmla="*/ 361474 w 6400800"/>
                <a:gd name="connsiteY2975" fmla="*/ 163354 h 514350"/>
                <a:gd name="connsiteX2976" fmla="*/ 357664 w 6400800"/>
                <a:gd name="connsiteY2976" fmla="*/ 151924 h 514350"/>
                <a:gd name="connsiteX2977" fmla="*/ 348139 w 6400800"/>
                <a:gd name="connsiteY2977" fmla="*/ 127159 h 514350"/>
                <a:gd name="connsiteX2978" fmla="*/ 353854 w 6400800"/>
                <a:gd name="connsiteY2978" fmla="*/ 153829 h 514350"/>
                <a:gd name="connsiteX2979" fmla="*/ 361474 w 6400800"/>
                <a:gd name="connsiteY2979" fmla="*/ 183356 h 514350"/>
                <a:gd name="connsiteX2980" fmla="*/ 361474 w 6400800"/>
                <a:gd name="connsiteY2980" fmla="*/ 192881 h 514350"/>
                <a:gd name="connsiteX2981" fmla="*/ 357664 w 6400800"/>
                <a:gd name="connsiteY2981" fmla="*/ 184309 h 514350"/>
                <a:gd name="connsiteX2982" fmla="*/ 360521 w 6400800"/>
                <a:gd name="connsiteY2982" fmla="*/ 198596 h 514350"/>
                <a:gd name="connsiteX2983" fmla="*/ 359569 w 6400800"/>
                <a:gd name="connsiteY2983" fmla="*/ 221456 h 514350"/>
                <a:gd name="connsiteX2984" fmla="*/ 355759 w 6400800"/>
                <a:gd name="connsiteY2984" fmla="*/ 208121 h 514350"/>
                <a:gd name="connsiteX2985" fmla="*/ 350996 w 6400800"/>
                <a:gd name="connsiteY2985" fmla="*/ 193834 h 514350"/>
                <a:gd name="connsiteX2986" fmla="*/ 351949 w 6400800"/>
                <a:gd name="connsiteY2986" fmla="*/ 208121 h 514350"/>
                <a:gd name="connsiteX2987" fmla="*/ 352901 w 6400800"/>
                <a:gd name="connsiteY2987" fmla="*/ 224314 h 514350"/>
                <a:gd name="connsiteX2988" fmla="*/ 353854 w 6400800"/>
                <a:gd name="connsiteY2988" fmla="*/ 246221 h 514350"/>
                <a:gd name="connsiteX2989" fmla="*/ 354806 w 6400800"/>
                <a:gd name="connsiteY2989" fmla="*/ 270986 h 514350"/>
                <a:gd name="connsiteX2990" fmla="*/ 355759 w 6400800"/>
                <a:gd name="connsiteY2990" fmla="*/ 299561 h 514350"/>
                <a:gd name="connsiteX2991" fmla="*/ 356711 w 6400800"/>
                <a:gd name="connsiteY2991" fmla="*/ 316706 h 514350"/>
                <a:gd name="connsiteX2992" fmla="*/ 346234 w 6400800"/>
                <a:gd name="connsiteY2992" fmla="*/ 298609 h 514350"/>
                <a:gd name="connsiteX2993" fmla="*/ 345281 w 6400800"/>
                <a:gd name="connsiteY2993" fmla="*/ 296704 h 514350"/>
                <a:gd name="connsiteX2994" fmla="*/ 345281 w 6400800"/>
                <a:gd name="connsiteY2994" fmla="*/ 291941 h 514350"/>
                <a:gd name="connsiteX2995" fmla="*/ 348139 w 6400800"/>
                <a:gd name="connsiteY2995" fmla="*/ 267176 h 514350"/>
                <a:gd name="connsiteX2996" fmla="*/ 350044 w 6400800"/>
                <a:gd name="connsiteY2996" fmla="*/ 246221 h 514350"/>
                <a:gd name="connsiteX2997" fmla="*/ 344329 w 6400800"/>
                <a:gd name="connsiteY2997" fmla="*/ 267176 h 514350"/>
                <a:gd name="connsiteX2998" fmla="*/ 339566 w 6400800"/>
                <a:gd name="connsiteY2998" fmla="*/ 287179 h 514350"/>
                <a:gd name="connsiteX2999" fmla="*/ 339566 w 6400800"/>
                <a:gd name="connsiteY2999" fmla="*/ 287179 h 514350"/>
                <a:gd name="connsiteX3000" fmla="*/ 339566 w 6400800"/>
                <a:gd name="connsiteY3000" fmla="*/ 288131 h 514350"/>
                <a:gd name="connsiteX3001" fmla="*/ 338614 w 6400800"/>
                <a:gd name="connsiteY3001" fmla="*/ 291941 h 514350"/>
                <a:gd name="connsiteX3002" fmla="*/ 337661 w 6400800"/>
                <a:gd name="connsiteY3002" fmla="*/ 297656 h 514350"/>
                <a:gd name="connsiteX3003" fmla="*/ 324326 w 6400800"/>
                <a:gd name="connsiteY3003" fmla="*/ 277654 h 514350"/>
                <a:gd name="connsiteX3004" fmla="*/ 310991 w 6400800"/>
                <a:gd name="connsiteY3004" fmla="*/ 233839 h 514350"/>
                <a:gd name="connsiteX3005" fmla="*/ 303371 w 6400800"/>
                <a:gd name="connsiteY3005" fmla="*/ 211931 h 514350"/>
                <a:gd name="connsiteX3006" fmla="*/ 306229 w 6400800"/>
                <a:gd name="connsiteY3006" fmla="*/ 196691 h 514350"/>
                <a:gd name="connsiteX3007" fmla="*/ 316706 w 6400800"/>
                <a:gd name="connsiteY3007" fmla="*/ 150971 h 514350"/>
                <a:gd name="connsiteX3008" fmla="*/ 326231 w 6400800"/>
                <a:gd name="connsiteY3008" fmla="*/ 115729 h 514350"/>
                <a:gd name="connsiteX3009" fmla="*/ 335756 w 6400800"/>
                <a:gd name="connsiteY3009" fmla="*/ 85249 h 514350"/>
                <a:gd name="connsiteX3010" fmla="*/ 323374 w 6400800"/>
                <a:gd name="connsiteY3010" fmla="*/ 113824 h 514350"/>
                <a:gd name="connsiteX3011" fmla="*/ 310991 w 6400800"/>
                <a:gd name="connsiteY3011" fmla="*/ 148114 h 514350"/>
                <a:gd name="connsiteX3012" fmla="*/ 303371 w 6400800"/>
                <a:gd name="connsiteY3012" fmla="*/ 169069 h 514350"/>
                <a:gd name="connsiteX3013" fmla="*/ 297656 w 6400800"/>
                <a:gd name="connsiteY3013" fmla="*/ 190024 h 514350"/>
                <a:gd name="connsiteX3014" fmla="*/ 287179 w 6400800"/>
                <a:gd name="connsiteY3014" fmla="*/ 159544 h 514350"/>
                <a:gd name="connsiteX3015" fmla="*/ 294799 w 6400800"/>
                <a:gd name="connsiteY3015" fmla="*/ 198596 h 514350"/>
                <a:gd name="connsiteX3016" fmla="*/ 283369 w 6400800"/>
                <a:gd name="connsiteY3016" fmla="*/ 247174 h 514350"/>
                <a:gd name="connsiteX3017" fmla="*/ 279559 w 6400800"/>
                <a:gd name="connsiteY3017" fmla="*/ 264319 h 514350"/>
                <a:gd name="connsiteX3018" fmla="*/ 276701 w 6400800"/>
                <a:gd name="connsiteY3018" fmla="*/ 253841 h 514350"/>
                <a:gd name="connsiteX3019" fmla="*/ 278606 w 6400800"/>
                <a:gd name="connsiteY3019" fmla="*/ 227171 h 514350"/>
                <a:gd name="connsiteX3020" fmla="*/ 284321 w 6400800"/>
                <a:gd name="connsiteY3020" fmla="*/ 166211 h 514350"/>
                <a:gd name="connsiteX3021" fmla="*/ 287179 w 6400800"/>
                <a:gd name="connsiteY3021" fmla="*/ 139541 h 514350"/>
                <a:gd name="connsiteX3022" fmla="*/ 290989 w 6400800"/>
                <a:gd name="connsiteY3022" fmla="*/ 115729 h 514350"/>
                <a:gd name="connsiteX3023" fmla="*/ 297656 w 6400800"/>
                <a:gd name="connsiteY3023" fmla="*/ 76676 h 514350"/>
                <a:gd name="connsiteX3024" fmla="*/ 304324 w 6400800"/>
                <a:gd name="connsiteY3024" fmla="*/ 42386 h 514350"/>
                <a:gd name="connsiteX3025" fmla="*/ 293846 w 6400800"/>
                <a:gd name="connsiteY3025" fmla="*/ 75724 h 514350"/>
                <a:gd name="connsiteX3026" fmla="*/ 283369 w 6400800"/>
                <a:gd name="connsiteY3026" fmla="*/ 114776 h 514350"/>
                <a:gd name="connsiteX3027" fmla="*/ 277654 w 6400800"/>
                <a:gd name="connsiteY3027" fmla="*/ 138589 h 514350"/>
                <a:gd name="connsiteX3028" fmla="*/ 272891 w 6400800"/>
                <a:gd name="connsiteY3028" fmla="*/ 165259 h 514350"/>
                <a:gd name="connsiteX3029" fmla="*/ 270034 w 6400800"/>
                <a:gd name="connsiteY3029" fmla="*/ 178594 h 514350"/>
                <a:gd name="connsiteX3030" fmla="*/ 261461 w 6400800"/>
                <a:gd name="connsiteY3030" fmla="*/ 196691 h 514350"/>
                <a:gd name="connsiteX3031" fmla="*/ 258604 w 6400800"/>
                <a:gd name="connsiteY3031" fmla="*/ 183356 h 514350"/>
                <a:gd name="connsiteX3032" fmla="*/ 253841 w 6400800"/>
                <a:gd name="connsiteY3032" fmla="*/ 161449 h 514350"/>
                <a:gd name="connsiteX3033" fmla="*/ 254794 w 6400800"/>
                <a:gd name="connsiteY3033" fmla="*/ 183356 h 514350"/>
                <a:gd name="connsiteX3034" fmla="*/ 256699 w 6400800"/>
                <a:gd name="connsiteY3034" fmla="*/ 207169 h 514350"/>
                <a:gd name="connsiteX3035" fmla="*/ 247174 w 6400800"/>
                <a:gd name="connsiteY3035" fmla="*/ 231934 h 514350"/>
                <a:gd name="connsiteX3036" fmla="*/ 245269 w 6400800"/>
                <a:gd name="connsiteY3036" fmla="*/ 236696 h 514350"/>
                <a:gd name="connsiteX3037" fmla="*/ 242411 w 6400800"/>
                <a:gd name="connsiteY3037" fmla="*/ 230029 h 514350"/>
                <a:gd name="connsiteX3038" fmla="*/ 244316 w 6400800"/>
                <a:gd name="connsiteY3038" fmla="*/ 240506 h 514350"/>
                <a:gd name="connsiteX3039" fmla="*/ 236696 w 6400800"/>
                <a:gd name="connsiteY3039" fmla="*/ 262414 h 514350"/>
                <a:gd name="connsiteX3040" fmla="*/ 226219 w 6400800"/>
                <a:gd name="connsiteY3040" fmla="*/ 227171 h 514350"/>
                <a:gd name="connsiteX3041" fmla="*/ 218599 w 6400800"/>
                <a:gd name="connsiteY3041" fmla="*/ 204311 h 514350"/>
                <a:gd name="connsiteX3042" fmla="*/ 210979 w 6400800"/>
                <a:gd name="connsiteY3042" fmla="*/ 184309 h 514350"/>
                <a:gd name="connsiteX3043" fmla="*/ 198596 w 6400800"/>
                <a:gd name="connsiteY3043" fmla="*/ 150971 h 514350"/>
                <a:gd name="connsiteX3044" fmla="*/ 187166 w 6400800"/>
                <a:gd name="connsiteY3044" fmla="*/ 122396 h 514350"/>
                <a:gd name="connsiteX3045" fmla="*/ 194786 w 6400800"/>
                <a:gd name="connsiteY3045" fmla="*/ 151924 h 514350"/>
                <a:gd name="connsiteX3046" fmla="*/ 204311 w 6400800"/>
                <a:gd name="connsiteY3046" fmla="*/ 186214 h 514350"/>
                <a:gd name="connsiteX3047" fmla="*/ 210026 w 6400800"/>
                <a:gd name="connsiteY3047" fmla="*/ 207169 h 514350"/>
                <a:gd name="connsiteX3048" fmla="*/ 215741 w 6400800"/>
                <a:gd name="connsiteY3048" fmla="*/ 230981 h 514350"/>
                <a:gd name="connsiteX3049" fmla="*/ 226219 w 6400800"/>
                <a:gd name="connsiteY3049" fmla="*/ 275749 h 514350"/>
                <a:gd name="connsiteX3050" fmla="*/ 218599 w 6400800"/>
                <a:gd name="connsiteY3050" fmla="*/ 295751 h 514350"/>
                <a:gd name="connsiteX3051" fmla="*/ 217646 w 6400800"/>
                <a:gd name="connsiteY3051" fmla="*/ 298609 h 514350"/>
                <a:gd name="connsiteX3052" fmla="*/ 214789 w 6400800"/>
                <a:gd name="connsiteY3052" fmla="*/ 266224 h 514350"/>
                <a:gd name="connsiteX3053" fmla="*/ 212884 w 6400800"/>
                <a:gd name="connsiteY3053" fmla="*/ 241459 h 514350"/>
                <a:gd name="connsiteX3054" fmla="*/ 210979 w 6400800"/>
                <a:gd name="connsiteY3054" fmla="*/ 266224 h 514350"/>
                <a:gd name="connsiteX3055" fmla="*/ 209074 w 6400800"/>
                <a:gd name="connsiteY3055" fmla="*/ 309086 h 514350"/>
                <a:gd name="connsiteX3056" fmla="*/ 196691 w 6400800"/>
                <a:gd name="connsiteY3056" fmla="*/ 287179 h 514350"/>
                <a:gd name="connsiteX3057" fmla="*/ 187166 w 6400800"/>
                <a:gd name="connsiteY3057" fmla="*/ 270034 h 514350"/>
                <a:gd name="connsiteX3058" fmla="*/ 177641 w 6400800"/>
                <a:gd name="connsiteY3058" fmla="*/ 255746 h 514350"/>
                <a:gd name="connsiteX3059" fmla="*/ 161449 w 6400800"/>
                <a:gd name="connsiteY3059" fmla="*/ 231934 h 514350"/>
                <a:gd name="connsiteX3060" fmla="*/ 156686 w 6400800"/>
                <a:gd name="connsiteY3060" fmla="*/ 225266 h 514350"/>
                <a:gd name="connsiteX3061" fmla="*/ 152876 w 6400800"/>
                <a:gd name="connsiteY3061" fmla="*/ 209074 h 514350"/>
                <a:gd name="connsiteX3062" fmla="*/ 152876 w 6400800"/>
                <a:gd name="connsiteY3062" fmla="*/ 219551 h 514350"/>
                <a:gd name="connsiteX3063" fmla="*/ 146209 w 6400800"/>
                <a:gd name="connsiteY3063" fmla="*/ 210979 h 514350"/>
                <a:gd name="connsiteX3064" fmla="*/ 152876 w 6400800"/>
                <a:gd name="connsiteY3064" fmla="*/ 224314 h 514350"/>
                <a:gd name="connsiteX3065" fmla="*/ 156686 w 6400800"/>
                <a:gd name="connsiteY3065" fmla="*/ 275749 h 514350"/>
                <a:gd name="connsiteX3066" fmla="*/ 148114 w 6400800"/>
                <a:gd name="connsiteY3066" fmla="*/ 263366 h 514350"/>
                <a:gd name="connsiteX3067" fmla="*/ 124301 w 6400800"/>
                <a:gd name="connsiteY3067" fmla="*/ 233839 h 514350"/>
                <a:gd name="connsiteX3068" fmla="*/ 104299 w 6400800"/>
                <a:gd name="connsiteY3068" fmla="*/ 212884 h 514350"/>
                <a:gd name="connsiteX3069" fmla="*/ 88106 w 6400800"/>
                <a:gd name="connsiteY3069" fmla="*/ 197644 h 514350"/>
                <a:gd name="connsiteX3070" fmla="*/ 103346 w 6400800"/>
                <a:gd name="connsiteY3070" fmla="*/ 217646 h 514350"/>
                <a:gd name="connsiteX3071" fmla="*/ 119539 w 6400800"/>
                <a:gd name="connsiteY3071" fmla="*/ 240506 h 514350"/>
                <a:gd name="connsiteX3072" fmla="*/ 139541 w 6400800"/>
                <a:gd name="connsiteY3072" fmla="*/ 271939 h 514350"/>
                <a:gd name="connsiteX3073" fmla="*/ 151924 w 6400800"/>
                <a:gd name="connsiteY3073" fmla="*/ 292894 h 514350"/>
                <a:gd name="connsiteX3074" fmla="*/ 151924 w 6400800"/>
                <a:gd name="connsiteY3074" fmla="*/ 297656 h 514350"/>
                <a:gd name="connsiteX3075" fmla="*/ 150971 w 6400800"/>
                <a:gd name="connsiteY3075" fmla="*/ 296704 h 514350"/>
                <a:gd name="connsiteX3076" fmla="*/ 136684 w 6400800"/>
                <a:gd name="connsiteY3076" fmla="*/ 282416 h 514350"/>
                <a:gd name="connsiteX3077" fmla="*/ 131921 w 6400800"/>
                <a:gd name="connsiteY3077" fmla="*/ 278606 h 514350"/>
                <a:gd name="connsiteX3078" fmla="*/ 132874 w 6400800"/>
                <a:gd name="connsiteY3078" fmla="*/ 274796 h 514350"/>
                <a:gd name="connsiteX3079" fmla="*/ 130969 w 6400800"/>
                <a:gd name="connsiteY3079" fmla="*/ 278606 h 514350"/>
                <a:gd name="connsiteX3080" fmla="*/ 122396 w 6400800"/>
                <a:gd name="connsiteY3080" fmla="*/ 270986 h 514350"/>
                <a:gd name="connsiteX3081" fmla="*/ 130016 w 6400800"/>
                <a:gd name="connsiteY3081" fmla="*/ 280511 h 514350"/>
                <a:gd name="connsiteX3082" fmla="*/ 123349 w 6400800"/>
                <a:gd name="connsiteY3082" fmla="*/ 293846 h 514350"/>
                <a:gd name="connsiteX3083" fmla="*/ 114776 w 6400800"/>
                <a:gd name="connsiteY3083" fmla="*/ 316706 h 514350"/>
                <a:gd name="connsiteX3084" fmla="*/ 112871 w 6400800"/>
                <a:gd name="connsiteY3084" fmla="*/ 321469 h 514350"/>
                <a:gd name="connsiteX3085" fmla="*/ 103346 w 6400800"/>
                <a:gd name="connsiteY3085" fmla="*/ 299561 h 514350"/>
                <a:gd name="connsiteX3086" fmla="*/ 86201 w 6400800"/>
                <a:gd name="connsiteY3086" fmla="*/ 262414 h 514350"/>
                <a:gd name="connsiteX3087" fmla="*/ 78581 w 6400800"/>
                <a:gd name="connsiteY3087" fmla="*/ 245269 h 514350"/>
                <a:gd name="connsiteX3088" fmla="*/ 70961 w 6400800"/>
                <a:gd name="connsiteY3088" fmla="*/ 230981 h 514350"/>
                <a:gd name="connsiteX3089" fmla="*/ 57626 w 6400800"/>
                <a:gd name="connsiteY3089" fmla="*/ 208121 h 514350"/>
                <a:gd name="connsiteX3090" fmla="*/ 46196 w 6400800"/>
                <a:gd name="connsiteY3090" fmla="*/ 188119 h 514350"/>
                <a:gd name="connsiteX3091" fmla="*/ 54769 w 6400800"/>
                <a:gd name="connsiteY3091" fmla="*/ 210026 h 514350"/>
                <a:gd name="connsiteX3092" fmla="*/ 64294 w 6400800"/>
                <a:gd name="connsiteY3092" fmla="*/ 234791 h 514350"/>
                <a:gd name="connsiteX3093" fmla="*/ 70009 w 6400800"/>
                <a:gd name="connsiteY3093" fmla="*/ 250031 h 514350"/>
                <a:gd name="connsiteX3094" fmla="*/ 75724 w 6400800"/>
                <a:gd name="connsiteY3094" fmla="*/ 266224 h 514350"/>
                <a:gd name="connsiteX3095" fmla="*/ 85249 w 6400800"/>
                <a:gd name="connsiteY3095" fmla="*/ 292894 h 514350"/>
                <a:gd name="connsiteX3096" fmla="*/ 79534 w 6400800"/>
                <a:gd name="connsiteY3096" fmla="*/ 284321 h 514350"/>
                <a:gd name="connsiteX3097" fmla="*/ 68104 w 6400800"/>
                <a:gd name="connsiteY3097" fmla="*/ 268129 h 514350"/>
                <a:gd name="connsiteX3098" fmla="*/ 57626 w 6400800"/>
                <a:gd name="connsiteY3098" fmla="*/ 253841 h 514350"/>
                <a:gd name="connsiteX3099" fmla="*/ 64294 w 6400800"/>
                <a:gd name="connsiteY3099" fmla="*/ 270034 h 514350"/>
                <a:gd name="connsiteX3100" fmla="*/ 71914 w 6400800"/>
                <a:gd name="connsiteY3100" fmla="*/ 288131 h 514350"/>
                <a:gd name="connsiteX3101" fmla="*/ 83344 w 6400800"/>
                <a:gd name="connsiteY3101" fmla="*/ 311944 h 514350"/>
                <a:gd name="connsiteX3102" fmla="*/ 90964 w 6400800"/>
                <a:gd name="connsiteY3102" fmla="*/ 330994 h 514350"/>
                <a:gd name="connsiteX3103" fmla="*/ 87154 w 6400800"/>
                <a:gd name="connsiteY3103" fmla="*/ 339566 h 514350"/>
                <a:gd name="connsiteX3104" fmla="*/ 81439 w 6400800"/>
                <a:gd name="connsiteY3104" fmla="*/ 352901 h 514350"/>
                <a:gd name="connsiteX3105" fmla="*/ 78581 w 6400800"/>
                <a:gd name="connsiteY3105" fmla="*/ 339566 h 514350"/>
                <a:gd name="connsiteX3106" fmla="*/ 70009 w 6400800"/>
                <a:gd name="connsiteY3106" fmla="*/ 301466 h 514350"/>
                <a:gd name="connsiteX3107" fmla="*/ 61436 w 6400800"/>
                <a:gd name="connsiteY3107" fmla="*/ 269081 h 514350"/>
                <a:gd name="connsiteX3108" fmla="*/ 53816 w 6400800"/>
                <a:gd name="connsiteY3108" fmla="*/ 244316 h 514350"/>
                <a:gd name="connsiteX3109" fmla="*/ 46196 w 6400800"/>
                <a:gd name="connsiteY3109" fmla="*/ 223361 h 514350"/>
                <a:gd name="connsiteX3110" fmla="*/ 50006 w 6400800"/>
                <a:gd name="connsiteY3110" fmla="*/ 245269 h 514350"/>
                <a:gd name="connsiteX3111" fmla="*/ 53816 w 6400800"/>
                <a:gd name="connsiteY3111" fmla="*/ 270034 h 514350"/>
                <a:gd name="connsiteX3112" fmla="*/ 58579 w 6400800"/>
                <a:gd name="connsiteY3112" fmla="*/ 302419 h 514350"/>
                <a:gd name="connsiteX3113" fmla="*/ 64294 w 6400800"/>
                <a:gd name="connsiteY3113" fmla="*/ 340519 h 514350"/>
                <a:gd name="connsiteX3114" fmla="*/ 69056 w 6400800"/>
                <a:gd name="connsiteY3114" fmla="*/ 381476 h 514350"/>
                <a:gd name="connsiteX3115" fmla="*/ 67151 w 6400800"/>
                <a:gd name="connsiteY3115" fmla="*/ 385286 h 514350"/>
                <a:gd name="connsiteX3116" fmla="*/ 60484 w 6400800"/>
                <a:gd name="connsiteY3116" fmla="*/ 405289 h 514350"/>
                <a:gd name="connsiteX3117" fmla="*/ 59531 w 6400800"/>
                <a:gd name="connsiteY3117" fmla="*/ 407194 h 514350"/>
                <a:gd name="connsiteX3118" fmla="*/ 56674 w 6400800"/>
                <a:gd name="connsiteY3118" fmla="*/ 407194 h 514350"/>
                <a:gd name="connsiteX3119" fmla="*/ 54769 w 6400800"/>
                <a:gd name="connsiteY3119" fmla="*/ 399574 h 514350"/>
                <a:gd name="connsiteX3120" fmla="*/ 46196 w 6400800"/>
                <a:gd name="connsiteY3120" fmla="*/ 364331 h 514350"/>
                <a:gd name="connsiteX3121" fmla="*/ 37624 w 6400800"/>
                <a:gd name="connsiteY3121" fmla="*/ 332899 h 514350"/>
                <a:gd name="connsiteX3122" fmla="*/ 21431 w 6400800"/>
                <a:gd name="connsiteY3122" fmla="*/ 287179 h 514350"/>
                <a:gd name="connsiteX3123" fmla="*/ 13811 w 6400800"/>
                <a:gd name="connsiteY3123" fmla="*/ 270034 h 514350"/>
                <a:gd name="connsiteX3124" fmla="*/ 17621 w 6400800"/>
                <a:gd name="connsiteY3124" fmla="*/ 288131 h 514350"/>
                <a:gd name="connsiteX3125" fmla="*/ 21431 w 6400800"/>
                <a:gd name="connsiteY3125" fmla="*/ 309086 h 514350"/>
                <a:gd name="connsiteX3126" fmla="*/ 26194 w 6400800"/>
                <a:gd name="connsiteY3126" fmla="*/ 335756 h 514350"/>
                <a:gd name="connsiteX3127" fmla="*/ 31909 w 6400800"/>
                <a:gd name="connsiteY3127" fmla="*/ 367189 h 514350"/>
                <a:gd name="connsiteX3128" fmla="*/ 39529 w 6400800"/>
                <a:gd name="connsiteY3128" fmla="*/ 402431 h 514350"/>
                <a:gd name="connsiteX3129" fmla="*/ 39529 w 6400800"/>
                <a:gd name="connsiteY3129" fmla="*/ 404336 h 514350"/>
                <a:gd name="connsiteX3130" fmla="*/ 7144 w 6400800"/>
                <a:gd name="connsiteY3130" fmla="*/ 399574 h 514350"/>
                <a:gd name="connsiteX3131" fmla="*/ 7144 w 6400800"/>
                <a:gd name="connsiteY3131" fmla="*/ 511016 h 514350"/>
                <a:gd name="connsiteX3132" fmla="*/ 6277451 w 6400800"/>
                <a:gd name="connsiteY3132" fmla="*/ 364331 h 514350"/>
                <a:gd name="connsiteX3133" fmla="*/ 6279356 w 6400800"/>
                <a:gd name="connsiteY3133" fmla="*/ 357664 h 514350"/>
                <a:gd name="connsiteX3134" fmla="*/ 6279356 w 6400800"/>
                <a:gd name="connsiteY3134" fmla="*/ 361474 h 514350"/>
                <a:gd name="connsiteX3135" fmla="*/ 6277451 w 6400800"/>
                <a:gd name="connsiteY3135" fmla="*/ 399574 h 514350"/>
                <a:gd name="connsiteX3136" fmla="*/ 6267926 w 6400800"/>
                <a:gd name="connsiteY3136" fmla="*/ 430054 h 514350"/>
                <a:gd name="connsiteX3137" fmla="*/ 6266021 w 6400800"/>
                <a:gd name="connsiteY3137" fmla="*/ 430054 h 514350"/>
                <a:gd name="connsiteX3138" fmla="*/ 6260306 w 6400800"/>
                <a:gd name="connsiteY3138" fmla="*/ 421481 h 514350"/>
                <a:gd name="connsiteX3139" fmla="*/ 6277451 w 6400800"/>
                <a:gd name="connsiteY3139" fmla="*/ 364331 h 514350"/>
                <a:gd name="connsiteX3140" fmla="*/ 6211729 w 6400800"/>
                <a:gd name="connsiteY3140" fmla="*/ 425291 h 514350"/>
                <a:gd name="connsiteX3141" fmla="*/ 6212681 w 6400800"/>
                <a:gd name="connsiteY3141" fmla="*/ 398621 h 514350"/>
                <a:gd name="connsiteX3142" fmla="*/ 6213634 w 6400800"/>
                <a:gd name="connsiteY3142" fmla="*/ 390049 h 514350"/>
                <a:gd name="connsiteX3143" fmla="*/ 6216492 w 6400800"/>
                <a:gd name="connsiteY3143" fmla="*/ 393859 h 514350"/>
                <a:gd name="connsiteX3144" fmla="*/ 6227921 w 6400800"/>
                <a:gd name="connsiteY3144" fmla="*/ 408146 h 514350"/>
                <a:gd name="connsiteX3145" fmla="*/ 6225064 w 6400800"/>
                <a:gd name="connsiteY3145" fmla="*/ 412909 h 514350"/>
                <a:gd name="connsiteX3146" fmla="*/ 6221254 w 6400800"/>
                <a:gd name="connsiteY3146" fmla="*/ 420529 h 514350"/>
                <a:gd name="connsiteX3147" fmla="*/ 6218396 w 6400800"/>
                <a:gd name="connsiteY3147" fmla="*/ 429101 h 514350"/>
                <a:gd name="connsiteX3148" fmla="*/ 6217444 w 6400800"/>
                <a:gd name="connsiteY3148" fmla="*/ 431006 h 514350"/>
                <a:gd name="connsiteX3149" fmla="*/ 6217444 w 6400800"/>
                <a:gd name="connsiteY3149" fmla="*/ 429101 h 514350"/>
                <a:gd name="connsiteX3150" fmla="*/ 6215539 w 6400800"/>
                <a:gd name="connsiteY3150" fmla="*/ 413861 h 514350"/>
                <a:gd name="connsiteX3151" fmla="*/ 6213634 w 6400800"/>
                <a:gd name="connsiteY3151" fmla="*/ 429101 h 514350"/>
                <a:gd name="connsiteX3152" fmla="*/ 6211729 w 6400800"/>
                <a:gd name="connsiteY3152" fmla="*/ 441484 h 514350"/>
                <a:gd name="connsiteX3153" fmla="*/ 6211729 w 6400800"/>
                <a:gd name="connsiteY3153" fmla="*/ 425291 h 514350"/>
                <a:gd name="connsiteX3154" fmla="*/ 6183154 w 6400800"/>
                <a:gd name="connsiteY3154" fmla="*/ 343376 h 514350"/>
                <a:gd name="connsiteX3155" fmla="*/ 6187917 w 6400800"/>
                <a:gd name="connsiteY3155" fmla="*/ 350996 h 514350"/>
                <a:gd name="connsiteX3156" fmla="*/ 6191726 w 6400800"/>
                <a:gd name="connsiteY3156" fmla="*/ 356711 h 514350"/>
                <a:gd name="connsiteX3157" fmla="*/ 6183154 w 6400800"/>
                <a:gd name="connsiteY3157" fmla="*/ 388144 h 514350"/>
                <a:gd name="connsiteX3158" fmla="*/ 6182201 w 6400800"/>
                <a:gd name="connsiteY3158" fmla="*/ 391954 h 514350"/>
                <a:gd name="connsiteX3159" fmla="*/ 6181249 w 6400800"/>
                <a:gd name="connsiteY3159" fmla="*/ 375761 h 514350"/>
                <a:gd name="connsiteX3160" fmla="*/ 6181249 w 6400800"/>
                <a:gd name="connsiteY3160" fmla="*/ 372904 h 514350"/>
                <a:gd name="connsiteX3161" fmla="*/ 6183154 w 6400800"/>
                <a:gd name="connsiteY3161" fmla="*/ 343376 h 514350"/>
                <a:gd name="connsiteX3162" fmla="*/ 6144101 w 6400800"/>
                <a:gd name="connsiteY3162" fmla="*/ 308134 h 514350"/>
                <a:gd name="connsiteX3163" fmla="*/ 6147912 w 6400800"/>
                <a:gd name="connsiteY3163" fmla="*/ 276701 h 514350"/>
                <a:gd name="connsiteX3164" fmla="*/ 6153626 w 6400800"/>
                <a:gd name="connsiteY3164" fmla="*/ 289084 h 514350"/>
                <a:gd name="connsiteX3165" fmla="*/ 6161246 w 6400800"/>
                <a:gd name="connsiteY3165" fmla="*/ 305276 h 514350"/>
                <a:gd name="connsiteX3166" fmla="*/ 6157437 w 6400800"/>
                <a:gd name="connsiteY3166" fmla="*/ 319564 h 514350"/>
                <a:gd name="connsiteX3167" fmla="*/ 6152674 w 6400800"/>
                <a:gd name="connsiteY3167" fmla="*/ 342424 h 514350"/>
                <a:gd name="connsiteX3168" fmla="*/ 6150769 w 6400800"/>
                <a:gd name="connsiteY3168" fmla="*/ 356711 h 514350"/>
                <a:gd name="connsiteX3169" fmla="*/ 6149817 w 6400800"/>
                <a:gd name="connsiteY3169" fmla="*/ 360521 h 514350"/>
                <a:gd name="connsiteX3170" fmla="*/ 6148864 w 6400800"/>
                <a:gd name="connsiteY3170" fmla="*/ 365284 h 514350"/>
                <a:gd name="connsiteX3171" fmla="*/ 6146006 w 6400800"/>
                <a:gd name="connsiteY3171" fmla="*/ 360521 h 514350"/>
                <a:gd name="connsiteX3172" fmla="*/ 6147912 w 6400800"/>
                <a:gd name="connsiteY3172" fmla="*/ 368141 h 514350"/>
                <a:gd name="connsiteX3173" fmla="*/ 6145054 w 6400800"/>
                <a:gd name="connsiteY3173" fmla="*/ 389096 h 514350"/>
                <a:gd name="connsiteX3174" fmla="*/ 6144101 w 6400800"/>
                <a:gd name="connsiteY3174" fmla="*/ 386239 h 514350"/>
                <a:gd name="connsiteX3175" fmla="*/ 6143149 w 6400800"/>
                <a:gd name="connsiteY3175" fmla="*/ 384334 h 514350"/>
                <a:gd name="connsiteX3176" fmla="*/ 6142196 w 6400800"/>
                <a:gd name="connsiteY3176" fmla="*/ 369094 h 514350"/>
                <a:gd name="connsiteX3177" fmla="*/ 6139339 w 6400800"/>
                <a:gd name="connsiteY3177" fmla="*/ 343376 h 514350"/>
                <a:gd name="connsiteX3178" fmla="*/ 6144101 w 6400800"/>
                <a:gd name="connsiteY3178" fmla="*/ 308134 h 514350"/>
                <a:gd name="connsiteX3179" fmla="*/ 6095524 w 6400800"/>
                <a:gd name="connsiteY3179" fmla="*/ 384334 h 514350"/>
                <a:gd name="connsiteX3180" fmla="*/ 6088856 w 6400800"/>
                <a:gd name="connsiteY3180" fmla="*/ 412909 h 514350"/>
                <a:gd name="connsiteX3181" fmla="*/ 6083142 w 6400800"/>
                <a:gd name="connsiteY3181" fmla="*/ 435769 h 514350"/>
                <a:gd name="connsiteX3182" fmla="*/ 6076474 w 6400800"/>
                <a:gd name="connsiteY3182" fmla="*/ 411956 h 514350"/>
                <a:gd name="connsiteX3183" fmla="*/ 6079331 w 6400800"/>
                <a:gd name="connsiteY3183" fmla="*/ 391001 h 514350"/>
                <a:gd name="connsiteX3184" fmla="*/ 6084094 w 6400800"/>
                <a:gd name="connsiteY3184" fmla="*/ 368141 h 514350"/>
                <a:gd name="connsiteX3185" fmla="*/ 6088856 w 6400800"/>
                <a:gd name="connsiteY3185" fmla="*/ 347186 h 514350"/>
                <a:gd name="connsiteX3186" fmla="*/ 6091714 w 6400800"/>
                <a:gd name="connsiteY3186" fmla="*/ 348139 h 514350"/>
                <a:gd name="connsiteX3187" fmla="*/ 6095524 w 6400800"/>
                <a:gd name="connsiteY3187" fmla="*/ 350996 h 514350"/>
                <a:gd name="connsiteX3188" fmla="*/ 6100287 w 6400800"/>
                <a:gd name="connsiteY3188" fmla="*/ 359569 h 514350"/>
                <a:gd name="connsiteX3189" fmla="*/ 6095524 w 6400800"/>
                <a:gd name="connsiteY3189" fmla="*/ 384334 h 514350"/>
                <a:gd name="connsiteX3190" fmla="*/ 6102192 w 6400800"/>
                <a:gd name="connsiteY3190" fmla="*/ 206216 h 514350"/>
                <a:gd name="connsiteX3191" fmla="*/ 6101239 w 6400800"/>
                <a:gd name="connsiteY3191" fmla="*/ 235744 h 514350"/>
                <a:gd name="connsiteX3192" fmla="*/ 6101239 w 6400800"/>
                <a:gd name="connsiteY3192" fmla="*/ 241459 h 514350"/>
                <a:gd name="connsiteX3193" fmla="*/ 6101239 w 6400800"/>
                <a:gd name="connsiteY3193" fmla="*/ 242411 h 514350"/>
                <a:gd name="connsiteX3194" fmla="*/ 6101239 w 6400800"/>
                <a:gd name="connsiteY3194" fmla="*/ 242411 h 514350"/>
                <a:gd name="connsiteX3195" fmla="*/ 6100287 w 6400800"/>
                <a:gd name="connsiteY3195" fmla="*/ 239554 h 514350"/>
                <a:gd name="connsiteX3196" fmla="*/ 6097429 w 6400800"/>
                <a:gd name="connsiteY3196" fmla="*/ 230981 h 514350"/>
                <a:gd name="connsiteX3197" fmla="*/ 6102192 w 6400800"/>
                <a:gd name="connsiteY3197" fmla="*/ 206216 h 514350"/>
                <a:gd name="connsiteX3198" fmla="*/ 6100287 w 6400800"/>
                <a:gd name="connsiteY3198" fmla="*/ 284321 h 514350"/>
                <a:gd name="connsiteX3199" fmla="*/ 6098381 w 6400800"/>
                <a:gd name="connsiteY3199" fmla="*/ 279559 h 514350"/>
                <a:gd name="connsiteX3200" fmla="*/ 6099334 w 6400800"/>
                <a:gd name="connsiteY3200" fmla="*/ 277654 h 514350"/>
                <a:gd name="connsiteX3201" fmla="*/ 6100287 w 6400800"/>
                <a:gd name="connsiteY3201" fmla="*/ 284321 h 514350"/>
                <a:gd name="connsiteX3202" fmla="*/ 6093619 w 6400800"/>
                <a:gd name="connsiteY3202" fmla="*/ 247174 h 514350"/>
                <a:gd name="connsiteX3203" fmla="*/ 6095524 w 6400800"/>
                <a:gd name="connsiteY3203" fmla="*/ 255746 h 514350"/>
                <a:gd name="connsiteX3204" fmla="*/ 6091714 w 6400800"/>
                <a:gd name="connsiteY3204" fmla="*/ 264319 h 514350"/>
                <a:gd name="connsiteX3205" fmla="*/ 6090762 w 6400800"/>
                <a:gd name="connsiteY3205" fmla="*/ 262414 h 514350"/>
                <a:gd name="connsiteX3206" fmla="*/ 6093619 w 6400800"/>
                <a:gd name="connsiteY3206" fmla="*/ 247174 h 514350"/>
                <a:gd name="connsiteX3207" fmla="*/ 6088856 w 6400800"/>
                <a:gd name="connsiteY3207" fmla="*/ 269081 h 514350"/>
                <a:gd name="connsiteX3208" fmla="*/ 6088856 w 6400800"/>
                <a:gd name="connsiteY3208" fmla="*/ 270034 h 514350"/>
                <a:gd name="connsiteX3209" fmla="*/ 6088856 w 6400800"/>
                <a:gd name="connsiteY3209" fmla="*/ 270034 h 514350"/>
                <a:gd name="connsiteX3210" fmla="*/ 6087904 w 6400800"/>
                <a:gd name="connsiteY3210" fmla="*/ 272891 h 514350"/>
                <a:gd name="connsiteX3211" fmla="*/ 6088856 w 6400800"/>
                <a:gd name="connsiteY3211" fmla="*/ 269081 h 514350"/>
                <a:gd name="connsiteX3212" fmla="*/ 6067901 w 6400800"/>
                <a:gd name="connsiteY3212" fmla="*/ 369094 h 514350"/>
                <a:gd name="connsiteX3213" fmla="*/ 6080284 w 6400800"/>
                <a:gd name="connsiteY3213" fmla="*/ 339566 h 514350"/>
                <a:gd name="connsiteX3214" fmla="*/ 6085046 w 6400800"/>
                <a:gd name="connsiteY3214" fmla="*/ 326231 h 514350"/>
                <a:gd name="connsiteX3215" fmla="*/ 6088856 w 6400800"/>
                <a:gd name="connsiteY3215" fmla="*/ 313849 h 514350"/>
                <a:gd name="connsiteX3216" fmla="*/ 6093619 w 6400800"/>
                <a:gd name="connsiteY3216" fmla="*/ 293846 h 514350"/>
                <a:gd name="connsiteX3217" fmla="*/ 6093619 w 6400800"/>
                <a:gd name="connsiteY3217" fmla="*/ 293846 h 514350"/>
                <a:gd name="connsiteX3218" fmla="*/ 6096476 w 6400800"/>
                <a:gd name="connsiteY3218" fmla="*/ 310991 h 514350"/>
                <a:gd name="connsiteX3219" fmla="*/ 6100287 w 6400800"/>
                <a:gd name="connsiteY3219" fmla="*/ 339566 h 514350"/>
                <a:gd name="connsiteX3220" fmla="*/ 6101239 w 6400800"/>
                <a:gd name="connsiteY3220" fmla="*/ 355759 h 514350"/>
                <a:gd name="connsiteX3221" fmla="*/ 6101239 w 6400800"/>
                <a:gd name="connsiteY3221" fmla="*/ 355759 h 514350"/>
                <a:gd name="connsiteX3222" fmla="*/ 6100287 w 6400800"/>
                <a:gd name="connsiteY3222" fmla="*/ 359569 h 514350"/>
                <a:gd name="connsiteX3223" fmla="*/ 6097429 w 6400800"/>
                <a:gd name="connsiteY3223" fmla="*/ 350044 h 514350"/>
                <a:gd name="connsiteX3224" fmla="*/ 6093619 w 6400800"/>
                <a:gd name="connsiteY3224" fmla="*/ 345281 h 514350"/>
                <a:gd name="connsiteX3225" fmla="*/ 6087904 w 6400800"/>
                <a:gd name="connsiteY3225" fmla="*/ 342424 h 514350"/>
                <a:gd name="connsiteX3226" fmla="*/ 6085999 w 6400800"/>
                <a:gd name="connsiteY3226" fmla="*/ 341471 h 514350"/>
                <a:gd name="connsiteX3227" fmla="*/ 6085046 w 6400800"/>
                <a:gd name="connsiteY3227" fmla="*/ 343376 h 514350"/>
                <a:gd name="connsiteX3228" fmla="*/ 6076474 w 6400800"/>
                <a:gd name="connsiteY3228" fmla="*/ 365284 h 514350"/>
                <a:gd name="connsiteX3229" fmla="*/ 6069806 w 6400800"/>
                <a:gd name="connsiteY3229" fmla="*/ 384334 h 514350"/>
                <a:gd name="connsiteX3230" fmla="*/ 6065996 w 6400800"/>
                <a:gd name="connsiteY3230" fmla="*/ 372904 h 514350"/>
                <a:gd name="connsiteX3231" fmla="*/ 6067901 w 6400800"/>
                <a:gd name="connsiteY3231" fmla="*/ 369094 h 514350"/>
                <a:gd name="connsiteX3232" fmla="*/ 6035517 w 6400800"/>
                <a:gd name="connsiteY3232" fmla="*/ 310039 h 514350"/>
                <a:gd name="connsiteX3233" fmla="*/ 6035517 w 6400800"/>
                <a:gd name="connsiteY3233" fmla="*/ 308134 h 514350"/>
                <a:gd name="connsiteX3234" fmla="*/ 6040279 w 6400800"/>
                <a:gd name="connsiteY3234" fmla="*/ 324326 h 514350"/>
                <a:gd name="connsiteX3235" fmla="*/ 6044089 w 6400800"/>
                <a:gd name="connsiteY3235" fmla="*/ 338614 h 514350"/>
                <a:gd name="connsiteX3236" fmla="*/ 6038374 w 6400800"/>
                <a:gd name="connsiteY3236" fmla="*/ 355759 h 514350"/>
                <a:gd name="connsiteX3237" fmla="*/ 6033612 w 6400800"/>
                <a:gd name="connsiteY3237" fmla="*/ 330041 h 514350"/>
                <a:gd name="connsiteX3238" fmla="*/ 6035517 w 6400800"/>
                <a:gd name="connsiteY3238" fmla="*/ 310039 h 514350"/>
                <a:gd name="connsiteX3239" fmla="*/ 6012656 w 6400800"/>
                <a:gd name="connsiteY3239" fmla="*/ 361474 h 514350"/>
                <a:gd name="connsiteX3240" fmla="*/ 6012656 w 6400800"/>
                <a:gd name="connsiteY3240" fmla="*/ 363379 h 514350"/>
                <a:gd name="connsiteX3241" fmla="*/ 6012656 w 6400800"/>
                <a:gd name="connsiteY3241" fmla="*/ 359569 h 514350"/>
                <a:gd name="connsiteX3242" fmla="*/ 6012656 w 6400800"/>
                <a:gd name="connsiteY3242" fmla="*/ 361474 h 514350"/>
                <a:gd name="connsiteX3243" fmla="*/ 6007894 w 6400800"/>
                <a:gd name="connsiteY3243" fmla="*/ 351949 h 514350"/>
                <a:gd name="connsiteX3244" fmla="*/ 6007894 w 6400800"/>
                <a:gd name="connsiteY3244" fmla="*/ 352901 h 514350"/>
                <a:gd name="connsiteX3245" fmla="*/ 6007894 w 6400800"/>
                <a:gd name="connsiteY3245" fmla="*/ 351949 h 514350"/>
                <a:gd name="connsiteX3246" fmla="*/ 6007894 w 6400800"/>
                <a:gd name="connsiteY3246" fmla="*/ 351949 h 514350"/>
                <a:gd name="connsiteX3247" fmla="*/ 5976462 w 6400800"/>
                <a:gd name="connsiteY3247" fmla="*/ 410051 h 514350"/>
                <a:gd name="connsiteX3248" fmla="*/ 5973604 w 6400800"/>
                <a:gd name="connsiteY3248" fmla="*/ 402431 h 514350"/>
                <a:gd name="connsiteX3249" fmla="*/ 5972651 w 6400800"/>
                <a:gd name="connsiteY3249" fmla="*/ 398621 h 514350"/>
                <a:gd name="connsiteX3250" fmla="*/ 5971699 w 6400800"/>
                <a:gd name="connsiteY3250" fmla="*/ 391001 h 514350"/>
                <a:gd name="connsiteX3251" fmla="*/ 5973604 w 6400800"/>
                <a:gd name="connsiteY3251" fmla="*/ 386239 h 514350"/>
                <a:gd name="connsiteX3252" fmla="*/ 5977414 w 6400800"/>
                <a:gd name="connsiteY3252" fmla="*/ 374809 h 514350"/>
                <a:gd name="connsiteX3253" fmla="*/ 5976462 w 6400800"/>
                <a:gd name="connsiteY3253" fmla="*/ 410051 h 514350"/>
                <a:gd name="connsiteX3254" fmla="*/ 5976462 w 6400800"/>
                <a:gd name="connsiteY3254" fmla="*/ 239554 h 514350"/>
                <a:gd name="connsiteX3255" fmla="*/ 5978367 w 6400800"/>
                <a:gd name="connsiteY3255" fmla="*/ 250031 h 514350"/>
                <a:gd name="connsiteX3256" fmla="*/ 5979319 w 6400800"/>
                <a:gd name="connsiteY3256" fmla="*/ 256699 h 514350"/>
                <a:gd name="connsiteX3257" fmla="*/ 5974556 w 6400800"/>
                <a:gd name="connsiteY3257" fmla="*/ 248126 h 514350"/>
                <a:gd name="connsiteX3258" fmla="*/ 5976462 w 6400800"/>
                <a:gd name="connsiteY3258" fmla="*/ 239554 h 514350"/>
                <a:gd name="connsiteX3259" fmla="*/ 5965984 w 6400800"/>
                <a:gd name="connsiteY3259" fmla="*/ 291941 h 514350"/>
                <a:gd name="connsiteX3260" fmla="*/ 5966937 w 6400800"/>
                <a:gd name="connsiteY3260" fmla="*/ 286226 h 514350"/>
                <a:gd name="connsiteX3261" fmla="*/ 5967889 w 6400800"/>
                <a:gd name="connsiteY3261" fmla="*/ 282416 h 514350"/>
                <a:gd name="connsiteX3262" fmla="*/ 5970746 w 6400800"/>
                <a:gd name="connsiteY3262" fmla="*/ 269081 h 514350"/>
                <a:gd name="connsiteX3263" fmla="*/ 5983129 w 6400800"/>
                <a:gd name="connsiteY3263" fmla="*/ 298609 h 514350"/>
                <a:gd name="connsiteX3264" fmla="*/ 5980271 w 6400800"/>
                <a:gd name="connsiteY3264" fmla="*/ 330994 h 514350"/>
                <a:gd name="connsiteX3265" fmla="*/ 5979319 w 6400800"/>
                <a:gd name="connsiteY3265" fmla="*/ 331946 h 514350"/>
                <a:gd name="connsiteX3266" fmla="*/ 5976462 w 6400800"/>
                <a:gd name="connsiteY3266" fmla="*/ 328136 h 514350"/>
                <a:gd name="connsiteX3267" fmla="*/ 5979319 w 6400800"/>
                <a:gd name="connsiteY3267" fmla="*/ 332899 h 514350"/>
                <a:gd name="connsiteX3268" fmla="*/ 5972651 w 6400800"/>
                <a:gd name="connsiteY3268" fmla="*/ 346234 h 514350"/>
                <a:gd name="connsiteX3269" fmla="*/ 5967889 w 6400800"/>
                <a:gd name="connsiteY3269" fmla="*/ 355759 h 514350"/>
                <a:gd name="connsiteX3270" fmla="*/ 5967889 w 6400800"/>
                <a:gd name="connsiteY3270" fmla="*/ 355759 h 514350"/>
                <a:gd name="connsiteX3271" fmla="*/ 5966937 w 6400800"/>
                <a:gd name="connsiteY3271" fmla="*/ 351949 h 514350"/>
                <a:gd name="connsiteX3272" fmla="*/ 5965031 w 6400800"/>
                <a:gd name="connsiteY3272" fmla="*/ 333851 h 514350"/>
                <a:gd name="connsiteX3273" fmla="*/ 5963126 w 6400800"/>
                <a:gd name="connsiteY3273" fmla="*/ 299561 h 514350"/>
                <a:gd name="connsiteX3274" fmla="*/ 5965984 w 6400800"/>
                <a:gd name="connsiteY3274" fmla="*/ 291941 h 514350"/>
                <a:gd name="connsiteX3275" fmla="*/ 5952649 w 6400800"/>
                <a:gd name="connsiteY3275" fmla="*/ 385286 h 514350"/>
                <a:gd name="connsiteX3276" fmla="*/ 5952649 w 6400800"/>
                <a:gd name="connsiteY3276" fmla="*/ 385286 h 514350"/>
                <a:gd name="connsiteX3277" fmla="*/ 5952649 w 6400800"/>
                <a:gd name="connsiteY3277" fmla="*/ 385286 h 514350"/>
                <a:gd name="connsiteX3278" fmla="*/ 5952649 w 6400800"/>
                <a:gd name="connsiteY3278" fmla="*/ 385286 h 514350"/>
                <a:gd name="connsiteX3279" fmla="*/ 5934551 w 6400800"/>
                <a:gd name="connsiteY3279" fmla="*/ 339566 h 514350"/>
                <a:gd name="connsiteX3280" fmla="*/ 5933599 w 6400800"/>
                <a:gd name="connsiteY3280" fmla="*/ 332899 h 514350"/>
                <a:gd name="connsiteX3281" fmla="*/ 5933599 w 6400800"/>
                <a:gd name="connsiteY3281" fmla="*/ 330994 h 514350"/>
                <a:gd name="connsiteX3282" fmla="*/ 5935504 w 6400800"/>
                <a:gd name="connsiteY3282" fmla="*/ 336709 h 514350"/>
                <a:gd name="connsiteX3283" fmla="*/ 5934551 w 6400800"/>
                <a:gd name="connsiteY3283" fmla="*/ 339566 h 514350"/>
                <a:gd name="connsiteX3284" fmla="*/ 5948839 w 6400800"/>
                <a:gd name="connsiteY3284" fmla="*/ 371951 h 514350"/>
                <a:gd name="connsiteX3285" fmla="*/ 5945981 w 6400800"/>
                <a:gd name="connsiteY3285" fmla="*/ 382429 h 514350"/>
                <a:gd name="connsiteX3286" fmla="*/ 5943124 w 6400800"/>
                <a:gd name="connsiteY3286" fmla="*/ 392906 h 514350"/>
                <a:gd name="connsiteX3287" fmla="*/ 5943124 w 6400800"/>
                <a:gd name="connsiteY3287" fmla="*/ 378619 h 514350"/>
                <a:gd name="connsiteX3288" fmla="*/ 5943124 w 6400800"/>
                <a:gd name="connsiteY3288" fmla="*/ 378619 h 514350"/>
                <a:gd name="connsiteX3289" fmla="*/ 5946934 w 6400800"/>
                <a:gd name="connsiteY3289" fmla="*/ 365284 h 514350"/>
                <a:gd name="connsiteX3290" fmla="*/ 5948839 w 6400800"/>
                <a:gd name="connsiteY3290" fmla="*/ 371951 h 514350"/>
                <a:gd name="connsiteX3291" fmla="*/ 5930742 w 6400800"/>
                <a:gd name="connsiteY3291" fmla="*/ 234791 h 514350"/>
                <a:gd name="connsiteX3292" fmla="*/ 5938362 w 6400800"/>
                <a:gd name="connsiteY3292" fmla="*/ 269081 h 514350"/>
                <a:gd name="connsiteX3293" fmla="*/ 5945029 w 6400800"/>
                <a:gd name="connsiteY3293" fmla="*/ 307181 h 514350"/>
                <a:gd name="connsiteX3294" fmla="*/ 5940267 w 6400800"/>
                <a:gd name="connsiteY3294" fmla="*/ 323374 h 514350"/>
                <a:gd name="connsiteX3295" fmla="*/ 5940267 w 6400800"/>
                <a:gd name="connsiteY3295" fmla="*/ 324326 h 514350"/>
                <a:gd name="connsiteX3296" fmla="*/ 5931694 w 6400800"/>
                <a:gd name="connsiteY3296" fmla="*/ 307181 h 514350"/>
                <a:gd name="connsiteX3297" fmla="*/ 5928837 w 6400800"/>
                <a:gd name="connsiteY3297" fmla="*/ 284321 h 514350"/>
                <a:gd name="connsiteX3298" fmla="*/ 5926931 w 6400800"/>
                <a:gd name="connsiteY3298" fmla="*/ 266224 h 514350"/>
                <a:gd name="connsiteX3299" fmla="*/ 5929789 w 6400800"/>
                <a:gd name="connsiteY3299" fmla="*/ 259556 h 514350"/>
                <a:gd name="connsiteX3300" fmla="*/ 5926931 w 6400800"/>
                <a:gd name="connsiteY3300" fmla="*/ 264319 h 514350"/>
                <a:gd name="connsiteX3301" fmla="*/ 5925026 w 6400800"/>
                <a:gd name="connsiteY3301" fmla="*/ 245269 h 514350"/>
                <a:gd name="connsiteX3302" fmla="*/ 5926931 w 6400800"/>
                <a:gd name="connsiteY3302" fmla="*/ 233839 h 514350"/>
                <a:gd name="connsiteX3303" fmla="*/ 5928837 w 6400800"/>
                <a:gd name="connsiteY3303" fmla="*/ 226219 h 514350"/>
                <a:gd name="connsiteX3304" fmla="*/ 5930742 w 6400800"/>
                <a:gd name="connsiteY3304" fmla="*/ 234791 h 514350"/>
                <a:gd name="connsiteX3305" fmla="*/ 5923121 w 6400800"/>
                <a:gd name="connsiteY3305" fmla="*/ 209074 h 514350"/>
                <a:gd name="connsiteX3306" fmla="*/ 5926931 w 6400800"/>
                <a:gd name="connsiteY3306" fmla="*/ 222409 h 514350"/>
                <a:gd name="connsiteX3307" fmla="*/ 5922169 w 6400800"/>
                <a:gd name="connsiteY3307" fmla="*/ 232886 h 514350"/>
                <a:gd name="connsiteX3308" fmla="*/ 5919312 w 6400800"/>
                <a:gd name="connsiteY3308" fmla="*/ 206216 h 514350"/>
                <a:gd name="connsiteX3309" fmla="*/ 5918359 w 6400800"/>
                <a:gd name="connsiteY3309" fmla="*/ 193834 h 514350"/>
                <a:gd name="connsiteX3310" fmla="*/ 5923121 w 6400800"/>
                <a:gd name="connsiteY3310" fmla="*/ 209074 h 514350"/>
                <a:gd name="connsiteX3311" fmla="*/ 5901214 w 6400800"/>
                <a:gd name="connsiteY3311" fmla="*/ 244316 h 514350"/>
                <a:gd name="connsiteX3312" fmla="*/ 5901214 w 6400800"/>
                <a:gd name="connsiteY3312" fmla="*/ 258604 h 514350"/>
                <a:gd name="connsiteX3313" fmla="*/ 5902167 w 6400800"/>
                <a:gd name="connsiteY3313" fmla="*/ 278606 h 514350"/>
                <a:gd name="connsiteX3314" fmla="*/ 5904071 w 6400800"/>
                <a:gd name="connsiteY3314" fmla="*/ 302419 h 514350"/>
                <a:gd name="connsiteX3315" fmla="*/ 5900262 w 6400800"/>
                <a:gd name="connsiteY3315" fmla="*/ 310039 h 514350"/>
                <a:gd name="connsiteX3316" fmla="*/ 5895499 w 6400800"/>
                <a:gd name="connsiteY3316" fmla="*/ 284321 h 514350"/>
                <a:gd name="connsiteX3317" fmla="*/ 5901214 w 6400800"/>
                <a:gd name="connsiteY3317" fmla="*/ 244316 h 514350"/>
                <a:gd name="connsiteX3318" fmla="*/ 5903119 w 6400800"/>
                <a:gd name="connsiteY3318" fmla="*/ 324326 h 514350"/>
                <a:gd name="connsiteX3319" fmla="*/ 5903119 w 6400800"/>
                <a:gd name="connsiteY3319" fmla="*/ 328136 h 514350"/>
                <a:gd name="connsiteX3320" fmla="*/ 5902167 w 6400800"/>
                <a:gd name="connsiteY3320" fmla="*/ 325279 h 514350"/>
                <a:gd name="connsiteX3321" fmla="*/ 5903119 w 6400800"/>
                <a:gd name="connsiteY3321" fmla="*/ 324326 h 514350"/>
                <a:gd name="connsiteX3322" fmla="*/ 5892642 w 6400800"/>
                <a:gd name="connsiteY3322" fmla="*/ 348139 h 514350"/>
                <a:gd name="connsiteX3323" fmla="*/ 5893594 w 6400800"/>
                <a:gd name="connsiteY3323" fmla="*/ 352901 h 514350"/>
                <a:gd name="connsiteX3324" fmla="*/ 5893594 w 6400800"/>
                <a:gd name="connsiteY3324" fmla="*/ 355759 h 514350"/>
                <a:gd name="connsiteX3325" fmla="*/ 5891689 w 6400800"/>
                <a:gd name="connsiteY3325" fmla="*/ 350996 h 514350"/>
                <a:gd name="connsiteX3326" fmla="*/ 5892642 w 6400800"/>
                <a:gd name="connsiteY3326" fmla="*/ 348139 h 514350"/>
                <a:gd name="connsiteX3327" fmla="*/ 5893594 w 6400800"/>
                <a:gd name="connsiteY3327" fmla="*/ 373856 h 514350"/>
                <a:gd name="connsiteX3328" fmla="*/ 5898356 w 6400800"/>
                <a:gd name="connsiteY3328" fmla="*/ 391954 h 514350"/>
                <a:gd name="connsiteX3329" fmla="*/ 5902167 w 6400800"/>
                <a:gd name="connsiteY3329" fmla="*/ 408146 h 514350"/>
                <a:gd name="connsiteX3330" fmla="*/ 5904071 w 6400800"/>
                <a:gd name="connsiteY3330" fmla="*/ 417671 h 514350"/>
                <a:gd name="connsiteX3331" fmla="*/ 5904071 w 6400800"/>
                <a:gd name="connsiteY3331" fmla="*/ 417671 h 514350"/>
                <a:gd name="connsiteX3332" fmla="*/ 5890737 w 6400800"/>
                <a:gd name="connsiteY3332" fmla="*/ 387191 h 514350"/>
                <a:gd name="connsiteX3333" fmla="*/ 5888831 w 6400800"/>
                <a:gd name="connsiteY3333" fmla="*/ 383381 h 514350"/>
                <a:gd name="connsiteX3334" fmla="*/ 5887879 w 6400800"/>
                <a:gd name="connsiteY3334" fmla="*/ 357664 h 514350"/>
                <a:gd name="connsiteX3335" fmla="*/ 5888831 w 6400800"/>
                <a:gd name="connsiteY3335" fmla="*/ 356711 h 514350"/>
                <a:gd name="connsiteX3336" fmla="*/ 5893594 w 6400800"/>
                <a:gd name="connsiteY3336" fmla="*/ 373856 h 514350"/>
                <a:gd name="connsiteX3337" fmla="*/ 5886926 w 6400800"/>
                <a:gd name="connsiteY3337" fmla="*/ 321469 h 514350"/>
                <a:gd name="connsiteX3338" fmla="*/ 5888831 w 6400800"/>
                <a:gd name="connsiteY3338" fmla="*/ 311944 h 514350"/>
                <a:gd name="connsiteX3339" fmla="*/ 5888831 w 6400800"/>
                <a:gd name="connsiteY3339" fmla="*/ 314801 h 514350"/>
                <a:gd name="connsiteX3340" fmla="*/ 5889784 w 6400800"/>
                <a:gd name="connsiteY3340" fmla="*/ 326231 h 514350"/>
                <a:gd name="connsiteX3341" fmla="*/ 5885974 w 6400800"/>
                <a:gd name="connsiteY3341" fmla="*/ 332899 h 514350"/>
                <a:gd name="connsiteX3342" fmla="*/ 5885974 w 6400800"/>
                <a:gd name="connsiteY3342" fmla="*/ 325279 h 514350"/>
                <a:gd name="connsiteX3343" fmla="*/ 5886926 w 6400800"/>
                <a:gd name="connsiteY3343" fmla="*/ 321469 h 514350"/>
                <a:gd name="connsiteX3344" fmla="*/ 5858351 w 6400800"/>
                <a:gd name="connsiteY3344" fmla="*/ 279559 h 514350"/>
                <a:gd name="connsiteX3345" fmla="*/ 5858351 w 6400800"/>
                <a:gd name="connsiteY3345" fmla="*/ 284321 h 514350"/>
                <a:gd name="connsiteX3346" fmla="*/ 5858351 w 6400800"/>
                <a:gd name="connsiteY3346" fmla="*/ 285274 h 514350"/>
                <a:gd name="connsiteX3347" fmla="*/ 5857399 w 6400800"/>
                <a:gd name="connsiteY3347" fmla="*/ 281464 h 514350"/>
                <a:gd name="connsiteX3348" fmla="*/ 5858351 w 6400800"/>
                <a:gd name="connsiteY3348" fmla="*/ 279559 h 514350"/>
                <a:gd name="connsiteX3349" fmla="*/ 5841206 w 6400800"/>
                <a:gd name="connsiteY3349" fmla="*/ 264319 h 514350"/>
                <a:gd name="connsiteX3350" fmla="*/ 5840254 w 6400800"/>
                <a:gd name="connsiteY3350" fmla="*/ 270034 h 514350"/>
                <a:gd name="connsiteX3351" fmla="*/ 5839301 w 6400800"/>
                <a:gd name="connsiteY3351" fmla="*/ 277654 h 514350"/>
                <a:gd name="connsiteX3352" fmla="*/ 5838349 w 6400800"/>
                <a:gd name="connsiteY3352" fmla="*/ 271939 h 514350"/>
                <a:gd name="connsiteX3353" fmla="*/ 5841206 w 6400800"/>
                <a:gd name="connsiteY3353" fmla="*/ 264319 h 514350"/>
                <a:gd name="connsiteX3354" fmla="*/ 5828824 w 6400800"/>
                <a:gd name="connsiteY3354" fmla="*/ 305276 h 514350"/>
                <a:gd name="connsiteX3355" fmla="*/ 5826919 w 6400800"/>
                <a:gd name="connsiteY3355" fmla="*/ 308134 h 514350"/>
                <a:gd name="connsiteX3356" fmla="*/ 5826919 w 6400800"/>
                <a:gd name="connsiteY3356" fmla="*/ 306229 h 514350"/>
                <a:gd name="connsiteX3357" fmla="*/ 5829776 w 6400800"/>
                <a:gd name="connsiteY3357" fmla="*/ 299561 h 514350"/>
                <a:gd name="connsiteX3358" fmla="*/ 5828824 w 6400800"/>
                <a:gd name="connsiteY3358" fmla="*/ 305276 h 514350"/>
                <a:gd name="connsiteX3359" fmla="*/ 5823109 w 6400800"/>
                <a:gd name="connsiteY3359" fmla="*/ 259556 h 514350"/>
                <a:gd name="connsiteX3360" fmla="*/ 5827871 w 6400800"/>
                <a:gd name="connsiteY3360" fmla="*/ 270986 h 514350"/>
                <a:gd name="connsiteX3361" fmla="*/ 5828824 w 6400800"/>
                <a:gd name="connsiteY3361" fmla="*/ 273844 h 514350"/>
                <a:gd name="connsiteX3362" fmla="*/ 5828824 w 6400800"/>
                <a:gd name="connsiteY3362" fmla="*/ 286226 h 514350"/>
                <a:gd name="connsiteX3363" fmla="*/ 5824062 w 6400800"/>
                <a:gd name="connsiteY3363" fmla="*/ 295751 h 514350"/>
                <a:gd name="connsiteX3364" fmla="*/ 5824062 w 6400800"/>
                <a:gd name="connsiteY3364" fmla="*/ 294799 h 514350"/>
                <a:gd name="connsiteX3365" fmla="*/ 5823109 w 6400800"/>
                <a:gd name="connsiteY3365" fmla="*/ 267176 h 514350"/>
                <a:gd name="connsiteX3366" fmla="*/ 5823109 w 6400800"/>
                <a:gd name="connsiteY3366" fmla="*/ 259556 h 514350"/>
                <a:gd name="connsiteX3367" fmla="*/ 5813584 w 6400800"/>
                <a:gd name="connsiteY3367" fmla="*/ 252889 h 514350"/>
                <a:gd name="connsiteX3368" fmla="*/ 5812631 w 6400800"/>
                <a:gd name="connsiteY3368" fmla="*/ 258604 h 514350"/>
                <a:gd name="connsiteX3369" fmla="*/ 5811679 w 6400800"/>
                <a:gd name="connsiteY3369" fmla="*/ 255746 h 514350"/>
                <a:gd name="connsiteX3370" fmla="*/ 5811679 w 6400800"/>
                <a:gd name="connsiteY3370" fmla="*/ 262414 h 514350"/>
                <a:gd name="connsiteX3371" fmla="*/ 5810726 w 6400800"/>
                <a:gd name="connsiteY3371" fmla="*/ 267176 h 514350"/>
                <a:gd name="connsiteX3372" fmla="*/ 5808821 w 6400800"/>
                <a:gd name="connsiteY3372" fmla="*/ 294799 h 514350"/>
                <a:gd name="connsiteX3373" fmla="*/ 5808821 w 6400800"/>
                <a:gd name="connsiteY3373" fmla="*/ 304324 h 514350"/>
                <a:gd name="connsiteX3374" fmla="*/ 5807869 w 6400800"/>
                <a:gd name="connsiteY3374" fmla="*/ 300514 h 514350"/>
                <a:gd name="connsiteX3375" fmla="*/ 5806917 w 6400800"/>
                <a:gd name="connsiteY3375" fmla="*/ 264319 h 514350"/>
                <a:gd name="connsiteX3376" fmla="*/ 5806917 w 6400800"/>
                <a:gd name="connsiteY3376" fmla="*/ 262414 h 514350"/>
                <a:gd name="connsiteX3377" fmla="*/ 5813584 w 6400800"/>
                <a:gd name="connsiteY3377" fmla="*/ 252889 h 514350"/>
                <a:gd name="connsiteX3378" fmla="*/ 5804059 w 6400800"/>
                <a:gd name="connsiteY3378" fmla="*/ 268129 h 514350"/>
                <a:gd name="connsiteX3379" fmla="*/ 5804059 w 6400800"/>
                <a:gd name="connsiteY3379" fmla="*/ 269081 h 514350"/>
                <a:gd name="connsiteX3380" fmla="*/ 5804059 w 6400800"/>
                <a:gd name="connsiteY3380" fmla="*/ 268129 h 514350"/>
                <a:gd name="connsiteX3381" fmla="*/ 5804059 w 6400800"/>
                <a:gd name="connsiteY3381" fmla="*/ 268129 h 514350"/>
                <a:gd name="connsiteX3382" fmla="*/ 5799296 w 6400800"/>
                <a:gd name="connsiteY3382" fmla="*/ 164306 h 514350"/>
                <a:gd name="connsiteX3383" fmla="*/ 5802154 w 6400800"/>
                <a:gd name="connsiteY3383" fmla="*/ 166211 h 514350"/>
                <a:gd name="connsiteX3384" fmla="*/ 5796439 w 6400800"/>
                <a:gd name="connsiteY3384" fmla="*/ 176689 h 514350"/>
                <a:gd name="connsiteX3385" fmla="*/ 5796439 w 6400800"/>
                <a:gd name="connsiteY3385" fmla="*/ 163354 h 514350"/>
                <a:gd name="connsiteX3386" fmla="*/ 5799296 w 6400800"/>
                <a:gd name="connsiteY3386" fmla="*/ 164306 h 514350"/>
                <a:gd name="connsiteX3387" fmla="*/ 5770721 w 6400800"/>
                <a:gd name="connsiteY3387" fmla="*/ 386239 h 514350"/>
                <a:gd name="connsiteX3388" fmla="*/ 5770721 w 6400800"/>
                <a:gd name="connsiteY3388" fmla="*/ 383381 h 514350"/>
                <a:gd name="connsiteX3389" fmla="*/ 5770721 w 6400800"/>
                <a:gd name="connsiteY3389" fmla="*/ 382429 h 514350"/>
                <a:gd name="connsiteX3390" fmla="*/ 5771674 w 6400800"/>
                <a:gd name="connsiteY3390" fmla="*/ 387191 h 514350"/>
                <a:gd name="connsiteX3391" fmla="*/ 5770721 w 6400800"/>
                <a:gd name="connsiteY3391" fmla="*/ 386239 h 514350"/>
                <a:gd name="connsiteX3392" fmla="*/ 5782151 w 6400800"/>
                <a:gd name="connsiteY3392" fmla="*/ 253841 h 514350"/>
                <a:gd name="connsiteX3393" fmla="*/ 5780246 w 6400800"/>
                <a:gd name="connsiteY3393" fmla="*/ 258604 h 514350"/>
                <a:gd name="connsiteX3394" fmla="*/ 5777389 w 6400800"/>
                <a:gd name="connsiteY3394" fmla="*/ 267176 h 514350"/>
                <a:gd name="connsiteX3395" fmla="*/ 5773579 w 6400800"/>
                <a:gd name="connsiteY3395" fmla="*/ 275749 h 514350"/>
                <a:gd name="connsiteX3396" fmla="*/ 5772626 w 6400800"/>
                <a:gd name="connsiteY3396" fmla="*/ 273844 h 514350"/>
                <a:gd name="connsiteX3397" fmla="*/ 5771674 w 6400800"/>
                <a:gd name="connsiteY3397" fmla="*/ 272891 h 514350"/>
                <a:gd name="connsiteX3398" fmla="*/ 5783104 w 6400800"/>
                <a:gd name="connsiteY3398" fmla="*/ 241459 h 514350"/>
                <a:gd name="connsiteX3399" fmla="*/ 5782151 w 6400800"/>
                <a:gd name="connsiteY3399" fmla="*/ 253841 h 514350"/>
                <a:gd name="connsiteX3400" fmla="*/ 5785962 w 6400800"/>
                <a:gd name="connsiteY3400" fmla="*/ 221456 h 514350"/>
                <a:gd name="connsiteX3401" fmla="*/ 5784056 w 6400800"/>
                <a:gd name="connsiteY3401" fmla="*/ 239554 h 514350"/>
                <a:gd name="connsiteX3402" fmla="*/ 5784056 w 6400800"/>
                <a:gd name="connsiteY3402" fmla="*/ 240506 h 514350"/>
                <a:gd name="connsiteX3403" fmla="*/ 5770721 w 6400800"/>
                <a:gd name="connsiteY3403" fmla="*/ 267176 h 514350"/>
                <a:gd name="connsiteX3404" fmla="*/ 5769769 w 6400800"/>
                <a:gd name="connsiteY3404" fmla="*/ 261461 h 514350"/>
                <a:gd name="connsiteX3405" fmla="*/ 5769769 w 6400800"/>
                <a:gd name="connsiteY3405" fmla="*/ 258604 h 514350"/>
                <a:gd name="connsiteX3406" fmla="*/ 5785962 w 6400800"/>
                <a:gd name="connsiteY3406" fmla="*/ 221456 h 514350"/>
                <a:gd name="connsiteX3407" fmla="*/ 5754529 w 6400800"/>
                <a:gd name="connsiteY3407" fmla="*/ 333851 h 514350"/>
                <a:gd name="connsiteX3408" fmla="*/ 5746909 w 6400800"/>
                <a:gd name="connsiteY3408" fmla="*/ 348139 h 514350"/>
                <a:gd name="connsiteX3409" fmla="*/ 5745956 w 6400800"/>
                <a:gd name="connsiteY3409" fmla="*/ 346234 h 514350"/>
                <a:gd name="connsiteX3410" fmla="*/ 5754529 w 6400800"/>
                <a:gd name="connsiteY3410" fmla="*/ 322421 h 514350"/>
                <a:gd name="connsiteX3411" fmla="*/ 5754529 w 6400800"/>
                <a:gd name="connsiteY3411" fmla="*/ 333851 h 514350"/>
                <a:gd name="connsiteX3412" fmla="*/ 5754529 w 6400800"/>
                <a:gd name="connsiteY3412" fmla="*/ 333851 h 514350"/>
                <a:gd name="connsiteX3413" fmla="*/ 5762149 w 6400800"/>
                <a:gd name="connsiteY3413" fmla="*/ 302419 h 514350"/>
                <a:gd name="connsiteX3414" fmla="*/ 5762149 w 6400800"/>
                <a:gd name="connsiteY3414" fmla="*/ 302419 h 514350"/>
                <a:gd name="connsiteX3415" fmla="*/ 5762149 w 6400800"/>
                <a:gd name="connsiteY3415" fmla="*/ 302419 h 514350"/>
                <a:gd name="connsiteX3416" fmla="*/ 5762149 w 6400800"/>
                <a:gd name="connsiteY3416" fmla="*/ 302419 h 514350"/>
                <a:gd name="connsiteX3417" fmla="*/ 5761196 w 6400800"/>
                <a:gd name="connsiteY3417" fmla="*/ 304324 h 514350"/>
                <a:gd name="connsiteX3418" fmla="*/ 5762149 w 6400800"/>
                <a:gd name="connsiteY3418" fmla="*/ 305276 h 514350"/>
                <a:gd name="connsiteX3419" fmla="*/ 5762149 w 6400800"/>
                <a:gd name="connsiteY3419" fmla="*/ 308134 h 514350"/>
                <a:gd name="connsiteX3420" fmla="*/ 5762149 w 6400800"/>
                <a:gd name="connsiteY3420" fmla="*/ 310039 h 514350"/>
                <a:gd name="connsiteX3421" fmla="*/ 5759292 w 6400800"/>
                <a:gd name="connsiteY3421" fmla="*/ 320516 h 514350"/>
                <a:gd name="connsiteX3422" fmla="*/ 5757387 w 6400800"/>
                <a:gd name="connsiteY3422" fmla="*/ 328136 h 514350"/>
                <a:gd name="connsiteX3423" fmla="*/ 5755481 w 6400800"/>
                <a:gd name="connsiteY3423" fmla="*/ 320516 h 514350"/>
                <a:gd name="connsiteX3424" fmla="*/ 5761196 w 6400800"/>
                <a:gd name="connsiteY3424" fmla="*/ 304324 h 514350"/>
                <a:gd name="connsiteX3425" fmla="*/ 5760244 w 6400800"/>
                <a:gd name="connsiteY3425" fmla="*/ 289084 h 514350"/>
                <a:gd name="connsiteX3426" fmla="*/ 5759292 w 6400800"/>
                <a:gd name="connsiteY3426" fmla="*/ 290989 h 514350"/>
                <a:gd name="connsiteX3427" fmla="*/ 5751671 w 6400800"/>
                <a:gd name="connsiteY3427" fmla="*/ 301466 h 514350"/>
                <a:gd name="connsiteX3428" fmla="*/ 5748814 w 6400800"/>
                <a:gd name="connsiteY3428" fmla="*/ 305276 h 514350"/>
                <a:gd name="connsiteX3429" fmla="*/ 5759292 w 6400800"/>
                <a:gd name="connsiteY3429" fmla="*/ 280511 h 514350"/>
                <a:gd name="connsiteX3430" fmla="*/ 5760244 w 6400800"/>
                <a:gd name="connsiteY3430" fmla="*/ 289084 h 514350"/>
                <a:gd name="connsiteX3431" fmla="*/ 5756434 w 6400800"/>
                <a:gd name="connsiteY3431" fmla="*/ 227171 h 514350"/>
                <a:gd name="connsiteX3432" fmla="*/ 5756434 w 6400800"/>
                <a:gd name="connsiteY3432" fmla="*/ 243364 h 514350"/>
                <a:gd name="connsiteX3433" fmla="*/ 5757387 w 6400800"/>
                <a:gd name="connsiteY3433" fmla="*/ 250984 h 514350"/>
                <a:gd name="connsiteX3434" fmla="*/ 5753576 w 6400800"/>
                <a:gd name="connsiteY3434" fmla="*/ 259556 h 514350"/>
                <a:gd name="connsiteX3435" fmla="*/ 5741194 w 6400800"/>
                <a:gd name="connsiteY3435" fmla="*/ 285274 h 514350"/>
                <a:gd name="connsiteX3436" fmla="*/ 5756434 w 6400800"/>
                <a:gd name="connsiteY3436" fmla="*/ 227171 h 514350"/>
                <a:gd name="connsiteX3437" fmla="*/ 5676424 w 6400800"/>
                <a:gd name="connsiteY3437" fmla="*/ 184309 h 514350"/>
                <a:gd name="connsiteX3438" fmla="*/ 5676424 w 6400800"/>
                <a:gd name="connsiteY3438" fmla="*/ 198596 h 514350"/>
                <a:gd name="connsiteX3439" fmla="*/ 5676424 w 6400800"/>
                <a:gd name="connsiteY3439" fmla="*/ 228124 h 514350"/>
                <a:gd name="connsiteX3440" fmla="*/ 5676424 w 6400800"/>
                <a:gd name="connsiteY3440" fmla="*/ 246221 h 514350"/>
                <a:gd name="connsiteX3441" fmla="*/ 5677376 w 6400800"/>
                <a:gd name="connsiteY3441" fmla="*/ 266224 h 514350"/>
                <a:gd name="connsiteX3442" fmla="*/ 5678329 w 6400800"/>
                <a:gd name="connsiteY3442" fmla="*/ 276701 h 514350"/>
                <a:gd name="connsiteX3443" fmla="*/ 5678329 w 6400800"/>
                <a:gd name="connsiteY3443" fmla="*/ 276701 h 514350"/>
                <a:gd name="connsiteX3444" fmla="*/ 5675471 w 6400800"/>
                <a:gd name="connsiteY3444" fmla="*/ 259556 h 514350"/>
                <a:gd name="connsiteX3445" fmla="*/ 5672614 w 6400800"/>
                <a:gd name="connsiteY3445" fmla="*/ 242411 h 514350"/>
                <a:gd name="connsiteX3446" fmla="*/ 5669756 w 6400800"/>
                <a:gd name="connsiteY3446" fmla="*/ 223361 h 514350"/>
                <a:gd name="connsiteX3447" fmla="*/ 5668804 w 6400800"/>
                <a:gd name="connsiteY3447" fmla="*/ 216694 h 514350"/>
                <a:gd name="connsiteX3448" fmla="*/ 5676424 w 6400800"/>
                <a:gd name="connsiteY3448" fmla="*/ 184309 h 514350"/>
                <a:gd name="connsiteX3449" fmla="*/ 5652612 w 6400800"/>
                <a:gd name="connsiteY3449" fmla="*/ 263366 h 514350"/>
                <a:gd name="connsiteX3450" fmla="*/ 5653564 w 6400800"/>
                <a:gd name="connsiteY3450" fmla="*/ 261461 h 514350"/>
                <a:gd name="connsiteX3451" fmla="*/ 5655469 w 6400800"/>
                <a:gd name="connsiteY3451" fmla="*/ 264319 h 514350"/>
                <a:gd name="connsiteX3452" fmla="*/ 5655469 w 6400800"/>
                <a:gd name="connsiteY3452" fmla="*/ 268129 h 514350"/>
                <a:gd name="connsiteX3453" fmla="*/ 5657374 w 6400800"/>
                <a:gd name="connsiteY3453" fmla="*/ 286226 h 514350"/>
                <a:gd name="connsiteX3454" fmla="*/ 5652612 w 6400800"/>
                <a:gd name="connsiteY3454" fmla="*/ 269081 h 514350"/>
                <a:gd name="connsiteX3455" fmla="*/ 5651659 w 6400800"/>
                <a:gd name="connsiteY3455" fmla="*/ 267176 h 514350"/>
                <a:gd name="connsiteX3456" fmla="*/ 5652612 w 6400800"/>
                <a:gd name="connsiteY3456" fmla="*/ 263366 h 514350"/>
                <a:gd name="connsiteX3457" fmla="*/ 5650706 w 6400800"/>
                <a:gd name="connsiteY3457" fmla="*/ 205264 h 514350"/>
                <a:gd name="connsiteX3458" fmla="*/ 5651659 w 6400800"/>
                <a:gd name="connsiteY3458" fmla="*/ 212884 h 514350"/>
                <a:gd name="connsiteX3459" fmla="*/ 5649754 w 6400800"/>
                <a:gd name="connsiteY3459" fmla="*/ 207169 h 514350"/>
                <a:gd name="connsiteX3460" fmla="*/ 5650706 w 6400800"/>
                <a:gd name="connsiteY3460" fmla="*/ 205264 h 514350"/>
                <a:gd name="connsiteX3461" fmla="*/ 5647849 w 6400800"/>
                <a:gd name="connsiteY3461" fmla="*/ 209074 h 514350"/>
                <a:gd name="connsiteX3462" fmla="*/ 5649754 w 6400800"/>
                <a:gd name="connsiteY3462" fmla="*/ 219551 h 514350"/>
                <a:gd name="connsiteX3463" fmla="*/ 5651659 w 6400800"/>
                <a:gd name="connsiteY3463" fmla="*/ 235744 h 514350"/>
                <a:gd name="connsiteX3464" fmla="*/ 5651659 w 6400800"/>
                <a:gd name="connsiteY3464" fmla="*/ 236696 h 514350"/>
                <a:gd name="connsiteX3465" fmla="*/ 5645944 w 6400800"/>
                <a:gd name="connsiteY3465" fmla="*/ 228124 h 514350"/>
                <a:gd name="connsiteX3466" fmla="*/ 5644039 w 6400800"/>
                <a:gd name="connsiteY3466" fmla="*/ 216694 h 514350"/>
                <a:gd name="connsiteX3467" fmla="*/ 5647849 w 6400800"/>
                <a:gd name="connsiteY3467" fmla="*/ 209074 h 514350"/>
                <a:gd name="connsiteX3468" fmla="*/ 5642134 w 6400800"/>
                <a:gd name="connsiteY3468" fmla="*/ 370046 h 514350"/>
                <a:gd name="connsiteX3469" fmla="*/ 5643087 w 6400800"/>
                <a:gd name="connsiteY3469" fmla="*/ 377666 h 514350"/>
                <a:gd name="connsiteX3470" fmla="*/ 5641181 w 6400800"/>
                <a:gd name="connsiteY3470" fmla="*/ 385286 h 514350"/>
                <a:gd name="connsiteX3471" fmla="*/ 5642134 w 6400800"/>
                <a:gd name="connsiteY3471" fmla="*/ 370046 h 514350"/>
                <a:gd name="connsiteX3472" fmla="*/ 5624037 w 6400800"/>
                <a:gd name="connsiteY3472" fmla="*/ 272891 h 514350"/>
                <a:gd name="connsiteX3473" fmla="*/ 5625942 w 6400800"/>
                <a:gd name="connsiteY3473" fmla="*/ 258604 h 514350"/>
                <a:gd name="connsiteX3474" fmla="*/ 5625942 w 6400800"/>
                <a:gd name="connsiteY3474" fmla="*/ 254794 h 514350"/>
                <a:gd name="connsiteX3475" fmla="*/ 5632609 w 6400800"/>
                <a:gd name="connsiteY3475" fmla="*/ 241459 h 514350"/>
                <a:gd name="connsiteX3476" fmla="*/ 5634514 w 6400800"/>
                <a:gd name="connsiteY3476" fmla="*/ 236696 h 514350"/>
                <a:gd name="connsiteX3477" fmla="*/ 5637371 w 6400800"/>
                <a:gd name="connsiteY3477" fmla="*/ 245269 h 514350"/>
                <a:gd name="connsiteX3478" fmla="*/ 5640229 w 6400800"/>
                <a:gd name="connsiteY3478" fmla="*/ 259556 h 514350"/>
                <a:gd name="connsiteX3479" fmla="*/ 5640229 w 6400800"/>
                <a:gd name="connsiteY3479" fmla="*/ 266224 h 514350"/>
                <a:gd name="connsiteX3480" fmla="*/ 5631656 w 6400800"/>
                <a:gd name="connsiteY3480" fmla="*/ 288131 h 514350"/>
                <a:gd name="connsiteX3481" fmla="*/ 5624037 w 6400800"/>
                <a:gd name="connsiteY3481" fmla="*/ 277654 h 514350"/>
                <a:gd name="connsiteX3482" fmla="*/ 5624037 w 6400800"/>
                <a:gd name="connsiteY3482" fmla="*/ 272891 h 514350"/>
                <a:gd name="connsiteX3483" fmla="*/ 5623084 w 6400800"/>
                <a:gd name="connsiteY3483" fmla="*/ 289084 h 514350"/>
                <a:gd name="connsiteX3484" fmla="*/ 5623084 w 6400800"/>
                <a:gd name="connsiteY3484" fmla="*/ 287179 h 514350"/>
                <a:gd name="connsiteX3485" fmla="*/ 5624989 w 6400800"/>
                <a:gd name="connsiteY3485" fmla="*/ 290989 h 514350"/>
                <a:gd name="connsiteX3486" fmla="*/ 5626894 w 6400800"/>
                <a:gd name="connsiteY3486" fmla="*/ 298609 h 514350"/>
                <a:gd name="connsiteX3487" fmla="*/ 5625942 w 6400800"/>
                <a:gd name="connsiteY3487" fmla="*/ 300514 h 514350"/>
                <a:gd name="connsiteX3488" fmla="*/ 5625942 w 6400800"/>
                <a:gd name="connsiteY3488" fmla="*/ 300514 h 514350"/>
                <a:gd name="connsiteX3489" fmla="*/ 5622131 w 6400800"/>
                <a:gd name="connsiteY3489" fmla="*/ 295751 h 514350"/>
                <a:gd name="connsiteX3490" fmla="*/ 5623084 w 6400800"/>
                <a:gd name="connsiteY3490" fmla="*/ 289084 h 514350"/>
                <a:gd name="connsiteX3491" fmla="*/ 5621179 w 6400800"/>
                <a:gd name="connsiteY3491" fmla="*/ 310991 h 514350"/>
                <a:gd name="connsiteX3492" fmla="*/ 5621179 w 6400800"/>
                <a:gd name="connsiteY3492" fmla="*/ 310991 h 514350"/>
                <a:gd name="connsiteX3493" fmla="*/ 5621179 w 6400800"/>
                <a:gd name="connsiteY3493" fmla="*/ 310991 h 514350"/>
                <a:gd name="connsiteX3494" fmla="*/ 5621179 w 6400800"/>
                <a:gd name="connsiteY3494" fmla="*/ 310991 h 514350"/>
                <a:gd name="connsiteX3495" fmla="*/ 5618321 w 6400800"/>
                <a:gd name="connsiteY3495" fmla="*/ 270034 h 514350"/>
                <a:gd name="connsiteX3496" fmla="*/ 5618321 w 6400800"/>
                <a:gd name="connsiteY3496" fmla="*/ 270034 h 514350"/>
                <a:gd name="connsiteX3497" fmla="*/ 5618321 w 6400800"/>
                <a:gd name="connsiteY3497" fmla="*/ 270034 h 514350"/>
                <a:gd name="connsiteX3498" fmla="*/ 5618321 w 6400800"/>
                <a:gd name="connsiteY3498" fmla="*/ 270034 h 514350"/>
                <a:gd name="connsiteX3499" fmla="*/ 5617369 w 6400800"/>
                <a:gd name="connsiteY3499" fmla="*/ 272891 h 514350"/>
                <a:gd name="connsiteX3500" fmla="*/ 5618321 w 6400800"/>
                <a:gd name="connsiteY3500" fmla="*/ 273844 h 514350"/>
                <a:gd name="connsiteX3501" fmla="*/ 5616417 w 6400800"/>
                <a:gd name="connsiteY3501" fmla="*/ 286226 h 514350"/>
                <a:gd name="connsiteX3502" fmla="*/ 5613559 w 6400800"/>
                <a:gd name="connsiteY3502" fmla="*/ 282416 h 514350"/>
                <a:gd name="connsiteX3503" fmla="*/ 5617369 w 6400800"/>
                <a:gd name="connsiteY3503" fmla="*/ 272891 h 514350"/>
                <a:gd name="connsiteX3504" fmla="*/ 5608796 w 6400800"/>
                <a:gd name="connsiteY3504" fmla="*/ 290989 h 514350"/>
                <a:gd name="connsiteX3505" fmla="*/ 5608796 w 6400800"/>
                <a:gd name="connsiteY3505" fmla="*/ 290989 h 514350"/>
                <a:gd name="connsiteX3506" fmla="*/ 5611654 w 6400800"/>
                <a:gd name="connsiteY3506" fmla="*/ 294799 h 514350"/>
                <a:gd name="connsiteX3507" fmla="*/ 5613559 w 6400800"/>
                <a:gd name="connsiteY3507" fmla="*/ 297656 h 514350"/>
                <a:gd name="connsiteX3508" fmla="*/ 5611654 w 6400800"/>
                <a:gd name="connsiteY3508" fmla="*/ 310991 h 514350"/>
                <a:gd name="connsiteX3509" fmla="*/ 5608796 w 6400800"/>
                <a:gd name="connsiteY3509" fmla="*/ 292894 h 514350"/>
                <a:gd name="connsiteX3510" fmla="*/ 5608796 w 6400800"/>
                <a:gd name="connsiteY3510" fmla="*/ 290989 h 514350"/>
                <a:gd name="connsiteX3511" fmla="*/ 5594509 w 6400800"/>
                <a:gd name="connsiteY3511" fmla="*/ 241459 h 514350"/>
                <a:gd name="connsiteX3512" fmla="*/ 5595462 w 6400800"/>
                <a:gd name="connsiteY3512" fmla="*/ 258604 h 514350"/>
                <a:gd name="connsiteX3513" fmla="*/ 5595462 w 6400800"/>
                <a:gd name="connsiteY3513" fmla="*/ 259556 h 514350"/>
                <a:gd name="connsiteX3514" fmla="*/ 5595462 w 6400800"/>
                <a:gd name="connsiteY3514" fmla="*/ 261461 h 514350"/>
                <a:gd name="connsiteX3515" fmla="*/ 5593556 w 6400800"/>
                <a:gd name="connsiteY3515" fmla="*/ 259556 h 514350"/>
                <a:gd name="connsiteX3516" fmla="*/ 5592604 w 6400800"/>
                <a:gd name="connsiteY3516" fmla="*/ 250031 h 514350"/>
                <a:gd name="connsiteX3517" fmla="*/ 5594509 w 6400800"/>
                <a:gd name="connsiteY3517" fmla="*/ 241459 h 514350"/>
                <a:gd name="connsiteX3518" fmla="*/ 5578317 w 6400800"/>
                <a:gd name="connsiteY3518" fmla="*/ 284321 h 514350"/>
                <a:gd name="connsiteX3519" fmla="*/ 5578317 w 6400800"/>
                <a:gd name="connsiteY3519" fmla="*/ 286226 h 514350"/>
                <a:gd name="connsiteX3520" fmla="*/ 5577364 w 6400800"/>
                <a:gd name="connsiteY3520" fmla="*/ 285274 h 514350"/>
                <a:gd name="connsiteX3521" fmla="*/ 5578317 w 6400800"/>
                <a:gd name="connsiteY3521" fmla="*/ 284321 h 514350"/>
                <a:gd name="connsiteX3522" fmla="*/ 5573554 w 6400800"/>
                <a:gd name="connsiteY3522" fmla="*/ 299561 h 514350"/>
                <a:gd name="connsiteX3523" fmla="*/ 5576412 w 6400800"/>
                <a:gd name="connsiteY3523" fmla="*/ 305276 h 514350"/>
                <a:gd name="connsiteX3524" fmla="*/ 5577364 w 6400800"/>
                <a:gd name="connsiteY3524" fmla="*/ 307181 h 514350"/>
                <a:gd name="connsiteX3525" fmla="*/ 5576412 w 6400800"/>
                <a:gd name="connsiteY3525" fmla="*/ 325279 h 514350"/>
                <a:gd name="connsiteX3526" fmla="*/ 5576412 w 6400800"/>
                <a:gd name="connsiteY3526" fmla="*/ 328136 h 514350"/>
                <a:gd name="connsiteX3527" fmla="*/ 5575459 w 6400800"/>
                <a:gd name="connsiteY3527" fmla="*/ 319564 h 514350"/>
                <a:gd name="connsiteX3528" fmla="*/ 5573554 w 6400800"/>
                <a:gd name="connsiteY3528" fmla="*/ 303371 h 514350"/>
                <a:gd name="connsiteX3529" fmla="*/ 5573554 w 6400800"/>
                <a:gd name="connsiteY3529" fmla="*/ 299561 h 514350"/>
                <a:gd name="connsiteX3530" fmla="*/ 5550694 w 6400800"/>
                <a:gd name="connsiteY3530" fmla="*/ 308134 h 514350"/>
                <a:gd name="connsiteX3531" fmla="*/ 5549742 w 6400800"/>
                <a:gd name="connsiteY3531" fmla="*/ 301466 h 514350"/>
                <a:gd name="connsiteX3532" fmla="*/ 5551646 w 6400800"/>
                <a:gd name="connsiteY3532" fmla="*/ 294799 h 514350"/>
                <a:gd name="connsiteX3533" fmla="*/ 5552599 w 6400800"/>
                <a:gd name="connsiteY3533" fmla="*/ 291941 h 514350"/>
                <a:gd name="connsiteX3534" fmla="*/ 5554504 w 6400800"/>
                <a:gd name="connsiteY3534" fmla="*/ 302419 h 514350"/>
                <a:gd name="connsiteX3535" fmla="*/ 5552599 w 6400800"/>
                <a:gd name="connsiteY3535" fmla="*/ 306229 h 514350"/>
                <a:gd name="connsiteX3536" fmla="*/ 5550694 w 6400800"/>
                <a:gd name="connsiteY3536" fmla="*/ 308134 h 514350"/>
                <a:gd name="connsiteX3537" fmla="*/ 5557362 w 6400800"/>
                <a:gd name="connsiteY3537" fmla="*/ 313849 h 514350"/>
                <a:gd name="connsiteX3538" fmla="*/ 5557362 w 6400800"/>
                <a:gd name="connsiteY3538" fmla="*/ 313849 h 514350"/>
                <a:gd name="connsiteX3539" fmla="*/ 5553551 w 6400800"/>
                <a:gd name="connsiteY3539" fmla="*/ 318611 h 514350"/>
                <a:gd name="connsiteX3540" fmla="*/ 5556409 w 6400800"/>
                <a:gd name="connsiteY3540" fmla="*/ 310039 h 514350"/>
                <a:gd name="connsiteX3541" fmla="*/ 5557362 w 6400800"/>
                <a:gd name="connsiteY3541" fmla="*/ 313849 h 514350"/>
                <a:gd name="connsiteX3542" fmla="*/ 5557362 w 6400800"/>
                <a:gd name="connsiteY3542" fmla="*/ 313849 h 514350"/>
                <a:gd name="connsiteX3543" fmla="*/ 5561171 w 6400800"/>
                <a:gd name="connsiteY3543" fmla="*/ 359569 h 514350"/>
                <a:gd name="connsiteX3544" fmla="*/ 5561171 w 6400800"/>
                <a:gd name="connsiteY3544" fmla="*/ 361474 h 514350"/>
                <a:gd name="connsiteX3545" fmla="*/ 5560219 w 6400800"/>
                <a:gd name="connsiteY3545" fmla="*/ 360521 h 514350"/>
                <a:gd name="connsiteX3546" fmla="*/ 5558314 w 6400800"/>
                <a:gd name="connsiteY3546" fmla="*/ 350996 h 514350"/>
                <a:gd name="connsiteX3547" fmla="*/ 5560219 w 6400800"/>
                <a:gd name="connsiteY3547" fmla="*/ 342424 h 514350"/>
                <a:gd name="connsiteX3548" fmla="*/ 5561171 w 6400800"/>
                <a:gd name="connsiteY3548" fmla="*/ 359569 h 514350"/>
                <a:gd name="connsiteX3549" fmla="*/ 5559267 w 6400800"/>
                <a:gd name="connsiteY3549" fmla="*/ 303371 h 514350"/>
                <a:gd name="connsiteX3550" fmla="*/ 5559267 w 6400800"/>
                <a:gd name="connsiteY3550" fmla="*/ 303371 h 514350"/>
                <a:gd name="connsiteX3551" fmla="*/ 5559267 w 6400800"/>
                <a:gd name="connsiteY3551" fmla="*/ 303371 h 514350"/>
                <a:gd name="connsiteX3552" fmla="*/ 5559267 w 6400800"/>
                <a:gd name="connsiteY3552" fmla="*/ 303371 h 514350"/>
                <a:gd name="connsiteX3553" fmla="*/ 5557362 w 6400800"/>
                <a:gd name="connsiteY3553" fmla="*/ 277654 h 514350"/>
                <a:gd name="connsiteX3554" fmla="*/ 5558314 w 6400800"/>
                <a:gd name="connsiteY3554" fmla="*/ 283369 h 514350"/>
                <a:gd name="connsiteX3555" fmla="*/ 5559267 w 6400800"/>
                <a:gd name="connsiteY3555" fmla="*/ 293846 h 514350"/>
                <a:gd name="connsiteX3556" fmla="*/ 5557362 w 6400800"/>
                <a:gd name="connsiteY3556" fmla="*/ 296704 h 514350"/>
                <a:gd name="connsiteX3557" fmla="*/ 5554504 w 6400800"/>
                <a:gd name="connsiteY3557" fmla="*/ 287179 h 514350"/>
                <a:gd name="connsiteX3558" fmla="*/ 5557362 w 6400800"/>
                <a:gd name="connsiteY3558" fmla="*/ 277654 h 514350"/>
                <a:gd name="connsiteX3559" fmla="*/ 5553551 w 6400800"/>
                <a:gd name="connsiteY3559" fmla="*/ 252889 h 514350"/>
                <a:gd name="connsiteX3560" fmla="*/ 5553551 w 6400800"/>
                <a:gd name="connsiteY3560" fmla="*/ 252889 h 514350"/>
                <a:gd name="connsiteX3561" fmla="*/ 5553551 w 6400800"/>
                <a:gd name="connsiteY3561" fmla="*/ 253841 h 514350"/>
                <a:gd name="connsiteX3562" fmla="*/ 5555456 w 6400800"/>
                <a:gd name="connsiteY3562" fmla="*/ 268129 h 514350"/>
                <a:gd name="connsiteX3563" fmla="*/ 5555456 w 6400800"/>
                <a:gd name="connsiteY3563" fmla="*/ 270986 h 514350"/>
                <a:gd name="connsiteX3564" fmla="*/ 5552599 w 6400800"/>
                <a:gd name="connsiteY3564" fmla="*/ 275749 h 514350"/>
                <a:gd name="connsiteX3565" fmla="*/ 5549742 w 6400800"/>
                <a:gd name="connsiteY3565" fmla="*/ 280511 h 514350"/>
                <a:gd name="connsiteX3566" fmla="*/ 5549742 w 6400800"/>
                <a:gd name="connsiteY3566" fmla="*/ 280511 h 514350"/>
                <a:gd name="connsiteX3567" fmla="*/ 5549742 w 6400800"/>
                <a:gd name="connsiteY3567" fmla="*/ 280511 h 514350"/>
                <a:gd name="connsiteX3568" fmla="*/ 5545931 w 6400800"/>
                <a:gd name="connsiteY3568" fmla="*/ 286226 h 514350"/>
                <a:gd name="connsiteX3569" fmla="*/ 5544979 w 6400800"/>
                <a:gd name="connsiteY3569" fmla="*/ 281464 h 514350"/>
                <a:gd name="connsiteX3570" fmla="*/ 5546884 w 6400800"/>
                <a:gd name="connsiteY3570" fmla="*/ 275749 h 514350"/>
                <a:gd name="connsiteX3571" fmla="*/ 5549742 w 6400800"/>
                <a:gd name="connsiteY3571" fmla="*/ 261461 h 514350"/>
                <a:gd name="connsiteX3572" fmla="*/ 5553551 w 6400800"/>
                <a:gd name="connsiteY3572" fmla="*/ 252889 h 514350"/>
                <a:gd name="connsiteX3573" fmla="*/ 5548789 w 6400800"/>
                <a:gd name="connsiteY3573" fmla="*/ 226219 h 514350"/>
                <a:gd name="connsiteX3574" fmla="*/ 5549742 w 6400800"/>
                <a:gd name="connsiteY3574" fmla="*/ 230029 h 514350"/>
                <a:gd name="connsiteX3575" fmla="*/ 5550694 w 6400800"/>
                <a:gd name="connsiteY3575" fmla="*/ 234791 h 514350"/>
                <a:gd name="connsiteX3576" fmla="*/ 5547837 w 6400800"/>
                <a:gd name="connsiteY3576" fmla="*/ 230029 h 514350"/>
                <a:gd name="connsiteX3577" fmla="*/ 5548789 w 6400800"/>
                <a:gd name="connsiteY3577" fmla="*/ 226219 h 514350"/>
                <a:gd name="connsiteX3578" fmla="*/ 5546884 w 6400800"/>
                <a:gd name="connsiteY3578" fmla="*/ 235744 h 514350"/>
                <a:gd name="connsiteX3579" fmla="*/ 5550694 w 6400800"/>
                <a:gd name="connsiteY3579" fmla="*/ 244316 h 514350"/>
                <a:gd name="connsiteX3580" fmla="*/ 5544979 w 6400800"/>
                <a:gd name="connsiteY3580" fmla="*/ 259556 h 514350"/>
                <a:gd name="connsiteX3581" fmla="*/ 5544026 w 6400800"/>
                <a:gd name="connsiteY3581" fmla="*/ 262414 h 514350"/>
                <a:gd name="connsiteX3582" fmla="*/ 5543074 w 6400800"/>
                <a:gd name="connsiteY3582" fmla="*/ 257651 h 514350"/>
                <a:gd name="connsiteX3583" fmla="*/ 5542121 w 6400800"/>
                <a:gd name="connsiteY3583" fmla="*/ 254794 h 514350"/>
                <a:gd name="connsiteX3584" fmla="*/ 5546884 w 6400800"/>
                <a:gd name="connsiteY3584" fmla="*/ 235744 h 514350"/>
                <a:gd name="connsiteX3585" fmla="*/ 5540217 w 6400800"/>
                <a:gd name="connsiteY3585" fmla="*/ 218599 h 514350"/>
                <a:gd name="connsiteX3586" fmla="*/ 5539264 w 6400800"/>
                <a:gd name="connsiteY3586" fmla="*/ 220504 h 514350"/>
                <a:gd name="connsiteX3587" fmla="*/ 5538312 w 6400800"/>
                <a:gd name="connsiteY3587" fmla="*/ 223361 h 514350"/>
                <a:gd name="connsiteX3588" fmla="*/ 5536406 w 6400800"/>
                <a:gd name="connsiteY3588" fmla="*/ 210026 h 514350"/>
                <a:gd name="connsiteX3589" fmla="*/ 5540217 w 6400800"/>
                <a:gd name="connsiteY3589" fmla="*/ 218599 h 514350"/>
                <a:gd name="connsiteX3590" fmla="*/ 5507831 w 6400800"/>
                <a:gd name="connsiteY3590" fmla="*/ 312896 h 514350"/>
                <a:gd name="connsiteX3591" fmla="*/ 5507831 w 6400800"/>
                <a:gd name="connsiteY3591" fmla="*/ 312896 h 514350"/>
                <a:gd name="connsiteX3592" fmla="*/ 5507831 w 6400800"/>
                <a:gd name="connsiteY3592" fmla="*/ 313849 h 514350"/>
                <a:gd name="connsiteX3593" fmla="*/ 5507831 w 6400800"/>
                <a:gd name="connsiteY3593" fmla="*/ 312896 h 514350"/>
                <a:gd name="connsiteX3594" fmla="*/ 5481162 w 6400800"/>
                <a:gd name="connsiteY3594" fmla="*/ 326231 h 514350"/>
                <a:gd name="connsiteX3595" fmla="*/ 5480209 w 6400800"/>
                <a:gd name="connsiteY3595" fmla="*/ 330994 h 514350"/>
                <a:gd name="connsiteX3596" fmla="*/ 5479256 w 6400800"/>
                <a:gd name="connsiteY3596" fmla="*/ 324326 h 514350"/>
                <a:gd name="connsiteX3597" fmla="*/ 5479256 w 6400800"/>
                <a:gd name="connsiteY3597" fmla="*/ 322421 h 514350"/>
                <a:gd name="connsiteX3598" fmla="*/ 5478304 w 6400800"/>
                <a:gd name="connsiteY3598" fmla="*/ 311944 h 514350"/>
                <a:gd name="connsiteX3599" fmla="*/ 5482114 w 6400800"/>
                <a:gd name="connsiteY3599" fmla="*/ 325279 h 514350"/>
                <a:gd name="connsiteX3600" fmla="*/ 5481162 w 6400800"/>
                <a:gd name="connsiteY3600" fmla="*/ 326231 h 514350"/>
                <a:gd name="connsiteX3601" fmla="*/ 5493544 w 6400800"/>
                <a:gd name="connsiteY3601" fmla="*/ 339566 h 514350"/>
                <a:gd name="connsiteX3602" fmla="*/ 5493544 w 6400800"/>
                <a:gd name="connsiteY3602" fmla="*/ 339566 h 514350"/>
                <a:gd name="connsiteX3603" fmla="*/ 5493544 w 6400800"/>
                <a:gd name="connsiteY3603" fmla="*/ 339566 h 514350"/>
                <a:gd name="connsiteX3604" fmla="*/ 5493544 w 6400800"/>
                <a:gd name="connsiteY3604" fmla="*/ 339566 h 514350"/>
                <a:gd name="connsiteX3605" fmla="*/ 5488781 w 6400800"/>
                <a:gd name="connsiteY3605" fmla="*/ 261461 h 514350"/>
                <a:gd name="connsiteX3606" fmla="*/ 5488781 w 6400800"/>
                <a:gd name="connsiteY3606" fmla="*/ 261461 h 514350"/>
                <a:gd name="connsiteX3607" fmla="*/ 5490687 w 6400800"/>
                <a:gd name="connsiteY3607" fmla="*/ 267176 h 514350"/>
                <a:gd name="connsiteX3608" fmla="*/ 5487829 w 6400800"/>
                <a:gd name="connsiteY3608" fmla="*/ 264319 h 514350"/>
                <a:gd name="connsiteX3609" fmla="*/ 5488781 w 6400800"/>
                <a:gd name="connsiteY3609" fmla="*/ 261461 h 514350"/>
                <a:gd name="connsiteX3610" fmla="*/ 5483067 w 6400800"/>
                <a:gd name="connsiteY3610" fmla="*/ 280511 h 514350"/>
                <a:gd name="connsiteX3611" fmla="*/ 5484971 w 6400800"/>
                <a:gd name="connsiteY3611" fmla="*/ 272891 h 514350"/>
                <a:gd name="connsiteX3612" fmla="*/ 5496401 w 6400800"/>
                <a:gd name="connsiteY3612" fmla="*/ 291941 h 514350"/>
                <a:gd name="connsiteX3613" fmla="*/ 5500212 w 6400800"/>
                <a:gd name="connsiteY3613" fmla="*/ 297656 h 514350"/>
                <a:gd name="connsiteX3614" fmla="*/ 5497354 w 6400800"/>
                <a:gd name="connsiteY3614" fmla="*/ 307181 h 514350"/>
                <a:gd name="connsiteX3615" fmla="*/ 5496401 w 6400800"/>
                <a:gd name="connsiteY3615" fmla="*/ 310991 h 514350"/>
                <a:gd name="connsiteX3616" fmla="*/ 5493544 w 6400800"/>
                <a:gd name="connsiteY3616" fmla="*/ 307181 h 514350"/>
                <a:gd name="connsiteX3617" fmla="*/ 5495449 w 6400800"/>
                <a:gd name="connsiteY3617" fmla="*/ 311944 h 514350"/>
                <a:gd name="connsiteX3618" fmla="*/ 5494496 w 6400800"/>
                <a:gd name="connsiteY3618" fmla="*/ 319564 h 514350"/>
                <a:gd name="connsiteX3619" fmla="*/ 5492592 w 6400800"/>
                <a:gd name="connsiteY3619" fmla="*/ 330041 h 514350"/>
                <a:gd name="connsiteX3620" fmla="*/ 5488781 w 6400800"/>
                <a:gd name="connsiteY3620" fmla="*/ 333851 h 514350"/>
                <a:gd name="connsiteX3621" fmla="*/ 5485924 w 6400800"/>
                <a:gd name="connsiteY3621" fmla="*/ 327184 h 514350"/>
                <a:gd name="connsiteX3622" fmla="*/ 5487829 w 6400800"/>
                <a:gd name="connsiteY3622" fmla="*/ 312896 h 514350"/>
                <a:gd name="connsiteX3623" fmla="*/ 5489734 w 6400800"/>
                <a:gd name="connsiteY3623" fmla="*/ 299561 h 514350"/>
                <a:gd name="connsiteX3624" fmla="*/ 5484019 w 6400800"/>
                <a:gd name="connsiteY3624" fmla="*/ 311944 h 514350"/>
                <a:gd name="connsiteX3625" fmla="*/ 5483067 w 6400800"/>
                <a:gd name="connsiteY3625" fmla="*/ 313849 h 514350"/>
                <a:gd name="connsiteX3626" fmla="*/ 5483067 w 6400800"/>
                <a:gd name="connsiteY3626" fmla="*/ 312896 h 514350"/>
                <a:gd name="connsiteX3627" fmla="*/ 5478304 w 6400800"/>
                <a:gd name="connsiteY3627" fmla="*/ 292894 h 514350"/>
                <a:gd name="connsiteX3628" fmla="*/ 5479256 w 6400800"/>
                <a:gd name="connsiteY3628" fmla="*/ 309086 h 514350"/>
                <a:gd name="connsiteX3629" fmla="*/ 5479256 w 6400800"/>
                <a:gd name="connsiteY3629" fmla="*/ 308134 h 514350"/>
                <a:gd name="connsiteX3630" fmla="*/ 5476399 w 6400800"/>
                <a:gd name="connsiteY3630" fmla="*/ 300514 h 514350"/>
                <a:gd name="connsiteX3631" fmla="*/ 5483067 w 6400800"/>
                <a:gd name="connsiteY3631" fmla="*/ 280511 h 514350"/>
                <a:gd name="connsiteX3632" fmla="*/ 5472589 w 6400800"/>
                <a:gd name="connsiteY3632" fmla="*/ 254794 h 514350"/>
                <a:gd name="connsiteX3633" fmla="*/ 5475446 w 6400800"/>
                <a:gd name="connsiteY3633" fmla="*/ 258604 h 514350"/>
                <a:gd name="connsiteX3634" fmla="*/ 5471637 w 6400800"/>
                <a:gd name="connsiteY3634" fmla="*/ 268129 h 514350"/>
                <a:gd name="connsiteX3635" fmla="*/ 5468779 w 6400800"/>
                <a:gd name="connsiteY3635" fmla="*/ 249079 h 514350"/>
                <a:gd name="connsiteX3636" fmla="*/ 5472589 w 6400800"/>
                <a:gd name="connsiteY3636" fmla="*/ 254794 h 514350"/>
                <a:gd name="connsiteX3637" fmla="*/ 5452587 w 6400800"/>
                <a:gd name="connsiteY3637" fmla="*/ 208121 h 514350"/>
                <a:gd name="connsiteX3638" fmla="*/ 5452587 w 6400800"/>
                <a:gd name="connsiteY3638" fmla="*/ 210026 h 514350"/>
                <a:gd name="connsiteX3639" fmla="*/ 5454492 w 6400800"/>
                <a:gd name="connsiteY3639" fmla="*/ 225266 h 514350"/>
                <a:gd name="connsiteX3640" fmla="*/ 5454492 w 6400800"/>
                <a:gd name="connsiteY3640" fmla="*/ 228124 h 514350"/>
                <a:gd name="connsiteX3641" fmla="*/ 5450681 w 6400800"/>
                <a:gd name="connsiteY3641" fmla="*/ 225266 h 514350"/>
                <a:gd name="connsiteX3642" fmla="*/ 5452587 w 6400800"/>
                <a:gd name="connsiteY3642" fmla="*/ 208121 h 514350"/>
                <a:gd name="connsiteX3643" fmla="*/ 5449729 w 6400800"/>
                <a:gd name="connsiteY3643" fmla="*/ 250031 h 514350"/>
                <a:gd name="connsiteX3644" fmla="*/ 5451634 w 6400800"/>
                <a:gd name="connsiteY3644" fmla="*/ 228124 h 514350"/>
                <a:gd name="connsiteX3645" fmla="*/ 5453539 w 6400800"/>
                <a:gd name="connsiteY3645" fmla="*/ 230029 h 514350"/>
                <a:gd name="connsiteX3646" fmla="*/ 5455444 w 6400800"/>
                <a:gd name="connsiteY3646" fmla="*/ 232886 h 514350"/>
                <a:gd name="connsiteX3647" fmla="*/ 5456396 w 6400800"/>
                <a:gd name="connsiteY3647" fmla="*/ 243364 h 514350"/>
                <a:gd name="connsiteX3648" fmla="*/ 5459254 w 6400800"/>
                <a:gd name="connsiteY3648" fmla="*/ 282416 h 514350"/>
                <a:gd name="connsiteX3649" fmla="*/ 5460206 w 6400800"/>
                <a:gd name="connsiteY3649" fmla="*/ 299561 h 514350"/>
                <a:gd name="connsiteX3650" fmla="*/ 5455444 w 6400800"/>
                <a:gd name="connsiteY3650" fmla="*/ 313849 h 514350"/>
                <a:gd name="connsiteX3651" fmla="*/ 5447824 w 6400800"/>
                <a:gd name="connsiteY3651" fmla="*/ 280511 h 514350"/>
                <a:gd name="connsiteX3652" fmla="*/ 5446871 w 6400800"/>
                <a:gd name="connsiteY3652" fmla="*/ 276701 h 514350"/>
                <a:gd name="connsiteX3653" fmla="*/ 5449729 w 6400800"/>
                <a:gd name="connsiteY3653" fmla="*/ 250031 h 514350"/>
                <a:gd name="connsiteX3654" fmla="*/ 5443062 w 6400800"/>
                <a:gd name="connsiteY3654" fmla="*/ 327184 h 514350"/>
                <a:gd name="connsiteX3655" fmla="*/ 5445919 w 6400800"/>
                <a:gd name="connsiteY3655" fmla="*/ 343376 h 514350"/>
                <a:gd name="connsiteX3656" fmla="*/ 5443062 w 6400800"/>
                <a:gd name="connsiteY3656" fmla="*/ 334804 h 514350"/>
                <a:gd name="connsiteX3657" fmla="*/ 5443062 w 6400800"/>
                <a:gd name="connsiteY3657" fmla="*/ 327184 h 514350"/>
                <a:gd name="connsiteX3658" fmla="*/ 5417344 w 6400800"/>
                <a:gd name="connsiteY3658" fmla="*/ 318611 h 514350"/>
                <a:gd name="connsiteX3659" fmla="*/ 5419249 w 6400800"/>
                <a:gd name="connsiteY3659" fmla="*/ 312896 h 514350"/>
                <a:gd name="connsiteX3660" fmla="*/ 5421154 w 6400800"/>
                <a:gd name="connsiteY3660" fmla="*/ 320516 h 514350"/>
                <a:gd name="connsiteX3661" fmla="*/ 5421154 w 6400800"/>
                <a:gd name="connsiteY3661" fmla="*/ 321469 h 514350"/>
                <a:gd name="connsiteX3662" fmla="*/ 5421154 w 6400800"/>
                <a:gd name="connsiteY3662" fmla="*/ 320516 h 514350"/>
                <a:gd name="connsiteX3663" fmla="*/ 5421154 w 6400800"/>
                <a:gd name="connsiteY3663" fmla="*/ 322421 h 514350"/>
                <a:gd name="connsiteX3664" fmla="*/ 5418296 w 6400800"/>
                <a:gd name="connsiteY3664" fmla="*/ 331946 h 514350"/>
                <a:gd name="connsiteX3665" fmla="*/ 5417344 w 6400800"/>
                <a:gd name="connsiteY3665" fmla="*/ 329089 h 514350"/>
                <a:gd name="connsiteX3666" fmla="*/ 5417344 w 6400800"/>
                <a:gd name="connsiteY3666" fmla="*/ 318611 h 514350"/>
                <a:gd name="connsiteX3667" fmla="*/ 5416392 w 6400800"/>
                <a:gd name="connsiteY3667" fmla="*/ 334804 h 514350"/>
                <a:gd name="connsiteX3668" fmla="*/ 5417344 w 6400800"/>
                <a:gd name="connsiteY3668" fmla="*/ 335756 h 514350"/>
                <a:gd name="connsiteX3669" fmla="*/ 5416392 w 6400800"/>
                <a:gd name="connsiteY3669" fmla="*/ 337661 h 514350"/>
                <a:gd name="connsiteX3670" fmla="*/ 5416392 w 6400800"/>
                <a:gd name="connsiteY3670" fmla="*/ 334804 h 514350"/>
                <a:gd name="connsiteX3671" fmla="*/ 5405914 w 6400800"/>
                <a:gd name="connsiteY3671" fmla="*/ 325279 h 514350"/>
                <a:gd name="connsiteX3672" fmla="*/ 5407819 w 6400800"/>
                <a:gd name="connsiteY3672" fmla="*/ 271939 h 514350"/>
                <a:gd name="connsiteX3673" fmla="*/ 5407819 w 6400800"/>
                <a:gd name="connsiteY3673" fmla="*/ 267176 h 514350"/>
                <a:gd name="connsiteX3674" fmla="*/ 5414487 w 6400800"/>
                <a:gd name="connsiteY3674" fmla="*/ 292894 h 514350"/>
                <a:gd name="connsiteX3675" fmla="*/ 5414487 w 6400800"/>
                <a:gd name="connsiteY3675" fmla="*/ 293846 h 514350"/>
                <a:gd name="connsiteX3676" fmla="*/ 5411629 w 6400800"/>
                <a:gd name="connsiteY3676" fmla="*/ 303371 h 514350"/>
                <a:gd name="connsiteX3677" fmla="*/ 5404962 w 6400800"/>
                <a:gd name="connsiteY3677" fmla="*/ 331946 h 514350"/>
                <a:gd name="connsiteX3678" fmla="*/ 5404962 w 6400800"/>
                <a:gd name="connsiteY3678" fmla="*/ 332899 h 514350"/>
                <a:gd name="connsiteX3679" fmla="*/ 5405914 w 6400800"/>
                <a:gd name="connsiteY3679" fmla="*/ 325279 h 514350"/>
                <a:gd name="connsiteX3680" fmla="*/ 5384006 w 6400800"/>
                <a:gd name="connsiteY3680" fmla="*/ 310991 h 514350"/>
                <a:gd name="connsiteX3681" fmla="*/ 5386864 w 6400800"/>
                <a:gd name="connsiteY3681" fmla="*/ 334804 h 514350"/>
                <a:gd name="connsiteX3682" fmla="*/ 5384959 w 6400800"/>
                <a:gd name="connsiteY3682" fmla="*/ 341471 h 514350"/>
                <a:gd name="connsiteX3683" fmla="*/ 5382101 w 6400800"/>
                <a:gd name="connsiteY3683" fmla="*/ 325279 h 514350"/>
                <a:gd name="connsiteX3684" fmla="*/ 5378292 w 6400800"/>
                <a:gd name="connsiteY3684" fmla="*/ 305276 h 514350"/>
                <a:gd name="connsiteX3685" fmla="*/ 5381149 w 6400800"/>
                <a:gd name="connsiteY3685" fmla="*/ 294799 h 514350"/>
                <a:gd name="connsiteX3686" fmla="*/ 5384006 w 6400800"/>
                <a:gd name="connsiteY3686" fmla="*/ 310991 h 514350"/>
                <a:gd name="connsiteX3687" fmla="*/ 5379244 w 6400800"/>
                <a:gd name="connsiteY3687" fmla="*/ 274796 h 514350"/>
                <a:gd name="connsiteX3688" fmla="*/ 5379244 w 6400800"/>
                <a:gd name="connsiteY3688" fmla="*/ 271939 h 514350"/>
                <a:gd name="connsiteX3689" fmla="*/ 5381149 w 6400800"/>
                <a:gd name="connsiteY3689" fmla="*/ 284321 h 514350"/>
                <a:gd name="connsiteX3690" fmla="*/ 5380196 w 6400800"/>
                <a:gd name="connsiteY3690" fmla="*/ 285274 h 514350"/>
                <a:gd name="connsiteX3691" fmla="*/ 5378292 w 6400800"/>
                <a:gd name="connsiteY3691" fmla="*/ 290036 h 514350"/>
                <a:gd name="connsiteX3692" fmla="*/ 5379244 w 6400800"/>
                <a:gd name="connsiteY3692" fmla="*/ 274796 h 514350"/>
                <a:gd name="connsiteX3693" fmla="*/ 5332571 w 6400800"/>
                <a:gd name="connsiteY3693" fmla="*/ 321469 h 514350"/>
                <a:gd name="connsiteX3694" fmla="*/ 5338287 w 6400800"/>
                <a:gd name="connsiteY3694" fmla="*/ 309086 h 514350"/>
                <a:gd name="connsiteX3695" fmla="*/ 5338287 w 6400800"/>
                <a:gd name="connsiteY3695" fmla="*/ 310039 h 514350"/>
                <a:gd name="connsiteX3696" fmla="*/ 5326856 w 6400800"/>
                <a:gd name="connsiteY3696" fmla="*/ 351949 h 514350"/>
                <a:gd name="connsiteX3697" fmla="*/ 5323999 w 6400800"/>
                <a:gd name="connsiteY3697" fmla="*/ 336709 h 514350"/>
                <a:gd name="connsiteX3698" fmla="*/ 5332571 w 6400800"/>
                <a:gd name="connsiteY3698" fmla="*/ 321469 h 514350"/>
                <a:gd name="connsiteX3699" fmla="*/ 5319237 w 6400800"/>
                <a:gd name="connsiteY3699" fmla="*/ 350996 h 514350"/>
                <a:gd name="connsiteX3700" fmla="*/ 5323046 w 6400800"/>
                <a:gd name="connsiteY3700" fmla="*/ 342424 h 514350"/>
                <a:gd name="connsiteX3701" fmla="*/ 5322094 w 6400800"/>
                <a:gd name="connsiteY3701" fmla="*/ 371951 h 514350"/>
                <a:gd name="connsiteX3702" fmla="*/ 5319237 w 6400800"/>
                <a:gd name="connsiteY3702" fmla="*/ 362426 h 514350"/>
                <a:gd name="connsiteX3703" fmla="*/ 5319237 w 6400800"/>
                <a:gd name="connsiteY3703" fmla="*/ 350996 h 514350"/>
                <a:gd name="connsiteX3704" fmla="*/ 5316379 w 6400800"/>
                <a:gd name="connsiteY3704" fmla="*/ 392906 h 514350"/>
                <a:gd name="connsiteX3705" fmla="*/ 5317331 w 6400800"/>
                <a:gd name="connsiteY3705" fmla="*/ 382429 h 514350"/>
                <a:gd name="connsiteX3706" fmla="*/ 5318284 w 6400800"/>
                <a:gd name="connsiteY3706" fmla="*/ 390049 h 514350"/>
                <a:gd name="connsiteX3707" fmla="*/ 5315426 w 6400800"/>
                <a:gd name="connsiteY3707" fmla="*/ 399574 h 514350"/>
                <a:gd name="connsiteX3708" fmla="*/ 5316379 w 6400800"/>
                <a:gd name="connsiteY3708" fmla="*/ 392906 h 514350"/>
                <a:gd name="connsiteX3709" fmla="*/ 5285899 w 6400800"/>
                <a:gd name="connsiteY3709" fmla="*/ 293846 h 514350"/>
                <a:gd name="connsiteX3710" fmla="*/ 5286851 w 6400800"/>
                <a:gd name="connsiteY3710" fmla="*/ 298609 h 514350"/>
                <a:gd name="connsiteX3711" fmla="*/ 5283994 w 6400800"/>
                <a:gd name="connsiteY3711" fmla="*/ 302419 h 514350"/>
                <a:gd name="connsiteX3712" fmla="*/ 5285899 w 6400800"/>
                <a:gd name="connsiteY3712" fmla="*/ 293846 h 514350"/>
                <a:gd name="connsiteX3713" fmla="*/ 5279231 w 6400800"/>
                <a:gd name="connsiteY3713" fmla="*/ 319564 h 514350"/>
                <a:gd name="connsiteX3714" fmla="*/ 5282089 w 6400800"/>
                <a:gd name="connsiteY3714" fmla="*/ 311944 h 514350"/>
                <a:gd name="connsiteX3715" fmla="*/ 5287804 w 6400800"/>
                <a:gd name="connsiteY3715" fmla="*/ 302419 h 514350"/>
                <a:gd name="connsiteX3716" fmla="*/ 5288756 w 6400800"/>
                <a:gd name="connsiteY3716" fmla="*/ 309086 h 514350"/>
                <a:gd name="connsiteX3717" fmla="*/ 5292567 w 6400800"/>
                <a:gd name="connsiteY3717" fmla="*/ 340519 h 514350"/>
                <a:gd name="connsiteX3718" fmla="*/ 5287804 w 6400800"/>
                <a:gd name="connsiteY3718" fmla="*/ 363379 h 514350"/>
                <a:gd name="connsiteX3719" fmla="*/ 5287804 w 6400800"/>
                <a:gd name="connsiteY3719" fmla="*/ 351949 h 514350"/>
                <a:gd name="connsiteX3720" fmla="*/ 5287804 w 6400800"/>
                <a:gd name="connsiteY3720" fmla="*/ 335756 h 514350"/>
                <a:gd name="connsiteX3721" fmla="*/ 5283994 w 6400800"/>
                <a:gd name="connsiteY3721" fmla="*/ 350996 h 514350"/>
                <a:gd name="connsiteX3722" fmla="*/ 5280184 w 6400800"/>
                <a:gd name="connsiteY3722" fmla="*/ 369094 h 514350"/>
                <a:gd name="connsiteX3723" fmla="*/ 5280184 w 6400800"/>
                <a:gd name="connsiteY3723" fmla="*/ 370046 h 514350"/>
                <a:gd name="connsiteX3724" fmla="*/ 5277326 w 6400800"/>
                <a:gd name="connsiteY3724" fmla="*/ 350044 h 514350"/>
                <a:gd name="connsiteX3725" fmla="*/ 5275421 w 6400800"/>
                <a:gd name="connsiteY3725" fmla="*/ 335756 h 514350"/>
                <a:gd name="connsiteX3726" fmla="*/ 5279231 w 6400800"/>
                <a:gd name="connsiteY3726" fmla="*/ 319564 h 514350"/>
                <a:gd name="connsiteX3727" fmla="*/ 5236369 w 6400800"/>
                <a:gd name="connsiteY3727" fmla="*/ 318611 h 514350"/>
                <a:gd name="connsiteX3728" fmla="*/ 5235417 w 6400800"/>
                <a:gd name="connsiteY3728" fmla="*/ 320516 h 514350"/>
                <a:gd name="connsiteX3729" fmla="*/ 5230654 w 6400800"/>
                <a:gd name="connsiteY3729" fmla="*/ 311944 h 514350"/>
                <a:gd name="connsiteX3730" fmla="*/ 5230654 w 6400800"/>
                <a:gd name="connsiteY3730" fmla="*/ 310991 h 514350"/>
                <a:gd name="connsiteX3731" fmla="*/ 5239226 w 6400800"/>
                <a:gd name="connsiteY3731" fmla="*/ 295751 h 514350"/>
                <a:gd name="connsiteX3732" fmla="*/ 5236369 w 6400800"/>
                <a:gd name="connsiteY3732" fmla="*/ 318611 h 514350"/>
                <a:gd name="connsiteX3733" fmla="*/ 5230654 w 6400800"/>
                <a:gd name="connsiteY3733" fmla="*/ 281464 h 514350"/>
                <a:gd name="connsiteX3734" fmla="*/ 5237321 w 6400800"/>
                <a:gd name="connsiteY3734" fmla="*/ 265271 h 514350"/>
                <a:gd name="connsiteX3735" fmla="*/ 5243989 w 6400800"/>
                <a:gd name="connsiteY3735" fmla="*/ 251936 h 514350"/>
                <a:gd name="connsiteX3736" fmla="*/ 5242084 w 6400800"/>
                <a:gd name="connsiteY3736" fmla="*/ 264319 h 514350"/>
                <a:gd name="connsiteX3737" fmla="*/ 5240179 w 6400800"/>
                <a:gd name="connsiteY3737" fmla="*/ 283369 h 514350"/>
                <a:gd name="connsiteX3738" fmla="*/ 5228749 w 6400800"/>
                <a:gd name="connsiteY3738" fmla="*/ 299561 h 514350"/>
                <a:gd name="connsiteX3739" fmla="*/ 5227796 w 6400800"/>
                <a:gd name="connsiteY3739" fmla="*/ 290036 h 514350"/>
                <a:gd name="connsiteX3740" fmla="*/ 5230654 w 6400800"/>
                <a:gd name="connsiteY3740" fmla="*/ 281464 h 514350"/>
                <a:gd name="connsiteX3741" fmla="*/ 5211604 w 6400800"/>
                <a:gd name="connsiteY3741" fmla="*/ 344329 h 514350"/>
                <a:gd name="connsiteX3742" fmla="*/ 5213509 w 6400800"/>
                <a:gd name="connsiteY3742" fmla="*/ 341471 h 514350"/>
                <a:gd name="connsiteX3743" fmla="*/ 5213509 w 6400800"/>
                <a:gd name="connsiteY3743" fmla="*/ 341471 h 514350"/>
                <a:gd name="connsiteX3744" fmla="*/ 5213509 w 6400800"/>
                <a:gd name="connsiteY3744" fmla="*/ 342424 h 514350"/>
                <a:gd name="connsiteX3745" fmla="*/ 5211604 w 6400800"/>
                <a:gd name="connsiteY3745" fmla="*/ 344329 h 514350"/>
                <a:gd name="connsiteX3746" fmla="*/ 5211604 w 6400800"/>
                <a:gd name="connsiteY3746" fmla="*/ 344329 h 514350"/>
                <a:gd name="connsiteX3747" fmla="*/ 5214462 w 6400800"/>
                <a:gd name="connsiteY3747" fmla="*/ 343376 h 514350"/>
                <a:gd name="connsiteX3748" fmla="*/ 5216367 w 6400800"/>
                <a:gd name="connsiteY3748" fmla="*/ 348139 h 514350"/>
                <a:gd name="connsiteX3749" fmla="*/ 5213509 w 6400800"/>
                <a:gd name="connsiteY3749" fmla="*/ 352901 h 514350"/>
                <a:gd name="connsiteX3750" fmla="*/ 5212556 w 6400800"/>
                <a:gd name="connsiteY3750" fmla="*/ 350996 h 514350"/>
                <a:gd name="connsiteX3751" fmla="*/ 5212556 w 6400800"/>
                <a:gd name="connsiteY3751" fmla="*/ 349091 h 514350"/>
                <a:gd name="connsiteX3752" fmla="*/ 5214462 w 6400800"/>
                <a:gd name="connsiteY3752" fmla="*/ 343376 h 514350"/>
                <a:gd name="connsiteX3753" fmla="*/ 5214462 w 6400800"/>
                <a:gd name="connsiteY3753" fmla="*/ 343376 h 514350"/>
                <a:gd name="connsiteX3754" fmla="*/ 5211604 w 6400800"/>
                <a:gd name="connsiteY3754" fmla="*/ 290989 h 514350"/>
                <a:gd name="connsiteX3755" fmla="*/ 5211604 w 6400800"/>
                <a:gd name="connsiteY3755" fmla="*/ 290989 h 514350"/>
                <a:gd name="connsiteX3756" fmla="*/ 5213509 w 6400800"/>
                <a:gd name="connsiteY3756" fmla="*/ 296704 h 514350"/>
                <a:gd name="connsiteX3757" fmla="*/ 5210651 w 6400800"/>
                <a:gd name="connsiteY3757" fmla="*/ 302419 h 514350"/>
                <a:gd name="connsiteX3758" fmla="*/ 5211604 w 6400800"/>
                <a:gd name="connsiteY3758" fmla="*/ 290989 h 514350"/>
                <a:gd name="connsiteX3759" fmla="*/ 5189696 w 6400800"/>
                <a:gd name="connsiteY3759" fmla="*/ 260509 h 514350"/>
                <a:gd name="connsiteX3760" fmla="*/ 5189696 w 6400800"/>
                <a:gd name="connsiteY3760" fmla="*/ 264319 h 514350"/>
                <a:gd name="connsiteX3761" fmla="*/ 5186839 w 6400800"/>
                <a:gd name="connsiteY3761" fmla="*/ 258604 h 514350"/>
                <a:gd name="connsiteX3762" fmla="*/ 5187792 w 6400800"/>
                <a:gd name="connsiteY3762" fmla="*/ 257651 h 514350"/>
                <a:gd name="connsiteX3763" fmla="*/ 5189696 w 6400800"/>
                <a:gd name="connsiteY3763" fmla="*/ 253841 h 514350"/>
                <a:gd name="connsiteX3764" fmla="*/ 5189696 w 6400800"/>
                <a:gd name="connsiteY3764" fmla="*/ 260509 h 514350"/>
                <a:gd name="connsiteX3765" fmla="*/ 5178267 w 6400800"/>
                <a:gd name="connsiteY3765" fmla="*/ 230981 h 514350"/>
                <a:gd name="connsiteX3766" fmla="*/ 5186839 w 6400800"/>
                <a:gd name="connsiteY3766" fmla="*/ 213836 h 514350"/>
                <a:gd name="connsiteX3767" fmla="*/ 5188744 w 6400800"/>
                <a:gd name="connsiteY3767" fmla="*/ 210026 h 514350"/>
                <a:gd name="connsiteX3768" fmla="*/ 5188744 w 6400800"/>
                <a:gd name="connsiteY3768" fmla="*/ 219551 h 514350"/>
                <a:gd name="connsiteX3769" fmla="*/ 5188744 w 6400800"/>
                <a:gd name="connsiteY3769" fmla="*/ 254794 h 514350"/>
                <a:gd name="connsiteX3770" fmla="*/ 5185887 w 6400800"/>
                <a:gd name="connsiteY3770" fmla="*/ 258604 h 514350"/>
                <a:gd name="connsiteX3771" fmla="*/ 5185887 w 6400800"/>
                <a:gd name="connsiteY3771" fmla="*/ 258604 h 514350"/>
                <a:gd name="connsiteX3772" fmla="*/ 5178267 w 6400800"/>
                <a:gd name="connsiteY3772" fmla="*/ 243364 h 514350"/>
                <a:gd name="connsiteX3773" fmla="*/ 5175409 w 6400800"/>
                <a:gd name="connsiteY3773" fmla="*/ 238601 h 514350"/>
                <a:gd name="connsiteX3774" fmla="*/ 5178267 w 6400800"/>
                <a:gd name="connsiteY3774" fmla="*/ 230981 h 514350"/>
                <a:gd name="connsiteX3775" fmla="*/ 5168742 w 6400800"/>
                <a:gd name="connsiteY3775" fmla="*/ 238601 h 514350"/>
                <a:gd name="connsiteX3776" fmla="*/ 5168742 w 6400800"/>
                <a:gd name="connsiteY3776" fmla="*/ 238601 h 514350"/>
                <a:gd name="connsiteX3777" fmla="*/ 5168742 w 6400800"/>
                <a:gd name="connsiteY3777" fmla="*/ 238601 h 514350"/>
                <a:gd name="connsiteX3778" fmla="*/ 5168742 w 6400800"/>
                <a:gd name="connsiteY3778" fmla="*/ 238601 h 514350"/>
                <a:gd name="connsiteX3779" fmla="*/ 5166837 w 6400800"/>
                <a:gd name="connsiteY3779" fmla="*/ 280511 h 514350"/>
                <a:gd name="connsiteX3780" fmla="*/ 5167789 w 6400800"/>
                <a:gd name="connsiteY3780" fmla="*/ 259556 h 514350"/>
                <a:gd name="connsiteX3781" fmla="*/ 5167789 w 6400800"/>
                <a:gd name="connsiteY3781" fmla="*/ 259556 h 514350"/>
                <a:gd name="connsiteX3782" fmla="*/ 5171599 w 6400800"/>
                <a:gd name="connsiteY3782" fmla="*/ 248126 h 514350"/>
                <a:gd name="connsiteX3783" fmla="*/ 5177314 w 6400800"/>
                <a:gd name="connsiteY3783" fmla="*/ 263366 h 514350"/>
                <a:gd name="connsiteX3784" fmla="*/ 5179219 w 6400800"/>
                <a:gd name="connsiteY3784" fmla="*/ 267176 h 514350"/>
                <a:gd name="connsiteX3785" fmla="*/ 5176362 w 6400800"/>
                <a:gd name="connsiteY3785" fmla="*/ 271939 h 514350"/>
                <a:gd name="connsiteX3786" fmla="*/ 5166837 w 6400800"/>
                <a:gd name="connsiteY3786" fmla="*/ 287179 h 514350"/>
                <a:gd name="connsiteX3787" fmla="*/ 5166837 w 6400800"/>
                <a:gd name="connsiteY3787" fmla="*/ 280511 h 514350"/>
                <a:gd name="connsiteX3788" fmla="*/ 5166837 w 6400800"/>
                <a:gd name="connsiteY3788" fmla="*/ 307181 h 514350"/>
                <a:gd name="connsiteX3789" fmla="*/ 5170646 w 6400800"/>
                <a:gd name="connsiteY3789" fmla="*/ 296704 h 514350"/>
                <a:gd name="connsiteX3790" fmla="*/ 5171599 w 6400800"/>
                <a:gd name="connsiteY3790" fmla="*/ 293846 h 514350"/>
                <a:gd name="connsiteX3791" fmla="*/ 5176362 w 6400800"/>
                <a:gd name="connsiteY3791" fmla="*/ 289084 h 514350"/>
                <a:gd name="connsiteX3792" fmla="*/ 5181124 w 6400800"/>
                <a:gd name="connsiteY3792" fmla="*/ 284321 h 514350"/>
                <a:gd name="connsiteX3793" fmla="*/ 5175409 w 6400800"/>
                <a:gd name="connsiteY3793" fmla="*/ 288131 h 514350"/>
                <a:gd name="connsiteX3794" fmla="*/ 5172551 w 6400800"/>
                <a:gd name="connsiteY3794" fmla="*/ 290036 h 514350"/>
                <a:gd name="connsiteX3795" fmla="*/ 5179219 w 6400800"/>
                <a:gd name="connsiteY3795" fmla="*/ 272891 h 514350"/>
                <a:gd name="connsiteX3796" fmla="*/ 5180171 w 6400800"/>
                <a:gd name="connsiteY3796" fmla="*/ 270034 h 514350"/>
                <a:gd name="connsiteX3797" fmla="*/ 5184934 w 6400800"/>
                <a:gd name="connsiteY3797" fmla="*/ 280511 h 514350"/>
                <a:gd name="connsiteX3798" fmla="*/ 5190649 w 6400800"/>
                <a:gd name="connsiteY3798" fmla="*/ 292894 h 514350"/>
                <a:gd name="connsiteX3799" fmla="*/ 5190649 w 6400800"/>
                <a:gd name="connsiteY3799" fmla="*/ 298609 h 514350"/>
                <a:gd name="connsiteX3800" fmla="*/ 5192554 w 6400800"/>
                <a:gd name="connsiteY3800" fmla="*/ 330041 h 514350"/>
                <a:gd name="connsiteX3801" fmla="*/ 5192554 w 6400800"/>
                <a:gd name="connsiteY3801" fmla="*/ 335756 h 514350"/>
                <a:gd name="connsiteX3802" fmla="*/ 5192554 w 6400800"/>
                <a:gd name="connsiteY3802" fmla="*/ 336709 h 514350"/>
                <a:gd name="connsiteX3803" fmla="*/ 5191601 w 6400800"/>
                <a:gd name="connsiteY3803" fmla="*/ 338614 h 514350"/>
                <a:gd name="connsiteX3804" fmla="*/ 5187792 w 6400800"/>
                <a:gd name="connsiteY3804" fmla="*/ 348139 h 514350"/>
                <a:gd name="connsiteX3805" fmla="*/ 5183981 w 6400800"/>
                <a:gd name="connsiteY3805" fmla="*/ 309086 h 514350"/>
                <a:gd name="connsiteX3806" fmla="*/ 5177314 w 6400800"/>
                <a:gd name="connsiteY3806" fmla="*/ 348139 h 514350"/>
                <a:gd name="connsiteX3807" fmla="*/ 5176362 w 6400800"/>
                <a:gd name="connsiteY3807" fmla="*/ 354806 h 514350"/>
                <a:gd name="connsiteX3808" fmla="*/ 5174456 w 6400800"/>
                <a:gd name="connsiteY3808" fmla="*/ 349091 h 514350"/>
                <a:gd name="connsiteX3809" fmla="*/ 5171599 w 6400800"/>
                <a:gd name="connsiteY3809" fmla="*/ 341471 h 514350"/>
                <a:gd name="connsiteX3810" fmla="*/ 5173504 w 6400800"/>
                <a:gd name="connsiteY3810" fmla="*/ 328136 h 514350"/>
                <a:gd name="connsiteX3811" fmla="*/ 5169694 w 6400800"/>
                <a:gd name="connsiteY3811" fmla="*/ 338614 h 514350"/>
                <a:gd name="connsiteX3812" fmla="*/ 5167789 w 6400800"/>
                <a:gd name="connsiteY3812" fmla="*/ 334804 h 514350"/>
                <a:gd name="connsiteX3813" fmla="*/ 5165884 w 6400800"/>
                <a:gd name="connsiteY3813" fmla="*/ 312896 h 514350"/>
                <a:gd name="connsiteX3814" fmla="*/ 5166837 w 6400800"/>
                <a:gd name="connsiteY3814" fmla="*/ 307181 h 514350"/>
                <a:gd name="connsiteX3815" fmla="*/ 5161121 w 6400800"/>
                <a:gd name="connsiteY3815" fmla="*/ 218599 h 514350"/>
                <a:gd name="connsiteX3816" fmla="*/ 5164931 w 6400800"/>
                <a:gd name="connsiteY3816" fmla="*/ 229076 h 514350"/>
                <a:gd name="connsiteX3817" fmla="*/ 5161121 w 6400800"/>
                <a:gd name="connsiteY3817" fmla="*/ 248126 h 514350"/>
                <a:gd name="connsiteX3818" fmla="*/ 5157312 w 6400800"/>
                <a:gd name="connsiteY3818" fmla="*/ 206216 h 514350"/>
                <a:gd name="connsiteX3819" fmla="*/ 5161121 w 6400800"/>
                <a:gd name="connsiteY3819" fmla="*/ 218599 h 514350"/>
                <a:gd name="connsiteX3820" fmla="*/ 5148739 w 6400800"/>
                <a:gd name="connsiteY3820" fmla="*/ 256699 h 514350"/>
                <a:gd name="connsiteX3821" fmla="*/ 5149692 w 6400800"/>
                <a:gd name="connsiteY3821" fmla="*/ 255746 h 514350"/>
                <a:gd name="connsiteX3822" fmla="*/ 5149692 w 6400800"/>
                <a:gd name="connsiteY3822" fmla="*/ 283369 h 514350"/>
                <a:gd name="connsiteX3823" fmla="*/ 5149692 w 6400800"/>
                <a:gd name="connsiteY3823" fmla="*/ 284321 h 514350"/>
                <a:gd name="connsiteX3824" fmla="*/ 5143024 w 6400800"/>
                <a:gd name="connsiteY3824" fmla="*/ 263366 h 514350"/>
                <a:gd name="connsiteX3825" fmla="*/ 5148739 w 6400800"/>
                <a:gd name="connsiteY3825" fmla="*/ 256699 h 514350"/>
                <a:gd name="connsiteX3826" fmla="*/ 5087779 w 6400800"/>
                <a:gd name="connsiteY3826" fmla="*/ 317659 h 514350"/>
                <a:gd name="connsiteX3827" fmla="*/ 5087779 w 6400800"/>
                <a:gd name="connsiteY3827" fmla="*/ 315754 h 514350"/>
                <a:gd name="connsiteX3828" fmla="*/ 5087779 w 6400800"/>
                <a:gd name="connsiteY3828" fmla="*/ 317659 h 514350"/>
                <a:gd name="connsiteX3829" fmla="*/ 5087779 w 6400800"/>
                <a:gd name="connsiteY3829" fmla="*/ 317659 h 514350"/>
                <a:gd name="connsiteX3830" fmla="*/ 5122069 w 6400800"/>
                <a:gd name="connsiteY3830" fmla="*/ 298609 h 514350"/>
                <a:gd name="connsiteX3831" fmla="*/ 5128737 w 6400800"/>
                <a:gd name="connsiteY3831" fmla="*/ 287179 h 514350"/>
                <a:gd name="connsiteX3832" fmla="*/ 5124926 w 6400800"/>
                <a:gd name="connsiteY3832" fmla="*/ 327184 h 514350"/>
                <a:gd name="connsiteX3833" fmla="*/ 5121117 w 6400800"/>
                <a:gd name="connsiteY3833" fmla="*/ 318611 h 514350"/>
                <a:gd name="connsiteX3834" fmla="*/ 5117306 w 6400800"/>
                <a:gd name="connsiteY3834" fmla="*/ 308134 h 514350"/>
                <a:gd name="connsiteX3835" fmla="*/ 5122069 w 6400800"/>
                <a:gd name="connsiteY3835" fmla="*/ 298609 h 514350"/>
                <a:gd name="connsiteX3836" fmla="*/ 5110639 w 6400800"/>
                <a:gd name="connsiteY3836" fmla="*/ 321469 h 514350"/>
                <a:gd name="connsiteX3837" fmla="*/ 5110639 w 6400800"/>
                <a:gd name="connsiteY3837" fmla="*/ 321469 h 514350"/>
                <a:gd name="connsiteX3838" fmla="*/ 5118259 w 6400800"/>
                <a:gd name="connsiteY3838" fmla="*/ 344329 h 514350"/>
                <a:gd name="connsiteX3839" fmla="*/ 5116354 w 6400800"/>
                <a:gd name="connsiteY3839" fmla="*/ 347186 h 514350"/>
                <a:gd name="connsiteX3840" fmla="*/ 5114449 w 6400800"/>
                <a:gd name="connsiteY3840" fmla="*/ 349091 h 514350"/>
                <a:gd name="connsiteX3841" fmla="*/ 5110639 w 6400800"/>
                <a:gd name="connsiteY3841" fmla="*/ 335756 h 514350"/>
                <a:gd name="connsiteX3842" fmla="*/ 5107781 w 6400800"/>
                <a:gd name="connsiteY3842" fmla="*/ 327184 h 514350"/>
                <a:gd name="connsiteX3843" fmla="*/ 5110639 w 6400800"/>
                <a:gd name="connsiteY3843" fmla="*/ 321469 h 514350"/>
                <a:gd name="connsiteX3844" fmla="*/ 5105876 w 6400800"/>
                <a:gd name="connsiteY3844" fmla="*/ 308134 h 514350"/>
                <a:gd name="connsiteX3845" fmla="*/ 5103019 w 6400800"/>
                <a:gd name="connsiteY3845" fmla="*/ 311944 h 514350"/>
                <a:gd name="connsiteX3846" fmla="*/ 5101114 w 6400800"/>
                <a:gd name="connsiteY3846" fmla="*/ 306229 h 514350"/>
                <a:gd name="connsiteX3847" fmla="*/ 5101114 w 6400800"/>
                <a:gd name="connsiteY3847" fmla="*/ 304324 h 514350"/>
                <a:gd name="connsiteX3848" fmla="*/ 5101114 w 6400800"/>
                <a:gd name="connsiteY3848" fmla="*/ 305276 h 514350"/>
                <a:gd name="connsiteX3849" fmla="*/ 5096351 w 6400800"/>
                <a:gd name="connsiteY3849" fmla="*/ 288131 h 514350"/>
                <a:gd name="connsiteX3850" fmla="*/ 5097304 w 6400800"/>
                <a:gd name="connsiteY3850" fmla="*/ 281464 h 514350"/>
                <a:gd name="connsiteX3851" fmla="*/ 5105876 w 6400800"/>
                <a:gd name="connsiteY3851" fmla="*/ 308134 h 514350"/>
                <a:gd name="connsiteX3852" fmla="*/ 5097304 w 6400800"/>
                <a:gd name="connsiteY3852" fmla="*/ 282416 h 514350"/>
                <a:gd name="connsiteX3853" fmla="*/ 5095399 w 6400800"/>
                <a:gd name="connsiteY3853" fmla="*/ 286226 h 514350"/>
                <a:gd name="connsiteX3854" fmla="*/ 5093494 w 6400800"/>
                <a:gd name="connsiteY3854" fmla="*/ 279559 h 514350"/>
                <a:gd name="connsiteX3855" fmla="*/ 5087779 w 6400800"/>
                <a:gd name="connsiteY3855" fmla="*/ 258604 h 514350"/>
                <a:gd name="connsiteX3856" fmla="*/ 5089684 w 6400800"/>
                <a:gd name="connsiteY3856" fmla="*/ 257651 h 514350"/>
                <a:gd name="connsiteX3857" fmla="*/ 5097304 w 6400800"/>
                <a:gd name="connsiteY3857" fmla="*/ 282416 h 514350"/>
                <a:gd name="connsiteX3858" fmla="*/ 5080159 w 6400800"/>
                <a:gd name="connsiteY3858" fmla="*/ 224314 h 514350"/>
                <a:gd name="connsiteX3859" fmla="*/ 5089684 w 6400800"/>
                <a:gd name="connsiteY3859" fmla="*/ 254794 h 514350"/>
                <a:gd name="connsiteX3860" fmla="*/ 5087779 w 6400800"/>
                <a:gd name="connsiteY3860" fmla="*/ 254794 h 514350"/>
                <a:gd name="connsiteX3861" fmla="*/ 5081112 w 6400800"/>
                <a:gd name="connsiteY3861" fmla="*/ 228124 h 514350"/>
                <a:gd name="connsiteX3862" fmla="*/ 5080159 w 6400800"/>
                <a:gd name="connsiteY3862" fmla="*/ 224314 h 514350"/>
                <a:gd name="connsiteX3863" fmla="*/ 5080159 w 6400800"/>
                <a:gd name="connsiteY3863" fmla="*/ 224314 h 514350"/>
                <a:gd name="connsiteX3864" fmla="*/ 5076349 w 6400800"/>
                <a:gd name="connsiteY3864" fmla="*/ 272891 h 514350"/>
                <a:gd name="connsiteX3865" fmla="*/ 5076349 w 6400800"/>
                <a:gd name="connsiteY3865" fmla="*/ 268129 h 514350"/>
                <a:gd name="connsiteX3866" fmla="*/ 5079206 w 6400800"/>
                <a:gd name="connsiteY3866" fmla="*/ 283369 h 514350"/>
                <a:gd name="connsiteX3867" fmla="*/ 5083017 w 6400800"/>
                <a:gd name="connsiteY3867" fmla="*/ 301466 h 514350"/>
                <a:gd name="connsiteX3868" fmla="*/ 5083017 w 6400800"/>
                <a:gd name="connsiteY3868" fmla="*/ 304324 h 514350"/>
                <a:gd name="connsiteX3869" fmla="*/ 5082064 w 6400800"/>
                <a:gd name="connsiteY3869" fmla="*/ 311944 h 514350"/>
                <a:gd name="connsiteX3870" fmla="*/ 5073492 w 6400800"/>
                <a:gd name="connsiteY3870" fmla="*/ 292894 h 514350"/>
                <a:gd name="connsiteX3871" fmla="*/ 5076349 w 6400800"/>
                <a:gd name="connsiteY3871" fmla="*/ 272891 h 514350"/>
                <a:gd name="connsiteX3872" fmla="*/ 5066824 w 6400800"/>
                <a:gd name="connsiteY3872" fmla="*/ 377666 h 514350"/>
                <a:gd name="connsiteX3873" fmla="*/ 5066824 w 6400800"/>
                <a:gd name="connsiteY3873" fmla="*/ 380524 h 514350"/>
                <a:gd name="connsiteX3874" fmla="*/ 5066824 w 6400800"/>
                <a:gd name="connsiteY3874" fmla="*/ 383381 h 514350"/>
                <a:gd name="connsiteX3875" fmla="*/ 5065871 w 6400800"/>
                <a:gd name="connsiteY3875" fmla="*/ 384334 h 514350"/>
                <a:gd name="connsiteX3876" fmla="*/ 5064919 w 6400800"/>
                <a:gd name="connsiteY3876" fmla="*/ 381476 h 514350"/>
                <a:gd name="connsiteX3877" fmla="*/ 5066824 w 6400800"/>
                <a:gd name="connsiteY3877" fmla="*/ 377666 h 514350"/>
                <a:gd name="connsiteX3878" fmla="*/ 5057299 w 6400800"/>
                <a:gd name="connsiteY3878" fmla="*/ 303371 h 514350"/>
                <a:gd name="connsiteX3879" fmla="*/ 5051584 w 6400800"/>
                <a:gd name="connsiteY3879" fmla="*/ 294799 h 514350"/>
                <a:gd name="connsiteX3880" fmla="*/ 5052537 w 6400800"/>
                <a:gd name="connsiteY3880" fmla="*/ 290989 h 514350"/>
                <a:gd name="connsiteX3881" fmla="*/ 5055394 w 6400800"/>
                <a:gd name="connsiteY3881" fmla="*/ 287179 h 514350"/>
                <a:gd name="connsiteX3882" fmla="*/ 5057299 w 6400800"/>
                <a:gd name="connsiteY3882" fmla="*/ 303371 h 514350"/>
                <a:gd name="connsiteX3883" fmla="*/ 5050631 w 6400800"/>
                <a:gd name="connsiteY3883" fmla="*/ 252889 h 514350"/>
                <a:gd name="connsiteX3884" fmla="*/ 5052537 w 6400800"/>
                <a:gd name="connsiteY3884" fmla="*/ 258604 h 514350"/>
                <a:gd name="connsiteX3885" fmla="*/ 5053489 w 6400800"/>
                <a:gd name="connsiteY3885" fmla="*/ 260509 h 514350"/>
                <a:gd name="connsiteX3886" fmla="*/ 5054442 w 6400800"/>
                <a:gd name="connsiteY3886" fmla="*/ 268129 h 514350"/>
                <a:gd name="connsiteX3887" fmla="*/ 5052537 w 6400800"/>
                <a:gd name="connsiteY3887" fmla="*/ 273844 h 514350"/>
                <a:gd name="connsiteX3888" fmla="*/ 5051584 w 6400800"/>
                <a:gd name="connsiteY3888" fmla="*/ 276701 h 514350"/>
                <a:gd name="connsiteX3889" fmla="*/ 5048726 w 6400800"/>
                <a:gd name="connsiteY3889" fmla="*/ 279559 h 514350"/>
                <a:gd name="connsiteX3890" fmla="*/ 5048726 w 6400800"/>
                <a:gd name="connsiteY3890" fmla="*/ 278606 h 514350"/>
                <a:gd name="connsiteX3891" fmla="*/ 5048726 w 6400800"/>
                <a:gd name="connsiteY3891" fmla="*/ 274796 h 514350"/>
                <a:gd name="connsiteX3892" fmla="*/ 5049679 w 6400800"/>
                <a:gd name="connsiteY3892" fmla="*/ 268129 h 514350"/>
                <a:gd name="connsiteX3893" fmla="*/ 5050631 w 6400800"/>
                <a:gd name="connsiteY3893" fmla="*/ 262414 h 514350"/>
                <a:gd name="connsiteX3894" fmla="*/ 5048726 w 6400800"/>
                <a:gd name="connsiteY3894" fmla="*/ 268129 h 514350"/>
                <a:gd name="connsiteX3895" fmla="*/ 5048726 w 6400800"/>
                <a:gd name="connsiteY3895" fmla="*/ 269081 h 514350"/>
                <a:gd name="connsiteX3896" fmla="*/ 5048726 w 6400800"/>
                <a:gd name="connsiteY3896" fmla="*/ 266224 h 514350"/>
                <a:gd name="connsiteX3897" fmla="*/ 5050631 w 6400800"/>
                <a:gd name="connsiteY3897" fmla="*/ 252889 h 514350"/>
                <a:gd name="connsiteX3898" fmla="*/ 5020151 w 6400800"/>
                <a:gd name="connsiteY3898" fmla="*/ 390049 h 514350"/>
                <a:gd name="connsiteX3899" fmla="*/ 5014437 w 6400800"/>
                <a:gd name="connsiteY3899" fmla="*/ 376714 h 514350"/>
                <a:gd name="connsiteX3900" fmla="*/ 5014437 w 6400800"/>
                <a:gd name="connsiteY3900" fmla="*/ 375761 h 514350"/>
                <a:gd name="connsiteX3901" fmla="*/ 5022056 w 6400800"/>
                <a:gd name="connsiteY3901" fmla="*/ 347186 h 514350"/>
                <a:gd name="connsiteX3902" fmla="*/ 5022056 w 6400800"/>
                <a:gd name="connsiteY3902" fmla="*/ 348139 h 514350"/>
                <a:gd name="connsiteX3903" fmla="*/ 5022056 w 6400800"/>
                <a:gd name="connsiteY3903" fmla="*/ 363379 h 514350"/>
                <a:gd name="connsiteX3904" fmla="*/ 5023009 w 6400800"/>
                <a:gd name="connsiteY3904" fmla="*/ 379571 h 514350"/>
                <a:gd name="connsiteX3905" fmla="*/ 5023962 w 6400800"/>
                <a:gd name="connsiteY3905" fmla="*/ 386239 h 514350"/>
                <a:gd name="connsiteX3906" fmla="*/ 5020151 w 6400800"/>
                <a:gd name="connsiteY3906" fmla="*/ 390049 h 514350"/>
                <a:gd name="connsiteX3907" fmla="*/ 5024914 w 6400800"/>
                <a:gd name="connsiteY3907" fmla="*/ 400526 h 514350"/>
                <a:gd name="connsiteX3908" fmla="*/ 5024914 w 6400800"/>
                <a:gd name="connsiteY3908" fmla="*/ 400526 h 514350"/>
                <a:gd name="connsiteX3909" fmla="*/ 5024914 w 6400800"/>
                <a:gd name="connsiteY3909" fmla="*/ 400526 h 514350"/>
                <a:gd name="connsiteX3910" fmla="*/ 5024914 w 6400800"/>
                <a:gd name="connsiteY3910" fmla="*/ 400526 h 514350"/>
                <a:gd name="connsiteX3911" fmla="*/ 5035392 w 6400800"/>
                <a:gd name="connsiteY3911" fmla="*/ 314801 h 514350"/>
                <a:gd name="connsiteX3912" fmla="*/ 5035392 w 6400800"/>
                <a:gd name="connsiteY3912" fmla="*/ 317659 h 514350"/>
                <a:gd name="connsiteX3913" fmla="*/ 5031581 w 6400800"/>
                <a:gd name="connsiteY3913" fmla="*/ 353854 h 514350"/>
                <a:gd name="connsiteX3914" fmla="*/ 5031581 w 6400800"/>
                <a:gd name="connsiteY3914" fmla="*/ 353854 h 514350"/>
                <a:gd name="connsiteX3915" fmla="*/ 5031581 w 6400800"/>
                <a:gd name="connsiteY3915" fmla="*/ 354806 h 514350"/>
                <a:gd name="connsiteX3916" fmla="*/ 5030629 w 6400800"/>
                <a:gd name="connsiteY3916" fmla="*/ 347186 h 514350"/>
                <a:gd name="connsiteX3917" fmla="*/ 5027771 w 6400800"/>
                <a:gd name="connsiteY3917" fmla="*/ 329089 h 514350"/>
                <a:gd name="connsiteX3918" fmla="*/ 5028724 w 6400800"/>
                <a:gd name="connsiteY3918" fmla="*/ 325279 h 514350"/>
                <a:gd name="connsiteX3919" fmla="*/ 5032534 w 6400800"/>
                <a:gd name="connsiteY3919" fmla="*/ 319564 h 514350"/>
                <a:gd name="connsiteX3920" fmla="*/ 5035392 w 6400800"/>
                <a:gd name="connsiteY3920" fmla="*/ 314801 h 514350"/>
                <a:gd name="connsiteX3921" fmla="*/ 5006817 w 6400800"/>
                <a:gd name="connsiteY3921" fmla="*/ 242411 h 514350"/>
                <a:gd name="connsiteX3922" fmla="*/ 5019199 w 6400800"/>
                <a:gd name="connsiteY3922" fmla="*/ 259556 h 514350"/>
                <a:gd name="connsiteX3923" fmla="*/ 5025867 w 6400800"/>
                <a:gd name="connsiteY3923" fmla="*/ 270034 h 514350"/>
                <a:gd name="connsiteX3924" fmla="*/ 5021104 w 6400800"/>
                <a:gd name="connsiteY3924" fmla="*/ 263366 h 514350"/>
                <a:gd name="connsiteX3925" fmla="*/ 5014437 w 6400800"/>
                <a:gd name="connsiteY3925" fmla="*/ 255746 h 514350"/>
                <a:gd name="connsiteX3926" fmla="*/ 5004912 w 6400800"/>
                <a:gd name="connsiteY3926" fmla="*/ 245269 h 514350"/>
                <a:gd name="connsiteX3927" fmla="*/ 5006817 w 6400800"/>
                <a:gd name="connsiteY3927" fmla="*/ 242411 h 514350"/>
                <a:gd name="connsiteX3928" fmla="*/ 5004912 w 6400800"/>
                <a:gd name="connsiteY3928" fmla="*/ 242411 h 514350"/>
                <a:gd name="connsiteX3929" fmla="*/ 5004912 w 6400800"/>
                <a:gd name="connsiteY3929" fmla="*/ 238601 h 514350"/>
                <a:gd name="connsiteX3930" fmla="*/ 5006817 w 6400800"/>
                <a:gd name="connsiteY3930" fmla="*/ 241459 h 514350"/>
                <a:gd name="connsiteX3931" fmla="*/ 5004912 w 6400800"/>
                <a:gd name="connsiteY3931" fmla="*/ 244316 h 514350"/>
                <a:gd name="connsiteX3932" fmla="*/ 5004912 w 6400800"/>
                <a:gd name="connsiteY3932" fmla="*/ 243364 h 514350"/>
                <a:gd name="connsiteX3933" fmla="*/ 5004912 w 6400800"/>
                <a:gd name="connsiteY3933" fmla="*/ 242411 h 514350"/>
                <a:gd name="connsiteX3934" fmla="*/ 4999196 w 6400800"/>
                <a:gd name="connsiteY3934" fmla="*/ 303371 h 514350"/>
                <a:gd name="connsiteX3935" fmla="*/ 5003006 w 6400800"/>
                <a:gd name="connsiteY3935" fmla="*/ 252889 h 514350"/>
                <a:gd name="connsiteX3936" fmla="*/ 5008721 w 6400800"/>
                <a:gd name="connsiteY3936" fmla="*/ 260509 h 514350"/>
                <a:gd name="connsiteX3937" fmla="*/ 5014437 w 6400800"/>
                <a:gd name="connsiteY3937" fmla="*/ 268129 h 514350"/>
                <a:gd name="connsiteX3938" fmla="*/ 5020151 w 6400800"/>
                <a:gd name="connsiteY3938" fmla="*/ 276701 h 514350"/>
                <a:gd name="connsiteX3939" fmla="*/ 5029676 w 6400800"/>
                <a:gd name="connsiteY3939" fmla="*/ 292894 h 514350"/>
                <a:gd name="connsiteX3940" fmla="*/ 5029676 w 6400800"/>
                <a:gd name="connsiteY3940" fmla="*/ 293846 h 514350"/>
                <a:gd name="connsiteX3941" fmla="*/ 5025867 w 6400800"/>
                <a:gd name="connsiteY3941" fmla="*/ 302419 h 514350"/>
                <a:gd name="connsiteX3942" fmla="*/ 5023009 w 6400800"/>
                <a:gd name="connsiteY3942" fmla="*/ 305276 h 514350"/>
                <a:gd name="connsiteX3943" fmla="*/ 5022056 w 6400800"/>
                <a:gd name="connsiteY3943" fmla="*/ 301466 h 514350"/>
                <a:gd name="connsiteX3944" fmla="*/ 5022056 w 6400800"/>
                <a:gd name="connsiteY3944" fmla="*/ 306229 h 514350"/>
                <a:gd name="connsiteX3945" fmla="*/ 5019199 w 6400800"/>
                <a:gd name="connsiteY3945" fmla="*/ 309086 h 514350"/>
                <a:gd name="connsiteX3946" fmla="*/ 5012531 w 6400800"/>
                <a:gd name="connsiteY3946" fmla="*/ 318611 h 514350"/>
                <a:gd name="connsiteX3947" fmla="*/ 5013484 w 6400800"/>
                <a:gd name="connsiteY3947" fmla="*/ 311944 h 514350"/>
                <a:gd name="connsiteX3948" fmla="*/ 5017294 w 6400800"/>
                <a:gd name="connsiteY3948" fmla="*/ 294799 h 514350"/>
                <a:gd name="connsiteX3949" fmla="*/ 5020151 w 6400800"/>
                <a:gd name="connsiteY3949" fmla="*/ 279559 h 514350"/>
                <a:gd name="connsiteX3950" fmla="*/ 5013484 w 6400800"/>
                <a:gd name="connsiteY3950" fmla="*/ 293846 h 514350"/>
                <a:gd name="connsiteX3951" fmla="*/ 5006817 w 6400800"/>
                <a:gd name="connsiteY3951" fmla="*/ 310039 h 514350"/>
                <a:gd name="connsiteX3952" fmla="*/ 4999196 w 6400800"/>
                <a:gd name="connsiteY3952" fmla="*/ 331946 h 514350"/>
                <a:gd name="connsiteX3953" fmla="*/ 4999196 w 6400800"/>
                <a:gd name="connsiteY3953" fmla="*/ 332899 h 514350"/>
                <a:gd name="connsiteX3954" fmla="*/ 4997292 w 6400800"/>
                <a:gd name="connsiteY3954" fmla="*/ 327184 h 514350"/>
                <a:gd name="connsiteX3955" fmla="*/ 4999196 w 6400800"/>
                <a:gd name="connsiteY3955" fmla="*/ 303371 h 514350"/>
                <a:gd name="connsiteX3956" fmla="*/ 4968717 w 6400800"/>
                <a:gd name="connsiteY3956" fmla="*/ 208121 h 514350"/>
                <a:gd name="connsiteX3957" fmla="*/ 4967764 w 6400800"/>
                <a:gd name="connsiteY3957" fmla="*/ 212884 h 514350"/>
                <a:gd name="connsiteX3958" fmla="*/ 4966812 w 6400800"/>
                <a:gd name="connsiteY3958" fmla="*/ 217646 h 514350"/>
                <a:gd name="connsiteX3959" fmla="*/ 4966812 w 6400800"/>
                <a:gd name="connsiteY3959" fmla="*/ 215741 h 514350"/>
                <a:gd name="connsiteX3960" fmla="*/ 4968717 w 6400800"/>
                <a:gd name="connsiteY3960" fmla="*/ 208121 h 514350"/>
                <a:gd name="connsiteX3961" fmla="*/ 4960144 w 6400800"/>
                <a:gd name="connsiteY3961" fmla="*/ 364331 h 514350"/>
                <a:gd name="connsiteX3962" fmla="*/ 4961096 w 6400800"/>
                <a:gd name="connsiteY3962" fmla="*/ 381476 h 514350"/>
                <a:gd name="connsiteX3963" fmla="*/ 4958239 w 6400800"/>
                <a:gd name="connsiteY3963" fmla="*/ 391001 h 514350"/>
                <a:gd name="connsiteX3964" fmla="*/ 4957287 w 6400800"/>
                <a:gd name="connsiteY3964" fmla="*/ 386239 h 514350"/>
                <a:gd name="connsiteX3965" fmla="*/ 4957287 w 6400800"/>
                <a:gd name="connsiteY3965" fmla="*/ 380524 h 514350"/>
                <a:gd name="connsiteX3966" fmla="*/ 4956334 w 6400800"/>
                <a:gd name="connsiteY3966" fmla="*/ 356711 h 514350"/>
                <a:gd name="connsiteX3967" fmla="*/ 4956334 w 6400800"/>
                <a:gd name="connsiteY3967" fmla="*/ 351949 h 514350"/>
                <a:gd name="connsiteX3968" fmla="*/ 4958239 w 6400800"/>
                <a:gd name="connsiteY3968" fmla="*/ 348139 h 514350"/>
                <a:gd name="connsiteX3969" fmla="*/ 4960144 w 6400800"/>
                <a:gd name="connsiteY3969" fmla="*/ 364331 h 514350"/>
                <a:gd name="connsiteX3970" fmla="*/ 4957287 w 6400800"/>
                <a:gd name="connsiteY3970" fmla="*/ 256699 h 514350"/>
                <a:gd name="connsiteX3971" fmla="*/ 4957287 w 6400800"/>
                <a:gd name="connsiteY3971" fmla="*/ 258604 h 514350"/>
                <a:gd name="connsiteX3972" fmla="*/ 4957287 w 6400800"/>
                <a:gd name="connsiteY3972" fmla="*/ 259556 h 514350"/>
                <a:gd name="connsiteX3973" fmla="*/ 4955381 w 6400800"/>
                <a:gd name="connsiteY3973" fmla="*/ 267176 h 514350"/>
                <a:gd name="connsiteX3974" fmla="*/ 4954429 w 6400800"/>
                <a:gd name="connsiteY3974" fmla="*/ 265271 h 514350"/>
                <a:gd name="connsiteX3975" fmla="*/ 4957287 w 6400800"/>
                <a:gd name="connsiteY3975" fmla="*/ 256699 h 514350"/>
                <a:gd name="connsiteX3976" fmla="*/ 4954429 w 6400800"/>
                <a:gd name="connsiteY3976" fmla="*/ 268129 h 514350"/>
                <a:gd name="connsiteX3977" fmla="*/ 4955381 w 6400800"/>
                <a:gd name="connsiteY3977" fmla="*/ 270986 h 514350"/>
                <a:gd name="connsiteX3978" fmla="*/ 4951571 w 6400800"/>
                <a:gd name="connsiteY3978" fmla="*/ 290036 h 514350"/>
                <a:gd name="connsiteX3979" fmla="*/ 4944904 w 6400800"/>
                <a:gd name="connsiteY3979" fmla="*/ 316706 h 514350"/>
                <a:gd name="connsiteX3980" fmla="*/ 4943951 w 6400800"/>
                <a:gd name="connsiteY3980" fmla="*/ 310991 h 514350"/>
                <a:gd name="connsiteX3981" fmla="*/ 4943951 w 6400800"/>
                <a:gd name="connsiteY3981" fmla="*/ 320516 h 514350"/>
                <a:gd name="connsiteX3982" fmla="*/ 4940142 w 6400800"/>
                <a:gd name="connsiteY3982" fmla="*/ 336709 h 514350"/>
                <a:gd name="connsiteX3983" fmla="*/ 4940142 w 6400800"/>
                <a:gd name="connsiteY3983" fmla="*/ 335756 h 514350"/>
                <a:gd name="connsiteX3984" fmla="*/ 4938237 w 6400800"/>
                <a:gd name="connsiteY3984" fmla="*/ 325279 h 514350"/>
                <a:gd name="connsiteX3985" fmla="*/ 4954429 w 6400800"/>
                <a:gd name="connsiteY3985" fmla="*/ 268129 h 514350"/>
                <a:gd name="connsiteX3986" fmla="*/ 4922044 w 6400800"/>
                <a:gd name="connsiteY3986" fmla="*/ 378619 h 514350"/>
                <a:gd name="connsiteX3987" fmla="*/ 4922044 w 6400800"/>
                <a:gd name="connsiteY3987" fmla="*/ 378619 h 514350"/>
                <a:gd name="connsiteX3988" fmla="*/ 4922044 w 6400800"/>
                <a:gd name="connsiteY3988" fmla="*/ 378619 h 514350"/>
                <a:gd name="connsiteX3989" fmla="*/ 4922044 w 6400800"/>
                <a:gd name="connsiteY3989" fmla="*/ 378619 h 514350"/>
                <a:gd name="connsiteX3990" fmla="*/ 4908709 w 6400800"/>
                <a:gd name="connsiteY3990" fmla="*/ 307181 h 514350"/>
                <a:gd name="connsiteX3991" fmla="*/ 4915376 w 6400800"/>
                <a:gd name="connsiteY3991" fmla="*/ 326231 h 514350"/>
                <a:gd name="connsiteX3992" fmla="*/ 4909662 w 6400800"/>
                <a:gd name="connsiteY3992" fmla="*/ 338614 h 514350"/>
                <a:gd name="connsiteX3993" fmla="*/ 4906804 w 6400800"/>
                <a:gd name="connsiteY3993" fmla="*/ 308134 h 514350"/>
                <a:gd name="connsiteX3994" fmla="*/ 4906804 w 6400800"/>
                <a:gd name="connsiteY3994" fmla="*/ 305276 h 514350"/>
                <a:gd name="connsiteX3995" fmla="*/ 4905851 w 6400800"/>
                <a:gd name="connsiteY3995" fmla="*/ 307181 h 514350"/>
                <a:gd name="connsiteX3996" fmla="*/ 4904899 w 6400800"/>
                <a:gd name="connsiteY3996" fmla="*/ 297656 h 514350"/>
                <a:gd name="connsiteX3997" fmla="*/ 4908709 w 6400800"/>
                <a:gd name="connsiteY3997" fmla="*/ 307181 h 514350"/>
                <a:gd name="connsiteX3998" fmla="*/ 4897279 w 6400800"/>
                <a:gd name="connsiteY3998" fmla="*/ 351949 h 514350"/>
                <a:gd name="connsiteX3999" fmla="*/ 4896326 w 6400800"/>
                <a:gd name="connsiteY3999" fmla="*/ 365284 h 514350"/>
                <a:gd name="connsiteX4000" fmla="*/ 4895374 w 6400800"/>
                <a:gd name="connsiteY4000" fmla="*/ 368141 h 514350"/>
                <a:gd name="connsiteX4001" fmla="*/ 4894421 w 6400800"/>
                <a:gd name="connsiteY4001" fmla="*/ 357664 h 514350"/>
                <a:gd name="connsiteX4002" fmla="*/ 4892517 w 6400800"/>
                <a:gd name="connsiteY4002" fmla="*/ 341471 h 514350"/>
                <a:gd name="connsiteX4003" fmla="*/ 4897279 w 6400800"/>
                <a:gd name="connsiteY4003" fmla="*/ 351949 h 514350"/>
                <a:gd name="connsiteX4004" fmla="*/ 4822984 w 6400800"/>
                <a:gd name="connsiteY4004" fmla="*/ 387191 h 514350"/>
                <a:gd name="connsiteX4005" fmla="*/ 4822984 w 6400800"/>
                <a:gd name="connsiteY4005" fmla="*/ 385286 h 514350"/>
                <a:gd name="connsiteX4006" fmla="*/ 4822984 w 6400800"/>
                <a:gd name="connsiteY4006" fmla="*/ 387191 h 514350"/>
                <a:gd name="connsiteX4007" fmla="*/ 4822984 w 6400800"/>
                <a:gd name="connsiteY4007" fmla="*/ 387191 h 514350"/>
                <a:gd name="connsiteX4008" fmla="*/ 4842987 w 6400800"/>
                <a:gd name="connsiteY4008" fmla="*/ 338614 h 514350"/>
                <a:gd name="connsiteX4009" fmla="*/ 4842987 w 6400800"/>
                <a:gd name="connsiteY4009" fmla="*/ 356711 h 514350"/>
                <a:gd name="connsiteX4010" fmla="*/ 4842987 w 6400800"/>
                <a:gd name="connsiteY4010" fmla="*/ 360521 h 514350"/>
                <a:gd name="connsiteX4011" fmla="*/ 4840129 w 6400800"/>
                <a:gd name="connsiteY4011" fmla="*/ 382429 h 514350"/>
                <a:gd name="connsiteX4012" fmla="*/ 4838224 w 6400800"/>
                <a:gd name="connsiteY4012" fmla="*/ 390049 h 514350"/>
                <a:gd name="connsiteX4013" fmla="*/ 4826794 w 6400800"/>
                <a:gd name="connsiteY4013" fmla="*/ 387191 h 514350"/>
                <a:gd name="connsiteX4014" fmla="*/ 4824889 w 6400800"/>
                <a:gd name="connsiteY4014" fmla="*/ 379571 h 514350"/>
                <a:gd name="connsiteX4015" fmla="*/ 4827747 w 6400800"/>
                <a:gd name="connsiteY4015" fmla="*/ 370999 h 514350"/>
                <a:gd name="connsiteX4016" fmla="*/ 4838224 w 6400800"/>
                <a:gd name="connsiteY4016" fmla="*/ 346234 h 514350"/>
                <a:gd name="connsiteX4017" fmla="*/ 4843939 w 6400800"/>
                <a:gd name="connsiteY4017" fmla="*/ 336709 h 514350"/>
                <a:gd name="connsiteX4018" fmla="*/ 4842987 w 6400800"/>
                <a:gd name="connsiteY4018" fmla="*/ 338614 h 514350"/>
                <a:gd name="connsiteX4019" fmla="*/ 4842987 w 6400800"/>
                <a:gd name="connsiteY4019" fmla="*/ 338614 h 514350"/>
                <a:gd name="connsiteX4020" fmla="*/ 4843939 w 6400800"/>
                <a:gd name="connsiteY4020" fmla="*/ 329089 h 514350"/>
                <a:gd name="connsiteX4021" fmla="*/ 4843939 w 6400800"/>
                <a:gd name="connsiteY4021" fmla="*/ 329089 h 514350"/>
                <a:gd name="connsiteX4022" fmla="*/ 4836319 w 6400800"/>
                <a:gd name="connsiteY4022" fmla="*/ 318611 h 514350"/>
                <a:gd name="connsiteX4023" fmla="*/ 4836319 w 6400800"/>
                <a:gd name="connsiteY4023" fmla="*/ 318611 h 514350"/>
                <a:gd name="connsiteX4024" fmla="*/ 4839176 w 6400800"/>
                <a:gd name="connsiteY4024" fmla="*/ 314801 h 514350"/>
                <a:gd name="connsiteX4025" fmla="*/ 4842987 w 6400800"/>
                <a:gd name="connsiteY4025" fmla="*/ 321469 h 514350"/>
                <a:gd name="connsiteX4026" fmla="*/ 4843939 w 6400800"/>
                <a:gd name="connsiteY4026" fmla="*/ 323374 h 514350"/>
                <a:gd name="connsiteX4027" fmla="*/ 4843939 w 6400800"/>
                <a:gd name="connsiteY4027" fmla="*/ 329089 h 514350"/>
                <a:gd name="connsiteX4028" fmla="*/ 4845844 w 6400800"/>
                <a:gd name="connsiteY4028" fmla="*/ 296704 h 514350"/>
                <a:gd name="connsiteX4029" fmla="*/ 4844891 w 6400800"/>
                <a:gd name="connsiteY4029" fmla="*/ 316706 h 514350"/>
                <a:gd name="connsiteX4030" fmla="*/ 4840129 w 6400800"/>
                <a:gd name="connsiteY4030" fmla="*/ 310039 h 514350"/>
                <a:gd name="connsiteX4031" fmla="*/ 4837272 w 6400800"/>
                <a:gd name="connsiteY4031" fmla="*/ 306229 h 514350"/>
                <a:gd name="connsiteX4032" fmla="*/ 4845844 w 6400800"/>
                <a:gd name="connsiteY4032" fmla="*/ 290989 h 514350"/>
                <a:gd name="connsiteX4033" fmla="*/ 4847749 w 6400800"/>
                <a:gd name="connsiteY4033" fmla="*/ 288131 h 514350"/>
                <a:gd name="connsiteX4034" fmla="*/ 4845844 w 6400800"/>
                <a:gd name="connsiteY4034" fmla="*/ 296704 h 514350"/>
                <a:gd name="connsiteX4035" fmla="*/ 4869656 w 6400800"/>
                <a:gd name="connsiteY4035" fmla="*/ 325279 h 514350"/>
                <a:gd name="connsiteX4036" fmla="*/ 4869656 w 6400800"/>
                <a:gd name="connsiteY4036" fmla="*/ 327184 h 514350"/>
                <a:gd name="connsiteX4037" fmla="*/ 4869656 w 6400800"/>
                <a:gd name="connsiteY4037" fmla="*/ 325279 h 514350"/>
                <a:gd name="connsiteX4038" fmla="*/ 4869656 w 6400800"/>
                <a:gd name="connsiteY4038" fmla="*/ 318611 h 514350"/>
                <a:gd name="connsiteX4039" fmla="*/ 4869656 w 6400800"/>
                <a:gd name="connsiteY4039" fmla="*/ 325279 h 514350"/>
                <a:gd name="connsiteX4040" fmla="*/ 4854416 w 6400800"/>
                <a:gd name="connsiteY4040" fmla="*/ 276701 h 514350"/>
                <a:gd name="connsiteX4041" fmla="*/ 4868704 w 6400800"/>
                <a:gd name="connsiteY4041" fmla="*/ 256699 h 514350"/>
                <a:gd name="connsiteX4042" fmla="*/ 4871562 w 6400800"/>
                <a:gd name="connsiteY4042" fmla="*/ 252889 h 514350"/>
                <a:gd name="connsiteX4043" fmla="*/ 4871562 w 6400800"/>
                <a:gd name="connsiteY4043" fmla="*/ 259556 h 514350"/>
                <a:gd name="connsiteX4044" fmla="*/ 4861084 w 6400800"/>
                <a:gd name="connsiteY4044" fmla="*/ 296704 h 514350"/>
                <a:gd name="connsiteX4045" fmla="*/ 4860131 w 6400800"/>
                <a:gd name="connsiteY4045" fmla="*/ 300514 h 514350"/>
                <a:gd name="connsiteX4046" fmla="*/ 4853464 w 6400800"/>
                <a:gd name="connsiteY4046" fmla="*/ 278606 h 514350"/>
                <a:gd name="connsiteX4047" fmla="*/ 4854416 w 6400800"/>
                <a:gd name="connsiteY4047" fmla="*/ 276701 h 514350"/>
                <a:gd name="connsiteX4048" fmla="*/ 4854416 w 6400800"/>
                <a:gd name="connsiteY4048" fmla="*/ 276701 h 514350"/>
                <a:gd name="connsiteX4049" fmla="*/ 4850606 w 6400800"/>
                <a:gd name="connsiteY4049" fmla="*/ 281464 h 514350"/>
                <a:gd name="connsiteX4050" fmla="*/ 4857274 w 6400800"/>
                <a:gd name="connsiteY4050" fmla="*/ 316706 h 514350"/>
                <a:gd name="connsiteX4051" fmla="*/ 4854416 w 6400800"/>
                <a:gd name="connsiteY4051" fmla="*/ 330041 h 514350"/>
                <a:gd name="connsiteX4052" fmla="*/ 4852512 w 6400800"/>
                <a:gd name="connsiteY4052" fmla="*/ 326231 h 514350"/>
                <a:gd name="connsiteX4053" fmla="*/ 4852512 w 6400800"/>
                <a:gd name="connsiteY4053" fmla="*/ 322421 h 514350"/>
                <a:gd name="connsiteX4054" fmla="*/ 4850606 w 6400800"/>
                <a:gd name="connsiteY4054" fmla="*/ 295751 h 514350"/>
                <a:gd name="connsiteX4055" fmla="*/ 4849654 w 6400800"/>
                <a:gd name="connsiteY4055" fmla="*/ 284321 h 514350"/>
                <a:gd name="connsiteX4056" fmla="*/ 4850606 w 6400800"/>
                <a:gd name="connsiteY4056" fmla="*/ 281464 h 514350"/>
                <a:gd name="connsiteX4057" fmla="*/ 4838224 w 6400800"/>
                <a:gd name="connsiteY4057" fmla="*/ 290036 h 514350"/>
                <a:gd name="connsiteX4058" fmla="*/ 4845844 w 6400800"/>
                <a:gd name="connsiteY4058" fmla="*/ 272891 h 514350"/>
                <a:gd name="connsiteX4059" fmla="*/ 4848701 w 6400800"/>
                <a:gd name="connsiteY4059" fmla="*/ 265271 h 514350"/>
                <a:gd name="connsiteX4060" fmla="*/ 4849654 w 6400800"/>
                <a:gd name="connsiteY4060" fmla="*/ 275749 h 514350"/>
                <a:gd name="connsiteX4061" fmla="*/ 4847749 w 6400800"/>
                <a:gd name="connsiteY4061" fmla="*/ 277654 h 514350"/>
                <a:gd name="connsiteX4062" fmla="*/ 4847749 w 6400800"/>
                <a:gd name="connsiteY4062" fmla="*/ 273844 h 514350"/>
                <a:gd name="connsiteX4063" fmla="*/ 4847749 w 6400800"/>
                <a:gd name="connsiteY4063" fmla="*/ 278606 h 514350"/>
                <a:gd name="connsiteX4064" fmla="*/ 4841081 w 6400800"/>
                <a:gd name="connsiteY4064" fmla="*/ 288131 h 514350"/>
                <a:gd name="connsiteX4065" fmla="*/ 4836319 w 6400800"/>
                <a:gd name="connsiteY4065" fmla="*/ 294799 h 514350"/>
                <a:gd name="connsiteX4066" fmla="*/ 4838224 w 6400800"/>
                <a:gd name="connsiteY4066" fmla="*/ 290036 h 514350"/>
                <a:gd name="connsiteX4067" fmla="*/ 4835366 w 6400800"/>
                <a:gd name="connsiteY4067" fmla="*/ 309086 h 514350"/>
                <a:gd name="connsiteX4068" fmla="*/ 4836319 w 6400800"/>
                <a:gd name="connsiteY4068" fmla="*/ 308134 h 514350"/>
                <a:gd name="connsiteX4069" fmla="*/ 4838224 w 6400800"/>
                <a:gd name="connsiteY4069" fmla="*/ 311944 h 514350"/>
                <a:gd name="connsiteX4070" fmla="*/ 4839176 w 6400800"/>
                <a:gd name="connsiteY4070" fmla="*/ 313849 h 514350"/>
                <a:gd name="connsiteX4071" fmla="*/ 4835366 w 6400800"/>
                <a:gd name="connsiteY4071" fmla="*/ 317659 h 514350"/>
                <a:gd name="connsiteX4072" fmla="*/ 4835366 w 6400800"/>
                <a:gd name="connsiteY4072" fmla="*/ 317659 h 514350"/>
                <a:gd name="connsiteX4073" fmla="*/ 4834414 w 6400800"/>
                <a:gd name="connsiteY4073" fmla="*/ 316706 h 514350"/>
                <a:gd name="connsiteX4074" fmla="*/ 4832509 w 6400800"/>
                <a:gd name="connsiteY4074" fmla="*/ 314801 h 514350"/>
                <a:gd name="connsiteX4075" fmla="*/ 4835366 w 6400800"/>
                <a:gd name="connsiteY4075" fmla="*/ 309086 h 514350"/>
                <a:gd name="connsiteX4076" fmla="*/ 4830604 w 6400800"/>
                <a:gd name="connsiteY4076" fmla="*/ 319564 h 514350"/>
                <a:gd name="connsiteX4077" fmla="*/ 4832509 w 6400800"/>
                <a:gd name="connsiteY4077" fmla="*/ 314801 h 514350"/>
                <a:gd name="connsiteX4078" fmla="*/ 4833462 w 6400800"/>
                <a:gd name="connsiteY4078" fmla="*/ 316706 h 514350"/>
                <a:gd name="connsiteX4079" fmla="*/ 4834414 w 6400800"/>
                <a:gd name="connsiteY4079" fmla="*/ 318611 h 514350"/>
                <a:gd name="connsiteX4080" fmla="*/ 4828699 w 6400800"/>
                <a:gd name="connsiteY4080" fmla="*/ 324326 h 514350"/>
                <a:gd name="connsiteX4081" fmla="*/ 4830604 w 6400800"/>
                <a:gd name="connsiteY4081" fmla="*/ 319564 h 514350"/>
                <a:gd name="connsiteX4082" fmla="*/ 4817269 w 6400800"/>
                <a:gd name="connsiteY4082" fmla="*/ 364331 h 514350"/>
                <a:gd name="connsiteX4083" fmla="*/ 4817269 w 6400800"/>
                <a:gd name="connsiteY4083" fmla="*/ 356711 h 514350"/>
                <a:gd name="connsiteX4084" fmla="*/ 4824889 w 6400800"/>
                <a:gd name="connsiteY4084" fmla="*/ 335756 h 514350"/>
                <a:gd name="connsiteX4085" fmla="*/ 4825841 w 6400800"/>
                <a:gd name="connsiteY4085" fmla="*/ 334804 h 514350"/>
                <a:gd name="connsiteX4086" fmla="*/ 4835366 w 6400800"/>
                <a:gd name="connsiteY4086" fmla="*/ 319564 h 514350"/>
                <a:gd name="connsiteX4087" fmla="*/ 4837272 w 6400800"/>
                <a:gd name="connsiteY4087" fmla="*/ 322421 h 514350"/>
                <a:gd name="connsiteX4088" fmla="*/ 4841081 w 6400800"/>
                <a:gd name="connsiteY4088" fmla="*/ 330994 h 514350"/>
                <a:gd name="connsiteX4089" fmla="*/ 4842987 w 6400800"/>
                <a:gd name="connsiteY4089" fmla="*/ 335756 h 514350"/>
                <a:gd name="connsiteX4090" fmla="*/ 4835366 w 6400800"/>
                <a:gd name="connsiteY4090" fmla="*/ 345281 h 514350"/>
                <a:gd name="connsiteX4091" fmla="*/ 4822984 w 6400800"/>
                <a:gd name="connsiteY4091" fmla="*/ 366236 h 514350"/>
                <a:gd name="connsiteX4092" fmla="*/ 4820126 w 6400800"/>
                <a:gd name="connsiteY4092" fmla="*/ 369094 h 514350"/>
                <a:gd name="connsiteX4093" fmla="*/ 4817269 w 6400800"/>
                <a:gd name="connsiteY4093" fmla="*/ 371951 h 514350"/>
                <a:gd name="connsiteX4094" fmla="*/ 4817269 w 6400800"/>
                <a:gd name="connsiteY4094" fmla="*/ 364331 h 514350"/>
                <a:gd name="connsiteX4095" fmla="*/ 4816316 w 6400800"/>
                <a:gd name="connsiteY4095" fmla="*/ 376714 h 514350"/>
                <a:gd name="connsiteX4096" fmla="*/ 4820126 w 6400800"/>
                <a:gd name="connsiteY4096" fmla="*/ 370046 h 514350"/>
                <a:gd name="connsiteX4097" fmla="*/ 4820126 w 6400800"/>
                <a:gd name="connsiteY4097" fmla="*/ 370046 h 514350"/>
                <a:gd name="connsiteX4098" fmla="*/ 4820126 w 6400800"/>
                <a:gd name="connsiteY4098" fmla="*/ 370046 h 514350"/>
                <a:gd name="connsiteX4099" fmla="*/ 4816316 w 6400800"/>
                <a:gd name="connsiteY4099" fmla="*/ 378619 h 514350"/>
                <a:gd name="connsiteX4100" fmla="*/ 4816316 w 6400800"/>
                <a:gd name="connsiteY4100" fmla="*/ 376714 h 514350"/>
                <a:gd name="connsiteX4101" fmla="*/ 4762024 w 6400800"/>
                <a:gd name="connsiteY4101" fmla="*/ 305276 h 514350"/>
                <a:gd name="connsiteX4102" fmla="*/ 4763929 w 6400800"/>
                <a:gd name="connsiteY4102" fmla="*/ 322421 h 514350"/>
                <a:gd name="connsiteX4103" fmla="*/ 4760119 w 6400800"/>
                <a:gd name="connsiteY4103" fmla="*/ 309086 h 514350"/>
                <a:gd name="connsiteX4104" fmla="*/ 4762024 w 6400800"/>
                <a:gd name="connsiteY4104" fmla="*/ 300514 h 514350"/>
                <a:gd name="connsiteX4105" fmla="*/ 4762024 w 6400800"/>
                <a:gd name="connsiteY4105" fmla="*/ 305276 h 514350"/>
                <a:gd name="connsiteX4106" fmla="*/ 4755356 w 6400800"/>
                <a:gd name="connsiteY4106" fmla="*/ 279559 h 514350"/>
                <a:gd name="connsiteX4107" fmla="*/ 4760119 w 6400800"/>
                <a:gd name="connsiteY4107" fmla="*/ 294799 h 514350"/>
                <a:gd name="connsiteX4108" fmla="*/ 4761072 w 6400800"/>
                <a:gd name="connsiteY4108" fmla="*/ 297656 h 514350"/>
                <a:gd name="connsiteX4109" fmla="*/ 4758214 w 6400800"/>
                <a:gd name="connsiteY4109" fmla="*/ 304324 h 514350"/>
                <a:gd name="connsiteX4110" fmla="*/ 4754404 w 6400800"/>
                <a:gd name="connsiteY4110" fmla="*/ 292894 h 514350"/>
                <a:gd name="connsiteX4111" fmla="*/ 4755356 w 6400800"/>
                <a:gd name="connsiteY4111" fmla="*/ 279559 h 514350"/>
                <a:gd name="connsiteX4112" fmla="*/ 4759166 w 6400800"/>
                <a:gd name="connsiteY4112" fmla="*/ 342424 h 514350"/>
                <a:gd name="connsiteX4113" fmla="*/ 4755356 w 6400800"/>
                <a:gd name="connsiteY4113" fmla="*/ 331946 h 514350"/>
                <a:gd name="connsiteX4114" fmla="*/ 4756309 w 6400800"/>
                <a:gd name="connsiteY4114" fmla="*/ 326231 h 514350"/>
                <a:gd name="connsiteX4115" fmla="*/ 4759166 w 6400800"/>
                <a:gd name="connsiteY4115" fmla="*/ 342424 h 514350"/>
                <a:gd name="connsiteX4116" fmla="*/ 4753451 w 6400800"/>
                <a:gd name="connsiteY4116" fmla="*/ 312896 h 514350"/>
                <a:gd name="connsiteX4117" fmla="*/ 4754404 w 6400800"/>
                <a:gd name="connsiteY4117" fmla="*/ 315754 h 514350"/>
                <a:gd name="connsiteX4118" fmla="*/ 4753451 w 6400800"/>
                <a:gd name="connsiteY4118" fmla="*/ 317659 h 514350"/>
                <a:gd name="connsiteX4119" fmla="*/ 4753451 w 6400800"/>
                <a:gd name="connsiteY4119" fmla="*/ 312896 h 514350"/>
                <a:gd name="connsiteX4120" fmla="*/ 4755356 w 6400800"/>
                <a:gd name="connsiteY4120" fmla="*/ 373856 h 514350"/>
                <a:gd name="connsiteX4121" fmla="*/ 4756309 w 6400800"/>
                <a:gd name="connsiteY4121" fmla="*/ 375761 h 514350"/>
                <a:gd name="connsiteX4122" fmla="*/ 4754404 w 6400800"/>
                <a:gd name="connsiteY4122" fmla="*/ 379571 h 514350"/>
                <a:gd name="connsiteX4123" fmla="*/ 4752499 w 6400800"/>
                <a:gd name="connsiteY4123" fmla="*/ 379571 h 514350"/>
                <a:gd name="connsiteX4124" fmla="*/ 4755356 w 6400800"/>
                <a:gd name="connsiteY4124" fmla="*/ 373856 h 514350"/>
                <a:gd name="connsiteX4125" fmla="*/ 4748689 w 6400800"/>
                <a:gd name="connsiteY4125" fmla="*/ 291941 h 514350"/>
                <a:gd name="connsiteX4126" fmla="*/ 4746784 w 6400800"/>
                <a:gd name="connsiteY4126" fmla="*/ 303371 h 514350"/>
                <a:gd name="connsiteX4127" fmla="*/ 4746784 w 6400800"/>
                <a:gd name="connsiteY4127" fmla="*/ 303371 h 514350"/>
                <a:gd name="connsiteX4128" fmla="*/ 4746784 w 6400800"/>
                <a:gd name="connsiteY4128" fmla="*/ 299561 h 514350"/>
                <a:gd name="connsiteX4129" fmla="*/ 4748689 w 6400800"/>
                <a:gd name="connsiteY4129" fmla="*/ 291941 h 514350"/>
                <a:gd name="connsiteX4130" fmla="*/ 4738212 w 6400800"/>
                <a:gd name="connsiteY4130" fmla="*/ 327184 h 514350"/>
                <a:gd name="connsiteX4131" fmla="*/ 4737259 w 6400800"/>
                <a:gd name="connsiteY4131" fmla="*/ 341471 h 514350"/>
                <a:gd name="connsiteX4132" fmla="*/ 4736306 w 6400800"/>
                <a:gd name="connsiteY4132" fmla="*/ 336709 h 514350"/>
                <a:gd name="connsiteX4133" fmla="*/ 4738212 w 6400800"/>
                <a:gd name="connsiteY4133" fmla="*/ 327184 h 514350"/>
                <a:gd name="connsiteX4134" fmla="*/ 4720114 w 6400800"/>
                <a:gd name="connsiteY4134" fmla="*/ 261461 h 514350"/>
                <a:gd name="connsiteX4135" fmla="*/ 4720114 w 6400800"/>
                <a:gd name="connsiteY4135" fmla="*/ 261461 h 514350"/>
                <a:gd name="connsiteX4136" fmla="*/ 4729639 w 6400800"/>
                <a:gd name="connsiteY4136" fmla="*/ 290989 h 514350"/>
                <a:gd name="connsiteX4137" fmla="*/ 4731544 w 6400800"/>
                <a:gd name="connsiteY4137" fmla="*/ 296704 h 514350"/>
                <a:gd name="connsiteX4138" fmla="*/ 4727734 w 6400800"/>
                <a:gd name="connsiteY4138" fmla="*/ 308134 h 514350"/>
                <a:gd name="connsiteX4139" fmla="*/ 4723924 w 6400800"/>
                <a:gd name="connsiteY4139" fmla="*/ 295751 h 514350"/>
                <a:gd name="connsiteX4140" fmla="*/ 4718209 w 6400800"/>
                <a:gd name="connsiteY4140" fmla="*/ 276701 h 514350"/>
                <a:gd name="connsiteX4141" fmla="*/ 4720114 w 6400800"/>
                <a:gd name="connsiteY4141" fmla="*/ 261461 h 514350"/>
                <a:gd name="connsiteX4142" fmla="*/ 4709637 w 6400800"/>
                <a:gd name="connsiteY4142" fmla="*/ 324326 h 514350"/>
                <a:gd name="connsiteX4143" fmla="*/ 4713447 w 6400800"/>
                <a:gd name="connsiteY4143" fmla="*/ 301466 h 514350"/>
                <a:gd name="connsiteX4144" fmla="*/ 4719162 w 6400800"/>
                <a:gd name="connsiteY4144" fmla="*/ 331946 h 514350"/>
                <a:gd name="connsiteX4145" fmla="*/ 4715351 w 6400800"/>
                <a:gd name="connsiteY4145" fmla="*/ 343376 h 514350"/>
                <a:gd name="connsiteX4146" fmla="*/ 4715351 w 6400800"/>
                <a:gd name="connsiteY4146" fmla="*/ 343376 h 514350"/>
                <a:gd name="connsiteX4147" fmla="*/ 4707731 w 6400800"/>
                <a:gd name="connsiteY4147" fmla="*/ 332899 h 514350"/>
                <a:gd name="connsiteX4148" fmla="*/ 4709637 w 6400800"/>
                <a:gd name="connsiteY4148" fmla="*/ 324326 h 514350"/>
                <a:gd name="connsiteX4149" fmla="*/ 4703922 w 6400800"/>
                <a:gd name="connsiteY4149" fmla="*/ 355759 h 514350"/>
                <a:gd name="connsiteX4150" fmla="*/ 4705826 w 6400800"/>
                <a:gd name="connsiteY4150" fmla="*/ 360521 h 514350"/>
                <a:gd name="connsiteX4151" fmla="*/ 4708684 w 6400800"/>
                <a:gd name="connsiteY4151" fmla="*/ 369094 h 514350"/>
                <a:gd name="connsiteX4152" fmla="*/ 4704874 w 6400800"/>
                <a:gd name="connsiteY4152" fmla="*/ 377666 h 514350"/>
                <a:gd name="connsiteX4153" fmla="*/ 4704874 w 6400800"/>
                <a:gd name="connsiteY4153" fmla="*/ 376714 h 514350"/>
                <a:gd name="connsiteX4154" fmla="*/ 4702016 w 6400800"/>
                <a:gd name="connsiteY4154" fmla="*/ 371951 h 514350"/>
                <a:gd name="connsiteX4155" fmla="*/ 4703922 w 6400800"/>
                <a:gd name="connsiteY4155" fmla="*/ 355759 h 514350"/>
                <a:gd name="connsiteX4156" fmla="*/ 4682966 w 6400800"/>
                <a:gd name="connsiteY4156" fmla="*/ 380524 h 514350"/>
                <a:gd name="connsiteX4157" fmla="*/ 4680109 w 6400800"/>
                <a:gd name="connsiteY4157" fmla="*/ 392906 h 514350"/>
                <a:gd name="connsiteX4158" fmla="*/ 4676299 w 6400800"/>
                <a:gd name="connsiteY4158" fmla="*/ 393859 h 514350"/>
                <a:gd name="connsiteX4159" fmla="*/ 4675347 w 6400800"/>
                <a:gd name="connsiteY4159" fmla="*/ 388144 h 514350"/>
                <a:gd name="connsiteX4160" fmla="*/ 4682966 w 6400800"/>
                <a:gd name="connsiteY4160" fmla="*/ 378619 h 514350"/>
                <a:gd name="connsiteX4161" fmla="*/ 4682966 w 6400800"/>
                <a:gd name="connsiteY4161" fmla="*/ 380524 h 514350"/>
                <a:gd name="connsiteX4162" fmla="*/ 4672489 w 6400800"/>
                <a:gd name="connsiteY4162" fmla="*/ 361474 h 514350"/>
                <a:gd name="connsiteX4163" fmla="*/ 4679156 w 6400800"/>
                <a:gd name="connsiteY4163" fmla="*/ 373856 h 514350"/>
                <a:gd name="connsiteX4164" fmla="*/ 4672489 w 6400800"/>
                <a:gd name="connsiteY4164" fmla="*/ 379571 h 514350"/>
                <a:gd name="connsiteX4165" fmla="*/ 4671537 w 6400800"/>
                <a:gd name="connsiteY4165" fmla="*/ 376714 h 514350"/>
                <a:gd name="connsiteX4166" fmla="*/ 4670584 w 6400800"/>
                <a:gd name="connsiteY4166" fmla="*/ 370999 h 514350"/>
                <a:gd name="connsiteX4167" fmla="*/ 4672489 w 6400800"/>
                <a:gd name="connsiteY4167" fmla="*/ 361474 h 514350"/>
                <a:gd name="connsiteX4168" fmla="*/ 4661059 w 6400800"/>
                <a:gd name="connsiteY4168" fmla="*/ 265271 h 514350"/>
                <a:gd name="connsiteX4169" fmla="*/ 4663916 w 6400800"/>
                <a:gd name="connsiteY4169" fmla="*/ 252889 h 514350"/>
                <a:gd name="connsiteX4170" fmla="*/ 4669631 w 6400800"/>
                <a:gd name="connsiteY4170" fmla="*/ 237649 h 514350"/>
                <a:gd name="connsiteX4171" fmla="*/ 4669631 w 6400800"/>
                <a:gd name="connsiteY4171" fmla="*/ 242411 h 514350"/>
                <a:gd name="connsiteX4172" fmla="*/ 4661059 w 6400800"/>
                <a:gd name="connsiteY4172" fmla="*/ 269081 h 514350"/>
                <a:gd name="connsiteX4173" fmla="*/ 4661059 w 6400800"/>
                <a:gd name="connsiteY4173" fmla="*/ 265271 h 514350"/>
                <a:gd name="connsiteX4174" fmla="*/ 4645819 w 6400800"/>
                <a:gd name="connsiteY4174" fmla="*/ 278606 h 514350"/>
                <a:gd name="connsiteX4175" fmla="*/ 4648676 w 6400800"/>
                <a:gd name="connsiteY4175" fmla="*/ 260509 h 514350"/>
                <a:gd name="connsiteX4176" fmla="*/ 4650581 w 6400800"/>
                <a:gd name="connsiteY4176" fmla="*/ 250984 h 514350"/>
                <a:gd name="connsiteX4177" fmla="*/ 4650581 w 6400800"/>
                <a:gd name="connsiteY4177" fmla="*/ 251936 h 514350"/>
                <a:gd name="connsiteX4178" fmla="*/ 4652487 w 6400800"/>
                <a:gd name="connsiteY4178" fmla="*/ 265271 h 514350"/>
                <a:gd name="connsiteX4179" fmla="*/ 4652487 w 6400800"/>
                <a:gd name="connsiteY4179" fmla="*/ 270034 h 514350"/>
                <a:gd name="connsiteX4180" fmla="*/ 4650581 w 6400800"/>
                <a:gd name="connsiteY4180" fmla="*/ 278606 h 514350"/>
                <a:gd name="connsiteX4181" fmla="*/ 4648676 w 6400800"/>
                <a:gd name="connsiteY4181" fmla="*/ 290989 h 514350"/>
                <a:gd name="connsiteX4182" fmla="*/ 4645819 w 6400800"/>
                <a:gd name="connsiteY4182" fmla="*/ 278606 h 514350"/>
                <a:gd name="connsiteX4183" fmla="*/ 4645819 w 6400800"/>
                <a:gd name="connsiteY4183" fmla="*/ 278606 h 514350"/>
                <a:gd name="connsiteX4184" fmla="*/ 4642962 w 6400800"/>
                <a:gd name="connsiteY4184" fmla="*/ 293846 h 514350"/>
                <a:gd name="connsiteX4185" fmla="*/ 4644866 w 6400800"/>
                <a:gd name="connsiteY4185" fmla="*/ 302419 h 514350"/>
                <a:gd name="connsiteX4186" fmla="*/ 4645819 w 6400800"/>
                <a:gd name="connsiteY4186" fmla="*/ 309086 h 514350"/>
                <a:gd name="connsiteX4187" fmla="*/ 4645819 w 6400800"/>
                <a:gd name="connsiteY4187" fmla="*/ 309086 h 514350"/>
                <a:gd name="connsiteX4188" fmla="*/ 4642962 w 6400800"/>
                <a:gd name="connsiteY4188" fmla="*/ 306229 h 514350"/>
                <a:gd name="connsiteX4189" fmla="*/ 4642009 w 6400800"/>
                <a:gd name="connsiteY4189" fmla="*/ 299561 h 514350"/>
                <a:gd name="connsiteX4190" fmla="*/ 4642962 w 6400800"/>
                <a:gd name="connsiteY4190" fmla="*/ 293846 h 514350"/>
                <a:gd name="connsiteX4191" fmla="*/ 4595337 w 6400800"/>
                <a:gd name="connsiteY4191" fmla="*/ 280511 h 514350"/>
                <a:gd name="connsiteX4192" fmla="*/ 4598194 w 6400800"/>
                <a:gd name="connsiteY4192" fmla="*/ 293846 h 514350"/>
                <a:gd name="connsiteX4193" fmla="*/ 4598194 w 6400800"/>
                <a:gd name="connsiteY4193" fmla="*/ 300514 h 514350"/>
                <a:gd name="connsiteX4194" fmla="*/ 4598194 w 6400800"/>
                <a:gd name="connsiteY4194" fmla="*/ 311944 h 514350"/>
                <a:gd name="connsiteX4195" fmla="*/ 4596289 w 6400800"/>
                <a:gd name="connsiteY4195" fmla="*/ 319564 h 514350"/>
                <a:gd name="connsiteX4196" fmla="*/ 4593431 w 6400800"/>
                <a:gd name="connsiteY4196" fmla="*/ 311944 h 514350"/>
                <a:gd name="connsiteX4197" fmla="*/ 4593431 w 6400800"/>
                <a:gd name="connsiteY4197" fmla="*/ 305276 h 514350"/>
                <a:gd name="connsiteX4198" fmla="*/ 4593431 w 6400800"/>
                <a:gd name="connsiteY4198" fmla="*/ 286226 h 514350"/>
                <a:gd name="connsiteX4199" fmla="*/ 4595337 w 6400800"/>
                <a:gd name="connsiteY4199" fmla="*/ 280511 h 514350"/>
                <a:gd name="connsiteX4200" fmla="*/ 4595337 w 6400800"/>
                <a:gd name="connsiteY4200" fmla="*/ 280511 h 514350"/>
                <a:gd name="connsiteX4201" fmla="*/ 4595337 w 6400800"/>
                <a:gd name="connsiteY4201" fmla="*/ 277654 h 514350"/>
                <a:gd name="connsiteX4202" fmla="*/ 4593431 w 6400800"/>
                <a:gd name="connsiteY4202" fmla="*/ 279559 h 514350"/>
                <a:gd name="connsiteX4203" fmla="*/ 4592479 w 6400800"/>
                <a:gd name="connsiteY4203" fmla="*/ 280511 h 514350"/>
                <a:gd name="connsiteX4204" fmla="*/ 4592479 w 6400800"/>
                <a:gd name="connsiteY4204" fmla="*/ 263366 h 514350"/>
                <a:gd name="connsiteX4205" fmla="*/ 4595337 w 6400800"/>
                <a:gd name="connsiteY4205" fmla="*/ 277654 h 514350"/>
                <a:gd name="connsiteX4206" fmla="*/ 4576287 w 6400800"/>
                <a:gd name="connsiteY4206" fmla="*/ 253841 h 514350"/>
                <a:gd name="connsiteX4207" fmla="*/ 4575334 w 6400800"/>
                <a:gd name="connsiteY4207" fmla="*/ 273844 h 514350"/>
                <a:gd name="connsiteX4208" fmla="*/ 4569619 w 6400800"/>
                <a:gd name="connsiteY4208" fmla="*/ 262414 h 514350"/>
                <a:gd name="connsiteX4209" fmla="*/ 4576287 w 6400800"/>
                <a:gd name="connsiteY4209" fmla="*/ 253841 h 514350"/>
                <a:gd name="connsiteX4210" fmla="*/ 4566762 w 6400800"/>
                <a:gd name="connsiteY4210" fmla="*/ 268129 h 514350"/>
                <a:gd name="connsiteX4211" fmla="*/ 4566762 w 6400800"/>
                <a:gd name="connsiteY4211" fmla="*/ 268129 h 514350"/>
                <a:gd name="connsiteX4212" fmla="*/ 4571524 w 6400800"/>
                <a:gd name="connsiteY4212" fmla="*/ 284321 h 514350"/>
                <a:gd name="connsiteX4213" fmla="*/ 4574381 w 6400800"/>
                <a:gd name="connsiteY4213" fmla="*/ 296704 h 514350"/>
                <a:gd name="connsiteX4214" fmla="*/ 4574381 w 6400800"/>
                <a:gd name="connsiteY4214" fmla="*/ 301466 h 514350"/>
                <a:gd name="connsiteX4215" fmla="*/ 4568666 w 6400800"/>
                <a:gd name="connsiteY4215" fmla="*/ 289084 h 514350"/>
                <a:gd name="connsiteX4216" fmla="*/ 4574381 w 6400800"/>
                <a:gd name="connsiteY4216" fmla="*/ 309086 h 514350"/>
                <a:gd name="connsiteX4217" fmla="*/ 4571524 w 6400800"/>
                <a:gd name="connsiteY4217" fmla="*/ 314801 h 514350"/>
                <a:gd name="connsiteX4218" fmla="*/ 4571524 w 6400800"/>
                <a:gd name="connsiteY4218" fmla="*/ 315754 h 514350"/>
                <a:gd name="connsiteX4219" fmla="*/ 4564856 w 6400800"/>
                <a:gd name="connsiteY4219" fmla="*/ 271939 h 514350"/>
                <a:gd name="connsiteX4220" fmla="*/ 4566762 w 6400800"/>
                <a:gd name="connsiteY4220" fmla="*/ 268129 h 514350"/>
                <a:gd name="connsiteX4221" fmla="*/ 4560094 w 6400800"/>
                <a:gd name="connsiteY4221" fmla="*/ 254794 h 514350"/>
                <a:gd name="connsiteX4222" fmla="*/ 4562951 w 6400800"/>
                <a:gd name="connsiteY4222" fmla="*/ 260509 h 514350"/>
                <a:gd name="connsiteX4223" fmla="*/ 4561047 w 6400800"/>
                <a:gd name="connsiteY4223" fmla="*/ 263366 h 514350"/>
                <a:gd name="connsiteX4224" fmla="*/ 4557237 w 6400800"/>
                <a:gd name="connsiteY4224" fmla="*/ 268129 h 514350"/>
                <a:gd name="connsiteX4225" fmla="*/ 4560094 w 6400800"/>
                <a:gd name="connsiteY4225" fmla="*/ 254794 h 514350"/>
                <a:gd name="connsiteX4226" fmla="*/ 4548664 w 6400800"/>
                <a:gd name="connsiteY4226" fmla="*/ 317659 h 514350"/>
                <a:gd name="connsiteX4227" fmla="*/ 4557237 w 6400800"/>
                <a:gd name="connsiteY4227" fmla="*/ 290036 h 514350"/>
                <a:gd name="connsiteX4228" fmla="*/ 4562951 w 6400800"/>
                <a:gd name="connsiteY4228" fmla="*/ 275749 h 514350"/>
                <a:gd name="connsiteX4229" fmla="*/ 4560094 w 6400800"/>
                <a:gd name="connsiteY4229" fmla="*/ 318611 h 514350"/>
                <a:gd name="connsiteX4230" fmla="*/ 4555331 w 6400800"/>
                <a:gd name="connsiteY4230" fmla="*/ 310991 h 514350"/>
                <a:gd name="connsiteX4231" fmla="*/ 4560094 w 6400800"/>
                <a:gd name="connsiteY4231" fmla="*/ 321469 h 514350"/>
                <a:gd name="connsiteX4232" fmla="*/ 4560094 w 6400800"/>
                <a:gd name="connsiteY4232" fmla="*/ 321469 h 514350"/>
                <a:gd name="connsiteX4233" fmla="*/ 4559141 w 6400800"/>
                <a:gd name="connsiteY4233" fmla="*/ 342424 h 514350"/>
                <a:gd name="connsiteX4234" fmla="*/ 4555331 w 6400800"/>
                <a:gd name="connsiteY4234" fmla="*/ 352901 h 514350"/>
                <a:gd name="connsiteX4235" fmla="*/ 4552474 w 6400800"/>
                <a:gd name="connsiteY4235" fmla="*/ 361474 h 514350"/>
                <a:gd name="connsiteX4236" fmla="*/ 4547712 w 6400800"/>
                <a:gd name="connsiteY4236" fmla="*/ 343376 h 514350"/>
                <a:gd name="connsiteX4237" fmla="*/ 4547712 w 6400800"/>
                <a:gd name="connsiteY4237" fmla="*/ 328136 h 514350"/>
                <a:gd name="connsiteX4238" fmla="*/ 4545806 w 6400800"/>
                <a:gd name="connsiteY4238" fmla="*/ 338614 h 514350"/>
                <a:gd name="connsiteX4239" fmla="*/ 4545806 w 6400800"/>
                <a:gd name="connsiteY4239" fmla="*/ 337661 h 514350"/>
                <a:gd name="connsiteX4240" fmla="*/ 4544854 w 6400800"/>
                <a:gd name="connsiteY4240" fmla="*/ 335756 h 514350"/>
                <a:gd name="connsiteX4241" fmla="*/ 4548664 w 6400800"/>
                <a:gd name="connsiteY4241" fmla="*/ 317659 h 514350"/>
                <a:gd name="connsiteX4242" fmla="*/ 4457224 w 6400800"/>
                <a:gd name="connsiteY4242" fmla="*/ 306229 h 514350"/>
                <a:gd name="connsiteX4243" fmla="*/ 4457224 w 6400800"/>
                <a:gd name="connsiteY4243" fmla="*/ 306229 h 514350"/>
                <a:gd name="connsiteX4244" fmla="*/ 4457224 w 6400800"/>
                <a:gd name="connsiteY4244" fmla="*/ 304324 h 514350"/>
                <a:gd name="connsiteX4245" fmla="*/ 4457224 w 6400800"/>
                <a:gd name="connsiteY4245" fmla="*/ 306229 h 514350"/>
                <a:gd name="connsiteX4246" fmla="*/ 4478179 w 6400800"/>
                <a:gd name="connsiteY4246" fmla="*/ 359569 h 514350"/>
                <a:gd name="connsiteX4247" fmla="*/ 4476274 w 6400800"/>
                <a:gd name="connsiteY4247" fmla="*/ 339566 h 514350"/>
                <a:gd name="connsiteX4248" fmla="*/ 4476274 w 6400800"/>
                <a:gd name="connsiteY4248" fmla="*/ 336709 h 514350"/>
                <a:gd name="connsiteX4249" fmla="*/ 4483894 w 6400800"/>
                <a:gd name="connsiteY4249" fmla="*/ 347186 h 514350"/>
                <a:gd name="connsiteX4250" fmla="*/ 4478179 w 6400800"/>
                <a:gd name="connsiteY4250" fmla="*/ 359569 h 514350"/>
                <a:gd name="connsiteX4251" fmla="*/ 4497229 w 6400800"/>
                <a:gd name="connsiteY4251" fmla="*/ 371951 h 514350"/>
                <a:gd name="connsiteX4252" fmla="*/ 4497229 w 6400800"/>
                <a:gd name="connsiteY4252" fmla="*/ 367189 h 514350"/>
                <a:gd name="connsiteX4253" fmla="*/ 4498181 w 6400800"/>
                <a:gd name="connsiteY4253" fmla="*/ 370046 h 514350"/>
                <a:gd name="connsiteX4254" fmla="*/ 4497229 w 6400800"/>
                <a:gd name="connsiteY4254" fmla="*/ 371951 h 514350"/>
                <a:gd name="connsiteX4255" fmla="*/ 4504849 w 6400800"/>
                <a:gd name="connsiteY4255" fmla="*/ 322421 h 514350"/>
                <a:gd name="connsiteX4256" fmla="*/ 4504849 w 6400800"/>
                <a:gd name="connsiteY4256" fmla="*/ 330994 h 514350"/>
                <a:gd name="connsiteX4257" fmla="*/ 4501991 w 6400800"/>
                <a:gd name="connsiteY4257" fmla="*/ 341471 h 514350"/>
                <a:gd name="connsiteX4258" fmla="*/ 4501039 w 6400800"/>
                <a:gd name="connsiteY4258" fmla="*/ 348139 h 514350"/>
                <a:gd name="connsiteX4259" fmla="*/ 4499134 w 6400800"/>
                <a:gd name="connsiteY4259" fmla="*/ 345281 h 514350"/>
                <a:gd name="connsiteX4260" fmla="*/ 4498181 w 6400800"/>
                <a:gd name="connsiteY4260" fmla="*/ 342424 h 514350"/>
                <a:gd name="connsiteX4261" fmla="*/ 4501991 w 6400800"/>
                <a:gd name="connsiteY4261" fmla="*/ 326231 h 514350"/>
                <a:gd name="connsiteX4262" fmla="*/ 4506754 w 6400800"/>
                <a:gd name="connsiteY4262" fmla="*/ 310991 h 514350"/>
                <a:gd name="connsiteX4263" fmla="*/ 4504849 w 6400800"/>
                <a:gd name="connsiteY4263" fmla="*/ 322421 h 514350"/>
                <a:gd name="connsiteX4264" fmla="*/ 4462939 w 6400800"/>
                <a:gd name="connsiteY4264" fmla="*/ 250984 h 514350"/>
                <a:gd name="connsiteX4265" fmla="*/ 4470559 w 6400800"/>
                <a:gd name="connsiteY4265" fmla="*/ 226219 h 514350"/>
                <a:gd name="connsiteX4266" fmla="*/ 4474369 w 6400800"/>
                <a:gd name="connsiteY4266" fmla="*/ 231934 h 514350"/>
                <a:gd name="connsiteX4267" fmla="*/ 4479131 w 6400800"/>
                <a:gd name="connsiteY4267" fmla="*/ 238601 h 514350"/>
                <a:gd name="connsiteX4268" fmla="*/ 4483894 w 6400800"/>
                <a:gd name="connsiteY4268" fmla="*/ 248126 h 514350"/>
                <a:gd name="connsiteX4269" fmla="*/ 4489609 w 6400800"/>
                <a:gd name="connsiteY4269" fmla="*/ 260509 h 514350"/>
                <a:gd name="connsiteX4270" fmla="*/ 4495324 w 6400800"/>
                <a:gd name="connsiteY4270" fmla="*/ 275749 h 514350"/>
                <a:gd name="connsiteX4271" fmla="*/ 4501039 w 6400800"/>
                <a:gd name="connsiteY4271" fmla="*/ 293846 h 514350"/>
                <a:gd name="connsiteX4272" fmla="*/ 4503897 w 6400800"/>
                <a:gd name="connsiteY4272" fmla="*/ 303371 h 514350"/>
                <a:gd name="connsiteX4273" fmla="*/ 4497229 w 6400800"/>
                <a:gd name="connsiteY4273" fmla="*/ 317659 h 514350"/>
                <a:gd name="connsiteX4274" fmla="*/ 4493419 w 6400800"/>
                <a:gd name="connsiteY4274" fmla="*/ 326231 h 514350"/>
                <a:gd name="connsiteX4275" fmla="*/ 4488656 w 6400800"/>
                <a:gd name="connsiteY4275" fmla="*/ 280511 h 514350"/>
                <a:gd name="connsiteX4276" fmla="*/ 4487704 w 6400800"/>
                <a:gd name="connsiteY4276" fmla="*/ 319564 h 514350"/>
                <a:gd name="connsiteX4277" fmla="*/ 4483894 w 6400800"/>
                <a:gd name="connsiteY4277" fmla="*/ 311944 h 514350"/>
                <a:gd name="connsiteX4278" fmla="*/ 4473416 w 6400800"/>
                <a:gd name="connsiteY4278" fmla="*/ 289084 h 514350"/>
                <a:gd name="connsiteX4279" fmla="*/ 4481037 w 6400800"/>
                <a:gd name="connsiteY4279" fmla="*/ 312896 h 514350"/>
                <a:gd name="connsiteX4280" fmla="*/ 4486751 w 6400800"/>
                <a:gd name="connsiteY4280" fmla="*/ 330041 h 514350"/>
                <a:gd name="connsiteX4281" fmla="*/ 4484847 w 6400800"/>
                <a:gd name="connsiteY4281" fmla="*/ 328136 h 514350"/>
                <a:gd name="connsiteX4282" fmla="*/ 4475322 w 6400800"/>
                <a:gd name="connsiteY4282" fmla="*/ 318611 h 514350"/>
                <a:gd name="connsiteX4283" fmla="*/ 4473416 w 6400800"/>
                <a:gd name="connsiteY4283" fmla="*/ 304324 h 514350"/>
                <a:gd name="connsiteX4284" fmla="*/ 4468654 w 6400800"/>
                <a:gd name="connsiteY4284" fmla="*/ 278606 h 514350"/>
                <a:gd name="connsiteX4285" fmla="*/ 4477226 w 6400800"/>
                <a:gd name="connsiteY4285" fmla="*/ 256699 h 514350"/>
                <a:gd name="connsiteX4286" fmla="*/ 4466749 w 6400800"/>
                <a:gd name="connsiteY4286" fmla="*/ 273844 h 514350"/>
                <a:gd name="connsiteX4287" fmla="*/ 4462939 w 6400800"/>
                <a:gd name="connsiteY4287" fmla="*/ 258604 h 514350"/>
                <a:gd name="connsiteX4288" fmla="*/ 4462939 w 6400800"/>
                <a:gd name="connsiteY4288" fmla="*/ 256699 h 514350"/>
                <a:gd name="connsiteX4289" fmla="*/ 4462939 w 6400800"/>
                <a:gd name="connsiteY4289" fmla="*/ 250984 h 514350"/>
                <a:gd name="connsiteX4290" fmla="*/ 4461034 w 6400800"/>
                <a:gd name="connsiteY4290" fmla="*/ 255746 h 514350"/>
                <a:gd name="connsiteX4291" fmla="*/ 4461034 w 6400800"/>
                <a:gd name="connsiteY4291" fmla="*/ 255746 h 514350"/>
                <a:gd name="connsiteX4292" fmla="*/ 4461034 w 6400800"/>
                <a:gd name="connsiteY4292" fmla="*/ 255746 h 514350"/>
                <a:gd name="connsiteX4293" fmla="*/ 4461034 w 6400800"/>
                <a:gd name="connsiteY4293" fmla="*/ 255746 h 514350"/>
                <a:gd name="connsiteX4294" fmla="*/ 4455319 w 6400800"/>
                <a:gd name="connsiteY4294" fmla="*/ 274796 h 514350"/>
                <a:gd name="connsiteX4295" fmla="*/ 4457224 w 6400800"/>
                <a:gd name="connsiteY4295" fmla="*/ 268129 h 514350"/>
                <a:gd name="connsiteX4296" fmla="*/ 4457224 w 6400800"/>
                <a:gd name="connsiteY4296" fmla="*/ 273844 h 514350"/>
                <a:gd name="connsiteX4297" fmla="*/ 4458176 w 6400800"/>
                <a:gd name="connsiteY4297" fmla="*/ 284321 h 514350"/>
                <a:gd name="connsiteX4298" fmla="*/ 4454366 w 6400800"/>
                <a:gd name="connsiteY4298" fmla="*/ 292894 h 514350"/>
                <a:gd name="connsiteX4299" fmla="*/ 4455319 w 6400800"/>
                <a:gd name="connsiteY4299" fmla="*/ 274796 h 514350"/>
                <a:gd name="connsiteX4300" fmla="*/ 4449604 w 6400800"/>
                <a:gd name="connsiteY4300" fmla="*/ 361474 h 514350"/>
                <a:gd name="connsiteX4301" fmla="*/ 4451509 w 6400800"/>
                <a:gd name="connsiteY4301" fmla="*/ 339566 h 514350"/>
                <a:gd name="connsiteX4302" fmla="*/ 4453414 w 6400800"/>
                <a:gd name="connsiteY4302" fmla="*/ 343376 h 514350"/>
                <a:gd name="connsiteX4303" fmla="*/ 4453414 w 6400800"/>
                <a:gd name="connsiteY4303" fmla="*/ 344329 h 514350"/>
                <a:gd name="connsiteX4304" fmla="*/ 4453414 w 6400800"/>
                <a:gd name="connsiteY4304" fmla="*/ 344329 h 514350"/>
                <a:gd name="connsiteX4305" fmla="*/ 4451509 w 6400800"/>
                <a:gd name="connsiteY4305" fmla="*/ 366236 h 514350"/>
                <a:gd name="connsiteX4306" fmla="*/ 4448651 w 6400800"/>
                <a:gd name="connsiteY4306" fmla="*/ 388144 h 514350"/>
                <a:gd name="connsiteX4307" fmla="*/ 4446747 w 6400800"/>
                <a:gd name="connsiteY4307" fmla="*/ 386239 h 514350"/>
                <a:gd name="connsiteX4308" fmla="*/ 4449604 w 6400800"/>
                <a:gd name="connsiteY4308" fmla="*/ 361474 h 514350"/>
                <a:gd name="connsiteX4309" fmla="*/ 4386739 w 6400800"/>
                <a:gd name="connsiteY4309" fmla="*/ 331946 h 514350"/>
                <a:gd name="connsiteX4310" fmla="*/ 4390549 w 6400800"/>
                <a:gd name="connsiteY4310" fmla="*/ 335756 h 514350"/>
                <a:gd name="connsiteX4311" fmla="*/ 4390549 w 6400800"/>
                <a:gd name="connsiteY4311" fmla="*/ 342424 h 514350"/>
                <a:gd name="connsiteX4312" fmla="*/ 4386739 w 6400800"/>
                <a:gd name="connsiteY4312" fmla="*/ 347186 h 514350"/>
                <a:gd name="connsiteX4313" fmla="*/ 4386739 w 6400800"/>
                <a:gd name="connsiteY4313" fmla="*/ 331946 h 514350"/>
                <a:gd name="connsiteX4314" fmla="*/ 4389597 w 6400800"/>
                <a:gd name="connsiteY4314" fmla="*/ 376714 h 514350"/>
                <a:gd name="connsiteX4315" fmla="*/ 4388644 w 6400800"/>
                <a:gd name="connsiteY4315" fmla="*/ 375761 h 514350"/>
                <a:gd name="connsiteX4316" fmla="*/ 4387691 w 6400800"/>
                <a:gd name="connsiteY4316" fmla="*/ 370046 h 514350"/>
                <a:gd name="connsiteX4317" fmla="*/ 4387691 w 6400800"/>
                <a:gd name="connsiteY4317" fmla="*/ 360521 h 514350"/>
                <a:gd name="connsiteX4318" fmla="*/ 4387691 w 6400800"/>
                <a:gd name="connsiteY4318" fmla="*/ 351949 h 514350"/>
                <a:gd name="connsiteX4319" fmla="*/ 4391501 w 6400800"/>
                <a:gd name="connsiteY4319" fmla="*/ 345281 h 514350"/>
                <a:gd name="connsiteX4320" fmla="*/ 4391501 w 6400800"/>
                <a:gd name="connsiteY4320" fmla="*/ 349091 h 514350"/>
                <a:gd name="connsiteX4321" fmla="*/ 4392454 w 6400800"/>
                <a:gd name="connsiteY4321" fmla="*/ 370046 h 514350"/>
                <a:gd name="connsiteX4322" fmla="*/ 4389597 w 6400800"/>
                <a:gd name="connsiteY4322" fmla="*/ 376714 h 514350"/>
                <a:gd name="connsiteX4323" fmla="*/ 4424839 w 6400800"/>
                <a:gd name="connsiteY4323" fmla="*/ 351949 h 514350"/>
                <a:gd name="connsiteX4324" fmla="*/ 4424839 w 6400800"/>
                <a:gd name="connsiteY4324" fmla="*/ 354806 h 514350"/>
                <a:gd name="connsiteX4325" fmla="*/ 4422934 w 6400800"/>
                <a:gd name="connsiteY4325" fmla="*/ 356711 h 514350"/>
                <a:gd name="connsiteX4326" fmla="*/ 4424839 w 6400800"/>
                <a:gd name="connsiteY4326" fmla="*/ 351949 h 514350"/>
                <a:gd name="connsiteX4327" fmla="*/ 4415314 w 6400800"/>
                <a:gd name="connsiteY4327" fmla="*/ 411004 h 514350"/>
                <a:gd name="connsiteX4328" fmla="*/ 4415314 w 6400800"/>
                <a:gd name="connsiteY4328" fmla="*/ 411956 h 514350"/>
                <a:gd name="connsiteX4329" fmla="*/ 4412456 w 6400800"/>
                <a:gd name="connsiteY4329" fmla="*/ 409099 h 514350"/>
                <a:gd name="connsiteX4330" fmla="*/ 4411504 w 6400800"/>
                <a:gd name="connsiteY4330" fmla="*/ 385286 h 514350"/>
                <a:gd name="connsiteX4331" fmla="*/ 4420076 w 6400800"/>
                <a:gd name="connsiteY4331" fmla="*/ 372904 h 514350"/>
                <a:gd name="connsiteX4332" fmla="*/ 4421029 w 6400800"/>
                <a:gd name="connsiteY4332" fmla="*/ 374809 h 514350"/>
                <a:gd name="connsiteX4333" fmla="*/ 4415314 w 6400800"/>
                <a:gd name="connsiteY4333" fmla="*/ 411004 h 514350"/>
                <a:gd name="connsiteX4334" fmla="*/ 4410551 w 6400800"/>
                <a:gd name="connsiteY4334" fmla="*/ 254794 h 514350"/>
                <a:gd name="connsiteX4335" fmla="*/ 4421029 w 6400800"/>
                <a:gd name="connsiteY4335" fmla="*/ 273844 h 514350"/>
                <a:gd name="connsiteX4336" fmla="*/ 4415314 w 6400800"/>
                <a:gd name="connsiteY4336" fmla="*/ 293846 h 514350"/>
                <a:gd name="connsiteX4337" fmla="*/ 4408647 w 6400800"/>
                <a:gd name="connsiteY4337" fmla="*/ 316706 h 514350"/>
                <a:gd name="connsiteX4338" fmla="*/ 4406741 w 6400800"/>
                <a:gd name="connsiteY4338" fmla="*/ 297656 h 514350"/>
                <a:gd name="connsiteX4339" fmla="*/ 4402931 w 6400800"/>
                <a:gd name="connsiteY4339" fmla="*/ 331946 h 514350"/>
                <a:gd name="connsiteX4340" fmla="*/ 4401026 w 6400800"/>
                <a:gd name="connsiteY4340" fmla="*/ 337661 h 514350"/>
                <a:gd name="connsiteX4341" fmla="*/ 4400074 w 6400800"/>
                <a:gd name="connsiteY4341" fmla="*/ 336709 h 514350"/>
                <a:gd name="connsiteX4342" fmla="*/ 4388644 w 6400800"/>
                <a:gd name="connsiteY4342" fmla="*/ 270034 h 514350"/>
                <a:gd name="connsiteX4343" fmla="*/ 4389597 w 6400800"/>
                <a:gd name="connsiteY4343" fmla="*/ 328136 h 514350"/>
                <a:gd name="connsiteX4344" fmla="*/ 4386739 w 6400800"/>
                <a:gd name="connsiteY4344" fmla="*/ 325279 h 514350"/>
                <a:gd name="connsiteX4345" fmla="*/ 4386739 w 6400800"/>
                <a:gd name="connsiteY4345" fmla="*/ 323374 h 514350"/>
                <a:gd name="connsiteX4346" fmla="*/ 4387691 w 6400800"/>
                <a:gd name="connsiteY4346" fmla="*/ 290989 h 514350"/>
                <a:gd name="connsiteX4347" fmla="*/ 4389597 w 6400800"/>
                <a:gd name="connsiteY4347" fmla="*/ 263366 h 514350"/>
                <a:gd name="connsiteX4348" fmla="*/ 4391501 w 6400800"/>
                <a:gd name="connsiteY4348" fmla="*/ 242411 h 514350"/>
                <a:gd name="connsiteX4349" fmla="*/ 4393406 w 6400800"/>
                <a:gd name="connsiteY4349" fmla="*/ 225266 h 514350"/>
                <a:gd name="connsiteX4350" fmla="*/ 4410551 w 6400800"/>
                <a:gd name="connsiteY4350" fmla="*/ 254794 h 514350"/>
                <a:gd name="connsiteX4351" fmla="*/ 4389597 w 6400800"/>
                <a:gd name="connsiteY4351" fmla="*/ 217646 h 514350"/>
                <a:gd name="connsiteX4352" fmla="*/ 4393406 w 6400800"/>
                <a:gd name="connsiteY4352" fmla="*/ 224314 h 514350"/>
                <a:gd name="connsiteX4353" fmla="*/ 4387691 w 6400800"/>
                <a:gd name="connsiteY4353" fmla="*/ 240506 h 514350"/>
                <a:gd name="connsiteX4354" fmla="*/ 4381976 w 6400800"/>
                <a:gd name="connsiteY4354" fmla="*/ 260509 h 514350"/>
                <a:gd name="connsiteX4355" fmla="*/ 4381976 w 6400800"/>
                <a:gd name="connsiteY4355" fmla="*/ 256699 h 514350"/>
                <a:gd name="connsiteX4356" fmla="*/ 4389597 w 6400800"/>
                <a:gd name="connsiteY4356" fmla="*/ 217646 h 514350"/>
                <a:gd name="connsiteX4357" fmla="*/ 4374356 w 6400800"/>
                <a:gd name="connsiteY4357" fmla="*/ 291941 h 514350"/>
                <a:gd name="connsiteX4358" fmla="*/ 4374356 w 6400800"/>
                <a:gd name="connsiteY4358" fmla="*/ 292894 h 514350"/>
                <a:gd name="connsiteX4359" fmla="*/ 4374356 w 6400800"/>
                <a:gd name="connsiteY4359" fmla="*/ 291941 h 514350"/>
                <a:gd name="connsiteX4360" fmla="*/ 4374356 w 6400800"/>
                <a:gd name="connsiteY4360" fmla="*/ 291941 h 514350"/>
                <a:gd name="connsiteX4361" fmla="*/ 4360069 w 6400800"/>
                <a:gd name="connsiteY4361" fmla="*/ 282416 h 514350"/>
                <a:gd name="connsiteX4362" fmla="*/ 4360069 w 6400800"/>
                <a:gd name="connsiteY4362" fmla="*/ 290036 h 514350"/>
                <a:gd name="connsiteX4363" fmla="*/ 4359116 w 6400800"/>
                <a:gd name="connsiteY4363" fmla="*/ 288131 h 514350"/>
                <a:gd name="connsiteX4364" fmla="*/ 4360069 w 6400800"/>
                <a:gd name="connsiteY4364" fmla="*/ 282416 h 514350"/>
                <a:gd name="connsiteX4365" fmla="*/ 4313397 w 6400800"/>
                <a:gd name="connsiteY4365" fmla="*/ 387191 h 514350"/>
                <a:gd name="connsiteX4366" fmla="*/ 4311491 w 6400800"/>
                <a:gd name="connsiteY4366" fmla="*/ 391001 h 514350"/>
                <a:gd name="connsiteX4367" fmla="*/ 4313397 w 6400800"/>
                <a:gd name="connsiteY4367" fmla="*/ 387191 h 514350"/>
                <a:gd name="connsiteX4368" fmla="*/ 4313397 w 6400800"/>
                <a:gd name="connsiteY4368" fmla="*/ 387191 h 514350"/>
                <a:gd name="connsiteX4369" fmla="*/ 4311491 w 6400800"/>
                <a:gd name="connsiteY4369" fmla="*/ 351949 h 514350"/>
                <a:gd name="connsiteX4370" fmla="*/ 4312444 w 6400800"/>
                <a:gd name="connsiteY4370" fmla="*/ 365284 h 514350"/>
                <a:gd name="connsiteX4371" fmla="*/ 4311491 w 6400800"/>
                <a:gd name="connsiteY4371" fmla="*/ 363379 h 514350"/>
                <a:gd name="connsiteX4372" fmla="*/ 4311491 w 6400800"/>
                <a:gd name="connsiteY4372" fmla="*/ 351949 h 514350"/>
                <a:gd name="connsiteX4373" fmla="*/ 4247674 w 6400800"/>
                <a:gd name="connsiteY4373" fmla="*/ 313849 h 514350"/>
                <a:gd name="connsiteX4374" fmla="*/ 4247674 w 6400800"/>
                <a:gd name="connsiteY4374" fmla="*/ 311944 h 514350"/>
                <a:gd name="connsiteX4375" fmla="*/ 4247674 w 6400800"/>
                <a:gd name="connsiteY4375" fmla="*/ 313849 h 514350"/>
                <a:gd name="connsiteX4376" fmla="*/ 4246722 w 6400800"/>
                <a:gd name="connsiteY4376" fmla="*/ 324326 h 514350"/>
                <a:gd name="connsiteX4377" fmla="*/ 4246722 w 6400800"/>
                <a:gd name="connsiteY4377" fmla="*/ 322421 h 514350"/>
                <a:gd name="connsiteX4378" fmla="*/ 4247674 w 6400800"/>
                <a:gd name="connsiteY4378" fmla="*/ 313849 h 514350"/>
                <a:gd name="connsiteX4379" fmla="*/ 4181951 w 6400800"/>
                <a:gd name="connsiteY4379" fmla="*/ 367189 h 514350"/>
                <a:gd name="connsiteX4380" fmla="*/ 4182904 w 6400800"/>
                <a:gd name="connsiteY4380" fmla="*/ 324326 h 514350"/>
                <a:gd name="connsiteX4381" fmla="*/ 4183856 w 6400800"/>
                <a:gd name="connsiteY4381" fmla="*/ 330041 h 514350"/>
                <a:gd name="connsiteX4382" fmla="*/ 4185761 w 6400800"/>
                <a:gd name="connsiteY4382" fmla="*/ 340519 h 514350"/>
                <a:gd name="connsiteX4383" fmla="*/ 4185761 w 6400800"/>
                <a:gd name="connsiteY4383" fmla="*/ 342424 h 514350"/>
                <a:gd name="connsiteX4384" fmla="*/ 4183856 w 6400800"/>
                <a:gd name="connsiteY4384" fmla="*/ 338614 h 514350"/>
                <a:gd name="connsiteX4385" fmla="*/ 4187666 w 6400800"/>
                <a:gd name="connsiteY4385" fmla="*/ 357664 h 514350"/>
                <a:gd name="connsiteX4386" fmla="*/ 4189571 w 6400800"/>
                <a:gd name="connsiteY4386" fmla="*/ 365284 h 514350"/>
                <a:gd name="connsiteX4387" fmla="*/ 4191476 w 6400800"/>
                <a:gd name="connsiteY4387" fmla="*/ 373856 h 514350"/>
                <a:gd name="connsiteX4388" fmla="*/ 4190524 w 6400800"/>
                <a:gd name="connsiteY4388" fmla="*/ 386239 h 514350"/>
                <a:gd name="connsiteX4389" fmla="*/ 4190524 w 6400800"/>
                <a:gd name="connsiteY4389" fmla="*/ 391954 h 514350"/>
                <a:gd name="connsiteX4390" fmla="*/ 4181951 w 6400800"/>
                <a:gd name="connsiteY4390" fmla="*/ 367189 h 514350"/>
                <a:gd name="connsiteX4391" fmla="*/ 4181951 w 6400800"/>
                <a:gd name="connsiteY4391" fmla="*/ 367189 h 514350"/>
                <a:gd name="connsiteX4392" fmla="*/ 4161949 w 6400800"/>
                <a:gd name="connsiteY4392" fmla="*/ 401479 h 514350"/>
                <a:gd name="connsiteX4393" fmla="*/ 4161949 w 6400800"/>
                <a:gd name="connsiteY4393" fmla="*/ 399574 h 514350"/>
                <a:gd name="connsiteX4394" fmla="*/ 4161949 w 6400800"/>
                <a:gd name="connsiteY4394" fmla="*/ 399574 h 514350"/>
                <a:gd name="connsiteX4395" fmla="*/ 4161949 w 6400800"/>
                <a:gd name="connsiteY4395" fmla="*/ 401479 h 514350"/>
                <a:gd name="connsiteX4396" fmla="*/ 4160044 w 6400800"/>
                <a:gd name="connsiteY4396" fmla="*/ 306229 h 514350"/>
                <a:gd name="connsiteX4397" fmla="*/ 4160996 w 6400800"/>
                <a:gd name="connsiteY4397" fmla="*/ 292894 h 514350"/>
                <a:gd name="connsiteX4398" fmla="*/ 4163854 w 6400800"/>
                <a:gd name="connsiteY4398" fmla="*/ 282416 h 514350"/>
                <a:gd name="connsiteX4399" fmla="*/ 4162901 w 6400800"/>
                <a:gd name="connsiteY4399" fmla="*/ 313849 h 514350"/>
                <a:gd name="connsiteX4400" fmla="*/ 4160044 w 6400800"/>
                <a:gd name="connsiteY4400" fmla="*/ 306229 h 514350"/>
                <a:gd name="connsiteX4401" fmla="*/ 4160044 w 6400800"/>
                <a:gd name="connsiteY4401" fmla="*/ 306229 h 514350"/>
                <a:gd name="connsiteX4402" fmla="*/ 4128611 w 6400800"/>
                <a:gd name="connsiteY4402" fmla="*/ 354806 h 514350"/>
                <a:gd name="connsiteX4403" fmla="*/ 4127659 w 6400800"/>
                <a:gd name="connsiteY4403" fmla="*/ 343376 h 514350"/>
                <a:gd name="connsiteX4404" fmla="*/ 4128611 w 6400800"/>
                <a:gd name="connsiteY4404" fmla="*/ 350044 h 514350"/>
                <a:gd name="connsiteX4405" fmla="*/ 4130516 w 6400800"/>
                <a:gd name="connsiteY4405" fmla="*/ 365284 h 514350"/>
                <a:gd name="connsiteX4406" fmla="*/ 4128611 w 6400800"/>
                <a:gd name="connsiteY4406" fmla="*/ 354806 h 514350"/>
                <a:gd name="connsiteX4407" fmla="*/ 4124801 w 6400800"/>
                <a:gd name="connsiteY4407" fmla="*/ 255746 h 514350"/>
                <a:gd name="connsiteX4408" fmla="*/ 4124801 w 6400800"/>
                <a:gd name="connsiteY4408" fmla="*/ 248126 h 514350"/>
                <a:gd name="connsiteX4409" fmla="*/ 4140041 w 6400800"/>
                <a:gd name="connsiteY4409" fmla="*/ 303371 h 514350"/>
                <a:gd name="connsiteX4410" fmla="*/ 4140994 w 6400800"/>
                <a:gd name="connsiteY4410" fmla="*/ 307181 h 514350"/>
                <a:gd name="connsiteX4411" fmla="*/ 4140994 w 6400800"/>
                <a:gd name="connsiteY4411" fmla="*/ 321469 h 514350"/>
                <a:gd name="connsiteX4412" fmla="*/ 4133374 w 6400800"/>
                <a:gd name="connsiteY4412" fmla="*/ 305276 h 514350"/>
                <a:gd name="connsiteX4413" fmla="*/ 4135279 w 6400800"/>
                <a:gd name="connsiteY4413" fmla="*/ 312896 h 514350"/>
                <a:gd name="connsiteX4414" fmla="*/ 4127659 w 6400800"/>
                <a:gd name="connsiteY4414" fmla="*/ 300514 h 514350"/>
                <a:gd name="connsiteX4415" fmla="*/ 4123849 w 6400800"/>
                <a:gd name="connsiteY4415" fmla="*/ 284321 h 514350"/>
                <a:gd name="connsiteX4416" fmla="*/ 4124801 w 6400800"/>
                <a:gd name="connsiteY4416" fmla="*/ 255746 h 514350"/>
                <a:gd name="connsiteX4417" fmla="*/ 4095274 w 6400800"/>
                <a:gd name="connsiteY4417" fmla="*/ 395764 h 514350"/>
                <a:gd name="connsiteX4418" fmla="*/ 4095274 w 6400800"/>
                <a:gd name="connsiteY4418" fmla="*/ 395764 h 514350"/>
                <a:gd name="connsiteX4419" fmla="*/ 4095274 w 6400800"/>
                <a:gd name="connsiteY4419" fmla="*/ 394811 h 514350"/>
                <a:gd name="connsiteX4420" fmla="*/ 4095274 w 6400800"/>
                <a:gd name="connsiteY4420" fmla="*/ 395764 h 514350"/>
                <a:gd name="connsiteX4421" fmla="*/ 4093369 w 6400800"/>
                <a:gd name="connsiteY4421" fmla="*/ 386239 h 514350"/>
                <a:gd name="connsiteX4422" fmla="*/ 4093369 w 6400800"/>
                <a:gd name="connsiteY4422" fmla="*/ 376714 h 514350"/>
                <a:gd name="connsiteX4423" fmla="*/ 4096226 w 6400800"/>
                <a:gd name="connsiteY4423" fmla="*/ 382429 h 514350"/>
                <a:gd name="connsiteX4424" fmla="*/ 4093369 w 6400800"/>
                <a:gd name="connsiteY4424" fmla="*/ 386239 h 514350"/>
                <a:gd name="connsiteX4425" fmla="*/ 4097179 w 6400800"/>
                <a:gd name="connsiteY4425" fmla="*/ 342424 h 514350"/>
                <a:gd name="connsiteX4426" fmla="*/ 4099084 w 6400800"/>
                <a:gd name="connsiteY4426" fmla="*/ 334804 h 514350"/>
                <a:gd name="connsiteX4427" fmla="*/ 4099084 w 6400800"/>
                <a:gd name="connsiteY4427" fmla="*/ 337661 h 514350"/>
                <a:gd name="connsiteX4428" fmla="*/ 4097179 w 6400800"/>
                <a:gd name="connsiteY4428" fmla="*/ 342424 h 514350"/>
                <a:gd name="connsiteX4429" fmla="*/ 4100989 w 6400800"/>
                <a:gd name="connsiteY4429" fmla="*/ 353854 h 514350"/>
                <a:gd name="connsiteX4430" fmla="*/ 4100989 w 6400800"/>
                <a:gd name="connsiteY4430" fmla="*/ 351949 h 514350"/>
                <a:gd name="connsiteX4431" fmla="*/ 4100989 w 6400800"/>
                <a:gd name="connsiteY4431" fmla="*/ 351949 h 514350"/>
                <a:gd name="connsiteX4432" fmla="*/ 4100989 w 6400800"/>
                <a:gd name="connsiteY4432" fmla="*/ 353854 h 514350"/>
                <a:gd name="connsiteX4433" fmla="*/ 4100989 w 6400800"/>
                <a:gd name="connsiteY4433" fmla="*/ 353854 h 514350"/>
                <a:gd name="connsiteX4434" fmla="*/ 4115276 w 6400800"/>
                <a:gd name="connsiteY4434" fmla="*/ 322421 h 514350"/>
                <a:gd name="connsiteX4435" fmla="*/ 4114324 w 6400800"/>
                <a:gd name="connsiteY4435" fmla="*/ 350996 h 514350"/>
                <a:gd name="connsiteX4436" fmla="*/ 4111466 w 6400800"/>
                <a:gd name="connsiteY4436" fmla="*/ 327184 h 514350"/>
                <a:gd name="connsiteX4437" fmla="*/ 4108609 w 6400800"/>
                <a:gd name="connsiteY4437" fmla="*/ 342424 h 514350"/>
                <a:gd name="connsiteX4438" fmla="*/ 4107656 w 6400800"/>
                <a:gd name="connsiteY4438" fmla="*/ 341471 h 514350"/>
                <a:gd name="connsiteX4439" fmla="*/ 4106704 w 6400800"/>
                <a:gd name="connsiteY4439" fmla="*/ 336709 h 514350"/>
                <a:gd name="connsiteX4440" fmla="*/ 4113371 w 6400800"/>
                <a:gd name="connsiteY4440" fmla="*/ 322421 h 514350"/>
                <a:gd name="connsiteX4441" fmla="*/ 4115276 w 6400800"/>
                <a:gd name="connsiteY4441" fmla="*/ 318611 h 514350"/>
                <a:gd name="connsiteX4442" fmla="*/ 4115276 w 6400800"/>
                <a:gd name="connsiteY4442" fmla="*/ 322421 h 514350"/>
                <a:gd name="connsiteX4443" fmla="*/ 4109561 w 6400800"/>
                <a:gd name="connsiteY4443" fmla="*/ 295751 h 514350"/>
                <a:gd name="connsiteX4444" fmla="*/ 4116229 w 6400800"/>
                <a:gd name="connsiteY4444" fmla="*/ 308134 h 514350"/>
                <a:gd name="connsiteX4445" fmla="*/ 4116229 w 6400800"/>
                <a:gd name="connsiteY4445" fmla="*/ 311944 h 514350"/>
                <a:gd name="connsiteX4446" fmla="*/ 4110514 w 6400800"/>
                <a:gd name="connsiteY4446" fmla="*/ 320516 h 514350"/>
                <a:gd name="connsiteX4447" fmla="*/ 4104799 w 6400800"/>
                <a:gd name="connsiteY4447" fmla="*/ 329089 h 514350"/>
                <a:gd name="connsiteX4448" fmla="*/ 4102894 w 6400800"/>
                <a:gd name="connsiteY4448" fmla="*/ 322421 h 514350"/>
                <a:gd name="connsiteX4449" fmla="*/ 4109561 w 6400800"/>
                <a:gd name="connsiteY4449" fmla="*/ 295751 h 514350"/>
                <a:gd name="connsiteX4450" fmla="*/ 4092416 w 6400800"/>
                <a:gd name="connsiteY4450" fmla="*/ 294799 h 514350"/>
                <a:gd name="connsiteX4451" fmla="*/ 4094321 w 6400800"/>
                <a:gd name="connsiteY4451" fmla="*/ 265271 h 514350"/>
                <a:gd name="connsiteX4452" fmla="*/ 4098131 w 6400800"/>
                <a:gd name="connsiteY4452" fmla="*/ 272891 h 514350"/>
                <a:gd name="connsiteX4453" fmla="*/ 4106704 w 6400800"/>
                <a:gd name="connsiteY4453" fmla="*/ 290989 h 514350"/>
                <a:gd name="connsiteX4454" fmla="*/ 4098131 w 6400800"/>
                <a:gd name="connsiteY4454" fmla="*/ 311944 h 514350"/>
                <a:gd name="connsiteX4455" fmla="*/ 4096226 w 6400800"/>
                <a:gd name="connsiteY4455" fmla="*/ 306229 h 514350"/>
                <a:gd name="connsiteX4456" fmla="*/ 4097179 w 6400800"/>
                <a:gd name="connsiteY4456" fmla="*/ 315754 h 514350"/>
                <a:gd name="connsiteX4457" fmla="*/ 4092416 w 6400800"/>
                <a:gd name="connsiteY4457" fmla="*/ 329089 h 514350"/>
                <a:gd name="connsiteX4458" fmla="*/ 4091464 w 6400800"/>
                <a:gd name="connsiteY4458" fmla="*/ 325279 h 514350"/>
                <a:gd name="connsiteX4459" fmla="*/ 4090511 w 6400800"/>
                <a:gd name="connsiteY4459" fmla="*/ 321469 h 514350"/>
                <a:gd name="connsiteX4460" fmla="*/ 4092416 w 6400800"/>
                <a:gd name="connsiteY4460" fmla="*/ 294799 h 514350"/>
                <a:gd name="connsiteX4461" fmla="*/ 4085749 w 6400800"/>
                <a:gd name="connsiteY4461" fmla="*/ 244316 h 514350"/>
                <a:gd name="connsiteX4462" fmla="*/ 4085749 w 6400800"/>
                <a:gd name="connsiteY4462" fmla="*/ 244316 h 514350"/>
                <a:gd name="connsiteX4463" fmla="*/ 4084796 w 6400800"/>
                <a:gd name="connsiteY4463" fmla="*/ 250031 h 514350"/>
                <a:gd name="connsiteX4464" fmla="*/ 4085749 w 6400800"/>
                <a:gd name="connsiteY4464" fmla="*/ 244316 h 514350"/>
                <a:gd name="connsiteX4465" fmla="*/ 4043839 w 6400800"/>
                <a:gd name="connsiteY4465" fmla="*/ 279559 h 514350"/>
                <a:gd name="connsiteX4466" fmla="*/ 4043839 w 6400800"/>
                <a:gd name="connsiteY4466" fmla="*/ 279559 h 514350"/>
                <a:gd name="connsiteX4467" fmla="*/ 4044791 w 6400800"/>
                <a:gd name="connsiteY4467" fmla="*/ 283369 h 514350"/>
                <a:gd name="connsiteX4468" fmla="*/ 4043839 w 6400800"/>
                <a:gd name="connsiteY4468" fmla="*/ 281464 h 514350"/>
                <a:gd name="connsiteX4469" fmla="*/ 4044791 w 6400800"/>
                <a:gd name="connsiteY4469" fmla="*/ 286226 h 514350"/>
                <a:gd name="connsiteX4470" fmla="*/ 4044791 w 6400800"/>
                <a:gd name="connsiteY4470" fmla="*/ 290036 h 514350"/>
                <a:gd name="connsiteX4471" fmla="*/ 4042886 w 6400800"/>
                <a:gd name="connsiteY4471" fmla="*/ 284321 h 514350"/>
                <a:gd name="connsiteX4472" fmla="*/ 4043839 w 6400800"/>
                <a:gd name="connsiteY4472" fmla="*/ 279559 h 514350"/>
                <a:gd name="connsiteX4473" fmla="*/ 4044791 w 6400800"/>
                <a:gd name="connsiteY4473" fmla="*/ 333851 h 514350"/>
                <a:gd name="connsiteX4474" fmla="*/ 4044791 w 6400800"/>
                <a:gd name="connsiteY4474" fmla="*/ 333851 h 514350"/>
                <a:gd name="connsiteX4475" fmla="*/ 4044791 w 6400800"/>
                <a:gd name="connsiteY4475" fmla="*/ 339566 h 514350"/>
                <a:gd name="connsiteX4476" fmla="*/ 4042886 w 6400800"/>
                <a:gd name="connsiteY4476" fmla="*/ 337661 h 514350"/>
                <a:gd name="connsiteX4477" fmla="*/ 4044791 w 6400800"/>
                <a:gd name="connsiteY4477" fmla="*/ 333851 h 514350"/>
                <a:gd name="connsiteX4478" fmla="*/ 4039076 w 6400800"/>
                <a:gd name="connsiteY4478" fmla="*/ 271939 h 514350"/>
                <a:gd name="connsiteX4479" fmla="*/ 4039076 w 6400800"/>
                <a:gd name="connsiteY4479" fmla="*/ 273844 h 514350"/>
                <a:gd name="connsiteX4480" fmla="*/ 4038124 w 6400800"/>
                <a:gd name="connsiteY4480" fmla="*/ 270034 h 514350"/>
                <a:gd name="connsiteX4481" fmla="*/ 4036219 w 6400800"/>
                <a:gd name="connsiteY4481" fmla="*/ 265271 h 514350"/>
                <a:gd name="connsiteX4482" fmla="*/ 4039076 w 6400800"/>
                <a:gd name="connsiteY4482" fmla="*/ 271939 h 514350"/>
                <a:gd name="connsiteX4483" fmla="*/ 4033361 w 6400800"/>
                <a:gd name="connsiteY4483" fmla="*/ 358616 h 514350"/>
                <a:gd name="connsiteX4484" fmla="*/ 4034314 w 6400800"/>
                <a:gd name="connsiteY4484" fmla="*/ 351949 h 514350"/>
                <a:gd name="connsiteX4485" fmla="*/ 4038124 w 6400800"/>
                <a:gd name="connsiteY4485" fmla="*/ 345281 h 514350"/>
                <a:gd name="connsiteX4486" fmla="*/ 4043839 w 6400800"/>
                <a:gd name="connsiteY4486" fmla="*/ 351949 h 514350"/>
                <a:gd name="connsiteX4487" fmla="*/ 4040981 w 6400800"/>
                <a:gd name="connsiteY4487" fmla="*/ 391954 h 514350"/>
                <a:gd name="connsiteX4488" fmla="*/ 4035266 w 6400800"/>
                <a:gd name="connsiteY4488" fmla="*/ 413861 h 514350"/>
                <a:gd name="connsiteX4489" fmla="*/ 4029551 w 6400800"/>
                <a:gd name="connsiteY4489" fmla="*/ 395764 h 514350"/>
                <a:gd name="connsiteX4490" fmla="*/ 4027646 w 6400800"/>
                <a:gd name="connsiteY4490" fmla="*/ 388144 h 514350"/>
                <a:gd name="connsiteX4491" fmla="*/ 4033361 w 6400800"/>
                <a:gd name="connsiteY4491" fmla="*/ 358616 h 514350"/>
                <a:gd name="connsiteX4492" fmla="*/ 4020026 w 6400800"/>
                <a:gd name="connsiteY4492" fmla="*/ 324326 h 514350"/>
                <a:gd name="connsiteX4493" fmla="*/ 4021931 w 6400800"/>
                <a:gd name="connsiteY4493" fmla="*/ 326231 h 514350"/>
                <a:gd name="connsiteX4494" fmla="*/ 4019074 w 6400800"/>
                <a:gd name="connsiteY4494" fmla="*/ 334804 h 514350"/>
                <a:gd name="connsiteX4495" fmla="*/ 4017169 w 6400800"/>
                <a:gd name="connsiteY4495" fmla="*/ 341471 h 514350"/>
                <a:gd name="connsiteX4496" fmla="*/ 4016216 w 6400800"/>
                <a:gd name="connsiteY4496" fmla="*/ 342424 h 514350"/>
                <a:gd name="connsiteX4497" fmla="*/ 4015264 w 6400800"/>
                <a:gd name="connsiteY4497" fmla="*/ 344329 h 514350"/>
                <a:gd name="connsiteX4498" fmla="*/ 4011454 w 6400800"/>
                <a:gd name="connsiteY4498" fmla="*/ 315754 h 514350"/>
                <a:gd name="connsiteX4499" fmla="*/ 4020026 w 6400800"/>
                <a:gd name="connsiteY4499" fmla="*/ 324326 h 514350"/>
                <a:gd name="connsiteX4500" fmla="*/ 3999071 w 6400800"/>
                <a:gd name="connsiteY4500" fmla="*/ 282416 h 514350"/>
                <a:gd name="connsiteX4501" fmla="*/ 3999071 w 6400800"/>
                <a:gd name="connsiteY4501" fmla="*/ 282416 h 514350"/>
                <a:gd name="connsiteX4502" fmla="*/ 4000024 w 6400800"/>
                <a:gd name="connsiteY4502" fmla="*/ 310991 h 514350"/>
                <a:gd name="connsiteX4503" fmla="*/ 4000024 w 6400800"/>
                <a:gd name="connsiteY4503" fmla="*/ 316706 h 514350"/>
                <a:gd name="connsiteX4504" fmla="*/ 3999071 w 6400800"/>
                <a:gd name="connsiteY4504" fmla="*/ 325279 h 514350"/>
                <a:gd name="connsiteX4505" fmla="*/ 3999071 w 6400800"/>
                <a:gd name="connsiteY4505" fmla="*/ 327184 h 514350"/>
                <a:gd name="connsiteX4506" fmla="*/ 3998119 w 6400800"/>
                <a:gd name="connsiteY4506" fmla="*/ 324326 h 514350"/>
                <a:gd name="connsiteX4507" fmla="*/ 3997166 w 6400800"/>
                <a:gd name="connsiteY4507" fmla="*/ 314801 h 514350"/>
                <a:gd name="connsiteX4508" fmla="*/ 3996214 w 6400800"/>
                <a:gd name="connsiteY4508" fmla="*/ 286226 h 514350"/>
                <a:gd name="connsiteX4509" fmla="*/ 3999071 w 6400800"/>
                <a:gd name="connsiteY4509" fmla="*/ 282416 h 514350"/>
                <a:gd name="connsiteX4510" fmla="*/ 3983831 w 6400800"/>
                <a:gd name="connsiteY4510" fmla="*/ 405289 h 514350"/>
                <a:gd name="connsiteX4511" fmla="*/ 3980021 w 6400800"/>
                <a:gd name="connsiteY4511" fmla="*/ 412909 h 514350"/>
                <a:gd name="connsiteX4512" fmla="*/ 3980021 w 6400800"/>
                <a:gd name="connsiteY4512" fmla="*/ 412909 h 514350"/>
                <a:gd name="connsiteX4513" fmla="*/ 3982879 w 6400800"/>
                <a:gd name="connsiteY4513" fmla="*/ 402431 h 514350"/>
                <a:gd name="connsiteX4514" fmla="*/ 3983831 w 6400800"/>
                <a:gd name="connsiteY4514" fmla="*/ 405289 h 514350"/>
                <a:gd name="connsiteX4515" fmla="*/ 3980974 w 6400800"/>
                <a:gd name="connsiteY4515" fmla="*/ 395764 h 514350"/>
                <a:gd name="connsiteX4516" fmla="*/ 3982879 w 6400800"/>
                <a:gd name="connsiteY4516" fmla="*/ 401479 h 514350"/>
                <a:gd name="connsiteX4517" fmla="*/ 3979069 w 6400800"/>
                <a:gd name="connsiteY4517" fmla="*/ 407194 h 514350"/>
                <a:gd name="connsiteX4518" fmla="*/ 3979069 w 6400800"/>
                <a:gd name="connsiteY4518" fmla="*/ 406241 h 514350"/>
                <a:gd name="connsiteX4519" fmla="*/ 3980974 w 6400800"/>
                <a:gd name="connsiteY4519" fmla="*/ 395764 h 514350"/>
                <a:gd name="connsiteX4520" fmla="*/ 3976211 w 6400800"/>
                <a:gd name="connsiteY4520" fmla="*/ 378619 h 514350"/>
                <a:gd name="connsiteX4521" fmla="*/ 3976211 w 6400800"/>
                <a:gd name="connsiteY4521" fmla="*/ 378619 h 514350"/>
                <a:gd name="connsiteX4522" fmla="*/ 3976211 w 6400800"/>
                <a:gd name="connsiteY4522" fmla="*/ 380524 h 514350"/>
                <a:gd name="connsiteX4523" fmla="*/ 3976211 w 6400800"/>
                <a:gd name="connsiteY4523" fmla="*/ 378619 h 514350"/>
                <a:gd name="connsiteX4524" fmla="*/ 3948589 w 6400800"/>
                <a:gd name="connsiteY4524" fmla="*/ 255746 h 514350"/>
                <a:gd name="connsiteX4525" fmla="*/ 3946684 w 6400800"/>
                <a:gd name="connsiteY4525" fmla="*/ 277654 h 514350"/>
                <a:gd name="connsiteX4526" fmla="*/ 3945731 w 6400800"/>
                <a:gd name="connsiteY4526" fmla="*/ 285274 h 514350"/>
                <a:gd name="connsiteX4527" fmla="*/ 3943826 w 6400800"/>
                <a:gd name="connsiteY4527" fmla="*/ 266224 h 514350"/>
                <a:gd name="connsiteX4528" fmla="*/ 3940016 w 6400800"/>
                <a:gd name="connsiteY4528" fmla="*/ 240506 h 514350"/>
                <a:gd name="connsiteX4529" fmla="*/ 3940016 w 6400800"/>
                <a:gd name="connsiteY4529" fmla="*/ 239554 h 514350"/>
                <a:gd name="connsiteX4530" fmla="*/ 3940016 w 6400800"/>
                <a:gd name="connsiteY4530" fmla="*/ 236696 h 514350"/>
                <a:gd name="connsiteX4531" fmla="*/ 3942874 w 6400800"/>
                <a:gd name="connsiteY4531" fmla="*/ 240506 h 514350"/>
                <a:gd name="connsiteX4532" fmla="*/ 3947636 w 6400800"/>
                <a:gd name="connsiteY4532" fmla="*/ 248126 h 514350"/>
                <a:gd name="connsiteX4533" fmla="*/ 3948589 w 6400800"/>
                <a:gd name="connsiteY4533" fmla="*/ 255746 h 514350"/>
                <a:gd name="connsiteX4534" fmla="*/ 3943826 w 6400800"/>
                <a:gd name="connsiteY4534" fmla="*/ 205264 h 514350"/>
                <a:gd name="connsiteX4535" fmla="*/ 3943826 w 6400800"/>
                <a:gd name="connsiteY4535" fmla="*/ 210979 h 514350"/>
                <a:gd name="connsiteX4536" fmla="*/ 3945731 w 6400800"/>
                <a:gd name="connsiteY4536" fmla="*/ 230981 h 514350"/>
                <a:gd name="connsiteX4537" fmla="*/ 3946684 w 6400800"/>
                <a:gd name="connsiteY4537" fmla="*/ 236696 h 514350"/>
                <a:gd name="connsiteX4538" fmla="*/ 3939064 w 6400800"/>
                <a:gd name="connsiteY4538" fmla="*/ 228124 h 514350"/>
                <a:gd name="connsiteX4539" fmla="*/ 3937159 w 6400800"/>
                <a:gd name="connsiteY4539" fmla="*/ 215741 h 514350"/>
                <a:gd name="connsiteX4540" fmla="*/ 3943826 w 6400800"/>
                <a:gd name="connsiteY4540" fmla="*/ 205264 h 514350"/>
                <a:gd name="connsiteX4541" fmla="*/ 3866674 w 6400800"/>
                <a:gd name="connsiteY4541" fmla="*/ 369094 h 514350"/>
                <a:gd name="connsiteX4542" fmla="*/ 3867626 w 6400800"/>
                <a:gd name="connsiteY4542" fmla="*/ 368141 h 514350"/>
                <a:gd name="connsiteX4543" fmla="*/ 3867626 w 6400800"/>
                <a:gd name="connsiteY4543" fmla="*/ 370999 h 514350"/>
                <a:gd name="connsiteX4544" fmla="*/ 3866674 w 6400800"/>
                <a:gd name="connsiteY4544" fmla="*/ 369094 h 514350"/>
                <a:gd name="connsiteX4545" fmla="*/ 3886676 w 6400800"/>
                <a:gd name="connsiteY4545" fmla="*/ 354806 h 514350"/>
                <a:gd name="connsiteX4546" fmla="*/ 3882866 w 6400800"/>
                <a:gd name="connsiteY4546" fmla="*/ 348139 h 514350"/>
                <a:gd name="connsiteX4547" fmla="*/ 3881914 w 6400800"/>
                <a:gd name="connsiteY4547" fmla="*/ 338614 h 514350"/>
                <a:gd name="connsiteX4548" fmla="*/ 3886676 w 6400800"/>
                <a:gd name="connsiteY4548" fmla="*/ 354806 h 514350"/>
                <a:gd name="connsiteX4549" fmla="*/ 3887629 w 6400800"/>
                <a:gd name="connsiteY4549" fmla="*/ 356711 h 514350"/>
                <a:gd name="connsiteX4550" fmla="*/ 3886676 w 6400800"/>
                <a:gd name="connsiteY4550" fmla="*/ 354806 h 514350"/>
                <a:gd name="connsiteX4551" fmla="*/ 3897154 w 6400800"/>
                <a:gd name="connsiteY4551" fmla="*/ 278606 h 514350"/>
                <a:gd name="connsiteX4552" fmla="*/ 3901916 w 6400800"/>
                <a:gd name="connsiteY4552" fmla="*/ 270986 h 514350"/>
                <a:gd name="connsiteX4553" fmla="*/ 3901916 w 6400800"/>
                <a:gd name="connsiteY4553" fmla="*/ 270986 h 514350"/>
                <a:gd name="connsiteX4554" fmla="*/ 3897154 w 6400800"/>
                <a:gd name="connsiteY4554" fmla="*/ 278606 h 514350"/>
                <a:gd name="connsiteX4555" fmla="*/ 3897154 w 6400800"/>
                <a:gd name="connsiteY4555" fmla="*/ 278606 h 514350"/>
                <a:gd name="connsiteX4556" fmla="*/ 3900011 w 6400800"/>
                <a:gd name="connsiteY4556" fmla="*/ 291941 h 514350"/>
                <a:gd name="connsiteX4557" fmla="*/ 3901916 w 6400800"/>
                <a:gd name="connsiteY4557" fmla="*/ 288131 h 514350"/>
                <a:gd name="connsiteX4558" fmla="*/ 3902869 w 6400800"/>
                <a:gd name="connsiteY4558" fmla="*/ 286226 h 514350"/>
                <a:gd name="connsiteX4559" fmla="*/ 3903821 w 6400800"/>
                <a:gd name="connsiteY4559" fmla="*/ 297656 h 514350"/>
                <a:gd name="connsiteX4560" fmla="*/ 3902869 w 6400800"/>
                <a:gd name="connsiteY4560" fmla="*/ 301466 h 514350"/>
                <a:gd name="connsiteX4561" fmla="*/ 3901916 w 6400800"/>
                <a:gd name="connsiteY4561" fmla="*/ 298609 h 514350"/>
                <a:gd name="connsiteX4562" fmla="*/ 3900011 w 6400800"/>
                <a:gd name="connsiteY4562" fmla="*/ 291941 h 514350"/>
                <a:gd name="connsiteX4563" fmla="*/ 3903821 w 6400800"/>
                <a:gd name="connsiteY4563" fmla="*/ 431006 h 514350"/>
                <a:gd name="connsiteX4564" fmla="*/ 3902869 w 6400800"/>
                <a:gd name="connsiteY4564" fmla="*/ 431959 h 514350"/>
                <a:gd name="connsiteX4565" fmla="*/ 3901916 w 6400800"/>
                <a:gd name="connsiteY4565" fmla="*/ 431959 h 514350"/>
                <a:gd name="connsiteX4566" fmla="*/ 3903821 w 6400800"/>
                <a:gd name="connsiteY4566" fmla="*/ 426244 h 514350"/>
                <a:gd name="connsiteX4567" fmla="*/ 3904774 w 6400800"/>
                <a:gd name="connsiteY4567" fmla="*/ 428149 h 514350"/>
                <a:gd name="connsiteX4568" fmla="*/ 3903821 w 6400800"/>
                <a:gd name="connsiteY4568" fmla="*/ 431006 h 514350"/>
                <a:gd name="connsiteX4569" fmla="*/ 3925729 w 6400800"/>
                <a:gd name="connsiteY4569" fmla="*/ 309086 h 514350"/>
                <a:gd name="connsiteX4570" fmla="*/ 3922871 w 6400800"/>
                <a:gd name="connsiteY4570" fmla="*/ 297656 h 514350"/>
                <a:gd name="connsiteX4571" fmla="*/ 3923824 w 6400800"/>
                <a:gd name="connsiteY4571" fmla="*/ 308134 h 514350"/>
                <a:gd name="connsiteX4572" fmla="*/ 3919061 w 6400800"/>
                <a:gd name="connsiteY4572" fmla="*/ 291941 h 514350"/>
                <a:gd name="connsiteX4573" fmla="*/ 3922871 w 6400800"/>
                <a:gd name="connsiteY4573" fmla="*/ 317659 h 514350"/>
                <a:gd name="connsiteX4574" fmla="*/ 3923824 w 6400800"/>
                <a:gd name="connsiteY4574" fmla="*/ 325279 h 514350"/>
                <a:gd name="connsiteX4575" fmla="*/ 3921919 w 6400800"/>
                <a:gd name="connsiteY4575" fmla="*/ 334804 h 514350"/>
                <a:gd name="connsiteX4576" fmla="*/ 3921919 w 6400800"/>
                <a:gd name="connsiteY4576" fmla="*/ 335756 h 514350"/>
                <a:gd name="connsiteX4577" fmla="*/ 3920966 w 6400800"/>
                <a:gd name="connsiteY4577" fmla="*/ 330041 h 514350"/>
                <a:gd name="connsiteX4578" fmla="*/ 3915251 w 6400800"/>
                <a:gd name="connsiteY4578" fmla="*/ 301466 h 514350"/>
                <a:gd name="connsiteX4579" fmla="*/ 3911441 w 6400800"/>
                <a:gd name="connsiteY4579" fmla="*/ 281464 h 514350"/>
                <a:gd name="connsiteX4580" fmla="*/ 3912394 w 6400800"/>
                <a:gd name="connsiteY4580" fmla="*/ 264319 h 514350"/>
                <a:gd name="connsiteX4581" fmla="*/ 3912394 w 6400800"/>
                <a:gd name="connsiteY4581" fmla="*/ 263366 h 514350"/>
                <a:gd name="connsiteX4582" fmla="*/ 3919061 w 6400800"/>
                <a:gd name="connsiteY4582" fmla="*/ 270986 h 514350"/>
                <a:gd name="connsiteX4583" fmla="*/ 3923824 w 6400800"/>
                <a:gd name="connsiteY4583" fmla="*/ 277654 h 514350"/>
                <a:gd name="connsiteX4584" fmla="*/ 3924776 w 6400800"/>
                <a:gd name="connsiteY4584" fmla="*/ 284321 h 514350"/>
                <a:gd name="connsiteX4585" fmla="*/ 3921919 w 6400800"/>
                <a:gd name="connsiteY4585" fmla="*/ 277654 h 514350"/>
                <a:gd name="connsiteX4586" fmla="*/ 3926681 w 6400800"/>
                <a:gd name="connsiteY4586" fmla="*/ 296704 h 514350"/>
                <a:gd name="connsiteX4587" fmla="*/ 3927634 w 6400800"/>
                <a:gd name="connsiteY4587" fmla="*/ 304324 h 514350"/>
                <a:gd name="connsiteX4588" fmla="*/ 3927634 w 6400800"/>
                <a:gd name="connsiteY4588" fmla="*/ 305276 h 514350"/>
                <a:gd name="connsiteX4589" fmla="*/ 3925729 w 6400800"/>
                <a:gd name="connsiteY4589" fmla="*/ 309086 h 514350"/>
                <a:gd name="connsiteX4590" fmla="*/ 3929539 w 6400800"/>
                <a:gd name="connsiteY4590" fmla="*/ 287179 h 514350"/>
                <a:gd name="connsiteX4591" fmla="*/ 3928586 w 6400800"/>
                <a:gd name="connsiteY4591" fmla="*/ 292894 h 514350"/>
                <a:gd name="connsiteX4592" fmla="*/ 3927634 w 6400800"/>
                <a:gd name="connsiteY4592" fmla="*/ 290036 h 514350"/>
                <a:gd name="connsiteX4593" fmla="*/ 3923824 w 6400800"/>
                <a:gd name="connsiteY4593" fmla="*/ 275749 h 514350"/>
                <a:gd name="connsiteX4594" fmla="*/ 3927634 w 6400800"/>
                <a:gd name="connsiteY4594" fmla="*/ 281464 h 514350"/>
                <a:gd name="connsiteX4595" fmla="*/ 3929539 w 6400800"/>
                <a:gd name="connsiteY4595" fmla="*/ 284321 h 514350"/>
                <a:gd name="connsiteX4596" fmla="*/ 3929539 w 6400800"/>
                <a:gd name="connsiteY4596" fmla="*/ 287179 h 514350"/>
                <a:gd name="connsiteX4597" fmla="*/ 3926681 w 6400800"/>
                <a:gd name="connsiteY4597" fmla="*/ 242411 h 514350"/>
                <a:gd name="connsiteX4598" fmla="*/ 3928586 w 6400800"/>
                <a:gd name="connsiteY4598" fmla="*/ 270986 h 514350"/>
                <a:gd name="connsiteX4599" fmla="*/ 3921919 w 6400800"/>
                <a:gd name="connsiteY4599" fmla="*/ 265271 h 514350"/>
                <a:gd name="connsiteX4600" fmla="*/ 3913346 w 6400800"/>
                <a:gd name="connsiteY4600" fmla="*/ 257651 h 514350"/>
                <a:gd name="connsiteX4601" fmla="*/ 3917156 w 6400800"/>
                <a:gd name="connsiteY4601" fmla="*/ 246221 h 514350"/>
                <a:gd name="connsiteX4602" fmla="*/ 3925729 w 6400800"/>
                <a:gd name="connsiteY4602" fmla="*/ 232886 h 514350"/>
                <a:gd name="connsiteX4603" fmla="*/ 3926681 w 6400800"/>
                <a:gd name="connsiteY4603" fmla="*/ 242411 h 514350"/>
                <a:gd name="connsiteX4604" fmla="*/ 3900964 w 6400800"/>
                <a:gd name="connsiteY4604" fmla="*/ 168116 h 514350"/>
                <a:gd name="connsiteX4605" fmla="*/ 3914299 w 6400800"/>
                <a:gd name="connsiteY4605" fmla="*/ 147161 h 514350"/>
                <a:gd name="connsiteX4606" fmla="*/ 3915251 w 6400800"/>
                <a:gd name="connsiteY4606" fmla="*/ 156686 h 514350"/>
                <a:gd name="connsiteX4607" fmla="*/ 3920966 w 6400800"/>
                <a:gd name="connsiteY4607" fmla="*/ 196691 h 514350"/>
                <a:gd name="connsiteX4608" fmla="*/ 3922871 w 6400800"/>
                <a:gd name="connsiteY4608" fmla="*/ 213836 h 514350"/>
                <a:gd name="connsiteX4609" fmla="*/ 3920014 w 6400800"/>
                <a:gd name="connsiteY4609" fmla="*/ 210979 h 514350"/>
                <a:gd name="connsiteX4610" fmla="*/ 3923824 w 6400800"/>
                <a:gd name="connsiteY4610" fmla="*/ 214789 h 514350"/>
                <a:gd name="connsiteX4611" fmla="*/ 3924776 w 6400800"/>
                <a:gd name="connsiteY4611" fmla="*/ 226219 h 514350"/>
                <a:gd name="connsiteX4612" fmla="*/ 3906679 w 6400800"/>
                <a:gd name="connsiteY4612" fmla="*/ 249079 h 514350"/>
                <a:gd name="connsiteX4613" fmla="*/ 3904774 w 6400800"/>
                <a:gd name="connsiteY4613" fmla="*/ 251936 h 514350"/>
                <a:gd name="connsiteX4614" fmla="*/ 3902869 w 6400800"/>
                <a:gd name="connsiteY4614" fmla="*/ 250984 h 514350"/>
                <a:gd name="connsiteX4615" fmla="*/ 3900964 w 6400800"/>
                <a:gd name="connsiteY4615" fmla="*/ 242411 h 514350"/>
                <a:gd name="connsiteX4616" fmla="*/ 3900964 w 6400800"/>
                <a:gd name="connsiteY4616" fmla="*/ 249079 h 514350"/>
                <a:gd name="connsiteX4617" fmla="*/ 3897154 w 6400800"/>
                <a:gd name="connsiteY4617" fmla="*/ 247174 h 514350"/>
                <a:gd name="connsiteX4618" fmla="*/ 3891439 w 6400800"/>
                <a:gd name="connsiteY4618" fmla="*/ 243364 h 514350"/>
                <a:gd name="connsiteX4619" fmla="*/ 3896201 w 6400800"/>
                <a:gd name="connsiteY4619" fmla="*/ 248126 h 514350"/>
                <a:gd name="connsiteX4620" fmla="*/ 3900964 w 6400800"/>
                <a:gd name="connsiteY4620" fmla="*/ 251936 h 514350"/>
                <a:gd name="connsiteX4621" fmla="*/ 3900964 w 6400800"/>
                <a:gd name="connsiteY4621" fmla="*/ 256699 h 514350"/>
                <a:gd name="connsiteX4622" fmla="*/ 3894296 w 6400800"/>
                <a:gd name="connsiteY4622" fmla="*/ 266224 h 514350"/>
                <a:gd name="connsiteX4623" fmla="*/ 3890486 w 6400800"/>
                <a:gd name="connsiteY4623" fmla="*/ 250984 h 514350"/>
                <a:gd name="connsiteX4624" fmla="*/ 3880009 w 6400800"/>
                <a:gd name="connsiteY4624" fmla="*/ 210026 h 514350"/>
                <a:gd name="connsiteX4625" fmla="*/ 3879056 w 6400800"/>
                <a:gd name="connsiteY4625" fmla="*/ 206216 h 514350"/>
                <a:gd name="connsiteX4626" fmla="*/ 3900964 w 6400800"/>
                <a:gd name="connsiteY4626" fmla="*/ 168116 h 514350"/>
                <a:gd name="connsiteX4627" fmla="*/ 3873341 w 6400800"/>
                <a:gd name="connsiteY4627" fmla="*/ 214789 h 514350"/>
                <a:gd name="connsiteX4628" fmla="*/ 3879056 w 6400800"/>
                <a:gd name="connsiteY4628" fmla="*/ 251936 h 514350"/>
                <a:gd name="connsiteX4629" fmla="*/ 3883819 w 6400800"/>
                <a:gd name="connsiteY4629" fmla="*/ 280511 h 514350"/>
                <a:gd name="connsiteX4630" fmla="*/ 3882866 w 6400800"/>
                <a:gd name="connsiteY4630" fmla="*/ 282416 h 514350"/>
                <a:gd name="connsiteX4631" fmla="*/ 3875246 w 6400800"/>
                <a:gd name="connsiteY4631" fmla="*/ 259556 h 514350"/>
                <a:gd name="connsiteX4632" fmla="*/ 3865721 w 6400800"/>
                <a:gd name="connsiteY4632" fmla="*/ 234791 h 514350"/>
                <a:gd name="connsiteX4633" fmla="*/ 3864769 w 6400800"/>
                <a:gd name="connsiteY4633" fmla="*/ 231934 h 514350"/>
                <a:gd name="connsiteX4634" fmla="*/ 3873341 w 6400800"/>
                <a:gd name="connsiteY4634" fmla="*/ 214789 h 514350"/>
                <a:gd name="connsiteX4635" fmla="*/ 3864769 w 6400800"/>
                <a:gd name="connsiteY4635" fmla="*/ 341471 h 514350"/>
                <a:gd name="connsiteX4636" fmla="*/ 3862864 w 6400800"/>
                <a:gd name="connsiteY4636" fmla="*/ 345281 h 514350"/>
                <a:gd name="connsiteX4637" fmla="*/ 3864769 w 6400800"/>
                <a:gd name="connsiteY4637" fmla="*/ 341471 h 514350"/>
                <a:gd name="connsiteX4638" fmla="*/ 3864769 w 6400800"/>
                <a:gd name="connsiteY4638" fmla="*/ 341471 h 514350"/>
                <a:gd name="connsiteX4639" fmla="*/ 3854291 w 6400800"/>
                <a:gd name="connsiteY4639" fmla="*/ 211931 h 514350"/>
                <a:gd name="connsiteX4640" fmla="*/ 3856196 w 6400800"/>
                <a:gd name="connsiteY4640" fmla="*/ 201454 h 514350"/>
                <a:gd name="connsiteX4641" fmla="*/ 3857149 w 6400800"/>
                <a:gd name="connsiteY4641" fmla="*/ 220504 h 514350"/>
                <a:gd name="connsiteX4642" fmla="*/ 3854291 w 6400800"/>
                <a:gd name="connsiteY4642" fmla="*/ 226219 h 514350"/>
                <a:gd name="connsiteX4643" fmla="*/ 3854291 w 6400800"/>
                <a:gd name="connsiteY4643" fmla="*/ 211931 h 514350"/>
                <a:gd name="connsiteX4644" fmla="*/ 3849529 w 6400800"/>
                <a:gd name="connsiteY4644" fmla="*/ 262414 h 514350"/>
                <a:gd name="connsiteX4645" fmla="*/ 3849529 w 6400800"/>
                <a:gd name="connsiteY4645" fmla="*/ 257651 h 514350"/>
                <a:gd name="connsiteX4646" fmla="*/ 3850481 w 6400800"/>
                <a:gd name="connsiteY4646" fmla="*/ 256699 h 514350"/>
                <a:gd name="connsiteX4647" fmla="*/ 3859054 w 6400800"/>
                <a:gd name="connsiteY4647" fmla="*/ 278606 h 514350"/>
                <a:gd name="connsiteX4648" fmla="*/ 3860006 w 6400800"/>
                <a:gd name="connsiteY4648" fmla="*/ 280511 h 514350"/>
                <a:gd name="connsiteX4649" fmla="*/ 3862864 w 6400800"/>
                <a:gd name="connsiteY4649" fmla="*/ 313849 h 514350"/>
                <a:gd name="connsiteX4650" fmla="*/ 3862864 w 6400800"/>
                <a:gd name="connsiteY4650" fmla="*/ 313849 h 514350"/>
                <a:gd name="connsiteX4651" fmla="*/ 3847624 w 6400800"/>
                <a:gd name="connsiteY4651" fmla="*/ 291941 h 514350"/>
                <a:gd name="connsiteX4652" fmla="*/ 3849529 w 6400800"/>
                <a:gd name="connsiteY4652" fmla="*/ 262414 h 514350"/>
                <a:gd name="connsiteX4653" fmla="*/ 3846671 w 6400800"/>
                <a:gd name="connsiteY4653" fmla="*/ 308134 h 514350"/>
                <a:gd name="connsiteX4654" fmla="*/ 3855244 w 6400800"/>
                <a:gd name="connsiteY4654" fmla="*/ 323374 h 514350"/>
                <a:gd name="connsiteX4655" fmla="*/ 3856196 w 6400800"/>
                <a:gd name="connsiteY4655" fmla="*/ 325279 h 514350"/>
                <a:gd name="connsiteX4656" fmla="*/ 3855244 w 6400800"/>
                <a:gd name="connsiteY4656" fmla="*/ 327184 h 514350"/>
                <a:gd name="connsiteX4657" fmla="*/ 3849529 w 6400800"/>
                <a:gd name="connsiteY4657" fmla="*/ 336709 h 514350"/>
                <a:gd name="connsiteX4658" fmla="*/ 3845719 w 6400800"/>
                <a:gd name="connsiteY4658" fmla="*/ 330041 h 514350"/>
                <a:gd name="connsiteX4659" fmla="*/ 3846671 w 6400800"/>
                <a:gd name="connsiteY4659" fmla="*/ 308134 h 514350"/>
                <a:gd name="connsiteX4660" fmla="*/ 3843814 w 6400800"/>
                <a:gd name="connsiteY4660" fmla="*/ 415766 h 514350"/>
                <a:gd name="connsiteX4661" fmla="*/ 3846671 w 6400800"/>
                <a:gd name="connsiteY4661" fmla="*/ 410051 h 514350"/>
                <a:gd name="connsiteX4662" fmla="*/ 3847624 w 6400800"/>
                <a:gd name="connsiteY4662" fmla="*/ 416719 h 514350"/>
                <a:gd name="connsiteX4663" fmla="*/ 3847624 w 6400800"/>
                <a:gd name="connsiteY4663" fmla="*/ 419576 h 514350"/>
                <a:gd name="connsiteX4664" fmla="*/ 3846671 w 6400800"/>
                <a:gd name="connsiteY4664" fmla="*/ 422434 h 514350"/>
                <a:gd name="connsiteX4665" fmla="*/ 3844766 w 6400800"/>
                <a:gd name="connsiteY4665" fmla="*/ 426244 h 514350"/>
                <a:gd name="connsiteX4666" fmla="*/ 3842861 w 6400800"/>
                <a:gd name="connsiteY4666" fmla="*/ 426244 h 514350"/>
                <a:gd name="connsiteX4667" fmla="*/ 3843814 w 6400800"/>
                <a:gd name="connsiteY4667" fmla="*/ 415766 h 514350"/>
                <a:gd name="connsiteX4668" fmla="*/ 3830479 w 6400800"/>
                <a:gd name="connsiteY4668" fmla="*/ 297656 h 514350"/>
                <a:gd name="connsiteX4669" fmla="*/ 3830479 w 6400800"/>
                <a:gd name="connsiteY4669" fmla="*/ 299561 h 514350"/>
                <a:gd name="connsiteX4670" fmla="*/ 3830479 w 6400800"/>
                <a:gd name="connsiteY4670" fmla="*/ 301466 h 514350"/>
                <a:gd name="connsiteX4671" fmla="*/ 3829526 w 6400800"/>
                <a:gd name="connsiteY4671" fmla="*/ 307181 h 514350"/>
                <a:gd name="connsiteX4672" fmla="*/ 3827621 w 6400800"/>
                <a:gd name="connsiteY4672" fmla="*/ 304324 h 514350"/>
                <a:gd name="connsiteX4673" fmla="*/ 3830479 w 6400800"/>
                <a:gd name="connsiteY4673" fmla="*/ 297656 h 514350"/>
                <a:gd name="connsiteX4674" fmla="*/ 3826669 w 6400800"/>
                <a:gd name="connsiteY4674" fmla="*/ 305276 h 514350"/>
                <a:gd name="connsiteX4675" fmla="*/ 3828574 w 6400800"/>
                <a:gd name="connsiteY4675" fmla="*/ 310039 h 514350"/>
                <a:gd name="connsiteX4676" fmla="*/ 3827621 w 6400800"/>
                <a:gd name="connsiteY4676" fmla="*/ 314801 h 514350"/>
                <a:gd name="connsiteX4677" fmla="*/ 3823811 w 6400800"/>
                <a:gd name="connsiteY4677" fmla="*/ 309086 h 514350"/>
                <a:gd name="connsiteX4678" fmla="*/ 3826669 w 6400800"/>
                <a:gd name="connsiteY4678" fmla="*/ 305276 h 514350"/>
                <a:gd name="connsiteX4679" fmla="*/ 3820001 w 6400800"/>
                <a:gd name="connsiteY4679" fmla="*/ 319564 h 514350"/>
                <a:gd name="connsiteX4680" fmla="*/ 3826669 w 6400800"/>
                <a:gd name="connsiteY4680" fmla="*/ 332899 h 514350"/>
                <a:gd name="connsiteX4681" fmla="*/ 3827621 w 6400800"/>
                <a:gd name="connsiteY4681" fmla="*/ 333851 h 514350"/>
                <a:gd name="connsiteX4682" fmla="*/ 3826669 w 6400800"/>
                <a:gd name="connsiteY4682" fmla="*/ 343376 h 514350"/>
                <a:gd name="connsiteX4683" fmla="*/ 3824764 w 6400800"/>
                <a:gd name="connsiteY4683" fmla="*/ 377666 h 514350"/>
                <a:gd name="connsiteX4684" fmla="*/ 3820954 w 6400800"/>
                <a:gd name="connsiteY4684" fmla="*/ 364331 h 514350"/>
                <a:gd name="connsiteX4685" fmla="*/ 3820001 w 6400800"/>
                <a:gd name="connsiteY4685" fmla="*/ 352901 h 514350"/>
                <a:gd name="connsiteX4686" fmla="*/ 3818096 w 6400800"/>
                <a:gd name="connsiteY4686" fmla="*/ 336709 h 514350"/>
                <a:gd name="connsiteX4687" fmla="*/ 3821906 w 6400800"/>
                <a:gd name="connsiteY4687" fmla="*/ 332899 h 514350"/>
                <a:gd name="connsiteX4688" fmla="*/ 3818096 w 6400800"/>
                <a:gd name="connsiteY4688" fmla="*/ 335756 h 514350"/>
                <a:gd name="connsiteX4689" fmla="*/ 3817144 w 6400800"/>
                <a:gd name="connsiteY4689" fmla="*/ 326231 h 514350"/>
                <a:gd name="connsiteX4690" fmla="*/ 3820001 w 6400800"/>
                <a:gd name="connsiteY4690" fmla="*/ 319564 h 514350"/>
                <a:gd name="connsiteX4691" fmla="*/ 3788569 w 6400800"/>
                <a:gd name="connsiteY4691" fmla="*/ 264319 h 514350"/>
                <a:gd name="connsiteX4692" fmla="*/ 3792379 w 6400800"/>
                <a:gd name="connsiteY4692" fmla="*/ 270986 h 514350"/>
                <a:gd name="connsiteX4693" fmla="*/ 3800951 w 6400800"/>
                <a:gd name="connsiteY4693" fmla="*/ 285274 h 514350"/>
                <a:gd name="connsiteX4694" fmla="*/ 3800951 w 6400800"/>
                <a:gd name="connsiteY4694" fmla="*/ 287179 h 514350"/>
                <a:gd name="connsiteX4695" fmla="*/ 3800951 w 6400800"/>
                <a:gd name="connsiteY4695" fmla="*/ 298609 h 514350"/>
                <a:gd name="connsiteX4696" fmla="*/ 3800951 w 6400800"/>
                <a:gd name="connsiteY4696" fmla="*/ 300514 h 514350"/>
                <a:gd name="connsiteX4697" fmla="*/ 3797141 w 6400800"/>
                <a:gd name="connsiteY4697" fmla="*/ 287179 h 514350"/>
                <a:gd name="connsiteX4698" fmla="*/ 3796189 w 6400800"/>
                <a:gd name="connsiteY4698" fmla="*/ 285274 h 514350"/>
                <a:gd name="connsiteX4699" fmla="*/ 3796189 w 6400800"/>
                <a:gd name="connsiteY4699" fmla="*/ 280511 h 514350"/>
                <a:gd name="connsiteX4700" fmla="*/ 3795236 w 6400800"/>
                <a:gd name="connsiteY4700" fmla="*/ 283369 h 514350"/>
                <a:gd name="connsiteX4701" fmla="*/ 3791426 w 6400800"/>
                <a:gd name="connsiteY4701" fmla="*/ 271939 h 514350"/>
                <a:gd name="connsiteX4702" fmla="*/ 3788569 w 6400800"/>
                <a:gd name="connsiteY4702" fmla="*/ 264319 h 514350"/>
                <a:gd name="connsiteX4703" fmla="*/ 3748564 w 6400800"/>
                <a:gd name="connsiteY4703" fmla="*/ 364331 h 514350"/>
                <a:gd name="connsiteX4704" fmla="*/ 3748564 w 6400800"/>
                <a:gd name="connsiteY4704" fmla="*/ 351949 h 514350"/>
                <a:gd name="connsiteX4705" fmla="*/ 3750469 w 6400800"/>
                <a:gd name="connsiteY4705" fmla="*/ 358616 h 514350"/>
                <a:gd name="connsiteX4706" fmla="*/ 3748564 w 6400800"/>
                <a:gd name="connsiteY4706" fmla="*/ 364331 h 514350"/>
                <a:gd name="connsiteX4707" fmla="*/ 3762851 w 6400800"/>
                <a:gd name="connsiteY4707" fmla="*/ 399574 h 514350"/>
                <a:gd name="connsiteX4708" fmla="*/ 3759994 w 6400800"/>
                <a:gd name="connsiteY4708" fmla="*/ 405289 h 514350"/>
                <a:gd name="connsiteX4709" fmla="*/ 3760946 w 6400800"/>
                <a:gd name="connsiteY4709" fmla="*/ 391954 h 514350"/>
                <a:gd name="connsiteX4710" fmla="*/ 3760946 w 6400800"/>
                <a:gd name="connsiteY4710" fmla="*/ 391001 h 514350"/>
                <a:gd name="connsiteX4711" fmla="*/ 3762851 w 6400800"/>
                <a:gd name="connsiteY4711" fmla="*/ 396716 h 514350"/>
                <a:gd name="connsiteX4712" fmla="*/ 3762851 w 6400800"/>
                <a:gd name="connsiteY4712" fmla="*/ 399574 h 514350"/>
                <a:gd name="connsiteX4713" fmla="*/ 3770471 w 6400800"/>
                <a:gd name="connsiteY4713" fmla="*/ 290036 h 514350"/>
                <a:gd name="connsiteX4714" fmla="*/ 3775234 w 6400800"/>
                <a:gd name="connsiteY4714" fmla="*/ 309086 h 514350"/>
                <a:gd name="connsiteX4715" fmla="*/ 3771424 w 6400800"/>
                <a:gd name="connsiteY4715" fmla="*/ 301466 h 514350"/>
                <a:gd name="connsiteX4716" fmla="*/ 3770471 w 6400800"/>
                <a:gd name="connsiteY4716" fmla="*/ 299561 h 514350"/>
                <a:gd name="connsiteX4717" fmla="*/ 3770471 w 6400800"/>
                <a:gd name="connsiteY4717" fmla="*/ 290989 h 514350"/>
                <a:gd name="connsiteX4718" fmla="*/ 3770471 w 6400800"/>
                <a:gd name="connsiteY4718" fmla="*/ 290036 h 514350"/>
                <a:gd name="connsiteX4719" fmla="*/ 3769519 w 6400800"/>
                <a:gd name="connsiteY4719" fmla="*/ 370046 h 514350"/>
                <a:gd name="connsiteX4720" fmla="*/ 3770471 w 6400800"/>
                <a:gd name="connsiteY4720" fmla="*/ 372904 h 514350"/>
                <a:gd name="connsiteX4721" fmla="*/ 3767614 w 6400800"/>
                <a:gd name="connsiteY4721" fmla="*/ 366236 h 514350"/>
                <a:gd name="connsiteX4722" fmla="*/ 3767614 w 6400800"/>
                <a:gd name="connsiteY4722" fmla="*/ 359569 h 514350"/>
                <a:gd name="connsiteX4723" fmla="*/ 3766661 w 6400800"/>
                <a:gd name="connsiteY4723" fmla="*/ 364331 h 514350"/>
                <a:gd name="connsiteX4724" fmla="*/ 3764756 w 6400800"/>
                <a:gd name="connsiteY4724" fmla="*/ 360521 h 514350"/>
                <a:gd name="connsiteX4725" fmla="*/ 3764756 w 6400800"/>
                <a:gd name="connsiteY4725" fmla="*/ 357664 h 514350"/>
                <a:gd name="connsiteX4726" fmla="*/ 3765709 w 6400800"/>
                <a:gd name="connsiteY4726" fmla="*/ 351949 h 514350"/>
                <a:gd name="connsiteX4727" fmla="*/ 3769519 w 6400800"/>
                <a:gd name="connsiteY4727" fmla="*/ 370046 h 514350"/>
                <a:gd name="connsiteX4728" fmla="*/ 3753326 w 6400800"/>
                <a:gd name="connsiteY4728" fmla="*/ 250031 h 514350"/>
                <a:gd name="connsiteX4729" fmla="*/ 3755231 w 6400800"/>
                <a:gd name="connsiteY4729" fmla="*/ 236696 h 514350"/>
                <a:gd name="connsiteX4730" fmla="*/ 3756184 w 6400800"/>
                <a:gd name="connsiteY4730" fmla="*/ 232886 h 514350"/>
                <a:gd name="connsiteX4731" fmla="*/ 3758089 w 6400800"/>
                <a:gd name="connsiteY4731" fmla="*/ 230029 h 514350"/>
                <a:gd name="connsiteX4732" fmla="*/ 3759994 w 6400800"/>
                <a:gd name="connsiteY4732" fmla="*/ 237649 h 514350"/>
                <a:gd name="connsiteX4733" fmla="*/ 3769519 w 6400800"/>
                <a:gd name="connsiteY4733" fmla="*/ 281464 h 514350"/>
                <a:gd name="connsiteX4734" fmla="*/ 3767614 w 6400800"/>
                <a:gd name="connsiteY4734" fmla="*/ 290036 h 514350"/>
                <a:gd name="connsiteX4735" fmla="*/ 3767614 w 6400800"/>
                <a:gd name="connsiteY4735" fmla="*/ 290989 h 514350"/>
                <a:gd name="connsiteX4736" fmla="*/ 3752374 w 6400800"/>
                <a:gd name="connsiteY4736" fmla="*/ 261461 h 514350"/>
                <a:gd name="connsiteX4737" fmla="*/ 3753326 w 6400800"/>
                <a:gd name="connsiteY4737" fmla="*/ 250031 h 514350"/>
                <a:gd name="connsiteX4738" fmla="*/ 3748564 w 6400800"/>
                <a:gd name="connsiteY4738" fmla="*/ 296704 h 514350"/>
                <a:gd name="connsiteX4739" fmla="*/ 3748564 w 6400800"/>
                <a:gd name="connsiteY4739" fmla="*/ 296704 h 514350"/>
                <a:gd name="connsiteX4740" fmla="*/ 3756184 w 6400800"/>
                <a:gd name="connsiteY4740" fmla="*/ 313849 h 514350"/>
                <a:gd name="connsiteX4741" fmla="*/ 3757136 w 6400800"/>
                <a:gd name="connsiteY4741" fmla="*/ 316706 h 514350"/>
                <a:gd name="connsiteX4742" fmla="*/ 3759041 w 6400800"/>
                <a:gd name="connsiteY4742" fmla="*/ 323374 h 514350"/>
                <a:gd name="connsiteX4743" fmla="*/ 3757136 w 6400800"/>
                <a:gd name="connsiteY4743" fmla="*/ 330041 h 514350"/>
                <a:gd name="connsiteX4744" fmla="*/ 3754279 w 6400800"/>
                <a:gd name="connsiteY4744" fmla="*/ 341471 h 514350"/>
                <a:gd name="connsiteX4745" fmla="*/ 3750469 w 6400800"/>
                <a:gd name="connsiteY4745" fmla="*/ 335756 h 514350"/>
                <a:gd name="connsiteX4746" fmla="*/ 3747611 w 6400800"/>
                <a:gd name="connsiteY4746" fmla="*/ 331946 h 514350"/>
                <a:gd name="connsiteX4747" fmla="*/ 3748564 w 6400800"/>
                <a:gd name="connsiteY4747" fmla="*/ 296704 h 514350"/>
                <a:gd name="connsiteX4748" fmla="*/ 3738086 w 6400800"/>
                <a:gd name="connsiteY4748" fmla="*/ 273844 h 514350"/>
                <a:gd name="connsiteX4749" fmla="*/ 3738086 w 6400800"/>
                <a:gd name="connsiteY4749" fmla="*/ 273844 h 514350"/>
                <a:gd name="connsiteX4750" fmla="*/ 3738086 w 6400800"/>
                <a:gd name="connsiteY4750" fmla="*/ 274796 h 514350"/>
                <a:gd name="connsiteX4751" fmla="*/ 3738086 w 6400800"/>
                <a:gd name="connsiteY4751" fmla="*/ 273844 h 514350"/>
                <a:gd name="connsiteX4752" fmla="*/ 3689509 w 6400800"/>
                <a:gd name="connsiteY4752" fmla="*/ 326231 h 514350"/>
                <a:gd name="connsiteX4753" fmla="*/ 3686651 w 6400800"/>
                <a:gd name="connsiteY4753" fmla="*/ 331946 h 514350"/>
                <a:gd name="connsiteX4754" fmla="*/ 3685699 w 6400800"/>
                <a:gd name="connsiteY4754" fmla="*/ 330994 h 514350"/>
                <a:gd name="connsiteX4755" fmla="*/ 3685699 w 6400800"/>
                <a:gd name="connsiteY4755" fmla="*/ 322421 h 514350"/>
                <a:gd name="connsiteX4756" fmla="*/ 3685699 w 6400800"/>
                <a:gd name="connsiteY4756" fmla="*/ 313849 h 514350"/>
                <a:gd name="connsiteX4757" fmla="*/ 3689509 w 6400800"/>
                <a:gd name="connsiteY4757" fmla="*/ 325279 h 514350"/>
                <a:gd name="connsiteX4758" fmla="*/ 3689509 w 6400800"/>
                <a:gd name="connsiteY4758" fmla="*/ 326231 h 514350"/>
                <a:gd name="connsiteX4759" fmla="*/ 3716179 w 6400800"/>
                <a:gd name="connsiteY4759" fmla="*/ 211931 h 514350"/>
                <a:gd name="connsiteX4760" fmla="*/ 3720941 w 6400800"/>
                <a:gd name="connsiteY4760" fmla="*/ 221456 h 514350"/>
                <a:gd name="connsiteX4761" fmla="*/ 3719036 w 6400800"/>
                <a:gd name="connsiteY4761" fmla="*/ 230029 h 514350"/>
                <a:gd name="connsiteX4762" fmla="*/ 3718084 w 6400800"/>
                <a:gd name="connsiteY4762" fmla="*/ 233839 h 514350"/>
                <a:gd name="connsiteX4763" fmla="*/ 3713321 w 6400800"/>
                <a:gd name="connsiteY4763" fmla="*/ 228124 h 514350"/>
                <a:gd name="connsiteX4764" fmla="*/ 3717131 w 6400800"/>
                <a:gd name="connsiteY4764" fmla="*/ 235744 h 514350"/>
                <a:gd name="connsiteX4765" fmla="*/ 3714274 w 6400800"/>
                <a:gd name="connsiteY4765" fmla="*/ 253841 h 514350"/>
                <a:gd name="connsiteX4766" fmla="*/ 3714274 w 6400800"/>
                <a:gd name="connsiteY4766" fmla="*/ 250984 h 514350"/>
                <a:gd name="connsiteX4767" fmla="*/ 3713321 w 6400800"/>
                <a:gd name="connsiteY4767" fmla="*/ 238601 h 514350"/>
                <a:gd name="connsiteX4768" fmla="*/ 3713321 w 6400800"/>
                <a:gd name="connsiteY4768" fmla="*/ 227171 h 514350"/>
                <a:gd name="connsiteX4769" fmla="*/ 3712369 w 6400800"/>
                <a:gd name="connsiteY4769" fmla="*/ 208121 h 514350"/>
                <a:gd name="connsiteX4770" fmla="*/ 3712369 w 6400800"/>
                <a:gd name="connsiteY4770" fmla="*/ 205264 h 514350"/>
                <a:gd name="connsiteX4771" fmla="*/ 3716179 w 6400800"/>
                <a:gd name="connsiteY4771" fmla="*/ 211931 h 514350"/>
                <a:gd name="connsiteX4772" fmla="*/ 3679984 w 6400800"/>
                <a:gd name="connsiteY4772" fmla="*/ 236696 h 514350"/>
                <a:gd name="connsiteX4773" fmla="*/ 3684746 w 6400800"/>
                <a:gd name="connsiteY4773" fmla="*/ 196691 h 514350"/>
                <a:gd name="connsiteX4774" fmla="*/ 3687604 w 6400800"/>
                <a:gd name="connsiteY4774" fmla="*/ 166211 h 514350"/>
                <a:gd name="connsiteX4775" fmla="*/ 3688556 w 6400800"/>
                <a:gd name="connsiteY4775" fmla="*/ 154781 h 514350"/>
                <a:gd name="connsiteX4776" fmla="*/ 3699034 w 6400800"/>
                <a:gd name="connsiteY4776" fmla="*/ 178594 h 514350"/>
                <a:gd name="connsiteX4777" fmla="*/ 3708559 w 6400800"/>
                <a:gd name="connsiteY4777" fmla="*/ 199549 h 514350"/>
                <a:gd name="connsiteX4778" fmla="*/ 3707606 w 6400800"/>
                <a:gd name="connsiteY4778" fmla="*/ 207169 h 514350"/>
                <a:gd name="connsiteX4779" fmla="*/ 3704749 w 6400800"/>
                <a:gd name="connsiteY4779" fmla="*/ 226219 h 514350"/>
                <a:gd name="connsiteX4780" fmla="*/ 3702844 w 6400800"/>
                <a:gd name="connsiteY4780" fmla="*/ 237649 h 514350"/>
                <a:gd name="connsiteX4781" fmla="*/ 3701891 w 6400800"/>
                <a:gd name="connsiteY4781" fmla="*/ 250984 h 514350"/>
                <a:gd name="connsiteX4782" fmla="*/ 3700939 w 6400800"/>
                <a:gd name="connsiteY4782" fmla="*/ 280511 h 514350"/>
                <a:gd name="connsiteX4783" fmla="*/ 3700939 w 6400800"/>
                <a:gd name="connsiteY4783" fmla="*/ 300514 h 514350"/>
                <a:gd name="connsiteX4784" fmla="*/ 3697129 w 6400800"/>
                <a:gd name="connsiteY4784" fmla="*/ 290036 h 514350"/>
                <a:gd name="connsiteX4785" fmla="*/ 3699034 w 6400800"/>
                <a:gd name="connsiteY4785" fmla="*/ 308134 h 514350"/>
                <a:gd name="connsiteX4786" fmla="*/ 3690461 w 6400800"/>
                <a:gd name="connsiteY4786" fmla="*/ 322421 h 514350"/>
                <a:gd name="connsiteX4787" fmla="*/ 3683794 w 6400800"/>
                <a:gd name="connsiteY4787" fmla="*/ 310991 h 514350"/>
                <a:gd name="connsiteX4788" fmla="*/ 3683794 w 6400800"/>
                <a:gd name="connsiteY4788" fmla="*/ 302419 h 514350"/>
                <a:gd name="connsiteX4789" fmla="*/ 3682841 w 6400800"/>
                <a:gd name="connsiteY4789" fmla="*/ 308134 h 514350"/>
                <a:gd name="connsiteX4790" fmla="*/ 3679031 w 6400800"/>
                <a:gd name="connsiteY4790" fmla="*/ 302419 h 514350"/>
                <a:gd name="connsiteX4791" fmla="*/ 3681889 w 6400800"/>
                <a:gd name="connsiteY4791" fmla="*/ 310991 h 514350"/>
                <a:gd name="connsiteX4792" fmla="*/ 3679984 w 6400800"/>
                <a:gd name="connsiteY4792" fmla="*/ 323374 h 514350"/>
                <a:gd name="connsiteX4793" fmla="*/ 3672364 w 6400800"/>
                <a:gd name="connsiteY4793" fmla="*/ 307181 h 514350"/>
                <a:gd name="connsiteX4794" fmla="*/ 3677126 w 6400800"/>
                <a:gd name="connsiteY4794" fmla="*/ 289084 h 514350"/>
                <a:gd name="connsiteX4795" fmla="*/ 3681889 w 6400800"/>
                <a:gd name="connsiteY4795" fmla="*/ 272891 h 514350"/>
                <a:gd name="connsiteX4796" fmla="*/ 3686651 w 6400800"/>
                <a:gd name="connsiteY4796" fmla="*/ 260509 h 514350"/>
                <a:gd name="connsiteX4797" fmla="*/ 3692366 w 6400800"/>
                <a:gd name="connsiteY4797" fmla="*/ 250031 h 514350"/>
                <a:gd name="connsiteX4798" fmla="*/ 3683794 w 6400800"/>
                <a:gd name="connsiteY4798" fmla="*/ 258604 h 514350"/>
                <a:gd name="connsiteX4799" fmla="*/ 3675221 w 6400800"/>
                <a:gd name="connsiteY4799" fmla="*/ 270034 h 514350"/>
                <a:gd name="connsiteX4800" fmla="*/ 3671411 w 6400800"/>
                <a:gd name="connsiteY4800" fmla="*/ 275749 h 514350"/>
                <a:gd name="connsiteX4801" fmla="*/ 3679984 w 6400800"/>
                <a:gd name="connsiteY4801" fmla="*/ 236696 h 514350"/>
                <a:gd name="connsiteX4802" fmla="*/ 3678079 w 6400800"/>
                <a:gd name="connsiteY4802" fmla="*/ 342424 h 514350"/>
                <a:gd name="connsiteX4803" fmla="*/ 3677126 w 6400800"/>
                <a:gd name="connsiteY4803" fmla="*/ 349091 h 514350"/>
                <a:gd name="connsiteX4804" fmla="*/ 3676174 w 6400800"/>
                <a:gd name="connsiteY4804" fmla="*/ 343376 h 514350"/>
                <a:gd name="connsiteX4805" fmla="*/ 3674269 w 6400800"/>
                <a:gd name="connsiteY4805" fmla="*/ 335756 h 514350"/>
                <a:gd name="connsiteX4806" fmla="*/ 3678079 w 6400800"/>
                <a:gd name="connsiteY4806" fmla="*/ 342424 h 514350"/>
                <a:gd name="connsiteX4807" fmla="*/ 3664744 w 6400800"/>
                <a:gd name="connsiteY4807" fmla="*/ 355759 h 514350"/>
                <a:gd name="connsiteX4808" fmla="*/ 3664744 w 6400800"/>
                <a:gd name="connsiteY4808" fmla="*/ 362426 h 514350"/>
                <a:gd name="connsiteX4809" fmla="*/ 3663791 w 6400800"/>
                <a:gd name="connsiteY4809" fmla="*/ 371951 h 514350"/>
                <a:gd name="connsiteX4810" fmla="*/ 3663791 w 6400800"/>
                <a:gd name="connsiteY4810" fmla="*/ 371951 h 514350"/>
                <a:gd name="connsiteX4811" fmla="*/ 3662839 w 6400800"/>
                <a:gd name="connsiteY4811" fmla="*/ 367189 h 514350"/>
                <a:gd name="connsiteX4812" fmla="*/ 3662839 w 6400800"/>
                <a:gd name="connsiteY4812" fmla="*/ 366236 h 514350"/>
                <a:gd name="connsiteX4813" fmla="*/ 3664744 w 6400800"/>
                <a:gd name="connsiteY4813" fmla="*/ 355759 h 514350"/>
                <a:gd name="connsiteX4814" fmla="*/ 3603784 w 6400800"/>
                <a:gd name="connsiteY4814" fmla="*/ 369094 h 514350"/>
                <a:gd name="connsiteX4815" fmla="*/ 3602831 w 6400800"/>
                <a:gd name="connsiteY4815" fmla="*/ 363379 h 514350"/>
                <a:gd name="connsiteX4816" fmla="*/ 3605689 w 6400800"/>
                <a:gd name="connsiteY4816" fmla="*/ 352901 h 514350"/>
                <a:gd name="connsiteX4817" fmla="*/ 3606641 w 6400800"/>
                <a:gd name="connsiteY4817" fmla="*/ 350044 h 514350"/>
                <a:gd name="connsiteX4818" fmla="*/ 3607594 w 6400800"/>
                <a:gd name="connsiteY4818" fmla="*/ 352901 h 514350"/>
                <a:gd name="connsiteX4819" fmla="*/ 3607594 w 6400800"/>
                <a:gd name="connsiteY4819" fmla="*/ 353854 h 514350"/>
                <a:gd name="connsiteX4820" fmla="*/ 3603784 w 6400800"/>
                <a:gd name="connsiteY4820" fmla="*/ 369094 h 514350"/>
                <a:gd name="connsiteX4821" fmla="*/ 3612356 w 6400800"/>
                <a:gd name="connsiteY4821" fmla="*/ 329089 h 514350"/>
                <a:gd name="connsiteX4822" fmla="*/ 3611404 w 6400800"/>
                <a:gd name="connsiteY4822" fmla="*/ 327184 h 514350"/>
                <a:gd name="connsiteX4823" fmla="*/ 3610451 w 6400800"/>
                <a:gd name="connsiteY4823" fmla="*/ 321469 h 514350"/>
                <a:gd name="connsiteX4824" fmla="*/ 3613309 w 6400800"/>
                <a:gd name="connsiteY4824" fmla="*/ 324326 h 514350"/>
                <a:gd name="connsiteX4825" fmla="*/ 3612356 w 6400800"/>
                <a:gd name="connsiteY4825" fmla="*/ 329089 h 514350"/>
                <a:gd name="connsiteX4826" fmla="*/ 3633311 w 6400800"/>
                <a:gd name="connsiteY4826" fmla="*/ 366236 h 514350"/>
                <a:gd name="connsiteX4827" fmla="*/ 3629501 w 6400800"/>
                <a:gd name="connsiteY4827" fmla="*/ 358616 h 514350"/>
                <a:gd name="connsiteX4828" fmla="*/ 3629501 w 6400800"/>
                <a:gd name="connsiteY4828" fmla="*/ 354806 h 514350"/>
                <a:gd name="connsiteX4829" fmla="*/ 3633311 w 6400800"/>
                <a:gd name="connsiteY4829" fmla="*/ 366236 h 514350"/>
                <a:gd name="connsiteX4830" fmla="*/ 3633311 w 6400800"/>
                <a:gd name="connsiteY4830" fmla="*/ 366236 h 514350"/>
                <a:gd name="connsiteX4831" fmla="*/ 3633311 w 6400800"/>
                <a:gd name="connsiteY4831" fmla="*/ 366236 h 514350"/>
                <a:gd name="connsiteX4832" fmla="*/ 3632359 w 6400800"/>
                <a:gd name="connsiteY4832" fmla="*/ 331946 h 514350"/>
                <a:gd name="connsiteX4833" fmla="*/ 3635216 w 6400800"/>
                <a:gd name="connsiteY4833" fmla="*/ 348139 h 514350"/>
                <a:gd name="connsiteX4834" fmla="*/ 3631406 w 6400800"/>
                <a:gd name="connsiteY4834" fmla="*/ 341471 h 514350"/>
                <a:gd name="connsiteX4835" fmla="*/ 3632359 w 6400800"/>
                <a:gd name="connsiteY4835" fmla="*/ 331946 h 514350"/>
                <a:gd name="connsiteX4836" fmla="*/ 3618071 w 6400800"/>
                <a:gd name="connsiteY4836" fmla="*/ 270034 h 514350"/>
                <a:gd name="connsiteX4837" fmla="*/ 3628549 w 6400800"/>
                <a:gd name="connsiteY4837" fmla="*/ 246221 h 514350"/>
                <a:gd name="connsiteX4838" fmla="*/ 3630454 w 6400800"/>
                <a:gd name="connsiteY4838" fmla="*/ 242411 h 514350"/>
                <a:gd name="connsiteX4839" fmla="*/ 3625691 w 6400800"/>
                <a:gd name="connsiteY4839" fmla="*/ 265271 h 514350"/>
                <a:gd name="connsiteX4840" fmla="*/ 3618071 w 6400800"/>
                <a:gd name="connsiteY4840" fmla="*/ 271939 h 514350"/>
                <a:gd name="connsiteX4841" fmla="*/ 3618071 w 6400800"/>
                <a:gd name="connsiteY4841" fmla="*/ 270034 h 514350"/>
                <a:gd name="connsiteX4842" fmla="*/ 3601879 w 6400800"/>
                <a:gd name="connsiteY4842" fmla="*/ 310039 h 514350"/>
                <a:gd name="connsiteX4843" fmla="*/ 3606641 w 6400800"/>
                <a:gd name="connsiteY4843" fmla="*/ 298609 h 514350"/>
                <a:gd name="connsiteX4844" fmla="*/ 3615214 w 6400800"/>
                <a:gd name="connsiteY4844" fmla="*/ 278606 h 514350"/>
                <a:gd name="connsiteX4845" fmla="*/ 3619976 w 6400800"/>
                <a:gd name="connsiteY4845" fmla="*/ 271939 h 514350"/>
                <a:gd name="connsiteX4846" fmla="*/ 3625691 w 6400800"/>
                <a:gd name="connsiteY4846" fmla="*/ 266224 h 514350"/>
                <a:gd name="connsiteX4847" fmla="*/ 3624739 w 6400800"/>
                <a:gd name="connsiteY4847" fmla="*/ 270986 h 514350"/>
                <a:gd name="connsiteX4848" fmla="*/ 3617119 w 6400800"/>
                <a:gd name="connsiteY4848" fmla="*/ 309086 h 514350"/>
                <a:gd name="connsiteX4849" fmla="*/ 3614261 w 6400800"/>
                <a:gd name="connsiteY4849" fmla="*/ 322421 h 514350"/>
                <a:gd name="connsiteX4850" fmla="*/ 3611404 w 6400800"/>
                <a:gd name="connsiteY4850" fmla="*/ 320516 h 514350"/>
                <a:gd name="connsiteX4851" fmla="*/ 3609499 w 6400800"/>
                <a:gd name="connsiteY4851" fmla="*/ 298609 h 514350"/>
                <a:gd name="connsiteX4852" fmla="*/ 3608546 w 6400800"/>
                <a:gd name="connsiteY4852" fmla="*/ 318611 h 514350"/>
                <a:gd name="connsiteX4853" fmla="*/ 3606641 w 6400800"/>
                <a:gd name="connsiteY4853" fmla="*/ 317659 h 514350"/>
                <a:gd name="connsiteX4854" fmla="*/ 3608546 w 6400800"/>
                <a:gd name="connsiteY4854" fmla="*/ 319564 h 514350"/>
                <a:gd name="connsiteX4855" fmla="*/ 3608546 w 6400800"/>
                <a:gd name="connsiteY4855" fmla="*/ 322421 h 514350"/>
                <a:gd name="connsiteX4856" fmla="*/ 3602831 w 6400800"/>
                <a:gd name="connsiteY4856" fmla="*/ 312896 h 514350"/>
                <a:gd name="connsiteX4857" fmla="*/ 3601879 w 6400800"/>
                <a:gd name="connsiteY4857" fmla="*/ 310039 h 514350"/>
                <a:gd name="connsiteX4858" fmla="*/ 3600926 w 6400800"/>
                <a:gd name="connsiteY4858" fmla="*/ 335756 h 514350"/>
                <a:gd name="connsiteX4859" fmla="*/ 3604736 w 6400800"/>
                <a:gd name="connsiteY4859" fmla="*/ 346234 h 514350"/>
                <a:gd name="connsiteX4860" fmla="*/ 3601879 w 6400800"/>
                <a:gd name="connsiteY4860" fmla="*/ 351949 h 514350"/>
                <a:gd name="connsiteX4861" fmla="*/ 3600926 w 6400800"/>
                <a:gd name="connsiteY4861" fmla="*/ 352901 h 514350"/>
                <a:gd name="connsiteX4862" fmla="*/ 3599974 w 6400800"/>
                <a:gd name="connsiteY4862" fmla="*/ 345281 h 514350"/>
                <a:gd name="connsiteX4863" fmla="*/ 3600926 w 6400800"/>
                <a:gd name="connsiteY4863" fmla="*/ 335756 h 514350"/>
                <a:gd name="connsiteX4864" fmla="*/ 3556159 w 6400800"/>
                <a:gd name="connsiteY4864" fmla="*/ 342424 h 514350"/>
                <a:gd name="connsiteX4865" fmla="*/ 3557111 w 6400800"/>
                <a:gd name="connsiteY4865" fmla="*/ 324326 h 514350"/>
                <a:gd name="connsiteX4866" fmla="*/ 3558064 w 6400800"/>
                <a:gd name="connsiteY4866" fmla="*/ 328136 h 514350"/>
                <a:gd name="connsiteX4867" fmla="*/ 3559016 w 6400800"/>
                <a:gd name="connsiteY4867" fmla="*/ 333851 h 514350"/>
                <a:gd name="connsiteX4868" fmla="*/ 3559016 w 6400800"/>
                <a:gd name="connsiteY4868" fmla="*/ 334804 h 514350"/>
                <a:gd name="connsiteX4869" fmla="*/ 3556159 w 6400800"/>
                <a:gd name="connsiteY4869" fmla="*/ 342424 h 514350"/>
                <a:gd name="connsiteX4870" fmla="*/ 3559969 w 6400800"/>
                <a:gd name="connsiteY4870" fmla="*/ 279559 h 514350"/>
                <a:gd name="connsiteX4871" fmla="*/ 3559016 w 6400800"/>
                <a:gd name="connsiteY4871" fmla="*/ 274796 h 514350"/>
                <a:gd name="connsiteX4872" fmla="*/ 3561874 w 6400800"/>
                <a:gd name="connsiteY4872" fmla="*/ 276701 h 514350"/>
                <a:gd name="connsiteX4873" fmla="*/ 3566636 w 6400800"/>
                <a:gd name="connsiteY4873" fmla="*/ 280511 h 514350"/>
                <a:gd name="connsiteX4874" fmla="*/ 3562826 w 6400800"/>
                <a:gd name="connsiteY4874" fmla="*/ 287179 h 514350"/>
                <a:gd name="connsiteX4875" fmla="*/ 3559969 w 6400800"/>
                <a:gd name="connsiteY4875" fmla="*/ 279559 h 514350"/>
                <a:gd name="connsiteX4876" fmla="*/ 3571399 w 6400800"/>
                <a:gd name="connsiteY4876" fmla="*/ 287179 h 514350"/>
                <a:gd name="connsiteX4877" fmla="*/ 3571399 w 6400800"/>
                <a:gd name="connsiteY4877" fmla="*/ 311944 h 514350"/>
                <a:gd name="connsiteX4878" fmla="*/ 3569494 w 6400800"/>
                <a:gd name="connsiteY4878" fmla="*/ 314801 h 514350"/>
                <a:gd name="connsiteX4879" fmla="*/ 3562826 w 6400800"/>
                <a:gd name="connsiteY4879" fmla="*/ 292894 h 514350"/>
                <a:gd name="connsiteX4880" fmla="*/ 3566636 w 6400800"/>
                <a:gd name="connsiteY4880" fmla="*/ 282416 h 514350"/>
                <a:gd name="connsiteX4881" fmla="*/ 3571399 w 6400800"/>
                <a:gd name="connsiteY4881" fmla="*/ 287179 h 514350"/>
                <a:gd name="connsiteX4882" fmla="*/ 3571399 w 6400800"/>
                <a:gd name="connsiteY4882" fmla="*/ 287179 h 514350"/>
                <a:gd name="connsiteX4883" fmla="*/ 3571399 w 6400800"/>
                <a:gd name="connsiteY4883" fmla="*/ 281464 h 514350"/>
                <a:gd name="connsiteX4884" fmla="*/ 3568541 w 6400800"/>
                <a:gd name="connsiteY4884" fmla="*/ 279559 h 514350"/>
                <a:gd name="connsiteX4885" fmla="*/ 3568541 w 6400800"/>
                <a:gd name="connsiteY4885" fmla="*/ 279559 h 514350"/>
                <a:gd name="connsiteX4886" fmla="*/ 3571399 w 6400800"/>
                <a:gd name="connsiteY4886" fmla="*/ 273844 h 514350"/>
                <a:gd name="connsiteX4887" fmla="*/ 3571399 w 6400800"/>
                <a:gd name="connsiteY4887" fmla="*/ 281464 h 514350"/>
                <a:gd name="connsiteX4888" fmla="*/ 3567589 w 6400800"/>
                <a:gd name="connsiteY4888" fmla="*/ 250031 h 514350"/>
                <a:gd name="connsiteX4889" fmla="*/ 3570446 w 6400800"/>
                <a:gd name="connsiteY4889" fmla="*/ 265271 h 514350"/>
                <a:gd name="connsiteX4890" fmla="*/ 3571399 w 6400800"/>
                <a:gd name="connsiteY4890" fmla="*/ 271939 h 514350"/>
                <a:gd name="connsiteX4891" fmla="*/ 3571399 w 6400800"/>
                <a:gd name="connsiteY4891" fmla="*/ 272891 h 514350"/>
                <a:gd name="connsiteX4892" fmla="*/ 3567589 w 6400800"/>
                <a:gd name="connsiteY4892" fmla="*/ 277654 h 514350"/>
                <a:gd name="connsiteX4893" fmla="*/ 3567589 w 6400800"/>
                <a:gd name="connsiteY4893" fmla="*/ 277654 h 514350"/>
                <a:gd name="connsiteX4894" fmla="*/ 3561874 w 6400800"/>
                <a:gd name="connsiteY4894" fmla="*/ 274796 h 514350"/>
                <a:gd name="connsiteX4895" fmla="*/ 3558064 w 6400800"/>
                <a:gd name="connsiteY4895" fmla="*/ 272891 h 514350"/>
                <a:gd name="connsiteX4896" fmla="*/ 3554254 w 6400800"/>
                <a:gd name="connsiteY4896" fmla="*/ 260509 h 514350"/>
                <a:gd name="connsiteX4897" fmla="*/ 3556159 w 6400800"/>
                <a:gd name="connsiteY4897" fmla="*/ 257651 h 514350"/>
                <a:gd name="connsiteX4898" fmla="*/ 3566636 w 6400800"/>
                <a:gd name="connsiteY4898" fmla="*/ 243364 h 514350"/>
                <a:gd name="connsiteX4899" fmla="*/ 3567589 w 6400800"/>
                <a:gd name="connsiteY4899" fmla="*/ 250031 h 514350"/>
                <a:gd name="connsiteX4900" fmla="*/ 3561874 w 6400800"/>
                <a:gd name="connsiteY4900" fmla="*/ 229076 h 514350"/>
                <a:gd name="connsiteX4901" fmla="*/ 3562826 w 6400800"/>
                <a:gd name="connsiteY4901" fmla="*/ 227171 h 514350"/>
                <a:gd name="connsiteX4902" fmla="*/ 3564731 w 6400800"/>
                <a:gd name="connsiteY4902" fmla="*/ 235744 h 514350"/>
                <a:gd name="connsiteX4903" fmla="*/ 3565684 w 6400800"/>
                <a:gd name="connsiteY4903" fmla="*/ 238601 h 514350"/>
                <a:gd name="connsiteX4904" fmla="*/ 3552349 w 6400800"/>
                <a:gd name="connsiteY4904" fmla="*/ 251936 h 514350"/>
                <a:gd name="connsiteX4905" fmla="*/ 3551396 w 6400800"/>
                <a:gd name="connsiteY4905" fmla="*/ 247174 h 514350"/>
                <a:gd name="connsiteX4906" fmla="*/ 3561874 w 6400800"/>
                <a:gd name="connsiteY4906" fmla="*/ 229076 h 514350"/>
                <a:gd name="connsiteX4907" fmla="*/ 3551396 w 6400800"/>
                <a:gd name="connsiteY4907" fmla="*/ 293846 h 514350"/>
                <a:gd name="connsiteX4908" fmla="*/ 3554254 w 6400800"/>
                <a:gd name="connsiteY4908" fmla="*/ 307181 h 514350"/>
                <a:gd name="connsiteX4909" fmla="*/ 3550444 w 6400800"/>
                <a:gd name="connsiteY4909" fmla="*/ 321469 h 514350"/>
                <a:gd name="connsiteX4910" fmla="*/ 3547586 w 6400800"/>
                <a:gd name="connsiteY4910" fmla="*/ 333851 h 514350"/>
                <a:gd name="connsiteX4911" fmla="*/ 3546634 w 6400800"/>
                <a:gd name="connsiteY4911" fmla="*/ 331946 h 514350"/>
                <a:gd name="connsiteX4912" fmla="*/ 3543776 w 6400800"/>
                <a:gd name="connsiteY4912" fmla="*/ 327184 h 514350"/>
                <a:gd name="connsiteX4913" fmla="*/ 3544729 w 6400800"/>
                <a:gd name="connsiteY4913" fmla="*/ 306229 h 514350"/>
                <a:gd name="connsiteX4914" fmla="*/ 3547586 w 6400800"/>
                <a:gd name="connsiteY4914" fmla="*/ 286226 h 514350"/>
                <a:gd name="connsiteX4915" fmla="*/ 3548539 w 6400800"/>
                <a:gd name="connsiteY4915" fmla="*/ 276701 h 514350"/>
                <a:gd name="connsiteX4916" fmla="*/ 3551396 w 6400800"/>
                <a:gd name="connsiteY4916" fmla="*/ 293846 h 514350"/>
                <a:gd name="connsiteX4917" fmla="*/ 3543776 w 6400800"/>
                <a:gd name="connsiteY4917" fmla="*/ 191929 h 514350"/>
                <a:gd name="connsiteX4918" fmla="*/ 3549491 w 6400800"/>
                <a:gd name="connsiteY4918" fmla="*/ 180499 h 514350"/>
                <a:gd name="connsiteX4919" fmla="*/ 3548539 w 6400800"/>
                <a:gd name="connsiteY4919" fmla="*/ 185261 h 514350"/>
                <a:gd name="connsiteX4920" fmla="*/ 3544729 w 6400800"/>
                <a:gd name="connsiteY4920" fmla="*/ 211931 h 514350"/>
                <a:gd name="connsiteX4921" fmla="*/ 3543776 w 6400800"/>
                <a:gd name="connsiteY4921" fmla="*/ 217646 h 514350"/>
                <a:gd name="connsiteX4922" fmla="*/ 3539014 w 6400800"/>
                <a:gd name="connsiteY4922" fmla="*/ 200501 h 514350"/>
                <a:gd name="connsiteX4923" fmla="*/ 3543776 w 6400800"/>
                <a:gd name="connsiteY4923" fmla="*/ 191929 h 514350"/>
                <a:gd name="connsiteX4924" fmla="*/ 3530441 w 6400800"/>
                <a:gd name="connsiteY4924" fmla="*/ 217646 h 514350"/>
                <a:gd name="connsiteX4925" fmla="*/ 3539014 w 6400800"/>
                <a:gd name="connsiteY4925" fmla="*/ 201454 h 514350"/>
                <a:gd name="connsiteX4926" fmla="*/ 3540919 w 6400800"/>
                <a:gd name="connsiteY4926" fmla="*/ 217646 h 514350"/>
                <a:gd name="connsiteX4927" fmla="*/ 3542824 w 6400800"/>
                <a:gd name="connsiteY4927" fmla="*/ 231934 h 514350"/>
                <a:gd name="connsiteX4928" fmla="*/ 3540919 w 6400800"/>
                <a:gd name="connsiteY4928" fmla="*/ 240506 h 514350"/>
                <a:gd name="connsiteX4929" fmla="*/ 3528536 w 6400800"/>
                <a:gd name="connsiteY4929" fmla="*/ 259556 h 514350"/>
                <a:gd name="connsiteX4930" fmla="*/ 3528536 w 6400800"/>
                <a:gd name="connsiteY4930" fmla="*/ 257651 h 514350"/>
                <a:gd name="connsiteX4931" fmla="*/ 3527584 w 6400800"/>
                <a:gd name="connsiteY4931" fmla="*/ 240506 h 514350"/>
                <a:gd name="connsiteX4932" fmla="*/ 3526631 w 6400800"/>
                <a:gd name="connsiteY4932" fmla="*/ 229076 h 514350"/>
                <a:gd name="connsiteX4933" fmla="*/ 3530441 w 6400800"/>
                <a:gd name="connsiteY4933" fmla="*/ 217646 h 514350"/>
                <a:gd name="connsiteX4934" fmla="*/ 3490436 w 6400800"/>
                <a:gd name="connsiteY4934" fmla="*/ 321469 h 514350"/>
                <a:gd name="connsiteX4935" fmla="*/ 3490436 w 6400800"/>
                <a:gd name="connsiteY4935" fmla="*/ 317659 h 514350"/>
                <a:gd name="connsiteX4936" fmla="*/ 3491389 w 6400800"/>
                <a:gd name="connsiteY4936" fmla="*/ 319564 h 514350"/>
                <a:gd name="connsiteX4937" fmla="*/ 3490436 w 6400800"/>
                <a:gd name="connsiteY4937" fmla="*/ 321469 h 514350"/>
                <a:gd name="connsiteX4938" fmla="*/ 3514249 w 6400800"/>
                <a:gd name="connsiteY4938" fmla="*/ 250984 h 514350"/>
                <a:gd name="connsiteX4939" fmla="*/ 3516154 w 6400800"/>
                <a:gd name="connsiteY4939" fmla="*/ 246221 h 514350"/>
                <a:gd name="connsiteX4940" fmla="*/ 3515201 w 6400800"/>
                <a:gd name="connsiteY4940" fmla="*/ 257651 h 514350"/>
                <a:gd name="connsiteX4941" fmla="*/ 3514249 w 6400800"/>
                <a:gd name="connsiteY4941" fmla="*/ 270986 h 514350"/>
                <a:gd name="connsiteX4942" fmla="*/ 3509486 w 6400800"/>
                <a:gd name="connsiteY4942" fmla="*/ 259556 h 514350"/>
                <a:gd name="connsiteX4943" fmla="*/ 3514249 w 6400800"/>
                <a:gd name="connsiteY4943" fmla="*/ 250984 h 514350"/>
                <a:gd name="connsiteX4944" fmla="*/ 3504724 w 6400800"/>
                <a:gd name="connsiteY4944" fmla="*/ 271939 h 514350"/>
                <a:gd name="connsiteX4945" fmla="*/ 3505676 w 6400800"/>
                <a:gd name="connsiteY4945" fmla="*/ 274796 h 514350"/>
                <a:gd name="connsiteX4946" fmla="*/ 3509486 w 6400800"/>
                <a:gd name="connsiteY4946" fmla="*/ 288131 h 514350"/>
                <a:gd name="connsiteX4947" fmla="*/ 3505676 w 6400800"/>
                <a:gd name="connsiteY4947" fmla="*/ 293846 h 514350"/>
                <a:gd name="connsiteX4948" fmla="*/ 3504724 w 6400800"/>
                <a:gd name="connsiteY4948" fmla="*/ 282416 h 514350"/>
                <a:gd name="connsiteX4949" fmla="*/ 3504724 w 6400800"/>
                <a:gd name="connsiteY4949" fmla="*/ 271939 h 514350"/>
                <a:gd name="connsiteX4950" fmla="*/ 3504724 w 6400800"/>
                <a:gd name="connsiteY4950" fmla="*/ 271939 h 514350"/>
                <a:gd name="connsiteX4951" fmla="*/ 3501866 w 6400800"/>
                <a:gd name="connsiteY4951" fmla="*/ 398621 h 514350"/>
                <a:gd name="connsiteX4952" fmla="*/ 3495199 w 6400800"/>
                <a:gd name="connsiteY4952" fmla="*/ 371951 h 514350"/>
                <a:gd name="connsiteX4953" fmla="*/ 3494246 w 6400800"/>
                <a:gd name="connsiteY4953" fmla="*/ 369094 h 514350"/>
                <a:gd name="connsiteX4954" fmla="*/ 3499961 w 6400800"/>
                <a:gd name="connsiteY4954" fmla="*/ 357664 h 514350"/>
                <a:gd name="connsiteX4955" fmla="*/ 3501866 w 6400800"/>
                <a:gd name="connsiteY4955" fmla="*/ 398621 h 514350"/>
                <a:gd name="connsiteX4956" fmla="*/ 3496151 w 6400800"/>
                <a:gd name="connsiteY4956" fmla="*/ 290036 h 514350"/>
                <a:gd name="connsiteX4957" fmla="*/ 3499009 w 6400800"/>
                <a:gd name="connsiteY4957" fmla="*/ 284321 h 514350"/>
                <a:gd name="connsiteX4958" fmla="*/ 3499009 w 6400800"/>
                <a:gd name="connsiteY4958" fmla="*/ 295751 h 514350"/>
                <a:gd name="connsiteX4959" fmla="*/ 3496151 w 6400800"/>
                <a:gd name="connsiteY4959" fmla="*/ 290036 h 514350"/>
                <a:gd name="connsiteX4960" fmla="*/ 3496151 w 6400800"/>
                <a:gd name="connsiteY4960" fmla="*/ 252889 h 514350"/>
                <a:gd name="connsiteX4961" fmla="*/ 3496151 w 6400800"/>
                <a:gd name="connsiteY4961" fmla="*/ 247174 h 514350"/>
                <a:gd name="connsiteX4962" fmla="*/ 3499009 w 6400800"/>
                <a:gd name="connsiteY4962" fmla="*/ 254794 h 514350"/>
                <a:gd name="connsiteX4963" fmla="*/ 3495199 w 6400800"/>
                <a:gd name="connsiteY4963" fmla="*/ 261461 h 514350"/>
                <a:gd name="connsiteX4964" fmla="*/ 3496151 w 6400800"/>
                <a:gd name="connsiteY4964" fmla="*/ 252889 h 514350"/>
                <a:gd name="connsiteX4965" fmla="*/ 3481864 w 6400800"/>
                <a:gd name="connsiteY4965" fmla="*/ 205264 h 514350"/>
                <a:gd name="connsiteX4966" fmla="*/ 3491389 w 6400800"/>
                <a:gd name="connsiteY4966" fmla="*/ 230029 h 514350"/>
                <a:gd name="connsiteX4967" fmla="*/ 3495199 w 6400800"/>
                <a:gd name="connsiteY4967" fmla="*/ 243364 h 514350"/>
                <a:gd name="connsiteX4968" fmla="*/ 3492341 w 6400800"/>
                <a:gd name="connsiteY4968" fmla="*/ 251936 h 514350"/>
                <a:gd name="connsiteX4969" fmla="*/ 3487579 w 6400800"/>
                <a:gd name="connsiteY4969" fmla="*/ 268129 h 514350"/>
                <a:gd name="connsiteX4970" fmla="*/ 3486626 w 6400800"/>
                <a:gd name="connsiteY4970" fmla="*/ 270034 h 514350"/>
                <a:gd name="connsiteX4971" fmla="*/ 3479959 w 6400800"/>
                <a:gd name="connsiteY4971" fmla="*/ 255746 h 514350"/>
                <a:gd name="connsiteX4972" fmla="*/ 3479959 w 6400800"/>
                <a:gd name="connsiteY4972" fmla="*/ 228124 h 514350"/>
                <a:gd name="connsiteX4973" fmla="*/ 3479959 w 6400800"/>
                <a:gd name="connsiteY4973" fmla="*/ 213836 h 514350"/>
                <a:gd name="connsiteX4974" fmla="*/ 3481864 w 6400800"/>
                <a:gd name="connsiteY4974" fmla="*/ 205264 h 514350"/>
                <a:gd name="connsiteX4975" fmla="*/ 3473291 w 6400800"/>
                <a:gd name="connsiteY4975" fmla="*/ 241459 h 514350"/>
                <a:gd name="connsiteX4976" fmla="*/ 3475196 w 6400800"/>
                <a:gd name="connsiteY4976" fmla="*/ 234791 h 514350"/>
                <a:gd name="connsiteX4977" fmla="*/ 3473291 w 6400800"/>
                <a:gd name="connsiteY4977" fmla="*/ 241459 h 514350"/>
                <a:gd name="connsiteX4978" fmla="*/ 3473291 w 6400800"/>
                <a:gd name="connsiteY4978" fmla="*/ 241459 h 514350"/>
                <a:gd name="connsiteX4979" fmla="*/ 3473291 w 6400800"/>
                <a:gd name="connsiteY4979" fmla="*/ 241459 h 514350"/>
                <a:gd name="connsiteX4980" fmla="*/ 3468529 w 6400800"/>
                <a:gd name="connsiteY4980" fmla="*/ 260509 h 514350"/>
                <a:gd name="connsiteX4981" fmla="*/ 3469481 w 6400800"/>
                <a:gd name="connsiteY4981" fmla="*/ 263366 h 514350"/>
                <a:gd name="connsiteX4982" fmla="*/ 3468529 w 6400800"/>
                <a:gd name="connsiteY4982" fmla="*/ 270986 h 514350"/>
                <a:gd name="connsiteX4983" fmla="*/ 3465671 w 6400800"/>
                <a:gd name="connsiteY4983" fmla="*/ 300514 h 514350"/>
                <a:gd name="connsiteX4984" fmla="*/ 3464719 w 6400800"/>
                <a:gd name="connsiteY4984" fmla="*/ 318611 h 514350"/>
                <a:gd name="connsiteX4985" fmla="*/ 3463766 w 6400800"/>
                <a:gd name="connsiteY4985" fmla="*/ 321469 h 514350"/>
                <a:gd name="connsiteX4986" fmla="*/ 3459956 w 6400800"/>
                <a:gd name="connsiteY4986" fmla="*/ 307181 h 514350"/>
                <a:gd name="connsiteX4987" fmla="*/ 3459956 w 6400800"/>
                <a:gd name="connsiteY4987" fmla="*/ 306229 h 514350"/>
                <a:gd name="connsiteX4988" fmla="*/ 3460909 w 6400800"/>
                <a:gd name="connsiteY4988" fmla="*/ 300514 h 514350"/>
                <a:gd name="connsiteX4989" fmla="*/ 3468529 w 6400800"/>
                <a:gd name="connsiteY4989" fmla="*/ 260509 h 514350"/>
                <a:gd name="connsiteX4990" fmla="*/ 3451384 w 6400800"/>
                <a:gd name="connsiteY4990" fmla="*/ 237649 h 514350"/>
                <a:gd name="connsiteX4991" fmla="*/ 3451384 w 6400800"/>
                <a:gd name="connsiteY4991" fmla="*/ 221456 h 514350"/>
                <a:gd name="connsiteX4992" fmla="*/ 3451384 w 6400800"/>
                <a:gd name="connsiteY4992" fmla="*/ 222409 h 514350"/>
                <a:gd name="connsiteX4993" fmla="*/ 3458051 w 6400800"/>
                <a:gd name="connsiteY4993" fmla="*/ 237649 h 514350"/>
                <a:gd name="connsiteX4994" fmla="*/ 3458051 w 6400800"/>
                <a:gd name="connsiteY4994" fmla="*/ 238601 h 514350"/>
                <a:gd name="connsiteX4995" fmla="*/ 3450431 w 6400800"/>
                <a:gd name="connsiteY4995" fmla="*/ 267176 h 514350"/>
                <a:gd name="connsiteX4996" fmla="*/ 3450431 w 6400800"/>
                <a:gd name="connsiteY4996" fmla="*/ 267176 h 514350"/>
                <a:gd name="connsiteX4997" fmla="*/ 3451384 w 6400800"/>
                <a:gd name="connsiteY4997" fmla="*/ 237649 h 514350"/>
                <a:gd name="connsiteX4998" fmla="*/ 3405664 w 6400800"/>
                <a:gd name="connsiteY4998" fmla="*/ 273844 h 514350"/>
                <a:gd name="connsiteX4999" fmla="*/ 3406616 w 6400800"/>
                <a:gd name="connsiteY4999" fmla="*/ 258604 h 514350"/>
                <a:gd name="connsiteX5000" fmla="*/ 3406616 w 6400800"/>
                <a:gd name="connsiteY5000" fmla="*/ 245269 h 514350"/>
                <a:gd name="connsiteX5001" fmla="*/ 3409474 w 6400800"/>
                <a:gd name="connsiteY5001" fmla="*/ 259556 h 514350"/>
                <a:gd name="connsiteX5002" fmla="*/ 3405664 w 6400800"/>
                <a:gd name="connsiteY5002" fmla="*/ 273844 h 514350"/>
                <a:gd name="connsiteX5003" fmla="*/ 3416141 w 6400800"/>
                <a:gd name="connsiteY5003" fmla="*/ 335756 h 514350"/>
                <a:gd name="connsiteX5004" fmla="*/ 3416141 w 6400800"/>
                <a:gd name="connsiteY5004" fmla="*/ 353854 h 514350"/>
                <a:gd name="connsiteX5005" fmla="*/ 3415189 w 6400800"/>
                <a:gd name="connsiteY5005" fmla="*/ 348139 h 514350"/>
                <a:gd name="connsiteX5006" fmla="*/ 3413284 w 6400800"/>
                <a:gd name="connsiteY5006" fmla="*/ 328136 h 514350"/>
                <a:gd name="connsiteX5007" fmla="*/ 3413284 w 6400800"/>
                <a:gd name="connsiteY5007" fmla="*/ 328136 h 514350"/>
                <a:gd name="connsiteX5008" fmla="*/ 3417094 w 6400800"/>
                <a:gd name="connsiteY5008" fmla="*/ 320516 h 514350"/>
                <a:gd name="connsiteX5009" fmla="*/ 3416141 w 6400800"/>
                <a:gd name="connsiteY5009" fmla="*/ 335756 h 514350"/>
                <a:gd name="connsiteX5010" fmla="*/ 3421856 w 6400800"/>
                <a:gd name="connsiteY5010" fmla="*/ 320516 h 514350"/>
                <a:gd name="connsiteX5011" fmla="*/ 3419951 w 6400800"/>
                <a:gd name="connsiteY5011" fmla="*/ 332899 h 514350"/>
                <a:gd name="connsiteX5012" fmla="*/ 3418046 w 6400800"/>
                <a:gd name="connsiteY5012" fmla="*/ 316706 h 514350"/>
                <a:gd name="connsiteX5013" fmla="*/ 3420904 w 6400800"/>
                <a:gd name="connsiteY5013" fmla="*/ 310991 h 514350"/>
                <a:gd name="connsiteX5014" fmla="*/ 3421856 w 6400800"/>
                <a:gd name="connsiteY5014" fmla="*/ 308134 h 514350"/>
                <a:gd name="connsiteX5015" fmla="*/ 3422809 w 6400800"/>
                <a:gd name="connsiteY5015" fmla="*/ 312896 h 514350"/>
                <a:gd name="connsiteX5016" fmla="*/ 3421856 w 6400800"/>
                <a:gd name="connsiteY5016" fmla="*/ 320516 h 514350"/>
                <a:gd name="connsiteX5017" fmla="*/ 3410426 w 6400800"/>
                <a:gd name="connsiteY5017" fmla="*/ 139541 h 514350"/>
                <a:gd name="connsiteX5018" fmla="*/ 3421856 w 6400800"/>
                <a:gd name="connsiteY5018" fmla="*/ 161449 h 514350"/>
                <a:gd name="connsiteX5019" fmla="*/ 3433286 w 6400800"/>
                <a:gd name="connsiteY5019" fmla="*/ 181451 h 514350"/>
                <a:gd name="connsiteX5020" fmla="*/ 3428524 w 6400800"/>
                <a:gd name="connsiteY5020" fmla="*/ 198596 h 514350"/>
                <a:gd name="connsiteX5021" fmla="*/ 3425666 w 6400800"/>
                <a:gd name="connsiteY5021" fmla="*/ 210026 h 514350"/>
                <a:gd name="connsiteX5022" fmla="*/ 3422809 w 6400800"/>
                <a:gd name="connsiteY5022" fmla="*/ 195739 h 514350"/>
                <a:gd name="connsiteX5023" fmla="*/ 3415189 w 6400800"/>
                <a:gd name="connsiteY5023" fmla="*/ 163354 h 514350"/>
                <a:gd name="connsiteX5024" fmla="*/ 3410426 w 6400800"/>
                <a:gd name="connsiteY5024" fmla="*/ 143351 h 514350"/>
                <a:gd name="connsiteX5025" fmla="*/ 3410426 w 6400800"/>
                <a:gd name="connsiteY5025" fmla="*/ 139541 h 514350"/>
                <a:gd name="connsiteX5026" fmla="*/ 3408521 w 6400800"/>
                <a:gd name="connsiteY5026" fmla="*/ 136684 h 514350"/>
                <a:gd name="connsiteX5027" fmla="*/ 3408521 w 6400800"/>
                <a:gd name="connsiteY5027" fmla="*/ 136684 h 514350"/>
                <a:gd name="connsiteX5028" fmla="*/ 3408521 w 6400800"/>
                <a:gd name="connsiteY5028" fmla="*/ 136684 h 514350"/>
                <a:gd name="connsiteX5029" fmla="*/ 3408521 w 6400800"/>
                <a:gd name="connsiteY5029" fmla="*/ 136684 h 514350"/>
                <a:gd name="connsiteX5030" fmla="*/ 3395186 w 6400800"/>
                <a:gd name="connsiteY5030" fmla="*/ 266224 h 514350"/>
                <a:gd name="connsiteX5031" fmla="*/ 3396139 w 6400800"/>
                <a:gd name="connsiteY5031" fmla="*/ 227171 h 514350"/>
                <a:gd name="connsiteX5032" fmla="*/ 3396139 w 6400800"/>
                <a:gd name="connsiteY5032" fmla="*/ 212884 h 514350"/>
                <a:gd name="connsiteX5033" fmla="*/ 3398996 w 6400800"/>
                <a:gd name="connsiteY5033" fmla="*/ 204311 h 514350"/>
                <a:gd name="connsiteX5034" fmla="*/ 3396139 w 6400800"/>
                <a:gd name="connsiteY5034" fmla="*/ 210026 h 514350"/>
                <a:gd name="connsiteX5035" fmla="*/ 3396139 w 6400800"/>
                <a:gd name="connsiteY5035" fmla="*/ 202406 h 514350"/>
                <a:gd name="connsiteX5036" fmla="*/ 3398044 w 6400800"/>
                <a:gd name="connsiteY5036" fmla="*/ 194786 h 514350"/>
                <a:gd name="connsiteX5037" fmla="*/ 3408521 w 6400800"/>
                <a:gd name="connsiteY5037" fmla="*/ 145256 h 514350"/>
                <a:gd name="connsiteX5038" fmla="*/ 3410426 w 6400800"/>
                <a:gd name="connsiteY5038" fmla="*/ 162401 h 514350"/>
                <a:gd name="connsiteX5039" fmla="*/ 3414236 w 6400800"/>
                <a:gd name="connsiteY5039" fmla="*/ 195739 h 514350"/>
                <a:gd name="connsiteX5040" fmla="*/ 3417094 w 6400800"/>
                <a:gd name="connsiteY5040" fmla="*/ 215741 h 514350"/>
                <a:gd name="connsiteX5041" fmla="*/ 3419951 w 6400800"/>
                <a:gd name="connsiteY5041" fmla="*/ 229076 h 514350"/>
                <a:gd name="connsiteX5042" fmla="*/ 3418046 w 6400800"/>
                <a:gd name="connsiteY5042" fmla="*/ 233839 h 514350"/>
                <a:gd name="connsiteX5043" fmla="*/ 3411379 w 6400800"/>
                <a:gd name="connsiteY5043" fmla="*/ 253841 h 514350"/>
                <a:gd name="connsiteX5044" fmla="*/ 3407569 w 6400800"/>
                <a:gd name="connsiteY5044" fmla="*/ 244316 h 514350"/>
                <a:gd name="connsiteX5045" fmla="*/ 3407569 w 6400800"/>
                <a:gd name="connsiteY5045" fmla="*/ 239554 h 514350"/>
                <a:gd name="connsiteX5046" fmla="*/ 3407569 w 6400800"/>
                <a:gd name="connsiteY5046" fmla="*/ 224314 h 514350"/>
                <a:gd name="connsiteX5047" fmla="*/ 3403759 w 6400800"/>
                <a:gd name="connsiteY5047" fmla="*/ 239554 h 514350"/>
                <a:gd name="connsiteX5048" fmla="*/ 3399949 w 6400800"/>
                <a:gd name="connsiteY5048" fmla="*/ 256699 h 514350"/>
                <a:gd name="connsiteX5049" fmla="*/ 3395186 w 6400800"/>
                <a:gd name="connsiteY5049" fmla="*/ 275749 h 514350"/>
                <a:gd name="connsiteX5050" fmla="*/ 3395186 w 6400800"/>
                <a:gd name="connsiteY5050" fmla="*/ 266224 h 514350"/>
                <a:gd name="connsiteX5051" fmla="*/ 3363754 w 6400800"/>
                <a:gd name="connsiteY5051" fmla="*/ 252889 h 514350"/>
                <a:gd name="connsiteX5052" fmla="*/ 3365659 w 6400800"/>
                <a:gd name="connsiteY5052" fmla="*/ 264319 h 514350"/>
                <a:gd name="connsiteX5053" fmla="*/ 3363754 w 6400800"/>
                <a:gd name="connsiteY5053" fmla="*/ 269081 h 514350"/>
                <a:gd name="connsiteX5054" fmla="*/ 3363754 w 6400800"/>
                <a:gd name="connsiteY5054" fmla="*/ 252889 h 514350"/>
                <a:gd name="connsiteX5055" fmla="*/ 3321844 w 6400800"/>
                <a:gd name="connsiteY5055" fmla="*/ 351949 h 514350"/>
                <a:gd name="connsiteX5056" fmla="*/ 3322796 w 6400800"/>
                <a:gd name="connsiteY5056" fmla="*/ 342424 h 514350"/>
                <a:gd name="connsiteX5057" fmla="*/ 3323749 w 6400800"/>
                <a:gd name="connsiteY5057" fmla="*/ 347186 h 514350"/>
                <a:gd name="connsiteX5058" fmla="*/ 3321844 w 6400800"/>
                <a:gd name="connsiteY5058" fmla="*/ 351949 h 514350"/>
                <a:gd name="connsiteX5059" fmla="*/ 3340894 w 6400800"/>
                <a:gd name="connsiteY5059" fmla="*/ 273844 h 514350"/>
                <a:gd name="connsiteX5060" fmla="*/ 3347561 w 6400800"/>
                <a:gd name="connsiteY5060" fmla="*/ 298609 h 514350"/>
                <a:gd name="connsiteX5061" fmla="*/ 3344704 w 6400800"/>
                <a:gd name="connsiteY5061" fmla="*/ 304324 h 514350"/>
                <a:gd name="connsiteX5062" fmla="*/ 3338989 w 6400800"/>
                <a:gd name="connsiteY5062" fmla="*/ 290989 h 514350"/>
                <a:gd name="connsiteX5063" fmla="*/ 3335179 w 6400800"/>
                <a:gd name="connsiteY5063" fmla="*/ 251936 h 514350"/>
                <a:gd name="connsiteX5064" fmla="*/ 3340894 w 6400800"/>
                <a:gd name="connsiteY5064" fmla="*/ 273844 h 514350"/>
                <a:gd name="connsiteX5065" fmla="*/ 3330416 w 6400800"/>
                <a:gd name="connsiteY5065" fmla="*/ 376714 h 514350"/>
                <a:gd name="connsiteX5066" fmla="*/ 3331369 w 6400800"/>
                <a:gd name="connsiteY5066" fmla="*/ 379571 h 514350"/>
                <a:gd name="connsiteX5067" fmla="*/ 3329464 w 6400800"/>
                <a:gd name="connsiteY5067" fmla="*/ 384334 h 514350"/>
                <a:gd name="connsiteX5068" fmla="*/ 3328511 w 6400800"/>
                <a:gd name="connsiteY5068" fmla="*/ 381476 h 514350"/>
                <a:gd name="connsiteX5069" fmla="*/ 3330416 w 6400800"/>
                <a:gd name="connsiteY5069" fmla="*/ 376714 h 514350"/>
                <a:gd name="connsiteX5070" fmla="*/ 3329464 w 6400800"/>
                <a:gd name="connsiteY5070" fmla="*/ 202406 h 514350"/>
                <a:gd name="connsiteX5071" fmla="*/ 3329464 w 6400800"/>
                <a:gd name="connsiteY5071" fmla="*/ 207169 h 514350"/>
                <a:gd name="connsiteX5072" fmla="*/ 3328511 w 6400800"/>
                <a:gd name="connsiteY5072" fmla="*/ 205264 h 514350"/>
                <a:gd name="connsiteX5073" fmla="*/ 3329464 w 6400800"/>
                <a:gd name="connsiteY5073" fmla="*/ 202406 h 514350"/>
                <a:gd name="connsiteX5074" fmla="*/ 3326606 w 6400800"/>
                <a:gd name="connsiteY5074" fmla="*/ 302419 h 514350"/>
                <a:gd name="connsiteX5075" fmla="*/ 3329464 w 6400800"/>
                <a:gd name="connsiteY5075" fmla="*/ 310039 h 514350"/>
                <a:gd name="connsiteX5076" fmla="*/ 3329464 w 6400800"/>
                <a:gd name="connsiteY5076" fmla="*/ 311944 h 514350"/>
                <a:gd name="connsiteX5077" fmla="*/ 3326606 w 6400800"/>
                <a:gd name="connsiteY5077" fmla="*/ 306229 h 514350"/>
                <a:gd name="connsiteX5078" fmla="*/ 3326606 w 6400800"/>
                <a:gd name="connsiteY5078" fmla="*/ 302419 h 514350"/>
                <a:gd name="connsiteX5079" fmla="*/ 3323749 w 6400800"/>
                <a:gd name="connsiteY5079" fmla="*/ 227171 h 514350"/>
                <a:gd name="connsiteX5080" fmla="*/ 3325654 w 6400800"/>
                <a:gd name="connsiteY5080" fmla="*/ 219551 h 514350"/>
                <a:gd name="connsiteX5081" fmla="*/ 3325654 w 6400800"/>
                <a:gd name="connsiteY5081" fmla="*/ 221456 h 514350"/>
                <a:gd name="connsiteX5082" fmla="*/ 3318034 w 6400800"/>
                <a:gd name="connsiteY5082" fmla="*/ 256699 h 514350"/>
                <a:gd name="connsiteX5083" fmla="*/ 3317081 w 6400800"/>
                <a:gd name="connsiteY5083" fmla="*/ 255746 h 514350"/>
                <a:gd name="connsiteX5084" fmla="*/ 3323749 w 6400800"/>
                <a:gd name="connsiteY5084" fmla="*/ 227171 h 514350"/>
                <a:gd name="connsiteX5085" fmla="*/ 3315176 w 6400800"/>
                <a:gd name="connsiteY5085" fmla="*/ 269081 h 514350"/>
                <a:gd name="connsiteX5086" fmla="*/ 3316129 w 6400800"/>
                <a:gd name="connsiteY5086" fmla="*/ 270986 h 514350"/>
                <a:gd name="connsiteX5087" fmla="*/ 3314224 w 6400800"/>
                <a:gd name="connsiteY5087" fmla="*/ 282416 h 514350"/>
                <a:gd name="connsiteX5088" fmla="*/ 3313271 w 6400800"/>
                <a:gd name="connsiteY5088" fmla="*/ 280511 h 514350"/>
                <a:gd name="connsiteX5089" fmla="*/ 3315176 w 6400800"/>
                <a:gd name="connsiteY5089" fmla="*/ 269081 h 514350"/>
                <a:gd name="connsiteX5090" fmla="*/ 3305651 w 6400800"/>
                <a:gd name="connsiteY5090" fmla="*/ 310991 h 514350"/>
                <a:gd name="connsiteX5091" fmla="*/ 3308509 w 6400800"/>
                <a:gd name="connsiteY5091" fmla="*/ 298609 h 514350"/>
                <a:gd name="connsiteX5092" fmla="*/ 3310414 w 6400800"/>
                <a:gd name="connsiteY5092" fmla="*/ 302419 h 514350"/>
                <a:gd name="connsiteX5093" fmla="*/ 3307556 w 6400800"/>
                <a:gd name="connsiteY5093" fmla="*/ 320516 h 514350"/>
                <a:gd name="connsiteX5094" fmla="*/ 3304699 w 6400800"/>
                <a:gd name="connsiteY5094" fmla="*/ 313849 h 514350"/>
                <a:gd name="connsiteX5095" fmla="*/ 3305651 w 6400800"/>
                <a:gd name="connsiteY5095" fmla="*/ 310991 h 514350"/>
                <a:gd name="connsiteX5096" fmla="*/ 3302794 w 6400800"/>
                <a:gd name="connsiteY5096" fmla="*/ 327184 h 514350"/>
                <a:gd name="connsiteX5097" fmla="*/ 3304699 w 6400800"/>
                <a:gd name="connsiteY5097" fmla="*/ 335756 h 514350"/>
                <a:gd name="connsiteX5098" fmla="*/ 3300889 w 6400800"/>
                <a:gd name="connsiteY5098" fmla="*/ 349091 h 514350"/>
                <a:gd name="connsiteX5099" fmla="*/ 3298984 w 6400800"/>
                <a:gd name="connsiteY5099" fmla="*/ 355759 h 514350"/>
                <a:gd name="connsiteX5100" fmla="*/ 3297079 w 6400800"/>
                <a:gd name="connsiteY5100" fmla="*/ 351949 h 514350"/>
                <a:gd name="connsiteX5101" fmla="*/ 3302794 w 6400800"/>
                <a:gd name="connsiteY5101" fmla="*/ 327184 h 514350"/>
                <a:gd name="connsiteX5102" fmla="*/ 3279934 w 6400800"/>
                <a:gd name="connsiteY5102" fmla="*/ 297656 h 514350"/>
                <a:gd name="connsiteX5103" fmla="*/ 3280886 w 6400800"/>
                <a:gd name="connsiteY5103" fmla="*/ 289084 h 514350"/>
                <a:gd name="connsiteX5104" fmla="*/ 3283744 w 6400800"/>
                <a:gd name="connsiteY5104" fmla="*/ 263366 h 514350"/>
                <a:gd name="connsiteX5105" fmla="*/ 3284696 w 6400800"/>
                <a:gd name="connsiteY5105" fmla="*/ 252889 h 514350"/>
                <a:gd name="connsiteX5106" fmla="*/ 3293269 w 6400800"/>
                <a:gd name="connsiteY5106" fmla="*/ 270034 h 514350"/>
                <a:gd name="connsiteX5107" fmla="*/ 3291364 w 6400800"/>
                <a:gd name="connsiteY5107" fmla="*/ 277654 h 514350"/>
                <a:gd name="connsiteX5108" fmla="*/ 3290411 w 6400800"/>
                <a:gd name="connsiteY5108" fmla="*/ 283369 h 514350"/>
                <a:gd name="connsiteX5109" fmla="*/ 3289459 w 6400800"/>
                <a:gd name="connsiteY5109" fmla="*/ 264319 h 514350"/>
                <a:gd name="connsiteX5110" fmla="*/ 3281839 w 6400800"/>
                <a:gd name="connsiteY5110" fmla="*/ 317659 h 514350"/>
                <a:gd name="connsiteX5111" fmla="*/ 3280886 w 6400800"/>
                <a:gd name="connsiteY5111" fmla="*/ 317659 h 514350"/>
                <a:gd name="connsiteX5112" fmla="*/ 3280886 w 6400800"/>
                <a:gd name="connsiteY5112" fmla="*/ 316706 h 514350"/>
                <a:gd name="connsiteX5113" fmla="*/ 3279934 w 6400800"/>
                <a:gd name="connsiteY5113" fmla="*/ 315754 h 514350"/>
                <a:gd name="connsiteX5114" fmla="*/ 3278981 w 6400800"/>
                <a:gd name="connsiteY5114" fmla="*/ 313849 h 514350"/>
                <a:gd name="connsiteX5115" fmla="*/ 3279934 w 6400800"/>
                <a:gd name="connsiteY5115" fmla="*/ 297656 h 514350"/>
                <a:gd name="connsiteX5116" fmla="*/ 3263741 w 6400800"/>
                <a:gd name="connsiteY5116" fmla="*/ 295751 h 514350"/>
                <a:gd name="connsiteX5117" fmla="*/ 3263741 w 6400800"/>
                <a:gd name="connsiteY5117" fmla="*/ 293846 h 514350"/>
                <a:gd name="connsiteX5118" fmla="*/ 3263741 w 6400800"/>
                <a:gd name="connsiteY5118" fmla="*/ 295751 h 514350"/>
                <a:gd name="connsiteX5119" fmla="*/ 3264694 w 6400800"/>
                <a:gd name="connsiteY5119" fmla="*/ 296704 h 514350"/>
                <a:gd name="connsiteX5120" fmla="*/ 3262789 w 6400800"/>
                <a:gd name="connsiteY5120" fmla="*/ 306229 h 514350"/>
                <a:gd name="connsiteX5121" fmla="*/ 3263741 w 6400800"/>
                <a:gd name="connsiteY5121" fmla="*/ 295751 h 514350"/>
                <a:gd name="connsiteX5122" fmla="*/ 3232309 w 6400800"/>
                <a:gd name="connsiteY5122" fmla="*/ 381476 h 514350"/>
                <a:gd name="connsiteX5123" fmla="*/ 3232309 w 6400800"/>
                <a:gd name="connsiteY5123" fmla="*/ 357664 h 514350"/>
                <a:gd name="connsiteX5124" fmla="*/ 3232309 w 6400800"/>
                <a:gd name="connsiteY5124" fmla="*/ 358616 h 514350"/>
                <a:gd name="connsiteX5125" fmla="*/ 3233261 w 6400800"/>
                <a:gd name="connsiteY5125" fmla="*/ 360521 h 514350"/>
                <a:gd name="connsiteX5126" fmla="*/ 3232309 w 6400800"/>
                <a:gd name="connsiteY5126" fmla="*/ 381476 h 514350"/>
                <a:gd name="connsiteX5127" fmla="*/ 3239929 w 6400800"/>
                <a:gd name="connsiteY5127" fmla="*/ 327184 h 514350"/>
                <a:gd name="connsiteX5128" fmla="*/ 3241834 w 6400800"/>
                <a:gd name="connsiteY5128" fmla="*/ 339566 h 514350"/>
                <a:gd name="connsiteX5129" fmla="*/ 3239929 w 6400800"/>
                <a:gd name="connsiteY5129" fmla="*/ 333851 h 514350"/>
                <a:gd name="connsiteX5130" fmla="*/ 3239929 w 6400800"/>
                <a:gd name="connsiteY5130" fmla="*/ 329089 h 514350"/>
                <a:gd name="connsiteX5131" fmla="*/ 3239929 w 6400800"/>
                <a:gd name="connsiteY5131" fmla="*/ 327184 h 514350"/>
                <a:gd name="connsiteX5132" fmla="*/ 3234214 w 6400800"/>
                <a:gd name="connsiteY5132" fmla="*/ 318611 h 514350"/>
                <a:gd name="connsiteX5133" fmla="*/ 3237071 w 6400800"/>
                <a:gd name="connsiteY5133" fmla="*/ 310039 h 514350"/>
                <a:gd name="connsiteX5134" fmla="*/ 3238024 w 6400800"/>
                <a:gd name="connsiteY5134" fmla="*/ 314801 h 514350"/>
                <a:gd name="connsiteX5135" fmla="*/ 3238024 w 6400800"/>
                <a:gd name="connsiteY5135" fmla="*/ 316706 h 514350"/>
                <a:gd name="connsiteX5136" fmla="*/ 3237071 w 6400800"/>
                <a:gd name="connsiteY5136" fmla="*/ 317659 h 514350"/>
                <a:gd name="connsiteX5137" fmla="*/ 3237071 w 6400800"/>
                <a:gd name="connsiteY5137" fmla="*/ 311944 h 514350"/>
                <a:gd name="connsiteX5138" fmla="*/ 3236119 w 6400800"/>
                <a:gd name="connsiteY5138" fmla="*/ 319564 h 514350"/>
                <a:gd name="connsiteX5139" fmla="*/ 3234214 w 6400800"/>
                <a:gd name="connsiteY5139" fmla="*/ 322421 h 514350"/>
                <a:gd name="connsiteX5140" fmla="*/ 3233261 w 6400800"/>
                <a:gd name="connsiteY5140" fmla="*/ 319564 h 514350"/>
                <a:gd name="connsiteX5141" fmla="*/ 3234214 w 6400800"/>
                <a:gd name="connsiteY5141" fmla="*/ 318611 h 514350"/>
                <a:gd name="connsiteX5142" fmla="*/ 3233261 w 6400800"/>
                <a:gd name="connsiteY5142" fmla="*/ 286226 h 514350"/>
                <a:gd name="connsiteX5143" fmla="*/ 3233261 w 6400800"/>
                <a:gd name="connsiteY5143" fmla="*/ 288131 h 514350"/>
                <a:gd name="connsiteX5144" fmla="*/ 3232309 w 6400800"/>
                <a:gd name="connsiteY5144" fmla="*/ 290036 h 514350"/>
                <a:gd name="connsiteX5145" fmla="*/ 3232309 w 6400800"/>
                <a:gd name="connsiteY5145" fmla="*/ 282416 h 514350"/>
                <a:gd name="connsiteX5146" fmla="*/ 3233261 w 6400800"/>
                <a:gd name="connsiteY5146" fmla="*/ 286226 h 514350"/>
                <a:gd name="connsiteX5147" fmla="*/ 3222784 w 6400800"/>
                <a:gd name="connsiteY5147" fmla="*/ 285274 h 514350"/>
                <a:gd name="connsiteX5148" fmla="*/ 3223736 w 6400800"/>
                <a:gd name="connsiteY5148" fmla="*/ 273844 h 514350"/>
                <a:gd name="connsiteX5149" fmla="*/ 3224689 w 6400800"/>
                <a:gd name="connsiteY5149" fmla="*/ 270034 h 514350"/>
                <a:gd name="connsiteX5150" fmla="*/ 3224689 w 6400800"/>
                <a:gd name="connsiteY5150" fmla="*/ 270986 h 514350"/>
                <a:gd name="connsiteX5151" fmla="*/ 3227546 w 6400800"/>
                <a:gd name="connsiteY5151" fmla="*/ 253841 h 514350"/>
                <a:gd name="connsiteX5152" fmla="*/ 3227546 w 6400800"/>
                <a:gd name="connsiteY5152" fmla="*/ 253841 h 514350"/>
                <a:gd name="connsiteX5153" fmla="*/ 3223736 w 6400800"/>
                <a:gd name="connsiteY5153" fmla="*/ 292894 h 514350"/>
                <a:gd name="connsiteX5154" fmla="*/ 3222784 w 6400800"/>
                <a:gd name="connsiteY5154" fmla="*/ 291941 h 514350"/>
                <a:gd name="connsiteX5155" fmla="*/ 3222784 w 6400800"/>
                <a:gd name="connsiteY5155" fmla="*/ 290989 h 514350"/>
                <a:gd name="connsiteX5156" fmla="*/ 3222784 w 6400800"/>
                <a:gd name="connsiteY5156" fmla="*/ 285274 h 514350"/>
                <a:gd name="connsiteX5157" fmla="*/ 3217069 w 6400800"/>
                <a:gd name="connsiteY5157" fmla="*/ 207169 h 514350"/>
                <a:gd name="connsiteX5158" fmla="*/ 3219926 w 6400800"/>
                <a:gd name="connsiteY5158" fmla="*/ 219551 h 514350"/>
                <a:gd name="connsiteX5159" fmla="*/ 3215164 w 6400800"/>
                <a:gd name="connsiteY5159" fmla="*/ 238601 h 514350"/>
                <a:gd name="connsiteX5160" fmla="*/ 3217069 w 6400800"/>
                <a:gd name="connsiteY5160" fmla="*/ 207169 h 514350"/>
                <a:gd name="connsiteX5161" fmla="*/ 3191351 w 6400800"/>
                <a:gd name="connsiteY5161" fmla="*/ 249079 h 514350"/>
                <a:gd name="connsiteX5162" fmla="*/ 3192304 w 6400800"/>
                <a:gd name="connsiteY5162" fmla="*/ 232886 h 514350"/>
                <a:gd name="connsiteX5163" fmla="*/ 3194209 w 6400800"/>
                <a:gd name="connsiteY5163" fmla="*/ 238601 h 514350"/>
                <a:gd name="connsiteX5164" fmla="*/ 3191351 w 6400800"/>
                <a:gd name="connsiteY5164" fmla="*/ 265271 h 514350"/>
                <a:gd name="connsiteX5165" fmla="*/ 3191351 w 6400800"/>
                <a:gd name="connsiteY5165" fmla="*/ 249079 h 514350"/>
                <a:gd name="connsiteX5166" fmla="*/ 3155156 w 6400800"/>
                <a:gd name="connsiteY5166" fmla="*/ 313849 h 514350"/>
                <a:gd name="connsiteX5167" fmla="*/ 3156109 w 6400800"/>
                <a:gd name="connsiteY5167" fmla="*/ 320516 h 514350"/>
                <a:gd name="connsiteX5168" fmla="*/ 3158014 w 6400800"/>
                <a:gd name="connsiteY5168" fmla="*/ 334804 h 514350"/>
                <a:gd name="connsiteX5169" fmla="*/ 3154204 w 6400800"/>
                <a:gd name="connsiteY5169" fmla="*/ 354806 h 514350"/>
                <a:gd name="connsiteX5170" fmla="*/ 3152299 w 6400800"/>
                <a:gd name="connsiteY5170" fmla="*/ 351949 h 514350"/>
                <a:gd name="connsiteX5171" fmla="*/ 3152299 w 6400800"/>
                <a:gd name="connsiteY5171" fmla="*/ 350044 h 514350"/>
                <a:gd name="connsiteX5172" fmla="*/ 3151346 w 6400800"/>
                <a:gd name="connsiteY5172" fmla="*/ 345281 h 514350"/>
                <a:gd name="connsiteX5173" fmla="*/ 3151346 w 6400800"/>
                <a:gd name="connsiteY5173" fmla="*/ 344329 h 514350"/>
                <a:gd name="connsiteX5174" fmla="*/ 3151346 w 6400800"/>
                <a:gd name="connsiteY5174" fmla="*/ 338614 h 514350"/>
                <a:gd name="connsiteX5175" fmla="*/ 3155156 w 6400800"/>
                <a:gd name="connsiteY5175" fmla="*/ 313849 h 514350"/>
                <a:gd name="connsiteX5176" fmla="*/ 3139916 w 6400800"/>
                <a:gd name="connsiteY5176" fmla="*/ 213836 h 514350"/>
                <a:gd name="connsiteX5177" fmla="*/ 3143726 w 6400800"/>
                <a:gd name="connsiteY5177" fmla="*/ 235744 h 514350"/>
                <a:gd name="connsiteX5178" fmla="*/ 3148489 w 6400800"/>
                <a:gd name="connsiteY5178" fmla="*/ 267176 h 514350"/>
                <a:gd name="connsiteX5179" fmla="*/ 3143726 w 6400800"/>
                <a:gd name="connsiteY5179" fmla="*/ 284321 h 514350"/>
                <a:gd name="connsiteX5180" fmla="*/ 3137059 w 6400800"/>
                <a:gd name="connsiteY5180" fmla="*/ 216694 h 514350"/>
                <a:gd name="connsiteX5181" fmla="*/ 3139916 w 6400800"/>
                <a:gd name="connsiteY5181" fmla="*/ 213836 h 514350"/>
                <a:gd name="connsiteX5182" fmla="*/ 3130391 w 6400800"/>
                <a:gd name="connsiteY5182" fmla="*/ 337661 h 514350"/>
                <a:gd name="connsiteX5183" fmla="*/ 3130391 w 6400800"/>
                <a:gd name="connsiteY5183" fmla="*/ 335756 h 514350"/>
                <a:gd name="connsiteX5184" fmla="*/ 3130391 w 6400800"/>
                <a:gd name="connsiteY5184" fmla="*/ 335756 h 514350"/>
                <a:gd name="connsiteX5185" fmla="*/ 3130391 w 6400800"/>
                <a:gd name="connsiteY5185" fmla="*/ 337661 h 514350"/>
                <a:gd name="connsiteX5186" fmla="*/ 3130391 w 6400800"/>
                <a:gd name="connsiteY5186" fmla="*/ 328136 h 514350"/>
                <a:gd name="connsiteX5187" fmla="*/ 3130391 w 6400800"/>
                <a:gd name="connsiteY5187" fmla="*/ 328136 h 514350"/>
                <a:gd name="connsiteX5188" fmla="*/ 3130391 w 6400800"/>
                <a:gd name="connsiteY5188" fmla="*/ 328136 h 514350"/>
                <a:gd name="connsiteX5189" fmla="*/ 3130391 w 6400800"/>
                <a:gd name="connsiteY5189" fmla="*/ 328136 h 514350"/>
                <a:gd name="connsiteX5190" fmla="*/ 3133249 w 6400800"/>
                <a:gd name="connsiteY5190" fmla="*/ 276701 h 514350"/>
                <a:gd name="connsiteX5191" fmla="*/ 3133249 w 6400800"/>
                <a:gd name="connsiteY5191" fmla="*/ 276701 h 514350"/>
                <a:gd name="connsiteX5192" fmla="*/ 3128486 w 6400800"/>
                <a:gd name="connsiteY5192" fmla="*/ 259556 h 514350"/>
                <a:gd name="connsiteX5193" fmla="*/ 3127534 w 6400800"/>
                <a:gd name="connsiteY5193" fmla="*/ 246221 h 514350"/>
                <a:gd name="connsiteX5194" fmla="*/ 3135154 w 6400800"/>
                <a:gd name="connsiteY5194" fmla="*/ 223361 h 514350"/>
                <a:gd name="connsiteX5195" fmla="*/ 3133249 w 6400800"/>
                <a:gd name="connsiteY5195" fmla="*/ 276701 h 514350"/>
                <a:gd name="connsiteX5196" fmla="*/ 3130391 w 6400800"/>
                <a:gd name="connsiteY5196" fmla="*/ 229076 h 514350"/>
                <a:gd name="connsiteX5197" fmla="*/ 3136106 w 6400800"/>
                <a:gd name="connsiteY5197" fmla="*/ 219551 h 514350"/>
                <a:gd name="connsiteX5198" fmla="*/ 3136106 w 6400800"/>
                <a:gd name="connsiteY5198" fmla="*/ 221456 h 514350"/>
                <a:gd name="connsiteX5199" fmla="*/ 3127534 w 6400800"/>
                <a:gd name="connsiteY5199" fmla="*/ 236696 h 514350"/>
                <a:gd name="connsiteX5200" fmla="*/ 3127534 w 6400800"/>
                <a:gd name="connsiteY5200" fmla="*/ 234791 h 514350"/>
                <a:gd name="connsiteX5201" fmla="*/ 3130391 w 6400800"/>
                <a:gd name="connsiteY5201" fmla="*/ 229076 h 514350"/>
                <a:gd name="connsiteX5202" fmla="*/ 3114199 w 6400800"/>
                <a:gd name="connsiteY5202" fmla="*/ 290036 h 514350"/>
                <a:gd name="connsiteX5203" fmla="*/ 3113246 w 6400800"/>
                <a:gd name="connsiteY5203" fmla="*/ 287179 h 514350"/>
                <a:gd name="connsiteX5204" fmla="*/ 3113246 w 6400800"/>
                <a:gd name="connsiteY5204" fmla="*/ 286226 h 514350"/>
                <a:gd name="connsiteX5205" fmla="*/ 3115151 w 6400800"/>
                <a:gd name="connsiteY5205" fmla="*/ 281464 h 514350"/>
                <a:gd name="connsiteX5206" fmla="*/ 3114199 w 6400800"/>
                <a:gd name="connsiteY5206" fmla="*/ 290036 h 514350"/>
                <a:gd name="connsiteX5207" fmla="*/ 3115151 w 6400800"/>
                <a:gd name="connsiteY5207" fmla="*/ 257651 h 514350"/>
                <a:gd name="connsiteX5208" fmla="*/ 3116104 w 6400800"/>
                <a:gd name="connsiteY5208" fmla="*/ 255746 h 514350"/>
                <a:gd name="connsiteX5209" fmla="*/ 3115151 w 6400800"/>
                <a:gd name="connsiteY5209" fmla="*/ 257651 h 514350"/>
                <a:gd name="connsiteX5210" fmla="*/ 3109436 w 6400800"/>
                <a:gd name="connsiteY5210" fmla="*/ 270034 h 514350"/>
                <a:gd name="connsiteX5211" fmla="*/ 3115151 w 6400800"/>
                <a:gd name="connsiteY5211" fmla="*/ 257651 h 514350"/>
                <a:gd name="connsiteX5212" fmla="*/ 3110389 w 6400800"/>
                <a:gd name="connsiteY5212" fmla="*/ 292894 h 514350"/>
                <a:gd name="connsiteX5213" fmla="*/ 3113246 w 6400800"/>
                <a:gd name="connsiteY5213" fmla="*/ 309086 h 514350"/>
                <a:gd name="connsiteX5214" fmla="*/ 3114199 w 6400800"/>
                <a:gd name="connsiteY5214" fmla="*/ 311944 h 514350"/>
                <a:gd name="connsiteX5215" fmla="*/ 3114199 w 6400800"/>
                <a:gd name="connsiteY5215" fmla="*/ 321469 h 514350"/>
                <a:gd name="connsiteX5216" fmla="*/ 3114199 w 6400800"/>
                <a:gd name="connsiteY5216" fmla="*/ 319564 h 514350"/>
                <a:gd name="connsiteX5217" fmla="*/ 3110389 w 6400800"/>
                <a:gd name="connsiteY5217" fmla="*/ 309086 h 514350"/>
                <a:gd name="connsiteX5218" fmla="*/ 3109436 w 6400800"/>
                <a:gd name="connsiteY5218" fmla="*/ 300514 h 514350"/>
                <a:gd name="connsiteX5219" fmla="*/ 3109436 w 6400800"/>
                <a:gd name="connsiteY5219" fmla="*/ 299561 h 514350"/>
                <a:gd name="connsiteX5220" fmla="*/ 3110389 w 6400800"/>
                <a:gd name="connsiteY5220" fmla="*/ 292894 h 514350"/>
                <a:gd name="connsiteX5221" fmla="*/ 3098006 w 6400800"/>
                <a:gd name="connsiteY5221" fmla="*/ 350996 h 514350"/>
                <a:gd name="connsiteX5222" fmla="*/ 3098006 w 6400800"/>
                <a:gd name="connsiteY5222" fmla="*/ 350996 h 514350"/>
                <a:gd name="connsiteX5223" fmla="*/ 3098006 w 6400800"/>
                <a:gd name="connsiteY5223" fmla="*/ 353854 h 514350"/>
                <a:gd name="connsiteX5224" fmla="*/ 3097054 w 6400800"/>
                <a:gd name="connsiteY5224" fmla="*/ 354806 h 514350"/>
                <a:gd name="connsiteX5225" fmla="*/ 3098006 w 6400800"/>
                <a:gd name="connsiteY5225" fmla="*/ 350996 h 514350"/>
                <a:gd name="connsiteX5226" fmla="*/ 3093244 w 6400800"/>
                <a:gd name="connsiteY5226" fmla="*/ 377666 h 514350"/>
                <a:gd name="connsiteX5227" fmla="*/ 3097054 w 6400800"/>
                <a:gd name="connsiteY5227" fmla="*/ 370046 h 514350"/>
                <a:gd name="connsiteX5228" fmla="*/ 3094196 w 6400800"/>
                <a:gd name="connsiteY5228" fmla="*/ 373856 h 514350"/>
                <a:gd name="connsiteX5229" fmla="*/ 3097054 w 6400800"/>
                <a:gd name="connsiteY5229" fmla="*/ 355759 h 514350"/>
                <a:gd name="connsiteX5230" fmla="*/ 3098006 w 6400800"/>
                <a:gd name="connsiteY5230" fmla="*/ 353854 h 514350"/>
                <a:gd name="connsiteX5231" fmla="*/ 3098006 w 6400800"/>
                <a:gd name="connsiteY5231" fmla="*/ 371951 h 514350"/>
                <a:gd name="connsiteX5232" fmla="*/ 3098006 w 6400800"/>
                <a:gd name="connsiteY5232" fmla="*/ 383381 h 514350"/>
                <a:gd name="connsiteX5233" fmla="*/ 3095149 w 6400800"/>
                <a:gd name="connsiteY5233" fmla="*/ 383381 h 514350"/>
                <a:gd name="connsiteX5234" fmla="*/ 3095149 w 6400800"/>
                <a:gd name="connsiteY5234" fmla="*/ 383381 h 514350"/>
                <a:gd name="connsiteX5235" fmla="*/ 3093244 w 6400800"/>
                <a:gd name="connsiteY5235" fmla="*/ 378619 h 514350"/>
                <a:gd name="connsiteX5236" fmla="*/ 3093244 w 6400800"/>
                <a:gd name="connsiteY5236" fmla="*/ 377666 h 514350"/>
                <a:gd name="connsiteX5237" fmla="*/ 3084671 w 6400800"/>
                <a:gd name="connsiteY5237" fmla="*/ 293846 h 514350"/>
                <a:gd name="connsiteX5238" fmla="*/ 3085624 w 6400800"/>
                <a:gd name="connsiteY5238" fmla="*/ 276701 h 514350"/>
                <a:gd name="connsiteX5239" fmla="*/ 3085624 w 6400800"/>
                <a:gd name="connsiteY5239" fmla="*/ 278606 h 514350"/>
                <a:gd name="connsiteX5240" fmla="*/ 3088481 w 6400800"/>
                <a:gd name="connsiteY5240" fmla="*/ 289084 h 514350"/>
                <a:gd name="connsiteX5241" fmla="*/ 3086576 w 6400800"/>
                <a:gd name="connsiteY5241" fmla="*/ 291941 h 514350"/>
                <a:gd name="connsiteX5242" fmla="*/ 3084671 w 6400800"/>
                <a:gd name="connsiteY5242" fmla="*/ 296704 h 514350"/>
                <a:gd name="connsiteX5243" fmla="*/ 3084671 w 6400800"/>
                <a:gd name="connsiteY5243" fmla="*/ 293846 h 514350"/>
                <a:gd name="connsiteX5244" fmla="*/ 3086576 w 6400800"/>
                <a:gd name="connsiteY5244" fmla="*/ 348139 h 514350"/>
                <a:gd name="connsiteX5245" fmla="*/ 3086576 w 6400800"/>
                <a:gd name="connsiteY5245" fmla="*/ 350044 h 514350"/>
                <a:gd name="connsiteX5246" fmla="*/ 3083719 w 6400800"/>
                <a:gd name="connsiteY5246" fmla="*/ 361474 h 514350"/>
                <a:gd name="connsiteX5247" fmla="*/ 3083719 w 6400800"/>
                <a:gd name="connsiteY5247" fmla="*/ 357664 h 514350"/>
                <a:gd name="connsiteX5248" fmla="*/ 3086576 w 6400800"/>
                <a:gd name="connsiteY5248" fmla="*/ 348139 h 514350"/>
                <a:gd name="connsiteX5249" fmla="*/ 3057049 w 6400800"/>
                <a:gd name="connsiteY5249" fmla="*/ 235744 h 514350"/>
                <a:gd name="connsiteX5250" fmla="*/ 3059906 w 6400800"/>
                <a:gd name="connsiteY5250" fmla="*/ 210979 h 514350"/>
                <a:gd name="connsiteX5251" fmla="*/ 3062764 w 6400800"/>
                <a:gd name="connsiteY5251" fmla="*/ 191929 h 514350"/>
                <a:gd name="connsiteX5252" fmla="*/ 3067526 w 6400800"/>
                <a:gd name="connsiteY5252" fmla="*/ 209074 h 514350"/>
                <a:gd name="connsiteX5253" fmla="*/ 3066574 w 6400800"/>
                <a:gd name="connsiteY5253" fmla="*/ 222409 h 514350"/>
                <a:gd name="connsiteX5254" fmla="*/ 3063716 w 6400800"/>
                <a:gd name="connsiteY5254" fmla="*/ 253841 h 514350"/>
                <a:gd name="connsiteX5255" fmla="*/ 3059906 w 6400800"/>
                <a:gd name="connsiteY5255" fmla="*/ 268129 h 514350"/>
                <a:gd name="connsiteX5256" fmla="*/ 3057049 w 6400800"/>
                <a:gd name="connsiteY5256" fmla="*/ 252889 h 514350"/>
                <a:gd name="connsiteX5257" fmla="*/ 3056096 w 6400800"/>
                <a:gd name="connsiteY5257" fmla="*/ 248126 h 514350"/>
                <a:gd name="connsiteX5258" fmla="*/ 3057049 w 6400800"/>
                <a:gd name="connsiteY5258" fmla="*/ 235744 h 514350"/>
                <a:gd name="connsiteX5259" fmla="*/ 3002756 w 6400800"/>
                <a:gd name="connsiteY5259" fmla="*/ 307181 h 514350"/>
                <a:gd name="connsiteX5260" fmla="*/ 3001804 w 6400800"/>
                <a:gd name="connsiteY5260" fmla="*/ 310039 h 514350"/>
                <a:gd name="connsiteX5261" fmla="*/ 3002756 w 6400800"/>
                <a:gd name="connsiteY5261" fmla="*/ 305276 h 514350"/>
                <a:gd name="connsiteX5262" fmla="*/ 3006566 w 6400800"/>
                <a:gd name="connsiteY5262" fmla="*/ 286226 h 514350"/>
                <a:gd name="connsiteX5263" fmla="*/ 3008471 w 6400800"/>
                <a:gd name="connsiteY5263" fmla="*/ 290036 h 514350"/>
                <a:gd name="connsiteX5264" fmla="*/ 3002756 w 6400800"/>
                <a:gd name="connsiteY5264" fmla="*/ 307181 h 514350"/>
                <a:gd name="connsiteX5265" fmla="*/ 3036094 w 6400800"/>
                <a:gd name="connsiteY5265" fmla="*/ 249079 h 514350"/>
                <a:gd name="connsiteX5266" fmla="*/ 3036094 w 6400800"/>
                <a:gd name="connsiteY5266" fmla="*/ 266224 h 514350"/>
                <a:gd name="connsiteX5267" fmla="*/ 3033236 w 6400800"/>
                <a:gd name="connsiteY5267" fmla="*/ 258604 h 514350"/>
                <a:gd name="connsiteX5268" fmla="*/ 3036094 w 6400800"/>
                <a:gd name="connsiteY5268" fmla="*/ 249079 h 514350"/>
                <a:gd name="connsiteX5269" fmla="*/ 3030379 w 6400800"/>
                <a:gd name="connsiteY5269" fmla="*/ 269081 h 514350"/>
                <a:gd name="connsiteX5270" fmla="*/ 3030379 w 6400800"/>
                <a:gd name="connsiteY5270" fmla="*/ 269081 h 514350"/>
                <a:gd name="connsiteX5271" fmla="*/ 3030379 w 6400800"/>
                <a:gd name="connsiteY5271" fmla="*/ 269081 h 514350"/>
                <a:gd name="connsiteX5272" fmla="*/ 3030379 w 6400800"/>
                <a:gd name="connsiteY5272" fmla="*/ 269081 h 514350"/>
                <a:gd name="connsiteX5273" fmla="*/ 3027521 w 6400800"/>
                <a:gd name="connsiteY5273" fmla="*/ 353854 h 514350"/>
                <a:gd name="connsiteX5274" fmla="*/ 3023711 w 6400800"/>
                <a:gd name="connsiteY5274" fmla="*/ 364331 h 514350"/>
                <a:gd name="connsiteX5275" fmla="*/ 3017996 w 6400800"/>
                <a:gd name="connsiteY5275" fmla="*/ 383381 h 514350"/>
                <a:gd name="connsiteX5276" fmla="*/ 3017044 w 6400800"/>
                <a:gd name="connsiteY5276" fmla="*/ 385286 h 514350"/>
                <a:gd name="connsiteX5277" fmla="*/ 3015139 w 6400800"/>
                <a:gd name="connsiteY5277" fmla="*/ 376714 h 514350"/>
                <a:gd name="connsiteX5278" fmla="*/ 3020854 w 6400800"/>
                <a:gd name="connsiteY5278" fmla="*/ 366236 h 514350"/>
                <a:gd name="connsiteX5279" fmla="*/ 3028474 w 6400800"/>
                <a:gd name="connsiteY5279" fmla="*/ 352901 h 514350"/>
                <a:gd name="connsiteX5280" fmla="*/ 3027521 w 6400800"/>
                <a:gd name="connsiteY5280" fmla="*/ 353854 h 514350"/>
                <a:gd name="connsiteX5281" fmla="*/ 3021806 w 6400800"/>
                <a:gd name="connsiteY5281" fmla="*/ 230029 h 514350"/>
                <a:gd name="connsiteX5282" fmla="*/ 3024664 w 6400800"/>
                <a:gd name="connsiteY5282" fmla="*/ 241459 h 514350"/>
                <a:gd name="connsiteX5283" fmla="*/ 3024664 w 6400800"/>
                <a:gd name="connsiteY5283" fmla="*/ 241459 h 514350"/>
                <a:gd name="connsiteX5284" fmla="*/ 3021806 w 6400800"/>
                <a:gd name="connsiteY5284" fmla="*/ 230029 h 514350"/>
                <a:gd name="connsiteX5285" fmla="*/ 3021806 w 6400800"/>
                <a:gd name="connsiteY5285" fmla="*/ 230029 h 514350"/>
                <a:gd name="connsiteX5286" fmla="*/ 3020854 w 6400800"/>
                <a:gd name="connsiteY5286" fmla="*/ 305276 h 514350"/>
                <a:gd name="connsiteX5287" fmla="*/ 3020854 w 6400800"/>
                <a:gd name="connsiteY5287" fmla="*/ 305276 h 514350"/>
                <a:gd name="connsiteX5288" fmla="*/ 3020854 w 6400800"/>
                <a:gd name="connsiteY5288" fmla="*/ 305276 h 514350"/>
                <a:gd name="connsiteX5289" fmla="*/ 3020854 w 6400800"/>
                <a:gd name="connsiteY5289" fmla="*/ 305276 h 514350"/>
                <a:gd name="connsiteX5290" fmla="*/ 3017996 w 6400800"/>
                <a:gd name="connsiteY5290" fmla="*/ 317659 h 514350"/>
                <a:gd name="connsiteX5291" fmla="*/ 3021806 w 6400800"/>
                <a:gd name="connsiteY5291" fmla="*/ 329089 h 514350"/>
                <a:gd name="connsiteX5292" fmla="*/ 3025616 w 6400800"/>
                <a:gd name="connsiteY5292" fmla="*/ 339566 h 514350"/>
                <a:gd name="connsiteX5293" fmla="*/ 3011329 w 6400800"/>
                <a:gd name="connsiteY5293" fmla="*/ 359569 h 514350"/>
                <a:gd name="connsiteX5294" fmla="*/ 3011329 w 6400800"/>
                <a:gd name="connsiteY5294" fmla="*/ 360521 h 514350"/>
                <a:gd name="connsiteX5295" fmla="*/ 3009424 w 6400800"/>
                <a:gd name="connsiteY5295" fmla="*/ 351949 h 514350"/>
                <a:gd name="connsiteX5296" fmla="*/ 3017996 w 6400800"/>
                <a:gd name="connsiteY5296" fmla="*/ 317659 h 514350"/>
                <a:gd name="connsiteX5297" fmla="*/ 3013234 w 6400800"/>
                <a:gd name="connsiteY5297" fmla="*/ 257651 h 514350"/>
                <a:gd name="connsiteX5298" fmla="*/ 3014186 w 6400800"/>
                <a:gd name="connsiteY5298" fmla="*/ 261461 h 514350"/>
                <a:gd name="connsiteX5299" fmla="*/ 3015139 w 6400800"/>
                <a:gd name="connsiteY5299" fmla="*/ 269081 h 514350"/>
                <a:gd name="connsiteX5300" fmla="*/ 3010376 w 6400800"/>
                <a:gd name="connsiteY5300" fmla="*/ 284321 h 514350"/>
                <a:gd name="connsiteX5301" fmla="*/ 3009424 w 6400800"/>
                <a:gd name="connsiteY5301" fmla="*/ 282416 h 514350"/>
                <a:gd name="connsiteX5302" fmla="*/ 3008471 w 6400800"/>
                <a:gd name="connsiteY5302" fmla="*/ 279559 h 514350"/>
                <a:gd name="connsiteX5303" fmla="*/ 3009424 w 6400800"/>
                <a:gd name="connsiteY5303" fmla="*/ 276701 h 514350"/>
                <a:gd name="connsiteX5304" fmla="*/ 3013234 w 6400800"/>
                <a:gd name="connsiteY5304" fmla="*/ 257651 h 514350"/>
                <a:gd name="connsiteX5305" fmla="*/ 3008471 w 6400800"/>
                <a:gd name="connsiteY5305" fmla="*/ 230029 h 514350"/>
                <a:gd name="connsiteX5306" fmla="*/ 3010376 w 6400800"/>
                <a:gd name="connsiteY5306" fmla="*/ 244316 h 514350"/>
                <a:gd name="connsiteX5307" fmla="*/ 3007519 w 6400800"/>
                <a:gd name="connsiteY5307" fmla="*/ 250984 h 514350"/>
                <a:gd name="connsiteX5308" fmla="*/ 3001804 w 6400800"/>
                <a:gd name="connsiteY5308" fmla="*/ 264319 h 514350"/>
                <a:gd name="connsiteX5309" fmla="*/ 3008471 w 6400800"/>
                <a:gd name="connsiteY5309" fmla="*/ 230029 h 514350"/>
                <a:gd name="connsiteX5310" fmla="*/ 3003709 w 6400800"/>
                <a:gd name="connsiteY5310" fmla="*/ 195739 h 514350"/>
                <a:gd name="connsiteX5311" fmla="*/ 3004661 w 6400800"/>
                <a:gd name="connsiteY5311" fmla="*/ 205264 h 514350"/>
                <a:gd name="connsiteX5312" fmla="*/ 2997994 w 6400800"/>
                <a:gd name="connsiteY5312" fmla="*/ 223361 h 514350"/>
                <a:gd name="connsiteX5313" fmla="*/ 2986564 w 6400800"/>
                <a:gd name="connsiteY5313" fmla="*/ 262414 h 514350"/>
                <a:gd name="connsiteX5314" fmla="*/ 2984659 w 6400800"/>
                <a:gd name="connsiteY5314" fmla="*/ 270986 h 514350"/>
                <a:gd name="connsiteX5315" fmla="*/ 2984659 w 6400800"/>
                <a:gd name="connsiteY5315" fmla="*/ 270986 h 514350"/>
                <a:gd name="connsiteX5316" fmla="*/ 3003709 w 6400800"/>
                <a:gd name="connsiteY5316" fmla="*/ 195739 h 514350"/>
                <a:gd name="connsiteX5317" fmla="*/ 2974181 w 6400800"/>
                <a:gd name="connsiteY5317" fmla="*/ 311944 h 514350"/>
                <a:gd name="connsiteX5318" fmla="*/ 2980849 w 6400800"/>
                <a:gd name="connsiteY5318" fmla="*/ 284321 h 514350"/>
                <a:gd name="connsiteX5319" fmla="*/ 2980849 w 6400800"/>
                <a:gd name="connsiteY5319" fmla="*/ 285274 h 514350"/>
                <a:gd name="connsiteX5320" fmla="*/ 2976086 w 6400800"/>
                <a:gd name="connsiteY5320" fmla="*/ 307181 h 514350"/>
                <a:gd name="connsiteX5321" fmla="*/ 2972276 w 6400800"/>
                <a:gd name="connsiteY5321" fmla="*/ 327184 h 514350"/>
                <a:gd name="connsiteX5322" fmla="*/ 2970371 w 6400800"/>
                <a:gd name="connsiteY5322" fmla="*/ 322421 h 514350"/>
                <a:gd name="connsiteX5323" fmla="*/ 2974181 w 6400800"/>
                <a:gd name="connsiteY5323" fmla="*/ 311944 h 514350"/>
                <a:gd name="connsiteX5324" fmla="*/ 2964656 w 6400800"/>
                <a:gd name="connsiteY5324" fmla="*/ 349091 h 514350"/>
                <a:gd name="connsiteX5325" fmla="*/ 2968466 w 6400800"/>
                <a:gd name="connsiteY5325" fmla="*/ 334804 h 514350"/>
                <a:gd name="connsiteX5326" fmla="*/ 2970371 w 6400800"/>
                <a:gd name="connsiteY5326" fmla="*/ 344329 h 514350"/>
                <a:gd name="connsiteX5327" fmla="*/ 2969419 w 6400800"/>
                <a:gd name="connsiteY5327" fmla="*/ 353854 h 514350"/>
                <a:gd name="connsiteX5328" fmla="*/ 2966561 w 6400800"/>
                <a:gd name="connsiteY5328" fmla="*/ 377666 h 514350"/>
                <a:gd name="connsiteX5329" fmla="*/ 2963704 w 6400800"/>
                <a:gd name="connsiteY5329" fmla="*/ 366236 h 514350"/>
                <a:gd name="connsiteX5330" fmla="*/ 2969419 w 6400800"/>
                <a:gd name="connsiteY5330" fmla="*/ 341471 h 514350"/>
                <a:gd name="connsiteX5331" fmla="*/ 2964656 w 6400800"/>
                <a:gd name="connsiteY5331" fmla="*/ 349091 h 514350"/>
                <a:gd name="connsiteX5332" fmla="*/ 2958941 w 6400800"/>
                <a:gd name="connsiteY5332" fmla="*/ 383381 h 514350"/>
                <a:gd name="connsiteX5333" fmla="*/ 2958941 w 6400800"/>
                <a:gd name="connsiteY5333" fmla="*/ 383381 h 514350"/>
                <a:gd name="connsiteX5334" fmla="*/ 2958941 w 6400800"/>
                <a:gd name="connsiteY5334" fmla="*/ 383381 h 514350"/>
                <a:gd name="connsiteX5335" fmla="*/ 2958941 w 6400800"/>
                <a:gd name="connsiteY5335" fmla="*/ 383381 h 514350"/>
                <a:gd name="connsiteX5336" fmla="*/ 2958941 w 6400800"/>
                <a:gd name="connsiteY5336" fmla="*/ 383381 h 514350"/>
                <a:gd name="connsiteX5337" fmla="*/ 2936081 w 6400800"/>
                <a:gd name="connsiteY5337" fmla="*/ 284321 h 514350"/>
                <a:gd name="connsiteX5338" fmla="*/ 2934176 w 6400800"/>
                <a:gd name="connsiteY5338" fmla="*/ 273844 h 514350"/>
                <a:gd name="connsiteX5339" fmla="*/ 2936081 w 6400800"/>
                <a:gd name="connsiteY5339" fmla="*/ 271939 h 514350"/>
                <a:gd name="connsiteX5340" fmla="*/ 2936081 w 6400800"/>
                <a:gd name="connsiteY5340" fmla="*/ 284321 h 514350"/>
                <a:gd name="connsiteX5341" fmla="*/ 2936081 w 6400800"/>
                <a:gd name="connsiteY5341" fmla="*/ 267176 h 514350"/>
                <a:gd name="connsiteX5342" fmla="*/ 2936081 w 6400800"/>
                <a:gd name="connsiteY5342" fmla="*/ 267176 h 514350"/>
                <a:gd name="connsiteX5343" fmla="*/ 2934176 w 6400800"/>
                <a:gd name="connsiteY5343" fmla="*/ 269081 h 514350"/>
                <a:gd name="connsiteX5344" fmla="*/ 2936081 w 6400800"/>
                <a:gd name="connsiteY5344" fmla="*/ 265271 h 514350"/>
                <a:gd name="connsiteX5345" fmla="*/ 2936081 w 6400800"/>
                <a:gd name="connsiteY5345" fmla="*/ 267176 h 514350"/>
                <a:gd name="connsiteX5346" fmla="*/ 2929414 w 6400800"/>
                <a:gd name="connsiteY5346" fmla="*/ 243364 h 514350"/>
                <a:gd name="connsiteX5347" fmla="*/ 2930366 w 6400800"/>
                <a:gd name="connsiteY5347" fmla="*/ 243364 h 514350"/>
                <a:gd name="connsiteX5348" fmla="*/ 2933224 w 6400800"/>
                <a:gd name="connsiteY5348" fmla="*/ 244316 h 514350"/>
                <a:gd name="connsiteX5349" fmla="*/ 2934176 w 6400800"/>
                <a:gd name="connsiteY5349" fmla="*/ 255746 h 514350"/>
                <a:gd name="connsiteX5350" fmla="*/ 2931319 w 6400800"/>
                <a:gd name="connsiteY5350" fmla="*/ 261461 h 514350"/>
                <a:gd name="connsiteX5351" fmla="*/ 2927509 w 6400800"/>
                <a:gd name="connsiteY5351" fmla="*/ 248126 h 514350"/>
                <a:gd name="connsiteX5352" fmla="*/ 2929414 w 6400800"/>
                <a:gd name="connsiteY5352" fmla="*/ 243364 h 514350"/>
                <a:gd name="connsiteX5353" fmla="*/ 2917984 w 6400800"/>
                <a:gd name="connsiteY5353" fmla="*/ 351949 h 514350"/>
                <a:gd name="connsiteX5354" fmla="*/ 2918936 w 6400800"/>
                <a:gd name="connsiteY5354" fmla="*/ 353854 h 514350"/>
                <a:gd name="connsiteX5355" fmla="*/ 2919889 w 6400800"/>
                <a:gd name="connsiteY5355" fmla="*/ 363379 h 514350"/>
                <a:gd name="connsiteX5356" fmla="*/ 2922746 w 6400800"/>
                <a:gd name="connsiteY5356" fmla="*/ 380524 h 514350"/>
                <a:gd name="connsiteX5357" fmla="*/ 2920841 w 6400800"/>
                <a:gd name="connsiteY5357" fmla="*/ 380524 h 514350"/>
                <a:gd name="connsiteX5358" fmla="*/ 2913221 w 6400800"/>
                <a:gd name="connsiteY5358" fmla="*/ 362426 h 514350"/>
                <a:gd name="connsiteX5359" fmla="*/ 2917984 w 6400800"/>
                <a:gd name="connsiteY5359" fmla="*/ 351949 h 514350"/>
                <a:gd name="connsiteX5360" fmla="*/ 2904649 w 6400800"/>
                <a:gd name="connsiteY5360" fmla="*/ 224314 h 514350"/>
                <a:gd name="connsiteX5361" fmla="*/ 2904649 w 6400800"/>
                <a:gd name="connsiteY5361" fmla="*/ 224314 h 514350"/>
                <a:gd name="connsiteX5362" fmla="*/ 2903696 w 6400800"/>
                <a:gd name="connsiteY5362" fmla="*/ 237649 h 514350"/>
                <a:gd name="connsiteX5363" fmla="*/ 2902744 w 6400800"/>
                <a:gd name="connsiteY5363" fmla="*/ 250031 h 514350"/>
                <a:gd name="connsiteX5364" fmla="*/ 2900839 w 6400800"/>
                <a:gd name="connsiteY5364" fmla="*/ 235744 h 514350"/>
                <a:gd name="connsiteX5365" fmla="*/ 2904649 w 6400800"/>
                <a:gd name="connsiteY5365" fmla="*/ 224314 h 514350"/>
                <a:gd name="connsiteX5366" fmla="*/ 2885599 w 6400800"/>
                <a:gd name="connsiteY5366" fmla="*/ 294799 h 514350"/>
                <a:gd name="connsiteX5367" fmla="*/ 2888456 w 6400800"/>
                <a:gd name="connsiteY5367" fmla="*/ 280511 h 514350"/>
                <a:gd name="connsiteX5368" fmla="*/ 2889409 w 6400800"/>
                <a:gd name="connsiteY5368" fmla="*/ 308134 h 514350"/>
                <a:gd name="connsiteX5369" fmla="*/ 2884646 w 6400800"/>
                <a:gd name="connsiteY5369" fmla="*/ 297656 h 514350"/>
                <a:gd name="connsiteX5370" fmla="*/ 2885599 w 6400800"/>
                <a:gd name="connsiteY5370" fmla="*/ 294799 h 514350"/>
                <a:gd name="connsiteX5371" fmla="*/ 2869406 w 6400800"/>
                <a:gd name="connsiteY5371" fmla="*/ 301466 h 514350"/>
                <a:gd name="connsiteX5372" fmla="*/ 2869406 w 6400800"/>
                <a:gd name="connsiteY5372" fmla="*/ 301466 h 514350"/>
                <a:gd name="connsiteX5373" fmla="*/ 2869406 w 6400800"/>
                <a:gd name="connsiteY5373" fmla="*/ 302419 h 514350"/>
                <a:gd name="connsiteX5374" fmla="*/ 2868454 w 6400800"/>
                <a:gd name="connsiteY5374" fmla="*/ 305276 h 514350"/>
                <a:gd name="connsiteX5375" fmla="*/ 2856071 w 6400800"/>
                <a:gd name="connsiteY5375" fmla="*/ 284321 h 514350"/>
                <a:gd name="connsiteX5376" fmla="*/ 2855119 w 6400800"/>
                <a:gd name="connsiteY5376" fmla="*/ 282416 h 514350"/>
                <a:gd name="connsiteX5377" fmla="*/ 2857976 w 6400800"/>
                <a:gd name="connsiteY5377" fmla="*/ 273844 h 514350"/>
                <a:gd name="connsiteX5378" fmla="*/ 2869406 w 6400800"/>
                <a:gd name="connsiteY5378" fmla="*/ 301466 h 514350"/>
                <a:gd name="connsiteX5379" fmla="*/ 2851309 w 6400800"/>
                <a:gd name="connsiteY5379" fmla="*/ 262414 h 514350"/>
                <a:gd name="connsiteX5380" fmla="*/ 2851309 w 6400800"/>
                <a:gd name="connsiteY5380" fmla="*/ 259556 h 514350"/>
                <a:gd name="connsiteX5381" fmla="*/ 2855119 w 6400800"/>
                <a:gd name="connsiteY5381" fmla="*/ 267176 h 514350"/>
                <a:gd name="connsiteX5382" fmla="*/ 2856071 w 6400800"/>
                <a:gd name="connsiteY5382" fmla="*/ 269081 h 514350"/>
                <a:gd name="connsiteX5383" fmla="*/ 2851309 w 6400800"/>
                <a:gd name="connsiteY5383" fmla="*/ 276701 h 514350"/>
                <a:gd name="connsiteX5384" fmla="*/ 2850356 w 6400800"/>
                <a:gd name="connsiteY5384" fmla="*/ 274796 h 514350"/>
                <a:gd name="connsiteX5385" fmla="*/ 2851309 w 6400800"/>
                <a:gd name="connsiteY5385" fmla="*/ 262414 h 514350"/>
                <a:gd name="connsiteX5386" fmla="*/ 2848451 w 6400800"/>
                <a:gd name="connsiteY5386" fmla="*/ 312896 h 514350"/>
                <a:gd name="connsiteX5387" fmla="*/ 2848451 w 6400800"/>
                <a:gd name="connsiteY5387" fmla="*/ 302419 h 514350"/>
                <a:gd name="connsiteX5388" fmla="*/ 2860834 w 6400800"/>
                <a:gd name="connsiteY5388" fmla="*/ 327184 h 514350"/>
                <a:gd name="connsiteX5389" fmla="*/ 2856071 w 6400800"/>
                <a:gd name="connsiteY5389" fmla="*/ 344329 h 514350"/>
                <a:gd name="connsiteX5390" fmla="*/ 2853214 w 6400800"/>
                <a:gd name="connsiteY5390" fmla="*/ 355759 h 514350"/>
                <a:gd name="connsiteX5391" fmla="*/ 2851309 w 6400800"/>
                <a:gd name="connsiteY5391" fmla="*/ 341471 h 514350"/>
                <a:gd name="connsiteX5392" fmla="*/ 2847499 w 6400800"/>
                <a:gd name="connsiteY5392" fmla="*/ 316706 h 514350"/>
                <a:gd name="connsiteX5393" fmla="*/ 2848451 w 6400800"/>
                <a:gd name="connsiteY5393" fmla="*/ 312896 h 514350"/>
                <a:gd name="connsiteX5394" fmla="*/ 2836069 w 6400800"/>
                <a:gd name="connsiteY5394" fmla="*/ 226219 h 514350"/>
                <a:gd name="connsiteX5395" fmla="*/ 2847499 w 6400800"/>
                <a:gd name="connsiteY5395" fmla="*/ 251936 h 514350"/>
                <a:gd name="connsiteX5396" fmla="*/ 2844641 w 6400800"/>
                <a:gd name="connsiteY5396" fmla="*/ 261461 h 514350"/>
                <a:gd name="connsiteX5397" fmla="*/ 2843689 w 6400800"/>
                <a:gd name="connsiteY5397" fmla="*/ 266224 h 514350"/>
                <a:gd name="connsiteX5398" fmla="*/ 2838926 w 6400800"/>
                <a:gd name="connsiteY5398" fmla="*/ 258604 h 514350"/>
                <a:gd name="connsiteX5399" fmla="*/ 2834164 w 6400800"/>
                <a:gd name="connsiteY5399" fmla="*/ 229076 h 514350"/>
                <a:gd name="connsiteX5400" fmla="*/ 2836069 w 6400800"/>
                <a:gd name="connsiteY5400" fmla="*/ 226219 h 514350"/>
                <a:gd name="connsiteX5401" fmla="*/ 2830354 w 6400800"/>
                <a:gd name="connsiteY5401" fmla="*/ 305276 h 514350"/>
                <a:gd name="connsiteX5402" fmla="*/ 2831306 w 6400800"/>
                <a:gd name="connsiteY5402" fmla="*/ 312896 h 514350"/>
                <a:gd name="connsiteX5403" fmla="*/ 2831306 w 6400800"/>
                <a:gd name="connsiteY5403" fmla="*/ 313849 h 514350"/>
                <a:gd name="connsiteX5404" fmla="*/ 2830354 w 6400800"/>
                <a:gd name="connsiteY5404" fmla="*/ 308134 h 514350"/>
                <a:gd name="connsiteX5405" fmla="*/ 2830354 w 6400800"/>
                <a:gd name="connsiteY5405" fmla="*/ 305276 h 514350"/>
                <a:gd name="connsiteX5406" fmla="*/ 2829401 w 6400800"/>
                <a:gd name="connsiteY5406" fmla="*/ 292894 h 514350"/>
                <a:gd name="connsiteX5407" fmla="*/ 2830354 w 6400800"/>
                <a:gd name="connsiteY5407" fmla="*/ 299561 h 514350"/>
                <a:gd name="connsiteX5408" fmla="*/ 2829401 w 6400800"/>
                <a:gd name="connsiteY5408" fmla="*/ 301466 h 514350"/>
                <a:gd name="connsiteX5409" fmla="*/ 2829401 w 6400800"/>
                <a:gd name="connsiteY5409" fmla="*/ 299561 h 514350"/>
                <a:gd name="connsiteX5410" fmla="*/ 2829401 w 6400800"/>
                <a:gd name="connsiteY5410" fmla="*/ 292894 h 514350"/>
                <a:gd name="connsiteX5411" fmla="*/ 2785586 w 6400800"/>
                <a:gd name="connsiteY5411" fmla="*/ 268129 h 514350"/>
                <a:gd name="connsiteX5412" fmla="*/ 2782729 w 6400800"/>
                <a:gd name="connsiteY5412" fmla="*/ 271939 h 514350"/>
                <a:gd name="connsiteX5413" fmla="*/ 2782729 w 6400800"/>
                <a:gd name="connsiteY5413" fmla="*/ 269081 h 514350"/>
                <a:gd name="connsiteX5414" fmla="*/ 2782729 w 6400800"/>
                <a:gd name="connsiteY5414" fmla="*/ 265271 h 514350"/>
                <a:gd name="connsiteX5415" fmla="*/ 2786539 w 6400800"/>
                <a:gd name="connsiteY5415" fmla="*/ 258604 h 514350"/>
                <a:gd name="connsiteX5416" fmla="*/ 2786539 w 6400800"/>
                <a:gd name="connsiteY5416" fmla="*/ 260509 h 514350"/>
                <a:gd name="connsiteX5417" fmla="*/ 2785586 w 6400800"/>
                <a:gd name="connsiteY5417" fmla="*/ 268129 h 514350"/>
                <a:gd name="connsiteX5418" fmla="*/ 2796064 w 6400800"/>
                <a:gd name="connsiteY5418" fmla="*/ 268129 h 514350"/>
                <a:gd name="connsiteX5419" fmla="*/ 2796064 w 6400800"/>
                <a:gd name="connsiteY5419" fmla="*/ 268129 h 514350"/>
                <a:gd name="connsiteX5420" fmla="*/ 2798921 w 6400800"/>
                <a:gd name="connsiteY5420" fmla="*/ 263366 h 514350"/>
                <a:gd name="connsiteX5421" fmla="*/ 2796064 w 6400800"/>
                <a:gd name="connsiteY5421" fmla="*/ 268129 h 514350"/>
                <a:gd name="connsiteX5422" fmla="*/ 2803684 w 6400800"/>
                <a:gd name="connsiteY5422" fmla="*/ 314801 h 514350"/>
                <a:gd name="connsiteX5423" fmla="*/ 2802731 w 6400800"/>
                <a:gd name="connsiteY5423" fmla="*/ 318611 h 514350"/>
                <a:gd name="connsiteX5424" fmla="*/ 2801779 w 6400800"/>
                <a:gd name="connsiteY5424" fmla="*/ 325279 h 514350"/>
                <a:gd name="connsiteX5425" fmla="*/ 2798921 w 6400800"/>
                <a:gd name="connsiteY5425" fmla="*/ 317659 h 514350"/>
                <a:gd name="connsiteX5426" fmla="*/ 2798921 w 6400800"/>
                <a:gd name="connsiteY5426" fmla="*/ 315754 h 514350"/>
                <a:gd name="connsiteX5427" fmla="*/ 2798921 w 6400800"/>
                <a:gd name="connsiteY5427" fmla="*/ 315754 h 514350"/>
                <a:gd name="connsiteX5428" fmla="*/ 2801779 w 6400800"/>
                <a:gd name="connsiteY5428" fmla="*/ 304324 h 514350"/>
                <a:gd name="connsiteX5429" fmla="*/ 2803684 w 6400800"/>
                <a:gd name="connsiteY5429" fmla="*/ 312896 h 514350"/>
                <a:gd name="connsiteX5430" fmla="*/ 2803684 w 6400800"/>
                <a:gd name="connsiteY5430" fmla="*/ 314801 h 514350"/>
                <a:gd name="connsiteX5431" fmla="*/ 2810351 w 6400800"/>
                <a:gd name="connsiteY5431" fmla="*/ 280511 h 514350"/>
                <a:gd name="connsiteX5432" fmla="*/ 2805589 w 6400800"/>
                <a:gd name="connsiteY5432" fmla="*/ 302419 h 514350"/>
                <a:gd name="connsiteX5433" fmla="*/ 2803684 w 6400800"/>
                <a:gd name="connsiteY5433" fmla="*/ 298609 h 514350"/>
                <a:gd name="connsiteX5434" fmla="*/ 2802731 w 6400800"/>
                <a:gd name="connsiteY5434" fmla="*/ 296704 h 514350"/>
                <a:gd name="connsiteX5435" fmla="*/ 2805589 w 6400800"/>
                <a:gd name="connsiteY5435" fmla="*/ 287179 h 514350"/>
                <a:gd name="connsiteX5436" fmla="*/ 2809399 w 6400800"/>
                <a:gd name="connsiteY5436" fmla="*/ 277654 h 514350"/>
                <a:gd name="connsiteX5437" fmla="*/ 2810351 w 6400800"/>
                <a:gd name="connsiteY5437" fmla="*/ 275749 h 514350"/>
                <a:gd name="connsiteX5438" fmla="*/ 2810351 w 6400800"/>
                <a:gd name="connsiteY5438" fmla="*/ 280511 h 514350"/>
                <a:gd name="connsiteX5439" fmla="*/ 2811304 w 6400800"/>
                <a:gd name="connsiteY5439" fmla="*/ 276701 h 514350"/>
                <a:gd name="connsiteX5440" fmla="*/ 2811304 w 6400800"/>
                <a:gd name="connsiteY5440" fmla="*/ 274796 h 514350"/>
                <a:gd name="connsiteX5441" fmla="*/ 2813209 w 6400800"/>
                <a:gd name="connsiteY5441" fmla="*/ 270986 h 514350"/>
                <a:gd name="connsiteX5442" fmla="*/ 2811304 w 6400800"/>
                <a:gd name="connsiteY5442" fmla="*/ 276701 h 514350"/>
                <a:gd name="connsiteX5443" fmla="*/ 2812256 w 6400800"/>
                <a:gd name="connsiteY5443" fmla="*/ 236696 h 514350"/>
                <a:gd name="connsiteX5444" fmla="*/ 2806541 w 6400800"/>
                <a:gd name="connsiteY5444" fmla="*/ 246221 h 514350"/>
                <a:gd name="connsiteX5445" fmla="*/ 2799874 w 6400800"/>
                <a:gd name="connsiteY5445" fmla="*/ 251936 h 514350"/>
                <a:gd name="connsiteX5446" fmla="*/ 2794159 w 6400800"/>
                <a:gd name="connsiteY5446" fmla="*/ 257651 h 514350"/>
                <a:gd name="connsiteX5447" fmla="*/ 2792254 w 6400800"/>
                <a:gd name="connsiteY5447" fmla="*/ 245269 h 514350"/>
                <a:gd name="connsiteX5448" fmla="*/ 2796064 w 6400800"/>
                <a:gd name="connsiteY5448" fmla="*/ 238601 h 514350"/>
                <a:gd name="connsiteX5449" fmla="*/ 2804636 w 6400800"/>
                <a:gd name="connsiteY5449" fmla="*/ 224314 h 514350"/>
                <a:gd name="connsiteX5450" fmla="*/ 2812256 w 6400800"/>
                <a:gd name="connsiteY5450" fmla="*/ 236696 h 514350"/>
                <a:gd name="connsiteX5451" fmla="*/ 2804636 w 6400800"/>
                <a:gd name="connsiteY5451" fmla="*/ 223361 h 514350"/>
                <a:gd name="connsiteX5452" fmla="*/ 2794159 w 6400800"/>
                <a:gd name="connsiteY5452" fmla="*/ 235744 h 514350"/>
                <a:gd name="connsiteX5453" fmla="*/ 2792254 w 6400800"/>
                <a:gd name="connsiteY5453" fmla="*/ 238601 h 514350"/>
                <a:gd name="connsiteX5454" fmla="*/ 2792254 w 6400800"/>
                <a:gd name="connsiteY5454" fmla="*/ 238601 h 514350"/>
                <a:gd name="connsiteX5455" fmla="*/ 2796064 w 6400800"/>
                <a:gd name="connsiteY5455" fmla="*/ 230981 h 514350"/>
                <a:gd name="connsiteX5456" fmla="*/ 2801779 w 6400800"/>
                <a:gd name="connsiteY5456" fmla="*/ 219551 h 514350"/>
                <a:gd name="connsiteX5457" fmla="*/ 2804636 w 6400800"/>
                <a:gd name="connsiteY5457" fmla="*/ 223361 h 514350"/>
                <a:gd name="connsiteX5458" fmla="*/ 2787491 w 6400800"/>
                <a:gd name="connsiteY5458" fmla="*/ 196691 h 514350"/>
                <a:gd name="connsiteX5459" fmla="*/ 2800826 w 6400800"/>
                <a:gd name="connsiteY5459" fmla="*/ 217646 h 514350"/>
                <a:gd name="connsiteX5460" fmla="*/ 2792254 w 6400800"/>
                <a:gd name="connsiteY5460" fmla="*/ 228124 h 514350"/>
                <a:gd name="connsiteX5461" fmla="*/ 2790349 w 6400800"/>
                <a:gd name="connsiteY5461" fmla="*/ 230981 h 514350"/>
                <a:gd name="connsiteX5462" fmla="*/ 2787491 w 6400800"/>
                <a:gd name="connsiteY5462" fmla="*/ 218599 h 514350"/>
                <a:gd name="connsiteX5463" fmla="*/ 2781776 w 6400800"/>
                <a:gd name="connsiteY5463" fmla="*/ 196691 h 514350"/>
                <a:gd name="connsiteX5464" fmla="*/ 2783681 w 6400800"/>
                <a:gd name="connsiteY5464" fmla="*/ 218599 h 514350"/>
                <a:gd name="connsiteX5465" fmla="*/ 2784634 w 6400800"/>
                <a:gd name="connsiteY5465" fmla="*/ 237649 h 514350"/>
                <a:gd name="connsiteX5466" fmla="*/ 2780824 w 6400800"/>
                <a:gd name="connsiteY5466" fmla="*/ 243364 h 514350"/>
                <a:gd name="connsiteX5467" fmla="*/ 2778919 w 6400800"/>
                <a:gd name="connsiteY5467" fmla="*/ 204311 h 514350"/>
                <a:gd name="connsiteX5468" fmla="*/ 2777966 w 6400800"/>
                <a:gd name="connsiteY5468" fmla="*/ 186214 h 514350"/>
                <a:gd name="connsiteX5469" fmla="*/ 2775109 w 6400800"/>
                <a:gd name="connsiteY5469" fmla="*/ 204311 h 514350"/>
                <a:gd name="connsiteX5470" fmla="*/ 2774156 w 6400800"/>
                <a:gd name="connsiteY5470" fmla="*/ 214789 h 514350"/>
                <a:gd name="connsiteX5471" fmla="*/ 2770346 w 6400800"/>
                <a:gd name="connsiteY5471" fmla="*/ 190976 h 514350"/>
                <a:gd name="connsiteX5472" fmla="*/ 2770346 w 6400800"/>
                <a:gd name="connsiteY5472" fmla="*/ 189071 h 514350"/>
                <a:gd name="connsiteX5473" fmla="*/ 2770346 w 6400800"/>
                <a:gd name="connsiteY5473" fmla="*/ 185261 h 514350"/>
                <a:gd name="connsiteX5474" fmla="*/ 2768441 w 6400800"/>
                <a:gd name="connsiteY5474" fmla="*/ 166211 h 514350"/>
                <a:gd name="connsiteX5475" fmla="*/ 2787491 w 6400800"/>
                <a:gd name="connsiteY5475" fmla="*/ 196691 h 514350"/>
                <a:gd name="connsiteX5476" fmla="*/ 2767489 w 6400800"/>
                <a:gd name="connsiteY5476" fmla="*/ 167164 h 514350"/>
                <a:gd name="connsiteX5477" fmla="*/ 2767489 w 6400800"/>
                <a:gd name="connsiteY5477" fmla="*/ 170974 h 514350"/>
                <a:gd name="connsiteX5478" fmla="*/ 2766536 w 6400800"/>
                <a:gd name="connsiteY5478" fmla="*/ 166211 h 514350"/>
                <a:gd name="connsiteX5479" fmla="*/ 2767489 w 6400800"/>
                <a:gd name="connsiteY5479" fmla="*/ 167164 h 514350"/>
                <a:gd name="connsiteX5480" fmla="*/ 2757964 w 6400800"/>
                <a:gd name="connsiteY5480" fmla="*/ 342424 h 514350"/>
                <a:gd name="connsiteX5481" fmla="*/ 2755106 w 6400800"/>
                <a:gd name="connsiteY5481" fmla="*/ 336709 h 514350"/>
                <a:gd name="connsiteX5482" fmla="*/ 2758916 w 6400800"/>
                <a:gd name="connsiteY5482" fmla="*/ 329089 h 514350"/>
                <a:gd name="connsiteX5483" fmla="*/ 2760821 w 6400800"/>
                <a:gd name="connsiteY5483" fmla="*/ 332899 h 514350"/>
                <a:gd name="connsiteX5484" fmla="*/ 2757964 w 6400800"/>
                <a:gd name="connsiteY5484" fmla="*/ 342424 h 514350"/>
                <a:gd name="connsiteX5485" fmla="*/ 2762726 w 6400800"/>
                <a:gd name="connsiteY5485" fmla="*/ 327184 h 514350"/>
                <a:gd name="connsiteX5486" fmla="*/ 2761774 w 6400800"/>
                <a:gd name="connsiteY5486" fmla="*/ 330994 h 514350"/>
                <a:gd name="connsiteX5487" fmla="*/ 2759869 w 6400800"/>
                <a:gd name="connsiteY5487" fmla="*/ 328136 h 514350"/>
                <a:gd name="connsiteX5488" fmla="*/ 2761774 w 6400800"/>
                <a:gd name="connsiteY5488" fmla="*/ 324326 h 514350"/>
                <a:gd name="connsiteX5489" fmla="*/ 2762726 w 6400800"/>
                <a:gd name="connsiteY5489" fmla="*/ 327184 h 514350"/>
                <a:gd name="connsiteX5490" fmla="*/ 2762726 w 6400800"/>
                <a:gd name="connsiteY5490" fmla="*/ 327184 h 514350"/>
                <a:gd name="connsiteX5491" fmla="*/ 2762726 w 6400800"/>
                <a:gd name="connsiteY5491" fmla="*/ 250031 h 514350"/>
                <a:gd name="connsiteX5492" fmla="*/ 2762726 w 6400800"/>
                <a:gd name="connsiteY5492" fmla="*/ 270034 h 514350"/>
                <a:gd name="connsiteX5493" fmla="*/ 2754154 w 6400800"/>
                <a:gd name="connsiteY5493" fmla="*/ 282416 h 514350"/>
                <a:gd name="connsiteX5494" fmla="*/ 2753201 w 6400800"/>
                <a:gd name="connsiteY5494" fmla="*/ 284321 h 514350"/>
                <a:gd name="connsiteX5495" fmla="*/ 2752249 w 6400800"/>
                <a:gd name="connsiteY5495" fmla="*/ 282416 h 514350"/>
                <a:gd name="connsiteX5496" fmla="*/ 2753201 w 6400800"/>
                <a:gd name="connsiteY5496" fmla="*/ 278606 h 514350"/>
                <a:gd name="connsiteX5497" fmla="*/ 2756059 w 6400800"/>
                <a:gd name="connsiteY5497" fmla="*/ 267176 h 514350"/>
                <a:gd name="connsiteX5498" fmla="*/ 2761774 w 6400800"/>
                <a:gd name="connsiteY5498" fmla="*/ 251936 h 514350"/>
                <a:gd name="connsiteX5499" fmla="*/ 2762726 w 6400800"/>
                <a:gd name="connsiteY5499" fmla="*/ 250031 h 514350"/>
                <a:gd name="connsiteX5500" fmla="*/ 2762726 w 6400800"/>
                <a:gd name="connsiteY5500" fmla="*/ 250031 h 514350"/>
                <a:gd name="connsiteX5501" fmla="*/ 2753201 w 6400800"/>
                <a:gd name="connsiteY5501" fmla="*/ 250031 h 514350"/>
                <a:gd name="connsiteX5502" fmla="*/ 2757011 w 6400800"/>
                <a:gd name="connsiteY5502" fmla="*/ 230981 h 514350"/>
                <a:gd name="connsiteX5503" fmla="*/ 2762726 w 6400800"/>
                <a:gd name="connsiteY5503" fmla="*/ 249079 h 514350"/>
                <a:gd name="connsiteX5504" fmla="*/ 2760821 w 6400800"/>
                <a:gd name="connsiteY5504" fmla="*/ 252889 h 514350"/>
                <a:gd name="connsiteX5505" fmla="*/ 2752249 w 6400800"/>
                <a:gd name="connsiteY5505" fmla="*/ 267176 h 514350"/>
                <a:gd name="connsiteX5506" fmla="*/ 2748439 w 6400800"/>
                <a:gd name="connsiteY5506" fmla="*/ 275749 h 514350"/>
                <a:gd name="connsiteX5507" fmla="*/ 2747486 w 6400800"/>
                <a:gd name="connsiteY5507" fmla="*/ 274796 h 514350"/>
                <a:gd name="connsiteX5508" fmla="*/ 2753201 w 6400800"/>
                <a:gd name="connsiteY5508" fmla="*/ 250031 h 514350"/>
                <a:gd name="connsiteX5509" fmla="*/ 2749391 w 6400800"/>
                <a:gd name="connsiteY5509" fmla="*/ 362426 h 514350"/>
                <a:gd name="connsiteX5510" fmla="*/ 2746534 w 6400800"/>
                <a:gd name="connsiteY5510" fmla="*/ 357664 h 514350"/>
                <a:gd name="connsiteX5511" fmla="*/ 2746534 w 6400800"/>
                <a:gd name="connsiteY5511" fmla="*/ 354806 h 514350"/>
                <a:gd name="connsiteX5512" fmla="*/ 2749391 w 6400800"/>
                <a:gd name="connsiteY5512" fmla="*/ 362426 h 514350"/>
                <a:gd name="connsiteX5513" fmla="*/ 2734151 w 6400800"/>
                <a:gd name="connsiteY5513" fmla="*/ 258604 h 514350"/>
                <a:gd name="connsiteX5514" fmla="*/ 2740819 w 6400800"/>
                <a:gd name="connsiteY5514" fmla="*/ 273844 h 514350"/>
                <a:gd name="connsiteX5515" fmla="*/ 2735104 w 6400800"/>
                <a:gd name="connsiteY5515" fmla="*/ 290036 h 514350"/>
                <a:gd name="connsiteX5516" fmla="*/ 2734151 w 6400800"/>
                <a:gd name="connsiteY5516" fmla="*/ 287179 h 514350"/>
                <a:gd name="connsiteX5517" fmla="*/ 2734151 w 6400800"/>
                <a:gd name="connsiteY5517" fmla="*/ 291941 h 514350"/>
                <a:gd name="connsiteX5518" fmla="*/ 2734151 w 6400800"/>
                <a:gd name="connsiteY5518" fmla="*/ 291941 h 514350"/>
                <a:gd name="connsiteX5519" fmla="*/ 2732246 w 6400800"/>
                <a:gd name="connsiteY5519" fmla="*/ 289084 h 514350"/>
                <a:gd name="connsiteX5520" fmla="*/ 2731294 w 6400800"/>
                <a:gd name="connsiteY5520" fmla="*/ 286226 h 514350"/>
                <a:gd name="connsiteX5521" fmla="*/ 2734151 w 6400800"/>
                <a:gd name="connsiteY5521" fmla="*/ 258604 h 514350"/>
                <a:gd name="connsiteX5522" fmla="*/ 2715101 w 6400800"/>
                <a:gd name="connsiteY5522" fmla="*/ 290989 h 514350"/>
                <a:gd name="connsiteX5523" fmla="*/ 2716054 w 6400800"/>
                <a:gd name="connsiteY5523" fmla="*/ 273844 h 514350"/>
                <a:gd name="connsiteX5524" fmla="*/ 2717959 w 6400800"/>
                <a:gd name="connsiteY5524" fmla="*/ 278606 h 514350"/>
                <a:gd name="connsiteX5525" fmla="*/ 2716054 w 6400800"/>
                <a:gd name="connsiteY5525" fmla="*/ 304324 h 514350"/>
                <a:gd name="connsiteX5526" fmla="*/ 2715101 w 6400800"/>
                <a:gd name="connsiteY5526" fmla="*/ 303371 h 514350"/>
                <a:gd name="connsiteX5527" fmla="*/ 2715101 w 6400800"/>
                <a:gd name="connsiteY5527" fmla="*/ 290989 h 514350"/>
                <a:gd name="connsiteX5528" fmla="*/ 2705576 w 6400800"/>
                <a:gd name="connsiteY5528" fmla="*/ 243364 h 514350"/>
                <a:gd name="connsiteX5529" fmla="*/ 2704624 w 6400800"/>
                <a:gd name="connsiteY5529" fmla="*/ 247174 h 514350"/>
                <a:gd name="connsiteX5530" fmla="*/ 2703671 w 6400800"/>
                <a:gd name="connsiteY5530" fmla="*/ 238601 h 514350"/>
                <a:gd name="connsiteX5531" fmla="*/ 2705576 w 6400800"/>
                <a:gd name="connsiteY5531" fmla="*/ 243364 h 514350"/>
                <a:gd name="connsiteX5532" fmla="*/ 2697956 w 6400800"/>
                <a:gd name="connsiteY5532" fmla="*/ 312896 h 514350"/>
                <a:gd name="connsiteX5533" fmla="*/ 2697956 w 6400800"/>
                <a:gd name="connsiteY5533" fmla="*/ 313849 h 514350"/>
                <a:gd name="connsiteX5534" fmla="*/ 2697956 w 6400800"/>
                <a:gd name="connsiteY5534" fmla="*/ 310991 h 514350"/>
                <a:gd name="connsiteX5535" fmla="*/ 2697956 w 6400800"/>
                <a:gd name="connsiteY5535" fmla="*/ 312896 h 514350"/>
                <a:gd name="connsiteX5536" fmla="*/ 2664619 w 6400800"/>
                <a:gd name="connsiteY5536" fmla="*/ 234791 h 514350"/>
                <a:gd name="connsiteX5537" fmla="*/ 2666524 w 6400800"/>
                <a:gd name="connsiteY5537" fmla="*/ 238601 h 514350"/>
                <a:gd name="connsiteX5538" fmla="*/ 2673191 w 6400800"/>
                <a:gd name="connsiteY5538" fmla="*/ 287179 h 514350"/>
                <a:gd name="connsiteX5539" fmla="*/ 2670334 w 6400800"/>
                <a:gd name="connsiteY5539" fmla="*/ 279559 h 514350"/>
                <a:gd name="connsiteX5540" fmla="*/ 2670334 w 6400800"/>
                <a:gd name="connsiteY5540" fmla="*/ 278606 h 514350"/>
                <a:gd name="connsiteX5541" fmla="*/ 2671286 w 6400800"/>
                <a:gd name="connsiteY5541" fmla="*/ 276701 h 514350"/>
                <a:gd name="connsiteX5542" fmla="*/ 2670334 w 6400800"/>
                <a:gd name="connsiteY5542" fmla="*/ 278606 h 514350"/>
                <a:gd name="connsiteX5543" fmla="*/ 2664619 w 6400800"/>
                <a:gd name="connsiteY5543" fmla="*/ 246221 h 514350"/>
                <a:gd name="connsiteX5544" fmla="*/ 2663666 w 6400800"/>
                <a:gd name="connsiteY5544" fmla="*/ 240506 h 514350"/>
                <a:gd name="connsiteX5545" fmla="*/ 2664619 w 6400800"/>
                <a:gd name="connsiteY5545" fmla="*/ 234791 h 514350"/>
                <a:gd name="connsiteX5546" fmla="*/ 2657951 w 6400800"/>
                <a:gd name="connsiteY5546" fmla="*/ 339566 h 514350"/>
                <a:gd name="connsiteX5547" fmla="*/ 2656046 w 6400800"/>
                <a:gd name="connsiteY5547" fmla="*/ 336709 h 514350"/>
                <a:gd name="connsiteX5548" fmla="*/ 2657951 w 6400800"/>
                <a:gd name="connsiteY5548" fmla="*/ 325279 h 514350"/>
                <a:gd name="connsiteX5549" fmla="*/ 2657951 w 6400800"/>
                <a:gd name="connsiteY5549" fmla="*/ 339566 h 514350"/>
                <a:gd name="connsiteX5550" fmla="*/ 2654141 w 6400800"/>
                <a:gd name="connsiteY5550" fmla="*/ 277654 h 514350"/>
                <a:gd name="connsiteX5551" fmla="*/ 2659856 w 6400800"/>
                <a:gd name="connsiteY5551" fmla="*/ 298609 h 514350"/>
                <a:gd name="connsiteX5552" fmla="*/ 2659856 w 6400800"/>
                <a:gd name="connsiteY5552" fmla="*/ 299561 h 514350"/>
                <a:gd name="connsiteX5553" fmla="*/ 2653189 w 6400800"/>
                <a:gd name="connsiteY5553" fmla="*/ 316706 h 514350"/>
                <a:gd name="connsiteX5554" fmla="*/ 2652236 w 6400800"/>
                <a:gd name="connsiteY5554" fmla="*/ 319564 h 514350"/>
                <a:gd name="connsiteX5555" fmla="*/ 2650331 w 6400800"/>
                <a:gd name="connsiteY5555" fmla="*/ 311944 h 514350"/>
                <a:gd name="connsiteX5556" fmla="*/ 2647474 w 6400800"/>
                <a:gd name="connsiteY5556" fmla="*/ 301466 h 514350"/>
                <a:gd name="connsiteX5557" fmla="*/ 2654141 w 6400800"/>
                <a:gd name="connsiteY5557" fmla="*/ 277654 h 514350"/>
                <a:gd name="connsiteX5558" fmla="*/ 2633186 w 6400800"/>
                <a:gd name="connsiteY5558" fmla="*/ 283369 h 514350"/>
                <a:gd name="connsiteX5559" fmla="*/ 2633186 w 6400800"/>
                <a:gd name="connsiteY5559" fmla="*/ 285274 h 514350"/>
                <a:gd name="connsiteX5560" fmla="*/ 2633186 w 6400800"/>
                <a:gd name="connsiteY5560" fmla="*/ 286226 h 514350"/>
                <a:gd name="connsiteX5561" fmla="*/ 2632234 w 6400800"/>
                <a:gd name="connsiteY5561" fmla="*/ 290036 h 514350"/>
                <a:gd name="connsiteX5562" fmla="*/ 2633186 w 6400800"/>
                <a:gd name="connsiteY5562" fmla="*/ 283369 h 514350"/>
                <a:gd name="connsiteX5563" fmla="*/ 2578894 w 6400800"/>
                <a:gd name="connsiteY5563" fmla="*/ 242411 h 514350"/>
                <a:gd name="connsiteX5564" fmla="*/ 2577941 w 6400800"/>
                <a:gd name="connsiteY5564" fmla="*/ 241459 h 514350"/>
                <a:gd name="connsiteX5565" fmla="*/ 2580799 w 6400800"/>
                <a:gd name="connsiteY5565" fmla="*/ 235744 h 514350"/>
                <a:gd name="connsiteX5566" fmla="*/ 2580799 w 6400800"/>
                <a:gd name="connsiteY5566" fmla="*/ 235744 h 514350"/>
                <a:gd name="connsiteX5567" fmla="*/ 2578894 w 6400800"/>
                <a:gd name="connsiteY5567" fmla="*/ 242411 h 514350"/>
                <a:gd name="connsiteX5568" fmla="*/ 2597944 w 6400800"/>
                <a:gd name="connsiteY5568" fmla="*/ 275749 h 514350"/>
                <a:gd name="connsiteX5569" fmla="*/ 2597944 w 6400800"/>
                <a:gd name="connsiteY5569" fmla="*/ 274796 h 514350"/>
                <a:gd name="connsiteX5570" fmla="*/ 2597944 w 6400800"/>
                <a:gd name="connsiteY5570" fmla="*/ 275749 h 514350"/>
                <a:gd name="connsiteX5571" fmla="*/ 2597944 w 6400800"/>
                <a:gd name="connsiteY5571" fmla="*/ 275749 h 514350"/>
                <a:gd name="connsiteX5572" fmla="*/ 2616041 w 6400800"/>
                <a:gd name="connsiteY5572" fmla="*/ 309086 h 514350"/>
                <a:gd name="connsiteX5573" fmla="*/ 2613184 w 6400800"/>
                <a:gd name="connsiteY5573" fmla="*/ 319564 h 514350"/>
                <a:gd name="connsiteX5574" fmla="*/ 2613184 w 6400800"/>
                <a:gd name="connsiteY5574" fmla="*/ 318611 h 514350"/>
                <a:gd name="connsiteX5575" fmla="*/ 2613184 w 6400800"/>
                <a:gd name="connsiteY5575" fmla="*/ 319564 h 514350"/>
                <a:gd name="connsiteX5576" fmla="*/ 2613184 w 6400800"/>
                <a:gd name="connsiteY5576" fmla="*/ 319564 h 514350"/>
                <a:gd name="connsiteX5577" fmla="*/ 2600801 w 6400800"/>
                <a:gd name="connsiteY5577" fmla="*/ 289084 h 514350"/>
                <a:gd name="connsiteX5578" fmla="*/ 2602706 w 6400800"/>
                <a:gd name="connsiteY5578" fmla="*/ 282416 h 514350"/>
                <a:gd name="connsiteX5579" fmla="*/ 2612231 w 6400800"/>
                <a:gd name="connsiteY5579" fmla="*/ 299561 h 514350"/>
                <a:gd name="connsiteX5580" fmla="*/ 2616041 w 6400800"/>
                <a:gd name="connsiteY5580" fmla="*/ 308134 h 514350"/>
                <a:gd name="connsiteX5581" fmla="*/ 2616041 w 6400800"/>
                <a:gd name="connsiteY5581" fmla="*/ 309086 h 514350"/>
                <a:gd name="connsiteX5582" fmla="*/ 2616041 w 6400800"/>
                <a:gd name="connsiteY5582" fmla="*/ 309086 h 514350"/>
                <a:gd name="connsiteX5583" fmla="*/ 2604611 w 6400800"/>
                <a:gd name="connsiteY5583" fmla="*/ 276701 h 514350"/>
                <a:gd name="connsiteX5584" fmla="*/ 2608421 w 6400800"/>
                <a:gd name="connsiteY5584" fmla="*/ 267176 h 514350"/>
                <a:gd name="connsiteX5585" fmla="*/ 2615089 w 6400800"/>
                <a:gd name="connsiteY5585" fmla="*/ 290036 h 514350"/>
                <a:gd name="connsiteX5586" fmla="*/ 2604611 w 6400800"/>
                <a:gd name="connsiteY5586" fmla="*/ 276701 h 514350"/>
                <a:gd name="connsiteX5587" fmla="*/ 2614136 w 6400800"/>
                <a:gd name="connsiteY5587" fmla="*/ 276701 h 514350"/>
                <a:gd name="connsiteX5588" fmla="*/ 2609374 w 6400800"/>
                <a:gd name="connsiteY5588" fmla="*/ 266224 h 514350"/>
                <a:gd name="connsiteX5589" fmla="*/ 2612231 w 6400800"/>
                <a:gd name="connsiteY5589" fmla="*/ 257651 h 514350"/>
                <a:gd name="connsiteX5590" fmla="*/ 2614136 w 6400800"/>
                <a:gd name="connsiteY5590" fmla="*/ 276701 h 514350"/>
                <a:gd name="connsiteX5591" fmla="*/ 2606516 w 6400800"/>
                <a:gd name="connsiteY5591" fmla="*/ 208121 h 514350"/>
                <a:gd name="connsiteX5592" fmla="*/ 2611279 w 6400800"/>
                <a:gd name="connsiteY5592" fmla="*/ 250984 h 514350"/>
                <a:gd name="connsiteX5593" fmla="*/ 2611279 w 6400800"/>
                <a:gd name="connsiteY5593" fmla="*/ 251936 h 514350"/>
                <a:gd name="connsiteX5594" fmla="*/ 2600801 w 6400800"/>
                <a:gd name="connsiteY5594" fmla="*/ 271939 h 514350"/>
                <a:gd name="connsiteX5595" fmla="*/ 2597944 w 6400800"/>
                <a:gd name="connsiteY5595" fmla="*/ 268129 h 514350"/>
                <a:gd name="connsiteX5596" fmla="*/ 2595086 w 6400800"/>
                <a:gd name="connsiteY5596" fmla="*/ 237649 h 514350"/>
                <a:gd name="connsiteX5597" fmla="*/ 2594134 w 6400800"/>
                <a:gd name="connsiteY5597" fmla="*/ 228124 h 514350"/>
                <a:gd name="connsiteX5598" fmla="*/ 2605564 w 6400800"/>
                <a:gd name="connsiteY5598" fmla="*/ 179546 h 514350"/>
                <a:gd name="connsiteX5599" fmla="*/ 2606516 w 6400800"/>
                <a:gd name="connsiteY5599" fmla="*/ 208121 h 514350"/>
                <a:gd name="connsiteX5600" fmla="*/ 2586514 w 6400800"/>
                <a:gd name="connsiteY5600" fmla="*/ 186214 h 514350"/>
                <a:gd name="connsiteX5601" fmla="*/ 2598896 w 6400800"/>
                <a:gd name="connsiteY5601" fmla="*/ 159544 h 514350"/>
                <a:gd name="connsiteX5602" fmla="*/ 2601754 w 6400800"/>
                <a:gd name="connsiteY5602" fmla="*/ 153829 h 514350"/>
                <a:gd name="connsiteX5603" fmla="*/ 2603659 w 6400800"/>
                <a:gd name="connsiteY5603" fmla="*/ 173831 h 514350"/>
                <a:gd name="connsiteX5604" fmla="*/ 2590324 w 6400800"/>
                <a:gd name="connsiteY5604" fmla="*/ 210979 h 514350"/>
                <a:gd name="connsiteX5605" fmla="*/ 2586514 w 6400800"/>
                <a:gd name="connsiteY5605" fmla="*/ 187166 h 514350"/>
                <a:gd name="connsiteX5606" fmla="*/ 2586514 w 6400800"/>
                <a:gd name="connsiteY5606" fmla="*/ 186214 h 514350"/>
                <a:gd name="connsiteX5607" fmla="*/ 2584609 w 6400800"/>
                <a:gd name="connsiteY5607" fmla="*/ 408146 h 514350"/>
                <a:gd name="connsiteX5608" fmla="*/ 2584609 w 6400800"/>
                <a:gd name="connsiteY5608" fmla="*/ 408146 h 514350"/>
                <a:gd name="connsiteX5609" fmla="*/ 2581751 w 6400800"/>
                <a:gd name="connsiteY5609" fmla="*/ 393859 h 514350"/>
                <a:gd name="connsiteX5610" fmla="*/ 2584609 w 6400800"/>
                <a:gd name="connsiteY5610" fmla="*/ 408146 h 514350"/>
                <a:gd name="connsiteX5611" fmla="*/ 2580799 w 6400800"/>
                <a:gd name="connsiteY5611" fmla="*/ 199549 h 514350"/>
                <a:gd name="connsiteX5612" fmla="*/ 2581751 w 6400800"/>
                <a:gd name="connsiteY5612" fmla="*/ 228124 h 514350"/>
                <a:gd name="connsiteX5613" fmla="*/ 2578894 w 6400800"/>
                <a:gd name="connsiteY5613" fmla="*/ 231934 h 514350"/>
                <a:gd name="connsiteX5614" fmla="*/ 2575084 w 6400800"/>
                <a:gd name="connsiteY5614" fmla="*/ 236696 h 514350"/>
                <a:gd name="connsiteX5615" fmla="*/ 2573179 w 6400800"/>
                <a:gd name="connsiteY5615" fmla="*/ 233839 h 514350"/>
                <a:gd name="connsiteX5616" fmla="*/ 2572226 w 6400800"/>
                <a:gd name="connsiteY5616" fmla="*/ 229076 h 514350"/>
                <a:gd name="connsiteX5617" fmla="*/ 2571274 w 6400800"/>
                <a:gd name="connsiteY5617" fmla="*/ 219551 h 514350"/>
                <a:gd name="connsiteX5618" fmla="*/ 2580799 w 6400800"/>
                <a:gd name="connsiteY5618" fmla="*/ 199549 h 514350"/>
                <a:gd name="connsiteX5619" fmla="*/ 2569369 w 6400800"/>
                <a:gd name="connsiteY5619" fmla="*/ 320516 h 514350"/>
                <a:gd name="connsiteX5620" fmla="*/ 2570321 w 6400800"/>
                <a:gd name="connsiteY5620" fmla="*/ 327184 h 514350"/>
                <a:gd name="connsiteX5621" fmla="*/ 2571274 w 6400800"/>
                <a:gd name="connsiteY5621" fmla="*/ 330041 h 514350"/>
                <a:gd name="connsiteX5622" fmla="*/ 2563654 w 6400800"/>
                <a:gd name="connsiteY5622" fmla="*/ 345281 h 514350"/>
                <a:gd name="connsiteX5623" fmla="*/ 2562701 w 6400800"/>
                <a:gd name="connsiteY5623" fmla="*/ 342424 h 514350"/>
                <a:gd name="connsiteX5624" fmla="*/ 2569369 w 6400800"/>
                <a:gd name="connsiteY5624" fmla="*/ 320516 h 514350"/>
                <a:gd name="connsiteX5625" fmla="*/ 2556034 w 6400800"/>
                <a:gd name="connsiteY5625" fmla="*/ 262414 h 514350"/>
                <a:gd name="connsiteX5626" fmla="*/ 2559844 w 6400800"/>
                <a:gd name="connsiteY5626" fmla="*/ 251936 h 514350"/>
                <a:gd name="connsiteX5627" fmla="*/ 2560796 w 6400800"/>
                <a:gd name="connsiteY5627" fmla="*/ 257651 h 514350"/>
                <a:gd name="connsiteX5628" fmla="*/ 2559844 w 6400800"/>
                <a:gd name="connsiteY5628" fmla="*/ 259556 h 514350"/>
                <a:gd name="connsiteX5629" fmla="*/ 2554129 w 6400800"/>
                <a:gd name="connsiteY5629" fmla="*/ 269081 h 514350"/>
                <a:gd name="connsiteX5630" fmla="*/ 2556034 w 6400800"/>
                <a:gd name="connsiteY5630" fmla="*/ 262414 h 514350"/>
                <a:gd name="connsiteX5631" fmla="*/ 2561749 w 6400800"/>
                <a:gd name="connsiteY5631" fmla="*/ 276701 h 514350"/>
                <a:gd name="connsiteX5632" fmla="*/ 2562701 w 6400800"/>
                <a:gd name="connsiteY5632" fmla="*/ 274796 h 514350"/>
                <a:gd name="connsiteX5633" fmla="*/ 2564606 w 6400800"/>
                <a:gd name="connsiteY5633" fmla="*/ 287179 h 514350"/>
                <a:gd name="connsiteX5634" fmla="*/ 2557939 w 6400800"/>
                <a:gd name="connsiteY5634" fmla="*/ 309086 h 514350"/>
                <a:gd name="connsiteX5635" fmla="*/ 2556034 w 6400800"/>
                <a:gd name="connsiteY5635" fmla="*/ 313849 h 514350"/>
                <a:gd name="connsiteX5636" fmla="*/ 2553176 w 6400800"/>
                <a:gd name="connsiteY5636" fmla="*/ 296704 h 514350"/>
                <a:gd name="connsiteX5637" fmla="*/ 2561749 w 6400800"/>
                <a:gd name="connsiteY5637" fmla="*/ 276701 h 514350"/>
                <a:gd name="connsiteX5638" fmla="*/ 2538889 w 6400800"/>
                <a:gd name="connsiteY5638" fmla="*/ 252889 h 514350"/>
                <a:gd name="connsiteX5639" fmla="*/ 2540794 w 6400800"/>
                <a:gd name="connsiteY5639" fmla="*/ 242411 h 514350"/>
                <a:gd name="connsiteX5640" fmla="*/ 2542699 w 6400800"/>
                <a:gd name="connsiteY5640" fmla="*/ 238601 h 514350"/>
                <a:gd name="connsiteX5641" fmla="*/ 2544604 w 6400800"/>
                <a:gd name="connsiteY5641" fmla="*/ 233839 h 514350"/>
                <a:gd name="connsiteX5642" fmla="*/ 2543651 w 6400800"/>
                <a:gd name="connsiteY5642" fmla="*/ 248126 h 514350"/>
                <a:gd name="connsiteX5643" fmla="*/ 2542699 w 6400800"/>
                <a:gd name="connsiteY5643" fmla="*/ 257651 h 514350"/>
                <a:gd name="connsiteX5644" fmla="*/ 2537936 w 6400800"/>
                <a:gd name="connsiteY5644" fmla="*/ 268129 h 514350"/>
                <a:gd name="connsiteX5645" fmla="*/ 2538889 w 6400800"/>
                <a:gd name="connsiteY5645" fmla="*/ 252889 h 514350"/>
                <a:gd name="connsiteX5646" fmla="*/ 2521744 w 6400800"/>
                <a:gd name="connsiteY5646" fmla="*/ 475774 h 514350"/>
                <a:gd name="connsiteX5647" fmla="*/ 2522696 w 6400800"/>
                <a:gd name="connsiteY5647" fmla="*/ 484346 h 514350"/>
                <a:gd name="connsiteX5648" fmla="*/ 2520791 w 6400800"/>
                <a:gd name="connsiteY5648" fmla="*/ 479584 h 514350"/>
                <a:gd name="connsiteX5649" fmla="*/ 2521744 w 6400800"/>
                <a:gd name="connsiteY5649" fmla="*/ 475774 h 514350"/>
                <a:gd name="connsiteX5650" fmla="*/ 2514124 w 6400800"/>
                <a:gd name="connsiteY5650" fmla="*/ 323374 h 514350"/>
                <a:gd name="connsiteX5651" fmla="*/ 2514124 w 6400800"/>
                <a:gd name="connsiteY5651" fmla="*/ 323374 h 514350"/>
                <a:gd name="connsiteX5652" fmla="*/ 2513171 w 6400800"/>
                <a:gd name="connsiteY5652" fmla="*/ 328136 h 514350"/>
                <a:gd name="connsiteX5653" fmla="*/ 2513171 w 6400800"/>
                <a:gd name="connsiteY5653" fmla="*/ 329089 h 514350"/>
                <a:gd name="connsiteX5654" fmla="*/ 2514124 w 6400800"/>
                <a:gd name="connsiteY5654" fmla="*/ 323374 h 514350"/>
                <a:gd name="connsiteX5655" fmla="*/ 2509361 w 6400800"/>
                <a:gd name="connsiteY5655" fmla="*/ 300514 h 514350"/>
                <a:gd name="connsiteX5656" fmla="*/ 2508409 w 6400800"/>
                <a:gd name="connsiteY5656" fmla="*/ 302419 h 514350"/>
                <a:gd name="connsiteX5657" fmla="*/ 2508409 w 6400800"/>
                <a:gd name="connsiteY5657" fmla="*/ 302419 h 514350"/>
                <a:gd name="connsiteX5658" fmla="*/ 2507456 w 6400800"/>
                <a:gd name="connsiteY5658" fmla="*/ 294799 h 514350"/>
                <a:gd name="connsiteX5659" fmla="*/ 2509361 w 6400800"/>
                <a:gd name="connsiteY5659" fmla="*/ 300514 h 514350"/>
                <a:gd name="connsiteX5660" fmla="*/ 2496979 w 6400800"/>
                <a:gd name="connsiteY5660" fmla="*/ 292894 h 514350"/>
                <a:gd name="connsiteX5661" fmla="*/ 2497931 w 6400800"/>
                <a:gd name="connsiteY5661" fmla="*/ 290036 h 514350"/>
                <a:gd name="connsiteX5662" fmla="*/ 2496979 w 6400800"/>
                <a:gd name="connsiteY5662" fmla="*/ 290989 h 514350"/>
                <a:gd name="connsiteX5663" fmla="*/ 2497931 w 6400800"/>
                <a:gd name="connsiteY5663" fmla="*/ 284321 h 514350"/>
                <a:gd name="connsiteX5664" fmla="*/ 2498884 w 6400800"/>
                <a:gd name="connsiteY5664" fmla="*/ 269081 h 514350"/>
                <a:gd name="connsiteX5665" fmla="*/ 2498884 w 6400800"/>
                <a:gd name="connsiteY5665" fmla="*/ 266224 h 514350"/>
                <a:gd name="connsiteX5666" fmla="*/ 2502694 w 6400800"/>
                <a:gd name="connsiteY5666" fmla="*/ 277654 h 514350"/>
                <a:gd name="connsiteX5667" fmla="*/ 2502694 w 6400800"/>
                <a:gd name="connsiteY5667" fmla="*/ 283369 h 514350"/>
                <a:gd name="connsiteX5668" fmla="*/ 2501741 w 6400800"/>
                <a:gd name="connsiteY5668" fmla="*/ 302419 h 514350"/>
                <a:gd name="connsiteX5669" fmla="*/ 2501741 w 6400800"/>
                <a:gd name="connsiteY5669" fmla="*/ 313849 h 514350"/>
                <a:gd name="connsiteX5670" fmla="*/ 2500789 w 6400800"/>
                <a:gd name="connsiteY5670" fmla="*/ 325279 h 514350"/>
                <a:gd name="connsiteX5671" fmla="*/ 2500789 w 6400800"/>
                <a:gd name="connsiteY5671" fmla="*/ 326231 h 514350"/>
                <a:gd name="connsiteX5672" fmla="*/ 2499836 w 6400800"/>
                <a:gd name="connsiteY5672" fmla="*/ 315754 h 514350"/>
                <a:gd name="connsiteX5673" fmla="*/ 2499836 w 6400800"/>
                <a:gd name="connsiteY5673" fmla="*/ 310039 h 514350"/>
                <a:gd name="connsiteX5674" fmla="*/ 2500789 w 6400800"/>
                <a:gd name="connsiteY5674" fmla="*/ 297656 h 514350"/>
                <a:gd name="connsiteX5675" fmla="*/ 2500789 w 6400800"/>
                <a:gd name="connsiteY5675" fmla="*/ 286226 h 514350"/>
                <a:gd name="connsiteX5676" fmla="*/ 2496979 w 6400800"/>
                <a:gd name="connsiteY5676" fmla="*/ 292894 h 514350"/>
                <a:gd name="connsiteX5677" fmla="*/ 2496979 w 6400800"/>
                <a:gd name="connsiteY5677" fmla="*/ 292894 h 514350"/>
                <a:gd name="connsiteX5678" fmla="*/ 2449354 w 6400800"/>
                <a:gd name="connsiteY5678" fmla="*/ 334804 h 514350"/>
                <a:gd name="connsiteX5679" fmla="*/ 2447449 w 6400800"/>
                <a:gd name="connsiteY5679" fmla="*/ 328136 h 514350"/>
                <a:gd name="connsiteX5680" fmla="*/ 2450306 w 6400800"/>
                <a:gd name="connsiteY5680" fmla="*/ 321469 h 514350"/>
                <a:gd name="connsiteX5681" fmla="*/ 2450306 w 6400800"/>
                <a:gd name="connsiteY5681" fmla="*/ 322421 h 514350"/>
                <a:gd name="connsiteX5682" fmla="*/ 2451259 w 6400800"/>
                <a:gd name="connsiteY5682" fmla="*/ 324326 h 514350"/>
                <a:gd name="connsiteX5683" fmla="*/ 2449354 w 6400800"/>
                <a:gd name="connsiteY5683" fmla="*/ 334804 h 514350"/>
                <a:gd name="connsiteX5684" fmla="*/ 2450306 w 6400800"/>
                <a:gd name="connsiteY5684" fmla="*/ 254794 h 514350"/>
                <a:gd name="connsiteX5685" fmla="*/ 2451259 w 6400800"/>
                <a:gd name="connsiteY5685" fmla="*/ 251936 h 514350"/>
                <a:gd name="connsiteX5686" fmla="*/ 2451259 w 6400800"/>
                <a:gd name="connsiteY5686" fmla="*/ 250984 h 514350"/>
                <a:gd name="connsiteX5687" fmla="*/ 2451259 w 6400800"/>
                <a:gd name="connsiteY5687" fmla="*/ 251936 h 514350"/>
                <a:gd name="connsiteX5688" fmla="*/ 2450306 w 6400800"/>
                <a:gd name="connsiteY5688" fmla="*/ 254794 h 514350"/>
                <a:gd name="connsiteX5689" fmla="*/ 2452211 w 6400800"/>
                <a:gd name="connsiteY5689" fmla="*/ 251936 h 514350"/>
                <a:gd name="connsiteX5690" fmla="*/ 2451259 w 6400800"/>
                <a:gd name="connsiteY5690" fmla="*/ 250984 h 514350"/>
                <a:gd name="connsiteX5691" fmla="*/ 2456021 w 6400800"/>
                <a:gd name="connsiteY5691" fmla="*/ 238601 h 514350"/>
                <a:gd name="connsiteX5692" fmla="*/ 2460784 w 6400800"/>
                <a:gd name="connsiteY5692" fmla="*/ 231934 h 514350"/>
                <a:gd name="connsiteX5693" fmla="*/ 2459831 w 6400800"/>
                <a:gd name="connsiteY5693" fmla="*/ 235744 h 514350"/>
                <a:gd name="connsiteX5694" fmla="*/ 2456021 w 6400800"/>
                <a:gd name="connsiteY5694" fmla="*/ 248126 h 514350"/>
                <a:gd name="connsiteX5695" fmla="*/ 2452211 w 6400800"/>
                <a:gd name="connsiteY5695" fmla="*/ 251936 h 514350"/>
                <a:gd name="connsiteX5696" fmla="*/ 2457926 w 6400800"/>
                <a:gd name="connsiteY5696" fmla="*/ 266224 h 514350"/>
                <a:gd name="connsiteX5697" fmla="*/ 2456974 w 6400800"/>
                <a:gd name="connsiteY5697" fmla="*/ 268129 h 514350"/>
                <a:gd name="connsiteX5698" fmla="*/ 2457926 w 6400800"/>
                <a:gd name="connsiteY5698" fmla="*/ 266224 h 514350"/>
                <a:gd name="connsiteX5699" fmla="*/ 2457926 w 6400800"/>
                <a:gd name="connsiteY5699" fmla="*/ 266224 h 514350"/>
                <a:gd name="connsiteX5700" fmla="*/ 2457926 w 6400800"/>
                <a:gd name="connsiteY5700" fmla="*/ 374809 h 514350"/>
                <a:gd name="connsiteX5701" fmla="*/ 2456021 w 6400800"/>
                <a:gd name="connsiteY5701" fmla="*/ 367189 h 514350"/>
                <a:gd name="connsiteX5702" fmla="*/ 2456021 w 6400800"/>
                <a:gd name="connsiteY5702" fmla="*/ 362426 h 514350"/>
                <a:gd name="connsiteX5703" fmla="*/ 2456021 w 6400800"/>
                <a:gd name="connsiteY5703" fmla="*/ 344329 h 514350"/>
                <a:gd name="connsiteX5704" fmla="*/ 2458879 w 6400800"/>
                <a:gd name="connsiteY5704" fmla="*/ 354806 h 514350"/>
                <a:gd name="connsiteX5705" fmla="*/ 2457926 w 6400800"/>
                <a:gd name="connsiteY5705" fmla="*/ 374809 h 514350"/>
                <a:gd name="connsiteX5706" fmla="*/ 2456974 w 6400800"/>
                <a:gd name="connsiteY5706" fmla="*/ 308134 h 514350"/>
                <a:gd name="connsiteX5707" fmla="*/ 2456974 w 6400800"/>
                <a:gd name="connsiteY5707" fmla="*/ 305276 h 514350"/>
                <a:gd name="connsiteX5708" fmla="*/ 2457926 w 6400800"/>
                <a:gd name="connsiteY5708" fmla="*/ 302419 h 514350"/>
                <a:gd name="connsiteX5709" fmla="*/ 2459831 w 6400800"/>
                <a:gd name="connsiteY5709" fmla="*/ 313849 h 514350"/>
                <a:gd name="connsiteX5710" fmla="*/ 2460784 w 6400800"/>
                <a:gd name="connsiteY5710" fmla="*/ 317659 h 514350"/>
                <a:gd name="connsiteX5711" fmla="*/ 2456974 w 6400800"/>
                <a:gd name="connsiteY5711" fmla="*/ 308134 h 514350"/>
                <a:gd name="connsiteX5712" fmla="*/ 2458879 w 6400800"/>
                <a:gd name="connsiteY5712" fmla="*/ 290036 h 514350"/>
                <a:gd name="connsiteX5713" fmla="*/ 2459831 w 6400800"/>
                <a:gd name="connsiteY5713" fmla="*/ 287179 h 514350"/>
                <a:gd name="connsiteX5714" fmla="*/ 2463641 w 6400800"/>
                <a:gd name="connsiteY5714" fmla="*/ 277654 h 514350"/>
                <a:gd name="connsiteX5715" fmla="*/ 2465546 w 6400800"/>
                <a:gd name="connsiteY5715" fmla="*/ 281464 h 514350"/>
                <a:gd name="connsiteX5716" fmla="*/ 2458879 w 6400800"/>
                <a:gd name="connsiteY5716" fmla="*/ 290036 h 514350"/>
                <a:gd name="connsiteX5717" fmla="*/ 2464594 w 6400800"/>
                <a:gd name="connsiteY5717" fmla="*/ 305276 h 514350"/>
                <a:gd name="connsiteX5718" fmla="*/ 2460784 w 6400800"/>
                <a:gd name="connsiteY5718" fmla="*/ 295751 h 514350"/>
                <a:gd name="connsiteX5719" fmla="*/ 2462689 w 6400800"/>
                <a:gd name="connsiteY5719" fmla="*/ 292894 h 514350"/>
                <a:gd name="connsiteX5720" fmla="*/ 2466499 w 6400800"/>
                <a:gd name="connsiteY5720" fmla="*/ 285274 h 514350"/>
                <a:gd name="connsiteX5721" fmla="*/ 2464594 w 6400800"/>
                <a:gd name="connsiteY5721" fmla="*/ 305276 h 514350"/>
                <a:gd name="connsiteX5722" fmla="*/ 2467451 w 6400800"/>
                <a:gd name="connsiteY5722" fmla="*/ 274796 h 514350"/>
                <a:gd name="connsiteX5723" fmla="*/ 2466499 w 6400800"/>
                <a:gd name="connsiteY5723" fmla="*/ 272891 h 514350"/>
                <a:gd name="connsiteX5724" fmla="*/ 2468404 w 6400800"/>
                <a:gd name="connsiteY5724" fmla="*/ 268129 h 514350"/>
                <a:gd name="connsiteX5725" fmla="*/ 2467451 w 6400800"/>
                <a:gd name="connsiteY5725" fmla="*/ 274796 h 514350"/>
                <a:gd name="connsiteX5726" fmla="*/ 2471261 w 6400800"/>
                <a:gd name="connsiteY5726" fmla="*/ 233839 h 514350"/>
                <a:gd name="connsiteX5727" fmla="*/ 2470309 w 6400800"/>
                <a:gd name="connsiteY5727" fmla="*/ 245269 h 514350"/>
                <a:gd name="connsiteX5728" fmla="*/ 2469356 w 6400800"/>
                <a:gd name="connsiteY5728" fmla="*/ 246221 h 514350"/>
                <a:gd name="connsiteX5729" fmla="*/ 2459831 w 6400800"/>
                <a:gd name="connsiteY5729" fmla="*/ 263366 h 514350"/>
                <a:gd name="connsiteX5730" fmla="*/ 2458879 w 6400800"/>
                <a:gd name="connsiteY5730" fmla="*/ 261461 h 514350"/>
                <a:gd name="connsiteX5731" fmla="*/ 2461736 w 6400800"/>
                <a:gd name="connsiteY5731" fmla="*/ 247174 h 514350"/>
                <a:gd name="connsiteX5732" fmla="*/ 2462689 w 6400800"/>
                <a:gd name="connsiteY5732" fmla="*/ 245269 h 514350"/>
                <a:gd name="connsiteX5733" fmla="*/ 2472214 w 6400800"/>
                <a:gd name="connsiteY5733" fmla="*/ 231934 h 514350"/>
                <a:gd name="connsiteX5734" fmla="*/ 2472214 w 6400800"/>
                <a:gd name="connsiteY5734" fmla="*/ 231934 h 514350"/>
                <a:gd name="connsiteX5735" fmla="*/ 2473166 w 6400800"/>
                <a:gd name="connsiteY5735" fmla="*/ 240506 h 514350"/>
                <a:gd name="connsiteX5736" fmla="*/ 2472214 w 6400800"/>
                <a:gd name="connsiteY5736" fmla="*/ 242411 h 514350"/>
                <a:gd name="connsiteX5737" fmla="*/ 2471261 w 6400800"/>
                <a:gd name="connsiteY5737" fmla="*/ 233839 h 514350"/>
                <a:gd name="connsiteX5738" fmla="*/ 2467451 w 6400800"/>
                <a:gd name="connsiteY5738" fmla="*/ 211931 h 514350"/>
                <a:gd name="connsiteX5739" fmla="*/ 2465546 w 6400800"/>
                <a:gd name="connsiteY5739" fmla="*/ 213836 h 514350"/>
                <a:gd name="connsiteX5740" fmla="*/ 2466499 w 6400800"/>
                <a:gd name="connsiteY5740" fmla="*/ 211931 h 514350"/>
                <a:gd name="connsiteX5741" fmla="*/ 2468404 w 6400800"/>
                <a:gd name="connsiteY5741" fmla="*/ 208121 h 514350"/>
                <a:gd name="connsiteX5742" fmla="*/ 2468404 w 6400800"/>
                <a:gd name="connsiteY5742" fmla="*/ 210979 h 514350"/>
                <a:gd name="connsiteX5743" fmla="*/ 2467451 w 6400800"/>
                <a:gd name="connsiteY5743" fmla="*/ 211931 h 514350"/>
                <a:gd name="connsiteX5744" fmla="*/ 2467451 w 6400800"/>
                <a:gd name="connsiteY5744" fmla="*/ 211931 h 514350"/>
                <a:gd name="connsiteX5745" fmla="*/ 2467451 w 6400800"/>
                <a:gd name="connsiteY5745" fmla="*/ 211931 h 514350"/>
                <a:gd name="connsiteX5746" fmla="*/ 2470309 w 6400800"/>
                <a:gd name="connsiteY5746" fmla="*/ 218599 h 514350"/>
                <a:gd name="connsiteX5747" fmla="*/ 2472214 w 6400800"/>
                <a:gd name="connsiteY5747" fmla="*/ 230029 h 514350"/>
                <a:gd name="connsiteX5748" fmla="*/ 2472214 w 6400800"/>
                <a:gd name="connsiteY5748" fmla="*/ 230029 h 514350"/>
                <a:gd name="connsiteX5749" fmla="*/ 2463641 w 6400800"/>
                <a:gd name="connsiteY5749" fmla="*/ 237649 h 514350"/>
                <a:gd name="connsiteX5750" fmla="*/ 2464594 w 6400800"/>
                <a:gd name="connsiteY5750" fmla="*/ 234791 h 514350"/>
                <a:gd name="connsiteX5751" fmla="*/ 2466499 w 6400800"/>
                <a:gd name="connsiteY5751" fmla="*/ 224314 h 514350"/>
                <a:gd name="connsiteX5752" fmla="*/ 2466499 w 6400800"/>
                <a:gd name="connsiteY5752" fmla="*/ 224314 h 514350"/>
                <a:gd name="connsiteX5753" fmla="*/ 2470309 w 6400800"/>
                <a:gd name="connsiteY5753" fmla="*/ 218599 h 514350"/>
                <a:gd name="connsiteX5754" fmla="*/ 2477929 w 6400800"/>
                <a:gd name="connsiteY5754" fmla="*/ 223361 h 514350"/>
                <a:gd name="connsiteX5755" fmla="*/ 2475071 w 6400800"/>
                <a:gd name="connsiteY5755" fmla="*/ 212884 h 514350"/>
                <a:gd name="connsiteX5756" fmla="*/ 2477929 w 6400800"/>
                <a:gd name="connsiteY5756" fmla="*/ 209074 h 514350"/>
                <a:gd name="connsiteX5757" fmla="*/ 2477929 w 6400800"/>
                <a:gd name="connsiteY5757" fmla="*/ 217646 h 514350"/>
                <a:gd name="connsiteX5758" fmla="*/ 2477929 w 6400800"/>
                <a:gd name="connsiteY5758" fmla="*/ 223361 h 514350"/>
                <a:gd name="connsiteX5759" fmla="*/ 2473166 w 6400800"/>
                <a:gd name="connsiteY5759" fmla="*/ 206216 h 514350"/>
                <a:gd name="connsiteX5760" fmla="*/ 2472214 w 6400800"/>
                <a:gd name="connsiteY5760" fmla="*/ 203359 h 514350"/>
                <a:gd name="connsiteX5761" fmla="*/ 2471261 w 6400800"/>
                <a:gd name="connsiteY5761" fmla="*/ 201454 h 514350"/>
                <a:gd name="connsiteX5762" fmla="*/ 2474119 w 6400800"/>
                <a:gd name="connsiteY5762" fmla="*/ 195739 h 514350"/>
                <a:gd name="connsiteX5763" fmla="*/ 2477929 w 6400800"/>
                <a:gd name="connsiteY5763" fmla="*/ 189071 h 514350"/>
                <a:gd name="connsiteX5764" fmla="*/ 2477929 w 6400800"/>
                <a:gd name="connsiteY5764" fmla="*/ 201454 h 514350"/>
                <a:gd name="connsiteX5765" fmla="*/ 2473166 w 6400800"/>
                <a:gd name="connsiteY5765" fmla="*/ 206216 h 514350"/>
                <a:gd name="connsiteX5766" fmla="*/ 2473166 w 6400800"/>
                <a:gd name="connsiteY5766" fmla="*/ 255746 h 514350"/>
                <a:gd name="connsiteX5767" fmla="*/ 2475071 w 6400800"/>
                <a:gd name="connsiteY5767" fmla="*/ 251936 h 514350"/>
                <a:gd name="connsiteX5768" fmla="*/ 2476976 w 6400800"/>
                <a:gd name="connsiteY5768" fmla="*/ 266224 h 514350"/>
                <a:gd name="connsiteX5769" fmla="*/ 2479834 w 6400800"/>
                <a:gd name="connsiteY5769" fmla="*/ 292894 h 514350"/>
                <a:gd name="connsiteX5770" fmla="*/ 2479834 w 6400800"/>
                <a:gd name="connsiteY5770" fmla="*/ 296704 h 514350"/>
                <a:gd name="connsiteX5771" fmla="*/ 2479834 w 6400800"/>
                <a:gd name="connsiteY5771" fmla="*/ 295751 h 514350"/>
                <a:gd name="connsiteX5772" fmla="*/ 2475071 w 6400800"/>
                <a:gd name="connsiteY5772" fmla="*/ 288131 h 514350"/>
                <a:gd name="connsiteX5773" fmla="*/ 2473166 w 6400800"/>
                <a:gd name="connsiteY5773" fmla="*/ 255746 h 514350"/>
                <a:gd name="connsiteX5774" fmla="*/ 2481739 w 6400800"/>
                <a:gd name="connsiteY5774" fmla="*/ 324326 h 514350"/>
                <a:gd name="connsiteX5775" fmla="*/ 2480786 w 6400800"/>
                <a:gd name="connsiteY5775" fmla="*/ 326231 h 514350"/>
                <a:gd name="connsiteX5776" fmla="*/ 2476024 w 6400800"/>
                <a:gd name="connsiteY5776" fmla="*/ 340519 h 514350"/>
                <a:gd name="connsiteX5777" fmla="*/ 2476024 w 6400800"/>
                <a:gd name="connsiteY5777" fmla="*/ 308134 h 514350"/>
                <a:gd name="connsiteX5778" fmla="*/ 2476024 w 6400800"/>
                <a:gd name="connsiteY5778" fmla="*/ 308134 h 514350"/>
                <a:gd name="connsiteX5779" fmla="*/ 2479834 w 6400800"/>
                <a:gd name="connsiteY5779" fmla="*/ 318611 h 514350"/>
                <a:gd name="connsiteX5780" fmla="*/ 2480786 w 6400800"/>
                <a:gd name="connsiteY5780" fmla="*/ 322421 h 514350"/>
                <a:gd name="connsiteX5781" fmla="*/ 2481739 w 6400800"/>
                <a:gd name="connsiteY5781" fmla="*/ 324326 h 514350"/>
                <a:gd name="connsiteX5782" fmla="*/ 2481739 w 6400800"/>
                <a:gd name="connsiteY5782" fmla="*/ 324326 h 514350"/>
                <a:gd name="connsiteX5783" fmla="*/ 2436971 w 6400800"/>
                <a:gd name="connsiteY5783" fmla="*/ 215741 h 514350"/>
                <a:gd name="connsiteX5784" fmla="*/ 2447449 w 6400800"/>
                <a:gd name="connsiteY5784" fmla="*/ 195739 h 514350"/>
                <a:gd name="connsiteX5785" fmla="*/ 2457926 w 6400800"/>
                <a:gd name="connsiteY5785" fmla="*/ 178594 h 514350"/>
                <a:gd name="connsiteX5786" fmla="*/ 2475071 w 6400800"/>
                <a:gd name="connsiteY5786" fmla="*/ 150971 h 514350"/>
                <a:gd name="connsiteX5787" fmla="*/ 2482691 w 6400800"/>
                <a:gd name="connsiteY5787" fmla="*/ 138589 h 514350"/>
                <a:gd name="connsiteX5788" fmla="*/ 2480786 w 6400800"/>
                <a:gd name="connsiteY5788" fmla="*/ 154781 h 514350"/>
                <a:gd name="connsiteX5789" fmla="*/ 2478881 w 6400800"/>
                <a:gd name="connsiteY5789" fmla="*/ 181451 h 514350"/>
                <a:gd name="connsiteX5790" fmla="*/ 2470309 w 6400800"/>
                <a:gd name="connsiteY5790" fmla="*/ 193834 h 514350"/>
                <a:gd name="connsiteX5791" fmla="*/ 2469356 w 6400800"/>
                <a:gd name="connsiteY5791" fmla="*/ 194786 h 514350"/>
                <a:gd name="connsiteX5792" fmla="*/ 2465546 w 6400800"/>
                <a:gd name="connsiteY5792" fmla="*/ 181451 h 514350"/>
                <a:gd name="connsiteX5793" fmla="*/ 2467451 w 6400800"/>
                <a:gd name="connsiteY5793" fmla="*/ 197644 h 514350"/>
                <a:gd name="connsiteX5794" fmla="*/ 2460784 w 6400800"/>
                <a:gd name="connsiteY5794" fmla="*/ 209074 h 514350"/>
                <a:gd name="connsiteX5795" fmla="*/ 2447449 w 6400800"/>
                <a:gd name="connsiteY5795" fmla="*/ 234791 h 514350"/>
                <a:gd name="connsiteX5796" fmla="*/ 2436971 w 6400800"/>
                <a:gd name="connsiteY5796" fmla="*/ 247174 h 514350"/>
                <a:gd name="connsiteX5797" fmla="*/ 2436019 w 6400800"/>
                <a:gd name="connsiteY5797" fmla="*/ 249079 h 514350"/>
                <a:gd name="connsiteX5798" fmla="*/ 2436019 w 6400800"/>
                <a:gd name="connsiteY5798" fmla="*/ 249079 h 514350"/>
                <a:gd name="connsiteX5799" fmla="*/ 2433161 w 6400800"/>
                <a:gd name="connsiteY5799" fmla="*/ 225266 h 514350"/>
                <a:gd name="connsiteX5800" fmla="*/ 2436971 w 6400800"/>
                <a:gd name="connsiteY5800" fmla="*/ 215741 h 514350"/>
                <a:gd name="connsiteX5801" fmla="*/ 2416016 w 6400800"/>
                <a:gd name="connsiteY5801" fmla="*/ 313849 h 514350"/>
                <a:gd name="connsiteX5802" fmla="*/ 2416016 w 6400800"/>
                <a:gd name="connsiteY5802" fmla="*/ 313849 h 514350"/>
                <a:gd name="connsiteX5803" fmla="*/ 2413159 w 6400800"/>
                <a:gd name="connsiteY5803" fmla="*/ 304324 h 514350"/>
                <a:gd name="connsiteX5804" fmla="*/ 2415064 w 6400800"/>
                <a:gd name="connsiteY5804" fmla="*/ 301466 h 514350"/>
                <a:gd name="connsiteX5805" fmla="*/ 2415064 w 6400800"/>
                <a:gd name="connsiteY5805" fmla="*/ 303371 h 514350"/>
                <a:gd name="connsiteX5806" fmla="*/ 2416016 w 6400800"/>
                <a:gd name="connsiteY5806" fmla="*/ 313849 h 514350"/>
                <a:gd name="connsiteX5807" fmla="*/ 2416016 w 6400800"/>
                <a:gd name="connsiteY5807" fmla="*/ 313849 h 514350"/>
                <a:gd name="connsiteX5808" fmla="*/ 2422684 w 6400800"/>
                <a:gd name="connsiteY5808" fmla="*/ 288131 h 514350"/>
                <a:gd name="connsiteX5809" fmla="*/ 2422684 w 6400800"/>
                <a:gd name="connsiteY5809" fmla="*/ 293846 h 514350"/>
                <a:gd name="connsiteX5810" fmla="*/ 2420779 w 6400800"/>
                <a:gd name="connsiteY5810" fmla="*/ 299561 h 514350"/>
                <a:gd name="connsiteX5811" fmla="*/ 2418874 w 6400800"/>
                <a:gd name="connsiteY5811" fmla="*/ 293846 h 514350"/>
                <a:gd name="connsiteX5812" fmla="*/ 2420779 w 6400800"/>
                <a:gd name="connsiteY5812" fmla="*/ 290989 h 514350"/>
                <a:gd name="connsiteX5813" fmla="*/ 2422684 w 6400800"/>
                <a:gd name="connsiteY5813" fmla="*/ 288131 h 514350"/>
                <a:gd name="connsiteX5814" fmla="*/ 2414111 w 6400800"/>
                <a:gd name="connsiteY5814" fmla="*/ 259556 h 514350"/>
                <a:gd name="connsiteX5815" fmla="*/ 2419826 w 6400800"/>
                <a:gd name="connsiteY5815" fmla="*/ 248126 h 514350"/>
                <a:gd name="connsiteX5816" fmla="*/ 2420779 w 6400800"/>
                <a:gd name="connsiteY5816" fmla="*/ 266224 h 514350"/>
                <a:gd name="connsiteX5817" fmla="*/ 2412206 w 6400800"/>
                <a:gd name="connsiteY5817" fmla="*/ 277654 h 514350"/>
                <a:gd name="connsiteX5818" fmla="*/ 2410301 w 6400800"/>
                <a:gd name="connsiteY5818" fmla="*/ 273844 h 514350"/>
                <a:gd name="connsiteX5819" fmla="*/ 2408396 w 6400800"/>
                <a:gd name="connsiteY5819" fmla="*/ 270986 h 514350"/>
                <a:gd name="connsiteX5820" fmla="*/ 2414111 w 6400800"/>
                <a:gd name="connsiteY5820" fmla="*/ 259556 h 514350"/>
                <a:gd name="connsiteX5821" fmla="*/ 2406491 w 6400800"/>
                <a:gd name="connsiteY5821" fmla="*/ 275749 h 514350"/>
                <a:gd name="connsiteX5822" fmla="*/ 2406491 w 6400800"/>
                <a:gd name="connsiteY5822" fmla="*/ 275749 h 514350"/>
                <a:gd name="connsiteX5823" fmla="*/ 2409349 w 6400800"/>
                <a:gd name="connsiteY5823" fmla="*/ 282416 h 514350"/>
                <a:gd name="connsiteX5824" fmla="*/ 2406491 w 6400800"/>
                <a:gd name="connsiteY5824" fmla="*/ 286226 h 514350"/>
                <a:gd name="connsiteX5825" fmla="*/ 2404586 w 6400800"/>
                <a:gd name="connsiteY5825" fmla="*/ 280511 h 514350"/>
                <a:gd name="connsiteX5826" fmla="*/ 2406491 w 6400800"/>
                <a:gd name="connsiteY5826" fmla="*/ 275749 h 514350"/>
                <a:gd name="connsiteX5827" fmla="*/ 2405539 w 6400800"/>
                <a:gd name="connsiteY5827" fmla="*/ 317659 h 514350"/>
                <a:gd name="connsiteX5828" fmla="*/ 2408396 w 6400800"/>
                <a:gd name="connsiteY5828" fmla="*/ 328136 h 514350"/>
                <a:gd name="connsiteX5829" fmla="*/ 2408396 w 6400800"/>
                <a:gd name="connsiteY5829" fmla="*/ 334804 h 514350"/>
                <a:gd name="connsiteX5830" fmla="*/ 2407444 w 6400800"/>
                <a:gd name="connsiteY5830" fmla="*/ 332899 h 514350"/>
                <a:gd name="connsiteX5831" fmla="*/ 2407444 w 6400800"/>
                <a:gd name="connsiteY5831" fmla="*/ 340519 h 514350"/>
                <a:gd name="connsiteX5832" fmla="*/ 2404586 w 6400800"/>
                <a:gd name="connsiteY5832" fmla="*/ 350996 h 514350"/>
                <a:gd name="connsiteX5833" fmla="*/ 2400776 w 6400800"/>
                <a:gd name="connsiteY5833" fmla="*/ 364331 h 514350"/>
                <a:gd name="connsiteX5834" fmla="*/ 2398871 w 6400800"/>
                <a:gd name="connsiteY5834" fmla="*/ 343376 h 514350"/>
                <a:gd name="connsiteX5835" fmla="*/ 2397919 w 6400800"/>
                <a:gd name="connsiteY5835" fmla="*/ 333851 h 514350"/>
                <a:gd name="connsiteX5836" fmla="*/ 2398871 w 6400800"/>
                <a:gd name="connsiteY5836" fmla="*/ 330994 h 514350"/>
                <a:gd name="connsiteX5837" fmla="*/ 2405539 w 6400800"/>
                <a:gd name="connsiteY5837" fmla="*/ 317659 h 514350"/>
                <a:gd name="connsiteX5838" fmla="*/ 2398871 w 6400800"/>
                <a:gd name="connsiteY5838" fmla="*/ 291941 h 514350"/>
                <a:gd name="connsiteX5839" fmla="*/ 2399824 w 6400800"/>
                <a:gd name="connsiteY5839" fmla="*/ 295751 h 514350"/>
                <a:gd name="connsiteX5840" fmla="*/ 2394109 w 6400800"/>
                <a:gd name="connsiteY5840" fmla="*/ 303371 h 514350"/>
                <a:gd name="connsiteX5841" fmla="*/ 2394109 w 6400800"/>
                <a:gd name="connsiteY5841" fmla="*/ 302419 h 514350"/>
                <a:gd name="connsiteX5842" fmla="*/ 2398871 w 6400800"/>
                <a:gd name="connsiteY5842" fmla="*/ 291941 h 514350"/>
                <a:gd name="connsiteX5843" fmla="*/ 2393156 w 6400800"/>
                <a:gd name="connsiteY5843" fmla="*/ 267176 h 514350"/>
                <a:gd name="connsiteX5844" fmla="*/ 2391251 w 6400800"/>
                <a:gd name="connsiteY5844" fmla="*/ 270034 h 514350"/>
                <a:gd name="connsiteX5845" fmla="*/ 2389346 w 6400800"/>
                <a:gd name="connsiteY5845" fmla="*/ 254794 h 514350"/>
                <a:gd name="connsiteX5846" fmla="*/ 2393156 w 6400800"/>
                <a:gd name="connsiteY5846" fmla="*/ 267176 h 514350"/>
                <a:gd name="connsiteX5847" fmla="*/ 2351246 w 6400800"/>
                <a:gd name="connsiteY5847" fmla="*/ 278606 h 514350"/>
                <a:gd name="connsiteX5848" fmla="*/ 2351246 w 6400800"/>
                <a:gd name="connsiteY5848" fmla="*/ 278606 h 514350"/>
                <a:gd name="connsiteX5849" fmla="*/ 2351246 w 6400800"/>
                <a:gd name="connsiteY5849" fmla="*/ 275749 h 514350"/>
                <a:gd name="connsiteX5850" fmla="*/ 2351246 w 6400800"/>
                <a:gd name="connsiteY5850" fmla="*/ 278606 h 514350"/>
                <a:gd name="connsiteX5851" fmla="*/ 2378869 w 6400800"/>
                <a:gd name="connsiteY5851" fmla="*/ 295751 h 514350"/>
                <a:gd name="connsiteX5852" fmla="*/ 2375059 w 6400800"/>
                <a:gd name="connsiteY5852" fmla="*/ 303371 h 514350"/>
                <a:gd name="connsiteX5853" fmla="*/ 2374106 w 6400800"/>
                <a:gd name="connsiteY5853" fmla="*/ 305276 h 514350"/>
                <a:gd name="connsiteX5854" fmla="*/ 2374106 w 6400800"/>
                <a:gd name="connsiteY5854" fmla="*/ 304324 h 514350"/>
                <a:gd name="connsiteX5855" fmla="*/ 2376011 w 6400800"/>
                <a:gd name="connsiteY5855" fmla="*/ 231934 h 514350"/>
                <a:gd name="connsiteX5856" fmla="*/ 2366486 w 6400800"/>
                <a:gd name="connsiteY5856" fmla="*/ 277654 h 514350"/>
                <a:gd name="connsiteX5857" fmla="*/ 2364581 w 6400800"/>
                <a:gd name="connsiteY5857" fmla="*/ 272891 h 514350"/>
                <a:gd name="connsiteX5858" fmla="*/ 2361724 w 6400800"/>
                <a:gd name="connsiteY5858" fmla="*/ 264319 h 514350"/>
                <a:gd name="connsiteX5859" fmla="*/ 2361724 w 6400800"/>
                <a:gd name="connsiteY5859" fmla="*/ 245269 h 514350"/>
                <a:gd name="connsiteX5860" fmla="*/ 2365534 w 6400800"/>
                <a:gd name="connsiteY5860" fmla="*/ 234791 h 514350"/>
                <a:gd name="connsiteX5861" fmla="*/ 2376011 w 6400800"/>
                <a:gd name="connsiteY5861" fmla="*/ 211931 h 514350"/>
                <a:gd name="connsiteX5862" fmla="*/ 2376011 w 6400800"/>
                <a:gd name="connsiteY5862" fmla="*/ 244316 h 514350"/>
                <a:gd name="connsiteX5863" fmla="*/ 2376964 w 6400800"/>
                <a:gd name="connsiteY5863" fmla="*/ 290989 h 514350"/>
                <a:gd name="connsiteX5864" fmla="*/ 2378869 w 6400800"/>
                <a:gd name="connsiteY5864" fmla="*/ 295751 h 514350"/>
                <a:gd name="connsiteX5865" fmla="*/ 2362676 w 6400800"/>
                <a:gd name="connsiteY5865" fmla="*/ 180499 h 514350"/>
                <a:gd name="connsiteX5866" fmla="*/ 2368391 w 6400800"/>
                <a:gd name="connsiteY5866" fmla="*/ 166211 h 514350"/>
                <a:gd name="connsiteX5867" fmla="*/ 2377916 w 6400800"/>
                <a:gd name="connsiteY5867" fmla="*/ 140494 h 514350"/>
                <a:gd name="connsiteX5868" fmla="*/ 2378869 w 6400800"/>
                <a:gd name="connsiteY5868" fmla="*/ 143351 h 514350"/>
                <a:gd name="connsiteX5869" fmla="*/ 2378869 w 6400800"/>
                <a:gd name="connsiteY5869" fmla="*/ 152876 h 514350"/>
                <a:gd name="connsiteX5870" fmla="*/ 2377916 w 6400800"/>
                <a:gd name="connsiteY5870" fmla="*/ 147161 h 514350"/>
                <a:gd name="connsiteX5871" fmla="*/ 2377916 w 6400800"/>
                <a:gd name="connsiteY5871" fmla="*/ 173831 h 514350"/>
                <a:gd name="connsiteX5872" fmla="*/ 2377916 w 6400800"/>
                <a:gd name="connsiteY5872" fmla="*/ 203359 h 514350"/>
                <a:gd name="connsiteX5873" fmla="*/ 2362676 w 6400800"/>
                <a:gd name="connsiteY5873" fmla="*/ 227171 h 514350"/>
                <a:gd name="connsiteX5874" fmla="*/ 2360771 w 6400800"/>
                <a:gd name="connsiteY5874" fmla="*/ 185261 h 514350"/>
                <a:gd name="connsiteX5875" fmla="*/ 2362676 w 6400800"/>
                <a:gd name="connsiteY5875" fmla="*/ 180499 h 514350"/>
                <a:gd name="connsiteX5876" fmla="*/ 2340769 w 6400800"/>
                <a:gd name="connsiteY5876" fmla="*/ 241459 h 514350"/>
                <a:gd name="connsiteX5877" fmla="*/ 2342674 w 6400800"/>
                <a:gd name="connsiteY5877" fmla="*/ 235744 h 514350"/>
                <a:gd name="connsiteX5878" fmla="*/ 2347436 w 6400800"/>
                <a:gd name="connsiteY5878" fmla="*/ 221456 h 514350"/>
                <a:gd name="connsiteX5879" fmla="*/ 2359819 w 6400800"/>
                <a:gd name="connsiteY5879" fmla="*/ 187166 h 514350"/>
                <a:gd name="connsiteX5880" fmla="*/ 2355056 w 6400800"/>
                <a:gd name="connsiteY5880" fmla="*/ 236696 h 514350"/>
                <a:gd name="connsiteX5881" fmla="*/ 2353151 w 6400800"/>
                <a:gd name="connsiteY5881" fmla="*/ 230029 h 514350"/>
                <a:gd name="connsiteX5882" fmla="*/ 2354104 w 6400800"/>
                <a:gd name="connsiteY5882" fmla="*/ 241459 h 514350"/>
                <a:gd name="connsiteX5883" fmla="*/ 2344579 w 6400800"/>
                <a:gd name="connsiteY5883" fmla="*/ 259556 h 514350"/>
                <a:gd name="connsiteX5884" fmla="*/ 2344579 w 6400800"/>
                <a:gd name="connsiteY5884" fmla="*/ 259556 h 514350"/>
                <a:gd name="connsiteX5885" fmla="*/ 2339816 w 6400800"/>
                <a:gd name="connsiteY5885" fmla="*/ 245269 h 514350"/>
                <a:gd name="connsiteX5886" fmla="*/ 2340769 w 6400800"/>
                <a:gd name="connsiteY5886" fmla="*/ 241459 h 514350"/>
                <a:gd name="connsiteX5887" fmla="*/ 2344579 w 6400800"/>
                <a:gd name="connsiteY5887" fmla="*/ 320516 h 514350"/>
                <a:gd name="connsiteX5888" fmla="*/ 2339816 w 6400800"/>
                <a:gd name="connsiteY5888" fmla="*/ 310991 h 514350"/>
                <a:gd name="connsiteX5889" fmla="*/ 2339816 w 6400800"/>
                <a:gd name="connsiteY5889" fmla="*/ 310039 h 514350"/>
                <a:gd name="connsiteX5890" fmla="*/ 2344579 w 6400800"/>
                <a:gd name="connsiteY5890" fmla="*/ 320516 h 514350"/>
                <a:gd name="connsiteX5891" fmla="*/ 2337911 w 6400800"/>
                <a:gd name="connsiteY5891" fmla="*/ 317659 h 514350"/>
                <a:gd name="connsiteX5892" fmla="*/ 2341721 w 6400800"/>
                <a:gd name="connsiteY5892" fmla="*/ 327184 h 514350"/>
                <a:gd name="connsiteX5893" fmla="*/ 2336959 w 6400800"/>
                <a:gd name="connsiteY5893" fmla="*/ 321469 h 514350"/>
                <a:gd name="connsiteX5894" fmla="*/ 2337911 w 6400800"/>
                <a:gd name="connsiteY5894" fmla="*/ 317659 h 514350"/>
                <a:gd name="connsiteX5895" fmla="*/ 2332196 w 6400800"/>
                <a:gd name="connsiteY5895" fmla="*/ 280511 h 514350"/>
                <a:gd name="connsiteX5896" fmla="*/ 2333149 w 6400800"/>
                <a:gd name="connsiteY5896" fmla="*/ 283369 h 514350"/>
                <a:gd name="connsiteX5897" fmla="*/ 2332196 w 6400800"/>
                <a:gd name="connsiteY5897" fmla="*/ 281464 h 514350"/>
                <a:gd name="connsiteX5898" fmla="*/ 2332196 w 6400800"/>
                <a:gd name="connsiteY5898" fmla="*/ 280511 h 514350"/>
                <a:gd name="connsiteX5899" fmla="*/ 2330291 w 6400800"/>
                <a:gd name="connsiteY5899" fmla="*/ 289084 h 514350"/>
                <a:gd name="connsiteX5900" fmla="*/ 2331244 w 6400800"/>
                <a:gd name="connsiteY5900" fmla="*/ 290989 h 514350"/>
                <a:gd name="connsiteX5901" fmla="*/ 2330291 w 6400800"/>
                <a:gd name="connsiteY5901" fmla="*/ 292894 h 514350"/>
                <a:gd name="connsiteX5902" fmla="*/ 2329339 w 6400800"/>
                <a:gd name="connsiteY5902" fmla="*/ 290989 h 514350"/>
                <a:gd name="connsiteX5903" fmla="*/ 2330291 w 6400800"/>
                <a:gd name="connsiteY5903" fmla="*/ 289084 h 514350"/>
                <a:gd name="connsiteX5904" fmla="*/ 2329339 w 6400800"/>
                <a:gd name="connsiteY5904" fmla="*/ 293846 h 514350"/>
                <a:gd name="connsiteX5905" fmla="*/ 2329339 w 6400800"/>
                <a:gd name="connsiteY5905" fmla="*/ 292894 h 514350"/>
                <a:gd name="connsiteX5906" fmla="*/ 2330291 w 6400800"/>
                <a:gd name="connsiteY5906" fmla="*/ 294799 h 514350"/>
                <a:gd name="connsiteX5907" fmla="*/ 2328386 w 6400800"/>
                <a:gd name="connsiteY5907" fmla="*/ 299561 h 514350"/>
                <a:gd name="connsiteX5908" fmla="*/ 2328386 w 6400800"/>
                <a:gd name="connsiteY5908" fmla="*/ 298609 h 514350"/>
                <a:gd name="connsiteX5909" fmla="*/ 2329339 w 6400800"/>
                <a:gd name="connsiteY5909" fmla="*/ 293846 h 514350"/>
                <a:gd name="connsiteX5910" fmla="*/ 2313146 w 6400800"/>
                <a:gd name="connsiteY5910" fmla="*/ 194786 h 514350"/>
                <a:gd name="connsiteX5911" fmla="*/ 2315051 w 6400800"/>
                <a:gd name="connsiteY5911" fmla="*/ 201454 h 514350"/>
                <a:gd name="connsiteX5912" fmla="*/ 2316004 w 6400800"/>
                <a:gd name="connsiteY5912" fmla="*/ 205264 h 514350"/>
                <a:gd name="connsiteX5913" fmla="*/ 2314099 w 6400800"/>
                <a:gd name="connsiteY5913" fmla="*/ 214789 h 514350"/>
                <a:gd name="connsiteX5914" fmla="*/ 2314099 w 6400800"/>
                <a:gd name="connsiteY5914" fmla="*/ 214789 h 514350"/>
                <a:gd name="connsiteX5915" fmla="*/ 2310289 w 6400800"/>
                <a:gd name="connsiteY5915" fmla="*/ 207169 h 514350"/>
                <a:gd name="connsiteX5916" fmla="*/ 2313146 w 6400800"/>
                <a:gd name="connsiteY5916" fmla="*/ 194786 h 514350"/>
                <a:gd name="connsiteX5917" fmla="*/ 2304574 w 6400800"/>
                <a:gd name="connsiteY5917" fmla="*/ 197644 h 514350"/>
                <a:gd name="connsiteX5918" fmla="*/ 2305526 w 6400800"/>
                <a:gd name="connsiteY5918" fmla="*/ 200501 h 514350"/>
                <a:gd name="connsiteX5919" fmla="*/ 2303621 w 6400800"/>
                <a:gd name="connsiteY5919" fmla="*/ 205264 h 514350"/>
                <a:gd name="connsiteX5920" fmla="*/ 2304574 w 6400800"/>
                <a:gd name="connsiteY5920" fmla="*/ 197644 h 514350"/>
                <a:gd name="connsiteX5921" fmla="*/ 2297906 w 6400800"/>
                <a:gd name="connsiteY5921" fmla="*/ 272891 h 514350"/>
                <a:gd name="connsiteX5922" fmla="*/ 2298859 w 6400800"/>
                <a:gd name="connsiteY5922" fmla="*/ 256699 h 514350"/>
                <a:gd name="connsiteX5923" fmla="*/ 2299811 w 6400800"/>
                <a:gd name="connsiteY5923" fmla="*/ 250984 h 514350"/>
                <a:gd name="connsiteX5924" fmla="*/ 2308384 w 6400800"/>
                <a:gd name="connsiteY5924" fmla="*/ 211931 h 514350"/>
                <a:gd name="connsiteX5925" fmla="*/ 2309336 w 6400800"/>
                <a:gd name="connsiteY5925" fmla="*/ 215741 h 514350"/>
                <a:gd name="connsiteX5926" fmla="*/ 2311241 w 6400800"/>
                <a:gd name="connsiteY5926" fmla="*/ 221456 h 514350"/>
                <a:gd name="connsiteX5927" fmla="*/ 2311241 w 6400800"/>
                <a:gd name="connsiteY5927" fmla="*/ 221456 h 514350"/>
                <a:gd name="connsiteX5928" fmla="*/ 2304574 w 6400800"/>
                <a:gd name="connsiteY5928" fmla="*/ 253841 h 514350"/>
                <a:gd name="connsiteX5929" fmla="*/ 2302669 w 6400800"/>
                <a:gd name="connsiteY5929" fmla="*/ 251936 h 514350"/>
                <a:gd name="connsiteX5930" fmla="*/ 2304574 w 6400800"/>
                <a:gd name="connsiteY5930" fmla="*/ 253841 h 514350"/>
                <a:gd name="connsiteX5931" fmla="*/ 2299811 w 6400800"/>
                <a:gd name="connsiteY5931" fmla="*/ 274796 h 514350"/>
                <a:gd name="connsiteX5932" fmla="*/ 2294096 w 6400800"/>
                <a:gd name="connsiteY5932" fmla="*/ 300514 h 514350"/>
                <a:gd name="connsiteX5933" fmla="*/ 2297906 w 6400800"/>
                <a:gd name="connsiteY5933" fmla="*/ 272891 h 514350"/>
                <a:gd name="connsiteX5934" fmla="*/ 2271236 w 6400800"/>
                <a:gd name="connsiteY5934" fmla="*/ 369094 h 514350"/>
                <a:gd name="connsiteX5935" fmla="*/ 2270284 w 6400800"/>
                <a:gd name="connsiteY5935" fmla="*/ 376714 h 514350"/>
                <a:gd name="connsiteX5936" fmla="*/ 2270284 w 6400800"/>
                <a:gd name="connsiteY5936" fmla="*/ 376714 h 514350"/>
                <a:gd name="connsiteX5937" fmla="*/ 2270284 w 6400800"/>
                <a:gd name="connsiteY5937" fmla="*/ 372904 h 514350"/>
                <a:gd name="connsiteX5938" fmla="*/ 2271236 w 6400800"/>
                <a:gd name="connsiteY5938" fmla="*/ 369094 h 514350"/>
                <a:gd name="connsiteX5939" fmla="*/ 2252186 w 6400800"/>
                <a:gd name="connsiteY5939" fmla="*/ 297656 h 514350"/>
                <a:gd name="connsiteX5940" fmla="*/ 2251234 w 6400800"/>
                <a:gd name="connsiteY5940" fmla="*/ 311944 h 514350"/>
                <a:gd name="connsiteX5941" fmla="*/ 2250281 w 6400800"/>
                <a:gd name="connsiteY5941" fmla="*/ 308134 h 514350"/>
                <a:gd name="connsiteX5942" fmla="*/ 2252186 w 6400800"/>
                <a:gd name="connsiteY5942" fmla="*/ 297656 h 514350"/>
                <a:gd name="connsiteX5943" fmla="*/ 2215991 w 6400800"/>
                <a:gd name="connsiteY5943" fmla="*/ 252889 h 514350"/>
                <a:gd name="connsiteX5944" fmla="*/ 2215991 w 6400800"/>
                <a:gd name="connsiteY5944" fmla="*/ 256699 h 514350"/>
                <a:gd name="connsiteX5945" fmla="*/ 2215991 w 6400800"/>
                <a:gd name="connsiteY5945" fmla="*/ 256699 h 514350"/>
                <a:gd name="connsiteX5946" fmla="*/ 2215991 w 6400800"/>
                <a:gd name="connsiteY5946" fmla="*/ 252889 h 514350"/>
                <a:gd name="connsiteX5947" fmla="*/ 2211229 w 6400800"/>
                <a:gd name="connsiteY5947" fmla="*/ 281464 h 514350"/>
                <a:gd name="connsiteX5948" fmla="*/ 2214086 w 6400800"/>
                <a:gd name="connsiteY5948" fmla="*/ 260509 h 514350"/>
                <a:gd name="connsiteX5949" fmla="*/ 2215039 w 6400800"/>
                <a:gd name="connsiteY5949" fmla="*/ 261461 h 514350"/>
                <a:gd name="connsiteX5950" fmla="*/ 2215039 w 6400800"/>
                <a:gd name="connsiteY5950" fmla="*/ 267176 h 514350"/>
                <a:gd name="connsiteX5951" fmla="*/ 2212181 w 6400800"/>
                <a:gd name="connsiteY5951" fmla="*/ 299561 h 514350"/>
                <a:gd name="connsiteX5952" fmla="*/ 2206466 w 6400800"/>
                <a:gd name="connsiteY5952" fmla="*/ 309086 h 514350"/>
                <a:gd name="connsiteX5953" fmla="*/ 2211229 w 6400800"/>
                <a:gd name="connsiteY5953" fmla="*/ 281464 h 514350"/>
                <a:gd name="connsiteX5954" fmla="*/ 2205514 w 6400800"/>
                <a:gd name="connsiteY5954" fmla="*/ 337661 h 514350"/>
                <a:gd name="connsiteX5955" fmla="*/ 2204561 w 6400800"/>
                <a:gd name="connsiteY5955" fmla="*/ 339566 h 514350"/>
                <a:gd name="connsiteX5956" fmla="*/ 2204561 w 6400800"/>
                <a:gd name="connsiteY5956" fmla="*/ 340519 h 514350"/>
                <a:gd name="connsiteX5957" fmla="*/ 2205514 w 6400800"/>
                <a:gd name="connsiteY5957" fmla="*/ 337661 h 514350"/>
                <a:gd name="connsiteX5958" fmla="*/ 2183606 w 6400800"/>
                <a:gd name="connsiteY5958" fmla="*/ 336709 h 514350"/>
                <a:gd name="connsiteX5959" fmla="*/ 2185511 w 6400800"/>
                <a:gd name="connsiteY5959" fmla="*/ 345281 h 514350"/>
                <a:gd name="connsiteX5960" fmla="*/ 2184559 w 6400800"/>
                <a:gd name="connsiteY5960" fmla="*/ 350044 h 514350"/>
                <a:gd name="connsiteX5961" fmla="*/ 2183606 w 6400800"/>
                <a:gd name="connsiteY5961" fmla="*/ 340519 h 514350"/>
                <a:gd name="connsiteX5962" fmla="*/ 2183606 w 6400800"/>
                <a:gd name="connsiteY5962" fmla="*/ 337661 h 514350"/>
                <a:gd name="connsiteX5963" fmla="*/ 2183606 w 6400800"/>
                <a:gd name="connsiteY5963" fmla="*/ 336709 h 514350"/>
                <a:gd name="connsiteX5964" fmla="*/ 2178844 w 6400800"/>
                <a:gd name="connsiteY5964" fmla="*/ 345281 h 514350"/>
                <a:gd name="connsiteX5965" fmla="*/ 2178844 w 6400800"/>
                <a:gd name="connsiteY5965" fmla="*/ 357664 h 514350"/>
                <a:gd name="connsiteX5966" fmla="*/ 2175986 w 6400800"/>
                <a:gd name="connsiteY5966" fmla="*/ 350996 h 514350"/>
                <a:gd name="connsiteX5967" fmla="*/ 2178844 w 6400800"/>
                <a:gd name="connsiteY5967" fmla="*/ 345281 h 514350"/>
                <a:gd name="connsiteX5968" fmla="*/ 2150269 w 6400800"/>
                <a:gd name="connsiteY5968" fmla="*/ 278606 h 514350"/>
                <a:gd name="connsiteX5969" fmla="*/ 2162651 w 6400800"/>
                <a:gd name="connsiteY5969" fmla="*/ 232886 h 514350"/>
                <a:gd name="connsiteX5970" fmla="*/ 2161699 w 6400800"/>
                <a:gd name="connsiteY5970" fmla="*/ 235744 h 514350"/>
                <a:gd name="connsiteX5971" fmla="*/ 2157889 w 6400800"/>
                <a:gd name="connsiteY5971" fmla="*/ 253841 h 514350"/>
                <a:gd name="connsiteX5972" fmla="*/ 2154079 w 6400800"/>
                <a:gd name="connsiteY5972" fmla="*/ 274796 h 514350"/>
                <a:gd name="connsiteX5973" fmla="*/ 2151221 w 6400800"/>
                <a:gd name="connsiteY5973" fmla="*/ 293846 h 514350"/>
                <a:gd name="connsiteX5974" fmla="*/ 2148364 w 6400800"/>
                <a:gd name="connsiteY5974" fmla="*/ 288131 h 514350"/>
                <a:gd name="connsiteX5975" fmla="*/ 2150269 w 6400800"/>
                <a:gd name="connsiteY5975" fmla="*/ 296704 h 514350"/>
                <a:gd name="connsiteX5976" fmla="*/ 2147411 w 6400800"/>
                <a:gd name="connsiteY5976" fmla="*/ 314801 h 514350"/>
                <a:gd name="connsiteX5977" fmla="*/ 2140744 w 6400800"/>
                <a:gd name="connsiteY5977" fmla="*/ 305276 h 514350"/>
                <a:gd name="connsiteX5978" fmla="*/ 2150269 w 6400800"/>
                <a:gd name="connsiteY5978" fmla="*/ 278606 h 514350"/>
                <a:gd name="connsiteX5979" fmla="*/ 2142649 w 6400800"/>
                <a:gd name="connsiteY5979" fmla="*/ 305276 h 514350"/>
                <a:gd name="connsiteX5980" fmla="*/ 2148364 w 6400800"/>
                <a:gd name="connsiteY5980" fmla="*/ 319564 h 514350"/>
                <a:gd name="connsiteX5981" fmla="*/ 2148364 w 6400800"/>
                <a:gd name="connsiteY5981" fmla="*/ 320516 h 514350"/>
                <a:gd name="connsiteX5982" fmla="*/ 2148364 w 6400800"/>
                <a:gd name="connsiteY5982" fmla="*/ 321469 h 514350"/>
                <a:gd name="connsiteX5983" fmla="*/ 2145506 w 6400800"/>
                <a:gd name="connsiteY5983" fmla="*/ 343376 h 514350"/>
                <a:gd name="connsiteX5984" fmla="*/ 2139791 w 6400800"/>
                <a:gd name="connsiteY5984" fmla="*/ 324326 h 514350"/>
                <a:gd name="connsiteX5985" fmla="*/ 2138839 w 6400800"/>
                <a:gd name="connsiteY5985" fmla="*/ 320516 h 514350"/>
                <a:gd name="connsiteX5986" fmla="*/ 2142649 w 6400800"/>
                <a:gd name="connsiteY5986" fmla="*/ 305276 h 514350"/>
                <a:gd name="connsiteX5987" fmla="*/ 2058829 w 6400800"/>
                <a:gd name="connsiteY5987" fmla="*/ 353854 h 514350"/>
                <a:gd name="connsiteX5988" fmla="*/ 2056924 w 6400800"/>
                <a:gd name="connsiteY5988" fmla="*/ 366236 h 514350"/>
                <a:gd name="connsiteX5989" fmla="*/ 2055971 w 6400800"/>
                <a:gd name="connsiteY5989" fmla="*/ 361474 h 514350"/>
                <a:gd name="connsiteX5990" fmla="*/ 2054066 w 6400800"/>
                <a:gd name="connsiteY5990" fmla="*/ 352901 h 514350"/>
                <a:gd name="connsiteX5991" fmla="*/ 2054066 w 6400800"/>
                <a:gd name="connsiteY5991" fmla="*/ 351949 h 514350"/>
                <a:gd name="connsiteX5992" fmla="*/ 2059781 w 6400800"/>
                <a:gd name="connsiteY5992" fmla="*/ 338614 h 514350"/>
                <a:gd name="connsiteX5993" fmla="*/ 2060734 w 6400800"/>
                <a:gd name="connsiteY5993" fmla="*/ 343376 h 514350"/>
                <a:gd name="connsiteX5994" fmla="*/ 2058829 w 6400800"/>
                <a:gd name="connsiteY5994" fmla="*/ 353854 h 514350"/>
                <a:gd name="connsiteX5995" fmla="*/ 2081689 w 6400800"/>
                <a:gd name="connsiteY5995" fmla="*/ 350044 h 514350"/>
                <a:gd name="connsiteX5996" fmla="*/ 2079784 w 6400800"/>
                <a:gd name="connsiteY5996" fmla="*/ 354806 h 514350"/>
                <a:gd name="connsiteX5997" fmla="*/ 2077879 w 6400800"/>
                <a:gd name="connsiteY5997" fmla="*/ 347186 h 514350"/>
                <a:gd name="connsiteX5998" fmla="*/ 2077879 w 6400800"/>
                <a:gd name="connsiteY5998" fmla="*/ 344329 h 514350"/>
                <a:gd name="connsiteX5999" fmla="*/ 2080736 w 6400800"/>
                <a:gd name="connsiteY5999" fmla="*/ 348139 h 514350"/>
                <a:gd name="connsiteX6000" fmla="*/ 2081689 w 6400800"/>
                <a:gd name="connsiteY6000" fmla="*/ 350044 h 514350"/>
                <a:gd name="connsiteX6001" fmla="*/ 2081689 w 6400800"/>
                <a:gd name="connsiteY6001" fmla="*/ 350044 h 514350"/>
                <a:gd name="connsiteX6002" fmla="*/ 2081689 w 6400800"/>
                <a:gd name="connsiteY6002" fmla="*/ 339566 h 514350"/>
                <a:gd name="connsiteX6003" fmla="*/ 2081689 w 6400800"/>
                <a:gd name="connsiteY6003" fmla="*/ 341471 h 514350"/>
                <a:gd name="connsiteX6004" fmla="*/ 2078831 w 6400800"/>
                <a:gd name="connsiteY6004" fmla="*/ 337661 h 514350"/>
                <a:gd name="connsiteX6005" fmla="*/ 2079784 w 6400800"/>
                <a:gd name="connsiteY6005" fmla="*/ 330041 h 514350"/>
                <a:gd name="connsiteX6006" fmla="*/ 2081689 w 6400800"/>
                <a:gd name="connsiteY6006" fmla="*/ 339566 h 514350"/>
                <a:gd name="connsiteX6007" fmla="*/ 2081689 w 6400800"/>
                <a:gd name="connsiteY6007" fmla="*/ 339566 h 514350"/>
                <a:gd name="connsiteX6008" fmla="*/ 2085499 w 6400800"/>
                <a:gd name="connsiteY6008" fmla="*/ 290036 h 514350"/>
                <a:gd name="connsiteX6009" fmla="*/ 2084546 w 6400800"/>
                <a:gd name="connsiteY6009" fmla="*/ 307181 h 514350"/>
                <a:gd name="connsiteX6010" fmla="*/ 2083594 w 6400800"/>
                <a:gd name="connsiteY6010" fmla="*/ 303371 h 514350"/>
                <a:gd name="connsiteX6011" fmla="*/ 2086451 w 6400800"/>
                <a:gd name="connsiteY6011" fmla="*/ 273844 h 514350"/>
                <a:gd name="connsiteX6012" fmla="*/ 2087404 w 6400800"/>
                <a:gd name="connsiteY6012" fmla="*/ 267176 h 514350"/>
                <a:gd name="connsiteX6013" fmla="*/ 2085499 w 6400800"/>
                <a:gd name="connsiteY6013" fmla="*/ 290036 h 514350"/>
                <a:gd name="connsiteX6014" fmla="*/ 2089309 w 6400800"/>
                <a:gd name="connsiteY6014" fmla="*/ 180499 h 514350"/>
                <a:gd name="connsiteX6015" fmla="*/ 2089309 w 6400800"/>
                <a:gd name="connsiteY6015" fmla="*/ 200501 h 514350"/>
                <a:gd name="connsiteX6016" fmla="*/ 2086451 w 6400800"/>
                <a:gd name="connsiteY6016" fmla="*/ 192881 h 514350"/>
                <a:gd name="connsiteX6017" fmla="*/ 2089309 w 6400800"/>
                <a:gd name="connsiteY6017" fmla="*/ 180499 h 514350"/>
                <a:gd name="connsiteX6018" fmla="*/ 2072164 w 6400800"/>
                <a:gd name="connsiteY6018" fmla="*/ 241459 h 514350"/>
                <a:gd name="connsiteX6019" fmla="*/ 2086451 w 6400800"/>
                <a:gd name="connsiteY6019" fmla="*/ 193834 h 514350"/>
                <a:gd name="connsiteX6020" fmla="*/ 2090261 w 6400800"/>
                <a:gd name="connsiteY6020" fmla="*/ 207169 h 514350"/>
                <a:gd name="connsiteX6021" fmla="*/ 2090261 w 6400800"/>
                <a:gd name="connsiteY6021" fmla="*/ 208121 h 514350"/>
                <a:gd name="connsiteX6022" fmla="*/ 2075974 w 6400800"/>
                <a:gd name="connsiteY6022" fmla="*/ 271939 h 514350"/>
                <a:gd name="connsiteX6023" fmla="*/ 2074069 w 6400800"/>
                <a:gd name="connsiteY6023" fmla="*/ 282416 h 514350"/>
                <a:gd name="connsiteX6024" fmla="*/ 2068354 w 6400800"/>
                <a:gd name="connsiteY6024" fmla="*/ 271939 h 514350"/>
                <a:gd name="connsiteX6025" fmla="*/ 2065496 w 6400800"/>
                <a:gd name="connsiteY6025" fmla="*/ 266224 h 514350"/>
                <a:gd name="connsiteX6026" fmla="*/ 2072164 w 6400800"/>
                <a:gd name="connsiteY6026" fmla="*/ 241459 h 514350"/>
                <a:gd name="connsiteX6027" fmla="*/ 2062639 w 6400800"/>
                <a:gd name="connsiteY6027" fmla="*/ 270034 h 514350"/>
                <a:gd name="connsiteX6028" fmla="*/ 2063591 w 6400800"/>
                <a:gd name="connsiteY6028" fmla="*/ 272891 h 514350"/>
                <a:gd name="connsiteX6029" fmla="*/ 2069306 w 6400800"/>
                <a:gd name="connsiteY6029" fmla="*/ 292894 h 514350"/>
                <a:gd name="connsiteX6030" fmla="*/ 2070259 w 6400800"/>
                <a:gd name="connsiteY6030" fmla="*/ 294799 h 514350"/>
                <a:gd name="connsiteX6031" fmla="*/ 2067401 w 6400800"/>
                <a:gd name="connsiteY6031" fmla="*/ 310039 h 514350"/>
                <a:gd name="connsiteX6032" fmla="*/ 2065496 w 6400800"/>
                <a:gd name="connsiteY6032" fmla="*/ 303371 h 514350"/>
                <a:gd name="connsiteX6033" fmla="*/ 2058829 w 6400800"/>
                <a:gd name="connsiteY6033" fmla="*/ 284321 h 514350"/>
                <a:gd name="connsiteX6034" fmla="*/ 2062639 w 6400800"/>
                <a:gd name="connsiteY6034" fmla="*/ 270034 h 514350"/>
                <a:gd name="connsiteX6035" fmla="*/ 2053114 w 6400800"/>
                <a:gd name="connsiteY6035" fmla="*/ 301466 h 514350"/>
                <a:gd name="connsiteX6036" fmla="*/ 2054066 w 6400800"/>
                <a:gd name="connsiteY6036" fmla="*/ 306229 h 514350"/>
                <a:gd name="connsiteX6037" fmla="*/ 2056924 w 6400800"/>
                <a:gd name="connsiteY6037" fmla="*/ 320516 h 514350"/>
                <a:gd name="connsiteX6038" fmla="*/ 2055971 w 6400800"/>
                <a:gd name="connsiteY6038" fmla="*/ 320516 h 514350"/>
                <a:gd name="connsiteX6039" fmla="*/ 2049304 w 6400800"/>
                <a:gd name="connsiteY6039" fmla="*/ 317659 h 514350"/>
                <a:gd name="connsiteX6040" fmla="*/ 2055971 w 6400800"/>
                <a:gd name="connsiteY6040" fmla="*/ 321469 h 514350"/>
                <a:gd name="connsiteX6041" fmla="*/ 2057876 w 6400800"/>
                <a:gd name="connsiteY6041" fmla="*/ 322421 h 514350"/>
                <a:gd name="connsiteX6042" fmla="*/ 2059781 w 6400800"/>
                <a:gd name="connsiteY6042" fmla="*/ 332899 h 514350"/>
                <a:gd name="connsiteX6043" fmla="*/ 2053114 w 6400800"/>
                <a:gd name="connsiteY6043" fmla="*/ 342424 h 514350"/>
                <a:gd name="connsiteX6044" fmla="*/ 2049304 w 6400800"/>
                <a:gd name="connsiteY6044" fmla="*/ 321469 h 514350"/>
                <a:gd name="connsiteX6045" fmla="*/ 2049304 w 6400800"/>
                <a:gd name="connsiteY6045" fmla="*/ 315754 h 514350"/>
                <a:gd name="connsiteX6046" fmla="*/ 2053114 w 6400800"/>
                <a:gd name="connsiteY6046" fmla="*/ 301466 h 514350"/>
                <a:gd name="connsiteX6047" fmla="*/ 2044541 w 6400800"/>
                <a:gd name="connsiteY6047" fmla="*/ 260509 h 514350"/>
                <a:gd name="connsiteX6048" fmla="*/ 2044541 w 6400800"/>
                <a:gd name="connsiteY6048" fmla="*/ 260509 h 514350"/>
                <a:gd name="connsiteX6049" fmla="*/ 2044541 w 6400800"/>
                <a:gd name="connsiteY6049" fmla="*/ 259556 h 514350"/>
                <a:gd name="connsiteX6050" fmla="*/ 2044541 w 6400800"/>
                <a:gd name="connsiteY6050" fmla="*/ 260509 h 514350"/>
                <a:gd name="connsiteX6051" fmla="*/ 2019776 w 6400800"/>
                <a:gd name="connsiteY6051" fmla="*/ 188119 h 514350"/>
                <a:gd name="connsiteX6052" fmla="*/ 2019776 w 6400800"/>
                <a:gd name="connsiteY6052" fmla="*/ 185261 h 514350"/>
                <a:gd name="connsiteX6053" fmla="*/ 2020729 w 6400800"/>
                <a:gd name="connsiteY6053" fmla="*/ 177641 h 514350"/>
                <a:gd name="connsiteX6054" fmla="*/ 2020729 w 6400800"/>
                <a:gd name="connsiteY6054" fmla="*/ 189071 h 514350"/>
                <a:gd name="connsiteX6055" fmla="*/ 2021681 w 6400800"/>
                <a:gd name="connsiteY6055" fmla="*/ 220504 h 514350"/>
                <a:gd name="connsiteX6056" fmla="*/ 2023586 w 6400800"/>
                <a:gd name="connsiteY6056" fmla="*/ 244316 h 514350"/>
                <a:gd name="connsiteX6057" fmla="*/ 2022634 w 6400800"/>
                <a:gd name="connsiteY6057" fmla="*/ 247174 h 514350"/>
                <a:gd name="connsiteX6058" fmla="*/ 2016919 w 6400800"/>
                <a:gd name="connsiteY6058" fmla="*/ 222409 h 514350"/>
                <a:gd name="connsiteX6059" fmla="*/ 2019776 w 6400800"/>
                <a:gd name="connsiteY6059" fmla="*/ 188119 h 514350"/>
                <a:gd name="connsiteX6060" fmla="*/ 1999774 w 6400800"/>
                <a:gd name="connsiteY6060" fmla="*/ 298609 h 514350"/>
                <a:gd name="connsiteX6061" fmla="*/ 1999774 w 6400800"/>
                <a:gd name="connsiteY6061" fmla="*/ 304324 h 514350"/>
                <a:gd name="connsiteX6062" fmla="*/ 1997869 w 6400800"/>
                <a:gd name="connsiteY6062" fmla="*/ 310039 h 514350"/>
                <a:gd name="connsiteX6063" fmla="*/ 1999774 w 6400800"/>
                <a:gd name="connsiteY6063" fmla="*/ 298609 h 514350"/>
                <a:gd name="connsiteX6064" fmla="*/ 1992154 w 6400800"/>
                <a:gd name="connsiteY6064" fmla="*/ 349091 h 514350"/>
                <a:gd name="connsiteX6065" fmla="*/ 1992154 w 6400800"/>
                <a:gd name="connsiteY6065" fmla="*/ 359569 h 514350"/>
                <a:gd name="connsiteX6066" fmla="*/ 1992154 w 6400800"/>
                <a:gd name="connsiteY6066" fmla="*/ 369094 h 514350"/>
                <a:gd name="connsiteX6067" fmla="*/ 1988344 w 6400800"/>
                <a:gd name="connsiteY6067" fmla="*/ 373856 h 514350"/>
                <a:gd name="connsiteX6068" fmla="*/ 1992154 w 6400800"/>
                <a:gd name="connsiteY6068" fmla="*/ 349091 h 514350"/>
                <a:gd name="connsiteX6069" fmla="*/ 1987391 w 6400800"/>
                <a:gd name="connsiteY6069" fmla="*/ 381476 h 514350"/>
                <a:gd name="connsiteX6070" fmla="*/ 1987391 w 6400800"/>
                <a:gd name="connsiteY6070" fmla="*/ 381476 h 514350"/>
                <a:gd name="connsiteX6071" fmla="*/ 1992154 w 6400800"/>
                <a:gd name="connsiteY6071" fmla="*/ 372904 h 514350"/>
                <a:gd name="connsiteX6072" fmla="*/ 1992154 w 6400800"/>
                <a:gd name="connsiteY6072" fmla="*/ 379571 h 514350"/>
                <a:gd name="connsiteX6073" fmla="*/ 1991201 w 6400800"/>
                <a:gd name="connsiteY6073" fmla="*/ 386239 h 514350"/>
                <a:gd name="connsiteX6074" fmla="*/ 1988344 w 6400800"/>
                <a:gd name="connsiteY6074" fmla="*/ 400526 h 514350"/>
                <a:gd name="connsiteX6075" fmla="*/ 1988344 w 6400800"/>
                <a:gd name="connsiteY6075" fmla="*/ 399574 h 514350"/>
                <a:gd name="connsiteX6076" fmla="*/ 1985486 w 6400800"/>
                <a:gd name="connsiteY6076" fmla="*/ 392906 h 514350"/>
                <a:gd name="connsiteX6077" fmla="*/ 1987391 w 6400800"/>
                <a:gd name="connsiteY6077" fmla="*/ 381476 h 514350"/>
                <a:gd name="connsiteX6078" fmla="*/ 1968341 w 6400800"/>
                <a:gd name="connsiteY6078" fmla="*/ 290989 h 514350"/>
                <a:gd name="connsiteX6079" fmla="*/ 1967389 w 6400800"/>
                <a:gd name="connsiteY6079" fmla="*/ 297656 h 514350"/>
                <a:gd name="connsiteX6080" fmla="*/ 1966436 w 6400800"/>
                <a:gd name="connsiteY6080" fmla="*/ 305276 h 514350"/>
                <a:gd name="connsiteX6081" fmla="*/ 1965484 w 6400800"/>
                <a:gd name="connsiteY6081" fmla="*/ 318611 h 514350"/>
                <a:gd name="connsiteX6082" fmla="*/ 1964531 w 6400800"/>
                <a:gd name="connsiteY6082" fmla="*/ 304324 h 514350"/>
                <a:gd name="connsiteX6083" fmla="*/ 1964531 w 6400800"/>
                <a:gd name="connsiteY6083" fmla="*/ 300514 h 514350"/>
                <a:gd name="connsiteX6084" fmla="*/ 1968341 w 6400800"/>
                <a:gd name="connsiteY6084" fmla="*/ 290989 h 514350"/>
                <a:gd name="connsiteX6085" fmla="*/ 1937861 w 6400800"/>
                <a:gd name="connsiteY6085" fmla="*/ 310039 h 514350"/>
                <a:gd name="connsiteX6086" fmla="*/ 1937861 w 6400800"/>
                <a:gd name="connsiteY6086" fmla="*/ 302419 h 514350"/>
                <a:gd name="connsiteX6087" fmla="*/ 1937861 w 6400800"/>
                <a:gd name="connsiteY6087" fmla="*/ 295751 h 514350"/>
                <a:gd name="connsiteX6088" fmla="*/ 1938814 w 6400800"/>
                <a:gd name="connsiteY6088" fmla="*/ 306229 h 514350"/>
                <a:gd name="connsiteX6089" fmla="*/ 1937861 w 6400800"/>
                <a:gd name="connsiteY6089" fmla="*/ 310039 h 514350"/>
                <a:gd name="connsiteX6090" fmla="*/ 1938814 w 6400800"/>
                <a:gd name="connsiteY6090" fmla="*/ 272891 h 514350"/>
                <a:gd name="connsiteX6091" fmla="*/ 1936909 w 6400800"/>
                <a:gd name="connsiteY6091" fmla="*/ 266224 h 514350"/>
                <a:gd name="connsiteX6092" fmla="*/ 1936909 w 6400800"/>
                <a:gd name="connsiteY6092" fmla="*/ 261461 h 514350"/>
                <a:gd name="connsiteX6093" fmla="*/ 1936909 w 6400800"/>
                <a:gd name="connsiteY6093" fmla="*/ 246221 h 514350"/>
                <a:gd name="connsiteX6094" fmla="*/ 1938814 w 6400800"/>
                <a:gd name="connsiteY6094" fmla="*/ 272891 h 514350"/>
                <a:gd name="connsiteX6095" fmla="*/ 1900714 w 6400800"/>
                <a:gd name="connsiteY6095" fmla="*/ 338614 h 514350"/>
                <a:gd name="connsiteX6096" fmla="*/ 1900714 w 6400800"/>
                <a:gd name="connsiteY6096" fmla="*/ 333851 h 514350"/>
                <a:gd name="connsiteX6097" fmla="*/ 1902619 w 6400800"/>
                <a:gd name="connsiteY6097" fmla="*/ 329089 h 514350"/>
                <a:gd name="connsiteX6098" fmla="*/ 1904524 w 6400800"/>
                <a:gd name="connsiteY6098" fmla="*/ 325279 h 514350"/>
                <a:gd name="connsiteX6099" fmla="*/ 1900714 w 6400800"/>
                <a:gd name="connsiteY6099" fmla="*/ 338614 h 514350"/>
                <a:gd name="connsiteX6100" fmla="*/ 1915954 w 6400800"/>
                <a:gd name="connsiteY6100" fmla="*/ 436721 h 514350"/>
                <a:gd name="connsiteX6101" fmla="*/ 1915954 w 6400800"/>
                <a:gd name="connsiteY6101" fmla="*/ 433864 h 514350"/>
                <a:gd name="connsiteX6102" fmla="*/ 1916906 w 6400800"/>
                <a:gd name="connsiteY6102" fmla="*/ 434816 h 514350"/>
                <a:gd name="connsiteX6103" fmla="*/ 1915954 w 6400800"/>
                <a:gd name="connsiteY6103" fmla="*/ 436721 h 514350"/>
                <a:gd name="connsiteX6104" fmla="*/ 1920716 w 6400800"/>
                <a:gd name="connsiteY6104" fmla="*/ 401479 h 514350"/>
                <a:gd name="connsiteX6105" fmla="*/ 1919764 w 6400800"/>
                <a:gd name="connsiteY6105" fmla="*/ 407194 h 514350"/>
                <a:gd name="connsiteX6106" fmla="*/ 1917859 w 6400800"/>
                <a:gd name="connsiteY6106" fmla="*/ 404336 h 514350"/>
                <a:gd name="connsiteX6107" fmla="*/ 1919764 w 6400800"/>
                <a:gd name="connsiteY6107" fmla="*/ 398621 h 514350"/>
                <a:gd name="connsiteX6108" fmla="*/ 1920716 w 6400800"/>
                <a:gd name="connsiteY6108" fmla="*/ 401479 h 514350"/>
                <a:gd name="connsiteX6109" fmla="*/ 1917859 w 6400800"/>
                <a:gd name="connsiteY6109" fmla="*/ 331946 h 514350"/>
                <a:gd name="connsiteX6110" fmla="*/ 1919764 w 6400800"/>
                <a:gd name="connsiteY6110" fmla="*/ 337661 h 514350"/>
                <a:gd name="connsiteX6111" fmla="*/ 1919764 w 6400800"/>
                <a:gd name="connsiteY6111" fmla="*/ 337661 h 514350"/>
                <a:gd name="connsiteX6112" fmla="*/ 1918811 w 6400800"/>
                <a:gd name="connsiteY6112" fmla="*/ 338614 h 514350"/>
                <a:gd name="connsiteX6113" fmla="*/ 1916906 w 6400800"/>
                <a:gd name="connsiteY6113" fmla="*/ 342424 h 514350"/>
                <a:gd name="connsiteX6114" fmla="*/ 1916906 w 6400800"/>
                <a:gd name="connsiteY6114" fmla="*/ 341471 h 514350"/>
                <a:gd name="connsiteX6115" fmla="*/ 1915954 w 6400800"/>
                <a:gd name="connsiteY6115" fmla="*/ 344329 h 514350"/>
                <a:gd name="connsiteX6116" fmla="*/ 1915001 w 6400800"/>
                <a:gd name="connsiteY6116" fmla="*/ 345281 h 514350"/>
                <a:gd name="connsiteX6117" fmla="*/ 1917859 w 6400800"/>
                <a:gd name="connsiteY6117" fmla="*/ 331946 h 514350"/>
                <a:gd name="connsiteX6118" fmla="*/ 1919764 w 6400800"/>
                <a:gd name="connsiteY6118" fmla="*/ 360521 h 514350"/>
                <a:gd name="connsiteX6119" fmla="*/ 1919764 w 6400800"/>
                <a:gd name="connsiteY6119" fmla="*/ 364331 h 514350"/>
                <a:gd name="connsiteX6120" fmla="*/ 1915001 w 6400800"/>
                <a:gd name="connsiteY6120" fmla="*/ 373856 h 514350"/>
                <a:gd name="connsiteX6121" fmla="*/ 1908334 w 6400800"/>
                <a:gd name="connsiteY6121" fmla="*/ 388144 h 514350"/>
                <a:gd name="connsiteX6122" fmla="*/ 1907381 w 6400800"/>
                <a:gd name="connsiteY6122" fmla="*/ 387191 h 514350"/>
                <a:gd name="connsiteX6123" fmla="*/ 1907381 w 6400800"/>
                <a:gd name="connsiteY6123" fmla="*/ 385286 h 514350"/>
                <a:gd name="connsiteX6124" fmla="*/ 1910239 w 6400800"/>
                <a:gd name="connsiteY6124" fmla="*/ 380524 h 514350"/>
                <a:gd name="connsiteX6125" fmla="*/ 1919764 w 6400800"/>
                <a:gd name="connsiteY6125" fmla="*/ 360521 h 514350"/>
                <a:gd name="connsiteX6126" fmla="*/ 1910239 w 6400800"/>
                <a:gd name="connsiteY6126" fmla="*/ 299561 h 514350"/>
                <a:gd name="connsiteX6127" fmla="*/ 1908334 w 6400800"/>
                <a:gd name="connsiteY6127" fmla="*/ 305276 h 514350"/>
                <a:gd name="connsiteX6128" fmla="*/ 1908334 w 6400800"/>
                <a:gd name="connsiteY6128" fmla="*/ 305276 h 514350"/>
                <a:gd name="connsiteX6129" fmla="*/ 1910239 w 6400800"/>
                <a:gd name="connsiteY6129" fmla="*/ 299561 h 514350"/>
                <a:gd name="connsiteX6130" fmla="*/ 1906429 w 6400800"/>
                <a:gd name="connsiteY6130" fmla="*/ 313849 h 514350"/>
                <a:gd name="connsiteX6131" fmla="*/ 1908334 w 6400800"/>
                <a:gd name="connsiteY6131" fmla="*/ 309086 h 514350"/>
                <a:gd name="connsiteX6132" fmla="*/ 1908334 w 6400800"/>
                <a:gd name="connsiteY6132" fmla="*/ 310039 h 514350"/>
                <a:gd name="connsiteX6133" fmla="*/ 1906429 w 6400800"/>
                <a:gd name="connsiteY6133" fmla="*/ 315754 h 514350"/>
                <a:gd name="connsiteX6134" fmla="*/ 1905476 w 6400800"/>
                <a:gd name="connsiteY6134" fmla="*/ 316706 h 514350"/>
                <a:gd name="connsiteX6135" fmla="*/ 1906429 w 6400800"/>
                <a:gd name="connsiteY6135" fmla="*/ 313849 h 514350"/>
                <a:gd name="connsiteX6136" fmla="*/ 1893094 w 6400800"/>
                <a:gd name="connsiteY6136" fmla="*/ 259556 h 514350"/>
                <a:gd name="connsiteX6137" fmla="*/ 1894046 w 6400800"/>
                <a:gd name="connsiteY6137" fmla="*/ 256699 h 514350"/>
                <a:gd name="connsiteX6138" fmla="*/ 1894999 w 6400800"/>
                <a:gd name="connsiteY6138" fmla="*/ 256699 h 514350"/>
                <a:gd name="connsiteX6139" fmla="*/ 1899761 w 6400800"/>
                <a:gd name="connsiteY6139" fmla="*/ 260509 h 514350"/>
                <a:gd name="connsiteX6140" fmla="*/ 1904524 w 6400800"/>
                <a:gd name="connsiteY6140" fmla="*/ 275749 h 514350"/>
                <a:gd name="connsiteX6141" fmla="*/ 1895951 w 6400800"/>
                <a:gd name="connsiteY6141" fmla="*/ 297656 h 514350"/>
                <a:gd name="connsiteX6142" fmla="*/ 1894046 w 6400800"/>
                <a:gd name="connsiteY6142" fmla="*/ 281464 h 514350"/>
                <a:gd name="connsiteX6143" fmla="*/ 1892141 w 6400800"/>
                <a:gd name="connsiteY6143" fmla="*/ 270034 h 514350"/>
                <a:gd name="connsiteX6144" fmla="*/ 1893094 w 6400800"/>
                <a:gd name="connsiteY6144" fmla="*/ 272891 h 514350"/>
                <a:gd name="connsiteX6145" fmla="*/ 1893094 w 6400800"/>
                <a:gd name="connsiteY6145" fmla="*/ 259556 h 514350"/>
                <a:gd name="connsiteX6146" fmla="*/ 1841659 w 6400800"/>
                <a:gd name="connsiteY6146" fmla="*/ 297656 h 514350"/>
                <a:gd name="connsiteX6147" fmla="*/ 1840706 w 6400800"/>
                <a:gd name="connsiteY6147" fmla="*/ 313849 h 514350"/>
                <a:gd name="connsiteX6148" fmla="*/ 1838801 w 6400800"/>
                <a:gd name="connsiteY6148" fmla="*/ 294799 h 514350"/>
                <a:gd name="connsiteX6149" fmla="*/ 1838801 w 6400800"/>
                <a:gd name="connsiteY6149" fmla="*/ 290989 h 514350"/>
                <a:gd name="connsiteX6150" fmla="*/ 1841659 w 6400800"/>
                <a:gd name="connsiteY6150" fmla="*/ 297656 h 514350"/>
                <a:gd name="connsiteX6151" fmla="*/ 1822609 w 6400800"/>
                <a:gd name="connsiteY6151" fmla="*/ 363379 h 514350"/>
                <a:gd name="connsiteX6152" fmla="*/ 1826419 w 6400800"/>
                <a:gd name="connsiteY6152" fmla="*/ 353854 h 514350"/>
                <a:gd name="connsiteX6153" fmla="*/ 1827371 w 6400800"/>
                <a:gd name="connsiteY6153" fmla="*/ 364331 h 514350"/>
                <a:gd name="connsiteX6154" fmla="*/ 1823561 w 6400800"/>
                <a:gd name="connsiteY6154" fmla="*/ 368141 h 514350"/>
                <a:gd name="connsiteX6155" fmla="*/ 1822609 w 6400800"/>
                <a:gd name="connsiteY6155" fmla="*/ 363379 h 514350"/>
                <a:gd name="connsiteX6156" fmla="*/ 1828324 w 6400800"/>
                <a:gd name="connsiteY6156" fmla="*/ 403384 h 514350"/>
                <a:gd name="connsiteX6157" fmla="*/ 1827371 w 6400800"/>
                <a:gd name="connsiteY6157" fmla="*/ 400526 h 514350"/>
                <a:gd name="connsiteX6158" fmla="*/ 1825466 w 6400800"/>
                <a:gd name="connsiteY6158" fmla="*/ 381476 h 514350"/>
                <a:gd name="connsiteX6159" fmla="*/ 1828324 w 6400800"/>
                <a:gd name="connsiteY6159" fmla="*/ 377666 h 514350"/>
                <a:gd name="connsiteX6160" fmla="*/ 1829276 w 6400800"/>
                <a:gd name="connsiteY6160" fmla="*/ 399574 h 514350"/>
                <a:gd name="connsiteX6161" fmla="*/ 1828324 w 6400800"/>
                <a:gd name="connsiteY6161" fmla="*/ 403384 h 514350"/>
                <a:gd name="connsiteX6162" fmla="*/ 1833086 w 6400800"/>
                <a:gd name="connsiteY6162" fmla="*/ 339566 h 514350"/>
                <a:gd name="connsiteX6163" fmla="*/ 1833086 w 6400800"/>
                <a:gd name="connsiteY6163" fmla="*/ 339566 h 514350"/>
                <a:gd name="connsiteX6164" fmla="*/ 1833086 w 6400800"/>
                <a:gd name="connsiteY6164" fmla="*/ 340519 h 514350"/>
                <a:gd name="connsiteX6165" fmla="*/ 1833086 w 6400800"/>
                <a:gd name="connsiteY6165" fmla="*/ 339566 h 514350"/>
                <a:gd name="connsiteX6166" fmla="*/ 1824514 w 6400800"/>
                <a:gd name="connsiteY6166" fmla="*/ 272891 h 514350"/>
                <a:gd name="connsiteX6167" fmla="*/ 1824514 w 6400800"/>
                <a:gd name="connsiteY6167" fmla="*/ 263366 h 514350"/>
                <a:gd name="connsiteX6168" fmla="*/ 1835944 w 6400800"/>
                <a:gd name="connsiteY6168" fmla="*/ 285274 h 514350"/>
                <a:gd name="connsiteX6169" fmla="*/ 1834991 w 6400800"/>
                <a:gd name="connsiteY6169" fmla="*/ 294799 h 514350"/>
                <a:gd name="connsiteX6170" fmla="*/ 1834039 w 6400800"/>
                <a:gd name="connsiteY6170" fmla="*/ 320516 h 514350"/>
                <a:gd name="connsiteX6171" fmla="*/ 1834039 w 6400800"/>
                <a:gd name="connsiteY6171" fmla="*/ 330994 h 514350"/>
                <a:gd name="connsiteX6172" fmla="*/ 1833086 w 6400800"/>
                <a:gd name="connsiteY6172" fmla="*/ 331946 h 514350"/>
                <a:gd name="connsiteX6173" fmla="*/ 1832134 w 6400800"/>
                <a:gd name="connsiteY6173" fmla="*/ 332899 h 514350"/>
                <a:gd name="connsiteX6174" fmla="*/ 1827371 w 6400800"/>
                <a:gd name="connsiteY6174" fmla="*/ 316706 h 514350"/>
                <a:gd name="connsiteX6175" fmla="*/ 1822609 w 6400800"/>
                <a:gd name="connsiteY6175" fmla="*/ 303371 h 514350"/>
                <a:gd name="connsiteX6176" fmla="*/ 1824514 w 6400800"/>
                <a:gd name="connsiteY6176" fmla="*/ 272891 h 514350"/>
                <a:gd name="connsiteX6177" fmla="*/ 1822609 w 6400800"/>
                <a:gd name="connsiteY6177" fmla="*/ 309086 h 514350"/>
                <a:gd name="connsiteX6178" fmla="*/ 1823561 w 6400800"/>
                <a:gd name="connsiteY6178" fmla="*/ 317659 h 514350"/>
                <a:gd name="connsiteX6179" fmla="*/ 1825466 w 6400800"/>
                <a:gd name="connsiteY6179" fmla="*/ 338614 h 514350"/>
                <a:gd name="connsiteX6180" fmla="*/ 1825466 w 6400800"/>
                <a:gd name="connsiteY6180" fmla="*/ 340519 h 514350"/>
                <a:gd name="connsiteX6181" fmla="*/ 1820704 w 6400800"/>
                <a:gd name="connsiteY6181" fmla="*/ 348139 h 514350"/>
                <a:gd name="connsiteX6182" fmla="*/ 1820704 w 6400800"/>
                <a:gd name="connsiteY6182" fmla="*/ 332899 h 514350"/>
                <a:gd name="connsiteX6183" fmla="*/ 1820704 w 6400800"/>
                <a:gd name="connsiteY6183" fmla="*/ 331946 h 514350"/>
                <a:gd name="connsiteX6184" fmla="*/ 1822609 w 6400800"/>
                <a:gd name="connsiteY6184" fmla="*/ 309086 h 514350"/>
                <a:gd name="connsiteX6185" fmla="*/ 1763554 w 6400800"/>
                <a:gd name="connsiteY6185" fmla="*/ 411956 h 514350"/>
                <a:gd name="connsiteX6186" fmla="*/ 1762601 w 6400800"/>
                <a:gd name="connsiteY6186" fmla="*/ 406241 h 514350"/>
                <a:gd name="connsiteX6187" fmla="*/ 1761649 w 6400800"/>
                <a:gd name="connsiteY6187" fmla="*/ 397669 h 514350"/>
                <a:gd name="connsiteX6188" fmla="*/ 1761649 w 6400800"/>
                <a:gd name="connsiteY6188" fmla="*/ 397669 h 514350"/>
                <a:gd name="connsiteX6189" fmla="*/ 1764506 w 6400800"/>
                <a:gd name="connsiteY6189" fmla="*/ 400526 h 514350"/>
                <a:gd name="connsiteX6190" fmla="*/ 1763554 w 6400800"/>
                <a:gd name="connsiteY6190" fmla="*/ 411956 h 514350"/>
                <a:gd name="connsiteX6191" fmla="*/ 1766411 w 6400800"/>
                <a:gd name="connsiteY6191" fmla="*/ 379571 h 514350"/>
                <a:gd name="connsiteX6192" fmla="*/ 1766411 w 6400800"/>
                <a:gd name="connsiteY6192" fmla="*/ 379571 h 514350"/>
                <a:gd name="connsiteX6193" fmla="*/ 1766411 w 6400800"/>
                <a:gd name="connsiteY6193" fmla="*/ 377666 h 514350"/>
                <a:gd name="connsiteX6194" fmla="*/ 1766411 w 6400800"/>
                <a:gd name="connsiteY6194" fmla="*/ 379571 h 514350"/>
                <a:gd name="connsiteX6195" fmla="*/ 1792129 w 6400800"/>
                <a:gd name="connsiteY6195" fmla="*/ 251936 h 514350"/>
                <a:gd name="connsiteX6196" fmla="*/ 1802606 w 6400800"/>
                <a:gd name="connsiteY6196" fmla="*/ 219551 h 514350"/>
                <a:gd name="connsiteX6197" fmla="*/ 1802606 w 6400800"/>
                <a:gd name="connsiteY6197" fmla="*/ 219551 h 514350"/>
                <a:gd name="connsiteX6198" fmla="*/ 1801654 w 6400800"/>
                <a:gd name="connsiteY6198" fmla="*/ 274796 h 514350"/>
                <a:gd name="connsiteX6199" fmla="*/ 1800701 w 6400800"/>
                <a:gd name="connsiteY6199" fmla="*/ 327184 h 514350"/>
                <a:gd name="connsiteX6200" fmla="*/ 1794034 w 6400800"/>
                <a:gd name="connsiteY6200" fmla="*/ 310991 h 514350"/>
                <a:gd name="connsiteX6201" fmla="*/ 1788319 w 6400800"/>
                <a:gd name="connsiteY6201" fmla="*/ 294799 h 514350"/>
                <a:gd name="connsiteX6202" fmla="*/ 1787366 w 6400800"/>
                <a:gd name="connsiteY6202" fmla="*/ 292894 h 514350"/>
                <a:gd name="connsiteX6203" fmla="*/ 1786414 w 6400800"/>
                <a:gd name="connsiteY6203" fmla="*/ 287179 h 514350"/>
                <a:gd name="connsiteX6204" fmla="*/ 1788319 w 6400800"/>
                <a:gd name="connsiteY6204" fmla="*/ 279559 h 514350"/>
                <a:gd name="connsiteX6205" fmla="*/ 1787366 w 6400800"/>
                <a:gd name="connsiteY6205" fmla="*/ 275749 h 514350"/>
                <a:gd name="connsiteX6206" fmla="*/ 1785461 w 6400800"/>
                <a:gd name="connsiteY6206" fmla="*/ 274796 h 514350"/>
                <a:gd name="connsiteX6207" fmla="*/ 1785461 w 6400800"/>
                <a:gd name="connsiteY6207" fmla="*/ 274796 h 514350"/>
                <a:gd name="connsiteX6208" fmla="*/ 1792129 w 6400800"/>
                <a:gd name="connsiteY6208" fmla="*/ 251936 h 514350"/>
                <a:gd name="connsiteX6209" fmla="*/ 1785461 w 6400800"/>
                <a:gd name="connsiteY6209" fmla="*/ 276701 h 514350"/>
                <a:gd name="connsiteX6210" fmla="*/ 1786414 w 6400800"/>
                <a:gd name="connsiteY6210" fmla="*/ 278606 h 514350"/>
                <a:gd name="connsiteX6211" fmla="*/ 1786414 w 6400800"/>
                <a:gd name="connsiteY6211" fmla="*/ 282416 h 514350"/>
                <a:gd name="connsiteX6212" fmla="*/ 1785461 w 6400800"/>
                <a:gd name="connsiteY6212" fmla="*/ 276701 h 514350"/>
                <a:gd name="connsiteX6213" fmla="*/ 1785461 w 6400800"/>
                <a:gd name="connsiteY6213" fmla="*/ 276701 h 514350"/>
                <a:gd name="connsiteX6214" fmla="*/ 1776889 w 6400800"/>
                <a:gd name="connsiteY6214" fmla="*/ 330994 h 514350"/>
                <a:gd name="connsiteX6215" fmla="*/ 1785461 w 6400800"/>
                <a:gd name="connsiteY6215" fmla="*/ 376714 h 514350"/>
                <a:gd name="connsiteX6216" fmla="*/ 1786414 w 6400800"/>
                <a:gd name="connsiteY6216" fmla="*/ 385286 h 514350"/>
                <a:gd name="connsiteX6217" fmla="*/ 1784509 w 6400800"/>
                <a:gd name="connsiteY6217" fmla="*/ 382429 h 514350"/>
                <a:gd name="connsiteX6218" fmla="*/ 1785461 w 6400800"/>
                <a:gd name="connsiteY6218" fmla="*/ 374809 h 514350"/>
                <a:gd name="connsiteX6219" fmla="*/ 1783556 w 6400800"/>
                <a:gd name="connsiteY6219" fmla="*/ 380524 h 514350"/>
                <a:gd name="connsiteX6220" fmla="*/ 1776889 w 6400800"/>
                <a:gd name="connsiteY6220" fmla="*/ 370999 h 514350"/>
                <a:gd name="connsiteX6221" fmla="*/ 1776889 w 6400800"/>
                <a:gd name="connsiteY6221" fmla="*/ 337661 h 514350"/>
                <a:gd name="connsiteX6222" fmla="*/ 1776889 w 6400800"/>
                <a:gd name="connsiteY6222" fmla="*/ 330994 h 514350"/>
                <a:gd name="connsiteX6223" fmla="*/ 1755934 w 6400800"/>
                <a:gd name="connsiteY6223" fmla="*/ 211931 h 514350"/>
                <a:gd name="connsiteX6224" fmla="*/ 1761649 w 6400800"/>
                <a:gd name="connsiteY6224" fmla="*/ 233839 h 514350"/>
                <a:gd name="connsiteX6225" fmla="*/ 1762601 w 6400800"/>
                <a:gd name="connsiteY6225" fmla="*/ 238601 h 514350"/>
                <a:gd name="connsiteX6226" fmla="*/ 1760696 w 6400800"/>
                <a:gd name="connsiteY6226" fmla="*/ 234791 h 514350"/>
                <a:gd name="connsiteX6227" fmla="*/ 1759744 w 6400800"/>
                <a:gd name="connsiteY6227" fmla="*/ 230981 h 514350"/>
                <a:gd name="connsiteX6228" fmla="*/ 1759744 w 6400800"/>
                <a:gd name="connsiteY6228" fmla="*/ 232886 h 514350"/>
                <a:gd name="connsiteX6229" fmla="*/ 1756886 w 6400800"/>
                <a:gd name="connsiteY6229" fmla="*/ 227171 h 514350"/>
                <a:gd name="connsiteX6230" fmla="*/ 1754981 w 6400800"/>
                <a:gd name="connsiteY6230" fmla="*/ 223361 h 514350"/>
                <a:gd name="connsiteX6231" fmla="*/ 1755934 w 6400800"/>
                <a:gd name="connsiteY6231" fmla="*/ 211931 h 514350"/>
                <a:gd name="connsiteX6232" fmla="*/ 1754981 w 6400800"/>
                <a:gd name="connsiteY6232" fmla="*/ 232886 h 514350"/>
                <a:gd name="connsiteX6233" fmla="*/ 1755934 w 6400800"/>
                <a:gd name="connsiteY6233" fmla="*/ 235744 h 514350"/>
                <a:gd name="connsiteX6234" fmla="*/ 1754981 w 6400800"/>
                <a:gd name="connsiteY6234" fmla="*/ 240506 h 514350"/>
                <a:gd name="connsiteX6235" fmla="*/ 1754981 w 6400800"/>
                <a:gd name="connsiteY6235" fmla="*/ 232886 h 514350"/>
                <a:gd name="connsiteX6236" fmla="*/ 1754029 w 6400800"/>
                <a:gd name="connsiteY6236" fmla="*/ 281464 h 514350"/>
                <a:gd name="connsiteX6237" fmla="*/ 1754981 w 6400800"/>
                <a:gd name="connsiteY6237" fmla="*/ 252889 h 514350"/>
                <a:gd name="connsiteX6238" fmla="*/ 1756886 w 6400800"/>
                <a:gd name="connsiteY6238" fmla="*/ 236696 h 514350"/>
                <a:gd name="connsiteX6239" fmla="*/ 1763554 w 6400800"/>
                <a:gd name="connsiteY6239" fmla="*/ 256699 h 514350"/>
                <a:gd name="connsiteX6240" fmla="*/ 1768316 w 6400800"/>
                <a:gd name="connsiteY6240" fmla="*/ 286226 h 514350"/>
                <a:gd name="connsiteX6241" fmla="*/ 1754981 w 6400800"/>
                <a:gd name="connsiteY6241" fmla="*/ 322421 h 514350"/>
                <a:gd name="connsiteX6242" fmla="*/ 1754029 w 6400800"/>
                <a:gd name="connsiteY6242" fmla="*/ 317659 h 514350"/>
                <a:gd name="connsiteX6243" fmla="*/ 1754029 w 6400800"/>
                <a:gd name="connsiteY6243" fmla="*/ 316706 h 514350"/>
                <a:gd name="connsiteX6244" fmla="*/ 1754029 w 6400800"/>
                <a:gd name="connsiteY6244" fmla="*/ 281464 h 514350"/>
                <a:gd name="connsiteX6245" fmla="*/ 1687354 w 6400800"/>
                <a:gd name="connsiteY6245" fmla="*/ 295751 h 514350"/>
                <a:gd name="connsiteX6246" fmla="*/ 1685449 w 6400800"/>
                <a:gd name="connsiteY6246" fmla="*/ 314801 h 514350"/>
                <a:gd name="connsiteX6247" fmla="*/ 1684496 w 6400800"/>
                <a:gd name="connsiteY6247" fmla="*/ 325279 h 514350"/>
                <a:gd name="connsiteX6248" fmla="*/ 1681639 w 6400800"/>
                <a:gd name="connsiteY6248" fmla="*/ 311944 h 514350"/>
                <a:gd name="connsiteX6249" fmla="*/ 1681639 w 6400800"/>
                <a:gd name="connsiteY6249" fmla="*/ 309086 h 514350"/>
                <a:gd name="connsiteX6250" fmla="*/ 1681639 w 6400800"/>
                <a:gd name="connsiteY6250" fmla="*/ 310039 h 514350"/>
                <a:gd name="connsiteX6251" fmla="*/ 1680686 w 6400800"/>
                <a:gd name="connsiteY6251" fmla="*/ 306229 h 514350"/>
                <a:gd name="connsiteX6252" fmla="*/ 1681639 w 6400800"/>
                <a:gd name="connsiteY6252" fmla="*/ 303371 h 514350"/>
                <a:gd name="connsiteX6253" fmla="*/ 1684496 w 6400800"/>
                <a:gd name="connsiteY6253" fmla="*/ 295751 h 514350"/>
                <a:gd name="connsiteX6254" fmla="*/ 1689259 w 6400800"/>
                <a:gd name="connsiteY6254" fmla="*/ 282416 h 514350"/>
                <a:gd name="connsiteX6255" fmla="*/ 1687354 w 6400800"/>
                <a:gd name="connsiteY6255" fmla="*/ 295751 h 514350"/>
                <a:gd name="connsiteX6256" fmla="*/ 1678781 w 6400800"/>
                <a:gd name="connsiteY6256" fmla="*/ 276701 h 514350"/>
                <a:gd name="connsiteX6257" fmla="*/ 1684496 w 6400800"/>
                <a:gd name="connsiteY6257" fmla="*/ 245269 h 514350"/>
                <a:gd name="connsiteX6258" fmla="*/ 1686401 w 6400800"/>
                <a:gd name="connsiteY6258" fmla="*/ 259556 h 514350"/>
                <a:gd name="connsiteX6259" fmla="*/ 1686401 w 6400800"/>
                <a:gd name="connsiteY6259" fmla="*/ 268129 h 514350"/>
                <a:gd name="connsiteX6260" fmla="*/ 1686401 w 6400800"/>
                <a:gd name="connsiteY6260" fmla="*/ 270986 h 514350"/>
                <a:gd name="connsiteX6261" fmla="*/ 1675924 w 6400800"/>
                <a:gd name="connsiteY6261" fmla="*/ 292894 h 514350"/>
                <a:gd name="connsiteX6262" fmla="*/ 1675924 w 6400800"/>
                <a:gd name="connsiteY6262" fmla="*/ 291941 h 514350"/>
                <a:gd name="connsiteX6263" fmla="*/ 1678781 w 6400800"/>
                <a:gd name="connsiteY6263" fmla="*/ 278606 h 514350"/>
                <a:gd name="connsiteX6264" fmla="*/ 1679734 w 6400800"/>
                <a:gd name="connsiteY6264" fmla="*/ 275749 h 514350"/>
                <a:gd name="connsiteX6265" fmla="*/ 1678781 w 6400800"/>
                <a:gd name="connsiteY6265" fmla="*/ 276701 h 514350"/>
                <a:gd name="connsiteX6266" fmla="*/ 1677829 w 6400800"/>
                <a:gd name="connsiteY6266" fmla="*/ 199549 h 514350"/>
                <a:gd name="connsiteX6267" fmla="*/ 1678781 w 6400800"/>
                <a:gd name="connsiteY6267" fmla="*/ 204311 h 514350"/>
                <a:gd name="connsiteX6268" fmla="*/ 1676876 w 6400800"/>
                <a:gd name="connsiteY6268" fmla="*/ 213836 h 514350"/>
                <a:gd name="connsiteX6269" fmla="*/ 1677829 w 6400800"/>
                <a:gd name="connsiteY6269" fmla="*/ 199549 h 514350"/>
                <a:gd name="connsiteX6270" fmla="*/ 1640681 w 6400800"/>
                <a:gd name="connsiteY6270" fmla="*/ 226219 h 514350"/>
                <a:gd name="connsiteX6271" fmla="*/ 1649254 w 6400800"/>
                <a:gd name="connsiteY6271" fmla="*/ 254794 h 514350"/>
                <a:gd name="connsiteX6272" fmla="*/ 1654016 w 6400800"/>
                <a:gd name="connsiteY6272" fmla="*/ 274796 h 514350"/>
                <a:gd name="connsiteX6273" fmla="*/ 1653064 w 6400800"/>
                <a:gd name="connsiteY6273" fmla="*/ 281464 h 514350"/>
                <a:gd name="connsiteX6274" fmla="*/ 1652111 w 6400800"/>
                <a:gd name="connsiteY6274" fmla="*/ 279559 h 514350"/>
                <a:gd name="connsiteX6275" fmla="*/ 1652111 w 6400800"/>
                <a:gd name="connsiteY6275" fmla="*/ 282416 h 514350"/>
                <a:gd name="connsiteX6276" fmla="*/ 1649254 w 6400800"/>
                <a:gd name="connsiteY6276" fmla="*/ 300514 h 514350"/>
                <a:gd name="connsiteX6277" fmla="*/ 1641634 w 6400800"/>
                <a:gd name="connsiteY6277" fmla="*/ 281464 h 514350"/>
                <a:gd name="connsiteX6278" fmla="*/ 1643539 w 6400800"/>
                <a:gd name="connsiteY6278" fmla="*/ 279559 h 514350"/>
                <a:gd name="connsiteX6279" fmla="*/ 1647349 w 6400800"/>
                <a:gd name="connsiteY6279" fmla="*/ 277654 h 514350"/>
                <a:gd name="connsiteX6280" fmla="*/ 1654016 w 6400800"/>
                <a:gd name="connsiteY6280" fmla="*/ 273844 h 514350"/>
                <a:gd name="connsiteX6281" fmla="*/ 1647349 w 6400800"/>
                <a:gd name="connsiteY6281" fmla="*/ 276701 h 514350"/>
                <a:gd name="connsiteX6282" fmla="*/ 1643539 w 6400800"/>
                <a:gd name="connsiteY6282" fmla="*/ 278606 h 514350"/>
                <a:gd name="connsiteX6283" fmla="*/ 1642586 w 6400800"/>
                <a:gd name="connsiteY6283" fmla="*/ 279559 h 514350"/>
                <a:gd name="connsiteX6284" fmla="*/ 1642586 w 6400800"/>
                <a:gd name="connsiteY6284" fmla="*/ 255746 h 514350"/>
                <a:gd name="connsiteX6285" fmla="*/ 1640681 w 6400800"/>
                <a:gd name="connsiteY6285" fmla="*/ 226219 h 514350"/>
                <a:gd name="connsiteX6286" fmla="*/ 1640681 w 6400800"/>
                <a:gd name="connsiteY6286" fmla="*/ 226219 h 514350"/>
                <a:gd name="connsiteX6287" fmla="*/ 1620679 w 6400800"/>
                <a:gd name="connsiteY6287" fmla="*/ 348139 h 514350"/>
                <a:gd name="connsiteX6288" fmla="*/ 1620679 w 6400800"/>
                <a:gd name="connsiteY6288" fmla="*/ 351949 h 514350"/>
                <a:gd name="connsiteX6289" fmla="*/ 1620679 w 6400800"/>
                <a:gd name="connsiteY6289" fmla="*/ 353854 h 514350"/>
                <a:gd name="connsiteX6290" fmla="*/ 1618774 w 6400800"/>
                <a:gd name="connsiteY6290" fmla="*/ 356711 h 514350"/>
                <a:gd name="connsiteX6291" fmla="*/ 1620679 w 6400800"/>
                <a:gd name="connsiteY6291" fmla="*/ 348139 h 514350"/>
                <a:gd name="connsiteX6292" fmla="*/ 1618774 w 6400800"/>
                <a:gd name="connsiteY6292" fmla="*/ 311944 h 514350"/>
                <a:gd name="connsiteX6293" fmla="*/ 1616869 w 6400800"/>
                <a:gd name="connsiteY6293" fmla="*/ 315754 h 514350"/>
                <a:gd name="connsiteX6294" fmla="*/ 1605439 w 6400800"/>
                <a:gd name="connsiteY6294" fmla="*/ 343376 h 514350"/>
                <a:gd name="connsiteX6295" fmla="*/ 1602581 w 6400800"/>
                <a:gd name="connsiteY6295" fmla="*/ 350996 h 514350"/>
                <a:gd name="connsiteX6296" fmla="*/ 1602581 w 6400800"/>
                <a:gd name="connsiteY6296" fmla="*/ 342424 h 514350"/>
                <a:gd name="connsiteX6297" fmla="*/ 1613059 w 6400800"/>
                <a:gd name="connsiteY6297" fmla="*/ 321469 h 514350"/>
                <a:gd name="connsiteX6298" fmla="*/ 1619726 w 6400800"/>
                <a:gd name="connsiteY6298" fmla="*/ 310039 h 514350"/>
                <a:gd name="connsiteX6299" fmla="*/ 1618774 w 6400800"/>
                <a:gd name="connsiteY6299" fmla="*/ 311944 h 514350"/>
                <a:gd name="connsiteX6300" fmla="*/ 1610201 w 6400800"/>
                <a:gd name="connsiteY6300" fmla="*/ 269081 h 514350"/>
                <a:gd name="connsiteX6301" fmla="*/ 1614011 w 6400800"/>
                <a:gd name="connsiteY6301" fmla="*/ 258604 h 514350"/>
                <a:gd name="connsiteX6302" fmla="*/ 1616869 w 6400800"/>
                <a:gd name="connsiteY6302" fmla="*/ 252889 h 514350"/>
                <a:gd name="connsiteX6303" fmla="*/ 1617821 w 6400800"/>
                <a:gd name="connsiteY6303" fmla="*/ 292894 h 514350"/>
                <a:gd name="connsiteX6304" fmla="*/ 1617821 w 6400800"/>
                <a:gd name="connsiteY6304" fmla="*/ 293846 h 514350"/>
                <a:gd name="connsiteX6305" fmla="*/ 1614011 w 6400800"/>
                <a:gd name="connsiteY6305" fmla="*/ 289084 h 514350"/>
                <a:gd name="connsiteX6306" fmla="*/ 1606391 w 6400800"/>
                <a:gd name="connsiteY6306" fmla="*/ 277654 h 514350"/>
                <a:gd name="connsiteX6307" fmla="*/ 1610201 w 6400800"/>
                <a:gd name="connsiteY6307" fmla="*/ 269081 h 514350"/>
                <a:gd name="connsiteX6308" fmla="*/ 1600676 w 6400800"/>
                <a:gd name="connsiteY6308" fmla="*/ 297656 h 514350"/>
                <a:gd name="connsiteX6309" fmla="*/ 1606391 w 6400800"/>
                <a:gd name="connsiteY6309" fmla="*/ 279559 h 514350"/>
                <a:gd name="connsiteX6310" fmla="*/ 1611154 w 6400800"/>
                <a:gd name="connsiteY6310" fmla="*/ 290989 h 514350"/>
                <a:gd name="connsiteX6311" fmla="*/ 1616869 w 6400800"/>
                <a:gd name="connsiteY6311" fmla="*/ 303371 h 514350"/>
                <a:gd name="connsiteX6312" fmla="*/ 1606391 w 6400800"/>
                <a:gd name="connsiteY6312" fmla="*/ 317659 h 514350"/>
                <a:gd name="connsiteX6313" fmla="*/ 1601629 w 6400800"/>
                <a:gd name="connsiteY6313" fmla="*/ 325279 h 514350"/>
                <a:gd name="connsiteX6314" fmla="*/ 1600676 w 6400800"/>
                <a:gd name="connsiteY6314" fmla="*/ 319564 h 514350"/>
                <a:gd name="connsiteX6315" fmla="*/ 1599724 w 6400800"/>
                <a:gd name="connsiteY6315" fmla="*/ 305276 h 514350"/>
                <a:gd name="connsiteX6316" fmla="*/ 1600676 w 6400800"/>
                <a:gd name="connsiteY6316" fmla="*/ 297656 h 514350"/>
                <a:gd name="connsiteX6317" fmla="*/ 1567339 w 6400800"/>
                <a:gd name="connsiteY6317" fmla="*/ 315754 h 514350"/>
                <a:gd name="connsiteX6318" fmla="*/ 1568291 w 6400800"/>
                <a:gd name="connsiteY6318" fmla="*/ 330041 h 514350"/>
                <a:gd name="connsiteX6319" fmla="*/ 1566386 w 6400800"/>
                <a:gd name="connsiteY6319" fmla="*/ 320516 h 514350"/>
                <a:gd name="connsiteX6320" fmla="*/ 1567339 w 6400800"/>
                <a:gd name="connsiteY6320" fmla="*/ 315754 h 514350"/>
                <a:gd name="connsiteX6321" fmla="*/ 1547336 w 6400800"/>
                <a:gd name="connsiteY6321" fmla="*/ 265271 h 514350"/>
                <a:gd name="connsiteX6322" fmla="*/ 1546384 w 6400800"/>
                <a:gd name="connsiteY6322" fmla="*/ 275749 h 514350"/>
                <a:gd name="connsiteX6323" fmla="*/ 1545431 w 6400800"/>
                <a:gd name="connsiteY6323" fmla="*/ 272891 h 514350"/>
                <a:gd name="connsiteX6324" fmla="*/ 1547336 w 6400800"/>
                <a:gd name="connsiteY6324" fmla="*/ 265271 h 514350"/>
                <a:gd name="connsiteX6325" fmla="*/ 1541621 w 6400800"/>
                <a:gd name="connsiteY6325" fmla="*/ 286226 h 514350"/>
                <a:gd name="connsiteX6326" fmla="*/ 1543526 w 6400800"/>
                <a:gd name="connsiteY6326" fmla="*/ 293846 h 514350"/>
                <a:gd name="connsiteX6327" fmla="*/ 1542574 w 6400800"/>
                <a:gd name="connsiteY6327" fmla="*/ 301466 h 514350"/>
                <a:gd name="connsiteX6328" fmla="*/ 1539716 w 6400800"/>
                <a:gd name="connsiteY6328" fmla="*/ 291941 h 514350"/>
                <a:gd name="connsiteX6329" fmla="*/ 1541621 w 6400800"/>
                <a:gd name="connsiteY6329" fmla="*/ 286226 h 514350"/>
                <a:gd name="connsiteX6330" fmla="*/ 1537811 w 6400800"/>
                <a:gd name="connsiteY6330" fmla="*/ 271939 h 514350"/>
                <a:gd name="connsiteX6331" fmla="*/ 1538764 w 6400800"/>
                <a:gd name="connsiteY6331" fmla="*/ 276701 h 514350"/>
                <a:gd name="connsiteX6332" fmla="*/ 1536859 w 6400800"/>
                <a:gd name="connsiteY6332" fmla="*/ 280511 h 514350"/>
                <a:gd name="connsiteX6333" fmla="*/ 1537811 w 6400800"/>
                <a:gd name="connsiteY6333" fmla="*/ 271939 h 514350"/>
                <a:gd name="connsiteX6334" fmla="*/ 1533049 w 6400800"/>
                <a:gd name="connsiteY6334" fmla="*/ 338614 h 514350"/>
                <a:gd name="connsiteX6335" fmla="*/ 1533049 w 6400800"/>
                <a:gd name="connsiteY6335" fmla="*/ 335756 h 514350"/>
                <a:gd name="connsiteX6336" fmla="*/ 1535906 w 6400800"/>
                <a:gd name="connsiteY6336" fmla="*/ 350044 h 514350"/>
                <a:gd name="connsiteX6337" fmla="*/ 1536859 w 6400800"/>
                <a:gd name="connsiteY6337" fmla="*/ 357664 h 514350"/>
                <a:gd name="connsiteX6338" fmla="*/ 1536859 w 6400800"/>
                <a:gd name="connsiteY6338" fmla="*/ 362426 h 514350"/>
                <a:gd name="connsiteX6339" fmla="*/ 1536859 w 6400800"/>
                <a:gd name="connsiteY6339" fmla="*/ 362426 h 514350"/>
                <a:gd name="connsiteX6340" fmla="*/ 1532096 w 6400800"/>
                <a:gd name="connsiteY6340" fmla="*/ 346234 h 514350"/>
                <a:gd name="connsiteX6341" fmla="*/ 1533049 w 6400800"/>
                <a:gd name="connsiteY6341" fmla="*/ 338614 h 514350"/>
                <a:gd name="connsiteX6342" fmla="*/ 1519714 w 6400800"/>
                <a:gd name="connsiteY6342" fmla="*/ 270986 h 514350"/>
                <a:gd name="connsiteX6343" fmla="*/ 1525429 w 6400800"/>
                <a:gd name="connsiteY6343" fmla="*/ 297656 h 514350"/>
                <a:gd name="connsiteX6344" fmla="*/ 1524476 w 6400800"/>
                <a:gd name="connsiteY6344" fmla="*/ 301466 h 514350"/>
                <a:gd name="connsiteX6345" fmla="*/ 1521619 w 6400800"/>
                <a:gd name="connsiteY6345" fmla="*/ 315754 h 514350"/>
                <a:gd name="connsiteX6346" fmla="*/ 1519714 w 6400800"/>
                <a:gd name="connsiteY6346" fmla="*/ 310991 h 514350"/>
                <a:gd name="connsiteX6347" fmla="*/ 1517809 w 6400800"/>
                <a:gd name="connsiteY6347" fmla="*/ 268129 h 514350"/>
                <a:gd name="connsiteX6348" fmla="*/ 1519714 w 6400800"/>
                <a:gd name="connsiteY6348" fmla="*/ 270986 h 514350"/>
                <a:gd name="connsiteX6349" fmla="*/ 1503521 w 6400800"/>
                <a:gd name="connsiteY6349" fmla="*/ 302419 h 514350"/>
                <a:gd name="connsiteX6350" fmla="*/ 1502569 w 6400800"/>
                <a:gd name="connsiteY6350" fmla="*/ 313849 h 514350"/>
                <a:gd name="connsiteX6351" fmla="*/ 1502569 w 6400800"/>
                <a:gd name="connsiteY6351" fmla="*/ 330041 h 514350"/>
                <a:gd name="connsiteX6352" fmla="*/ 1501616 w 6400800"/>
                <a:gd name="connsiteY6352" fmla="*/ 329089 h 514350"/>
                <a:gd name="connsiteX6353" fmla="*/ 1497806 w 6400800"/>
                <a:gd name="connsiteY6353" fmla="*/ 311944 h 514350"/>
                <a:gd name="connsiteX6354" fmla="*/ 1503521 w 6400800"/>
                <a:gd name="connsiteY6354" fmla="*/ 302419 h 514350"/>
                <a:gd name="connsiteX6355" fmla="*/ 1477804 w 6400800"/>
                <a:gd name="connsiteY6355" fmla="*/ 272891 h 514350"/>
                <a:gd name="connsiteX6356" fmla="*/ 1477804 w 6400800"/>
                <a:gd name="connsiteY6356" fmla="*/ 272891 h 514350"/>
                <a:gd name="connsiteX6357" fmla="*/ 1477804 w 6400800"/>
                <a:gd name="connsiteY6357" fmla="*/ 282416 h 514350"/>
                <a:gd name="connsiteX6358" fmla="*/ 1476851 w 6400800"/>
                <a:gd name="connsiteY6358" fmla="*/ 294799 h 514350"/>
                <a:gd name="connsiteX6359" fmla="*/ 1475899 w 6400800"/>
                <a:gd name="connsiteY6359" fmla="*/ 295751 h 514350"/>
                <a:gd name="connsiteX6360" fmla="*/ 1474946 w 6400800"/>
                <a:gd name="connsiteY6360" fmla="*/ 282416 h 514350"/>
                <a:gd name="connsiteX6361" fmla="*/ 1477804 w 6400800"/>
                <a:gd name="connsiteY6361" fmla="*/ 272891 h 514350"/>
                <a:gd name="connsiteX6362" fmla="*/ 1461611 w 6400800"/>
                <a:gd name="connsiteY6362" fmla="*/ 326231 h 514350"/>
                <a:gd name="connsiteX6363" fmla="*/ 1461611 w 6400800"/>
                <a:gd name="connsiteY6363" fmla="*/ 328136 h 514350"/>
                <a:gd name="connsiteX6364" fmla="*/ 1460659 w 6400800"/>
                <a:gd name="connsiteY6364" fmla="*/ 330041 h 514350"/>
                <a:gd name="connsiteX6365" fmla="*/ 1460659 w 6400800"/>
                <a:gd name="connsiteY6365" fmla="*/ 329089 h 514350"/>
                <a:gd name="connsiteX6366" fmla="*/ 1461611 w 6400800"/>
                <a:gd name="connsiteY6366" fmla="*/ 326231 h 514350"/>
                <a:gd name="connsiteX6367" fmla="*/ 1457801 w 6400800"/>
                <a:gd name="connsiteY6367" fmla="*/ 309086 h 514350"/>
                <a:gd name="connsiteX6368" fmla="*/ 1457801 w 6400800"/>
                <a:gd name="connsiteY6368" fmla="*/ 309086 h 514350"/>
                <a:gd name="connsiteX6369" fmla="*/ 1455896 w 6400800"/>
                <a:gd name="connsiteY6369" fmla="*/ 302419 h 514350"/>
                <a:gd name="connsiteX6370" fmla="*/ 1457801 w 6400800"/>
                <a:gd name="connsiteY6370" fmla="*/ 309086 h 514350"/>
                <a:gd name="connsiteX6371" fmla="*/ 1442561 w 6400800"/>
                <a:gd name="connsiteY6371" fmla="*/ 328136 h 514350"/>
                <a:gd name="connsiteX6372" fmla="*/ 1442561 w 6400800"/>
                <a:gd name="connsiteY6372" fmla="*/ 318611 h 514350"/>
                <a:gd name="connsiteX6373" fmla="*/ 1444466 w 6400800"/>
                <a:gd name="connsiteY6373" fmla="*/ 333851 h 514350"/>
                <a:gd name="connsiteX6374" fmla="*/ 1442561 w 6400800"/>
                <a:gd name="connsiteY6374" fmla="*/ 330041 h 514350"/>
                <a:gd name="connsiteX6375" fmla="*/ 1442561 w 6400800"/>
                <a:gd name="connsiteY6375" fmla="*/ 328136 h 514350"/>
                <a:gd name="connsiteX6376" fmla="*/ 1415891 w 6400800"/>
                <a:gd name="connsiteY6376" fmla="*/ 281464 h 514350"/>
                <a:gd name="connsiteX6377" fmla="*/ 1415891 w 6400800"/>
                <a:gd name="connsiteY6377" fmla="*/ 289084 h 514350"/>
                <a:gd name="connsiteX6378" fmla="*/ 1415891 w 6400800"/>
                <a:gd name="connsiteY6378" fmla="*/ 289084 h 514350"/>
                <a:gd name="connsiteX6379" fmla="*/ 1413034 w 6400800"/>
                <a:gd name="connsiteY6379" fmla="*/ 286226 h 514350"/>
                <a:gd name="connsiteX6380" fmla="*/ 1415891 w 6400800"/>
                <a:gd name="connsiteY6380" fmla="*/ 281464 h 514350"/>
                <a:gd name="connsiteX6381" fmla="*/ 1412081 w 6400800"/>
                <a:gd name="connsiteY6381" fmla="*/ 290036 h 514350"/>
                <a:gd name="connsiteX6382" fmla="*/ 1413986 w 6400800"/>
                <a:gd name="connsiteY6382" fmla="*/ 292894 h 514350"/>
                <a:gd name="connsiteX6383" fmla="*/ 1415891 w 6400800"/>
                <a:gd name="connsiteY6383" fmla="*/ 295751 h 514350"/>
                <a:gd name="connsiteX6384" fmla="*/ 1415891 w 6400800"/>
                <a:gd name="connsiteY6384" fmla="*/ 300514 h 514350"/>
                <a:gd name="connsiteX6385" fmla="*/ 1412081 w 6400800"/>
                <a:gd name="connsiteY6385" fmla="*/ 290036 h 514350"/>
                <a:gd name="connsiteX6386" fmla="*/ 1412081 w 6400800"/>
                <a:gd name="connsiteY6386" fmla="*/ 290036 h 514350"/>
                <a:gd name="connsiteX6387" fmla="*/ 1383506 w 6400800"/>
                <a:gd name="connsiteY6387" fmla="*/ 364331 h 514350"/>
                <a:gd name="connsiteX6388" fmla="*/ 1382554 w 6400800"/>
                <a:gd name="connsiteY6388" fmla="*/ 358616 h 514350"/>
                <a:gd name="connsiteX6389" fmla="*/ 1382554 w 6400800"/>
                <a:gd name="connsiteY6389" fmla="*/ 357664 h 514350"/>
                <a:gd name="connsiteX6390" fmla="*/ 1383506 w 6400800"/>
                <a:gd name="connsiteY6390" fmla="*/ 362426 h 514350"/>
                <a:gd name="connsiteX6391" fmla="*/ 1383506 w 6400800"/>
                <a:gd name="connsiteY6391" fmla="*/ 364331 h 514350"/>
                <a:gd name="connsiteX6392" fmla="*/ 1386364 w 6400800"/>
                <a:gd name="connsiteY6392" fmla="*/ 298609 h 514350"/>
                <a:gd name="connsiteX6393" fmla="*/ 1386364 w 6400800"/>
                <a:gd name="connsiteY6393" fmla="*/ 298609 h 514350"/>
                <a:gd name="connsiteX6394" fmla="*/ 1384459 w 6400800"/>
                <a:gd name="connsiteY6394" fmla="*/ 293846 h 514350"/>
                <a:gd name="connsiteX6395" fmla="*/ 1386364 w 6400800"/>
                <a:gd name="connsiteY6395" fmla="*/ 290989 h 514350"/>
                <a:gd name="connsiteX6396" fmla="*/ 1391126 w 6400800"/>
                <a:gd name="connsiteY6396" fmla="*/ 286226 h 514350"/>
                <a:gd name="connsiteX6397" fmla="*/ 1386364 w 6400800"/>
                <a:gd name="connsiteY6397" fmla="*/ 298609 h 514350"/>
                <a:gd name="connsiteX6398" fmla="*/ 1383506 w 6400800"/>
                <a:gd name="connsiteY6398" fmla="*/ 287179 h 514350"/>
                <a:gd name="connsiteX6399" fmla="*/ 1382554 w 6400800"/>
                <a:gd name="connsiteY6399" fmla="*/ 288131 h 514350"/>
                <a:gd name="connsiteX6400" fmla="*/ 1376839 w 6400800"/>
                <a:gd name="connsiteY6400" fmla="*/ 274796 h 514350"/>
                <a:gd name="connsiteX6401" fmla="*/ 1384459 w 6400800"/>
                <a:gd name="connsiteY6401" fmla="*/ 242411 h 514350"/>
                <a:gd name="connsiteX6402" fmla="*/ 1390174 w 6400800"/>
                <a:gd name="connsiteY6402" fmla="*/ 281464 h 514350"/>
                <a:gd name="connsiteX6403" fmla="*/ 1383506 w 6400800"/>
                <a:gd name="connsiteY6403" fmla="*/ 287179 h 514350"/>
                <a:gd name="connsiteX6404" fmla="*/ 1391126 w 6400800"/>
                <a:gd name="connsiteY6404" fmla="*/ 310991 h 514350"/>
                <a:gd name="connsiteX6405" fmla="*/ 1393031 w 6400800"/>
                <a:gd name="connsiteY6405" fmla="*/ 299561 h 514350"/>
                <a:gd name="connsiteX6406" fmla="*/ 1393031 w 6400800"/>
                <a:gd name="connsiteY6406" fmla="*/ 298609 h 514350"/>
                <a:gd name="connsiteX6407" fmla="*/ 1393984 w 6400800"/>
                <a:gd name="connsiteY6407" fmla="*/ 305276 h 514350"/>
                <a:gd name="connsiteX6408" fmla="*/ 1391126 w 6400800"/>
                <a:gd name="connsiteY6408" fmla="*/ 310991 h 514350"/>
                <a:gd name="connsiteX6409" fmla="*/ 1397794 w 6400800"/>
                <a:gd name="connsiteY6409" fmla="*/ 278606 h 514350"/>
                <a:gd name="connsiteX6410" fmla="*/ 1397794 w 6400800"/>
                <a:gd name="connsiteY6410" fmla="*/ 278606 h 514350"/>
                <a:gd name="connsiteX6411" fmla="*/ 1397794 w 6400800"/>
                <a:gd name="connsiteY6411" fmla="*/ 279559 h 514350"/>
                <a:gd name="connsiteX6412" fmla="*/ 1397794 w 6400800"/>
                <a:gd name="connsiteY6412" fmla="*/ 278606 h 514350"/>
                <a:gd name="connsiteX6413" fmla="*/ 1397794 w 6400800"/>
                <a:gd name="connsiteY6413" fmla="*/ 278606 h 514350"/>
                <a:gd name="connsiteX6414" fmla="*/ 1397794 w 6400800"/>
                <a:gd name="connsiteY6414" fmla="*/ 322421 h 514350"/>
                <a:gd name="connsiteX6415" fmla="*/ 1399699 w 6400800"/>
                <a:gd name="connsiteY6415" fmla="*/ 331946 h 514350"/>
                <a:gd name="connsiteX6416" fmla="*/ 1399699 w 6400800"/>
                <a:gd name="connsiteY6416" fmla="*/ 333851 h 514350"/>
                <a:gd name="connsiteX6417" fmla="*/ 1396841 w 6400800"/>
                <a:gd name="connsiteY6417" fmla="*/ 326231 h 514350"/>
                <a:gd name="connsiteX6418" fmla="*/ 1397794 w 6400800"/>
                <a:gd name="connsiteY6418" fmla="*/ 322421 h 514350"/>
                <a:gd name="connsiteX6419" fmla="*/ 1387316 w 6400800"/>
                <a:gd name="connsiteY6419" fmla="*/ 231934 h 514350"/>
                <a:gd name="connsiteX6420" fmla="*/ 1395889 w 6400800"/>
                <a:gd name="connsiteY6420" fmla="*/ 270986 h 514350"/>
                <a:gd name="connsiteX6421" fmla="*/ 1394936 w 6400800"/>
                <a:gd name="connsiteY6421" fmla="*/ 272891 h 514350"/>
                <a:gd name="connsiteX6422" fmla="*/ 1384459 w 6400800"/>
                <a:gd name="connsiteY6422" fmla="*/ 240506 h 514350"/>
                <a:gd name="connsiteX6423" fmla="*/ 1387316 w 6400800"/>
                <a:gd name="connsiteY6423" fmla="*/ 231934 h 514350"/>
                <a:gd name="connsiteX6424" fmla="*/ 1380649 w 6400800"/>
                <a:gd name="connsiteY6424" fmla="*/ 232886 h 514350"/>
                <a:gd name="connsiteX6425" fmla="*/ 1386364 w 6400800"/>
                <a:gd name="connsiteY6425" fmla="*/ 225266 h 514350"/>
                <a:gd name="connsiteX6426" fmla="*/ 1386364 w 6400800"/>
                <a:gd name="connsiteY6426" fmla="*/ 225266 h 514350"/>
                <a:gd name="connsiteX6427" fmla="*/ 1372076 w 6400800"/>
                <a:gd name="connsiteY6427" fmla="*/ 262414 h 514350"/>
                <a:gd name="connsiteX6428" fmla="*/ 1370171 w 6400800"/>
                <a:gd name="connsiteY6428" fmla="*/ 257651 h 514350"/>
                <a:gd name="connsiteX6429" fmla="*/ 1369219 w 6400800"/>
                <a:gd name="connsiteY6429" fmla="*/ 253841 h 514350"/>
                <a:gd name="connsiteX6430" fmla="*/ 1380649 w 6400800"/>
                <a:gd name="connsiteY6430" fmla="*/ 232886 h 514350"/>
                <a:gd name="connsiteX6431" fmla="*/ 1356836 w 6400800"/>
                <a:gd name="connsiteY6431" fmla="*/ 300514 h 514350"/>
                <a:gd name="connsiteX6432" fmla="*/ 1356836 w 6400800"/>
                <a:gd name="connsiteY6432" fmla="*/ 302419 h 514350"/>
                <a:gd name="connsiteX6433" fmla="*/ 1355884 w 6400800"/>
                <a:gd name="connsiteY6433" fmla="*/ 304324 h 514350"/>
                <a:gd name="connsiteX6434" fmla="*/ 1355884 w 6400800"/>
                <a:gd name="connsiteY6434" fmla="*/ 299561 h 514350"/>
                <a:gd name="connsiteX6435" fmla="*/ 1356836 w 6400800"/>
                <a:gd name="connsiteY6435" fmla="*/ 300514 h 514350"/>
                <a:gd name="connsiteX6436" fmla="*/ 1339691 w 6400800"/>
                <a:gd name="connsiteY6436" fmla="*/ 325279 h 514350"/>
                <a:gd name="connsiteX6437" fmla="*/ 1339691 w 6400800"/>
                <a:gd name="connsiteY6437" fmla="*/ 324326 h 514350"/>
                <a:gd name="connsiteX6438" fmla="*/ 1341596 w 6400800"/>
                <a:gd name="connsiteY6438" fmla="*/ 317659 h 514350"/>
                <a:gd name="connsiteX6439" fmla="*/ 1341596 w 6400800"/>
                <a:gd name="connsiteY6439" fmla="*/ 317659 h 514350"/>
                <a:gd name="connsiteX6440" fmla="*/ 1341596 w 6400800"/>
                <a:gd name="connsiteY6440" fmla="*/ 330994 h 514350"/>
                <a:gd name="connsiteX6441" fmla="*/ 1339691 w 6400800"/>
                <a:gd name="connsiteY6441" fmla="*/ 325279 h 514350"/>
                <a:gd name="connsiteX6442" fmla="*/ 1340644 w 6400800"/>
                <a:gd name="connsiteY6442" fmla="*/ 226219 h 514350"/>
                <a:gd name="connsiteX6443" fmla="*/ 1340644 w 6400800"/>
                <a:gd name="connsiteY6443" fmla="*/ 226219 h 514350"/>
                <a:gd name="connsiteX6444" fmla="*/ 1344454 w 6400800"/>
                <a:gd name="connsiteY6444" fmla="*/ 237649 h 514350"/>
                <a:gd name="connsiteX6445" fmla="*/ 1344454 w 6400800"/>
                <a:gd name="connsiteY6445" fmla="*/ 242411 h 514350"/>
                <a:gd name="connsiteX6446" fmla="*/ 1343501 w 6400800"/>
                <a:gd name="connsiteY6446" fmla="*/ 264319 h 514350"/>
                <a:gd name="connsiteX6447" fmla="*/ 1343501 w 6400800"/>
                <a:gd name="connsiteY6447" fmla="*/ 272891 h 514350"/>
                <a:gd name="connsiteX6448" fmla="*/ 1339691 w 6400800"/>
                <a:gd name="connsiteY6448" fmla="*/ 269081 h 514350"/>
                <a:gd name="connsiteX6449" fmla="*/ 1340644 w 6400800"/>
                <a:gd name="connsiteY6449" fmla="*/ 226219 h 514350"/>
                <a:gd name="connsiteX6450" fmla="*/ 1337786 w 6400800"/>
                <a:gd name="connsiteY6450" fmla="*/ 295751 h 514350"/>
                <a:gd name="connsiteX6451" fmla="*/ 1338739 w 6400800"/>
                <a:gd name="connsiteY6451" fmla="*/ 271939 h 514350"/>
                <a:gd name="connsiteX6452" fmla="*/ 1342549 w 6400800"/>
                <a:gd name="connsiteY6452" fmla="*/ 276701 h 514350"/>
                <a:gd name="connsiteX6453" fmla="*/ 1342549 w 6400800"/>
                <a:gd name="connsiteY6453" fmla="*/ 276701 h 514350"/>
                <a:gd name="connsiteX6454" fmla="*/ 1342549 w 6400800"/>
                <a:gd name="connsiteY6454" fmla="*/ 286226 h 514350"/>
                <a:gd name="connsiteX6455" fmla="*/ 1337786 w 6400800"/>
                <a:gd name="connsiteY6455" fmla="*/ 295751 h 514350"/>
                <a:gd name="connsiteX6456" fmla="*/ 1337786 w 6400800"/>
                <a:gd name="connsiteY6456" fmla="*/ 296704 h 514350"/>
                <a:gd name="connsiteX6457" fmla="*/ 1337786 w 6400800"/>
                <a:gd name="connsiteY6457" fmla="*/ 295751 h 514350"/>
                <a:gd name="connsiteX6458" fmla="*/ 1314926 w 6400800"/>
                <a:gd name="connsiteY6458" fmla="*/ 320516 h 514350"/>
                <a:gd name="connsiteX6459" fmla="*/ 1314926 w 6400800"/>
                <a:gd name="connsiteY6459" fmla="*/ 320516 h 514350"/>
                <a:gd name="connsiteX6460" fmla="*/ 1314926 w 6400800"/>
                <a:gd name="connsiteY6460" fmla="*/ 320516 h 514350"/>
                <a:gd name="connsiteX6461" fmla="*/ 1314926 w 6400800"/>
                <a:gd name="connsiteY6461" fmla="*/ 320516 h 514350"/>
                <a:gd name="connsiteX6462" fmla="*/ 1311116 w 6400800"/>
                <a:gd name="connsiteY6462" fmla="*/ 312896 h 514350"/>
                <a:gd name="connsiteX6463" fmla="*/ 1311116 w 6400800"/>
                <a:gd name="connsiteY6463" fmla="*/ 312896 h 514350"/>
                <a:gd name="connsiteX6464" fmla="*/ 1311116 w 6400800"/>
                <a:gd name="connsiteY6464" fmla="*/ 314801 h 514350"/>
                <a:gd name="connsiteX6465" fmla="*/ 1311116 w 6400800"/>
                <a:gd name="connsiteY6465" fmla="*/ 314801 h 514350"/>
                <a:gd name="connsiteX6466" fmla="*/ 1311116 w 6400800"/>
                <a:gd name="connsiteY6466" fmla="*/ 312896 h 514350"/>
                <a:gd name="connsiteX6467" fmla="*/ 1242536 w 6400800"/>
                <a:gd name="connsiteY6467" fmla="*/ 344329 h 514350"/>
                <a:gd name="connsiteX6468" fmla="*/ 1238726 w 6400800"/>
                <a:gd name="connsiteY6468" fmla="*/ 336709 h 514350"/>
                <a:gd name="connsiteX6469" fmla="*/ 1238726 w 6400800"/>
                <a:gd name="connsiteY6469" fmla="*/ 310991 h 514350"/>
                <a:gd name="connsiteX6470" fmla="*/ 1238726 w 6400800"/>
                <a:gd name="connsiteY6470" fmla="*/ 307181 h 514350"/>
                <a:gd name="connsiteX6471" fmla="*/ 1244441 w 6400800"/>
                <a:gd name="connsiteY6471" fmla="*/ 339566 h 514350"/>
                <a:gd name="connsiteX6472" fmla="*/ 1244441 w 6400800"/>
                <a:gd name="connsiteY6472" fmla="*/ 340519 h 514350"/>
                <a:gd name="connsiteX6473" fmla="*/ 1242536 w 6400800"/>
                <a:gd name="connsiteY6473" fmla="*/ 344329 h 514350"/>
                <a:gd name="connsiteX6474" fmla="*/ 1279684 w 6400800"/>
                <a:gd name="connsiteY6474" fmla="*/ 290989 h 514350"/>
                <a:gd name="connsiteX6475" fmla="*/ 1279684 w 6400800"/>
                <a:gd name="connsiteY6475" fmla="*/ 284321 h 514350"/>
                <a:gd name="connsiteX6476" fmla="*/ 1281589 w 6400800"/>
                <a:gd name="connsiteY6476" fmla="*/ 287179 h 514350"/>
                <a:gd name="connsiteX6477" fmla="*/ 1279684 w 6400800"/>
                <a:gd name="connsiteY6477" fmla="*/ 290989 h 514350"/>
                <a:gd name="connsiteX6478" fmla="*/ 1298734 w 6400800"/>
                <a:gd name="connsiteY6478" fmla="*/ 332899 h 514350"/>
                <a:gd name="connsiteX6479" fmla="*/ 1298734 w 6400800"/>
                <a:gd name="connsiteY6479" fmla="*/ 332899 h 514350"/>
                <a:gd name="connsiteX6480" fmla="*/ 1298734 w 6400800"/>
                <a:gd name="connsiteY6480" fmla="*/ 330994 h 514350"/>
                <a:gd name="connsiteX6481" fmla="*/ 1298734 w 6400800"/>
                <a:gd name="connsiteY6481" fmla="*/ 332899 h 514350"/>
                <a:gd name="connsiteX6482" fmla="*/ 1295876 w 6400800"/>
                <a:gd name="connsiteY6482" fmla="*/ 278606 h 514350"/>
                <a:gd name="connsiteX6483" fmla="*/ 1305401 w 6400800"/>
                <a:gd name="connsiteY6483" fmla="*/ 299561 h 514350"/>
                <a:gd name="connsiteX6484" fmla="*/ 1305401 w 6400800"/>
                <a:gd name="connsiteY6484" fmla="*/ 300514 h 514350"/>
                <a:gd name="connsiteX6485" fmla="*/ 1304449 w 6400800"/>
                <a:gd name="connsiteY6485" fmla="*/ 303371 h 514350"/>
                <a:gd name="connsiteX6486" fmla="*/ 1300639 w 6400800"/>
                <a:gd name="connsiteY6486" fmla="*/ 295751 h 514350"/>
                <a:gd name="connsiteX6487" fmla="*/ 1293971 w 6400800"/>
                <a:gd name="connsiteY6487" fmla="*/ 284321 h 514350"/>
                <a:gd name="connsiteX6488" fmla="*/ 1295876 w 6400800"/>
                <a:gd name="connsiteY6488" fmla="*/ 278606 h 514350"/>
                <a:gd name="connsiteX6489" fmla="*/ 1299686 w 6400800"/>
                <a:gd name="connsiteY6489" fmla="*/ 328136 h 514350"/>
                <a:gd name="connsiteX6490" fmla="*/ 1299686 w 6400800"/>
                <a:gd name="connsiteY6490" fmla="*/ 330041 h 514350"/>
                <a:gd name="connsiteX6491" fmla="*/ 1298734 w 6400800"/>
                <a:gd name="connsiteY6491" fmla="*/ 331946 h 514350"/>
                <a:gd name="connsiteX6492" fmla="*/ 1293019 w 6400800"/>
                <a:gd name="connsiteY6492" fmla="*/ 324326 h 514350"/>
                <a:gd name="connsiteX6493" fmla="*/ 1289209 w 6400800"/>
                <a:gd name="connsiteY6493" fmla="*/ 318611 h 514350"/>
                <a:gd name="connsiteX6494" fmla="*/ 1289209 w 6400800"/>
                <a:gd name="connsiteY6494" fmla="*/ 318611 h 514350"/>
                <a:gd name="connsiteX6495" fmla="*/ 1289209 w 6400800"/>
                <a:gd name="connsiteY6495" fmla="*/ 309086 h 514350"/>
                <a:gd name="connsiteX6496" fmla="*/ 1290161 w 6400800"/>
                <a:gd name="connsiteY6496" fmla="*/ 305276 h 514350"/>
                <a:gd name="connsiteX6497" fmla="*/ 1299686 w 6400800"/>
                <a:gd name="connsiteY6497" fmla="*/ 328136 h 514350"/>
                <a:gd name="connsiteX6498" fmla="*/ 1289209 w 6400800"/>
                <a:gd name="connsiteY6498" fmla="*/ 263366 h 514350"/>
                <a:gd name="connsiteX6499" fmla="*/ 1287304 w 6400800"/>
                <a:gd name="connsiteY6499" fmla="*/ 268129 h 514350"/>
                <a:gd name="connsiteX6500" fmla="*/ 1287304 w 6400800"/>
                <a:gd name="connsiteY6500" fmla="*/ 259556 h 514350"/>
                <a:gd name="connsiteX6501" fmla="*/ 1289209 w 6400800"/>
                <a:gd name="connsiteY6501" fmla="*/ 263366 h 514350"/>
                <a:gd name="connsiteX6502" fmla="*/ 1276826 w 6400800"/>
                <a:gd name="connsiteY6502" fmla="*/ 238601 h 514350"/>
                <a:gd name="connsiteX6503" fmla="*/ 1278731 w 6400800"/>
                <a:gd name="connsiteY6503" fmla="*/ 242411 h 514350"/>
                <a:gd name="connsiteX6504" fmla="*/ 1286351 w 6400800"/>
                <a:gd name="connsiteY6504" fmla="*/ 257651 h 514350"/>
                <a:gd name="connsiteX6505" fmla="*/ 1285399 w 6400800"/>
                <a:gd name="connsiteY6505" fmla="*/ 267176 h 514350"/>
                <a:gd name="connsiteX6506" fmla="*/ 1277779 w 6400800"/>
                <a:gd name="connsiteY6506" fmla="*/ 255746 h 514350"/>
                <a:gd name="connsiteX6507" fmla="*/ 1276826 w 6400800"/>
                <a:gd name="connsiteY6507" fmla="*/ 242411 h 514350"/>
                <a:gd name="connsiteX6508" fmla="*/ 1276826 w 6400800"/>
                <a:gd name="connsiteY6508" fmla="*/ 238601 h 514350"/>
                <a:gd name="connsiteX6509" fmla="*/ 1273016 w 6400800"/>
                <a:gd name="connsiteY6509" fmla="*/ 271939 h 514350"/>
                <a:gd name="connsiteX6510" fmla="*/ 1273969 w 6400800"/>
                <a:gd name="connsiteY6510" fmla="*/ 272891 h 514350"/>
                <a:gd name="connsiteX6511" fmla="*/ 1273016 w 6400800"/>
                <a:gd name="connsiteY6511" fmla="*/ 291941 h 514350"/>
                <a:gd name="connsiteX6512" fmla="*/ 1271111 w 6400800"/>
                <a:gd name="connsiteY6512" fmla="*/ 288131 h 514350"/>
                <a:gd name="connsiteX6513" fmla="*/ 1273016 w 6400800"/>
                <a:gd name="connsiteY6513" fmla="*/ 271939 h 514350"/>
                <a:gd name="connsiteX6514" fmla="*/ 1240631 w 6400800"/>
                <a:gd name="connsiteY6514" fmla="*/ 229076 h 514350"/>
                <a:gd name="connsiteX6515" fmla="*/ 1244441 w 6400800"/>
                <a:gd name="connsiteY6515" fmla="*/ 220504 h 514350"/>
                <a:gd name="connsiteX6516" fmla="*/ 1253966 w 6400800"/>
                <a:gd name="connsiteY6516" fmla="*/ 237649 h 514350"/>
                <a:gd name="connsiteX6517" fmla="*/ 1264444 w 6400800"/>
                <a:gd name="connsiteY6517" fmla="*/ 257651 h 514350"/>
                <a:gd name="connsiteX6518" fmla="*/ 1268254 w 6400800"/>
                <a:gd name="connsiteY6518" fmla="*/ 264319 h 514350"/>
                <a:gd name="connsiteX6519" fmla="*/ 1262539 w 6400800"/>
                <a:gd name="connsiteY6519" fmla="*/ 286226 h 514350"/>
                <a:gd name="connsiteX6520" fmla="*/ 1254919 w 6400800"/>
                <a:gd name="connsiteY6520" fmla="*/ 277654 h 514350"/>
                <a:gd name="connsiteX6521" fmla="*/ 1241584 w 6400800"/>
                <a:gd name="connsiteY6521" fmla="*/ 251936 h 514350"/>
                <a:gd name="connsiteX6522" fmla="*/ 1235869 w 6400800"/>
                <a:gd name="connsiteY6522" fmla="*/ 243364 h 514350"/>
                <a:gd name="connsiteX6523" fmla="*/ 1235869 w 6400800"/>
                <a:gd name="connsiteY6523" fmla="*/ 242411 h 514350"/>
                <a:gd name="connsiteX6524" fmla="*/ 1240631 w 6400800"/>
                <a:gd name="connsiteY6524" fmla="*/ 229076 h 514350"/>
                <a:gd name="connsiteX6525" fmla="*/ 1228249 w 6400800"/>
                <a:gd name="connsiteY6525" fmla="*/ 304324 h 514350"/>
                <a:gd name="connsiteX6526" fmla="*/ 1227296 w 6400800"/>
                <a:gd name="connsiteY6526" fmla="*/ 288131 h 514350"/>
                <a:gd name="connsiteX6527" fmla="*/ 1227296 w 6400800"/>
                <a:gd name="connsiteY6527" fmla="*/ 281464 h 514350"/>
                <a:gd name="connsiteX6528" fmla="*/ 1228249 w 6400800"/>
                <a:gd name="connsiteY6528" fmla="*/ 279559 h 514350"/>
                <a:gd name="connsiteX6529" fmla="*/ 1228249 w 6400800"/>
                <a:gd name="connsiteY6529" fmla="*/ 278606 h 514350"/>
                <a:gd name="connsiteX6530" fmla="*/ 1229201 w 6400800"/>
                <a:gd name="connsiteY6530" fmla="*/ 279559 h 514350"/>
                <a:gd name="connsiteX6531" fmla="*/ 1231106 w 6400800"/>
                <a:gd name="connsiteY6531" fmla="*/ 284321 h 514350"/>
                <a:gd name="connsiteX6532" fmla="*/ 1228249 w 6400800"/>
                <a:gd name="connsiteY6532" fmla="*/ 304324 h 514350"/>
                <a:gd name="connsiteX6533" fmla="*/ 1232059 w 6400800"/>
                <a:gd name="connsiteY6533" fmla="*/ 280511 h 514350"/>
                <a:gd name="connsiteX6534" fmla="*/ 1232059 w 6400800"/>
                <a:gd name="connsiteY6534" fmla="*/ 278606 h 514350"/>
                <a:gd name="connsiteX6535" fmla="*/ 1230154 w 6400800"/>
                <a:gd name="connsiteY6535" fmla="*/ 275749 h 514350"/>
                <a:gd name="connsiteX6536" fmla="*/ 1227296 w 6400800"/>
                <a:gd name="connsiteY6536" fmla="*/ 275749 h 514350"/>
                <a:gd name="connsiteX6537" fmla="*/ 1226344 w 6400800"/>
                <a:gd name="connsiteY6537" fmla="*/ 275749 h 514350"/>
                <a:gd name="connsiteX6538" fmla="*/ 1226344 w 6400800"/>
                <a:gd name="connsiteY6538" fmla="*/ 269081 h 514350"/>
                <a:gd name="connsiteX6539" fmla="*/ 1230154 w 6400800"/>
                <a:gd name="connsiteY6539" fmla="*/ 272891 h 514350"/>
                <a:gd name="connsiteX6540" fmla="*/ 1233011 w 6400800"/>
                <a:gd name="connsiteY6540" fmla="*/ 276701 h 514350"/>
                <a:gd name="connsiteX6541" fmla="*/ 1232059 w 6400800"/>
                <a:gd name="connsiteY6541" fmla="*/ 280511 h 514350"/>
                <a:gd name="connsiteX6542" fmla="*/ 1230154 w 6400800"/>
                <a:gd name="connsiteY6542" fmla="*/ 221456 h 514350"/>
                <a:gd name="connsiteX6543" fmla="*/ 1233964 w 6400800"/>
                <a:gd name="connsiteY6543" fmla="*/ 233839 h 514350"/>
                <a:gd name="connsiteX6544" fmla="*/ 1233964 w 6400800"/>
                <a:gd name="connsiteY6544" fmla="*/ 233839 h 514350"/>
                <a:gd name="connsiteX6545" fmla="*/ 1233011 w 6400800"/>
                <a:gd name="connsiteY6545" fmla="*/ 230029 h 514350"/>
                <a:gd name="connsiteX6546" fmla="*/ 1230154 w 6400800"/>
                <a:gd name="connsiteY6546" fmla="*/ 221456 h 514350"/>
                <a:gd name="connsiteX6547" fmla="*/ 1230154 w 6400800"/>
                <a:gd name="connsiteY6547" fmla="*/ 221456 h 514350"/>
                <a:gd name="connsiteX6548" fmla="*/ 1229201 w 6400800"/>
                <a:gd name="connsiteY6548" fmla="*/ 257651 h 514350"/>
                <a:gd name="connsiteX6549" fmla="*/ 1229201 w 6400800"/>
                <a:gd name="connsiteY6549" fmla="*/ 257651 h 514350"/>
                <a:gd name="connsiteX6550" fmla="*/ 1230154 w 6400800"/>
                <a:gd name="connsiteY6550" fmla="*/ 259556 h 514350"/>
                <a:gd name="connsiteX6551" fmla="*/ 1230154 w 6400800"/>
                <a:gd name="connsiteY6551" fmla="*/ 262414 h 514350"/>
                <a:gd name="connsiteX6552" fmla="*/ 1232059 w 6400800"/>
                <a:gd name="connsiteY6552" fmla="*/ 274796 h 514350"/>
                <a:gd name="connsiteX6553" fmla="*/ 1232059 w 6400800"/>
                <a:gd name="connsiteY6553" fmla="*/ 274796 h 514350"/>
                <a:gd name="connsiteX6554" fmla="*/ 1229201 w 6400800"/>
                <a:gd name="connsiteY6554" fmla="*/ 272891 h 514350"/>
                <a:gd name="connsiteX6555" fmla="*/ 1225391 w 6400800"/>
                <a:gd name="connsiteY6555" fmla="*/ 269081 h 514350"/>
                <a:gd name="connsiteX6556" fmla="*/ 1225391 w 6400800"/>
                <a:gd name="connsiteY6556" fmla="*/ 265271 h 514350"/>
                <a:gd name="connsiteX6557" fmla="*/ 1229201 w 6400800"/>
                <a:gd name="connsiteY6557" fmla="*/ 257651 h 514350"/>
                <a:gd name="connsiteX6558" fmla="*/ 1226344 w 6400800"/>
                <a:gd name="connsiteY6558" fmla="*/ 235744 h 514350"/>
                <a:gd name="connsiteX6559" fmla="*/ 1228249 w 6400800"/>
                <a:gd name="connsiteY6559" fmla="*/ 244316 h 514350"/>
                <a:gd name="connsiteX6560" fmla="*/ 1227296 w 6400800"/>
                <a:gd name="connsiteY6560" fmla="*/ 246221 h 514350"/>
                <a:gd name="connsiteX6561" fmla="*/ 1225391 w 6400800"/>
                <a:gd name="connsiteY6561" fmla="*/ 244316 h 514350"/>
                <a:gd name="connsiteX6562" fmla="*/ 1225391 w 6400800"/>
                <a:gd name="connsiteY6562" fmla="*/ 231934 h 514350"/>
                <a:gd name="connsiteX6563" fmla="*/ 1226344 w 6400800"/>
                <a:gd name="connsiteY6563" fmla="*/ 235744 h 514350"/>
                <a:gd name="connsiteX6564" fmla="*/ 1197769 w 6400800"/>
                <a:gd name="connsiteY6564" fmla="*/ 293846 h 514350"/>
                <a:gd name="connsiteX6565" fmla="*/ 1198721 w 6400800"/>
                <a:gd name="connsiteY6565" fmla="*/ 290036 h 514350"/>
                <a:gd name="connsiteX6566" fmla="*/ 1198721 w 6400800"/>
                <a:gd name="connsiteY6566" fmla="*/ 291941 h 514350"/>
                <a:gd name="connsiteX6567" fmla="*/ 1199674 w 6400800"/>
                <a:gd name="connsiteY6567" fmla="*/ 299561 h 514350"/>
                <a:gd name="connsiteX6568" fmla="*/ 1196816 w 6400800"/>
                <a:gd name="connsiteY6568" fmla="*/ 307181 h 514350"/>
                <a:gd name="connsiteX6569" fmla="*/ 1194911 w 6400800"/>
                <a:gd name="connsiteY6569" fmla="*/ 299561 h 514350"/>
                <a:gd name="connsiteX6570" fmla="*/ 1197769 w 6400800"/>
                <a:gd name="connsiteY6570" fmla="*/ 293846 h 514350"/>
                <a:gd name="connsiteX6571" fmla="*/ 1196816 w 6400800"/>
                <a:gd name="connsiteY6571" fmla="*/ 459581 h 514350"/>
                <a:gd name="connsiteX6572" fmla="*/ 1196816 w 6400800"/>
                <a:gd name="connsiteY6572" fmla="*/ 459581 h 514350"/>
                <a:gd name="connsiteX6573" fmla="*/ 1195864 w 6400800"/>
                <a:gd name="connsiteY6573" fmla="*/ 455771 h 514350"/>
                <a:gd name="connsiteX6574" fmla="*/ 1196816 w 6400800"/>
                <a:gd name="connsiteY6574" fmla="*/ 459581 h 514350"/>
                <a:gd name="connsiteX6575" fmla="*/ 1190149 w 6400800"/>
                <a:gd name="connsiteY6575" fmla="*/ 324326 h 514350"/>
                <a:gd name="connsiteX6576" fmla="*/ 1190149 w 6400800"/>
                <a:gd name="connsiteY6576" fmla="*/ 324326 h 514350"/>
                <a:gd name="connsiteX6577" fmla="*/ 1189196 w 6400800"/>
                <a:gd name="connsiteY6577" fmla="*/ 320516 h 514350"/>
                <a:gd name="connsiteX6578" fmla="*/ 1190149 w 6400800"/>
                <a:gd name="connsiteY6578" fmla="*/ 324326 h 514350"/>
                <a:gd name="connsiteX6579" fmla="*/ 1170146 w 6400800"/>
                <a:gd name="connsiteY6579" fmla="*/ 270986 h 514350"/>
                <a:gd name="connsiteX6580" fmla="*/ 1170146 w 6400800"/>
                <a:gd name="connsiteY6580" fmla="*/ 268129 h 514350"/>
                <a:gd name="connsiteX6581" fmla="*/ 1170146 w 6400800"/>
                <a:gd name="connsiteY6581" fmla="*/ 264319 h 514350"/>
                <a:gd name="connsiteX6582" fmla="*/ 1172051 w 6400800"/>
                <a:gd name="connsiteY6582" fmla="*/ 235744 h 514350"/>
                <a:gd name="connsiteX6583" fmla="*/ 1174909 w 6400800"/>
                <a:gd name="connsiteY6583" fmla="*/ 245269 h 514350"/>
                <a:gd name="connsiteX6584" fmla="*/ 1176814 w 6400800"/>
                <a:gd name="connsiteY6584" fmla="*/ 260509 h 514350"/>
                <a:gd name="connsiteX6585" fmla="*/ 1177766 w 6400800"/>
                <a:gd name="connsiteY6585" fmla="*/ 285274 h 514350"/>
                <a:gd name="connsiteX6586" fmla="*/ 1177766 w 6400800"/>
                <a:gd name="connsiteY6586" fmla="*/ 308134 h 514350"/>
                <a:gd name="connsiteX6587" fmla="*/ 1176814 w 6400800"/>
                <a:gd name="connsiteY6587" fmla="*/ 305276 h 514350"/>
                <a:gd name="connsiteX6588" fmla="*/ 1168241 w 6400800"/>
                <a:gd name="connsiteY6588" fmla="*/ 287179 h 514350"/>
                <a:gd name="connsiteX6589" fmla="*/ 1170146 w 6400800"/>
                <a:gd name="connsiteY6589" fmla="*/ 270986 h 514350"/>
                <a:gd name="connsiteX6590" fmla="*/ 1170146 w 6400800"/>
                <a:gd name="connsiteY6590" fmla="*/ 309086 h 514350"/>
                <a:gd name="connsiteX6591" fmla="*/ 1173956 w 6400800"/>
                <a:gd name="connsiteY6591" fmla="*/ 321469 h 514350"/>
                <a:gd name="connsiteX6592" fmla="*/ 1172051 w 6400800"/>
                <a:gd name="connsiteY6592" fmla="*/ 327184 h 514350"/>
                <a:gd name="connsiteX6593" fmla="*/ 1170146 w 6400800"/>
                <a:gd name="connsiteY6593" fmla="*/ 322421 h 514350"/>
                <a:gd name="connsiteX6594" fmla="*/ 1170146 w 6400800"/>
                <a:gd name="connsiteY6594" fmla="*/ 318611 h 514350"/>
                <a:gd name="connsiteX6595" fmla="*/ 1168241 w 6400800"/>
                <a:gd name="connsiteY6595" fmla="*/ 303371 h 514350"/>
                <a:gd name="connsiteX6596" fmla="*/ 1170146 w 6400800"/>
                <a:gd name="connsiteY6596" fmla="*/ 309086 h 514350"/>
                <a:gd name="connsiteX6597" fmla="*/ 1164431 w 6400800"/>
                <a:gd name="connsiteY6597" fmla="*/ 236696 h 514350"/>
                <a:gd name="connsiteX6598" fmla="*/ 1161574 w 6400800"/>
                <a:gd name="connsiteY6598" fmla="*/ 253841 h 514350"/>
                <a:gd name="connsiteX6599" fmla="*/ 1161574 w 6400800"/>
                <a:gd name="connsiteY6599" fmla="*/ 251936 h 514350"/>
                <a:gd name="connsiteX6600" fmla="*/ 1161574 w 6400800"/>
                <a:gd name="connsiteY6600" fmla="*/ 250984 h 514350"/>
                <a:gd name="connsiteX6601" fmla="*/ 1164431 w 6400800"/>
                <a:gd name="connsiteY6601" fmla="*/ 236696 h 514350"/>
                <a:gd name="connsiteX6602" fmla="*/ 1140619 w 6400800"/>
                <a:gd name="connsiteY6602" fmla="*/ 290036 h 514350"/>
                <a:gd name="connsiteX6603" fmla="*/ 1139666 w 6400800"/>
                <a:gd name="connsiteY6603" fmla="*/ 291941 h 514350"/>
                <a:gd name="connsiteX6604" fmla="*/ 1137761 w 6400800"/>
                <a:gd name="connsiteY6604" fmla="*/ 283369 h 514350"/>
                <a:gd name="connsiteX6605" fmla="*/ 1140619 w 6400800"/>
                <a:gd name="connsiteY6605" fmla="*/ 290036 h 514350"/>
                <a:gd name="connsiteX6606" fmla="*/ 1114901 w 6400800"/>
                <a:gd name="connsiteY6606" fmla="*/ 339566 h 514350"/>
                <a:gd name="connsiteX6607" fmla="*/ 1117759 w 6400800"/>
                <a:gd name="connsiteY6607" fmla="*/ 315754 h 514350"/>
                <a:gd name="connsiteX6608" fmla="*/ 1119664 w 6400800"/>
                <a:gd name="connsiteY6608" fmla="*/ 325279 h 514350"/>
                <a:gd name="connsiteX6609" fmla="*/ 1121569 w 6400800"/>
                <a:gd name="connsiteY6609" fmla="*/ 334804 h 514350"/>
                <a:gd name="connsiteX6610" fmla="*/ 1120616 w 6400800"/>
                <a:gd name="connsiteY6610" fmla="*/ 341471 h 514350"/>
                <a:gd name="connsiteX6611" fmla="*/ 1120616 w 6400800"/>
                <a:gd name="connsiteY6611" fmla="*/ 342424 h 514350"/>
                <a:gd name="connsiteX6612" fmla="*/ 1118711 w 6400800"/>
                <a:gd name="connsiteY6612" fmla="*/ 348139 h 514350"/>
                <a:gd name="connsiteX6613" fmla="*/ 1114901 w 6400800"/>
                <a:gd name="connsiteY6613" fmla="*/ 341471 h 514350"/>
                <a:gd name="connsiteX6614" fmla="*/ 1114901 w 6400800"/>
                <a:gd name="connsiteY6614" fmla="*/ 339566 h 514350"/>
                <a:gd name="connsiteX6615" fmla="*/ 1111091 w 6400800"/>
                <a:gd name="connsiteY6615" fmla="*/ 219551 h 514350"/>
                <a:gd name="connsiteX6616" fmla="*/ 1112044 w 6400800"/>
                <a:gd name="connsiteY6616" fmla="*/ 222409 h 514350"/>
                <a:gd name="connsiteX6617" fmla="*/ 1112996 w 6400800"/>
                <a:gd name="connsiteY6617" fmla="*/ 230029 h 514350"/>
                <a:gd name="connsiteX6618" fmla="*/ 1112996 w 6400800"/>
                <a:gd name="connsiteY6618" fmla="*/ 230029 h 514350"/>
                <a:gd name="connsiteX6619" fmla="*/ 1111091 w 6400800"/>
                <a:gd name="connsiteY6619" fmla="*/ 219551 h 514350"/>
                <a:gd name="connsiteX6620" fmla="*/ 1111091 w 6400800"/>
                <a:gd name="connsiteY6620" fmla="*/ 219551 h 514350"/>
                <a:gd name="connsiteX6621" fmla="*/ 1110139 w 6400800"/>
                <a:gd name="connsiteY6621" fmla="*/ 217646 h 514350"/>
                <a:gd name="connsiteX6622" fmla="*/ 1110139 w 6400800"/>
                <a:gd name="connsiteY6622" fmla="*/ 217646 h 514350"/>
                <a:gd name="connsiteX6623" fmla="*/ 1109186 w 6400800"/>
                <a:gd name="connsiteY6623" fmla="*/ 215741 h 514350"/>
                <a:gd name="connsiteX6624" fmla="*/ 1110139 w 6400800"/>
                <a:gd name="connsiteY6624" fmla="*/ 217646 h 514350"/>
                <a:gd name="connsiteX6625" fmla="*/ 1101566 w 6400800"/>
                <a:gd name="connsiteY6625" fmla="*/ 236696 h 514350"/>
                <a:gd name="connsiteX6626" fmla="*/ 1111091 w 6400800"/>
                <a:gd name="connsiteY6626" fmla="*/ 278606 h 514350"/>
                <a:gd name="connsiteX6627" fmla="*/ 1109186 w 6400800"/>
                <a:gd name="connsiteY6627" fmla="*/ 293846 h 514350"/>
                <a:gd name="connsiteX6628" fmla="*/ 1106329 w 6400800"/>
                <a:gd name="connsiteY6628" fmla="*/ 309086 h 514350"/>
                <a:gd name="connsiteX6629" fmla="*/ 1106329 w 6400800"/>
                <a:gd name="connsiteY6629" fmla="*/ 308134 h 514350"/>
                <a:gd name="connsiteX6630" fmla="*/ 1105376 w 6400800"/>
                <a:gd name="connsiteY6630" fmla="*/ 295751 h 514350"/>
                <a:gd name="connsiteX6631" fmla="*/ 1105376 w 6400800"/>
                <a:gd name="connsiteY6631" fmla="*/ 300514 h 514350"/>
                <a:gd name="connsiteX6632" fmla="*/ 1099661 w 6400800"/>
                <a:gd name="connsiteY6632" fmla="*/ 272891 h 514350"/>
                <a:gd name="connsiteX6633" fmla="*/ 1094899 w 6400800"/>
                <a:gd name="connsiteY6633" fmla="*/ 249079 h 514350"/>
                <a:gd name="connsiteX6634" fmla="*/ 1101566 w 6400800"/>
                <a:gd name="connsiteY6634" fmla="*/ 236696 h 514350"/>
                <a:gd name="connsiteX6635" fmla="*/ 1027271 w 6400800"/>
                <a:gd name="connsiteY6635" fmla="*/ 325279 h 514350"/>
                <a:gd name="connsiteX6636" fmla="*/ 1030129 w 6400800"/>
                <a:gd name="connsiteY6636" fmla="*/ 310991 h 514350"/>
                <a:gd name="connsiteX6637" fmla="*/ 1034891 w 6400800"/>
                <a:gd name="connsiteY6637" fmla="*/ 297656 h 514350"/>
                <a:gd name="connsiteX6638" fmla="*/ 1039654 w 6400800"/>
                <a:gd name="connsiteY6638" fmla="*/ 288131 h 514350"/>
                <a:gd name="connsiteX6639" fmla="*/ 1042511 w 6400800"/>
                <a:gd name="connsiteY6639" fmla="*/ 299561 h 514350"/>
                <a:gd name="connsiteX6640" fmla="*/ 1039654 w 6400800"/>
                <a:gd name="connsiteY6640" fmla="*/ 305276 h 514350"/>
                <a:gd name="connsiteX6641" fmla="*/ 1028224 w 6400800"/>
                <a:gd name="connsiteY6641" fmla="*/ 330994 h 514350"/>
                <a:gd name="connsiteX6642" fmla="*/ 1027271 w 6400800"/>
                <a:gd name="connsiteY6642" fmla="*/ 325279 h 514350"/>
                <a:gd name="connsiteX6643" fmla="*/ 1040606 w 6400800"/>
                <a:gd name="connsiteY6643" fmla="*/ 374809 h 514350"/>
                <a:gd name="connsiteX6644" fmla="*/ 1039654 w 6400800"/>
                <a:gd name="connsiteY6644" fmla="*/ 370999 h 514350"/>
                <a:gd name="connsiteX6645" fmla="*/ 1045369 w 6400800"/>
                <a:gd name="connsiteY6645" fmla="*/ 355759 h 514350"/>
                <a:gd name="connsiteX6646" fmla="*/ 1047274 w 6400800"/>
                <a:gd name="connsiteY6646" fmla="*/ 364331 h 514350"/>
                <a:gd name="connsiteX6647" fmla="*/ 1048226 w 6400800"/>
                <a:gd name="connsiteY6647" fmla="*/ 386239 h 514350"/>
                <a:gd name="connsiteX6648" fmla="*/ 1044416 w 6400800"/>
                <a:gd name="connsiteY6648" fmla="*/ 384334 h 514350"/>
                <a:gd name="connsiteX6649" fmla="*/ 1040606 w 6400800"/>
                <a:gd name="connsiteY6649" fmla="*/ 374809 h 514350"/>
                <a:gd name="connsiteX6650" fmla="*/ 1046321 w 6400800"/>
                <a:gd name="connsiteY6650" fmla="*/ 389096 h 514350"/>
                <a:gd name="connsiteX6651" fmla="*/ 1048226 w 6400800"/>
                <a:gd name="connsiteY6651" fmla="*/ 391001 h 514350"/>
                <a:gd name="connsiteX6652" fmla="*/ 1048226 w 6400800"/>
                <a:gd name="connsiteY6652" fmla="*/ 392906 h 514350"/>
                <a:gd name="connsiteX6653" fmla="*/ 1046321 w 6400800"/>
                <a:gd name="connsiteY6653" fmla="*/ 389096 h 514350"/>
                <a:gd name="connsiteX6654" fmla="*/ 1056799 w 6400800"/>
                <a:gd name="connsiteY6654" fmla="*/ 292894 h 514350"/>
                <a:gd name="connsiteX6655" fmla="*/ 1061561 w 6400800"/>
                <a:gd name="connsiteY6655" fmla="*/ 282416 h 514350"/>
                <a:gd name="connsiteX6656" fmla="*/ 1066324 w 6400800"/>
                <a:gd name="connsiteY6656" fmla="*/ 271939 h 514350"/>
                <a:gd name="connsiteX6657" fmla="*/ 1066324 w 6400800"/>
                <a:gd name="connsiteY6657" fmla="*/ 273844 h 514350"/>
                <a:gd name="connsiteX6658" fmla="*/ 1067276 w 6400800"/>
                <a:gd name="connsiteY6658" fmla="*/ 278606 h 514350"/>
                <a:gd name="connsiteX6659" fmla="*/ 1063466 w 6400800"/>
                <a:gd name="connsiteY6659" fmla="*/ 285274 h 514350"/>
                <a:gd name="connsiteX6660" fmla="*/ 1057751 w 6400800"/>
                <a:gd name="connsiteY6660" fmla="*/ 295751 h 514350"/>
                <a:gd name="connsiteX6661" fmla="*/ 1056799 w 6400800"/>
                <a:gd name="connsiteY6661" fmla="*/ 292894 h 514350"/>
                <a:gd name="connsiteX6662" fmla="*/ 1059656 w 6400800"/>
                <a:gd name="connsiteY6662" fmla="*/ 360521 h 514350"/>
                <a:gd name="connsiteX6663" fmla="*/ 1059656 w 6400800"/>
                <a:gd name="connsiteY6663" fmla="*/ 360521 h 514350"/>
                <a:gd name="connsiteX6664" fmla="*/ 1059656 w 6400800"/>
                <a:gd name="connsiteY6664" fmla="*/ 360521 h 514350"/>
                <a:gd name="connsiteX6665" fmla="*/ 1059656 w 6400800"/>
                <a:gd name="connsiteY6665" fmla="*/ 360521 h 514350"/>
                <a:gd name="connsiteX6666" fmla="*/ 1064419 w 6400800"/>
                <a:gd name="connsiteY6666" fmla="*/ 383381 h 514350"/>
                <a:gd name="connsiteX6667" fmla="*/ 1062514 w 6400800"/>
                <a:gd name="connsiteY6667" fmla="*/ 379571 h 514350"/>
                <a:gd name="connsiteX6668" fmla="*/ 1063466 w 6400800"/>
                <a:gd name="connsiteY6668" fmla="*/ 374809 h 514350"/>
                <a:gd name="connsiteX6669" fmla="*/ 1064419 w 6400800"/>
                <a:gd name="connsiteY6669" fmla="*/ 378619 h 514350"/>
                <a:gd name="connsiteX6670" fmla="*/ 1064419 w 6400800"/>
                <a:gd name="connsiteY6670" fmla="*/ 380524 h 514350"/>
                <a:gd name="connsiteX6671" fmla="*/ 1065371 w 6400800"/>
                <a:gd name="connsiteY6671" fmla="*/ 386239 h 514350"/>
                <a:gd name="connsiteX6672" fmla="*/ 1064419 w 6400800"/>
                <a:gd name="connsiteY6672" fmla="*/ 383381 h 514350"/>
                <a:gd name="connsiteX6673" fmla="*/ 1069181 w 6400800"/>
                <a:gd name="connsiteY6673" fmla="*/ 330994 h 514350"/>
                <a:gd name="connsiteX6674" fmla="*/ 1063466 w 6400800"/>
                <a:gd name="connsiteY6674" fmla="*/ 312896 h 514350"/>
                <a:gd name="connsiteX6675" fmla="*/ 1069181 w 6400800"/>
                <a:gd name="connsiteY6675" fmla="*/ 300514 h 514350"/>
                <a:gd name="connsiteX6676" fmla="*/ 1070134 w 6400800"/>
                <a:gd name="connsiteY6676" fmla="*/ 326231 h 514350"/>
                <a:gd name="connsiteX6677" fmla="*/ 1069181 w 6400800"/>
                <a:gd name="connsiteY6677" fmla="*/ 330994 h 514350"/>
                <a:gd name="connsiteX6678" fmla="*/ 1077754 w 6400800"/>
                <a:gd name="connsiteY6678" fmla="*/ 262414 h 514350"/>
                <a:gd name="connsiteX6679" fmla="*/ 1075849 w 6400800"/>
                <a:gd name="connsiteY6679" fmla="*/ 264319 h 514350"/>
                <a:gd name="connsiteX6680" fmla="*/ 1073944 w 6400800"/>
                <a:gd name="connsiteY6680" fmla="*/ 256699 h 514350"/>
                <a:gd name="connsiteX6681" fmla="*/ 1074896 w 6400800"/>
                <a:gd name="connsiteY6681" fmla="*/ 256699 h 514350"/>
                <a:gd name="connsiteX6682" fmla="*/ 1075849 w 6400800"/>
                <a:gd name="connsiteY6682" fmla="*/ 256699 h 514350"/>
                <a:gd name="connsiteX6683" fmla="*/ 1077754 w 6400800"/>
                <a:gd name="connsiteY6683" fmla="*/ 262414 h 514350"/>
                <a:gd name="connsiteX6684" fmla="*/ 1045369 w 6400800"/>
                <a:gd name="connsiteY6684" fmla="*/ 175736 h 514350"/>
                <a:gd name="connsiteX6685" fmla="*/ 1054894 w 6400800"/>
                <a:gd name="connsiteY6685" fmla="*/ 153829 h 514350"/>
                <a:gd name="connsiteX6686" fmla="*/ 1055846 w 6400800"/>
                <a:gd name="connsiteY6686" fmla="*/ 155734 h 514350"/>
                <a:gd name="connsiteX6687" fmla="*/ 1059656 w 6400800"/>
                <a:gd name="connsiteY6687" fmla="*/ 171926 h 514350"/>
                <a:gd name="connsiteX6688" fmla="*/ 1064419 w 6400800"/>
                <a:gd name="connsiteY6688" fmla="*/ 193834 h 514350"/>
                <a:gd name="connsiteX6689" fmla="*/ 1069181 w 6400800"/>
                <a:gd name="connsiteY6689" fmla="*/ 215741 h 514350"/>
                <a:gd name="connsiteX6690" fmla="*/ 1076801 w 6400800"/>
                <a:gd name="connsiteY6690" fmla="*/ 253841 h 514350"/>
                <a:gd name="connsiteX6691" fmla="*/ 1074896 w 6400800"/>
                <a:gd name="connsiteY6691" fmla="*/ 252889 h 514350"/>
                <a:gd name="connsiteX6692" fmla="*/ 1067276 w 6400800"/>
                <a:gd name="connsiteY6692" fmla="*/ 216694 h 514350"/>
                <a:gd name="connsiteX6693" fmla="*/ 1068229 w 6400800"/>
                <a:gd name="connsiteY6693" fmla="*/ 257651 h 514350"/>
                <a:gd name="connsiteX6694" fmla="*/ 1067276 w 6400800"/>
                <a:gd name="connsiteY6694" fmla="*/ 259556 h 514350"/>
                <a:gd name="connsiteX6695" fmla="*/ 1065371 w 6400800"/>
                <a:gd name="connsiteY6695" fmla="*/ 252889 h 514350"/>
                <a:gd name="connsiteX6696" fmla="*/ 1066324 w 6400800"/>
                <a:gd name="connsiteY6696" fmla="*/ 261461 h 514350"/>
                <a:gd name="connsiteX6697" fmla="*/ 1055846 w 6400800"/>
                <a:gd name="connsiteY6697" fmla="*/ 278606 h 514350"/>
                <a:gd name="connsiteX6698" fmla="*/ 1054894 w 6400800"/>
                <a:gd name="connsiteY6698" fmla="*/ 280511 h 514350"/>
                <a:gd name="connsiteX6699" fmla="*/ 1053941 w 6400800"/>
                <a:gd name="connsiteY6699" fmla="*/ 277654 h 514350"/>
                <a:gd name="connsiteX6700" fmla="*/ 1043464 w 6400800"/>
                <a:gd name="connsiteY6700" fmla="*/ 245269 h 514350"/>
                <a:gd name="connsiteX6701" fmla="*/ 1035844 w 6400800"/>
                <a:gd name="connsiteY6701" fmla="*/ 220504 h 514350"/>
                <a:gd name="connsiteX6702" fmla="*/ 1032034 w 6400800"/>
                <a:gd name="connsiteY6702" fmla="*/ 209074 h 514350"/>
                <a:gd name="connsiteX6703" fmla="*/ 1045369 w 6400800"/>
                <a:gd name="connsiteY6703" fmla="*/ 175736 h 514350"/>
                <a:gd name="connsiteX6704" fmla="*/ 1019651 w 6400800"/>
                <a:gd name="connsiteY6704" fmla="*/ 267176 h 514350"/>
                <a:gd name="connsiteX6705" fmla="*/ 1023461 w 6400800"/>
                <a:gd name="connsiteY6705" fmla="*/ 221456 h 514350"/>
                <a:gd name="connsiteX6706" fmla="*/ 1024414 w 6400800"/>
                <a:gd name="connsiteY6706" fmla="*/ 218599 h 514350"/>
                <a:gd name="connsiteX6707" fmla="*/ 1032034 w 6400800"/>
                <a:gd name="connsiteY6707" fmla="*/ 253841 h 514350"/>
                <a:gd name="connsiteX6708" fmla="*/ 1038701 w 6400800"/>
                <a:gd name="connsiteY6708" fmla="*/ 283369 h 514350"/>
                <a:gd name="connsiteX6709" fmla="*/ 1037749 w 6400800"/>
                <a:gd name="connsiteY6709" fmla="*/ 284321 h 514350"/>
                <a:gd name="connsiteX6710" fmla="*/ 1031081 w 6400800"/>
                <a:gd name="connsiteY6710" fmla="*/ 294799 h 514350"/>
                <a:gd name="connsiteX6711" fmla="*/ 1025366 w 6400800"/>
                <a:gd name="connsiteY6711" fmla="*/ 306229 h 514350"/>
                <a:gd name="connsiteX6712" fmla="*/ 1023461 w 6400800"/>
                <a:gd name="connsiteY6712" fmla="*/ 284321 h 514350"/>
                <a:gd name="connsiteX6713" fmla="*/ 1022509 w 6400800"/>
                <a:gd name="connsiteY6713" fmla="*/ 269081 h 514350"/>
                <a:gd name="connsiteX6714" fmla="*/ 1019651 w 6400800"/>
                <a:gd name="connsiteY6714" fmla="*/ 284321 h 514350"/>
                <a:gd name="connsiteX6715" fmla="*/ 1015841 w 6400800"/>
                <a:gd name="connsiteY6715" fmla="*/ 314801 h 514350"/>
                <a:gd name="connsiteX6716" fmla="*/ 1015841 w 6400800"/>
                <a:gd name="connsiteY6716" fmla="*/ 315754 h 514350"/>
                <a:gd name="connsiteX6717" fmla="*/ 1015841 w 6400800"/>
                <a:gd name="connsiteY6717" fmla="*/ 315754 h 514350"/>
                <a:gd name="connsiteX6718" fmla="*/ 1022509 w 6400800"/>
                <a:gd name="connsiteY6718" fmla="*/ 251936 h 514350"/>
                <a:gd name="connsiteX6719" fmla="*/ 1019651 w 6400800"/>
                <a:gd name="connsiteY6719" fmla="*/ 267176 h 514350"/>
                <a:gd name="connsiteX6720" fmla="*/ 1011079 w 6400800"/>
                <a:gd name="connsiteY6720" fmla="*/ 364331 h 514350"/>
                <a:gd name="connsiteX6721" fmla="*/ 1012031 w 6400800"/>
                <a:gd name="connsiteY6721" fmla="*/ 355759 h 514350"/>
                <a:gd name="connsiteX6722" fmla="*/ 1013936 w 6400800"/>
                <a:gd name="connsiteY6722" fmla="*/ 342424 h 514350"/>
                <a:gd name="connsiteX6723" fmla="*/ 1013936 w 6400800"/>
                <a:gd name="connsiteY6723" fmla="*/ 342424 h 514350"/>
                <a:gd name="connsiteX6724" fmla="*/ 1012031 w 6400800"/>
                <a:gd name="connsiteY6724" fmla="*/ 364331 h 514350"/>
                <a:gd name="connsiteX6725" fmla="*/ 1011079 w 6400800"/>
                <a:gd name="connsiteY6725" fmla="*/ 366236 h 514350"/>
                <a:gd name="connsiteX6726" fmla="*/ 1011079 w 6400800"/>
                <a:gd name="connsiteY6726" fmla="*/ 366236 h 514350"/>
                <a:gd name="connsiteX6727" fmla="*/ 1011079 w 6400800"/>
                <a:gd name="connsiteY6727" fmla="*/ 364331 h 514350"/>
                <a:gd name="connsiteX6728" fmla="*/ 1004411 w 6400800"/>
                <a:gd name="connsiteY6728" fmla="*/ 257651 h 514350"/>
                <a:gd name="connsiteX6729" fmla="*/ 1001554 w 6400800"/>
                <a:gd name="connsiteY6729" fmla="*/ 281464 h 514350"/>
                <a:gd name="connsiteX6730" fmla="*/ 996791 w 6400800"/>
                <a:gd name="connsiteY6730" fmla="*/ 271939 h 514350"/>
                <a:gd name="connsiteX6731" fmla="*/ 1004411 w 6400800"/>
                <a:gd name="connsiteY6731" fmla="*/ 257651 h 514350"/>
                <a:gd name="connsiteX6732" fmla="*/ 991076 w 6400800"/>
                <a:gd name="connsiteY6732" fmla="*/ 283369 h 514350"/>
                <a:gd name="connsiteX6733" fmla="*/ 995839 w 6400800"/>
                <a:gd name="connsiteY6733" fmla="*/ 273844 h 514350"/>
                <a:gd name="connsiteX6734" fmla="*/ 999649 w 6400800"/>
                <a:gd name="connsiteY6734" fmla="*/ 291941 h 514350"/>
                <a:gd name="connsiteX6735" fmla="*/ 995839 w 6400800"/>
                <a:gd name="connsiteY6735" fmla="*/ 326231 h 514350"/>
                <a:gd name="connsiteX6736" fmla="*/ 993934 w 6400800"/>
                <a:gd name="connsiteY6736" fmla="*/ 330994 h 514350"/>
                <a:gd name="connsiteX6737" fmla="*/ 992981 w 6400800"/>
                <a:gd name="connsiteY6737" fmla="*/ 320516 h 514350"/>
                <a:gd name="connsiteX6738" fmla="*/ 991076 w 6400800"/>
                <a:gd name="connsiteY6738" fmla="*/ 338614 h 514350"/>
                <a:gd name="connsiteX6739" fmla="*/ 990124 w 6400800"/>
                <a:gd name="connsiteY6739" fmla="*/ 341471 h 514350"/>
                <a:gd name="connsiteX6740" fmla="*/ 981551 w 6400800"/>
                <a:gd name="connsiteY6740" fmla="*/ 365284 h 514350"/>
                <a:gd name="connsiteX6741" fmla="*/ 980599 w 6400800"/>
                <a:gd name="connsiteY6741" fmla="*/ 363379 h 514350"/>
                <a:gd name="connsiteX6742" fmla="*/ 977741 w 6400800"/>
                <a:gd name="connsiteY6742" fmla="*/ 331946 h 514350"/>
                <a:gd name="connsiteX6743" fmla="*/ 975836 w 6400800"/>
                <a:gd name="connsiteY6743" fmla="*/ 311944 h 514350"/>
                <a:gd name="connsiteX6744" fmla="*/ 991076 w 6400800"/>
                <a:gd name="connsiteY6744" fmla="*/ 283369 h 514350"/>
                <a:gd name="connsiteX6745" fmla="*/ 960596 w 6400800"/>
                <a:gd name="connsiteY6745" fmla="*/ 298609 h 514350"/>
                <a:gd name="connsiteX6746" fmla="*/ 968216 w 6400800"/>
                <a:gd name="connsiteY6746" fmla="*/ 280511 h 514350"/>
                <a:gd name="connsiteX6747" fmla="*/ 967264 w 6400800"/>
                <a:gd name="connsiteY6747" fmla="*/ 294799 h 514350"/>
                <a:gd name="connsiteX6748" fmla="*/ 961549 w 6400800"/>
                <a:gd name="connsiteY6748" fmla="*/ 304324 h 514350"/>
                <a:gd name="connsiteX6749" fmla="*/ 961549 w 6400800"/>
                <a:gd name="connsiteY6749" fmla="*/ 303371 h 514350"/>
                <a:gd name="connsiteX6750" fmla="*/ 960596 w 6400800"/>
                <a:gd name="connsiteY6750" fmla="*/ 301466 h 514350"/>
                <a:gd name="connsiteX6751" fmla="*/ 960596 w 6400800"/>
                <a:gd name="connsiteY6751" fmla="*/ 298609 h 514350"/>
                <a:gd name="connsiteX6752" fmla="*/ 939641 w 6400800"/>
                <a:gd name="connsiteY6752" fmla="*/ 258604 h 514350"/>
                <a:gd name="connsiteX6753" fmla="*/ 939641 w 6400800"/>
                <a:gd name="connsiteY6753" fmla="*/ 258604 h 514350"/>
                <a:gd name="connsiteX6754" fmla="*/ 943451 w 6400800"/>
                <a:gd name="connsiteY6754" fmla="*/ 246221 h 514350"/>
                <a:gd name="connsiteX6755" fmla="*/ 943451 w 6400800"/>
                <a:gd name="connsiteY6755" fmla="*/ 251936 h 514350"/>
                <a:gd name="connsiteX6756" fmla="*/ 939641 w 6400800"/>
                <a:gd name="connsiteY6756" fmla="*/ 258604 h 514350"/>
                <a:gd name="connsiteX6757" fmla="*/ 939641 w 6400800"/>
                <a:gd name="connsiteY6757" fmla="*/ 258604 h 514350"/>
                <a:gd name="connsiteX6758" fmla="*/ 944404 w 6400800"/>
                <a:gd name="connsiteY6758" fmla="*/ 280511 h 514350"/>
                <a:gd name="connsiteX6759" fmla="*/ 943451 w 6400800"/>
                <a:gd name="connsiteY6759" fmla="*/ 273844 h 514350"/>
                <a:gd name="connsiteX6760" fmla="*/ 944404 w 6400800"/>
                <a:gd name="connsiteY6760" fmla="*/ 270986 h 514350"/>
                <a:gd name="connsiteX6761" fmla="*/ 944404 w 6400800"/>
                <a:gd name="connsiteY6761" fmla="*/ 271939 h 514350"/>
                <a:gd name="connsiteX6762" fmla="*/ 944404 w 6400800"/>
                <a:gd name="connsiteY6762" fmla="*/ 275749 h 514350"/>
                <a:gd name="connsiteX6763" fmla="*/ 944404 w 6400800"/>
                <a:gd name="connsiteY6763" fmla="*/ 280511 h 514350"/>
                <a:gd name="connsiteX6764" fmla="*/ 944404 w 6400800"/>
                <a:gd name="connsiteY6764" fmla="*/ 270986 h 514350"/>
                <a:gd name="connsiteX6765" fmla="*/ 944404 w 6400800"/>
                <a:gd name="connsiteY6765" fmla="*/ 270986 h 514350"/>
                <a:gd name="connsiteX6766" fmla="*/ 944404 w 6400800"/>
                <a:gd name="connsiteY6766" fmla="*/ 270986 h 514350"/>
                <a:gd name="connsiteX6767" fmla="*/ 944404 w 6400800"/>
                <a:gd name="connsiteY6767" fmla="*/ 270986 h 514350"/>
                <a:gd name="connsiteX6768" fmla="*/ 933926 w 6400800"/>
                <a:gd name="connsiteY6768" fmla="*/ 227171 h 514350"/>
                <a:gd name="connsiteX6769" fmla="*/ 958691 w 6400800"/>
                <a:gd name="connsiteY6769" fmla="*/ 138589 h 514350"/>
                <a:gd name="connsiteX6770" fmla="*/ 958691 w 6400800"/>
                <a:gd name="connsiteY6770" fmla="*/ 146209 h 514350"/>
                <a:gd name="connsiteX6771" fmla="*/ 953929 w 6400800"/>
                <a:gd name="connsiteY6771" fmla="*/ 203359 h 514350"/>
                <a:gd name="connsiteX6772" fmla="*/ 950119 w 6400800"/>
                <a:gd name="connsiteY6772" fmla="*/ 242411 h 514350"/>
                <a:gd name="connsiteX6773" fmla="*/ 948214 w 6400800"/>
                <a:gd name="connsiteY6773" fmla="*/ 246221 h 514350"/>
                <a:gd name="connsiteX6774" fmla="*/ 947261 w 6400800"/>
                <a:gd name="connsiteY6774" fmla="*/ 240506 h 514350"/>
                <a:gd name="connsiteX6775" fmla="*/ 949166 w 6400800"/>
                <a:gd name="connsiteY6775" fmla="*/ 233839 h 514350"/>
                <a:gd name="connsiteX6776" fmla="*/ 946309 w 6400800"/>
                <a:gd name="connsiteY6776" fmla="*/ 238601 h 514350"/>
                <a:gd name="connsiteX6777" fmla="*/ 944404 w 6400800"/>
                <a:gd name="connsiteY6777" fmla="*/ 230029 h 514350"/>
                <a:gd name="connsiteX6778" fmla="*/ 944404 w 6400800"/>
                <a:gd name="connsiteY6778" fmla="*/ 241459 h 514350"/>
                <a:gd name="connsiteX6779" fmla="*/ 939641 w 6400800"/>
                <a:gd name="connsiteY6779" fmla="*/ 251936 h 514350"/>
                <a:gd name="connsiteX6780" fmla="*/ 938689 w 6400800"/>
                <a:gd name="connsiteY6780" fmla="*/ 248126 h 514350"/>
                <a:gd name="connsiteX6781" fmla="*/ 936784 w 6400800"/>
                <a:gd name="connsiteY6781" fmla="*/ 241459 h 514350"/>
                <a:gd name="connsiteX6782" fmla="*/ 943451 w 6400800"/>
                <a:gd name="connsiteY6782" fmla="*/ 217646 h 514350"/>
                <a:gd name="connsiteX6783" fmla="*/ 934879 w 6400800"/>
                <a:gd name="connsiteY6783" fmla="*/ 235744 h 514350"/>
                <a:gd name="connsiteX6784" fmla="*/ 932974 w 6400800"/>
                <a:gd name="connsiteY6784" fmla="*/ 230029 h 514350"/>
                <a:gd name="connsiteX6785" fmla="*/ 933926 w 6400800"/>
                <a:gd name="connsiteY6785" fmla="*/ 227171 h 514350"/>
                <a:gd name="connsiteX6786" fmla="*/ 921544 w 6400800"/>
                <a:gd name="connsiteY6786" fmla="*/ 452914 h 514350"/>
                <a:gd name="connsiteX6787" fmla="*/ 920591 w 6400800"/>
                <a:gd name="connsiteY6787" fmla="*/ 451961 h 514350"/>
                <a:gd name="connsiteX6788" fmla="*/ 919639 w 6400800"/>
                <a:gd name="connsiteY6788" fmla="*/ 438626 h 514350"/>
                <a:gd name="connsiteX6789" fmla="*/ 921544 w 6400800"/>
                <a:gd name="connsiteY6789" fmla="*/ 452914 h 514350"/>
                <a:gd name="connsiteX6790" fmla="*/ 912019 w 6400800"/>
                <a:gd name="connsiteY6790" fmla="*/ 210979 h 514350"/>
                <a:gd name="connsiteX6791" fmla="*/ 915829 w 6400800"/>
                <a:gd name="connsiteY6791" fmla="*/ 227171 h 514350"/>
                <a:gd name="connsiteX6792" fmla="*/ 914876 w 6400800"/>
                <a:gd name="connsiteY6792" fmla="*/ 230029 h 514350"/>
                <a:gd name="connsiteX6793" fmla="*/ 912971 w 6400800"/>
                <a:gd name="connsiteY6793" fmla="*/ 236696 h 514350"/>
                <a:gd name="connsiteX6794" fmla="*/ 912019 w 6400800"/>
                <a:gd name="connsiteY6794" fmla="*/ 232886 h 514350"/>
                <a:gd name="connsiteX6795" fmla="*/ 912019 w 6400800"/>
                <a:gd name="connsiteY6795" fmla="*/ 228124 h 514350"/>
                <a:gd name="connsiteX6796" fmla="*/ 911066 w 6400800"/>
                <a:gd name="connsiteY6796" fmla="*/ 210979 h 514350"/>
                <a:gd name="connsiteX6797" fmla="*/ 911066 w 6400800"/>
                <a:gd name="connsiteY6797" fmla="*/ 204311 h 514350"/>
                <a:gd name="connsiteX6798" fmla="*/ 912019 w 6400800"/>
                <a:gd name="connsiteY6798" fmla="*/ 210979 h 514350"/>
                <a:gd name="connsiteX6799" fmla="*/ 833914 w 6400800"/>
                <a:gd name="connsiteY6799" fmla="*/ 333851 h 514350"/>
                <a:gd name="connsiteX6800" fmla="*/ 834866 w 6400800"/>
                <a:gd name="connsiteY6800" fmla="*/ 331946 h 514350"/>
                <a:gd name="connsiteX6801" fmla="*/ 834866 w 6400800"/>
                <a:gd name="connsiteY6801" fmla="*/ 337661 h 514350"/>
                <a:gd name="connsiteX6802" fmla="*/ 833914 w 6400800"/>
                <a:gd name="connsiteY6802" fmla="*/ 333851 h 514350"/>
                <a:gd name="connsiteX6803" fmla="*/ 847249 w 6400800"/>
                <a:gd name="connsiteY6803" fmla="*/ 304324 h 514350"/>
                <a:gd name="connsiteX6804" fmla="*/ 846296 w 6400800"/>
                <a:gd name="connsiteY6804" fmla="*/ 301466 h 514350"/>
                <a:gd name="connsiteX6805" fmla="*/ 846296 w 6400800"/>
                <a:gd name="connsiteY6805" fmla="*/ 299561 h 514350"/>
                <a:gd name="connsiteX6806" fmla="*/ 851059 w 6400800"/>
                <a:gd name="connsiteY6806" fmla="*/ 286226 h 514350"/>
                <a:gd name="connsiteX6807" fmla="*/ 847249 w 6400800"/>
                <a:gd name="connsiteY6807" fmla="*/ 304324 h 514350"/>
                <a:gd name="connsiteX6808" fmla="*/ 880586 w 6400800"/>
                <a:gd name="connsiteY6808" fmla="*/ 300514 h 514350"/>
                <a:gd name="connsiteX6809" fmla="*/ 876776 w 6400800"/>
                <a:gd name="connsiteY6809" fmla="*/ 319564 h 514350"/>
                <a:gd name="connsiteX6810" fmla="*/ 872966 w 6400800"/>
                <a:gd name="connsiteY6810" fmla="*/ 343376 h 514350"/>
                <a:gd name="connsiteX6811" fmla="*/ 869156 w 6400800"/>
                <a:gd name="connsiteY6811" fmla="*/ 350996 h 514350"/>
                <a:gd name="connsiteX6812" fmla="*/ 868204 w 6400800"/>
                <a:gd name="connsiteY6812" fmla="*/ 349091 h 514350"/>
                <a:gd name="connsiteX6813" fmla="*/ 867251 w 6400800"/>
                <a:gd name="connsiteY6813" fmla="*/ 348139 h 514350"/>
                <a:gd name="connsiteX6814" fmla="*/ 867251 w 6400800"/>
                <a:gd name="connsiteY6814" fmla="*/ 335756 h 514350"/>
                <a:gd name="connsiteX6815" fmla="*/ 866299 w 6400800"/>
                <a:gd name="connsiteY6815" fmla="*/ 301466 h 514350"/>
                <a:gd name="connsiteX6816" fmla="*/ 863441 w 6400800"/>
                <a:gd name="connsiteY6816" fmla="*/ 272891 h 514350"/>
                <a:gd name="connsiteX6817" fmla="*/ 861536 w 6400800"/>
                <a:gd name="connsiteY6817" fmla="*/ 257651 h 514350"/>
                <a:gd name="connsiteX6818" fmla="*/ 862489 w 6400800"/>
                <a:gd name="connsiteY6818" fmla="*/ 255746 h 514350"/>
                <a:gd name="connsiteX6819" fmla="*/ 862489 w 6400800"/>
                <a:gd name="connsiteY6819" fmla="*/ 255746 h 514350"/>
                <a:gd name="connsiteX6820" fmla="*/ 876776 w 6400800"/>
                <a:gd name="connsiteY6820" fmla="*/ 286226 h 514350"/>
                <a:gd name="connsiteX6821" fmla="*/ 881539 w 6400800"/>
                <a:gd name="connsiteY6821" fmla="*/ 296704 h 514350"/>
                <a:gd name="connsiteX6822" fmla="*/ 880586 w 6400800"/>
                <a:gd name="connsiteY6822" fmla="*/ 300514 h 514350"/>
                <a:gd name="connsiteX6823" fmla="*/ 885349 w 6400800"/>
                <a:gd name="connsiteY6823" fmla="*/ 318611 h 514350"/>
                <a:gd name="connsiteX6824" fmla="*/ 884396 w 6400800"/>
                <a:gd name="connsiteY6824" fmla="*/ 319564 h 514350"/>
                <a:gd name="connsiteX6825" fmla="*/ 883444 w 6400800"/>
                <a:gd name="connsiteY6825" fmla="*/ 320516 h 514350"/>
                <a:gd name="connsiteX6826" fmla="*/ 884396 w 6400800"/>
                <a:gd name="connsiteY6826" fmla="*/ 303371 h 514350"/>
                <a:gd name="connsiteX6827" fmla="*/ 887254 w 6400800"/>
                <a:gd name="connsiteY6827" fmla="*/ 310039 h 514350"/>
                <a:gd name="connsiteX6828" fmla="*/ 885349 w 6400800"/>
                <a:gd name="connsiteY6828" fmla="*/ 318611 h 514350"/>
                <a:gd name="connsiteX6829" fmla="*/ 900589 w 6400800"/>
                <a:gd name="connsiteY6829" fmla="*/ 246221 h 514350"/>
                <a:gd name="connsiteX6830" fmla="*/ 900589 w 6400800"/>
                <a:gd name="connsiteY6830" fmla="*/ 246221 h 514350"/>
                <a:gd name="connsiteX6831" fmla="*/ 898684 w 6400800"/>
                <a:gd name="connsiteY6831" fmla="*/ 234791 h 514350"/>
                <a:gd name="connsiteX6832" fmla="*/ 897731 w 6400800"/>
                <a:gd name="connsiteY6832" fmla="*/ 252889 h 514350"/>
                <a:gd name="connsiteX6833" fmla="*/ 897731 w 6400800"/>
                <a:gd name="connsiteY6833" fmla="*/ 253841 h 514350"/>
                <a:gd name="connsiteX6834" fmla="*/ 894874 w 6400800"/>
                <a:gd name="connsiteY6834" fmla="*/ 250031 h 514350"/>
                <a:gd name="connsiteX6835" fmla="*/ 897731 w 6400800"/>
                <a:gd name="connsiteY6835" fmla="*/ 254794 h 514350"/>
                <a:gd name="connsiteX6836" fmla="*/ 897731 w 6400800"/>
                <a:gd name="connsiteY6836" fmla="*/ 257651 h 514350"/>
                <a:gd name="connsiteX6837" fmla="*/ 896779 w 6400800"/>
                <a:gd name="connsiteY6837" fmla="*/ 264319 h 514350"/>
                <a:gd name="connsiteX6838" fmla="*/ 896779 w 6400800"/>
                <a:gd name="connsiteY6838" fmla="*/ 264319 h 514350"/>
                <a:gd name="connsiteX6839" fmla="*/ 896779 w 6400800"/>
                <a:gd name="connsiteY6839" fmla="*/ 264319 h 514350"/>
                <a:gd name="connsiteX6840" fmla="*/ 896779 w 6400800"/>
                <a:gd name="connsiteY6840" fmla="*/ 265271 h 514350"/>
                <a:gd name="connsiteX6841" fmla="*/ 896779 w 6400800"/>
                <a:gd name="connsiteY6841" fmla="*/ 270986 h 514350"/>
                <a:gd name="connsiteX6842" fmla="*/ 896779 w 6400800"/>
                <a:gd name="connsiteY6842" fmla="*/ 272891 h 514350"/>
                <a:gd name="connsiteX6843" fmla="*/ 895826 w 6400800"/>
                <a:gd name="connsiteY6843" fmla="*/ 285274 h 514350"/>
                <a:gd name="connsiteX6844" fmla="*/ 895826 w 6400800"/>
                <a:gd name="connsiteY6844" fmla="*/ 287179 h 514350"/>
                <a:gd name="connsiteX6845" fmla="*/ 891064 w 6400800"/>
                <a:gd name="connsiteY6845" fmla="*/ 279559 h 514350"/>
                <a:gd name="connsiteX6846" fmla="*/ 873919 w 6400800"/>
                <a:gd name="connsiteY6846" fmla="*/ 250984 h 514350"/>
                <a:gd name="connsiteX6847" fmla="*/ 869156 w 6400800"/>
                <a:gd name="connsiteY6847" fmla="*/ 243364 h 514350"/>
                <a:gd name="connsiteX6848" fmla="*/ 869156 w 6400800"/>
                <a:gd name="connsiteY6848" fmla="*/ 242411 h 514350"/>
                <a:gd name="connsiteX6849" fmla="*/ 878681 w 6400800"/>
                <a:gd name="connsiteY6849" fmla="*/ 215741 h 514350"/>
                <a:gd name="connsiteX6850" fmla="*/ 887254 w 6400800"/>
                <a:gd name="connsiteY6850" fmla="*/ 200501 h 514350"/>
                <a:gd name="connsiteX6851" fmla="*/ 895826 w 6400800"/>
                <a:gd name="connsiteY6851" fmla="*/ 223361 h 514350"/>
                <a:gd name="connsiteX6852" fmla="*/ 901541 w 6400800"/>
                <a:gd name="connsiteY6852" fmla="*/ 240506 h 514350"/>
                <a:gd name="connsiteX6853" fmla="*/ 900589 w 6400800"/>
                <a:gd name="connsiteY6853" fmla="*/ 246221 h 514350"/>
                <a:gd name="connsiteX6854" fmla="*/ 891064 w 6400800"/>
                <a:gd name="connsiteY6854" fmla="*/ 190976 h 514350"/>
                <a:gd name="connsiteX6855" fmla="*/ 892969 w 6400800"/>
                <a:gd name="connsiteY6855" fmla="*/ 187166 h 514350"/>
                <a:gd name="connsiteX6856" fmla="*/ 896779 w 6400800"/>
                <a:gd name="connsiteY6856" fmla="*/ 202406 h 514350"/>
                <a:gd name="connsiteX6857" fmla="*/ 891064 w 6400800"/>
                <a:gd name="connsiteY6857" fmla="*/ 190976 h 514350"/>
                <a:gd name="connsiteX6858" fmla="*/ 904399 w 6400800"/>
                <a:gd name="connsiteY6858" fmla="*/ 181451 h 514350"/>
                <a:gd name="connsiteX6859" fmla="*/ 904399 w 6400800"/>
                <a:gd name="connsiteY6859" fmla="*/ 183356 h 514350"/>
                <a:gd name="connsiteX6860" fmla="*/ 903446 w 6400800"/>
                <a:gd name="connsiteY6860" fmla="*/ 210979 h 514350"/>
                <a:gd name="connsiteX6861" fmla="*/ 903446 w 6400800"/>
                <a:gd name="connsiteY6861" fmla="*/ 210026 h 514350"/>
                <a:gd name="connsiteX6862" fmla="*/ 894874 w 6400800"/>
                <a:gd name="connsiteY6862" fmla="*/ 188119 h 514350"/>
                <a:gd name="connsiteX6863" fmla="*/ 903446 w 6400800"/>
                <a:gd name="connsiteY6863" fmla="*/ 173831 h 514350"/>
                <a:gd name="connsiteX6864" fmla="*/ 904399 w 6400800"/>
                <a:gd name="connsiteY6864" fmla="*/ 181451 h 514350"/>
                <a:gd name="connsiteX6865" fmla="*/ 888206 w 6400800"/>
                <a:gd name="connsiteY6865" fmla="*/ 137636 h 514350"/>
                <a:gd name="connsiteX6866" fmla="*/ 890111 w 6400800"/>
                <a:gd name="connsiteY6866" fmla="*/ 132874 h 514350"/>
                <a:gd name="connsiteX6867" fmla="*/ 898684 w 6400800"/>
                <a:gd name="connsiteY6867" fmla="*/ 161449 h 514350"/>
                <a:gd name="connsiteX6868" fmla="*/ 893921 w 6400800"/>
                <a:gd name="connsiteY6868" fmla="*/ 168116 h 514350"/>
                <a:gd name="connsiteX6869" fmla="*/ 885349 w 6400800"/>
                <a:gd name="connsiteY6869" fmla="*/ 180499 h 514350"/>
                <a:gd name="connsiteX6870" fmla="*/ 874871 w 6400800"/>
                <a:gd name="connsiteY6870" fmla="*/ 163354 h 514350"/>
                <a:gd name="connsiteX6871" fmla="*/ 888206 w 6400800"/>
                <a:gd name="connsiteY6871" fmla="*/ 137636 h 514350"/>
                <a:gd name="connsiteX6872" fmla="*/ 872966 w 6400800"/>
                <a:gd name="connsiteY6872" fmla="*/ 169069 h 514350"/>
                <a:gd name="connsiteX6873" fmla="*/ 881539 w 6400800"/>
                <a:gd name="connsiteY6873" fmla="*/ 188119 h 514350"/>
                <a:gd name="connsiteX6874" fmla="*/ 878681 w 6400800"/>
                <a:gd name="connsiteY6874" fmla="*/ 191929 h 514350"/>
                <a:gd name="connsiteX6875" fmla="*/ 856774 w 6400800"/>
                <a:gd name="connsiteY6875" fmla="*/ 226219 h 514350"/>
                <a:gd name="connsiteX6876" fmla="*/ 851059 w 6400800"/>
                <a:gd name="connsiteY6876" fmla="*/ 217646 h 514350"/>
                <a:gd name="connsiteX6877" fmla="*/ 872966 w 6400800"/>
                <a:gd name="connsiteY6877" fmla="*/ 169069 h 514350"/>
                <a:gd name="connsiteX6878" fmla="*/ 847249 w 6400800"/>
                <a:gd name="connsiteY6878" fmla="*/ 225266 h 514350"/>
                <a:gd name="connsiteX6879" fmla="*/ 848201 w 6400800"/>
                <a:gd name="connsiteY6879" fmla="*/ 223361 h 514350"/>
                <a:gd name="connsiteX6880" fmla="*/ 852011 w 6400800"/>
                <a:gd name="connsiteY6880" fmla="*/ 232886 h 514350"/>
                <a:gd name="connsiteX6881" fmla="*/ 845344 w 6400800"/>
                <a:gd name="connsiteY6881" fmla="*/ 243364 h 514350"/>
                <a:gd name="connsiteX6882" fmla="*/ 837724 w 6400800"/>
                <a:gd name="connsiteY6882" fmla="*/ 256699 h 514350"/>
                <a:gd name="connsiteX6883" fmla="*/ 836771 w 6400800"/>
                <a:gd name="connsiteY6883" fmla="*/ 250984 h 514350"/>
                <a:gd name="connsiteX6884" fmla="*/ 847249 w 6400800"/>
                <a:gd name="connsiteY6884" fmla="*/ 225266 h 514350"/>
                <a:gd name="connsiteX6885" fmla="*/ 835819 w 6400800"/>
                <a:gd name="connsiteY6885" fmla="*/ 195739 h 514350"/>
                <a:gd name="connsiteX6886" fmla="*/ 835819 w 6400800"/>
                <a:gd name="connsiteY6886" fmla="*/ 195739 h 514350"/>
                <a:gd name="connsiteX6887" fmla="*/ 840581 w 6400800"/>
                <a:gd name="connsiteY6887" fmla="*/ 206216 h 514350"/>
                <a:gd name="connsiteX6888" fmla="*/ 833914 w 6400800"/>
                <a:gd name="connsiteY6888" fmla="*/ 219551 h 514350"/>
                <a:gd name="connsiteX6889" fmla="*/ 832961 w 6400800"/>
                <a:gd name="connsiteY6889" fmla="*/ 221456 h 514350"/>
                <a:gd name="connsiteX6890" fmla="*/ 835819 w 6400800"/>
                <a:gd name="connsiteY6890" fmla="*/ 195739 h 514350"/>
                <a:gd name="connsiteX6891" fmla="*/ 826294 w 6400800"/>
                <a:gd name="connsiteY6891" fmla="*/ 274796 h 514350"/>
                <a:gd name="connsiteX6892" fmla="*/ 828199 w 6400800"/>
                <a:gd name="connsiteY6892" fmla="*/ 270986 h 514350"/>
                <a:gd name="connsiteX6893" fmla="*/ 828199 w 6400800"/>
                <a:gd name="connsiteY6893" fmla="*/ 272891 h 514350"/>
                <a:gd name="connsiteX6894" fmla="*/ 826294 w 6400800"/>
                <a:gd name="connsiteY6894" fmla="*/ 276701 h 514350"/>
                <a:gd name="connsiteX6895" fmla="*/ 826294 w 6400800"/>
                <a:gd name="connsiteY6895" fmla="*/ 274796 h 514350"/>
                <a:gd name="connsiteX6896" fmla="*/ 812006 w 6400800"/>
                <a:gd name="connsiteY6896" fmla="*/ 448151 h 514350"/>
                <a:gd name="connsiteX6897" fmla="*/ 812006 w 6400800"/>
                <a:gd name="connsiteY6897" fmla="*/ 448151 h 514350"/>
                <a:gd name="connsiteX6898" fmla="*/ 812006 w 6400800"/>
                <a:gd name="connsiteY6898" fmla="*/ 448151 h 514350"/>
                <a:gd name="connsiteX6899" fmla="*/ 812006 w 6400800"/>
                <a:gd name="connsiteY6899" fmla="*/ 448151 h 514350"/>
                <a:gd name="connsiteX6900" fmla="*/ 785336 w 6400800"/>
                <a:gd name="connsiteY6900" fmla="*/ 330041 h 514350"/>
                <a:gd name="connsiteX6901" fmla="*/ 782479 w 6400800"/>
                <a:gd name="connsiteY6901" fmla="*/ 325279 h 514350"/>
                <a:gd name="connsiteX6902" fmla="*/ 782479 w 6400800"/>
                <a:gd name="connsiteY6902" fmla="*/ 315754 h 514350"/>
                <a:gd name="connsiteX6903" fmla="*/ 786289 w 6400800"/>
                <a:gd name="connsiteY6903" fmla="*/ 326231 h 514350"/>
                <a:gd name="connsiteX6904" fmla="*/ 785336 w 6400800"/>
                <a:gd name="connsiteY6904" fmla="*/ 330041 h 514350"/>
                <a:gd name="connsiteX6905" fmla="*/ 797719 w 6400800"/>
                <a:gd name="connsiteY6905" fmla="*/ 271939 h 514350"/>
                <a:gd name="connsiteX6906" fmla="*/ 803434 w 6400800"/>
                <a:gd name="connsiteY6906" fmla="*/ 286226 h 514350"/>
                <a:gd name="connsiteX6907" fmla="*/ 802481 w 6400800"/>
                <a:gd name="connsiteY6907" fmla="*/ 288131 h 514350"/>
                <a:gd name="connsiteX6908" fmla="*/ 792956 w 6400800"/>
                <a:gd name="connsiteY6908" fmla="*/ 310039 h 514350"/>
                <a:gd name="connsiteX6909" fmla="*/ 792956 w 6400800"/>
                <a:gd name="connsiteY6909" fmla="*/ 309086 h 514350"/>
                <a:gd name="connsiteX6910" fmla="*/ 787241 w 6400800"/>
                <a:gd name="connsiteY6910" fmla="*/ 296704 h 514350"/>
                <a:gd name="connsiteX6911" fmla="*/ 795814 w 6400800"/>
                <a:gd name="connsiteY6911" fmla="*/ 266224 h 514350"/>
                <a:gd name="connsiteX6912" fmla="*/ 797719 w 6400800"/>
                <a:gd name="connsiteY6912" fmla="*/ 271939 h 514350"/>
                <a:gd name="connsiteX6913" fmla="*/ 790099 w 6400800"/>
                <a:gd name="connsiteY6913" fmla="*/ 253841 h 514350"/>
                <a:gd name="connsiteX6914" fmla="*/ 793909 w 6400800"/>
                <a:gd name="connsiteY6914" fmla="*/ 261461 h 514350"/>
                <a:gd name="connsiteX6915" fmla="*/ 793909 w 6400800"/>
                <a:gd name="connsiteY6915" fmla="*/ 262414 h 514350"/>
                <a:gd name="connsiteX6916" fmla="*/ 784384 w 6400800"/>
                <a:gd name="connsiteY6916" fmla="*/ 286226 h 514350"/>
                <a:gd name="connsiteX6917" fmla="*/ 785336 w 6400800"/>
                <a:gd name="connsiteY6917" fmla="*/ 273844 h 514350"/>
                <a:gd name="connsiteX6918" fmla="*/ 790099 w 6400800"/>
                <a:gd name="connsiteY6918" fmla="*/ 253841 h 514350"/>
                <a:gd name="connsiteX6919" fmla="*/ 773906 w 6400800"/>
                <a:gd name="connsiteY6919" fmla="*/ 236696 h 514350"/>
                <a:gd name="connsiteX6920" fmla="*/ 776764 w 6400800"/>
                <a:gd name="connsiteY6920" fmla="*/ 213836 h 514350"/>
                <a:gd name="connsiteX6921" fmla="*/ 783431 w 6400800"/>
                <a:gd name="connsiteY6921" fmla="*/ 229076 h 514350"/>
                <a:gd name="connsiteX6922" fmla="*/ 780574 w 6400800"/>
                <a:gd name="connsiteY6922" fmla="*/ 235744 h 514350"/>
                <a:gd name="connsiteX6923" fmla="*/ 777716 w 6400800"/>
                <a:gd name="connsiteY6923" fmla="*/ 231934 h 514350"/>
                <a:gd name="connsiteX6924" fmla="*/ 780574 w 6400800"/>
                <a:gd name="connsiteY6924" fmla="*/ 236696 h 514350"/>
                <a:gd name="connsiteX6925" fmla="*/ 773906 w 6400800"/>
                <a:gd name="connsiteY6925" fmla="*/ 255746 h 514350"/>
                <a:gd name="connsiteX6926" fmla="*/ 773906 w 6400800"/>
                <a:gd name="connsiteY6926" fmla="*/ 236696 h 514350"/>
                <a:gd name="connsiteX6927" fmla="*/ 724376 w 6400800"/>
                <a:gd name="connsiteY6927" fmla="*/ 219551 h 514350"/>
                <a:gd name="connsiteX6928" fmla="*/ 726281 w 6400800"/>
                <a:gd name="connsiteY6928" fmla="*/ 203359 h 514350"/>
                <a:gd name="connsiteX6929" fmla="*/ 726281 w 6400800"/>
                <a:gd name="connsiteY6929" fmla="*/ 229076 h 514350"/>
                <a:gd name="connsiteX6930" fmla="*/ 723424 w 6400800"/>
                <a:gd name="connsiteY6930" fmla="*/ 223361 h 514350"/>
                <a:gd name="connsiteX6931" fmla="*/ 724376 w 6400800"/>
                <a:gd name="connsiteY6931" fmla="*/ 219551 h 514350"/>
                <a:gd name="connsiteX6932" fmla="*/ 723424 w 6400800"/>
                <a:gd name="connsiteY6932" fmla="*/ 224314 h 514350"/>
                <a:gd name="connsiteX6933" fmla="*/ 724376 w 6400800"/>
                <a:gd name="connsiteY6933" fmla="*/ 235744 h 514350"/>
                <a:gd name="connsiteX6934" fmla="*/ 726281 w 6400800"/>
                <a:gd name="connsiteY6934" fmla="*/ 250984 h 514350"/>
                <a:gd name="connsiteX6935" fmla="*/ 726281 w 6400800"/>
                <a:gd name="connsiteY6935" fmla="*/ 251936 h 514350"/>
                <a:gd name="connsiteX6936" fmla="*/ 727234 w 6400800"/>
                <a:gd name="connsiteY6936" fmla="*/ 276701 h 514350"/>
                <a:gd name="connsiteX6937" fmla="*/ 727234 w 6400800"/>
                <a:gd name="connsiteY6937" fmla="*/ 288131 h 514350"/>
                <a:gd name="connsiteX6938" fmla="*/ 725329 w 6400800"/>
                <a:gd name="connsiteY6938" fmla="*/ 284321 h 514350"/>
                <a:gd name="connsiteX6939" fmla="*/ 717709 w 6400800"/>
                <a:gd name="connsiteY6939" fmla="*/ 260509 h 514350"/>
                <a:gd name="connsiteX6940" fmla="*/ 723424 w 6400800"/>
                <a:gd name="connsiteY6940" fmla="*/ 224314 h 514350"/>
                <a:gd name="connsiteX6941" fmla="*/ 710089 w 6400800"/>
                <a:gd name="connsiteY6941" fmla="*/ 308134 h 514350"/>
                <a:gd name="connsiteX6942" fmla="*/ 711041 w 6400800"/>
                <a:gd name="connsiteY6942" fmla="*/ 320516 h 514350"/>
                <a:gd name="connsiteX6943" fmla="*/ 717709 w 6400800"/>
                <a:gd name="connsiteY6943" fmla="*/ 373856 h 514350"/>
                <a:gd name="connsiteX6944" fmla="*/ 711041 w 6400800"/>
                <a:gd name="connsiteY6944" fmla="*/ 389096 h 514350"/>
                <a:gd name="connsiteX6945" fmla="*/ 709136 w 6400800"/>
                <a:gd name="connsiteY6945" fmla="*/ 383381 h 514350"/>
                <a:gd name="connsiteX6946" fmla="*/ 711041 w 6400800"/>
                <a:gd name="connsiteY6946" fmla="*/ 372904 h 514350"/>
                <a:gd name="connsiteX6947" fmla="*/ 713899 w 6400800"/>
                <a:gd name="connsiteY6947" fmla="*/ 352901 h 514350"/>
                <a:gd name="connsiteX6948" fmla="*/ 707231 w 6400800"/>
                <a:gd name="connsiteY6948" fmla="*/ 372904 h 514350"/>
                <a:gd name="connsiteX6949" fmla="*/ 706279 w 6400800"/>
                <a:gd name="connsiteY6949" fmla="*/ 374809 h 514350"/>
                <a:gd name="connsiteX6950" fmla="*/ 701516 w 6400800"/>
                <a:gd name="connsiteY6950" fmla="*/ 357664 h 514350"/>
                <a:gd name="connsiteX6951" fmla="*/ 701516 w 6400800"/>
                <a:gd name="connsiteY6951" fmla="*/ 357664 h 514350"/>
                <a:gd name="connsiteX6952" fmla="*/ 710089 w 6400800"/>
                <a:gd name="connsiteY6952" fmla="*/ 308134 h 514350"/>
                <a:gd name="connsiteX6953" fmla="*/ 676751 w 6400800"/>
                <a:gd name="connsiteY6953" fmla="*/ 253841 h 514350"/>
                <a:gd name="connsiteX6954" fmla="*/ 676751 w 6400800"/>
                <a:gd name="connsiteY6954" fmla="*/ 246221 h 514350"/>
                <a:gd name="connsiteX6955" fmla="*/ 679609 w 6400800"/>
                <a:gd name="connsiteY6955" fmla="*/ 220504 h 514350"/>
                <a:gd name="connsiteX6956" fmla="*/ 682466 w 6400800"/>
                <a:gd name="connsiteY6956" fmla="*/ 181451 h 514350"/>
                <a:gd name="connsiteX6957" fmla="*/ 682466 w 6400800"/>
                <a:gd name="connsiteY6957" fmla="*/ 178594 h 514350"/>
                <a:gd name="connsiteX6958" fmla="*/ 696754 w 6400800"/>
                <a:gd name="connsiteY6958" fmla="*/ 231934 h 514350"/>
                <a:gd name="connsiteX6959" fmla="*/ 705326 w 6400800"/>
                <a:gd name="connsiteY6959" fmla="*/ 267176 h 514350"/>
                <a:gd name="connsiteX6960" fmla="*/ 703421 w 6400800"/>
                <a:gd name="connsiteY6960" fmla="*/ 273844 h 514350"/>
                <a:gd name="connsiteX6961" fmla="*/ 694849 w 6400800"/>
                <a:gd name="connsiteY6961" fmla="*/ 307181 h 514350"/>
                <a:gd name="connsiteX6962" fmla="*/ 692944 w 6400800"/>
                <a:gd name="connsiteY6962" fmla="*/ 313849 h 514350"/>
                <a:gd name="connsiteX6963" fmla="*/ 690086 w 6400800"/>
                <a:gd name="connsiteY6963" fmla="*/ 322421 h 514350"/>
                <a:gd name="connsiteX6964" fmla="*/ 673894 w 6400800"/>
                <a:gd name="connsiteY6964" fmla="*/ 274796 h 514350"/>
                <a:gd name="connsiteX6965" fmla="*/ 676751 w 6400800"/>
                <a:gd name="connsiteY6965" fmla="*/ 253841 h 514350"/>
                <a:gd name="connsiteX6966" fmla="*/ 668179 w 6400800"/>
                <a:gd name="connsiteY6966" fmla="*/ 331946 h 514350"/>
                <a:gd name="connsiteX6967" fmla="*/ 668179 w 6400800"/>
                <a:gd name="connsiteY6967" fmla="*/ 330041 h 514350"/>
                <a:gd name="connsiteX6968" fmla="*/ 669131 w 6400800"/>
                <a:gd name="connsiteY6968" fmla="*/ 334804 h 514350"/>
                <a:gd name="connsiteX6969" fmla="*/ 671989 w 6400800"/>
                <a:gd name="connsiteY6969" fmla="*/ 346234 h 514350"/>
                <a:gd name="connsiteX6970" fmla="*/ 674846 w 6400800"/>
                <a:gd name="connsiteY6970" fmla="*/ 359569 h 514350"/>
                <a:gd name="connsiteX6971" fmla="*/ 676751 w 6400800"/>
                <a:gd name="connsiteY6971" fmla="*/ 370999 h 514350"/>
                <a:gd name="connsiteX6972" fmla="*/ 675799 w 6400800"/>
                <a:gd name="connsiteY6972" fmla="*/ 373856 h 514350"/>
                <a:gd name="connsiteX6973" fmla="*/ 674846 w 6400800"/>
                <a:gd name="connsiteY6973" fmla="*/ 377666 h 514350"/>
                <a:gd name="connsiteX6974" fmla="*/ 670084 w 6400800"/>
                <a:gd name="connsiteY6974" fmla="*/ 368141 h 514350"/>
                <a:gd name="connsiteX6975" fmla="*/ 664369 w 6400800"/>
                <a:gd name="connsiteY6975" fmla="*/ 358616 h 514350"/>
                <a:gd name="connsiteX6976" fmla="*/ 668179 w 6400800"/>
                <a:gd name="connsiteY6976" fmla="*/ 331946 h 514350"/>
                <a:gd name="connsiteX6977" fmla="*/ 656749 w 6400800"/>
                <a:gd name="connsiteY6977" fmla="*/ 266224 h 514350"/>
                <a:gd name="connsiteX6978" fmla="*/ 656749 w 6400800"/>
                <a:gd name="connsiteY6978" fmla="*/ 267176 h 514350"/>
                <a:gd name="connsiteX6979" fmla="*/ 656749 w 6400800"/>
                <a:gd name="connsiteY6979" fmla="*/ 269081 h 514350"/>
                <a:gd name="connsiteX6980" fmla="*/ 656749 w 6400800"/>
                <a:gd name="connsiteY6980" fmla="*/ 266224 h 514350"/>
                <a:gd name="connsiteX6981" fmla="*/ 608171 w 6400800"/>
                <a:gd name="connsiteY6981" fmla="*/ 318611 h 514350"/>
                <a:gd name="connsiteX6982" fmla="*/ 611981 w 6400800"/>
                <a:gd name="connsiteY6982" fmla="*/ 279559 h 514350"/>
                <a:gd name="connsiteX6983" fmla="*/ 613886 w 6400800"/>
                <a:gd name="connsiteY6983" fmla="*/ 288131 h 514350"/>
                <a:gd name="connsiteX6984" fmla="*/ 615791 w 6400800"/>
                <a:gd name="connsiteY6984" fmla="*/ 327184 h 514350"/>
                <a:gd name="connsiteX6985" fmla="*/ 615791 w 6400800"/>
                <a:gd name="connsiteY6985" fmla="*/ 331946 h 514350"/>
                <a:gd name="connsiteX6986" fmla="*/ 615791 w 6400800"/>
                <a:gd name="connsiteY6986" fmla="*/ 337661 h 514350"/>
                <a:gd name="connsiteX6987" fmla="*/ 613886 w 6400800"/>
                <a:gd name="connsiteY6987" fmla="*/ 333851 h 514350"/>
                <a:gd name="connsiteX6988" fmla="*/ 607219 w 6400800"/>
                <a:gd name="connsiteY6988" fmla="*/ 321469 h 514350"/>
                <a:gd name="connsiteX6989" fmla="*/ 608171 w 6400800"/>
                <a:gd name="connsiteY6989" fmla="*/ 318611 h 514350"/>
                <a:gd name="connsiteX6990" fmla="*/ 606266 w 6400800"/>
                <a:gd name="connsiteY6990" fmla="*/ 341471 h 514350"/>
                <a:gd name="connsiteX6991" fmla="*/ 615791 w 6400800"/>
                <a:gd name="connsiteY6991" fmla="*/ 364331 h 514350"/>
                <a:gd name="connsiteX6992" fmla="*/ 615791 w 6400800"/>
                <a:gd name="connsiteY6992" fmla="*/ 365284 h 514350"/>
                <a:gd name="connsiteX6993" fmla="*/ 611029 w 6400800"/>
                <a:gd name="connsiteY6993" fmla="*/ 375761 h 514350"/>
                <a:gd name="connsiteX6994" fmla="*/ 608171 w 6400800"/>
                <a:gd name="connsiteY6994" fmla="*/ 363379 h 514350"/>
                <a:gd name="connsiteX6995" fmla="*/ 605314 w 6400800"/>
                <a:gd name="connsiteY6995" fmla="*/ 350996 h 514350"/>
                <a:gd name="connsiteX6996" fmla="*/ 606266 w 6400800"/>
                <a:gd name="connsiteY6996" fmla="*/ 341471 h 514350"/>
                <a:gd name="connsiteX6997" fmla="*/ 606266 w 6400800"/>
                <a:gd name="connsiteY6997" fmla="*/ 424339 h 514350"/>
                <a:gd name="connsiteX6998" fmla="*/ 609124 w 6400800"/>
                <a:gd name="connsiteY6998" fmla="*/ 433864 h 514350"/>
                <a:gd name="connsiteX6999" fmla="*/ 607219 w 6400800"/>
                <a:gd name="connsiteY6999" fmla="*/ 436721 h 514350"/>
                <a:gd name="connsiteX7000" fmla="*/ 601504 w 6400800"/>
                <a:gd name="connsiteY7000" fmla="*/ 435769 h 514350"/>
                <a:gd name="connsiteX7001" fmla="*/ 606266 w 6400800"/>
                <a:gd name="connsiteY7001" fmla="*/ 424339 h 514350"/>
                <a:gd name="connsiteX7002" fmla="*/ 599599 w 6400800"/>
                <a:gd name="connsiteY7002" fmla="*/ 401479 h 514350"/>
                <a:gd name="connsiteX7003" fmla="*/ 599599 w 6400800"/>
                <a:gd name="connsiteY7003" fmla="*/ 401479 h 514350"/>
                <a:gd name="connsiteX7004" fmla="*/ 599599 w 6400800"/>
                <a:gd name="connsiteY7004" fmla="*/ 403384 h 514350"/>
                <a:gd name="connsiteX7005" fmla="*/ 599599 w 6400800"/>
                <a:gd name="connsiteY7005" fmla="*/ 401479 h 514350"/>
                <a:gd name="connsiteX7006" fmla="*/ 587216 w 6400800"/>
                <a:gd name="connsiteY7006" fmla="*/ 300514 h 514350"/>
                <a:gd name="connsiteX7007" fmla="*/ 591979 w 6400800"/>
                <a:gd name="connsiteY7007" fmla="*/ 310039 h 514350"/>
                <a:gd name="connsiteX7008" fmla="*/ 591026 w 6400800"/>
                <a:gd name="connsiteY7008" fmla="*/ 316706 h 514350"/>
                <a:gd name="connsiteX7009" fmla="*/ 591026 w 6400800"/>
                <a:gd name="connsiteY7009" fmla="*/ 316706 h 514350"/>
                <a:gd name="connsiteX7010" fmla="*/ 590074 w 6400800"/>
                <a:gd name="connsiteY7010" fmla="*/ 319564 h 514350"/>
                <a:gd name="connsiteX7011" fmla="*/ 587216 w 6400800"/>
                <a:gd name="connsiteY7011" fmla="*/ 311944 h 514350"/>
                <a:gd name="connsiteX7012" fmla="*/ 586264 w 6400800"/>
                <a:gd name="connsiteY7012" fmla="*/ 299561 h 514350"/>
                <a:gd name="connsiteX7013" fmla="*/ 587216 w 6400800"/>
                <a:gd name="connsiteY7013" fmla="*/ 300514 h 514350"/>
                <a:gd name="connsiteX7014" fmla="*/ 553879 w 6400800"/>
                <a:gd name="connsiteY7014" fmla="*/ 257651 h 514350"/>
                <a:gd name="connsiteX7015" fmla="*/ 555784 w 6400800"/>
                <a:gd name="connsiteY7015" fmla="*/ 233839 h 514350"/>
                <a:gd name="connsiteX7016" fmla="*/ 558641 w 6400800"/>
                <a:gd name="connsiteY7016" fmla="*/ 249079 h 514350"/>
                <a:gd name="connsiteX7017" fmla="*/ 556736 w 6400800"/>
                <a:gd name="connsiteY7017" fmla="*/ 247174 h 514350"/>
                <a:gd name="connsiteX7018" fmla="*/ 558641 w 6400800"/>
                <a:gd name="connsiteY7018" fmla="*/ 250984 h 514350"/>
                <a:gd name="connsiteX7019" fmla="*/ 570071 w 6400800"/>
                <a:gd name="connsiteY7019" fmla="*/ 297656 h 514350"/>
                <a:gd name="connsiteX7020" fmla="*/ 571976 w 6400800"/>
                <a:gd name="connsiteY7020" fmla="*/ 303371 h 514350"/>
                <a:gd name="connsiteX7021" fmla="*/ 569119 w 6400800"/>
                <a:gd name="connsiteY7021" fmla="*/ 312896 h 514350"/>
                <a:gd name="connsiteX7022" fmla="*/ 564356 w 6400800"/>
                <a:gd name="connsiteY7022" fmla="*/ 295751 h 514350"/>
                <a:gd name="connsiteX7023" fmla="*/ 553879 w 6400800"/>
                <a:gd name="connsiteY7023" fmla="*/ 266224 h 514350"/>
                <a:gd name="connsiteX7024" fmla="*/ 553879 w 6400800"/>
                <a:gd name="connsiteY7024" fmla="*/ 257651 h 514350"/>
                <a:gd name="connsiteX7025" fmla="*/ 551974 w 6400800"/>
                <a:gd name="connsiteY7025" fmla="*/ 295751 h 514350"/>
                <a:gd name="connsiteX7026" fmla="*/ 551974 w 6400800"/>
                <a:gd name="connsiteY7026" fmla="*/ 295751 h 514350"/>
                <a:gd name="connsiteX7027" fmla="*/ 552926 w 6400800"/>
                <a:gd name="connsiteY7027" fmla="*/ 298609 h 514350"/>
                <a:gd name="connsiteX7028" fmla="*/ 556736 w 6400800"/>
                <a:gd name="connsiteY7028" fmla="*/ 317659 h 514350"/>
                <a:gd name="connsiteX7029" fmla="*/ 557689 w 6400800"/>
                <a:gd name="connsiteY7029" fmla="*/ 321469 h 514350"/>
                <a:gd name="connsiteX7030" fmla="*/ 557689 w 6400800"/>
                <a:gd name="connsiteY7030" fmla="*/ 322421 h 514350"/>
                <a:gd name="connsiteX7031" fmla="*/ 557689 w 6400800"/>
                <a:gd name="connsiteY7031" fmla="*/ 326231 h 514350"/>
                <a:gd name="connsiteX7032" fmla="*/ 552926 w 6400800"/>
                <a:gd name="connsiteY7032" fmla="*/ 306229 h 514350"/>
                <a:gd name="connsiteX7033" fmla="*/ 551974 w 6400800"/>
                <a:gd name="connsiteY7033" fmla="*/ 295751 h 514350"/>
                <a:gd name="connsiteX7034" fmla="*/ 529114 w 6400800"/>
                <a:gd name="connsiteY7034" fmla="*/ 290036 h 514350"/>
                <a:gd name="connsiteX7035" fmla="*/ 529114 w 6400800"/>
                <a:gd name="connsiteY7035" fmla="*/ 290036 h 514350"/>
                <a:gd name="connsiteX7036" fmla="*/ 529114 w 6400800"/>
                <a:gd name="connsiteY7036" fmla="*/ 290036 h 514350"/>
                <a:gd name="connsiteX7037" fmla="*/ 529114 w 6400800"/>
                <a:gd name="connsiteY7037" fmla="*/ 290036 h 514350"/>
                <a:gd name="connsiteX7038" fmla="*/ 522446 w 6400800"/>
                <a:gd name="connsiteY7038" fmla="*/ 336709 h 514350"/>
                <a:gd name="connsiteX7039" fmla="*/ 523399 w 6400800"/>
                <a:gd name="connsiteY7039" fmla="*/ 329089 h 514350"/>
                <a:gd name="connsiteX7040" fmla="*/ 526256 w 6400800"/>
                <a:gd name="connsiteY7040" fmla="*/ 336709 h 514350"/>
                <a:gd name="connsiteX7041" fmla="*/ 531019 w 6400800"/>
                <a:gd name="connsiteY7041" fmla="*/ 350996 h 514350"/>
                <a:gd name="connsiteX7042" fmla="*/ 531971 w 6400800"/>
                <a:gd name="connsiteY7042" fmla="*/ 374809 h 514350"/>
                <a:gd name="connsiteX7043" fmla="*/ 533876 w 6400800"/>
                <a:gd name="connsiteY7043" fmla="*/ 403384 h 514350"/>
                <a:gd name="connsiteX7044" fmla="*/ 528161 w 6400800"/>
                <a:gd name="connsiteY7044" fmla="*/ 394811 h 514350"/>
                <a:gd name="connsiteX7045" fmla="*/ 532924 w 6400800"/>
                <a:gd name="connsiteY7045" fmla="*/ 410051 h 514350"/>
                <a:gd name="connsiteX7046" fmla="*/ 534829 w 6400800"/>
                <a:gd name="connsiteY7046" fmla="*/ 417671 h 514350"/>
                <a:gd name="connsiteX7047" fmla="*/ 535781 w 6400800"/>
                <a:gd name="connsiteY7047" fmla="*/ 430054 h 514350"/>
                <a:gd name="connsiteX7048" fmla="*/ 523399 w 6400800"/>
                <a:gd name="connsiteY7048" fmla="*/ 428149 h 514350"/>
                <a:gd name="connsiteX7049" fmla="*/ 522446 w 6400800"/>
                <a:gd name="connsiteY7049" fmla="*/ 427196 h 514350"/>
                <a:gd name="connsiteX7050" fmla="*/ 522446 w 6400800"/>
                <a:gd name="connsiteY7050" fmla="*/ 423386 h 514350"/>
                <a:gd name="connsiteX7051" fmla="*/ 527209 w 6400800"/>
                <a:gd name="connsiteY7051" fmla="*/ 410051 h 514350"/>
                <a:gd name="connsiteX7052" fmla="*/ 522446 w 6400800"/>
                <a:gd name="connsiteY7052" fmla="*/ 418624 h 514350"/>
                <a:gd name="connsiteX7053" fmla="*/ 521494 w 6400800"/>
                <a:gd name="connsiteY7053" fmla="*/ 405289 h 514350"/>
                <a:gd name="connsiteX7054" fmla="*/ 517684 w 6400800"/>
                <a:gd name="connsiteY7054" fmla="*/ 369094 h 514350"/>
                <a:gd name="connsiteX7055" fmla="*/ 522446 w 6400800"/>
                <a:gd name="connsiteY7055" fmla="*/ 336709 h 514350"/>
                <a:gd name="connsiteX7056" fmla="*/ 512921 w 6400800"/>
                <a:gd name="connsiteY7056" fmla="*/ 271939 h 514350"/>
                <a:gd name="connsiteX7057" fmla="*/ 509111 w 6400800"/>
                <a:gd name="connsiteY7057" fmla="*/ 287179 h 514350"/>
                <a:gd name="connsiteX7058" fmla="*/ 509111 w 6400800"/>
                <a:gd name="connsiteY7058" fmla="*/ 288131 h 514350"/>
                <a:gd name="connsiteX7059" fmla="*/ 507206 w 6400800"/>
                <a:gd name="connsiteY7059" fmla="*/ 275749 h 514350"/>
                <a:gd name="connsiteX7060" fmla="*/ 508159 w 6400800"/>
                <a:gd name="connsiteY7060" fmla="*/ 262414 h 514350"/>
                <a:gd name="connsiteX7061" fmla="*/ 509111 w 6400800"/>
                <a:gd name="connsiteY7061" fmla="*/ 262414 h 514350"/>
                <a:gd name="connsiteX7062" fmla="*/ 512921 w 6400800"/>
                <a:gd name="connsiteY7062" fmla="*/ 271939 h 514350"/>
                <a:gd name="connsiteX7063" fmla="*/ 497681 w 6400800"/>
                <a:gd name="connsiteY7063" fmla="*/ 207169 h 514350"/>
                <a:gd name="connsiteX7064" fmla="*/ 506254 w 6400800"/>
                <a:gd name="connsiteY7064" fmla="*/ 245269 h 514350"/>
                <a:gd name="connsiteX7065" fmla="*/ 509111 w 6400800"/>
                <a:gd name="connsiteY7065" fmla="*/ 256699 h 514350"/>
                <a:gd name="connsiteX7066" fmla="*/ 506254 w 6400800"/>
                <a:gd name="connsiteY7066" fmla="*/ 256699 h 514350"/>
                <a:gd name="connsiteX7067" fmla="*/ 505301 w 6400800"/>
                <a:gd name="connsiteY7067" fmla="*/ 256699 h 514350"/>
                <a:gd name="connsiteX7068" fmla="*/ 505301 w 6400800"/>
                <a:gd name="connsiteY7068" fmla="*/ 256699 h 514350"/>
                <a:gd name="connsiteX7069" fmla="*/ 497681 w 6400800"/>
                <a:gd name="connsiteY7069" fmla="*/ 207169 h 514350"/>
                <a:gd name="connsiteX7070" fmla="*/ 497681 w 6400800"/>
                <a:gd name="connsiteY7070" fmla="*/ 207169 h 514350"/>
                <a:gd name="connsiteX7071" fmla="*/ 487204 w 6400800"/>
                <a:gd name="connsiteY7071" fmla="*/ 419576 h 514350"/>
                <a:gd name="connsiteX7072" fmla="*/ 486251 w 6400800"/>
                <a:gd name="connsiteY7072" fmla="*/ 422434 h 514350"/>
                <a:gd name="connsiteX7073" fmla="*/ 483394 w 6400800"/>
                <a:gd name="connsiteY7073" fmla="*/ 422434 h 514350"/>
                <a:gd name="connsiteX7074" fmla="*/ 483394 w 6400800"/>
                <a:gd name="connsiteY7074" fmla="*/ 418624 h 514350"/>
                <a:gd name="connsiteX7075" fmla="*/ 481489 w 6400800"/>
                <a:gd name="connsiteY7075" fmla="*/ 401479 h 514350"/>
                <a:gd name="connsiteX7076" fmla="*/ 487204 w 6400800"/>
                <a:gd name="connsiteY7076" fmla="*/ 419576 h 514350"/>
                <a:gd name="connsiteX7077" fmla="*/ 437674 w 6400800"/>
                <a:gd name="connsiteY7077" fmla="*/ 390049 h 514350"/>
                <a:gd name="connsiteX7078" fmla="*/ 437674 w 6400800"/>
                <a:gd name="connsiteY7078" fmla="*/ 390049 h 514350"/>
                <a:gd name="connsiteX7079" fmla="*/ 437674 w 6400800"/>
                <a:gd name="connsiteY7079" fmla="*/ 388144 h 514350"/>
                <a:gd name="connsiteX7080" fmla="*/ 437674 w 6400800"/>
                <a:gd name="connsiteY7080" fmla="*/ 388144 h 514350"/>
                <a:gd name="connsiteX7081" fmla="*/ 437674 w 6400800"/>
                <a:gd name="connsiteY7081" fmla="*/ 390049 h 514350"/>
                <a:gd name="connsiteX7082" fmla="*/ 437674 w 6400800"/>
                <a:gd name="connsiteY7082" fmla="*/ 390049 h 514350"/>
                <a:gd name="connsiteX7083" fmla="*/ 448151 w 6400800"/>
                <a:gd name="connsiteY7083" fmla="*/ 362426 h 514350"/>
                <a:gd name="connsiteX7084" fmla="*/ 446246 w 6400800"/>
                <a:gd name="connsiteY7084" fmla="*/ 356711 h 514350"/>
                <a:gd name="connsiteX7085" fmla="*/ 449104 w 6400800"/>
                <a:gd name="connsiteY7085" fmla="*/ 347186 h 514350"/>
                <a:gd name="connsiteX7086" fmla="*/ 448151 w 6400800"/>
                <a:gd name="connsiteY7086" fmla="*/ 362426 h 514350"/>
                <a:gd name="connsiteX7087" fmla="*/ 436721 w 6400800"/>
                <a:gd name="connsiteY7087" fmla="*/ 227171 h 514350"/>
                <a:gd name="connsiteX7088" fmla="*/ 440531 w 6400800"/>
                <a:gd name="connsiteY7088" fmla="*/ 246221 h 514350"/>
                <a:gd name="connsiteX7089" fmla="*/ 434816 w 6400800"/>
                <a:gd name="connsiteY7089" fmla="*/ 234791 h 514350"/>
                <a:gd name="connsiteX7090" fmla="*/ 436721 w 6400800"/>
                <a:gd name="connsiteY7090" fmla="*/ 227171 h 514350"/>
                <a:gd name="connsiteX7091" fmla="*/ 428149 w 6400800"/>
                <a:gd name="connsiteY7091" fmla="*/ 280511 h 514350"/>
                <a:gd name="connsiteX7092" fmla="*/ 431959 w 6400800"/>
                <a:gd name="connsiteY7092" fmla="*/ 253841 h 514350"/>
                <a:gd name="connsiteX7093" fmla="*/ 432911 w 6400800"/>
                <a:gd name="connsiteY7093" fmla="*/ 258604 h 514350"/>
                <a:gd name="connsiteX7094" fmla="*/ 438626 w 6400800"/>
                <a:gd name="connsiteY7094" fmla="*/ 284321 h 514350"/>
                <a:gd name="connsiteX7095" fmla="*/ 439579 w 6400800"/>
                <a:gd name="connsiteY7095" fmla="*/ 290036 h 514350"/>
                <a:gd name="connsiteX7096" fmla="*/ 432911 w 6400800"/>
                <a:gd name="connsiteY7096" fmla="*/ 281464 h 514350"/>
                <a:gd name="connsiteX7097" fmla="*/ 439579 w 6400800"/>
                <a:gd name="connsiteY7097" fmla="*/ 295751 h 514350"/>
                <a:gd name="connsiteX7098" fmla="*/ 441484 w 6400800"/>
                <a:gd name="connsiteY7098" fmla="*/ 299561 h 514350"/>
                <a:gd name="connsiteX7099" fmla="*/ 443389 w 6400800"/>
                <a:gd name="connsiteY7099" fmla="*/ 312896 h 514350"/>
                <a:gd name="connsiteX7100" fmla="*/ 446246 w 6400800"/>
                <a:gd name="connsiteY7100" fmla="*/ 328136 h 514350"/>
                <a:gd name="connsiteX7101" fmla="*/ 447199 w 6400800"/>
                <a:gd name="connsiteY7101" fmla="*/ 335756 h 514350"/>
                <a:gd name="connsiteX7102" fmla="*/ 445294 w 6400800"/>
                <a:gd name="connsiteY7102" fmla="*/ 341471 h 514350"/>
                <a:gd name="connsiteX7103" fmla="*/ 442436 w 6400800"/>
                <a:gd name="connsiteY7103" fmla="*/ 349091 h 514350"/>
                <a:gd name="connsiteX7104" fmla="*/ 434816 w 6400800"/>
                <a:gd name="connsiteY7104" fmla="*/ 331946 h 514350"/>
                <a:gd name="connsiteX7105" fmla="*/ 434816 w 6400800"/>
                <a:gd name="connsiteY7105" fmla="*/ 317659 h 514350"/>
                <a:gd name="connsiteX7106" fmla="*/ 432911 w 6400800"/>
                <a:gd name="connsiteY7106" fmla="*/ 328136 h 514350"/>
                <a:gd name="connsiteX7107" fmla="*/ 423386 w 6400800"/>
                <a:gd name="connsiteY7107" fmla="*/ 303371 h 514350"/>
                <a:gd name="connsiteX7108" fmla="*/ 428149 w 6400800"/>
                <a:gd name="connsiteY7108" fmla="*/ 280511 h 514350"/>
                <a:gd name="connsiteX7109" fmla="*/ 418624 w 6400800"/>
                <a:gd name="connsiteY7109" fmla="*/ 345281 h 514350"/>
                <a:gd name="connsiteX7110" fmla="*/ 422434 w 6400800"/>
                <a:gd name="connsiteY7110" fmla="*/ 322421 h 514350"/>
                <a:gd name="connsiteX7111" fmla="*/ 427196 w 6400800"/>
                <a:gd name="connsiteY7111" fmla="*/ 339566 h 514350"/>
                <a:gd name="connsiteX7112" fmla="*/ 430054 w 6400800"/>
                <a:gd name="connsiteY7112" fmla="*/ 350996 h 514350"/>
                <a:gd name="connsiteX7113" fmla="*/ 428149 w 6400800"/>
                <a:gd name="connsiteY7113" fmla="*/ 362426 h 514350"/>
                <a:gd name="connsiteX7114" fmla="*/ 426244 w 6400800"/>
                <a:gd name="connsiteY7114" fmla="*/ 356711 h 514350"/>
                <a:gd name="connsiteX7115" fmla="*/ 420529 w 6400800"/>
                <a:gd name="connsiteY7115" fmla="*/ 344329 h 514350"/>
                <a:gd name="connsiteX7116" fmla="*/ 422434 w 6400800"/>
                <a:gd name="connsiteY7116" fmla="*/ 357664 h 514350"/>
                <a:gd name="connsiteX7117" fmla="*/ 424339 w 6400800"/>
                <a:gd name="connsiteY7117" fmla="*/ 372904 h 514350"/>
                <a:gd name="connsiteX7118" fmla="*/ 425291 w 6400800"/>
                <a:gd name="connsiteY7118" fmla="*/ 377666 h 514350"/>
                <a:gd name="connsiteX7119" fmla="*/ 424339 w 6400800"/>
                <a:gd name="connsiteY7119" fmla="*/ 375761 h 514350"/>
                <a:gd name="connsiteX7120" fmla="*/ 424339 w 6400800"/>
                <a:gd name="connsiteY7120" fmla="*/ 374809 h 514350"/>
                <a:gd name="connsiteX7121" fmla="*/ 418624 w 6400800"/>
                <a:gd name="connsiteY7121" fmla="*/ 351949 h 514350"/>
                <a:gd name="connsiteX7122" fmla="*/ 418624 w 6400800"/>
                <a:gd name="connsiteY7122" fmla="*/ 345281 h 514350"/>
                <a:gd name="connsiteX7123" fmla="*/ 406241 w 6400800"/>
                <a:gd name="connsiteY7123" fmla="*/ 261461 h 514350"/>
                <a:gd name="connsiteX7124" fmla="*/ 411956 w 6400800"/>
                <a:gd name="connsiteY7124" fmla="*/ 285274 h 514350"/>
                <a:gd name="connsiteX7125" fmla="*/ 407194 w 6400800"/>
                <a:gd name="connsiteY7125" fmla="*/ 310039 h 514350"/>
                <a:gd name="connsiteX7126" fmla="*/ 405289 w 6400800"/>
                <a:gd name="connsiteY7126" fmla="*/ 302419 h 514350"/>
                <a:gd name="connsiteX7127" fmla="*/ 406241 w 6400800"/>
                <a:gd name="connsiteY7127" fmla="*/ 261461 h 514350"/>
                <a:gd name="connsiteX7128" fmla="*/ 382429 w 6400800"/>
                <a:gd name="connsiteY7128" fmla="*/ 290036 h 514350"/>
                <a:gd name="connsiteX7129" fmla="*/ 381476 w 6400800"/>
                <a:gd name="connsiteY7129" fmla="*/ 293846 h 514350"/>
                <a:gd name="connsiteX7130" fmla="*/ 381476 w 6400800"/>
                <a:gd name="connsiteY7130" fmla="*/ 285274 h 514350"/>
                <a:gd name="connsiteX7131" fmla="*/ 382429 w 6400800"/>
                <a:gd name="connsiteY7131" fmla="*/ 290036 h 514350"/>
                <a:gd name="connsiteX7132" fmla="*/ 361474 w 6400800"/>
                <a:gd name="connsiteY7132" fmla="*/ 394811 h 514350"/>
                <a:gd name="connsiteX7133" fmla="*/ 361474 w 6400800"/>
                <a:gd name="connsiteY7133" fmla="*/ 404336 h 514350"/>
                <a:gd name="connsiteX7134" fmla="*/ 361474 w 6400800"/>
                <a:gd name="connsiteY7134" fmla="*/ 407194 h 514350"/>
                <a:gd name="connsiteX7135" fmla="*/ 354806 w 6400800"/>
                <a:gd name="connsiteY7135" fmla="*/ 383381 h 514350"/>
                <a:gd name="connsiteX7136" fmla="*/ 354806 w 6400800"/>
                <a:gd name="connsiteY7136" fmla="*/ 382429 h 514350"/>
                <a:gd name="connsiteX7137" fmla="*/ 352901 w 6400800"/>
                <a:gd name="connsiteY7137" fmla="*/ 373856 h 514350"/>
                <a:gd name="connsiteX7138" fmla="*/ 361474 w 6400800"/>
                <a:gd name="connsiteY7138" fmla="*/ 394811 h 514350"/>
                <a:gd name="connsiteX7139" fmla="*/ 347186 w 6400800"/>
                <a:gd name="connsiteY7139" fmla="*/ 307181 h 514350"/>
                <a:gd name="connsiteX7140" fmla="*/ 349091 w 6400800"/>
                <a:gd name="connsiteY7140" fmla="*/ 311944 h 514350"/>
                <a:gd name="connsiteX7141" fmla="*/ 347186 w 6400800"/>
                <a:gd name="connsiteY7141" fmla="*/ 309086 h 514350"/>
                <a:gd name="connsiteX7142" fmla="*/ 347186 w 6400800"/>
                <a:gd name="connsiteY7142" fmla="*/ 307181 h 514350"/>
                <a:gd name="connsiteX7143" fmla="*/ 347186 w 6400800"/>
                <a:gd name="connsiteY7143" fmla="*/ 429101 h 514350"/>
                <a:gd name="connsiteX7144" fmla="*/ 348139 w 6400800"/>
                <a:gd name="connsiteY7144" fmla="*/ 432911 h 514350"/>
                <a:gd name="connsiteX7145" fmla="*/ 346234 w 6400800"/>
                <a:gd name="connsiteY7145" fmla="*/ 432911 h 514350"/>
                <a:gd name="connsiteX7146" fmla="*/ 347186 w 6400800"/>
                <a:gd name="connsiteY7146" fmla="*/ 429101 h 514350"/>
                <a:gd name="connsiteX7147" fmla="*/ 310991 w 6400800"/>
                <a:gd name="connsiteY7147" fmla="*/ 439579 h 514350"/>
                <a:gd name="connsiteX7148" fmla="*/ 311944 w 6400800"/>
                <a:gd name="connsiteY7148" fmla="*/ 424339 h 514350"/>
                <a:gd name="connsiteX7149" fmla="*/ 317659 w 6400800"/>
                <a:gd name="connsiteY7149" fmla="*/ 438626 h 514350"/>
                <a:gd name="connsiteX7150" fmla="*/ 310991 w 6400800"/>
                <a:gd name="connsiteY7150" fmla="*/ 439579 h 514350"/>
                <a:gd name="connsiteX7151" fmla="*/ 302419 w 6400800"/>
                <a:gd name="connsiteY7151" fmla="*/ 230981 h 514350"/>
                <a:gd name="connsiteX7152" fmla="*/ 304324 w 6400800"/>
                <a:gd name="connsiteY7152" fmla="*/ 237649 h 514350"/>
                <a:gd name="connsiteX7153" fmla="*/ 307181 w 6400800"/>
                <a:gd name="connsiteY7153" fmla="*/ 252889 h 514350"/>
                <a:gd name="connsiteX7154" fmla="*/ 300514 w 6400800"/>
                <a:gd name="connsiteY7154" fmla="*/ 244316 h 514350"/>
                <a:gd name="connsiteX7155" fmla="*/ 302419 w 6400800"/>
                <a:gd name="connsiteY7155" fmla="*/ 230981 h 514350"/>
                <a:gd name="connsiteX7156" fmla="*/ 295751 w 6400800"/>
                <a:gd name="connsiteY7156" fmla="*/ 269081 h 514350"/>
                <a:gd name="connsiteX7157" fmla="*/ 297656 w 6400800"/>
                <a:gd name="connsiteY7157" fmla="*/ 262414 h 514350"/>
                <a:gd name="connsiteX7158" fmla="*/ 295751 w 6400800"/>
                <a:gd name="connsiteY7158" fmla="*/ 265271 h 514350"/>
                <a:gd name="connsiteX7159" fmla="*/ 297656 w 6400800"/>
                <a:gd name="connsiteY7159" fmla="*/ 251936 h 514350"/>
                <a:gd name="connsiteX7160" fmla="*/ 299561 w 6400800"/>
                <a:gd name="connsiteY7160" fmla="*/ 243364 h 514350"/>
                <a:gd name="connsiteX7161" fmla="*/ 301466 w 6400800"/>
                <a:gd name="connsiteY7161" fmla="*/ 247174 h 514350"/>
                <a:gd name="connsiteX7162" fmla="*/ 310039 w 6400800"/>
                <a:gd name="connsiteY7162" fmla="*/ 270986 h 514350"/>
                <a:gd name="connsiteX7163" fmla="*/ 319564 w 6400800"/>
                <a:gd name="connsiteY7163" fmla="*/ 312896 h 514350"/>
                <a:gd name="connsiteX7164" fmla="*/ 330041 w 6400800"/>
                <a:gd name="connsiteY7164" fmla="*/ 358616 h 514350"/>
                <a:gd name="connsiteX7165" fmla="*/ 330041 w 6400800"/>
                <a:gd name="connsiteY7165" fmla="*/ 362426 h 514350"/>
                <a:gd name="connsiteX7166" fmla="*/ 327184 w 6400800"/>
                <a:gd name="connsiteY7166" fmla="*/ 404336 h 514350"/>
                <a:gd name="connsiteX7167" fmla="*/ 327184 w 6400800"/>
                <a:gd name="connsiteY7167" fmla="*/ 404336 h 514350"/>
                <a:gd name="connsiteX7168" fmla="*/ 321469 w 6400800"/>
                <a:gd name="connsiteY7168" fmla="*/ 392906 h 514350"/>
                <a:gd name="connsiteX7169" fmla="*/ 310991 w 6400800"/>
                <a:gd name="connsiteY7169" fmla="*/ 362426 h 514350"/>
                <a:gd name="connsiteX7170" fmla="*/ 296704 w 6400800"/>
                <a:gd name="connsiteY7170" fmla="*/ 318611 h 514350"/>
                <a:gd name="connsiteX7171" fmla="*/ 291941 w 6400800"/>
                <a:gd name="connsiteY7171" fmla="*/ 302419 h 514350"/>
                <a:gd name="connsiteX7172" fmla="*/ 295751 w 6400800"/>
                <a:gd name="connsiteY7172" fmla="*/ 269081 h 514350"/>
                <a:gd name="connsiteX7173" fmla="*/ 283369 w 6400800"/>
                <a:gd name="connsiteY7173" fmla="*/ 378619 h 514350"/>
                <a:gd name="connsiteX7174" fmla="*/ 284321 w 6400800"/>
                <a:gd name="connsiteY7174" fmla="*/ 365284 h 514350"/>
                <a:gd name="connsiteX7175" fmla="*/ 285274 w 6400800"/>
                <a:gd name="connsiteY7175" fmla="*/ 363379 h 514350"/>
                <a:gd name="connsiteX7176" fmla="*/ 295751 w 6400800"/>
                <a:gd name="connsiteY7176" fmla="*/ 387191 h 514350"/>
                <a:gd name="connsiteX7177" fmla="*/ 302419 w 6400800"/>
                <a:gd name="connsiteY7177" fmla="*/ 400526 h 514350"/>
                <a:gd name="connsiteX7178" fmla="*/ 303371 w 6400800"/>
                <a:gd name="connsiteY7178" fmla="*/ 404336 h 514350"/>
                <a:gd name="connsiteX7179" fmla="*/ 301466 w 6400800"/>
                <a:gd name="connsiteY7179" fmla="*/ 412909 h 514350"/>
                <a:gd name="connsiteX7180" fmla="*/ 295751 w 6400800"/>
                <a:gd name="connsiteY7180" fmla="*/ 442436 h 514350"/>
                <a:gd name="connsiteX7181" fmla="*/ 283369 w 6400800"/>
                <a:gd name="connsiteY7181" fmla="*/ 444341 h 514350"/>
                <a:gd name="connsiteX7182" fmla="*/ 281464 w 6400800"/>
                <a:gd name="connsiteY7182" fmla="*/ 435769 h 514350"/>
                <a:gd name="connsiteX7183" fmla="*/ 281464 w 6400800"/>
                <a:gd name="connsiteY7183" fmla="*/ 407194 h 514350"/>
                <a:gd name="connsiteX7184" fmla="*/ 283369 w 6400800"/>
                <a:gd name="connsiteY7184" fmla="*/ 378619 h 514350"/>
                <a:gd name="connsiteX7185" fmla="*/ 237649 w 6400800"/>
                <a:gd name="connsiteY7185" fmla="*/ 415766 h 514350"/>
                <a:gd name="connsiteX7186" fmla="*/ 228124 w 6400800"/>
                <a:gd name="connsiteY7186" fmla="*/ 395764 h 514350"/>
                <a:gd name="connsiteX7187" fmla="*/ 229076 w 6400800"/>
                <a:gd name="connsiteY7187" fmla="*/ 383381 h 514350"/>
                <a:gd name="connsiteX7188" fmla="*/ 239554 w 6400800"/>
                <a:gd name="connsiteY7188" fmla="*/ 406241 h 514350"/>
                <a:gd name="connsiteX7189" fmla="*/ 237649 w 6400800"/>
                <a:gd name="connsiteY7189" fmla="*/ 415766 h 514350"/>
                <a:gd name="connsiteX7190" fmla="*/ 247174 w 6400800"/>
                <a:gd name="connsiteY7190" fmla="*/ 431006 h 514350"/>
                <a:gd name="connsiteX7191" fmla="*/ 248126 w 6400800"/>
                <a:gd name="connsiteY7191" fmla="*/ 425291 h 514350"/>
                <a:gd name="connsiteX7192" fmla="*/ 248126 w 6400800"/>
                <a:gd name="connsiteY7192" fmla="*/ 425291 h 514350"/>
                <a:gd name="connsiteX7193" fmla="*/ 247174 w 6400800"/>
                <a:gd name="connsiteY7193" fmla="*/ 431006 h 514350"/>
                <a:gd name="connsiteX7194" fmla="*/ 264319 w 6400800"/>
                <a:gd name="connsiteY7194" fmla="*/ 204311 h 514350"/>
                <a:gd name="connsiteX7195" fmla="*/ 270986 w 6400800"/>
                <a:gd name="connsiteY7195" fmla="*/ 185261 h 514350"/>
                <a:gd name="connsiteX7196" fmla="*/ 267176 w 6400800"/>
                <a:gd name="connsiteY7196" fmla="*/ 214789 h 514350"/>
                <a:gd name="connsiteX7197" fmla="*/ 266224 w 6400800"/>
                <a:gd name="connsiteY7197" fmla="*/ 210026 h 514350"/>
                <a:gd name="connsiteX7198" fmla="*/ 264319 w 6400800"/>
                <a:gd name="connsiteY7198" fmla="*/ 204311 h 514350"/>
                <a:gd name="connsiteX7199" fmla="*/ 264319 w 6400800"/>
                <a:gd name="connsiteY7199" fmla="*/ 204311 h 514350"/>
                <a:gd name="connsiteX7200" fmla="*/ 254794 w 6400800"/>
                <a:gd name="connsiteY7200" fmla="*/ 235744 h 514350"/>
                <a:gd name="connsiteX7201" fmla="*/ 258604 w 6400800"/>
                <a:gd name="connsiteY7201" fmla="*/ 220504 h 514350"/>
                <a:gd name="connsiteX7202" fmla="*/ 261461 w 6400800"/>
                <a:gd name="connsiteY7202" fmla="*/ 242411 h 514350"/>
                <a:gd name="connsiteX7203" fmla="*/ 262414 w 6400800"/>
                <a:gd name="connsiteY7203" fmla="*/ 245269 h 514350"/>
                <a:gd name="connsiteX7204" fmla="*/ 260509 w 6400800"/>
                <a:gd name="connsiteY7204" fmla="*/ 270034 h 514350"/>
                <a:gd name="connsiteX7205" fmla="*/ 257651 w 6400800"/>
                <a:gd name="connsiteY7205" fmla="*/ 264319 h 514350"/>
                <a:gd name="connsiteX7206" fmla="*/ 250984 w 6400800"/>
                <a:gd name="connsiteY7206" fmla="*/ 249079 h 514350"/>
                <a:gd name="connsiteX7207" fmla="*/ 254794 w 6400800"/>
                <a:gd name="connsiteY7207" fmla="*/ 235744 h 514350"/>
                <a:gd name="connsiteX7208" fmla="*/ 245269 w 6400800"/>
                <a:gd name="connsiteY7208" fmla="*/ 276701 h 514350"/>
                <a:gd name="connsiteX7209" fmla="*/ 249079 w 6400800"/>
                <a:gd name="connsiteY7209" fmla="*/ 260509 h 514350"/>
                <a:gd name="connsiteX7210" fmla="*/ 250984 w 6400800"/>
                <a:gd name="connsiteY7210" fmla="*/ 268129 h 514350"/>
                <a:gd name="connsiteX7211" fmla="*/ 258604 w 6400800"/>
                <a:gd name="connsiteY7211" fmla="*/ 292894 h 514350"/>
                <a:gd name="connsiteX7212" fmla="*/ 259556 w 6400800"/>
                <a:gd name="connsiteY7212" fmla="*/ 294799 h 514350"/>
                <a:gd name="connsiteX7213" fmla="*/ 259556 w 6400800"/>
                <a:gd name="connsiteY7213" fmla="*/ 297656 h 514350"/>
                <a:gd name="connsiteX7214" fmla="*/ 257651 w 6400800"/>
                <a:gd name="connsiteY7214" fmla="*/ 333851 h 514350"/>
                <a:gd name="connsiteX7215" fmla="*/ 250984 w 6400800"/>
                <a:gd name="connsiteY7215" fmla="*/ 309086 h 514350"/>
                <a:gd name="connsiteX7216" fmla="*/ 253841 w 6400800"/>
                <a:gd name="connsiteY7216" fmla="*/ 301466 h 514350"/>
                <a:gd name="connsiteX7217" fmla="*/ 250984 w 6400800"/>
                <a:gd name="connsiteY7217" fmla="*/ 307181 h 514350"/>
                <a:gd name="connsiteX7218" fmla="*/ 244316 w 6400800"/>
                <a:gd name="connsiteY7218" fmla="*/ 284321 h 514350"/>
                <a:gd name="connsiteX7219" fmla="*/ 245269 w 6400800"/>
                <a:gd name="connsiteY7219" fmla="*/ 276701 h 514350"/>
                <a:gd name="connsiteX7220" fmla="*/ 236696 w 6400800"/>
                <a:gd name="connsiteY7220" fmla="*/ 325279 h 514350"/>
                <a:gd name="connsiteX7221" fmla="*/ 237649 w 6400800"/>
                <a:gd name="connsiteY7221" fmla="*/ 322421 h 514350"/>
                <a:gd name="connsiteX7222" fmla="*/ 238601 w 6400800"/>
                <a:gd name="connsiteY7222" fmla="*/ 329089 h 514350"/>
                <a:gd name="connsiteX7223" fmla="*/ 235744 w 6400800"/>
                <a:gd name="connsiteY7223" fmla="*/ 335756 h 514350"/>
                <a:gd name="connsiteX7224" fmla="*/ 236696 w 6400800"/>
                <a:gd name="connsiteY7224" fmla="*/ 325279 h 514350"/>
                <a:gd name="connsiteX7225" fmla="*/ 234791 w 6400800"/>
                <a:gd name="connsiteY7225" fmla="*/ 353854 h 514350"/>
                <a:gd name="connsiteX7226" fmla="*/ 240506 w 6400800"/>
                <a:gd name="connsiteY7226" fmla="*/ 337661 h 514350"/>
                <a:gd name="connsiteX7227" fmla="*/ 241459 w 6400800"/>
                <a:gd name="connsiteY7227" fmla="*/ 342424 h 514350"/>
                <a:gd name="connsiteX7228" fmla="*/ 248126 w 6400800"/>
                <a:gd name="connsiteY7228" fmla="*/ 372904 h 514350"/>
                <a:gd name="connsiteX7229" fmla="*/ 247174 w 6400800"/>
                <a:gd name="connsiteY7229" fmla="*/ 378619 h 514350"/>
                <a:gd name="connsiteX7230" fmla="*/ 242411 w 6400800"/>
                <a:gd name="connsiteY7230" fmla="*/ 369094 h 514350"/>
                <a:gd name="connsiteX7231" fmla="*/ 234791 w 6400800"/>
                <a:gd name="connsiteY7231" fmla="*/ 353854 h 514350"/>
                <a:gd name="connsiteX7232" fmla="*/ 234791 w 6400800"/>
                <a:gd name="connsiteY7232" fmla="*/ 353854 h 514350"/>
                <a:gd name="connsiteX7233" fmla="*/ 222409 w 6400800"/>
                <a:gd name="connsiteY7233" fmla="*/ 297656 h 514350"/>
                <a:gd name="connsiteX7234" fmla="*/ 227171 w 6400800"/>
                <a:gd name="connsiteY7234" fmla="*/ 278606 h 514350"/>
                <a:gd name="connsiteX7235" fmla="*/ 228124 w 6400800"/>
                <a:gd name="connsiteY7235" fmla="*/ 284321 h 514350"/>
                <a:gd name="connsiteX7236" fmla="*/ 230029 w 6400800"/>
                <a:gd name="connsiteY7236" fmla="*/ 290989 h 514350"/>
                <a:gd name="connsiteX7237" fmla="*/ 222409 w 6400800"/>
                <a:gd name="connsiteY7237" fmla="*/ 324326 h 514350"/>
                <a:gd name="connsiteX7238" fmla="*/ 221456 w 6400800"/>
                <a:gd name="connsiteY7238" fmla="*/ 330041 h 514350"/>
                <a:gd name="connsiteX7239" fmla="*/ 220504 w 6400800"/>
                <a:gd name="connsiteY7239" fmla="*/ 329089 h 514350"/>
                <a:gd name="connsiteX7240" fmla="*/ 218599 w 6400800"/>
                <a:gd name="connsiteY7240" fmla="*/ 312896 h 514350"/>
                <a:gd name="connsiteX7241" fmla="*/ 222409 w 6400800"/>
                <a:gd name="connsiteY7241" fmla="*/ 297656 h 514350"/>
                <a:gd name="connsiteX7242" fmla="*/ 169069 w 6400800"/>
                <a:gd name="connsiteY7242" fmla="*/ 411956 h 514350"/>
                <a:gd name="connsiteX7243" fmla="*/ 169069 w 6400800"/>
                <a:gd name="connsiteY7243" fmla="*/ 412909 h 514350"/>
                <a:gd name="connsiteX7244" fmla="*/ 165259 w 6400800"/>
                <a:gd name="connsiteY7244" fmla="*/ 396716 h 514350"/>
                <a:gd name="connsiteX7245" fmla="*/ 164306 w 6400800"/>
                <a:gd name="connsiteY7245" fmla="*/ 375761 h 514350"/>
                <a:gd name="connsiteX7246" fmla="*/ 161449 w 6400800"/>
                <a:gd name="connsiteY7246" fmla="*/ 345281 h 514350"/>
                <a:gd name="connsiteX7247" fmla="*/ 158591 w 6400800"/>
                <a:gd name="connsiteY7247" fmla="*/ 321469 h 514350"/>
                <a:gd name="connsiteX7248" fmla="*/ 159544 w 6400800"/>
                <a:gd name="connsiteY7248" fmla="*/ 323374 h 514350"/>
                <a:gd name="connsiteX7249" fmla="*/ 162401 w 6400800"/>
                <a:gd name="connsiteY7249" fmla="*/ 328136 h 514350"/>
                <a:gd name="connsiteX7250" fmla="*/ 167164 w 6400800"/>
                <a:gd name="connsiteY7250" fmla="*/ 376714 h 514350"/>
                <a:gd name="connsiteX7251" fmla="*/ 170021 w 6400800"/>
                <a:gd name="connsiteY7251" fmla="*/ 402431 h 514350"/>
                <a:gd name="connsiteX7252" fmla="*/ 169069 w 6400800"/>
                <a:gd name="connsiteY7252" fmla="*/ 411956 h 514350"/>
                <a:gd name="connsiteX7253" fmla="*/ 209074 w 6400800"/>
                <a:gd name="connsiteY7253" fmla="*/ 350044 h 514350"/>
                <a:gd name="connsiteX7254" fmla="*/ 209074 w 6400800"/>
                <a:gd name="connsiteY7254" fmla="*/ 359569 h 514350"/>
                <a:gd name="connsiteX7255" fmla="*/ 207169 w 6400800"/>
                <a:gd name="connsiteY7255" fmla="*/ 356711 h 514350"/>
                <a:gd name="connsiteX7256" fmla="*/ 209074 w 6400800"/>
                <a:gd name="connsiteY7256" fmla="*/ 350044 h 514350"/>
                <a:gd name="connsiteX7257" fmla="*/ 170974 w 6400800"/>
                <a:gd name="connsiteY7257" fmla="*/ 259556 h 514350"/>
                <a:gd name="connsiteX7258" fmla="*/ 178594 w 6400800"/>
                <a:gd name="connsiteY7258" fmla="*/ 274796 h 514350"/>
                <a:gd name="connsiteX7259" fmla="*/ 187166 w 6400800"/>
                <a:gd name="connsiteY7259" fmla="*/ 291941 h 514350"/>
                <a:gd name="connsiteX7260" fmla="*/ 205264 w 6400800"/>
                <a:gd name="connsiteY7260" fmla="*/ 330041 h 514350"/>
                <a:gd name="connsiteX7261" fmla="*/ 200501 w 6400800"/>
                <a:gd name="connsiteY7261" fmla="*/ 343376 h 514350"/>
                <a:gd name="connsiteX7262" fmla="*/ 199549 w 6400800"/>
                <a:gd name="connsiteY7262" fmla="*/ 342424 h 514350"/>
                <a:gd name="connsiteX7263" fmla="*/ 180499 w 6400800"/>
                <a:gd name="connsiteY7263" fmla="*/ 310039 h 514350"/>
                <a:gd name="connsiteX7264" fmla="*/ 176689 w 6400800"/>
                <a:gd name="connsiteY7264" fmla="*/ 296704 h 514350"/>
                <a:gd name="connsiteX7265" fmla="*/ 176689 w 6400800"/>
                <a:gd name="connsiteY7265" fmla="*/ 305276 h 514350"/>
                <a:gd name="connsiteX7266" fmla="*/ 172879 w 6400800"/>
                <a:gd name="connsiteY7266" fmla="*/ 299561 h 514350"/>
                <a:gd name="connsiteX7267" fmla="*/ 171926 w 6400800"/>
                <a:gd name="connsiteY7267" fmla="*/ 298609 h 514350"/>
                <a:gd name="connsiteX7268" fmla="*/ 168116 w 6400800"/>
                <a:gd name="connsiteY7268" fmla="*/ 279559 h 514350"/>
                <a:gd name="connsiteX7269" fmla="*/ 158591 w 6400800"/>
                <a:gd name="connsiteY7269" fmla="*/ 235744 h 514350"/>
                <a:gd name="connsiteX7270" fmla="*/ 170974 w 6400800"/>
                <a:gd name="connsiteY7270" fmla="*/ 259556 h 514350"/>
                <a:gd name="connsiteX7271" fmla="*/ 161449 w 6400800"/>
                <a:gd name="connsiteY7271" fmla="*/ 307181 h 514350"/>
                <a:gd name="connsiteX7272" fmla="*/ 156686 w 6400800"/>
                <a:gd name="connsiteY7272" fmla="*/ 301466 h 514350"/>
                <a:gd name="connsiteX7273" fmla="*/ 155734 w 6400800"/>
                <a:gd name="connsiteY7273" fmla="*/ 297656 h 514350"/>
                <a:gd name="connsiteX7274" fmla="*/ 161449 w 6400800"/>
                <a:gd name="connsiteY7274" fmla="*/ 307181 h 514350"/>
                <a:gd name="connsiteX7275" fmla="*/ 130969 w 6400800"/>
                <a:gd name="connsiteY7275" fmla="*/ 280511 h 514350"/>
                <a:gd name="connsiteX7276" fmla="*/ 133826 w 6400800"/>
                <a:gd name="connsiteY7276" fmla="*/ 284321 h 514350"/>
                <a:gd name="connsiteX7277" fmla="*/ 145256 w 6400800"/>
                <a:gd name="connsiteY7277" fmla="*/ 301466 h 514350"/>
                <a:gd name="connsiteX7278" fmla="*/ 150971 w 6400800"/>
                <a:gd name="connsiteY7278" fmla="*/ 310039 h 514350"/>
                <a:gd name="connsiteX7279" fmla="*/ 150019 w 6400800"/>
                <a:gd name="connsiteY7279" fmla="*/ 341471 h 514350"/>
                <a:gd name="connsiteX7280" fmla="*/ 149066 w 6400800"/>
                <a:gd name="connsiteY7280" fmla="*/ 339566 h 514350"/>
                <a:gd name="connsiteX7281" fmla="*/ 145256 w 6400800"/>
                <a:gd name="connsiteY7281" fmla="*/ 328136 h 514350"/>
                <a:gd name="connsiteX7282" fmla="*/ 140494 w 6400800"/>
                <a:gd name="connsiteY7282" fmla="*/ 317659 h 514350"/>
                <a:gd name="connsiteX7283" fmla="*/ 132874 w 6400800"/>
                <a:gd name="connsiteY7283" fmla="*/ 301466 h 514350"/>
                <a:gd name="connsiteX7284" fmla="*/ 127159 w 6400800"/>
                <a:gd name="connsiteY7284" fmla="*/ 290989 h 514350"/>
                <a:gd name="connsiteX7285" fmla="*/ 130969 w 6400800"/>
                <a:gd name="connsiteY7285" fmla="*/ 280511 h 514350"/>
                <a:gd name="connsiteX7286" fmla="*/ 121444 w 6400800"/>
                <a:gd name="connsiteY7286" fmla="*/ 318611 h 514350"/>
                <a:gd name="connsiteX7287" fmla="*/ 127159 w 6400800"/>
                <a:gd name="connsiteY7287" fmla="*/ 294799 h 514350"/>
                <a:gd name="connsiteX7288" fmla="*/ 127159 w 6400800"/>
                <a:gd name="connsiteY7288" fmla="*/ 293846 h 514350"/>
                <a:gd name="connsiteX7289" fmla="*/ 129064 w 6400800"/>
                <a:gd name="connsiteY7289" fmla="*/ 303371 h 514350"/>
                <a:gd name="connsiteX7290" fmla="*/ 133826 w 6400800"/>
                <a:gd name="connsiteY7290" fmla="*/ 320516 h 514350"/>
                <a:gd name="connsiteX7291" fmla="*/ 138589 w 6400800"/>
                <a:gd name="connsiteY7291" fmla="*/ 342424 h 514350"/>
                <a:gd name="connsiteX7292" fmla="*/ 143351 w 6400800"/>
                <a:gd name="connsiteY7292" fmla="*/ 369094 h 514350"/>
                <a:gd name="connsiteX7293" fmla="*/ 148114 w 6400800"/>
                <a:gd name="connsiteY7293" fmla="*/ 398621 h 514350"/>
                <a:gd name="connsiteX7294" fmla="*/ 149066 w 6400800"/>
                <a:gd name="connsiteY7294" fmla="*/ 403384 h 514350"/>
                <a:gd name="connsiteX7295" fmla="*/ 149066 w 6400800"/>
                <a:gd name="connsiteY7295" fmla="*/ 411004 h 514350"/>
                <a:gd name="connsiteX7296" fmla="*/ 149066 w 6400800"/>
                <a:gd name="connsiteY7296" fmla="*/ 416719 h 514350"/>
                <a:gd name="connsiteX7297" fmla="*/ 138589 w 6400800"/>
                <a:gd name="connsiteY7297" fmla="*/ 388144 h 514350"/>
                <a:gd name="connsiteX7298" fmla="*/ 129064 w 6400800"/>
                <a:gd name="connsiteY7298" fmla="*/ 363379 h 514350"/>
                <a:gd name="connsiteX7299" fmla="*/ 131921 w 6400800"/>
                <a:gd name="connsiteY7299" fmla="*/ 358616 h 514350"/>
                <a:gd name="connsiteX7300" fmla="*/ 129064 w 6400800"/>
                <a:gd name="connsiteY7300" fmla="*/ 361474 h 514350"/>
                <a:gd name="connsiteX7301" fmla="*/ 124301 w 6400800"/>
                <a:gd name="connsiteY7301" fmla="*/ 350044 h 514350"/>
                <a:gd name="connsiteX7302" fmla="*/ 125254 w 6400800"/>
                <a:gd name="connsiteY7302" fmla="*/ 344329 h 514350"/>
                <a:gd name="connsiteX7303" fmla="*/ 129064 w 6400800"/>
                <a:gd name="connsiteY7303" fmla="*/ 328136 h 514350"/>
                <a:gd name="connsiteX7304" fmla="*/ 121444 w 6400800"/>
                <a:gd name="connsiteY7304" fmla="*/ 343376 h 514350"/>
                <a:gd name="connsiteX7305" fmla="*/ 121444 w 6400800"/>
                <a:gd name="connsiteY7305" fmla="*/ 343376 h 514350"/>
                <a:gd name="connsiteX7306" fmla="*/ 120491 w 6400800"/>
                <a:gd name="connsiteY7306" fmla="*/ 341471 h 514350"/>
                <a:gd name="connsiteX7307" fmla="*/ 117634 w 6400800"/>
                <a:gd name="connsiteY7307" fmla="*/ 334804 h 514350"/>
                <a:gd name="connsiteX7308" fmla="*/ 121444 w 6400800"/>
                <a:gd name="connsiteY7308" fmla="*/ 318611 h 514350"/>
                <a:gd name="connsiteX7309" fmla="*/ 116681 w 6400800"/>
                <a:gd name="connsiteY7309" fmla="*/ 393859 h 514350"/>
                <a:gd name="connsiteX7310" fmla="*/ 127159 w 6400800"/>
                <a:gd name="connsiteY7310" fmla="*/ 419576 h 514350"/>
                <a:gd name="connsiteX7311" fmla="*/ 113824 w 6400800"/>
                <a:gd name="connsiteY7311" fmla="*/ 414814 h 514350"/>
                <a:gd name="connsiteX7312" fmla="*/ 116681 w 6400800"/>
                <a:gd name="connsiteY7312" fmla="*/ 393859 h 514350"/>
                <a:gd name="connsiteX7313" fmla="*/ 91916 w 6400800"/>
                <a:gd name="connsiteY7313" fmla="*/ 341471 h 514350"/>
                <a:gd name="connsiteX7314" fmla="*/ 92869 w 6400800"/>
                <a:gd name="connsiteY7314" fmla="*/ 335756 h 514350"/>
                <a:gd name="connsiteX7315" fmla="*/ 94774 w 6400800"/>
                <a:gd name="connsiteY7315" fmla="*/ 340519 h 514350"/>
                <a:gd name="connsiteX7316" fmla="*/ 102394 w 6400800"/>
                <a:gd name="connsiteY7316" fmla="*/ 358616 h 514350"/>
                <a:gd name="connsiteX7317" fmla="*/ 96679 w 6400800"/>
                <a:gd name="connsiteY7317" fmla="*/ 384334 h 514350"/>
                <a:gd name="connsiteX7318" fmla="*/ 94774 w 6400800"/>
                <a:gd name="connsiteY7318" fmla="*/ 399574 h 514350"/>
                <a:gd name="connsiteX7319" fmla="*/ 93821 w 6400800"/>
                <a:gd name="connsiteY7319" fmla="*/ 400526 h 514350"/>
                <a:gd name="connsiteX7320" fmla="*/ 90964 w 6400800"/>
                <a:gd name="connsiteY7320" fmla="*/ 404336 h 514350"/>
                <a:gd name="connsiteX7321" fmla="*/ 88106 w 6400800"/>
                <a:gd name="connsiteY7321" fmla="*/ 382429 h 514350"/>
                <a:gd name="connsiteX7322" fmla="*/ 85249 w 6400800"/>
                <a:gd name="connsiteY7322" fmla="*/ 365284 h 514350"/>
                <a:gd name="connsiteX7323" fmla="*/ 91916 w 6400800"/>
                <a:gd name="connsiteY7323" fmla="*/ 341471 h 514350"/>
                <a:gd name="connsiteX7324" fmla="*/ 72866 w 6400800"/>
                <a:gd name="connsiteY7324" fmla="*/ 407194 h 514350"/>
                <a:gd name="connsiteX7325" fmla="*/ 72866 w 6400800"/>
                <a:gd name="connsiteY7325" fmla="*/ 409099 h 514350"/>
                <a:gd name="connsiteX7326" fmla="*/ 71914 w 6400800"/>
                <a:gd name="connsiteY7326" fmla="*/ 409099 h 514350"/>
                <a:gd name="connsiteX7327" fmla="*/ 72866 w 6400800"/>
                <a:gd name="connsiteY7327" fmla="*/ 407194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Lst>
              <a:rect l="l" t="t" r="r" b="b"/>
              <a:pathLst>
                <a:path w="6400800" h="514350">
                  <a:moveTo>
                    <a:pt x="7144" y="511016"/>
                  </a:moveTo>
                  <a:lnTo>
                    <a:pt x="6354604" y="511016"/>
                  </a:lnTo>
                  <a:lnTo>
                    <a:pt x="6354604" y="409099"/>
                  </a:lnTo>
                  <a:cubicBezTo>
                    <a:pt x="6346031" y="411004"/>
                    <a:pt x="6337459" y="413861"/>
                    <a:pt x="6327934" y="415766"/>
                  </a:cubicBezTo>
                  <a:cubicBezTo>
                    <a:pt x="6327934" y="411956"/>
                    <a:pt x="6327934" y="408146"/>
                    <a:pt x="6327934" y="404336"/>
                  </a:cubicBezTo>
                  <a:cubicBezTo>
                    <a:pt x="6328887" y="396716"/>
                    <a:pt x="6327934" y="389096"/>
                    <a:pt x="6328887" y="383381"/>
                  </a:cubicBezTo>
                  <a:cubicBezTo>
                    <a:pt x="6329839" y="371951"/>
                    <a:pt x="6329839" y="365284"/>
                    <a:pt x="6329839" y="365284"/>
                  </a:cubicBezTo>
                  <a:cubicBezTo>
                    <a:pt x="6329839" y="365284"/>
                    <a:pt x="6327934" y="371951"/>
                    <a:pt x="6324124" y="383381"/>
                  </a:cubicBezTo>
                  <a:cubicBezTo>
                    <a:pt x="6322219" y="389096"/>
                    <a:pt x="6321267" y="395764"/>
                    <a:pt x="6319362" y="404336"/>
                  </a:cubicBezTo>
                  <a:cubicBezTo>
                    <a:pt x="6318409" y="409099"/>
                    <a:pt x="6317456" y="413861"/>
                    <a:pt x="6316504" y="419576"/>
                  </a:cubicBezTo>
                  <a:cubicBezTo>
                    <a:pt x="6311742" y="420529"/>
                    <a:pt x="6306979" y="421481"/>
                    <a:pt x="6303169" y="423386"/>
                  </a:cubicBezTo>
                  <a:cubicBezTo>
                    <a:pt x="6303169" y="416719"/>
                    <a:pt x="6303169" y="411004"/>
                    <a:pt x="6304121" y="405289"/>
                  </a:cubicBezTo>
                  <a:cubicBezTo>
                    <a:pt x="6308884" y="390049"/>
                    <a:pt x="6314599" y="373856"/>
                    <a:pt x="6319362" y="358616"/>
                  </a:cubicBezTo>
                  <a:cubicBezTo>
                    <a:pt x="6320314" y="355759"/>
                    <a:pt x="6321267" y="352901"/>
                    <a:pt x="6322219" y="349091"/>
                  </a:cubicBezTo>
                  <a:cubicBezTo>
                    <a:pt x="6326029" y="336709"/>
                    <a:pt x="6330792" y="325279"/>
                    <a:pt x="6334601" y="312896"/>
                  </a:cubicBezTo>
                  <a:cubicBezTo>
                    <a:pt x="6340317" y="297656"/>
                    <a:pt x="6345079" y="283369"/>
                    <a:pt x="6349842" y="269081"/>
                  </a:cubicBezTo>
                  <a:cubicBezTo>
                    <a:pt x="6354604" y="254794"/>
                    <a:pt x="6359367" y="240506"/>
                    <a:pt x="6363176" y="228124"/>
                  </a:cubicBezTo>
                  <a:cubicBezTo>
                    <a:pt x="6367939" y="214789"/>
                    <a:pt x="6371749" y="202406"/>
                    <a:pt x="6375559" y="190976"/>
                  </a:cubicBezTo>
                  <a:cubicBezTo>
                    <a:pt x="6383179" y="168116"/>
                    <a:pt x="6388894" y="149066"/>
                    <a:pt x="6393656" y="134779"/>
                  </a:cubicBezTo>
                  <a:cubicBezTo>
                    <a:pt x="6397467" y="121444"/>
                    <a:pt x="6400324" y="113824"/>
                    <a:pt x="6400324" y="113824"/>
                  </a:cubicBezTo>
                  <a:cubicBezTo>
                    <a:pt x="6400324" y="113824"/>
                    <a:pt x="6396514" y="121444"/>
                    <a:pt x="6389846" y="133826"/>
                  </a:cubicBezTo>
                  <a:cubicBezTo>
                    <a:pt x="6386989" y="139541"/>
                    <a:pt x="6384131" y="146209"/>
                    <a:pt x="6380321" y="153829"/>
                  </a:cubicBezTo>
                  <a:cubicBezTo>
                    <a:pt x="6385084" y="136684"/>
                    <a:pt x="6389846" y="121444"/>
                    <a:pt x="6392704" y="110966"/>
                  </a:cubicBezTo>
                  <a:cubicBezTo>
                    <a:pt x="6396514" y="95726"/>
                    <a:pt x="6399371" y="87154"/>
                    <a:pt x="6399371" y="87154"/>
                  </a:cubicBezTo>
                  <a:cubicBezTo>
                    <a:pt x="6399371" y="87154"/>
                    <a:pt x="6395562" y="95726"/>
                    <a:pt x="6388894" y="109061"/>
                  </a:cubicBezTo>
                  <a:cubicBezTo>
                    <a:pt x="6386037" y="115729"/>
                    <a:pt x="6382226" y="125254"/>
                    <a:pt x="6377464" y="134779"/>
                  </a:cubicBezTo>
                  <a:cubicBezTo>
                    <a:pt x="6372701" y="144304"/>
                    <a:pt x="6367939" y="155734"/>
                    <a:pt x="6364129" y="168116"/>
                  </a:cubicBezTo>
                  <a:cubicBezTo>
                    <a:pt x="6354604" y="192881"/>
                    <a:pt x="6343174" y="222409"/>
                    <a:pt x="6332696" y="253841"/>
                  </a:cubicBezTo>
                  <a:cubicBezTo>
                    <a:pt x="6326981" y="270034"/>
                    <a:pt x="6321267" y="286226"/>
                    <a:pt x="6316504" y="302419"/>
                  </a:cubicBezTo>
                  <a:cubicBezTo>
                    <a:pt x="6315551" y="304324"/>
                    <a:pt x="6315551" y="306229"/>
                    <a:pt x="6314599" y="308134"/>
                  </a:cubicBezTo>
                  <a:cubicBezTo>
                    <a:pt x="6315551" y="300514"/>
                    <a:pt x="6316504" y="293846"/>
                    <a:pt x="6317456" y="287179"/>
                  </a:cubicBezTo>
                  <a:cubicBezTo>
                    <a:pt x="6318409" y="279559"/>
                    <a:pt x="6319362" y="272891"/>
                    <a:pt x="6319362" y="267176"/>
                  </a:cubicBezTo>
                  <a:cubicBezTo>
                    <a:pt x="6320314" y="256699"/>
                    <a:pt x="6320314" y="250031"/>
                    <a:pt x="6320314" y="250031"/>
                  </a:cubicBezTo>
                  <a:cubicBezTo>
                    <a:pt x="6320314" y="250031"/>
                    <a:pt x="6318409" y="255746"/>
                    <a:pt x="6314599" y="266224"/>
                  </a:cubicBezTo>
                  <a:cubicBezTo>
                    <a:pt x="6311742" y="276701"/>
                    <a:pt x="6306979" y="291941"/>
                    <a:pt x="6302217" y="310039"/>
                  </a:cubicBezTo>
                  <a:cubicBezTo>
                    <a:pt x="6299359" y="318611"/>
                    <a:pt x="6296501" y="329089"/>
                    <a:pt x="6293644" y="339566"/>
                  </a:cubicBezTo>
                  <a:cubicBezTo>
                    <a:pt x="6291739" y="347186"/>
                    <a:pt x="6288881" y="354806"/>
                    <a:pt x="6286976" y="362426"/>
                  </a:cubicBezTo>
                  <a:cubicBezTo>
                    <a:pt x="6286024" y="352901"/>
                    <a:pt x="6285071" y="343376"/>
                    <a:pt x="6284119" y="335756"/>
                  </a:cubicBezTo>
                  <a:cubicBezTo>
                    <a:pt x="6286024" y="330041"/>
                    <a:pt x="6286976" y="324326"/>
                    <a:pt x="6288881" y="318611"/>
                  </a:cubicBezTo>
                  <a:cubicBezTo>
                    <a:pt x="6293644" y="303371"/>
                    <a:pt x="6298406" y="289084"/>
                    <a:pt x="6302217" y="274796"/>
                  </a:cubicBezTo>
                  <a:cubicBezTo>
                    <a:pt x="6304121" y="268129"/>
                    <a:pt x="6306026" y="261461"/>
                    <a:pt x="6307931" y="255746"/>
                  </a:cubicBezTo>
                  <a:cubicBezTo>
                    <a:pt x="6309837" y="250031"/>
                    <a:pt x="6311742" y="244316"/>
                    <a:pt x="6313646" y="238601"/>
                  </a:cubicBezTo>
                  <a:cubicBezTo>
                    <a:pt x="6317456" y="228124"/>
                    <a:pt x="6320314" y="218599"/>
                    <a:pt x="6323171" y="210026"/>
                  </a:cubicBezTo>
                  <a:cubicBezTo>
                    <a:pt x="6327934" y="193834"/>
                    <a:pt x="6330792" y="185261"/>
                    <a:pt x="6330792" y="185261"/>
                  </a:cubicBezTo>
                  <a:cubicBezTo>
                    <a:pt x="6330792" y="185261"/>
                    <a:pt x="6326981" y="193834"/>
                    <a:pt x="6319362" y="208121"/>
                  </a:cubicBezTo>
                  <a:cubicBezTo>
                    <a:pt x="6315551" y="215741"/>
                    <a:pt x="6311742" y="224314"/>
                    <a:pt x="6306026" y="234791"/>
                  </a:cubicBezTo>
                  <a:cubicBezTo>
                    <a:pt x="6303169" y="239554"/>
                    <a:pt x="6301264" y="245269"/>
                    <a:pt x="6298406" y="250984"/>
                  </a:cubicBezTo>
                  <a:cubicBezTo>
                    <a:pt x="6295549" y="256699"/>
                    <a:pt x="6293644" y="263366"/>
                    <a:pt x="6290787" y="270034"/>
                  </a:cubicBezTo>
                  <a:cubicBezTo>
                    <a:pt x="6286976" y="279559"/>
                    <a:pt x="6282214" y="290036"/>
                    <a:pt x="6278404" y="301466"/>
                  </a:cubicBezTo>
                  <a:cubicBezTo>
                    <a:pt x="6277451" y="295751"/>
                    <a:pt x="6277451" y="292894"/>
                    <a:pt x="6277451" y="292894"/>
                  </a:cubicBezTo>
                  <a:cubicBezTo>
                    <a:pt x="6277451" y="292894"/>
                    <a:pt x="6277451" y="297656"/>
                    <a:pt x="6276499" y="306229"/>
                  </a:cubicBezTo>
                  <a:cubicBezTo>
                    <a:pt x="6275546" y="308134"/>
                    <a:pt x="6274594" y="310991"/>
                    <a:pt x="6273642" y="312896"/>
                  </a:cubicBezTo>
                  <a:cubicBezTo>
                    <a:pt x="6272689" y="315754"/>
                    <a:pt x="6271737" y="319564"/>
                    <a:pt x="6269831" y="322421"/>
                  </a:cubicBezTo>
                  <a:cubicBezTo>
                    <a:pt x="6270784" y="314801"/>
                    <a:pt x="6272689" y="308134"/>
                    <a:pt x="6273642" y="300514"/>
                  </a:cubicBezTo>
                  <a:cubicBezTo>
                    <a:pt x="6277451" y="283369"/>
                    <a:pt x="6280309" y="267176"/>
                    <a:pt x="6283167" y="252889"/>
                  </a:cubicBezTo>
                  <a:cubicBezTo>
                    <a:pt x="6285071" y="245269"/>
                    <a:pt x="6286024" y="238601"/>
                    <a:pt x="6287929" y="231934"/>
                  </a:cubicBezTo>
                  <a:cubicBezTo>
                    <a:pt x="6289834" y="225266"/>
                    <a:pt x="6290787" y="218599"/>
                    <a:pt x="6292692" y="212884"/>
                  </a:cubicBezTo>
                  <a:cubicBezTo>
                    <a:pt x="6295549" y="200501"/>
                    <a:pt x="6298406" y="190024"/>
                    <a:pt x="6300312" y="181451"/>
                  </a:cubicBezTo>
                  <a:cubicBezTo>
                    <a:pt x="6304121" y="164306"/>
                    <a:pt x="6306026" y="153829"/>
                    <a:pt x="6306026" y="153829"/>
                  </a:cubicBezTo>
                  <a:cubicBezTo>
                    <a:pt x="6306026" y="153829"/>
                    <a:pt x="6302217" y="163354"/>
                    <a:pt x="6296501" y="180499"/>
                  </a:cubicBezTo>
                  <a:cubicBezTo>
                    <a:pt x="6293644" y="189071"/>
                    <a:pt x="6289834" y="199549"/>
                    <a:pt x="6286024" y="210979"/>
                  </a:cubicBezTo>
                  <a:cubicBezTo>
                    <a:pt x="6284119" y="216694"/>
                    <a:pt x="6282214" y="223361"/>
                    <a:pt x="6279356" y="230029"/>
                  </a:cubicBezTo>
                  <a:cubicBezTo>
                    <a:pt x="6277451" y="236696"/>
                    <a:pt x="6275546" y="243364"/>
                    <a:pt x="6273642" y="250984"/>
                  </a:cubicBezTo>
                  <a:cubicBezTo>
                    <a:pt x="6269831" y="265271"/>
                    <a:pt x="6265069" y="281464"/>
                    <a:pt x="6260306" y="298609"/>
                  </a:cubicBezTo>
                  <a:cubicBezTo>
                    <a:pt x="6255544" y="315754"/>
                    <a:pt x="6251734" y="333851"/>
                    <a:pt x="6246971" y="351949"/>
                  </a:cubicBezTo>
                  <a:cubicBezTo>
                    <a:pt x="6244114" y="366236"/>
                    <a:pt x="6240304" y="381476"/>
                    <a:pt x="6236494" y="396716"/>
                  </a:cubicBezTo>
                  <a:cubicBezTo>
                    <a:pt x="6236494" y="395764"/>
                    <a:pt x="6235542" y="395764"/>
                    <a:pt x="6235542" y="394811"/>
                  </a:cubicBezTo>
                  <a:cubicBezTo>
                    <a:pt x="6235542" y="379571"/>
                    <a:pt x="6234589" y="370046"/>
                    <a:pt x="6234589" y="370046"/>
                  </a:cubicBezTo>
                  <a:cubicBezTo>
                    <a:pt x="6234589" y="370046"/>
                    <a:pt x="6233637" y="376714"/>
                    <a:pt x="6230779" y="389096"/>
                  </a:cubicBezTo>
                  <a:cubicBezTo>
                    <a:pt x="6229826" y="387191"/>
                    <a:pt x="6228874" y="386239"/>
                    <a:pt x="6227921" y="384334"/>
                  </a:cubicBezTo>
                  <a:cubicBezTo>
                    <a:pt x="6224112" y="378619"/>
                    <a:pt x="6220301" y="372904"/>
                    <a:pt x="6216492" y="367189"/>
                  </a:cubicBezTo>
                  <a:cubicBezTo>
                    <a:pt x="6218396" y="360521"/>
                    <a:pt x="6220301" y="354806"/>
                    <a:pt x="6223159" y="348139"/>
                  </a:cubicBezTo>
                  <a:cubicBezTo>
                    <a:pt x="6227921" y="334804"/>
                    <a:pt x="6232684" y="322421"/>
                    <a:pt x="6236494" y="310991"/>
                  </a:cubicBezTo>
                  <a:cubicBezTo>
                    <a:pt x="6240304" y="299561"/>
                    <a:pt x="6244114" y="289084"/>
                    <a:pt x="6247924" y="279559"/>
                  </a:cubicBezTo>
                  <a:cubicBezTo>
                    <a:pt x="6251734" y="270034"/>
                    <a:pt x="6254592" y="262414"/>
                    <a:pt x="6256496" y="254794"/>
                  </a:cubicBezTo>
                  <a:cubicBezTo>
                    <a:pt x="6261259" y="241459"/>
                    <a:pt x="6264117" y="233839"/>
                    <a:pt x="6264117" y="233839"/>
                  </a:cubicBezTo>
                  <a:cubicBezTo>
                    <a:pt x="6264117" y="233839"/>
                    <a:pt x="6260306" y="241459"/>
                    <a:pt x="6252687" y="253841"/>
                  </a:cubicBezTo>
                  <a:cubicBezTo>
                    <a:pt x="6248876" y="260509"/>
                    <a:pt x="6245067" y="268129"/>
                    <a:pt x="6240304" y="276701"/>
                  </a:cubicBezTo>
                  <a:cubicBezTo>
                    <a:pt x="6235542" y="285274"/>
                    <a:pt x="6230779" y="295751"/>
                    <a:pt x="6225064" y="307181"/>
                  </a:cubicBezTo>
                  <a:cubicBezTo>
                    <a:pt x="6220301" y="318611"/>
                    <a:pt x="6214587" y="330994"/>
                    <a:pt x="6208871" y="343376"/>
                  </a:cubicBezTo>
                  <a:cubicBezTo>
                    <a:pt x="6207919" y="346234"/>
                    <a:pt x="6206014" y="349091"/>
                    <a:pt x="6205062" y="351949"/>
                  </a:cubicBezTo>
                  <a:cubicBezTo>
                    <a:pt x="6205062" y="351949"/>
                    <a:pt x="6204109" y="350996"/>
                    <a:pt x="6204109" y="350996"/>
                  </a:cubicBezTo>
                  <a:cubicBezTo>
                    <a:pt x="6206967" y="340519"/>
                    <a:pt x="6208871" y="330041"/>
                    <a:pt x="6210776" y="320516"/>
                  </a:cubicBezTo>
                  <a:cubicBezTo>
                    <a:pt x="6214587" y="298609"/>
                    <a:pt x="6219349" y="280511"/>
                    <a:pt x="6222206" y="268129"/>
                  </a:cubicBezTo>
                  <a:cubicBezTo>
                    <a:pt x="6225064" y="255746"/>
                    <a:pt x="6226017" y="248126"/>
                    <a:pt x="6226017" y="248126"/>
                  </a:cubicBezTo>
                  <a:cubicBezTo>
                    <a:pt x="6226017" y="248126"/>
                    <a:pt x="6223159" y="254794"/>
                    <a:pt x="6218396" y="267176"/>
                  </a:cubicBezTo>
                  <a:cubicBezTo>
                    <a:pt x="6216492" y="272891"/>
                    <a:pt x="6213634" y="280511"/>
                    <a:pt x="6209824" y="289084"/>
                  </a:cubicBezTo>
                  <a:cubicBezTo>
                    <a:pt x="6206967" y="297656"/>
                    <a:pt x="6203156" y="307181"/>
                    <a:pt x="6199346" y="317659"/>
                  </a:cubicBezTo>
                  <a:cubicBezTo>
                    <a:pt x="6197442" y="323374"/>
                    <a:pt x="6195537" y="330041"/>
                    <a:pt x="6193631" y="335756"/>
                  </a:cubicBezTo>
                  <a:cubicBezTo>
                    <a:pt x="6190774" y="330994"/>
                    <a:pt x="6186964" y="326231"/>
                    <a:pt x="6184106" y="322421"/>
                  </a:cubicBezTo>
                  <a:cubicBezTo>
                    <a:pt x="6183154" y="321469"/>
                    <a:pt x="6182201" y="320516"/>
                    <a:pt x="6181249" y="318611"/>
                  </a:cubicBezTo>
                  <a:cubicBezTo>
                    <a:pt x="6182201" y="312896"/>
                    <a:pt x="6183154" y="307181"/>
                    <a:pt x="6184106" y="302419"/>
                  </a:cubicBezTo>
                  <a:cubicBezTo>
                    <a:pt x="6186012" y="291941"/>
                    <a:pt x="6186964" y="282416"/>
                    <a:pt x="6189821" y="274796"/>
                  </a:cubicBezTo>
                  <a:cubicBezTo>
                    <a:pt x="6193631" y="259556"/>
                    <a:pt x="6195537" y="250984"/>
                    <a:pt x="6195537" y="250984"/>
                  </a:cubicBezTo>
                  <a:cubicBezTo>
                    <a:pt x="6195537" y="250984"/>
                    <a:pt x="6191726" y="259556"/>
                    <a:pt x="6186012" y="273844"/>
                  </a:cubicBezTo>
                  <a:cubicBezTo>
                    <a:pt x="6183154" y="280511"/>
                    <a:pt x="6180296" y="290036"/>
                    <a:pt x="6176487" y="300514"/>
                  </a:cubicBezTo>
                  <a:cubicBezTo>
                    <a:pt x="6175534" y="303371"/>
                    <a:pt x="6174581" y="306229"/>
                    <a:pt x="6173629" y="309086"/>
                  </a:cubicBezTo>
                  <a:cubicBezTo>
                    <a:pt x="6173629" y="309086"/>
                    <a:pt x="6172676" y="308134"/>
                    <a:pt x="6172676" y="308134"/>
                  </a:cubicBezTo>
                  <a:cubicBezTo>
                    <a:pt x="6173629" y="303371"/>
                    <a:pt x="6174581" y="298609"/>
                    <a:pt x="6174581" y="294799"/>
                  </a:cubicBezTo>
                  <a:cubicBezTo>
                    <a:pt x="6176487" y="283369"/>
                    <a:pt x="6178392" y="272891"/>
                    <a:pt x="6180296" y="263366"/>
                  </a:cubicBezTo>
                  <a:cubicBezTo>
                    <a:pt x="6182201" y="253841"/>
                    <a:pt x="6184106" y="244316"/>
                    <a:pt x="6185059" y="236696"/>
                  </a:cubicBezTo>
                  <a:cubicBezTo>
                    <a:pt x="6186964" y="229076"/>
                    <a:pt x="6187917" y="221456"/>
                    <a:pt x="6188869" y="215741"/>
                  </a:cubicBezTo>
                  <a:cubicBezTo>
                    <a:pt x="6190774" y="204311"/>
                    <a:pt x="6192679" y="197644"/>
                    <a:pt x="6192679" y="197644"/>
                  </a:cubicBezTo>
                  <a:cubicBezTo>
                    <a:pt x="6192679" y="197644"/>
                    <a:pt x="6189821" y="203359"/>
                    <a:pt x="6185059" y="214789"/>
                  </a:cubicBezTo>
                  <a:cubicBezTo>
                    <a:pt x="6180296" y="225266"/>
                    <a:pt x="6174581" y="241459"/>
                    <a:pt x="6168867" y="260509"/>
                  </a:cubicBezTo>
                  <a:cubicBezTo>
                    <a:pt x="6166962" y="267176"/>
                    <a:pt x="6165056" y="273844"/>
                    <a:pt x="6163151" y="280511"/>
                  </a:cubicBezTo>
                  <a:cubicBezTo>
                    <a:pt x="6161246" y="270034"/>
                    <a:pt x="6160294" y="261461"/>
                    <a:pt x="6159342" y="253841"/>
                  </a:cubicBezTo>
                  <a:cubicBezTo>
                    <a:pt x="6156484" y="235744"/>
                    <a:pt x="6154579" y="225266"/>
                    <a:pt x="6154579" y="225266"/>
                  </a:cubicBezTo>
                  <a:cubicBezTo>
                    <a:pt x="6154579" y="225266"/>
                    <a:pt x="6155531" y="248126"/>
                    <a:pt x="6156484" y="285274"/>
                  </a:cubicBezTo>
                  <a:cubicBezTo>
                    <a:pt x="6151721" y="278606"/>
                    <a:pt x="6146959" y="272891"/>
                    <a:pt x="6143149" y="268129"/>
                  </a:cubicBezTo>
                  <a:cubicBezTo>
                    <a:pt x="6143149" y="268129"/>
                    <a:pt x="6143149" y="267176"/>
                    <a:pt x="6143149" y="267176"/>
                  </a:cubicBezTo>
                  <a:cubicBezTo>
                    <a:pt x="6144101" y="263366"/>
                    <a:pt x="6145054" y="259556"/>
                    <a:pt x="6146006" y="256699"/>
                  </a:cubicBezTo>
                  <a:cubicBezTo>
                    <a:pt x="6156484" y="210026"/>
                    <a:pt x="6161246" y="178594"/>
                    <a:pt x="6161246" y="178594"/>
                  </a:cubicBezTo>
                  <a:cubicBezTo>
                    <a:pt x="6161246" y="178594"/>
                    <a:pt x="6158389" y="186214"/>
                    <a:pt x="6152674" y="200501"/>
                  </a:cubicBezTo>
                  <a:cubicBezTo>
                    <a:pt x="6152674" y="199549"/>
                    <a:pt x="6152674" y="198596"/>
                    <a:pt x="6152674" y="197644"/>
                  </a:cubicBezTo>
                  <a:cubicBezTo>
                    <a:pt x="6154579" y="188119"/>
                    <a:pt x="6155531" y="179546"/>
                    <a:pt x="6156484" y="172879"/>
                  </a:cubicBezTo>
                  <a:cubicBezTo>
                    <a:pt x="6158389" y="158591"/>
                    <a:pt x="6160294" y="150971"/>
                    <a:pt x="6160294" y="150971"/>
                  </a:cubicBezTo>
                  <a:cubicBezTo>
                    <a:pt x="6160294" y="150971"/>
                    <a:pt x="6157437" y="158591"/>
                    <a:pt x="6152674" y="171926"/>
                  </a:cubicBezTo>
                  <a:cubicBezTo>
                    <a:pt x="6150769" y="178594"/>
                    <a:pt x="6147912" y="187166"/>
                    <a:pt x="6145054" y="196691"/>
                  </a:cubicBezTo>
                  <a:cubicBezTo>
                    <a:pt x="6143149" y="204311"/>
                    <a:pt x="6140292" y="211931"/>
                    <a:pt x="6138387" y="220504"/>
                  </a:cubicBezTo>
                  <a:cubicBezTo>
                    <a:pt x="6136481" y="209074"/>
                    <a:pt x="6135529" y="202406"/>
                    <a:pt x="6135529" y="202406"/>
                  </a:cubicBezTo>
                  <a:cubicBezTo>
                    <a:pt x="6135529" y="202406"/>
                    <a:pt x="6135529" y="209074"/>
                    <a:pt x="6134576" y="221456"/>
                  </a:cubicBezTo>
                  <a:cubicBezTo>
                    <a:pt x="6134576" y="227171"/>
                    <a:pt x="6132671" y="234791"/>
                    <a:pt x="6132671" y="242411"/>
                  </a:cubicBezTo>
                  <a:cubicBezTo>
                    <a:pt x="6132671" y="244316"/>
                    <a:pt x="6131719" y="246221"/>
                    <a:pt x="6131719" y="249079"/>
                  </a:cubicBezTo>
                  <a:cubicBezTo>
                    <a:pt x="6131719" y="250984"/>
                    <a:pt x="6130767" y="251936"/>
                    <a:pt x="6130767" y="253841"/>
                  </a:cubicBezTo>
                  <a:cubicBezTo>
                    <a:pt x="6129814" y="252889"/>
                    <a:pt x="6129814" y="251936"/>
                    <a:pt x="6129814" y="251936"/>
                  </a:cubicBezTo>
                  <a:cubicBezTo>
                    <a:pt x="6129814" y="251936"/>
                    <a:pt x="6129814" y="252889"/>
                    <a:pt x="6130767" y="254794"/>
                  </a:cubicBezTo>
                  <a:cubicBezTo>
                    <a:pt x="6130767" y="256699"/>
                    <a:pt x="6129814" y="258604"/>
                    <a:pt x="6129814" y="261461"/>
                  </a:cubicBezTo>
                  <a:cubicBezTo>
                    <a:pt x="6129814" y="250031"/>
                    <a:pt x="6129814" y="243364"/>
                    <a:pt x="6129814" y="243364"/>
                  </a:cubicBezTo>
                  <a:cubicBezTo>
                    <a:pt x="6129814" y="243364"/>
                    <a:pt x="6127909" y="254794"/>
                    <a:pt x="6126004" y="274796"/>
                  </a:cubicBezTo>
                  <a:cubicBezTo>
                    <a:pt x="6126004" y="276701"/>
                    <a:pt x="6126004" y="279559"/>
                    <a:pt x="6125051" y="281464"/>
                  </a:cubicBezTo>
                  <a:cubicBezTo>
                    <a:pt x="6124099" y="275749"/>
                    <a:pt x="6123146" y="270986"/>
                    <a:pt x="6122194" y="267176"/>
                  </a:cubicBezTo>
                  <a:cubicBezTo>
                    <a:pt x="6119337" y="251936"/>
                    <a:pt x="6117431" y="243364"/>
                    <a:pt x="6117431" y="243364"/>
                  </a:cubicBezTo>
                  <a:cubicBezTo>
                    <a:pt x="6117431" y="243364"/>
                    <a:pt x="6117431" y="251936"/>
                    <a:pt x="6118384" y="267176"/>
                  </a:cubicBezTo>
                  <a:cubicBezTo>
                    <a:pt x="6118384" y="275749"/>
                    <a:pt x="6119337" y="287179"/>
                    <a:pt x="6119337" y="300514"/>
                  </a:cubicBezTo>
                  <a:cubicBezTo>
                    <a:pt x="6117431" y="306229"/>
                    <a:pt x="6115526" y="311944"/>
                    <a:pt x="6114574" y="317659"/>
                  </a:cubicBezTo>
                  <a:cubicBezTo>
                    <a:pt x="6114574" y="313849"/>
                    <a:pt x="6114574" y="310991"/>
                    <a:pt x="6114574" y="307181"/>
                  </a:cubicBezTo>
                  <a:cubicBezTo>
                    <a:pt x="6113621" y="299561"/>
                    <a:pt x="6113621" y="292894"/>
                    <a:pt x="6112669" y="286226"/>
                  </a:cubicBezTo>
                  <a:cubicBezTo>
                    <a:pt x="6111717" y="279559"/>
                    <a:pt x="6110764" y="274796"/>
                    <a:pt x="6109812" y="270986"/>
                  </a:cubicBezTo>
                  <a:cubicBezTo>
                    <a:pt x="6106954" y="262414"/>
                    <a:pt x="6105049" y="258604"/>
                    <a:pt x="6105049" y="258604"/>
                  </a:cubicBezTo>
                  <a:cubicBezTo>
                    <a:pt x="6105049" y="258604"/>
                    <a:pt x="6105049" y="263366"/>
                    <a:pt x="6106001" y="272891"/>
                  </a:cubicBezTo>
                  <a:cubicBezTo>
                    <a:pt x="6106001" y="275749"/>
                    <a:pt x="6106001" y="278606"/>
                    <a:pt x="6106001" y="282416"/>
                  </a:cubicBezTo>
                  <a:cubicBezTo>
                    <a:pt x="6105049" y="279559"/>
                    <a:pt x="6105049" y="276701"/>
                    <a:pt x="6104096" y="273844"/>
                  </a:cubicBezTo>
                  <a:cubicBezTo>
                    <a:pt x="6103144" y="271939"/>
                    <a:pt x="6103144" y="270034"/>
                    <a:pt x="6102192" y="268129"/>
                  </a:cubicBezTo>
                  <a:cubicBezTo>
                    <a:pt x="6102192" y="263366"/>
                    <a:pt x="6101239" y="258604"/>
                    <a:pt x="6101239" y="253841"/>
                  </a:cubicBezTo>
                  <a:cubicBezTo>
                    <a:pt x="6102192" y="251936"/>
                    <a:pt x="6102192" y="249079"/>
                    <a:pt x="6103144" y="247174"/>
                  </a:cubicBezTo>
                  <a:cubicBezTo>
                    <a:pt x="6105049" y="238601"/>
                    <a:pt x="6106954" y="230981"/>
                    <a:pt x="6107906" y="225266"/>
                  </a:cubicBezTo>
                  <a:cubicBezTo>
                    <a:pt x="6110764" y="212884"/>
                    <a:pt x="6111717" y="205264"/>
                    <a:pt x="6111717" y="205264"/>
                  </a:cubicBezTo>
                  <a:cubicBezTo>
                    <a:pt x="6111717" y="205264"/>
                    <a:pt x="6108859" y="211931"/>
                    <a:pt x="6104096" y="223361"/>
                  </a:cubicBezTo>
                  <a:cubicBezTo>
                    <a:pt x="6103144" y="227171"/>
                    <a:pt x="6101239" y="230981"/>
                    <a:pt x="6099334" y="234791"/>
                  </a:cubicBezTo>
                  <a:cubicBezTo>
                    <a:pt x="6098381" y="220504"/>
                    <a:pt x="6097429" y="210026"/>
                    <a:pt x="6096476" y="206216"/>
                  </a:cubicBezTo>
                  <a:cubicBezTo>
                    <a:pt x="6096476" y="204311"/>
                    <a:pt x="6097429" y="201454"/>
                    <a:pt x="6097429" y="199549"/>
                  </a:cubicBezTo>
                  <a:cubicBezTo>
                    <a:pt x="6099334" y="191929"/>
                    <a:pt x="6100287" y="184309"/>
                    <a:pt x="6101239" y="177641"/>
                  </a:cubicBezTo>
                  <a:cubicBezTo>
                    <a:pt x="6102192" y="170974"/>
                    <a:pt x="6103144" y="163354"/>
                    <a:pt x="6104096" y="157639"/>
                  </a:cubicBezTo>
                  <a:cubicBezTo>
                    <a:pt x="6106001" y="145256"/>
                    <a:pt x="6106954" y="133826"/>
                    <a:pt x="6107906" y="124301"/>
                  </a:cubicBezTo>
                  <a:cubicBezTo>
                    <a:pt x="6109812" y="106204"/>
                    <a:pt x="6110764" y="95726"/>
                    <a:pt x="6110764" y="95726"/>
                  </a:cubicBezTo>
                  <a:cubicBezTo>
                    <a:pt x="6110764" y="95726"/>
                    <a:pt x="6107906" y="106204"/>
                    <a:pt x="6104096" y="124301"/>
                  </a:cubicBezTo>
                  <a:cubicBezTo>
                    <a:pt x="6102192" y="132874"/>
                    <a:pt x="6099334" y="144304"/>
                    <a:pt x="6096476" y="156686"/>
                  </a:cubicBezTo>
                  <a:cubicBezTo>
                    <a:pt x="6095524" y="163354"/>
                    <a:pt x="6093619" y="170021"/>
                    <a:pt x="6091714" y="176689"/>
                  </a:cubicBezTo>
                  <a:cubicBezTo>
                    <a:pt x="6089809" y="183356"/>
                    <a:pt x="6087904" y="190976"/>
                    <a:pt x="6085999" y="198596"/>
                  </a:cubicBezTo>
                  <a:cubicBezTo>
                    <a:pt x="6085046" y="203359"/>
                    <a:pt x="6083142" y="209074"/>
                    <a:pt x="6081237" y="214789"/>
                  </a:cubicBezTo>
                  <a:cubicBezTo>
                    <a:pt x="6077426" y="206216"/>
                    <a:pt x="6074569" y="201454"/>
                    <a:pt x="6074569" y="201454"/>
                  </a:cubicBezTo>
                  <a:cubicBezTo>
                    <a:pt x="6074569" y="201454"/>
                    <a:pt x="6076474" y="208121"/>
                    <a:pt x="6079331" y="219551"/>
                  </a:cubicBezTo>
                  <a:cubicBezTo>
                    <a:pt x="6078379" y="222409"/>
                    <a:pt x="6076474" y="225266"/>
                    <a:pt x="6073617" y="230029"/>
                  </a:cubicBezTo>
                  <a:cubicBezTo>
                    <a:pt x="6072664" y="231934"/>
                    <a:pt x="6071712" y="234791"/>
                    <a:pt x="6069806" y="237649"/>
                  </a:cubicBezTo>
                  <a:cubicBezTo>
                    <a:pt x="6069806" y="233839"/>
                    <a:pt x="6069806" y="230981"/>
                    <a:pt x="6069806" y="228124"/>
                  </a:cubicBezTo>
                  <a:cubicBezTo>
                    <a:pt x="6069806" y="213836"/>
                    <a:pt x="6069806" y="205264"/>
                    <a:pt x="6069806" y="205264"/>
                  </a:cubicBezTo>
                  <a:cubicBezTo>
                    <a:pt x="6069806" y="205264"/>
                    <a:pt x="6067901" y="213836"/>
                    <a:pt x="6065996" y="228124"/>
                  </a:cubicBezTo>
                  <a:cubicBezTo>
                    <a:pt x="6065044" y="235744"/>
                    <a:pt x="6063139" y="243364"/>
                    <a:pt x="6061234" y="253841"/>
                  </a:cubicBezTo>
                  <a:cubicBezTo>
                    <a:pt x="6060281" y="256699"/>
                    <a:pt x="6060281" y="259556"/>
                    <a:pt x="6059329" y="263366"/>
                  </a:cubicBezTo>
                  <a:cubicBezTo>
                    <a:pt x="6058376" y="265271"/>
                    <a:pt x="6058376" y="267176"/>
                    <a:pt x="6057424" y="268129"/>
                  </a:cubicBezTo>
                  <a:cubicBezTo>
                    <a:pt x="6054567" y="275749"/>
                    <a:pt x="6051709" y="285274"/>
                    <a:pt x="6048851" y="294799"/>
                  </a:cubicBezTo>
                  <a:cubicBezTo>
                    <a:pt x="6045994" y="304324"/>
                    <a:pt x="6044089" y="313849"/>
                    <a:pt x="6041231" y="324326"/>
                  </a:cubicBezTo>
                  <a:cubicBezTo>
                    <a:pt x="6041231" y="324326"/>
                    <a:pt x="6041231" y="325279"/>
                    <a:pt x="6041231" y="325279"/>
                  </a:cubicBezTo>
                  <a:cubicBezTo>
                    <a:pt x="6038374" y="318611"/>
                    <a:pt x="6036469" y="311944"/>
                    <a:pt x="6033612" y="306229"/>
                  </a:cubicBezTo>
                  <a:cubicBezTo>
                    <a:pt x="6032659" y="303371"/>
                    <a:pt x="6030754" y="299561"/>
                    <a:pt x="6029801" y="296704"/>
                  </a:cubicBezTo>
                  <a:cubicBezTo>
                    <a:pt x="6029801" y="296704"/>
                    <a:pt x="6029801" y="295751"/>
                    <a:pt x="6029801" y="295751"/>
                  </a:cubicBezTo>
                  <a:cubicBezTo>
                    <a:pt x="6030754" y="290036"/>
                    <a:pt x="6031706" y="285274"/>
                    <a:pt x="6031706" y="281464"/>
                  </a:cubicBezTo>
                  <a:cubicBezTo>
                    <a:pt x="6032659" y="272891"/>
                    <a:pt x="6033612" y="269081"/>
                    <a:pt x="6033612" y="269081"/>
                  </a:cubicBezTo>
                  <a:cubicBezTo>
                    <a:pt x="6033612" y="269081"/>
                    <a:pt x="6031706" y="272891"/>
                    <a:pt x="6027896" y="280511"/>
                  </a:cubicBezTo>
                  <a:cubicBezTo>
                    <a:pt x="6026944" y="282416"/>
                    <a:pt x="6025992" y="284321"/>
                    <a:pt x="6025039" y="286226"/>
                  </a:cubicBezTo>
                  <a:cubicBezTo>
                    <a:pt x="6023134" y="281464"/>
                    <a:pt x="6021229" y="276701"/>
                    <a:pt x="6020276" y="272891"/>
                  </a:cubicBezTo>
                  <a:cubicBezTo>
                    <a:pt x="6013609" y="254794"/>
                    <a:pt x="6008846" y="244316"/>
                    <a:pt x="6008846" y="244316"/>
                  </a:cubicBezTo>
                  <a:cubicBezTo>
                    <a:pt x="6008846" y="244316"/>
                    <a:pt x="6011704" y="254794"/>
                    <a:pt x="6016467" y="273844"/>
                  </a:cubicBezTo>
                  <a:cubicBezTo>
                    <a:pt x="6018371" y="279559"/>
                    <a:pt x="6020276" y="286226"/>
                    <a:pt x="6022181" y="293846"/>
                  </a:cubicBezTo>
                  <a:cubicBezTo>
                    <a:pt x="6021229" y="296704"/>
                    <a:pt x="6020276" y="299561"/>
                    <a:pt x="6019324" y="302419"/>
                  </a:cubicBezTo>
                  <a:cubicBezTo>
                    <a:pt x="6018371" y="305276"/>
                    <a:pt x="6017419" y="309086"/>
                    <a:pt x="6016467" y="311944"/>
                  </a:cubicBezTo>
                  <a:cubicBezTo>
                    <a:pt x="6014562" y="318611"/>
                    <a:pt x="6012656" y="326231"/>
                    <a:pt x="6010751" y="333851"/>
                  </a:cubicBezTo>
                  <a:cubicBezTo>
                    <a:pt x="6010751" y="333851"/>
                    <a:pt x="6010751" y="334804"/>
                    <a:pt x="6010751" y="334804"/>
                  </a:cubicBezTo>
                  <a:cubicBezTo>
                    <a:pt x="6007894" y="330041"/>
                    <a:pt x="6005989" y="325279"/>
                    <a:pt x="6003131" y="320516"/>
                  </a:cubicBezTo>
                  <a:cubicBezTo>
                    <a:pt x="6001226" y="316706"/>
                    <a:pt x="5999321" y="312896"/>
                    <a:pt x="5996464" y="308134"/>
                  </a:cubicBezTo>
                  <a:cubicBezTo>
                    <a:pt x="5997417" y="306229"/>
                    <a:pt x="5998369" y="304324"/>
                    <a:pt x="5999321" y="302419"/>
                  </a:cubicBezTo>
                  <a:cubicBezTo>
                    <a:pt x="6002179" y="294799"/>
                    <a:pt x="6005037" y="289084"/>
                    <a:pt x="6007894" y="283369"/>
                  </a:cubicBezTo>
                  <a:cubicBezTo>
                    <a:pt x="6012656" y="272891"/>
                    <a:pt x="6014562" y="267176"/>
                    <a:pt x="6014562" y="267176"/>
                  </a:cubicBezTo>
                  <a:cubicBezTo>
                    <a:pt x="6014562" y="267176"/>
                    <a:pt x="6010751" y="272891"/>
                    <a:pt x="6004084" y="281464"/>
                  </a:cubicBezTo>
                  <a:cubicBezTo>
                    <a:pt x="6001226" y="286226"/>
                    <a:pt x="5997417" y="291941"/>
                    <a:pt x="5993606" y="297656"/>
                  </a:cubicBezTo>
                  <a:cubicBezTo>
                    <a:pt x="5992654" y="289084"/>
                    <a:pt x="5990749" y="281464"/>
                    <a:pt x="5989796" y="273844"/>
                  </a:cubicBezTo>
                  <a:cubicBezTo>
                    <a:pt x="5990749" y="266224"/>
                    <a:pt x="5990749" y="258604"/>
                    <a:pt x="5991701" y="250984"/>
                  </a:cubicBezTo>
                  <a:cubicBezTo>
                    <a:pt x="5992654" y="235744"/>
                    <a:pt x="5995512" y="223361"/>
                    <a:pt x="5997417" y="212884"/>
                  </a:cubicBezTo>
                  <a:cubicBezTo>
                    <a:pt x="6001226" y="191929"/>
                    <a:pt x="6003131" y="179546"/>
                    <a:pt x="6003131" y="179546"/>
                  </a:cubicBezTo>
                  <a:cubicBezTo>
                    <a:pt x="6003131" y="179546"/>
                    <a:pt x="5999321" y="190976"/>
                    <a:pt x="5993606" y="211931"/>
                  </a:cubicBezTo>
                  <a:cubicBezTo>
                    <a:pt x="5990749" y="222409"/>
                    <a:pt x="5986939" y="233839"/>
                    <a:pt x="5985034" y="248126"/>
                  </a:cubicBezTo>
                  <a:cubicBezTo>
                    <a:pt x="5981224" y="233839"/>
                    <a:pt x="5978367" y="219551"/>
                    <a:pt x="5974556" y="206216"/>
                  </a:cubicBezTo>
                  <a:cubicBezTo>
                    <a:pt x="5974556" y="206216"/>
                    <a:pt x="5974556" y="206216"/>
                    <a:pt x="5974556" y="206216"/>
                  </a:cubicBezTo>
                  <a:cubicBezTo>
                    <a:pt x="5975509" y="195739"/>
                    <a:pt x="5976462" y="186214"/>
                    <a:pt x="5977414" y="178594"/>
                  </a:cubicBezTo>
                  <a:cubicBezTo>
                    <a:pt x="5978367" y="163354"/>
                    <a:pt x="5979319" y="153829"/>
                    <a:pt x="5979319" y="153829"/>
                  </a:cubicBezTo>
                  <a:cubicBezTo>
                    <a:pt x="5979319" y="153829"/>
                    <a:pt x="5977414" y="162401"/>
                    <a:pt x="5973604" y="177641"/>
                  </a:cubicBezTo>
                  <a:cubicBezTo>
                    <a:pt x="5972651" y="181451"/>
                    <a:pt x="5971699" y="186214"/>
                    <a:pt x="5969794" y="191929"/>
                  </a:cubicBezTo>
                  <a:cubicBezTo>
                    <a:pt x="5965984" y="180499"/>
                    <a:pt x="5963126" y="170021"/>
                    <a:pt x="5959317" y="160496"/>
                  </a:cubicBezTo>
                  <a:cubicBezTo>
                    <a:pt x="5954554" y="148114"/>
                    <a:pt x="5950744" y="137636"/>
                    <a:pt x="5946934" y="130016"/>
                  </a:cubicBezTo>
                  <a:cubicBezTo>
                    <a:pt x="5939314" y="112871"/>
                    <a:pt x="5934551" y="104299"/>
                    <a:pt x="5934551" y="104299"/>
                  </a:cubicBezTo>
                  <a:cubicBezTo>
                    <a:pt x="5934551" y="104299"/>
                    <a:pt x="5937409" y="113824"/>
                    <a:pt x="5943124" y="131921"/>
                  </a:cubicBezTo>
                  <a:cubicBezTo>
                    <a:pt x="5945981" y="140494"/>
                    <a:pt x="5948839" y="150971"/>
                    <a:pt x="5951696" y="163354"/>
                  </a:cubicBezTo>
                  <a:cubicBezTo>
                    <a:pt x="5955506" y="175736"/>
                    <a:pt x="5957412" y="189071"/>
                    <a:pt x="5961221" y="204311"/>
                  </a:cubicBezTo>
                  <a:cubicBezTo>
                    <a:pt x="5962174" y="208121"/>
                    <a:pt x="5963126" y="212884"/>
                    <a:pt x="5964079" y="216694"/>
                  </a:cubicBezTo>
                  <a:cubicBezTo>
                    <a:pt x="5964079" y="218599"/>
                    <a:pt x="5963126" y="220504"/>
                    <a:pt x="5962174" y="222409"/>
                  </a:cubicBezTo>
                  <a:cubicBezTo>
                    <a:pt x="5961221" y="226219"/>
                    <a:pt x="5959317" y="230981"/>
                    <a:pt x="5958364" y="235744"/>
                  </a:cubicBezTo>
                  <a:cubicBezTo>
                    <a:pt x="5957412" y="234791"/>
                    <a:pt x="5957412" y="233839"/>
                    <a:pt x="5956459" y="232886"/>
                  </a:cubicBezTo>
                  <a:cubicBezTo>
                    <a:pt x="5956459" y="231934"/>
                    <a:pt x="5956459" y="231934"/>
                    <a:pt x="5956459" y="231934"/>
                  </a:cubicBezTo>
                  <a:cubicBezTo>
                    <a:pt x="5956459" y="231934"/>
                    <a:pt x="5956459" y="231934"/>
                    <a:pt x="5956459" y="232886"/>
                  </a:cubicBezTo>
                  <a:cubicBezTo>
                    <a:pt x="5948839" y="219551"/>
                    <a:pt x="5943124" y="208121"/>
                    <a:pt x="5938362" y="199549"/>
                  </a:cubicBezTo>
                  <a:cubicBezTo>
                    <a:pt x="5931694" y="187166"/>
                    <a:pt x="5927884" y="180499"/>
                    <a:pt x="5927884" y="180499"/>
                  </a:cubicBezTo>
                  <a:cubicBezTo>
                    <a:pt x="5927884" y="180499"/>
                    <a:pt x="5937409" y="209074"/>
                    <a:pt x="5953601" y="250984"/>
                  </a:cubicBezTo>
                  <a:cubicBezTo>
                    <a:pt x="5953601" y="252889"/>
                    <a:pt x="5952649" y="253841"/>
                    <a:pt x="5952649" y="255746"/>
                  </a:cubicBezTo>
                  <a:cubicBezTo>
                    <a:pt x="5949792" y="264319"/>
                    <a:pt x="5947887" y="272891"/>
                    <a:pt x="5945029" y="282416"/>
                  </a:cubicBezTo>
                  <a:cubicBezTo>
                    <a:pt x="5945029" y="283369"/>
                    <a:pt x="5944076" y="284321"/>
                    <a:pt x="5944076" y="285274"/>
                  </a:cubicBezTo>
                  <a:cubicBezTo>
                    <a:pt x="5943124" y="280511"/>
                    <a:pt x="5941219" y="275749"/>
                    <a:pt x="5940267" y="271939"/>
                  </a:cubicBezTo>
                  <a:cubicBezTo>
                    <a:pt x="5936456" y="259556"/>
                    <a:pt x="5932646" y="247174"/>
                    <a:pt x="5928837" y="237649"/>
                  </a:cubicBezTo>
                  <a:cubicBezTo>
                    <a:pt x="5925979" y="230981"/>
                    <a:pt x="5924074" y="225266"/>
                    <a:pt x="5922169" y="220504"/>
                  </a:cubicBezTo>
                  <a:cubicBezTo>
                    <a:pt x="5923121" y="217646"/>
                    <a:pt x="5923121" y="216694"/>
                    <a:pt x="5923121" y="216694"/>
                  </a:cubicBezTo>
                  <a:cubicBezTo>
                    <a:pt x="5923121" y="216694"/>
                    <a:pt x="5922169" y="217646"/>
                    <a:pt x="5921217" y="219551"/>
                  </a:cubicBezTo>
                  <a:cubicBezTo>
                    <a:pt x="5920264" y="216694"/>
                    <a:pt x="5919312" y="213836"/>
                    <a:pt x="5917406" y="211931"/>
                  </a:cubicBezTo>
                  <a:cubicBezTo>
                    <a:pt x="5913596" y="204311"/>
                    <a:pt x="5910739" y="198596"/>
                    <a:pt x="5908834" y="194786"/>
                  </a:cubicBezTo>
                  <a:cubicBezTo>
                    <a:pt x="5908834" y="190976"/>
                    <a:pt x="5907881" y="187166"/>
                    <a:pt x="5907881" y="183356"/>
                  </a:cubicBezTo>
                  <a:cubicBezTo>
                    <a:pt x="5905976" y="168116"/>
                    <a:pt x="5905024" y="159544"/>
                    <a:pt x="5905024" y="159544"/>
                  </a:cubicBezTo>
                  <a:cubicBezTo>
                    <a:pt x="5905024" y="159544"/>
                    <a:pt x="5904071" y="168116"/>
                    <a:pt x="5904071" y="184309"/>
                  </a:cubicBezTo>
                  <a:cubicBezTo>
                    <a:pt x="5904071" y="191929"/>
                    <a:pt x="5903119" y="201454"/>
                    <a:pt x="5903119" y="211931"/>
                  </a:cubicBezTo>
                  <a:cubicBezTo>
                    <a:pt x="5903119" y="217646"/>
                    <a:pt x="5903119" y="223361"/>
                    <a:pt x="5902167" y="229076"/>
                  </a:cubicBezTo>
                  <a:cubicBezTo>
                    <a:pt x="5902167" y="234791"/>
                    <a:pt x="5902167" y="241459"/>
                    <a:pt x="5902167" y="248126"/>
                  </a:cubicBezTo>
                  <a:cubicBezTo>
                    <a:pt x="5902167" y="254794"/>
                    <a:pt x="5902167" y="262414"/>
                    <a:pt x="5903119" y="270034"/>
                  </a:cubicBezTo>
                  <a:cubicBezTo>
                    <a:pt x="5902167" y="274796"/>
                    <a:pt x="5901214" y="279559"/>
                    <a:pt x="5900262" y="285274"/>
                  </a:cubicBezTo>
                  <a:cubicBezTo>
                    <a:pt x="5900262" y="284321"/>
                    <a:pt x="5900262" y="283369"/>
                    <a:pt x="5899309" y="282416"/>
                  </a:cubicBezTo>
                  <a:cubicBezTo>
                    <a:pt x="5897404" y="274796"/>
                    <a:pt x="5896451" y="268129"/>
                    <a:pt x="5895499" y="263366"/>
                  </a:cubicBezTo>
                  <a:cubicBezTo>
                    <a:pt x="5893594" y="255746"/>
                    <a:pt x="5892642" y="250031"/>
                    <a:pt x="5891689" y="248126"/>
                  </a:cubicBezTo>
                  <a:cubicBezTo>
                    <a:pt x="5891689" y="246221"/>
                    <a:pt x="5891689" y="245269"/>
                    <a:pt x="5891689" y="245269"/>
                  </a:cubicBezTo>
                  <a:cubicBezTo>
                    <a:pt x="5891689" y="245269"/>
                    <a:pt x="5891689" y="246221"/>
                    <a:pt x="5890737" y="247174"/>
                  </a:cubicBezTo>
                  <a:cubicBezTo>
                    <a:pt x="5890737" y="247174"/>
                    <a:pt x="5890737" y="247174"/>
                    <a:pt x="5890737" y="247174"/>
                  </a:cubicBezTo>
                  <a:cubicBezTo>
                    <a:pt x="5890737" y="247174"/>
                    <a:pt x="5890737" y="247174"/>
                    <a:pt x="5890737" y="248126"/>
                  </a:cubicBezTo>
                  <a:cubicBezTo>
                    <a:pt x="5889784" y="251936"/>
                    <a:pt x="5885974" y="261461"/>
                    <a:pt x="5881212" y="275749"/>
                  </a:cubicBezTo>
                  <a:cubicBezTo>
                    <a:pt x="5880259" y="270986"/>
                    <a:pt x="5879306" y="266224"/>
                    <a:pt x="5878354" y="262414"/>
                  </a:cubicBezTo>
                  <a:cubicBezTo>
                    <a:pt x="5875496" y="248126"/>
                    <a:pt x="5874544" y="240506"/>
                    <a:pt x="5874544" y="240506"/>
                  </a:cubicBezTo>
                  <a:cubicBezTo>
                    <a:pt x="5874544" y="240506"/>
                    <a:pt x="5874544" y="248126"/>
                    <a:pt x="5874544" y="262414"/>
                  </a:cubicBezTo>
                  <a:cubicBezTo>
                    <a:pt x="5874544" y="270034"/>
                    <a:pt x="5875496" y="279559"/>
                    <a:pt x="5875496" y="290989"/>
                  </a:cubicBezTo>
                  <a:cubicBezTo>
                    <a:pt x="5874544" y="293846"/>
                    <a:pt x="5873592" y="295751"/>
                    <a:pt x="5873592" y="298609"/>
                  </a:cubicBezTo>
                  <a:cubicBezTo>
                    <a:pt x="5872639" y="290036"/>
                    <a:pt x="5872639" y="280511"/>
                    <a:pt x="5870734" y="271939"/>
                  </a:cubicBezTo>
                  <a:cubicBezTo>
                    <a:pt x="5869781" y="278606"/>
                    <a:pt x="5868829" y="286226"/>
                    <a:pt x="5867876" y="292894"/>
                  </a:cubicBezTo>
                  <a:cubicBezTo>
                    <a:pt x="5867876" y="285274"/>
                    <a:pt x="5867876" y="276701"/>
                    <a:pt x="5866924" y="269081"/>
                  </a:cubicBezTo>
                  <a:cubicBezTo>
                    <a:pt x="5866924" y="260509"/>
                    <a:pt x="5865971" y="251936"/>
                    <a:pt x="5865971" y="243364"/>
                  </a:cubicBezTo>
                  <a:cubicBezTo>
                    <a:pt x="5870734" y="231934"/>
                    <a:pt x="5873592" y="225266"/>
                    <a:pt x="5873592" y="225266"/>
                  </a:cubicBezTo>
                  <a:cubicBezTo>
                    <a:pt x="5873592" y="225266"/>
                    <a:pt x="5870734" y="230029"/>
                    <a:pt x="5865971" y="237649"/>
                  </a:cubicBezTo>
                  <a:cubicBezTo>
                    <a:pt x="5865971" y="234791"/>
                    <a:pt x="5865971" y="232886"/>
                    <a:pt x="5865971" y="230029"/>
                  </a:cubicBezTo>
                  <a:cubicBezTo>
                    <a:pt x="5865971" y="217646"/>
                    <a:pt x="5865019" y="205264"/>
                    <a:pt x="5865019" y="194786"/>
                  </a:cubicBezTo>
                  <a:cubicBezTo>
                    <a:pt x="5864067" y="172879"/>
                    <a:pt x="5863114" y="154781"/>
                    <a:pt x="5863114" y="141446"/>
                  </a:cubicBezTo>
                  <a:cubicBezTo>
                    <a:pt x="5862162" y="128111"/>
                    <a:pt x="5862162" y="121444"/>
                    <a:pt x="5862162" y="121444"/>
                  </a:cubicBezTo>
                  <a:cubicBezTo>
                    <a:pt x="5862162" y="121444"/>
                    <a:pt x="5861209" y="129064"/>
                    <a:pt x="5859304" y="141446"/>
                  </a:cubicBezTo>
                  <a:cubicBezTo>
                    <a:pt x="5858351" y="147161"/>
                    <a:pt x="5857399" y="153829"/>
                    <a:pt x="5856446" y="161449"/>
                  </a:cubicBezTo>
                  <a:cubicBezTo>
                    <a:pt x="5855494" y="145256"/>
                    <a:pt x="5854542" y="130969"/>
                    <a:pt x="5853589" y="120491"/>
                  </a:cubicBezTo>
                  <a:cubicBezTo>
                    <a:pt x="5852637" y="106204"/>
                    <a:pt x="5851684" y="98584"/>
                    <a:pt x="5851684" y="98584"/>
                  </a:cubicBezTo>
                  <a:cubicBezTo>
                    <a:pt x="5851684" y="98584"/>
                    <a:pt x="5850731" y="106204"/>
                    <a:pt x="5849779" y="120491"/>
                  </a:cubicBezTo>
                  <a:cubicBezTo>
                    <a:pt x="5848826" y="127159"/>
                    <a:pt x="5848826" y="135731"/>
                    <a:pt x="5847874" y="146209"/>
                  </a:cubicBezTo>
                  <a:cubicBezTo>
                    <a:pt x="5846921" y="155734"/>
                    <a:pt x="5846921" y="167164"/>
                    <a:pt x="5846921" y="179546"/>
                  </a:cubicBezTo>
                  <a:cubicBezTo>
                    <a:pt x="5845969" y="203359"/>
                    <a:pt x="5845969" y="231934"/>
                    <a:pt x="5846921" y="262414"/>
                  </a:cubicBezTo>
                  <a:cubicBezTo>
                    <a:pt x="5846921" y="264319"/>
                    <a:pt x="5846921" y="267176"/>
                    <a:pt x="5846921" y="269081"/>
                  </a:cubicBezTo>
                  <a:cubicBezTo>
                    <a:pt x="5845969" y="270986"/>
                    <a:pt x="5844064" y="272891"/>
                    <a:pt x="5843112" y="274796"/>
                  </a:cubicBezTo>
                  <a:cubicBezTo>
                    <a:pt x="5842159" y="270034"/>
                    <a:pt x="5841206" y="265271"/>
                    <a:pt x="5840254" y="261461"/>
                  </a:cubicBezTo>
                  <a:cubicBezTo>
                    <a:pt x="5840254" y="254794"/>
                    <a:pt x="5840254" y="248126"/>
                    <a:pt x="5841206" y="242411"/>
                  </a:cubicBezTo>
                  <a:cubicBezTo>
                    <a:pt x="5841206" y="230029"/>
                    <a:pt x="5841206" y="223361"/>
                    <a:pt x="5841206" y="223361"/>
                  </a:cubicBezTo>
                  <a:cubicBezTo>
                    <a:pt x="5841206" y="223361"/>
                    <a:pt x="5839301" y="230029"/>
                    <a:pt x="5837396" y="242411"/>
                  </a:cubicBezTo>
                  <a:cubicBezTo>
                    <a:pt x="5837396" y="243364"/>
                    <a:pt x="5837396" y="244316"/>
                    <a:pt x="5836444" y="245269"/>
                  </a:cubicBezTo>
                  <a:cubicBezTo>
                    <a:pt x="5833587" y="233839"/>
                    <a:pt x="5831681" y="224314"/>
                    <a:pt x="5829776" y="215741"/>
                  </a:cubicBezTo>
                  <a:cubicBezTo>
                    <a:pt x="5825967" y="198596"/>
                    <a:pt x="5824062" y="189071"/>
                    <a:pt x="5824062" y="189071"/>
                  </a:cubicBezTo>
                  <a:cubicBezTo>
                    <a:pt x="5824062" y="189071"/>
                    <a:pt x="5825014" y="198596"/>
                    <a:pt x="5825967" y="215741"/>
                  </a:cubicBezTo>
                  <a:cubicBezTo>
                    <a:pt x="5826919" y="224314"/>
                    <a:pt x="5827871" y="234791"/>
                    <a:pt x="5828824" y="246221"/>
                  </a:cubicBezTo>
                  <a:cubicBezTo>
                    <a:pt x="5829776" y="252889"/>
                    <a:pt x="5830729" y="260509"/>
                    <a:pt x="5831681" y="268129"/>
                  </a:cubicBezTo>
                  <a:cubicBezTo>
                    <a:pt x="5830729" y="270034"/>
                    <a:pt x="5828824" y="272891"/>
                    <a:pt x="5826919" y="276701"/>
                  </a:cubicBezTo>
                  <a:cubicBezTo>
                    <a:pt x="5826919" y="274796"/>
                    <a:pt x="5825967" y="272891"/>
                    <a:pt x="5825967" y="270986"/>
                  </a:cubicBezTo>
                  <a:cubicBezTo>
                    <a:pt x="5825014" y="263366"/>
                    <a:pt x="5823109" y="255746"/>
                    <a:pt x="5822156" y="250031"/>
                  </a:cubicBezTo>
                  <a:cubicBezTo>
                    <a:pt x="5820251" y="238601"/>
                    <a:pt x="5818346" y="231934"/>
                    <a:pt x="5818346" y="231934"/>
                  </a:cubicBezTo>
                  <a:cubicBezTo>
                    <a:pt x="5818346" y="231934"/>
                    <a:pt x="5818346" y="238601"/>
                    <a:pt x="5818346" y="250031"/>
                  </a:cubicBezTo>
                  <a:cubicBezTo>
                    <a:pt x="5818346" y="255746"/>
                    <a:pt x="5818346" y="262414"/>
                    <a:pt x="5818346" y="270986"/>
                  </a:cubicBezTo>
                  <a:cubicBezTo>
                    <a:pt x="5816442" y="267176"/>
                    <a:pt x="5814537" y="264319"/>
                    <a:pt x="5812631" y="262414"/>
                  </a:cubicBezTo>
                  <a:lnTo>
                    <a:pt x="5812631" y="246221"/>
                  </a:lnTo>
                  <a:lnTo>
                    <a:pt x="5814537" y="220504"/>
                  </a:lnTo>
                  <a:cubicBezTo>
                    <a:pt x="5815489" y="220504"/>
                    <a:pt x="5815489" y="220504"/>
                    <a:pt x="5816442" y="221456"/>
                  </a:cubicBezTo>
                  <a:cubicBezTo>
                    <a:pt x="5817394" y="222409"/>
                    <a:pt x="5818346" y="222409"/>
                    <a:pt x="5819299" y="224314"/>
                  </a:cubicBezTo>
                  <a:cubicBezTo>
                    <a:pt x="5821204" y="226219"/>
                    <a:pt x="5821204" y="229076"/>
                    <a:pt x="5822156" y="231934"/>
                  </a:cubicBezTo>
                  <a:cubicBezTo>
                    <a:pt x="5822156" y="229076"/>
                    <a:pt x="5822156" y="226219"/>
                    <a:pt x="5821204" y="223361"/>
                  </a:cubicBezTo>
                  <a:cubicBezTo>
                    <a:pt x="5820251" y="222409"/>
                    <a:pt x="5819299" y="220504"/>
                    <a:pt x="5818346" y="219551"/>
                  </a:cubicBezTo>
                  <a:cubicBezTo>
                    <a:pt x="5817394" y="218599"/>
                    <a:pt x="5815489" y="217646"/>
                    <a:pt x="5813584" y="217646"/>
                  </a:cubicBezTo>
                  <a:lnTo>
                    <a:pt x="5811679" y="217646"/>
                  </a:lnTo>
                  <a:lnTo>
                    <a:pt x="5811679" y="219551"/>
                  </a:lnTo>
                  <a:cubicBezTo>
                    <a:pt x="5809774" y="228124"/>
                    <a:pt x="5806917" y="237649"/>
                    <a:pt x="5805012" y="246221"/>
                  </a:cubicBezTo>
                  <a:cubicBezTo>
                    <a:pt x="5804059" y="250031"/>
                    <a:pt x="5804059" y="252889"/>
                    <a:pt x="5803106" y="256699"/>
                  </a:cubicBezTo>
                  <a:cubicBezTo>
                    <a:pt x="5801201" y="258604"/>
                    <a:pt x="5799296" y="261461"/>
                    <a:pt x="5796439" y="264319"/>
                  </a:cubicBezTo>
                  <a:cubicBezTo>
                    <a:pt x="5796439" y="259556"/>
                    <a:pt x="5795487" y="256699"/>
                    <a:pt x="5795487" y="253841"/>
                  </a:cubicBezTo>
                  <a:cubicBezTo>
                    <a:pt x="5794534" y="250031"/>
                    <a:pt x="5794534" y="248126"/>
                    <a:pt x="5794534" y="248126"/>
                  </a:cubicBezTo>
                  <a:cubicBezTo>
                    <a:pt x="5794534" y="248126"/>
                    <a:pt x="5794534" y="250031"/>
                    <a:pt x="5794534" y="253841"/>
                  </a:cubicBezTo>
                  <a:cubicBezTo>
                    <a:pt x="5794534" y="257651"/>
                    <a:pt x="5794534" y="262414"/>
                    <a:pt x="5793581" y="268129"/>
                  </a:cubicBezTo>
                  <a:cubicBezTo>
                    <a:pt x="5792629" y="269081"/>
                    <a:pt x="5792629" y="269081"/>
                    <a:pt x="5791676" y="270034"/>
                  </a:cubicBezTo>
                  <a:cubicBezTo>
                    <a:pt x="5791676" y="270034"/>
                    <a:pt x="5791676" y="270034"/>
                    <a:pt x="5791676" y="270034"/>
                  </a:cubicBezTo>
                  <a:lnTo>
                    <a:pt x="5787867" y="239554"/>
                  </a:lnTo>
                  <a:cubicBezTo>
                    <a:pt x="5791676" y="229076"/>
                    <a:pt x="5793581" y="224314"/>
                    <a:pt x="5793581" y="224314"/>
                  </a:cubicBezTo>
                  <a:cubicBezTo>
                    <a:pt x="5793581" y="224314"/>
                    <a:pt x="5791676" y="228124"/>
                    <a:pt x="5786914" y="234791"/>
                  </a:cubicBezTo>
                  <a:lnTo>
                    <a:pt x="5785009" y="205264"/>
                  </a:lnTo>
                  <a:cubicBezTo>
                    <a:pt x="5788819" y="197644"/>
                    <a:pt x="5791676" y="190024"/>
                    <a:pt x="5795487" y="183356"/>
                  </a:cubicBezTo>
                  <a:cubicBezTo>
                    <a:pt x="5795487" y="183356"/>
                    <a:pt x="5795487" y="184309"/>
                    <a:pt x="5795487" y="184309"/>
                  </a:cubicBezTo>
                  <a:cubicBezTo>
                    <a:pt x="5795487" y="184309"/>
                    <a:pt x="5795487" y="183356"/>
                    <a:pt x="5795487" y="183356"/>
                  </a:cubicBezTo>
                  <a:cubicBezTo>
                    <a:pt x="5796439" y="181451"/>
                    <a:pt x="5797392" y="179546"/>
                    <a:pt x="5797392" y="178594"/>
                  </a:cubicBezTo>
                  <a:cubicBezTo>
                    <a:pt x="5803106" y="165259"/>
                    <a:pt x="5808821" y="153829"/>
                    <a:pt x="5812631" y="145256"/>
                  </a:cubicBezTo>
                  <a:cubicBezTo>
                    <a:pt x="5821204" y="126206"/>
                    <a:pt x="5825967" y="115729"/>
                    <a:pt x="5825967" y="115729"/>
                  </a:cubicBezTo>
                  <a:cubicBezTo>
                    <a:pt x="5825967" y="115729"/>
                    <a:pt x="5820251" y="125254"/>
                    <a:pt x="5809774" y="143351"/>
                  </a:cubicBezTo>
                  <a:cubicBezTo>
                    <a:pt x="5805012" y="151924"/>
                    <a:pt x="5798344" y="162401"/>
                    <a:pt x="5791676" y="173831"/>
                  </a:cubicBezTo>
                  <a:cubicBezTo>
                    <a:pt x="5790724" y="172879"/>
                    <a:pt x="5789771" y="171926"/>
                    <a:pt x="5788819" y="170974"/>
                  </a:cubicBezTo>
                  <a:cubicBezTo>
                    <a:pt x="5786914" y="170021"/>
                    <a:pt x="5785009" y="169069"/>
                    <a:pt x="5783104" y="169069"/>
                  </a:cubicBezTo>
                  <a:lnTo>
                    <a:pt x="5781199" y="169069"/>
                  </a:lnTo>
                  <a:lnTo>
                    <a:pt x="5781199" y="170974"/>
                  </a:lnTo>
                  <a:lnTo>
                    <a:pt x="5777389" y="197644"/>
                  </a:lnTo>
                  <a:cubicBezTo>
                    <a:pt x="5774531" y="204311"/>
                    <a:pt x="5770721" y="210026"/>
                    <a:pt x="5766912" y="217646"/>
                  </a:cubicBezTo>
                  <a:cubicBezTo>
                    <a:pt x="5762149" y="226219"/>
                    <a:pt x="5757387" y="234791"/>
                    <a:pt x="5752624" y="244316"/>
                  </a:cubicBezTo>
                  <a:cubicBezTo>
                    <a:pt x="5752624" y="240506"/>
                    <a:pt x="5751671" y="236696"/>
                    <a:pt x="5751671" y="233839"/>
                  </a:cubicBezTo>
                  <a:cubicBezTo>
                    <a:pt x="5750719" y="228124"/>
                    <a:pt x="5749767" y="222409"/>
                    <a:pt x="5749767" y="216694"/>
                  </a:cubicBezTo>
                  <a:cubicBezTo>
                    <a:pt x="5754529" y="199549"/>
                    <a:pt x="5757387" y="190024"/>
                    <a:pt x="5757387" y="190024"/>
                  </a:cubicBezTo>
                  <a:cubicBezTo>
                    <a:pt x="5757387" y="190024"/>
                    <a:pt x="5754529" y="197644"/>
                    <a:pt x="5749767" y="210979"/>
                  </a:cubicBezTo>
                  <a:cubicBezTo>
                    <a:pt x="5749767" y="209074"/>
                    <a:pt x="5748814" y="206216"/>
                    <a:pt x="5748814" y="204311"/>
                  </a:cubicBezTo>
                  <a:cubicBezTo>
                    <a:pt x="5746909" y="188119"/>
                    <a:pt x="5745004" y="178594"/>
                    <a:pt x="5745004" y="178594"/>
                  </a:cubicBezTo>
                  <a:cubicBezTo>
                    <a:pt x="5745004" y="178594"/>
                    <a:pt x="5745004" y="188119"/>
                    <a:pt x="5745004" y="204311"/>
                  </a:cubicBezTo>
                  <a:cubicBezTo>
                    <a:pt x="5745004" y="210026"/>
                    <a:pt x="5745004" y="215741"/>
                    <a:pt x="5745004" y="222409"/>
                  </a:cubicBezTo>
                  <a:cubicBezTo>
                    <a:pt x="5745004" y="223361"/>
                    <a:pt x="5744051" y="224314"/>
                    <a:pt x="5744051" y="225266"/>
                  </a:cubicBezTo>
                  <a:cubicBezTo>
                    <a:pt x="5740242" y="234791"/>
                    <a:pt x="5736431" y="247174"/>
                    <a:pt x="5731669" y="259556"/>
                  </a:cubicBezTo>
                  <a:cubicBezTo>
                    <a:pt x="5731669" y="259556"/>
                    <a:pt x="5731669" y="258604"/>
                    <a:pt x="5731669" y="258604"/>
                  </a:cubicBezTo>
                  <a:cubicBezTo>
                    <a:pt x="5733574" y="245269"/>
                    <a:pt x="5734526" y="238601"/>
                    <a:pt x="5734526" y="238601"/>
                  </a:cubicBezTo>
                  <a:cubicBezTo>
                    <a:pt x="5734526" y="238601"/>
                    <a:pt x="5732621" y="246221"/>
                    <a:pt x="5727859" y="258604"/>
                  </a:cubicBezTo>
                  <a:cubicBezTo>
                    <a:pt x="5726906" y="260509"/>
                    <a:pt x="5726906" y="262414"/>
                    <a:pt x="5725954" y="264319"/>
                  </a:cubicBezTo>
                  <a:cubicBezTo>
                    <a:pt x="5725954" y="264319"/>
                    <a:pt x="5725954" y="263366"/>
                    <a:pt x="5725954" y="263366"/>
                  </a:cubicBezTo>
                  <a:cubicBezTo>
                    <a:pt x="5725954" y="263366"/>
                    <a:pt x="5725954" y="262414"/>
                    <a:pt x="5725954" y="262414"/>
                  </a:cubicBezTo>
                  <a:cubicBezTo>
                    <a:pt x="5725954" y="260509"/>
                    <a:pt x="5726906" y="258604"/>
                    <a:pt x="5726906" y="256699"/>
                  </a:cubicBezTo>
                  <a:cubicBezTo>
                    <a:pt x="5727859" y="251936"/>
                    <a:pt x="5728812" y="247174"/>
                    <a:pt x="5729764" y="242411"/>
                  </a:cubicBezTo>
                  <a:cubicBezTo>
                    <a:pt x="5730717" y="237649"/>
                    <a:pt x="5731669" y="233839"/>
                    <a:pt x="5732621" y="230029"/>
                  </a:cubicBezTo>
                  <a:cubicBezTo>
                    <a:pt x="5734526" y="222409"/>
                    <a:pt x="5736431" y="215741"/>
                    <a:pt x="5737384" y="210026"/>
                  </a:cubicBezTo>
                  <a:cubicBezTo>
                    <a:pt x="5740242" y="198596"/>
                    <a:pt x="5741194" y="191929"/>
                    <a:pt x="5741194" y="191929"/>
                  </a:cubicBezTo>
                  <a:cubicBezTo>
                    <a:pt x="5741194" y="191929"/>
                    <a:pt x="5740242" y="193834"/>
                    <a:pt x="5739289" y="196691"/>
                  </a:cubicBezTo>
                  <a:cubicBezTo>
                    <a:pt x="5740242" y="192881"/>
                    <a:pt x="5740242" y="190024"/>
                    <a:pt x="5740242" y="190024"/>
                  </a:cubicBezTo>
                  <a:cubicBezTo>
                    <a:pt x="5740242" y="190024"/>
                    <a:pt x="5737384" y="197644"/>
                    <a:pt x="5731669" y="211931"/>
                  </a:cubicBezTo>
                  <a:cubicBezTo>
                    <a:pt x="5730717" y="215741"/>
                    <a:pt x="5728812" y="219551"/>
                    <a:pt x="5726906" y="224314"/>
                  </a:cubicBezTo>
                  <a:cubicBezTo>
                    <a:pt x="5725954" y="225266"/>
                    <a:pt x="5725954" y="227171"/>
                    <a:pt x="5725001" y="228124"/>
                  </a:cubicBezTo>
                  <a:cubicBezTo>
                    <a:pt x="5723096" y="231934"/>
                    <a:pt x="5722144" y="235744"/>
                    <a:pt x="5720239" y="240506"/>
                  </a:cubicBezTo>
                  <a:cubicBezTo>
                    <a:pt x="5719287" y="243364"/>
                    <a:pt x="5718334" y="246221"/>
                    <a:pt x="5717381" y="250031"/>
                  </a:cubicBezTo>
                  <a:cubicBezTo>
                    <a:pt x="5716429" y="251936"/>
                    <a:pt x="5716429" y="252889"/>
                    <a:pt x="5715476" y="254794"/>
                  </a:cubicBezTo>
                  <a:cubicBezTo>
                    <a:pt x="5713571" y="260509"/>
                    <a:pt x="5711667" y="266224"/>
                    <a:pt x="5709762" y="272891"/>
                  </a:cubicBezTo>
                  <a:cubicBezTo>
                    <a:pt x="5707856" y="278606"/>
                    <a:pt x="5705951" y="284321"/>
                    <a:pt x="5704046" y="290989"/>
                  </a:cubicBezTo>
                  <a:cubicBezTo>
                    <a:pt x="5701189" y="285274"/>
                    <a:pt x="5699284" y="280511"/>
                    <a:pt x="5696426" y="275749"/>
                  </a:cubicBezTo>
                  <a:cubicBezTo>
                    <a:pt x="5695474" y="271939"/>
                    <a:pt x="5695474" y="269081"/>
                    <a:pt x="5695474" y="269081"/>
                  </a:cubicBezTo>
                  <a:cubicBezTo>
                    <a:pt x="5695474" y="269081"/>
                    <a:pt x="5695474" y="270034"/>
                    <a:pt x="5695474" y="272891"/>
                  </a:cubicBezTo>
                  <a:cubicBezTo>
                    <a:pt x="5692617" y="268129"/>
                    <a:pt x="5690712" y="263366"/>
                    <a:pt x="5688806" y="259556"/>
                  </a:cubicBezTo>
                  <a:cubicBezTo>
                    <a:pt x="5683092" y="249079"/>
                    <a:pt x="5680234" y="243364"/>
                    <a:pt x="5680234" y="243364"/>
                  </a:cubicBezTo>
                  <a:cubicBezTo>
                    <a:pt x="5680234" y="243364"/>
                    <a:pt x="5682139" y="250031"/>
                    <a:pt x="5684996" y="260509"/>
                  </a:cubicBezTo>
                  <a:cubicBezTo>
                    <a:pt x="5687854" y="269081"/>
                    <a:pt x="5690712" y="279559"/>
                    <a:pt x="5694521" y="292894"/>
                  </a:cubicBezTo>
                  <a:cubicBezTo>
                    <a:pt x="5694521" y="297656"/>
                    <a:pt x="5694521" y="302419"/>
                    <a:pt x="5694521" y="309086"/>
                  </a:cubicBezTo>
                  <a:cubicBezTo>
                    <a:pt x="5694521" y="313849"/>
                    <a:pt x="5694521" y="318611"/>
                    <a:pt x="5694521" y="323374"/>
                  </a:cubicBezTo>
                  <a:cubicBezTo>
                    <a:pt x="5693569" y="326231"/>
                    <a:pt x="5692617" y="329089"/>
                    <a:pt x="5691664" y="331946"/>
                  </a:cubicBezTo>
                  <a:cubicBezTo>
                    <a:pt x="5690712" y="330994"/>
                    <a:pt x="5690712" y="330041"/>
                    <a:pt x="5689759" y="329089"/>
                  </a:cubicBezTo>
                  <a:lnTo>
                    <a:pt x="5689759" y="320516"/>
                  </a:lnTo>
                  <a:cubicBezTo>
                    <a:pt x="5688806" y="309086"/>
                    <a:pt x="5688806" y="297656"/>
                    <a:pt x="5687854" y="286226"/>
                  </a:cubicBezTo>
                  <a:cubicBezTo>
                    <a:pt x="5686901" y="297656"/>
                    <a:pt x="5685949" y="308134"/>
                    <a:pt x="5684996" y="319564"/>
                  </a:cubicBezTo>
                  <a:cubicBezTo>
                    <a:pt x="5684044" y="317659"/>
                    <a:pt x="5683092" y="315754"/>
                    <a:pt x="5681187" y="312896"/>
                  </a:cubicBezTo>
                  <a:cubicBezTo>
                    <a:pt x="5679281" y="299561"/>
                    <a:pt x="5677376" y="286226"/>
                    <a:pt x="5675471" y="273844"/>
                  </a:cubicBezTo>
                  <a:cubicBezTo>
                    <a:pt x="5674519" y="267176"/>
                    <a:pt x="5673567" y="260509"/>
                    <a:pt x="5672614" y="253841"/>
                  </a:cubicBezTo>
                  <a:cubicBezTo>
                    <a:pt x="5671662" y="247174"/>
                    <a:pt x="5671662" y="241459"/>
                    <a:pt x="5670709" y="235744"/>
                  </a:cubicBezTo>
                  <a:cubicBezTo>
                    <a:pt x="5669756" y="224314"/>
                    <a:pt x="5668804" y="214789"/>
                    <a:pt x="5667851" y="207169"/>
                  </a:cubicBezTo>
                  <a:cubicBezTo>
                    <a:pt x="5666899" y="198596"/>
                    <a:pt x="5665946" y="192881"/>
                    <a:pt x="5665946" y="188119"/>
                  </a:cubicBezTo>
                  <a:cubicBezTo>
                    <a:pt x="5666899" y="185261"/>
                    <a:pt x="5666899" y="183356"/>
                    <a:pt x="5666899" y="183356"/>
                  </a:cubicBezTo>
                  <a:cubicBezTo>
                    <a:pt x="5666899" y="183356"/>
                    <a:pt x="5665946" y="184309"/>
                    <a:pt x="5665946" y="186214"/>
                  </a:cubicBezTo>
                  <a:cubicBezTo>
                    <a:pt x="5665946" y="183356"/>
                    <a:pt x="5664994" y="181451"/>
                    <a:pt x="5664994" y="181451"/>
                  </a:cubicBezTo>
                  <a:cubicBezTo>
                    <a:pt x="5664994" y="181451"/>
                    <a:pt x="5664994" y="184309"/>
                    <a:pt x="5664994" y="188119"/>
                  </a:cubicBezTo>
                  <a:cubicBezTo>
                    <a:pt x="5663089" y="192881"/>
                    <a:pt x="5659279" y="201454"/>
                    <a:pt x="5654517" y="211931"/>
                  </a:cubicBezTo>
                  <a:cubicBezTo>
                    <a:pt x="5654517" y="210026"/>
                    <a:pt x="5654517" y="207169"/>
                    <a:pt x="5653564" y="205264"/>
                  </a:cubicBezTo>
                  <a:cubicBezTo>
                    <a:pt x="5652612" y="199549"/>
                    <a:pt x="5652612" y="193834"/>
                    <a:pt x="5652612" y="189071"/>
                  </a:cubicBezTo>
                  <a:cubicBezTo>
                    <a:pt x="5655469" y="183356"/>
                    <a:pt x="5657374" y="179546"/>
                    <a:pt x="5657374" y="179546"/>
                  </a:cubicBezTo>
                  <a:cubicBezTo>
                    <a:pt x="5657374" y="179546"/>
                    <a:pt x="5655469" y="182404"/>
                    <a:pt x="5652612" y="187166"/>
                  </a:cubicBezTo>
                  <a:cubicBezTo>
                    <a:pt x="5652612" y="186214"/>
                    <a:pt x="5652612" y="186214"/>
                    <a:pt x="5652612" y="185261"/>
                  </a:cubicBezTo>
                  <a:cubicBezTo>
                    <a:pt x="5651659" y="173831"/>
                    <a:pt x="5651659" y="167164"/>
                    <a:pt x="5651659" y="167164"/>
                  </a:cubicBezTo>
                  <a:cubicBezTo>
                    <a:pt x="5651659" y="167164"/>
                    <a:pt x="5650706" y="171926"/>
                    <a:pt x="5649754" y="179546"/>
                  </a:cubicBezTo>
                  <a:cubicBezTo>
                    <a:pt x="5649754" y="179546"/>
                    <a:pt x="5649754" y="178594"/>
                    <a:pt x="5649754" y="178594"/>
                  </a:cubicBezTo>
                  <a:cubicBezTo>
                    <a:pt x="5648801" y="171926"/>
                    <a:pt x="5648801" y="166211"/>
                    <a:pt x="5647849" y="159544"/>
                  </a:cubicBezTo>
                  <a:cubicBezTo>
                    <a:pt x="5647849" y="153829"/>
                    <a:pt x="5646896" y="148114"/>
                    <a:pt x="5646896" y="142399"/>
                  </a:cubicBezTo>
                  <a:cubicBezTo>
                    <a:pt x="5645944" y="131921"/>
                    <a:pt x="5644992" y="122396"/>
                    <a:pt x="5645944" y="114776"/>
                  </a:cubicBezTo>
                  <a:cubicBezTo>
                    <a:pt x="5645944" y="99536"/>
                    <a:pt x="5644992" y="90011"/>
                    <a:pt x="5644992" y="90011"/>
                  </a:cubicBezTo>
                  <a:cubicBezTo>
                    <a:pt x="5644992" y="90011"/>
                    <a:pt x="5644039" y="98584"/>
                    <a:pt x="5641181" y="113824"/>
                  </a:cubicBezTo>
                  <a:cubicBezTo>
                    <a:pt x="5640229" y="121444"/>
                    <a:pt x="5639276" y="130969"/>
                    <a:pt x="5639276" y="141446"/>
                  </a:cubicBezTo>
                  <a:cubicBezTo>
                    <a:pt x="5639276" y="147161"/>
                    <a:pt x="5638324" y="152876"/>
                    <a:pt x="5638324" y="158591"/>
                  </a:cubicBezTo>
                  <a:cubicBezTo>
                    <a:pt x="5638324" y="164306"/>
                    <a:pt x="5638324" y="170974"/>
                    <a:pt x="5638324" y="177641"/>
                  </a:cubicBezTo>
                  <a:cubicBezTo>
                    <a:pt x="5638324" y="186214"/>
                    <a:pt x="5638324" y="195739"/>
                    <a:pt x="5639276" y="205264"/>
                  </a:cubicBezTo>
                  <a:cubicBezTo>
                    <a:pt x="5638324" y="206216"/>
                    <a:pt x="5638324" y="207169"/>
                    <a:pt x="5637371" y="208121"/>
                  </a:cubicBezTo>
                  <a:cubicBezTo>
                    <a:pt x="5637371" y="208121"/>
                    <a:pt x="5636419" y="209074"/>
                    <a:pt x="5636419" y="209074"/>
                  </a:cubicBezTo>
                  <a:cubicBezTo>
                    <a:pt x="5636419" y="208121"/>
                    <a:pt x="5636419" y="208121"/>
                    <a:pt x="5636419" y="208121"/>
                  </a:cubicBezTo>
                  <a:cubicBezTo>
                    <a:pt x="5636419" y="208121"/>
                    <a:pt x="5636419" y="208121"/>
                    <a:pt x="5636419" y="209074"/>
                  </a:cubicBezTo>
                  <a:cubicBezTo>
                    <a:pt x="5635467" y="210979"/>
                    <a:pt x="5633562" y="212884"/>
                    <a:pt x="5631656" y="215741"/>
                  </a:cubicBezTo>
                  <a:cubicBezTo>
                    <a:pt x="5628799" y="201454"/>
                    <a:pt x="5626894" y="192881"/>
                    <a:pt x="5626894" y="192881"/>
                  </a:cubicBezTo>
                  <a:cubicBezTo>
                    <a:pt x="5626894" y="192881"/>
                    <a:pt x="5626894" y="204311"/>
                    <a:pt x="5626894" y="222409"/>
                  </a:cubicBezTo>
                  <a:cubicBezTo>
                    <a:pt x="5626894" y="222409"/>
                    <a:pt x="5626894" y="222409"/>
                    <a:pt x="5626894" y="223361"/>
                  </a:cubicBezTo>
                  <a:cubicBezTo>
                    <a:pt x="5624037" y="219551"/>
                    <a:pt x="5621179" y="215741"/>
                    <a:pt x="5618321" y="211931"/>
                  </a:cubicBezTo>
                  <a:cubicBezTo>
                    <a:pt x="5608796" y="199549"/>
                    <a:pt x="5601176" y="189071"/>
                    <a:pt x="5593556" y="181451"/>
                  </a:cubicBezTo>
                  <a:cubicBezTo>
                    <a:pt x="5579269" y="165259"/>
                    <a:pt x="5570696" y="155734"/>
                    <a:pt x="5570696" y="155734"/>
                  </a:cubicBezTo>
                  <a:cubicBezTo>
                    <a:pt x="5570696" y="155734"/>
                    <a:pt x="5577364" y="166211"/>
                    <a:pt x="5590699" y="184309"/>
                  </a:cubicBezTo>
                  <a:cubicBezTo>
                    <a:pt x="5597367" y="192881"/>
                    <a:pt x="5604034" y="204311"/>
                    <a:pt x="5612606" y="217646"/>
                  </a:cubicBezTo>
                  <a:cubicBezTo>
                    <a:pt x="5613559" y="219551"/>
                    <a:pt x="5614512" y="221456"/>
                    <a:pt x="5616417" y="223361"/>
                  </a:cubicBezTo>
                  <a:cubicBezTo>
                    <a:pt x="5617369" y="226219"/>
                    <a:pt x="5618321" y="230029"/>
                    <a:pt x="5620226" y="233839"/>
                  </a:cubicBezTo>
                  <a:cubicBezTo>
                    <a:pt x="5620226" y="233839"/>
                    <a:pt x="5620226" y="233839"/>
                    <a:pt x="5620226" y="234791"/>
                  </a:cubicBezTo>
                  <a:cubicBezTo>
                    <a:pt x="5619274" y="236696"/>
                    <a:pt x="5618321" y="238601"/>
                    <a:pt x="5616417" y="241459"/>
                  </a:cubicBezTo>
                  <a:cubicBezTo>
                    <a:pt x="5616417" y="241459"/>
                    <a:pt x="5616417" y="240506"/>
                    <a:pt x="5616417" y="240506"/>
                  </a:cubicBezTo>
                  <a:cubicBezTo>
                    <a:pt x="5616417" y="240506"/>
                    <a:pt x="5616417" y="240506"/>
                    <a:pt x="5616417" y="241459"/>
                  </a:cubicBezTo>
                  <a:cubicBezTo>
                    <a:pt x="5615464" y="242411"/>
                    <a:pt x="5614512" y="244316"/>
                    <a:pt x="5614512" y="245269"/>
                  </a:cubicBezTo>
                  <a:cubicBezTo>
                    <a:pt x="5608796" y="255746"/>
                    <a:pt x="5602129" y="267176"/>
                    <a:pt x="5594509" y="280511"/>
                  </a:cubicBezTo>
                  <a:cubicBezTo>
                    <a:pt x="5594509" y="278606"/>
                    <a:pt x="5594509" y="277654"/>
                    <a:pt x="5594509" y="275749"/>
                  </a:cubicBezTo>
                  <a:cubicBezTo>
                    <a:pt x="5594509" y="272891"/>
                    <a:pt x="5594509" y="270986"/>
                    <a:pt x="5594509" y="268129"/>
                  </a:cubicBezTo>
                  <a:cubicBezTo>
                    <a:pt x="5595462" y="260509"/>
                    <a:pt x="5596414" y="256699"/>
                    <a:pt x="5596414" y="256699"/>
                  </a:cubicBezTo>
                  <a:cubicBezTo>
                    <a:pt x="5596414" y="256699"/>
                    <a:pt x="5595462" y="258604"/>
                    <a:pt x="5594509" y="263366"/>
                  </a:cubicBezTo>
                  <a:cubicBezTo>
                    <a:pt x="5594509" y="263366"/>
                    <a:pt x="5594509" y="262414"/>
                    <a:pt x="5594509" y="262414"/>
                  </a:cubicBezTo>
                  <a:cubicBezTo>
                    <a:pt x="5593556" y="257651"/>
                    <a:pt x="5593556" y="253841"/>
                    <a:pt x="5592604" y="250031"/>
                  </a:cubicBezTo>
                  <a:cubicBezTo>
                    <a:pt x="5591651" y="243364"/>
                    <a:pt x="5590699" y="238601"/>
                    <a:pt x="5590699" y="232886"/>
                  </a:cubicBezTo>
                  <a:cubicBezTo>
                    <a:pt x="5594509" y="223361"/>
                    <a:pt x="5596414" y="217646"/>
                    <a:pt x="5596414" y="217646"/>
                  </a:cubicBezTo>
                  <a:cubicBezTo>
                    <a:pt x="5596414" y="217646"/>
                    <a:pt x="5593556" y="221456"/>
                    <a:pt x="5589746" y="230029"/>
                  </a:cubicBezTo>
                  <a:cubicBezTo>
                    <a:pt x="5589746" y="230029"/>
                    <a:pt x="5589746" y="230029"/>
                    <a:pt x="5589746" y="230029"/>
                  </a:cubicBezTo>
                  <a:cubicBezTo>
                    <a:pt x="5587842" y="218599"/>
                    <a:pt x="5586889" y="211931"/>
                    <a:pt x="5586889" y="211931"/>
                  </a:cubicBezTo>
                  <a:cubicBezTo>
                    <a:pt x="5586889" y="211931"/>
                    <a:pt x="5585937" y="218599"/>
                    <a:pt x="5585937" y="230029"/>
                  </a:cubicBezTo>
                  <a:cubicBezTo>
                    <a:pt x="5585937" y="230029"/>
                    <a:pt x="5585937" y="230981"/>
                    <a:pt x="5585937" y="230981"/>
                  </a:cubicBezTo>
                  <a:cubicBezTo>
                    <a:pt x="5584984" y="225266"/>
                    <a:pt x="5584031" y="219551"/>
                    <a:pt x="5583079" y="213836"/>
                  </a:cubicBezTo>
                  <a:cubicBezTo>
                    <a:pt x="5583079" y="223361"/>
                    <a:pt x="5583079" y="232886"/>
                    <a:pt x="5583079" y="242411"/>
                  </a:cubicBezTo>
                  <a:cubicBezTo>
                    <a:pt x="5582126" y="243364"/>
                    <a:pt x="5582126" y="245269"/>
                    <a:pt x="5581174" y="246221"/>
                  </a:cubicBezTo>
                  <a:cubicBezTo>
                    <a:pt x="5580221" y="247174"/>
                    <a:pt x="5579269" y="249079"/>
                    <a:pt x="5579269" y="250031"/>
                  </a:cubicBezTo>
                  <a:cubicBezTo>
                    <a:pt x="5576412" y="235744"/>
                    <a:pt x="5574506" y="221456"/>
                    <a:pt x="5571649" y="209074"/>
                  </a:cubicBezTo>
                  <a:cubicBezTo>
                    <a:pt x="5570696" y="202406"/>
                    <a:pt x="5568792" y="194786"/>
                    <a:pt x="5567839" y="189071"/>
                  </a:cubicBezTo>
                  <a:cubicBezTo>
                    <a:pt x="5565934" y="182404"/>
                    <a:pt x="5564981" y="176689"/>
                    <a:pt x="5563076" y="170974"/>
                  </a:cubicBezTo>
                  <a:cubicBezTo>
                    <a:pt x="5560219" y="159544"/>
                    <a:pt x="5557362" y="150019"/>
                    <a:pt x="5555456" y="141446"/>
                  </a:cubicBezTo>
                  <a:cubicBezTo>
                    <a:pt x="5550694" y="125254"/>
                    <a:pt x="5548789" y="115729"/>
                    <a:pt x="5548789" y="115729"/>
                  </a:cubicBezTo>
                  <a:cubicBezTo>
                    <a:pt x="5548789" y="115729"/>
                    <a:pt x="5549742" y="125254"/>
                    <a:pt x="5551646" y="142399"/>
                  </a:cubicBezTo>
                  <a:cubicBezTo>
                    <a:pt x="5552599" y="150971"/>
                    <a:pt x="5554504" y="160496"/>
                    <a:pt x="5555456" y="172879"/>
                  </a:cubicBezTo>
                  <a:cubicBezTo>
                    <a:pt x="5556409" y="178594"/>
                    <a:pt x="5557362" y="185261"/>
                    <a:pt x="5558314" y="190976"/>
                  </a:cubicBezTo>
                  <a:cubicBezTo>
                    <a:pt x="5559267" y="197644"/>
                    <a:pt x="5559267" y="204311"/>
                    <a:pt x="5560219" y="211931"/>
                  </a:cubicBezTo>
                  <a:cubicBezTo>
                    <a:pt x="5561171" y="226219"/>
                    <a:pt x="5563076" y="241459"/>
                    <a:pt x="5564981" y="257651"/>
                  </a:cubicBezTo>
                  <a:cubicBezTo>
                    <a:pt x="5565934" y="263366"/>
                    <a:pt x="5565934" y="269081"/>
                    <a:pt x="5565934" y="274796"/>
                  </a:cubicBezTo>
                  <a:cubicBezTo>
                    <a:pt x="5564981" y="275749"/>
                    <a:pt x="5564981" y="277654"/>
                    <a:pt x="5564029" y="278606"/>
                  </a:cubicBezTo>
                  <a:cubicBezTo>
                    <a:pt x="5563076" y="280511"/>
                    <a:pt x="5562124" y="282416"/>
                    <a:pt x="5561171" y="284321"/>
                  </a:cubicBezTo>
                  <a:cubicBezTo>
                    <a:pt x="5557362" y="277654"/>
                    <a:pt x="5553551" y="270034"/>
                    <a:pt x="5549742" y="264319"/>
                  </a:cubicBezTo>
                  <a:cubicBezTo>
                    <a:pt x="5549742" y="263366"/>
                    <a:pt x="5548789" y="262414"/>
                    <a:pt x="5548789" y="261461"/>
                  </a:cubicBezTo>
                  <a:cubicBezTo>
                    <a:pt x="5546884" y="255746"/>
                    <a:pt x="5545931" y="250984"/>
                    <a:pt x="5544026" y="247174"/>
                  </a:cubicBezTo>
                  <a:cubicBezTo>
                    <a:pt x="5545931" y="234791"/>
                    <a:pt x="5547837" y="228124"/>
                    <a:pt x="5547837" y="228124"/>
                  </a:cubicBezTo>
                  <a:cubicBezTo>
                    <a:pt x="5547837" y="228124"/>
                    <a:pt x="5545931" y="232886"/>
                    <a:pt x="5542121" y="241459"/>
                  </a:cubicBezTo>
                  <a:cubicBezTo>
                    <a:pt x="5542121" y="240506"/>
                    <a:pt x="5541169" y="239554"/>
                    <a:pt x="5541169" y="238601"/>
                  </a:cubicBezTo>
                  <a:cubicBezTo>
                    <a:pt x="5540217" y="235744"/>
                    <a:pt x="5539264" y="232886"/>
                    <a:pt x="5538312" y="230029"/>
                  </a:cubicBezTo>
                  <a:cubicBezTo>
                    <a:pt x="5546884" y="192881"/>
                    <a:pt x="5551646" y="167164"/>
                    <a:pt x="5551646" y="167164"/>
                  </a:cubicBezTo>
                  <a:cubicBezTo>
                    <a:pt x="5551646" y="167164"/>
                    <a:pt x="5542121" y="190024"/>
                    <a:pt x="5528787" y="225266"/>
                  </a:cubicBezTo>
                  <a:cubicBezTo>
                    <a:pt x="5526881" y="221456"/>
                    <a:pt x="5524976" y="219551"/>
                    <a:pt x="5524976" y="217646"/>
                  </a:cubicBezTo>
                  <a:cubicBezTo>
                    <a:pt x="5524024" y="213836"/>
                    <a:pt x="5524024" y="210026"/>
                    <a:pt x="5524024" y="207169"/>
                  </a:cubicBezTo>
                  <a:cubicBezTo>
                    <a:pt x="5522119" y="192881"/>
                    <a:pt x="5521167" y="185261"/>
                    <a:pt x="5521167" y="185261"/>
                  </a:cubicBezTo>
                  <a:cubicBezTo>
                    <a:pt x="5521167" y="185261"/>
                    <a:pt x="5521167" y="192881"/>
                    <a:pt x="5520214" y="207169"/>
                  </a:cubicBezTo>
                  <a:cubicBezTo>
                    <a:pt x="5520214" y="213836"/>
                    <a:pt x="5520214" y="222409"/>
                    <a:pt x="5520214" y="232886"/>
                  </a:cubicBezTo>
                  <a:cubicBezTo>
                    <a:pt x="5520214" y="237649"/>
                    <a:pt x="5520214" y="243364"/>
                    <a:pt x="5520214" y="248126"/>
                  </a:cubicBezTo>
                  <a:cubicBezTo>
                    <a:pt x="5520214" y="249079"/>
                    <a:pt x="5520214" y="250031"/>
                    <a:pt x="5520214" y="250984"/>
                  </a:cubicBezTo>
                  <a:cubicBezTo>
                    <a:pt x="5515451" y="264319"/>
                    <a:pt x="5510689" y="277654"/>
                    <a:pt x="5505926" y="291941"/>
                  </a:cubicBezTo>
                  <a:cubicBezTo>
                    <a:pt x="5504974" y="294799"/>
                    <a:pt x="5504021" y="297656"/>
                    <a:pt x="5503069" y="300514"/>
                  </a:cubicBezTo>
                  <a:cubicBezTo>
                    <a:pt x="5501164" y="297656"/>
                    <a:pt x="5500212" y="293846"/>
                    <a:pt x="5498306" y="290989"/>
                  </a:cubicBezTo>
                  <a:cubicBezTo>
                    <a:pt x="5498306" y="289084"/>
                    <a:pt x="5498306" y="287179"/>
                    <a:pt x="5498306" y="285274"/>
                  </a:cubicBezTo>
                  <a:cubicBezTo>
                    <a:pt x="5499259" y="274796"/>
                    <a:pt x="5499259" y="269081"/>
                    <a:pt x="5499259" y="269081"/>
                  </a:cubicBezTo>
                  <a:cubicBezTo>
                    <a:pt x="5499259" y="269081"/>
                    <a:pt x="5497354" y="274796"/>
                    <a:pt x="5494496" y="284321"/>
                  </a:cubicBezTo>
                  <a:cubicBezTo>
                    <a:pt x="5489734" y="273844"/>
                    <a:pt x="5484971" y="265271"/>
                    <a:pt x="5481162" y="257651"/>
                  </a:cubicBezTo>
                  <a:cubicBezTo>
                    <a:pt x="5482114" y="255746"/>
                    <a:pt x="5482114" y="253841"/>
                    <a:pt x="5483067" y="251936"/>
                  </a:cubicBezTo>
                  <a:cubicBezTo>
                    <a:pt x="5486876" y="241459"/>
                    <a:pt x="5489734" y="231934"/>
                    <a:pt x="5492592" y="224314"/>
                  </a:cubicBezTo>
                  <a:cubicBezTo>
                    <a:pt x="5497354" y="209074"/>
                    <a:pt x="5500212" y="200501"/>
                    <a:pt x="5500212" y="200501"/>
                  </a:cubicBezTo>
                  <a:cubicBezTo>
                    <a:pt x="5500212" y="200501"/>
                    <a:pt x="5498306" y="205264"/>
                    <a:pt x="5493544" y="212884"/>
                  </a:cubicBezTo>
                  <a:cubicBezTo>
                    <a:pt x="5496401" y="203359"/>
                    <a:pt x="5500212" y="194786"/>
                    <a:pt x="5502117" y="188119"/>
                  </a:cubicBezTo>
                  <a:cubicBezTo>
                    <a:pt x="5507831" y="170974"/>
                    <a:pt x="5511642" y="160496"/>
                    <a:pt x="5511642" y="160496"/>
                  </a:cubicBezTo>
                  <a:cubicBezTo>
                    <a:pt x="5511642" y="160496"/>
                    <a:pt x="5506879" y="170021"/>
                    <a:pt x="5498306" y="186214"/>
                  </a:cubicBezTo>
                  <a:cubicBezTo>
                    <a:pt x="5494496" y="194786"/>
                    <a:pt x="5489734" y="204311"/>
                    <a:pt x="5484019" y="215741"/>
                  </a:cubicBezTo>
                  <a:cubicBezTo>
                    <a:pt x="5481162" y="221456"/>
                    <a:pt x="5478304" y="227171"/>
                    <a:pt x="5475446" y="233839"/>
                  </a:cubicBezTo>
                  <a:cubicBezTo>
                    <a:pt x="5474494" y="236696"/>
                    <a:pt x="5473542" y="238601"/>
                    <a:pt x="5472589" y="241459"/>
                  </a:cubicBezTo>
                  <a:cubicBezTo>
                    <a:pt x="5465921" y="228124"/>
                    <a:pt x="5461159" y="221456"/>
                    <a:pt x="5461159" y="221456"/>
                  </a:cubicBezTo>
                  <a:cubicBezTo>
                    <a:pt x="5461159" y="221456"/>
                    <a:pt x="5464017" y="231934"/>
                    <a:pt x="5469731" y="248126"/>
                  </a:cubicBezTo>
                  <a:cubicBezTo>
                    <a:pt x="5468779" y="250031"/>
                    <a:pt x="5467826" y="252889"/>
                    <a:pt x="5466874" y="254794"/>
                  </a:cubicBezTo>
                  <a:cubicBezTo>
                    <a:pt x="5466874" y="255746"/>
                    <a:pt x="5465921" y="256699"/>
                    <a:pt x="5465921" y="257651"/>
                  </a:cubicBezTo>
                  <a:cubicBezTo>
                    <a:pt x="5465921" y="257651"/>
                    <a:pt x="5464969" y="256699"/>
                    <a:pt x="5464969" y="256699"/>
                  </a:cubicBezTo>
                  <a:cubicBezTo>
                    <a:pt x="5461159" y="252889"/>
                    <a:pt x="5458301" y="249079"/>
                    <a:pt x="5455444" y="246221"/>
                  </a:cubicBezTo>
                  <a:cubicBezTo>
                    <a:pt x="5454492" y="240506"/>
                    <a:pt x="5453539" y="234791"/>
                    <a:pt x="5452587" y="230029"/>
                  </a:cubicBezTo>
                  <a:cubicBezTo>
                    <a:pt x="5451634" y="224314"/>
                    <a:pt x="5449729" y="219551"/>
                    <a:pt x="5448776" y="214789"/>
                  </a:cubicBezTo>
                  <a:cubicBezTo>
                    <a:pt x="5445919" y="205264"/>
                    <a:pt x="5444014" y="196691"/>
                    <a:pt x="5442109" y="190024"/>
                  </a:cubicBezTo>
                  <a:cubicBezTo>
                    <a:pt x="5442109" y="190024"/>
                    <a:pt x="5442109" y="190024"/>
                    <a:pt x="5442109" y="190024"/>
                  </a:cubicBezTo>
                  <a:cubicBezTo>
                    <a:pt x="5442109" y="184309"/>
                    <a:pt x="5442109" y="180499"/>
                    <a:pt x="5442109" y="180499"/>
                  </a:cubicBezTo>
                  <a:cubicBezTo>
                    <a:pt x="5442109" y="180499"/>
                    <a:pt x="5442109" y="182404"/>
                    <a:pt x="5441156" y="186214"/>
                  </a:cubicBezTo>
                  <a:cubicBezTo>
                    <a:pt x="5438299" y="174784"/>
                    <a:pt x="5436394" y="169069"/>
                    <a:pt x="5436394" y="169069"/>
                  </a:cubicBezTo>
                  <a:cubicBezTo>
                    <a:pt x="5436394" y="169069"/>
                    <a:pt x="5437346" y="176689"/>
                    <a:pt x="5438299" y="190976"/>
                  </a:cubicBezTo>
                  <a:cubicBezTo>
                    <a:pt x="5438299" y="192881"/>
                    <a:pt x="5438299" y="193834"/>
                    <a:pt x="5439251" y="195739"/>
                  </a:cubicBezTo>
                  <a:cubicBezTo>
                    <a:pt x="5437346" y="203359"/>
                    <a:pt x="5435442" y="212884"/>
                    <a:pt x="5433537" y="225266"/>
                  </a:cubicBezTo>
                  <a:cubicBezTo>
                    <a:pt x="5430679" y="223361"/>
                    <a:pt x="5429726" y="221456"/>
                    <a:pt x="5429726" y="221456"/>
                  </a:cubicBezTo>
                  <a:cubicBezTo>
                    <a:pt x="5429726" y="221456"/>
                    <a:pt x="5430679" y="223361"/>
                    <a:pt x="5433537" y="225266"/>
                  </a:cubicBezTo>
                  <a:cubicBezTo>
                    <a:pt x="5432584" y="230029"/>
                    <a:pt x="5431631" y="235744"/>
                    <a:pt x="5430679" y="240506"/>
                  </a:cubicBezTo>
                  <a:cubicBezTo>
                    <a:pt x="5429726" y="232886"/>
                    <a:pt x="5428774" y="228124"/>
                    <a:pt x="5428774" y="228124"/>
                  </a:cubicBezTo>
                  <a:cubicBezTo>
                    <a:pt x="5428774" y="228124"/>
                    <a:pt x="5428774" y="232886"/>
                    <a:pt x="5428774" y="242411"/>
                  </a:cubicBezTo>
                  <a:cubicBezTo>
                    <a:pt x="5426869" y="234791"/>
                    <a:pt x="5425917" y="228124"/>
                    <a:pt x="5424012" y="222409"/>
                  </a:cubicBezTo>
                  <a:cubicBezTo>
                    <a:pt x="5421154" y="208121"/>
                    <a:pt x="5419249" y="200501"/>
                    <a:pt x="5419249" y="200501"/>
                  </a:cubicBezTo>
                  <a:cubicBezTo>
                    <a:pt x="5419249" y="200501"/>
                    <a:pt x="5419249" y="209074"/>
                    <a:pt x="5420201" y="223361"/>
                  </a:cubicBezTo>
                  <a:cubicBezTo>
                    <a:pt x="5421154" y="235744"/>
                    <a:pt x="5422106" y="253841"/>
                    <a:pt x="5424964" y="274796"/>
                  </a:cubicBezTo>
                  <a:cubicBezTo>
                    <a:pt x="5424012" y="282416"/>
                    <a:pt x="5422106" y="290989"/>
                    <a:pt x="5420201" y="299561"/>
                  </a:cubicBezTo>
                  <a:cubicBezTo>
                    <a:pt x="5419249" y="301466"/>
                    <a:pt x="5419249" y="303371"/>
                    <a:pt x="5418296" y="305276"/>
                  </a:cubicBezTo>
                  <a:cubicBezTo>
                    <a:pt x="5417344" y="302419"/>
                    <a:pt x="5416392" y="300514"/>
                    <a:pt x="5415439" y="298609"/>
                  </a:cubicBezTo>
                  <a:cubicBezTo>
                    <a:pt x="5416392" y="294799"/>
                    <a:pt x="5417344" y="291941"/>
                    <a:pt x="5417344" y="291941"/>
                  </a:cubicBezTo>
                  <a:cubicBezTo>
                    <a:pt x="5417344" y="291941"/>
                    <a:pt x="5416392" y="293846"/>
                    <a:pt x="5414487" y="296704"/>
                  </a:cubicBezTo>
                  <a:cubicBezTo>
                    <a:pt x="5414487" y="296704"/>
                    <a:pt x="5414487" y="295751"/>
                    <a:pt x="5414487" y="295751"/>
                  </a:cubicBezTo>
                  <a:cubicBezTo>
                    <a:pt x="5413534" y="292894"/>
                    <a:pt x="5412581" y="290036"/>
                    <a:pt x="5411629" y="287179"/>
                  </a:cubicBezTo>
                  <a:cubicBezTo>
                    <a:pt x="5413534" y="274796"/>
                    <a:pt x="5414487" y="268129"/>
                    <a:pt x="5414487" y="268129"/>
                  </a:cubicBezTo>
                  <a:cubicBezTo>
                    <a:pt x="5414487" y="268129"/>
                    <a:pt x="5412581" y="272891"/>
                    <a:pt x="5409724" y="282416"/>
                  </a:cubicBezTo>
                  <a:cubicBezTo>
                    <a:pt x="5407819" y="276701"/>
                    <a:pt x="5405914" y="271939"/>
                    <a:pt x="5404009" y="267176"/>
                  </a:cubicBezTo>
                  <a:cubicBezTo>
                    <a:pt x="5402104" y="262414"/>
                    <a:pt x="5401151" y="258604"/>
                    <a:pt x="5399246" y="253841"/>
                  </a:cubicBezTo>
                  <a:cubicBezTo>
                    <a:pt x="5400199" y="240506"/>
                    <a:pt x="5400199" y="232886"/>
                    <a:pt x="5400199" y="232886"/>
                  </a:cubicBezTo>
                  <a:cubicBezTo>
                    <a:pt x="5400199" y="232886"/>
                    <a:pt x="5399246" y="237649"/>
                    <a:pt x="5396389" y="247174"/>
                  </a:cubicBezTo>
                  <a:cubicBezTo>
                    <a:pt x="5396389" y="246221"/>
                    <a:pt x="5395437" y="245269"/>
                    <a:pt x="5395437" y="244316"/>
                  </a:cubicBezTo>
                  <a:cubicBezTo>
                    <a:pt x="5390674" y="231934"/>
                    <a:pt x="5387817" y="224314"/>
                    <a:pt x="5387817" y="224314"/>
                  </a:cubicBezTo>
                  <a:cubicBezTo>
                    <a:pt x="5387817" y="224314"/>
                    <a:pt x="5388769" y="231934"/>
                    <a:pt x="5391626" y="245269"/>
                  </a:cubicBezTo>
                  <a:cubicBezTo>
                    <a:pt x="5392579" y="249079"/>
                    <a:pt x="5393531" y="252889"/>
                    <a:pt x="5394484" y="257651"/>
                  </a:cubicBezTo>
                  <a:cubicBezTo>
                    <a:pt x="5391626" y="269081"/>
                    <a:pt x="5388769" y="283369"/>
                    <a:pt x="5384959" y="300514"/>
                  </a:cubicBezTo>
                  <a:cubicBezTo>
                    <a:pt x="5384959" y="299561"/>
                    <a:pt x="5384959" y="298609"/>
                    <a:pt x="5384006" y="297656"/>
                  </a:cubicBezTo>
                  <a:cubicBezTo>
                    <a:pt x="5383054" y="288131"/>
                    <a:pt x="5382101" y="283369"/>
                    <a:pt x="5382101" y="283369"/>
                  </a:cubicBezTo>
                  <a:cubicBezTo>
                    <a:pt x="5382101" y="283369"/>
                    <a:pt x="5382101" y="284321"/>
                    <a:pt x="5382101" y="287179"/>
                  </a:cubicBezTo>
                  <a:cubicBezTo>
                    <a:pt x="5381149" y="283369"/>
                    <a:pt x="5380196" y="280511"/>
                    <a:pt x="5380196" y="276701"/>
                  </a:cubicBezTo>
                  <a:cubicBezTo>
                    <a:pt x="5380196" y="275749"/>
                    <a:pt x="5379244" y="273844"/>
                    <a:pt x="5379244" y="272891"/>
                  </a:cubicBezTo>
                  <a:cubicBezTo>
                    <a:pt x="5380196" y="270986"/>
                    <a:pt x="5380196" y="269081"/>
                    <a:pt x="5380196" y="269081"/>
                  </a:cubicBezTo>
                  <a:cubicBezTo>
                    <a:pt x="5380196" y="269081"/>
                    <a:pt x="5380196" y="270034"/>
                    <a:pt x="5379244" y="271939"/>
                  </a:cubicBezTo>
                  <a:cubicBezTo>
                    <a:pt x="5376387" y="260509"/>
                    <a:pt x="5374481" y="250984"/>
                    <a:pt x="5372576" y="241459"/>
                  </a:cubicBezTo>
                  <a:cubicBezTo>
                    <a:pt x="5372576" y="238601"/>
                    <a:pt x="5372576" y="235744"/>
                    <a:pt x="5373529" y="232886"/>
                  </a:cubicBezTo>
                  <a:cubicBezTo>
                    <a:pt x="5374481" y="217646"/>
                    <a:pt x="5376387" y="203359"/>
                    <a:pt x="5378292" y="190024"/>
                  </a:cubicBezTo>
                  <a:cubicBezTo>
                    <a:pt x="5379244" y="176689"/>
                    <a:pt x="5382101" y="165259"/>
                    <a:pt x="5384006" y="153829"/>
                  </a:cubicBezTo>
                  <a:cubicBezTo>
                    <a:pt x="5384959" y="148114"/>
                    <a:pt x="5385912" y="143351"/>
                    <a:pt x="5386864" y="138589"/>
                  </a:cubicBezTo>
                  <a:cubicBezTo>
                    <a:pt x="5387817" y="133826"/>
                    <a:pt x="5388769" y="130016"/>
                    <a:pt x="5389721" y="126206"/>
                  </a:cubicBezTo>
                  <a:cubicBezTo>
                    <a:pt x="5392579" y="110966"/>
                    <a:pt x="5394484" y="102394"/>
                    <a:pt x="5394484" y="102394"/>
                  </a:cubicBezTo>
                  <a:cubicBezTo>
                    <a:pt x="5394484" y="102394"/>
                    <a:pt x="5391626" y="110966"/>
                    <a:pt x="5385912" y="125254"/>
                  </a:cubicBezTo>
                  <a:cubicBezTo>
                    <a:pt x="5384959" y="129064"/>
                    <a:pt x="5383054" y="132874"/>
                    <a:pt x="5381149" y="137636"/>
                  </a:cubicBezTo>
                  <a:cubicBezTo>
                    <a:pt x="5379244" y="142399"/>
                    <a:pt x="5378292" y="147161"/>
                    <a:pt x="5376387" y="151924"/>
                  </a:cubicBezTo>
                  <a:cubicBezTo>
                    <a:pt x="5373529" y="162401"/>
                    <a:pt x="5369719" y="174784"/>
                    <a:pt x="5366862" y="188119"/>
                  </a:cubicBezTo>
                  <a:cubicBezTo>
                    <a:pt x="5365909" y="193834"/>
                    <a:pt x="5364004" y="199549"/>
                    <a:pt x="5363051" y="205264"/>
                  </a:cubicBezTo>
                  <a:cubicBezTo>
                    <a:pt x="5361146" y="199549"/>
                    <a:pt x="5360194" y="196691"/>
                    <a:pt x="5360194" y="196691"/>
                  </a:cubicBezTo>
                  <a:cubicBezTo>
                    <a:pt x="5360194" y="196691"/>
                    <a:pt x="5361146" y="201454"/>
                    <a:pt x="5361146" y="210979"/>
                  </a:cubicBezTo>
                  <a:cubicBezTo>
                    <a:pt x="5360194" y="217646"/>
                    <a:pt x="5358289" y="224314"/>
                    <a:pt x="5357337" y="230981"/>
                  </a:cubicBezTo>
                  <a:cubicBezTo>
                    <a:pt x="5356384" y="235744"/>
                    <a:pt x="5355431" y="240506"/>
                    <a:pt x="5355431" y="245269"/>
                  </a:cubicBezTo>
                  <a:cubicBezTo>
                    <a:pt x="5355431" y="241459"/>
                    <a:pt x="5354479" y="238601"/>
                    <a:pt x="5354479" y="235744"/>
                  </a:cubicBezTo>
                  <a:cubicBezTo>
                    <a:pt x="5354479" y="233839"/>
                    <a:pt x="5354479" y="231934"/>
                    <a:pt x="5354479" y="230029"/>
                  </a:cubicBezTo>
                  <a:cubicBezTo>
                    <a:pt x="5355431" y="217646"/>
                    <a:pt x="5355431" y="210979"/>
                    <a:pt x="5355431" y="210979"/>
                  </a:cubicBezTo>
                  <a:cubicBezTo>
                    <a:pt x="5355431" y="210979"/>
                    <a:pt x="5354479" y="214789"/>
                    <a:pt x="5352574" y="222409"/>
                  </a:cubicBezTo>
                  <a:cubicBezTo>
                    <a:pt x="5350669" y="210026"/>
                    <a:pt x="5348764" y="199549"/>
                    <a:pt x="5347812" y="190024"/>
                  </a:cubicBezTo>
                  <a:cubicBezTo>
                    <a:pt x="5347812" y="186214"/>
                    <a:pt x="5347812" y="182404"/>
                    <a:pt x="5347812" y="179546"/>
                  </a:cubicBezTo>
                  <a:cubicBezTo>
                    <a:pt x="5347812" y="167164"/>
                    <a:pt x="5347812" y="160496"/>
                    <a:pt x="5347812" y="160496"/>
                  </a:cubicBezTo>
                  <a:cubicBezTo>
                    <a:pt x="5347812" y="160496"/>
                    <a:pt x="5346859" y="165259"/>
                    <a:pt x="5344954" y="173831"/>
                  </a:cubicBezTo>
                  <a:cubicBezTo>
                    <a:pt x="5342096" y="158591"/>
                    <a:pt x="5341144" y="150019"/>
                    <a:pt x="5341144" y="150019"/>
                  </a:cubicBezTo>
                  <a:cubicBezTo>
                    <a:pt x="5341144" y="150019"/>
                    <a:pt x="5341144" y="160496"/>
                    <a:pt x="5342096" y="177641"/>
                  </a:cubicBezTo>
                  <a:cubicBezTo>
                    <a:pt x="5342096" y="180499"/>
                    <a:pt x="5342096" y="184309"/>
                    <a:pt x="5342096" y="187166"/>
                  </a:cubicBezTo>
                  <a:cubicBezTo>
                    <a:pt x="5341144" y="190976"/>
                    <a:pt x="5341144" y="195739"/>
                    <a:pt x="5340192" y="200501"/>
                  </a:cubicBezTo>
                  <a:cubicBezTo>
                    <a:pt x="5339239" y="209074"/>
                    <a:pt x="5337334" y="218599"/>
                    <a:pt x="5337334" y="229076"/>
                  </a:cubicBezTo>
                  <a:cubicBezTo>
                    <a:pt x="5337334" y="239554"/>
                    <a:pt x="5336381" y="250984"/>
                    <a:pt x="5336381" y="263366"/>
                  </a:cubicBezTo>
                  <a:cubicBezTo>
                    <a:pt x="5336381" y="269081"/>
                    <a:pt x="5336381" y="275749"/>
                    <a:pt x="5336381" y="282416"/>
                  </a:cubicBezTo>
                  <a:cubicBezTo>
                    <a:pt x="5336381" y="282416"/>
                    <a:pt x="5336381" y="282416"/>
                    <a:pt x="5336381" y="282416"/>
                  </a:cubicBezTo>
                  <a:cubicBezTo>
                    <a:pt x="5335429" y="286226"/>
                    <a:pt x="5334476" y="290036"/>
                    <a:pt x="5333524" y="293846"/>
                  </a:cubicBezTo>
                  <a:cubicBezTo>
                    <a:pt x="5333524" y="292894"/>
                    <a:pt x="5332571" y="291941"/>
                    <a:pt x="5332571" y="291941"/>
                  </a:cubicBezTo>
                  <a:cubicBezTo>
                    <a:pt x="5330667" y="287179"/>
                    <a:pt x="5329714" y="282416"/>
                    <a:pt x="5327809" y="278606"/>
                  </a:cubicBezTo>
                  <a:cubicBezTo>
                    <a:pt x="5323999" y="269081"/>
                    <a:pt x="5321142" y="259556"/>
                    <a:pt x="5319237" y="252889"/>
                  </a:cubicBezTo>
                  <a:cubicBezTo>
                    <a:pt x="5313521" y="238601"/>
                    <a:pt x="5310664" y="230029"/>
                    <a:pt x="5310664" y="230029"/>
                  </a:cubicBezTo>
                  <a:cubicBezTo>
                    <a:pt x="5310664" y="230029"/>
                    <a:pt x="5312569" y="238601"/>
                    <a:pt x="5315426" y="253841"/>
                  </a:cubicBezTo>
                  <a:cubicBezTo>
                    <a:pt x="5316379" y="257651"/>
                    <a:pt x="5317331" y="262414"/>
                    <a:pt x="5318284" y="267176"/>
                  </a:cubicBezTo>
                  <a:cubicBezTo>
                    <a:pt x="5316379" y="264319"/>
                    <a:pt x="5315426" y="263366"/>
                    <a:pt x="5315426" y="263366"/>
                  </a:cubicBezTo>
                  <a:cubicBezTo>
                    <a:pt x="5315426" y="263366"/>
                    <a:pt x="5317331" y="268129"/>
                    <a:pt x="5320189" y="276701"/>
                  </a:cubicBezTo>
                  <a:cubicBezTo>
                    <a:pt x="5320189" y="278606"/>
                    <a:pt x="5321142" y="279559"/>
                    <a:pt x="5321142" y="281464"/>
                  </a:cubicBezTo>
                  <a:cubicBezTo>
                    <a:pt x="5322094" y="286226"/>
                    <a:pt x="5323046" y="291941"/>
                    <a:pt x="5324951" y="297656"/>
                  </a:cubicBezTo>
                  <a:cubicBezTo>
                    <a:pt x="5325904" y="300514"/>
                    <a:pt x="5326856" y="303371"/>
                    <a:pt x="5326856" y="306229"/>
                  </a:cubicBezTo>
                  <a:cubicBezTo>
                    <a:pt x="5323999" y="310991"/>
                    <a:pt x="5320189" y="316706"/>
                    <a:pt x="5316379" y="322421"/>
                  </a:cubicBezTo>
                  <a:cubicBezTo>
                    <a:pt x="5313521" y="327184"/>
                    <a:pt x="5309712" y="332899"/>
                    <a:pt x="5306854" y="338614"/>
                  </a:cubicBezTo>
                  <a:cubicBezTo>
                    <a:pt x="5303996" y="343376"/>
                    <a:pt x="5301139" y="349091"/>
                    <a:pt x="5298281" y="354806"/>
                  </a:cubicBezTo>
                  <a:cubicBezTo>
                    <a:pt x="5298281" y="350996"/>
                    <a:pt x="5298281" y="347186"/>
                    <a:pt x="5298281" y="344329"/>
                  </a:cubicBezTo>
                  <a:cubicBezTo>
                    <a:pt x="5299234" y="334804"/>
                    <a:pt x="5300187" y="326231"/>
                    <a:pt x="5301139" y="318611"/>
                  </a:cubicBezTo>
                  <a:cubicBezTo>
                    <a:pt x="5303044" y="308134"/>
                    <a:pt x="5303996" y="299561"/>
                    <a:pt x="5305901" y="291941"/>
                  </a:cubicBezTo>
                  <a:cubicBezTo>
                    <a:pt x="5309712" y="276701"/>
                    <a:pt x="5311617" y="269081"/>
                    <a:pt x="5311617" y="269081"/>
                  </a:cubicBezTo>
                  <a:cubicBezTo>
                    <a:pt x="5311617" y="269081"/>
                    <a:pt x="5307806" y="276701"/>
                    <a:pt x="5302092" y="290989"/>
                  </a:cubicBezTo>
                  <a:cubicBezTo>
                    <a:pt x="5301139" y="293846"/>
                    <a:pt x="5300187" y="295751"/>
                    <a:pt x="5299234" y="298609"/>
                  </a:cubicBezTo>
                  <a:cubicBezTo>
                    <a:pt x="5299234" y="276701"/>
                    <a:pt x="5299234" y="263366"/>
                    <a:pt x="5299234" y="263366"/>
                  </a:cubicBezTo>
                  <a:cubicBezTo>
                    <a:pt x="5299234" y="263366"/>
                    <a:pt x="5295424" y="284321"/>
                    <a:pt x="5290662" y="317659"/>
                  </a:cubicBezTo>
                  <a:cubicBezTo>
                    <a:pt x="5290662" y="315754"/>
                    <a:pt x="5289709" y="314801"/>
                    <a:pt x="5289709" y="312896"/>
                  </a:cubicBezTo>
                  <a:cubicBezTo>
                    <a:pt x="5287804" y="306229"/>
                    <a:pt x="5286851" y="300514"/>
                    <a:pt x="5284946" y="295751"/>
                  </a:cubicBezTo>
                  <a:cubicBezTo>
                    <a:pt x="5284946" y="295751"/>
                    <a:pt x="5284946" y="295751"/>
                    <a:pt x="5284946" y="295751"/>
                  </a:cubicBezTo>
                  <a:cubicBezTo>
                    <a:pt x="5284946" y="295751"/>
                    <a:pt x="5284946" y="295751"/>
                    <a:pt x="5284946" y="295751"/>
                  </a:cubicBezTo>
                  <a:cubicBezTo>
                    <a:pt x="5283994" y="291941"/>
                    <a:pt x="5283042" y="288131"/>
                    <a:pt x="5282089" y="284321"/>
                  </a:cubicBezTo>
                  <a:cubicBezTo>
                    <a:pt x="5282089" y="283369"/>
                    <a:pt x="5282089" y="283369"/>
                    <a:pt x="5281137" y="282416"/>
                  </a:cubicBezTo>
                  <a:cubicBezTo>
                    <a:pt x="5285899" y="264319"/>
                    <a:pt x="5288756" y="252889"/>
                    <a:pt x="5288756" y="252889"/>
                  </a:cubicBezTo>
                  <a:cubicBezTo>
                    <a:pt x="5288756" y="252889"/>
                    <a:pt x="5284946" y="260509"/>
                    <a:pt x="5279231" y="273844"/>
                  </a:cubicBezTo>
                  <a:cubicBezTo>
                    <a:pt x="5278279" y="269081"/>
                    <a:pt x="5276374" y="265271"/>
                    <a:pt x="5275421" y="262414"/>
                  </a:cubicBezTo>
                  <a:cubicBezTo>
                    <a:pt x="5270659" y="250031"/>
                    <a:pt x="5268754" y="243364"/>
                    <a:pt x="5268754" y="243364"/>
                  </a:cubicBezTo>
                  <a:cubicBezTo>
                    <a:pt x="5268754" y="243364"/>
                    <a:pt x="5269706" y="250031"/>
                    <a:pt x="5271612" y="262414"/>
                  </a:cubicBezTo>
                  <a:cubicBezTo>
                    <a:pt x="5272564" y="268129"/>
                    <a:pt x="5273517" y="275749"/>
                    <a:pt x="5274469" y="283369"/>
                  </a:cubicBezTo>
                  <a:cubicBezTo>
                    <a:pt x="5270659" y="290989"/>
                    <a:pt x="5266849" y="300514"/>
                    <a:pt x="5263039" y="310039"/>
                  </a:cubicBezTo>
                  <a:cubicBezTo>
                    <a:pt x="5263039" y="305276"/>
                    <a:pt x="5263039" y="302419"/>
                    <a:pt x="5263039" y="302419"/>
                  </a:cubicBezTo>
                  <a:cubicBezTo>
                    <a:pt x="5263039" y="302419"/>
                    <a:pt x="5262087" y="305276"/>
                    <a:pt x="5260181" y="310039"/>
                  </a:cubicBezTo>
                  <a:cubicBezTo>
                    <a:pt x="5260181" y="310039"/>
                    <a:pt x="5260181" y="309086"/>
                    <a:pt x="5260181" y="309086"/>
                  </a:cubicBezTo>
                  <a:cubicBezTo>
                    <a:pt x="5260181" y="306229"/>
                    <a:pt x="5260181" y="303371"/>
                    <a:pt x="5261134" y="301466"/>
                  </a:cubicBezTo>
                  <a:cubicBezTo>
                    <a:pt x="5261134" y="294799"/>
                    <a:pt x="5262087" y="289084"/>
                    <a:pt x="5262087" y="284321"/>
                  </a:cubicBezTo>
                  <a:cubicBezTo>
                    <a:pt x="5263039" y="274796"/>
                    <a:pt x="5263039" y="269081"/>
                    <a:pt x="5263039" y="269081"/>
                  </a:cubicBezTo>
                  <a:cubicBezTo>
                    <a:pt x="5263039" y="269081"/>
                    <a:pt x="5261134" y="273844"/>
                    <a:pt x="5258276" y="283369"/>
                  </a:cubicBezTo>
                  <a:cubicBezTo>
                    <a:pt x="5258276" y="284321"/>
                    <a:pt x="5257324" y="286226"/>
                    <a:pt x="5257324" y="287179"/>
                  </a:cubicBezTo>
                  <a:cubicBezTo>
                    <a:pt x="5256371" y="282416"/>
                    <a:pt x="5256371" y="277654"/>
                    <a:pt x="5255419" y="273844"/>
                  </a:cubicBezTo>
                  <a:cubicBezTo>
                    <a:pt x="5255419" y="272891"/>
                    <a:pt x="5255419" y="271939"/>
                    <a:pt x="5255419" y="271939"/>
                  </a:cubicBezTo>
                  <a:cubicBezTo>
                    <a:pt x="5255419" y="271939"/>
                    <a:pt x="5255419" y="271939"/>
                    <a:pt x="5255419" y="270986"/>
                  </a:cubicBezTo>
                  <a:cubicBezTo>
                    <a:pt x="5256371" y="268129"/>
                    <a:pt x="5256371" y="266224"/>
                    <a:pt x="5256371" y="266224"/>
                  </a:cubicBezTo>
                  <a:cubicBezTo>
                    <a:pt x="5256371" y="266224"/>
                    <a:pt x="5256371" y="267176"/>
                    <a:pt x="5255419" y="268129"/>
                  </a:cubicBezTo>
                  <a:cubicBezTo>
                    <a:pt x="5256371" y="255746"/>
                    <a:pt x="5257324" y="244316"/>
                    <a:pt x="5258276" y="232886"/>
                  </a:cubicBezTo>
                  <a:cubicBezTo>
                    <a:pt x="5262087" y="188119"/>
                    <a:pt x="5263039" y="158591"/>
                    <a:pt x="5263039" y="158591"/>
                  </a:cubicBezTo>
                  <a:cubicBezTo>
                    <a:pt x="5263039" y="158591"/>
                    <a:pt x="5258276" y="175736"/>
                    <a:pt x="5252562" y="204311"/>
                  </a:cubicBezTo>
                  <a:cubicBezTo>
                    <a:pt x="5253514" y="193834"/>
                    <a:pt x="5254467" y="183356"/>
                    <a:pt x="5255419" y="173831"/>
                  </a:cubicBezTo>
                  <a:cubicBezTo>
                    <a:pt x="5256371" y="160496"/>
                    <a:pt x="5257324" y="150019"/>
                    <a:pt x="5258276" y="140494"/>
                  </a:cubicBezTo>
                  <a:cubicBezTo>
                    <a:pt x="5260181" y="121444"/>
                    <a:pt x="5260181" y="110966"/>
                    <a:pt x="5260181" y="110966"/>
                  </a:cubicBezTo>
                  <a:cubicBezTo>
                    <a:pt x="5260181" y="110966"/>
                    <a:pt x="5257324" y="121444"/>
                    <a:pt x="5254467" y="139541"/>
                  </a:cubicBezTo>
                  <a:cubicBezTo>
                    <a:pt x="5252562" y="149066"/>
                    <a:pt x="5250656" y="159544"/>
                    <a:pt x="5247799" y="172879"/>
                  </a:cubicBezTo>
                  <a:cubicBezTo>
                    <a:pt x="5246846" y="179546"/>
                    <a:pt x="5244942" y="186214"/>
                    <a:pt x="5243989" y="192881"/>
                  </a:cubicBezTo>
                  <a:cubicBezTo>
                    <a:pt x="5243989" y="195739"/>
                    <a:pt x="5243037" y="198596"/>
                    <a:pt x="5243037" y="201454"/>
                  </a:cubicBezTo>
                  <a:cubicBezTo>
                    <a:pt x="5242084" y="197644"/>
                    <a:pt x="5241131" y="194786"/>
                    <a:pt x="5241131" y="194786"/>
                  </a:cubicBezTo>
                  <a:cubicBezTo>
                    <a:pt x="5241131" y="194786"/>
                    <a:pt x="5241131" y="199549"/>
                    <a:pt x="5241131" y="209074"/>
                  </a:cubicBezTo>
                  <a:cubicBezTo>
                    <a:pt x="5241131" y="210979"/>
                    <a:pt x="5240179" y="213836"/>
                    <a:pt x="5240179" y="215741"/>
                  </a:cubicBezTo>
                  <a:cubicBezTo>
                    <a:pt x="5239226" y="225266"/>
                    <a:pt x="5237321" y="235744"/>
                    <a:pt x="5235417" y="246221"/>
                  </a:cubicBezTo>
                  <a:cubicBezTo>
                    <a:pt x="5234464" y="248126"/>
                    <a:pt x="5232559" y="250984"/>
                    <a:pt x="5230654" y="252889"/>
                  </a:cubicBezTo>
                  <a:cubicBezTo>
                    <a:pt x="5227796" y="256699"/>
                    <a:pt x="5225892" y="261461"/>
                    <a:pt x="5222081" y="266224"/>
                  </a:cubicBezTo>
                  <a:cubicBezTo>
                    <a:pt x="5220176" y="270034"/>
                    <a:pt x="5217319" y="274796"/>
                    <a:pt x="5215414" y="279559"/>
                  </a:cubicBezTo>
                  <a:cubicBezTo>
                    <a:pt x="5215414" y="279559"/>
                    <a:pt x="5215414" y="279559"/>
                    <a:pt x="5215414" y="278606"/>
                  </a:cubicBezTo>
                  <a:cubicBezTo>
                    <a:pt x="5216367" y="276701"/>
                    <a:pt x="5216367" y="275749"/>
                    <a:pt x="5216367" y="275749"/>
                  </a:cubicBezTo>
                  <a:cubicBezTo>
                    <a:pt x="5216367" y="275749"/>
                    <a:pt x="5216367" y="276701"/>
                    <a:pt x="5215414" y="277654"/>
                  </a:cubicBezTo>
                  <a:cubicBezTo>
                    <a:pt x="5213509" y="267176"/>
                    <a:pt x="5212556" y="257651"/>
                    <a:pt x="5211604" y="249079"/>
                  </a:cubicBezTo>
                  <a:cubicBezTo>
                    <a:pt x="5210651" y="239554"/>
                    <a:pt x="5209699" y="230981"/>
                    <a:pt x="5208746" y="224314"/>
                  </a:cubicBezTo>
                  <a:cubicBezTo>
                    <a:pt x="5206842" y="210979"/>
                    <a:pt x="5205889" y="202406"/>
                    <a:pt x="5205889" y="202406"/>
                  </a:cubicBezTo>
                  <a:cubicBezTo>
                    <a:pt x="5205889" y="202406"/>
                    <a:pt x="5205889" y="210026"/>
                    <a:pt x="5204937" y="224314"/>
                  </a:cubicBezTo>
                  <a:cubicBezTo>
                    <a:pt x="5204937" y="230981"/>
                    <a:pt x="5204937" y="239554"/>
                    <a:pt x="5204937" y="249079"/>
                  </a:cubicBezTo>
                  <a:cubicBezTo>
                    <a:pt x="5204937" y="253841"/>
                    <a:pt x="5204937" y="258604"/>
                    <a:pt x="5204937" y="264319"/>
                  </a:cubicBezTo>
                  <a:cubicBezTo>
                    <a:pt x="5204937" y="270034"/>
                    <a:pt x="5204937" y="275749"/>
                    <a:pt x="5205889" y="281464"/>
                  </a:cubicBezTo>
                  <a:cubicBezTo>
                    <a:pt x="5205889" y="284321"/>
                    <a:pt x="5205889" y="286226"/>
                    <a:pt x="5205889" y="289084"/>
                  </a:cubicBezTo>
                  <a:cubicBezTo>
                    <a:pt x="5204937" y="287179"/>
                    <a:pt x="5203984" y="286226"/>
                    <a:pt x="5203984" y="286226"/>
                  </a:cubicBezTo>
                  <a:cubicBezTo>
                    <a:pt x="5203984" y="286226"/>
                    <a:pt x="5204937" y="288131"/>
                    <a:pt x="5205889" y="290989"/>
                  </a:cubicBezTo>
                  <a:cubicBezTo>
                    <a:pt x="5205889" y="290989"/>
                    <a:pt x="5205889" y="290989"/>
                    <a:pt x="5205889" y="291941"/>
                  </a:cubicBezTo>
                  <a:cubicBezTo>
                    <a:pt x="5204937" y="290036"/>
                    <a:pt x="5203984" y="289084"/>
                    <a:pt x="5203984" y="287179"/>
                  </a:cubicBezTo>
                  <a:cubicBezTo>
                    <a:pt x="5203984" y="287179"/>
                    <a:pt x="5203984" y="287179"/>
                    <a:pt x="5203984" y="287179"/>
                  </a:cubicBezTo>
                  <a:cubicBezTo>
                    <a:pt x="5203984" y="287179"/>
                    <a:pt x="5203984" y="287179"/>
                    <a:pt x="5203984" y="287179"/>
                  </a:cubicBezTo>
                  <a:cubicBezTo>
                    <a:pt x="5201126" y="281464"/>
                    <a:pt x="5199221" y="278606"/>
                    <a:pt x="5199221" y="278606"/>
                  </a:cubicBezTo>
                  <a:cubicBezTo>
                    <a:pt x="5199221" y="278606"/>
                    <a:pt x="5200174" y="283369"/>
                    <a:pt x="5202079" y="290989"/>
                  </a:cubicBezTo>
                  <a:cubicBezTo>
                    <a:pt x="5201126" y="292894"/>
                    <a:pt x="5200174" y="295751"/>
                    <a:pt x="5198269" y="300514"/>
                  </a:cubicBezTo>
                  <a:cubicBezTo>
                    <a:pt x="5197317" y="298609"/>
                    <a:pt x="5196364" y="297656"/>
                    <a:pt x="5195412" y="295751"/>
                  </a:cubicBezTo>
                  <a:cubicBezTo>
                    <a:pt x="5193506" y="284321"/>
                    <a:pt x="5192554" y="273844"/>
                    <a:pt x="5191601" y="263366"/>
                  </a:cubicBezTo>
                  <a:cubicBezTo>
                    <a:pt x="5187792" y="232886"/>
                    <a:pt x="5185887" y="208121"/>
                    <a:pt x="5184934" y="190024"/>
                  </a:cubicBezTo>
                  <a:cubicBezTo>
                    <a:pt x="5183981" y="181451"/>
                    <a:pt x="5183981" y="173831"/>
                    <a:pt x="5183981" y="169069"/>
                  </a:cubicBezTo>
                  <a:cubicBezTo>
                    <a:pt x="5183981" y="164306"/>
                    <a:pt x="5183981" y="161449"/>
                    <a:pt x="5183981" y="161449"/>
                  </a:cubicBezTo>
                  <a:cubicBezTo>
                    <a:pt x="5183981" y="161449"/>
                    <a:pt x="5183981" y="164306"/>
                    <a:pt x="5183029" y="169069"/>
                  </a:cubicBezTo>
                  <a:cubicBezTo>
                    <a:pt x="5182076" y="173831"/>
                    <a:pt x="5182076" y="180499"/>
                    <a:pt x="5181124" y="190024"/>
                  </a:cubicBezTo>
                  <a:cubicBezTo>
                    <a:pt x="5181124" y="196691"/>
                    <a:pt x="5180171" y="204311"/>
                    <a:pt x="5180171" y="211931"/>
                  </a:cubicBezTo>
                  <a:cubicBezTo>
                    <a:pt x="5179219" y="212884"/>
                    <a:pt x="5178267" y="213836"/>
                    <a:pt x="5177314" y="215741"/>
                  </a:cubicBezTo>
                  <a:cubicBezTo>
                    <a:pt x="5174456" y="219551"/>
                    <a:pt x="5170646" y="224314"/>
                    <a:pt x="5165884" y="231934"/>
                  </a:cubicBezTo>
                  <a:cubicBezTo>
                    <a:pt x="5164931" y="232886"/>
                    <a:pt x="5163979" y="234791"/>
                    <a:pt x="5163979" y="235744"/>
                  </a:cubicBezTo>
                  <a:cubicBezTo>
                    <a:pt x="5163026" y="233839"/>
                    <a:pt x="5162074" y="231934"/>
                    <a:pt x="5161121" y="230029"/>
                  </a:cubicBezTo>
                  <a:cubicBezTo>
                    <a:pt x="5161121" y="230029"/>
                    <a:pt x="5161121" y="229076"/>
                    <a:pt x="5161121" y="229076"/>
                  </a:cubicBezTo>
                  <a:cubicBezTo>
                    <a:pt x="5162074" y="222409"/>
                    <a:pt x="5162074" y="217646"/>
                    <a:pt x="5163026" y="213836"/>
                  </a:cubicBezTo>
                  <a:cubicBezTo>
                    <a:pt x="5163979" y="210026"/>
                    <a:pt x="5163979" y="208121"/>
                    <a:pt x="5163979" y="208121"/>
                  </a:cubicBezTo>
                  <a:cubicBezTo>
                    <a:pt x="5163979" y="208121"/>
                    <a:pt x="5161121" y="213836"/>
                    <a:pt x="5158264" y="224314"/>
                  </a:cubicBezTo>
                  <a:cubicBezTo>
                    <a:pt x="5157312" y="222409"/>
                    <a:pt x="5156359" y="221456"/>
                    <a:pt x="5156359" y="220504"/>
                  </a:cubicBezTo>
                  <a:cubicBezTo>
                    <a:pt x="5152549" y="213836"/>
                    <a:pt x="5149692" y="208121"/>
                    <a:pt x="5147787" y="205264"/>
                  </a:cubicBezTo>
                  <a:cubicBezTo>
                    <a:pt x="5146834" y="195739"/>
                    <a:pt x="5145881" y="186214"/>
                    <a:pt x="5144929" y="178594"/>
                  </a:cubicBezTo>
                  <a:cubicBezTo>
                    <a:pt x="5143024" y="159544"/>
                    <a:pt x="5141119" y="149066"/>
                    <a:pt x="5141119" y="149066"/>
                  </a:cubicBezTo>
                  <a:cubicBezTo>
                    <a:pt x="5141119" y="149066"/>
                    <a:pt x="5141119" y="159544"/>
                    <a:pt x="5141119" y="178594"/>
                  </a:cubicBezTo>
                  <a:cubicBezTo>
                    <a:pt x="5141119" y="197644"/>
                    <a:pt x="5141119" y="224314"/>
                    <a:pt x="5141119" y="255746"/>
                  </a:cubicBezTo>
                  <a:cubicBezTo>
                    <a:pt x="5141119" y="256699"/>
                    <a:pt x="5141119" y="257651"/>
                    <a:pt x="5141119" y="258604"/>
                  </a:cubicBezTo>
                  <a:cubicBezTo>
                    <a:pt x="5140167" y="259556"/>
                    <a:pt x="5140167" y="259556"/>
                    <a:pt x="5139214" y="260509"/>
                  </a:cubicBezTo>
                  <a:cubicBezTo>
                    <a:pt x="5138262" y="261461"/>
                    <a:pt x="5136356" y="263366"/>
                    <a:pt x="5134451" y="265271"/>
                  </a:cubicBezTo>
                  <a:cubicBezTo>
                    <a:pt x="5131594" y="216694"/>
                    <a:pt x="5128737" y="184309"/>
                    <a:pt x="5128737" y="184309"/>
                  </a:cubicBezTo>
                  <a:cubicBezTo>
                    <a:pt x="5128737" y="184309"/>
                    <a:pt x="5126831" y="204311"/>
                    <a:pt x="5124926" y="236696"/>
                  </a:cubicBezTo>
                  <a:cubicBezTo>
                    <a:pt x="5121117" y="225266"/>
                    <a:pt x="5119212" y="219551"/>
                    <a:pt x="5119212" y="219551"/>
                  </a:cubicBezTo>
                  <a:cubicBezTo>
                    <a:pt x="5119212" y="219551"/>
                    <a:pt x="5121117" y="230029"/>
                    <a:pt x="5123974" y="249079"/>
                  </a:cubicBezTo>
                  <a:cubicBezTo>
                    <a:pt x="5123974" y="251936"/>
                    <a:pt x="5123974" y="255746"/>
                    <a:pt x="5123021" y="258604"/>
                  </a:cubicBezTo>
                  <a:cubicBezTo>
                    <a:pt x="5122069" y="263366"/>
                    <a:pt x="5121117" y="270034"/>
                    <a:pt x="5120164" y="279559"/>
                  </a:cubicBezTo>
                  <a:cubicBezTo>
                    <a:pt x="5119212" y="281464"/>
                    <a:pt x="5117306" y="283369"/>
                    <a:pt x="5116354" y="285274"/>
                  </a:cubicBezTo>
                  <a:cubicBezTo>
                    <a:pt x="5113496" y="289084"/>
                    <a:pt x="5109687" y="293846"/>
                    <a:pt x="5106829" y="298609"/>
                  </a:cubicBezTo>
                  <a:cubicBezTo>
                    <a:pt x="5105876" y="299561"/>
                    <a:pt x="5104924" y="301466"/>
                    <a:pt x="5103971" y="303371"/>
                  </a:cubicBezTo>
                  <a:cubicBezTo>
                    <a:pt x="5097304" y="287179"/>
                    <a:pt x="5090637" y="272891"/>
                    <a:pt x="5085874" y="261461"/>
                  </a:cubicBezTo>
                  <a:cubicBezTo>
                    <a:pt x="5085874" y="261461"/>
                    <a:pt x="5085874" y="261461"/>
                    <a:pt x="5086826" y="261461"/>
                  </a:cubicBezTo>
                  <a:cubicBezTo>
                    <a:pt x="5089684" y="260509"/>
                    <a:pt x="5091589" y="260509"/>
                    <a:pt x="5091589" y="260509"/>
                  </a:cubicBezTo>
                  <a:cubicBezTo>
                    <a:pt x="5091589" y="260509"/>
                    <a:pt x="5089684" y="260509"/>
                    <a:pt x="5086826" y="260509"/>
                  </a:cubicBezTo>
                  <a:cubicBezTo>
                    <a:pt x="5086826" y="260509"/>
                    <a:pt x="5085874" y="260509"/>
                    <a:pt x="5085874" y="260509"/>
                  </a:cubicBezTo>
                  <a:cubicBezTo>
                    <a:pt x="5078254" y="243364"/>
                    <a:pt x="5073492" y="232886"/>
                    <a:pt x="5071587" y="230029"/>
                  </a:cubicBezTo>
                  <a:cubicBezTo>
                    <a:pt x="5071587" y="225266"/>
                    <a:pt x="5071587" y="222409"/>
                    <a:pt x="5071587" y="222409"/>
                  </a:cubicBezTo>
                  <a:cubicBezTo>
                    <a:pt x="5071587" y="222409"/>
                    <a:pt x="5070634" y="224314"/>
                    <a:pt x="5069681" y="227171"/>
                  </a:cubicBezTo>
                  <a:cubicBezTo>
                    <a:pt x="5066824" y="214789"/>
                    <a:pt x="5063967" y="203359"/>
                    <a:pt x="5062062" y="192881"/>
                  </a:cubicBezTo>
                  <a:cubicBezTo>
                    <a:pt x="5061109" y="186214"/>
                    <a:pt x="5059204" y="180499"/>
                    <a:pt x="5058251" y="174784"/>
                  </a:cubicBezTo>
                  <a:cubicBezTo>
                    <a:pt x="5057299" y="169069"/>
                    <a:pt x="5056346" y="164306"/>
                    <a:pt x="5055394" y="159544"/>
                  </a:cubicBezTo>
                  <a:cubicBezTo>
                    <a:pt x="5051584" y="140494"/>
                    <a:pt x="5049679" y="130016"/>
                    <a:pt x="5049679" y="130016"/>
                  </a:cubicBezTo>
                  <a:cubicBezTo>
                    <a:pt x="5049679" y="130016"/>
                    <a:pt x="5050631" y="140494"/>
                    <a:pt x="5050631" y="159544"/>
                  </a:cubicBezTo>
                  <a:cubicBezTo>
                    <a:pt x="5050631" y="164306"/>
                    <a:pt x="5051584" y="169069"/>
                    <a:pt x="5051584" y="174784"/>
                  </a:cubicBezTo>
                  <a:cubicBezTo>
                    <a:pt x="5052537" y="180499"/>
                    <a:pt x="5052537" y="186214"/>
                    <a:pt x="5053489" y="192881"/>
                  </a:cubicBezTo>
                  <a:cubicBezTo>
                    <a:pt x="5055394" y="206216"/>
                    <a:pt x="5056346" y="220504"/>
                    <a:pt x="5059204" y="236696"/>
                  </a:cubicBezTo>
                  <a:cubicBezTo>
                    <a:pt x="5060156" y="240506"/>
                    <a:pt x="5061109" y="245269"/>
                    <a:pt x="5061109" y="249079"/>
                  </a:cubicBezTo>
                  <a:cubicBezTo>
                    <a:pt x="5059204" y="254794"/>
                    <a:pt x="5057299" y="262414"/>
                    <a:pt x="5055394" y="270034"/>
                  </a:cubicBezTo>
                  <a:cubicBezTo>
                    <a:pt x="5054442" y="270986"/>
                    <a:pt x="5053489" y="270986"/>
                    <a:pt x="5052537" y="271939"/>
                  </a:cubicBezTo>
                  <a:cubicBezTo>
                    <a:pt x="5052537" y="271939"/>
                    <a:pt x="5052537" y="271939"/>
                    <a:pt x="5052537" y="271939"/>
                  </a:cubicBezTo>
                  <a:cubicBezTo>
                    <a:pt x="5051584" y="269081"/>
                    <a:pt x="5051584" y="267176"/>
                    <a:pt x="5051584" y="267176"/>
                  </a:cubicBezTo>
                  <a:cubicBezTo>
                    <a:pt x="5051584" y="267176"/>
                    <a:pt x="5051584" y="268129"/>
                    <a:pt x="5051584" y="269081"/>
                  </a:cubicBezTo>
                  <a:cubicBezTo>
                    <a:pt x="5050631" y="266224"/>
                    <a:pt x="5049679" y="264319"/>
                    <a:pt x="5048726" y="261461"/>
                  </a:cubicBezTo>
                  <a:cubicBezTo>
                    <a:pt x="5048726" y="261461"/>
                    <a:pt x="5048726" y="261461"/>
                    <a:pt x="5048726" y="261461"/>
                  </a:cubicBezTo>
                  <a:cubicBezTo>
                    <a:pt x="5049679" y="255746"/>
                    <a:pt x="5050631" y="252889"/>
                    <a:pt x="5050631" y="252889"/>
                  </a:cubicBezTo>
                  <a:cubicBezTo>
                    <a:pt x="5050631" y="252889"/>
                    <a:pt x="5049679" y="254794"/>
                    <a:pt x="5047774" y="259556"/>
                  </a:cubicBezTo>
                  <a:cubicBezTo>
                    <a:pt x="5043964" y="250984"/>
                    <a:pt x="5041106" y="243364"/>
                    <a:pt x="5039201" y="236696"/>
                  </a:cubicBezTo>
                  <a:cubicBezTo>
                    <a:pt x="5034439" y="222409"/>
                    <a:pt x="5031581" y="214789"/>
                    <a:pt x="5031581" y="214789"/>
                  </a:cubicBezTo>
                  <a:cubicBezTo>
                    <a:pt x="5031581" y="214789"/>
                    <a:pt x="5033487" y="223361"/>
                    <a:pt x="5035392" y="237649"/>
                  </a:cubicBezTo>
                  <a:cubicBezTo>
                    <a:pt x="5036344" y="243364"/>
                    <a:pt x="5037296" y="249079"/>
                    <a:pt x="5039201" y="256699"/>
                  </a:cubicBezTo>
                  <a:cubicBezTo>
                    <a:pt x="5038249" y="258604"/>
                    <a:pt x="5036344" y="261461"/>
                    <a:pt x="5034439" y="265271"/>
                  </a:cubicBezTo>
                  <a:cubicBezTo>
                    <a:pt x="5034439" y="264319"/>
                    <a:pt x="5034439" y="263366"/>
                    <a:pt x="5034439" y="262414"/>
                  </a:cubicBezTo>
                  <a:cubicBezTo>
                    <a:pt x="5033487" y="253841"/>
                    <a:pt x="5031581" y="247174"/>
                    <a:pt x="5030629" y="241459"/>
                  </a:cubicBezTo>
                  <a:cubicBezTo>
                    <a:pt x="5028724" y="230029"/>
                    <a:pt x="5026819" y="223361"/>
                    <a:pt x="5026819" y="223361"/>
                  </a:cubicBezTo>
                  <a:cubicBezTo>
                    <a:pt x="5026819" y="223361"/>
                    <a:pt x="5026819" y="230029"/>
                    <a:pt x="5025867" y="242411"/>
                  </a:cubicBezTo>
                  <a:cubicBezTo>
                    <a:pt x="5025867" y="248126"/>
                    <a:pt x="5025867" y="255746"/>
                    <a:pt x="5025867" y="263366"/>
                  </a:cubicBezTo>
                  <a:cubicBezTo>
                    <a:pt x="5025867" y="267176"/>
                    <a:pt x="5025867" y="271939"/>
                    <a:pt x="5025867" y="276701"/>
                  </a:cubicBezTo>
                  <a:cubicBezTo>
                    <a:pt x="5025867" y="277654"/>
                    <a:pt x="5025867" y="279559"/>
                    <a:pt x="5025867" y="281464"/>
                  </a:cubicBezTo>
                  <a:cubicBezTo>
                    <a:pt x="5020151" y="274796"/>
                    <a:pt x="5015389" y="268129"/>
                    <a:pt x="5010626" y="263366"/>
                  </a:cubicBezTo>
                  <a:cubicBezTo>
                    <a:pt x="5003006" y="255746"/>
                    <a:pt x="4998244" y="250984"/>
                    <a:pt x="4995387" y="248126"/>
                  </a:cubicBezTo>
                  <a:cubicBezTo>
                    <a:pt x="4996339" y="245269"/>
                    <a:pt x="4997292" y="243364"/>
                    <a:pt x="4997292" y="243364"/>
                  </a:cubicBezTo>
                  <a:cubicBezTo>
                    <a:pt x="4997292" y="243364"/>
                    <a:pt x="4996339" y="245269"/>
                    <a:pt x="4994434" y="248126"/>
                  </a:cubicBezTo>
                  <a:cubicBezTo>
                    <a:pt x="4993481" y="247174"/>
                    <a:pt x="4992529" y="246221"/>
                    <a:pt x="4992529" y="246221"/>
                  </a:cubicBezTo>
                  <a:cubicBezTo>
                    <a:pt x="4994434" y="211931"/>
                    <a:pt x="4994434" y="190024"/>
                    <a:pt x="4994434" y="190024"/>
                  </a:cubicBezTo>
                  <a:cubicBezTo>
                    <a:pt x="4994434" y="190024"/>
                    <a:pt x="4988719" y="210026"/>
                    <a:pt x="4983004" y="240506"/>
                  </a:cubicBezTo>
                  <a:cubicBezTo>
                    <a:pt x="4982051" y="239554"/>
                    <a:pt x="4981099" y="238601"/>
                    <a:pt x="4981099" y="238601"/>
                  </a:cubicBezTo>
                  <a:cubicBezTo>
                    <a:pt x="4967764" y="226219"/>
                    <a:pt x="4959192" y="219551"/>
                    <a:pt x="4959192" y="219551"/>
                  </a:cubicBezTo>
                  <a:cubicBezTo>
                    <a:pt x="4959192" y="219551"/>
                    <a:pt x="4965859" y="227171"/>
                    <a:pt x="4978242" y="241459"/>
                  </a:cubicBezTo>
                  <a:cubicBezTo>
                    <a:pt x="4979194" y="243364"/>
                    <a:pt x="4981099" y="244316"/>
                    <a:pt x="4982051" y="246221"/>
                  </a:cubicBezTo>
                  <a:cubicBezTo>
                    <a:pt x="4982051" y="247174"/>
                    <a:pt x="4982051" y="248126"/>
                    <a:pt x="4982051" y="248126"/>
                  </a:cubicBezTo>
                  <a:cubicBezTo>
                    <a:pt x="4980146" y="257651"/>
                    <a:pt x="4978242" y="268129"/>
                    <a:pt x="4976337" y="279559"/>
                  </a:cubicBezTo>
                  <a:cubicBezTo>
                    <a:pt x="4974431" y="283369"/>
                    <a:pt x="4971574" y="287179"/>
                    <a:pt x="4969669" y="290989"/>
                  </a:cubicBezTo>
                  <a:cubicBezTo>
                    <a:pt x="4965859" y="281464"/>
                    <a:pt x="4963001" y="272891"/>
                    <a:pt x="4960144" y="265271"/>
                  </a:cubicBezTo>
                  <a:cubicBezTo>
                    <a:pt x="4960144" y="265271"/>
                    <a:pt x="4960144" y="264319"/>
                    <a:pt x="4960144" y="264319"/>
                  </a:cubicBezTo>
                  <a:cubicBezTo>
                    <a:pt x="4960144" y="253841"/>
                    <a:pt x="4960144" y="245269"/>
                    <a:pt x="4959192" y="237649"/>
                  </a:cubicBezTo>
                  <a:cubicBezTo>
                    <a:pt x="4958239" y="223361"/>
                    <a:pt x="4958239" y="215741"/>
                    <a:pt x="4958239" y="214789"/>
                  </a:cubicBezTo>
                  <a:cubicBezTo>
                    <a:pt x="4963001" y="194786"/>
                    <a:pt x="4965859" y="177641"/>
                    <a:pt x="4968717" y="164306"/>
                  </a:cubicBezTo>
                  <a:cubicBezTo>
                    <a:pt x="4972526" y="145256"/>
                    <a:pt x="4974431" y="134779"/>
                    <a:pt x="4974431" y="134779"/>
                  </a:cubicBezTo>
                  <a:cubicBezTo>
                    <a:pt x="4974431" y="134779"/>
                    <a:pt x="4970621" y="145256"/>
                    <a:pt x="4964906" y="163354"/>
                  </a:cubicBezTo>
                  <a:cubicBezTo>
                    <a:pt x="4962049" y="171926"/>
                    <a:pt x="4959192" y="181451"/>
                    <a:pt x="4955381" y="191929"/>
                  </a:cubicBezTo>
                  <a:cubicBezTo>
                    <a:pt x="4955381" y="182404"/>
                    <a:pt x="4955381" y="176689"/>
                    <a:pt x="4955381" y="176689"/>
                  </a:cubicBezTo>
                  <a:cubicBezTo>
                    <a:pt x="4955381" y="176689"/>
                    <a:pt x="4954429" y="186214"/>
                    <a:pt x="4952524" y="202406"/>
                  </a:cubicBezTo>
                  <a:cubicBezTo>
                    <a:pt x="4952524" y="202406"/>
                    <a:pt x="4952524" y="203359"/>
                    <a:pt x="4952524" y="203359"/>
                  </a:cubicBezTo>
                  <a:cubicBezTo>
                    <a:pt x="4949667" y="210979"/>
                    <a:pt x="4947762" y="218599"/>
                    <a:pt x="4944904" y="227171"/>
                  </a:cubicBezTo>
                  <a:cubicBezTo>
                    <a:pt x="4944904" y="227171"/>
                    <a:pt x="4944904" y="226219"/>
                    <a:pt x="4944904" y="226219"/>
                  </a:cubicBezTo>
                  <a:cubicBezTo>
                    <a:pt x="4939189" y="209074"/>
                    <a:pt x="4936331" y="199549"/>
                    <a:pt x="4936331" y="199549"/>
                  </a:cubicBezTo>
                  <a:cubicBezTo>
                    <a:pt x="4936331" y="199549"/>
                    <a:pt x="4938237" y="213836"/>
                    <a:pt x="4942046" y="236696"/>
                  </a:cubicBezTo>
                  <a:cubicBezTo>
                    <a:pt x="4942046" y="237649"/>
                    <a:pt x="4941094" y="238601"/>
                    <a:pt x="4941094" y="239554"/>
                  </a:cubicBezTo>
                  <a:cubicBezTo>
                    <a:pt x="4935379" y="255746"/>
                    <a:pt x="4929664" y="273844"/>
                    <a:pt x="4922996" y="292894"/>
                  </a:cubicBezTo>
                  <a:cubicBezTo>
                    <a:pt x="4922996" y="291941"/>
                    <a:pt x="4922996" y="290036"/>
                    <a:pt x="4922996" y="289084"/>
                  </a:cubicBezTo>
                  <a:cubicBezTo>
                    <a:pt x="4921092" y="275749"/>
                    <a:pt x="4920139" y="269081"/>
                    <a:pt x="4920139" y="269081"/>
                  </a:cubicBezTo>
                  <a:cubicBezTo>
                    <a:pt x="4920139" y="269081"/>
                    <a:pt x="4919187" y="276701"/>
                    <a:pt x="4919187" y="290036"/>
                  </a:cubicBezTo>
                  <a:cubicBezTo>
                    <a:pt x="4919187" y="291941"/>
                    <a:pt x="4919187" y="293846"/>
                    <a:pt x="4919187" y="296704"/>
                  </a:cubicBezTo>
                  <a:cubicBezTo>
                    <a:pt x="4918234" y="293846"/>
                    <a:pt x="4918234" y="290989"/>
                    <a:pt x="4917281" y="289084"/>
                  </a:cubicBezTo>
                  <a:cubicBezTo>
                    <a:pt x="4915376" y="279559"/>
                    <a:pt x="4913471" y="271939"/>
                    <a:pt x="4911567" y="266224"/>
                  </a:cubicBezTo>
                  <a:cubicBezTo>
                    <a:pt x="4907756" y="253841"/>
                    <a:pt x="4904899" y="246221"/>
                    <a:pt x="4904899" y="246221"/>
                  </a:cubicBezTo>
                  <a:cubicBezTo>
                    <a:pt x="4904899" y="246221"/>
                    <a:pt x="4905851" y="253841"/>
                    <a:pt x="4907756" y="267176"/>
                  </a:cubicBezTo>
                  <a:cubicBezTo>
                    <a:pt x="4908709" y="273844"/>
                    <a:pt x="4908709" y="281464"/>
                    <a:pt x="4909662" y="290989"/>
                  </a:cubicBezTo>
                  <a:cubicBezTo>
                    <a:pt x="4910614" y="299561"/>
                    <a:pt x="4910614" y="310039"/>
                    <a:pt x="4911567" y="321469"/>
                  </a:cubicBezTo>
                  <a:cubicBezTo>
                    <a:pt x="4910614" y="323374"/>
                    <a:pt x="4909662" y="325279"/>
                    <a:pt x="4908709" y="327184"/>
                  </a:cubicBezTo>
                  <a:cubicBezTo>
                    <a:pt x="4906804" y="322421"/>
                    <a:pt x="4903946" y="317659"/>
                    <a:pt x="4902042" y="313849"/>
                  </a:cubicBezTo>
                  <a:cubicBezTo>
                    <a:pt x="4899184" y="308134"/>
                    <a:pt x="4896326" y="302419"/>
                    <a:pt x="4894421" y="298609"/>
                  </a:cubicBezTo>
                  <a:cubicBezTo>
                    <a:pt x="4893469" y="290036"/>
                    <a:pt x="4892517" y="285274"/>
                    <a:pt x="4892517" y="285274"/>
                  </a:cubicBezTo>
                  <a:cubicBezTo>
                    <a:pt x="4892517" y="285274"/>
                    <a:pt x="4892517" y="288131"/>
                    <a:pt x="4891564" y="293846"/>
                  </a:cubicBezTo>
                  <a:cubicBezTo>
                    <a:pt x="4889659" y="290989"/>
                    <a:pt x="4888706" y="289084"/>
                    <a:pt x="4888706" y="289084"/>
                  </a:cubicBezTo>
                  <a:cubicBezTo>
                    <a:pt x="4888706" y="289084"/>
                    <a:pt x="4889659" y="291941"/>
                    <a:pt x="4891564" y="295751"/>
                  </a:cubicBezTo>
                  <a:cubicBezTo>
                    <a:pt x="4890612" y="306229"/>
                    <a:pt x="4888706" y="324326"/>
                    <a:pt x="4887754" y="348139"/>
                  </a:cubicBezTo>
                  <a:cubicBezTo>
                    <a:pt x="4887754" y="350996"/>
                    <a:pt x="4887754" y="354806"/>
                    <a:pt x="4887754" y="357664"/>
                  </a:cubicBezTo>
                  <a:cubicBezTo>
                    <a:pt x="4885849" y="354806"/>
                    <a:pt x="4883944" y="352901"/>
                    <a:pt x="4882991" y="350996"/>
                  </a:cubicBezTo>
                  <a:cubicBezTo>
                    <a:pt x="4882991" y="347186"/>
                    <a:pt x="4882039" y="343376"/>
                    <a:pt x="4882039" y="338614"/>
                  </a:cubicBezTo>
                  <a:cubicBezTo>
                    <a:pt x="4882039" y="338614"/>
                    <a:pt x="4882039" y="337661"/>
                    <a:pt x="4882039" y="337661"/>
                  </a:cubicBezTo>
                  <a:cubicBezTo>
                    <a:pt x="4882991" y="333851"/>
                    <a:pt x="4882991" y="330041"/>
                    <a:pt x="4883944" y="327184"/>
                  </a:cubicBezTo>
                  <a:cubicBezTo>
                    <a:pt x="4884896" y="324326"/>
                    <a:pt x="4884896" y="321469"/>
                    <a:pt x="4885849" y="319564"/>
                  </a:cubicBezTo>
                  <a:cubicBezTo>
                    <a:pt x="4886801" y="315754"/>
                    <a:pt x="4887754" y="312896"/>
                    <a:pt x="4887754" y="312896"/>
                  </a:cubicBezTo>
                  <a:cubicBezTo>
                    <a:pt x="4887754" y="312896"/>
                    <a:pt x="4886801" y="314801"/>
                    <a:pt x="4884896" y="318611"/>
                  </a:cubicBezTo>
                  <a:cubicBezTo>
                    <a:pt x="4883944" y="320516"/>
                    <a:pt x="4882991" y="323374"/>
                    <a:pt x="4882039" y="326231"/>
                  </a:cubicBezTo>
                  <a:cubicBezTo>
                    <a:pt x="4882039" y="327184"/>
                    <a:pt x="4882039" y="327184"/>
                    <a:pt x="4882039" y="328136"/>
                  </a:cubicBezTo>
                  <a:cubicBezTo>
                    <a:pt x="4882039" y="327184"/>
                    <a:pt x="4882039" y="326231"/>
                    <a:pt x="4882039" y="326231"/>
                  </a:cubicBezTo>
                  <a:cubicBezTo>
                    <a:pt x="4880134" y="312896"/>
                    <a:pt x="4878229" y="300514"/>
                    <a:pt x="4877276" y="288131"/>
                  </a:cubicBezTo>
                  <a:cubicBezTo>
                    <a:pt x="4876324" y="279559"/>
                    <a:pt x="4874419" y="270986"/>
                    <a:pt x="4873466" y="263366"/>
                  </a:cubicBezTo>
                  <a:cubicBezTo>
                    <a:pt x="4875372" y="253841"/>
                    <a:pt x="4876324" y="245269"/>
                    <a:pt x="4878229" y="238601"/>
                  </a:cubicBezTo>
                  <a:cubicBezTo>
                    <a:pt x="4881087" y="221456"/>
                    <a:pt x="4882039" y="211931"/>
                    <a:pt x="4882039" y="211931"/>
                  </a:cubicBezTo>
                  <a:cubicBezTo>
                    <a:pt x="4882039" y="211931"/>
                    <a:pt x="4879181" y="221456"/>
                    <a:pt x="4874419" y="237649"/>
                  </a:cubicBezTo>
                  <a:cubicBezTo>
                    <a:pt x="4873466" y="241459"/>
                    <a:pt x="4872514" y="245269"/>
                    <a:pt x="4870609" y="249079"/>
                  </a:cubicBezTo>
                  <a:cubicBezTo>
                    <a:pt x="4869656" y="242411"/>
                    <a:pt x="4867751" y="236696"/>
                    <a:pt x="4866799" y="231934"/>
                  </a:cubicBezTo>
                  <a:cubicBezTo>
                    <a:pt x="4863941" y="218599"/>
                    <a:pt x="4862037" y="210979"/>
                    <a:pt x="4862037" y="210979"/>
                  </a:cubicBezTo>
                  <a:cubicBezTo>
                    <a:pt x="4862037" y="210979"/>
                    <a:pt x="4862037" y="218599"/>
                    <a:pt x="4862989" y="232886"/>
                  </a:cubicBezTo>
                  <a:cubicBezTo>
                    <a:pt x="4862989" y="237649"/>
                    <a:pt x="4863941" y="242411"/>
                    <a:pt x="4863941" y="248126"/>
                  </a:cubicBezTo>
                  <a:cubicBezTo>
                    <a:pt x="4863941" y="250984"/>
                    <a:pt x="4863941" y="255746"/>
                    <a:pt x="4863941" y="261461"/>
                  </a:cubicBezTo>
                  <a:cubicBezTo>
                    <a:pt x="4862989" y="262414"/>
                    <a:pt x="4862037" y="263366"/>
                    <a:pt x="4860131" y="264319"/>
                  </a:cubicBezTo>
                  <a:cubicBezTo>
                    <a:pt x="4856322" y="268129"/>
                    <a:pt x="4850606" y="272891"/>
                    <a:pt x="4843939" y="281464"/>
                  </a:cubicBezTo>
                  <a:cubicBezTo>
                    <a:pt x="4842987" y="277654"/>
                    <a:pt x="4842034" y="273844"/>
                    <a:pt x="4841081" y="270986"/>
                  </a:cubicBezTo>
                  <a:cubicBezTo>
                    <a:pt x="4842034" y="268129"/>
                    <a:pt x="4842987" y="266224"/>
                    <a:pt x="4842987" y="266224"/>
                  </a:cubicBezTo>
                  <a:cubicBezTo>
                    <a:pt x="4842987" y="266224"/>
                    <a:pt x="4842034" y="267176"/>
                    <a:pt x="4841081" y="269081"/>
                  </a:cubicBezTo>
                  <a:cubicBezTo>
                    <a:pt x="4840129" y="265271"/>
                    <a:pt x="4840129" y="262414"/>
                    <a:pt x="4840129" y="262414"/>
                  </a:cubicBezTo>
                  <a:cubicBezTo>
                    <a:pt x="4840129" y="262414"/>
                    <a:pt x="4840129" y="265271"/>
                    <a:pt x="4840129" y="270034"/>
                  </a:cubicBezTo>
                  <a:cubicBezTo>
                    <a:pt x="4838224" y="271939"/>
                    <a:pt x="4836319" y="274796"/>
                    <a:pt x="4833462" y="278606"/>
                  </a:cubicBezTo>
                  <a:cubicBezTo>
                    <a:pt x="4830604" y="283369"/>
                    <a:pt x="4826794" y="288131"/>
                    <a:pt x="4822984" y="294799"/>
                  </a:cubicBezTo>
                  <a:cubicBezTo>
                    <a:pt x="4821079" y="297656"/>
                    <a:pt x="4819174" y="301466"/>
                    <a:pt x="4816316" y="304324"/>
                  </a:cubicBezTo>
                  <a:cubicBezTo>
                    <a:pt x="4814412" y="308134"/>
                    <a:pt x="4812506" y="311944"/>
                    <a:pt x="4809649" y="315754"/>
                  </a:cubicBezTo>
                  <a:cubicBezTo>
                    <a:pt x="4809649" y="316706"/>
                    <a:pt x="4808697" y="317659"/>
                    <a:pt x="4807744" y="318611"/>
                  </a:cubicBezTo>
                  <a:cubicBezTo>
                    <a:pt x="4807744" y="309086"/>
                    <a:pt x="4807744" y="304324"/>
                    <a:pt x="4807744" y="304324"/>
                  </a:cubicBezTo>
                  <a:cubicBezTo>
                    <a:pt x="4807744" y="304324"/>
                    <a:pt x="4805839" y="312896"/>
                    <a:pt x="4803934" y="327184"/>
                  </a:cubicBezTo>
                  <a:cubicBezTo>
                    <a:pt x="4801076" y="331946"/>
                    <a:pt x="4798219" y="336709"/>
                    <a:pt x="4795362" y="342424"/>
                  </a:cubicBezTo>
                  <a:cubicBezTo>
                    <a:pt x="4795362" y="335756"/>
                    <a:pt x="4795362" y="330041"/>
                    <a:pt x="4795362" y="324326"/>
                  </a:cubicBezTo>
                  <a:cubicBezTo>
                    <a:pt x="4795362" y="319564"/>
                    <a:pt x="4795362" y="315754"/>
                    <a:pt x="4795362" y="311944"/>
                  </a:cubicBezTo>
                  <a:cubicBezTo>
                    <a:pt x="4796314" y="308134"/>
                    <a:pt x="4796314" y="305276"/>
                    <a:pt x="4796314" y="302419"/>
                  </a:cubicBezTo>
                  <a:cubicBezTo>
                    <a:pt x="4796314" y="300514"/>
                    <a:pt x="4796314" y="299561"/>
                    <a:pt x="4797266" y="297656"/>
                  </a:cubicBezTo>
                  <a:cubicBezTo>
                    <a:pt x="4799172" y="286226"/>
                    <a:pt x="4802029" y="274796"/>
                    <a:pt x="4803934" y="264319"/>
                  </a:cubicBezTo>
                  <a:cubicBezTo>
                    <a:pt x="4811554" y="221456"/>
                    <a:pt x="4815364" y="192881"/>
                    <a:pt x="4815364" y="192881"/>
                  </a:cubicBezTo>
                  <a:cubicBezTo>
                    <a:pt x="4815364" y="192881"/>
                    <a:pt x="4804887" y="220504"/>
                    <a:pt x="4792504" y="262414"/>
                  </a:cubicBezTo>
                  <a:cubicBezTo>
                    <a:pt x="4791551" y="264319"/>
                    <a:pt x="4791551" y="266224"/>
                    <a:pt x="4790599" y="268129"/>
                  </a:cubicBezTo>
                  <a:cubicBezTo>
                    <a:pt x="4788694" y="256699"/>
                    <a:pt x="4788694" y="250031"/>
                    <a:pt x="4788694" y="250031"/>
                  </a:cubicBezTo>
                  <a:cubicBezTo>
                    <a:pt x="4788694" y="250031"/>
                    <a:pt x="4788694" y="257651"/>
                    <a:pt x="4787741" y="270986"/>
                  </a:cubicBezTo>
                  <a:cubicBezTo>
                    <a:pt x="4787741" y="273844"/>
                    <a:pt x="4787741" y="277654"/>
                    <a:pt x="4787741" y="281464"/>
                  </a:cubicBezTo>
                  <a:cubicBezTo>
                    <a:pt x="4785837" y="287179"/>
                    <a:pt x="4783931" y="292894"/>
                    <a:pt x="4782979" y="299561"/>
                  </a:cubicBezTo>
                  <a:cubicBezTo>
                    <a:pt x="4782979" y="297656"/>
                    <a:pt x="4782979" y="295751"/>
                    <a:pt x="4782979" y="293846"/>
                  </a:cubicBezTo>
                  <a:cubicBezTo>
                    <a:pt x="4783931" y="282416"/>
                    <a:pt x="4783931" y="271939"/>
                    <a:pt x="4784884" y="263366"/>
                  </a:cubicBezTo>
                  <a:cubicBezTo>
                    <a:pt x="4785837" y="253841"/>
                    <a:pt x="4785837" y="246221"/>
                    <a:pt x="4786789" y="239554"/>
                  </a:cubicBezTo>
                  <a:cubicBezTo>
                    <a:pt x="4788694" y="226219"/>
                    <a:pt x="4789647" y="218599"/>
                    <a:pt x="4789647" y="218599"/>
                  </a:cubicBezTo>
                  <a:cubicBezTo>
                    <a:pt x="4789647" y="218599"/>
                    <a:pt x="4787741" y="226219"/>
                    <a:pt x="4782979" y="238601"/>
                  </a:cubicBezTo>
                  <a:cubicBezTo>
                    <a:pt x="4781074" y="245269"/>
                    <a:pt x="4779169" y="252889"/>
                    <a:pt x="4777264" y="262414"/>
                  </a:cubicBezTo>
                  <a:cubicBezTo>
                    <a:pt x="4776312" y="264319"/>
                    <a:pt x="4776312" y="266224"/>
                    <a:pt x="4776312" y="269081"/>
                  </a:cubicBezTo>
                  <a:cubicBezTo>
                    <a:pt x="4774406" y="257651"/>
                    <a:pt x="4773454" y="251936"/>
                    <a:pt x="4773454" y="251936"/>
                  </a:cubicBezTo>
                  <a:cubicBezTo>
                    <a:pt x="4773454" y="251936"/>
                    <a:pt x="4773454" y="264319"/>
                    <a:pt x="4773454" y="284321"/>
                  </a:cubicBezTo>
                  <a:cubicBezTo>
                    <a:pt x="4772501" y="287179"/>
                    <a:pt x="4772501" y="290989"/>
                    <a:pt x="4771549" y="293846"/>
                  </a:cubicBezTo>
                  <a:cubicBezTo>
                    <a:pt x="4771549" y="294799"/>
                    <a:pt x="4771549" y="294799"/>
                    <a:pt x="4771549" y="295751"/>
                  </a:cubicBezTo>
                  <a:cubicBezTo>
                    <a:pt x="4769644" y="273844"/>
                    <a:pt x="4767739" y="260509"/>
                    <a:pt x="4767739" y="260509"/>
                  </a:cubicBezTo>
                  <a:cubicBezTo>
                    <a:pt x="4767739" y="260509"/>
                    <a:pt x="4765834" y="274796"/>
                    <a:pt x="4764881" y="297656"/>
                  </a:cubicBezTo>
                  <a:cubicBezTo>
                    <a:pt x="4762024" y="290036"/>
                    <a:pt x="4758214" y="283369"/>
                    <a:pt x="4755356" y="276701"/>
                  </a:cubicBezTo>
                  <a:cubicBezTo>
                    <a:pt x="4753451" y="273844"/>
                    <a:pt x="4752499" y="271939"/>
                    <a:pt x="4750594" y="270034"/>
                  </a:cubicBezTo>
                  <a:cubicBezTo>
                    <a:pt x="4753451" y="260509"/>
                    <a:pt x="4755356" y="251936"/>
                    <a:pt x="4758214" y="243364"/>
                  </a:cubicBezTo>
                  <a:cubicBezTo>
                    <a:pt x="4767739" y="209074"/>
                    <a:pt x="4774406" y="180499"/>
                    <a:pt x="4780122" y="161449"/>
                  </a:cubicBezTo>
                  <a:cubicBezTo>
                    <a:pt x="4784884" y="141446"/>
                    <a:pt x="4787741" y="130016"/>
                    <a:pt x="4787741" y="130016"/>
                  </a:cubicBezTo>
                  <a:cubicBezTo>
                    <a:pt x="4787741" y="130016"/>
                    <a:pt x="4782979" y="140494"/>
                    <a:pt x="4776312" y="160496"/>
                  </a:cubicBezTo>
                  <a:cubicBezTo>
                    <a:pt x="4769644" y="179546"/>
                    <a:pt x="4759166" y="207169"/>
                    <a:pt x="4747737" y="240506"/>
                  </a:cubicBezTo>
                  <a:cubicBezTo>
                    <a:pt x="4745831" y="246221"/>
                    <a:pt x="4743926" y="251936"/>
                    <a:pt x="4742022" y="257651"/>
                  </a:cubicBezTo>
                  <a:cubicBezTo>
                    <a:pt x="4742022" y="257651"/>
                    <a:pt x="4742022" y="257651"/>
                    <a:pt x="4742022" y="257651"/>
                  </a:cubicBezTo>
                  <a:cubicBezTo>
                    <a:pt x="4737259" y="251936"/>
                    <a:pt x="4732497" y="248126"/>
                    <a:pt x="4727734" y="244316"/>
                  </a:cubicBezTo>
                  <a:cubicBezTo>
                    <a:pt x="4725829" y="242411"/>
                    <a:pt x="4722972" y="241459"/>
                    <a:pt x="4721066" y="240506"/>
                  </a:cubicBezTo>
                  <a:cubicBezTo>
                    <a:pt x="4719162" y="239554"/>
                    <a:pt x="4717256" y="238601"/>
                    <a:pt x="4716304" y="238601"/>
                  </a:cubicBezTo>
                  <a:cubicBezTo>
                    <a:pt x="4713447" y="237649"/>
                    <a:pt x="4712494" y="237649"/>
                    <a:pt x="4712494" y="237649"/>
                  </a:cubicBezTo>
                  <a:cubicBezTo>
                    <a:pt x="4712494" y="237649"/>
                    <a:pt x="4713447" y="238601"/>
                    <a:pt x="4716304" y="239554"/>
                  </a:cubicBezTo>
                  <a:cubicBezTo>
                    <a:pt x="4719162" y="240506"/>
                    <a:pt x="4722019" y="243364"/>
                    <a:pt x="4725829" y="246221"/>
                  </a:cubicBezTo>
                  <a:cubicBezTo>
                    <a:pt x="4729639" y="250031"/>
                    <a:pt x="4733449" y="254794"/>
                    <a:pt x="4736306" y="260509"/>
                  </a:cubicBezTo>
                  <a:cubicBezTo>
                    <a:pt x="4737259" y="262414"/>
                    <a:pt x="4738212" y="264319"/>
                    <a:pt x="4739164" y="266224"/>
                  </a:cubicBezTo>
                  <a:cubicBezTo>
                    <a:pt x="4736306" y="274796"/>
                    <a:pt x="4732497" y="284321"/>
                    <a:pt x="4729639" y="293846"/>
                  </a:cubicBezTo>
                  <a:cubicBezTo>
                    <a:pt x="4729639" y="294799"/>
                    <a:pt x="4729639" y="294799"/>
                    <a:pt x="4728687" y="295751"/>
                  </a:cubicBezTo>
                  <a:cubicBezTo>
                    <a:pt x="4728687" y="295751"/>
                    <a:pt x="4728687" y="295751"/>
                    <a:pt x="4728687" y="294799"/>
                  </a:cubicBezTo>
                  <a:cubicBezTo>
                    <a:pt x="4728687" y="291941"/>
                    <a:pt x="4728687" y="290989"/>
                    <a:pt x="4728687" y="290989"/>
                  </a:cubicBezTo>
                  <a:cubicBezTo>
                    <a:pt x="4728687" y="290989"/>
                    <a:pt x="4728687" y="291941"/>
                    <a:pt x="4727734" y="293846"/>
                  </a:cubicBezTo>
                  <a:cubicBezTo>
                    <a:pt x="4723924" y="285274"/>
                    <a:pt x="4720114" y="277654"/>
                    <a:pt x="4717256" y="270986"/>
                  </a:cubicBezTo>
                  <a:cubicBezTo>
                    <a:pt x="4716304" y="269081"/>
                    <a:pt x="4715351" y="267176"/>
                    <a:pt x="4714399" y="265271"/>
                  </a:cubicBezTo>
                  <a:cubicBezTo>
                    <a:pt x="4715351" y="257651"/>
                    <a:pt x="4716304" y="252889"/>
                    <a:pt x="4716304" y="252889"/>
                  </a:cubicBezTo>
                  <a:cubicBezTo>
                    <a:pt x="4716304" y="252889"/>
                    <a:pt x="4715351" y="256699"/>
                    <a:pt x="4713447" y="262414"/>
                  </a:cubicBezTo>
                  <a:cubicBezTo>
                    <a:pt x="4708684" y="252889"/>
                    <a:pt x="4706779" y="248126"/>
                    <a:pt x="4706779" y="248126"/>
                  </a:cubicBezTo>
                  <a:cubicBezTo>
                    <a:pt x="4706779" y="248126"/>
                    <a:pt x="4708684" y="254794"/>
                    <a:pt x="4712494" y="267176"/>
                  </a:cubicBezTo>
                  <a:cubicBezTo>
                    <a:pt x="4711541" y="270034"/>
                    <a:pt x="4710589" y="273844"/>
                    <a:pt x="4708684" y="277654"/>
                  </a:cubicBezTo>
                  <a:cubicBezTo>
                    <a:pt x="4700112" y="251936"/>
                    <a:pt x="4694397" y="236696"/>
                    <a:pt x="4694397" y="236696"/>
                  </a:cubicBezTo>
                  <a:cubicBezTo>
                    <a:pt x="4694397" y="236696"/>
                    <a:pt x="4697254" y="258604"/>
                    <a:pt x="4702969" y="293846"/>
                  </a:cubicBezTo>
                  <a:cubicBezTo>
                    <a:pt x="4700112" y="304324"/>
                    <a:pt x="4696301" y="317659"/>
                    <a:pt x="4691539" y="331946"/>
                  </a:cubicBezTo>
                  <a:cubicBezTo>
                    <a:pt x="4691539" y="330994"/>
                    <a:pt x="4690587" y="330041"/>
                    <a:pt x="4690587" y="329089"/>
                  </a:cubicBezTo>
                  <a:cubicBezTo>
                    <a:pt x="4685824" y="319564"/>
                    <a:pt x="4682966" y="313849"/>
                    <a:pt x="4682966" y="313849"/>
                  </a:cubicBezTo>
                  <a:cubicBezTo>
                    <a:pt x="4682966" y="313849"/>
                    <a:pt x="4683919" y="316706"/>
                    <a:pt x="4684872" y="322421"/>
                  </a:cubicBezTo>
                  <a:cubicBezTo>
                    <a:pt x="4684872" y="322421"/>
                    <a:pt x="4684872" y="322421"/>
                    <a:pt x="4684872" y="322421"/>
                  </a:cubicBezTo>
                  <a:cubicBezTo>
                    <a:pt x="4676299" y="310991"/>
                    <a:pt x="4671537" y="304324"/>
                    <a:pt x="4671537" y="304324"/>
                  </a:cubicBezTo>
                  <a:cubicBezTo>
                    <a:pt x="4671537" y="304324"/>
                    <a:pt x="4675347" y="311944"/>
                    <a:pt x="4682014" y="324326"/>
                  </a:cubicBezTo>
                  <a:cubicBezTo>
                    <a:pt x="4683919" y="328136"/>
                    <a:pt x="4686776" y="332899"/>
                    <a:pt x="4688681" y="337661"/>
                  </a:cubicBezTo>
                  <a:cubicBezTo>
                    <a:pt x="4688681" y="338614"/>
                    <a:pt x="4688681" y="339566"/>
                    <a:pt x="4689634" y="340519"/>
                  </a:cubicBezTo>
                  <a:cubicBezTo>
                    <a:pt x="4687729" y="349091"/>
                    <a:pt x="4684872" y="356711"/>
                    <a:pt x="4682966" y="366236"/>
                  </a:cubicBezTo>
                  <a:cubicBezTo>
                    <a:pt x="4681062" y="364331"/>
                    <a:pt x="4680109" y="361474"/>
                    <a:pt x="4678204" y="359569"/>
                  </a:cubicBezTo>
                  <a:cubicBezTo>
                    <a:pt x="4675347" y="355759"/>
                    <a:pt x="4671537" y="351949"/>
                    <a:pt x="4669631" y="349091"/>
                  </a:cubicBezTo>
                  <a:cubicBezTo>
                    <a:pt x="4669631" y="349091"/>
                    <a:pt x="4669631" y="349091"/>
                    <a:pt x="4668679" y="348139"/>
                  </a:cubicBezTo>
                  <a:cubicBezTo>
                    <a:pt x="4669631" y="341471"/>
                    <a:pt x="4669631" y="335756"/>
                    <a:pt x="4669631" y="330994"/>
                  </a:cubicBezTo>
                  <a:cubicBezTo>
                    <a:pt x="4670584" y="318611"/>
                    <a:pt x="4669631" y="310991"/>
                    <a:pt x="4669631" y="310991"/>
                  </a:cubicBezTo>
                  <a:cubicBezTo>
                    <a:pt x="4669631" y="310991"/>
                    <a:pt x="4669631" y="311944"/>
                    <a:pt x="4669631" y="313849"/>
                  </a:cubicBezTo>
                  <a:cubicBezTo>
                    <a:pt x="4669631" y="310039"/>
                    <a:pt x="4670584" y="305276"/>
                    <a:pt x="4670584" y="301466"/>
                  </a:cubicBezTo>
                  <a:cubicBezTo>
                    <a:pt x="4670584" y="296704"/>
                    <a:pt x="4670584" y="291941"/>
                    <a:pt x="4670584" y="287179"/>
                  </a:cubicBezTo>
                  <a:cubicBezTo>
                    <a:pt x="4672489" y="282416"/>
                    <a:pt x="4673441" y="278606"/>
                    <a:pt x="4675347" y="274796"/>
                  </a:cubicBezTo>
                  <a:cubicBezTo>
                    <a:pt x="4683919" y="259556"/>
                    <a:pt x="4689634" y="250984"/>
                    <a:pt x="4689634" y="250984"/>
                  </a:cubicBezTo>
                  <a:cubicBezTo>
                    <a:pt x="4689634" y="250984"/>
                    <a:pt x="4686776" y="254794"/>
                    <a:pt x="4681062" y="262414"/>
                  </a:cubicBezTo>
                  <a:cubicBezTo>
                    <a:pt x="4684872" y="252889"/>
                    <a:pt x="4686776" y="248126"/>
                    <a:pt x="4686776" y="248126"/>
                  </a:cubicBezTo>
                  <a:cubicBezTo>
                    <a:pt x="4686776" y="248126"/>
                    <a:pt x="4682966" y="254794"/>
                    <a:pt x="4675347" y="265271"/>
                  </a:cubicBezTo>
                  <a:cubicBezTo>
                    <a:pt x="4673441" y="267176"/>
                    <a:pt x="4672489" y="270034"/>
                    <a:pt x="4670584" y="272891"/>
                  </a:cubicBezTo>
                  <a:cubicBezTo>
                    <a:pt x="4670584" y="270986"/>
                    <a:pt x="4670584" y="270034"/>
                    <a:pt x="4670584" y="268129"/>
                  </a:cubicBezTo>
                  <a:cubicBezTo>
                    <a:pt x="4669631" y="261461"/>
                    <a:pt x="4669631" y="255746"/>
                    <a:pt x="4668679" y="250984"/>
                  </a:cubicBezTo>
                  <a:cubicBezTo>
                    <a:pt x="4668679" y="250031"/>
                    <a:pt x="4668679" y="248126"/>
                    <a:pt x="4669631" y="247174"/>
                  </a:cubicBezTo>
                  <a:cubicBezTo>
                    <a:pt x="4671537" y="230981"/>
                    <a:pt x="4671537" y="222409"/>
                    <a:pt x="4671537" y="222409"/>
                  </a:cubicBezTo>
                  <a:cubicBezTo>
                    <a:pt x="4671537" y="222409"/>
                    <a:pt x="4671537" y="224314"/>
                    <a:pt x="4670584" y="229076"/>
                  </a:cubicBezTo>
                  <a:cubicBezTo>
                    <a:pt x="4669631" y="231934"/>
                    <a:pt x="4668679" y="236696"/>
                    <a:pt x="4666774" y="242411"/>
                  </a:cubicBezTo>
                  <a:cubicBezTo>
                    <a:pt x="4666774" y="242411"/>
                    <a:pt x="4666774" y="242411"/>
                    <a:pt x="4666774" y="241459"/>
                  </a:cubicBezTo>
                  <a:cubicBezTo>
                    <a:pt x="4666774" y="241459"/>
                    <a:pt x="4666774" y="241459"/>
                    <a:pt x="4666774" y="241459"/>
                  </a:cubicBezTo>
                  <a:cubicBezTo>
                    <a:pt x="4666774" y="241459"/>
                    <a:pt x="4666774" y="241459"/>
                    <a:pt x="4666774" y="241459"/>
                  </a:cubicBezTo>
                  <a:cubicBezTo>
                    <a:pt x="4665822" y="235744"/>
                    <a:pt x="4663916" y="230981"/>
                    <a:pt x="4662012" y="228124"/>
                  </a:cubicBezTo>
                  <a:cubicBezTo>
                    <a:pt x="4661059" y="224314"/>
                    <a:pt x="4660106" y="222409"/>
                    <a:pt x="4660106" y="222409"/>
                  </a:cubicBezTo>
                  <a:cubicBezTo>
                    <a:pt x="4660106" y="222409"/>
                    <a:pt x="4660106" y="224314"/>
                    <a:pt x="4661059" y="228124"/>
                  </a:cubicBezTo>
                  <a:cubicBezTo>
                    <a:pt x="4662012" y="231934"/>
                    <a:pt x="4662964" y="237649"/>
                    <a:pt x="4662964" y="244316"/>
                  </a:cubicBezTo>
                  <a:cubicBezTo>
                    <a:pt x="4662964" y="245269"/>
                    <a:pt x="4662964" y="245269"/>
                    <a:pt x="4662964" y="246221"/>
                  </a:cubicBezTo>
                  <a:cubicBezTo>
                    <a:pt x="4662964" y="246221"/>
                    <a:pt x="4662964" y="246221"/>
                    <a:pt x="4662964" y="246221"/>
                  </a:cubicBezTo>
                  <a:cubicBezTo>
                    <a:pt x="4660106" y="250031"/>
                    <a:pt x="4657249" y="254794"/>
                    <a:pt x="4654391" y="262414"/>
                  </a:cubicBezTo>
                  <a:cubicBezTo>
                    <a:pt x="4653439" y="265271"/>
                    <a:pt x="4652487" y="268129"/>
                    <a:pt x="4650581" y="271939"/>
                  </a:cubicBezTo>
                  <a:cubicBezTo>
                    <a:pt x="4649629" y="267176"/>
                    <a:pt x="4647724" y="264319"/>
                    <a:pt x="4646772" y="261461"/>
                  </a:cubicBezTo>
                  <a:cubicBezTo>
                    <a:pt x="4646772" y="260509"/>
                    <a:pt x="4645819" y="259556"/>
                    <a:pt x="4645819" y="259556"/>
                  </a:cubicBezTo>
                  <a:cubicBezTo>
                    <a:pt x="4645819" y="257651"/>
                    <a:pt x="4646772" y="255746"/>
                    <a:pt x="4646772" y="253841"/>
                  </a:cubicBezTo>
                  <a:cubicBezTo>
                    <a:pt x="4648676" y="243364"/>
                    <a:pt x="4650581" y="234791"/>
                    <a:pt x="4653439" y="227171"/>
                  </a:cubicBezTo>
                  <a:cubicBezTo>
                    <a:pt x="4657249" y="212884"/>
                    <a:pt x="4660106" y="204311"/>
                    <a:pt x="4660106" y="204311"/>
                  </a:cubicBezTo>
                  <a:cubicBezTo>
                    <a:pt x="4660106" y="204311"/>
                    <a:pt x="4656297" y="211931"/>
                    <a:pt x="4650581" y="226219"/>
                  </a:cubicBezTo>
                  <a:cubicBezTo>
                    <a:pt x="4647724" y="232886"/>
                    <a:pt x="4643914" y="241459"/>
                    <a:pt x="4641056" y="251936"/>
                  </a:cubicBezTo>
                  <a:cubicBezTo>
                    <a:pt x="4639151" y="256699"/>
                    <a:pt x="4637247" y="261461"/>
                    <a:pt x="4636294" y="267176"/>
                  </a:cubicBezTo>
                  <a:cubicBezTo>
                    <a:pt x="4636294" y="264319"/>
                    <a:pt x="4636294" y="261461"/>
                    <a:pt x="4636294" y="259556"/>
                  </a:cubicBezTo>
                  <a:cubicBezTo>
                    <a:pt x="4636294" y="251936"/>
                    <a:pt x="4637247" y="246221"/>
                    <a:pt x="4638199" y="242411"/>
                  </a:cubicBezTo>
                  <a:cubicBezTo>
                    <a:pt x="4639151" y="238601"/>
                    <a:pt x="4639151" y="235744"/>
                    <a:pt x="4639151" y="235744"/>
                  </a:cubicBezTo>
                  <a:cubicBezTo>
                    <a:pt x="4639151" y="235744"/>
                    <a:pt x="4638199" y="237649"/>
                    <a:pt x="4637247" y="241459"/>
                  </a:cubicBezTo>
                  <a:cubicBezTo>
                    <a:pt x="4636294" y="245269"/>
                    <a:pt x="4633437" y="250984"/>
                    <a:pt x="4632484" y="258604"/>
                  </a:cubicBezTo>
                  <a:cubicBezTo>
                    <a:pt x="4632484" y="258604"/>
                    <a:pt x="4632484" y="258604"/>
                    <a:pt x="4632484" y="258604"/>
                  </a:cubicBezTo>
                  <a:cubicBezTo>
                    <a:pt x="4631531" y="255746"/>
                    <a:pt x="4631531" y="254794"/>
                    <a:pt x="4631531" y="254794"/>
                  </a:cubicBezTo>
                  <a:cubicBezTo>
                    <a:pt x="4631531" y="254794"/>
                    <a:pt x="4631531" y="256699"/>
                    <a:pt x="4632484" y="259556"/>
                  </a:cubicBezTo>
                  <a:cubicBezTo>
                    <a:pt x="4630579" y="267176"/>
                    <a:pt x="4629626" y="275749"/>
                    <a:pt x="4628674" y="285274"/>
                  </a:cubicBezTo>
                  <a:cubicBezTo>
                    <a:pt x="4628674" y="288131"/>
                    <a:pt x="4628674" y="290989"/>
                    <a:pt x="4628674" y="293846"/>
                  </a:cubicBezTo>
                  <a:cubicBezTo>
                    <a:pt x="4627722" y="296704"/>
                    <a:pt x="4626769" y="300514"/>
                    <a:pt x="4625816" y="303371"/>
                  </a:cubicBezTo>
                  <a:cubicBezTo>
                    <a:pt x="4619149" y="298609"/>
                    <a:pt x="4614387" y="295751"/>
                    <a:pt x="4610576" y="293846"/>
                  </a:cubicBezTo>
                  <a:cubicBezTo>
                    <a:pt x="4606766" y="291941"/>
                    <a:pt x="4604862" y="290989"/>
                    <a:pt x="4604862" y="290989"/>
                  </a:cubicBezTo>
                  <a:cubicBezTo>
                    <a:pt x="4604862" y="290989"/>
                    <a:pt x="4606766" y="291941"/>
                    <a:pt x="4610576" y="294799"/>
                  </a:cubicBezTo>
                  <a:cubicBezTo>
                    <a:pt x="4614387" y="296704"/>
                    <a:pt x="4619149" y="301466"/>
                    <a:pt x="4624864" y="307181"/>
                  </a:cubicBezTo>
                  <a:cubicBezTo>
                    <a:pt x="4624864" y="307181"/>
                    <a:pt x="4624864" y="307181"/>
                    <a:pt x="4625816" y="308134"/>
                  </a:cubicBezTo>
                  <a:cubicBezTo>
                    <a:pt x="4624864" y="313849"/>
                    <a:pt x="4622959" y="319564"/>
                    <a:pt x="4622006" y="325279"/>
                  </a:cubicBezTo>
                  <a:cubicBezTo>
                    <a:pt x="4621054" y="330994"/>
                    <a:pt x="4620101" y="337661"/>
                    <a:pt x="4619149" y="343376"/>
                  </a:cubicBezTo>
                  <a:cubicBezTo>
                    <a:pt x="4615339" y="330041"/>
                    <a:pt x="4611529" y="317659"/>
                    <a:pt x="4607719" y="306229"/>
                  </a:cubicBezTo>
                  <a:cubicBezTo>
                    <a:pt x="4605814" y="300514"/>
                    <a:pt x="4604862" y="295751"/>
                    <a:pt x="4602956" y="290989"/>
                  </a:cubicBezTo>
                  <a:cubicBezTo>
                    <a:pt x="4602004" y="282416"/>
                    <a:pt x="4601051" y="274796"/>
                    <a:pt x="4601051" y="269081"/>
                  </a:cubicBezTo>
                  <a:cubicBezTo>
                    <a:pt x="4599147" y="255746"/>
                    <a:pt x="4599147" y="248126"/>
                    <a:pt x="4599147" y="248126"/>
                  </a:cubicBezTo>
                  <a:cubicBezTo>
                    <a:pt x="4599147" y="248126"/>
                    <a:pt x="4598194" y="255746"/>
                    <a:pt x="4597241" y="269081"/>
                  </a:cubicBezTo>
                  <a:cubicBezTo>
                    <a:pt x="4597241" y="270034"/>
                    <a:pt x="4597241" y="270986"/>
                    <a:pt x="4597241" y="271939"/>
                  </a:cubicBezTo>
                  <a:cubicBezTo>
                    <a:pt x="4594384" y="263366"/>
                    <a:pt x="4591526" y="255746"/>
                    <a:pt x="4589622" y="250031"/>
                  </a:cubicBezTo>
                  <a:cubicBezTo>
                    <a:pt x="4589622" y="247174"/>
                    <a:pt x="4589622" y="244316"/>
                    <a:pt x="4589622" y="240506"/>
                  </a:cubicBezTo>
                  <a:cubicBezTo>
                    <a:pt x="4590574" y="225266"/>
                    <a:pt x="4590574" y="210979"/>
                    <a:pt x="4590574" y="197644"/>
                  </a:cubicBezTo>
                  <a:cubicBezTo>
                    <a:pt x="4591526" y="144304"/>
                    <a:pt x="4590574" y="109061"/>
                    <a:pt x="4590574" y="109061"/>
                  </a:cubicBezTo>
                  <a:cubicBezTo>
                    <a:pt x="4590574" y="109061"/>
                    <a:pt x="4584859" y="144304"/>
                    <a:pt x="4579144" y="197644"/>
                  </a:cubicBezTo>
                  <a:cubicBezTo>
                    <a:pt x="4578191" y="210979"/>
                    <a:pt x="4576287" y="225266"/>
                    <a:pt x="4574381" y="240506"/>
                  </a:cubicBezTo>
                  <a:cubicBezTo>
                    <a:pt x="4573429" y="245269"/>
                    <a:pt x="4573429" y="250984"/>
                    <a:pt x="4573429" y="256699"/>
                  </a:cubicBezTo>
                  <a:cubicBezTo>
                    <a:pt x="4573429" y="256699"/>
                    <a:pt x="4572476" y="257651"/>
                    <a:pt x="4572476" y="257651"/>
                  </a:cubicBezTo>
                  <a:cubicBezTo>
                    <a:pt x="4569619" y="259556"/>
                    <a:pt x="4566762" y="262414"/>
                    <a:pt x="4563904" y="265271"/>
                  </a:cubicBezTo>
                  <a:cubicBezTo>
                    <a:pt x="4563904" y="265271"/>
                    <a:pt x="4563904" y="264319"/>
                    <a:pt x="4563904" y="264319"/>
                  </a:cubicBezTo>
                  <a:cubicBezTo>
                    <a:pt x="4561999" y="261461"/>
                    <a:pt x="4560094" y="258604"/>
                    <a:pt x="4559141" y="255746"/>
                  </a:cubicBezTo>
                  <a:cubicBezTo>
                    <a:pt x="4559141" y="253841"/>
                    <a:pt x="4560094" y="250984"/>
                    <a:pt x="4560094" y="249079"/>
                  </a:cubicBezTo>
                  <a:cubicBezTo>
                    <a:pt x="4570572" y="195739"/>
                    <a:pt x="4576287" y="159544"/>
                    <a:pt x="4576287" y="159544"/>
                  </a:cubicBezTo>
                  <a:cubicBezTo>
                    <a:pt x="4576287" y="159544"/>
                    <a:pt x="4564856" y="192881"/>
                    <a:pt x="4550569" y="243364"/>
                  </a:cubicBezTo>
                  <a:cubicBezTo>
                    <a:pt x="4550569" y="243364"/>
                    <a:pt x="4550569" y="243364"/>
                    <a:pt x="4550569" y="243364"/>
                  </a:cubicBezTo>
                  <a:cubicBezTo>
                    <a:pt x="4550569" y="243364"/>
                    <a:pt x="4550569" y="243364"/>
                    <a:pt x="4550569" y="243364"/>
                  </a:cubicBezTo>
                  <a:cubicBezTo>
                    <a:pt x="4550569" y="244316"/>
                    <a:pt x="4549616" y="245269"/>
                    <a:pt x="4549616" y="246221"/>
                  </a:cubicBezTo>
                  <a:cubicBezTo>
                    <a:pt x="4549616" y="247174"/>
                    <a:pt x="4549616" y="248126"/>
                    <a:pt x="4548664" y="248126"/>
                  </a:cubicBezTo>
                  <a:cubicBezTo>
                    <a:pt x="4548664" y="248126"/>
                    <a:pt x="4548664" y="248126"/>
                    <a:pt x="4548664" y="248126"/>
                  </a:cubicBezTo>
                  <a:cubicBezTo>
                    <a:pt x="4548664" y="248126"/>
                    <a:pt x="4548664" y="248126"/>
                    <a:pt x="4548664" y="248126"/>
                  </a:cubicBezTo>
                  <a:cubicBezTo>
                    <a:pt x="4544854" y="261461"/>
                    <a:pt x="4540091" y="276701"/>
                    <a:pt x="4536281" y="292894"/>
                  </a:cubicBezTo>
                  <a:cubicBezTo>
                    <a:pt x="4534376" y="261461"/>
                    <a:pt x="4531519" y="241459"/>
                    <a:pt x="4531519" y="241459"/>
                  </a:cubicBezTo>
                  <a:cubicBezTo>
                    <a:pt x="4531519" y="241459"/>
                    <a:pt x="4527709" y="266224"/>
                    <a:pt x="4525804" y="303371"/>
                  </a:cubicBezTo>
                  <a:cubicBezTo>
                    <a:pt x="4525804" y="305276"/>
                    <a:pt x="4525804" y="307181"/>
                    <a:pt x="4525804" y="309086"/>
                  </a:cubicBezTo>
                  <a:cubicBezTo>
                    <a:pt x="4524851" y="308134"/>
                    <a:pt x="4524851" y="308134"/>
                    <a:pt x="4524851" y="308134"/>
                  </a:cubicBezTo>
                  <a:cubicBezTo>
                    <a:pt x="4524851" y="308134"/>
                    <a:pt x="4524851" y="309086"/>
                    <a:pt x="4525804" y="310039"/>
                  </a:cubicBezTo>
                  <a:cubicBezTo>
                    <a:pt x="4524851" y="317659"/>
                    <a:pt x="4524851" y="325279"/>
                    <a:pt x="4523899" y="333851"/>
                  </a:cubicBezTo>
                  <a:cubicBezTo>
                    <a:pt x="4523899" y="334804"/>
                    <a:pt x="4523899" y="336709"/>
                    <a:pt x="4523899" y="337661"/>
                  </a:cubicBezTo>
                  <a:cubicBezTo>
                    <a:pt x="4523899" y="338614"/>
                    <a:pt x="4523899" y="338614"/>
                    <a:pt x="4522947" y="339566"/>
                  </a:cubicBezTo>
                  <a:cubicBezTo>
                    <a:pt x="4521041" y="333851"/>
                    <a:pt x="4519137" y="328136"/>
                    <a:pt x="4517231" y="322421"/>
                  </a:cubicBezTo>
                  <a:cubicBezTo>
                    <a:pt x="4516279" y="314801"/>
                    <a:pt x="4515326" y="307181"/>
                    <a:pt x="4514374" y="301466"/>
                  </a:cubicBezTo>
                  <a:cubicBezTo>
                    <a:pt x="4515326" y="299561"/>
                    <a:pt x="4516279" y="298609"/>
                    <a:pt x="4517231" y="297656"/>
                  </a:cubicBezTo>
                  <a:cubicBezTo>
                    <a:pt x="4520089" y="293846"/>
                    <a:pt x="4521041" y="291941"/>
                    <a:pt x="4521041" y="291941"/>
                  </a:cubicBezTo>
                  <a:cubicBezTo>
                    <a:pt x="4521041" y="291941"/>
                    <a:pt x="4519137" y="293846"/>
                    <a:pt x="4516279" y="297656"/>
                  </a:cubicBezTo>
                  <a:cubicBezTo>
                    <a:pt x="4515326" y="298609"/>
                    <a:pt x="4515326" y="299561"/>
                    <a:pt x="4514374" y="300514"/>
                  </a:cubicBezTo>
                  <a:cubicBezTo>
                    <a:pt x="4514374" y="299561"/>
                    <a:pt x="4514374" y="299561"/>
                    <a:pt x="4514374" y="298609"/>
                  </a:cubicBezTo>
                  <a:cubicBezTo>
                    <a:pt x="4515326" y="296704"/>
                    <a:pt x="4516279" y="294799"/>
                    <a:pt x="4517231" y="293846"/>
                  </a:cubicBezTo>
                  <a:cubicBezTo>
                    <a:pt x="4519137" y="290036"/>
                    <a:pt x="4520089" y="288131"/>
                    <a:pt x="4520089" y="288131"/>
                  </a:cubicBezTo>
                  <a:cubicBezTo>
                    <a:pt x="4520089" y="288131"/>
                    <a:pt x="4519137" y="290036"/>
                    <a:pt x="4516279" y="292894"/>
                  </a:cubicBezTo>
                  <a:cubicBezTo>
                    <a:pt x="4515326" y="293846"/>
                    <a:pt x="4515326" y="294799"/>
                    <a:pt x="4514374" y="295751"/>
                  </a:cubicBezTo>
                  <a:cubicBezTo>
                    <a:pt x="4513422" y="290036"/>
                    <a:pt x="4512469" y="285274"/>
                    <a:pt x="4512469" y="281464"/>
                  </a:cubicBezTo>
                  <a:cubicBezTo>
                    <a:pt x="4511516" y="272891"/>
                    <a:pt x="4511516" y="268129"/>
                    <a:pt x="4511516" y="268129"/>
                  </a:cubicBezTo>
                  <a:cubicBezTo>
                    <a:pt x="4511516" y="268129"/>
                    <a:pt x="4511516" y="270034"/>
                    <a:pt x="4510564" y="272891"/>
                  </a:cubicBezTo>
                  <a:cubicBezTo>
                    <a:pt x="4508659" y="259556"/>
                    <a:pt x="4506754" y="250984"/>
                    <a:pt x="4506754" y="250984"/>
                  </a:cubicBezTo>
                  <a:cubicBezTo>
                    <a:pt x="4506754" y="250984"/>
                    <a:pt x="4506754" y="267176"/>
                    <a:pt x="4506754" y="292894"/>
                  </a:cubicBezTo>
                  <a:cubicBezTo>
                    <a:pt x="4504849" y="289084"/>
                    <a:pt x="4502944" y="285274"/>
                    <a:pt x="4501991" y="282416"/>
                  </a:cubicBezTo>
                  <a:cubicBezTo>
                    <a:pt x="4499134" y="276701"/>
                    <a:pt x="4496276" y="271939"/>
                    <a:pt x="4494372" y="267176"/>
                  </a:cubicBezTo>
                  <a:cubicBezTo>
                    <a:pt x="4491514" y="262414"/>
                    <a:pt x="4489609" y="258604"/>
                    <a:pt x="4486751" y="254794"/>
                  </a:cubicBezTo>
                  <a:cubicBezTo>
                    <a:pt x="4483894" y="250984"/>
                    <a:pt x="4481989" y="248126"/>
                    <a:pt x="4480084" y="245269"/>
                  </a:cubicBezTo>
                  <a:cubicBezTo>
                    <a:pt x="4478179" y="242411"/>
                    <a:pt x="4476274" y="240506"/>
                    <a:pt x="4474369" y="238601"/>
                  </a:cubicBezTo>
                  <a:cubicBezTo>
                    <a:pt x="4471512" y="235744"/>
                    <a:pt x="4470559" y="233839"/>
                    <a:pt x="4469606" y="233839"/>
                  </a:cubicBezTo>
                  <a:cubicBezTo>
                    <a:pt x="4470559" y="230981"/>
                    <a:pt x="4471512" y="228124"/>
                    <a:pt x="4471512" y="225266"/>
                  </a:cubicBezTo>
                  <a:cubicBezTo>
                    <a:pt x="4474369" y="214789"/>
                    <a:pt x="4476274" y="206216"/>
                    <a:pt x="4477226" y="198596"/>
                  </a:cubicBezTo>
                  <a:cubicBezTo>
                    <a:pt x="4480084" y="184309"/>
                    <a:pt x="4481037" y="175736"/>
                    <a:pt x="4481037" y="175736"/>
                  </a:cubicBezTo>
                  <a:cubicBezTo>
                    <a:pt x="4481037" y="175736"/>
                    <a:pt x="4478179" y="183356"/>
                    <a:pt x="4473416" y="197644"/>
                  </a:cubicBezTo>
                  <a:cubicBezTo>
                    <a:pt x="4471512" y="204311"/>
                    <a:pt x="4467701" y="212884"/>
                    <a:pt x="4463891" y="222409"/>
                  </a:cubicBezTo>
                  <a:cubicBezTo>
                    <a:pt x="4461034" y="229076"/>
                    <a:pt x="4458176" y="236696"/>
                    <a:pt x="4455319" y="244316"/>
                  </a:cubicBezTo>
                  <a:cubicBezTo>
                    <a:pt x="4454366" y="240506"/>
                    <a:pt x="4453414" y="237649"/>
                    <a:pt x="4453414" y="237649"/>
                  </a:cubicBezTo>
                  <a:cubicBezTo>
                    <a:pt x="4453414" y="237649"/>
                    <a:pt x="4453414" y="240506"/>
                    <a:pt x="4454366" y="247174"/>
                  </a:cubicBezTo>
                  <a:cubicBezTo>
                    <a:pt x="4453414" y="249079"/>
                    <a:pt x="4452462" y="251936"/>
                    <a:pt x="4451509" y="253841"/>
                  </a:cubicBezTo>
                  <a:cubicBezTo>
                    <a:pt x="4446747" y="265271"/>
                    <a:pt x="4441984" y="276701"/>
                    <a:pt x="4436269" y="289084"/>
                  </a:cubicBezTo>
                  <a:cubicBezTo>
                    <a:pt x="4436269" y="288131"/>
                    <a:pt x="4435316" y="288131"/>
                    <a:pt x="4435316" y="287179"/>
                  </a:cubicBezTo>
                  <a:cubicBezTo>
                    <a:pt x="4436269" y="283369"/>
                    <a:pt x="4437222" y="278606"/>
                    <a:pt x="4438174" y="274796"/>
                  </a:cubicBezTo>
                  <a:cubicBezTo>
                    <a:pt x="4440079" y="265271"/>
                    <a:pt x="4441984" y="255746"/>
                    <a:pt x="4444841" y="247174"/>
                  </a:cubicBezTo>
                  <a:cubicBezTo>
                    <a:pt x="4449604" y="229076"/>
                    <a:pt x="4452462" y="211931"/>
                    <a:pt x="4454366" y="195739"/>
                  </a:cubicBezTo>
                  <a:cubicBezTo>
                    <a:pt x="4457224" y="179546"/>
                    <a:pt x="4459129" y="165259"/>
                    <a:pt x="4460081" y="151924"/>
                  </a:cubicBezTo>
                  <a:cubicBezTo>
                    <a:pt x="4461034" y="145256"/>
                    <a:pt x="4461987" y="139541"/>
                    <a:pt x="4461987" y="133826"/>
                  </a:cubicBezTo>
                  <a:cubicBezTo>
                    <a:pt x="4461987" y="128111"/>
                    <a:pt x="4462939" y="123349"/>
                    <a:pt x="4462939" y="118586"/>
                  </a:cubicBezTo>
                  <a:cubicBezTo>
                    <a:pt x="4463891" y="99536"/>
                    <a:pt x="4463891" y="89059"/>
                    <a:pt x="4463891" y="89059"/>
                  </a:cubicBezTo>
                  <a:cubicBezTo>
                    <a:pt x="4463891" y="89059"/>
                    <a:pt x="4461987" y="99536"/>
                    <a:pt x="4458176" y="118586"/>
                  </a:cubicBezTo>
                  <a:cubicBezTo>
                    <a:pt x="4457224" y="123349"/>
                    <a:pt x="4456272" y="128111"/>
                    <a:pt x="4455319" y="133826"/>
                  </a:cubicBezTo>
                  <a:cubicBezTo>
                    <a:pt x="4454366" y="139541"/>
                    <a:pt x="4452462" y="145256"/>
                    <a:pt x="4451509" y="151924"/>
                  </a:cubicBezTo>
                  <a:cubicBezTo>
                    <a:pt x="4448651" y="164306"/>
                    <a:pt x="4445794" y="178594"/>
                    <a:pt x="4441984" y="194786"/>
                  </a:cubicBezTo>
                  <a:cubicBezTo>
                    <a:pt x="4438174" y="210026"/>
                    <a:pt x="4434364" y="227171"/>
                    <a:pt x="4428649" y="245269"/>
                  </a:cubicBezTo>
                  <a:cubicBezTo>
                    <a:pt x="4426744" y="252889"/>
                    <a:pt x="4423887" y="261461"/>
                    <a:pt x="4421981" y="269081"/>
                  </a:cubicBezTo>
                  <a:cubicBezTo>
                    <a:pt x="4419124" y="265271"/>
                    <a:pt x="4417219" y="261461"/>
                    <a:pt x="4414362" y="258604"/>
                  </a:cubicBezTo>
                  <a:cubicBezTo>
                    <a:pt x="4406741" y="247174"/>
                    <a:pt x="4400074" y="237649"/>
                    <a:pt x="4394359" y="230029"/>
                  </a:cubicBezTo>
                  <a:cubicBezTo>
                    <a:pt x="4391501" y="227171"/>
                    <a:pt x="4389597" y="224314"/>
                    <a:pt x="4387691" y="221456"/>
                  </a:cubicBezTo>
                  <a:cubicBezTo>
                    <a:pt x="4392454" y="195739"/>
                    <a:pt x="4395312" y="180499"/>
                    <a:pt x="4395312" y="180499"/>
                  </a:cubicBezTo>
                  <a:cubicBezTo>
                    <a:pt x="4395312" y="180499"/>
                    <a:pt x="4390549" y="193834"/>
                    <a:pt x="4382929" y="215741"/>
                  </a:cubicBezTo>
                  <a:cubicBezTo>
                    <a:pt x="4378166" y="209074"/>
                    <a:pt x="4375309" y="206216"/>
                    <a:pt x="4375309" y="206216"/>
                  </a:cubicBezTo>
                  <a:cubicBezTo>
                    <a:pt x="4375309" y="206216"/>
                    <a:pt x="4378166" y="210979"/>
                    <a:pt x="4381976" y="218599"/>
                  </a:cubicBezTo>
                  <a:cubicBezTo>
                    <a:pt x="4378166" y="230029"/>
                    <a:pt x="4374356" y="244316"/>
                    <a:pt x="4369594" y="259556"/>
                  </a:cubicBezTo>
                  <a:cubicBezTo>
                    <a:pt x="4368641" y="248126"/>
                    <a:pt x="4368641" y="241459"/>
                    <a:pt x="4368641" y="241459"/>
                  </a:cubicBezTo>
                  <a:cubicBezTo>
                    <a:pt x="4368641" y="241459"/>
                    <a:pt x="4367689" y="249079"/>
                    <a:pt x="4366737" y="263366"/>
                  </a:cubicBezTo>
                  <a:cubicBezTo>
                    <a:pt x="4366737" y="267176"/>
                    <a:pt x="4365784" y="270986"/>
                    <a:pt x="4365784" y="274796"/>
                  </a:cubicBezTo>
                  <a:cubicBezTo>
                    <a:pt x="4364831" y="277654"/>
                    <a:pt x="4363879" y="281464"/>
                    <a:pt x="4362926" y="285274"/>
                  </a:cubicBezTo>
                  <a:cubicBezTo>
                    <a:pt x="4362926" y="284321"/>
                    <a:pt x="4362926" y="283369"/>
                    <a:pt x="4362926" y="282416"/>
                  </a:cubicBezTo>
                  <a:cubicBezTo>
                    <a:pt x="4361974" y="269081"/>
                    <a:pt x="4361022" y="261461"/>
                    <a:pt x="4361022" y="261461"/>
                  </a:cubicBezTo>
                  <a:cubicBezTo>
                    <a:pt x="4361022" y="261461"/>
                    <a:pt x="4360069" y="269081"/>
                    <a:pt x="4359116" y="283369"/>
                  </a:cubicBezTo>
                  <a:cubicBezTo>
                    <a:pt x="4359116" y="285274"/>
                    <a:pt x="4359116" y="288131"/>
                    <a:pt x="4359116" y="290989"/>
                  </a:cubicBezTo>
                  <a:cubicBezTo>
                    <a:pt x="4358164" y="291941"/>
                    <a:pt x="4358164" y="293846"/>
                    <a:pt x="4357212" y="295751"/>
                  </a:cubicBezTo>
                  <a:cubicBezTo>
                    <a:pt x="4355306" y="291941"/>
                    <a:pt x="4353401" y="288131"/>
                    <a:pt x="4351497" y="284321"/>
                  </a:cubicBezTo>
                  <a:cubicBezTo>
                    <a:pt x="4351497" y="274796"/>
                    <a:pt x="4351497" y="266224"/>
                    <a:pt x="4351497" y="257651"/>
                  </a:cubicBezTo>
                  <a:cubicBezTo>
                    <a:pt x="4351497" y="250984"/>
                    <a:pt x="4351497" y="245269"/>
                    <a:pt x="4351497" y="238601"/>
                  </a:cubicBezTo>
                  <a:cubicBezTo>
                    <a:pt x="4351497" y="232886"/>
                    <a:pt x="4350544" y="227171"/>
                    <a:pt x="4349591" y="221456"/>
                  </a:cubicBezTo>
                  <a:cubicBezTo>
                    <a:pt x="4348639" y="210979"/>
                    <a:pt x="4346734" y="201454"/>
                    <a:pt x="4345781" y="194786"/>
                  </a:cubicBezTo>
                  <a:cubicBezTo>
                    <a:pt x="4343876" y="179546"/>
                    <a:pt x="4342924" y="170974"/>
                    <a:pt x="4342924" y="170974"/>
                  </a:cubicBezTo>
                  <a:cubicBezTo>
                    <a:pt x="4342924" y="170974"/>
                    <a:pt x="4342924" y="179546"/>
                    <a:pt x="4341972" y="194786"/>
                  </a:cubicBezTo>
                  <a:cubicBezTo>
                    <a:pt x="4341972" y="201454"/>
                    <a:pt x="4341972" y="209074"/>
                    <a:pt x="4341972" y="217646"/>
                  </a:cubicBezTo>
                  <a:cubicBezTo>
                    <a:pt x="4341019" y="210026"/>
                    <a:pt x="4340066" y="205264"/>
                    <a:pt x="4340066" y="205264"/>
                  </a:cubicBezTo>
                  <a:cubicBezTo>
                    <a:pt x="4340066" y="205264"/>
                    <a:pt x="4340066" y="212884"/>
                    <a:pt x="4339114" y="226219"/>
                  </a:cubicBezTo>
                  <a:cubicBezTo>
                    <a:pt x="4339114" y="232886"/>
                    <a:pt x="4339114" y="240506"/>
                    <a:pt x="4338162" y="250031"/>
                  </a:cubicBezTo>
                  <a:cubicBezTo>
                    <a:pt x="4338162" y="250984"/>
                    <a:pt x="4338162" y="251936"/>
                    <a:pt x="4338162" y="252889"/>
                  </a:cubicBezTo>
                  <a:cubicBezTo>
                    <a:pt x="4338162" y="251936"/>
                    <a:pt x="4337209" y="250984"/>
                    <a:pt x="4337209" y="250984"/>
                  </a:cubicBezTo>
                  <a:cubicBezTo>
                    <a:pt x="4330541" y="231934"/>
                    <a:pt x="4324826" y="213836"/>
                    <a:pt x="4318159" y="196691"/>
                  </a:cubicBezTo>
                  <a:cubicBezTo>
                    <a:pt x="4306729" y="163354"/>
                    <a:pt x="4296251" y="135731"/>
                    <a:pt x="4289584" y="116681"/>
                  </a:cubicBezTo>
                  <a:cubicBezTo>
                    <a:pt x="4282916" y="97631"/>
                    <a:pt x="4278154" y="86201"/>
                    <a:pt x="4278154" y="86201"/>
                  </a:cubicBezTo>
                  <a:cubicBezTo>
                    <a:pt x="4278154" y="86201"/>
                    <a:pt x="4281012" y="97631"/>
                    <a:pt x="4285774" y="117634"/>
                  </a:cubicBezTo>
                  <a:cubicBezTo>
                    <a:pt x="4291489" y="137636"/>
                    <a:pt x="4298156" y="166211"/>
                    <a:pt x="4307681" y="199549"/>
                  </a:cubicBezTo>
                  <a:cubicBezTo>
                    <a:pt x="4315301" y="228124"/>
                    <a:pt x="4324826" y="261461"/>
                    <a:pt x="4334351" y="295751"/>
                  </a:cubicBezTo>
                  <a:cubicBezTo>
                    <a:pt x="4334351" y="295751"/>
                    <a:pt x="4334351" y="296704"/>
                    <a:pt x="4334351" y="296704"/>
                  </a:cubicBezTo>
                  <a:cubicBezTo>
                    <a:pt x="4334351" y="295751"/>
                    <a:pt x="4334351" y="294799"/>
                    <a:pt x="4334351" y="294799"/>
                  </a:cubicBezTo>
                  <a:cubicBezTo>
                    <a:pt x="4334351" y="294799"/>
                    <a:pt x="4334351" y="296704"/>
                    <a:pt x="4334351" y="301466"/>
                  </a:cubicBezTo>
                  <a:cubicBezTo>
                    <a:pt x="4334351" y="306229"/>
                    <a:pt x="4333399" y="310991"/>
                    <a:pt x="4333399" y="315754"/>
                  </a:cubicBezTo>
                  <a:cubicBezTo>
                    <a:pt x="4332447" y="325279"/>
                    <a:pt x="4331494" y="334804"/>
                    <a:pt x="4329589" y="344329"/>
                  </a:cubicBezTo>
                  <a:cubicBezTo>
                    <a:pt x="4329589" y="344329"/>
                    <a:pt x="4328637" y="343376"/>
                    <a:pt x="4328637" y="343376"/>
                  </a:cubicBezTo>
                  <a:cubicBezTo>
                    <a:pt x="4327684" y="342424"/>
                    <a:pt x="4327684" y="341471"/>
                    <a:pt x="4326731" y="340519"/>
                  </a:cubicBezTo>
                  <a:cubicBezTo>
                    <a:pt x="4326731" y="338614"/>
                    <a:pt x="4325779" y="335756"/>
                    <a:pt x="4325779" y="333851"/>
                  </a:cubicBezTo>
                  <a:cubicBezTo>
                    <a:pt x="4321969" y="309086"/>
                    <a:pt x="4318159" y="286226"/>
                    <a:pt x="4315301" y="267176"/>
                  </a:cubicBezTo>
                  <a:cubicBezTo>
                    <a:pt x="4308634" y="228124"/>
                    <a:pt x="4301966" y="202406"/>
                    <a:pt x="4301966" y="202406"/>
                  </a:cubicBezTo>
                  <a:cubicBezTo>
                    <a:pt x="4301966" y="202406"/>
                    <a:pt x="4301966" y="229076"/>
                    <a:pt x="4303872" y="268129"/>
                  </a:cubicBezTo>
                  <a:cubicBezTo>
                    <a:pt x="4303872" y="270034"/>
                    <a:pt x="4303872" y="271939"/>
                    <a:pt x="4303872" y="274796"/>
                  </a:cubicBezTo>
                  <a:cubicBezTo>
                    <a:pt x="4302919" y="279559"/>
                    <a:pt x="4302919" y="284321"/>
                    <a:pt x="4301966" y="290036"/>
                  </a:cubicBezTo>
                  <a:cubicBezTo>
                    <a:pt x="4301966" y="292894"/>
                    <a:pt x="4301014" y="296704"/>
                    <a:pt x="4300062" y="300514"/>
                  </a:cubicBezTo>
                  <a:cubicBezTo>
                    <a:pt x="4296251" y="295751"/>
                    <a:pt x="4292441" y="290989"/>
                    <a:pt x="4288631" y="286226"/>
                  </a:cubicBezTo>
                  <a:cubicBezTo>
                    <a:pt x="4292441" y="292894"/>
                    <a:pt x="4295299" y="298609"/>
                    <a:pt x="4299109" y="305276"/>
                  </a:cubicBezTo>
                  <a:cubicBezTo>
                    <a:pt x="4298156" y="310991"/>
                    <a:pt x="4297204" y="316706"/>
                    <a:pt x="4296251" y="323374"/>
                  </a:cubicBezTo>
                  <a:cubicBezTo>
                    <a:pt x="4295299" y="330041"/>
                    <a:pt x="4293394" y="337661"/>
                    <a:pt x="4292441" y="346234"/>
                  </a:cubicBezTo>
                  <a:cubicBezTo>
                    <a:pt x="4291489" y="345281"/>
                    <a:pt x="4291489" y="344329"/>
                    <a:pt x="4290537" y="343376"/>
                  </a:cubicBezTo>
                  <a:cubicBezTo>
                    <a:pt x="4289584" y="330994"/>
                    <a:pt x="4289584" y="319564"/>
                    <a:pt x="4288631" y="308134"/>
                  </a:cubicBezTo>
                  <a:cubicBezTo>
                    <a:pt x="4285774" y="262414"/>
                    <a:pt x="4281964" y="231934"/>
                    <a:pt x="4281964" y="231934"/>
                  </a:cubicBezTo>
                  <a:cubicBezTo>
                    <a:pt x="4281964" y="231934"/>
                    <a:pt x="4279106" y="262414"/>
                    <a:pt x="4277201" y="309086"/>
                  </a:cubicBezTo>
                  <a:cubicBezTo>
                    <a:pt x="4277201" y="311944"/>
                    <a:pt x="4277201" y="315754"/>
                    <a:pt x="4277201" y="318611"/>
                  </a:cubicBezTo>
                  <a:cubicBezTo>
                    <a:pt x="4276249" y="315754"/>
                    <a:pt x="4274344" y="312896"/>
                    <a:pt x="4273391" y="310039"/>
                  </a:cubicBezTo>
                  <a:cubicBezTo>
                    <a:pt x="4273391" y="308134"/>
                    <a:pt x="4272439" y="305276"/>
                    <a:pt x="4272439" y="303371"/>
                  </a:cubicBezTo>
                  <a:cubicBezTo>
                    <a:pt x="4271487" y="292894"/>
                    <a:pt x="4271487" y="283369"/>
                    <a:pt x="4270534" y="273844"/>
                  </a:cubicBezTo>
                  <a:cubicBezTo>
                    <a:pt x="4270534" y="269081"/>
                    <a:pt x="4269581" y="265271"/>
                    <a:pt x="4269581" y="260509"/>
                  </a:cubicBezTo>
                  <a:cubicBezTo>
                    <a:pt x="4269581" y="258604"/>
                    <a:pt x="4269581" y="257651"/>
                    <a:pt x="4269581" y="255746"/>
                  </a:cubicBezTo>
                  <a:cubicBezTo>
                    <a:pt x="4269581" y="248126"/>
                    <a:pt x="4270534" y="241459"/>
                    <a:pt x="4270534" y="234791"/>
                  </a:cubicBezTo>
                  <a:cubicBezTo>
                    <a:pt x="4273391" y="187166"/>
                    <a:pt x="4273391" y="155734"/>
                    <a:pt x="4273391" y="155734"/>
                  </a:cubicBezTo>
                  <a:cubicBezTo>
                    <a:pt x="4273391" y="155734"/>
                    <a:pt x="4265772" y="187166"/>
                    <a:pt x="4259104" y="233839"/>
                  </a:cubicBezTo>
                  <a:cubicBezTo>
                    <a:pt x="4257199" y="245269"/>
                    <a:pt x="4255294" y="258604"/>
                    <a:pt x="4253389" y="271939"/>
                  </a:cubicBezTo>
                  <a:cubicBezTo>
                    <a:pt x="4253389" y="270986"/>
                    <a:pt x="4252437" y="270986"/>
                    <a:pt x="4252437" y="270034"/>
                  </a:cubicBezTo>
                  <a:cubicBezTo>
                    <a:pt x="4252437" y="267176"/>
                    <a:pt x="4253389" y="264319"/>
                    <a:pt x="4253389" y="262414"/>
                  </a:cubicBezTo>
                  <a:cubicBezTo>
                    <a:pt x="4255294" y="248126"/>
                    <a:pt x="4255294" y="240506"/>
                    <a:pt x="4255294" y="240506"/>
                  </a:cubicBezTo>
                  <a:cubicBezTo>
                    <a:pt x="4255294" y="240506"/>
                    <a:pt x="4253389" y="248126"/>
                    <a:pt x="4249579" y="262414"/>
                  </a:cubicBezTo>
                  <a:cubicBezTo>
                    <a:pt x="4249579" y="263366"/>
                    <a:pt x="4249579" y="264319"/>
                    <a:pt x="4248626" y="264319"/>
                  </a:cubicBezTo>
                  <a:cubicBezTo>
                    <a:pt x="4247674" y="263366"/>
                    <a:pt x="4247674" y="262414"/>
                    <a:pt x="4246722" y="261461"/>
                  </a:cubicBezTo>
                  <a:cubicBezTo>
                    <a:pt x="4245769" y="260509"/>
                    <a:pt x="4244816" y="259556"/>
                    <a:pt x="4244816" y="257651"/>
                  </a:cubicBezTo>
                  <a:cubicBezTo>
                    <a:pt x="4244816" y="253841"/>
                    <a:pt x="4244816" y="251936"/>
                    <a:pt x="4244816" y="251936"/>
                  </a:cubicBezTo>
                  <a:cubicBezTo>
                    <a:pt x="4244816" y="251936"/>
                    <a:pt x="4244816" y="253841"/>
                    <a:pt x="4243864" y="256699"/>
                  </a:cubicBezTo>
                  <a:cubicBezTo>
                    <a:pt x="4242912" y="254794"/>
                    <a:pt x="4241959" y="252889"/>
                    <a:pt x="4240054" y="251936"/>
                  </a:cubicBezTo>
                  <a:cubicBezTo>
                    <a:pt x="4236244" y="246221"/>
                    <a:pt x="4232434" y="240506"/>
                    <a:pt x="4229576" y="235744"/>
                  </a:cubicBezTo>
                  <a:cubicBezTo>
                    <a:pt x="4223862" y="227171"/>
                    <a:pt x="4220051" y="222409"/>
                    <a:pt x="4220051" y="222409"/>
                  </a:cubicBezTo>
                  <a:cubicBezTo>
                    <a:pt x="4220051" y="222409"/>
                    <a:pt x="4221956" y="228124"/>
                    <a:pt x="4226719" y="237649"/>
                  </a:cubicBezTo>
                  <a:cubicBezTo>
                    <a:pt x="4228624" y="242411"/>
                    <a:pt x="4231481" y="248126"/>
                    <a:pt x="4234339" y="254794"/>
                  </a:cubicBezTo>
                  <a:cubicBezTo>
                    <a:pt x="4235291" y="255746"/>
                    <a:pt x="4235291" y="257651"/>
                    <a:pt x="4236244" y="258604"/>
                  </a:cubicBezTo>
                  <a:cubicBezTo>
                    <a:pt x="4234339" y="256699"/>
                    <a:pt x="4233387" y="253841"/>
                    <a:pt x="4231481" y="251936"/>
                  </a:cubicBezTo>
                  <a:cubicBezTo>
                    <a:pt x="4227672" y="246221"/>
                    <a:pt x="4223862" y="242411"/>
                    <a:pt x="4220051" y="237649"/>
                  </a:cubicBezTo>
                  <a:cubicBezTo>
                    <a:pt x="4213384" y="229076"/>
                    <a:pt x="4206716" y="223361"/>
                    <a:pt x="4202906" y="219551"/>
                  </a:cubicBezTo>
                  <a:cubicBezTo>
                    <a:pt x="4199097" y="215741"/>
                    <a:pt x="4196239" y="213836"/>
                    <a:pt x="4196239" y="213836"/>
                  </a:cubicBezTo>
                  <a:cubicBezTo>
                    <a:pt x="4196239" y="213836"/>
                    <a:pt x="4198144" y="216694"/>
                    <a:pt x="4201954" y="220504"/>
                  </a:cubicBezTo>
                  <a:cubicBezTo>
                    <a:pt x="4205764" y="225266"/>
                    <a:pt x="4211479" y="230981"/>
                    <a:pt x="4216241" y="240506"/>
                  </a:cubicBezTo>
                  <a:cubicBezTo>
                    <a:pt x="4219099" y="245269"/>
                    <a:pt x="4222909" y="250031"/>
                    <a:pt x="4225766" y="255746"/>
                  </a:cubicBezTo>
                  <a:cubicBezTo>
                    <a:pt x="4228624" y="261461"/>
                    <a:pt x="4232434" y="267176"/>
                    <a:pt x="4235291" y="273844"/>
                  </a:cubicBezTo>
                  <a:cubicBezTo>
                    <a:pt x="4235291" y="273844"/>
                    <a:pt x="4235291" y="273844"/>
                    <a:pt x="4235291" y="274796"/>
                  </a:cubicBezTo>
                  <a:cubicBezTo>
                    <a:pt x="4235291" y="276701"/>
                    <a:pt x="4235291" y="279559"/>
                    <a:pt x="4235291" y="282416"/>
                  </a:cubicBezTo>
                  <a:cubicBezTo>
                    <a:pt x="4235291" y="282416"/>
                    <a:pt x="4234339" y="281464"/>
                    <a:pt x="4234339" y="281464"/>
                  </a:cubicBezTo>
                  <a:cubicBezTo>
                    <a:pt x="4231481" y="277654"/>
                    <a:pt x="4229576" y="276701"/>
                    <a:pt x="4229576" y="276701"/>
                  </a:cubicBezTo>
                  <a:cubicBezTo>
                    <a:pt x="4229576" y="276701"/>
                    <a:pt x="4231481" y="278606"/>
                    <a:pt x="4233387" y="282416"/>
                  </a:cubicBezTo>
                  <a:cubicBezTo>
                    <a:pt x="4233387" y="283369"/>
                    <a:pt x="4234339" y="283369"/>
                    <a:pt x="4235291" y="284321"/>
                  </a:cubicBezTo>
                  <a:cubicBezTo>
                    <a:pt x="4235291" y="284321"/>
                    <a:pt x="4235291" y="284321"/>
                    <a:pt x="4235291" y="285274"/>
                  </a:cubicBezTo>
                  <a:cubicBezTo>
                    <a:pt x="4233387" y="292894"/>
                    <a:pt x="4231481" y="301466"/>
                    <a:pt x="4229576" y="310039"/>
                  </a:cubicBezTo>
                  <a:cubicBezTo>
                    <a:pt x="4225766" y="301466"/>
                    <a:pt x="4222909" y="295751"/>
                    <a:pt x="4222909" y="295751"/>
                  </a:cubicBezTo>
                  <a:cubicBezTo>
                    <a:pt x="4222909" y="295751"/>
                    <a:pt x="4224814" y="303371"/>
                    <a:pt x="4228624" y="316706"/>
                  </a:cubicBezTo>
                  <a:cubicBezTo>
                    <a:pt x="4227672" y="319564"/>
                    <a:pt x="4227672" y="323374"/>
                    <a:pt x="4226719" y="327184"/>
                  </a:cubicBezTo>
                  <a:cubicBezTo>
                    <a:pt x="4225766" y="331946"/>
                    <a:pt x="4224814" y="336709"/>
                    <a:pt x="4223862" y="341471"/>
                  </a:cubicBezTo>
                  <a:cubicBezTo>
                    <a:pt x="4223862" y="338614"/>
                    <a:pt x="4222909" y="336709"/>
                    <a:pt x="4222909" y="334804"/>
                  </a:cubicBezTo>
                  <a:cubicBezTo>
                    <a:pt x="4221004" y="320516"/>
                    <a:pt x="4219099" y="311944"/>
                    <a:pt x="4219099" y="311944"/>
                  </a:cubicBezTo>
                  <a:cubicBezTo>
                    <a:pt x="4219099" y="311944"/>
                    <a:pt x="4219099" y="319564"/>
                    <a:pt x="4219099" y="331946"/>
                  </a:cubicBezTo>
                  <a:cubicBezTo>
                    <a:pt x="4218147" y="329089"/>
                    <a:pt x="4218147" y="326231"/>
                    <a:pt x="4217194" y="322421"/>
                  </a:cubicBezTo>
                  <a:cubicBezTo>
                    <a:pt x="4206716" y="272891"/>
                    <a:pt x="4198144" y="240506"/>
                    <a:pt x="4198144" y="240506"/>
                  </a:cubicBezTo>
                  <a:cubicBezTo>
                    <a:pt x="4198144" y="240506"/>
                    <a:pt x="4200049" y="273844"/>
                    <a:pt x="4205764" y="323374"/>
                  </a:cubicBezTo>
                  <a:cubicBezTo>
                    <a:pt x="4206716" y="335756"/>
                    <a:pt x="4208622" y="350044"/>
                    <a:pt x="4210526" y="364331"/>
                  </a:cubicBezTo>
                  <a:cubicBezTo>
                    <a:pt x="4210526" y="364331"/>
                    <a:pt x="4210526" y="363379"/>
                    <a:pt x="4210526" y="363379"/>
                  </a:cubicBezTo>
                  <a:cubicBezTo>
                    <a:pt x="4209574" y="357664"/>
                    <a:pt x="4207669" y="353854"/>
                    <a:pt x="4206716" y="350044"/>
                  </a:cubicBezTo>
                  <a:cubicBezTo>
                    <a:pt x="4204812" y="342424"/>
                    <a:pt x="4202906" y="338614"/>
                    <a:pt x="4202906" y="338614"/>
                  </a:cubicBezTo>
                  <a:cubicBezTo>
                    <a:pt x="4202906" y="338614"/>
                    <a:pt x="4202906" y="343376"/>
                    <a:pt x="4202906" y="350996"/>
                  </a:cubicBezTo>
                  <a:cubicBezTo>
                    <a:pt x="4202906" y="354806"/>
                    <a:pt x="4202906" y="359569"/>
                    <a:pt x="4202906" y="365284"/>
                  </a:cubicBezTo>
                  <a:cubicBezTo>
                    <a:pt x="4202906" y="368141"/>
                    <a:pt x="4202906" y="370999"/>
                    <a:pt x="4202906" y="373856"/>
                  </a:cubicBezTo>
                  <a:cubicBezTo>
                    <a:pt x="4202906" y="375761"/>
                    <a:pt x="4202906" y="377666"/>
                    <a:pt x="4202906" y="380524"/>
                  </a:cubicBezTo>
                  <a:cubicBezTo>
                    <a:pt x="4202906" y="379571"/>
                    <a:pt x="4202906" y="379571"/>
                    <a:pt x="4201954" y="378619"/>
                  </a:cubicBezTo>
                  <a:cubicBezTo>
                    <a:pt x="4201954" y="372904"/>
                    <a:pt x="4201001" y="367189"/>
                    <a:pt x="4201001" y="361474"/>
                  </a:cubicBezTo>
                  <a:cubicBezTo>
                    <a:pt x="4199097" y="318611"/>
                    <a:pt x="4196239" y="290989"/>
                    <a:pt x="4196239" y="290989"/>
                  </a:cubicBezTo>
                  <a:cubicBezTo>
                    <a:pt x="4196239" y="290989"/>
                    <a:pt x="4193381" y="310991"/>
                    <a:pt x="4191476" y="343376"/>
                  </a:cubicBezTo>
                  <a:cubicBezTo>
                    <a:pt x="4190524" y="340519"/>
                    <a:pt x="4189571" y="338614"/>
                    <a:pt x="4188619" y="335756"/>
                  </a:cubicBezTo>
                  <a:cubicBezTo>
                    <a:pt x="4185761" y="329089"/>
                    <a:pt x="4183856" y="323374"/>
                    <a:pt x="4181951" y="319564"/>
                  </a:cubicBezTo>
                  <a:cubicBezTo>
                    <a:pt x="4181951" y="318611"/>
                    <a:pt x="4180999" y="317659"/>
                    <a:pt x="4180999" y="316706"/>
                  </a:cubicBezTo>
                  <a:cubicBezTo>
                    <a:pt x="4180999" y="291941"/>
                    <a:pt x="4180999" y="271939"/>
                    <a:pt x="4180999" y="256699"/>
                  </a:cubicBezTo>
                  <a:cubicBezTo>
                    <a:pt x="4180999" y="239554"/>
                    <a:pt x="4180999" y="230029"/>
                    <a:pt x="4180999" y="230029"/>
                  </a:cubicBezTo>
                  <a:cubicBezTo>
                    <a:pt x="4180999" y="230029"/>
                    <a:pt x="4180046" y="239554"/>
                    <a:pt x="4177189" y="256699"/>
                  </a:cubicBezTo>
                  <a:cubicBezTo>
                    <a:pt x="4177189" y="260509"/>
                    <a:pt x="4176236" y="265271"/>
                    <a:pt x="4175284" y="270034"/>
                  </a:cubicBezTo>
                  <a:cubicBezTo>
                    <a:pt x="4175284" y="263366"/>
                    <a:pt x="4174331" y="257651"/>
                    <a:pt x="4174331" y="251936"/>
                  </a:cubicBezTo>
                  <a:cubicBezTo>
                    <a:pt x="4172426" y="207169"/>
                    <a:pt x="4168616" y="176689"/>
                    <a:pt x="4168616" y="176689"/>
                  </a:cubicBezTo>
                  <a:cubicBezTo>
                    <a:pt x="4168616" y="176689"/>
                    <a:pt x="4164806" y="207169"/>
                    <a:pt x="4162901" y="251936"/>
                  </a:cubicBezTo>
                  <a:cubicBezTo>
                    <a:pt x="4161949" y="263366"/>
                    <a:pt x="4161949" y="274796"/>
                    <a:pt x="4160996" y="287179"/>
                  </a:cubicBezTo>
                  <a:cubicBezTo>
                    <a:pt x="4158139" y="292894"/>
                    <a:pt x="4156234" y="298609"/>
                    <a:pt x="4154329" y="303371"/>
                  </a:cubicBezTo>
                  <a:cubicBezTo>
                    <a:pt x="4151471" y="295751"/>
                    <a:pt x="4149566" y="288131"/>
                    <a:pt x="4146709" y="280511"/>
                  </a:cubicBezTo>
                  <a:cubicBezTo>
                    <a:pt x="4144804" y="267176"/>
                    <a:pt x="4141946" y="255746"/>
                    <a:pt x="4140041" y="246221"/>
                  </a:cubicBezTo>
                  <a:cubicBezTo>
                    <a:pt x="4137184" y="231934"/>
                    <a:pt x="4133374" y="224314"/>
                    <a:pt x="4133374" y="224314"/>
                  </a:cubicBezTo>
                  <a:cubicBezTo>
                    <a:pt x="4133374" y="224314"/>
                    <a:pt x="4134326" y="226219"/>
                    <a:pt x="4134326" y="230029"/>
                  </a:cubicBezTo>
                  <a:cubicBezTo>
                    <a:pt x="4135279" y="233839"/>
                    <a:pt x="4135279" y="239554"/>
                    <a:pt x="4136231" y="247174"/>
                  </a:cubicBezTo>
                  <a:cubicBezTo>
                    <a:pt x="4136231" y="248126"/>
                    <a:pt x="4136231" y="249079"/>
                    <a:pt x="4136231" y="250031"/>
                  </a:cubicBezTo>
                  <a:cubicBezTo>
                    <a:pt x="4130516" y="230981"/>
                    <a:pt x="4123849" y="213836"/>
                    <a:pt x="4118134" y="197644"/>
                  </a:cubicBezTo>
                  <a:cubicBezTo>
                    <a:pt x="4108609" y="166211"/>
                    <a:pt x="4100036" y="139541"/>
                    <a:pt x="4093369" y="121444"/>
                  </a:cubicBezTo>
                  <a:cubicBezTo>
                    <a:pt x="4087654" y="103346"/>
                    <a:pt x="4083844" y="92869"/>
                    <a:pt x="4083844" y="92869"/>
                  </a:cubicBezTo>
                  <a:cubicBezTo>
                    <a:pt x="4083844" y="92869"/>
                    <a:pt x="4085749" y="103346"/>
                    <a:pt x="4089559" y="122396"/>
                  </a:cubicBezTo>
                  <a:cubicBezTo>
                    <a:pt x="4093369" y="141446"/>
                    <a:pt x="4099084" y="168116"/>
                    <a:pt x="4106704" y="200501"/>
                  </a:cubicBezTo>
                  <a:cubicBezTo>
                    <a:pt x="4110514" y="215741"/>
                    <a:pt x="4115276" y="231934"/>
                    <a:pt x="4119086" y="248126"/>
                  </a:cubicBezTo>
                  <a:cubicBezTo>
                    <a:pt x="4118134" y="251936"/>
                    <a:pt x="4118134" y="256699"/>
                    <a:pt x="4117181" y="262414"/>
                  </a:cubicBezTo>
                  <a:cubicBezTo>
                    <a:pt x="4116229" y="270034"/>
                    <a:pt x="4115276" y="279559"/>
                    <a:pt x="4114324" y="290036"/>
                  </a:cubicBezTo>
                  <a:cubicBezTo>
                    <a:pt x="4113371" y="288131"/>
                    <a:pt x="4111466" y="286226"/>
                    <a:pt x="4110514" y="284321"/>
                  </a:cubicBezTo>
                  <a:cubicBezTo>
                    <a:pt x="4113371" y="274796"/>
                    <a:pt x="4114324" y="269081"/>
                    <a:pt x="4114324" y="269081"/>
                  </a:cubicBezTo>
                  <a:cubicBezTo>
                    <a:pt x="4114324" y="269081"/>
                    <a:pt x="4112419" y="273844"/>
                    <a:pt x="4108609" y="282416"/>
                  </a:cubicBezTo>
                  <a:cubicBezTo>
                    <a:pt x="4106704" y="279559"/>
                    <a:pt x="4104799" y="276701"/>
                    <a:pt x="4102894" y="273844"/>
                  </a:cubicBezTo>
                  <a:cubicBezTo>
                    <a:pt x="4100989" y="270034"/>
                    <a:pt x="4098131" y="266224"/>
                    <a:pt x="4096226" y="263366"/>
                  </a:cubicBezTo>
                  <a:cubicBezTo>
                    <a:pt x="4097179" y="262414"/>
                    <a:pt x="4097179" y="262414"/>
                    <a:pt x="4097179" y="262414"/>
                  </a:cubicBezTo>
                  <a:cubicBezTo>
                    <a:pt x="4097179" y="262414"/>
                    <a:pt x="4097179" y="262414"/>
                    <a:pt x="4096226" y="263366"/>
                  </a:cubicBezTo>
                  <a:cubicBezTo>
                    <a:pt x="4094321" y="259556"/>
                    <a:pt x="4092416" y="256699"/>
                    <a:pt x="4090511" y="253841"/>
                  </a:cubicBezTo>
                  <a:cubicBezTo>
                    <a:pt x="4090511" y="253841"/>
                    <a:pt x="4090511" y="252889"/>
                    <a:pt x="4090511" y="252889"/>
                  </a:cubicBezTo>
                  <a:cubicBezTo>
                    <a:pt x="4090511" y="248126"/>
                    <a:pt x="4090511" y="243364"/>
                    <a:pt x="4090511" y="238601"/>
                  </a:cubicBezTo>
                  <a:cubicBezTo>
                    <a:pt x="4090511" y="230029"/>
                    <a:pt x="4090511" y="222409"/>
                    <a:pt x="4090511" y="215741"/>
                  </a:cubicBezTo>
                  <a:cubicBezTo>
                    <a:pt x="4090511" y="203359"/>
                    <a:pt x="4089559" y="195739"/>
                    <a:pt x="4089559" y="195739"/>
                  </a:cubicBezTo>
                  <a:cubicBezTo>
                    <a:pt x="4089559" y="195739"/>
                    <a:pt x="4088606" y="202406"/>
                    <a:pt x="4086701" y="214789"/>
                  </a:cubicBezTo>
                  <a:cubicBezTo>
                    <a:pt x="4085749" y="221456"/>
                    <a:pt x="4084796" y="228124"/>
                    <a:pt x="4083844" y="236696"/>
                  </a:cubicBezTo>
                  <a:cubicBezTo>
                    <a:pt x="4083844" y="237649"/>
                    <a:pt x="4083844" y="238601"/>
                    <a:pt x="4083844" y="239554"/>
                  </a:cubicBezTo>
                  <a:cubicBezTo>
                    <a:pt x="4082891" y="238601"/>
                    <a:pt x="4082891" y="237649"/>
                    <a:pt x="4081939" y="236696"/>
                  </a:cubicBezTo>
                  <a:cubicBezTo>
                    <a:pt x="4081939" y="235744"/>
                    <a:pt x="4081939" y="235744"/>
                    <a:pt x="4081939" y="234791"/>
                  </a:cubicBezTo>
                  <a:cubicBezTo>
                    <a:pt x="4081939" y="225266"/>
                    <a:pt x="4081939" y="216694"/>
                    <a:pt x="4081939" y="210026"/>
                  </a:cubicBezTo>
                  <a:cubicBezTo>
                    <a:pt x="4081939" y="195739"/>
                    <a:pt x="4081939" y="188119"/>
                    <a:pt x="4081939" y="188119"/>
                  </a:cubicBezTo>
                  <a:cubicBezTo>
                    <a:pt x="4081939" y="188119"/>
                    <a:pt x="4080034" y="195739"/>
                    <a:pt x="4078129" y="210026"/>
                  </a:cubicBezTo>
                  <a:cubicBezTo>
                    <a:pt x="4077176" y="214789"/>
                    <a:pt x="4076224" y="220504"/>
                    <a:pt x="4075271" y="227171"/>
                  </a:cubicBezTo>
                  <a:cubicBezTo>
                    <a:pt x="4065746" y="210979"/>
                    <a:pt x="4059079" y="202406"/>
                    <a:pt x="4059079" y="202406"/>
                  </a:cubicBezTo>
                  <a:cubicBezTo>
                    <a:pt x="4059079" y="202406"/>
                    <a:pt x="4063841" y="214789"/>
                    <a:pt x="4073366" y="236696"/>
                  </a:cubicBezTo>
                  <a:cubicBezTo>
                    <a:pt x="4072414" y="241459"/>
                    <a:pt x="4071461" y="246221"/>
                    <a:pt x="4071461" y="250984"/>
                  </a:cubicBezTo>
                  <a:cubicBezTo>
                    <a:pt x="4070509" y="256699"/>
                    <a:pt x="4069556" y="261461"/>
                    <a:pt x="4067651" y="268129"/>
                  </a:cubicBezTo>
                  <a:cubicBezTo>
                    <a:pt x="4066699" y="271939"/>
                    <a:pt x="4065746" y="275749"/>
                    <a:pt x="4064794" y="279559"/>
                  </a:cubicBezTo>
                  <a:cubicBezTo>
                    <a:pt x="4063841" y="270986"/>
                    <a:pt x="4062889" y="262414"/>
                    <a:pt x="4061936" y="253841"/>
                  </a:cubicBezTo>
                  <a:cubicBezTo>
                    <a:pt x="4059079" y="237649"/>
                    <a:pt x="4057174" y="221456"/>
                    <a:pt x="4054316" y="207169"/>
                  </a:cubicBezTo>
                  <a:cubicBezTo>
                    <a:pt x="4053364" y="199549"/>
                    <a:pt x="4052411" y="192881"/>
                    <a:pt x="4050506" y="186214"/>
                  </a:cubicBezTo>
                  <a:cubicBezTo>
                    <a:pt x="4049554" y="179546"/>
                    <a:pt x="4047649" y="173831"/>
                    <a:pt x="4046696" y="168116"/>
                  </a:cubicBezTo>
                  <a:cubicBezTo>
                    <a:pt x="4043839" y="156686"/>
                    <a:pt x="4041934" y="146209"/>
                    <a:pt x="4040029" y="137636"/>
                  </a:cubicBezTo>
                  <a:cubicBezTo>
                    <a:pt x="4036219" y="121444"/>
                    <a:pt x="4034314" y="111919"/>
                    <a:pt x="4034314" y="111919"/>
                  </a:cubicBezTo>
                  <a:cubicBezTo>
                    <a:pt x="4034314" y="111919"/>
                    <a:pt x="4035266" y="121444"/>
                    <a:pt x="4036219" y="138589"/>
                  </a:cubicBezTo>
                  <a:cubicBezTo>
                    <a:pt x="4037171" y="147161"/>
                    <a:pt x="4038124" y="157639"/>
                    <a:pt x="4039076" y="169069"/>
                  </a:cubicBezTo>
                  <a:cubicBezTo>
                    <a:pt x="4040029" y="180499"/>
                    <a:pt x="4040981" y="193834"/>
                    <a:pt x="4042886" y="208121"/>
                  </a:cubicBezTo>
                  <a:cubicBezTo>
                    <a:pt x="4043839" y="217646"/>
                    <a:pt x="4044791" y="228124"/>
                    <a:pt x="4044791" y="238601"/>
                  </a:cubicBezTo>
                  <a:cubicBezTo>
                    <a:pt x="4037171" y="196691"/>
                    <a:pt x="4031456" y="170021"/>
                    <a:pt x="4031456" y="170021"/>
                  </a:cubicBezTo>
                  <a:cubicBezTo>
                    <a:pt x="4031456" y="170021"/>
                    <a:pt x="4032409" y="203359"/>
                    <a:pt x="4036219" y="252889"/>
                  </a:cubicBezTo>
                  <a:cubicBezTo>
                    <a:pt x="4036219" y="256699"/>
                    <a:pt x="4037171" y="260509"/>
                    <a:pt x="4037171" y="264319"/>
                  </a:cubicBezTo>
                  <a:cubicBezTo>
                    <a:pt x="4036219" y="266224"/>
                    <a:pt x="4036219" y="269081"/>
                    <a:pt x="4035266" y="271939"/>
                  </a:cubicBezTo>
                  <a:cubicBezTo>
                    <a:pt x="4033361" y="270034"/>
                    <a:pt x="4031456" y="268129"/>
                    <a:pt x="4030504" y="266224"/>
                  </a:cubicBezTo>
                  <a:cubicBezTo>
                    <a:pt x="4027646" y="263366"/>
                    <a:pt x="4025741" y="260509"/>
                    <a:pt x="4023836" y="258604"/>
                  </a:cubicBezTo>
                  <a:cubicBezTo>
                    <a:pt x="4018121" y="247174"/>
                    <a:pt x="4013359" y="237649"/>
                    <a:pt x="4009549" y="229076"/>
                  </a:cubicBezTo>
                  <a:cubicBezTo>
                    <a:pt x="4000976" y="212884"/>
                    <a:pt x="3996214" y="203359"/>
                    <a:pt x="3996214" y="203359"/>
                  </a:cubicBezTo>
                  <a:cubicBezTo>
                    <a:pt x="3996214" y="203359"/>
                    <a:pt x="4000024" y="212884"/>
                    <a:pt x="4005739" y="230981"/>
                  </a:cubicBezTo>
                  <a:cubicBezTo>
                    <a:pt x="4008596" y="237649"/>
                    <a:pt x="4011454" y="246221"/>
                    <a:pt x="4014311" y="255746"/>
                  </a:cubicBezTo>
                  <a:cubicBezTo>
                    <a:pt x="4010501" y="248126"/>
                    <a:pt x="4007644" y="243364"/>
                    <a:pt x="4007644" y="243364"/>
                  </a:cubicBezTo>
                  <a:cubicBezTo>
                    <a:pt x="4007644" y="243364"/>
                    <a:pt x="4010501" y="251936"/>
                    <a:pt x="4015264" y="267176"/>
                  </a:cubicBezTo>
                  <a:cubicBezTo>
                    <a:pt x="4018121" y="274796"/>
                    <a:pt x="4020979" y="284321"/>
                    <a:pt x="4024789" y="294799"/>
                  </a:cubicBezTo>
                  <a:cubicBezTo>
                    <a:pt x="4025741" y="296704"/>
                    <a:pt x="4026694" y="299561"/>
                    <a:pt x="4026694" y="301466"/>
                  </a:cubicBezTo>
                  <a:cubicBezTo>
                    <a:pt x="4023836" y="310039"/>
                    <a:pt x="4020026" y="319564"/>
                    <a:pt x="4017169" y="329089"/>
                  </a:cubicBezTo>
                  <a:cubicBezTo>
                    <a:pt x="4017169" y="329089"/>
                    <a:pt x="4016216" y="328136"/>
                    <a:pt x="4016216" y="328136"/>
                  </a:cubicBezTo>
                  <a:cubicBezTo>
                    <a:pt x="4011454" y="325279"/>
                    <a:pt x="4008596" y="322421"/>
                    <a:pt x="4005739" y="320516"/>
                  </a:cubicBezTo>
                  <a:cubicBezTo>
                    <a:pt x="4005739" y="319564"/>
                    <a:pt x="4005739" y="318611"/>
                    <a:pt x="4005739" y="318611"/>
                  </a:cubicBezTo>
                  <a:cubicBezTo>
                    <a:pt x="4005739" y="315754"/>
                    <a:pt x="4004786" y="313849"/>
                    <a:pt x="4004786" y="310991"/>
                  </a:cubicBezTo>
                  <a:cubicBezTo>
                    <a:pt x="4004786" y="285274"/>
                    <a:pt x="4002881" y="269081"/>
                    <a:pt x="4002881" y="269081"/>
                  </a:cubicBezTo>
                  <a:cubicBezTo>
                    <a:pt x="4002881" y="269081"/>
                    <a:pt x="4001929" y="274796"/>
                    <a:pt x="4000024" y="284321"/>
                  </a:cubicBezTo>
                  <a:cubicBezTo>
                    <a:pt x="3996214" y="261461"/>
                    <a:pt x="3993356" y="248126"/>
                    <a:pt x="3993356" y="248126"/>
                  </a:cubicBezTo>
                  <a:cubicBezTo>
                    <a:pt x="3993356" y="248126"/>
                    <a:pt x="3993356" y="262414"/>
                    <a:pt x="3993356" y="286226"/>
                  </a:cubicBezTo>
                  <a:cubicBezTo>
                    <a:pt x="3993356" y="286226"/>
                    <a:pt x="3992404" y="286226"/>
                    <a:pt x="3992404" y="286226"/>
                  </a:cubicBezTo>
                  <a:cubicBezTo>
                    <a:pt x="3991451" y="286226"/>
                    <a:pt x="3990499" y="287179"/>
                    <a:pt x="3990499" y="287179"/>
                  </a:cubicBezTo>
                  <a:cubicBezTo>
                    <a:pt x="3988594" y="289084"/>
                    <a:pt x="3986689" y="290989"/>
                    <a:pt x="3985736" y="292894"/>
                  </a:cubicBezTo>
                  <a:lnTo>
                    <a:pt x="3985736" y="292894"/>
                  </a:lnTo>
                  <a:lnTo>
                    <a:pt x="3985736" y="293846"/>
                  </a:lnTo>
                  <a:cubicBezTo>
                    <a:pt x="3984784" y="300514"/>
                    <a:pt x="3983831" y="307181"/>
                    <a:pt x="3983831" y="313849"/>
                  </a:cubicBezTo>
                  <a:cubicBezTo>
                    <a:pt x="3981926" y="310039"/>
                    <a:pt x="3980021" y="307181"/>
                    <a:pt x="3978116" y="303371"/>
                  </a:cubicBezTo>
                  <a:cubicBezTo>
                    <a:pt x="3983831" y="284321"/>
                    <a:pt x="3987641" y="272891"/>
                    <a:pt x="3987641" y="272891"/>
                  </a:cubicBezTo>
                  <a:cubicBezTo>
                    <a:pt x="3987641" y="272891"/>
                    <a:pt x="3982879" y="282416"/>
                    <a:pt x="3976211" y="298609"/>
                  </a:cubicBezTo>
                  <a:cubicBezTo>
                    <a:pt x="3975259" y="296704"/>
                    <a:pt x="3974306" y="295751"/>
                    <a:pt x="3973354" y="293846"/>
                  </a:cubicBezTo>
                  <a:cubicBezTo>
                    <a:pt x="3973354" y="291941"/>
                    <a:pt x="3973354" y="290036"/>
                    <a:pt x="3973354" y="288131"/>
                  </a:cubicBezTo>
                  <a:cubicBezTo>
                    <a:pt x="3973354" y="288131"/>
                    <a:pt x="3973354" y="288131"/>
                    <a:pt x="3973354" y="287179"/>
                  </a:cubicBezTo>
                  <a:cubicBezTo>
                    <a:pt x="3975259" y="283369"/>
                    <a:pt x="3976211" y="280511"/>
                    <a:pt x="3977164" y="278606"/>
                  </a:cubicBezTo>
                  <a:cubicBezTo>
                    <a:pt x="3979069" y="273844"/>
                    <a:pt x="3980974" y="270986"/>
                    <a:pt x="3980974" y="270986"/>
                  </a:cubicBezTo>
                  <a:cubicBezTo>
                    <a:pt x="3980974" y="270986"/>
                    <a:pt x="3979069" y="272891"/>
                    <a:pt x="3976211" y="277654"/>
                  </a:cubicBezTo>
                  <a:cubicBezTo>
                    <a:pt x="3975259" y="278606"/>
                    <a:pt x="3974306" y="280511"/>
                    <a:pt x="3973354" y="282416"/>
                  </a:cubicBezTo>
                  <a:cubicBezTo>
                    <a:pt x="3973354" y="271939"/>
                    <a:pt x="3974306" y="262414"/>
                    <a:pt x="3974306" y="254794"/>
                  </a:cubicBezTo>
                  <a:cubicBezTo>
                    <a:pt x="3975259" y="238601"/>
                    <a:pt x="3975259" y="230029"/>
                    <a:pt x="3975259" y="230029"/>
                  </a:cubicBezTo>
                  <a:cubicBezTo>
                    <a:pt x="3975259" y="230029"/>
                    <a:pt x="3973354" y="238601"/>
                    <a:pt x="3970496" y="254794"/>
                  </a:cubicBezTo>
                  <a:cubicBezTo>
                    <a:pt x="3969544" y="262414"/>
                    <a:pt x="3967639" y="271939"/>
                    <a:pt x="3965734" y="281464"/>
                  </a:cubicBezTo>
                  <a:cubicBezTo>
                    <a:pt x="3964781" y="278606"/>
                    <a:pt x="3962876" y="276701"/>
                    <a:pt x="3961924" y="274796"/>
                  </a:cubicBezTo>
                  <a:cubicBezTo>
                    <a:pt x="3961924" y="272891"/>
                    <a:pt x="3962876" y="270986"/>
                    <a:pt x="3962876" y="269081"/>
                  </a:cubicBezTo>
                  <a:cubicBezTo>
                    <a:pt x="3965734" y="253841"/>
                    <a:pt x="3966686" y="245269"/>
                    <a:pt x="3966686" y="245269"/>
                  </a:cubicBezTo>
                  <a:cubicBezTo>
                    <a:pt x="3966686" y="245269"/>
                    <a:pt x="3963829" y="253841"/>
                    <a:pt x="3959066" y="268129"/>
                  </a:cubicBezTo>
                  <a:cubicBezTo>
                    <a:pt x="3959066" y="268129"/>
                    <a:pt x="3959066" y="269081"/>
                    <a:pt x="3959066" y="269081"/>
                  </a:cubicBezTo>
                  <a:cubicBezTo>
                    <a:pt x="3959066" y="268129"/>
                    <a:pt x="3958114" y="267176"/>
                    <a:pt x="3958114" y="267176"/>
                  </a:cubicBezTo>
                  <a:cubicBezTo>
                    <a:pt x="3958114" y="267176"/>
                    <a:pt x="3958114" y="268129"/>
                    <a:pt x="3958114" y="269081"/>
                  </a:cubicBezTo>
                  <a:cubicBezTo>
                    <a:pt x="3957161" y="267176"/>
                    <a:pt x="3956209" y="266224"/>
                    <a:pt x="3955256" y="264319"/>
                  </a:cubicBezTo>
                  <a:cubicBezTo>
                    <a:pt x="3955256" y="258604"/>
                    <a:pt x="3955256" y="252889"/>
                    <a:pt x="3954304" y="247174"/>
                  </a:cubicBezTo>
                  <a:cubicBezTo>
                    <a:pt x="3954304" y="235744"/>
                    <a:pt x="3952399" y="224314"/>
                    <a:pt x="3951446" y="214789"/>
                  </a:cubicBezTo>
                  <a:cubicBezTo>
                    <a:pt x="3950494" y="205264"/>
                    <a:pt x="3949541" y="196691"/>
                    <a:pt x="3947636" y="190024"/>
                  </a:cubicBezTo>
                  <a:cubicBezTo>
                    <a:pt x="3944779" y="176689"/>
                    <a:pt x="3943826" y="169069"/>
                    <a:pt x="3943826" y="169069"/>
                  </a:cubicBezTo>
                  <a:cubicBezTo>
                    <a:pt x="3943826" y="169069"/>
                    <a:pt x="3943826" y="176689"/>
                    <a:pt x="3943826" y="190024"/>
                  </a:cubicBezTo>
                  <a:cubicBezTo>
                    <a:pt x="3943826" y="196691"/>
                    <a:pt x="3943826" y="205264"/>
                    <a:pt x="3943826" y="214789"/>
                  </a:cubicBezTo>
                  <a:cubicBezTo>
                    <a:pt x="3943826" y="218599"/>
                    <a:pt x="3943826" y="222409"/>
                    <a:pt x="3943826" y="225266"/>
                  </a:cubicBezTo>
                  <a:cubicBezTo>
                    <a:pt x="3942874" y="221456"/>
                    <a:pt x="3941921" y="218599"/>
                    <a:pt x="3940969" y="215741"/>
                  </a:cubicBezTo>
                  <a:cubicBezTo>
                    <a:pt x="3940016" y="212884"/>
                    <a:pt x="3939064" y="210026"/>
                    <a:pt x="3939064" y="207169"/>
                  </a:cubicBezTo>
                  <a:cubicBezTo>
                    <a:pt x="3940016" y="206216"/>
                    <a:pt x="3940016" y="205264"/>
                    <a:pt x="3940016" y="205264"/>
                  </a:cubicBezTo>
                  <a:cubicBezTo>
                    <a:pt x="3940016" y="205264"/>
                    <a:pt x="3940016" y="206216"/>
                    <a:pt x="3939064" y="206216"/>
                  </a:cubicBezTo>
                  <a:cubicBezTo>
                    <a:pt x="3937159" y="201454"/>
                    <a:pt x="3936206" y="197644"/>
                    <a:pt x="3936206" y="197644"/>
                  </a:cubicBezTo>
                  <a:cubicBezTo>
                    <a:pt x="3936206" y="197644"/>
                    <a:pt x="3936206" y="201454"/>
                    <a:pt x="3937159" y="208121"/>
                  </a:cubicBezTo>
                  <a:cubicBezTo>
                    <a:pt x="3935254" y="210026"/>
                    <a:pt x="3932396" y="212884"/>
                    <a:pt x="3929539" y="216694"/>
                  </a:cubicBezTo>
                  <a:cubicBezTo>
                    <a:pt x="3928586" y="210026"/>
                    <a:pt x="3926681" y="204311"/>
                    <a:pt x="3925729" y="197644"/>
                  </a:cubicBezTo>
                  <a:cubicBezTo>
                    <a:pt x="3922871" y="183356"/>
                    <a:pt x="3919061" y="170021"/>
                    <a:pt x="3916204" y="158591"/>
                  </a:cubicBezTo>
                  <a:cubicBezTo>
                    <a:pt x="3915251" y="153829"/>
                    <a:pt x="3913346" y="148114"/>
                    <a:pt x="3912394" y="144304"/>
                  </a:cubicBezTo>
                  <a:cubicBezTo>
                    <a:pt x="3913346" y="142399"/>
                    <a:pt x="3914299" y="141446"/>
                    <a:pt x="3915251" y="139541"/>
                  </a:cubicBezTo>
                  <a:cubicBezTo>
                    <a:pt x="3927634" y="121444"/>
                    <a:pt x="3935254" y="110966"/>
                    <a:pt x="3935254" y="110966"/>
                  </a:cubicBezTo>
                  <a:cubicBezTo>
                    <a:pt x="3935254" y="110966"/>
                    <a:pt x="3926681" y="120491"/>
                    <a:pt x="3912394" y="136684"/>
                  </a:cubicBezTo>
                  <a:cubicBezTo>
                    <a:pt x="3911441" y="137636"/>
                    <a:pt x="3911441" y="138589"/>
                    <a:pt x="3910489" y="138589"/>
                  </a:cubicBezTo>
                  <a:cubicBezTo>
                    <a:pt x="3909536" y="134779"/>
                    <a:pt x="3908584" y="131921"/>
                    <a:pt x="3906679" y="128111"/>
                  </a:cubicBezTo>
                  <a:cubicBezTo>
                    <a:pt x="3900964" y="111919"/>
                    <a:pt x="3898106" y="102394"/>
                    <a:pt x="3898106" y="102394"/>
                  </a:cubicBezTo>
                  <a:cubicBezTo>
                    <a:pt x="3898106" y="102394"/>
                    <a:pt x="3900011" y="111919"/>
                    <a:pt x="3902869" y="129064"/>
                  </a:cubicBezTo>
                  <a:cubicBezTo>
                    <a:pt x="3903821" y="132874"/>
                    <a:pt x="3904774" y="137636"/>
                    <a:pt x="3905726" y="143351"/>
                  </a:cubicBezTo>
                  <a:cubicBezTo>
                    <a:pt x="3905726" y="143351"/>
                    <a:pt x="3905726" y="143351"/>
                    <a:pt x="3905726" y="143351"/>
                  </a:cubicBezTo>
                  <a:cubicBezTo>
                    <a:pt x="3900011" y="150019"/>
                    <a:pt x="3894296" y="158591"/>
                    <a:pt x="3887629" y="167164"/>
                  </a:cubicBezTo>
                  <a:cubicBezTo>
                    <a:pt x="3880961" y="175736"/>
                    <a:pt x="3874294" y="185261"/>
                    <a:pt x="3866674" y="195739"/>
                  </a:cubicBezTo>
                  <a:cubicBezTo>
                    <a:pt x="3864769" y="190976"/>
                    <a:pt x="3863816" y="186214"/>
                    <a:pt x="3862864" y="182404"/>
                  </a:cubicBezTo>
                  <a:cubicBezTo>
                    <a:pt x="3857149" y="165259"/>
                    <a:pt x="3854291" y="155734"/>
                    <a:pt x="3854291" y="155734"/>
                  </a:cubicBezTo>
                  <a:cubicBezTo>
                    <a:pt x="3854291" y="155734"/>
                    <a:pt x="3856196" y="166211"/>
                    <a:pt x="3859054" y="183356"/>
                  </a:cubicBezTo>
                  <a:cubicBezTo>
                    <a:pt x="3860006" y="189071"/>
                    <a:pt x="3861911" y="195739"/>
                    <a:pt x="3862864" y="202406"/>
                  </a:cubicBezTo>
                  <a:cubicBezTo>
                    <a:pt x="3860959" y="204311"/>
                    <a:pt x="3860006" y="207169"/>
                    <a:pt x="3858101" y="209074"/>
                  </a:cubicBezTo>
                  <a:cubicBezTo>
                    <a:pt x="3856196" y="211931"/>
                    <a:pt x="3855244" y="213836"/>
                    <a:pt x="3853339" y="216694"/>
                  </a:cubicBezTo>
                  <a:cubicBezTo>
                    <a:pt x="3851434" y="208121"/>
                    <a:pt x="3850481" y="200501"/>
                    <a:pt x="3849529" y="195739"/>
                  </a:cubicBezTo>
                  <a:cubicBezTo>
                    <a:pt x="3850481" y="189071"/>
                    <a:pt x="3851434" y="183356"/>
                    <a:pt x="3852386" y="178594"/>
                  </a:cubicBezTo>
                  <a:cubicBezTo>
                    <a:pt x="3854291" y="166211"/>
                    <a:pt x="3855244" y="158591"/>
                    <a:pt x="3855244" y="158591"/>
                  </a:cubicBezTo>
                  <a:cubicBezTo>
                    <a:pt x="3855244" y="158591"/>
                    <a:pt x="3853339" y="165259"/>
                    <a:pt x="3848576" y="177641"/>
                  </a:cubicBezTo>
                  <a:cubicBezTo>
                    <a:pt x="3846671" y="184309"/>
                    <a:pt x="3844766" y="190976"/>
                    <a:pt x="3841909" y="199549"/>
                  </a:cubicBezTo>
                  <a:cubicBezTo>
                    <a:pt x="3840956" y="204311"/>
                    <a:pt x="3839051" y="208121"/>
                    <a:pt x="3838099" y="212884"/>
                  </a:cubicBezTo>
                  <a:cubicBezTo>
                    <a:pt x="3837146" y="216694"/>
                    <a:pt x="3836194" y="221456"/>
                    <a:pt x="3835241" y="225266"/>
                  </a:cubicBezTo>
                  <a:cubicBezTo>
                    <a:pt x="3835241" y="224314"/>
                    <a:pt x="3834289" y="223361"/>
                    <a:pt x="3834289" y="222409"/>
                  </a:cubicBezTo>
                  <a:cubicBezTo>
                    <a:pt x="3831431" y="217646"/>
                    <a:pt x="3828574" y="212884"/>
                    <a:pt x="3825716" y="209074"/>
                  </a:cubicBezTo>
                  <a:cubicBezTo>
                    <a:pt x="3815239" y="193834"/>
                    <a:pt x="3809524" y="184309"/>
                    <a:pt x="3809524" y="184309"/>
                  </a:cubicBezTo>
                  <a:cubicBezTo>
                    <a:pt x="3809524" y="184309"/>
                    <a:pt x="3814286" y="193834"/>
                    <a:pt x="3821906" y="210979"/>
                  </a:cubicBezTo>
                  <a:cubicBezTo>
                    <a:pt x="3823811" y="214789"/>
                    <a:pt x="3825716" y="219551"/>
                    <a:pt x="3828574" y="224314"/>
                  </a:cubicBezTo>
                  <a:cubicBezTo>
                    <a:pt x="3829526" y="227171"/>
                    <a:pt x="3831431" y="230981"/>
                    <a:pt x="3832384" y="234791"/>
                  </a:cubicBezTo>
                  <a:cubicBezTo>
                    <a:pt x="3831431" y="241459"/>
                    <a:pt x="3829526" y="248126"/>
                    <a:pt x="3828574" y="254794"/>
                  </a:cubicBezTo>
                  <a:cubicBezTo>
                    <a:pt x="3827621" y="256699"/>
                    <a:pt x="3826669" y="257651"/>
                    <a:pt x="3825716" y="259556"/>
                  </a:cubicBezTo>
                  <a:cubicBezTo>
                    <a:pt x="3823811" y="262414"/>
                    <a:pt x="3821906" y="266224"/>
                    <a:pt x="3820954" y="269081"/>
                  </a:cubicBezTo>
                  <a:cubicBezTo>
                    <a:pt x="3820954" y="268129"/>
                    <a:pt x="3820001" y="268129"/>
                    <a:pt x="3820001" y="267176"/>
                  </a:cubicBezTo>
                  <a:cubicBezTo>
                    <a:pt x="3810476" y="255746"/>
                    <a:pt x="3804761" y="249079"/>
                    <a:pt x="3804761" y="249079"/>
                  </a:cubicBezTo>
                  <a:cubicBezTo>
                    <a:pt x="3804761" y="249079"/>
                    <a:pt x="3809524" y="256699"/>
                    <a:pt x="3817144" y="270034"/>
                  </a:cubicBezTo>
                  <a:cubicBezTo>
                    <a:pt x="3818096" y="270986"/>
                    <a:pt x="3818096" y="271939"/>
                    <a:pt x="3819049" y="272891"/>
                  </a:cubicBezTo>
                  <a:cubicBezTo>
                    <a:pt x="3815239" y="280511"/>
                    <a:pt x="3811429" y="287179"/>
                    <a:pt x="3806666" y="294799"/>
                  </a:cubicBezTo>
                  <a:cubicBezTo>
                    <a:pt x="3806666" y="294799"/>
                    <a:pt x="3806666" y="294799"/>
                    <a:pt x="3806666" y="294799"/>
                  </a:cubicBezTo>
                  <a:cubicBezTo>
                    <a:pt x="3805714" y="293846"/>
                    <a:pt x="3804761" y="291941"/>
                    <a:pt x="3803809" y="290989"/>
                  </a:cubicBezTo>
                  <a:cubicBezTo>
                    <a:pt x="3803809" y="290036"/>
                    <a:pt x="3803809" y="289084"/>
                    <a:pt x="3802856" y="287179"/>
                  </a:cubicBezTo>
                  <a:cubicBezTo>
                    <a:pt x="3801904" y="283369"/>
                    <a:pt x="3800951" y="280511"/>
                    <a:pt x="3799999" y="276701"/>
                  </a:cubicBezTo>
                  <a:cubicBezTo>
                    <a:pt x="3798094" y="270034"/>
                    <a:pt x="3796189" y="265271"/>
                    <a:pt x="3795236" y="260509"/>
                  </a:cubicBezTo>
                  <a:cubicBezTo>
                    <a:pt x="3792379" y="250984"/>
                    <a:pt x="3790474" y="246221"/>
                    <a:pt x="3790474" y="246221"/>
                  </a:cubicBezTo>
                  <a:cubicBezTo>
                    <a:pt x="3790474" y="246221"/>
                    <a:pt x="3790474" y="251936"/>
                    <a:pt x="3791426" y="260509"/>
                  </a:cubicBezTo>
                  <a:cubicBezTo>
                    <a:pt x="3791426" y="264319"/>
                    <a:pt x="3792379" y="269081"/>
                    <a:pt x="3792379" y="273844"/>
                  </a:cubicBezTo>
                  <a:cubicBezTo>
                    <a:pt x="3790474" y="271939"/>
                    <a:pt x="3789521" y="270034"/>
                    <a:pt x="3787616" y="268129"/>
                  </a:cubicBezTo>
                  <a:cubicBezTo>
                    <a:pt x="3783806" y="263366"/>
                    <a:pt x="3779996" y="259556"/>
                    <a:pt x="3777139" y="255746"/>
                  </a:cubicBezTo>
                  <a:cubicBezTo>
                    <a:pt x="3776186" y="251936"/>
                    <a:pt x="3774281" y="249079"/>
                    <a:pt x="3773329" y="246221"/>
                  </a:cubicBezTo>
                  <a:cubicBezTo>
                    <a:pt x="3767614" y="231934"/>
                    <a:pt x="3764756" y="224314"/>
                    <a:pt x="3764756" y="224314"/>
                  </a:cubicBezTo>
                  <a:cubicBezTo>
                    <a:pt x="3764756" y="224314"/>
                    <a:pt x="3766661" y="232886"/>
                    <a:pt x="3769519" y="247174"/>
                  </a:cubicBezTo>
                  <a:cubicBezTo>
                    <a:pt x="3771424" y="254794"/>
                    <a:pt x="3773329" y="263366"/>
                    <a:pt x="3776186" y="273844"/>
                  </a:cubicBezTo>
                  <a:cubicBezTo>
                    <a:pt x="3778091" y="281464"/>
                    <a:pt x="3779996" y="290989"/>
                    <a:pt x="3781901" y="299561"/>
                  </a:cubicBezTo>
                  <a:cubicBezTo>
                    <a:pt x="3775234" y="275749"/>
                    <a:pt x="3767614" y="253841"/>
                    <a:pt x="3760946" y="234791"/>
                  </a:cubicBezTo>
                  <a:cubicBezTo>
                    <a:pt x="3759041" y="229076"/>
                    <a:pt x="3757136" y="224314"/>
                    <a:pt x="3755231" y="218599"/>
                  </a:cubicBezTo>
                  <a:cubicBezTo>
                    <a:pt x="3758089" y="214789"/>
                    <a:pt x="3759041" y="211931"/>
                    <a:pt x="3759041" y="211931"/>
                  </a:cubicBezTo>
                  <a:cubicBezTo>
                    <a:pt x="3759041" y="211931"/>
                    <a:pt x="3757136" y="213836"/>
                    <a:pt x="3754279" y="217646"/>
                  </a:cubicBezTo>
                  <a:cubicBezTo>
                    <a:pt x="3753326" y="213836"/>
                    <a:pt x="3752374" y="210979"/>
                    <a:pt x="3750469" y="208121"/>
                  </a:cubicBezTo>
                  <a:cubicBezTo>
                    <a:pt x="3752374" y="201454"/>
                    <a:pt x="3752374" y="197644"/>
                    <a:pt x="3752374" y="197644"/>
                  </a:cubicBezTo>
                  <a:cubicBezTo>
                    <a:pt x="3752374" y="197644"/>
                    <a:pt x="3751421" y="200501"/>
                    <a:pt x="3748564" y="205264"/>
                  </a:cubicBezTo>
                  <a:cubicBezTo>
                    <a:pt x="3739991" y="181451"/>
                    <a:pt x="3734276" y="167164"/>
                    <a:pt x="3734276" y="167164"/>
                  </a:cubicBezTo>
                  <a:cubicBezTo>
                    <a:pt x="3734276" y="167164"/>
                    <a:pt x="3737134" y="186214"/>
                    <a:pt x="3742849" y="217646"/>
                  </a:cubicBezTo>
                  <a:cubicBezTo>
                    <a:pt x="3740944" y="222409"/>
                    <a:pt x="3738086" y="229076"/>
                    <a:pt x="3736181" y="236696"/>
                  </a:cubicBezTo>
                  <a:cubicBezTo>
                    <a:pt x="3736181" y="237649"/>
                    <a:pt x="3736181" y="237649"/>
                    <a:pt x="3735229" y="238601"/>
                  </a:cubicBezTo>
                  <a:cubicBezTo>
                    <a:pt x="3733324" y="240506"/>
                    <a:pt x="3731419" y="243364"/>
                    <a:pt x="3730466" y="245269"/>
                  </a:cubicBezTo>
                  <a:cubicBezTo>
                    <a:pt x="3728561" y="242411"/>
                    <a:pt x="3727609" y="239554"/>
                    <a:pt x="3726656" y="236696"/>
                  </a:cubicBezTo>
                  <a:cubicBezTo>
                    <a:pt x="3726656" y="235744"/>
                    <a:pt x="3726656" y="234791"/>
                    <a:pt x="3726656" y="232886"/>
                  </a:cubicBezTo>
                  <a:cubicBezTo>
                    <a:pt x="3726656" y="221456"/>
                    <a:pt x="3725704" y="214789"/>
                    <a:pt x="3725704" y="214789"/>
                  </a:cubicBezTo>
                  <a:cubicBezTo>
                    <a:pt x="3725704" y="214789"/>
                    <a:pt x="3724751" y="220504"/>
                    <a:pt x="3722846" y="230029"/>
                  </a:cubicBezTo>
                  <a:cubicBezTo>
                    <a:pt x="3722846" y="230029"/>
                    <a:pt x="3722846" y="229076"/>
                    <a:pt x="3721894" y="229076"/>
                  </a:cubicBezTo>
                  <a:cubicBezTo>
                    <a:pt x="3721894" y="229076"/>
                    <a:pt x="3721894" y="229076"/>
                    <a:pt x="3721894" y="229076"/>
                  </a:cubicBezTo>
                  <a:cubicBezTo>
                    <a:pt x="3723799" y="215741"/>
                    <a:pt x="3724751" y="203359"/>
                    <a:pt x="3725704" y="190976"/>
                  </a:cubicBezTo>
                  <a:cubicBezTo>
                    <a:pt x="3726656" y="184309"/>
                    <a:pt x="3726656" y="178594"/>
                    <a:pt x="3727609" y="172879"/>
                  </a:cubicBezTo>
                  <a:cubicBezTo>
                    <a:pt x="3728561" y="167164"/>
                    <a:pt x="3729514" y="161449"/>
                    <a:pt x="3730466" y="155734"/>
                  </a:cubicBezTo>
                  <a:cubicBezTo>
                    <a:pt x="3732371" y="145256"/>
                    <a:pt x="3733324" y="135731"/>
                    <a:pt x="3734276" y="128111"/>
                  </a:cubicBezTo>
                  <a:cubicBezTo>
                    <a:pt x="3736181" y="112871"/>
                    <a:pt x="3737134" y="104299"/>
                    <a:pt x="3737134" y="104299"/>
                  </a:cubicBezTo>
                  <a:cubicBezTo>
                    <a:pt x="3737134" y="104299"/>
                    <a:pt x="3734276" y="112871"/>
                    <a:pt x="3730466" y="127159"/>
                  </a:cubicBezTo>
                  <a:cubicBezTo>
                    <a:pt x="3728561" y="134779"/>
                    <a:pt x="3725704" y="143351"/>
                    <a:pt x="3722846" y="153829"/>
                  </a:cubicBezTo>
                  <a:cubicBezTo>
                    <a:pt x="3720941" y="158591"/>
                    <a:pt x="3719989" y="164306"/>
                    <a:pt x="3718084" y="170021"/>
                  </a:cubicBezTo>
                  <a:cubicBezTo>
                    <a:pt x="3717131" y="175736"/>
                    <a:pt x="3715226" y="182404"/>
                    <a:pt x="3714274" y="188119"/>
                  </a:cubicBezTo>
                  <a:cubicBezTo>
                    <a:pt x="3713321" y="194786"/>
                    <a:pt x="3711416" y="201454"/>
                    <a:pt x="3710464" y="208121"/>
                  </a:cubicBezTo>
                  <a:cubicBezTo>
                    <a:pt x="3710464" y="208121"/>
                    <a:pt x="3710464" y="208121"/>
                    <a:pt x="3710464" y="207169"/>
                  </a:cubicBezTo>
                  <a:cubicBezTo>
                    <a:pt x="3702844" y="194786"/>
                    <a:pt x="3697129" y="184309"/>
                    <a:pt x="3691414" y="174784"/>
                  </a:cubicBezTo>
                  <a:cubicBezTo>
                    <a:pt x="3684746" y="164306"/>
                    <a:pt x="3679984" y="155734"/>
                    <a:pt x="3677126" y="150971"/>
                  </a:cubicBezTo>
                  <a:cubicBezTo>
                    <a:pt x="3678079" y="142399"/>
                    <a:pt x="3678079" y="137636"/>
                    <a:pt x="3678079" y="137636"/>
                  </a:cubicBezTo>
                  <a:cubicBezTo>
                    <a:pt x="3678079" y="137636"/>
                    <a:pt x="3677126" y="141446"/>
                    <a:pt x="3675221" y="149066"/>
                  </a:cubicBezTo>
                  <a:cubicBezTo>
                    <a:pt x="3674269" y="148114"/>
                    <a:pt x="3674269" y="147161"/>
                    <a:pt x="3674269" y="147161"/>
                  </a:cubicBezTo>
                  <a:cubicBezTo>
                    <a:pt x="3674269" y="147161"/>
                    <a:pt x="3674269" y="148114"/>
                    <a:pt x="3675221" y="150019"/>
                  </a:cubicBezTo>
                  <a:cubicBezTo>
                    <a:pt x="3674269" y="153829"/>
                    <a:pt x="3673316" y="158591"/>
                    <a:pt x="3672364" y="164306"/>
                  </a:cubicBezTo>
                  <a:cubicBezTo>
                    <a:pt x="3670459" y="172879"/>
                    <a:pt x="3668554" y="182404"/>
                    <a:pt x="3665696" y="194786"/>
                  </a:cubicBezTo>
                  <a:cubicBezTo>
                    <a:pt x="3664744" y="199549"/>
                    <a:pt x="3663791" y="204311"/>
                    <a:pt x="3662839" y="209074"/>
                  </a:cubicBezTo>
                  <a:cubicBezTo>
                    <a:pt x="3662839" y="209074"/>
                    <a:pt x="3662839" y="210026"/>
                    <a:pt x="3661886" y="210026"/>
                  </a:cubicBezTo>
                  <a:cubicBezTo>
                    <a:pt x="3660934" y="211931"/>
                    <a:pt x="3659029" y="214789"/>
                    <a:pt x="3658076" y="216694"/>
                  </a:cubicBezTo>
                  <a:cubicBezTo>
                    <a:pt x="3659029" y="190976"/>
                    <a:pt x="3658076" y="174784"/>
                    <a:pt x="3658076" y="174784"/>
                  </a:cubicBezTo>
                  <a:cubicBezTo>
                    <a:pt x="3658076" y="174784"/>
                    <a:pt x="3652361" y="200501"/>
                    <a:pt x="3645694" y="239554"/>
                  </a:cubicBezTo>
                  <a:cubicBezTo>
                    <a:pt x="3645694" y="241459"/>
                    <a:pt x="3644741" y="244316"/>
                    <a:pt x="3644741" y="246221"/>
                  </a:cubicBezTo>
                  <a:cubicBezTo>
                    <a:pt x="3644741" y="247174"/>
                    <a:pt x="3643789" y="248126"/>
                    <a:pt x="3643789" y="249079"/>
                  </a:cubicBezTo>
                  <a:cubicBezTo>
                    <a:pt x="3642836" y="251936"/>
                    <a:pt x="3641884" y="255746"/>
                    <a:pt x="3640931" y="259556"/>
                  </a:cubicBezTo>
                  <a:cubicBezTo>
                    <a:pt x="3636169" y="249079"/>
                    <a:pt x="3633311" y="243364"/>
                    <a:pt x="3633311" y="243364"/>
                  </a:cubicBezTo>
                  <a:cubicBezTo>
                    <a:pt x="3633311" y="243364"/>
                    <a:pt x="3635216" y="250984"/>
                    <a:pt x="3639979" y="265271"/>
                  </a:cubicBezTo>
                  <a:cubicBezTo>
                    <a:pt x="3639026" y="268129"/>
                    <a:pt x="3638074" y="271939"/>
                    <a:pt x="3637121" y="275749"/>
                  </a:cubicBezTo>
                  <a:cubicBezTo>
                    <a:pt x="3631406" y="266224"/>
                    <a:pt x="3627596" y="261461"/>
                    <a:pt x="3627596" y="261461"/>
                  </a:cubicBezTo>
                  <a:cubicBezTo>
                    <a:pt x="3627596" y="261461"/>
                    <a:pt x="3630454" y="268129"/>
                    <a:pt x="3635216" y="280511"/>
                  </a:cubicBezTo>
                  <a:cubicBezTo>
                    <a:pt x="3635216" y="280511"/>
                    <a:pt x="3635216" y="280511"/>
                    <a:pt x="3635216" y="281464"/>
                  </a:cubicBezTo>
                  <a:cubicBezTo>
                    <a:pt x="3633311" y="290036"/>
                    <a:pt x="3631406" y="299561"/>
                    <a:pt x="3630454" y="309086"/>
                  </a:cubicBezTo>
                  <a:cubicBezTo>
                    <a:pt x="3629501" y="316706"/>
                    <a:pt x="3628549" y="324326"/>
                    <a:pt x="3627596" y="332899"/>
                  </a:cubicBezTo>
                  <a:cubicBezTo>
                    <a:pt x="3624739" y="325279"/>
                    <a:pt x="3622834" y="318611"/>
                    <a:pt x="3620929" y="312896"/>
                  </a:cubicBezTo>
                  <a:cubicBezTo>
                    <a:pt x="3620929" y="310991"/>
                    <a:pt x="3620929" y="309086"/>
                    <a:pt x="3620929" y="309086"/>
                  </a:cubicBezTo>
                  <a:cubicBezTo>
                    <a:pt x="3620929" y="309086"/>
                    <a:pt x="3620929" y="310039"/>
                    <a:pt x="3619976" y="310991"/>
                  </a:cubicBezTo>
                  <a:cubicBezTo>
                    <a:pt x="3619976" y="310039"/>
                    <a:pt x="3619024" y="309086"/>
                    <a:pt x="3619024" y="308134"/>
                  </a:cubicBezTo>
                  <a:cubicBezTo>
                    <a:pt x="3620929" y="295751"/>
                    <a:pt x="3621881" y="284321"/>
                    <a:pt x="3622834" y="272891"/>
                  </a:cubicBezTo>
                  <a:cubicBezTo>
                    <a:pt x="3624739" y="252889"/>
                    <a:pt x="3625691" y="234791"/>
                    <a:pt x="3626644" y="221456"/>
                  </a:cubicBezTo>
                  <a:cubicBezTo>
                    <a:pt x="3629501" y="215741"/>
                    <a:pt x="3630454" y="211931"/>
                    <a:pt x="3630454" y="211931"/>
                  </a:cubicBezTo>
                  <a:cubicBezTo>
                    <a:pt x="3630454" y="211931"/>
                    <a:pt x="3629501" y="213836"/>
                    <a:pt x="3626644" y="216694"/>
                  </a:cubicBezTo>
                  <a:cubicBezTo>
                    <a:pt x="3626644" y="215741"/>
                    <a:pt x="3626644" y="214789"/>
                    <a:pt x="3626644" y="214789"/>
                  </a:cubicBezTo>
                  <a:cubicBezTo>
                    <a:pt x="3626644" y="200501"/>
                    <a:pt x="3626644" y="192881"/>
                    <a:pt x="3626644" y="192881"/>
                  </a:cubicBezTo>
                  <a:cubicBezTo>
                    <a:pt x="3626644" y="192881"/>
                    <a:pt x="3624739" y="200501"/>
                    <a:pt x="3622834" y="214789"/>
                  </a:cubicBezTo>
                  <a:cubicBezTo>
                    <a:pt x="3621881" y="217646"/>
                    <a:pt x="3621881" y="221456"/>
                    <a:pt x="3620929" y="226219"/>
                  </a:cubicBezTo>
                  <a:cubicBezTo>
                    <a:pt x="3620929" y="226219"/>
                    <a:pt x="3620929" y="226219"/>
                    <a:pt x="3620929" y="227171"/>
                  </a:cubicBezTo>
                  <a:cubicBezTo>
                    <a:pt x="3618071" y="231934"/>
                    <a:pt x="3614261" y="237649"/>
                    <a:pt x="3609499" y="243364"/>
                  </a:cubicBezTo>
                  <a:cubicBezTo>
                    <a:pt x="3607594" y="246221"/>
                    <a:pt x="3605689" y="249079"/>
                    <a:pt x="3603784" y="251936"/>
                  </a:cubicBezTo>
                  <a:cubicBezTo>
                    <a:pt x="3607594" y="242411"/>
                    <a:pt x="3610451" y="233839"/>
                    <a:pt x="3613309" y="225266"/>
                  </a:cubicBezTo>
                  <a:cubicBezTo>
                    <a:pt x="3615214" y="219551"/>
                    <a:pt x="3617119" y="213836"/>
                    <a:pt x="3619024" y="208121"/>
                  </a:cubicBezTo>
                  <a:cubicBezTo>
                    <a:pt x="3620929" y="202406"/>
                    <a:pt x="3622834" y="197644"/>
                    <a:pt x="3624739" y="192881"/>
                  </a:cubicBezTo>
                  <a:cubicBezTo>
                    <a:pt x="3628549" y="183356"/>
                    <a:pt x="3631406" y="174784"/>
                    <a:pt x="3634264" y="168116"/>
                  </a:cubicBezTo>
                  <a:cubicBezTo>
                    <a:pt x="3639026" y="153829"/>
                    <a:pt x="3642836" y="146209"/>
                    <a:pt x="3642836" y="146209"/>
                  </a:cubicBezTo>
                  <a:cubicBezTo>
                    <a:pt x="3642836" y="146209"/>
                    <a:pt x="3639026" y="153829"/>
                    <a:pt x="3631406" y="166211"/>
                  </a:cubicBezTo>
                  <a:cubicBezTo>
                    <a:pt x="3627596" y="172879"/>
                    <a:pt x="3623786" y="180499"/>
                    <a:pt x="3618071" y="189071"/>
                  </a:cubicBezTo>
                  <a:cubicBezTo>
                    <a:pt x="3615214" y="193834"/>
                    <a:pt x="3613309" y="198596"/>
                    <a:pt x="3610451" y="203359"/>
                  </a:cubicBezTo>
                  <a:cubicBezTo>
                    <a:pt x="3607594" y="209074"/>
                    <a:pt x="3605689" y="213836"/>
                    <a:pt x="3602831" y="219551"/>
                  </a:cubicBezTo>
                  <a:cubicBezTo>
                    <a:pt x="3598069" y="229076"/>
                    <a:pt x="3593306" y="238601"/>
                    <a:pt x="3588544" y="250031"/>
                  </a:cubicBezTo>
                  <a:cubicBezTo>
                    <a:pt x="3588544" y="245269"/>
                    <a:pt x="3588544" y="242411"/>
                    <a:pt x="3588544" y="242411"/>
                  </a:cubicBezTo>
                  <a:cubicBezTo>
                    <a:pt x="3588544" y="242411"/>
                    <a:pt x="3587591" y="248126"/>
                    <a:pt x="3585686" y="256699"/>
                  </a:cubicBezTo>
                  <a:cubicBezTo>
                    <a:pt x="3585686" y="256699"/>
                    <a:pt x="3585686" y="256699"/>
                    <a:pt x="3585686" y="257651"/>
                  </a:cubicBezTo>
                  <a:cubicBezTo>
                    <a:pt x="3583781" y="261461"/>
                    <a:pt x="3581876" y="266224"/>
                    <a:pt x="3579971" y="270986"/>
                  </a:cubicBezTo>
                  <a:cubicBezTo>
                    <a:pt x="3578066" y="274796"/>
                    <a:pt x="3576161" y="278606"/>
                    <a:pt x="3573304" y="282416"/>
                  </a:cubicBezTo>
                  <a:cubicBezTo>
                    <a:pt x="3571399" y="275749"/>
                    <a:pt x="3569494" y="269081"/>
                    <a:pt x="3568541" y="263366"/>
                  </a:cubicBezTo>
                  <a:cubicBezTo>
                    <a:pt x="3566636" y="257651"/>
                    <a:pt x="3565684" y="252889"/>
                    <a:pt x="3564731" y="248126"/>
                  </a:cubicBezTo>
                  <a:cubicBezTo>
                    <a:pt x="3564731" y="248126"/>
                    <a:pt x="3564731" y="248126"/>
                    <a:pt x="3564731" y="248126"/>
                  </a:cubicBezTo>
                  <a:cubicBezTo>
                    <a:pt x="3563779" y="244316"/>
                    <a:pt x="3563779" y="241459"/>
                    <a:pt x="3562826" y="237649"/>
                  </a:cubicBezTo>
                  <a:cubicBezTo>
                    <a:pt x="3562826" y="236696"/>
                    <a:pt x="3562826" y="235744"/>
                    <a:pt x="3561874" y="233839"/>
                  </a:cubicBezTo>
                  <a:cubicBezTo>
                    <a:pt x="3564731" y="230029"/>
                    <a:pt x="3566636" y="227171"/>
                    <a:pt x="3566636" y="227171"/>
                  </a:cubicBezTo>
                  <a:cubicBezTo>
                    <a:pt x="3566636" y="227171"/>
                    <a:pt x="3564731" y="229076"/>
                    <a:pt x="3561874" y="230981"/>
                  </a:cubicBezTo>
                  <a:cubicBezTo>
                    <a:pt x="3559969" y="222409"/>
                    <a:pt x="3559016" y="218599"/>
                    <a:pt x="3559016" y="218599"/>
                  </a:cubicBezTo>
                  <a:cubicBezTo>
                    <a:pt x="3559016" y="218599"/>
                    <a:pt x="3559016" y="223361"/>
                    <a:pt x="3559016" y="231934"/>
                  </a:cubicBezTo>
                  <a:cubicBezTo>
                    <a:pt x="3557111" y="228124"/>
                    <a:pt x="3556159" y="224314"/>
                    <a:pt x="3554254" y="220504"/>
                  </a:cubicBezTo>
                  <a:cubicBezTo>
                    <a:pt x="3559969" y="211931"/>
                    <a:pt x="3564731" y="204311"/>
                    <a:pt x="3569494" y="197644"/>
                  </a:cubicBezTo>
                  <a:cubicBezTo>
                    <a:pt x="3576161" y="189071"/>
                    <a:pt x="3580924" y="180499"/>
                    <a:pt x="3585686" y="174784"/>
                  </a:cubicBezTo>
                  <a:cubicBezTo>
                    <a:pt x="3595211" y="162401"/>
                    <a:pt x="3600926" y="154781"/>
                    <a:pt x="3600926" y="154781"/>
                  </a:cubicBezTo>
                  <a:cubicBezTo>
                    <a:pt x="3600926" y="154781"/>
                    <a:pt x="3594259" y="160496"/>
                    <a:pt x="3582829" y="171926"/>
                  </a:cubicBezTo>
                  <a:cubicBezTo>
                    <a:pt x="3577114" y="176689"/>
                    <a:pt x="3570446" y="184309"/>
                    <a:pt x="3562826" y="192881"/>
                  </a:cubicBezTo>
                  <a:cubicBezTo>
                    <a:pt x="3558064" y="197644"/>
                    <a:pt x="3553301" y="203359"/>
                    <a:pt x="3549491" y="209074"/>
                  </a:cubicBezTo>
                  <a:cubicBezTo>
                    <a:pt x="3545681" y="199549"/>
                    <a:pt x="3542824" y="193834"/>
                    <a:pt x="3542824" y="193834"/>
                  </a:cubicBezTo>
                  <a:cubicBezTo>
                    <a:pt x="3542824" y="193834"/>
                    <a:pt x="3543776" y="200501"/>
                    <a:pt x="3546634" y="212884"/>
                  </a:cubicBezTo>
                  <a:cubicBezTo>
                    <a:pt x="3544729" y="215741"/>
                    <a:pt x="3541871" y="218599"/>
                    <a:pt x="3539966" y="222409"/>
                  </a:cubicBezTo>
                  <a:cubicBezTo>
                    <a:pt x="3539966" y="222409"/>
                    <a:pt x="3539014" y="223361"/>
                    <a:pt x="3539014" y="223361"/>
                  </a:cubicBezTo>
                  <a:cubicBezTo>
                    <a:pt x="3539014" y="219551"/>
                    <a:pt x="3539014" y="214789"/>
                    <a:pt x="3539014" y="210979"/>
                  </a:cubicBezTo>
                  <a:cubicBezTo>
                    <a:pt x="3539014" y="200501"/>
                    <a:pt x="3539014" y="191929"/>
                    <a:pt x="3539014" y="184309"/>
                  </a:cubicBezTo>
                  <a:cubicBezTo>
                    <a:pt x="3539014" y="180499"/>
                    <a:pt x="3539014" y="176689"/>
                    <a:pt x="3539014" y="173831"/>
                  </a:cubicBezTo>
                  <a:cubicBezTo>
                    <a:pt x="3539966" y="170974"/>
                    <a:pt x="3540919" y="170021"/>
                    <a:pt x="3540919" y="170021"/>
                  </a:cubicBezTo>
                  <a:cubicBezTo>
                    <a:pt x="3540919" y="170021"/>
                    <a:pt x="3539966" y="170974"/>
                    <a:pt x="3539014" y="172879"/>
                  </a:cubicBezTo>
                  <a:cubicBezTo>
                    <a:pt x="3539014" y="166211"/>
                    <a:pt x="3539014" y="162401"/>
                    <a:pt x="3539014" y="162401"/>
                  </a:cubicBezTo>
                  <a:cubicBezTo>
                    <a:pt x="3539014" y="162401"/>
                    <a:pt x="3538061" y="167164"/>
                    <a:pt x="3537109" y="176689"/>
                  </a:cubicBezTo>
                  <a:cubicBezTo>
                    <a:pt x="3535204" y="180499"/>
                    <a:pt x="3531394" y="184309"/>
                    <a:pt x="3527584" y="190976"/>
                  </a:cubicBezTo>
                  <a:cubicBezTo>
                    <a:pt x="3522821" y="197644"/>
                    <a:pt x="3518059" y="205264"/>
                    <a:pt x="3511391" y="214789"/>
                  </a:cubicBezTo>
                  <a:cubicBezTo>
                    <a:pt x="3511391" y="214789"/>
                    <a:pt x="3511391" y="215741"/>
                    <a:pt x="3510439" y="215741"/>
                  </a:cubicBezTo>
                  <a:cubicBezTo>
                    <a:pt x="3509486" y="210026"/>
                    <a:pt x="3509486" y="205264"/>
                    <a:pt x="3508534" y="201454"/>
                  </a:cubicBezTo>
                  <a:cubicBezTo>
                    <a:pt x="3506629" y="188119"/>
                    <a:pt x="3505676" y="180499"/>
                    <a:pt x="3505676" y="180499"/>
                  </a:cubicBezTo>
                  <a:cubicBezTo>
                    <a:pt x="3505676" y="180499"/>
                    <a:pt x="3505676" y="188119"/>
                    <a:pt x="3504724" y="202406"/>
                  </a:cubicBezTo>
                  <a:cubicBezTo>
                    <a:pt x="3504724" y="209074"/>
                    <a:pt x="3504724" y="216694"/>
                    <a:pt x="3503771" y="226219"/>
                  </a:cubicBezTo>
                  <a:cubicBezTo>
                    <a:pt x="3502819" y="228124"/>
                    <a:pt x="3501866" y="229076"/>
                    <a:pt x="3500914" y="230981"/>
                  </a:cubicBezTo>
                  <a:cubicBezTo>
                    <a:pt x="3498056" y="235744"/>
                    <a:pt x="3495199" y="241459"/>
                    <a:pt x="3491389" y="247174"/>
                  </a:cubicBezTo>
                  <a:cubicBezTo>
                    <a:pt x="3488531" y="241459"/>
                    <a:pt x="3486626" y="235744"/>
                    <a:pt x="3483769" y="230029"/>
                  </a:cubicBezTo>
                  <a:cubicBezTo>
                    <a:pt x="3479006" y="218599"/>
                    <a:pt x="3474244" y="209074"/>
                    <a:pt x="3469481" y="200501"/>
                  </a:cubicBezTo>
                  <a:cubicBezTo>
                    <a:pt x="3470434" y="197644"/>
                    <a:pt x="3471386" y="193834"/>
                    <a:pt x="3471386" y="190976"/>
                  </a:cubicBezTo>
                  <a:cubicBezTo>
                    <a:pt x="3473291" y="182404"/>
                    <a:pt x="3475196" y="174784"/>
                    <a:pt x="3477101" y="167164"/>
                  </a:cubicBezTo>
                  <a:cubicBezTo>
                    <a:pt x="3479006" y="159544"/>
                    <a:pt x="3480911" y="152876"/>
                    <a:pt x="3482816" y="146209"/>
                  </a:cubicBezTo>
                  <a:cubicBezTo>
                    <a:pt x="3486626" y="132874"/>
                    <a:pt x="3489484" y="121444"/>
                    <a:pt x="3492341" y="111919"/>
                  </a:cubicBezTo>
                  <a:cubicBezTo>
                    <a:pt x="3497104" y="92869"/>
                    <a:pt x="3499961" y="82391"/>
                    <a:pt x="3499961" y="82391"/>
                  </a:cubicBezTo>
                  <a:cubicBezTo>
                    <a:pt x="3499961" y="82391"/>
                    <a:pt x="3496151" y="92869"/>
                    <a:pt x="3488531" y="110966"/>
                  </a:cubicBezTo>
                  <a:cubicBezTo>
                    <a:pt x="3484721" y="120491"/>
                    <a:pt x="3480911" y="130969"/>
                    <a:pt x="3476149" y="144304"/>
                  </a:cubicBezTo>
                  <a:cubicBezTo>
                    <a:pt x="3473291" y="150971"/>
                    <a:pt x="3471386" y="157639"/>
                    <a:pt x="3468529" y="164306"/>
                  </a:cubicBezTo>
                  <a:cubicBezTo>
                    <a:pt x="3466624" y="170974"/>
                    <a:pt x="3464719" y="177641"/>
                    <a:pt x="3461861" y="185261"/>
                  </a:cubicBezTo>
                  <a:cubicBezTo>
                    <a:pt x="3456146" y="173831"/>
                    <a:pt x="3452336" y="168116"/>
                    <a:pt x="3452336" y="168116"/>
                  </a:cubicBezTo>
                  <a:cubicBezTo>
                    <a:pt x="3452336" y="168116"/>
                    <a:pt x="3455194" y="175736"/>
                    <a:pt x="3460909" y="189071"/>
                  </a:cubicBezTo>
                  <a:cubicBezTo>
                    <a:pt x="3457099" y="200501"/>
                    <a:pt x="3454241" y="211931"/>
                    <a:pt x="3450431" y="225266"/>
                  </a:cubicBezTo>
                  <a:cubicBezTo>
                    <a:pt x="3447574" y="220504"/>
                    <a:pt x="3444716" y="214789"/>
                    <a:pt x="3441859" y="210026"/>
                  </a:cubicBezTo>
                  <a:cubicBezTo>
                    <a:pt x="3441859" y="209074"/>
                    <a:pt x="3441859" y="208121"/>
                    <a:pt x="3442811" y="208121"/>
                  </a:cubicBezTo>
                  <a:cubicBezTo>
                    <a:pt x="3444716" y="197644"/>
                    <a:pt x="3445669" y="190976"/>
                    <a:pt x="3445669" y="190976"/>
                  </a:cubicBezTo>
                  <a:cubicBezTo>
                    <a:pt x="3445669" y="190976"/>
                    <a:pt x="3442811" y="196691"/>
                    <a:pt x="3439001" y="205264"/>
                  </a:cubicBezTo>
                  <a:cubicBezTo>
                    <a:pt x="3439001" y="205264"/>
                    <a:pt x="3439001" y="205264"/>
                    <a:pt x="3439001" y="205264"/>
                  </a:cubicBezTo>
                  <a:cubicBezTo>
                    <a:pt x="3439001" y="190976"/>
                    <a:pt x="3439001" y="177641"/>
                    <a:pt x="3438049" y="165259"/>
                  </a:cubicBezTo>
                  <a:cubicBezTo>
                    <a:pt x="3438049" y="153829"/>
                    <a:pt x="3437096" y="144304"/>
                    <a:pt x="3437096" y="135731"/>
                  </a:cubicBezTo>
                  <a:cubicBezTo>
                    <a:pt x="3436144" y="127159"/>
                    <a:pt x="3436144" y="119539"/>
                    <a:pt x="3435191" y="112871"/>
                  </a:cubicBezTo>
                  <a:cubicBezTo>
                    <a:pt x="3434239" y="100489"/>
                    <a:pt x="3433286" y="92869"/>
                    <a:pt x="3433286" y="92869"/>
                  </a:cubicBezTo>
                  <a:cubicBezTo>
                    <a:pt x="3433286" y="92869"/>
                    <a:pt x="3432334" y="100489"/>
                    <a:pt x="3431381" y="112871"/>
                  </a:cubicBezTo>
                  <a:cubicBezTo>
                    <a:pt x="3430429" y="122396"/>
                    <a:pt x="3429476" y="134779"/>
                    <a:pt x="3428524" y="149066"/>
                  </a:cubicBezTo>
                  <a:cubicBezTo>
                    <a:pt x="3428524" y="149066"/>
                    <a:pt x="3428524" y="150019"/>
                    <a:pt x="3428524" y="150019"/>
                  </a:cubicBezTo>
                  <a:cubicBezTo>
                    <a:pt x="3427571" y="143351"/>
                    <a:pt x="3426619" y="137636"/>
                    <a:pt x="3426619" y="131921"/>
                  </a:cubicBezTo>
                  <a:cubicBezTo>
                    <a:pt x="3424714" y="120491"/>
                    <a:pt x="3423761" y="113824"/>
                    <a:pt x="3423761" y="113824"/>
                  </a:cubicBezTo>
                  <a:cubicBezTo>
                    <a:pt x="3423761" y="113824"/>
                    <a:pt x="3422809" y="120491"/>
                    <a:pt x="3422809" y="131921"/>
                  </a:cubicBezTo>
                  <a:cubicBezTo>
                    <a:pt x="3422809" y="142399"/>
                    <a:pt x="3421856" y="157639"/>
                    <a:pt x="3420904" y="174784"/>
                  </a:cubicBezTo>
                  <a:cubicBezTo>
                    <a:pt x="3418046" y="170021"/>
                    <a:pt x="3415189" y="166211"/>
                    <a:pt x="3412331" y="162401"/>
                  </a:cubicBezTo>
                  <a:cubicBezTo>
                    <a:pt x="3405664" y="152876"/>
                    <a:pt x="3400901" y="146209"/>
                    <a:pt x="3398044" y="141446"/>
                  </a:cubicBezTo>
                  <a:cubicBezTo>
                    <a:pt x="3398996" y="135731"/>
                    <a:pt x="3400901" y="129064"/>
                    <a:pt x="3401854" y="123349"/>
                  </a:cubicBezTo>
                  <a:cubicBezTo>
                    <a:pt x="3399949" y="128111"/>
                    <a:pt x="3398044" y="133826"/>
                    <a:pt x="3396139" y="139541"/>
                  </a:cubicBezTo>
                  <a:cubicBezTo>
                    <a:pt x="3393281" y="135731"/>
                    <a:pt x="3391376" y="132874"/>
                    <a:pt x="3391376" y="132874"/>
                  </a:cubicBezTo>
                  <a:cubicBezTo>
                    <a:pt x="3391376" y="132874"/>
                    <a:pt x="3392329" y="134779"/>
                    <a:pt x="3395186" y="139541"/>
                  </a:cubicBezTo>
                  <a:cubicBezTo>
                    <a:pt x="3395186" y="140494"/>
                    <a:pt x="3395186" y="140494"/>
                    <a:pt x="3395186" y="141446"/>
                  </a:cubicBezTo>
                  <a:cubicBezTo>
                    <a:pt x="3391376" y="153829"/>
                    <a:pt x="3386614" y="166211"/>
                    <a:pt x="3382804" y="177641"/>
                  </a:cubicBezTo>
                  <a:cubicBezTo>
                    <a:pt x="3382804" y="175736"/>
                    <a:pt x="3382804" y="174784"/>
                    <a:pt x="3382804" y="172879"/>
                  </a:cubicBezTo>
                  <a:cubicBezTo>
                    <a:pt x="3381851" y="158591"/>
                    <a:pt x="3381851" y="150971"/>
                    <a:pt x="3381851" y="150971"/>
                  </a:cubicBezTo>
                  <a:cubicBezTo>
                    <a:pt x="3381851" y="150971"/>
                    <a:pt x="3380899" y="158591"/>
                    <a:pt x="3378994" y="172879"/>
                  </a:cubicBezTo>
                  <a:cubicBezTo>
                    <a:pt x="3378041" y="179546"/>
                    <a:pt x="3377089" y="188119"/>
                    <a:pt x="3376136" y="197644"/>
                  </a:cubicBezTo>
                  <a:cubicBezTo>
                    <a:pt x="3372326" y="210026"/>
                    <a:pt x="3368516" y="222409"/>
                    <a:pt x="3365659" y="234791"/>
                  </a:cubicBezTo>
                  <a:cubicBezTo>
                    <a:pt x="3363754" y="240506"/>
                    <a:pt x="3361849" y="247174"/>
                    <a:pt x="3358991" y="253841"/>
                  </a:cubicBezTo>
                  <a:cubicBezTo>
                    <a:pt x="3358991" y="254794"/>
                    <a:pt x="3358039" y="256699"/>
                    <a:pt x="3358039" y="257651"/>
                  </a:cubicBezTo>
                  <a:cubicBezTo>
                    <a:pt x="3355181" y="250984"/>
                    <a:pt x="3353276" y="244316"/>
                    <a:pt x="3351371" y="239554"/>
                  </a:cubicBezTo>
                  <a:cubicBezTo>
                    <a:pt x="3351371" y="238601"/>
                    <a:pt x="3351371" y="237649"/>
                    <a:pt x="3351371" y="237649"/>
                  </a:cubicBezTo>
                  <a:cubicBezTo>
                    <a:pt x="3351371" y="237649"/>
                    <a:pt x="3351371" y="237649"/>
                    <a:pt x="3351371" y="238601"/>
                  </a:cubicBezTo>
                  <a:cubicBezTo>
                    <a:pt x="3347561" y="228124"/>
                    <a:pt x="3344704" y="221456"/>
                    <a:pt x="3344704" y="221456"/>
                  </a:cubicBezTo>
                  <a:cubicBezTo>
                    <a:pt x="3344704" y="221456"/>
                    <a:pt x="3346609" y="230981"/>
                    <a:pt x="3349466" y="248126"/>
                  </a:cubicBezTo>
                  <a:cubicBezTo>
                    <a:pt x="3348514" y="252889"/>
                    <a:pt x="3348514" y="258604"/>
                    <a:pt x="3347561" y="265271"/>
                  </a:cubicBezTo>
                  <a:cubicBezTo>
                    <a:pt x="3346609" y="270986"/>
                    <a:pt x="3346609" y="276701"/>
                    <a:pt x="3345656" y="283369"/>
                  </a:cubicBezTo>
                  <a:cubicBezTo>
                    <a:pt x="3344704" y="284321"/>
                    <a:pt x="3344704" y="285274"/>
                    <a:pt x="3343751" y="287179"/>
                  </a:cubicBezTo>
                  <a:cubicBezTo>
                    <a:pt x="3341846" y="283369"/>
                    <a:pt x="3340894" y="278606"/>
                    <a:pt x="3339941" y="274796"/>
                  </a:cubicBezTo>
                  <a:cubicBezTo>
                    <a:pt x="3335179" y="259556"/>
                    <a:pt x="3329464" y="245269"/>
                    <a:pt x="3325654" y="231934"/>
                  </a:cubicBezTo>
                  <a:cubicBezTo>
                    <a:pt x="3326606" y="227171"/>
                    <a:pt x="3327559" y="221456"/>
                    <a:pt x="3328511" y="216694"/>
                  </a:cubicBezTo>
                  <a:cubicBezTo>
                    <a:pt x="3332321" y="199549"/>
                    <a:pt x="3334226" y="184309"/>
                    <a:pt x="3338036" y="170974"/>
                  </a:cubicBezTo>
                  <a:cubicBezTo>
                    <a:pt x="3340894" y="157639"/>
                    <a:pt x="3343751" y="145256"/>
                    <a:pt x="3346609" y="136684"/>
                  </a:cubicBezTo>
                  <a:cubicBezTo>
                    <a:pt x="3352324" y="117634"/>
                    <a:pt x="3355181" y="106204"/>
                    <a:pt x="3355181" y="106204"/>
                  </a:cubicBezTo>
                  <a:cubicBezTo>
                    <a:pt x="3355181" y="106204"/>
                    <a:pt x="3350419" y="116681"/>
                    <a:pt x="3342799" y="134779"/>
                  </a:cubicBezTo>
                  <a:cubicBezTo>
                    <a:pt x="3338989" y="144304"/>
                    <a:pt x="3335179" y="155734"/>
                    <a:pt x="3330416" y="169069"/>
                  </a:cubicBezTo>
                  <a:cubicBezTo>
                    <a:pt x="3325654" y="180499"/>
                    <a:pt x="3322796" y="193834"/>
                    <a:pt x="3318986" y="208121"/>
                  </a:cubicBezTo>
                  <a:cubicBezTo>
                    <a:pt x="3318986" y="206216"/>
                    <a:pt x="3318986" y="205264"/>
                    <a:pt x="3318986" y="203359"/>
                  </a:cubicBezTo>
                  <a:cubicBezTo>
                    <a:pt x="3319939" y="200501"/>
                    <a:pt x="3319939" y="198596"/>
                    <a:pt x="3320891" y="195739"/>
                  </a:cubicBezTo>
                  <a:cubicBezTo>
                    <a:pt x="3323749" y="185261"/>
                    <a:pt x="3325654" y="176689"/>
                    <a:pt x="3327559" y="170021"/>
                  </a:cubicBezTo>
                  <a:cubicBezTo>
                    <a:pt x="3330416" y="155734"/>
                    <a:pt x="3332321" y="147161"/>
                    <a:pt x="3332321" y="147161"/>
                  </a:cubicBezTo>
                  <a:cubicBezTo>
                    <a:pt x="3332321" y="147161"/>
                    <a:pt x="3329464" y="154781"/>
                    <a:pt x="3323749" y="169069"/>
                  </a:cubicBezTo>
                  <a:cubicBezTo>
                    <a:pt x="3323749" y="170021"/>
                    <a:pt x="3322796" y="170974"/>
                    <a:pt x="3322796" y="171926"/>
                  </a:cubicBezTo>
                  <a:cubicBezTo>
                    <a:pt x="3322796" y="170021"/>
                    <a:pt x="3323749" y="167164"/>
                    <a:pt x="3323749" y="165259"/>
                  </a:cubicBezTo>
                  <a:cubicBezTo>
                    <a:pt x="3325654" y="158591"/>
                    <a:pt x="3326606" y="152876"/>
                    <a:pt x="3328511" y="147161"/>
                  </a:cubicBezTo>
                  <a:cubicBezTo>
                    <a:pt x="3331369" y="135731"/>
                    <a:pt x="3334226" y="125254"/>
                    <a:pt x="3336131" y="116681"/>
                  </a:cubicBezTo>
                  <a:cubicBezTo>
                    <a:pt x="3339941" y="99536"/>
                    <a:pt x="3341846" y="90011"/>
                    <a:pt x="3341846" y="90011"/>
                  </a:cubicBezTo>
                  <a:cubicBezTo>
                    <a:pt x="3341846" y="90011"/>
                    <a:pt x="3338036" y="99536"/>
                    <a:pt x="3332321" y="114776"/>
                  </a:cubicBezTo>
                  <a:cubicBezTo>
                    <a:pt x="3329464" y="122396"/>
                    <a:pt x="3325654" y="132874"/>
                    <a:pt x="3321844" y="143351"/>
                  </a:cubicBezTo>
                  <a:cubicBezTo>
                    <a:pt x="3319939" y="149066"/>
                    <a:pt x="3318034" y="154781"/>
                    <a:pt x="3315176" y="161449"/>
                  </a:cubicBezTo>
                  <a:cubicBezTo>
                    <a:pt x="3313271" y="168116"/>
                    <a:pt x="3311366" y="174784"/>
                    <a:pt x="3308509" y="181451"/>
                  </a:cubicBezTo>
                  <a:cubicBezTo>
                    <a:pt x="3308509" y="181451"/>
                    <a:pt x="3308509" y="181451"/>
                    <a:pt x="3308509" y="181451"/>
                  </a:cubicBezTo>
                  <a:cubicBezTo>
                    <a:pt x="3307556" y="179546"/>
                    <a:pt x="3307556" y="178594"/>
                    <a:pt x="3306604" y="176689"/>
                  </a:cubicBezTo>
                  <a:cubicBezTo>
                    <a:pt x="3298031" y="153829"/>
                    <a:pt x="3292316" y="140494"/>
                    <a:pt x="3292316" y="140494"/>
                  </a:cubicBezTo>
                  <a:cubicBezTo>
                    <a:pt x="3292316" y="140494"/>
                    <a:pt x="3297079" y="158591"/>
                    <a:pt x="3305651" y="189071"/>
                  </a:cubicBezTo>
                  <a:cubicBezTo>
                    <a:pt x="3301841" y="201454"/>
                    <a:pt x="3298031" y="213836"/>
                    <a:pt x="3294221" y="227171"/>
                  </a:cubicBezTo>
                  <a:cubicBezTo>
                    <a:pt x="3294221" y="228124"/>
                    <a:pt x="3293269" y="230029"/>
                    <a:pt x="3293269" y="230981"/>
                  </a:cubicBezTo>
                  <a:cubicBezTo>
                    <a:pt x="3293269" y="230029"/>
                    <a:pt x="3292316" y="230029"/>
                    <a:pt x="3292316" y="229076"/>
                  </a:cubicBezTo>
                  <a:cubicBezTo>
                    <a:pt x="3282791" y="209074"/>
                    <a:pt x="3277076" y="197644"/>
                    <a:pt x="3277076" y="197644"/>
                  </a:cubicBezTo>
                  <a:cubicBezTo>
                    <a:pt x="3277076" y="197644"/>
                    <a:pt x="3282791" y="211931"/>
                    <a:pt x="3291364" y="237649"/>
                  </a:cubicBezTo>
                  <a:cubicBezTo>
                    <a:pt x="3289459" y="244316"/>
                    <a:pt x="3287554" y="250984"/>
                    <a:pt x="3285649" y="257651"/>
                  </a:cubicBezTo>
                  <a:cubicBezTo>
                    <a:pt x="3282791" y="253841"/>
                    <a:pt x="3279934" y="249079"/>
                    <a:pt x="3277076" y="246221"/>
                  </a:cubicBezTo>
                  <a:cubicBezTo>
                    <a:pt x="3276124" y="245269"/>
                    <a:pt x="3275171" y="243364"/>
                    <a:pt x="3274219" y="242411"/>
                  </a:cubicBezTo>
                  <a:cubicBezTo>
                    <a:pt x="3276124" y="215741"/>
                    <a:pt x="3277076" y="199549"/>
                    <a:pt x="3277076" y="199549"/>
                  </a:cubicBezTo>
                  <a:cubicBezTo>
                    <a:pt x="3277076" y="199549"/>
                    <a:pt x="3275171" y="206216"/>
                    <a:pt x="3272314" y="217646"/>
                  </a:cubicBezTo>
                  <a:cubicBezTo>
                    <a:pt x="3271361" y="222409"/>
                    <a:pt x="3269456" y="228124"/>
                    <a:pt x="3268504" y="234791"/>
                  </a:cubicBezTo>
                  <a:cubicBezTo>
                    <a:pt x="3265646" y="230029"/>
                    <a:pt x="3261836" y="226219"/>
                    <a:pt x="3258979" y="223361"/>
                  </a:cubicBezTo>
                  <a:cubicBezTo>
                    <a:pt x="3247549" y="210979"/>
                    <a:pt x="3241834" y="203359"/>
                    <a:pt x="3241834" y="203359"/>
                  </a:cubicBezTo>
                  <a:cubicBezTo>
                    <a:pt x="3241834" y="203359"/>
                    <a:pt x="3247549" y="211931"/>
                    <a:pt x="3256121" y="226219"/>
                  </a:cubicBezTo>
                  <a:cubicBezTo>
                    <a:pt x="3259931" y="230981"/>
                    <a:pt x="3262789" y="236696"/>
                    <a:pt x="3266599" y="243364"/>
                  </a:cubicBezTo>
                  <a:cubicBezTo>
                    <a:pt x="3264694" y="250031"/>
                    <a:pt x="3262789" y="256699"/>
                    <a:pt x="3260884" y="265271"/>
                  </a:cubicBezTo>
                  <a:cubicBezTo>
                    <a:pt x="3258979" y="271939"/>
                    <a:pt x="3257074" y="279559"/>
                    <a:pt x="3256121" y="288131"/>
                  </a:cubicBezTo>
                  <a:cubicBezTo>
                    <a:pt x="3256121" y="287179"/>
                    <a:pt x="3256121" y="287179"/>
                    <a:pt x="3256121" y="287179"/>
                  </a:cubicBezTo>
                  <a:cubicBezTo>
                    <a:pt x="3256121" y="287179"/>
                    <a:pt x="3256121" y="288131"/>
                    <a:pt x="3256121" y="289084"/>
                  </a:cubicBezTo>
                  <a:cubicBezTo>
                    <a:pt x="3256121" y="290989"/>
                    <a:pt x="3255169" y="291941"/>
                    <a:pt x="3255169" y="293846"/>
                  </a:cubicBezTo>
                  <a:cubicBezTo>
                    <a:pt x="3254216" y="292894"/>
                    <a:pt x="3254216" y="291941"/>
                    <a:pt x="3253264" y="290036"/>
                  </a:cubicBezTo>
                  <a:cubicBezTo>
                    <a:pt x="3253264" y="284321"/>
                    <a:pt x="3254216" y="280511"/>
                    <a:pt x="3254216" y="280511"/>
                  </a:cubicBezTo>
                  <a:cubicBezTo>
                    <a:pt x="3254216" y="280511"/>
                    <a:pt x="3253264" y="282416"/>
                    <a:pt x="3252311" y="287179"/>
                  </a:cubicBezTo>
                  <a:cubicBezTo>
                    <a:pt x="3248501" y="280511"/>
                    <a:pt x="3246596" y="276701"/>
                    <a:pt x="3246596" y="276701"/>
                  </a:cubicBezTo>
                  <a:cubicBezTo>
                    <a:pt x="3246596" y="276701"/>
                    <a:pt x="3248501" y="281464"/>
                    <a:pt x="3251359" y="290989"/>
                  </a:cubicBezTo>
                  <a:cubicBezTo>
                    <a:pt x="3250406" y="292894"/>
                    <a:pt x="3250406" y="295751"/>
                    <a:pt x="3249454" y="298609"/>
                  </a:cubicBezTo>
                  <a:cubicBezTo>
                    <a:pt x="3248501" y="300514"/>
                    <a:pt x="3248501" y="302419"/>
                    <a:pt x="3247549" y="304324"/>
                  </a:cubicBezTo>
                  <a:cubicBezTo>
                    <a:pt x="3247549" y="302419"/>
                    <a:pt x="3246596" y="301466"/>
                    <a:pt x="3246596" y="301466"/>
                  </a:cubicBezTo>
                  <a:cubicBezTo>
                    <a:pt x="3246596" y="301466"/>
                    <a:pt x="3246596" y="303371"/>
                    <a:pt x="3246596" y="306229"/>
                  </a:cubicBezTo>
                  <a:cubicBezTo>
                    <a:pt x="3245644" y="310039"/>
                    <a:pt x="3244691" y="313849"/>
                    <a:pt x="3243739" y="317659"/>
                  </a:cubicBezTo>
                  <a:cubicBezTo>
                    <a:pt x="3242786" y="312896"/>
                    <a:pt x="3240881" y="308134"/>
                    <a:pt x="3239929" y="304324"/>
                  </a:cubicBezTo>
                  <a:cubicBezTo>
                    <a:pt x="3241834" y="299561"/>
                    <a:pt x="3242786" y="296704"/>
                    <a:pt x="3242786" y="296704"/>
                  </a:cubicBezTo>
                  <a:cubicBezTo>
                    <a:pt x="3242786" y="296704"/>
                    <a:pt x="3241834" y="298609"/>
                    <a:pt x="3238976" y="302419"/>
                  </a:cubicBezTo>
                  <a:cubicBezTo>
                    <a:pt x="3238024" y="299561"/>
                    <a:pt x="3237071" y="296704"/>
                    <a:pt x="3236119" y="293846"/>
                  </a:cubicBezTo>
                  <a:cubicBezTo>
                    <a:pt x="3236119" y="292894"/>
                    <a:pt x="3235166" y="291941"/>
                    <a:pt x="3235166" y="290036"/>
                  </a:cubicBezTo>
                  <a:cubicBezTo>
                    <a:pt x="3238024" y="284321"/>
                    <a:pt x="3239929" y="278606"/>
                    <a:pt x="3241834" y="273844"/>
                  </a:cubicBezTo>
                  <a:cubicBezTo>
                    <a:pt x="3244691" y="267176"/>
                    <a:pt x="3247549" y="261461"/>
                    <a:pt x="3249454" y="256699"/>
                  </a:cubicBezTo>
                  <a:cubicBezTo>
                    <a:pt x="3254216" y="247174"/>
                    <a:pt x="3256121" y="242411"/>
                    <a:pt x="3256121" y="242411"/>
                  </a:cubicBezTo>
                  <a:cubicBezTo>
                    <a:pt x="3256121" y="242411"/>
                    <a:pt x="3252311" y="247174"/>
                    <a:pt x="3245644" y="254794"/>
                  </a:cubicBezTo>
                  <a:cubicBezTo>
                    <a:pt x="3242786" y="258604"/>
                    <a:pt x="3238976" y="263366"/>
                    <a:pt x="3235166" y="270034"/>
                  </a:cubicBezTo>
                  <a:cubicBezTo>
                    <a:pt x="3233261" y="271939"/>
                    <a:pt x="3232309" y="274796"/>
                    <a:pt x="3230404" y="276701"/>
                  </a:cubicBezTo>
                  <a:cubicBezTo>
                    <a:pt x="3230404" y="275749"/>
                    <a:pt x="3229451" y="273844"/>
                    <a:pt x="3229451" y="272891"/>
                  </a:cubicBezTo>
                  <a:cubicBezTo>
                    <a:pt x="3227546" y="266224"/>
                    <a:pt x="3224689" y="260509"/>
                    <a:pt x="3222784" y="253841"/>
                  </a:cubicBezTo>
                  <a:cubicBezTo>
                    <a:pt x="3220879" y="250031"/>
                    <a:pt x="3219926" y="245269"/>
                    <a:pt x="3218021" y="241459"/>
                  </a:cubicBezTo>
                  <a:cubicBezTo>
                    <a:pt x="3218021" y="239554"/>
                    <a:pt x="3218021" y="238601"/>
                    <a:pt x="3218021" y="236696"/>
                  </a:cubicBezTo>
                  <a:cubicBezTo>
                    <a:pt x="3219926" y="226219"/>
                    <a:pt x="3221831" y="215741"/>
                    <a:pt x="3222784" y="206216"/>
                  </a:cubicBezTo>
                  <a:cubicBezTo>
                    <a:pt x="3225641" y="191929"/>
                    <a:pt x="3227546" y="178594"/>
                    <a:pt x="3229451" y="166211"/>
                  </a:cubicBezTo>
                  <a:cubicBezTo>
                    <a:pt x="3231356" y="154781"/>
                    <a:pt x="3233261" y="144304"/>
                    <a:pt x="3235166" y="135731"/>
                  </a:cubicBezTo>
                  <a:cubicBezTo>
                    <a:pt x="3238024" y="118586"/>
                    <a:pt x="3239929" y="109061"/>
                    <a:pt x="3239929" y="109061"/>
                  </a:cubicBezTo>
                  <a:cubicBezTo>
                    <a:pt x="3239929" y="109061"/>
                    <a:pt x="3237071" y="118586"/>
                    <a:pt x="3231356" y="134779"/>
                  </a:cubicBezTo>
                  <a:cubicBezTo>
                    <a:pt x="3226594" y="150971"/>
                    <a:pt x="3218974" y="175736"/>
                    <a:pt x="3212306" y="204311"/>
                  </a:cubicBezTo>
                  <a:cubicBezTo>
                    <a:pt x="3211354" y="208121"/>
                    <a:pt x="3210401" y="211931"/>
                    <a:pt x="3209449" y="215741"/>
                  </a:cubicBezTo>
                  <a:cubicBezTo>
                    <a:pt x="3207544" y="210979"/>
                    <a:pt x="3206591" y="207169"/>
                    <a:pt x="3204686" y="204311"/>
                  </a:cubicBezTo>
                  <a:cubicBezTo>
                    <a:pt x="3204686" y="186214"/>
                    <a:pt x="3203734" y="175736"/>
                    <a:pt x="3203734" y="175736"/>
                  </a:cubicBezTo>
                  <a:cubicBezTo>
                    <a:pt x="3203734" y="175736"/>
                    <a:pt x="3202781" y="187166"/>
                    <a:pt x="3200876" y="206216"/>
                  </a:cubicBezTo>
                  <a:cubicBezTo>
                    <a:pt x="3199924" y="215741"/>
                    <a:pt x="3198019" y="227171"/>
                    <a:pt x="3196114" y="240506"/>
                  </a:cubicBezTo>
                  <a:cubicBezTo>
                    <a:pt x="3196114" y="241459"/>
                    <a:pt x="3196114" y="242411"/>
                    <a:pt x="3195161" y="243364"/>
                  </a:cubicBezTo>
                  <a:cubicBezTo>
                    <a:pt x="3195161" y="234791"/>
                    <a:pt x="3196114" y="226219"/>
                    <a:pt x="3196114" y="217646"/>
                  </a:cubicBezTo>
                  <a:cubicBezTo>
                    <a:pt x="3197066" y="204311"/>
                    <a:pt x="3197066" y="191929"/>
                    <a:pt x="3198019" y="180499"/>
                  </a:cubicBezTo>
                  <a:cubicBezTo>
                    <a:pt x="3198971" y="169069"/>
                    <a:pt x="3198971" y="159544"/>
                    <a:pt x="3199924" y="151924"/>
                  </a:cubicBezTo>
                  <a:cubicBezTo>
                    <a:pt x="3200876" y="135731"/>
                    <a:pt x="3200876" y="127159"/>
                    <a:pt x="3200876" y="127159"/>
                  </a:cubicBezTo>
                  <a:cubicBezTo>
                    <a:pt x="3200876" y="127159"/>
                    <a:pt x="3198971" y="135731"/>
                    <a:pt x="3195161" y="151924"/>
                  </a:cubicBezTo>
                  <a:cubicBezTo>
                    <a:pt x="3192304" y="168116"/>
                    <a:pt x="3187541" y="190976"/>
                    <a:pt x="3184684" y="217646"/>
                  </a:cubicBezTo>
                  <a:cubicBezTo>
                    <a:pt x="3183731" y="223361"/>
                    <a:pt x="3182779" y="230029"/>
                    <a:pt x="3181826" y="235744"/>
                  </a:cubicBezTo>
                  <a:cubicBezTo>
                    <a:pt x="3180874" y="233839"/>
                    <a:pt x="3179921" y="232886"/>
                    <a:pt x="3179921" y="231934"/>
                  </a:cubicBezTo>
                  <a:cubicBezTo>
                    <a:pt x="3179921" y="227171"/>
                    <a:pt x="3179921" y="224314"/>
                    <a:pt x="3179921" y="224314"/>
                  </a:cubicBezTo>
                  <a:cubicBezTo>
                    <a:pt x="3179921" y="224314"/>
                    <a:pt x="3179921" y="226219"/>
                    <a:pt x="3178969" y="230029"/>
                  </a:cubicBezTo>
                  <a:cubicBezTo>
                    <a:pt x="3178016" y="228124"/>
                    <a:pt x="3177064" y="227171"/>
                    <a:pt x="3177064" y="227171"/>
                  </a:cubicBezTo>
                  <a:cubicBezTo>
                    <a:pt x="3177064" y="227171"/>
                    <a:pt x="3178016" y="229076"/>
                    <a:pt x="3178016" y="231934"/>
                  </a:cubicBezTo>
                  <a:cubicBezTo>
                    <a:pt x="3177064" y="236696"/>
                    <a:pt x="3176111" y="243364"/>
                    <a:pt x="3174206" y="250984"/>
                  </a:cubicBezTo>
                  <a:cubicBezTo>
                    <a:pt x="3173254" y="258604"/>
                    <a:pt x="3171349" y="267176"/>
                    <a:pt x="3170396" y="277654"/>
                  </a:cubicBezTo>
                  <a:cubicBezTo>
                    <a:pt x="3170396" y="276701"/>
                    <a:pt x="3170396" y="276701"/>
                    <a:pt x="3169444" y="275749"/>
                  </a:cubicBezTo>
                  <a:cubicBezTo>
                    <a:pt x="3168491" y="254794"/>
                    <a:pt x="3165634" y="234791"/>
                    <a:pt x="3163729" y="215741"/>
                  </a:cubicBezTo>
                  <a:cubicBezTo>
                    <a:pt x="3163729" y="212884"/>
                    <a:pt x="3162776" y="210026"/>
                    <a:pt x="3162776" y="207169"/>
                  </a:cubicBezTo>
                  <a:cubicBezTo>
                    <a:pt x="3162776" y="206216"/>
                    <a:pt x="3163729" y="204311"/>
                    <a:pt x="3163729" y="203359"/>
                  </a:cubicBezTo>
                  <a:cubicBezTo>
                    <a:pt x="3169444" y="174784"/>
                    <a:pt x="3172301" y="150019"/>
                    <a:pt x="3174206" y="132874"/>
                  </a:cubicBezTo>
                  <a:cubicBezTo>
                    <a:pt x="3176111" y="115729"/>
                    <a:pt x="3178016" y="106204"/>
                    <a:pt x="3178016" y="106204"/>
                  </a:cubicBezTo>
                  <a:cubicBezTo>
                    <a:pt x="3178016" y="106204"/>
                    <a:pt x="3175159" y="115729"/>
                    <a:pt x="3170396" y="131921"/>
                  </a:cubicBezTo>
                  <a:cubicBezTo>
                    <a:pt x="3167539" y="143351"/>
                    <a:pt x="3162776" y="159544"/>
                    <a:pt x="3158014" y="177641"/>
                  </a:cubicBezTo>
                  <a:cubicBezTo>
                    <a:pt x="3157061" y="171926"/>
                    <a:pt x="3156109" y="165259"/>
                    <a:pt x="3154204" y="159544"/>
                  </a:cubicBezTo>
                  <a:cubicBezTo>
                    <a:pt x="3152299" y="150971"/>
                    <a:pt x="3150394" y="142399"/>
                    <a:pt x="3149441" y="134779"/>
                  </a:cubicBezTo>
                  <a:cubicBezTo>
                    <a:pt x="3147536" y="127159"/>
                    <a:pt x="3145631" y="119539"/>
                    <a:pt x="3143726" y="112871"/>
                  </a:cubicBezTo>
                  <a:cubicBezTo>
                    <a:pt x="3139916" y="99536"/>
                    <a:pt x="3137059" y="87154"/>
                    <a:pt x="3133249" y="77629"/>
                  </a:cubicBezTo>
                  <a:cubicBezTo>
                    <a:pt x="3126581" y="58579"/>
                    <a:pt x="3122771" y="47149"/>
                    <a:pt x="3122771" y="47149"/>
                  </a:cubicBezTo>
                  <a:cubicBezTo>
                    <a:pt x="3122771" y="47149"/>
                    <a:pt x="3125629" y="58579"/>
                    <a:pt x="3129439" y="78581"/>
                  </a:cubicBezTo>
                  <a:cubicBezTo>
                    <a:pt x="3132296" y="88106"/>
                    <a:pt x="3134201" y="100489"/>
                    <a:pt x="3136106" y="114776"/>
                  </a:cubicBezTo>
                  <a:cubicBezTo>
                    <a:pt x="3137059" y="121444"/>
                    <a:pt x="3138964" y="129064"/>
                    <a:pt x="3139916" y="136684"/>
                  </a:cubicBezTo>
                  <a:cubicBezTo>
                    <a:pt x="3140869" y="144304"/>
                    <a:pt x="3141821" y="152876"/>
                    <a:pt x="3142774" y="161449"/>
                  </a:cubicBezTo>
                  <a:cubicBezTo>
                    <a:pt x="3145631" y="177641"/>
                    <a:pt x="3146584" y="195739"/>
                    <a:pt x="3147536" y="213836"/>
                  </a:cubicBezTo>
                  <a:cubicBezTo>
                    <a:pt x="3147536" y="214789"/>
                    <a:pt x="3146584" y="215741"/>
                    <a:pt x="3146584" y="217646"/>
                  </a:cubicBezTo>
                  <a:cubicBezTo>
                    <a:pt x="3145631" y="214789"/>
                    <a:pt x="3144679" y="211931"/>
                    <a:pt x="3143726" y="210026"/>
                  </a:cubicBezTo>
                  <a:cubicBezTo>
                    <a:pt x="3141821" y="205264"/>
                    <a:pt x="3139916" y="201454"/>
                    <a:pt x="3138964" y="196691"/>
                  </a:cubicBezTo>
                  <a:cubicBezTo>
                    <a:pt x="3137059" y="190024"/>
                    <a:pt x="3136106" y="184309"/>
                    <a:pt x="3134201" y="179546"/>
                  </a:cubicBezTo>
                  <a:cubicBezTo>
                    <a:pt x="3129439" y="164306"/>
                    <a:pt x="3126581" y="155734"/>
                    <a:pt x="3126581" y="155734"/>
                  </a:cubicBezTo>
                  <a:cubicBezTo>
                    <a:pt x="3126581" y="155734"/>
                    <a:pt x="3127534" y="161449"/>
                    <a:pt x="3129439" y="172879"/>
                  </a:cubicBezTo>
                  <a:cubicBezTo>
                    <a:pt x="3125629" y="164306"/>
                    <a:pt x="3121819" y="155734"/>
                    <a:pt x="3118961" y="150019"/>
                  </a:cubicBezTo>
                  <a:cubicBezTo>
                    <a:pt x="3116104" y="144304"/>
                    <a:pt x="3114199" y="139541"/>
                    <a:pt x="3112294" y="136684"/>
                  </a:cubicBezTo>
                  <a:cubicBezTo>
                    <a:pt x="3108484" y="128111"/>
                    <a:pt x="3105626" y="120491"/>
                    <a:pt x="3102769" y="113824"/>
                  </a:cubicBezTo>
                  <a:cubicBezTo>
                    <a:pt x="3095149" y="96679"/>
                    <a:pt x="3090386" y="87154"/>
                    <a:pt x="3090386" y="87154"/>
                  </a:cubicBezTo>
                  <a:cubicBezTo>
                    <a:pt x="3090386" y="87154"/>
                    <a:pt x="3093244" y="97631"/>
                    <a:pt x="3099911" y="114776"/>
                  </a:cubicBezTo>
                  <a:cubicBezTo>
                    <a:pt x="3102769" y="123349"/>
                    <a:pt x="3105626" y="133826"/>
                    <a:pt x="3109436" y="146209"/>
                  </a:cubicBezTo>
                  <a:cubicBezTo>
                    <a:pt x="3111341" y="152876"/>
                    <a:pt x="3113246" y="159544"/>
                    <a:pt x="3115151" y="167164"/>
                  </a:cubicBezTo>
                  <a:cubicBezTo>
                    <a:pt x="3111341" y="159544"/>
                    <a:pt x="3109436" y="155734"/>
                    <a:pt x="3109436" y="155734"/>
                  </a:cubicBezTo>
                  <a:cubicBezTo>
                    <a:pt x="3109436" y="155734"/>
                    <a:pt x="3111341" y="163354"/>
                    <a:pt x="3116104" y="176689"/>
                  </a:cubicBezTo>
                  <a:cubicBezTo>
                    <a:pt x="3118009" y="181451"/>
                    <a:pt x="3119914" y="188119"/>
                    <a:pt x="3121819" y="194786"/>
                  </a:cubicBezTo>
                  <a:cubicBezTo>
                    <a:pt x="3122771" y="200501"/>
                    <a:pt x="3124676" y="207169"/>
                    <a:pt x="3125629" y="213836"/>
                  </a:cubicBezTo>
                  <a:cubicBezTo>
                    <a:pt x="3124676" y="214789"/>
                    <a:pt x="3124676" y="215741"/>
                    <a:pt x="3123724" y="215741"/>
                  </a:cubicBezTo>
                  <a:cubicBezTo>
                    <a:pt x="3123724" y="212884"/>
                    <a:pt x="3122771" y="210979"/>
                    <a:pt x="3122771" y="210979"/>
                  </a:cubicBezTo>
                  <a:cubicBezTo>
                    <a:pt x="3122771" y="210979"/>
                    <a:pt x="3122771" y="212884"/>
                    <a:pt x="3122771" y="216694"/>
                  </a:cubicBezTo>
                  <a:cubicBezTo>
                    <a:pt x="3119914" y="219551"/>
                    <a:pt x="3117056" y="223361"/>
                    <a:pt x="3113246" y="228124"/>
                  </a:cubicBezTo>
                  <a:cubicBezTo>
                    <a:pt x="3113246" y="228124"/>
                    <a:pt x="3113246" y="228124"/>
                    <a:pt x="3113246" y="228124"/>
                  </a:cubicBezTo>
                  <a:cubicBezTo>
                    <a:pt x="3112294" y="213836"/>
                    <a:pt x="3111341" y="201454"/>
                    <a:pt x="3110389" y="191929"/>
                  </a:cubicBezTo>
                  <a:cubicBezTo>
                    <a:pt x="3109436" y="178594"/>
                    <a:pt x="3108484" y="171926"/>
                    <a:pt x="3108484" y="171926"/>
                  </a:cubicBezTo>
                  <a:cubicBezTo>
                    <a:pt x="3108484" y="171926"/>
                    <a:pt x="3107531" y="179546"/>
                    <a:pt x="3106579" y="192881"/>
                  </a:cubicBezTo>
                  <a:cubicBezTo>
                    <a:pt x="3105626" y="202406"/>
                    <a:pt x="3105626" y="213836"/>
                    <a:pt x="3104674" y="228124"/>
                  </a:cubicBezTo>
                  <a:cubicBezTo>
                    <a:pt x="3104674" y="228124"/>
                    <a:pt x="3104674" y="227171"/>
                    <a:pt x="3104674" y="227171"/>
                  </a:cubicBezTo>
                  <a:cubicBezTo>
                    <a:pt x="3099911" y="214789"/>
                    <a:pt x="3097054" y="208121"/>
                    <a:pt x="3097054" y="208121"/>
                  </a:cubicBezTo>
                  <a:cubicBezTo>
                    <a:pt x="3097054" y="208121"/>
                    <a:pt x="3098006" y="215741"/>
                    <a:pt x="3100864" y="228124"/>
                  </a:cubicBezTo>
                  <a:cubicBezTo>
                    <a:pt x="3101816" y="232886"/>
                    <a:pt x="3102769" y="238601"/>
                    <a:pt x="3103721" y="244316"/>
                  </a:cubicBezTo>
                  <a:cubicBezTo>
                    <a:pt x="3100864" y="248126"/>
                    <a:pt x="3098959" y="251936"/>
                    <a:pt x="3096101" y="255746"/>
                  </a:cubicBezTo>
                  <a:cubicBezTo>
                    <a:pt x="3093244" y="260509"/>
                    <a:pt x="3090386" y="264319"/>
                    <a:pt x="3087529" y="270034"/>
                  </a:cubicBezTo>
                  <a:cubicBezTo>
                    <a:pt x="3085624" y="263366"/>
                    <a:pt x="3083719" y="257651"/>
                    <a:pt x="3082766" y="252889"/>
                  </a:cubicBezTo>
                  <a:cubicBezTo>
                    <a:pt x="3078956" y="241459"/>
                    <a:pt x="3077051" y="233839"/>
                    <a:pt x="3077051" y="233839"/>
                  </a:cubicBezTo>
                  <a:cubicBezTo>
                    <a:pt x="3077051" y="233839"/>
                    <a:pt x="3078004" y="240506"/>
                    <a:pt x="3078956" y="252889"/>
                  </a:cubicBezTo>
                  <a:cubicBezTo>
                    <a:pt x="3078956" y="256699"/>
                    <a:pt x="3079909" y="260509"/>
                    <a:pt x="3079909" y="264319"/>
                  </a:cubicBezTo>
                  <a:cubicBezTo>
                    <a:pt x="3078956" y="261461"/>
                    <a:pt x="3078004" y="258604"/>
                    <a:pt x="3077051" y="255746"/>
                  </a:cubicBezTo>
                  <a:cubicBezTo>
                    <a:pt x="3076099" y="252889"/>
                    <a:pt x="3075146" y="250984"/>
                    <a:pt x="3074194" y="248126"/>
                  </a:cubicBezTo>
                  <a:cubicBezTo>
                    <a:pt x="3074194" y="246221"/>
                    <a:pt x="3074194" y="244316"/>
                    <a:pt x="3074194" y="242411"/>
                  </a:cubicBezTo>
                  <a:cubicBezTo>
                    <a:pt x="3074194" y="237649"/>
                    <a:pt x="3075146" y="232886"/>
                    <a:pt x="3075146" y="229076"/>
                  </a:cubicBezTo>
                  <a:cubicBezTo>
                    <a:pt x="3076099" y="226219"/>
                    <a:pt x="3077051" y="223361"/>
                    <a:pt x="3077051" y="220504"/>
                  </a:cubicBezTo>
                  <a:cubicBezTo>
                    <a:pt x="3080861" y="208121"/>
                    <a:pt x="3082766" y="197644"/>
                    <a:pt x="3086576" y="189071"/>
                  </a:cubicBezTo>
                  <a:cubicBezTo>
                    <a:pt x="3092291" y="171926"/>
                    <a:pt x="3096101" y="161449"/>
                    <a:pt x="3096101" y="161449"/>
                  </a:cubicBezTo>
                  <a:cubicBezTo>
                    <a:pt x="3096101" y="161449"/>
                    <a:pt x="3091339" y="170974"/>
                    <a:pt x="3083719" y="188119"/>
                  </a:cubicBezTo>
                  <a:cubicBezTo>
                    <a:pt x="3079909" y="196691"/>
                    <a:pt x="3076099" y="207169"/>
                    <a:pt x="3071336" y="218599"/>
                  </a:cubicBezTo>
                  <a:cubicBezTo>
                    <a:pt x="3070384" y="220504"/>
                    <a:pt x="3069431" y="222409"/>
                    <a:pt x="3068479" y="224314"/>
                  </a:cubicBezTo>
                  <a:cubicBezTo>
                    <a:pt x="3068479" y="221456"/>
                    <a:pt x="3068479" y="218599"/>
                    <a:pt x="3068479" y="216694"/>
                  </a:cubicBezTo>
                  <a:cubicBezTo>
                    <a:pt x="3068479" y="213836"/>
                    <a:pt x="3069431" y="211931"/>
                    <a:pt x="3069431" y="209074"/>
                  </a:cubicBezTo>
                  <a:cubicBezTo>
                    <a:pt x="3070384" y="198596"/>
                    <a:pt x="3071336" y="189071"/>
                    <a:pt x="3072289" y="181451"/>
                  </a:cubicBezTo>
                  <a:cubicBezTo>
                    <a:pt x="3073241" y="166211"/>
                    <a:pt x="3073241" y="157639"/>
                    <a:pt x="3073241" y="157639"/>
                  </a:cubicBezTo>
                  <a:cubicBezTo>
                    <a:pt x="3073241" y="157639"/>
                    <a:pt x="3071336" y="166211"/>
                    <a:pt x="3067526" y="180499"/>
                  </a:cubicBezTo>
                  <a:cubicBezTo>
                    <a:pt x="3067526" y="181451"/>
                    <a:pt x="3067526" y="182404"/>
                    <a:pt x="3066574" y="183356"/>
                  </a:cubicBezTo>
                  <a:cubicBezTo>
                    <a:pt x="3065621" y="169069"/>
                    <a:pt x="3065621" y="157639"/>
                    <a:pt x="3064669" y="148114"/>
                  </a:cubicBezTo>
                  <a:cubicBezTo>
                    <a:pt x="3064669" y="146209"/>
                    <a:pt x="3064669" y="145256"/>
                    <a:pt x="3064669" y="145256"/>
                  </a:cubicBezTo>
                  <a:cubicBezTo>
                    <a:pt x="3064669" y="145256"/>
                    <a:pt x="3064669" y="145256"/>
                    <a:pt x="3064669" y="146209"/>
                  </a:cubicBezTo>
                  <a:cubicBezTo>
                    <a:pt x="3063716" y="136684"/>
                    <a:pt x="3063716" y="131921"/>
                    <a:pt x="3063716" y="131921"/>
                  </a:cubicBezTo>
                  <a:cubicBezTo>
                    <a:pt x="3063716" y="131921"/>
                    <a:pt x="3061811" y="148114"/>
                    <a:pt x="3058954" y="174784"/>
                  </a:cubicBezTo>
                  <a:cubicBezTo>
                    <a:pt x="3058001" y="179546"/>
                    <a:pt x="3057049" y="185261"/>
                    <a:pt x="3056096" y="190976"/>
                  </a:cubicBezTo>
                  <a:cubicBezTo>
                    <a:pt x="3055144" y="193834"/>
                    <a:pt x="3055144" y="197644"/>
                    <a:pt x="3054191" y="201454"/>
                  </a:cubicBezTo>
                  <a:cubicBezTo>
                    <a:pt x="3052286" y="196691"/>
                    <a:pt x="3050381" y="192881"/>
                    <a:pt x="3049429" y="189071"/>
                  </a:cubicBezTo>
                  <a:cubicBezTo>
                    <a:pt x="3049429" y="189071"/>
                    <a:pt x="3049429" y="189071"/>
                    <a:pt x="3049429" y="188119"/>
                  </a:cubicBezTo>
                  <a:cubicBezTo>
                    <a:pt x="3052286" y="174784"/>
                    <a:pt x="3053239" y="162401"/>
                    <a:pt x="3056096" y="151924"/>
                  </a:cubicBezTo>
                  <a:cubicBezTo>
                    <a:pt x="3060859" y="131921"/>
                    <a:pt x="3062764" y="120491"/>
                    <a:pt x="3062764" y="120491"/>
                  </a:cubicBezTo>
                  <a:cubicBezTo>
                    <a:pt x="3062764" y="120491"/>
                    <a:pt x="3058954" y="130969"/>
                    <a:pt x="3052286" y="150971"/>
                  </a:cubicBezTo>
                  <a:cubicBezTo>
                    <a:pt x="3048476" y="160496"/>
                    <a:pt x="3045619" y="172879"/>
                    <a:pt x="3041809" y="186214"/>
                  </a:cubicBezTo>
                  <a:cubicBezTo>
                    <a:pt x="3039904" y="192881"/>
                    <a:pt x="3037999" y="200501"/>
                    <a:pt x="3036094" y="208121"/>
                  </a:cubicBezTo>
                  <a:cubicBezTo>
                    <a:pt x="3035141" y="210979"/>
                    <a:pt x="3035141" y="213836"/>
                    <a:pt x="3034189" y="215741"/>
                  </a:cubicBezTo>
                  <a:cubicBezTo>
                    <a:pt x="3033236" y="211931"/>
                    <a:pt x="3032284" y="209074"/>
                    <a:pt x="3032284" y="205264"/>
                  </a:cubicBezTo>
                  <a:cubicBezTo>
                    <a:pt x="3038951" y="181451"/>
                    <a:pt x="3044666" y="162401"/>
                    <a:pt x="3048476" y="148114"/>
                  </a:cubicBezTo>
                  <a:cubicBezTo>
                    <a:pt x="3053239" y="131921"/>
                    <a:pt x="3057049" y="123349"/>
                    <a:pt x="3057049" y="123349"/>
                  </a:cubicBezTo>
                  <a:cubicBezTo>
                    <a:pt x="3057049" y="123349"/>
                    <a:pt x="3056096" y="125254"/>
                    <a:pt x="3054191" y="129064"/>
                  </a:cubicBezTo>
                  <a:cubicBezTo>
                    <a:pt x="3052286" y="132874"/>
                    <a:pt x="3049429" y="138589"/>
                    <a:pt x="3045619" y="146209"/>
                  </a:cubicBezTo>
                  <a:cubicBezTo>
                    <a:pt x="3040856" y="155734"/>
                    <a:pt x="3035141" y="169069"/>
                    <a:pt x="3029426" y="184309"/>
                  </a:cubicBezTo>
                  <a:cubicBezTo>
                    <a:pt x="3029426" y="177641"/>
                    <a:pt x="3028474" y="171926"/>
                    <a:pt x="3029426" y="167164"/>
                  </a:cubicBezTo>
                  <a:cubicBezTo>
                    <a:pt x="3030379" y="150019"/>
                    <a:pt x="3030379" y="140494"/>
                    <a:pt x="3030379" y="140494"/>
                  </a:cubicBezTo>
                  <a:cubicBezTo>
                    <a:pt x="3030379" y="140494"/>
                    <a:pt x="3028474" y="150019"/>
                    <a:pt x="3025616" y="166211"/>
                  </a:cubicBezTo>
                  <a:cubicBezTo>
                    <a:pt x="3023711" y="174784"/>
                    <a:pt x="3023711" y="184309"/>
                    <a:pt x="3022759" y="196691"/>
                  </a:cubicBezTo>
                  <a:cubicBezTo>
                    <a:pt x="3022759" y="198596"/>
                    <a:pt x="3022759" y="200501"/>
                    <a:pt x="3022759" y="202406"/>
                  </a:cubicBezTo>
                  <a:cubicBezTo>
                    <a:pt x="3021806" y="205264"/>
                    <a:pt x="3020854" y="208121"/>
                    <a:pt x="3019901" y="210979"/>
                  </a:cubicBezTo>
                  <a:cubicBezTo>
                    <a:pt x="3017044" y="218599"/>
                    <a:pt x="3014186" y="226219"/>
                    <a:pt x="3011329" y="234791"/>
                  </a:cubicBezTo>
                  <a:cubicBezTo>
                    <a:pt x="3009424" y="230981"/>
                    <a:pt x="3008471" y="228124"/>
                    <a:pt x="3007519" y="226219"/>
                  </a:cubicBezTo>
                  <a:cubicBezTo>
                    <a:pt x="3009424" y="219551"/>
                    <a:pt x="3011329" y="215741"/>
                    <a:pt x="3011329" y="215741"/>
                  </a:cubicBezTo>
                  <a:cubicBezTo>
                    <a:pt x="3011329" y="215741"/>
                    <a:pt x="3009424" y="218599"/>
                    <a:pt x="3006566" y="222409"/>
                  </a:cubicBezTo>
                  <a:cubicBezTo>
                    <a:pt x="3004661" y="215741"/>
                    <a:pt x="3003709" y="209074"/>
                    <a:pt x="3001804" y="202406"/>
                  </a:cubicBezTo>
                  <a:cubicBezTo>
                    <a:pt x="3001804" y="200501"/>
                    <a:pt x="3000851" y="199549"/>
                    <a:pt x="3000851" y="197644"/>
                  </a:cubicBezTo>
                  <a:cubicBezTo>
                    <a:pt x="3001804" y="194786"/>
                    <a:pt x="3002756" y="191929"/>
                    <a:pt x="3003709" y="189071"/>
                  </a:cubicBezTo>
                  <a:cubicBezTo>
                    <a:pt x="3006566" y="179546"/>
                    <a:pt x="3008471" y="170974"/>
                    <a:pt x="3011329" y="164306"/>
                  </a:cubicBezTo>
                  <a:cubicBezTo>
                    <a:pt x="3016091" y="150971"/>
                    <a:pt x="3018949" y="142399"/>
                    <a:pt x="3018949" y="142399"/>
                  </a:cubicBezTo>
                  <a:cubicBezTo>
                    <a:pt x="3018949" y="142399"/>
                    <a:pt x="3015139" y="150019"/>
                    <a:pt x="3007519" y="162401"/>
                  </a:cubicBezTo>
                  <a:cubicBezTo>
                    <a:pt x="3004661" y="168116"/>
                    <a:pt x="3001804" y="174784"/>
                    <a:pt x="2997994" y="182404"/>
                  </a:cubicBezTo>
                  <a:cubicBezTo>
                    <a:pt x="2997041" y="177641"/>
                    <a:pt x="2996089" y="172879"/>
                    <a:pt x="2995136" y="169069"/>
                  </a:cubicBezTo>
                  <a:cubicBezTo>
                    <a:pt x="3002756" y="140494"/>
                    <a:pt x="3009424" y="117634"/>
                    <a:pt x="3014186" y="100489"/>
                  </a:cubicBezTo>
                  <a:cubicBezTo>
                    <a:pt x="3017044" y="90011"/>
                    <a:pt x="3019901" y="82391"/>
                    <a:pt x="3021806" y="76676"/>
                  </a:cubicBezTo>
                  <a:cubicBezTo>
                    <a:pt x="3023711" y="70961"/>
                    <a:pt x="3024664" y="68104"/>
                    <a:pt x="3024664" y="68104"/>
                  </a:cubicBezTo>
                  <a:cubicBezTo>
                    <a:pt x="3024664" y="68104"/>
                    <a:pt x="3023711" y="70961"/>
                    <a:pt x="3020854" y="75724"/>
                  </a:cubicBezTo>
                  <a:cubicBezTo>
                    <a:pt x="3017996" y="80486"/>
                    <a:pt x="3015139" y="88106"/>
                    <a:pt x="3010376" y="98584"/>
                  </a:cubicBezTo>
                  <a:cubicBezTo>
                    <a:pt x="3006566" y="108109"/>
                    <a:pt x="3001804" y="120491"/>
                    <a:pt x="2996089" y="134779"/>
                  </a:cubicBezTo>
                  <a:cubicBezTo>
                    <a:pt x="2994184" y="139541"/>
                    <a:pt x="2993231" y="143351"/>
                    <a:pt x="2991326" y="148114"/>
                  </a:cubicBezTo>
                  <a:cubicBezTo>
                    <a:pt x="2989421" y="138589"/>
                    <a:pt x="2988469" y="130016"/>
                    <a:pt x="2987516" y="122396"/>
                  </a:cubicBezTo>
                  <a:cubicBezTo>
                    <a:pt x="2985611" y="103346"/>
                    <a:pt x="2984659" y="91916"/>
                    <a:pt x="2984659" y="91916"/>
                  </a:cubicBezTo>
                  <a:cubicBezTo>
                    <a:pt x="2984659" y="91916"/>
                    <a:pt x="2984659" y="103346"/>
                    <a:pt x="2983706" y="122396"/>
                  </a:cubicBezTo>
                  <a:cubicBezTo>
                    <a:pt x="2983706" y="131921"/>
                    <a:pt x="2984659" y="144304"/>
                    <a:pt x="2985611" y="157639"/>
                  </a:cubicBezTo>
                  <a:cubicBezTo>
                    <a:pt x="2985611" y="159544"/>
                    <a:pt x="2985611" y="161449"/>
                    <a:pt x="2985611" y="163354"/>
                  </a:cubicBezTo>
                  <a:cubicBezTo>
                    <a:pt x="2983706" y="169069"/>
                    <a:pt x="2981801" y="175736"/>
                    <a:pt x="2978944" y="182404"/>
                  </a:cubicBezTo>
                  <a:cubicBezTo>
                    <a:pt x="2973229" y="199549"/>
                    <a:pt x="2967514" y="218599"/>
                    <a:pt x="2960846" y="238601"/>
                  </a:cubicBezTo>
                  <a:cubicBezTo>
                    <a:pt x="2959894" y="236696"/>
                    <a:pt x="2959894" y="234791"/>
                    <a:pt x="2959894" y="234791"/>
                  </a:cubicBezTo>
                  <a:cubicBezTo>
                    <a:pt x="2959894" y="234791"/>
                    <a:pt x="2959894" y="236696"/>
                    <a:pt x="2960846" y="239554"/>
                  </a:cubicBezTo>
                  <a:cubicBezTo>
                    <a:pt x="2957036" y="250984"/>
                    <a:pt x="2954179" y="262414"/>
                    <a:pt x="2950369" y="274796"/>
                  </a:cubicBezTo>
                  <a:cubicBezTo>
                    <a:pt x="2951321" y="268129"/>
                    <a:pt x="2952274" y="264319"/>
                    <a:pt x="2952274" y="264319"/>
                  </a:cubicBezTo>
                  <a:cubicBezTo>
                    <a:pt x="2952274" y="264319"/>
                    <a:pt x="2949416" y="271939"/>
                    <a:pt x="2944654" y="284321"/>
                  </a:cubicBezTo>
                  <a:cubicBezTo>
                    <a:pt x="2944654" y="284321"/>
                    <a:pt x="2944654" y="283369"/>
                    <a:pt x="2944654" y="283369"/>
                  </a:cubicBezTo>
                  <a:cubicBezTo>
                    <a:pt x="2944654" y="281464"/>
                    <a:pt x="2944654" y="279559"/>
                    <a:pt x="2945606" y="277654"/>
                  </a:cubicBezTo>
                  <a:cubicBezTo>
                    <a:pt x="2947511" y="263366"/>
                    <a:pt x="2948464" y="250984"/>
                    <a:pt x="2949416" y="238601"/>
                  </a:cubicBezTo>
                  <a:cubicBezTo>
                    <a:pt x="2950369" y="232886"/>
                    <a:pt x="2950369" y="226219"/>
                    <a:pt x="2951321" y="221456"/>
                  </a:cubicBezTo>
                  <a:cubicBezTo>
                    <a:pt x="2952274" y="215741"/>
                    <a:pt x="2953226" y="210979"/>
                    <a:pt x="2953226" y="205264"/>
                  </a:cubicBezTo>
                  <a:cubicBezTo>
                    <a:pt x="2954179" y="195739"/>
                    <a:pt x="2955131" y="186214"/>
                    <a:pt x="2956084" y="179546"/>
                  </a:cubicBezTo>
                  <a:cubicBezTo>
                    <a:pt x="2957989" y="165259"/>
                    <a:pt x="2958941" y="156686"/>
                    <a:pt x="2958941" y="156686"/>
                  </a:cubicBezTo>
                  <a:cubicBezTo>
                    <a:pt x="2958941" y="156686"/>
                    <a:pt x="2957036" y="164306"/>
                    <a:pt x="2952274" y="178594"/>
                  </a:cubicBezTo>
                  <a:cubicBezTo>
                    <a:pt x="2950369" y="185261"/>
                    <a:pt x="2948464" y="193834"/>
                    <a:pt x="2945606" y="203359"/>
                  </a:cubicBezTo>
                  <a:cubicBezTo>
                    <a:pt x="2944654" y="208121"/>
                    <a:pt x="2942749" y="212884"/>
                    <a:pt x="2941796" y="218599"/>
                  </a:cubicBezTo>
                  <a:cubicBezTo>
                    <a:pt x="2940844" y="224314"/>
                    <a:pt x="2939891" y="230029"/>
                    <a:pt x="2937986" y="235744"/>
                  </a:cubicBezTo>
                  <a:cubicBezTo>
                    <a:pt x="2936081" y="246221"/>
                    <a:pt x="2933224" y="257651"/>
                    <a:pt x="2931319" y="270034"/>
                  </a:cubicBezTo>
                  <a:cubicBezTo>
                    <a:pt x="2930366" y="266224"/>
                    <a:pt x="2930366" y="263366"/>
                    <a:pt x="2929414" y="260509"/>
                  </a:cubicBezTo>
                  <a:cubicBezTo>
                    <a:pt x="2929414" y="258604"/>
                    <a:pt x="2928461" y="257651"/>
                    <a:pt x="2928461" y="256699"/>
                  </a:cubicBezTo>
                  <a:cubicBezTo>
                    <a:pt x="2930366" y="253841"/>
                    <a:pt x="2931319" y="251936"/>
                    <a:pt x="2931319" y="251936"/>
                  </a:cubicBezTo>
                  <a:cubicBezTo>
                    <a:pt x="2931319" y="251936"/>
                    <a:pt x="2930366" y="252889"/>
                    <a:pt x="2927509" y="254794"/>
                  </a:cubicBezTo>
                  <a:cubicBezTo>
                    <a:pt x="2926556" y="251936"/>
                    <a:pt x="2925604" y="249079"/>
                    <a:pt x="2925604" y="247174"/>
                  </a:cubicBezTo>
                  <a:cubicBezTo>
                    <a:pt x="2929414" y="237649"/>
                    <a:pt x="2931319" y="231934"/>
                    <a:pt x="2931319" y="231934"/>
                  </a:cubicBezTo>
                  <a:cubicBezTo>
                    <a:pt x="2931319" y="231934"/>
                    <a:pt x="2928461" y="235744"/>
                    <a:pt x="2924651" y="243364"/>
                  </a:cubicBezTo>
                  <a:cubicBezTo>
                    <a:pt x="2923699" y="241459"/>
                    <a:pt x="2923699" y="239554"/>
                    <a:pt x="2922746" y="237649"/>
                  </a:cubicBezTo>
                  <a:lnTo>
                    <a:pt x="2922746" y="236696"/>
                  </a:lnTo>
                  <a:lnTo>
                    <a:pt x="2921794" y="236696"/>
                  </a:lnTo>
                  <a:cubicBezTo>
                    <a:pt x="2919889" y="236696"/>
                    <a:pt x="2917984" y="236696"/>
                    <a:pt x="2916079" y="236696"/>
                  </a:cubicBezTo>
                  <a:lnTo>
                    <a:pt x="2916079" y="236696"/>
                  </a:lnTo>
                  <a:cubicBezTo>
                    <a:pt x="2928461" y="200501"/>
                    <a:pt x="2935129" y="176689"/>
                    <a:pt x="2935129" y="176689"/>
                  </a:cubicBezTo>
                  <a:cubicBezTo>
                    <a:pt x="2935129" y="176689"/>
                    <a:pt x="2924651" y="196691"/>
                    <a:pt x="2909411" y="230029"/>
                  </a:cubicBezTo>
                  <a:cubicBezTo>
                    <a:pt x="2907506" y="222409"/>
                    <a:pt x="2904649" y="216694"/>
                    <a:pt x="2902744" y="211931"/>
                  </a:cubicBezTo>
                  <a:cubicBezTo>
                    <a:pt x="2901791" y="206216"/>
                    <a:pt x="2900839" y="201454"/>
                    <a:pt x="2900839" y="195739"/>
                  </a:cubicBezTo>
                  <a:cubicBezTo>
                    <a:pt x="2899886" y="188119"/>
                    <a:pt x="2898934" y="180499"/>
                    <a:pt x="2897981" y="173831"/>
                  </a:cubicBezTo>
                  <a:cubicBezTo>
                    <a:pt x="2897029" y="167164"/>
                    <a:pt x="2897029" y="160496"/>
                    <a:pt x="2896076" y="153829"/>
                  </a:cubicBezTo>
                  <a:cubicBezTo>
                    <a:pt x="2895124" y="141446"/>
                    <a:pt x="2894171" y="130969"/>
                    <a:pt x="2893219" y="121444"/>
                  </a:cubicBezTo>
                  <a:cubicBezTo>
                    <a:pt x="2891314" y="103346"/>
                    <a:pt x="2890361" y="93821"/>
                    <a:pt x="2890361" y="93821"/>
                  </a:cubicBezTo>
                  <a:cubicBezTo>
                    <a:pt x="2890361" y="93821"/>
                    <a:pt x="2890361" y="104299"/>
                    <a:pt x="2889409" y="121444"/>
                  </a:cubicBezTo>
                  <a:cubicBezTo>
                    <a:pt x="2889409" y="130016"/>
                    <a:pt x="2889409" y="141446"/>
                    <a:pt x="2889409" y="153829"/>
                  </a:cubicBezTo>
                  <a:cubicBezTo>
                    <a:pt x="2889409" y="160496"/>
                    <a:pt x="2889409" y="166211"/>
                    <a:pt x="2889409" y="173831"/>
                  </a:cubicBezTo>
                  <a:cubicBezTo>
                    <a:pt x="2889409" y="180499"/>
                    <a:pt x="2890361" y="188119"/>
                    <a:pt x="2890361" y="195739"/>
                  </a:cubicBezTo>
                  <a:cubicBezTo>
                    <a:pt x="2890361" y="200501"/>
                    <a:pt x="2891314" y="206216"/>
                    <a:pt x="2891314" y="211931"/>
                  </a:cubicBezTo>
                  <a:cubicBezTo>
                    <a:pt x="2890361" y="213836"/>
                    <a:pt x="2889409" y="215741"/>
                    <a:pt x="2887504" y="217646"/>
                  </a:cubicBezTo>
                  <a:cubicBezTo>
                    <a:pt x="2886551" y="218599"/>
                    <a:pt x="2885599" y="220504"/>
                    <a:pt x="2885599" y="221456"/>
                  </a:cubicBezTo>
                  <a:cubicBezTo>
                    <a:pt x="2883694" y="212884"/>
                    <a:pt x="2882741" y="204311"/>
                    <a:pt x="2880836" y="195739"/>
                  </a:cubicBezTo>
                  <a:cubicBezTo>
                    <a:pt x="2878931" y="185261"/>
                    <a:pt x="2877026" y="174784"/>
                    <a:pt x="2874169" y="166211"/>
                  </a:cubicBezTo>
                  <a:cubicBezTo>
                    <a:pt x="2872264" y="157639"/>
                    <a:pt x="2870359" y="150019"/>
                    <a:pt x="2867501" y="144304"/>
                  </a:cubicBezTo>
                  <a:cubicBezTo>
                    <a:pt x="2863691" y="131921"/>
                    <a:pt x="2860834" y="125254"/>
                    <a:pt x="2860834" y="125254"/>
                  </a:cubicBezTo>
                  <a:cubicBezTo>
                    <a:pt x="2860834" y="125254"/>
                    <a:pt x="2861786" y="132874"/>
                    <a:pt x="2863691" y="145256"/>
                  </a:cubicBezTo>
                  <a:cubicBezTo>
                    <a:pt x="2864644" y="151924"/>
                    <a:pt x="2865596" y="159544"/>
                    <a:pt x="2866549" y="168116"/>
                  </a:cubicBezTo>
                  <a:cubicBezTo>
                    <a:pt x="2867501" y="176689"/>
                    <a:pt x="2868454" y="187166"/>
                    <a:pt x="2869406" y="197644"/>
                  </a:cubicBezTo>
                  <a:cubicBezTo>
                    <a:pt x="2870359" y="208121"/>
                    <a:pt x="2871311" y="220504"/>
                    <a:pt x="2872264" y="232886"/>
                  </a:cubicBezTo>
                  <a:cubicBezTo>
                    <a:pt x="2872264" y="237649"/>
                    <a:pt x="2873216" y="242411"/>
                    <a:pt x="2873216" y="247174"/>
                  </a:cubicBezTo>
                  <a:cubicBezTo>
                    <a:pt x="2870359" y="253841"/>
                    <a:pt x="2867501" y="262414"/>
                    <a:pt x="2864644" y="270034"/>
                  </a:cubicBezTo>
                  <a:cubicBezTo>
                    <a:pt x="2863691" y="270986"/>
                    <a:pt x="2863691" y="272891"/>
                    <a:pt x="2863691" y="274796"/>
                  </a:cubicBezTo>
                  <a:cubicBezTo>
                    <a:pt x="2860834" y="269081"/>
                    <a:pt x="2857976" y="263366"/>
                    <a:pt x="2855119" y="257651"/>
                  </a:cubicBezTo>
                  <a:cubicBezTo>
                    <a:pt x="2850356" y="248126"/>
                    <a:pt x="2845594" y="239554"/>
                    <a:pt x="2841784" y="230029"/>
                  </a:cubicBezTo>
                  <a:cubicBezTo>
                    <a:pt x="2855119" y="229076"/>
                    <a:pt x="2855119" y="226219"/>
                    <a:pt x="2855119" y="226219"/>
                  </a:cubicBezTo>
                  <a:cubicBezTo>
                    <a:pt x="2855119" y="226219"/>
                    <a:pt x="2854166" y="228124"/>
                    <a:pt x="2853214" y="231934"/>
                  </a:cubicBezTo>
                  <a:cubicBezTo>
                    <a:pt x="2849404" y="224314"/>
                    <a:pt x="2844641" y="215741"/>
                    <a:pt x="2840831" y="209074"/>
                  </a:cubicBezTo>
                  <a:cubicBezTo>
                    <a:pt x="2857024" y="174784"/>
                    <a:pt x="2866549" y="150971"/>
                    <a:pt x="2866549" y="150971"/>
                  </a:cubicBezTo>
                  <a:cubicBezTo>
                    <a:pt x="2866549" y="150971"/>
                    <a:pt x="2853214" y="169069"/>
                    <a:pt x="2835116" y="198596"/>
                  </a:cubicBezTo>
                  <a:cubicBezTo>
                    <a:pt x="2833211" y="194786"/>
                    <a:pt x="2831306" y="191929"/>
                    <a:pt x="2829401" y="188119"/>
                  </a:cubicBezTo>
                  <a:cubicBezTo>
                    <a:pt x="2826544" y="170021"/>
                    <a:pt x="2823686" y="151924"/>
                    <a:pt x="2820829" y="132874"/>
                  </a:cubicBezTo>
                  <a:cubicBezTo>
                    <a:pt x="2820829" y="146209"/>
                    <a:pt x="2820829" y="160496"/>
                    <a:pt x="2821781" y="173831"/>
                  </a:cubicBezTo>
                  <a:cubicBezTo>
                    <a:pt x="2817019" y="166211"/>
                    <a:pt x="2812256" y="158591"/>
                    <a:pt x="2807494" y="151924"/>
                  </a:cubicBezTo>
                  <a:cubicBezTo>
                    <a:pt x="2797969" y="137636"/>
                    <a:pt x="2790349" y="125254"/>
                    <a:pt x="2782729" y="115729"/>
                  </a:cubicBezTo>
                  <a:cubicBezTo>
                    <a:pt x="2768441" y="95726"/>
                    <a:pt x="2759869" y="85249"/>
                    <a:pt x="2759869" y="85249"/>
                  </a:cubicBezTo>
                  <a:cubicBezTo>
                    <a:pt x="2759869" y="85249"/>
                    <a:pt x="2766536" y="97631"/>
                    <a:pt x="2778919" y="118586"/>
                  </a:cubicBezTo>
                  <a:cubicBezTo>
                    <a:pt x="2785586" y="129064"/>
                    <a:pt x="2792254" y="142399"/>
                    <a:pt x="2799874" y="156686"/>
                  </a:cubicBezTo>
                  <a:cubicBezTo>
                    <a:pt x="2803684" y="164306"/>
                    <a:pt x="2808446" y="171926"/>
                    <a:pt x="2812256" y="180499"/>
                  </a:cubicBezTo>
                  <a:cubicBezTo>
                    <a:pt x="2815114" y="186214"/>
                    <a:pt x="2817971" y="191929"/>
                    <a:pt x="2820829" y="197644"/>
                  </a:cubicBezTo>
                  <a:cubicBezTo>
                    <a:pt x="2820829" y="199549"/>
                    <a:pt x="2820829" y="202406"/>
                    <a:pt x="2820829" y="204311"/>
                  </a:cubicBezTo>
                  <a:cubicBezTo>
                    <a:pt x="2820829" y="209074"/>
                    <a:pt x="2821781" y="213836"/>
                    <a:pt x="2821781" y="218599"/>
                  </a:cubicBezTo>
                  <a:cubicBezTo>
                    <a:pt x="2819876" y="221456"/>
                    <a:pt x="2818924" y="224314"/>
                    <a:pt x="2817019" y="227171"/>
                  </a:cubicBezTo>
                  <a:cubicBezTo>
                    <a:pt x="2813209" y="222409"/>
                    <a:pt x="2810351" y="216694"/>
                    <a:pt x="2806541" y="211931"/>
                  </a:cubicBezTo>
                  <a:cubicBezTo>
                    <a:pt x="2806541" y="210979"/>
                    <a:pt x="2805589" y="210979"/>
                    <a:pt x="2805589" y="210026"/>
                  </a:cubicBezTo>
                  <a:cubicBezTo>
                    <a:pt x="2806541" y="209074"/>
                    <a:pt x="2806541" y="208121"/>
                    <a:pt x="2806541" y="208121"/>
                  </a:cubicBezTo>
                  <a:cubicBezTo>
                    <a:pt x="2806541" y="208121"/>
                    <a:pt x="2806541" y="208121"/>
                    <a:pt x="2805589" y="209074"/>
                  </a:cubicBezTo>
                  <a:cubicBezTo>
                    <a:pt x="2800826" y="202406"/>
                    <a:pt x="2796064" y="196691"/>
                    <a:pt x="2792254" y="191929"/>
                  </a:cubicBezTo>
                  <a:cubicBezTo>
                    <a:pt x="2782729" y="179546"/>
                    <a:pt x="2775109" y="169069"/>
                    <a:pt x="2767489" y="161449"/>
                  </a:cubicBezTo>
                  <a:cubicBezTo>
                    <a:pt x="2766536" y="160496"/>
                    <a:pt x="2766536" y="159544"/>
                    <a:pt x="2765584" y="158591"/>
                  </a:cubicBezTo>
                  <a:cubicBezTo>
                    <a:pt x="2765584" y="157639"/>
                    <a:pt x="2765584" y="156686"/>
                    <a:pt x="2765584" y="155734"/>
                  </a:cubicBezTo>
                  <a:cubicBezTo>
                    <a:pt x="2764631" y="145256"/>
                    <a:pt x="2762726" y="135731"/>
                    <a:pt x="2762726" y="128111"/>
                  </a:cubicBezTo>
                  <a:cubicBezTo>
                    <a:pt x="2760821" y="112871"/>
                    <a:pt x="2759869" y="103346"/>
                    <a:pt x="2759869" y="103346"/>
                  </a:cubicBezTo>
                  <a:cubicBezTo>
                    <a:pt x="2759869" y="103346"/>
                    <a:pt x="2759869" y="111919"/>
                    <a:pt x="2758916" y="128111"/>
                  </a:cubicBezTo>
                  <a:cubicBezTo>
                    <a:pt x="2758916" y="134779"/>
                    <a:pt x="2758916" y="141446"/>
                    <a:pt x="2758916" y="150019"/>
                  </a:cubicBezTo>
                  <a:cubicBezTo>
                    <a:pt x="2750344" y="140494"/>
                    <a:pt x="2745581" y="135731"/>
                    <a:pt x="2745581" y="135731"/>
                  </a:cubicBezTo>
                  <a:cubicBezTo>
                    <a:pt x="2745581" y="135731"/>
                    <a:pt x="2750344" y="142399"/>
                    <a:pt x="2758916" y="153829"/>
                  </a:cubicBezTo>
                  <a:cubicBezTo>
                    <a:pt x="2758916" y="154781"/>
                    <a:pt x="2758916" y="155734"/>
                    <a:pt x="2758916" y="155734"/>
                  </a:cubicBezTo>
                  <a:cubicBezTo>
                    <a:pt x="2758916" y="161449"/>
                    <a:pt x="2758916" y="167164"/>
                    <a:pt x="2758916" y="172879"/>
                  </a:cubicBezTo>
                  <a:cubicBezTo>
                    <a:pt x="2758916" y="178594"/>
                    <a:pt x="2759869" y="185261"/>
                    <a:pt x="2759869" y="191929"/>
                  </a:cubicBezTo>
                  <a:cubicBezTo>
                    <a:pt x="2759869" y="200501"/>
                    <a:pt x="2760821" y="210026"/>
                    <a:pt x="2761774" y="219551"/>
                  </a:cubicBezTo>
                  <a:cubicBezTo>
                    <a:pt x="2761774" y="218599"/>
                    <a:pt x="2760821" y="217646"/>
                    <a:pt x="2760821" y="217646"/>
                  </a:cubicBezTo>
                  <a:cubicBezTo>
                    <a:pt x="2760821" y="216694"/>
                    <a:pt x="2760821" y="216694"/>
                    <a:pt x="2760821" y="216694"/>
                  </a:cubicBezTo>
                  <a:cubicBezTo>
                    <a:pt x="2760821" y="216694"/>
                    <a:pt x="2760821" y="216694"/>
                    <a:pt x="2760821" y="217646"/>
                  </a:cubicBezTo>
                  <a:cubicBezTo>
                    <a:pt x="2749391" y="189071"/>
                    <a:pt x="2741771" y="172879"/>
                    <a:pt x="2741771" y="172879"/>
                  </a:cubicBezTo>
                  <a:cubicBezTo>
                    <a:pt x="2741771" y="172879"/>
                    <a:pt x="2747486" y="193834"/>
                    <a:pt x="2757011" y="228124"/>
                  </a:cubicBezTo>
                  <a:cubicBezTo>
                    <a:pt x="2754154" y="236696"/>
                    <a:pt x="2749391" y="250984"/>
                    <a:pt x="2743676" y="268129"/>
                  </a:cubicBezTo>
                  <a:cubicBezTo>
                    <a:pt x="2740819" y="262414"/>
                    <a:pt x="2737961" y="258604"/>
                    <a:pt x="2736056" y="254794"/>
                  </a:cubicBezTo>
                  <a:cubicBezTo>
                    <a:pt x="2737009" y="241459"/>
                    <a:pt x="2737009" y="232886"/>
                    <a:pt x="2737009" y="232886"/>
                  </a:cubicBezTo>
                  <a:cubicBezTo>
                    <a:pt x="2737009" y="232886"/>
                    <a:pt x="2735104" y="238601"/>
                    <a:pt x="2732246" y="249079"/>
                  </a:cubicBezTo>
                  <a:cubicBezTo>
                    <a:pt x="2731294" y="247174"/>
                    <a:pt x="2730341" y="246221"/>
                    <a:pt x="2730341" y="246221"/>
                  </a:cubicBezTo>
                  <a:cubicBezTo>
                    <a:pt x="2730341" y="246221"/>
                    <a:pt x="2730341" y="247174"/>
                    <a:pt x="2731294" y="250031"/>
                  </a:cubicBezTo>
                  <a:cubicBezTo>
                    <a:pt x="2730341" y="252889"/>
                    <a:pt x="2730341" y="254794"/>
                    <a:pt x="2729389" y="258604"/>
                  </a:cubicBezTo>
                  <a:lnTo>
                    <a:pt x="2729389" y="247174"/>
                  </a:lnTo>
                  <a:lnTo>
                    <a:pt x="2731294" y="218599"/>
                  </a:lnTo>
                  <a:cubicBezTo>
                    <a:pt x="2732246" y="218599"/>
                    <a:pt x="2732246" y="218599"/>
                    <a:pt x="2733199" y="219551"/>
                  </a:cubicBezTo>
                  <a:cubicBezTo>
                    <a:pt x="2734151" y="220504"/>
                    <a:pt x="2735104" y="221456"/>
                    <a:pt x="2736056" y="222409"/>
                  </a:cubicBezTo>
                  <a:cubicBezTo>
                    <a:pt x="2737961" y="224314"/>
                    <a:pt x="2737961" y="228124"/>
                    <a:pt x="2738914" y="230981"/>
                  </a:cubicBezTo>
                  <a:cubicBezTo>
                    <a:pt x="2738914" y="228124"/>
                    <a:pt x="2738914" y="225266"/>
                    <a:pt x="2737961" y="222409"/>
                  </a:cubicBezTo>
                  <a:cubicBezTo>
                    <a:pt x="2737009" y="220504"/>
                    <a:pt x="2736056" y="219551"/>
                    <a:pt x="2735104" y="218599"/>
                  </a:cubicBezTo>
                  <a:cubicBezTo>
                    <a:pt x="2734151" y="217646"/>
                    <a:pt x="2732246" y="216694"/>
                    <a:pt x="2730341" y="216694"/>
                  </a:cubicBezTo>
                  <a:lnTo>
                    <a:pt x="2728436" y="216694"/>
                  </a:lnTo>
                  <a:lnTo>
                    <a:pt x="2728436" y="218599"/>
                  </a:lnTo>
                  <a:cubicBezTo>
                    <a:pt x="2726531" y="228124"/>
                    <a:pt x="2723674" y="238601"/>
                    <a:pt x="2721769" y="248126"/>
                  </a:cubicBezTo>
                  <a:cubicBezTo>
                    <a:pt x="2720816" y="251936"/>
                    <a:pt x="2720816" y="256699"/>
                    <a:pt x="2719864" y="260509"/>
                  </a:cubicBezTo>
                  <a:cubicBezTo>
                    <a:pt x="2718911" y="258604"/>
                    <a:pt x="2717959" y="256699"/>
                    <a:pt x="2717006" y="254794"/>
                  </a:cubicBezTo>
                  <a:cubicBezTo>
                    <a:pt x="2717006" y="254794"/>
                    <a:pt x="2717006" y="253841"/>
                    <a:pt x="2717006" y="253841"/>
                  </a:cubicBezTo>
                  <a:cubicBezTo>
                    <a:pt x="2717959" y="244316"/>
                    <a:pt x="2718911" y="238601"/>
                    <a:pt x="2718911" y="238601"/>
                  </a:cubicBezTo>
                  <a:cubicBezTo>
                    <a:pt x="2718911" y="238601"/>
                    <a:pt x="2717959" y="241459"/>
                    <a:pt x="2716054" y="247174"/>
                  </a:cubicBezTo>
                  <a:cubicBezTo>
                    <a:pt x="2717006" y="204311"/>
                    <a:pt x="2716054" y="176689"/>
                    <a:pt x="2716054" y="176689"/>
                  </a:cubicBezTo>
                  <a:cubicBezTo>
                    <a:pt x="2716054" y="176689"/>
                    <a:pt x="2715101" y="185261"/>
                    <a:pt x="2713196" y="198596"/>
                  </a:cubicBezTo>
                  <a:cubicBezTo>
                    <a:pt x="2712244" y="207169"/>
                    <a:pt x="2710339" y="217646"/>
                    <a:pt x="2709386" y="230029"/>
                  </a:cubicBezTo>
                  <a:cubicBezTo>
                    <a:pt x="2707481" y="226219"/>
                    <a:pt x="2706529" y="221456"/>
                    <a:pt x="2704624" y="218599"/>
                  </a:cubicBezTo>
                  <a:lnTo>
                    <a:pt x="2703671" y="199549"/>
                  </a:lnTo>
                  <a:lnTo>
                    <a:pt x="2703671" y="163354"/>
                  </a:lnTo>
                  <a:cubicBezTo>
                    <a:pt x="2704624" y="163354"/>
                    <a:pt x="2705576" y="163354"/>
                    <a:pt x="2706529" y="164306"/>
                  </a:cubicBezTo>
                  <a:cubicBezTo>
                    <a:pt x="2708434" y="165259"/>
                    <a:pt x="2709386" y="166211"/>
                    <a:pt x="2710339" y="167164"/>
                  </a:cubicBezTo>
                  <a:cubicBezTo>
                    <a:pt x="2712244" y="170021"/>
                    <a:pt x="2713196" y="173831"/>
                    <a:pt x="2714149" y="176689"/>
                  </a:cubicBezTo>
                  <a:cubicBezTo>
                    <a:pt x="2714149" y="172879"/>
                    <a:pt x="2713196" y="169069"/>
                    <a:pt x="2712244" y="166211"/>
                  </a:cubicBezTo>
                  <a:cubicBezTo>
                    <a:pt x="2711291" y="164306"/>
                    <a:pt x="2710339" y="163354"/>
                    <a:pt x="2708434" y="161449"/>
                  </a:cubicBezTo>
                  <a:cubicBezTo>
                    <a:pt x="2706529" y="160496"/>
                    <a:pt x="2704624" y="159544"/>
                    <a:pt x="2702719" y="159544"/>
                  </a:cubicBezTo>
                  <a:lnTo>
                    <a:pt x="2700814" y="159544"/>
                  </a:lnTo>
                  <a:lnTo>
                    <a:pt x="2700814" y="161449"/>
                  </a:lnTo>
                  <a:lnTo>
                    <a:pt x="2697004" y="193834"/>
                  </a:lnTo>
                  <a:cubicBezTo>
                    <a:pt x="2694146" y="186214"/>
                    <a:pt x="2693194" y="181451"/>
                    <a:pt x="2693194" y="181451"/>
                  </a:cubicBezTo>
                  <a:cubicBezTo>
                    <a:pt x="2693194" y="181451"/>
                    <a:pt x="2694146" y="187166"/>
                    <a:pt x="2697004" y="198596"/>
                  </a:cubicBezTo>
                  <a:lnTo>
                    <a:pt x="2697004" y="198596"/>
                  </a:lnTo>
                  <a:cubicBezTo>
                    <a:pt x="2696051" y="210979"/>
                    <a:pt x="2696051" y="224314"/>
                    <a:pt x="2696051" y="236696"/>
                  </a:cubicBezTo>
                  <a:cubicBezTo>
                    <a:pt x="2696051" y="245269"/>
                    <a:pt x="2696051" y="253841"/>
                    <a:pt x="2697004" y="262414"/>
                  </a:cubicBezTo>
                  <a:cubicBezTo>
                    <a:pt x="2697004" y="262414"/>
                    <a:pt x="2697004" y="263366"/>
                    <a:pt x="2697004" y="263366"/>
                  </a:cubicBezTo>
                  <a:cubicBezTo>
                    <a:pt x="2697004" y="264319"/>
                    <a:pt x="2696051" y="265271"/>
                    <a:pt x="2696051" y="265271"/>
                  </a:cubicBezTo>
                  <a:cubicBezTo>
                    <a:pt x="2695099" y="264319"/>
                    <a:pt x="2694146" y="262414"/>
                    <a:pt x="2694146" y="261461"/>
                  </a:cubicBezTo>
                  <a:cubicBezTo>
                    <a:pt x="2691289" y="255746"/>
                    <a:pt x="2688431" y="250984"/>
                    <a:pt x="2685574" y="246221"/>
                  </a:cubicBezTo>
                  <a:cubicBezTo>
                    <a:pt x="2682716" y="233839"/>
                    <a:pt x="2680811" y="221456"/>
                    <a:pt x="2677954" y="210979"/>
                  </a:cubicBezTo>
                  <a:cubicBezTo>
                    <a:pt x="2677001" y="207169"/>
                    <a:pt x="2677001" y="204311"/>
                    <a:pt x="2676049" y="200501"/>
                  </a:cubicBezTo>
                  <a:cubicBezTo>
                    <a:pt x="2677954" y="190976"/>
                    <a:pt x="2679859" y="182404"/>
                    <a:pt x="2681764" y="173831"/>
                  </a:cubicBezTo>
                  <a:cubicBezTo>
                    <a:pt x="2683669" y="162401"/>
                    <a:pt x="2685574" y="152876"/>
                    <a:pt x="2687479" y="144304"/>
                  </a:cubicBezTo>
                  <a:cubicBezTo>
                    <a:pt x="2690336" y="128111"/>
                    <a:pt x="2691289" y="118586"/>
                    <a:pt x="2691289" y="118586"/>
                  </a:cubicBezTo>
                  <a:cubicBezTo>
                    <a:pt x="2691289" y="118586"/>
                    <a:pt x="2688431" y="128111"/>
                    <a:pt x="2683669" y="143351"/>
                  </a:cubicBezTo>
                  <a:cubicBezTo>
                    <a:pt x="2681764" y="149066"/>
                    <a:pt x="2679859" y="155734"/>
                    <a:pt x="2677954" y="162401"/>
                  </a:cubicBezTo>
                  <a:cubicBezTo>
                    <a:pt x="2677001" y="166211"/>
                    <a:pt x="2675096" y="170974"/>
                    <a:pt x="2673191" y="176689"/>
                  </a:cubicBezTo>
                  <a:cubicBezTo>
                    <a:pt x="2673191" y="176689"/>
                    <a:pt x="2673191" y="177641"/>
                    <a:pt x="2673191" y="177641"/>
                  </a:cubicBezTo>
                  <a:cubicBezTo>
                    <a:pt x="2673191" y="176689"/>
                    <a:pt x="2672239" y="174784"/>
                    <a:pt x="2672239" y="173831"/>
                  </a:cubicBezTo>
                  <a:cubicBezTo>
                    <a:pt x="2670334" y="163354"/>
                    <a:pt x="2668429" y="153829"/>
                    <a:pt x="2666524" y="146209"/>
                  </a:cubicBezTo>
                  <a:cubicBezTo>
                    <a:pt x="2663666" y="130969"/>
                    <a:pt x="2661761" y="121444"/>
                    <a:pt x="2661761" y="121444"/>
                  </a:cubicBezTo>
                  <a:cubicBezTo>
                    <a:pt x="2661761" y="121444"/>
                    <a:pt x="2661761" y="130016"/>
                    <a:pt x="2662714" y="146209"/>
                  </a:cubicBezTo>
                  <a:cubicBezTo>
                    <a:pt x="2663666" y="158591"/>
                    <a:pt x="2664619" y="176689"/>
                    <a:pt x="2666524" y="196691"/>
                  </a:cubicBezTo>
                  <a:cubicBezTo>
                    <a:pt x="2666524" y="197644"/>
                    <a:pt x="2665571" y="199549"/>
                    <a:pt x="2665571" y="200501"/>
                  </a:cubicBezTo>
                  <a:cubicBezTo>
                    <a:pt x="2665571" y="201454"/>
                    <a:pt x="2664619" y="203359"/>
                    <a:pt x="2664619" y="204311"/>
                  </a:cubicBezTo>
                  <a:cubicBezTo>
                    <a:pt x="2658904" y="192881"/>
                    <a:pt x="2653189" y="183356"/>
                    <a:pt x="2649379" y="174784"/>
                  </a:cubicBezTo>
                  <a:cubicBezTo>
                    <a:pt x="2639854" y="152876"/>
                    <a:pt x="2634139" y="141446"/>
                    <a:pt x="2634139" y="141446"/>
                  </a:cubicBezTo>
                  <a:cubicBezTo>
                    <a:pt x="2634139" y="141446"/>
                    <a:pt x="2637949" y="153829"/>
                    <a:pt x="2646521" y="176689"/>
                  </a:cubicBezTo>
                  <a:cubicBezTo>
                    <a:pt x="2650331" y="187166"/>
                    <a:pt x="2656046" y="199549"/>
                    <a:pt x="2661761" y="214789"/>
                  </a:cubicBezTo>
                  <a:cubicBezTo>
                    <a:pt x="2661761" y="215741"/>
                    <a:pt x="2661761" y="215741"/>
                    <a:pt x="2660809" y="216694"/>
                  </a:cubicBezTo>
                  <a:cubicBezTo>
                    <a:pt x="2656999" y="210026"/>
                    <a:pt x="2655094" y="204311"/>
                    <a:pt x="2652236" y="201454"/>
                  </a:cubicBezTo>
                  <a:cubicBezTo>
                    <a:pt x="2649379" y="197644"/>
                    <a:pt x="2648426" y="196691"/>
                    <a:pt x="2648426" y="196691"/>
                  </a:cubicBezTo>
                  <a:cubicBezTo>
                    <a:pt x="2648426" y="196691"/>
                    <a:pt x="2649379" y="198596"/>
                    <a:pt x="2651284" y="202406"/>
                  </a:cubicBezTo>
                  <a:cubicBezTo>
                    <a:pt x="2654141" y="206216"/>
                    <a:pt x="2655094" y="211931"/>
                    <a:pt x="2657951" y="218599"/>
                  </a:cubicBezTo>
                  <a:cubicBezTo>
                    <a:pt x="2657951" y="220504"/>
                    <a:pt x="2658904" y="222409"/>
                    <a:pt x="2658904" y="223361"/>
                  </a:cubicBezTo>
                  <a:cubicBezTo>
                    <a:pt x="2658904" y="224314"/>
                    <a:pt x="2657951" y="225266"/>
                    <a:pt x="2657951" y="226219"/>
                  </a:cubicBezTo>
                  <a:cubicBezTo>
                    <a:pt x="2654141" y="214789"/>
                    <a:pt x="2650331" y="203359"/>
                    <a:pt x="2647474" y="193834"/>
                  </a:cubicBezTo>
                  <a:cubicBezTo>
                    <a:pt x="2644616" y="184309"/>
                    <a:pt x="2640806" y="175736"/>
                    <a:pt x="2638901" y="169069"/>
                  </a:cubicBezTo>
                  <a:cubicBezTo>
                    <a:pt x="2634139" y="154781"/>
                    <a:pt x="2631281" y="147161"/>
                    <a:pt x="2631281" y="147161"/>
                  </a:cubicBezTo>
                  <a:cubicBezTo>
                    <a:pt x="2631281" y="147161"/>
                    <a:pt x="2632234" y="155734"/>
                    <a:pt x="2635091" y="170021"/>
                  </a:cubicBezTo>
                  <a:cubicBezTo>
                    <a:pt x="2637949" y="184309"/>
                    <a:pt x="2641759" y="205264"/>
                    <a:pt x="2647474" y="230029"/>
                  </a:cubicBezTo>
                  <a:cubicBezTo>
                    <a:pt x="2648426" y="235744"/>
                    <a:pt x="2650331" y="241459"/>
                    <a:pt x="2651284" y="247174"/>
                  </a:cubicBezTo>
                  <a:cubicBezTo>
                    <a:pt x="2648426" y="255746"/>
                    <a:pt x="2645569" y="264319"/>
                    <a:pt x="2642711" y="273844"/>
                  </a:cubicBezTo>
                  <a:cubicBezTo>
                    <a:pt x="2641759" y="272891"/>
                    <a:pt x="2641759" y="271939"/>
                    <a:pt x="2640806" y="270034"/>
                  </a:cubicBezTo>
                  <a:cubicBezTo>
                    <a:pt x="2640806" y="269081"/>
                    <a:pt x="2639854" y="269081"/>
                    <a:pt x="2639854" y="268129"/>
                  </a:cubicBezTo>
                  <a:cubicBezTo>
                    <a:pt x="2642711" y="238601"/>
                    <a:pt x="2643664" y="220504"/>
                    <a:pt x="2643664" y="220504"/>
                  </a:cubicBezTo>
                  <a:cubicBezTo>
                    <a:pt x="2643664" y="220504"/>
                    <a:pt x="2640806" y="230029"/>
                    <a:pt x="2636996" y="247174"/>
                  </a:cubicBezTo>
                  <a:cubicBezTo>
                    <a:pt x="2636996" y="220504"/>
                    <a:pt x="2636044" y="204311"/>
                    <a:pt x="2636044" y="204311"/>
                  </a:cubicBezTo>
                  <a:cubicBezTo>
                    <a:pt x="2636044" y="204311"/>
                    <a:pt x="2633186" y="217646"/>
                    <a:pt x="2630329" y="240506"/>
                  </a:cubicBezTo>
                  <a:cubicBezTo>
                    <a:pt x="2628424" y="228124"/>
                    <a:pt x="2625566" y="216694"/>
                    <a:pt x="2623661" y="206216"/>
                  </a:cubicBezTo>
                  <a:cubicBezTo>
                    <a:pt x="2618899" y="182404"/>
                    <a:pt x="2614136" y="162401"/>
                    <a:pt x="2610326" y="147161"/>
                  </a:cubicBezTo>
                  <a:cubicBezTo>
                    <a:pt x="2613184" y="141446"/>
                    <a:pt x="2615089" y="137636"/>
                    <a:pt x="2615089" y="137636"/>
                  </a:cubicBezTo>
                  <a:cubicBezTo>
                    <a:pt x="2615089" y="137636"/>
                    <a:pt x="2613184" y="140494"/>
                    <a:pt x="2610326" y="145256"/>
                  </a:cubicBezTo>
                  <a:cubicBezTo>
                    <a:pt x="2610326" y="144304"/>
                    <a:pt x="2610326" y="144304"/>
                    <a:pt x="2609374" y="143351"/>
                  </a:cubicBezTo>
                  <a:cubicBezTo>
                    <a:pt x="2605564" y="128111"/>
                    <a:pt x="2603659" y="119539"/>
                    <a:pt x="2603659" y="119539"/>
                  </a:cubicBezTo>
                  <a:cubicBezTo>
                    <a:pt x="2603659" y="119539"/>
                    <a:pt x="2604611" y="128111"/>
                    <a:pt x="2605564" y="144304"/>
                  </a:cubicBezTo>
                  <a:cubicBezTo>
                    <a:pt x="2605564" y="146209"/>
                    <a:pt x="2605564" y="149066"/>
                    <a:pt x="2606516" y="150971"/>
                  </a:cubicBezTo>
                  <a:cubicBezTo>
                    <a:pt x="2604611" y="153829"/>
                    <a:pt x="2602706" y="155734"/>
                    <a:pt x="2600801" y="158591"/>
                  </a:cubicBezTo>
                  <a:cubicBezTo>
                    <a:pt x="2596991" y="163354"/>
                    <a:pt x="2594134" y="169069"/>
                    <a:pt x="2589371" y="175736"/>
                  </a:cubicBezTo>
                  <a:cubicBezTo>
                    <a:pt x="2589371" y="174784"/>
                    <a:pt x="2589371" y="172879"/>
                    <a:pt x="2588419" y="171926"/>
                  </a:cubicBezTo>
                  <a:cubicBezTo>
                    <a:pt x="2585561" y="155734"/>
                    <a:pt x="2583656" y="147161"/>
                    <a:pt x="2583656" y="147161"/>
                  </a:cubicBezTo>
                  <a:cubicBezTo>
                    <a:pt x="2583656" y="147161"/>
                    <a:pt x="2583656" y="156686"/>
                    <a:pt x="2584609" y="171926"/>
                  </a:cubicBezTo>
                  <a:cubicBezTo>
                    <a:pt x="2584609" y="174784"/>
                    <a:pt x="2584609" y="178594"/>
                    <a:pt x="2585561" y="182404"/>
                  </a:cubicBezTo>
                  <a:cubicBezTo>
                    <a:pt x="2585561" y="182404"/>
                    <a:pt x="2585561" y="182404"/>
                    <a:pt x="2585561" y="182404"/>
                  </a:cubicBezTo>
                  <a:cubicBezTo>
                    <a:pt x="2582704" y="187166"/>
                    <a:pt x="2579846" y="192881"/>
                    <a:pt x="2576036" y="198596"/>
                  </a:cubicBezTo>
                  <a:cubicBezTo>
                    <a:pt x="2575084" y="190976"/>
                    <a:pt x="2575084" y="183356"/>
                    <a:pt x="2574131" y="177641"/>
                  </a:cubicBezTo>
                  <a:cubicBezTo>
                    <a:pt x="2573179" y="165259"/>
                    <a:pt x="2573179" y="157639"/>
                    <a:pt x="2573179" y="157639"/>
                  </a:cubicBezTo>
                  <a:cubicBezTo>
                    <a:pt x="2573179" y="157639"/>
                    <a:pt x="2572226" y="162401"/>
                    <a:pt x="2571274" y="170974"/>
                  </a:cubicBezTo>
                  <a:cubicBezTo>
                    <a:pt x="2571274" y="170974"/>
                    <a:pt x="2571274" y="170021"/>
                    <a:pt x="2571274" y="170021"/>
                  </a:cubicBezTo>
                  <a:cubicBezTo>
                    <a:pt x="2570321" y="162401"/>
                    <a:pt x="2570321" y="155734"/>
                    <a:pt x="2569369" y="149066"/>
                  </a:cubicBezTo>
                  <a:cubicBezTo>
                    <a:pt x="2569369" y="142399"/>
                    <a:pt x="2568416" y="135731"/>
                    <a:pt x="2568416" y="130016"/>
                  </a:cubicBezTo>
                  <a:cubicBezTo>
                    <a:pt x="2567464" y="118586"/>
                    <a:pt x="2566511" y="108109"/>
                    <a:pt x="2567464" y="99536"/>
                  </a:cubicBezTo>
                  <a:cubicBezTo>
                    <a:pt x="2567464" y="82391"/>
                    <a:pt x="2566511" y="72866"/>
                    <a:pt x="2566511" y="72866"/>
                  </a:cubicBezTo>
                  <a:cubicBezTo>
                    <a:pt x="2566511" y="72866"/>
                    <a:pt x="2565559" y="82391"/>
                    <a:pt x="2562701" y="99536"/>
                  </a:cubicBezTo>
                  <a:cubicBezTo>
                    <a:pt x="2561749" y="108109"/>
                    <a:pt x="2560796" y="118586"/>
                    <a:pt x="2560796" y="130016"/>
                  </a:cubicBezTo>
                  <a:cubicBezTo>
                    <a:pt x="2560796" y="135731"/>
                    <a:pt x="2559844" y="142399"/>
                    <a:pt x="2559844" y="149066"/>
                  </a:cubicBezTo>
                  <a:cubicBezTo>
                    <a:pt x="2559844" y="155734"/>
                    <a:pt x="2559844" y="162401"/>
                    <a:pt x="2559844" y="170021"/>
                  </a:cubicBezTo>
                  <a:cubicBezTo>
                    <a:pt x="2559844" y="178594"/>
                    <a:pt x="2559844" y="187166"/>
                    <a:pt x="2560796" y="195739"/>
                  </a:cubicBezTo>
                  <a:cubicBezTo>
                    <a:pt x="2559844" y="192881"/>
                    <a:pt x="2558891" y="191929"/>
                    <a:pt x="2558891" y="191929"/>
                  </a:cubicBezTo>
                  <a:cubicBezTo>
                    <a:pt x="2558891" y="191929"/>
                    <a:pt x="2559844" y="194786"/>
                    <a:pt x="2561749" y="200501"/>
                  </a:cubicBezTo>
                  <a:cubicBezTo>
                    <a:pt x="2561749" y="206216"/>
                    <a:pt x="2562701" y="211931"/>
                    <a:pt x="2562701" y="217646"/>
                  </a:cubicBezTo>
                  <a:cubicBezTo>
                    <a:pt x="2562701" y="219551"/>
                    <a:pt x="2562701" y="221456"/>
                    <a:pt x="2562701" y="223361"/>
                  </a:cubicBezTo>
                  <a:cubicBezTo>
                    <a:pt x="2558891" y="230981"/>
                    <a:pt x="2555081" y="238601"/>
                    <a:pt x="2551271" y="247174"/>
                  </a:cubicBezTo>
                  <a:cubicBezTo>
                    <a:pt x="2550319" y="239554"/>
                    <a:pt x="2550319" y="233839"/>
                    <a:pt x="2549366" y="230029"/>
                  </a:cubicBezTo>
                  <a:cubicBezTo>
                    <a:pt x="2553176" y="219551"/>
                    <a:pt x="2555081" y="212884"/>
                    <a:pt x="2555081" y="212884"/>
                  </a:cubicBezTo>
                  <a:cubicBezTo>
                    <a:pt x="2555081" y="212884"/>
                    <a:pt x="2552224" y="218599"/>
                    <a:pt x="2546509" y="228124"/>
                  </a:cubicBezTo>
                  <a:cubicBezTo>
                    <a:pt x="2546509" y="226219"/>
                    <a:pt x="2547461" y="224314"/>
                    <a:pt x="2547461" y="222409"/>
                  </a:cubicBezTo>
                  <a:cubicBezTo>
                    <a:pt x="2551271" y="206216"/>
                    <a:pt x="2553176" y="196691"/>
                    <a:pt x="2553176" y="196691"/>
                  </a:cubicBezTo>
                  <a:cubicBezTo>
                    <a:pt x="2553176" y="196691"/>
                    <a:pt x="2549366" y="205264"/>
                    <a:pt x="2543651" y="221456"/>
                  </a:cubicBezTo>
                  <a:cubicBezTo>
                    <a:pt x="2541746" y="228124"/>
                    <a:pt x="2538889" y="236696"/>
                    <a:pt x="2536984" y="246221"/>
                  </a:cubicBezTo>
                  <a:cubicBezTo>
                    <a:pt x="2536984" y="245269"/>
                    <a:pt x="2536984" y="245269"/>
                    <a:pt x="2536984" y="244316"/>
                  </a:cubicBezTo>
                  <a:cubicBezTo>
                    <a:pt x="2535079" y="230029"/>
                    <a:pt x="2534126" y="221456"/>
                    <a:pt x="2534126" y="221456"/>
                  </a:cubicBezTo>
                  <a:cubicBezTo>
                    <a:pt x="2534126" y="221456"/>
                    <a:pt x="2534126" y="230029"/>
                    <a:pt x="2533174" y="244316"/>
                  </a:cubicBezTo>
                  <a:cubicBezTo>
                    <a:pt x="2533174" y="246221"/>
                    <a:pt x="2533174" y="249079"/>
                    <a:pt x="2533174" y="250984"/>
                  </a:cubicBezTo>
                  <a:cubicBezTo>
                    <a:pt x="2533174" y="249079"/>
                    <a:pt x="2532221" y="247174"/>
                    <a:pt x="2532221" y="245269"/>
                  </a:cubicBezTo>
                  <a:cubicBezTo>
                    <a:pt x="2529364" y="233839"/>
                    <a:pt x="2527459" y="223361"/>
                    <a:pt x="2524601" y="213836"/>
                  </a:cubicBezTo>
                  <a:cubicBezTo>
                    <a:pt x="2521744" y="204311"/>
                    <a:pt x="2519839" y="196691"/>
                    <a:pt x="2517934" y="190024"/>
                  </a:cubicBezTo>
                  <a:cubicBezTo>
                    <a:pt x="2513171" y="176689"/>
                    <a:pt x="2511266" y="169069"/>
                    <a:pt x="2511266" y="169069"/>
                  </a:cubicBezTo>
                  <a:cubicBezTo>
                    <a:pt x="2511266" y="169069"/>
                    <a:pt x="2512219" y="176689"/>
                    <a:pt x="2514124" y="190976"/>
                  </a:cubicBezTo>
                  <a:cubicBezTo>
                    <a:pt x="2515076" y="197644"/>
                    <a:pt x="2516029" y="206216"/>
                    <a:pt x="2516981" y="215741"/>
                  </a:cubicBezTo>
                  <a:cubicBezTo>
                    <a:pt x="2517934" y="225266"/>
                    <a:pt x="2518886" y="235744"/>
                    <a:pt x="2520791" y="248126"/>
                  </a:cubicBezTo>
                  <a:cubicBezTo>
                    <a:pt x="2521744" y="257651"/>
                    <a:pt x="2522696" y="267176"/>
                    <a:pt x="2523649" y="277654"/>
                  </a:cubicBezTo>
                  <a:cubicBezTo>
                    <a:pt x="2522696" y="279559"/>
                    <a:pt x="2521744" y="281464"/>
                    <a:pt x="2521744" y="282416"/>
                  </a:cubicBezTo>
                  <a:cubicBezTo>
                    <a:pt x="2519839" y="274796"/>
                    <a:pt x="2517934" y="269081"/>
                    <a:pt x="2516981" y="263366"/>
                  </a:cubicBezTo>
                  <a:cubicBezTo>
                    <a:pt x="2513171" y="250031"/>
                    <a:pt x="2511266" y="243364"/>
                    <a:pt x="2511266" y="243364"/>
                  </a:cubicBezTo>
                  <a:cubicBezTo>
                    <a:pt x="2511266" y="243364"/>
                    <a:pt x="2512219" y="250984"/>
                    <a:pt x="2513171" y="264319"/>
                  </a:cubicBezTo>
                  <a:cubicBezTo>
                    <a:pt x="2513171" y="268129"/>
                    <a:pt x="2514124" y="272891"/>
                    <a:pt x="2514124" y="277654"/>
                  </a:cubicBezTo>
                  <a:cubicBezTo>
                    <a:pt x="2510314" y="269081"/>
                    <a:pt x="2507456" y="262414"/>
                    <a:pt x="2504599" y="256699"/>
                  </a:cubicBezTo>
                  <a:cubicBezTo>
                    <a:pt x="2504599" y="254794"/>
                    <a:pt x="2504599" y="253841"/>
                    <a:pt x="2504599" y="253841"/>
                  </a:cubicBezTo>
                  <a:cubicBezTo>
                    <a:pt x="2504599" y="253841"/>
                    <a:pt x="2504599" y="254794"/>
                    <a:pt x="2503646" y="255746"/>
                  </a:cubicBezTo>
                  <a:cubicBezTo>
                    <a:pt x="2499836" y="248126"/>
                    <a:pt x="2497931" y="243364"/>
                    <a:pt x="2497931" y="243364"/>
                  </a:cubicBezTo>
                  <a:cubicBezTo>
                    <a:pt x="2497931" y="243364"/>
                    <a:pt x="2499836" y="249079"/>
                    <a:pt x="2502694" y="259556"/>
                  </a:cubicBezTo>
                  <a:cubicBezTo>
                    <a:pt x="2501741" y="261461"/>
                    <a:pt x="2500789" y="264319"/>
                    <a:pt x="2499836" y="267176"/>
                  </a:cubicBezTo>
                  <a:cubicBezTo>
                    <a:pt x="2499836" y="268129"/>
                    <a:pt x="2498884" y="269081"/>
                    <a:pt x="2498884" y="270034"/>
                  </a:cubicBezTo>
                  <a:cubicBezTo>
                    <a:pt x="2496979" y="253841"/>
                    <a:pt x="2496026" y="237649"/>
                    <a:pt x="2494121" y="223361"/>
                  </a:cubicBezTo>
                  <a:cubicBezTo>
                    <a:pt x="2495074" y="222409"/>
                    <a:pt x="2495074" y="221456"/>
                    <a:pt x="2496026" y="220504"/>
                  </a:cubicBezTo>
                  <a:cubicBezTo>
                    <a:pt x="2500789" y="212884"/>
                    <a:pt x="2504599" y="207169"/>
                    <a:pt x="2506504" y="203359"/>
                  </a:cubicBezTo>
                  <a:cubicBezTo>
                    <a:pt x="2509361" y="199549"/>
                    <a:pt x="2510314" y="197644"/>
                    <a:pt x="2510314" y="197644"/>
                  </a:cubicBezTo>
                  <a:cubicBezTo>
                    <a:pt x="2510314" y="197644"/>
                    <a:pt x="2508409" y="199549"/>
                    <a:pt x="2505551" y="203359"/>
                  </a:cubicBezTo>
                  <a:cubicBezTo>
                    <a:pt x="2502694" y="206216"/>
                    <a:pt x="2497931" y="210979"/>
                    <a:pt x="2493169" y="217646"/>
                  </a:cubicBezTo>
                  <a:cubicBezTo>
                    <a:pt x="2493169" y="217646"/>
                    <a:pt x="2493169" y="216694"/>
                    <a:pt x="2493169" y="216694"/>
                  </a:cubicBezTo>
                  <a:cubicBezTo>
                    <a:pt x="2492216" y="210026"/>
                    <a:pt x="2492216" y="203359"/>
                    <a:pt x="2491264" y="196691"/>
                  </a:cubicBezTo>
                  <a:cubicBezTo>
                    <a:pt x="2497931" y="188119"/>
                    <a:pt x="2501741" y="183356"/>
                    <a:pt x="2501741" y="183356"/>
                  </a:cubicBezTo>
                  <a:cubicBezTo>
                    <a:pt x="2501741" y="183356"/>
                    <a:pt x="2497931" y="187166"/>
                    <a:pt x="2490311" y="192881"/>
                  </a:cubicBezTo>
                  <a:cubicBezTo>
                    <a:pt x="2489359" y="187166"/>
                    <a:pt x="2489359" y="181451"/>
                    <a:pt x="2489359" y="176689"/>
                  </a:cubicBezTo>
                  <a:cubicBezTo>
                    <a:pt x="2492216" y="171926"/>
                    <a:pt x="2495074" y="168116"/>
                    <a:pt x="2497931" y="165259"/>
                  </a:cubicBezTo>
                  <a:cubicBezTo>
                    <a:pt x="2500789" y="161449"/>
                    <a:pt x="2502694" y="159544"/>
                    <a:pt x="2502694" y="159544"/>
                  </a:cubicBezTo>
                  <a:cubicBezTo>
                    <a:pt x="2502694" y="159544"/>
                    <a:pt x="2500789" y="161449"/>
                    <a:pt x="2496979" y="164306"/>
                  </a:cubicBezTo>
                  <a:cubicBezTo>
                    <a:pt x="2495074" y="166211"/>
                    <a:pt x="2492216" y="169069"/>
                    <a:pt x="2489359" y="171926"/>
                  </a:cubicBezTo>
                  <a:cubicBezTo>
                    <a:pt x="2489359" y="165259"/>
                    <a:pt x="2488406" y="158591"/>
                    <a:pt x="2488406" y="153829"/>
                  </a:cubicBezTo>
                  <a:cubicBezTo>
                    <a:pt x="2488406" y="146209"/>
                    <a:pt x="2487454" y="139541"/>
                    <a:pt x="2487454" y="135731"/>
                  </a:cubicBezTo>
                  <a:cubicBezTo>
                    <a:pt x="2491264" y="129064"/>
                    <a:pt x="2494121" y="125254"/>
                    <a:pt x="2494121" y="125254"/>
                  </a:cubicBezTo>
                  <a:cubicBezTo>
                    <a:pt x="2494121" y="125254"/>
                    <a:pt x="2492216" y="128111"/>
                    <a:pt x="2487454" y="132874"/>
                  </a:cubicBezTo>
                  <a:cubicBezTo>
                    <a:pt x="2487454" y="130969"/>
                    <a:pt x="2487454" y="129064"/>
                    <a:pt x="2487454" y="129064"/>
                  </a:cubicBezTo>
                  <a:cubicBezTo>
                    <a:pt x="2487454" y="129064"/>
                    <a:pt x="2487454" y="130969"/>
                    <a:pt x="2486501" y="132874"/>
                  </a:cubicBezTo>
                  <a:cubicBezTo>
                    <a:pt x="2483644" y="136684"/>
                    <a:pt x="2479834" y="140494"/>
                    <a:pt x="2475071" y="146209"/>
                  </a:cubicBezTo>
                  <a:cubicBezTo>
                    <a:pt x="2469356" y="152876"/>
                    <a:pt x="2462689" y="161449"/>
                    <a:pt x="2455069" y="171926"/>
                  </a:cubicBezTo>
                  <a:cubicBezTo>
                    <a:pt x="2451259" y="176689"/>
                    <a:pt x="2447449" y="182404"/>
                    <a:pt x="2442686" y="188119"/>
                  </a:cubicBezTo>
                  <a:cubicBezTo>
                    <a:pt x="2439829" y="192881"/>
                    <a:pt x="2436019" y="197644"/>
                    <a:pt x="2433161" y="203359"/>
                  </a:cubicBezTo>
                  <a:cubicBezTo>
                    <a:pt x="2433161" y="199549"/>
                    <a:pt x="2432209" y="195739"/>
                    <a:pt x="2432209" y="191929"/>
                  </a:cubicBezTo>
                  <a:cubicBezTo>
                    <a:pt x="2428399" y="158591"/>
                    <a:pt x="2426494" y="130969"/>
                    <a:pt x="2425541" y="110966"/>
                  </a:cubicBezTo>
                  <a:cubicBezTo>
                    <a:pt x="2425541" y="101441"/>
                    <a:pt x="2424589" y="93821"/>
                    <a:pt x="2424589" y="88106"/>
                  </a:cubicBezTo>
                  <a:cubicBezTo>
                    <a:pt x="2424589" y="82391"/>
                    <a:pt x="2424589" y="80486"/>
                    <a:pt x="2424589" y="80486"/>
                  </a:cubicBezTo>
                  <a:cubicBezTo>
                    <a:pt x="2424589" y="80486"/>
                    <a:pt x="2424589" y="83344"/>
                    <a:pt x="2423636" y="88106"/>
                  </a:cubicBezTo>
                  <a:cubicBezTo>
                    <a:pt x="2422684" y="92869"/>
                    <a:pt x="2422684" y="101441"/>
                    <a:pt x="2421731" y="110966"/>
                  </a:cubicBezTo>
                  <a:cubicBezTo>
                    <a:pt x="2420779" y="120491"/>
                    <a:pt x="2420779" y="132874"/>
                    <a:pt x="2420779" y="146209"/>
                  </a:cubicBezTo>
                  <a:cubicBezTo>
                    <a:pt x="2420779" y="159544"/>
                    <a:pt x="2420779" y="175736"/>
                    <a:pt x="2421731" y="191929"/>
                  </a:cubicBezTo>
                  <a:cubicBezTo>
                    <a:pt x="2421731" y="200501"/>
                    <a:pt x="2422684" y="210026"/>
                    <a:pt x="2422684" y="220504"/>
                  </a:cubicBezTo>
                  <a:cubicBezTo>
                    <a:pt x="2416969" y="230029"/>
                    <a:pt x="2411254" y="239554"/>
                    <a:pt x="2405539" y="250031"/>
                  </a:cubicBezTo>
                  <a:cubicBezTo>
                    <a:pt x="2404586" y="251936"/>
                    <a:pt x="2403634" y="254794"/>
                    <a:pt x="2401729" y="256699"/>
                  </a:cubicBezTo>
                  <a:cubicBezTo>
                    <a:pt x="2401729" y="256699"/>
                    <a:pt x="2400776" y="255746"/>
                    <a:pt x="2400776" y="255746"/>
                  </a:cubicBezTo>
                  <a:cubicBezTo>
                    <a:pt x="2397919" y="247174"/>
                    <a:pt x="2395061" y="239554"/>
                    <a:pt x="2392204" y="233839"/>
                  </a:cubicBezTo>
                  <a:cubicBezTo>
                    <a:pt x="2389346" y="208121"/>
                    <a:pt x="2386489" y="186214"/>
                    <a:pt x="2385536" y="170974"/>
                  </a:cubicBezTo>
                  <a:cubicBezTo>
                    <a:pt x="2384584" y="162401"/>
                    <a:pt x="2383631" y="155734"/>
                    <a:pt x="2382679" y="150971"/>
                  </a:cubicBezTo>
                  <a:cubicBezTo>
                    <a:pt x="2383631" y="147161"/>
                    <a:pt x="2384584" y="144304"/>
                    <a:pt x="2384584" y="140494"/>
                  </a:cubicBezTo>
                  <a:cubicBezTo>
                    <a:pt x="2384584" y="138589"/>
                    <a:pt x="2383631" y="137636"/>
                    <a:pt x="2382679" y="135731"/>
                  </a:cubicBezTo>
                  <a:cubicBezTo>
                    <a:pt x="2385536" y="129064"/>
                    <a:pt x="2388394" y="121444"/>
                    <a:pt x="2390299" y="114776"/>
                  </a:cubicBezTo>
                  <a:cubicBezTo>
                    <a:pt x="2413159" y="53816"/>
                    <a:pt x="2427446" y="12859"/>
                    <a:pt x="2427446" y="12859"/>
                  </a:cubicBezTo>
                  <a:cubicBezTo>
                    <a:pt x="2427446" y="12859"/>
                    <a:pt x="2407444" y="50959"/>
                    <a:pt x="2380774" y="110014"/>
                  </a:cubicBezTo>
                  <a:cubicBezTo>
                    <a:pt x="2374106" y="124301"/>
                    <a:pt x="2366486" y="140494"/>
                    <a:pt x="2358866" y="157639"/>
                  </a:cubicBezTo>
                  <a:cubicBezTo>
                    <a:pt x="2357914" y="160496"/>
                    <a:pt x="2356009" y="163354"/>
                    <a:pt x="2355056" y="166211"/>
                  </a:cubicBezTo>
                  <a:cubicBezTo>
                    <a:pt x="2356009" y="162401"/>
                    <a:pt x="2356961" y="158591"/>
                    <a:pt x="2357914" y="155734"/>
                  </a:cubicBezTo>
                  <a:cubicBezTo>
                    <a:pt x="2360771" y="141446"/>
                    <a:pt x="2362676" y="132874"/>
                    <a:pt x="2362676" y="132874"/>
                  </a:cubicBezTo>
                  <a:cubicBezTo>
                    <a:pt x="2362676" y="132874"/>
                    <a:pt x="2359819" y="140494"/>
                    <a:pt x="2354104" y="154781"/>
                  </a:cubicBezTo>
                  <a:cubicBezTo>
                    <a:pt x="2351246" y="161449"/>
                    <a:pt x="2348389" y="170021"/>
                    <a:pt x="2344579" y="179546"/>
                  </a:cubicBezTo>
                  <a:cubicBezTo>
                    <a:pt x="2340769" y="189071"/>
                    <a:pt x="2336959" y="200501"/>
                    <a:pt x="2334101" y="211931"/>
                  </a:cubicBezTo>
                  <a:cubicBezTo>
                    <a:pt x="2334101" y="211931"/>
                    <a:pt x="2334101" y="211931"/>
                    <a:pt x="2334101" y="211931"/>
                  </a:cubicBezTo>
                  <a:cubicBezTo>
                    <a:pt x="2336006" y="197644"/>
                    <a:pt x="2338864" y="184309"/>
                    <a:pt x="2340769" y="171926"/>
                  </a:cubicBezTo>
                  <a:cubicBezTo>
                    <a:pt x="2343626" y="156686"/>
                    <a:pt x="2344579" y="143351"/>
                    <a:pt x="2347436" y="130969"/>
                  </a:cubicBezTo>
                  <a:cubicBezTo>
                    <a:pt x="2350294" y="118586"/>
                    <a:pt x="2352199" y="108109"/>
                    <a:pt x="2354104" y="99536"/>
                  </a:cubicBezTo>
                  <a:cubicBezTo>
                    <a:pt x="2357914" y="82391"/>
                    <a:pt x="2358866" y="71914"/>
                    <a:pt x="2358866" y="71914"/>
                  </a:cubicBezTo>
                  <a:cubicBezTo>
                    <a:pt x="2358866" y="71914"/>
                    <a:pt x="2355056" y="81439"/>
                    <a:pt x="2350294" y="98584"/>
                  </a:cubicBezTo>
                  <a:cubicBezTo>
                    <a:pt x="2347436" y="107156"/>
                    <a:pt x="2344579" y="117634"/>
                    <a:pt x="2340769" y="129064"/>
                  </a:cubicBezTo>
                  <a:cubicBezTo>
                    <a:pt x="2336959" y="140494"/>
                    <a:pt x="2333149" y="154781"/>
                    <a:pt x="2330291" y="170021"/>
                  </a:cubicBezTo>
                  <a:cubicBezTo>
                    <a:pt x="2328386" y="177641"/>
                    <a:pt x="2326481" y="185261"/>
                    <a:pt x="2324576" y="193834"/>
                  </a:cubicBezTo>
                  <a:cubicBezTo>
                    <a:pt x="2323624" y="190976"/>
                    <a:pt x="2321719" y="188119"/>
                    <a:pt x="2320766" y="185261"/>
                  </a:cubicBezTo>
                  <a:cubicBezTo>
                    <a:pt x="2324576" y="168116"/>
                    <a:pt x="2326481" y="157639"/>
                    <a:pt x="2326481" y="157639"/>
                  </a:cubicBezTo>
                  <a:cubicBezTo>
                    <a:pt x="2326481" y="157639"/>
                    <a:pt x="2323624" y="165259"/>
                    <a:pt x="2318861" y="179546"/>
                  </a:cubicBezTo>
                  <a:cubicBezTo>
                    <a:pt x="2316004" y="173831"/>
                    <a:pt x="2315051" y="170974"/>
                    <a:pt x="2315051" y="170974"/>
                  </a:cubicBezTo>
                  <a:cubicBezTo>
                    <a:pt x="2315051" y="170974"/>
                    <a:pt x="2316004" y="174784"/>
                    <a:pt x="2317909" y="181451"/>
                  </a:cubicBezTo>
                  <a:cubicBezTo>
                    <a:pt x="2316956" y="185261"/>
                    <a:pt x="2315051" y="189071"/>
                    <a:pt x="2313146" y="193834"/>
                  </a:cubicBezTo>
                  <a:cubicBezTo>
                    <a:pt x="2312194" y="192881"/>
                    <a:pt x="2312194" y="191929"/>
                    <a:pt x="2311241" y="190976"/>
                  </a:cubicBezTo>
                  <a:cubicBezTo>
                    <a:pt x="2314099" y="161449"/>
                    <a:pt x="2314099" y="141446"/>
                    <a:pt x="2314099" y="141446"/>
                  </a:cubicBezTo>
                  <a:cubicBezTo>
                    <a:pt x="2314099" y="141446"/>
                    <a:pt x="2306479" y="165259"/>
                    <a:pt x="2298859" y="202406"/>
                  </a:cubicBezTo>
                  <a:cubicBezTo>
                    <a:pt x="2296954" y="211931"/>
                    <a:pt x="2294096" y="221456"/>
                    <a:pt x="2292191" y="231934"/>
                  </a:cubicBezTo>
                  <a:cubicBezTo>
                    <a:pt x="2291239" y="237649"/>
                    <a:pt x="2290286" y="244316"/>
                    <a:pt x="2289334" y="250031"/>
                  </a:cubicBezTo>
                  <a:cubicBezTo>
                    <a:pt x="2288381" y="252889"/>
                    <a:pt x="2287429" y="255746"/>
                    <a:pt x="2285524" y="259556"/>
                  </a:cubicBezTo>
                  <a:cubicBezTo>
                    <a:pt x="2282666" y="267176"/>
                    <a:pt x="2279809" y="276701"/>
                    <a:pt x="2275999" y="287179"/>
                  </a:cubicBezTo>
                  <a:cubicBezTo>
                    <a:pt x="2275999" y="287179"/>
                    <a:pt x="2275999" y="288131"/>
                    <a:pt x="2275999" y="288131"/>
                  </a:cubicBezTo>
                  <a:cubicBezTo>
                    <a:pt x="2275999" y="286226"/>
                    <a:pt x="2275999" y="284321"/>
                    <a:pt x="2275999" y="282416"/>
                  </a:cubicBezTo>
                  <a:cubicBezTo>
                    <a:pt x="2276951" y="271939"/>
                    <a:pt x="2276951" y="265271"/>
                    <a:pt x="2276951" y="265271"/>
                  </a:cubicBezTo>
                  <a:cubicBezTo>
                    <a:pt x="2276951" y="265271"/>
                    <a:pt x="2275046" y="270986"/>
                    <a:pt x="2272189" y="281464"/>
                  </a:cubicBezTo>
                  <a:cubicBezTo>
                    <a:pt x="2271236" y="284321"/>
                    <a:pt x="2270284" y="287179"/>
                    <a:pt x="2269331" y="290989"/>
                  </a:cubicBezTo>
                  <a:cubicBezTo>
                    <a:pt x="2269331" y="290989"/>
                    <a:pt x="2269331" y="290989"/>
                    <a:pt x="2269331" y="290989"/>
                  </a:cubicBezTo>
                  <a:cubicBezTo>
                    <a:pt x="2269331" y="280511"/>
                    <a:pt x="2268379" y="270034"/>
                    <a:pt x="2269331" y="261461"/>
                  </a:cubicBezTo>
                  <a:cubicBezTo>
                    <a:pt x="2270284" y="252889"/>
                    <a:pt x="2269331" y="245269"/>
                    <a:pt x="2270284" y="238601"/>
                  </a:cubicBezTo>
                  <a:cubicBezTo>
                    <a:pt x="2271236" y="232886"/>
                    <a:pt x="2271236" y="228124"/>
                    <a:pt x="2272189" y="225266"/>
                  </a:cubicBezTo>
                  <a:cubicBezTo>
                    <a:pt x="2275046" y="215741"/>
                    <a:pt x="2275999" y="210979"/>
                    <a:pt x="2275999" y="210979"/>
                  </a:cubicBezTo>
                  <a:cubicBezTo>
                    <a:pt x="2275999" y="210979"/>
                    <a:pt x="2272189" y="218599"/>
                    <a:pt x="2266474" y="232886"/>
                  </a:cubicBezTo>
                  <a:cubicBezTo>
                    <a:pt x="2267426" y="230029"/>
                    <a:pt x="2267426" y="228124"/>
                    <a:pt x="2267426" y="228124"/>
                  </a:cubicBezTo>
                  <a:cubicBezTo>
                    <a:pt x="2267426" y="228124"/>
                    <a:pt x="2265521" y="230981"/>
                    <a:pt x="2263616" y="235744"/>
                  </a:cubicBezTo>
                  <a:cubicBezTo>
                    <a:pt x="2264569" y="226219"/>
                    <a:pt x="2265521" y="220504"/>
                    <a:pt x="2265521" y="220504"/>
                  </a:cubicBezTo>
                  <a:cubicBezTo>
                    <a:pt x="2265521" y="220504"/>
                    <a:pt x="2262664" y="230029"/>
                    <a:pt x="2256949" y="247174"/>
                  </a:cubicBezTo>
                  <a:cubicBezTo>
                    <a:pt x="2255044" y="250984"/>
                    <a:pt x="2253139" y="253841"/>
                    <a:pt x="2252186" y="258604"/>
                  </a:cubicBezTo>
                  <a:cubicBezTo>
                    <a:pt x="2251234" y="259556"/>
                    <a:pt x="2251234" y="260509"/>
                    <a:pt x="2250281" y="262414"/>
                  </a:cubicBezTo>
                  <a:cubicBezTo>
                    <a:pt x="2252186" y="255746"/>
                    <a:pt x="2253139" y="249079"/>
                    <a:pt x="2255044" y="243364"/>
                  </a:cubicBezTo>
                  <a:cubicBezTo>
                    <a:pt x="2260759" y="216694"/>
                    <a:pt x="2264569" y="194786"/>
                    <a:pt x="2267426" y="178594"/>
                  </a:cubicBezTo>
                  <a:cubicBezTo>
                    <a:pt x="2269331" y="163354"/>
                    <a:pt x="2270284" y="153829"/>
                    <a:pt x="2270284" y="153829"/>
                  </a:cubicBezTo>
                  <a:cubicBezTo>
                    <a:pt x="2270284" y="153829"/>
                    <a:pt x="2267426" y="162401"/>
                    <a:pt x="2262664" y="177641"/>
                  </a:cubicBezTo>
                  <a:cubicBezTo>
                    <a:pt x="2260759" y="185261"/>
                    <a:pt x="2257901" y="194786"/>
                    <a:pt x="2254091" y="205264"/>
                  </a:cubicBezTo>
                  <a:cubicBezTo>
                    <a:pt x="2251234" y="212884"/>
                    <a:pt x="2249329" y="221456"/>
                    <a:pt x="2246471" y="230981"/>
                  </a:cubicBezTo>
                  <a:cubicBezTo>
                    <a:pt x="2244566" y="234791"/>
                    <a:pt x="2243614" y="239554"/>
                    <a:pt x="2241709" y="244316"/>
                  </a:cubicBezTo>
                  <a:cubicBezTo>
                    <a:pt x="2240756" y="240506"/>
                    <a:pt x="2239804" y="236696"/>
                    <a:pt x="2239804" y="233839"/>
                  </a:cubicBezTo>
                  <a:cubicBezTo>
                    <a:pt x="2235994" y="215741"/>
                    <a:pt x="2233136" y="205264"/>
                    <a:pt x="2233136" y="205264"/>
                  </a:cubicBezTo>
                  <a:cubicBezTo>
                    <a:pt x="2233136" y="205264"/>
                    <a:pt x="2235041" y="224314"/>
                    <a:pt x="2237899" y="255746"/>
                  </a:cubicBezTo>
                  <a:cubicBezTo>
                    <a:pt x="2236946" y="259556"/>
                    <a:pt x="2235041" y="264319"/>
                    <a:pt x="2234089" y="269081"/>
                  </a:cubicBezTo>
                  <a:cubicBezTo>
                    <a:pt x="2234089" y="269081"/>
                    <a:pt x="2233136" y="270034"/>
                    <a:pt x="2233136" y="270034"/>
                  </a:cubicBezTo>
                  <a:cubicBezTo>
                    <a:pt x="2233136" y="268129"/>
                    <a:pt x="2233136" y="265271"/>
                    <a:pt x="2233136" y="263366"/>
                  </a:cubicBezTo>
                  <a:cubicBezTo>
                    <a:pt x="2233136" y="253841"/>
                    <a:pt x="2232184" y="244316"/>
                    <a:pt x="2231231" y="234791"/>
                  </a:cubicBezTo>
                  <a:cubicBezTo>
                    <a:pt x="2230279" y="225266"/>
                    <a:pt x="2229326" y="216694"/>
                    <a:pt x="2228374" y="207169"/>
                  </a:cubicBezTo>
                  <a:cubicBezTo>
                    <a:pt x="2229326" y="198596"/>
                    <a:pt x="2230279" y="193834"/>
                    <a:pt x="2230279" y="193834"/>
                  </a:cubicBezTo>
                  <a:cubicBezTo>
                    <a:pt x="2230279" y="193834"/>
                    <a:pt x="2229326" y="197644"/>
                    <a:pt x="2226469" y="204311"/>
                  </a:cubicBezTo>
                  <a:cubicBezTo>
                    <a:pt x="2225516" y="202406"/>
                    <a:pt x="2224564" y="201454"/>
                    <a:pt x="2222659" y="200501"/>
                  </a:cubicBezTo>
                  <a:cubicBezTo>
                    <a:pt x="2221706" y="200501"/>
                    <a:pt x="2221706" y="199549"/>
                    <a:pt x="2220754" y="199549"/>
                  </a:cubicBezTo>
                  <a:cubicBezTo>
                    <a:pt x="2219801" y="199549"/>
                    <a:pt x="2218849" y="199549"/>
                    <a:pt x="2217896" y="199549"/>
                  </a:cubicBezTo>
                  <a:cubicBezTo>
                    <a:pt x="2215991" y="200501"/>
                    <a:pt x="2215991" y="201454"/>
                    <a:pt x="2215039" y="202406"/>
                  </a:cubicBezTo>
                  <a:cubicBezTo>
                    <a:pt x="2213134" y="206216"/>
                    <a:pt x="2213134" y="210979"/>
                    <a:pt x="2213134" y="214789"/>
                  </a:cubicBezTo>
                  <a:cubicBezTo>
                    <a:pt x="2214086" y="210979"/>
                    <a:pt x="2215039" y="206216"/>
                    <a:pt x="2217896" y="203359"/>
                  </a:cubicBezTo>
                  <a:cubicBezTo>
                    <a:pt x="2218849" y="202406"/>
                    <a:pt x="2218849" y="201454"/>
                    <a:pt x="2219801" y="201454"/>
                  </a:cubicBezTo>
                  <a:cubicBezTo>
                    <a:pt x="2219801" y="201454"/>
                    <a:pt x="2220754" y="201454"/>
                    <a:pt x="2220754" y="202406"/>
                  </a:cubicBezTo>
                  <a:cubicBezTo>
                    <a:pt x="2221706" y="203359"/>
                    <a:pt x="2222659" y="205264"/>
                    <a:pt x="2223611" y="207169"/>
                  </a:cubicBezTo>
                  <a:lnTo>
                    <a:pt x="2223611" y="215741"/>
                  </a:lnTo>
                  <a:cubicBezTo>
                    <a:pt x="2223611" y="215741"/>
                    <a:pt x="2223611" y="215741"/>
                    <a:pt x="2223611" y="215741"/>
                  </a:cubicBezTo>
                  <a:cubicBezTo>
                    <a:pt x="2221706" y="222409"/>
                    <a:pt x="2218849" y="230981"/>
                    <a:pt x="2215991" y="241459"/>
                  </a:cubicBezTo>
                  <a:cubicBezTo>
                    <a:pt x="2213134" y="250984"/>
                    <a:pt x="2209324" y="262414"/>
                    <a:pt x="2206466" y="274796"/>
                  </a:cubicBezTo>
                  <a:cubicBezTo>
                    <a:pt x="2203609" y="287179"/>
                    <a:pt x="2199799" y="299561"/>
                    <a:pt x="2196941" y="313849"/>
                  </a:cubicBezTo>
                  <a:cubicBezTo>
                    <a:pt x="2195989" y="308134"/>
                    <a:pt x="2195989" y="305276"/>
                    <a:pt x="2195989" y="305276"/>
                  </a:cubicBezTo>
                  <a:cubicBezTo>
                    <a:pt x="2195989" y="305276"/>
                    <a:pt x="2195989" y="310039"/>
                    <a:pt x="2195036" y="317659"/>
                  </a:cubicBezTo>
                  <a:cubicBezTo>
                    <a:pt x="2194084" y="315754"/>
                    <a:pt x="2193131" y="314801"/>
                    <a:pt x="2193131" y="314801"/>
                  </a:cubicBezTo>
                  <a:cubicBezTo>
                    <a:pt x="2193131" y="314801"/>
                    <a:pt x="2194084" y="315754"/>
                    <a:pt x="2195036" y="318611"/>
                  </a:cubicBezTo>
                  <a:cubicBezTo>
                    <a:pt x="2195036" y="320516"/>
                    <a:pt x="2195036" y="321469"/>
                    <a:pt x="2195036" y="323374"/>
                  </a:cubicBezTo>
                  <a:cubicBezTo>
                    <a:pt x="2194084" y="327184"/>
                    <a:pt x="2193131" y="330994"/>
                    <a:pt x="2192179" y="334804"/>
                  </a:cubicBezTo>
                  <a:cubicBezTo>
                    <a:pt x="2191226" y="332899"/>
                    <a:pt x="2191226" y="331946"/>
                    <a:pt x="2190274" y="330994"/>
                  </a:cubicBezTo>
                  <a:cubicBezTo>
                    <a:pt x="2190274" y="330041"/>
                    <a:pt x="2191226" y="330041"/>
                    <a:pt x="2191226" y="330041"/>
                  </a:cubicBezTo>
                  <a:cubicBezTo>
                    <a:pt x="2191226" y="330041"/>
                    <a:pt x="2191226" y="330041"/>
                    <a:pt x="2190274" y="330994"/>
                  </a:cubicBezTo>
                  <a:cubicBezTo>
                    <a:pt x="2189321" y="328136"/>
                    <a:pt x="2188369" y="326231"/>
                    <a:pt x="2188369" y="326231"/>
                  </a:cubicBezTo>
                  <a:cubicBezTo>
                    <a:pt x="2188369" y="326231"/>
                    <a:pt x="2188369" y="328136"/>
                    <a:pt x="2189321" y="331946"/>
                  </a:cubicBezTo>
                  <a:cubicBezTo>
                    <a:pt x="2189321" y="331946"/>
                    <a:pt x="2188369" y="332899"/>
                    <a:pt x="2188369" y="332899"/>
                  </a:cubicBezTo>
                  <a:cubicBezTo>
                    <a:pt x="2186464" y="321469"/>
                    <a:pt x="2185511" y="315754"/>
                    <a:pt x="2185511" y="315754"/>
                  </a:cubicBezTo>
                  <a:cubicBezTo>
                    <a:pt x="2185511" y="315754"/>
                    <a:pt x="2185511" y="323374"/>
                    <a:pt x="2184559" y="336709"/>
                  </a:cubicBezTo>
                  <a:cubicBezTo>
                    <a:pt x="2184559" y="336709"/>
                    <a:pt x="2184559" y="336709"/>
                    <a:pt x="2184559" y="337661"/>
                  </a:cubicBezTo>
                  <a:cubicBezTo>
                    <a:pt x="2183606" y="339566"/>
                    <a:pt x="2181701" y="341471"/>
                    <a:pt x="2179796" y="343376"/>
                  </a:cubicBezTo>
                  <a:cubicBezTo>
                    <a:pt x="2179796" y="342424"/>
                    <a:pt x="2178844" y="341471"/>
                    <a:pt x="2178844" y="340519"/>
                  </a:cubicBezTo>
                  <a:cubicBezTo>
                    <a:pt x="2183606" y="320516"/>
                    <a:pt x="2188369" y="301466"/>
                    <a:pt x="2192179" y="283369"/>
                  </a:cubicBezTo>
                  <a:cubicBezTo>
                    <a:pt x="2205514" y="228124"/>
                    <a:pt x="2212181" y="190024"/>
                    <a:pt x="2212181" y="190024"/>
                  </a:cubicBezTo>
                  <a:cubicBezTo>
                    <a:pt x="2212181" y="190024"/>
                    <a:pt x="2199799" y="222409"/>
                    <a:pt x="2183606" y="272891"/>
                  </a:cubicBezTo>
                  <a:cubicBezTo>
                    <a:pt x="2184559" y="266224"/>
                    <a:pt x="2186464" y="259556"/>
                    <a:pt x="2187416" y="253841"/>
                  </a:cubicBezTo>
                  <a:cubicBezTo>
                    <a:pt x="2189321" y="246221"/>
                    <a:pt x="2190274" y="239554"/>
                    <a:pt x="2192179" y="231934"/>
                  </a:cubicBezTo>
                  <a:cubicBezTo>
                    <a:pt x="2194084" y="224314"/>
                    <a:pt x="2195989" y="216694"/>
                    <a:pt x="2196941" y="210026"/>
                  </a:cubicBezTo>
                  <a:cubicBezTo>
                    <a:pt x="2197894" y="204311"/>
                    <a:pt x="2199799" y="198596"/>
                    <a:pt x="2200751" y="193834"/>
                  </a:cubicBezTo>
                  <a:cubicBezTo>
                    <a:pt x="2201704" y="189071"/>
                    <a:pt x="2203609" y="184309"/>
                    <a:pt x="2204561" y="179546"/>
                  </a:cubicBezTo>
                  <a:cubicBezTo>
                    <a:pt x="2207419" y="170021"/>
                    <a:pt x="2209324" y="162401"/>
                    <a:pt x="2211229" y="155734"/>
                  </a:cubicBezTo>
                  <a:cubicBezTo>
                    <a:pt x="2215039" y="142399"/>
                    <a:pt x="2217896" y="134779"/>
                    <a:pt x="2217896" y="134779"/>
                  </a:cubicBezTo>
                  <a:cubicBezTo>
                    <a:pt x="2217896" y="134779"/>
                    <a:pt x="2215039" y="139541"/>
                    <a:pt x="2211229" y="148114"/>
                  </a:cubicBezTo>
                  <a:cubicBezTo>
                    <a:pt x="2211229" y="148114"/>
                    <a:pt x="2211229" y="147161"/>
                    <a:pt x="2211229" y="147161"/>
                  </a:cubicBezTo>
                  <a:cubicBezTo>
                    <a:pt x="2213134" y="139541"/>
                    <a:pt x="2215039" y="131921"/>
                    <a:pt x="2216944" y="125254"/>
                  </a:cubicBezTo>
                  <a:cubicBezTo>
                    <a:pt x="2218849" y="118586"/>
                    <a:pt x="2220754" y="111919"/>
                    <a:pt x="2222659" y="105251"/>
                  </a:cubicBezTo>
                  <a:cubicBezTo>
                    <a:pt x="2226469" y="92869"/>
                    <a:pt x="2229326" y="81439"/>
                    <a:pt x="2233136" y="72866"/>
                  </a:cubicBezTo>
                  <a:cubicBezTo>
                    <a:pt x="2238851" y="54769"/>
                    <a:pt x="2242661" y="45244"/>
                    <a:pt x="2242661" y="45244"/>
                  </a:cubicBezTo>
                  <a:cubicBezTo>
                    <a:pt x="2242661" y="45244"/>
                    <a:pt x="2237899" y="54769"/>
                    <a:pt x="2229326" y="71914"/>
                  </a:cubicBezTo>
                  <a:cubicBezTo>
                    <a:pt x="2224564" y="80486"/>
                    <a:pt x="2220754" y="90964"/>
                    <a:pt x="2215991" y="103346"/>
                  </a:cubicBezTo>
                  <a:cubicBezTo>
                    <a:pt x="2213134" y="109061"/>
                    <a:pt x="2211229" y="115729"/>
                    <a:pt x="2208371" y="122396"/>
                  </a:cubicBezTo>
                  <a:cubicBezTo>
                    <a:pt x="2205514" y="129064"/>
                    <a:pt x="2203609" y="136684"/>
                    <a:pt x="2200751" y="144304"/>
                  </a:cubicBezTo>
                  <a:cubicBezTo>
                    <a:pt x="2195036" y="159544"/>
                    <a:pt x="2190274" y="176689"/>
                    <a:pt x="2184559" y="193834"/>
                  </a:cubicBezTo>
                  <a:cubicBezTo>
                    <a:pt x="2181701" y="204311"/>
                    <a:pt x="2177891" y="215741"/>
                    <a:pt x="2175034" y="228124"/>
                  </a:cubicBezTo>
                  <a:cubicBezTo>
                    <a:pt x="2175986" y="218599"/>
                    <a:pt x="2176939" y="210026"/>
                    <a:pt x="2177891" y="203359"/>
                  </a:cubicBezTo>
                  <a:cubicBezTo>
                    <a:pt x="2178844" y="198596"/>
                    <a:pt x="2178844" y="193834"/>
                    <a:pt x="2178844" y="190024"/>
                  </a:cubicBezTo>
                  <a:cubicBezTo>
                    <a:pt x="2179796" y="186214"/>
                    <a:pt x="2180749" y="184309"/>
                    <a:pt x="2180749" y="184309"/>
                  </a:cubicBezTo>
                  <a:cubicBezTo>
                    <a:pt x="2180749" y="184309"/>
                    <a:pt x="2179796" y="185261"/>
                    <a:pt x="2179796" y="187166"/>
                  </a:cubicBezTo>
                  <a:cubicBezTo>
                    <a:pt x="2180749" y="180499"/>
                    <a:pt x="2180749" y="176689"/>
                    <a:pt x="2180749" y="176689"/>
                  </a:cubicBezTo>
                  <a:cubicBezTo>
                    <a:pt x="2180749" y="176689"/>
                    <a:pt x="2178844" y="183356"/>
                    <a:pt x="2175986" y="194786"/>
                  </a:cubicBezTo>
                  <a:cubicBezTo>
                    <a:pt x="2174081" y="198596"/>
                    <a:pt x="2172176" y="202406"/>
                    <a:pt x="2170271" y="208121"/>
                  </a:cubicBezTo>
                  <a:cubicBezTo>
                    <a:pt x="2163604" y="223361"/>
                    <a:pt x="2155031" y="245269"/>
                    <a:pt x="2144554" y="271939"/>
                  </a:cubicBezTo>
                  <a:cubicBezTo>
                    <a:pt x="2141696" y="279559"/>
                    <a:pt x="2137886" y="288131"/>
                    <a:pt x="2135029" y="296704"/>
                  </a:cubicBezTo>
                  <a:cubicBezTo>
                    <a:pt x="2135029" y="296704"/>
                    <a:pt x="2135029" y="296704"/>
                    <a:pt x="2135029" y="295751"/>
                  </a:cubicBezTo>
                  <a:cubicBezTo>
                    <a:pt x="2133124" y="290989"/>
                    <a:pt x="2131219" y="286226"/>
                    <a:pt x="2129314" y="282416"/>
                  </a:cubicBezTo>
                  <a:cubicBezTo>
                    <a:pt x="2133124" y="261461"/>
                    <a:pt x="2135981" y="244316"/>
                    <a:pt x="2137886" y="231934"/>
                  </a:cubicBezTo>
                  <a:cubicBezTo>
                    <a:pt x="2139791" y="217646"/>
                    <a:pt x="2141696" y="210026"/>
                    <a:pt x="2141696" y="210026"/>
                  </a:cubicBezTo>
                  <a:cubicBezTo>
                    <a:pt x="2141696" y="210026"/>
                    <a:pt x="2138839" y="217646"/>
                    <a:pt x="2134076" y="230981"/>
                  </a:cubicBezTo>
                  <a:cubicBezTo>
                    <a:pt x="2131219" y="239554"/>
                    <a:pt x="2127409" y="250984"/>
                    <a:pt x="2123599" y="263366"/>
                  </a:cubicBezTo>
                  <a:cubicBezTo>
                    <a:pt x="2123599" y="260509"/>
                    <a:pt x="2122646" y="257651"/>
                    <a:pt x="2122646" y="253841"/>
                  </a:cubicBezTo>
                  <a:cubicBezTo>
                    <a:pt x="2120741" y="238601"/>
                    <a:pt x="2118836" y="225266"/>
                    <a:pt x="2117884" y="211931"/>
                  </a:cubicBezTo>
                  <a:cubicBezTo>
                    <a:pt x="2115979" y="198596"/>
                    <a:pt x="2114074" y="187166"/>
                    <a:pt x="2112169" y="176689"/>
                  </a:cubicBezTo>
                  <a:cubicBezTo>
                    <a:pt x="2110264" y="166211"/>
                    <a:pt x="2108359" y="157639"/>
                    <a:pt x="2107406" y="150019"/>
                  </a:cubicBezTo>
                  <a:cubicBezTo>
                    <a:pt x="2104549" y="134779"/>
                    <a:pt x="2102644" y="127159"/>
                    <a:pt x="2102644" y="127159"/>
                  </a:cubicBezTo>
                  <a:cubicBezTo>
                    <a:pt x="2102644" y="127159"/>
                    <a:pt x="2102644" y="135731"/>
                    <a:pt x="2103596" y="150971"/>
                  </a:cubicBezTo>
                  <a:cubicBezTo>
                    <a:pt x="2103596" y="155734"/>
                    <a:pt x="2104549" y="161449"/>
                    <a:pt x="2104549" y="168116"/>
                  </a:cubicBezTo>
                  <a:cubicBezTo>
                    <a:pt x="2104549" y="171926"/>
                    <a:pt x="2104549" y="176689"/>
                    <a:pt x="2104549" y="183356"/>
                  </a:cubicBezTo>
                  <a:cubicBezTo>
                    <a:pt x="2104549" y="190024"/>
                    <a:pt x="2105501" y="197644"/>
                    <a:pt x="2105501" y="207169"/>
                  </a:cubicBezTo>
                  <a:cubicBezTo>
                    <a:pt x="2105501" y="212884"/>
                    <a:pt x="2106454" y="218599"/>
                    <a:pt x="2106454" y="225266"/>
                  </a:cubicBezTo>
                  <a:cubicBezTo>
                    <a:pt x="2105501" y="224314"/>
                    <a:pt x="2105501" y="222409"/>
                    <a:pt x="2104549" y="221456"/>
                  </a:cubicBezTo>
                  <a:cubicBezTo>
                    <a:pt x="2104549" y="221456"/>
                    <a:pt x="2104549" y="221456"/>
                    <a:pt x="2104549" y="221456"/>
                  </a:cubicBezTo>
                  <a:lnTo>
                    <a:pt x="2104549" y="221456"/>
                  </a:lnTo>
                  <a:cubicBezTo>
                    <a:pt x="2103596" y="219551"/>
                    <a:pt x="2102644" y="217646"/>
                    <a:pt x="2102644" y="215741"/>
                  </a:cubicBezTo>
                  <a:cubicBezTo>
                    <a:pt x="2102644" y="211931"/>
                    <a:pt x="2101691" y="208121"/>
                    <a:pt x="2101691" y="205264"/>
                  </a:cubicBezTo>
                  <a:cubicBezTo>
                    <a:pt x="2100739" y="193834"/>
                    <a:pt x="2099786" y="184309"/>
                    <a:pt x="2098834" y="176689"/>
                  </a:cubicBezTo>
                  <a:cubicBezTo>
                    <a:pt x="2098834" y="173831"/>
                    <a:pt x="2097881" y="170974"/>
                    <a:pt x="2097881" y="168116"/>
                  </a:cubicBezTo>
                  <a:cubicBezTo>
                    <a:pt x="2100739" y="155734"/>
                    <a:pt x="2102644" y="149066"/>
                    <a:pt x="2102644" y="149066"/>
                  </a:cubicBezTo>
                  <a:cubicBezTo>
                    <a:pt x="2102644" y="149066"/>
                    <a:pt x="2100739" y="153829"/>
                    <a:pt x="2096929" y="162401"/>
                  </a:cubicBezTo>
                  <a:cubicBezTo>
                    <a:pt x="2095976" y="155734"/>
                    <a:pt x="2095024" y="151924"/>
                    <a:pt x="2095024" y="151924"/>
                  </a:cubicBezTo>
                  <a:cubicBezTo>
                    <a:pt x="2095024" y="151924"/>
                    <a:pt x="2095024" y="157639"/>
                    <a:pt x="2095024" y="167164"/>
                  </a:cubicBezTo>
                  <a:cubicBezTo>
                    <a:pt x="2088356" y="182404"/>
                    <a:pt x="2078831" y="206216"/>
                    <a:pt x="2066449" y="235744"/>
                  </a:cubicBezTo>
                  <a:cubicBezTo>
                    <a:pt x="2063591" y="243364"/>
                    <a:pt x="2060734" y="250984"/>
                    <a:pt x="2056924" y="259556"/>
                  </a:cubicBezTo>
                  <a:cubicBezTo>
                    <a:pt x="2061686" y="234791"/>
                    <a:pt x="2063591" y="219551"/>
                    <a:pt x="2063591" y="219551"/>
                  </a:cubicBezTo>
                  <a:cubicBezTo>
                    <a:pt x="2063591" y="219551"/>
                    <a:pt x="2058829" y="231934"/>
                    <a:pt x="2052161" y="252889"/>
                  </a:cubicBezTo>
                  <a:cubicBezTo>
                    <a:pt x="2051209" y="250984"/>
                    <a:pt x="2050256" y="249079"/>
                    <a:pt x="2050256" y="248126"/>
                  </a:cubicBezTo>
                  <a:cubicBezTo>
                    <a:pt x="2050256" y="238601"/>
                    <a:pt x="2050256" y="233839"/>
                    <a:pt x="2050256" y="233839"/>
                  </a:cubicBezTo>
                  <a:cubicBezTo>
                    <a:pt x="2050256" y="233839"/>
                    <a:pt x="2049304" y="237649"/>
                    <a:pt x="2048351" y="244316"/>
                  </a:cubicBezTo>
                  <a:cubicBezTo>
                    <a:pt x="2047399" y="241459"/>
                    <a:pt x="2046446" y="240506"/>
                    <a:pt x="2046446" y="240506"/>
                  </a:cubicBezTo>
                  <a:cubicBezTo>
                    <a:pt x="2046446" y="240506"/>
                    <a:pt x="2047399" y="242411"/>
                    <a:pt x="2047399" y="247174"/>
                  </a:cubicBezTo>
                  <a:cubicBezTo>
                    <a:pt x="2046446" y="251936"/>
                    <a:pt x="2045494" y="258604"/>
                    <a:pt x="2044541" y="266224"/>
                  </a:cubicBezTo>
                  <a:cubicBezTo>
                    <a:pt x="2044541" y="264319"/>
                    <a:pt x="2043589" y="261461"/>
                    <a:pt x="2043589" y="259556"/>
                  </a:cubicBezTo>
                  <a:cubicBezTo>
                    <a:pt x="2042636" y="255746"/>
                    <a:pt x="2042636" y="252889"/>
                    <a:pt x="2041684" y="249079"/>
                  </a:cubicBezTo>
                  <a:cubicBezTo>
                    <a:pt x="2046446" y="210026"/>
                    <a:pt x="2048351" y="184309"/>
                    <a:pt x="2048351" y="184309"/>
                  </a:cubicBezTo>
                  <a:cubicBezTo>
                    <a:pt x="2048351" y="184309"/>
                    <a:pt x="2044541" y="196691"/>
                    <a:pt x="2039779" y="216694"/>
                  </a:cubicBezTo>
                  <a:cubicBezTo>
                    <a:pt x="2038826" y="218599"/>
                    <a:pt x="2037874" y="220504"/>
                    <a:pt x="2036921" y="223361"/>
                  </a:cubicBezTo>
                  <a:cubicBezTo>
                    <a:pt x="2036921" y="221456"/>
                    <a:pt x="2035969" y="220504"/>
                    <a:pt x="2035969" y="218599"/>
                  </a:cubicBezTo>
                  <a:cubicBezTo>
                    <a:pt x="2034064" y="206216"/>
                    <a:pt x="2032159" y="195739"/>
                    <a:pt x="2031206" y="187166"/>
                  </a:cubicBezTo>
                  <a:cubicBezTo>
                    <a:pt x="2030254" y="179546"/>
                    <a:pt x="2029301" y="173831"/>
                    <a:pt x="2028349" y="169069"/>
                  </a:cubicBezTo>
                  <a:cubicBezTo>
                    <a:pt x="2030254" y="154781"/>
                    <a:pt x="2031206" y="147161"/>
                    <a:pt x="2031206" y="147161"/>
                  </a:cubicBezTo>
                  <a:cubicBezTo>
                    <a:pt x="2031206" y="147161"/>
                    <a:pt x="2030254" y="150971"/>
                    <a:pt x="2028349" y="157639"/>
                  </a:cubicBezTo>
                  <a:cubicBezTo>
                    <a:pt x="2029301" y="145256"/>
                    <a:pt x="2030254" y="138589"/>
                    <a:pt x="2030254" y="138589"/>
                  </a:cubicBezTo>
                  <a:cubicBezTo>
                    <a:pt x="2030254" y="138589"/>
                    <a:pt x="2028349" y="146209"/>
                    <a:pt x="2023586" y="160496"/>
                  </a:cubicBezTo>
                  <a:cubicBezTo>
                    <a:pt x="2021681" y="167164"/>
                    <a:pt x="2019776" y="176689"/>
                    <a:pt x="2017871" y="186214"/>
                  </a:cubicBezTo>
                  <a:cubicBezTo>
                    <a:pt x="2017871" y="188119"/>
                    <a:pt x="2016919" y="190024"/>
                    <a:pt x="2016919" y="191929"/>
                  </a:cubicBezTo>
                  <a:cubicBezTo>
                    <a:pt x="2016919" y="191929"/>
                    <a:pt x="2016919" y="190976"/>
                    <a:pt x="2016919" y="190976"/>
                  </a:cubicBezTo>
                  <a:cubicBezTo>
                    <a:pt x="2018824" y="170021"/>
                    <a:pt x="2019776" y="158591"/>
                    <a:pt x="2019776" y="158591"/>
                  </a:cubicBezTo>
                  <a:cubicBezTo>
                    <a:pt x="2019776" y="158591"/>
                    <a:pt x="2017871" y="166211"/>
                    <a:pt x="2015014" y="178594"/>
                  </a:cubicBezTo>
                  <a:cubicBezTo>
                    <a:pt x="2015014" y="176689"/>
                    <a:pt x="2014061" y="174784"/>
                    <a:pt x="2014061" y="174784"/>
                  </a:cubicBezTo>
                  <a:cubicBezTo>
                    <a:pt x="2014061" y="174784"/>
                    <a:pt x="2014061" y="175736"/>
                    <a:pt x="2014061" y="177641"/>
                  </a:cubicBezTo>
                  <a:cubicBezTo>
                    <a:pt x="2013109" y="172879"/>
                    <a:pt x="2012156" y="168116"/>
                    <a:pt x="2011204" y="163354"/>
                  </a:cubicBezTo>
                  <a:cubicBezTo>
                    <a:pt x="2008346" y="148114"/>
                    <a:pt x="2006441" y="135731"/>
                    <a:pt x="2003584" y="125254"/>
                  </a:cubicBezTo>
                  <a:cubicBezTo>
                    <a:pt x="1999774" y="104299"/>
                    <a:pt x="1996916" y="91916"/>
                    <a:pt x="1996916" y="91916"/>
                  </a:cubicBezTo>
                  <a:cubicBezTo>
                    <a:pt x="1996916" y="91916"/>
                    <a:pt x="1997869" y="104299"/>
                    <a:pt x="1999774" y="125254"/>
                  </a:cubicBezTo>
                  <a:cubicBezTo>
                    <a:pt x="2000726" y="135731"/>
                    <a:pt x="2001679" y="149066"/>
                    <a:pt x="2003584" y="164306"/>
                  </a:cubicBezTo>
                  <a:cubicBezTo>
                    <a:pt x="2004536" y="175736"/>
                    <a:pt x="2006441" y="189071"/>
                    <a:pt x="2008346" y="203359"/>
                  </a:cubicBezTo>
                  <a:cubicBezTo>
                    <a:pt x="2005489" y="213836"/>
                    <a:pt x="2002631" y="227171"/>
                    <a:pt x="1999774" y="240506"/>
                  </a:cubicBezTo>
                  <a:cubicBezTo>
                    <a:pt x="1995011" y="262414"/>
                    <a:pt x="1990249" y="288131"/>
                    <a:pt x="1984534" y="314801"/>
                  </a:cubicBezTo>
                  <a:cubicBezTo>
                    <a:pt x="1984534" y="303371"/>
                    <a:pt x="1984534" y="292894"/>
                    <a:pt x="1984534" y="283369"/>
                  </a:cubicBezTo>
                  <a:cubicBezTo>
                    <a:pt x="1984534" y="277654"/>
                    <a:pt x="1984534" y="271939"/>
                    <a:pt x="1984534" y="267176"/>
                  </a:cubicBezTo>
                  <a:cubicBezTo>
                    <a:pt x="1985486" y="265271"/>
                    <a:pt x="1986439" y="263366"/>
                    <a:pt x="1986439" y="263366"/>
                  </a:cubicBezTo>
                  <a:cubicBezTo>
                    <a:pt x="1986439" y="263366"/>
                    <a:pt x="1985486" y="264319"/>
                    <a:pt x="1984534" y="265271"/>
                  </a:cubicBezTo>
                  <a:cubicBezTo>
                    <a:pt x="1984534" y="257651"/>
                    <a:pt x="1984534" y="250031"/>
                    <a:pt x="1985486" y="243364"/>
                  </a:cubicBezTo>
                  <a:cubicBezTo>
                    <a:pt x="1986439" y="231934"/>
                    <a:pt x="1986439" y="221456"/>
                    <a:pt x="1987391" y="212884"/>
                  </a:cubicBezTo>
                  <a:cubicBezTo>
                    <a:pt x="1988344" y="195739"/>
                    <a:pt x="1989296" y="186214"/>
                    <a:pt x="1989296" y="186214"/>
                  </a:cubicBezTo>
                  <a:cubicBezTo>
                    <a:pt x="1989296" y="186214"/>
                    <a:pt x="1987391" y="195739"/>
                    <a:pt x="1983581" y="211931"/>
                  </a:cubicBezTo>
                  <a:cubicBezTo>
                    <a:pt x="1981676" y="220504"/>
                    <a:pt x="1979771" y="230029"/>
                    <a:pt x="1978819" y="242411"/>
                  </a:cubicBezTo>
                  <a:cubicBezTo>
                    <a:pt x="1976914" y="253841"/>
                    <a:pt x="1975961" y="267176"/>
                    <a:pt x="1974056" y="281464"/>
                  </a:cubicBezTo>
                  <a:cubicBezTo>
                    <a:pt x="1974056" y="281464"/>
                    <a:pt x="1973104" y="282416"/>
                    <a:pt x="1973104" y="282416"/>
                  </a:cubicBezTo>
                  <a:cubicBezTo>
                    <a:pt x="1971199" y="284321"/>
                    <a:pt x="1970246" y="286226"/>
                    <a:pt x="1968341" y="289084"/>
                  </a:cubicBezTo>
                  <a:cubicBezTo>
                    <a:pt x="1968341" y="287179"/>
                    <a:pt x="1968341" y="285274"/>
                    <a:pt x="1968341" y="283369"/>
                  </a:cubicBezTo>
                  <a:cubicBezTo>
                    <a:pt x="1971199" y="277654"/>
                    <a:pt x="1973104" y="274796"/>
                    <a:pt x="1973104" y="274796"/>
                  </a:cubicBezTo>
                  <a:cubicBezTo>
                    <a:pt x="1973104" y="274796"/>
                    <a:pt x="1971199" y="276701"/>
                    <a:pt x="1968341" y="280511"/>
                  </a:cubicBezTo>
                  <a:cubicBezTo>
                    <a:pt x="1970246" y="255746"/>
                    <a:pt x="1972151" y="235744"/>
                    <a:pt x="1973104" y="224314"/>
                  </a:cubicBezTo>
                  <a:cubicBezTo>
                    <a:pt x="1975961" y="201454"/>
                    <a:pt x="1976914" y="187166"/>
                    <a:pt x="1976914" y="187166"/>
                  </a:cubicBezTo>
                  <a:cubicBezTo>
                    <a:pt x="1976914" y="187166"/>
                    <a:pt x="1973104" y="198596"/>
                    <a:pt x="1967389" y="218599"/>
                  </a:cubicBezTo>
                  <a:cubicBezTo>
                    <a:pt x="1967389" y="217646"/>
                    <a:pt x="1967389" y="216694"/>
                    <a:pt x="1967389" y="216694"/>
                  </a:cubicBezTo>
                  <a:cubicBezTo>
                    <a:pt x="1967389" y="216694"/>
                    <a:pt x="1967389" y="217646"/>
                    <a:pt x="1966436" y="220504"/>
                  </a:cubicBezTo>
                  <a:cubicBezTo>
                    <a:pt x="1963579" y="229076"/>
                    <a:pt x="1960721" y="238601"/>
                    <a:pt x="1957864" y="250031"/>
                  </a:cubicBezTo>
                  <a:cubicBezTo>
                    <a:pt x="1955959" y="256699"/>
                    <a:pt x="1954054" y="264319"/>
                    <a:pt x="1952149" y="271939"/>
                  </a:cubicBezTo>
                  <a:cubicBezTo>
                    <a:pt x="1947386" y="250031"/>
                    <a:pt x="1944529" y="232886"/>
                    <a:pt x="1941671" y="221456"/>
                  </a:cubicBezTo>
                  <a:cubicBezTo>
                    <a:pt x="1941671" y="218599"/>
                    <a:pt x="1942624" y="215741"/>
                    <a:pt x="1942624" y="213836"/>
                  </a:cubicBezTo>
                  <a:cubicBezTo>
                    <a:pt x="1946434" y="203359"/>
                    <a:pt x="1949291" y="193834"/>
                    <a:pt x="1952149" y="186214"/>
                  </a:cubicBezTo>
                  <a:cubicBezTo>
                    <a:pt x="1958816" y="168116"/>
                    <a:pt x="1962626" y="157639"/>
                    <a:pt x="1962626" y="157639"/>
                  </a:cubicBezTo>
                  <a:cubicBezTo>
                    <a:pt x="1962626" y="157639"/>
                    <a:pt x="1957864" y="167164"/>
                    <a:pt x="1948339" y="185261"/>
                  </a:cubicBezTo>
                  <a:cubicBezTo>
                    <a:pt x="1947386" y="187166"/>
                    <a:pt x="1946434" y="189071"/>
                    <a:pt x="1945481" y="190976"/>
                  </a:cubicBezTo>
                  <a:cubicBezTo>
                    <a:pt x="1945481" y="190024"/>
                    <a:pt x="1945481" y="189071"/>
                    <a:pt x="1945481" y="189071"/>
                  </a:cubicBezTo>
                  <a:cubicBezTo>
                    <a:pt x="1945481" y="189071"/>
                    <a:pt x="1945481" y="190024"/>
                    <a:pt x="1944529" y="192881"/>
                  </a:cubicBezTo>
                  <a:cubicBezTo>
                    <a:pt x="1942624" y="196691"/>
                    <a:pt x="1940719" y="201454"/>
                    <a:pt x="1938814" y="205264"/>
                  </a:cubicBezTo>
                  <a:cubicBezTo>
                    <a:pt x="1936909" y="170021"/>
                    <a:pt x="1935004" y="148114"/>
                    <a:pt x="1935004" y="148114"/>
                  </a:cubicBezTo>
                  <a:cubicBezTo>
                    <a:pt x="1935004" y="148114"/>
                    <a:pt x="1931194" y="178594"/>
                    <a:pt x="1928336" y="224314"/>
                  </a:cubicBezTo>
                  <a:cubicBezTo>
                    <a:pt x="1928336" y="225266"/>
                    <a:pt x="1928336" y="227171"/>
                    <a:pt x="1928336" y="229076"/>
                  </a:cubicBezTo>
                  <a:cubicBezTo>
                    <a:pt x="1927384" y="231934"/>
                    <a:pt x="1925479" y="234791"/>
                    <a:pt x="1924526" y="236696"/>
                  </a:cubicBezTo>
                  <a:cubicBezTo>
                    <a:pt x="1921669" y="243364"/>
                    <a:pt x="1918811" y="250984"/>
                    <a:pt x="1915001" y="258604"/>
                  </a:cubicBezTo>
                  <a:cubicBezTo>
                    <a:pt x="1914049" y="261461"/>
                    <a:pt x="1912144" y="265271"/>
                    <a:pt x="1911191" y="268129"/>
                  </a:cubicBezTo>
                  <a:cubicBezTo>
                    <a:pt x="1910239" y="265271"/>
                    <a:pt x="1908334" y="262414"/>
                    <a:pt x="1907381" y="259556"/>
                  </a:cubicBezTo>
                  <a:lnTo>
                    <a:pt x="1907381" y="258604"/>
                  </a:lnTo>
                  <a:lnTo>
                    <a:pt x="1907381" y="258604"/>
                  </a:lnTo>
                  <a:cubicBezTo>
                    <a:pt x="1905476" y="256699"/>
                    <a:pt x="1903571" y="254794"/>
                    <a:pt x="1900714" y="253841"/>
                  </a:cubicBezTo>
                  <a:cubicBezTo>
                    <a:pt x="1899761" y="253841"/>
                    <a:pt x="1898809" y="252889"/>
                    <a:pt x="1897856" y="252889"/>
                  </a:cubicBezTo>
                  <a:cubicBezTo>
                    <a:pt x="1897856" y="252889"/>
                    <a:pt x="1896904" y="252889"/>
                    <a:pt x="1896904" y="252889"/>
                  </a:cubicBezTo>
                  <a:cubicBezTo>
                    <a:pt x="1896904" y="251936"/>
                    <a:pt x="1896904" y="251936"/>
                    <a:pt x="1896904" y="250984"/>
                  </a:cubicBezTo>
                  <a:cubicBezTo>
                    <a:pt x="1896904" y="249079"/>
                    <a:pt x="1897856" y="247174"/>
                    <a:pt x="1897856" y="246221"/>
                  </a:cubicBezTo>
                  <a:cubicBezTo>
                    <a:pt x="1899761" y="240506"/>
                    <a:pt x="1900714" y="234791"/>
                    <a:pt x="1902619" y="230029"/>
                  </a:cubicBezTo>
                  <a:cubicBezTo>
                    <a:pt x="1903571" y="228124"/>
                    <a:pt x="1903571" y="226219"/>
                    <a:pt x="1903571" y="226219"/>
                  </a:cubicBezTo>
                  <a:cubicBezTo>
                    <a:pt x="1903571" y="226219"/>
                    <a:pt x="1903571" y="226219"/>
                    <a:pt x="1902619" y="227171"/>
                  </a:cubicBezTo>
                  <a:cubicBezTo>
                    <a:pt x="1903571" y="222409"/>
                    <a:pt x="1905476" y="218599"/>
                    <a:pt x="1906429" y="214789"/>
                  </a:cubicBezTo>
                  <a:cubicBezTo>
                    <a:pt x="1909286" y="205264"/>
                    <a:pt x="1912144" y="196691"/>
                    <a:pt x="1915001" y="190976"/>
                  </a:cubicBezTo>
                  <a:cubicBezTo>
                    <a:pt x="1919764" y="177641"/>
                    <a:pt x="1922621" y="170021"/>
                    <a:pt x="1922621" y="170021"/>
                  </a:cubicBezTo>
                  <a:cubicBezTo>
                    <a:pt x="1922621" y="170021"/>
                    <a:pt x="1918811" y="176689"/>
                    <a:pt x="1911191" y="189071"/>
                  </a:cubicBezTo>
                  <a:cubicBezTo>
                    <a:pt x="1907381" y="194786"/>
                    <a:pt x="1903571" y="203359"/>
                    <a:pt x="1899761" y="211931"/>
                  </a:cubicBezTo>
                  <a:cubicBezTo>
                    <a:pt x="1897856" y="216694"/>
                    <a:pt x="1894999" y="221456"/>
                    <a:pt x="1893094" y="226219"/>
                  </a:cubicBezTo>
                  <a:cubicBezTo>
                    <a:pt x="1892141" y="229076"/>
                    <a:pt x="1890236" y="231934"/>
                    <a:pt x="1889284" y="235744"/>
                  </a:cubicBezTo>
                  <a:cubicBezTo>
                    <a:pt x="1889284" y="234791"/>
                    <a:pt x="1889284" y="233839"/>
                    <a:pt x="1888331" y="232886"/>
                  </a:cubicBezTo>
                  <a:cubicBezTo>
                    <a:pt x="1888331" y="227171"/>
                    <a:pt x="1888331" y="221456"/>
                    <a:pt x="1889284" y="216694"/>
                  </a:cubicBezTo>
                  <a:cubicBezTo>
                    <a:pt x="1889284" y="210979"/>
                    <a:pt x="1890236" y="205264"/>
                    <a:pt x="1891189" y="200501"/>
                  </a:cubicBezTo>
                  <a:cubicBezTo>
                    <a:pt x="1892141" y="195739"/>
                    <a:pt x="1893094" y="190976"/>
                    <a:pt x="1894046" y="187166"/>
                  </a:cubicBezTo>
                  <a:cubicBezTo>
                    <a:pt x="1895951" y="179546"/>
                    <a:pt x="1897856" y="172879"/>
                    <a:pt x="1899761" y="169069"/>
                  </a:cubicBezTo>
                  <a:cubicBezTo>
                    <a:pt x="1901666" y="165259"/>
                    <a:pt x="1902619" y="162401"/>
                    <a:pt x="1902619" y="162401"/>
                  </a:cubicBezTo>
                  <a:cubicBezTo>
                    <a:pt x="1902619" y="162401"/>
                    <a:pt x="1901666" y="164306"/>
                    <a:pt x="1898809" y="168116"/>
                  </a:cubicBezTo>
                  <a:cubicBezTo>
                    <a:pt x="1895951" y="171926"/>
                    <a:pt x="1893094" y="177641"/>
                    <a:pt x="1890236" y="186214"/>
                  </a:cubicBezTo>
                  <a:cubicBezTo>
                    <a:pt x="1889284" y="190024"/>
                    <a:pt x="1887379" y="194786"/>
                    <a:pt x="1885474" y="199549"/>
                  </a:cubicBezTo>
                  <a:cubicBezTo>
                    <a:pt x="1884521" y="204311"/>
                    <a:pt x="1883569" y="209074"/>
                    <a:pt x="1882616" y="213836"/>
                  </a:cubicBezTo>
                  <a:cubicBezTo>
                    <a:pt x="1882616" y="211931"/>
                    <a:pt x="1882616" y="210026"/>
                    <a:pt x="1882616" y="210026"/>
                  </a:cubicBezTo>
                  <a:cubicBezTo>
                    <a:pt x="1882616" y="210026"/>
                    <a:pt x="1880711" y="216694"/>
                    <a:pt x="1878806" y="228124"/>
                  </a:cubicBezTo>
                  <a:cubicBezTo>
                    <a:pt x="1877854" y="232886"/>
                    <a:pt x="1876901" y="237649"/>
                    <a:pt x="1874996" y="243364"/>
                  </a:cubicBezTo>
                  <a:cubicBezTo>
                    <a:pt x="1874996" y="239554"/>
                    <a:pt x="1874996" y="237649"/>
                    <a:pt x="1874996" y="237649"/>
                  </a:cubicBezTo>
                  <a:cubicBezTo>
                    <a:pt x="1874996" y="237649"/>
                    <a:pt x="1874044" y="244316"/>
                    <a:pt x="1872139" y="255746"/>
                  </a:cubicBezTo>
                  <a:cubicBezTo>
                    <a:pt x="1871186" y="260509"/>
                    <a:pt x="1870234" y="266224"/>
                    <a:pt x="1868329" y="270986"/>
                  </a:cubicBezTo>
                  <a:cubicBezTo>
                    <a:pt x="1868329" y="267176"/>
                    <a:pt x="1869281" y="263366"/>
                    <a:pt x="1869281" y="259556"/>
                  </a:cubicBezTo>
                  <a:cubicBezTo>
                    <a:pt x="1871186" y="243364"/>
                    <a:pt x="1873091" y="228124"/>
                    <a:pt x="1874996" y="213836"/>
                  </a:cubicBezTo>
                  <a:cubicBezTo>
                    <a:pt x="1875949" y="207169"/>
                    <a:pt x="1876901" y="200501"/>
                    <a:pt x="1877854" y="193834"/>
                  </a:cubicBezTo>
                  <a:cubicBezTo>
                    <a:pt x="1878806" y="187166"/>
                    <a:pt x="1880711" y="181451"/>
                    <a:pt x="1881664" y="175736"/>
                  </a:cubicBezTo>
                  <a:cubicBezTo>
                    <a:pt x="1883569" y="164306"/>
                    <a:pt x="1885474" y="154781"/>
                    <a:pt x="1888331" y="146209"/>
                  </a:cubicBezTo>
                  <a:cubicBezTo>
                    <a:pt x="1892141" y="130016"/>
                    <a:pt x="1894999" y="120491"/>
                    <a:pt x="1894999" y="120491"/>
                  </a:cubicBezTo>
                  <a:cubicBezTo>
                    <a:pt x="1894999" y="120491"/>
                    <a:pt x="1891189" y="129064"/>
                    <a:pt x="1885474" y="144304"/>
                  </a:cubicBezTo>
                  <a:cubicBezTo>
                    <a:pt x="1882616" y="151924"/>
                    <a:pt x="1878806" y="161449"/>
                    <a:pt x="1875949" y="172879"/>
                  </a:cubicBezTo>
                  <a:cubicBezTo>
                    <a:pt x="1874044" y="178594"/>
                    <a:pt x="1872139" y="184309"/>
                    <a:pt x="1870234" y="190976"/>
                  </a:cubicBezTo>
                  <a:cubicBezTo>
                    <a:pt x="1868329" y="197644"/>
                    <a:pt x="1867376" y="204311"/>
                    <a:pt x="1865471" y="210979"/>
                  </a:cubicBezTo>
                  <a:cubicBezTo>
                    <a:pt x="1863566" y="219551"/>
                    <a:pt x="1860709" y="229076"/>
                    <a:pt x="1858804" y="238601"/>
                  </a:cubicBezTo>
                  <a:cubicBezTo>
                    <a:pt x="1858804" y="221456"/>
                    <a:pt x="1857851" y="206216"/>
                    <a:pt x="1856899" y="194786"/>
                  </a:cubicBezTo>
                  <a:cubicBezTo>
                    <a:pt x="1855946" y="181451"/>
                    <a:pt x="1854994" y="172879"/>
                    <a:pt x="1854994" y="172879"/>
                  </a:cubicBezTo>
                  <a:cubicBezTo>
                    <a:pt x="1854994" y="172879"/>
                    <a:pt x="1854041" y="180499"/>
                    <a:pt x="1853089" y="194786"/>
                  </a:cubicBezTo>
                  <a:cubicBezTo>
                    <a:pt x="1852136" y="208121"/>
                    <a:pt x="1850231" y="228124"/>
                    <a:pt x="1848326" y="250984"/>
                  </a:cubicBezTo>
                  <a:cubicBezTo>
                    <a:pt x="1847374" y="260509"/>
                    <a:pt x="1846421" y="271939"/>
                    <a:pt x="1845469" y="282416"/>
                  </a:cubicBezTo>
                  <a:cubicBezTo>
                    <a:pt x="1843564" y="279559"/>
                    <a:pt x="1841659" y="276701"/>
                    <a:pt x="1839754" y="273844"/>
                  </a:cubicBezTo>
                  <a:cubicBezTo>
                    <a:pt x="1839754" y="270986"/>
                    <a:pt x="1838801" y="269081"/>
                    <a:pt x="1838801" y="269081"/>
                  </a:cubicBezTo>
                  <a:cubicBezTo>
                    <a:pt x="1838801" y="269081"/>
                    <a:pt x="1838801" y="270034"/>
                    <a:pt x="1838801" y="272891"/>
                  </a:cubicBezTo>
                  <a:cubicBezTo>
                    <a:pt x="1834039" y="266224"/>
                    <a:pt x="1830229" y="260509"/>
                    <a:pt x="1827371" y="256699"/>
                  </a:cubicBezTo>
                  <a:cubicBezTo>
                    <a:pt x="1829276" y="216694"/>
                    <a:pt x="1828324" y="190976"/>
                    <a:pt x="1828324" y="190976"/>
                  </a:cubicBezTo>
                  <a:cubicBezTo>
                    <a:pt x="1828324" y="190976"/>
                    <a:pt x="1826419" y="202406"/>
                    <a:pt x="1822609" y="222409"/>
                  </a:cubicBezTo>
                  <a:cubicBezTo>
                    <a:pt x="1822609" y="219551"/>
                    <a:pt x="1822609" y="217646"/>
                    <a:pt x="1822609" y="214789"/>
                  </a:cubicBezTo>
                  <a:cubicBezTo>
                    <a:pt x="1822609" y="196691"/>
                    <a:pt x="1821656" y="178594"/>
                    <a:pt x="1822609" y="161449"/>
                  </a:cubicBezTo>
                  <a:cubicBezTo>
                    <a:pt x="1823561" y="144304"/>
                    <a:pt x="1823561" y="129064"/>
                    <a:pt x="1823561" y="113824"/>
                  </a:cubicBezTo>
                  <a:cubicBezTo>
                    <a:pt x="1824514" y="54769"/>
                    <a:pt x="1823561" y="15716"/>
                    <a:pt x="1823561" y="15716"/>
                  </a:cubicBezTo>
                  <a:cubicBezTo>
                    <a:pt x="1823561" y="15716"/>
                    <a:pt x="1817846" y="54769"/>
                    <a:pt x="1812131" y="112871"/>
                  </a:cubicBezTo>
                  <a:cubicBezTo>
                    <a:pt x="1811179" y="127159"/>
                    <a:pt x="1809274" y="143351"/>
                    <a:pt x="1807369" y="160496"/>
                  </a:cubicBezTo>
                  <a:cubicBezTo>
                    <a:pt x="1805464" y="175736"/>
                    <a:pt x="1805464" y="191929"/>
                    <a:pt x="1805464" y="209074"/>
                  </a:cubicBezTo>
                  <a:cubicBezTo>
                    <a:pt x="1803559" y="210026"/>
                    <a:pt x="1802606" y="210979"/>
                    <a:pt x="1801654" y="211931"/>
                  </a:cubicBezTo>
                  <a:lnTo>
                    <a:pt x="1801654" y="211931"/>
                  </a:lnTo>
                  <a:lnTo>
                    <a:pt x="1801654" y="212884"/>
                  </a:lnTo>
                  <a:cubicBezTo>
                    <a:pt x="1797844" y="221456"/>
                    <a:pt x="1794034" y="229076"/>
                    <a:pt x="1790224" y="237649"/>
                  </a:cubicBezTo>
                  <a:cubicBezTo>
                    <a:pt x="1790224" y="217646"/>
                    <a:pt x="1790224" y="207169"/>
                    <a:pt x="1790224" y="207169"/>
                  </a:cubicBezTo>
                  <a:cubicBezTo>
                    <a:pt x="1790224" y="207169"/>
                    <a:pt x="1788319" y="218599"/>
                    <a:pt x="1786414" y="239554"/>
                  </a:cubicBezTo>
                  <a:cubicBezTo>
                    <a:pt x="1786414" y="243364"/>
                    <a:pt x="1785461" y="246221"/>
                    <a:pt x="1784509" y="250984"/>
                  </a:cubicBezTo>
                  <a:cubicBezTo>
                    <a:pt x="1784509" y="251936"/>
                    <a:pt x="1784509" y="251936"/>
                    <a:pt x="1783556" y="252889"/>
                  </a:cubicBezTo>
                  <a:cubicBezTo>
                    <a:pt x="1779746" y="236696"/>
                    <a:pt x="1776889" y="226219"/>
                    <a:pt x="1776889" y="226219"/>
                  </a:cubicBezTo>
                  <a:cubicBezTo>
                    <a:pt x="1776889" y="226219"/>
                    <a:pt x="1776889" y="236696"/>
                    <a:pt x="1777841" y="253841"/>
                  </a:cubicBezTo>
                  <a:cubicBezTo>
                    <a:pt x="1774031" y="244316"/>
                    <a:pt x="1771174" y="236696"/>
                    <a:pt x="1768316" y="230029"/>
                  </a:cubicBezTo>
                  <a:cubicBezTo>
                    <a:pt x="1763554" y="219551"/>
                    <a:pt x="1760696" y="211931"/>
                    <a:pt x="1759744" y="209074"/>
                  </a:cubicBezTo>
                  <a:cubicBezTo>
                    <a:pt x="1759744" y="209074"/>
                    <a:pt x="1759744" y="208121"/>
                    <a:pt x="1759744" y="208121"/>
                  </a:cubicBezTo>
                  <a:cubicBezTo>
                    <a:pt x="1761649" y="202406"/>
                    <a:pt x="1761649" y="198596"/>
                    <a:pt x="1761649" y="198596"/>
                  </a:cubicBezTo>
                  <a:cubicBezTo>
                    <a:pt x="1761649" y="198596"/>
                    <a:pt x="1760696" y="200501"/>
                    <a:pt x="1759744" y="203359"/>
                  </a:cubicBezTo>
                  <a:cubicBezTo>
                    <a:pt x="1759744" y="200501"/>
                    <a:pt x="1759744" y="197644"/>
                    <a:pt x="1759744" y="195739"/>
                  </a:cubicBezTo>
                  <a:cubicBezTo>
                    <a:pt x="1760696" y="187166"/>
                    <a:pt x="1760696" y="178594"/>
                    <a:pt x="1761649" y="171926"/>
                  </a:cubicBezTo>
                  <a:cubicBezTo>
                    <a:pt x="1762601" y="158591"/>
                    <a:pt x="1762601" y="151924"/>
                    <a:pt x="1762601" y="151924"/>
                  </a:cubicBezTo>
                  <a:cubicBezTo>
                    <a:pt x="1762601" y="151924"/>
                    <a:pt x="1760696" y="159544"/>
                    <a:pt x="1756886" y="171926"/>
                  </a:cubicBezTo>
                  <a:cubicBezTo>
                    <a:pt x="1754981" y="180499"/>
                    <a:pt x="1752124" y="191929"/>
                    <a:pt x="1749266" y="205264"/>
                  </a:cubicBezTo>
                  <a:cubicBezTo>
                    <a:pt x="1746409" y="200501"/>
                    <a:pt x="1745456" y="197644"/>
                    <a:pt x="1745456" y="197644"/>
                  </a:cubicBezTo>
                  <a:cubicBezTo>
                    <a:pt x="1745456" y="197644"/>
                    <a:pt x="1746409" y="201454"/>
                    <a:pt x="1749266" y="208121"/>
                  </a:cubicBezTo>
                  <a:cubicBezTo>
                    <a:pt x="1748314" y="213836"/>
                    <a:pt x="1747361" y="219551"/>
                    <a:pt x="1746409" y="225266"/>
                  </a:cubicBezTo>
                  <a:cubicBezTo>
                    <a:pt x="1746409" y="226219"/>
                    <a:pt x="1746409" y="227171"/>
                    <a:pt x="1746409" y="228124"/>
                  </a:cubicBezTo>
                  <a:cubicBezTo>
                    <a:pt x="1741646" y="193834"/>
                    <a:pt x="1737836" y="171926"/>
                    <a:pt x="1737836" y="171926"/>
                  </a:cubicBezTo>
                  <a:cubicBezTo>
                    <a:pt x="1737836" y="171926"/>
                    <a:pt x="1736884" y="204311"/>
                    <a:pt x="1738789" y="252889"/>
                  </a:cubicBezTo>
                  <a:cubicBezTo>
                    <a:pt x="1737836" y="253841"/>
                    <a:pt x="1737836" y="255746"/>
                    <a:pt x="1736884" y="256699"/>
                  </a:cubicBezTo>
                  <a:cubicBezTo>
                    <a:pt x="1735931" y="253841"/>
                    <a:pt x="1735931" y="252889"/>
                    <a:pt x="1735931" y="252889"/>
                  </a:cubicBezTo>
                  <a:cubicBezTo>
                    <a:pt x="1735931" y="252889"/>
                    <a:pt x="1735931" y="254794"/>
                    <a:pt x="1735931" y="257651"/>
                  </a:cubicBezTo>
                  <a:cubicBezTo>
                    <a:pt x="1734979" y="259556"/>
                    <a:pt x="1734026" y="261461"/>
                    <a:pt x="1733074" y="264319"/>
                  </a:cubicBezTo>
                  <a:cubicBezTo>
                    <a:pt x="1731169" y="270034"/>
                    <a:pt x="1729264" y="276701"/>
                    <a:pt x="1727359" y="283369"/>
                  </a:cubicBezTo>
                  <a:cubicBezTo>
                    <a:pt x="1725454" y="288131"/>
                    <a:pt x="1723549" y="293846"/>
                    <a:pt x="1722596" y="299561"/>
                  </a:cubicBezTo>
                  <a:cubicBezTo>
                    <a:pt x="1720691" y="278606"/>
                    <a:pt x="1718786" y="267176"/>
                    <a:pt x="1718786" y="267176"/>
                  </a:cubicBezTo>
                  <a:cubicBezTo>
                    <a:pt x="1718786" y="267176"/>
                    <a:pt x="1717834" y="286226"/>
                    <a:pt x="1716881" y="317659"/>
                  </a:cubicBezTo>
                  <a:cubicBezTo>
                    <a:pt x="1716881" y="317659"/>
                    <a:pt x="1716881" y="318611"/>
                    <a:pt x="1716881" y="318611"/>
                  </a:cubicBezTo>
                  <a:cubicBezTo>
                    <a:pt x="1715929" y="317659"/>
                    <a:pt x="1715929" y="316706"/>
                    <a:pt x="1714976" y="316706"/>
                  </a:cubicBezTo>
                  <a:cubicBezTo>
                    <a:pt x="1712119" y="307181"/>
                    <a:pt x="1710214" y="297656"/>
                    <a:pt x="1707356" y="288131"/>
                  </a:cubicBezTo>
                  <a:cubicBezTo>
                    <a:pt x="1708309" y="270034"/>
                    <a:pt x="1709261" y="252889"/>
                    <a:pt x="1709261" y="237649"/>
                  </a:cubicBezTo>
                  <a:cubicBezTo>
                    <a:pt x="1711166" y="192881"/>
                    <a:pt x="1710214" y="163354"/>
                    <a:pt x="1710214" y="163354"/>
                  </a:cubicBezTo>
                  <a:cubicBezTo>
                    <a:pt x="1710214" y="163354"/>
                    <a:pt x="1705451" y="189071"/>
                    <a:pt x="1698784" y="229076"/>
                  </a:cubicBezTo>
                  <a:cubicBezTo>
                    <a:pt x="1696879" y="219551"/>
                    <a:pt x="1695926" y="210979"/>
                    <a:pt x="1694021" y="203359"/>
                  </a:cubicBezTo>
                  <a:cubicBezTo>
                    <a:pt x="1695926" y="191929"/>
                    <a:pt x="1697831" y="180499"/>
                    <a:pt x="1699736" y="170021"/>
                  </a:cubicBezTo>
                  <a:cubicBezTo>
                    <a:pt x="1702594" y="151924"/>
                    <a:pt x="1705451" y="134779"/>
                    <a:pt x="1706404" y="119539"/>
                  </a:cubicBezTo>
                  <a:cubicBezTo>
                    <a:pt x="1708309" y="104299"/>
                    <a:pt x="1709261" y="91916"/>
                    <a:pt x="1710214" y="80486"/>
                  </a:cubicBezTo>
                  <a:cubicBezTo>
                    <a:pt x="1712119" y="59531"/>
                    <a:pt x="1713071" y="47149"/>
                    <a:pt x="1713071" y="47149"/>
                  </a:cubicBezTo>
                  <a:cubicBezTo>
                    <a:pt x="1713071" y="47149"/>
                    <a:pt x="1710214" y="59531"/>
                    <a:pt x="1706404" y="80486"/>
                  </a:cubicBezTo>
                  <a:cubicBezTo>
                    <a:pt x="1704499" y="90964"/>
                    <a:pt x="1701641" y="104299"/>
                    <a:pt x="1698784" y="118586"/>
                  </a:cubicBezTo>
                  <a:cubicBezTo>
                    <a:pt x="1695926" y="133826"/>
                    <a:pt x="1692116" y="150019"/>
                    <a:pt x="1688306" y="168116"/>
                  </a:cubicBezTo>
                  <a:cubicBezTo>
                    <a:pt x="1688306" y="169069"/>
                    <a:pt x="1687354" y="170974"/>
                    <a:pt x="1687354" y="171926"/>
                  </a:cubicBezTo>
                  <a:cubicBezTo>
                    <a:pt x="1685449" y="164306"/>
                    <a:pt x="1684496" y="160496"/>
                    <a:pt x="1684496" y="160496"/>
                  </a:cubicBezTo>
                  <a:cubicBezTo>
                    <a:pt x="1684496" y="160496"/>
                    <a:pt x="1684496" y="167164"/>
                    <a:pt x="1685449" y="179546"/>
                  </a:cubicBezTo>
                  <a:cubicBezTo>
                    <a:pt x="1684496" y="185261"/>
                    <a:pt x="1682591" y="191929"/>
                    <a:pt x="1681639" y="197644"/>
                  </a:cubicBezTo>
                  <a:cubicBezTo>
                    <a:pt x="1680686" y="195739"/>
                    <a:pt x="1680686" y="194786"/>
                    <a:pt x="1680686" y="192881"/>
                  </a:cubicBezTo>
                  <a:cubicBezTo>
                    <a:pt x="1681639" y="186214"/>
                    <a:pt x="1681639" y="180499"/>
                    <a:pt x="1681639" y="174784"/>
                  </a:cubicBezTo>
                  <a:cubicBezTo>
                    <a:pt x="1681639" y="162401"/>
                    <a:pt x="1682591" y="151924"/>
                    <a:pt x="1682591" y="143351"/>
                  </a:cubicBezTo>
                  <a:cubicBezTo>
                    <a:pt x="1682591" y="126206"/>
                    <a:pt x="1683544" y="115729"/>
                    <a:pt x="1683544" y="115729"/>
                  </a:cubicBezTo>
                  <a:cubicBezTo>
                    <a:pt x="1683544" y="115729"/>
                    <a:pt x="1681639" y="125254"/>
                    <a:pt x="1678781" y="143351"/>
                  </a:cubicBezTo>
                  <a:cubicBezTo>
                    <a:pt x="1677829" y="151924"/>
                    <a:pt x="1675924" y="162401"/>
                    <a:pt x="1674019" y="174784"/>
                  </a:cubicBezTo>
                  <a:cubicBezTo>
                    <a:pt x="1672114" y="187166"/>
                    <a:pt x="1669256" y="200501"/>
                    <a:pt x="1666399" y="215741"/>
                  </a:cubicBezTo>
                  <a:cubicBezTo>
                    <a:pt x="1665446" y="220504"/>
                    <a:pt x="1664494" y="226219"/>
                    <a:pt x="1663541" y="231934"/>
                  </a:cubicBezTo>
                  <a:cubicBezTo>
                    <a:pt x="1662589" y="228124"/>
                    <a:pt x="1661636" y="225266"/>
                    <a:pt x="1661636" y="225266"/>
                  </a:cubicBezTo>
                  <a:cubicBezTo>
                    <a:pt x="1661636" y="225266"/>
                    <a:pt x="1661636" y="229076"/>
                    <a:pt x="1662589" y="236696"/>
                  </a:cubicBezTo>
                  <a:cubicBezTo>
                    <a:pt x="1661636" y="242411"/>
                    <a:pt x="1660684" y="248126"/>
                    <a:pt x="1659731" y="253841"/>
                  </a:cubicBezTo>
                  <a:cubicBezTo>
                    <a:pt x="1659731" y="252889"/>
                    <a:pt x="1658779" y="251936"/>
                    <a:pt x="1658779" y="251936"/>
                  </a:cubicBezTo>
                  <a:cubicBezTo>
                    <a:pt x="1654969" y="240506"/>
                    <a:pt x="1650206" y="230981"/>
                    <a:pt x="1646396" y="223361"/>
                  </a:cubicBezTo>
                  <a:cubicBezTo>
                    <a:pt x="1645444" y="220504"/>
                    <a:pt x="1643539" y="218599"/>
                    <a:pt x="1642586" y="215741"/>
                  </a:cubicBezTo>
                  <a:cubicBezTo>
                    <a:pt x="1642586" y="210979"/>
                    <a:pt x="1642586" y="207169"/>
                    <a:pt x="1642586" y="202406"/>
                  </a:cubicBezTo>
                  <a:cubicBezTo>
                    <a:pt x="1641634" y="186214"/>
                    <a:pt x="1641634" y="170021"/>
                    <a:pt x="1640681" y="154781"/>
                  </a:cubicBezTo>
                  <a:cubicBezTo>
                    <a:pt x="1639729" y="139541"/>
                    <a:pt x="1637824" y="125254"/>
                    <a:pt x="1635919" y="111919"/>
                  </a:cubicBezTo>
                  <a:cubicBezTo>
                    <a:pt x="1630204" y="58579"/>
                    <a:pt x="1624489" y="23336"/>
                    <a:pt x="1624489" y="23336"/>
                  </a:cubicBezTo>
                  <a:cubicBezTo>
                    <a:pt x="1624489" y="23336"/>
                    <a:pt x="1623536" y="58579"/>
                    <a:pt x="1624489" y="111919"/>
                  </a:cubicBezTo>
                  <a:cubicBezTo>
                    <a:pt x="1624489" y="125254"/>
                    <a:pt x="1624489" y="139541"/>
                    <a:pt x="1625441" y="154781"/>
                  </a:cubicBezTo>
                  <a:cubicBezTo>
                    <a:pt x="1626394" y="170021"/>
                    <a:pt x="1624489" y="186214"/>
                    <a:pt x="1625441" y="202406"/>
                  </a:cubicBezTo>
                  <a:cubicBezTo>
                    <a:pt x="1625441" y="210026"/>
                    <a:pt x="1625441" y="217646"/>
                    <a:pt x="1625441" y="225266"/>
                  </a:cubicBezTo>
                  <a:cubicBezTo>
                    <a:pt x="1625441" y="227171"/>
                    <a:pt x="1625441" y="229076"/>
                    <a:pt x="1625441" y="230981"/>
                  </a:cubicBezTo>
                  <a:cubicBezTo>
                    <a:pt x="1624489" y="230029"/>
                    <a:pt x="1624489" y="228124"/>
                    <a:pt x="1623536" y="227171"/>
                  </a:cubicBezTo>
                  <a:cubicBezTo>
                    <a:pt x="1620679" y="211931"/>
                    <a:pt x="1619726" y="203359"/>
                    <a:pt x="1619726" y="203359"/>
                  </a:cubicBezTo>
                  <a:cubicBezTo>
                    <a:pt x="1619726" y="203359"/>
                    <a:pt x="1619726" y="208121"/>
                    <a:pt x="1619726" y="217646"/>
                  </a:cubicBezTo>
                  <a:cubicBezTo>
                    <a:pt x="1613059" y="201454"/>
                    <a:pt x="1608296" y="190976"/>
                    <a:pt x="1608296" y="190976"/>
                  </a:cubicBezTo>
                  <a:cubicBezTo>
                    <a:pt x="1608296" y="190976"/>
                    <a:pt x="1612106" y="207169"/>
                    <a:pt x="1619726" y="233839"/>
                  </a:cubicBezTo>
                  <a:cubicBezTo>
                    <a:pt x="1619726" y="236696"/>
                    <a:pt x="1619726" y="239554"/>
                    <a:pt x="1619726" y="242411"/>
                  </a:cubicBezTo>
                  <a:cubicBezTo>
                    <a:pt x="1615916" y="236696"/>
                    <a:pt x="1613059" y="233839"/>
                    <a:pt x="1613059" y="233839"/>
                  </a:cubicBezTo>
                  <a:cubicBezTo>
                    <a:pt x="1613059" y="233839"/>
                    <a:pt x="1614964" y="238601"/>
                    <a:pt x="1619726" y="247174"/>
                  </a:cubicBezTo>
                  <a:cubicBezTo>
                    <a:pt x="1616869" y="250984"/>
                    <a:pt x="1614011" y="256699"/>
                    <a:pt x="1610201" y="264319"/>
                  </a:cubicBezTo>
                  <a:cubicBezTo>
                    <a:pt x="1609249" y="266224"/>
                    <a:pt x="1608296" y="268129"/>
                    <a:pt x="1607344" y="270034"/>
                  </a:cubicBezTo>
                  <a:cubicBezTo>
                    <a:pt x="1607344" y="269081"/>
                    <a:pt x="1606391" y="269081"/>
                    <a:pt x="1606391" y="269081"/>
                  </a:cubicBezTo>
                  <a:cubicBezTo>
                    <a:pt x="1606391" y="269081"/>
                    <a:pt x="1606391" y="269081"/>
                    <a:pt x="1607344" y="270034"/>
                  </a:cubicBezTo>
                  <a:cubicBezTo>
                    <a:pt x="1605439" y="273844"/>
                    <a:pt x="1603534" y="277654"/>
                    <a:pt x="1601629" y="282416"/>
                  </a:cubicBezTo>
                  <a:cubicBezTo>
                    <a:pt x="1601629" y="277654"/>
                    <a:pt x="1600676" y="273844"/>
                    <a:pt x="1600676" y="269081"/>
                  </a:cubicBezTo>
                  <a:cubicBezTo>
                    <a:pt x="1598771" y="243364"/>
                    <a:pt x="1596866" y="221456"/>
                    <a:pt x="1595914" y="207169"/>
                  </a:cubicBezTo>
                  <a:cubicBezTo>
                    <a:pt x="1594961" y="191929"/>
                    <a:pt x="1594009" y="183356"/>
                    <a:pt x="1594009" y="183356"/>
                  </a:cubicBezTo>
                  <a:cubicBezTo>
                    <a:pt x="1594009" y="183356"/>
                    <a:pt x="1593056" y="191929"/>
                    <a:pt x="1592104" y="207169"/>
                  </a:cubicBezTo>
                  <a:cubicBezTo>
                    <a:pt x="1592104" y="212884"/>
                    <a:pt x="1591151" y="219551"/>
                    <a:pt x="1591151" y="227171"/>
                  </a:cubicBezTo>
                  <a:cubicBezTo>
                    <a:pt x="1589246" y="216694"/>
                    <a:pt x="1586389" y="207169"/>
                    <a:pt x="1583531" y="197644"/>
                  </a:cubicBezTo>
                  <a:cubicBezTo>
                    <a:pt x="1581626" y="190976"/>
                    <a:pt x="1579721" y="185261"/>
                    <a:pt x="1578769" y="179546"/>
                  </a:cubicBezTo>
                  <a:cubicBezTo>
                    <a:pt x="1576864" y="173831"/>
                    <a:pt x="1574959" y="168116"/>
                    <a:pt x="1573054" y="163354"/>
                  </a:cubicBezTo>
                  <a:cubicBezTo>
                    <a:pt x="1569244" y="152876"/>
                    <a:pt x="1566386" y="144304"/>
                    <a:pt x="1563529" y="137636"/>
                  </a:cubicBezTo>
                  <a:cubicBezTo>
                    <a:pt x="1556861" y="123349"/>
                    <a:pt x="1554004" y="115729"/>
                    <a:pt x="1554004" y="115729"/>
                  </a:cubicBezTo>
                  <a:cubicBezTo>
                    <a:pt x="1554004" y="115729"/>
                    <a:pt x="1555909" y="124301"/>
                    <a:pt x="1560671" y="138589"/>
                  </a:cubicBezTo>
                  <a:cubicBezTo>
                    <a:pt x="1562576" y="146209"/>
                    <a:pt x="1564481" y="154781"/>
                    <a:pt x="1567339" y="165259"/>
                  </a:cubicBezTo>
                  <a:cubicBezTo>
                    <a:pt x="1568291" y="170021"/>
                    <a:pt x="1569244" y="175736"/>
                    <a:pt x="1571149" y="181451"/>
                  </a:cubicBezTo>
                  <a:cubicBezTo>
                    <a:pt x="1572101" y="187166"/>
                    <a:pt x="1573054" y="192881"/>
                    <a:pt x="1574006" y="199549"/>
                  </a:cubicBezTo>
                  <a:cubicBezTo>
                    <a:pt x="1576864" y="211931"/>
                    <a:pt x="1577816" y="226219"/>
                    <a:pt x="1579721" y="240506"/>
                  </a:cubicBezTo>
                  <a:cubicBezTo>
                    <a:pt x="1581626" y="253841"/>
                    <a:pt x="1582579" y="269081"/>
                    <a:pt x="1584484" y="283369"/>
                  </a:cubicBezTo>
                  <a:cubicBezTo>
                    <a:pt x="1581626" y="274796"/>
                    <a:pt x="1579721" y="266224"/>
                    <a:pt x="1576864" y="258604"/>
                  </a:cubicBezTo>
                  <a:cubicBezTo>
                    <a:pt x="1575911" y="255746"/>
                    <a:pt x="1574959" y="252889"/>
                    <a:pt x="1573054" y="249079"/>
                  </a:cubicBezTo>
                  <a:cubicBezTo>
                    <a:pt x="1573054" y="249079"/>
                    <a:pt x="1573054" y="248126"/>
                    <a:pt x="1573054" y="247174"/>
                  </a:cubicBezTo>
                  <a:cubicBezTo>
                    <a:pt x="1573054" y="243364"/>
                    <a:pt x="1573054" y="238601"/>
                    <a:pt x="1572101" y="234791"/>
                  </a:cubicBezTo>
                  <a:cubicBezTo>
                    <a:pt x="1571149" y="221456"/>
                    <a:pt x="1569244" y="209074"/>
                    <a:pt x="1567339" y="198596"/>
                  </a:cubicBezTo>
                  <a:cubicBezTo>
                    <a:pt x="1566386" y="192881"/>
                    <a:pt x="1564481" y="188119"/>
                    <a:pt x="1563529" y="184309"/>
                  </a:cubicBezTo>
                  <a:cubicBezTo>
                    <a:pt x="1561624" y="179546"/>
                    <a:pt x="1560671" y="175736"/>
                    <a:pt x="1558766" y="171926"/>
                  </a:cubicBezTo>
                  <a:cubicBezTo>
                    <a:pt x="1555909" y="164306"/>
                    <a:pt x="1553051" y="159544"/>
                    <a:pt x="1550194" y="155734"/>
                  </a:cubicBezTo>
                  <a:cubicBezTo>
                    <a:pt x="1548289" y="151924"/>
                    <a:pt x="1546384" y="150019"/>
                    <a:pt x="1546384" y="150019"/>
                  </a:cubicBezTo>
                  <a:cubicBezTo>
                    <a:pt x="1546384" y="150019"/>
                    <a:pt x="1547336" y="151924"/>
                    <a:pt x="1549241" y="155734"/>
                  </a:cubicBezTo>
                  <a:cubicBezTo>
                    <a:pt x="1551146" y="159544"/>
                    <a:pt x="1553051" y="165259"/>
                    <a:pt x="1554956" y="171926"/>
                  </a:cubicBezTo>
                  <a:cubicBezTo>
                    <a:pt x="1555909" y="175736"/>
                    <a:pt x="1556861" y="179546"/>
                    <a:pt x="1557814" y="184309"/>
                  </a:cubicBezTo>
                  <a:cubicBezTo>
                    <a:pt x="1557814" y="189071"/>
                    <a:pt x="1558766" y="193834"/>
                    <a:pt x="1559719" y="198596"/>
                  </a:cubicBezTo>
                  <a:cubicBezTo>
                    <a:pt x="1559719" y="203359"/>
                    <a:pt x="1560671" y="208121"/>
                    <a:pt x="1560671" y="213836"/>
                  </a:cubicBezTo>
                  <a:cubicBezTo>
                    <a:pt x="1560671" y="214789"/>
                    <a:pt x="1560671" y="215741"/>
                    <a:pt x="1559719" y="216694"/>
                  </a:cubicBezTo>
                  <a:cubicBezTo>
                    <a:pt x="1558766" y="213836"/>
                    <a:pt x="1556861" y="210979"/>
                    <a:pt x="1555909" y="208121"/>
                  </a:cubicBezTo>
                  <a:cubicBezTo>
                    <a:pt x="1554004" y="203359"/>
                    <a:pt x="1551146" y="199549"/>
                    <a:pt x="1549241" y="194786"/>
                  </a:cubicBezTo>
                  <a:cubicBezTo>
                    <a:pt x="1545431" y="186214"/>
                    <a:pt x="1541621" y="179546"/>
                    <a:pt x="1537811" y="173831"/>
                  </a:cubicBezTo>
                  <a:cubicBezTo>
                    <a:pt x="1530191" y="162401"/>
                    <a:pt x="1526381" y="156686"/>
                    <a:pt x="1526381" y="156686"/>
                  </a:cubicBezTo>
                  <a:cubicBezTo>
                    <a:pt x="1526381" y="156686"/>
                    <a:pt x="1529239" y="163354"/>
                    <a:pt x="1534001" y="175736"/>
                  </a:cubicBezTo>
                  <a:cubicBezTo>
                    <a:pt x="1536859" y="181451"/>
                    <a:pt x="1539716" y="189071"/>
                    <a:pt x="1542574" y="197644"/>
                  </a:cubicBezTo>
                  <a:cubicBezTo>
                    <a:pt x="1543526" y="201454"/>
                    <a:pt x="1545431" y="205264"/>
                    <a:pt x="1546384" y="209074"/>
                  </a:cubicBezTo>
                  <a:cubicBezTo>
                    <a:pt x="1546384" y="208121"/>
                    <a:pt x="1545431" y="208121"/>
                    <a:pt x="1545431" y="208121"/>
                  </a:cubicBezTo>
                  <a:cubicBezTo>
                    <a:pt x="1545431" y="208121"/>
                    <a:pt x="1546384" y="209074"/>
                    <a:pt x="1546384" y="210979"/>
                  </a:cubicBezTo>
                  <a:cubicBezTo>
                    <a:pt x="1548289" y="215741"/>
                    <a:pt x="1549241" y="220504"/>
                    <a:pt x="1551146" y="226219"/>
                  </a:cubicBezTo>
                  <a:cubicBezTo>
                    <a:pt x="1552099" y="228124"/>
                    <a:pt x="1552099" y="229076"/>
                    <a:pt x="1552099" y="230981"/>
                  </a:cubicBezTo>
                  <a:cubicBezTo>
                    <a:pt x="1552099" y="232886"/>
                    <a:pt x="1553051" y="233839"/>
                    <a:pt x="1553051" y="235744"/>
                  </a:cubicBezTo>
                  <a:cubicBezTo>
                    <a:pt x="1553051" y="237649"/>
                    <a:pt x="1553051" y="239554"/>
                    <a:pt x="1554004" y="241459"/>
                  </a:cubicBezTo>
                  <a:cubicBezTo>
                    <a:pt x="1554004" y="242411"/>
                    <a:pt x="1554004" y="243364"/>
                    <a:pt x="1554004" y="244316"/>
                  </a:cubicBezTo>
                  <a:cubicBezTo>
                    <a:pt x="1554004" y="246221"/>
                    <a:pt x="1553051" y="248126"/>
                    <a:pt x="1553051" y="250031"/>
                  </a:cubicBezTo>
                  <a:cubicBezTo>
                    <a:pt x="1551146" y="253841"/>
                    <a:pt x="1549241" y="257651"/>
                    <a:pt x="1547336" y="263366"/>
                  </a:cubicBezTo>
                  <a:cubicBezTo>
                    <a:pt x="1545431" y="258604"/>
                    <a:pt x="1543526" y="254794"/>
                    <a:pt x="1542574" y="251936"/>
                  </a:cubicBezTo>
                  <a:cubicBezTo>
                    <a:pt x="1542574" y="249079"/>
                    <a:pt x="1542574" y="245269"/>
                    <a:pt x="1542574" y="243364"/>
                  </a:cubicBezTo>
                  <a:cubicBezTo>
                    <a:pt x="1542574" y="230029"/>
                    <a:pt x="1542574" y="222409"/>
                    <a:pt x="1542574" y="222409"/>
                  </a:cubicBezTo>
                  <a:cubicBezTo>
                    <a:pt x="1542574" y="222409"/>
                    <a:pt x="1541621" y="230029"/>
                    <a:pt x="1538764" y="243364"/>
                  </a:cubicBezTo>
                  <a:cubicBezTo>
                    <a:pt x="1538764" y="243364"/>
                    <a:pt x="1538764" y="243364"/>
                    <a:pt x="1538764" y="243364"/>
                  </a:cubicBezTo>
                  <a:cubicBezTo>
                    <a:pt x="1534001" y="232886"/>
                    <a:pt x="1531144" y="226219"/>
                    <a:pt x="1531144" y="226219"/>
                  </a:cubicBezTo>
                  <a:cubicBezTo>
                    <a:pt x="1531144" y="226219"/>
                    <a:pt x="1533049" y="234791"/>
                    <a:pt x="1537811" y="250031"/>
                  </a:cubicBezTo>
                  <a:cubicBezTo>
                    <a:pt x="1537811" y="252889"/>
                    <a:pt x="1536859" y="255746"/>
                    <a:pt x="1536859" y="258604"/>
                  </a:cubicBezTo>
                  <a:cubicBezTo>
                    <a:pt x="1534954" y="251936"/>
                    <a:pt x="1533049" y="245269"/>
                    <a:pt x="1531144" y="239554"/>
                  </a:cubicBezTo>
                  <a:cubicBezTo>
                    <a:pt x="1529239" y="232886"/>
                    <a:pt x="1527334" y="227171"/>
                    <a:pt x="1525429" y="220504"/>
                  </a:cubicBezTo>
                  <a:cubicBezTo>
                    <a:pt x="1524476" y="217646"/>
                    <a:pt x="1523524" y="214789"/>
                    <a:pt x="1521619" y="211931"/>
                  </a:cubicBezTo>
                  <a:cubicBezTo>
                    <a:pt x="1518761" y="173831"/>
                    <a:pt x="1515904" y="150019"/>
                    <a:pt x="1515904" y="150019"/>
                  </a:cubicBezTo>
                  <a:cubicBezTo>
                    <a:pt x="1515904" y="150019"/>
                    <a:pt x="1514951" y="166211"/>
                    <a:pt x="1513046" y="192881"/>
                  </a:cubicBezTo>
                  <a:cubicBezTo>
                    <a:pt x="1510189" y="187166"/>
                    <a:pt x="1508284" y="182404"/>
                    <a:pt x="1506379" y="177641"/>
                  </a:cubicBezTo>
                  <a:cubicBezTo>
                    <a:pt x="1499711" y="163354"/>
                    <a:pt x="1495901" y="154781"/>
                    <a:pt x="1495901" y="154781"/>
                  </a:cubicBezTo>
                  <a:cubicBezTo>
                    <a:pt x="1495901" y="154781"/>
                    <a:pt x="1497806" y="163354"/>
                    <a:pt x="1502569" y="178594"/>
                  </a:cubicBezTo>
                  <a:cubicBezTo>
                    <a:pt x="1503521" y="182404"/>
                    <a:pt x="1504474" y="186214"/>
                    <a:pt x="1505426" y="190024"/>
                  </a:cubicBezTo>
                  <a:cubicBezTo>
                    <a:pt x="1505426" y="189071"/>
                    <a:pt x="1504474" y="189071"/>
                    <a:pt x="1504474" y="189071"/>
                  </a:cubicBezTo>
                  <a:cubicBezTo>
                    <a:pt x="1504474" y="189071"/>
                    <a:pt x="1506379" y="196691"/>
                    <a:pt x="1510189" y="210026"/>
                  </a:cubicBezTo>
                  <a:cubicBezTo>
                    <a:pt x="1510189" y="210979"/>
                    <a:pt x="1511141" y="212884"/>
                    <a:pt x="1511141" y="213836"/>
                  </a:cubicBezTo>
                  <a:cubicBezTo>
                    <a:pt x="1511141" y="220504"/>
                    <a:pt x="1510189" y="227171"/>
                    <a:pt x="1510189" y="233839"/>
                  </a:cubicBezTo>
                  <a:cubicBezTo>
                    <a:pt x="1510189" y="241459"/>
                    <a:pt x="1509236" y="250031"/>
                    <a:pt x="1509236" y="258604"/>
                  </a:cubicBezTo>
                  <a:cubicBezTo>
                    <a:pt x="1503521" y="241459"/>
                    <a:pt x="1498759" y="230981"/>
                    <a:pt x="1498759" y="230981"/>
                  </a:cubicBezTo>
                  <a:cubicBezTo>
                    <a:pt x="1498759" y="230981"/>
                    <a:pt x="1501616" y="248126"/>
                    <a:pt x="1508284" y="275749"/>
                  </a:cubicBezTo>
                  <a:cubicBezTo>
                    <a:pt x="1508284" y="279559"/>
                    <a:pt x="1508284" y="283369"/>
                    <a:pt x="1507331" y="288131"/>
                  </a:cubicBezTo>
                  <a:cubicBezTo>
                    <a:pt x="1506379" y="290036"/>
                    <a:pt x="1505426" y="290989"/>
                    <a:pt x="1504474" y="292894"/>
                  </a:cubicBezTo>
                  <a:cubicBezTo>
                    <a:pt x="1503521" y="294799"/>
                    <a:pt x="1501616" y="296704"/>
                    <a:pt x="1500664" y="298609"/>
                  </a:cubicBezTo>
                  <a:cubicBezTo>
                    <a:pt x="1497806" y="287179"/>
                    <a:pt x="1495901" y="275749"/>
                    <a:pt x="1493044" y="266224"/>
                  </a:cubicBezTo>
                  <a:cubicBezTo>
                    <a:pt x="1495901" y="253841"/>
                    <a:pt x="1497806" y="246221"/>
                    <a:pt x="1497806" y="246221"/>
                  </a:cubicBezTo>
                  <a:cubicBezTo>
                    <a:pt x="1497806" y="246221"/>
                    <a:pt x="1495901" y="251936"/>
                    <a:pt x="1491139" y="260509"/>
                  </a:cubicBezTo>
                  <a:cubicBezTo>
                    <a:pt x="1491139" y="260509"/>
                    <a:pt x="1491139" y="259556"/>
                    <a:pt x="1491139" y="259556"/>
                  </a:cubicBezTo>
                  <a:cubicBezTo>
                    <a:pt x="1491139" y="253841"/>
                    <a:pt x="1490186" y="249079"/>
                    <a:pt x="1490186" y="244316"/>
                  </a:cubicBezTo>
                  <a:cubicBezTo>
                    <a:pt x="1490186" y="242411"/>
                    <a:pt x="1490186" y="240506"/>
                    <a:pt x="1489234" y="238601"/>
                  </a:cubicBezTo>
                  <a:cubicBezTo>
                    <a:pt x="1489234" y="237649"/>
                    <a:pt x="1489234" y="237649"/>
                    <a:pt x="1489234" y="237649"/>
                  </a:cubicBezTo>
                  <a:cubicBezTo>
                    <a:pt x="1489234" y="237649"/>
                    <a:pt x="1489234" y="237649"/>
                    <a:pt x="1489234" y="238601"/>
                  </a:cubicBezTo>
                  <a:cubicBezTo>
                    <a:pt x="1488281" y="230981"/>
                    <a:pt x="1488281" y="225266"/>
                    <a:pt x="1486376" y="219551"/>
                  </a:cubicBezTo>
                  <a:cubicBezTo>
                    <a:pt x="1483519" y="206216"/>
                    <a:pt x="1482566" y="198596"/>
                    <a:pt x="1482566" y="198596"/>
                  </a:cubicBezTo>
                  <a:cubicBezTo>
                    <a:pt x="1482566" y="198596"/>
                    <a:pt x="1482566" y="206216"/>
                    <a:pt x="1482566" y="220504"/>
                  </a:cubicBezTo>
                  <a:cubicBezTo>
                    <a:pt x="1482566" y="222409"/>
                    <a:pt x="1482566" y="225266"/>
                    <a:pt x="1482566" y="228124"/>
                  </a:cubicBezTo>
                  <a:cubicBezTo>
                    <a:pt x="1476851" y="206216"/>
                    <a:pt x="1473041" y="193834"/>
                    <a:pt x="1473041" y="193834"/>
                  </a:cubicBezTo>
                  <a:cubicBezTo>
                    <a:pt x="1473041" y="193834"/>
                    <a:pt x="1474946" y="220504"/>
                    <a:pt x="1479709" y="259556"/>
                  </a:cubicBezTo>
                  <a:cubicBezTo>
                    <a:pt x="1479709" y="260509"/>
                    <a:pt x="1478756" y="261461"/>
                    <a:pt x="1478756" y="262414"/>
                  </a:cubicBezTo>
                  <a:cubicBezTo>
                    <a:pt x="1477804" y="263366"/>
                    <a:pt x="1477804" y="265271"/>
                    <a:pt x="1476851" y="266224"/>
                  </a:cubicBezTo>
                  <a:cubicBezTo>
                    <a:pt x="1476851" y="263366"/>
                    <a:pt x="1475899" y="260509"/>
                    <a:pt x="1475899" y="257651"/>
                  </a:cubicBezTo>
                  <a:cubicBezTo>
                    <a:pt x="1473994" y="244316"/>
                    <a:pt x="1473041" y="232886"/>
                    <a:pt x="1471136" y="221456"/>
                  </a:cubicBezTo>
                  <a:cubicBezTo>
                    <a:pt x="1469231" y="210979"/>
                    <a:pt x="1468279" y="201454"/>
                    <a:pt x="1466374" y="193834"/>
                  </a:cubicBezTo>
                  <a:cubicBezTo>
                    <a:pt x="1462564" y="178594"/>
                    <a:pt x="1460659" y="170021"/>
                    <a:pt x="1460659" y="170021"/>
                  </a:cubicBezTo>
                  <a:cubicBezTo>
                    <a:pt x="1460659" y="170021"/>
                    <a:pt x="1461611" y="178594"/>
                    <a:pt x="1462564" y="193834"/>
                  </a:cubicBezTo>
                  <a:cubicBezTo>
                    <a:pt x="1463516" y="201454"/>
                    <a:pt x="1463516" y="210979"/>
                    <a:pt x="1464469" y="221456"/>
                  </a:cubicBezTo>
                  <a:cubicBezTo>
                    <a:pt x="1465421" y="231934"/>
                    <a:pt x="1465421" y="244316"/>
                    <a:pt x="1465421" y="257651"/>
                  </a:cubicBezTo>
                  <a:cubicBezTo>
                    <a:pt x="1465421" y="263366"/>
                    <a:pt x="1465421" y="269081"/>
                    <a:pt x="1465421" y="275749"/>
                  </a:cubicBezTo>
                  <a:cubicBezTo>
                    <a:pt x="1462564" y="265271"/>
                    <a:pt x="1458754" y="254794"/>
                    <a:pt x="1455896" y="246221"/>
                  </a:cubicBezTo>
                  <a:cubicBezTo>
                    <a:pt x="1453039" y="235744"/>
                    <a:pt x="1450181" y="226219"/>
                    <a:pt x="1447324" y="218599"/>
                  </a:cubicBezTo>
                  <a:cubicBezTo>
                    <a:pt x="1442561" y="203359"/>
                    <a:pt x="1439704" y="194786"/>
                    <a:pt x="1439704" y="194786"/>
                  </a:cubicBezTo>
                  <a:cubicBezTo>
                    <a:pt x="1439704" y="194786"/>
                    <a:pt x="1440656" y="202406"/>
                    <a:pt x="1442561" y="215741"/>
                  </a:cubicBezTo>
                  <a:cubicBezTo>
                    <a:pt x="1439704" y="203359"/>
                    <a:pt x="1437799" y="193834"/>
                    <a:pt x="1435894" y="185261"/>
                  </a:cubicBezTo>
                  <a:cubicBezTo>
                    <a:pt x="1435894" y="169069"/>
                    <a:pt x="1435894" y="159544"/>
                    <a:pt x="1435894" y="159544"/>
                  </a:cubicBezTo>
                  <a:cubicBezTo>
                    <a:pt x="1435894" y="159544"/>
                    <a:pt x="1434941" y="164306"/>
                    <a:pt x="1433036" y="173831"/>
                  </a:cubicBezTo>
                  <a:cubicBezTo>
                    <a:pt x="1431131" y="165259"/>
                    <a:pt x="1430179" y="160496"/>
                    <a:pt x="1430179" y="160496"/>
                  </a:cubicBezTo>
                  <a:cubicBezTo>
                    <a:pt x="1430179" y="160496"/>
                    <a:pt x="1430179" y="162401"/>
                    <a:pt x="1430179" y="166211"/>
                  </a:cubicBezTo>
                  <a:cubicBezTo>
                    <a:pt x="1428274" y="158591"/>
                    <a:pt x="1427321" y="151924"/>
                    <a:pt x="1425416" y="147161"/>
                  </a:cubicBezTo>
                  <a:cubicBezTo>
                    <a:pt x="1421606" y="134779"/>
                    <a:pt x="1418749" y="127159"/>
                    <a:pt x="1418749" y="127159"/>
                  </a:cubicBezTo>
                  <a:cubicBezTo>
                    <a:pt x="1418749" y="127159"/>
                    <a:pt x="1419701" y="134779"/>
                    <a:pt x="1421606" y="148114"/>
                  </a:cubicBezTo>
                  <a:cubicBezTo>
                    <a:pt x="1422559" y="154781"/>
                    <a:pt x="1423511" y="162401"/>
                    <a:pt x="1423511" y="171926"/>
                  </a:cubicBezTo>
                  <a:cubicBezTo>
                    <a:pt x="1424464" y="181451"/>
                    <a:pt x="1424464" y="190976"/>
                    <a:pt x="1425416" y="202406"/>
                  </a:cubicBezTo>
                  <a:cubicBezTo>
                    <a:pt x="1425416" y="208121"/>
                    <a:pt x="1426369" y="212884"/>
                    <a:pt x="1426369" y="218599"/>
                  </a:cubicBezTo>
                  <a:cubicBezTo>
                    <a:pt x="1425416" y="224314"/>
                    <a:pt x="1424464" y="230029"/>
                    <a:pt x="1424464" y="235744"/>
                  </a:cubicBezTo>
                  <a:cubicBezTo>
                    <a:pt x="1423511" y="231934"/>
                    <a:pt x="1422559" y="229076"/>
                    <a:pt x="1421606" y="226219"/>
                  </a:cubicBezTo>
                  <a:cubicBezTo>
                    <a:pt x="1419701" y="219551"/>
                    <a:pt x="1416844" y="214789"/>
                    <a:pt x="1415891" y="210026"/>
                  </a:cubicBezTo>
                  <a:cubicBezTo>
                    <a:pt x="1412081" y="201454"/>
                    <a:pt x="1410176" y="195739"/>
                    <a:pt x="1410176" y="195739"/>
                  </a:cubicBezTo>
                  <a:cubicBezTo>
                    <a:pt x="1410176" y="195739"/>
                    <a:pt x="1411129" y="201454"/>
                    <a:pt x="1412081" y="210979"/>
                  </a:cubicBezTo>
                  <a:cubicBezTo>
                    <a:pt x="1413034" y="215741"/>
                    <a:pt x="1413986" y="221456"/>
                    <a:pt x="1414939" y="228124"/>
                  </a:cubicBezTo>
                  <a:cubicBezTo>
                    <a:pt x="1415891" y="234791"/>
                    <a:pt x="1416844" y="241459"/>
                    <a:pt x="1416844" y="250031"/>
                  </a:cubicBezTo>
                  <a:cubicBezTo>
                    <a:pt x="1416844" y="255746"/>
                    <a:pt x="1417796" y="261461"/>
                    <a:pt x="1418749" y="268129"/>
                  </a:cubicBezTo>
                  <a:cubicBezTo>
                    <a:pt x="1416844" y="270986"/>
                    <a:pt x="1414939" y="273844"/>
                    <a:pt x="1413034" y="277654"/>
                  </a:cubicBezTo>
                  <a:cubicBezTo>
                    <a:pt x="1412081" y="275749"/>
                    <a:pt x="1412081" y="273844"/>
                    <a:pt x="1411129" y="271939"/>
                  </a:cubicBezTo>
                  <a:cubicBezTo>
                    <a:pt x="1406366" y="237649"/>
                    <a:pt x="1401604" y="215741"/>
                    <a:pt x="1401604" y="215741"/>
                  </a:cubicBezTo>
                  <a:cubicBezTo>
                    <a:pt x="1401604" y="215741"/>
                    <a:pt x="1401604" y="226219"/>
                    <a:pt x="1400651" y="243364"/>
                  </a:cubicBezTo>
                  <a:cubicBezTo>
                    <a:pt x="1397794" y="233839"/>
                    <a:pt x="1394936" y="226219"/>
                    <a:pt x="1392079" y="219551"/>
                  </a:cubicBezTo>
                  <a:cubicBezTo>
                    <a:pt x="1392079" y="217646"/>
                    <a:pt x="1393031" y="215741"/>
                    <a:pt x="1393031" y="213836"/>
                  </a:cubicBezTo>
                  <a:cubicBezTo>
                    <a:pt x="1393984" y="212884"/>
                    <a:pt x="1394936" y="211931"/>
                    <a:pt x="1395889" y="210979"/>
                  </a:cubicBezTo>
                  <a:cubicBezTo>
                    <a:pt x="1399699" y="207169"/>
                    <a:pt x="1400651" y="205264"/>
                    <a:pt x="1400651" y="205264"/>
                  </a:cubicBezTo>
                  <a:cubicBezTo>
                    <a:pt x="1400651" y="205264"/>
                    <a:pt x="1398746" y="207169"/>
                    <a:pt x="1394936" y="210026"/>
                  </a:cubicBezTo>
                  <a:cubicBezTo>
                    <a:pt x="1394936" y="210026"/>
                    <a:pt x="1393984" y="210979"/>
                    <a:pt x="1393031" y="210979"/>
                  </a:cubicBezTo>
                  <a:cubicBezTo>
                    <a:pt x="1393984" y="205264"/>
                    <a:pt x="1394936" y="202406"/>
                    <a:pt x="1394936" y="202406"/>
                  </a:cubicBezTo>
                  <a:cubicBezTo>
                    <a:pt x="1394936" y="202406"/>
                    <a:pt x="1393031" y="206216"/>
                    <a:pt x="1391126" y="212884"/>
                  </a:cubicBezTo>
                  <a:cubicBezTo>
                    <a:pt x="1391126" y="212884"/>
                    <a:pt x="1390174" y="213836"/>
                    <a:pt x="1390174" y="213836"/>
                  </a:cubicBezTo>
                  <a:cubicBezTo>
                    <a:pt x="1386364" y="204311"/>
                    <a:pt x="1384459" y="199549"/>
                    <a:pt x="1384459" y="199549"/>
                  </a:cubicBezTo>
                  <a:cubicBezTo>
                    <a:pt x="1384459" y="199549"/>
                    <a:pt x="1385411" y="205264"/>
                    <a:pt x="1387316" y="215741"/>
                  </a:cubicBezTo>
                  <a:cubicBezTo>
                    <a:pt x="1384459" y="218599"/>
                    <a:pt x="1382554" y="220504"/>
                    <a:pt x="1378744" y="224314"/>
                  </a:cubicBezTo>
                  <a:cubicBezTo>
                    <a:pt x="1374934" y="229076"/>
                    <a:pt x="1371124" y="233839"/>
                    <a:pt x="1367314" y="240506"/>
                  </a:cubicBezTo>
                  <a:cubicBezTo>
                    <a:pt x="1363504" y="230029"/>
                    <a:pt x="1358741" y="219551"/>
                    <a:pt x="1354931" y="209074"/>
                  </a:cubicBezTo>
                  <a:cubicBezTo>
                    <a:pt x="1354931" y="199549"/>
                    <a:pt x="1354931" y="191929"/>
                    <a:pt x="1354931" y="185261"/>
                  </a:cubicBezTo>
                  <a:cubicBezTo>
                    <a:pt x="1354931" y="167164"/>
                    <a:pt x="1354931" y="157639"/>
                    <a:pt x="1354931" y="157639"/>
                  </a:cubicBezTo>
                  <a:cubicBezTo>
                    <a:pt x="1354931" y="157639"/>
                    <a:pt x="1353026" y="168116"/>
                    <a:pt x="1351121" y="185261"/>
                  </a:cubicBezTo>
                  <a:cubicBezTo>
                    <a:pt x="1350169" y="189071"/>
                    <a:pt x="1350169" y="192881"/>
                    <a:pt x="1349216" y="197644"/>
                  </a:cubicBezTo>
                  <a:cubicBezTo>
                    <a:pt x="1347311" y="193834"/>
                    <a:pt x="1345406" y="190024"/>
                    <a:pt x="1343501" y="186214"/>
                  </a:cubicBezTo>
                  <a:cubicBezTo>
                    <a:pt x="1343501" y="181451"/>
                    <a:pt x="1344454" y="175736"/>
                    <a:pt x="1344454" y="171926"/>
                  </a:cubicBezTo>
                  <a:cubicBezTo>
                    <a:pt x="1344454" y="166211"/>
                    <a:pt x="1344454" y="161449"/>
                    <a:pt x="1344454" y="157639"/>
                  </a:cubicBezTo>
                  <a:cubicBezTo>
                    <a:pt x="1344454" y="151924"/>
                    <a:pt x="1345406" y="147161"/>
                    <a:pt x="1345406" y="142399"/>
                  </a:cubicBezTo>
                  <a:cubicBezTo>
                    <a:pt x="1346359" y="129064"/>
                    <a:pt x="1346359" y="120491"/>
                    <a:pt x="1346359" y="120491"/>
                  </a:cubicBezTo>
                  <a:cubicBezTo>
                    <a:pt x="1346359" y="120491"/>
                    <a:pt x="1344454" y="128111"/>
                    <a:pt x="1341596" y="141446"/>
                  </a:cubicBezTo>
                  <a:cubicBezTo>
                    <a:pt x="1340644" y="148114"/>
                    <a:pt x="1338739" y="156686"/>
                    <a:pt x="1336834" y="166211"/>
                  </a:cubicBezTo>
                  <a:cubicBezTo>
                    <a:pt x="1336834" y="167164"/>
                    <a:pt x="1336834" y="168116"/>
                    <a:pt x="1335881" y="169069"/>
                  </a:cubicBezTo>
                  <a:cubicBezTo>
                    <a:pt x="1333024" y="162401"/>
                    <a:pt x="1330166" y="156686"/>
                    <a:pt x="1327309" y="150971"/>
                  </a:cubicBezTo>
                  <a:cubicBezTo>
                    <a:pt x="1299686" y="91916"/>
                    <a:pt x="1280636" y="53816"/>
                    <a:pt x="1280636" y="53816"/>
                  </a:cubicBezTo>
                  <a:cubicBezTo>
                    <a:pt x="1280636" y="53816"/>
                    <a:pt x="1293971" y="94774"/>
                    <a:pt x="1317784" y="155734"/>
                  </a:cubicBezTo>
                  <a:cubicBezTo>
                    <a:pt x="1322546" y="168116"/>
                    <a:pt x="1327309" y="180499"/>
                    <a:pt x="1332071" y="193834"/>
                  </a:cubicBezTo>
                  <a:cubicBezTo>
                    <a:pt x="1332071" y="195739"/>
                    <a:pt x="1332071" y="196691"/>
                    <a:pt x="1331119" y="197644"/>
                  </a:cubicBezTo>
                  <a:cubicBezTo>
                    <a:pt x="1329214" y="209074"/>
                    <a:pt x="1327309" y="222409"/>
                    <a:pt x="1326356" y="235744"/>
                  </a:cubicBezTo>
                  <a:cubicBezTo>
                    <a:pt x="1324451" y="249079"/>
                    <a:pt x="1323499" y="263366"/>
                    <a:pt x="1321594" y="277654"/>
                  </a:cubicBezTo>
                  <a:cubicBezTo>
                    <a:pt x="1321594" y="283369"/>
                    <a:pt x="1320641" y="288131"/>
                    <a:pt x="1319689" y="293846"/>
                  </a:cubicBezTo>
                  <a:cubicBezTo>
                    <a:pt x="1318736" y="292894"/>
                    <a:pt x="1318736" y="291941"/>
                    <a:pt x="1317784" y="290989"/>
                  </a:cubicBezTo>
                  <a:cubicBezTo>
                    <a:pt x="1317784" y="289084"/>
                    <a:pt x="1317784" y="289084"/>
                    <a:pt x="1317784" y="289084"/>
                  </a:cubicBezTo>
                  <a:cubicBezTo>
                    <a:pt x="1317784" y="289084"/>
                    <a:pt x="1317784" y="290036"/>
                    <a:pt x="1316831" y="290989"/>
                  </a:cubicBezTo>
                  <a:cubicBezTo>
                    <a:pt x="1316831" y="290036"/>
                    <a:pt x="1315879" y="289084"/>
                    <a:pt x="1315879" y="288131"/>
                  </a:cubicBezTo>
                  <a:cubicBezTo>
                    <a:pt x="1314926" y="287179"/>
                    <a:pt x="1314926" y="286226"/>
                    <a:pt x="1313974" y="285274"/>
                  </a:cubicBezTo>
                  <a:cubicBezTo>
                    <a:pt x="1315879" y="259556"/>
                    <a:pt x="1316831" y="244316"/>
                    <a:pt x="1316831" y="244316"/>
                  </a:cubicBezTo>
                  <a:cubicBezTo>
                    <a:pt x="1316831" y="244316"/>
                    <a:pt x="1313974" y="256699"/>
                    <a:pt x="1309211" y="277654"/>
                  </a:cubicBezTo>
                  <a:cubicBezTo>
                    <a:pt x="1305401" y="271939"/>
                    <a:pt x="1302544" y="266224"/>
                    <a:pt x="1298734" y="260509"/>
                  </a:cubicBezTo>
                  <a:cubicBezTo>
                    <a:pt x="1304449" y="235744"/>
                    <a:pt x="1310164" y="213836"/>
                    <a:pt x="1313974" y="199549"/>
                  </a:cubicBezTo>
                  <a:cubicBezTo>
                    <a:pt x="1317784" y="182404"/>
                    <a:pt x="1319689" y="172879"/>
                    <a:pt x="1319689" y="172879"/>
                  </a:cubicBezTo>
                  <a:cubicBezTo>
                    <a:pt x="1319689" y="172879"/>
                    <a:pt x="1307306" y="202406"/>
                    <a:pt x="1291114" y="249079"/>
                  </a:cubicBezTo>
                  <a:cubicBezTo>
                    <a:pt x="1287304" y="243364"/>
                    <a:pt x="1284446" y="238601"/>
                    <a:pt x="1281589" y="234791"/>
                  </a:cubicBezTo>
                  <a:cubicBezTo>
                    <a:pt x="1273016" y="222409"/>
                    <a:pt x="1267301" y="215741"/>
                    <a:pt x="1267301" y="215741"/>
                  </a:cubicBezTo>
                  <a:cubicBezTo>
                    <a:pt x="1267301" y="215741"/>
                    <a:pt x="1270159" y="222409"/>
                    <a:pt x="1275874" y="232886"/>
                  </a:cubicBezTo>
                  <a:cubicBezTo>
                    <a:pt x="1274921" y="234791"/>
                    <a:pt x="1273969" y="238601"/>
                    <a:pt x="1272064" y="243364"/>
                  </a:cubicBezTo>
                  <a:cubicBezTo>
                    <a:pt x="1268254" y="237649"/>
                    <a:pt x="1264444" y="231934"/>
                    <a:pt x="1261586" y="227171"/>
                  </a:cubicBezTo>
                  <a:cubicBezTo>
                    <a:pt x="1257776" y="221456"/>
                    <a:pt x="1253014" y="215741"/>
                    <a:pt x="1249204" y="210979"/>
                  </a:cubicBezTo>
                  <a:cubicBezTo>
                    <a:pt x="1248251" y="210026"/>
                    <a:pt x="1248251" y="209074"/>
                    <a:pt x="1247299" y="208121"/>
                  </a:cubicBezTo>
                  <a:cubicBezTo>
                    <a:pt x="1250156" y="203359"/>
                    <a:pt x="1251109" y="199549"/>
                    <a:pt x="1251109" y="199549"/>
                  </a:cubicBezTo>
                  <a:cubicBezTo>
                    <a:pt x="1251109" y="199549"/>
                    <a:pt x="1249204" y="202406"/>
                    <a:pt x="1246346" y="206216"/>
                  </a:cubicBezTo>
                  <a:cubicBezTo>
                    <a:pt x="1239679" y="197644"/>
                    <a:pt x="1233964" y="190024"/>
                    <a:pt x="1229201" y="184309"/>
                  </a:cubicBezTo>
                  <a:cubicBezTo>
                    <a:pt x="1217771" y="170974"/>
                    <a:pt x="1211104" y="162401"/>
                    <a:pt x="1211104" y="162401"/>
                  </a:cubicBezTo>
                  <a:cubicBezTo>
                    <a:pt x="1211104" y="162401"/>
                    <a:pt x="1216819" y="170974"/>
                    <a:pt x="1226344" y="186214"/>
                  </a:cubicBezTo>
                  <a:cubicBezTo>
                    <a:pt x="1231106" y="192881"/>
                    <a:pt x="1235869" y="202406"/>
                    <a:pt x="1242536" y="211931"/>
                  </a:cubicBezTo>
                  <a:cubicBezTo>
                    <a:pt x="1240631" y="214789"/>
                    <a:pt x="1238726" y="217646"/>
                    <a:pt x="1236821" y="220504"/>
                  </a:cubicBezTo>
                  <a:cubicBezTo>
                    <a:pt x="1235869" y="222409"/>
                    <a:pt x="1234916" y="224314"/>
                    <a:pt x="1233011" y="226219"/>
                  </a:cubicBezTo>
                  <a:cubicBezTo>
                    <a:pt x="1233011" y="221456"/>
                    <a:pt x="1232059" y="217646"/>
                    <a:pt x="1231106" y="212884"/>
                  </a:cubicBezTo>
                  <a:cubicBezTo>
                    <a:pt x="1231106" y="211931"/>
                    <a:pt x="1230154" y="210026"/>
                    <a:pt x="1228249" y="209074"/>
                  </a:cubicBezTo>
                  <a:cubicBezTo>
                    <a:pt x="1228249" y="209074"/>
                    <a:pt x="1227296" y="209074"/>
                    <a:pt x="1226344" y="209074"/>
                  </a:cubicBezTo>
                  <a:cubicBezTo>
                    <a:pt x="1225391" y="206216"/>
                    <a:pt x="1224439" y="202406"/>
                    <a:pt x="1223486" y="199549"/>
                  </a:cubicBezTo>
                  <a:cubicBezTo>
                    <a:pt x="1218724" y="187166"/>
                    <a:pt x="1215866" y="179546"/>
                    <a:pt x="1215866" y="179546"/>
                  </a:cubicBezTo>
                  <a:cubicBezTo>
                    <a:pt x="1215866" y="179546"/>
                    <a:pt x="1216819" y="187166"/>
                    <a:pt x="1219676" y="200501"/>
                  </a:cubicBezTo>
                  <a:cubicBezTo>
                    <a:pt x="1220629" y="204311"/>
                    <a:pt x="1220629" y="208121"/>
                    <a:pt x="1221581" y="211931"/>
                  </a:cubicBezTo>
                  <a:cubicBezTo>
                    <a:pt x="1221581" y="212884"/>
                    <a:pt x="1220629" y="212884"/>
                    <a:pt x="1220629" y="213836"/>
                  </a:cubicBezTo>
                  <a:cubicBezTo>
                    <a:pt x="1214914" y="208121"/>
                    <a:pt x="1211104" y="203359"/>
                    <a:pt x="1207294" y="200501"/>
                  </a:cubicBezTo>
                  <a:cubicBezTo>
                    <a:pt x="1203484" y="197644"/>
                    <a:pt x="1201579" y="195739"/>
                    <a:pt x="1201579" y="195739"/>
                  </a:cubicBezTo>
                  <a:cubicBezTo>
                    <a:pt x="1201579" y="195739"/>
                    <a:pt x="1203484" y="197644"/>
                    <a:pt x="1206341" y="201454"/>
                  </a:cubicBezTo>
                  <a:cubicBezTo>
                    <a:pt x="1209199" y="205264"/>
                    <a:pt x="1213009" y="210979"/>
                    <a:pt x="1217771" y="217646"/>
                  </a:cubicBezTo>
                  <a:lnTo>
                    <a:pt x="1217771" y="217646"/>
                  </a:lnTo>
                  <a:cubicBezTo>
                    <a:pt x="1216819" y="222409"/>
                    <a:pt x="1216819" y="227171"/>
                    <a:pt x="1216819" y="231934"/>
                  </a:cubicBezTo>
                  <a:cubicBezTo>
                    <a:pt x="1207294" y="223361"/>
                    <a:pt x="1202531" y="219551"/>
                    <a:pt x="1202531" y="219551"/>
                  </a:cubicBezTo>
                  <a:cubicBezTo>
                    <a:pt x="1202531" y="219551"/>
                    <a:pt x="1207294" y="226219"/>
                    <a:pt x="1215866" y="236696"/>
                  </a:cubicBezTo>
                  <a:cubicBezTo>
                    <a:pt x="1215866" y="240506"/>
                    <a:pt x="1214914" y="245269"/>
                    <a:pt x="1214914" y="249079"/>
                  </a:cubicBezTo>
                  <a:cubicBezTo>
                    <a:pt x="1214914" y="250984"/>
                    <a:pt x="1214914" y="252889"/>
                    <a:pt x="1214914" y="255746"/>
                  </a:cubicBezTo>
                  <a:cubicBezTo>
                    <a:pt x="1214914" y="253841"/>
                    <a:pt x="1213961" y="252889"/>
                    <a:pt x="1213961" y="250984"/>
                  </a:cubicBezTo>
                  <a:cubicBezTo>
                    <a:pt x="1213961" y="250984"/>
                    <a:pt x="1213961" y="250031"/>
                    <a:pt x="1213961" y="250031"/>
                  </a:cubicBezTo>
                  <a:cubicBezTo>
                    <a:pt x="1213961" y="249079"/>
                    <a:pt x="1214914" y="249079"/>
                    <a:pt x="1214914" y="249079"/>
                  </a:cubicBezTo>
                  <a:cubicBezTo>
                    <a:pt x="1214914" y="249079"/>
                    <a:pt x="1214914" y="249079"/>
                    <a:pt x="1213961" y="250031"/>
                  </a:cubicBezTo>
                  <a:cubicBezTo>
                    <a:pt x="1212056" y="242411"/>
                    <a:pt x="1209199" y="235744"/>
                    <a:pt x="1207294" y="229076"/>
                  </a:cubicBezTo>
                  <a:cubicBezTo>
                    <a:pt x="1204436" y="222409"/>
                    <a:pt x="1202531" y="216694"/>
                    <a:pt x="1200626" y="212884"/>
                  </a:cubicBezTo>
                  <a:cubicBezTo>
                    <a:pt x="1195864" y="204311"/>
                    <a:pt x="1193959" y="198596"/>
                    <a:pt x="1193959" y="198596"/>
                  </a:cubicBezTo>
                  <a:cubicBezTo>
                    <a:pt x="1193959" y="198596"/>
                    <a:pt x="1194911" y="204311"/>
                    <a:pt x="1196816" y="213836"/>
                  </a:cubicBezTo>
                  <a:cubicBezTo>
                    <a:pt x="1197769" y="218599"/>
                    <a:pt x="1198721" y="224314"/>
                    <a:pt x="1200626" y="230981"/>
                  </a:cubicBezTo>
                  <a:cubicBezTo>
                    <a:pt x="1201579" y="237649"/>
                    <a:pt x="1202531" y="245269"/>
                    <a:pt x="1204436" y="252889"/>
                  </a:cubicBezTo>
                  <a:cubicBezTo>
                    <a:pt x="1204436" y="254794"/>
                    <a:pt x="1205389" y="256699"/>
                    <a:pt x="1205389" y="258604"/>
                  </a:cubicBezTo>
                  <a:cubicBezTo>
                    <a:pt x="1202531" y="251936"/>
                    <a:pt x="1199674" y="245269"/>
                    <a:pt x="1196816" y="239554"/>
                  </a:cubicBezTo>
                  <a:cubicBezTo>
                    <a:pt x="1193959" y="233839"/>
                    <a:pt x="1191101" y="229076"/>
                    <a:pt x="1189196" y="224314"/>
                  </a:cubicBezTo>
                  <a:cubicBezTo>
                    <a:pt x="1184434" y="216694"/>
                    <a:pt x="1181576" y="211931"/>
                    <a:pt x="1181576" y="211931"/>
                  </a:cubicBezTo>
                  <a:cubicBezTo>
                    <a:pt x="1181576" y="211931"/>
                    <a:pt x="1183481" y="216694"/>
                    <a:pt x="1185386" y="225266"/>
                  </a:cubicBezTo>
                  <a:cubicBezTo>
                    <a:pt x="1187291" y="230029"/>
                    <a:pt x="1188244" y="234791"/>
                    <a:pt x="1190149" y="241459"/>
                  </a:cubicBezTo>
                  <a:cubicBezTo>
                    <a:pt x="1192054" y="247174"/>
                    <a:pt x="1193006" y="254794"/>
                    <a:pt x="1194911" y="262414"/>
                  </a:cubicBezTo>
                  <a:cubicBezTo>
                    <a:pt x="1195864" y="267176"/>
                    <a:pt x="1196816" y="271939"/>
                    <a:pt x="1197769" y="276701"/>
                  </a:cubicBezTo>
                  <a:cubicBezTo>
                    <a:pt x="1196816" y="279559"/>
                    <a:pt x="1194911" y="281464"/>
                    <a:pt x="1193959" y="284321"/>
                  </a:cubicBezTo>
                  <a:cubicBezTo>
                    <a:pt x="1193959" y="284321"/>
                    <a:pt x="1193959" y="283369"/>
                    <a:pt x="1193959" y="283369"/>
                  </a:cubicBezTo>
                  <a:cubicBezTo>
                    <a:pt x="1193959" y="282416"/>
                    <a:pt x="1193006" y="280511"/>
                    <a:pt x="1193006" y="279559"/>
                  </a:cubicBezTo>
                  <a:cubicBezTo>
                    <a:pt x="1193959" y="277654"/>
                    <a:pt x="1193959" y="276701"/>
                    <a:pt x="1193959" y="276701"/>
                  </a:cubicBezTo>
                  <a:cubicBezTo>
                    <a:pt x="1193959" y="276701"/>
                    <a:pt x="1193959" y="277654"/>
                    <a:pt x="1193006" y="278606"/>
                  </a:cubicBezTo>
                  <a:cubicBezTo>
                    <a:pt x="1190149" y="268129"/>
                    <a:pt x="1187291" y="258604"/>
                    <a:pt x="1184434" y="250984"/>
                  </a:cubicBezTo>
                  <a:cubicBezTo>
                    <a:pt x="1179671" y="239554"/>
                    <a:pt x="1176814" y="231934"/>
                    <a:pt x="1174909" y="227171"/>
                  </a:cubicBezTo>
                  <a:cubicBezTo>
                    <a:pt x="1174909" y="226219"/>
                    <a:pt x="1174909" y="224314"/>
                    <a:pt x="1174909" y="223361"/>
                  </a:cubicBezTo>
                  <a:cubicBezTo>
                    <a:pt x="1174909" y="212884"/>
                    <a:pt x="1175861" y="204311"/>
                    <a:pt x="1175861" y="196691"/>
                  </a:cubicBezTo>
                  <a:cubicBezTo>
                    <a:pt x="1175861" y="182404"/>
                    <a:pt x="1174909" y="173831"/>
                    <a:pt x="1174909" y="173831"/>
                  </a:cubicBezTo>
                  <a:cubicBezTo>
                    <a:pt x="1174909" y="173831"/>
                    <a:pt x="1173956" y="182404"/>
                    <a:pt x="1172051" y="196691"/>
                  </a:cubicBezTo>
                  <a:cubicBezTo>
                    <a:pt x="1171099" y="204311"/>
                    <a:pt x="1169194" y="212884"/>
                    <a:pt x="1168241" y="223361"/>
                  </a:cubicBezTo>
                  <a:cubicBezTo>
                    <a:pt x="1168241" y="224314"/>
                    <a:pt x="1168241" y="225266"/>
                    <a:pt x="1168241" y="226219"/>
                  </a:cubicBezTo>
                  <a:cubicBezTo>
                    <a:pt x="1167289" y="229076"/>
                    <a:pt x="1165384" y="232886"/>
                    <a:pt x="1162526" y="238601"/>
                  </a:cubicBezTo>
                  <a:cubicBezTo>
                    <a:pt x="1161574" y="230981"/>
                    <a:pt x="1160621" y="223361"/>
                    <a:pt x="1158716" y="215741"/>
                  </a:cubicBezTo>
                  <a:cubicBezTo>
                    <a:pt x="1156811" y="206216"/>
                    <a:pt x="1153954" y="197644"/>
                    <a:pt x="1152049" y="189071"/>
                  </a:cubicBezTo>
                  <a:cubicBezTo>
                    <a:pt x="1143476" y="155734"/>
                    <a:pt x="1136809" y="133826"/>
                    <a:pt x="1136809" y="133826"/>
                  </a:cubicBezTo>
                  <a:cubicBezTo>
                    <a:pt x="1136809" y="133826"/>
                    <a:pt x="1137761" y="156686"/>
                    <a:pt x="1140619" y="190024"/>
                  </a:cubicBezTo>
                  <a:cubicBezTo>
                    <a:pt x="1141571" y="198596"/>
                    <a:pt x="1142524" y="208121"/>
                    <a:pt x="1143476" y="217646"/>
                  </a:cubicBezTo>
                  <a:cubicBezTo>
                    <a:pt x="1144429" y="227171"/>
                    <a:pt x="1144429" y="237649"/>
                    <a:pt x="1146334" y="248126"/>
                  </a:cubicBezTo>
                  <a:cubicBezTo>
                    <a:pt x="1146334" y="252889"/>
                    <a:pt x="1147286" y="256699"/>
                    <a:pt x="1147286" y="261461"/>
                  </a:cubicBezTo>
                  <a:cubicBezTo>
                    <a:pt x="1147286" y="261461"/>
                    <a:pt x="1147286" y="261461"/>
                    <a:pt x="1147286" y="261461"/>
                  </a:cubicBezTo>
                  <a:cubicBezTo>
                    <a:pt x="1147286" y="259556"/>
                    <a:pt x="1147286" y="258604"/>
                    <a:pt x="1147286" y="258604"/>
                  </a:cubicBezTo>
                  <a:cubicBezTo>
                    <a:pt x="1147286" y="258604"/>
                    <a:pt x="1147286" y="259556"/>
                    <a:pt x="1147286" y="260509"/>
                  </a:cubicBezTo>
                  <a:cubicBezTo>
                    <a:pt x="1146334" y="257651"/>
                    <a:pt x="1144429" y="254794"/>
                    <a:pt x="1143476" y="251936"/>
                  </a:cubicBezTo>
                  <a:cubicBezTo>
                    <a:pt x="1142524" y="250984"/>
                    <a:pt x="1142524" y="250031"/>
                    <a:pt x="1141571" y="249079"/>
                  </a:cubicBezTo>
                  <a:cubicBezTo>
                    <a:pt x="1141571" y="242411"/>
                    <a:pt x="1141571" y="237649"/>
                    <a:pt x="1141571" y="237649"/>
                  </a:cubicBezTo>
                  <a:cubicBezTo>
                    <a:pt x="1141571" y="237649"/>
                    <a:pt x="1140619" y="240506"/>
                    <a:pt x="1139666" y="246221"/>
                  </a:cubicBezTo>
                  <a:cubicBezTo>
                    <a:pt x="1136809" y="241459"/>
                    <a:pt x="1134904" y="236696"/>
                    <a:pt x="1132046" y="231934"/>
                  </a:cubicBezTo>
                  <a:cubicBezTo>
                    <a:pt x="1132046" y="231934"/>
                    <a:pt x="1132046" y="230981"/>
                    <a:pt x="1132046" y="230981"/>
                  </a:cubicBezTo>
                  <a:cubicBezTo>
                    <a:pt x="1128236" y="211931"/>
                    <a:pt x="1124426" y="193834"/>
                    <a:pt x="1120616" y="177641"/>
                  </a:cubicBezTo>
                  <a:cubicBezTo>
                    <a:pt x="1116806" y="161449"/>
                    <a:pt x="1113949" y="146209"/>
                    <a:pt x="1110139" y="132874"/>
                  </a:cubicBezTo>
                  <a:cubicBezTo>
                    <a:pt x="1106329" y="119539"/>
                    <a:pt x="1103471" y="108109"/>
                    <a:pt x="1100614" y="98584"/>
                  </a:cubicBezTo>
                  <a:cubicBezTo>
                    <a:pt x="1094899" y="79534"/>
                    <a:pt x="1092041" y="69056"/>
                    <a:pt x="1092041" y="69056"/>
                  </a:cubicBezTo>
                  <a:cubicBezTo>
                    <a:pt x="1092041" y="69056"/>
                    <a:pt x="1093946" y="80486"/>
                    <a:pt x="1096804" y="99536"/>
                  </a:cubicBezTo>
                  <a:cubicBezTo>
                    <a:pt x="1098709" y="109061"/>
                    <a:pt x="1100614" y="121444"/>
                    <a:pt x="1103471" y="134779"/>
                  </a:cubicBezTo>
                  <a:cubicBezTo>
                    <a:pt x="1106329" y="148114"/>
                    <a:pt x="1108234" y="163354"/>
                    <a:pt x="1110139" y="180499"/>
                  </a:cubicBezTo>
                  <a:cubicBezTo>
                    <a:pt x="1111091" y="186214"/>
                    <a:pt x="1112044" y="192881"/>
                    <a:pt x="1112996" y="199549"/>
                  </a:cubicBezTo>
                  <a:cubicBezTo>
                    <a:pt x="1112044" y="197644"/>
                    <a:pt x="1111091" y="196691"/>
                    <a:pt x="1110139" y="194786"/>
                  </a:cubicBezTo>
                  <a:cubicBezTo>
                    <a:pt x="1109186" y="192881"/>
                    <a:pt x="1107281" y="190976"/>
                    <a:pt x="1106329" y="190024"/>
                  </a:cubicBezTo>
                  <a:cubicBezTo>
                    <a:pt x="1106329" y="189071"/>
                    <a:pt x="1106329" y="189071"/>
                    <a:pt x="1105376" y="188119"/>
                  </a:cubicBezTo>
                  <a:cubicBezTo>
                    <a:pt x="1101566" y="177641"/>
                    <a:pt x="1098709" y="168116"/>
                    <a:pt x="1095851" y="160496"/>
                  </a:cubicBezTo>
                  <a:cubicBezTo>
                    <a:pt x="1090136" y="145256"/>
                    <a:pt x="1087279" y="136684"/>
                    <a:pt x="1087279" y="136684"/>
                  </a:cubicBezTo>
                  <a:cubicBezTo>
                    <a:pt x="1087279" y="136684"/>
                    <a:pt x="1089184" y="145256"/>
                    <a:pt x="1092041" y="161449"/>
                  </a:cubicBezTo>
                  <a:cubicBezTo>
                    <a:pt x="1093946" y="169069"/>
                    <a:pt x="1095851" y="178594"/>
                    <a:pt x="1098709" y="190024"/>
                  </a:cubicBezTo>
                  <a:cubicBezTo>
                    <a:pt x="1100614" y="197644"/>
                    <a:pt x="1102519" y="207169"/>
                    <a:pt x="1103471" y="215741"/>
                  </a:cubicBezTo>
                  <a:cubicBezTo>
                    <a:pt x="1099661" y="206216"/>
                    <a:pt x="1097756" y="200501"/>
                    <a:pt x="1097756" y="200501"/>
                  </a:cubicBezTo>
                  <a:cubicBezTo>
                    <a:pt x="1097756" y="200501"/>
                    <a:pt x="1099661" y="209074"/>
                    <a:pt x="1102519" y="224314"/>
                  </a:cubicBezTo>
                  <a:cubicBezTo>
                    <a:pt x="1100614" y="227171"/>
                    <a:pt x="1097756" y="230981"/>
                    <a:pt x="1094899" y="233839"/>
                  </a:cubicBezTo>
                  <a:cubicBezTo>
                    <a:pt x="1092994" y="225266"/>
                    <a:pt x="1091089" y="216694"/>
                    <a:pt x="1089184" y="209074"/>
                  </a:cubicBezTo>
                  <a:cubicBezTo>
                    <a:pt x="1086326" y="182404"/>
                    <a:pt x="1084421" y="166211"/>
                    <a:pt x="1084421" y="166211"/>
                  </a:cubicBezTo>
                  <a:cubicBezTo>
                    <a:pt x="1084421" y="166211"/>
                    <a:pt x="1084421" y="172879"/>
                    <a:pt x="1083469" y="184309"/>
                  </a:cubicBezTo>
                  <a:cubicBezTo>
                    <a:pt x="1080611" y="171926"/>
                    <a:pt x="1077754" y="160496"/>
                    <a:pt x="1073944" y="149066"/>
                  </a:cubicBezTo>
                  <a:cubicBezTo>
                    <a:pt x="1071086" y="140494"/>
                    <a:pt x="1069181" y="131921"/>
                    <a:pt x="1066324" y="123349"/>
                  </a:cubicBezTo>
                  <a:cubicBezTo>
                    <a:pt x="1072991" y="105251"/>
                    <a:pt x="1075849" y="94774"/>
                    <a:pt x="1075849" y="94774"/>
                  </a:cubicBezTo>
                  <a:cubicBezTo>
                    <a:pt x="1075849" y="94774"/>
                    <a:pt x="1072039" y="103346"/>
                    <a:pt x="1064419" y="119539"/>
                  </a:cubicBezTo>
                  <a:cubicBezTo>
                    <a:pt x="1062514" y="112871"/>
                    <a:pt x="1059656" y="106204"/>
                    <a:pt x="1057751" y="100489"/>
                  </a:cubicBezTo>
                  <a:cubicBezTo>
                    <a:pt x="1054894" y="92869"/>
                    <a:pt x="1052036" y="85249"/>
                    <a:pt x="1050131" y="78581"/>
                  </a:cubicBezTo>
                  <a:cubicBezTo>
                    <a:pt x="1047274" y="71914"/>
                    <a:pt x="1044416" y="65246"/>
                    <a:pt x="1042511" y="59531"/>
                  </a:cubicBezTo>
                  <a:cubicBezTo>
                    <a:pt x="1037749" y="47149"/>
                    <a:pt x="1032986" y="36671"/>
                    <a:pt x="1029176" y="28099"/>
                  </a:cubicBezTo>
                  <a:cubicBezTo>
                    <a:pt x="1017746" y="16669"/>
                    <a:pt x="1012984" y="7144"/>
                    <a:pt x="1012984" y="7144"/>
                  </a:cubicBezTo>
                  <a:cubicBezTo>
                    <a:pt x="1012984" y="7144"/>
                    <a:pt x="1016794" y="17621"/>
                    <a:pt x="1022509" y="34766"/>
                  </a:cubicBezTo>
                  <a:cubicBezTo>
                    <a:pt x="1025366" y="43339"/>
                    <a:pt x="1029176" y="54769"/>
                    <a:pt x="1032986" y="67151"/>
                  </a:cubicBezTo>
                  <a:cubicBezTo>
                    <a:pt x="1034891" y="73819"/>
                    <a:pt x="1036796" y="79534"/>
                    <a:pt x="1038701" y="87154"/>
                  </a:cubicBezTo>
                  <a:cubicBezTo>
                    <a:pt x="1040606" y="93821"/>
                    <a:pt x="1042511" y="101441"/>
                    <a:pt x="1044416" y="109061"/>
                  </a:cubicBezTo>
                  <a:cubicBezTo>
                    <a:pt x="1044416" y="109061"/>
                    <a:pt x="1044416" y="110014"/>
                    <a:pt x="1044416" y="110014"/>
                  </a:cubicBezTo>
                  <a:cubicBezTo>
                    <a:pt x="1039654" y="101441"/>
                    <a:pt x="1037749" y="96679"/>
                    <a:pt x="1037749" y="96679"/>
                  </a:cubicBezTo>
                  <a:cubicBezTo>
                    <a:pt x="1037749" y="96679"/>
                    <a:pt x="1039654" y="104299"/>
                    <a:pt x="1044416" y="117634"/>
                  </a:cubicBezTo>
                  <a:cubicBezTo>
                    <a:pt x="1046321" y="124301"/>
                    <a:pt x="1049179" y="131921"/>
                    <a:pt x="1051084" y="141446"/>
                  </a:cubicBezTo>
                  <a:cubicBezTo>
                    <a:pt x="1051084" y="143351"/>
                    <a:pt x="1052036" y="144304"/>
                    <a:pt x="1052036" y="146209"/>
                  </a:cubicBezTo>
                  <a:cubicBezTo>
                    <a:pt x="1048226" y="153829"/>
                    <a:pt x="1043464" y="163354"/>
                    <a:pt x="1037749" y="172879"/>
                  </a:cubicBezTo>
                  <a:cubicBezTo>
                    <a:pt x="1033939" y="180499"/>
                    <a:pt x="1029176" y="188119"/>
                    <a:pt x="1024414" y="195739"/>
                  </a:cubicBezTo>
                  <a:cubicBezTo>
                    <a:pt x="1024414" y="194786"/>
                    <a:pt x="1023461" y="193834"/>
                    <a:pt x="1023461" y="192881"/>
                  </a:cubicBezTo>
                  <a:cubicBezTo>
                    <a:pt x="1023461" y="190024"/>
                    <a:pt x="1023461" y="187166"/>
                    <a:pt x="1023461" y="184309"/>
                  </a:cubicBezTo>
                  <a:cubicBezTo>
                    <a:pt x="1024414" y="169069"/>
                    <a:pt x="1024414" y="154781"/>
                    <a:pt x="1024414" y="142399"/>
                  </a:cubicBezTo>
                  <a:cubicBezTo>
                    <a:pt x="1024414" y="130016"/>
                    <a:pt x="1024414" y="119539"/>
                    <a:pt x="1023461" y="110014"/>
                  </a:cubicBezTo>
                  <a:cubicBezTo>
                    <a:pt x="1023461" y="101441"/>
                    <a:pt x="1022509" y="93821"/>
                    <a:pt x="1021556" y="89059"/>
                  </a:cubicBezTo>
                  <a:cubicBezTo>
                    <a:pt x="1020604" y="84296"/>
                    <a:pt x="1020604" y="81439"/>
                    <a:pt x="1020604" y="81439"/>
                  </a:cubicBezTo>
                  <a:cubicBezTo>
                    <a:pt x="1020604" y="81439"/>
                    <a:pt x="1020604" y="84296"/>
                    <a:pt x="1020604" y="89059"/>
                  </a:cubicBezTo>
                  <a:cubicBezTo>
                    <a:pt x="1020604" y="93821"/>
                    <a:pt x="1019651" y="100489"/>
                    <a:pt x="1019651" y="110014"/>
                  </a:cubicBezTo>
                  <a:cubicBezTo>
                    <a:pt x="1018699" y="124301"/>
                    <a:pt x="1016794" y="142399"/>
                    <a:pt x="1014889" y="165259"/>
                  </a:cubicBezTo>
                  <a:cubicBezTo>
                    <a:pt x="1013936" y="162401"/>
                    <a:pt x="1013936" y="161449"/>
                    <a:pt x="1013936" y="161449"/>
                  </a:cubicBezTo>
                  <a:cubicBezTo>
                    <a:pt x="1013936" y="161449"/>
                    <a:pt x="1013936" y="163354"/>
                    <a:pt x="1014889" y="168116"/>
                  </a:cubicBezTo>
                  <a:cubicBezTo>
                    <a:pt x="1013936" y="172879"/>
                    <a:pt x="1013936" y="178594"/>
                    <a:pt x="1012984" y="183356"/>
                  </a:cubicBezTo>
                  <a:cubicBezTo>
                    <a:pt x="1011079" y="196691"/>
                    <a:pt x="1009174" y="210026"/>
                    <a:pt x="1007269" y="224314"/>
                  </a:cubicBezTo>
                  <a:cubicBezTo>
                    <a:pt x="996791" y="242411"/>
                    <a:pt x="984409" y="262414"/>
                    <a:pt x="972026" y="283369"/>
                  </a:cubicBezTo>
                  <a:cubicBezTo>
                    <a:pt x="972026" y="277654"/>
                    <a:pt x="971074" y="273844"/>
                    <a:pt x="971074" y="269081"/>
                  </a:cubicBezTo>
                  <a:cubicBezTo>
                    <a:pt x="972979" y="263366"/>
                    <a:pt x="975836" y="256699"/>
                    <a:pt x="977741" y="251936"/>
                  </a:cubicBezTo>
                  <a:cubicBezTo>
                    <a:pt x="983456" y="235744"/>
                    <a:pt x="989171" y="220504"/>
                    <a:pt x="992981" y="206216"/>
                  </a:cubicBezTo>
                  <a:cubicBezTo>
                    <a:pt x="996791" y="192881"/>
                    <a:pt x="1000601" y="180499"/>
                    <a:pt x="1002506" y="170974"/>
                  </a:cubicBezTo>
                  <a:cubicBezTo>
                    <a:pt x="1007269" y="150971"/>
                    <a:pt x="1009174" y="139541"/>
                    <a:pt x="1009174" y="139541"/>
                  </a:cubicBezTo>
                  <a:cubicBezTo>
                    <a:pt x="1009174" y="139541"/>
                    <a:pt x="1005364" y="150971"/>
                    <a:pt x="998696" y="170021"/>
                  </a:cubicBezTo>
                  <a:cubicBezTo>
                    <a:pt x="995839" y="179546"/>
                    <a:pt x="990124" y="190976"/>
                    <a:pt x="985361" y="204311"/>
                  </a:cubicBezTo>
                  <a:cubicBezTo>
                    <a:pt x="980599" y="217646"/>
                    <a:pt x="972979" y="231934"/>
                    <a:pt x="966311" y="248126"/>
                  </a:cubicBezTo>
                  <a:cubicBezTo>
                    <a:pt x="964406" y="251936"/>
                    <a:pt x="962501" y="255746"/>
                    <a:pt x="960596" y="260509"/>
                  </a:cubicBezTo>
                  <a:cubicBezTo>
                    <a:pt x="961549" y="248126"/>
                    <a:pt x="961549" y="236696"/>
                    <a:pt x="961549" y="225266"/>
                  </a:cubicBezTo>
                  <a:cubicBezTo>
                    <a:pt x="966311" y="212884"/>
                    <a:pt x="969169" y="206216"/>
                    <a:pt x="969169" y="206216"/>
                  </a:cubicBezTo>
                  <a:cubicBezTo>
                    <a:pt x="969169" y="206216"/>
                    <a:pt x="966311" y="210979"/>
                    <a:pt x="961549" y="218599"/>
                  </a:cubicBezTo>
                  <a:cubicBezTo>
                    <a:pt x="961549" y="213836"/>
                    <a:pt x="961549" y="210026"/>
                    <a:pt x="961549" y="206216"/>
                  </a:cubicBezTo>
                  <a:cubicBezTo>
                    <a:pt x="961549" y="182404"/>
                    <a:pt x="960596" y="162401"/>
                    <a:pt x="958691" y="149066"/>
                  </a:cubicBezTo>
                  <a:cubicBezTo>
                    <a:pt x="957739" y="143351"/>
                    <a:pt x="957739" y="138589"/>
                    <a:pt x="956786" y="134779"/>
                  </a:cubicBezTo>
                  <a:cubicBezTo>
                    <a:pt x="956786" y="132874"/>
                    <a:pt x="957739" y="131921"/>
                    <a:pt x="957739" y="131921"/>
                  </a:cubicBezTo>
                  <a:cubicBezTo>
                    <a:pt x="957739" y="131921"/>
                    <a:pt x="957739" y="132874"/>
                    <a:pt x="956786" y="133826"/>
                  </a:cubicBezTo>
                  <a:cubicBezTo>
                    <a:pt x="956786" y="133826"/>
                    <a:pt x="956786" y="132874"/>
                    <a:pt x="956786" y="132874"/>
                  </a:cubicBezTo>
                  <a:cubicBezTo>
                    <a:pt x="955834" y="129064"/>
                    <a:pt x="955834" y="127159"/>
                    <a:pt x="955834" y="127159"/>
                  </a:cubicBezTo>
                  <a:cubicBezTo>
                    <a:pt x="955834" y="127159"/>
                    <a:pt x="955834" y="130969"/>
                    <a:pt x="955834" y="136684"/>
                  </a:cubicBezTo>
                  <a:cubicBezTo>
                    <a:pt x="951071" y="147161"/>
                    <a:pt x="940594" y="171926"/>
                    <a:pt x="927259" y="206216"/>
                  </a:cubicBezTo>
                  <a:cubicBezTo>
                    <a:pt x="927259" y="206216"/>
                    <a:pt x="927259" y="205264"/>
                    <a:pt x="927259" y="205264"/>
                  </a:cubicBezTo>
                  <a:cubicBezTo>
                    <a:pt x="928211" y="196691"/>
                    <a:pt x="929164" y="189071"/>
                    <a:pt x="930116" y="183356"/>
                  </a:cubicBezTo>
                  <a:cubicBezTo>
                    <a:pt x="932021" y="170974"/>
                    <a:pt x="932974" y="164306"/>
                    <a:pt x="932974" y="164306"/>
                  </a:cubicBezTo>
                  <a:cubicBezTo>
                    <a:pt x="932974" y="164306"/>
                    <a:pt x="930116" y="170974"/>
                    <a:pt x="926306" y="183356"/>
                  </a:cubicBezTo>
                  <a:cubicBezTo>
                    <a:pt x="924401" y="189071"/>
                    <a:pt x="922496" y="195739"/>
                    <a:pt x="920591" y="203359"/>
                  </a:cubicBezTo>
                  <a:cubicBezTo>
                    <a:pt x="916781" y="192881"/>
                    <a:pt x="913924" y="182404"/>
                    <a:pt x="910114" y="171926"/>
                  </a:cubicBezTo>
                  <a:cubicBezTo>
                    <a:pt x="909161" y="169069"/>
                    <a:pt x="908209" y="167164"/>
                    <a:pt x="907256" y="164306"/>
                  </a:cubicBezTo>
                  <a:cubicBezTo>
                    <a:pt x="909161" y="161449"/>
                    <a:pt x="910114" y="159544"/>
                    <a:pt x="912019" y="157639"/>
                  </a:cubicBezTo>
                  <a:cubicBezTo>
                    <a:pt x="920591" y="145256"/>
                    <a:pt x="927259" y="133826"/>
                    <a:pt x="933926" y="124301"/>
                  </a:cubicBezTo>
                  <a:cubicBezTo>
                    <a:pt x="946309" y="106204"/>
                    <a:pt x="953929" y="95726"/>
                    <a:pt x="953929" y="95726"/>
                  </a:cubicBezTo>
                  <a:cubicBezTo>
                    <a:pt x="953929" y="95726"/>
                    <a:pt x="945356" y="105251"/>
                    <a:pt x="931069" y="121444"/>
                  </a:cubicBezTo>
                  <a:cubicBezTo>
                    <a:pt x="923449" y="129064"/>
                    <a:pt x="915829" y="140494"/>
                    <a:pt x="906304" y="151924"/>
                  </a:cubicBezTo>
                  <a:cubicBezTo>
                    <a:pt x="905351" y="152876"/>
                    <a:pt x="904399" y="153829"/>
                    <a:pt x="904399" y="154781"/>
                  </a:cubicBezTo>
                  <a:cubicBezTo>
                    <a:pt x="901541" y="147161"/>
                    <a:pt x="898684" y="139541"/>
                    <a:pt x="894874" y="131921"/>
                  </a:cubicBezTo>
                  <a:lnTo>
                    <a:pt x="892016" y="126206"/>
                  </a:lnTo>
                  <a:cubicBezTo>
                    <a:pt x="893921" y="122396"/>
                    <a:pt x="895826" y="118586"/>
                    <a:pt x="897731" y="115729"/>
                  </a:cubicBezTo>
                  <a:cubicBezTo>
                    <a:pt x="905351" y="100489"/>
                    <a:pt x="912019" y="87154"/>
                    <a:pt x="918686" y="77629"/>
                  </a:cubicBezTo>
                  <a:cubicBezTo>
                    <a:pt x="931069" y="56674"/>
                    <a:pt x="937736" y="44291"/>
                    <a:pt x="937736" y="44291"/>
                  </a:cubicBezTo>
                  <a:cubicBezTo>
                    <a:pt x="937736" y="44291"/>
                    <a:pt x="929164" y="55721"/>
                    <a:pt x="914876" y="74771"/>
                  </a:cubicBezTo>
                  <a:cubicBezTo>
                    <a:pt x="907256" y="84296"/>
                    <a:pt x="899636" y="96679"/>
                    <a:pt x="890111" y="110966"/>
                  </a:cubicBezTo>
                  <a:cubicBezTo>
                    <a:pt x="889159" y="112871"/>
                    <a:pt x="887254" y="114776"/>
                    <a:pt x="886301" y="116681"/>
                  </a:cubicBezTo>
                  <a:lnTo>
                    <a:pt x="874871" y="92869"/>
                  </a:lnTo>
                  <a:lnTo>
                    <a:pt x="873919" y="90964"/>
                  </a:lnTo>
                  <a:lnTo>
                    <a:pt x="872966" y="91916"/>
                  </a:lnTo>
                  <a:cubicBezTo>
                    <a:pt x="871061" y="92869"/>
                    <a:pt x="869156" y="93821"/>
                    <a:pt x="868204" y="95726"/>
                  </a:cubicBezTo>
                  <a:cubicBezTo>
                    <a:pt x="867251" y="97631"/>
                    <a:pt x="866299" y="99536"/>
                    <a:pt x="866299" y="101441"/>
                  </a:cubicBezTo>
                  <a:cubicBezTo>
                    <a:pt x="866299" y="105251"/>
                    <a:pt x="867251" y="110014"/>
                    <a:pt x="868204" y="113824"/>
                  </a:cubicBezTo>
                  <a:cubicBezTo>
                    <a:pt x="867251" y="110014"/>
                    <a:pt x="867251" y="106204"/>
                    <a:pt x="868204" y="102394"/>
                  </a:cubicBezTo>
                  <a:cubicBezTo>
                    <a:pt x="868204" y="100489"/>
                    <a:pt x="869156" y="99536"/>
                    <a:pt x="870109" y="97631"/>
                  </a:cubicBezTo>
                  <a:cubicBezTo>
                    <a:pt x="871061" y="96679"/>
                    <a:pt x="872014" y="96679"/>
                    <a:pt x="872966" y="95726"/>
                  </a:cubicBezTo>
                  <a:lnTo>
                    <a:pt x="882491" y="122396"/>
                  </a:lnTo>
                  <a:cubicBezTo>
                    <a:pt x="880586" y="126206"/>
                    <a:pt x="877729" y="129064"/>
                    <a:pt x="875824" y="132874"/>
                  </a:cubicBezTo>
                  <a:cubicBezTo>
                    <a:pt x="871061" y="141446"/>
                    <a:pt x="866299" y="150019"/>
                    <a:pt x="860584" y="159544"/>
                  </a:cubicBezTo>
                  <a:cubicBezTo>
                    <a:pt x="852964" y="172879"/>
                    <a:pt x="845344" y="188119"/>
                    <a:pt x="837724" y="203359"/>
                  </a:cubicBezTo>
                  <a:cubicBezTo>
                    <a:pt x="834866" y="198596"/>
                    <a:pt x="832961" y="195739"/>
                    <a:pt x="832009" y="194786"/>
                  </a:cubicBezTo>
                  <a:cubicBezTo>
                    <a:pt x="834866" y="170974"/>
                    <a:pt x="836771" y="151924"/>
                    <a:pt x="838676" y="137636"/>
                  </a:cubicBezTo>
                  <a:cubicBezTo>
                    <a:pt x="839629" y="123349"/>
                    <a:pt x="840581" y="115729"/>
                    <a:pt x="840581" y="115729"/>
                  </a:cubicBezTo>
                  <a:cubicBezTo>
                    <a:pt x="840581" y="115729"/>
                    <a:pt x="838676" y="123349"/>
                    <a:pt x="834866" y="137636"/>
                  </a:cubicBezTo>
                  <a:cubicBezTo>
                    <a:pt x="831056" y="151924"/>
                    <a:pt x="826294" y="170974"/>
                    <a:pt x="820579" y="194786"/>
                  </a:cubicBezTo>
                  <a:cubicBezTo>
                    <a:pt x="819626" y="197644"/>
                    <a:pt x="819626" y="200501"/>
                    <a:pt x="818674" y="204311"/>
                  </a:cubicBezTo>
                  <a:cubicBezTo>
                    <a:pt x="817721" y="202406"/>
                    <a:pt x="816769" y="199549"/>
                    <a:pt x="815816" y="197644"/>
                  </a:cubicBezTo>
                  <a:cubicBezTo>
                    <a:pt x="810101" y="183356"/>
                    <a:pt x="807244" y="174784"/>
                    <a:pt x="807244" y="174784"/>
                  </a:cubicBezTo>
                  <a:cubicBezTo>
                    <a:pt x="807244" y="174784"/>
                    <a:pt x="809149" y="183356"/>
                    <a:pt x="812006" y="198596"/>
                  </a:cubicBezTo>
                  <a:cubicBezTo>
                    <a:pt x="812959" y="202406"/>
                    <a:pt x="813911" y="206216"/>
                    <a:pt x="814864" y="210979"/>
                  </a:cubicBezTo>
                  <a:cubicBezTo>
                    <a:pt x="814864" y="212884"/>
                    <a:pt x="815816" y="214789"/>
                    <a:pt x="815816" y="216694"/>
                  </a:cubicBezTo>
                  <a:cubicBezTo>
                    <a:pt x="813911" y="224314"/>
                    <a:pt x="812959" y="231934"/>
                    <a:pt x="811054" y="239554"/>
                  </a:cubicBezTo>
                  <a:cubicBezTo>
                    <a:pt x="809149" y="226219"/>
                    <a:pt x="808196" y="219551"/>
                    <a:pt x="808196" y="219551"/>
                  </a:cubicBezTo>
                  <a:cubicBezTo>
                    <a:pt x="808196" y="219551"/>
                    <a:pt x="807244" y="236696"/>
                    <a:pt x="807244" y="264319"/>
                  </a:cubicBezTo>
                  <a:cubicBezTo>
                    <a:pt x="807244" y="265271"/>
                    <a:pt x="807244" y="265271"/>
                    <a:pt x="807244" y="266224"/>
                  </a:cubicBezTo>
                  <a:cubicBezTo>
                    <a:pt x="804386" y="259556"/>
                    <a:pt x="801529" y="252889"/>
                    <a:pt x="798671" y="246221"/>
                  </a:cubicBezTo>
                  <a:cubicBezTo>
                    <a:pt x="799624" y="241459"/>
                    <a:pt x="800576" y="239554"/>
                    <a:pt x="800576" y="239554"/>
                  </a:cubicBezTo>
                  <a:cubicBezTo>
                    <a:pt x="800576" y="239554"/>
                    <a:pt x="799624" y="241459"/>
                    <a:pt x="797719" y="245269"/>
                  </a:cubicBezTo>
                  <a:cubicBezTo>
                    <a:pt x="797719" y="244316"/>
                    <a:pt x="796766" y="243364"/>
                    <a:pt x="796766" y="242411"/>
                  </a:cubicBezTo>
                  <a:cubicBezTo>
                    <a:pt x="795814" y="239554"/>
                    <a:pt x="793909" y="236696"/>
                    <a:pt x="792956" y="233839"/>
                  </a:cubicBezTo>
                  <a:cubicBezTo>
                    <a:pt x="794861" y="229076"/>
                    <a:pt x="795814" y="223361"/>
                    <a:pt x="796766" y="218599"/>
                  </a:cubicBezTo>
                  <a:cubicBezTo>
                    <a:pt x="802481" y="196691"/>
                    <a:pt x="806291" y="177641"/>
                    <a:pt x="809149" y="164306"/>
                  </a:cubicBezTo>
                  <a:cubicBezTo>
                    <a:pt x="811054" y="150971"/>
                    <a:pt x="812959" y="143351"/>
                    <a:pt x="812959" y="143351"/>
                  </a:cubicBezTo>
                  <a:cubicBezTo>
                    <a:pt x="812959" y="143351"/>
                    <a:pt x="810101" y="150971"/>
                    <a:pt x="805339" y="163354"/>
                  </a:cubicBezTo>
                  <a:cubicBezTo>
                    <a:pt x="803434" y="170021"/>
                    <a:pt x="800576" y="177641"/>
                    <a:pt x="796766" y="186214"/>
                  </a:cubicBezTo>
                  <a:cubicBezTo>
                    <a:pt x="793909" y="194786"/>
                    <a:pt x="790099" y="205264"/>
                    <a:pt x="785336" y="215741"/>
                  </a:cubicBezTo>
                  <a:cubicBezTo>
                    <a:pt x="785336" y="216694"/>
                    <a:pt x="784384" y="217646"/>
                    <a:pt x="784384" y="218599"/>
                  </a:cubicBezTo>
                  <a:cubicBezTo>
                    <a:pt x="781526" y="213836"/>
                    <a:pt x="779621" y="209074"/>
                    <a:pt x="776764" y="205264"/>
                  </a:cubicBezTo>
                  <a:cubicBezTo>
                    <a:pt x="775811" y="204311"/>
                    <a:pt x="775811" y="203359"/>
                    <a:pt x="774859" y="202406"/>
                  </a:cubicBezTo>
                  <a:cubicBezTo>
                    <a:pt x="774859" y="202406"/>
                    <a:pt x="774859" y="202406"/>
                    <a:pt x="774859" y="201454"/>
                  </a:cubicBezTo>
                  <a:cubicBezTo>
                    <a:pt x="777716" y="176689"/>
                    <a:pt x="779621" y="156686"/>
                    <a:pt x="780574" y="142399"/>
                  </a:cubicBezTo>
                  <a:cubicBezTo>
                    <a:pt x="781526" y="128111"/>
                    <a:pt x="781526" y="119539"/>
                    <a:pt x="781526" y="119539"/>
                  </a:cubicBezTo>
                  <a:cubicBezTo>
                    <a:pt x="781526" y="119539"/>
                    <a:pt x="779621" y="127159"/>
                    <a:pt x="776764" y="141446"/>
                  </a:cubicBezTo>
                  <a:cubicBezTo>
                    <a:pt x="775811" y="148114"/>
                    <a:pt x="772954" y="156686"/>
                    <a:pt x="771049" y="167164"/>
                  </a:cubicBezTo>
                  <a:cubicBezTo>
                    <a:pt x="769144" y="173831"/>
                    <a:pt x="768191" y="181451"/>
                    <a:pt x="766286" y="189071"/>
                  </a:cubicBezTo>
                  <a:cubicBezTo>
                    <a:pt x="763429" y="185261"/>
                    <a:pt x="760571" y="181451"/>
                    <a:pt x="758666" y="178594"/>
                  </a:cubicBezTo>
                  <a:cubicBezTo>
                    <a:pt x="753904" y="171926"/>
                    <a:pt x="748189" y="166211"/>
                    <a:pt x="745331" y="163354"/>
                  </a:cubicBezTo>
                  <a:cubicBezTo>
                    <a:pt x="742474" y="159544"/>
                    <a:pt x="740569" y="157639"/>
                    <a:pt x="740569" y="157639"/>
                  </a:cubicBezTo>
                  <a:cubicBezTo>
                    <a:pt x="740569" y="157639"/>
                    <a:pt x="741521" y="159544"/>
                    <a:pt x="744379" y="163354"/>
                  </a:cubicBezTo>
                  <a:cubicBezTo>
                    <a:pt x="747236" y="167164"/>
                    <a:pt x="751046" y="172879"/>
                    <a:pt x="754856" y="180499"/>
                  </a:cubicBezTo>
                  <a:cubicBezTo>
                    <a:pt x="757714" y="185261"/>
                    <a:pt x="760571" y="190976"/>
                    <a:pt x="763429" y="196691"/>
                  </a:cubicBezTo>
                  <a:cubicBezTo>
                    <a:pt x="763429" y="197644"/>
                    <a:pt x="763429" y="198596"/>
                    <a:pt x="762476" y="199549"/>
                  </a:cubicBezTo>
                  <a:cubicBezTo>
                    <a:pt x="759619" y="211931"/>
                    <a:pt x="756761" y="224314"/>
                    <a:pt x="753904" y="238601"/>
                  </a:cubicBezTo>
                  <a:cubicBezTo>
                    <a:pt x="749141" y="230029"/>
                    <a:pt x="747236" y="224314"/>
                    <a:pt x="747236" y="224314"/>
                  </a:cubicBezTo>
                  <a:cubicBezTo>
                    <a:pt x="747236" y="224314"/>
                    <a:pt x="749141" y="230981"/>
                    <a:pt x="752951" y="241459"/>
                  </a:cubicBezTo>
                  <a:cubicBezTo>
                    <a:pt x="751999" y="242411"/>
                    <a:pt x="751999" y="242411"/>
                    <a:pt x="751046" y="243364"/>
                  </a:cubicBezTo>
                  <a:cubicBezTo>
                    <a:pt x="749141" y="246221"/>
                    <a:pt x="749141" y="250031"/>
                    <a:pt x="749141" y="252889"/>
                  </a:cubicBezTo>
                  <a:cubicBezTo>
                    <a:pt x="750094" y="250031"/>
                    <a:pt x="751046" y="246221"/>
                    <a:pt x="752951" y="244316"/>
                  </a:cubicBezTo>
                  <a:cubicBezTo>
                    <a:pt x="752951" y="244316"/>
                    <a:pt x="752951" y="244316"/>
                    <a:pt x="752951" y="244316"/>
                  </a:cubicBezTo>
                  <a:cubicBezTo>
                    <a:pt x="750094" y="256699"/>
                    <a:pt x="747236" y="269081"/>
                    <a:pt x="744379" y="282416"/>
                  </a:cubicBezTo>
                  <a:cubicBezTo>
                    <a:pt x="743426" y="287179"/>
                    <a:pt x="742474" y="291941"/>
                    <a:pt x="741521" y="296704"/>
                  </a:cubicBezTo>
                  <a:cubicBezTo>
                    <a:pt x="740569" y="299561"/>
                    <a:pt x="739616" y="302419"/>
                    <a:pt x="738664" y="306229"/>
                  </a:cubicBezTo>
                  <a:cubicBezTo>
                    <a:pt x="738664" y="306229"/>
                    <a:pt x="738664" y="306229"/>
                    <a:pt x="738664" y="306229"/>
                  </a:cubicBezTo>
                  <a:cubicBezTo>
                    <a:pt x="738664" y="302419"/>
                    <a:pt x="737711" y="297656"/>
                    <a:pt x="737711" y="293846"/>
                  </a:cubicBezTo>
                  <a:cubicBezTo>
                    <a:pt x="736759" y="285274"/>
                    <a:pt x="735806" y="277654"/>
                    <a:pt x="733901" y="270034"/>
                  </a:cubicBezTo>
                  <a:cubicBezTo>
                    <a:pt x="732949" y="266224"/>
                    <a:pt x="731996" y="263366"/>
                    <a:pt x="731996" y="259556"/>
                  </a:cubicBezTo>
                  <a:cubicBezTo>
                    <a:pt x="731996" y="258604"/>
                    <a:pt x="731996" y="258604"/>
                    <a:pt x="731044" y="257651"/>
                  </a:cubicBezTo>
                  <a:cubicBezTo>
                    <a:pt x="729139" y="238601"/>
                    <a:pt x="727234" y="223361"/>
                    <a:pt x="725329" y="210979"/>
                  </a:cubicBezTo>
                  <a:cubicBezTo>
                    <a:pt x="723424" y="195739"/>
                    <a:pt x="722471" y="186214"/>
                    <a:pt x="722471" y="186214"/>
                  </a:cubicBezTo>
                  <a:cubicBezTo>
                    <a:pt x="722471" y="186214"/>
                    <a:pt x="722471" y="190976"/>
                    <a:pt x="722471" y="199549"/>
                  </a:cubicBezTo>
                  <a:cubicBezTo>
                    <a:pt x="720566" y="204311"/>
                    <a:pt x="715804" y="220504"/>
                    <a:pt x="709136" y="243364"/>
                  </a:cubicBezTo>
                  <a:cubicBezTo>
                    <a:pt x="707231" y="238601"/>
                    <a:pt x="706279" y="233839"/>
                    <a:pt x="704374" y="229076"/>
                  </a:cubicBezTo>
                  <a:cubicBezTo>
                    <a:pt x="698659" y="211931"/>
                    <a:pt x="692944" y="195739"/>
                    <a:pt x="687229" y="181451"/>
                  </a:cubicBezTo>
                  <a:cubicBezTo>
                    <a:pt x="684371" y="174784"/>
                    <a:pt x="682466" y="168116"/>
                    <a:pt x="679609" y="161449"/>
                  </a:cubicBezTo>
                  <a:cubicBezTo>
                    <a:pt x="679609" y="156686"/>
                    <a:pt x="679609" y="151924"/>
                    <a:pt x="679609" y="148114"/>
                  </a:cubicBezTo>
                  <a:cubicBezTo>
                    <a:pt x="679609" y="138589"/>
                    <a:pt x="679609" y="130016"/>
                    <a:pt x="679609" y="122396"/>
                  </a:cubicBezTo>
                  <a:cubicBezTo>
                    <a:pt x="679609" y="108109"/>
                    <a:pt x="678656" y="100489"/>
                    <a:pt x="678656" y="100489"/>
                  </a:cubicBezTo>
                  <a:cubicBezTo>
                    <a:pt x="678656" y="100489"/>
                    <a:pt x="677704" y="108109"/>
                    <a:pt x="675799" y="122396"/>
                  </a:cubicBezTo>
                  <a:cubicBezTo>
                    <a:pt x="674846" y="128111"/>
                    <a:pt x="673894" y="135731"/>
                    <a:pt x="672941" y="144304"/>
                  </a:cubicBezTo>
                  <a:cubicBezTo>
                    <a:pt x="669131" y="134779"/>
                    <a:pt x="665321" y="127159"/>
                    <a:pt x="663416" y="122396"/>
                  </a:cubicBezTo>
                  <a:cubicBezTo>
                    <a:pt x="660559" y="117634"/>
                    <a:pt x="659606" y="114776"/>
                    <a:pt x="659606" y="114776"/>
                  </a:cubicBezTo>
                  <a:cubicBezTo>
                    <a:pt x="659606" y="114776"/>
                    <a:pt x="660559" y="117634"/>
                    <a:pt x="662464" y="123349"/>
                  </a:cubicBezTo>
                  <a:cubicBezTo>
                    <a:pt x="664369" y="129064"/>
                    <a:pt x="667226" y="136684"/>
                    <a:pt x="670084" y="147161"/>
                  </a:cubicBezTo>
                  <a:cubicBezTo>
                    <a:pt x="671036" y="149066"/>
                    <a:pt x="671036" y="151924"/>
                    <a:pt x="671989" y="153829"/>
                  </a:cubicBezTo>
                  <a:cubicBezTo>
                    <a:pt x="671989" y="157639"/>
                    <a:pt x="671036" y="160496"/>
                    <a:pt x="671036" y="164306"/>
                  </a:cubicBezTo>
                  <a:cubicBezTo>
                    <a:pt x="670084" y="170021"/>
                    <a:pt x="669131" y="175736"/>
                    <a:pt x="668179" y="181451"/>
                  </a:cubicBezTo>
                  <a:cubicBezTo>
                    <a:pt x="666274" y="193834"/>
                    <a:pt x="664369" y="206216"/>
                    <a:pt x="662464" y="219551"/>
                  </a:cubicBezTo>
                  <a:cubicBezTo>
                    <a:pt x="661511" y="226219"/>
                    <a:pt x="660559" y="232886"/>
                    <a:pt x="658654" y="239554"/>
                  </a:cubicBezTo>
                  <a:cubicBezTo>
                    <a:pt x="657701" y="236696"/>
                    <a:pt x="656749" y="233839"/>
                    <a:pt x="655796" y="231934"/>
                  </a:cubicBezTo>
                  <a:cubicBezTo>
                    <a:pt x="656749" y="218599"/>
                    <a:pt x="657701" y="210026"/>
                    <a:pt x="657701" y="210026"/>
                  </a:cubicBezTo>
                  <a:cubicBezTo>
                    <a:pt x="657701" y="210026"/>
                    <a:pt x="655796" y="215741"/>
                    <a:pt x="653891" y="226219"/>
                  </a:cubicBezTo>
                  <a:cubicBezTo>
                    <a:pt x="648176" y="212884"/>
                    <a:pt x="643414" y="201454"/>
                    <a:pt x="638651" y="191929"/>
                  </a:cubicBezTo>
                  <a:cubicBezTo>
                    <a:pt x="634841" y="184309"/>
                    <a:pt x="631984" y="178594"/>
                    <a:pt x="630079" y="174784"/>
                  </a:cubicBezTo>
                  <a:cubicBezTo>
                    <a:pt x="628174" y="170974"/>
                    <a:pt x="627221" y="169069"/>
                    <a:pt x="627221" y="169069"/>
                  </a:cubicBezTo>
                  <a:cubicBezTo>
                    <a:pt x="627221" y="169069"/>
                    <a:pt x="630079" y="178594"/>
                    <a:pt x="635794" y="193834"/>
                  </a:cubicBezTo>
                  <a:cubicBezTo>
                    <a:pt x="639604" y="205264"/>
                    <a:pt x="644366" y="221456"/>
                    <a:pt x="649129" y="240506"/>
                  </a:cubicBezTo>
                  <a:cubicBezTo>
                    <a:pt x="649129" y="241459"/>
                    <a:pt x="649129" y="242411"/>
                    <a:pt x="650081" y="244316"/>
                  </a:cubicBezTo>
                  <a:cubicBezTo>
                    <a:pt x="649129" y="250031"/>
                    <a:pt x="648176" y="255746"/>
                    <a:pt x="647224" y="262414"/>
                  </a:cubicBezTo>
                  <a:cubicBezTo>
                    <a:pt x="646271" y="268129"/>
                    <a:pt x="645319" y="273844"/>
                    <a:pt x="644366" y="279559"/>
                  </a:cubicBezTo>
                  <a:cubicBezTo>
                    <a:pt x="643414" y="285274"/>
                    <a:pt x="643414" y="291941"/>
                    <a:pt x="642461" y="298609"/>
                  </a:cubicBezTo>
                  <a:cubicBezTo>
                    <a:pt x="642461" y="298609"/>
                    <a:pt x="642461" y="298609"/>
                    <a:pt x="642461" y="298609"/>
                  </a:cubicBezTo>
                  <a:cubicBezTo>
                    <a:pt x="642461" y="296704"/>
                    <a:pt x="642461" y="294799"/>
                    <a:pt x="642461" y="294799"/>
                  </a:cubicBezTo>
                  <a:cubicBezTo>
                    <a:pt x="642461" y="294799"/>
                    <a:pt x="642461" y="302419"/>
                    <a:pt x="641509" y="315754"/>
                  </a:cubicBezTo>
                  <a:cubicBezTo>
                    <a:pt x="641509" y="316706"/>
                    <a:pt x="641509" y="316706"/>
                    <a:pt x="641509" y="317659"/>
                  </a:cubicBezTo>
                  <a:cubicBezTo>
                    <a:pt x="640556" y="314801"/>
                    <a:pt x="639604" y="311944"/>
                    <a:pt x="639604" y="309086"/>
                  </a:cubicBezTo>
                  <a:cubicBezTo>
                    <a:pt x="640556" y="306229"/>
                    <a:pt x="640556" y="304324"/>
                    <a:pt x="640556" y="304324"/>
                  </a:cubicBezTo>
                  <a:cubicBezTo>
                    <a:pt x="640556" y="304324"/>
                    <a:pt x="639604" y="305276"/>
                    <a:pt x="638651" y="307181"/>
                  </a:cubicBezTo>
                  <a:cubicBezTo>
                    <a:pt x="636746" y="299561"/>
                    <a:pt x="634841" y="291941"/>
                    <a:pt x="632936" y="284321"/>
                  </a:cubicBezTo>
                  <a:cubicBezTo>
                    <a:pt x="630079" y="271939"/>
                    <a:pt x="626269" y="260509"/>
                    <a:pt x="624364" y="250031"/>
                  </a:cubicBezTo>
                  <a:cubicBezTo>
                    <a:pt x="622459" y="239554"/>
                    <a:pt x="619601" y="230981"/>
                    <a:pt x="617696" y="223361"/>
                  </a:cubicBezTo>
                  <a:cubicBezTo>
                    <a:pt x="616744" y="218599"/>
                    <a:pt x="615791" y="214789"/>
                    <a:pt x="614839" y="210979"/>
                  </a:cubicBezTo>
                  <a:cubicBezTo>
                    <a:pt x="615791" y="204311"/>
                    <a:pt x="615791" y="197644"/>
                    <a:pt x="615791" y="190024"/>
                  </a:cubicBezTo>
                  <a:cubicBezTo>
                    <a:pt x="616744" y="169069"/>
                    <a:pt x="617696" y="148114"/>
                    <a:pt x="617696" y="126206"/>
                  </a:cubicBezTo>
                  <a:cubicBezTo>
                    <a:pt x="613886" y="146209"/>
                    <a:pt x="610076" y="166211"/>
                    <a:pt x="607219" y="187166"/>
                  </a:cubicBezTo>
                  <a:cubicBezTo>
                    <a:pt x="607219" y="186214"/>
                    <a:pt x="607219" y="185261"/>
                    <a:pt x="606266" y="184309"/>
                  </a:cubicBezTo>
                  <a:cubicBezTo>
                    <a:pt x="606266" y="186214"/>
                    <a:pt x="606266" y="188119"/>
                    <a:pt x="606266" y="189071"/>
                  </a:cubicBezTo>
                  <a:cubicBezTo>
                    <a:pt x="604361" y="197644"/>
                    <a:pt x="603409" y="207169"/>
                    <a:pt x="601504" y="215741"/>
                  </a:cubicBezTo>
                  <a:cubicBezTo>
                    <a:pt x="600551" y="213836"/>
                    <a:pt x="600551" y="211931"/>
                    <a:pt x="599599" y="210979"/>
                  </a:cubicBezTo>
                  <a:cubicBezTo>
                    <a:pt x="593884" y="198596"/>
                    <a:pt x="591026" y="191929"/>
                    <a:pt x="591026" y="191929"/>
                  </a:cubicBezTo>
                  <a:cubicBezTo>
                    <a:pt x="591026" y="191929"/>
                    <a:pt x="592931" y="199549"/>
                    <a:pt x="595789" y="212884"/>
                  </a:cubicBezTo>
                  <a:cubicBezTo>
                    <a:pt x="596741" y="217646"/>
                    <a:pt x="597694" y="223361"/>
                    <a:pt x="599599" y="230029"/>
                  </a:cubicBezTo>
                  <a:cubicBezTo>
                    <a:pt x="598646" y="237649"/>
                    <a:pt x="596741" y="244316"/>
                    <a:pt x="595789" y="251936"/>
                  </a:cubicBezTo>
                  <a:cubicBezTo>
                    <a:pt x="592931" y="266224"/>
                    <a:pt x="591026" y="280511"/>
                    <a:pt x="589121" y="294799"/>
                  </a:cubicBezTo>
                  <a:cubicBezTo>
                    <a:pt x="586264" y="290989"/>
                    <a:pt x="584359" y="288131"/>
                    <a:pt x="582454" y="284321"/>
                  </a:cubicBezTo>
                  <a:cubicBezTo>
                    <a:pt x="583406" y="277654"/>
                    <a:pt x="584359" y="270986"/>
                    <a:pt x="585311" y="265271"/>
                  </a:cubicBezTo>
                  <a:cubicBezTo>
                    <a:pt x="586264" y="256699"/>
                    <a:pt x="587216" y="250031"/>
                    <a:pt x="588169" y="244316"/>
                  </a:cubicBezTo>
                  <a:cubicBezTo>
                    <a:pt x="590074" y="232886"/>
                    <a:pt x="591026" y="225266"/>
                    <a:pt x="591026" y="225266"/>
                  </a:cubicBezTo>
                  <a:cubicBezTo>
                    <a:pt x="591026" y="225266"/>
                    <a:pt x="588169" y="231934"/>
                    <a:pt x="584359" y="243364"/>
                  </a:cubicBezTo>
                  <a:cubicBezTo>
                    <a:pt x="583406" y="247174"/>
                    <a:pt x="581501" y="252889"/>
                    <a:pt x="579596" y="258604"/>
                  </a:cubicBezTo>
                  <a:cubicBezTo>
                    <a:pt x="578644" y="248126"/>
                    <a:pt x="578644" y="239554"/>
                    <a:pt x="577691" y="231934"/>
                  </a:cubicBezTo>
                  <a:cubicBezTo>
                    <a:pt x="576739" y="218599"/>
                    <a:pt x="575786" y="210979"/>
                    <a:pt x="575786" y="210979"/>
                  </a:cubicBezTo>
                  <a:cubicBezTo>
                    <a:pt x="575786" y="210979"/>
                    <a:pt x="574834" y="218599"/>
                    <a:pt x="573881" y="230981"/>
                  </a:cubicBezTo>
                  <a:cubicBezTo>
                    <a:pt x="572929" y="240506"/>
                    <a:pt x="571976" y="252889"/>
                    <a:pt x="571024" y="267176"/>
                  </a:cubicBezTo>
                  <a:cubicBezTo>
                    <a:pt x="571024" y="267176"/>
                    <a:pt x="571024" y="267176"/>
                    <a:pt x="571024" y="267176"/>
                  </a:cubicBezTo>
                  <a:cubicBezTo>
                    <a:pt x="570071" y="265271"/>
                    <a:pt x="568166" y="264319"/>
                    <a:pt x="567214" y="262414"/>
                  </a:cubicBezTo>
                  <a:cubicBezTo>
                    <a:pt x="561499" y="245269"/>
                    <a:pt x="556736" y="230981"/>
                    <a:pt x="552926" y="219551"/>
                  </a:cubicBezTo>
                  <a:cubicBezTo>
                    <a:pt x="552926" y="219551"/>
                    <a:pt x="552926" y="218599"/>
                    <a:pt x="552926" y="218599"/>
                  </a:cubicBezTo>
                  <a:cubicBezTo>
                    <a:pt x="553879" y="208121"/>
                    <a:pt x="554831" y="198596"/>
                    <a:pt x="555784" y="189071"/>
                  </a:cubicBezTo>
                  <a:cubicBezTo>
                    <a:pt x="556736" y="179546"/>
                    <a:pt x="557689" y="170021"/>
                    <a:pt x="558641" y="162401"/>
                  </a:cubicBezTo>
                  <a:cubicBezTo>
                    <a:pt x="559594" y="154781"/>
                    <a:pt x="560546" y="147161"/>
                    <a:pt x="561499" y="141446"/>
                  </a:cubicBezTo>
                  <a:cubicBezTo>
                    <a:pt x="563404" y="130016"/>
                    <a:pt x="564356" y="123349"/>
                    <a:pt x="564356" y="123349"/>
                  </a:cubicBezTo>
                  <a:cubicBezTo>
                    <a:pt x="564356" y="123349"/>
                    <a:pt x="561499" y="130016"/>
                    <a:pt x="557689" y="140494"/>
                  </a:cubicBezTo>
                  <a:cubicBezTo>
                    <a:pt x="555784" y="146209"/>
                    <a:pt x="553879" y="152876"/>
                    <a:pt x="551021" y="160496"/>
                  </a:cubicBezTo>
                  <a:cubicBezTo>
                    <a:pt x="548164" y="168116"/>
                    <a:pt x="546259" y="177641"/>
                    <a:pt x="544354" y="187166"/>
                  </a:cubicBezTo>
                  <a:cubicBezTo>
                    <a:pt x="542449" y="196691"/>
                    <a:pt x="540544" y="207169"/>
                    <a:pt x="537686" y="218599"/>
                  </a:cubicBezTo>
                  <a:cubicBezTo>
                    <a:pt x="536734" y="222409"/>
                    <a:pt x="536734" y="227171"/>
                    <a:pt x="535781" y="231934"/>
                  </a:cubicBezTo>
                  <a:cubicBezTo>
                    <a:pt x="535781" y="228124"/>
                    <a:pt x="534829" y="224314"/>
                    <a:pt x="534829" y="220504"/>
                  </a:cubicBezTo>
                  <a:cubicBezTo>
                    <a:pt x="534829" y="214789"/>
                    <a:pt x="533876" y="210026"/>
                    <a:pt x="532924" y="205264"/>
                  </a:cubicBezTo>
                  <a:cubicBezTo>
                    <a:pt x="532924" y="198596"/>
                    <a:pt x="533876" y="192881"/>
                    <a:pt x="533876" y="186214"/>
                  </a:cubicBezTo>
                  <a:cubicBezTo>
                    <a:pt x="533876" y="179546"/>
                    <a:pt x="534829" y="172879"/>
                    <a:pt x="534829" y="166211"/>
                  </a:cubicBezTo>
                  <a:cubicBezTo>
                    <a:pt x="534829" y="159544"/>
                    <a:pt x="534829" y="153829"/>
                    <a:pt x="534829" y="148114"/>
                  </a:cubicBezTo>
                  <a:cubicBezTo>
                    <a:pt x="534829" y="136684"/>
                    <a:pt x="534829" y="127159"/>
                    <a:pt x="534829" y="118586"/>
                  </a:cubicBezTo>
                  <a:cubicBezTo>
                    <a:pt x="534829" y="102394"/>
                    <a:pt x="533876" y="92869"/>
                    <a:pt x="533876" y="92869"/>
                  </a:cubicBezTo>
                  <a:cubicBezTo>
                    <a:pt x="533876" y="92869"/>
                    <a:pt x="532924" y="102394"/>
                    <a:pt x="531019" y="118586"/>
                  </a:cubicBezTo>
                  <a:cubicBezTo>
                    <a:pt x="530066" y="126206"/>
                    <a:pt x="529114" y="136684"/>
                    <a:pt x="528161" y="147161"/>
                  </a:cubicBezTo>
                  <a:cubicBezTo>
                    <a:pt x="527209" y="152876"/>
                    <a:pt x="527209" y="158591"/>
                    <a:pt x="526256" y="165259"/>
                  </a:cubicBezTo>
                  <a:cubicBezTo>
                    <a:pt x="525304" y="171926"/>
                    <a:pt x="524351" y="177641"/>
                    <a:pt x="523399" y="185261"/>
                  </a:cubicBezTo>
                  <a:cubicBezTo>
                    <a:pt x="522446" y="189071"/>
                    <a:pt x="522446" y="192881"/>
                    <a:pt x="521494" y="197644"/>
                  </a:cubicBezTo>
                  <a:cubicBezTo>
                    <a:pt x="518636" y="187166"/>
                    <a:pt x="516731" y="177641"/>
                    <a:pt x="513874" y="170021"/>
                  </a:cubicBezTo>
                  <a:cubicBezTo>
                    <a:pt x="509111" y="153829"/>
                    <a:pt x="506254" y="144304"/>
                    <a:pt x="506254" y="144304"/>
                  </a:cubicBezTo>
                  <a:cubicBezTo>
                    <a:pt x="506254" y="144304"/>
                    <a:pt x="507206" y="153829"/>
                    <a:pt x="510064" y="170974"/>
                  </a:cubicBezTo>
                  <a:cubicBezTo>
                    <a:pt x="511969" y="184309"/>
                    <a:pt x="513874" y="201454"/>
                    <a:pt x="517684" y="222409"/>
                  </a:cubicBezTo>
                  <a:cubicBezTo>
                    <a:pt x="517684" y="225266"/>
                    <a:pt x="516731" y="227171"/>
                    <a:pt x="516731" y="230029"/>
                  </a:cubicBezTo>
                  <a:cubicBezTo>
                    <a:pt x="515779" y="237649"/>
                    <a:pt x="514826" y="244316"/>
                    <a:pt x="512921" y="251936"/>
                  </a:cubicBezTo>
                  <a:cubicBezTo>
                    <a:pt x="499586" y="210026"/>
                    <a:pt x="490061" y="181451"/>
                    <a:pt x="487204" y="172879"/>
                  </a:cubicBezTo>
                  <a:cubicBezTo>
                    <a:pt x="486251" y="167164"/>
                    <a:pt x="485299" y="164306"/>
                    <a:pt x="485299" y="164306"/>
                  </a:cubicBezTo>
                  <a:cubicBezTo>
                    <a:pt x="485299" y="164306"/>
                    <a:pt x="486251" y="173831"/>
                    <a:pt x="486251" y="189071"/>
                  </a:cubicBezTo>
                  <a:cubicBezTo>
                    <a:pt x="487204" y="196691"/>
                    <a:pt x="487204" y="207169"/>
                    <a:pt x="488156" y="217646"/>
                  </a:cubicBezTo>
                  <a:cubicBezTo>
                    <a:pt x="488156" y="224314"/>
                    <a:pt x="489109" y="230981"/>
                    <a:pt x="489109" y="238601"/>
                  </a:cubicBezTo>
                  <a:cubicBezTo>
                    <a:pt x="488156" y="232886"/>
                    <a:pt x="487204" y="228124"/>
                    <a:pt x="486251" y="223361"/>
                  </a:cubicBezTo>
                  <a:cubicBezTo>
                    <a:pt x="485299" y="217646"/>
                    <a:pt x="484346" y="212884"/>
                    <a:pt x="482441" y="207169"/>
                  </a:cubicBezTo>
                  <a:cubicBezTo>
                    <a:pt x="480536" y="202406"/>
                    <a:pt x="479584" y="197644"/>
                    <a:pt x="478631" y="192881"/>
                  </a:cubicBezTo>
                  <a:cubicBezTo>
                    <a:pt x="475774" y="184309"/>
                    <a:pt x="473869" y="176689"/>
                    <a:pt x="471964" y="170021"/>
                  </a:cubicBezTo>
                  <a:cubicBezTo>
                    <a:pt x="468154" y="157639"/>
                    <a:pt x="465296" y="150019"/>
                    <a:pt x="465296" y="150019"/>
                  </a:cubicBezTo>
                  <a:cubicBezTo>
                    <a:pt x="465296" y="150019"/>
                    <a:pt x="466249" y="157639"/>
                    <a:pt x="468154" y="170021"/>
                  </a:cubicBezTo>
                  <a:cubicBezTo>
                    <a:pt x="469106" y="176689"/>
                    <a:pt x="470059" y="184309"/>
                    <a:pt x="471011" y="193834"/>
                  </a:cubicBezTo>
                  <a:cubicBezTo>
                    <a:pt x="471964" y="198596"/>
                    <a:pt x="471964" y="203359"/>
                    <a:pt x="472916" y="208121"/>
                  </a:cubicBezTo>
                  <a:cubicBezTo>
                    <a:pt x="473869" y="212884"/>
                    <a:pt x="473869" y="218599"/>
                    <a:pt x="474821" y="224314"/>
                  </a:cubicBezTo>
                  <a:cubicBezTo>
                    <a:pt x="475774" y="233839"/>
                    <a:pt x="476726" y="244316"/>
                    <a:pt x="478631" y="255746"/>
                  </a:cubicBezTo>
                  <a:cubicBezTo>
                    <a:pt x="477679" y="250031"/>
                    <a:pt x="475774" y="245269"/>
                    <a:pt x="474821" y="240506"/>
                  </a:cubicBezTo>
                  <a:cubicBezTo>
                    <a:pt x="467201" y="211931"/>
                    <a:pt x="460534" y="188119"/>
                    <a:pt x="455771" y="170974"/>
                  </a:cubicBezTo>
                  <a:cubicBezTo>
                    <a:pt x="450056" y="154781"/>
                    <a:pt x="447199" y="145256"/>
                    <a:pt x="447199" y="145256"/>
                  </a:cubicBezTo>
                  <a:cubicBezTo>
                    <a:pt x="447199" y="145256"/>
                    <a:pt x="449104" y="154781"/>
                    <a:pt x="451961" y="171926"/>
                  </a:cubicBezTo>
                  <a:cubicBezTo>
                    <a:pt x="453866" y="180499"/>
                    <a:pt x="454819" y="190976"/>
                    <a:pt x="457676" y="202406"/>
                  </a:cubicBezTo>
                  <a:cubicBezTo>
                    <a:pt x="459581" y="213836"/>
                    <a:pt x="462439" y="227171"/>
                    <a:pt x="464344" y="242411"/>
                  </a:cubicBezTo>
                  <a:cubicBezTo>
                    <a:pt x="466249" y="254794"/>
                    <a:pt x="469106" y="268129"/>
                    <a:pt x="471011" y="282416"/>
                  </a:cubicBezTo>
                  <a:cubicBezTo>
                    <a:pt x="469106" y="278606"/>
                    <a:pt x="468154" y="275749"/>
                    <a:pt x="467201" y="272891"/>
                  </a:cubicBezTo>
                  <a:cubicBezTo>
                    <a:pt x="462439" y="262414"/>
                    <a:pt x="459581" y="255746"/>
                    <a:pt x="459581" y="255746"/>
                  </a:cubicBezTo>
                  <a:cubicBezTo>
                    <a:pt x="459581" y="255746"/>
                    <a:pt x="460534" y="262414"/>
                    <a:pt x="463391" y="273844"/>
                  </a:cubicBezTo>
                  <a:cubicBezTo>
                    <a:pt x="464344" y="279559"/>
                    <a:pt x="466249" y="286226"/>
                    <a:pt x="468154" y="293846"/>
                  </a:cubicBezTo>
                  <a:cubicBezTo>
                    <a:pt x="469106" y="297656"/>
                    <a:pt x="470059" y="302419"/>
                    <a:pt x="471011" y="306229"/>
                  </a:cubicBezTo>
                  <a:cubicBezTo>
                    <a:pt x="471964" y="310991"/>
                    <a:pt x="472916" y="315754"/>
                    <a:pt x="473869" y="320516"/>
                  </a:cubicBezTo>
                  <a:cubicBezTo>
                    <a:pt x="475774" y="330041"/>
                    <a:pt x="477679" y="340519"/>
                    <a:pt x="479584" y="351949"/>
                  </a:cubicBezTo>
                  <a:cubicBezTo>
                    <a:pt x="479584" y="352901"/>
                    <a:pt x="479584" y="352901"/>
                    <a:pt x="479584" y="353854"/>
                  </a:cubicBezTo>
                  <a:cubicBezTo>
                    <a:pt x="479584" y="353854"/>
                    <a:pt x="479584" y="352901"/>
                    <a:pt x="478631" y="351949"/>
                  </a:cubicBezTo>
                  <a:cubicBezTo>
                    <a:pt x="476726" y="347186"/>
                    <a:pt x="473869" y="343376"/>
                    <a:pt x="471964" y="338614"/>
                  </a:cubicBezTo>
                  <a:cubicBezTo>
                    <a:pt x="471011" y="333851"/>
                    <a:pt x="471011" y="329089"/>
                    <a:pt x="470059" y="324326"/>
                  </a:cubicBezTo>
                  <a:cubicBezTo>
                    <a:pt x="468154" y="309086"/>
                    <a:pt x="465296" y="294799"/>
                    <a:pt x="462439" y="280511"/>
                  </a:cubicBezTo>
                  <a:cubicBezTo>
                    <a:pt x="459581" y="266224"/>
                    <a:pt x="455771" y="252889"/>
                    <a:pt x="452914" y="240506"/>
                  </a:cubicBezTo>
                  <a:cubicBezTo>
                    <a:pt x="449104" y="228124"/>
                    <a:pt x="445294" y="215741"/>
                    <a:pt x="441484" y="205264"/>
                  </a:cubicBezTo>
                  <a:cubicBezTo>
                    <a:pt x="440531" y="201454"/>
                    <a:pt x="438626" y="198596"/>
                    <a:pt x="437674" y="194786"/>
                  </a:cubicBezTo>
                  <a:cubicBezTo>
                    <a:pt x="438626" y="185261"/>
                    <a:pt x="439579" y="175736"/>
                    <a:pt x="440531" y="167164"/>
                  </a:cubicBezTo>
                  <a:cubicBezTo>
                    <a:pt x="441484" y="151924"/>
                    <a:pt x="442436" y="139541"/>
                    <a:pt x="442436" y="128111"/>
                  </a:cubicBezTo>
                  <a:cubicBezTo>
                    <a:pt x="442436" y="106204"/>
                    <a:pt x="441484" y="94774"/>
                    <a:pt x="441484" y="94774"/>
                  </a:cubicBezTo>
                  <a:cubicBezTo>
                    <a:pt x="441484" y="94774"/>
                    <a:pt x="440531" y="107156"/>
                    <a:pt x="438626" y="128111"/>
                  </a:cubicBezTo>
                  <a:cubicBezTo>
                    <a:pt x="437674" y="138589"/>
                    <a:pt x="435769" y="151924"/>
                    <a:pt x="433864" y="166211"/>
                  </a:cubicBezTo>
                  <a:cubicBezTo>
                    <a:pt x="432911" y="170021"/>
                    <a:pt x="432911" y="173831"/>
                    <a:pt x="431959" y="178594"/>
                  </a:cubicBezTo>
                  <a:cubicBezTo>
                    <a:pt x="431959" y="177641"/>
                    <a:pt x="431006" y="176689"/>
                    <a:pt x="431006" y="175736"/>
                  </a:cubicBezTo>
                  <a:cubicBezTo>
                    <a:pt x="427196" y="167164"/>
                    <a:pt x="423386" y="159544"/>
                    <a:pt x="419576" y="153829"/>
                  </a:cubicBezTo>
                  <a:cubicBezTo>
                    <a:pt x="412909" y="142399"/>
                    <a:pt x="408146" y="135731"/>
                    <a:pt x="408146" y="135731"/>
                  </a:cubicBezTo>
                  <a:cubicBezTo>
                    <a:pt x="408146" y="135731"/>
                    <a:pt x="411004" y="143351"/>
                    <a:pt x="415766" y="155734"/>
                  </a:cubicBezTo>
                  <a:cubicBezTo>
                    <a:pt x="418624" y="161449"/>
                    <a:pt x="420529" y="170021"/>
                    <a:pt x="423386" y="178594"/>
                  </a:cubicBezTo>
                  <a:cubicBezTo>
                    <a:pt x="425291" y="184309"/>
                    <a:pt x="427196" y="190024"/>
                    <a:pt x="428149" y="195739"/>
                  </a:cubicBezTo>
                  <a:cubicBezTo>
                    <a:pt x="427196" y="201454"/>
                    <a:pt x="425291" y="208121"/>
                    <a:pt x="424339" y="214789"/>
                  </a:cubicBezTo>
                  <a:cubicBezTo>
                    <a:pt x="424339" y="214789"/>
                    <a:pt x="424339" y="214789"/>
                    <a:pt x="424339" y="214789"/>
                  </a:cubicBezTo>
                  <a:cubicBezTo>
                    <a:pt x="418624" y="206216"/>
                    <a:pt x="415766" y="202406"/>
                    <a:pt x="415766" y="202406"/>
                  </a:cubicBezTo>
                  <a:cubicBezTo>
                    <a:pt x="415766" y="202406"/>
                    <a:pt x="417671" y="208121"/>
                    <a:pt x="421481" y="216694"/>
                  </a:cubicBezTo>
                  <a:cubicBezTo>
                    <a:pt x="422434" y="218599"/>
                    <a:pt x="423386" y="220504"/>
                    <a:pt x="423386" y="223361"/>
                  </a:cubicBezTo>
                  <a:cubicBezTo>
                    <a:pt x="420529" y="238601"/>
                    <a:pt x="416719" y="255746"/>
                    <a:pt x="412909" y="272891"/>
                  </a:cubicBezTo>
                  <a:cubicBezTo>
                    <a:pt x="410051" y="264319"/>
                    <a:pt x="407194" y="257651"/>
                    <a:pt x="405289" y="253841"/>
                  </a:cubicBezTo>
                  <a:cubicBezTo>
                    <a:pt x="405289" y="253841"/>
                    <a:pt x="405289" y="253841"/>
                    <a:pt x="405289" y="253841"/>
                  </a:cubicBezTo>
                  <a:cubicBezTo>
                    <a:pt x="405289" y="237649"/>
                    <a:pt x="405289" y="223361"/>
                    <a:pt x="404336" y="210026"/>
                  </a:cubicBezTo>
                  <a:cubicBezTo>
                    <a:pt x="403384" y="196691"/>
                    <a:pt x="403384" y="185261"/>
                    <a:pt x="401479" y="176689"/>
                  </a:cubicBezTo>
                  <a:cubicBezTo>
                    <a:pt x="398621" y="158591"/>
                    <a:pt x="396716" y="148114"/>
                    <a:pt x="396716" y="148114"/>
                  </a:cubicBezTo>
                  <a:cubicBezTo>
                    <a:pt x="396716" y="148114"/>
                    <a:pt x="396716" y="158591"/>
                    <a:pt x="397669" y="177641"/>
                  </a:cubicBezTo>
                  <a:cubicBezTo>
                    <a:pt x="397669" y="186214"/>
                    <a:pt x="397669" y="195739"/>
                    <a:pt x="396716" y="206216"/>
                  </a:cubicBezTo>
                  <a:cubicBezTo>
                    <a:pt x="394811" y="214789"/>
                    <a:pt x="391954" y="228124"/>
                    <a:pt x="389096" y="244316"/>
                  </a:cubicBezTo>
                  <a:cubicBezTo>
                    <a:pt x="386239" y="235744"/>
                    <a:pt x="384334" y="227171"/>
                    <a:pt x="381476" y="219551"/>
                  </a:cubicBezTo>
                  <a:cubicBezTo>
                    <a:pt x="379571" y="212884"/>
                    <a:pt x="377666" y="205264"/>
                    <a:pt x="374809" y="199549"/>
                  </a:cubicBezTo>
                  <a:cubicBezTo>
                    <a:pt x="373856" y="197644"/>
                    <a:pt x="373856" y="196691"/>
                    <a:pt x="372904" y="194786"/>
                  </a:cubicBezTo>
                  <a:cubicBezTo>
                    <a:pt x="372904" y="193834"/>
                    <a:pt x="372904" y="192881"/>
                    <a:pt x="372904" y="190976"/>
                  </a:cubicBezTo>
                  <a:cubicBezTo>
                    <a:pt x="371951" y="186214"/>
                    <a:pt x="370999" y="181451"/>
                    <a:pt x="370046" y="177641"/>
                  </a:cubicBezTo>
                  <a:cubicBezTo>
                    <a:pt x="368141" y="169069"/>
                    <a:pt x="367189" y="162401"/>
                    <a:pt x="366236" y="155734"/>
                  </a:cubicBezTo>
                  <a:cubicBezTo>
                    <a:pt x="365284" y="152876"/>
                    <a:pt x="365284" y="150019"/>
                    <a:pt x="364331" y="148114"/>
                  </a:cubicBezTo>
                  <a:cubicBezTo>
                    <a:pt x="363379" y="140494"/>
                    <a:pt x="363379" y="135731"/>
                    <a:pt x="363379" y="135731"/>
                  </a:cubicBezTo>
                  <a:cubicBezTo>
                    <a:pt x="363379" y="135731"/>
                    <a:pt x="363379" y="137636"/>
                    <a:pt x="363379" y="140494"/>
                  </a:cubicBezTo>
                  <a:cubicBezTo>
                    <a:pt x="362426" y="138589"/>
                    <a:pt x="362426" y="136684"/>
                    <a:pt x="362426" y="136684"/>
                  </a:cubicBezTo>
                  <a:cubicBezTo>
                    <a:pt x="362426" y="136684"/>
                    <a:pt x="362426" y="142399"/>
                    <a:pt x="362426" y="151924"/>
                  </a:cubicBezTo>
                  <a:cubicBezTo>
                    <a:pt x="362426" y="154781"/>
                    <a:pt x="362426" y="158591"/>
                    <a:pt x="361474" y="163354"/>
                  </a:cubicBezTo>
                  <a:cubicBezTo>
                    <a:pt x="359569" y="159544"/>
                    <a:pt x="358616" y="155734"/>
                    <a:pt x="357664" y="151924"/>
                  </a:cubicBezTo>
                  <a:cubicBezTo>
                    <a:pt x="350996" y="135731"/>
                    <a:pt x="348139" y="127159"/>
                    <a:pt x="348139" y="127159"/>
                  </a:cubicBezTo>
                  <a:cubicBezTo>
                    <a:pt x="348139" y="127159"/>
                    <a:pt x="350044" y="136684"/>
                    <a:pt x="353854" y="153829"/>
                  </a:cubicBezTo>
                  <a:cubicBezTo>
                    <a:pt x="355759" y="162401"/>
                    <a:pt x="358616" y="171926"/>
                    <a:pt x="361474" y="183356"/>
                  </a:cubicBezTo>
                  <a:cubicBezTo>
                    <a:pt x="361474" y="186214"/>
                    <a:pt x="361474" y="189071"/>
                    <a:pt x="361474" y="192881"/>
                  </a:cubicBezTo>
                  <a:cubicBezTo>
                    <a:pt x="359569" y="187166"/>
                    <a:pt x="357664" y="184309"/>
                    <a:pt x="357664" y="184309"/>
                  </a:cubicBezTo>
                  <a:cubicBezTo>
                    <a:pt x="357664" y="184309"/>
                    <a:pt x="358616" y="189071"/>
                    <a:pt x="360521" y="198596"/>
                  </a:cubicBezTo>
                  <a:cubicBezTo>
                    <a:pt x="360521" y="205264"/>
                    <a:pt x="360521" y="212884"/>
                    <a:pt x="359569" y="221456"/>
                  </a:cubicBezTo>
                  <a:cubicBezTo>
                    <a:pt x="357664" y="216694"/>
                    <a:pt x="356711" y="211931"/>
                    <a:pt x="355759" y="208121"/>
                  </a:cubicBezTo>
                  <a:cubicBezTo>
                    <a:pt x="352901" y="199549"/>
                    <a:pt x="350996" y="193834"/>
                    <a:pt x="350996" y="193834"/>
                  </a:cubicBezTo>
                  <a:cubicBezTo>
                    <a:pt x="350996" y="193834"/>
                    <a:pt x="350996" y="199549"/>
                    <a:pt x="351949" y="208121"/>
                  </a:cubicBezTo>
                  <a:cubicBezTo>
                    <a:pt x="351949" y="212884"/>
                    <a:pt x="352901" y="218599"/>
                    <a:pt x="352901" y="224314"/>
                  </a:cubicBezTo>
                  <a:cubicBezTo>
                    <a:pt x="353854" y="230981"/>
                    <a:pt x="353854" y="237649"/>
                    <a:pt x="353854" y="246221"/>
                  </a:cubicBezTo>
                  <a:cubicBezTo>
                    <a:pt x="353854" y="253841"/>
                    <a:pt x="354806" y="262414"/>
                    <a:pt x="354806" y="270986"/>
                  </a:cubicBezTo>
                  <a:cubicBezTo>
                    <a:pt x="355759" y="279559"/>
                    <a:pt x="355759" y="289084"/>
                    <a:pt x="355759" y="299561"/>
                  </a:cubicBezTo>
                  <a:cubicBezTo>
                    <a:pt x="355759" y="305276"/>
                    <a:pt x="356711" y="310991"/>
                    <a:pt x="356711" y="316706"/>
                  </a:cubicBezTo>
                  <a:cubicBezTo>
                    <a:pt x="352901" y="310039"/>
                    <a:pt x="349091" y="303371"/>
                    <a:pt x="346234" y="298609"/>
                  </a:cubicBezTo>
                  <a:cubicBezTo>
                    <a:pt x="346234" y="297656"/>
                    <a:pt x="345281" y="297656"/>
                    <a:pt x="345281" y="296704"/>
                  </a:cubicBezTo>
                  <a:cubicBezTo>
                    <a:pt x="345281" y="294799"/>
                    <a:pt x="345281" y="293846"/>
                    <a:pt x="345281" y="291941"/>
                  </a:cubicBezTo>
                  <a:cubicBezTo>
                    <a:pt x="346234" y="282416"/>
                    <a:pt x="347186" y="274796"/>
                    <a:pt x="348139" y="267176"/>
                  </a:cubicBezTo>
                  <a:cubicBezTo>
                    <a:pt x="349091" y="253841"/>
                    <a:pt x="350044" y="246221"/>
                    <a:pt x="350044" y="246221"/>
                  </a:cubicBezTo>
                  <a:cubicBezTo>
                    <a:pt x="350044" y="246221"/>
                    <a:pt x="348139" y="253841"/>
                    <a:pt x="344329" y="267176"/>
                  </a:cubicBezTo>
                  <a:cubicBezTo>
                    <a:pt x="342424" y="272891"/>
                    <a:pt x="341471" y="279559"/>
                    <a:pt x="339566" y="287179"/>
                  </a:cubicBezTo>
                  <a:cubicBezTo>
                    <a:pt x="339566" y="287179"/>
                    <a:pt x="339566" y="287179"/>
                    <a:pt x="339566" y="287179"/>
                  </a:cubicBezTo>
                  <a:cubicBezTo>
                    <a:pt x="339566" y="287179"/>
                    <a:pt x="339566" y="287179"/>
                    <a:pt x="339566" y="288131"/>
                  </a:cubicBezTo>
                  <a:cubicBezTo>
                    <a:pt x="339566" y="289084"/>
                    <a:pt x="338614" y="290036"/>
                    <a:pt x="338614" y="291941"/>
                  </a:cubicBezTo>
                  <a:cubicBezTo>
                    <a:pt x="338614" y="293846"/>
                    <a:pt x="337661" y="295751"/>
                    <a:pt x="337661" y="297656"/>
                  </a:cubicBezTo>
                  <a:cubicBezTo>
                    <a:pt x="332899" y="290036"/>
                    <a:pt x="328136" y="283369"/>
                    <a:pt x="324326" y="277654"/>
                  </a:cubicBezTo>
                  <a:cubicBezTo>
                    <a:pt x="320516" y="263366"/>
                    <a:pt x="315754" y="249079"/>
                    <a:pt x="310991" y="233839"/>
                  </a:cubicBezTo>
                  <a:cubicBezTo>
                    <a:pt x="308134" y="226219"/>
                    <a:pt x="306229" y="219551"/>
                    <a:pt x="303371" y="211931"/>
                  </a:cubicBezTo>
                  <a:cubicBezTo>
                    <a:pt x="304324" y="206216"/>
                    <a:pt x="305276" y="201454"/>
                    <a:pt x="306229" y="196691"/>
                  </a:cubicBezTo>
                  <a:cubicBezTo>
                    <a:pt x="310039" y="179546"/>
                    <a:pt x="312896" y="164306"/>
                    <a:pt x="316706" y="150971"/>
                  </a:cubicBezTo>
                  <a:cubicBezTo>
                    <a:pt x="320516" y="137636"/>
                    <a:pt x="322421" y="125254"/>
                    <a:pt x="326231" y="115729"/>
                  </a:cubicBezTo>
                  <a:cubicBezTo>
                    <a:pt x="331946" y="96679"/>
                    <a:pt x="335756" y="85249"/>
                    <a:pt x="335756" y="85249"/>
                  </a:cubicBezTo>
                  <a:cubicBezTo>
                    <a:pt x="335756" y="85249"/>
                    <a:pt x="330994" y="95726"/>
                    <a:pt x="323374" y="113824"/>
                  </a:cubicBezTo>
                  <a:cubicBezTo>
                    <a:pt x="319564" y="123349"/>
                    <a:pt x="315754" y="134779"/>
                    <a:pt x="310991" y="148114"/>
                  </a:cubicBezTo>
                  <a:cubicBezTo>
                    <a:pt x="309086" y="154781"/>
                    <a:pt x="306229" y="161449"/>
                    <a:pt x="303371" y="169069"/>
                  </a:cubicBezTo>
                  <a:cubicBezTo>
                    <a:pt x="301466" y="175736"/>
                    <a:pt x="299561" y="183356"/>
                    <a:pt x="297656" y="190024"/>
                  </a:cubicBezTo>
                  <a:cubicBezTo>
                    <a:pt x="293846" y="179546"/>
                    <a:pt x="290989" y="170021"/>
                    <a:pt x="287179" y="159544"/>
                  </a:cubicBezTo>
                  <a:cubicBezTo>
                    <a:pt x="290036" y="172879"/>
                    <a:pt x="291941" y="185261"/>
                    <a:pt x="294799" y="198596"/>
                  </a:cubicBezTo>
                  <a:cubicBezTo>
                    <a:pt x="290989" y="213836"/>
                    <a:pt x="287179" y="230029"/>
                    <a:pt x="283369" y="247174"/>
                  </a:cubicBezTo>
                  <a:cubicBezTo>
                    <a:pt x="282416" y="252889"/>
                    <a:pt x="281464" y="258604"/>
                    <a:pt x="279559" y="264319"/>
                  </a:cubicBezTo>
                  <a:cubicBezTo>
                    <a:pt x="278606" y="260509"/>
                    <a:pt x="277654" y="257651"/>
                    <a:pt x="276701" y="253841"/>
                  </a:cubicBezTo>
                  <a:cubicBezTo>
                    <a:pt x="276701" y="245269"/>
                    <a:pt x="277654" y="235744"/>
                    <a:pt x="278606" y="227171"/>
                  </a:cubicBezTo>
                  <a:cubicBezTo>
                    <a:pt x="280511" y="205264"/>
                    <a:pt x="281464" y="185261"/>
                    <a:pt x="284321" y="166211"/>
                  </a:cubicBezTo>
                  <a:cubicBezTo>
                    <a:pt x="285274" y="156686"/>
                    <a:pt x="286226" y="148114"/>
                    <a:pt x="287179" y="139541"/>
                  </a:cubicBezTo>
                  <a:cubicBezTo>
                    <a:pt x="288131" y="130969"/>
                    <a:pt x="290036" y="123349"/>
                    <a:pt x="290989" y="115729"/>
                  </a:cubicBezTo>
                  <a:cubicBezTo>
                    <a:pt x="293846" y="100489"/>
                    <a:pt x="294799" y="87154"/>
                    <a:pt x="297656" y="76676"/>
                  </a:cubicBezTo>
                  <a:cubicBezTo>
                    <a:pt x="302419" y="54769"/>
                    <a:pt x="304324" y="42386"/>
                    <a:pt x="304324" y="42386"/>
                  </a:cubicBezTo>
                  <a:cubicBezTo>
                    <a:pt x="304324" y="42386"/>
                    <a:pt x="300514" y="54769"/>
                    <a:pt x="293846" y="75724"/>
                  </a:cubicBezTo>
                  <a:cubicBezTo>
                    <a:pt x="290036" y="86201"/>
                    <a:pt x="287179" y="99536"/>
                    <a:pt x="283369" y="114776"/>
                  </a:cubicBezTo>
                  <a:cubicBezTo>
                    <a:pt x="281464" y="122396"/>
                    <a:pt x="279559" y="130016"/>
                    <a:pt x="277654" y="138589"/>
                  </a:cubicBezTo>
                  <a:cubicBezTo>
                    <a:pt x="275749" y="147161"/>
                    <a:pt x="274796" y="156686"/>
                    <a:pt x="272891" y="165259"/>
                  </a:cubicBezTo>
                  <a:cubicBezTo>
                    <a:pt x="271939" y="170021"/>
                    <a:pt x="270986" y="173831"/>
                    <a:pt x="270034" y="178594"/>
                  </a:cubicBezTo>
                  <a:cubicBezTo>
                    <a:pt x="268129" y="182404"/>
                    <a:pt x="265271" y="188119"/>
                    <a:pt x="261461" y="196691"/>
                  </a:cubicBezTo>
                  <a:cubicBezTo>
                    <a:pt x="260509" y="191929"/>
                    <a:pt x="258604" y="187166"/>
                    <a:pt x="258604" y="183356"/>
                  </a:cubicBezTo>
                  <a:cubicBezTo>
                    <a:pt x="255746" y="170021"/>
                    <a:pt x="253841" y="161449"/>
                    <a:pt x="253841" y="161449"/>
                  </a:cubicBezTo>
                  <a:cubicBezTo>
                    <a:pt x="253841" y="161449"/>
                    <a:pt x="253841" y="169069"/>
                    <a:pt x="254794" y="183356"/>
                  </a:cubicBezTo>
                  <a:cubicBezTo>
                    <a:pt x="254794" y="190024"/>
                    <a:pt x="255746" y="197644"/>
                    <a:pt x="256699" y="207169"/>
                  </a:cubicBezTo>
                  <a:cubicBezTo>
                    <a:pt x="253841" y="213836"/>
                    <a:pt x="250984" y="222409"/>
                    <a:pt x="247174" y="231934"/>
                  </a:cubicBezTo>
                  <a:cubicBezTo>
                    <a:pt x="246221" y="232886"/>
                    <a:pt x="246221" y="234791"/>
                    <a:pt x="245269" y="236696"/>
                  </a:cubicBezTo>
                  <a:cubicBezTo>
                    <a:pt x="243364" y="231934"/>
                    <a:pt x="242411" y="230029"/>
                    <a:pt x="242411" y="230029"/>
                  </a:cubicBezTo>
                  <a:cubicBezTo>
                    <a:pt x="242411" y="230029"/>
                    <a:pt x="243364" y="233839"/>
                    <a:pt x="244316" y="240506"/>
                  </a:cubicBezTo>
                  <a:cubicBezTo>
                    <a:pt x="241459" y="247174"/>
                    <a:pt x="239554" y="254794"/>
                    <a:pt x="236696" y="262414"/>
                  </a:cubicBezTo>
                  <a:cubicBezTo>
                    <a:pt x="232886" y="250031"/>
                    <a:pt x="229076" y="238601"/>
                    <a:pt x="226219" y="227171"/>
                  </a:cubicBezTo>
                  <a:cubicBezTo>
                    <a:pt x="223361" y="219551"/>
                    <a:pt x="221456" y="210979"/>
                    <a:pt x="218599" y="204311"/>
                  </a:cubicBezTo>
                  <a:cubicBezTo>
                    <a:pt x="215741" y="196691"/>
                    <a:pt x="213836" y="190024"/>
                    <a:pt x="210979" y="184309"/>
                  </a:cubicBezTo>
                  <a:cubicBezTo>
                    <a:pt x="206216" y="171926"/>
                    <a:pt x="202406" y="160496"/>
                    <a:pt x="198596" y="150971"/>
                  </a:cubicBezTo>
                  <a:cubicBezTo>
                    <a:pt x="191929" y="132874"/>
                    <a:pt x="187166" y="122396"/>
                    <a:pt x="187166" y="122396"/>
                  </a:cubicBezTo>
                  <a:cubicBezTo>
                    <a:pt x="187166" y="122396"/>
                    <a:pt x="190024" y="132874"/>
                    <a:pt x="194786" y="151924"/>
                  </a:cubicBezTo>
                  <a:cubicBezTo>
                    <a:pt x="197644" y="161449"/>
                    <a:pt x="200501" y="172879"/>
                    <a:pt x="204311" y="186214"/>
                  </a:cubicBezTo>
                  <a:cubicBezTo>
                    <a:pt x="206216" y="192881"/>
                    <a:pt x="208121" y="199549"/>
                    <a:pt x="210026" y="207169"/>
                  </a:cubicBezTo>
                  <a:cubicBezTo>
                    <a:pt x="211931" y="214789"/>
                    <a:pt x="213836" y="222409"/>
                    <a:pt x="215741" y="230981"/>
                  </a:cubicBezTo>
                  <a:cubicBezTo>
                    <a:pt x="218599" y="245269"/>
                    <a:pt x="222409" y="260509"/>
                    <a:pt x="226219" y="275749"/>
                  </a:cubicBezTo>
                  <a:cubicBezTo>
                    <a:pt x="224314" y="280511"/>
                    <a:pt x="221456" y="287179"/>
                    <a:pt x="218599" y="295751"/>
                  </a:cubicBezTo>
                  <a:cubicBezTo>
                    <a:pt x="218599" y="296704"/>
                    <a:pt x="217646" y="297656"/>
                    <a:pt x="217646" y="298609"/>
                  </a:cubicBezTo>
                  <a:cubicBezTo>
                    <a:pt x="216694" y="286226"/>
                    <a:pt x="215741" y="274796"/>
                    <a:pt x="214789" y="266224"/>
                  </a:cubicBezTo>
                  <a:cubicBezTo>
                    <a:pt x="213836" y="250984"/>
                    <a:pt x="212884" y="241459"/>
                    <a:pt x="212884" y="241459"/>
                  </a:cubicBezTo>
                  <a:cubicBezTo>
                    <a:pt x="212884" y="241459"/>
                    <a:pt x="211931" y="250031"/>
                    <a:pt x="210979" y="266224"/>
                  </a:cubicBezTo>
                  <a:cubicBezTo>
                    <a:pt x="210026" y="277654"/>
                    <a:pt x="210026" y="291941"/>
                    <a:pt x="209074" y="309086"/>
                  </a:cubicBezTo>
                  <a:cubicBezTo>
                    <a:pt x="204311" y="301466"/>
                    <a:pt x="200501" y="293846"/>
                    <a:pt x="196691" y="287179"/>
                  </a:cubicBezTo>
                  <a:cubicBezTo>
                    <a:pt x="192881" y="281464"/>
                    <a:pt x="190024" y="275749"/>
                    <a:pt x="187166" y="270034"/>
                  </a:cubicBezTo>
                  <a:cubicBezTo>
                    <a:pt x="183356" y="265271"/>
                    <a:pt x="180499" y="260509"/>
                    <a:pt x="177641" y="255746"/>
                  </a:cubicBezTo>
                  <a:cubicBezTo>
                    <a:pt x="171926" y="246221"/>
                    <a:pt x="166211" y="238601"/>
                    <a:pt x="161449" y="231934"/>
                  </a:cubicBezTo>
                  <a:cubicBezTo>
                    <a:pt x="159544" y="230029"/>
                    <a:pt x="158591" y="227171"/>
                    <a:pt x="156686" y="225266"/>
                  </a:cubicBezTo>
                  <a:cubicBezTo>
                    <a:pt x="154781" y="214789"/>
                    <a:pt x="152876" y="209074"/>
                    <a:pt x="152876" y="209074"/>
                  </a:cubicBezTo>
                  <a:cubicBezTo>
                    <a:pt x="152876" y="209074"/>
                    <a:pt x="152876" y="212884"/>
                    <a:pt x="152876" y="219551"/>
                  </a:cubicBezTo>
                  <a:cubicBezTo>
                    <a:pt x="149066" y="213836"/>
                    <a:pt x="146209" y="210979"/>
                    <a:pt x="146209" y="210979"/>
                  </a:cubicBezTo>
                  <a:cubicBezTo>
                    <a:pt x="146209" y="210979"/>
                    <a:pt x="148114" y="215741"/>
                    <a:pt x="152876" y="224314"/>
                  </a:cubicBezTo>
                  <a:cubicBezTo>
                    <a:pt x="153829" y="235744"/>
                    <a:pt x="154781" y="253841"/>
                    <a:pt x="156686" y="275749"/>
                  </a:cubicBezTo>
                  <a:cubicBezTo>
                    <a:pt x="153829" y="271939"/>
                    <a:pt x="150971" y="267176"/>
                    <a:pt x="148114" y="263366"/>
                  </a:cubicBezTo>
                  <a:cubicBezTo>
                    <a:pt x="139541" y="252889"/>
                    <a:pt x="131921" y="242411"/>
                    <a:pt x="124301" y="233839"/>
                  </a:cubicBezTo>
                  <a:cubicBezTo>
                    <a:pt x="116681" y="225266"/>
                    <a:pt x="110966" y="217646"/>
                    <a:pt x="104299" y="212884"/>
                  </a:cubicBezTo>
                  <a:cubicBezTo>
                    <a:pt x="94774" y="203359"/>
                    <a:pt x="88106" y="197644"/>
                    <a:pt x="88106" y="197644"/>
                  </a:cubicBezTo>
                  <a:cubicBezTo>
                    <a:pt x="88106" y="197644"/>
                    <a:pt x="93821" y="205264"/>
                    <a:pt x="103346" y="217646"/>
                  </a:cubicBezTo>
                  <a:cubicBezTo>
                    <a:pt x="108109" y="223361"/>
                    <a:pt x="113824" y="231934"/>
                    <a:pt x="119539" y="240506"/>
                  </a:cubicBezTo>
                  <a:cubicBezTo>
                    <a:pt x="126206" y="249079"/>
                    <a:pt x="131921" y="260509"/>
                    <a:pt x="139541" y="271939"/>
                  </a:cubicBezTo>
                  <a:cubicBezTo>
                    <a:pt x="143351" y="278606"/>
                    <a:pt x="148114" y="285274"/>
                    <a:pt x="151924" y="292894"/>
                  </a:cubicBezTo>
                  <a:cubicBezTo>
                    <a:pt x="151924" y="294799"/>
                    <a:pt x="151924" y="295751"/>
                    <a:pt x="151924" y="297656"/>
                  </a:cubicBezTo>
                  <a:cubicBezTo>
                    <a:pt x="151924" y="297656"/>
                    <a:pt x="150971" y="296704"/>
                    <a:pt x="150971" y="296704"/>
                  </a:cubicBezTo>
                  <a:cubicBezTo>
                    <a:pt x="145256" y="290989"/>
                    <a:pt x="140494" y="285274"/>
                    <a:pt x="136684" y="282416"/>
                  </a:cubicBezTo>
                  <a:cubicBezTo>
                    <a:pt x="134779" y="280511"/>
                    <a:pt x="133826" y="279559"/>
                    <a:pt x="131921" y="278606"/>
                  </a:cubicBezTo>
                  <a:cubicBezTo>
                    <a:pt x="132874" y="275749"/>
                    <a:pt x="132874" y="274796"/>
                    <a:pt x="132874" y="274796"/>
                  </a:cubicBezTo>
                  <a:cubicBezTo>
                    <a:pt x="132874" y="274796"/>
                    <a:pt x="131921" y="275749"/>
                    <a:pt x="130969" y="278606"/>
                  </a:cubicBezTo>
                  <a:cubicBezTo>
                    <a:pt x="125254" y="273844"/>
                    <a:pt x="122396" y="270986"/>
                    <a:pt x="122396" y="270986"/>
                  </a:cubicBezTo>
                  <a:cubicBezTo>
                    <a:pt x="122396" y="270986"/>
                    <a:pt x="125254" y="274796"/>
                    <a:pt x="130016" y="280511"/>
                  </a:cubicBezTo>
                  <a:cubicBezTo>
                    <a:pt x="128111" y="283369"/>
                    <a:pt x="126206" y="288131"/>
                    <a:pt x="123349" y="293846"/>
                  </a:cubicBezTo>
                  <a:cubicBezTo>
                    <a:pt x="120491" y="299561"/>
                    <a:pt x="117634" y="308134"/>
                    <a:pt x="114776" y="316706"/>
                  </a:cubicBezTo>
                  <a:cubicBezTo>
                    <a:pt x="113824" y="318611"/>
                    <a:pt x="113824" y="319564"/>
                    <a:pt x="112871" y="321469"/>
                  </a:cubicBezTo>
                  <a:cubicBezTo>
                    <a:pt x="110014" y="313849"/>
                    <a:pt x="107156" y="306229"/>
                    <a:pt x="103346" y="299561"/>
                  </a:cubicBezTo>
                  <a:cubicBezTo>
                    <a:pt x="97631" y="286226"/>
                    <a:pt x="91916" y="273844"/>
                    <a:pt x="86201" y="262414"/>
                  </a:cubicBezTo>
                  <a:cubicBezTo>
                    <a:pt x="83344" y="255746"/>
                    <a:pt x="80486" y="250984"/>
                    <a:pt x="78581" y="245269"/>
                  </a:cubicBezTo>
                  <a:cubicBezTo>
                    <a:pt x="75724" y="240506"/>
                    <a:pt x="72866" y="235744"/>
                    <a:pt x="70961" y="230981"/>
                  </a:cubicBezTo>
                  <a:cubicBezTo>
                    <a:pt x="66199" y="222409"/>
                    <a:pt x="61436" y="213836"/>
                    <a:pt x="57626" y="208121"/>
                  </a:cubicBezTo>
                  <a:cubicBezTo>
                    <a:pt x="50006" y="195739"/>
                    <a:pt x="46196" y="188119"/>
                    <a:pt x="46196" y="188119"/>
                  </a:cubicBezTo>
                  <a:cubicBezTo>
                    <a:pt x="46196" y="188119"/>
                    <a:pt x="49054" y="195739"/>
                    <a:pt x="54769" y="210026"/>
                  </a:cubicBezTo>
                  <a:cubicBezTo>
                    <a:pt x="57626" y="216694"/>
                    <a:pt x="60484" y="225266"/>
                    <a:pt x="64294" y="234791"/>
                  </a:cubicBezTo>
                  <a:cubicBezTo>
                    <a:pt x="66199" y="239554"/>
                    <a:pt x="68104" y="244316"/>
                    <a:pt x="70009" y="250031"/>
                  </a:cubicBezTo>
                  <a:cubicBezTo>
                    <a:pt x="71914" y="254794"/>
                    <a:pt x="73819" y="260509"/>
                    <a:pt x="75724" y="266224"/>
                  </a:cubicBezTo>
                  <a:cubicBezTo>
                    <a:pt x="78581" y="274796"/>
                    <a:pt x="82391" y="283369"/>
                    <a:pt x="85249" y="292894"/>
                  </a:cubicBezTo>
                  <a:cubicBezTo>
                    <a:pt x="83344" y="290036"/>
                    <a:pt x="81439" y="286226"/>
                    <a:pt x="79534" y="284321"/>
                  </a:cubicBezTo>
                  <a:cubicBezTo>
                    <a:pt x="74771" y="277654"/>
                    <a:pt x="71914" y="271939"/>
                    <a:pt x="68104" y="268129"/>
                  </a:cubicBezTo>
                  <a:cubicBezTo>
                    <a:pt x="61436" y="258604"/>
                    <a:pt x="57626" y="253841"/>
                    <a:pt x="57626" y="253841"/>
                  </a:cubicBezTo>
                  <a:cubicBezTo>
                    <a:pt x="57626" y="253841"/>
                    <a:pt x="59531" y="259556"/>
                    <a:pt x="64294" y="270034"/>
                  </a:cubicBezTo>
                  <a:cubicBezTo>
                    <a:pt x="66199" y="274796"/>
                    <a:pt x="69056" y="281464"/>
                    <a:pt x="71914" y="288131"/>
                  </a:cubicBezTo>
                  <a:cubicBezTo>
                    <a:pt x="76676" y="295751"/>
                    <a:pt x="79534" y="303371"/>
                    <a:pt x="83344" y="311944"/>
                  </a:cubicBezTo>
                  <a:cubicBezTo>
                    <a:pt x="86201" y="317659"/>
                    <a:pt x="88106" y="324326"/>
                    <a:pt x="90964" y="330994"/>
                  </a:cubicBezTo>
                  <a:cubicBezTo>
                    <a:pt x="90011" y="333851"/>
                    <a:pt x="89059" y="336709"/>
                    <a:pt x="87154" y="339566"/>
                  </a:cubicBezTo>
                  <a:cubicBezTo>
                    <a:pt x="85249" y="343376"/>
                    <a:pt x="83344" y="348139"/>
                    <a:pt x="81439" y="352901"/>
                  </a:cubicBezTo>
                  <a:cubicBezTo>
                    <a:pt x="80486" y="348139"/>
                    <a:pt x="79534" y="343376"/>
                    <a:pt x="78581" y="339566"/>
                  </a:cubicBezTo>
                  <a:cubicBezTo>
                    <a:pt x="75724" y="326231"/>
                    <a:pt x="72866" y="312896"/>
                    <a:pt x="70009" y="301466"/>
                  </a:cubicBezTo>
                  <a:cubicBezTo>
                    <a:pt x="67151" y="290036"/>
                    <a:pt x="64294" y="278606"/>
                    <a:pt x="61436" y="269081"/>
                  </a:cubicBezTo>
                  <a:cubicBezTo>
                    <a:pt x="58579" y="259556"/>
                    <a:pt x="56674" y="250984"/>
                    <a:pt x="53816" y="244316"/>
                  </a:cubicBezTo>
                  <a:cubicBezTo>
                    <a:pt x="49054" y="230981"/>
                    <a:pt x="46196" y="223361"/>
                    <a:pt x="46196" y="223361"/>
                  </a:cubicBezTo>
                  <a:cubicBezTo>
                    <a:pt x="46196" y="223361"/>
                    <a:pt x="47149" y="230981"/>
                    <a:pt x="50006" y="245269"/>
                  </a:cubicBezTo>
                  <a:cubicBezTo>
                    <a:pt x="50959" y="251936"/>
                    <a:pt x="51911" y="260509"/>
                    <a:pt x="53816" y="270034"/>
                  </a:cubicBezTo>
                  <a:cubicBezTo>
                    <a:pt x="55721" y="279559"/>
                    <a:pt x="56674" y="290989"/>
                    <a:pt x="58579" y="302419"/>
                  </a:cubicBezTo>
                  <a:cubicBezTo>
                    <a:pt x="60484" y="314801"/>
                    <a:pt x="61436" y="327184"/>
                    <a:pt x="64294" y="340519"/>
                  </a:cubicBezTo>
                  <a:cubicBezTo>
                    <a:pt x="66199" y="353854"/>
                    <a:pt x="67151" y="367189"/>
                    <a:pt x="69056" y="381476"/>
                  </a:cubicBezTo>
                  <a:cubicBezTo>
                    <a:pt x="68104" y="382429"/>
                    <a:pt x="68104" y="383381"/>
                    <a:pt x="67151" y="385286"/>
                  </a:cubicBezTo>
                  <a:cubicBezTo>
                    <a:pt x="64294" y="391954"/>
                    <a:pt x="62389" y="398621"/>
                    <a:pt x="60484" y="405289"/>
                  </a:cubicBezTo>
                  <a:cubicBezTo>
                    <a:pt x="60484" y="406241"/>
                    <a:pt x="60484" y="406241"/>
                    <a:pt x="59531" y="407194"/>
                  </a:cubicBezTo>
                  <a:cubicBezTo>
                    <a:pt x="58579" y="407194"/>
                    <a:pt x="57626" y="407194"/>
                    <a:pt x="56674" y="407194"/>
                  </a:cubicBezTo>
                  <a:cubicBezTo>
                    <a:pt x="55721" y="404336"/>
                    <a:pt x="55721" y="402431"/>
                    <a:pt x="54769" y="399574"/>
                  </a:cubicBezTo>
                  <a:cubicBezTo>
                    <a:pt x="51911" y="387191"/>
                    <a:pt x="49054" y="375761"/>
                    <a:pt x="46196" y="364331"/>
                  </a:cubicBezTo>
                  <a:cubicBezTo>
                    <a:pt x="43339" y="352901"/>
                    <a:pt x="40481" y="342424"/>
                    <a:pt x="37624" y="332899"/>
                  </a:cubicBezTo>
                  <a:cubicBezTo>
                    <a:pt x="31909" y="313849"/>
                    <a:pt x="26194" y="297656"/>
                    <a:pt x="21431" y="287179"/>
                  </a:cubicBezTo>
                  <a:cubicBezTo>
                    <a:pt x="16669" y="276701"/>
                    <a:pt x="13811" y="270034"/>
                    <a:pt x="13811" y="270034"/>
                  </a:cubicBezTo>
                  <a:cubicBezTo>
                    <a:pt x="13811" y="270034"/>
                    <a:pt x="14764" y="276701"/>
                    <a:pt x="17621" y="288131"/>
                  </a:cubicBezTo>
                  <a:cubicBezTo>
                    <a:pt x="18574" y="293846"/>
                    <a:pt x="20479" y="300514"/>
                    <a:pt x="21431" y="309086"/>
                  </a:cubicBezTo>
                  <a:cubicBezTo>
                    <a:pt x="23336" y="316706"/>
                    <a:pt x="24289" y="326231"/>
                    <a:pt x="26194" y="335756"/>
                  </a:cubicBezTo>
                  <a:cubicBezTo>
                    <a:pt x="28099" y="345281"/>
                    <a:pt x="30004" y="355759"/>
                    <a:pt x="31909" y="367189"/>
                  </a:cubicBezTo>
                  <a:cubicBezTo>
                    <a:pt x="35719" y="378619"/>
                    <a:pt x="37624" y="390049"/>
                    <a:pt x="39529" y="402431"/>
                  </a:cubicBezTo>
                  <a:cubicBezTo>
                    <a:pt x="39529" y="403384"/>
                    <a:pt x="39529" y="403384"/>
                    <a:pt x="39529" y="404336"/>
                  </a:cubicBezTo>
                  <a:cubicBezTo>
                    <a:pt x="29051" y="402431"/>
                    <a:pt x="18574" y="401479"/>
                    <a:pt x="7144" y="399574"/>
                  </a:cubicBezTo>
                  <a:lnTo>
                    <a:pt x="7144" y="511016"/>
                  </a:lnTo>
                  <a:close/>
                  <a:moveTo>
                    <a:pt x="6277451" y="364331"/>
                  </a:moveTo>
                  <a:cubicBezTo>
                    <a:pt x="6278404" y="362426"/>
                    <a:pt x="6278404" y="359569"/>
                    <a:pt x="6279356" y="357664"/>
                  </a:cubicBezTo>
                  <a:cubicBezTo>
                    <a:pt x="6279356" y="358616"/>
                    <a:pt x="6279356" y="360521"/>
                    <a:pt x="6279356" y="361474"/>
                  </a:cubicBezTo>
                  <a:cubicBezTo>
                    <a:pt x="6278404" y="370999"/>
                    <a:pt x="6278404" y="384334"/>
                    <a:pt x="6277451" y="399574"/>
                  </a:cubicBezTo>
                  <a:cubicBezTo>
                    <a:pt x="6274594" y="409099"/>
                    <a:pt x="6270784" y="419576"/>
                    <a:pt x="6267926" y="430054"/>
                  </a:cubicBezTo>
                  <a:cubicBezTo>
                    <a:pt x="6266974" y="430054"/>
                    <a:pt x="6266974" y="430054"/>
                    <a:pt x="6266021" y="430054"/>
                  </a:cubicBezTo>
                  <a:cubicBezTo>
                    <a:pt x="6264117" y="427196"/>
                    <a:pt x="6262212" y="424339"/>
                    <a:pt x="6260306" y="421481"/>
                  </a:cubicBezTo>
                  <a:cubicBezTo>
                    <a:pt x="6266021" y="402431"/>
                    <a:pt x="6271737" y="383381"/>
                    <a:pt x="6277451" y="364331"/>
                  </a:cubicBezTo>
                  <a:close/>
                  <a:moveTo>
                    <a:pt x="6211729" y="425291"/>
                  </a:moveTo>
                  <a:cubicBezTo>
                    <a:pt x="6211729" y="415766"/>
                    <a:pt x="6212681" y="406241"/>
                    <a:pt x="6212681" y="398621"/>
                  </a:cubicBezTo>
                  <a:cubicBezTo>
                    <a:pt x="6212681" y="395764"/>
                    <a:pt x="6212681" y="392906"/>
                    <a:pt x="6213634" y="390049"/>
                  </a:cubicBezTo>
                  <a:cubicBezTo>
                    <a:pt x="6214587" y="391001"/>
                    <a:pt x="6215539" y="392906"/>
                    <a:pt x="6216492" y="393859"/>
                  </a:cubicBezTo>
                  <a:cubicBezTo>
                    <a:pt x="6220301" y="398621"/>
                    <a:pt x="6224112" y="403384"/>
                    <a:pt x="6227921" y="408146"/>
                  </a:cubicBezTo>
                  <a:cubicBezTo>
                    <a:pt x="6226969" y="410051"/>
                    <a:pt x="6226017" y="411956"/>
                    <a:pt x="6225064" y="412909"/>
                  </a:cubicBezTo>
                  <a:cubicBezTo>
                    <a:pt x="6224112" y="414814"/>
                    <a:pt x="6222206" y="417671"/>
                    <a:pt x="6221254" y="420529"/>
                  </a:cubicBezTo>
                  <a:cubicBezTo>
                    <a:pt x="6220301" y="423386"/>
                    <a:pt x="6219349" y="426244"/>
                    <a:pt x="6218396" y="429101"/>
                  </a:cubicBezTo>
                  <a:cubicBezTo>
                    <a:pt x="6218396" y="430054"/>
                    <a:pt x="6218396" y="430054"/>
                    <a:pt x="6217444" y="431006"/>
                  </a:cubicBezTo>
                  <a:cubicBezTo>
                    <a:pt x="6217444" y="430054"/>
                    <a:pt x="6217444" y="429101"/>
                    <a:pt x="6217444" y="429101"/>
                  </a:cubicBezTo>
                  <a:cubicBezTo>
                    <a:pt x="6216492" y="419576"/>
                    <a:pt x="6215539" y="413861"/>
                    <a:pt x="6215539" y="413861"/>
                  </a:cubicBezTo>
                  <a:cubicBezTo>
                    <a:pt x="6215539" y="413861"/>
                    <a:pt x="6214587" y="419576"/>
                    <a:pt x="6213634" y="429101"/>
                  </a:cubicBezTo>
                  <a:cubicBezTo>
                    <a:pt x="6213634" y="432911"/>
                    <a:pt x="6212681" y="436721"/>
                    <a:pt x="6211729" y="441484"/>
                  </a:cubicBezTo>
                  <a:cubicBezTo>
                    <a:pt x="6211729" y="435769"/>
                    <a:pt x="6211729" y="430054"/>
                    <a:pt x="6211729" y="425291"/>
                  </a:cubicBezTo>
                  <a:close/>
                  <a:moveTo>
                    <a:pt x="6183154" y="343376"/>
                  </a:moveTo>
                  <a:cubicBezTo>
                    <a:pt x="6185059" y="346234"/>
                    <a:pt x="6186012" y="348139"/>
                    <a:pt x="6187917" y="350996"/>
                  </a:cubicBezTo>
                  <a:cubicBezTo>
                    <a:pt x="6188869" y="352901"/>
                    <a:pt x="6190774" y="354806"/>
                    <a:pt x="6191726" y="356711"/>
                  </a:cubicBezTo>
                  <a:cubicBezTo>
                    <a:pt x="6188869" y="366236"/>
                    <a:pt x="6186012" y="376714"/>
                    <a:pt x="6183154" y="388144"/>
                  </a:cubicBezTo>
                  <a:cubicBezTo>
                    <a:pt x="6183154" y="389096"/>
                    <a:pt x="6182201" y="391001"/>
                    <a:pt x="6182201" y="391954"/>
                  </a:cubicBezTo>
                  <a:cubicBezTo>
                    <a:pt x="6182201" y="386239"/>
                    <a:pt x="6181249" y="381476"/>
                    <a:pt x="6181249" y="375761"/>
                  </a:cubicBezTo>
                  <a:cubicBezTo>
                    <a:pt x="6181249" y="374809"/>
                    <a:pt x="6181249" y="373856"/>
                    <a:pt x="6181249" y="372904"/>
                  </a:cubicBezTo>
                  <a:cubicBezTo>
                    <a:pt x="6181249" y="362426"/>
                    <a:pt x="6182201" y="352901"/>
                    <a:pt x="6183154" y="343376"/>
                  </a:cubicBezTo>
                  <a:close/>
                  <a:moveTo>
                    <a:pt x="6144101" y="308134"/>
                  </a:moveTo>
                  <a:cubicBezTo>
                    <a:pt x="6145054" y="297656"/>
                    <a:pt x="6146959" y="287179"/>
                    <a:pt x="6147912" y="276701"/>
                  </a:cubicBezTo>
                  <a:cubicBezTo>
                    <a:pt x="6149817" y="280511"/>
                    <a:pt x="6151721" y="284321"/>
                    <a:pt x="6153626" y="289084"/>
                  </a:cubicBezTo>
                  <a:cubicBezTo>
                    <a:pt x="6156484" y="293846"/>
                    <a:pt x="6158389" y="299561"/>
                    <a:pt x="6161246" y="305276"/>
                  </a:cubicBezTo>
                  <a:cubicBezTo>
                    <a:pt x="6160294" y="308134"/>
                    <a:pt x="6159342" y="313849"/>
                    <a:pt x="6157437" y="319564"/>
                  </a:cubicBezTo>
                  <a:cubicBezTo>
                    <a:pt x="6155531" y="325279"/>
                    <a:pt x="6154579" y="332899"/>
                    <a:pt x="6152674" y="342424"/>
                  </a:cubicBezTo>
                  <a:cubicBezTo>
                    <a:pt x="6151721" y="347186"/>
                    <a:pt x="6150769" y="351949"/>
                    <a:pt x="6150769" y="356711"/>
                  </a:cubicBezTo>
                  <a:cubicBezTo>
                    <a:pt x="6150769" y="358616"/>
                    <a:pt x="6149817" y="359569"/>
                    <a:pt x="6149817" y="360521"/>
                  </a:cubicBezTo>
                  <a:cubicBezTo>
                    <a:pt x="6149817" y="362426"/>
                    <a:pt x="6148864" y="363379"/>
                    <a:pt x="6148864" y="365284"/>
                  </a:cubicBezTo>
                  <a:cubicBezTo>
                    <a:pt x="6146959" y="362426"/>
                    <a:pt x="6146006" y="360521"/>
                    <a:pt x="6146006" y="360521"/>
                  </a:cubicBezTo>
                  <a:cubicBezTo>
                    <a:pt x="6146006" y="360521"/>
                    <a:pt x="6146959" y="363379"/>
                    <a:pt x="6147912" y="368141"/>
                  </a:cubicBezTo>
                  <a:cubicBezTo>
                    <a:pt x="6146959" y="374809"/>
                    <a:pt x="6146006" y="382429"/>
                    <a:pt x="6145054" y="389096"/>
                  </a:cubicBezTo>
                  <a:cubicBezTo>
                    <a:pt x="6145054" y="388144"/>
                    <a:pt x="6144101" y="387191"/>
                    <a:pt x="6144101" y="386239"/>
                  </a:cubicBezTo>
                  <a:cubicBezTo>
                    <a:pt x="6144101" y="385286"/>
                    <a:pt x="6143149" y="385286"/>
                    <a:pt x="6143149" y="384334"/>
                  </a:cubicBezTo>
                  <a:cubicBezTo>
                    <a:pt x="6143149" y="379571"/>
                    <a:pt x="6142196" y="373856"/>
                    <a:pt x="6142196" y="369094"/>
                  </a:cubicBezTo>
                  <a:cubicBezTo>
                    <a:pt x="6141244" y="360521"/>
                    <a:pt x="6140292" y="351949"/>
                    <a:pt x="6139339" y="343376"/>
                  </a:cubicBezTo>
                  <a:cubicBezTo>
                    <a:pt x="6142196" y="331946"/>
                    <a:pt x="6143149" y="319564"/>
                    <a:pt x="6144101" y="308134"/>
                  </a:cubicBezTo>
                  <a:close/>
                  <a:moveTo>
                    <a:pt x="6095524" y="384334"/>
                  </a:moveTo>
                  <a:cubicBezTo>
                    <a:pt x="6093619" y="393859"/>
                    <a:pt x="6090762" y="403384"/>
                    <a:pt x="6088856" y="412909"/>
                  </a:cubicBezTo>
                  <a:cubicBezTo>
                    <a:pt x="6086951" y="420529"/>
                    <a:pt x="6085046" y="428149"/>
                    <a:pt x="6083142" y="435769"/>
                  </a:cubicBezTo>
                  <a:cubicBezTo>
                    <a:pt x="6081237" y="428149"/>
                    <a:pt x="6079331" y="419576"/>
                    <a:pt x="6076474" y="411956"/>
                  </a:cubicBezTo>
                  <a:cubicBezTo>
                    <a:pt x="6077426" y="405289"/>
                    <a:pt x="6078379" y="397669"/>
                    <a:pt x="6079331" y="391001"/>
                  </a:cubicBezTo>
                  <a:cubicBezTo>
                    <a:pt x="6080284" y="383381"/>
                    <a:pt x="6082189" y="375761"/>
                    <a:pt x="6084094" y="368141"/>
                  </a:cubicBezTo>
                  <a:lnTo>
                    <a:pt x="6088856" y="347186"/>
                  </a:lnTo>
                  <a:cubicBezTo>
                    <a:pt x="6089809" y="347186"/>
                    <a:pt x="6090762" y="347186"/>
                    <a:pt x="6091714" y="348139"/>
                  </a:cubicBezTo>
                  <a:cubicBezTo>
                    <a:pt x="6093619" y="349091"/>
                    <a:pt x="6094571" y="350044"/>
                    <a:pt x="6095524" y="350996"/>
                  </a:cubicBezTo>
                  <a:cubicBezTo>
                    <a:pt x="6098381" y="352901"/>
                    <a:pt x="6099334" y="356711"/>
                    <a:pt x="6100287" y="359569"/>
                  </a:cubicBezTo>
                  <a:cubicBezTo>
                    <a:pt x="6099334" y="367189"/>
                    <a:pt x="6097429" y="375761"/>
                    <a:pt x="6095524" y="384334"/>
                  </a:cubicBezTo>
                  <a:close/>
                  <a:moveTo>
                    <a:pt x="6102192" y="206216"/>
                  </a:moveTo>
                  <a:cubicBezTo>
                    <a:pt x="6102192" y="211931"/>
                    <a:pt x="6102192" y="222409"/>
                    <a:pt x="6101239" y="235744"/>
                  </a:cubicBezTo>
                  <a:cubicBezTo>
                    <a:pt x="6101239" y="237649"/>
                    <a:pt x="6101239" y="239554"/>
                    <a:pt x="6101239" y="241459"/>
                  </a:cubicBezTo>
                  <a:cubicBezTo>
                    <a:pt x="6101239" y="241459"/>
                    <a:pt x="6101239" y="242411"/>
                    <a:pt x="6101239" y="242411"/>
                  </a:cubicBezTo>
                  <a:cubicBezTo>
                    <a:pt x="6101239" y="242411"/>
                    <a:pt x="6101239" y="242411"/>
                    <a:pt x="6101239" y="242411"/>
                  </a:cubicBezTo>
                  <a:cubicBezTo>
                    <a:pt x="6101239" y="241459"/>
                    <a:pt x="6100287" y="240506"/>
                    <a:pt x="6100287" y="239554"/>
                  </a:cubicBezTo>
                  <a:cubicBezTo>
                    <a:pt x="6099334" y="236696"/>
                    <a:pt x="6098381" y="233839"/>
                    <a:pt x="6097429" y="230981"/>
                  </a:cubicBezTo>
                  <a:cubicBezTo>
                    <a:pt x="6099334" y="222409"/>
                    <a:pt x="6100287" y="213836"/>
                    <a:pt x="6102192" y="206216"/>
                  </a:cubicBezTo>
                  <a:close/>
                  <a:moveTo>
                    <a:pt x="6100287" y="284321"/>
                  </a:moveTo>
                  <a:cubicBezTo>
                    <a:pt x="6099334" y="282416"/>
                    <a:pt x="6099334" y="281464"/>
                    <a:pt x="6098381" y="279559"/>
                  </a:cubicBezTo>
                  <a:cubicBezTo>
                    <a:pt x="6098381" y="278606"/>
                    <a:pt x="6099334" y="277654"/>
                    <a:pt x="6099334" y="277654"/>
                  </a:cubicBezTo>
                  <a:cubicBezTo>
                    <a:pt x="6099334" y="279559"/>
                    <a:pt x="6099334" y="281464"/>
                    <a:pt x="6100287" y="284321"/>
                  </a:cubicBezTo>
                  <a:close/>
                  <a:moveTo>
                    <a:pt x="6093619" y="247174"/>
                  </a:moveTo>
                  <a:cubicBezTo>
                    <a:pt x="6094571" y="250031"/>
                    <a:pt x="6094571" y="252889"/>
                    <a:pt x="6095524" y="255746"/>
                  </a:cubicBezTo>
                  <a:cubicBezTo>
                    <a:pt x="6094571" y="258604"/>
                    <a:pt x="6092667" y="261461"/>
                    <a:pt x="6091714" y="264319"/>
                  </a:cubicBezTo>
                  <a:cubicBezTo>
                    <a:pt x="6091714" y="263366"/>
                    <a:pt x="6090762" y="262414"/>
                    <a:pt x="6090762" y="262414"/>
                  </a:cubicBezTo>
                  <a:cubicBezTo>
                    <a:pt x="6091714" y="257651"/>
                    <a:pt x="6092667" y="251936"/>
                    <a:pt x="6093619" y="247174"/>
                  </a:cubicBezTo>
                  <a:close/>
                  <a:moveTo>
                    <a:pt x="6088856" y="269081"/>
                  </a:moveTo>
                  <a:cubicBezTo>
                    <a:pt x="6088856" y="269081"/>
                    <a:pt x="6088856" y="270034"/>
                    <a:pt x="6088856" y="270034"/>
                  </a:cubicBezTo>
                  <a:cubicBezTo>
                    <a:pt x="6088856" y="270034"/>
                    <a:pt x="6088856" y="270034"/>
                    <a:pt x="6088856" y="270034"/>
                  </a:cubicBezTo>
                  <a:cubicBezTo>
                    <a:pt x="6088856" y="270986"/>
                    <a:pt x="6087904" y="271939"/>
                    <a:pt x="6087904" y="272891"/>
                  </a:cubicBezTo>
                  <a:cubicBezTo>
                    <a:pt x="6088856" y="270986"/>
                    <a:pt x="6088856" y="270034"/>
                    <a:pt x="6088856" y="269081"/>
                  </a:cubicBezTo>
                  <a:close/>
                  <a:moveTo>
                    <a:pt x="6067901" y="369094"/>
                  </a:moveTo>
                  <a:cubicBezTo>
                    <a:pt x="6072664" y="358616"/>
                    <a:pt x="6076474" y="349091"/>
                    <a:pt x="6080284" y="339566"/>
                  </a:cubicBezTo>
                  <a:cubicBezTo>
                    <a:pt x="6082189" y="334804"/>
                    <a:pt x="6084094" y="330041"/>
                    <a:pt x="6085046" y="326231"/>
                  </a:cubicBezTo>
                  <a:cubicBezTo>
                    <a:pt x="6085999" y="321469"/>
                    <a:pt x="6087904" y="317659"/>
                    <a:pt x="6088856" y="313849"/>
                  </a:cubicBezTo>
                  <a:cubicBezTo>
                    <a:pt x="6090762" y="306229"/>
                    <a:pt x="6092667" y="299561"/>
                    <a:pt x="6093619" y="293846"/>
                  </a:cubicBezTo>
                  <a:cubicBezTo>
                    <a:pt x="6093619" y="293846"/>
                    <a:pt x="6093619" y="293846"/>
                    <a:pt x="6093619" y="293846"/>
                  </a:cubicBezTo>
                  <a:cubicBezTo>
                    <a:pt x="6094571" y="299561"/>
                    <a:pt x="6095524" y="305276"/>
                    <a:pt x="6096476" y="310991"/>
                  </a:cubicBezTo>
                  <a:cubicBezTo>
                    <a:pt x="6098381" y="319564"/>
                    <a:pt x="6098381" y="329089"/>
                    <a:pt x="6100287" y="339566"/>
                  </a:cubicBezTo>
                  <a:cubicBezTo>
                    <a:pt x="6100287" y="345281"/>
                    <a:pt x="6101239" y="350044"/>
                    <a:pt x="6101239" y="355759"/>
                  </a:cubicBezTo>
                  <a:cubicBezTo>
                    <a:pt x="6101239" y="355759"/>
                    <a:pt x="6101239" y="355759"/>
                    <a:pt x="6101239" y="355759"/>
                  </a:cubicBezTo>
                  <a:cubicBezTo>
                    <a:pt x="6101239" y="356711"/>
                    <a:pt x="6100287" y="358616"/>
                    <a:pt x="6100287" y="359569"/>
                  </a:cubicBezTo>
                  <a:cubicBezTo>
                    <a:pt x="6100287" y="355759"/>
                    <a:pt x="6099334" y="352901"/>
                    <a:pt x="6097429" y="350044"/>
                  </a:cubicBezTo>
                  <a:cubicBezTo>
                    <a:pt x="6096476" y="348139"/>
                    <a:pt x="6094571" y="347186"/>
                    <a:pt x="6093619" y="345281"/>
                  </a:cubicBezTo>
                  <a:cubicBezTo>
                    <a:pt x="6091714" y="344329"/>
                    <a:pt x="6089809" y="343376"/>
                    <a:pt x="6087904" y="342424"/>
                  </a:cubicBezTo>
                  <a:lnTo>
                    <a:pt x="6085999" y="341471"/>
                  </a:lnTo>
                  <a:lnTo>
                    <a:pt x="6085046" y="343376"/>
                  </a:lnTo>
                  <a:cubicBezTo>
                    <a:pt x="6082189" y="350996"/>
                    <a:pt x="6079331" y="357664"/>
                    <a:pt x="6076474" y="365284"/>
                  </a:cubicBezTo>
                  <a:cubicBezTo>
                    <a:pt x="6074569" y="371951"/>
                    <a:pt x="6071712" y="377666"/>
                    <a:pt x="6069806" y="384334"/>
                  </a:cubicBezTo>
                  <a:cubicBezTo>
                    <a:pt x="6068854" y="380524"/>
                    <a:pt x="6067901" y="376714"/>
                    <a:pt x="6065996" y="372904"/>
                  </a:cubicBezTo>
                  <a:cubicBezTo>
                    <a:pt x="6066949" y="371951"/>
                    <a:pt x="6067901" y="370999"/>
                    <a:pt x="6067901" y="369094"/>
                  </a:cubicBezTo>
                  <a:close/>
                  <a:moveTo>
                    <a:pt x="6035517" y="310039"/>
                  </a:moveTo>
                  <a:cubicBezTo>
                    <a:pt x="6035517" y="309086"/>
                    <a:pt x="6035517" y="309086"/>
                    <a:pt x="6035517" y="308134"/>
                  </a:cubicBezTo>
                  <a:cubicBezTo>
                    <a:pt x="6036469" y="312896"/>
                    <a:pt x="6038374" y="318611"/>
                    <a:pt x="6040279" y="324326"/>
                  </a:cubicBezTo>
                  <a:cubicBezTo>
                    <a:pt x="6041231" y="329089"/>
                    <a:pt x="6042184" y="333851"/>
                    <a:pt x="6044089" y="338614"/>
                  </a:cubicBezTo>
                  <a:cubicBezTo>
                    <a:pt x="6042184" y="344329"/>
                    <a:pt x="6040279" y="350044"/>
                    <a:pt x="6038374" y="355759"/>
                  </a:cubicBezTo>
                  <a:cubicBezTo>
                    <a:pt x="6036469" y="345281"/>
                    <a:pt x="6035517" y="336709"/>
                    <a:pt x="6033612" y="330041"/>
                  </a:cubicBezTo>
                  <a:cubicBezTo>
                    <a:pt x="6034564" y="323374"/>
                    <a:pt x="6034564" y="315754"/>
                    <a:pt x="6035517" y="310039"/>
                  </a:cubicBezTo>
                  <a:close/>
                  <a:moveTo>
                    <a:pt x="6012656" y="361474"/>
                  </a:moveTo>
                  <a:cubicBezTo>
                    <a:pt x="6012656" y="362426"/>
                    <a:pt x="6012656" y="363379"/>
                    <a:pt x="6012656" y="363379"/>
                  </a:cubicBezTo>
                  <a:cubicBezTo>
                    <a:pt x="6012656" y="362426"/>
                    <a:pt x="6012656" y="361474"/>
                    <a:pt x="6012656" y="359569"/>
                  </a:cubicBezTo>
                  <a:cubicBezTo>
                    <a:pt x="6012656" y="360521"/>
                    <a:pt x="6012656" y="360521"/>
                    <a:pt x="6012656" y="361474"/>
                  </a:cubicBezTo>
                  <a:close/>
                  <a:moveTo>
                    <a:pt x="6007894" y="351949"/>
                  </a:moveTo>
                  <a:cubicBezTo>
                    <a:pt x="6007894" y="351949"/>
                    <a:pt x="6007894" y="352901"/>
                    <a:pt x="6007894" y="352901"/>
                  </a:cubicBezTo>
                  <a:cubicBezTo>
                    <a:pt x="6007894" y="351949"/>
                    <a:pt x="6007894" y="351949"/>
                    <a:pt x="6007894" y="351949"/>
                  </a:cubicBezTo>
                  <a:cubicBezTo>
                    <a:pt x="6007894" y="350996"/>
                    <a:pt x="6007894" y="351949"/>
                    <a:pt x="6007894" y="351949"/>
                  </a:cubicBezTo>
                  <a:close/>
                  <a:moveTo>
                    <a:pt x="5976462" y="410051"/>
                  </a:moveTo>
                  <a:cubicBezTo>
                    <a:pt x="5975509" y="407194"/>
                    <a:pt x="5974556" y="404336"/>
                    <a:pt x="5973604" y="402431"/>
                  </a:cubicBezTo>
                  <a:cubicBezTo>
                    <a:pt x="5973604" y="401479"/>
                    <a:pt x="5972651" y="399574"/>
                    <a:pt x="5972651" y="398621"/>
                  </a:cubicBezTo>
                  <a:cubicBezTo>
                    <a:pt x="5972651" y="395764"/>
                    <a:pt x="5971699" y="392906"/>
                    <a:pt x="5971699" y="391001"/>
                  </a:cubicBezTo>
                  <a:cubicBezTo>
                    <a:pt x="5972651" y="389096"/>
                    <a:pt x="5972651" y="387191"/>
                    <a:pt x="5973604" y="386239"/>
                  </a:cubicBezTo>
                  <a:cubicBezTo>
                    <a:pt x="5975509" y="382429"/>
                    <a:pt x="5976462" y="378619"/>
                    <a:pt x="5977414" y="374809"/>
                  </a:cubicBezTo>
                  <a:cubicBezTo>
                    <a:pt x="5977414" y="385286"/>
                    <a:pt x="5976462" y="397669"/>
                    <a:pt x="5976462" y="410051"/>
                  </a:cubicBezTo>
                  <a:close/>
                  <a:moveTo>
                    <a:pt x="5976462" y="239554"/>
                  </a:moveTo>
                  <a:cubicBezTo>
                    <a:pt x="5977414" y="243364"/>
                    <a:pt x="5977414" y="246221"/>
                    <a:pt x="5978367" y="250031"/>
                  </a:cubicBezTo>
                  <a:cubicBezTo>
                    <a:pt x="5978367" y="251936"/>
                    <a:pt x="5979319" y="254794"/>
                    <a:pt x="5979319" y="256699"/>
                  </a:cubicBezTo>
                  <a:cubicBezTo>
                    <a:pt x="5977414" y="253841"/>
                    <a:pt x="5976462" y="250984"/>
                    <a:pt x="5974556" y="248126"/>
                  </a:cubicBezTo>
                  <a:cubicBezTo>
                    <a:pt x="5975509" y="245269"/>
                    <a:pt x="5975509" y="242411"/>
                    <a:pt x="5976462" y="239554"/>
                  </a:cubicBezTo>
                  <a:close/>
                  <a:moveTo>
                    <a:pt x="5965984" y="291941"/>
                  </a:moveTo>
                  <a:cubicBezTo>
                    <a:pt x="5965984" y="290036"/>
                    <a:pt x="5966937" y="288131"/>
                    <a:pt x="5966937" y="286226"/>
                  </a:cubicBezTo>
                  <a:cubicBezTo>
                    <a:pt x="5966937" y="285274"/>
                    <a:pt x="5967889" y="283369"/>
                    <a:pt x="5967889" y="282416"/>
                  </a:cubicBezTo>
                  <a:cubicBezTo>
                    <a:pt x="5968842" y="277654"/>
                    <a:pt x="5969794" y="273844"/>
                    <a:pt x="5970746" y="269081"/>
                  </a:cubicBezTo>
                  <a:cubicBezTo>
                    <a:pt x="5974556" y="278606"/>
                    <a:pt x="5979319" y="289084"/>
                    <a:pt x="5983129" y="298609"/>
                  </a:cubicBezTo>
                  <a:cubicBezTo>
                    <a:pt x="5982176" y="309086"/>
                    <a:pt x="5981224" y="319564"/>
                    <a:pt x="5980271" y="330994"/>
                  </a:cubicBezTo>
                  <a:cubicBezTo>
                    <a:pt x="5980271" y="330994"/>
                    <a:pt x="5980271" y="331946"/>
                    <a:pt x="5979319" y="331946"/>
                  </a:cubicBezTo>
                  <a:cubicBezTo>
                    <a:pt x="5977414" y="329089"/>
                    <a:pt x="5976462" y="328136"/>
                    <a:pt x="5976462" y="328136"/>
                  </a:cubicBezTo>
                  <a:cubicBezTo>
                    <a:pt x="5976462" y="328136"/>
                    <a:pt x="5977414" y="330041"/>
                    <a:pt x="5979319" y="332899"/>
                  </a:cubicBezTo>
                  <a:cubicBezTo>
                    <a:pt x="5977414" y="336709"/>
                    <a:pt x="5974556" y="341471"/>
                    <a:pt x="5972651" y="346234"/>
                  </a:cubicBezTo>
                  <a:cubicBezTo>
                    <a:pt x="5970746" y="349091"/>
                    <a:pt x="5969794" y="352901"/>
                    <a:pt x="5967889" y="355759"/>
                  </a:cubicBezTo>
                  <a:cubicBezTo>
                    <a:pt x="5967889" y="355759"/>
                    <a:pt x="5967889" y="355759"/>
                    <a:pt x="5967889" y="355759"/>
                  </a:cubicBezTo>
                  <a:cubicBezTo>
                    <a:pt x="5967889" y="353854"/>
                    <a:pt x="5967889" y="352901"/>
                    <a:pt x="5966937" y="351949"/>
                  </a:cubicBezTo>
                  <a:cubicBezTo>
                    <a:pt x="5965984" y="346234"/>
                    <a:pt x="5965984" y="339566"/>
                    <a:pt x="5965031" y="333851"/>
                  </a:cubicBezTo>
                  <a:cubicBezTo>
                    <a:pt x="5964079" y="321469"/>
                    <a:pt x="5964079" y="310039"/>
                    <a:pt x="5963126" y="299561"/>
                  </a:cubicBezTo>
                  <a:cubicBezTo>
                    <a:pt x="5964079" y="296704"/>
                    <a:pt x="5965031" y="294799"/>
                    <a:pt x="5965984" y="291941"/>
                  </a:cubicBezTo>
                  <a:close/>
                  <a:moveTo>
                    <a:pt x="5952649" y="385286"/>
                  </a:moveTo>
                  <a:cubicBezTo>
                    <a:pt x="5952649" y="385286"/>
                    <a:pt x="5952649" y="385286"/>
                    <a:pt x="5952649" y="385286"/>
                  </a:cubicBezTo>
                  <a:cubicBezTo>
                    <a:pt x="5952649" y="385286"/>
                    <a:pt x="5952649" y="385286"/>
                    <a:pt x="5952649" y="385286"/>
                  </a:cubicBezTo>
                  <a:cubicBezTo>
                    <a:pt x="5952649" y="385286"/>
                    <a:pt x="5952649" y="385286"/>
                    <a:pt x="5952649" y="385286"/>
                  </a:cubicBezTo>
                  <a:close/>
                  <a:moveTo>
                    <a:pt x="5934551" y="339566"/>
                  </a:moveTo>
                  <a:cubicBezTo>
                    <a:pt x="5934551" y="337661"/>
                    <a:pt x="5933599" y="334804"/>
                    <a:pt x="5933599" y="332899"/>
                  </a:cubicBezTo>
                  <a:cubicBezTo>
                    <a:pt x="5933599" y="331946"/>
                    <a:pt x="5933599" y="331946"/>
                    <a:pt x="5933599" y="330994"/>
                  </a:cubicBezTo>
                  <a:cubicBezTo>
                    <a:pt x="5934551" y="332899"/>
                    <a:pt x="5934551" y="334804"/>
                    <a:pt x="5935504" y="336709"/>
                  </a:cubicBezTo>
                  <a:cubicBezTo>
                    <a:pt x="5935504" y="337661"/>
                    <a:pt x="5934551" y="338614"/>
                    <a:pt x="5934551" y="339566"/>
                  </a:cubicBezTo>
                  <a:close/>
                  <a:moveTo>
                    <a:pt x="5948839" y="371951"/>
                  </a:moveTo>
                  <a:cubicBezTo>
                    <a:pt x="5947887" y="374809"/>
                    <a:pt x="5946934" y="378619"/>
                    <a:pt x="5945981" y="382429"/>
                  </a:cubicBezTo>
                  <a:cubicBezTo>
                    <a:pt x="5945029" y="386239"/>
                    <a:pt x="5944076" y="389096"/>
                    <a:pt x="5943124" y="392906"/>
                  </a:cubicBezTo>
                  <a:cubicBezTo>
                    <a:pt x="5943124" y="387191"/>
                    <a:pt x="5943124" y="382429"/>
                    <a:pt x="5943124" y="378619"/>
                  </a:cubicBezTo>
                  <a:cubicBezTo>
                    <a:pt x="5943124" y="378619"/>
                    <a:pt x="5943124" y="378619"/>
                    <a:pt x="5943124" y="378619"/>
                  </a:cubicBezTo>
                  <a:cubicBezTo>
                    <a:pt x="5945029" y="373856"/>
                    <a:pt x="5945981" y="370046"/>
                    <a:pt x="5946934" y="365284"/>
                  </a:cubicBezTo>
                  <a:cubicBezTo>
                    <a:pt x="5946934" y="367189"/>
                    <a:pt x="5947887" y="370046"/>
                    <a:pt x="5948839" y="371951"/>
                  </a:cubicBezTo>
                  <a:close/>
                  <a:moveTo>
                    <a:pt x="5930742" y="234791"/>
                  </a:moveTo>
                  <a:cubicBezTo>
                    <a:pt x="5933599" y="245269"/>
                    <a:pt x="5935504" y="256699"/>
                    <a:pt x="5938362" y="269081"/>
                  </a:cubicBezTo>
                  <a:cubicBezTo>
                    <a:pt x="5941219" y="280511"/>
                    <a:pt x="5942171" y="293846"/>
                    <a:pt x="5945029" y="307181"/>
                  </a:cubicBezTo>
                  <a:cubicBezTo>
                    <a:pt x="5943124" y="312896"/>
                    <a:pt x="5941219" y="317659"/>
                    <a:pt x="5940267" y="323374"/>
                  </a:cubicBezTo>
                  <a:cubicBezTo>
                    <a:pt x="5940267" y="323374"/>
                    <a:pt x="5940267" y="324326"/>
                    <a:pt x="5940267" y="324326"/>
                  </a:cubicBezTo>
                  <a:cubicBezTo>
                    <a:pt x="5937409" y="318611"/>
                    <a:pt x="5934551" y="312896"/>
                    <a:pt x="5931694" y="307181"/>
                  </a:cubicBezTo>
                  <a:cubicBezTo>
                    <a:pt x="5930742" y="299561"/>
                    <a:pt x="5929789" y="291941"/>
                    <a:pt x="5928837" y="284321"/>
                  </a:cubicBezTo>
                  <a:cubicBezTo>
                    <a:pt x="5927884" y="277654"/>
                    <a:pt x="5927884" y="271939"/>
                    <a:pt x="5926931" y="266224"/>
                  </a:cubicBezTo>
                  <a:cubicBezTo>
                    <a:pt x="5928837" y="261461"/>
                    <a:pt x="5929789" y="259556"/>
                    <a:pt x="5929789" y="259556"/>
                  </a:cubicBezTo>
                  <a:cubicBezTo>
                    <a:pt x="5929789" y="259556"/>
                    <a:pt x="5928837" y="261461"/>
                    <a:pt x="5926931" y="264319"/>
                  </a:cubicBezTo>
                  <a:cubicBezTo>
                    <a:pt x="5925979" y="257651"/>
                    <a:pt x="5925026" y="251936"/>
                    <a:pt x="5925026" y="245269"/>
                  </a:cubicBezTo>
                  <a:cubicBezTo>
                    <a:pt x="5925979" y="241459"/>
                    <a:pt x="5926931" y="237649"/>
                    <a:pt x="5926931" y="233839"/>
                  </a:cubicBezTo>
                  <a:cubicBezTo>
                    <a:pt x="5927884" y="230981"/>
                    <a:pt x="5927884" y="228124"/>
                    <a:pt x="5928837" y="226219"/>
                  </a:cubicBezTo>
                  <a:cubicBezTo>
                    <a:pt x="5928837" y="229076"/>
                    <a:pt x="5929789" y="231934"/>
                    <a:pt x="5930742" y="234791"/>
                  </a:cubicBezTo>
                  <a:close/>
                  <a:moveTo>
                    <a:pt x="5923121" y="209074"/>
                  </a:moveTo>
                  <a:cubicBezTo>
                    <a:pt x="5924074" y="212884"/>
                    <a:pt x="5925979" y="217646"/>
                    <a:pt x="5926931" y="222409"/>
                  </a:cubicBezTo>
                  <a:cubicBezTo>
                    <a:pt x="5925026" y="225266"/>
                    <a:pt x="5924074" y="229076"/>
                    <a:pt x="5922169" y="232886"/>
                  </a:cubicBezTo>
                  <a:cubicBezTo>
                    <a:pt x="5921217" y="223361"/>
                    <a:pt x="5920264" y="214789"/>
                    <a:pt x="5919312" y="206216"/>
                  </a:cubicBezTo>
                  <a:cubicBezTo>
                    <a:pt x="5919312" y="201454"/>
                    <a:pt x="5918359" y="197644"/>
                    <a:pt x="5918359" y="193834"/>
                  </a:cubicBezTo>
                  <a:cubicBezTo>
                    <a:pt x="5920264" y="197644"/>
                    <a:pt x="5921217" y="202406"/>
                    <a:pt x="5923121" y="209074"/>
                  </a:cubicBezTo>
                  <a:close/>
                  <a:moveTo>
                    <a:pt x="5901214" y="244316"/>
                  </a:moveTo>
                  <a:cubicBezTo>
                    <a:pt x="5901214" y="247174"/>
                    <a:pt x="5901214" y="251936"/>
                    <a:pt x="5901214" y="258604"/>
                  </a:cubicBezTo>
                  <a:cubicBezTo>
                    <a:pt x="5901214" y="264319"/>
                    <a:pt x="5901214" y="270986"/>
                    <a:pt x="5902167" y="278606"/>
                  </a:cubicBezTo>
                  <a:cubicBezTo>
                    <a:pt x="5902167" y="286226"/>
                    <a:pt x="5903119" y="293846"/>
                    <a:pt x="5904071" y="302419"/>
                  </a:cubicBezTo>
                  <a:cubicBezTo>
                    <a:pt x="5903119" y="304324"/>
                    <a:pt x="5901214" y="307181"/>
                    <a:pt x="5900262" y="310039"/>
                  </a:cubicBezTo>
                  <a:cubicBezTo>
                    <a:pt x="5898356" y="300514"/>
                    <a:pt x="5896451" y="291941"/>
                    <a:pt x="5895499" y="284321"/>
                  </a:cubicBezTo>
                  <a:cubicBezTo>
                    <a:pt x="5897404" y="264319"/>
                    <a:pt x="5900262" y="250984"/>
                    <a:pt x="5901214" y="244316"/>
                  </a:cubicBezTo>
                  <a:close/>
                  <a:moveTo>
                    <a:pt x="5903119" y="324326"/>
                  </a:moveTo>
                  <a:cubicBezTo>
                    <a:pt x="5903119" y="325279"/>
                    <a:pt x="5903119" y="327184"/>
                    <a:pt x="5903119" y="328136"/>
                  </a:cubicBezTo>
                  <a:cubicBezTo>
                    <a:pt x="5903119" y="327184"/>
                    <a:pt x="5903119" y="326231"/>
                    <a:pt x="5902167" y="325279"/>
                  </a:cubicBezTo>
                  <a:cubicBezTo>
                    <a:pt x="5903119" y="325279"/>
                    <a:pt x="5903119" y="324326"/>
                    <a:pt x="5903119" y="324326"/>
                  </a:cubicBezTo>
                  <a:close/>
                  <a:moveTo>
                    <a:pt x="5892642" y="348139"/>
                  </a:moveTo>
                  <a:cubicBezTo>
                    <a:pt x="5892642" y="350044"/>
                    <a:pt x="5892642" y="350996"/>
                    <a:pt x="5893594" y="352901"/>
                  </a:cubicBezTo>
                  <a:cubicBezTo>
                    <a:pt x="5893594" y="353854"/>
                    <a:pt x="5893594" y="354806"/>
                    <a:pt x="5893594" y="355759"/>
                  </a:cubicBezTo>
                  <a:cubicBezTo>
                    <a:pt x="5892642" y="353854"/>
                    <a:pt x="5892642" y="351949"/>
                    <a:pt x="5891689" y="350996"/>
                  </a:cubicBezTo>
                  <a:cubicBezTo>
                    <a:pt x="5892642" y="350044"/>
                    <a:pt x="5892642" y="349091"/>
                    <a:pt x="5892642" y="348139"/>
                  </a:cubicBezTo>
                  <a:close/>
                  <a:moveTo>
                    <a:pt x="5893594" y="373856"/>
                  </a:moveTo>
                  <a:cubicBezTo>
                    <a:pt x="5895499" y="379571"/>
                    <a:pt x="5897404" y="385286"/>
                    <a:pt x="5898356" y="391954"/>
                  </a:cubicBezTo>
                  <a:cubicBezTo>
                    <a:pt x="5899309" y="396716"/>
                    <a:pt x="5901214" y="402431"/>
                    <a:pt x="5902167" y="408146"/>
                  </a:cubicBezTo>
                  <a:cubicBezTo>
                    <a:pt x="5903119" y="411004"/>
                    <a:pt x="5903119" y="414814"/>
                    <a:pt x="5904071" y="417671"/>
                  </a:cubicBezTo>
                  <a:cubicBezTo>
                    <a:pt x="5904071" y="417671"/>
                    <a:pt x="5904071" y="417671"/>
                    <a:pt x="5904071" y="417671"/>
                  </a:cubicBezTo>
                  <a:cubicBezTo>
                    <a:pt x="5899309" y="407194"/>
                    <a:pt x="5895499" y="397669"/>
                    <a:pt x="5890737" y="387191"/>
                  </a:cubicBezTo>
                  <a:cubicBezTo>
                    <a:pt x="5889784" y="386239"/>
                    <a:pt x="5889784" y="385286"/>
                    <a:pt x="5888831" y="383381"/>
                  </a:cubicBezTo>
                  <a:lnTo>
                    <a:pt x="5887879" y="357664"/>
                  </a:lnTo>
                  <a:cubicBezTo>
                    <a:pt x="5887879" y="357664"/>
                    <a:pt x="5887879" y="356711"/>
                    <a:pt x="5888831" y="356711"/>
                  </a:cubicBezTo>
                  <a:cubicBezTo>
                    <a:pt x="5889784" y="363379"/>
                    <a:pt x="5891689" y="368141"/>
                    <a:pt x="5893594" y="373856"/>
                  </a:cubicBezTo>
                  <a:close/>
                  <a:moveTo>
                    <a:pt x="5886926" y="321469"/>
                  </a:moveTo>
                  <a:cubicBezTo>
                    <a:pt x="5887879" y="317659"/>
                    <a:pt x="5887879" y="314801"/>
                    <a:pt x="5888831" y="311944"/>
                  </a:cubicBezTo>
                  <a:cubicBezTo>
                    <a:pt x="5888831" y="312896"/>
                    <a:pt x="5888831" y="313849"/>
                    <a:pt x="5888831" y="314801"/>
                  </a:cubicBezTo>
                  <a:cubicBezTo>
                    <a:pt x="5888831" y="318611"/>
                    <a:pt x="5889784" y="322421"/>
                    <a:pt x="5889784" y="326231"/>
                  </a:cubicBezTo>
                  <a:cubicBezTo>
                    <a:pt x="5888831" y="328136"/>
                    <a:pt x="5887879" y="330041"/>
                    <a:pt x="5885974" y="332899"/>
                  </a:cubicBezTo>
                  <a:cubicBezTo>
                    <a:pt x="5885974" y="330041"/>
                    <a:pt x="5885974" y="327184"/>
                    <a:pt x="5885974" y="325279"/>
                  </a:cubicBezTo>
                  <a:cubicBezTo>
                    <a:pt x="5885974" y="323374"/>
                    <a:pt x="5886926" y="322421"/>
                    <a:pt x="5886926" y="321469"/>
                  </a:cubicBezTo>
                  <a:close/>
                  <a:moveTo>
                    <a:pt x="5858351" y="279559"/>
                  </a:moveTo>
                  <a:cubicBezTo>
                    <a:pt x="5858351" y="281464"/>
                    <a:pt x="5858351" y="282416"/>
                    <a:pt x="5858351" y="284321"/>
                  </a:cubicBezTo>
                  <a:cubicBezTo>
                    <a:pt x="5858351" y="284321"/>
                    <a:pt x="5858351" y="285274"/>
                    <a:pt x="5858351" y="285274"/>
                  </a:cubicBezTo>
                  <a:cubicBezTo>
                    <a:pt x="5858351" y="284321"/>
                    <a:pt x="5857399" y="283369"/>
                    <a:pt x="5857399" y="281464"/>
                  </a:cubicBezTo>
                  <a:cubicBezTo>
                    <a:pt x="5857399" y="281464"/>
                    <a:pt x="5857399" y="280511"/>
                    <a:pt x="5858351" y="279559"/>
                  </a:cubicBezTo>
                  <a:close/>
                  <a:moveTo>
                    <a:pt x="5841206" y="264319"/>
                  </a:moveTo>
                  <a:cubicBezTo>
                    <a:pt x="5841206" y="266224"/>
                    <a:pt x="5840254" y="268129"/>
                    <a:pt x="5840254" y="270034"/>
                  </a:cubicBezTo>
                  <a:cubicBezTo>
                    <a:pt x="5840254" y="272891"/>
                    <a:pt x="5839301" y="274796"/>
                    <a:pt x="5839301" y="277654"/>
                  </a:cubicBezTo>
                  <a:cubicBezTo>
                    <a:pt x="5839301" y="275749"/>
                    <a:pt x="5838349" y="273844"/>
                    <a:pt x="5838349" y="271939"/>
                  </a:cubicBezTo>
                  <a:cubicBezTo>
                    <a:pt x="5840254" y="269081"/>
                    <a:pt x="5840254" y="267176"/>
                    <a:pt x="5841206" y="264319"/>
                  </a:cubicBezTo>
                  <a:close/>
                  <a:moveTo>
                    <a:pt x="5828824" y="305276"/>
                  </a:moveTo>
                  <a:cubicBezTo>
                    <a:pt x="5827871" y="306229"/>
                    <a:pt x="5827871" y="307181"/>
                    <a:pt x="5826919" y="308134"/>
                  </a:cubicBezTo>
                  <a:cubicBezTo>
                    <a:pt x="5826919" y="307181"/>
                    <a:pt x="5826919" y="307181"/>
                    <a:pt x="5826919" y="306229"/>
                  </a:cubicBezTo>
                  <a:cubicBezTo>
                    <a:pt x="5827871" y="304324"/>
                    <a:pt x="5828824" y="301466"/>
                    <a:pt x="5829776" y="299561"/>
                  </a:cubicBezTo>
                  <a:cubicBezTo>
                    <a:pt x="5828824" y="302419"/>
                    <a:pt x="5828824" y="303371"/>
                    <a:pt x="5828824" y="305276"/>
                  </a:cubicBezTo>
                  <a:close/>
                  <a:moveTo>
                    <a:pt x="5823109" y="259556"/>
                  </a:moveTo>
                  <a:cubicBezTo>
                    <a:pt x="5824062" y="262414"/>
                    <a:pt x="5825967" y="266224"/>
                    <a:pt x="5827871" y="270986"/>
                  </a:cubicBezTo>
                  <a:cubicBezTo>
                    <a:pt x="5827871" y="271939"/>
                    <a:pt x="5828824" y="272891"/>
                    <a:pt x="5828824" y="273844"/>
                  </a:cubicBezTo>
                  <a:cubicBezTo>
                    <a:pt x="5828824" y="277654"/>
                    <a:pt x="5828824" y="281464"/>
                    <a:pt x="5828824" y="286226"/>
                  </a:cubicBezTo>
                  <a:cubicBezTo>
                    <a:pt x="5826919" y="289084"/>
                    <a:pt x="5825967" y="291941"/>
                    <a:pt x="5824062" y="295751"/>
                  </a:cubicBezTo>
                  <a:lnTo>
                    <a:pt x="5824062" y="294799"/>
                  </a:lnTo>
                  <a:lnTo>
                    <a:pt x="5823109" y="267176"/>
                  </a:lnTo>
                  <a:lnTo>
                    <a:pt x="5823109" y="259556"/>
                  </a:lnTo>
                  <a:close/>
                  <a:moveTo>
                    <a:pt x="5813584" y="252889"/>
                  </a:moveTo>
                  <a:cubicBezTo>
                    <a:pt x="5813584" y="254794"/>
                    <a:pt x="5812631" y="256699"/>
                    <a:pt x="5812631" y="258604"/>
                  </a:cubicBezTo>
                  <a:cubicBezTo>
                    <a:pt x="5811679" y="256699"/>
                    <a:pt x="5811679" y="255746"/>
                    <a:pt x="5811679" y="255746"/>
                  </a:cubicBezTo>
                  <a:cubicBezTo>
                    <a:pt x="5811679" y="255746"/>
                    <a:pt x="5811679" y="258604"/>
                    <a:pt x="5811679" y="262414"/>
                  </a:cubicBezTo>
                  <a:cubicBezTo>
                    <a:pt x="5811679" y="264319"/>
                    <a:pt x="5810726" y="265271"/>
                    <a:pt x="5810726" y="267176"/>
                  </a:cubicBezTo>
                  <a:cubicBezTo>
                    <a:pt x="5809774" y="276701"/>
                    <a:pt x="5808821" y="285274"/>
                    <a:pt x="5808821" y="294799"/>
                  </a:cubicBezTo>
                  <a:lnTo>
                    <a:pt x="5808821" y="304324"/>
                  </a:lnTo>
                  <a:lnTo>
                    <a:pt x="5807869" y="300514"/>
                  </a:lnTo>
                  <a:cubicBezTo>
                    <a:pt x="5808821" y="286226"/>
                    <a:pt x="5807869" y="273844"/>
                    <a:pt x="5806917" y="264319"/>
                  </a:cubicBezTo>
                  <a:cubicBezTo>
                    <a:pt x="5806917" y="263366"/>
                    <a:pt x="5806917" y="263366"/>
                    <a:pt x="5806917" y="262414"/>
                  </a:cubicBezTo>
                  <a:cubicBezTo>
                    <a:pt x="5809774" y="258604"/>
                    <a:pt x="5812631" y="254794"/>
                    <a:pt x="5813584" y="252889"/>
                  </a:cubicBezTo>
                  <a:close/>
                  <a:moveTo>
                    <a:pt x="5804059" y="268129"/>
                  </a:moveTo>
                  <a:cubicBezTo>
                    <a:pt x="5804059" y="268129"/>
                    <a:pt x="5804059" y="269081"/>
                    <a:pt x="5804059" y="269081"/>
                  </a:cubicBezTo>
                  <a:lnTo>
                    <a:pt x="5804059" y="268129"/>
                  </a:lnTo>
                  <a:cubicBezTo>
                    <a:pt x="5804059" y="268129"/>
                    <a:pt x="5804059" y="268129"/>
                    <a:pt x="5804059" y="268129"/>
                  </a:cubicBezTo>
                  <a:close/>
                  <a:moveTo>
                    <a:pt x="5799296" y="164306"/>
                  </a:moveTo>
                  <a:cubicBezTo>
                    <a:pt x="5800249" y="165259"/>
                    <a:pt x="5801201" y="165259"/>
                    <a:pt x="5802154" y="166211"/>
                  </a:cubicBezTo>
                  <a:cubicBezTo>
                    <a:pt x="5800249" y="170021"/>
                    <a:pt x="5798344" y="172879"/>
                    <a:pt x="5796439" y="176689"/>
                  </a:cubicBezTo>
                  <a:lnTo>
                    <a:pt x="5796439" y="163354"/>
                  </a:lnTo>
                  <a:cubicBezTo>
                    <a:pt x="5797392" y="163354"/>
                    <a:pt x="5798344" y="163354"/>
                    <a:pt x="5799296" y="164306"/>
                  </a:cubicBezTo>
                  <a:close/>
                  <a:moveTo>
                    <a:pt x="5770721" y="386239"/>
                  </a:moveTo>
                  <a:cubicBezTo>
                    <a:pt x="5770721" y="385286"/>
                    <a:pt x="5770721" y="384334"/>
                    <a:pt x="5770721" y="383381"/>
                  </a:cubicBezTo>
                  <a:cubicBezTo>
                    <a:pt x="5770721" y="383381"/>
                    <a:pt x="5770721" y="382429"/>
                    <a:pt x="5770721" y="382429"/>
                  </a:cubicBezTo>
                  <a:cubicBezTo>
                    <a:pt x="5770721" y="384334"/>
                    <a:pt x="5770721" y="385286"/>
                    <a:pt x="5771674" y="387191"/>
                  </a:cubicBezTo>
                  <a:cubicBezTo>
                    <a:pt x="5771674" y="386239"/>
                    <a:pt x="5771674" y="386239"/>
                    <a:pt x="5770721" y="386239"/>
                  </a:cubicBezTo>
                  <a:close/>
                  <a:moveTo>
                    <a:pt x="5782151" y="253841"/>
                  </a:moveTo>
                  <a:cubicBezTo>
                    <a:pt x="5781199" y="254794"/>
                    <a:pt x="5781199" y="256699"/>
                    <a:pt x="5780246" y="258604"/>
                  </a:cubicBezTo>
                  <a:cubicBezTo>
                    <a:pt x="5779294" y="261461"/>
                    <a:pt x="5778342" y="264319"/>
                    <a:pt x="5777389" y="267176"/>
                  </a:cubicBezTo>
                  <a:cubicBezTo>
                    <a:pt x="5776437" y="270034"/>
                    <a:pt x="5775484" y="272891"/>
                    <a:pt x="5773579" y="275749"/>
                  </a:cubicBezTo>
                  <a:cubicBezTo>
                    <a:pt x="5773579" y="274796"/>
                    <a:pt x="5772626" y="274796"/>
                    <a:pt x="5772626" y="273844"/>
                  </a:cubicBezTo>
                  <a:cubicBezTo>
                    <a:pt x="5772626" y="273844"/>
                    <a:pt x="5772626" y="272891"/>
                    <a:pt x="5771674" y="272891"/>
                  </a:cubicBezTo>
                  <a:cubicBezTo>
                    <a:pt x="5777389" y="256699"/>
                    <a:pt x="5781199" y="246221"/>
                    <a:pt x="5783104" y="241459"/>
                  </a:cubicBezTo>
                  <a:cubicBezTo>
                    <a:pt x="5783104" y="245269"/>
                    <a:pt x="5783104" y="250031"/>
                    <a:pt x="5782151" y="253841"/>
                  </a:cubicBezTo>
                  <a:close/>
                  <a:moveTo>
                    <a:pt x="5785962" y="221456"/>
                  </a:moveTo>
                  <a:cubicBezTo>
                    <a:pt x="5785009" y="227171"/>
                    <a:pt x="5785009" y="232886"/>
                    <a:pt x="5784056" y="239554"/>
                  </a:cubicBezTo>
                  <a:cubicBezTo>
                    <a:pt x="5784056" y="239554"/>
                    <a:pt x="5784056" y="240506"/>
                    <a:pt x="5784056" y="240506"/>
                  </a:cubicBezTo>
                  <a:cubicBezTo>
                    <a:pt x="5782151" y="244316"/>
                    <a:pt x="5777389" y="253841"/>
                    <a:pt x="5770721" y="267176"/>
                  </a:cubicBezTo>
                  <a:cubicBezTo>
                    <a:pt x="5770721" y="265271"/>
                    <a:pt x="5769769" y="263366"/>
                    <a:pt x="5769769" y="261461"/>
                  </a:cubicBezTo>
                  <a:cubicBezTo>
                    <a:pt x="5769769" y="260509"/>
                    <a:pt x="5769769" y="259556"/>
                    <a:pt x="5769769" y="258604"/>
                  </a:cubicBezTo>
                  <a:cubicBezTo>
                    <a:pt x="5775484" y="246221"/>
                    <a:pt x="5781199" y="233839"/>
                    <a:pt x="5785962" y="221456"/>
                  </a:cubicBezTo>
                  <a:close/>
                  <a:moveTo>
                    <a:pt x="5754529" y="333851"/>
                  </a:moveTo>
                  <a:cubicBezTo>
                    <a:pt x="5751671" y="338614"/>
                    <a:pt x="5749767" y="343376"/>
                    <a:pt x="5746909" y="348139"/>
                  </a:cubicBezTo>
                  <a:cubicBezTo>
                    <a:pt x="5746909" y="347186"/>
                    <a:pt x="5745956" y="347186"/>
                    <a:pt x="5745956" y="346234"/>
                  </a:cubicBezTo>
                  <a:cubicBezTo>
                    <a:pt x="5748814" y="337661"/>
                    <a:pt x="5751671" y="330041"/>
                    <a:pt x="5754529" y="322421"/>
                  </a:cubicBezTo>
                  <a:cubicBezTo>
                    <a:pt x="5754529" y="325279"/>
                    <a:pt x="5754529" y="329089"/>
                    <a:pt x="5754529" y="333851"/>
                  </a:cubicBezTo>
                  <a:cubicBezTo>
                    <a:pt x="5754529" y="333851"/>
                    <a:pt x="5754529" y="333851"/>
                    <a:pt x="5754529" y="333851"/>
                  </a:cubicBezTo>
                  <a:close/>
                  <a:moveTo>
                    <a:pt x="5762149" y="302419"/>
                  </a:moveTo>
                  <a:cubicBezTo>
                    <a:pt x="5762149" y="303371"/>
                    <a:pt x="5762149" y="303371"/>
                    <a:pt x="5762149" y="302419"/>
                  </a:cubicBezTo>
                  <a:cubicBezTo>
                    <a:pt x="5762149" y="303371"/>
                    <a:pt x="5761196" y="303371"/>
                    <a:pt x="5762149" y="302419"/>
                  </a:cubicBezTo>
                  <a:cubicBezTo>
                    <a:pt x="5761196" y="303371"/>
                    <a:pt x="5761196" y="303371"/>
                    <a:pt x="5762149" y="302419"/>
                  </a:cubicBezTo>
                  <a:close/>
                  <a:moveTo>
                    <a:pt x="5761196" y="304324"/>
                  </a:moveTo>
                  <a:cubicBezTo>
                    <a:pt x="5761196" y="304324"/>
                    <a:pt x="5761196" y="305276"/>
                    <a:pt x="5762149" y="305276"/>
                  </a:cubicBezTo>
                  <a:cubicBezTo>
                    <a:pt x="5762149" y="306229"/>
                    <a:pt x="5762149" y="307181"/>
                    <a:pt x="5762149" y="308134"/>
                  </a:cubicBezTo>
                  <a:cubicBezTo>
                    <a:pt x="5762149" y="309086"/>
                    <a:pt x="5762149" y="309086"/>
                    <a:pt x="5762149" y="310039"/>
                  </a:cubicBezTo>
                  <a:cubicBezTo>
                    <a:pt x="5761196" y="313849"/>
                    <a:pt x="5760244" y="316706"/>
                    <a:pt x="5759292" y="320516"/>
                  </a:cubicBezTo>
                  <a:cubicBezTo>
                    <a:pt x="5758339" y="323374"/>
                    <a:pt x="5758339" y="325279"/>
                    <a:pt x="5757387" y="328136"/>
                  </a:cubicBezTo>
                  <a:cubicBezTo>
                    <a:pt x="5756434" y="324326"/>
                    <a:pt x="5755481" y="321469"/>
                    <a:pt x="5755481" y="320516"/>
                  </a:cubicBezTo>
                  <a:cubicBezTo>
                    <a:pt x="5757387" y="314801"/>
                    <a:pt x="5759292" y="309086"/>
                    <a:pt x="5761196" y="304324"/>
                  </a:cubicBezTo>
                  <a:close/>
                  <a:moveTo>
                    <a:pt x="5760244" y="289084"/>
                  </a:moveTo>
                  <a:cubicBezTo>
                    <a:pt x="5760244" y="290036"/>
                    <a:pt x="5759292" y="290036"/>
                    <a:pt x="5759292" y="290989"/>
                  </a:cubicBezTo>
                  <a:cubicBezTo>
                    <a:pt x="5757387" y="293846"/>
                    <a:pt x="5754529" y="297656"/>
                    <a:pt x="5751671" y="301466"/>
                  </a:cubicBezTo>
                  <a:cubicBezTo>
                    <a:pt x="5750719" y="302419"/>
                    <a:pt x="5749767" y="304324"/>
                    <a:pt x="5748814" y="305276"/>
                  </a:cubicBezTo>
                  <a:cubicBezTo>
                    <a:pt x="5752624" y="296704"/>
                    <a:pt x="5755481" y="288131"/>
                    <a:pt x="5759292" y="280511"/>
                  </a:cubicBezTo>
                  <a:cubicBezTo>
                    <a:pt x="5760244" y="284321"/>
                    <a:pt x="5760244" y="286226"/>
                    <a:pt x="5760244" y="289084"/>
                  </a:cubicBezTo>
                  <a:close/>
                  <a:moveTo>
                    <a:pt x="5756434" y="227171"/>
                  </a:moveTo>
                  <a:cubicBezTo>
                    <a:pt x="5756434" y="231934"/>
                    <a:pt x="5756434" y="237649"/>
                    <a:pt x="5756434" y="243364"/>
                  </a:cubicBezTo>
                  <a:cubicBezTo>
                    <a:pt x="5756434" y="246221"/>
                    <a:pt x="5756434" y="248126"/>
                    <a:pt x="5757387" y="250984"/>
                  </a:cubicBezTo>
                  <a:cubicBezTo>
                    <a:pt x="5756434" y="253841"/>
                    <a:pt x="5754529" y="256699"/>
                    <a:pt x="5753576" y="259556"/>
                  </a:cubicBezTo>
                  <a:cubicBezTo>
                    <a:pt x="5749767" y="268129"/>
                    <a:pt x="5745004" y="276701"/>
                    <a:pt x="5741194" y="285274"/>
                  </a:cubicBezTo>
                  <a:cubicBezTo>
                    <a:pt x="5746909" y="262414"/>
                    <a:pt x="5752624" y="243364"/>
                    <a:pt x="5756434" y="227171"/>
                  </a:cubicBezTo>
                  <a:close/>
                  <a:moveTo>
                    <a:pt x="5676424" y="184309"/>
                  </a:moveTo>
                  <a:cubicBezTo>
                    <a:pt x="5676424" y="188119"/>
                    <a:pt x="5676424" y="192881"/>
                    <a:pt x="5676424" y="198596"/>
                  </a:cubicBezTo>
                  <a:cubicBezTo>
                    <a:pt x="5676424" y="206216"/>
                    <a:pt x="5676424" y="216694"/>
                    <a:pt x="5676424" y="228124"/>
                  </a:cubicBezTo>
                  <a:cubicBezTo>
                    <a:pt x="5676424" y="233839"/>
                    <a:pt x="5676424" y="239554"/>
                    <a:pt x="5676424" y="246221"/>
                  </a:cubicBezTo>
                  <a:cubicBezTo>
                    <a:pt x="5676424" y="252889"/>
                    <a:pt x="5677376" y="259556"/>
                    <a:pt x="5677376" y="266224"/>
                  </a:cubicBezTo>
                  <a:cubicBezTo>
                    <a:pt x="5677376" y="270034"/>
                    <a:pt x="5677376" y="273844"/>
                    <a:pt x="5678329" y="276701"/>
                  </a:cubicBezTo>
                  <a:cubicBezTo>
                    <a:pt x="5678329" y="276701"/>
                    <a:pt x="5678329" y="276701"/>
                    <a:pt x="5678329" y="276701"/>
                  </a:cubicBezTo>
                  <a:cubicBezTo>
                    <a:pt x="5677376" y="270986"/>
                    <a:pt x="5676424" y="265271"/>
                    <a:pt x="5675471" y="259556"/>
                  </a:cubicBezTo>
                  <a:cubicBezTo>
                    <a:pt x="5674519" y="253841"/>
                    <a:pt x="5673567" y="248126"/>
                    <a:pt x="5672614" y="242411"/>
                  </a:cubicBezTo>
                  <a:cubicBezTo>
                    <a:pt x="5671662" y="235744"/>
                    <a:pt x="5670709" y="229076"/>
                    <a:pt x="5669756" y="223361"/>
                  </a:cubicBezTo>
                  <a:cubicBezTo>
                    <a:pt x="5669756" y="221456"/>
                    <a:pt x="5668804" y="218599"/>
                    <a:pt x="5668804" y="216694"/>
                  </a:cubicBezTo>
                  <a:cubicBezTo>
                    <a:pt x="5671662" y="202406"/>
                    <a:pt x="5674519" y="190976"/>
                    <a:pt x="5676424" y="184309"/>
                  </a:cubicBezTo>
                  <a:close/>
                  <a:moveTo>
                    <a:pt x="5652612" y="263366"/>
                  </a:moveTo>
                  <a:cubicBezTo>
                    <a:pt x="5652612" y="262414"/>
                    <a:pt x="5652612" y="262414"/>
                    <a:pt x="5653564" y="261461"/>
                  </a:cubicBezTo>
                  <a:cubicBezTo>
                    <a:pt x="5654517" y="262414"/>
                    <a:pt x="5654517" y="263366"/>
                    <a:pt x="5655469" y="264319"/>
                  </a:cubicBezTo>
                  <a:cubicBezTo>
                    <a:pt x="5655469" y="265271"/>
                    <a:pt x="5655469" y="266224"/>
                    <a:pt x="5655469" y="268129"/>
                  </a:cubicBezTo>
                  <a:cubicBezTo>
                    <a:pt x="5656421" y="273844"/>
                    <a:pt x="5656421" y="279559"/>
                    <a:pt x="5657374" y="286226"/>
                  </a:cubicBezTo>
                  <a:cubicBezTo>
                    <a:pt x="5655469" y="280511"/>
                    <a:pt x="5654517" y="274796"/>
                    <a:pt x="5652612" y="269081"/>
                  </a:cubicBezTo>
                  <a:cubicBezTo>
                    <a:pt x="5652612" y="268129"/>
                    <a:pt x="5652612" y="268129"/>
                    <a:pt x="5651659" y="267176"/>
                  </a:cubicBezTo>
                  <a:cubicBezTo>
                    <a:pt x="5652612" y="265271"/>
                    <a:pt x="5652612" y="264319"/>
                    <a:pt x="5652612" y="263366"/>
                  </a:cubicBezTo>
                  <a:close/>
                  <a:moveTo>
                    <a:pt x="5650706" y="205264"/>
                  </a:moveTo>
                  <a:cubicBezTo>
                    <a:pt x="5650706" y="208121"/>
                    <a:pt x="5650706" y="210979"/>
                    <a:pt x="5651659" y="212884"/>
                  </a:cubicBezTo>
                  <a:cubicBezTo>
                    <a:pt x="5650706" y="210979"/>
                    <a:pt x="5649754" y="209074"/>
                    <a:pt x="5649754" y="207169"/>
                  </a:cubicBezTo>
                  <a:cubicBezTo>
                    <a:pt x="5649754" y="206216"/>
                    <a:pt x="5649754" y="205264"/>
                    <a:pt x="5650706" y="205264"/>
                  </a:cubicBezTo>
                  <a:close/>
                  <a:moveTo>
                    <a:pt x="5647849" y="209074"/>
                  </a:moveTo>
                  <a:cubicBezTo>
                    <a:pt x="5647849" y="211931"/>
                    <a:pt x="5648801" y="215741"/>
                    <a:pt x="5649754" y="219551"/>
                  </a:cubicBezTo>
                  <a:cubicBezTo>
                    <a:pt x="5650706" y="224314"/>
                    <a:pt x="5650706" y="230029"/>
                    <a:pt x="5651659" y="235744"/>
                  </a:cubicBezTo>
                  <a:cubicBezTo>
                    <a:pt x="5651659" y="235744"/>
                    <a:pt x="5651659" y="235744"/>
                    <a:pt x="5651659" y="236696"/>
                  </a:cubicBezTo>
                  <a:cubicBezTo>
                    <a:pt x="5649754" y="233839"/>
                    <a:pt x="5647849" y="230981"/>
                    <a:pt x="5645944" y="228124"/>
                  </a:cubicBezTo>
                  <a:cubicBezTo>
                    <a:pt x="5644992" y="224314"/>
                    <a:pt x="5644992" y="220504"/>
                    <a:pt x="5644039" y="216694"/>
                  </a:cubicBezTo>
                  <a:cubicBezTo>
                    <a:pt x="5644992" y="213836"/>
                    <a:pt x="5646896" y="211931"/>
                    <a:pt x="5647849" y="209074"/>
                  </a:cubicBezTo>
                  <a:close/>
                  <a:moveTo>
                    <a:pt x="5642134" y="370046"/>
                  </a:moveTo>
                  <a:cubicBezTo>
                    <a:pt x="5642134" y="372904"/>
                    <a:pt x="5643087" y="374809"/>
                    <a:pt x="5643087" y="377666"/>
                  </a:cubicBezTo>
                  <a:cubicBezTo>
                    <a:pt x="5642134" y="379571"/>
                    <a:pt x="5642134" y="382429"/>
                    <a:pt x="5641181" y="385286"/>
                  </a:cubicBezTo>
                  <a:cubicBezTo>
                    <a:pt x="5641181" y="379571"/>
                    <a:pt x="5641181" y="374809"/>
                    <a:pt x="5642134" y="370046"/>
                  </a:cubicBezTo>
                  <a:close/>
                  <a:moveTo>
                    <a:pt x="5624037" y="272891"/>
                  </a:moveTo>
                  <a:cubicBezTo>
                    <a:pt x="5624989" y="268129"/>
                    <a:pt x="5624989" y="263366"/>
                    <a:pt x="5625942" y="258604"/>
                  </a:cubicBezTo>
                  <a:cubicBezTo>
                    <a:pt x="5625942" y="256699"/>
                    <a:pt x="5625942" y="255746"/>
                    <a:pt x="5625942" y="254794"/>
                  </a:cubicBezTo>
                  <a:cubicBezTo>
                    <a:pt x="5627846" y="250031"/>
                    <a:pt x="5629751" y="245269"/>
                    <a:pt x="5632609" y="241459"/>
                  </a:cubicBezTo>
                  <a:cubicBezTo>
                    <a:pt x="5633562" y="239554"/>
                    <a:pt x="5634514" y="238601"/>
                    <a:pt x="5634514" y="236696"/>
                  </a:cubicBezTo>
                  <a:cubicBezTo>
                    <a:pt x="5635467" y="239554"/>
                    <a:pt x="5636419" y="242411"/>
                    <a:pt x="5637371" y="245269"/>
                  </a:cubicBezTo>
                  <a:cubicBezTo>
                    <a:pt x="5638324" y="249079"/>
                    <a:pt x="5639276" y="253841"/>
                    <a:pt x="5640229" y="259556"/>
                  </a:cubicBezTo>
                  <a:cubicBezTo>
                    <a:pt x="5640229" y="261461"/>
                    <a:pt x="5640229" y="264319"/>
                    <a:pt x="5640229" y="266224"/>
                  </a:cubicBezTo>
                  <a:cubicBezTo>
                    <a:pt x="5637371" y="272891"/>
                    <a:pt x="5634514" y="280511"/>
                    <a:pt x="5631656" y="288131"/>
                  </a:cubicBezTo>
                  <a:cubicBezTo>
                    <a:pt x="5628799" y="284321"/>
                    <a:pt x="5626894" y="280511"/>
                    <a:pt x="5624037" y="277654"/>
                  </a:cubicBezTo>
                  <a:cubicBezTo>
                    <a:pt x="5623084" y="275749"/>
                    <a:pt x="5624037" y="273844"/>
                    <a:pt x="5624037" y="272891"/>
                  </a:cubicBezTo>
                  <a:close/>
                  <a:moveTo>
                    <a:pt x="5623084" y="289084"/>
                  </a:moveTo>
                  <a:cubicBezTo>
                    <a:pt x="5623084" y="288131"/>
                    <a:pt x="5623084" y="288131"/>
                    <a:pt x="5623084" y="287179"/>
                  </a:cubicBezTo>
                  <a:cubicBezTo>
                    <a:pt x="5624037" y="288131"/>
                    <a:pt x="5624037" y="290036"/>
                    <a:pt x="5624989" y="290989"/>
                  </a:cubicBezTo>
                  <a:cubicBezTo>
                    <a:pt x="5625942" y="292894"/>
                    <a:pt x="5626894" y="295751"/>
                    <a:pt x="5626894" y="298609"/>
                  </a:cubicBezTo>
                  <a:cubicBezTo>
                    <a:pt x="5626894" y="299561"/>
                    <a:pt x="5626894" y="299561"/>
                    <a:pt x="5625942" y="300514"/>
                  </a:cubicBezTo>
                  <a:cubicBezTo>
                    <a:pt x="5625942" y="300514"/>
                    <a:pt x="5625942" y="300514"/>
                    <a:pt x="5625942" y="300514"/>
                  </a:cubicBezTo>
                  <a:cubicBezTo>
                    <a:pt x="5624989" y="298609"/>
                    <a:pt x="5624037" y="297656"/>
                    <a:pt x="5622131" y="295751"/>
                  </a:cubicBezTo>
                  <a:cubicBezTo>
                    <a:pt x="5622131" y="293846"/>
                    <a:pt x="5622131" y="290989"/>
                    <a:pt x="5623084" y="289084"/>
                  </a:cubicBezTo>
                  <a:close/>
                  <a:moveTo>
                    <a:pt x="5621179" y="310991"/>
                  </a:moveTo>
                  <a:cubicBezTo>
                    <a:pt x="5621179" y="310991"/>
                    <a:pt x="5621179" y="310991"/>
                    <a:pt x="5621179" y="310991"/>
                  </a:cubicBezTo>
                  <a:cubicBezTo>
                    <a:pt x="5621179" y="310991"/>
                    <a:pt x="5621179" y="310991"/>
                    <a:pt x="5621179" y="310991"/>
                  </a:cubicBezTo>
                  <a:cubicBezTo>
                    <a:pt x="5621179" y="310991"/>
                    <a:pt x="5621179" y="310991"/>
                    <a:pt x="5621179" y="310991"/>
                  </a:cubicBezTo>
                  <a:close/>
                  <a:moveTo>
                    <a:pt x="5618321" y="270034"/>
                  </a:moveTo>
                  <a:cubicBezTo>
                    <a:pt x="5618321" y="270034"/>
                    <a:pt x="5618321" y="270986"/>
                    <a:pt x="5618321" y="270034"/>
                  </a:cubicBezTo>
                  <a:cubicBezTo>
                    <a:pt x="5618321" y="270986"/>
                    <a:pt x="5618321" y="270986"/>
                    <a:pt x="5618321" y="270034"/>
                  </a:cubicBezTo>
                  <a:cubicBezTo>
                    <a:pt x="5618321" y="270986"/>
                    <a:pt x="5618321" y="270034"/>
                    <a:pt x="5618321" y="270034"/>
                  </a:cubicBezTo>
                  <a:close/>
                  <a:moveTo>
                    <a:pt x="5617369" y="272891"/>
                  </a:moveTo>
                  <a:cubicBezTo>
                    <a:pt x="5617369" y="272891"/>
                    <a:pt x="5617369" y="273844"/>
                    <a:pt x="5618321" y="273844"/>
                  </a:cubicBezTo>
                  <a:cubicBezTo>
                    <a:pt x="5617369" y="277654"/>
                    <a:pt x="5617369" y="282416"/>
                    <a:pt x="5616417" y="286226"/>
                  </a:cubicBezTo>
                  <a:cubicBezTo>
                    <a:pt x="5615464" y="285274"/>
                    <a:pt x="5614512" y="283369"/>
                    <a:pt x="5613559" y="282416"/>
                  </a:cubicBezTo>
                  <a:cubicBezTo>
                    <a:pt x="5614512" y="279559"/>
                    <a:pt x="5615464" y="276701"/>
                    <a:pt x="5617369" y="272891"/>
                  </a:cubicBezTo>
                  <a:close/>
                  <a:moveTo>
                    <a:pt x="5608796" y="290989"/>
                  </a:moveTo>
                  <a:cubicBezTo>
                    <a:pt x="5608796" y="290989"/>
                    <a:pt x="5609749" y="290989"/>
                    <a:pt x="5608796" y="290989"/>
                  </a:cubicBezTo>
                  <a:cubicBezTo>
                    <a:pt x="5609749" y="291941"/>
                    <a:pt x="5610701" y="293846"/>
                    <a:pt x="5611654" y="294799"/>
                  </a:cubicBezTo>
                  <a:cubicBezTo>
                    <a:pt x="5612606" y="295751"/>
                    <a:pt x="5612606" y="296704"/>
                    <a:pt x="5613559" y="297656"/>
                  </a:cubicBezTo>
                  <a:cubicBezTo>
                    <a:pt x="5612606" y="302419"/>
                    <a:pt x="5612606" y="306229"/>
                    <a:pt x="5611654" y="310991"/>
                  </a:cubicBezTo>
                  <a:cubicBezTo>
                    <a:pt x="5610701" y="305276"/>
                    <a:pt x="5609749" y="298609"/>
                    <a:pt x="5608796" y="292894"/>
                  </a:cubicBezTo>
                  <a:cubicBezTo>
                    <a:pt x="5608796" y="291941"/>
                    <a:pt x="5608796" y="291941"/>
                    <a:pt x="5608796" y="290989"/>
                  </a:cubicBezTo>
                  <a:close/>
                  <a:moveTo>
                    <a:pt x="5594509" y="241459"/>
                  </a:moveTo>
                  <a:cubicBezTo>
                    <a:pt x="5594509" y="247174"/>
                    <a:pt x="5594509" y="252889"/>
                    <a:pt x="5595462" y="258604"/>
                  </a:cubicBezTo>
                  <a:cubicBezTo>
                    <a:pt x="5595462" y="258604"/>
                    <a:pt x="5595462" y="259556"/>
                    <a:pt x="5595462" y="259556"/>
                  </a:cubicBezTo>
                  <a:cubicBezTo>
                    <a:pt x="5595462" y="260509"/>
                    <a:pt x="5595462" y="260509"/>
                    <a:pt x="5595462" y="261461"/>
                  </a:cubicBezTo>
                  <a:cubicBezTo>
                    <a:pt x="5594509" y="260509"/>
                    <a:pt x="5594509" y="260509"/>
                    <a:pt x="5593556" y="259556"/>
                  </a:cubicBezTo>
                  <a:cubicBezTo>
                    <a:pt x="5593556" y="256699"/>
                    <a:pt x="5592604" y="252889"/>
                    <a:pt x="5592604" y="250031"/>
                  </a:cubicBezTo>
                  <a:cubicBezTo>
                    <a:pt x="5591651" y="246221"/>
                    <a:pt x="5593556" y="244316"/>
                    <a:pt x="5594509" y="241459"/>
                  </a:cubicBezTo>
                  <a:close/>
                  <a:moveTo>
                    <a:pt x="5578317" y="284321"/>
                  </a:moveTo>
                  <a:cubicBezTo>
                    <a:pt x="5578317" y="285274"/>
                    <a:pt x="5578317" y="285274"/>
                    <a:pt x="5578317" y="286226"/>
                  </a:cubicBezTo>
                  <a:cubicBezTo>
                    <a:pt x="5578317" y="286226"/>
                    <a:pt x="5578317" y="285274"/>
                    <a:pt x="5577364" y="285274"/>
                  </a:cubicBezTo>
                  <a:cubicBezTo>
                    <a:pt x="5578317" y="284321"/>
                    <a:pt x="5578317" y="284321"/>
                    <a:pt x="5578317" y="284321"/>
                  </a:cubicBezTo>
                  <a:close/>
                  <a:moveTo>
                    <a:pt x="5573554" y="299561"/>
                  </a:moveTo>
                  <a:cubicBezTo>
                    <a:pt x="5574506" y="301466"/>
                    <a:pt x="5575459" y="303371"/>
                    <a:pt x="5576412" y="305276"/>
                  </a:cubicBezTo>
                  <a:cubicBezTo>
                    <a:pt x="5576412" y="306229"/>
                    <a:pt x="5577364" y="306229"/>
                    <a:pt x="5577364" y="307181"/>
                  </a:cubicBezTo>
                  <a:cubicBezTo>
                    <a:pt x="5577364" y="311944"/>
                    <a:pt x="5576412" y="317659"/>
                    <a:pt x="5576412" y="325279"/>
                  </a:cubicBezTo>
                  <a:cubicBezTo>
                    <a:pt x="5576412" y="326231"/>
                    <a:pt x="5576412" y="327184"/>
                    <a:pt x="5576412" y="328136"/>
                  </a:cubicBezTo>
                  <a:cubicBezTo>
                    <a:pt x="5576412" y="325279"/>
                    <a:pt x="5575459" y="322421"/>
                    <a:pt x="5575459" y="319564"/>
                  </a:cubicBezTo>
                  <a:cubicBezTo>
                    <a:pt x="5574506" y="313849"/>
                    <a:pt x="5573554" y="309086"/>
                    <a:pt x="5573554" y="303371"/>
                  </a:cubicBezTo>
                  <a:cubicBezTo>
                    <a:pt x="5572601" y="301466"/>
                    <a:pt x="5573554" y="300514"/>
                    <a:pt x="5573554" y="299561"/>
                  </a:cubicBezTo>
                  <a:close/>
                  <a:moveTo>
                    <a:pt x="5550694" y="308134"/>
                  </a:moveTo>
                  <a:cubicBezTo>
                    <a:pt x="5550694" y="305276"/>
                    <a:pt x="5549742" y="303371"/>
                    <a:pt x="5549742" y="301466"/>
                  </a:cubicBezTo>
                  <a:cubicBezTo>
                    <a:pt x="5550694" y="299561"/>
                    <a:pt x="5550694" y="296704"/>
                    <a:pt x="5551646" y="294799"/>
                  </a:cubicBezTo>
                  <a:cubicBezTo>
                    <a:pt x="5551646" y="293846"/>
                    <a:pt x="5552599" y="292894"/>
                    <a:pt x="5552599" y="291941"/>
                  </a:cubicBezTo>
                  <a:cubicBezTo>
                    <a:pt x="5553551" y="294799"/>
                    <a:pt x="5553551" y="298609"/>
                    <a:pt x="5554504" y="302419"/>
                  </a:cubicBezTo>
                  <a:cubicBezTo>
                    <a:pt x="5553551" y="303371"/>
                    <a:pt x="5553551" y="304324"/>
                    <a:pt x="5552599" y="306229"/>
                  </a:cubicBezTo>
                  <a:cubicBezTo>
                    <a:pt x="5551646" y="306229"/>
                    <a:pt x="5551646" y="307181"/>
                    <a:pt x="5550694" y="308134"/>
                  </a:cubicBezTo>
                  <a:close/>
                  <a:moveTo>
                    <a:pt x="5557362" y="313849"/>
                  </a:moveTo>
                  <a:cubicBezTo>
                    <a:pt x="5557362" y="313849"/>
                    <a:pt x="5557362" y="314801"/>
                    <a:pt x="5557362" y="313849"/>
                  </a:cubicBezTo>
                  <a:cubicBezTo>
                    <a:pt x="5556409" y="315754"/>
                    <a:pt x="5554504" y="317659"/>
                    <a:pt x="5553551" y="318611"/>
                  </a:cubicBezTo>
                  <a:cubicBezTo>
                    <a:pt x="5554504" y="315754"/>
                    <a:pt x="5555456" y="312896"/>
                    <a:pt x="5556409" y="310039"/>
                  </a:cubicBezTo>
                  <a:cubicBezTo>
                    <a:pt x="5556409" y="311944"/>
                    <a:pt x="5557362" y="312896"/>
                    <a:pt x="5557362" y="313849"/>
                  </a:cubicBezTo>
                  <a:cubicBezTo>
                    <a:pt x="5557362" y="313849"/>
                    <a:pt x="5557362" y="313849"/>
                    <a:pt x="5557362" y="313849"/>
                  </a:cubicBezTo>
                  <a:close/>
                  <a:moveTo>
                    <a:pt x="5561171" y="359569"/>
                  </a:moveTo>
                  <a:cubicBezTo>
                    <a:pt x="5561171" y="360521"/>
                    <a:pt x="5561171" y="360521"/>
                    <a:pt x="5561171" y="361474"/>
                  </a:cubicBezTo>
                  <a:cubicBezTo>
                    <a:pt x="5561171" y="361474"/>
                    <a:pt x="5560219" y="360521"/>
                    <a:pt x="5560219" y="360521"/>
                  </a:cubicBezTo>
                  <a:cubicBezTo>
                    <a:pt x="5559267" y="357664"/>
                    <a:pt x="5559267" y="353854"/>
                    <a:pt x="5558314" y="350996"/>
                  </a:cubicBezTo>
                  <a:cubicBezTo>
                    <a:pt x="5559267" y="348139"/>
                    <a:pt x="5560219" y="345281"/>
                    <a:pt x="5560219" y="342424"/>
                  </a:cubicBezTo>
                  <a:cubicBezTo>
                    <a:pt x="5561171" y="348139"/>
                    <a:pt x="5561171" y="353854"/>
                    <a:pt x="5561171" y="359569"/>
                  </a:cubicBezTo>
                  <a:close/>
                  <a:moveTo>
                    <a:pt x="5559267" y="303371"/>
                  </a:moveTo>
                  <a:cubicBezTo>
                    <a:pt x="5559267" y="303371"/>
                    <a:pt x="5559267" y="304324"/>
                    <a:pt x="5559267" y="303371"/>
                  </a:cubicBezTo>
                  <a:cubicBezTo>
                    <a:pt x="5559267" y="304324"/>
                    <a:pt x="5559267" y="304324"/>
                    <a:pt x="5559267" y="303371"/>
                  </a:cubicBezTo>
                  <a:cubicBezTo>
                    <a:pt x="5559267" y="303371"/>
                    <a:pt x="5559267" y="303371"/>
                    <a:pt x="5559267" y="303371"/>
                  </a:cubicBezTo>
                  <a:close/>
                  <a:moveTo>
                    <a:pt x="5557362" y="277654"/>
                  </a:moveTo>
                  <a:cubicBezTo>
                    <a:pt x="5557362" y="279559"/>
                    <a:pt x="5557362" y="281464"/>
                    <a:pt x="5558314" y="283369"/>
                  </a:cubicBezTo>
                  <a:cubicBezTo>
                    <a:pt x="5558314" y="287179"/>
                    <a:pt x="5559267" y="290989"/>
                    <a:pt x="5559267" y="293846"/>
                  </a:cubicBezTo>
                  <a:cubicBezTo>
                    <a:pt x="5558314" y="294799"/>
                    <a:pt x="5558314" y="295751"/>
                    <a:pt x="5557362" y="296704"/>
                  </a:cubicBezTo>
                  <a:cubicBezTo>
                    <a:pt x="5556409" y="292894"/>
                    <a:pt x="5555456" y="290036"/>
                    <a:pt x="5554504" y="287179"/>
                  </a:cubicBezTo>
                  <a:cubicBezTo>
                    <a:pt x="5554504" y="284321"/>
                    <a:pt x="5556409" y="281464"/>
                    <a:pt x="5557362" y="277654"/>
                  </a:cubicBezTo>
                  <a:close/>
                  <a:moveTo>
                    <a:pt x="5553551" y="252889"/>
                  </a:moveTo>
                  <a:cubicBezTo>
                    <a:pt x="5553551" y="252889"/>
                    <a:pt x="5553551" y="252889"/>
                    <a:pt x="5553551" y="252889"/>
                  </a:cubicBezTo>
                  <a:cubicBezTo>
                    <a:pt x="5553551" y="253841"/>
                    <a:pt x="5553551" y="253841"/>
                    <a:pt x="5553551" y="253841"/>
                  </a:cubicBezTo>
                  <a:cubicBezTo>
                    <a:pt x="5554504" y="258604"/>
                    <a:pt x="5554504" y="263366"/>
                    <a:pt x="5555456" y="268129"/>
                  </a:cubicBezTo>
                  <a:cubicBezTo>
                    <a:pt x="5555456" y="269081"/>
                    <a:pt x="5555456" y="270034"/>
                    <a:pt x="5555456" y="270986"/>
                  </a:cubicBezTo>
                  <a:cubicBezTo>
                    <a:pt x="5554504" y="272891"/>
                    <a:pt x="5553551" y="273844"/>
                    <a:pt x="5552599" y="275749"/>
                  </a:cubicBezTo>
                  <a:cubicBezTo>
                    <a:pt x="5551646" y="276701"/>
                    <a:pt x="5550694" y="278606"/>
                    <a:pt x="5549742" y="280511"/>
                  </a:cubicBezTo>
                  <a:cubicBezTo>
                    <a:pt x="5549742" y="280511"/>
                    <a:pt x="5549742" y="280511"/>
                    <a:pt x="5549742" y="280511"/>
                  </a:cubicBezTo>
                  <a:cubicBezTo>
                    <a:pt x="5549742" y="280511"/>
                    <a:pt x="5549742" y="280511"/>
                    <a:pt x="5549742" y="280511"/>
                  </a:cubicBezTo>
                  <a:cubicBezTo>
                    <a:pt x="5548789" y="282416"/>
                    <a:pt x="5547837" y="284321"/>
                    <a:pt x="5545931" y="286226"/>
                  </a:cubicBezTo>
                  <a:cubicBezTo>
                    <a:pt x="5545931" y="284321"/>
                    <a:pt x="5544979" y="282416"/>
                    <a:pt x="5544979" y="281464"/>
                  </a:cubicBezTo>
                  <a:cubicBezTo>
                    <a:pt x="5545931" y="279559"/>
                    <a:pt x="5545931" y="277654"/>
                    <a:pt x="5546884" y="275749"/>
                  </a:cubicBezTo>
                  <a:cubicBezTo>
                    <a:pt x="5547837" y="270986"/>
                    <a:pt x="5548789" y="266224"/>
                    <a:pt x="5549742" y="261461"/>
                  </a:cubicBezTo>
                  <a:cubicBezTo>
                    <a:pt x="5552599" y="258604"/>
                    <a:pt x="5553551" y="255746"/>
                    <a:pt x="5553551" y="252889"/>
                  </a:cubicBezTo>
                  <a:close/>
                  <a:moveTo>
                    <a:pt x="5548789" y="226219"/>
                  </a:moveTo>
                  <a:cubicBezTo>
                    <a:pt x="5548789" y="227171"/>
                    <a:pt x="5549742" y="229076"/>
                    <a:pt x="5549742" y="230029"/>
                  </a:cubicBezTo>
                  <a:cubicBezTo>
                    <a:pt x="5549742" y="231934"/>
                    <a:pt x="5550694" y="232886"/>
                    <a:pt x="5550694" y="234791"/>
                  </a:cubicBezTo>
                  <a:cubicBezTo>
                    <a:pt x="5549742" y="232886"/>
                    <a:pt x="5548789" y="230981"/>
                    <a:pt x="5547837" y="230029"/>
                  </a:cubicBezTo>
                  <a:cubicBezTo>
                    <a:pt x="5548789" y="229076"/>
                    <a:pt x="5548789" y="227171"/>
                    <a:pt x="5548789" y="226219"/>
                  </a:cubicBezTo>
                  <a:close/>
                  <a:moveTo>
                    <a:pt x="5546884" y="235744"/>
                  </a:moveTo>
                  <a:cubicBezTo>
                    <a:pt x="5547837" y="238601"/>
                    <a:pt x="5548789" y="241459"/>
                    <a:pt x="5550694" y="244316"/>
                  </a:cubicBezTo>
                  <a:cubicBezTo>
                    <a:pt x="5548789" y="249079"/>
                    <a:pt x="5546884" y="253841"/>
                    <a:pt x="5544979" y="259556"/>
                  </a:cubicBezTo>
                  <a:cubicBezTo>
                    <a:pt x="5544979" y="260509"/>
                    <a:pt x="5544026" y="261461"/>
                    <a:pt x="5544026" y="262414"/>
                  </a:cubicBezTo>
                  <a:cubicBezTo>
                    <a:pt x="5544026" y="260509"/>
                    <a:pt x="5543074" y="258604"/>
                    <a:pt x="5543074" y="257651"/>
                  </a:cubicBezTo>
                  <a:cubicBezTo>
                    <a:pt x="5543074" y="256699"/>
                    <a:pt x="5543074" y="255746"/>
                    <a:pt x="5542121" y="254794"/>
                  </a:cubicBezTo>
                  <a:cubicBezTo>
                    <a:pt x="5544026" y="248126"/>
                    <a:pt x="5545931" y="241459"/>
                    <a:pt x="5546884" y="235744"/>
                  </a:cubicBezTo>
                  <a:close/>
                  <a:moveTo>
                    <a:pt x="5540217" y="218599"/>
                  </a:moveTo>
                  <a:cubicBezTo>
                    <a:pt x="5540217" y="219551"/>
                    <a:pt x="5540217" y="219551"/>
                    <a:pt x="5539264" y="220504"/>
                  </a:cubicBezTo>
                  <a:cubicBezTo>
                    <a:pt x="5539264" y="221456"/>
                    <a:pt x="5538312" y="222409"/>
                    <a:pt x="5538312" y="223361"/>
                  </a:cubicBezTo>
                  <a:cubicBezTo>
                    <a:pt x="5537359" y="218599"/>
                    <a:pt x="5537359" y="214789"/>
                    <a:pt x="5536406" y="210026"/>
                  </a:cubicBezTo>
                  <a:cubicBezTo>
                    <a:pt x="5537359" y="211931"/>
                    <a:pt x="5538312" y="214789"/>
                    <a:pt x="5540217" y="218599"/>
                  </a:cubicBezTo>
                  <a:close/>
                  <a:moveTo>
                    <a:pt x="5507831" y="312896"/>
                  </a:moveTo>
                  <a:cubicBezTo>
                    <a:pt x="5507831" y="313849"/>
                    <a:pt x="5507831" y="313849"/>
                    <a:pt x="5507831" y="312896"/>
                  </a:cubicBezTo>
                  <a:cubicBezTo>
                    <a:pt x="5507831" y="313849"/>
                    <a:pt x="5507831" y="313849"/>
                    <a:pt x="5507831" y="313849"/>
                  </a:cubicBezTo>
                  <a:cubicBezTo>
                    <a:pt x="5507831" y="313849"/>
                    <a:pt x="5507831" y="313849"/>
                    <a:pt x="5507831" y="312896"/>
                  </a:cubicBezTo>
                  <a:close/>
                  <a:moveTo>
                    <a:pt x="5481162" y="326231"/>
                  </a:moveTo>
                  <a:cubicBezTo>
                    <a:pt x="5481162" y="327184"/>
                    <a:pt x="5480209" y="329089"/>
                    <a:pt x="5480209" y="330994"/>
                  </a:cubicBezTo>
                  <a:cubicBezTo>
                    <a:pt x="5480209" y="329089"/>
                    <a:pt x="5480209" y="326231"/>
                    <a:pt x="5479256" y="324326"/>
                  </a:cubicBezTo>
                  <a:cubicBezTo>
                    <a:pt x="5479256" y="323374"/>
                    <a:pt x="5479256" y="323374"/>
                    <a:pt x="5479256" y="322421"/>
                  </a:cubicBezTo>
                  <a:cubicBezTo>
                    <a:pt x="5479256" y="318611"/>
                    <a:pt x="5478304" y="315754"/>
                    <a:pt x="5478304" y="311944"/>
                  </a:cubicBezTo>
                  <a:cubicBezTo>
                    <a:pt x="5479256" y="315754"/>
                    <a:pt x="5480209" y="320516"/>
                    <a:pt x="5482114" y="325279"/>
                  </a:cubicBezTo>
                  <a:cubicBezTo>
                    <a:pt x="5481162" y="325279"/>
                    <a:pt x="5481162" y="325279"/>
                    <a:pt x="5481162" y="326231"/>
                  </a:cubicBezTo>
                  <a:close/>
                  <a:moveTo>
                    <a:pt x="5493544" y="339566"/>
                  </a:moveTo>
                  <a:cubicBezTo>
                    <a:pt x="5493544" y="339566"/>
                    <a:pt x="5493544" y="339566"/>
                    <a:pt x="5493544" y="339566"/>
                  </a:cubicBezTo>
                  <a:cubicBezTo>
                    <a:pt x="5493544" y="339566"/>
                    <a:pt x="5493544" y="339566"/>
                    <a:pt x="5493544" y="339566"/>
                  </a:cubicBezTo>
                  <a:cubicBezTo>
                    <a:pt x="5493544" y="339566"/>
                    <a:pt x="5493544" y="339566"/>
                    <a:pt x="5493544" y="339566"/>
                  </a:cubicBezTo>
                  <a:close/>
                  <a:moveTo>
                    <a:pt x="5488781" y="261461"/>
                  </a:moveTo>
                  <a:cubicBezTo>
                    <a:pt x="5488781" y="261461"/>
                    <a:pt x="5488781" y="261461"/>
                    <a:pt x="5488781" y="261461"/>
                  </a:cubicBezTo>
                  <a:cubicBezTo>
                    <a:pt x="5489734" y="263366"/>
                    <a:pt x="5489734" y="265271"/>
                    <a:pt x="5490687" y="267176"/>
                  </a:cubicBezTo>
                  <a:cubicBezTo>
                    <a:pt x="5489734" y="266224"/>
                    <a:pt x="5488781" y="265271"/>
                    <a:pt x="5487829" y="264319"/>
                  </a:cubicBezTo>
                  <a:cubicBezTo>
                    <a:pt x="5487829" y="263366"/>
                    <a:pt x="5487829" y="262414"/>
                    <a:pt x="5488781" y="261461"/>
                  </a:cubicBezTo>
                  <a:close/>
                  <a:moveTo>
                    <a:pt x="5483067" y="280511"/>
                  </a:moveTo>
                  <a:cubicBezTo>
                    <a:pt x="5484019" y="277654"/>
                    <a:pt x="5484971" y="275749"/>
                    <a:pt x="5484971" y="272891"/>
                  </a:cubicBezTo>
                  <a:cubicBezTo>
                    <a:pt x="5488781" y="278606"/>
                    <a:pt x="5492592" y="285274"/>
                    <a:pt x="5496401" y="291941"/>
                  </a:cubicBezTo>
                  <a:cubicBezTo>
                    <a:pt x="5497354" y="293846"/>
                    <a:pt x="5498306" y="295751"/>
                    <a:pt x="5500212" y="297656"/>
                  </a:cubicBezTo>
                  <a:cubicBezTo>
                    <a:pt x="5499259" y="300514"/>
                    <a:pt x="5498306" y="303371"/>
                    <a:pt x="5497354" y="307181"/>
                  </a:cubicBezTo>
                  <a:cubicBezTo>
                    <a:pt x="5497354" y="308134"/>
                    <a:pt x="5497354" y="310039"/>
                    <a:pt x="5496401" y="310991"/>
                  </a:cubicBezTo>
                  <a:cubicBezTo>
                    <a:pt x="5494496" y="309086"/>
                    <a:pt x="5493544" y="307181"/>
                    <a:pt x="5493544" y="307181"/>
                  </a:cubicBezTo>
                  <a:cubicBezTo>
                    <a:pt x="5493544" y="307181"/>
                    <a:pt x="5494496" y="309086"/>
                    <a:pt x="5495449" y="311944"/>
                  </a:cubicBezTo>
                  <a:cubicBezTo>
                    <a:pt x="5495449" y="314801"/>
                    <a:pt x="5494496" y="316706"/>
                    <a:pt x="5494496" y="319564"/>
                  </a:cubicBezTo>
                  <a:cubicBezTo>
                    <a:pt x="5493544" y="323374"/>
                    <a:pt x="5493544" y="326231"/>
                    <a:pt x="5492592" y="330041"/>
                  </a:cubicBezTo>
                  <a:cubicBezTo>
                    <a:pt x="5491639" y="330994"/>
                    <a:pt x="5490687" y="331946"/>
                    <a:pt x="5488781" y="333851"/>
                  </a:cubicBezTo>
                  <a:cubicBezTo>
                    <a:pt x="5487829" y="330994"/>
                    <a:pt x="5486876" y="329089"/>
                    <a:pt x="5485924" y="327184"/>
                  </a:cubicBezTo>
                  <a:cubicBezTo>
                    <a:pt x="5485924" y="321469"/>
                    <a:pt x="5486876" y="316706"/>
                    <a:pt x="5487829" y="312896"/>
                  </a:cubicBezTo>
                  <a:cubicBezTo>
                    <a:pt x="5488781" y="304324"/>
                    <a:pt x="5489734" y="299561"/>
                    <a:pt x="5489734" y="299561"/>
                  </a:cubicBezTo>
                  <a:cubicBezTo>
                    <a:pt x="5489734" y="299561"/>
                    <a:pt x="5487829" y="304324"/>
                    <a:pt x="5484019" y="311944"/>
                  </a:cubicBezTo>
                  <a:cubicBezTo>
                    <a:pt x="5484019" y="312896"/>
                    <a:pt x="5484019" y="312896"/>
                    <a:pt x="5483067" y="313849"/>
                  </a:cubicBezTo>
                  <a:cubicBezTo>
                    <a:pt x="5483067" y="313849"/>
                    <a:pt x="5483067" y="312896"/>
                    <a:pt x="5483067" y="312896"/>
                  </a:cubicBezTo>
                  <a:cubicBezTo>
                    <a:pt x="5480209" y="300514"/>
                    <a:pt x="5478304" y="292894"/>
                    <a:pt x="5478304" y="292894"/>
                  </a:cubicBezTo>
                  <a:cubicBezTo>
                    <a:pt x="5478304" y="292894"/>
                    <a:pt x="5478304" y="298609"/>
                    <a:pt x="5479256" y="309086"/>
                  </a:cubicBezTo>
                  <a:cubicBezTo>
                    <a:pt x="5479256" y="309086"/>
                    <a:pt x="5479256" y="308134"/>
                    <a:pt x="5479256" y="308134"/>
                  </a:cubicBezTo>
                  <a:cubicBezTo>
                    <a:pt x="5478304" y="305276"/>
                    <a:pt x="5477351" y="303371"/>
                    <a:pt x="5476399" y="300514"/>
                  </a:cubicBezTo>
                  <a:cubicBezTo>
                    <a:pt x="5479256" y="293846"/>
                    <a:pt x="5481162" y="287179"/>
                    <a:pt x="5483067" y="280511"/>
                  </a:cubicBezTo>
                  <a:close/>
                  <a:moveTo>
                    <a:pt x="5472589" y="254794"/>
                  </a:moveTo>
                  <a:cubicBezTo>
                    <a:pt x="5473542" y="255746"/>
                    <a:pt x="5474494" y="256699"/>
                    <a:pt x="5475446" y="258604"/>
                  </a:cubicBezTo>
                  <a:cubicBezTo>
                    <a:pt x="5474494" y="261461"/>
                    <a:pt x="5472589" y="265271"/>
                    <a:pt x="5471637" y="268129"/>
                  </a:cubicBezTo>
                  <a:cubicBezTo>
                    <a:pt x="5470684" y="261461"/>
                    <a:pt x="5469731" y="255746"/>
                    <a:pt x="5468779" y="249079"/>
                  </a:cubicBezTo>
                  <a:cubicBezTo>
                    <a:pt x="5469731" y="250984"/>
                    <a:pt x="5471637" y="252889"/>
                    <a:pt x="5472589" y="254794"/>
                  </a:cubicBezTo>
                  <a:close/>
                  <a:moveTo>
                    <a:pt x="5452587" y="208121"/>
                  </a:moveTo>
                  <a:cubicBezTo>
                    <a:pt x="5452587" y="209074"/>
                    <a:pt x="5452587" y="210026"/>
                    <a:pt x="5452587" y="210026"/>
                  </a:cubicBezTo>
                  <a:cubicBezTo>
                    <a:pt x="5453539" y="214789"/>
                    <a:pt x="5454492" y="220504"/>
                    <a:pt x="5454492" y="225266"/>
                  </a:cubicBezTo>
                  <a:cubicBezTo>
                    <a:pt x="5454492" y="226219"/>
                    <a:pt x="5454492" y="227171"/>
                    <a:pt x="5454492" y="228124"/>
                  </a:cubicBezTo>
                  <a:cubicBezTo>
                    <a:pt x="5453539" y="227171"/>
                    <a:pt x="5451634" y="226219"/>
                    <a:pt x="5450681" y="225266"/>
                  </a:cubicBezTo>
                  <a:cubicBezTo>
                    <a:pt x="5451634" y="219551"/>
                    <a:pt x="5452587" y="212884"/>
                    <a:pt x="5452587" y="208121"/>
                  </a:cubicBezTo>
                  <a:close/>
                  <a:moveTo>
                    <a:pt x="5449729" y="250031"/>
                  </a:moveTo>
                  <a:cubicBezTo>
                    <a:pt x="5450681" y="242411"/>
                    <a:pt x="5450681" y="234791"/>
                    <a:pt x="5451634" y="228124"/>
                  </a:cubicBezTo>
                  <a:cubicBezTo>
                    <a:pt x="5452587" y="229076"/>
                    <a:pt x="5452587" y="229076"/>
                    <a:pt x="5453539" y="230029"/>
                  </a:cubicBezTo>
                  <a:cubicBezTo>
                    <a:pt x="5454492" y="230981"/>
                    <a:pt x="5455444" y="231934"/>
                    <a:pt x="5455444" y="232886"/>
                  </a:cubicBezTo>
                  <a:cubicBezTo>
                    <a:pt x="5455444" y="236696"/>
                    <a:pt x="5456396" y="239554"/>
                    <a:pt x="5456396" y="243364"/>
                  </a:cubicBezTo>
                  <a:cubicBezTo>
                    <a:pt x="5457349" y="255746"/>
                    <a:pt x="5458301" y="268129"/>
                    <a:pt x="5459254" y="282416"/>
                  </a:cubicBezTo>
                  <a:cubicBezTo>
                    <a:pt x="5460206" y="288131"/>
                    <a:pt x="5460206" y="293846"/>
                    <a:pt x="5460206" y="299561"/>
                  </a:cubicBezTo>
                  <a:cubicBezTo>
                    <a:pt x="5458301" y="304324"/>
                    <a:pt x="5457349" y="309086"/>
                    <a:pt x="5455444" y="313849"/>
                  </a:cubicBezTo>
                  <a:cubicBezTo>
                    <a:pt x="5452587" y="302419"/>
                    <a:pt x="5450681" y="290989"/>
                    <a:pt x="5447824" y="280511"/>
                  </a:cubicBezTo>
                  <a:cubicBezTo>
                    <a:pt x="5447824" y="279559"/>
                    <a:pt x="5447824" y="277654"/>
                    <a:pt x="5446871" y="276701"/>
                  </a:cubicBezTo>
                  <a:cubicBezTo>
                    <a:pt x="5448776" y="267176"/>
                    <a:pt x="5448776" y="257651"/>
                    <a:pt x="5449729" y="250031"/>
                  </a:cubicBezTo>
                  <a:close/>
                  <a:moveTo>
                    <a:pt x="5443062" y="327184"/>
                  </a:moveTo>
                  <a:cubicBezTo>
                    <a:pt x="5444014" y="332899"/>
                    <a:pt x="5444967" y="338614"/>
                    <a:pt x="5445919" y="343376"/>
                  </a:cubicBezTo>
                  <a:cubicBezTo>
                    <a:pt x="5444967" y="340519"/>
                    <a:pt x="5444014" y="337661"/>
                    <a:pt x="5443062" y="334804"/>
                  </a:cubicBezTo>
                  <a:cubicBezTo>
                    <a:pt x="5442109" y="332899"/>
                    <a:pt x="5443062" y="330041"/>
                    <a:pt x="5443062" y="327184"/>
                  </a:cubicBezTo>
                  <a:close/>
                  <a:moveTo>
                    <a:pt x="5417344" y="318611"/>
                  </a:moveTo>
                  <a:cubicBezTo>
                    <a:pt x="5418296" y="316706"/>
                    <a:pt x="5418296" y="314801"/>
                    <a:pt x="5419249" y="312896"/>
                  </a:cubicBezTo>
                  <a:cubicBezTo>
                    <a:pt x="5420201" y="315754"/>
                    <a:pt x="5421154" y="318611"/>
                    <a:pt x="5421154" y="320516"/>
                  </a:cubicBezTo>
                  <a:cubicBezTo>
                    <a:pt x="5421154" y="320516"/>
                    <a:pt x="5421154" y="321469"/>
                    <a:pt x="5421154" y="321469"/>
                  </a:cubicBezTo>
                  <a:cubicBezTo>
                    <a:pt x="5421154" y="320516"/>
                    <a:pt x="5421154" y="320516"/>
                    <a:pt x="5421154" y="320516"/>
                  </a:cubicBezTo>
                  <a:cubicBezTo>
                    <a:pt x="5421154" y="320516"/>
                    <a:pt x="5421154" y="321469"/>
                    <a:pt x="5421154" y="322421"/>
                  </a:cubicBezTo>
                  <a:cubicBezTo>
                    <a:pt x="5420201" y="325279"/>
                    <a:pt x="5419249" y="329089"/>
                    <a:pt x="5418296" y="331946"/>
                  </a:cubicBezTo>
                  <a:cubicBezTo>
                    <a:pt x="5417344" y="330994"/>
                    <a:pt x="5417344" y="330041"/>
                    <a:pt x="5417344" y="329089"/>
                  </a:cubicBezTo>
                  <a:cubicBezTo>
                    <a:pt x="5417344" y="326231"/>
                    <a:pt x="5417344" y="322421"/>
                    <a:pt x="5417344" y="318611"/>
                  </a:cubicBezTo>
                  <a:close/>
                  <a:moveTo>
                    <a:pt x="5416392" y="334804"/>
                  </a:moveTo>
                  <a:cubicBezTo>
                    <a:pt x="5416392" y="335756"/>
                    <a:pt x="5416392" y="335756"/>
                    <a:pt x="5417344" y="335756"/>
                  </a:cubicBezTo>
                  <a:cubicBezTo>
                    <a:pt x="5417344" y="336709"/>
                    <a:pt x="5416392" y="337661"/>
                    <a:pt x="5416392" y="337661"/>
                  </a:cubicBezTo>
                  <a:cubicBezTo>
                    <a:pt x="5416392" y="336709"/>
                    <a:pt x="5416392" y="335756"/>
                    <a:pt x="5416392" y="334804"/>
                  </a:cubicBezTo>
                  <a:close/>
                  <a:moveTo>
                    <a:pt x="5405914" y="325279"/>
                  </a:moveTo>
                  <a:cubicBezTo>
                    <a:pt x="5406867" y="302419"/>
                    <a:pt x="5407819" y="284321"/>
                    <a:pt x="5407819" y="271939"/>
                  </a:cubicBezTo>
                  <a:cubicBezTo>
                    <a:pt x="5407819" y="270034"/>
                    <a:pt x="5407819" y="269081"/>
                    <a:pt x="5407819" y="267176"/>
                  </a:cubicBezTo>
                  <a:cubicBezTo>
                    <a:pt x="5409724" y="274796"/>
                    <a:pt x="5411629" y="283369"/>
                    <a:pt x="5414487" y="292894"/>
                  </a:cubicBezTo>
                  <a:cubicBezTo>
                    <a:pt x="5414487" y="292894"/>
                    <a:pt x="5414487" y="292894"/>
                    <a:pt x="5414487" y="293846"/>
                  </a:cubicBezTo>
                  <a:cubicBezTo>
                    <a:pt x="5413534" y="296704"/>
                    <a:pt x="5412581" y="299561"/>
                    <a:pt x="5411629" y="303371"/>
                  </a:cubicBezTo>
                  <a:cubicBezTo>
                    <a:pt x="5408771" y="311944"/>
                    <a:pt x="5406867" y="321469"/>
                    <a:pt x="5404962" y="331946"/>
                  </a:cubicBezTo>
                  <a:cubicBezTo>
                    <a:pt x="5404962" y="331946"/>
                    <a:pt x="5404962" y="332899"/>
                    <a:pt x="5404962" y="332899"/>
                  </a:cubicBezTo>
                  <a:cubicBezTo>
                    <a:pt x="5404962" y="330994"/>
                    <a:pt x="5404962" y="328136"/>
                    <a:pt x="5405914" y="325279"/>
                  </a:cubicBezTo>
                  <a:close/>
                  <a:moveTo>
                    <a:pt x="5384006" y="310991"/>
                  </a:moveTo>
                  <a:cubicBezTo>
                    <a:pt x="5384959" y="318611"/>
                    <a:pt x="5385912" y="326231"/>
                    <a:pt x="5386864" y="334804"/>
                  </a:cubicBezTo>
                  <a:cubicBezTo>
                    <a:pt x="5385912" y="336709"/>
                    <a:pt x="5385912" y="339566"/>
                    <a:pt x="5384959" y="341471"/>
                  </a:cubicBezTo>
                  <a:cubicBezTo>
                    <a:pt x="5384006" y="335756"/>
                    <a:pt x="5383054" y="330041"/>
                    <a:pt x="5382101" y="325279"/>
                  </a:cubicBezTo>
                  <a:cubicBezTo>
                    <a:pt x="5381149" y="317659"/>
                    <a:pt x="5380196" y="310991"/>
                    <a:pt x="5378292" y="305276"/>
                  </a:cubicBezTo>
                  <a:cubicBezTo>
                    <a:pt x="5379244" y="301466"/>
                    <a:pt x="5380196" y="298609"/>
                    <a:pt x="5381149" y="294799"/>
                  </a:cubicBezTo>
                  <a:cubicBezTo>
                    <a:pt x="5382101" y="299561"/>
                    <a:pt x="5383054" y="305276"/>
                    <a:pt x="5384006" y="310991"/>
                  </a:cubicBezTo>
                  <a:close/>
                  <a:moveTo>
                    <a:pt x="5379244" y="274796"/>
                  </a:moveTo>
                  <a:cubicBezTo>
                    <a:pt x="5379244" y="273844"/>
                    <a:pt x="5379244" y="272891"/>
                    <a:pt x="5379244" y="271939"/>
                  </a:cubicBezTo>
                  <a:cubicBezTo>
                    <a:pt x="5379244" y="275749"/>
                    <a:pt x="5380196" y="280511"/>
                    <a:pt x="5381149" y="284321"/>
                  </a:cubicBezTo>
                  <a:cubicBezTo>
                    <a:pt x="5381149" y="284321"/>
                    <a:pt x="5381149" y="285274"/>
                    <a:pt x="5380196" y="285274"/>
                  </a:cubicBezTo>
                  <a:cubicBezTo>
                    <a:pt x="5379244" y="287179"/>
                    <a:pt x="5379244" y="288131"/>
                    <a:pt x="5378292" y="290036"/>
                  </a:cubicBezTo>
                  <a:cubicBezTo>
                    <a:pt x="5378292" y="285274"/>
                    <a:pt x="5378292" y="280511"/>
                    <a:pt x="5379244" y="274796"/>
                  </a:cubicBezTo>
                  <a:close/>
                  <a:moveTo>
                    <a:pt x="5332571" y="321469"/>
                  </a:moveTo>
                  <a:cubicBezTo>
                    <a:pt x="5334476" y="316706"/>
                    <a:pt x="5336381" y="312896"/>
                    <a:pt x="5338287" y="309086"/>
                  </a:cubicBezTo>
                  <a:cubicBezTo>
                    <a:pt x="5338287" y="309086"/>
                    <a:pt x="5338287" y="310039"/>
                    <a:pt x="5338287" y="310039"/>
                  </a:cubicBezTo>
                  <a:cubicBezTo>
                    <a:pt x="5334476" y="323374"/>
                    <a:pt x="5330667" y="337661"/>
                    <a:pt x="5326856" y="351949"/>
                  </a:cubicBezTo>
                  <a:cubicBezTo>
                    <a:pt x="5325904" y="345281"/>
                    <a:pt x="5324951" y="340519"/>
                    <a:pt x="5323999" y="336709"/>
                  </a:cubicBezTo>
                  <a:cubicBezTo>
                    <a:pt x="5327809" y="330994"/>
                    <a:pt x="5330667" y="326231"/>
                    <a:pt x="5332571" y="321469"/>
                  </a:cubicBezTo>
                  <a:close/>
                  <a:moveTo>
                    <a:pt x="5319237" y="350996"/>
                  </a:moveTo>
                  <a:cubicBezTo>
                    <a:pt x="5320189" y="348139"/>
                    <a:pt x="5322094" y="345281"/>
                    <a:pt x="5323046" y="342424"/>
                  </a:cubicBezTo>
                  <a:cubicBezTo>
                    <a:pt x="5323046" y="350044"/>
                    <a:pt x="5322094" y="359569"/>
                    <a:pt x="5322094" y="371951"/>
                  </a:cubicBezTo>
                  <a:cubicBezTo>
                    <a:pt x="5321142" y="368141"/>
                    <a:pt x="5320189" y="365284"/>
                    <a:pt x="5319237" y="362426"/>
                  </a:cubicBezTo>
                  <a:cubicBezTo>
                    <a:pt x="5319237" y="357664"/>
                    <a:pt x="5319237" y="353854"/>
                    <a:pt x="5319237" y="350996"/>
                  </a:cubicBezTo>
                  <a:close/>
                  <a:moveTo>
                    <a:pt x="5316379" y="392906"/>
                  </a:moveTo>
                  <a:cubicBezTo>
                    <a:pt x="5316379" y="389096"/>
                    <a:pt x="5317331" y="386239"/>
                    <a:pt x="5317331" y="382429"/>
                  </a:cubicBezTo>
                  <a:cubicBezTo>
                    <a:pt x="5317331" y="384334"/>
                    <a:pt x="5318284" y="387191"/>
                    <a:pt x="5318284" y="390049"/>
                  </a:cubicBezTo>
                  <a:cubicBezTo>
                    <a:pt x="5317331" y="392906"/>
                    <a:pt x="5316379" y="395764"/>
                    <a:pt x="5315426" y="399574"/>
                  </a:cubicBezTo>
                  <a:cubicBezTo>
                    <a:pt x="5316379" y="396716"/>
                    <a:pt x="5316379" y="394811"/>
                    <a:pt x="5316379" y="392906"/>
                  </a:cubicBezTo>
                  <a:close/>
                  <a:moveTo>
                    <a:pt x="5285899" y="293846"/>
                  </a:moveTo>
                  <a:cubicBezTo>
                    <a:pt x="5285899" y="295751"/>
                    <a:pt x="5285899" y="296704"/>
                    <a:pt x="5286851" y="298609"/>
                  </a:cubicBezTo>
                  <a:cubicBezTo>
                    <a:pt x="5285899" y="299561"/>
                    <a:pt x="5284946" y="300514"/>
                    <a:pt x="5283994" y="302419"/>
                  </a:cubicBezTo>
                  <a:cubicBezTo>
                    <a:pt x="5284946" y="299561"/>
                    <a:pt x="5285899" y="296704"/>
                    <a:pt x="5285899" y="293846"/>
                  </a:cubicBezTo>
                  <a:close/>
                  <a:moveTo>
                    <a:pt x="5279231" y="319564"/>
                  </a:moveTo>
                  <a:cubicBezTo>
                    <a:pt x="5280184" y="316706"/>
                    <a:pt x="5281137" y="313849"/>
                    <a:pt x="5282089" y="311944"/>
                  </a:cubicBezTo>
                  <a:cubicBezTo>
                    <a:pt x="5283994" y="308134"/>
                    <a:pt x="5285899" y="305276"/>
                    <a:pt x="5287804" y="302419"/>
                  </a:cubicBezTo>
                  <a:cubicBezTo>
                    <a:pt x="5287804" y="304324"/>
                    <a:pt x="5288756" y="307181"/>
                    <a:pt x="5288756" y="309086"/>
                  </a:cubicBezTo>
                  <a:cubicBezTo>
                    <a:pt x="5289709" y="318611"/>
                    <a:pt x="5290662" y="329089"/>
                    <a:pt x="5292567" y="340519"/>
                  </a:cubicBezTo>
                  <a:cubicBezTo>
                    <a:pt x="5290662" y="347186"/>
                    <a:pt x="5288756" y="354806"/>
                    <a:pt x="5287804" y="363379"/>
                  </a:cubicBezTo>
                  <a:cubicBezTo>
                    <a:pt x="5287804" y="359569"/>
                    <a:pt x="5287804" y="354806"/>
                    <a:pt x="5287804" y="351949"/>
                  </a:cubicBezTo>
                  <a:cubicBezTo>
                    <a:pt x="5287804" y="341471"/>
                    <a:pt x="5287804" y="335756"/>
                    <a:pt x="5287804" y="335756"/>
                  </a:cubicBezTo>
                  <a:cubicBezTo>
                    <a:pt x="5287804" y="335756"/>
                    <a:pt x="5286851" y="341471"/>
                    <a:pt x="5283994" y="350996"/>
                  </a:cubicBezTo>
                  <a:cubicBezTo>
                    <a:pt x="5283042" y="355759"/>
                    <a:pt x="5282089" y="362426"/>
                    <a:pt x="5280184" y="369094"/>
                  </a:cubicBezTo>
                  <a:cubicBezTo>
                    <a:pt x="5280184" y="369094"/>
                    <a:pt x="5280184" y="369094"/>
                    <a:pt x="5280184" y="370046"/>
                  </a:cubicBezTo>
                  <a:cubicBezTo>
                    <a:pt x="5279231" y="363379"/>
                    <a:pt x="5278279" y="356711"/>
                    <a:pt x="5277326" y="350044"/>
                  </a:cubicBezTo>
                  <a:cubicBezTo>
                    <a:pt x="5276374" y="345281"/>
                    <a:pt x="5276374" y="340519"/>
                    <a:pt x="5275421" y="335756"/>
                  </a:cubicBezTo>
                  <a:cubicBezTo>
                    <a:pt x="5275421" y="330041"/>
                    <a:pt x="5277326" y="324326"/>
                    <a:pt x="5279231" y="319564"/>
                  </a:cubicBezTo>
                  <a:close/>
                  <a:moveTo>
                    <a:pt x="5236369" y="318611"/>
                  </a:moveTo>
                  <a:cubicBezTo>
                    <a:pt x="5236369" y="319564"/>
                    <a:pt x="5235417" y="319564"/>
                    <a:pt x="5235417" y="320516"/>
                  </a:cubicBezTo>
                  <a:cubicBezTo>
                    <a:pt x="5233512" y="317659"/>
                    <a:pt x="5232559" y="314801"/>
                    <a:pt x="5230654" y="311944"/>
                  </a:cubicBezTo>
                  <a:cubicBezTo>
                    <a:pt x="5230654" y="311944"/>
                    <a:pt x="5230654" y="310991"/>
                    <a:pt x="5230654" y="310991"/>
                  </a:cubicBezTo>
                  <a:cubicBezTo>
                    <a:pt x="5233512" y="305276"/>
                    <a:pt x="5236369" y="300514"/>
                    <a:pt x="5239226" y="295751"/>
                  </a:cubicBezTo>
                  <a:cubicBezTo>
                    <a:pt x="5238274" y="303371"/>
                    <a:pt x="5237321" y="310991"/>
                    <a:pt x="5236369" y="318611"/>
                  </a:cubicBezTo>
                  <a:close/>
                  <a:moveTo>
                    <a:pt x="5230654" y="281464"/>
                  </a:moveTo>
                  <a:cubicBezTo>
                    <a:pt x="5233512" y="275749"/>
                    <a:pt x="5235417" y="270034"/>
                    <a:pt x="5237321" y="265271"/>
                  </a:cubicBezTo>
                  <a:cubicBezTo>
                    <a:pt x="5239226" y="260509"/>
                    <a:pt x="5242084" y="255746"/>
                    <a:pt x="5243989" y="251936"/>
                  </a:cubicBezTo>
                  <a:cubicBezTo>
                    <a:pt x="5243037" y="255746"/>
                    <a:pt x="5243037" y="259556"/>
                    <a:pt x="5242084" y="264319"/>
                  </a:cubicBezTo>
                  <a:cubicBezTo>
                    <a:pt x="5241131" y="270034"/>
                    <a:pt x="5240179" y="276701"/>
                    <a:pt x="5240179" y="283369"/>
                  </a:cubicBezTo>
                  <a:cubicBezTo>
                    <a:pt x="5236369" y="288131"/>
                    <a:pt x="5232559" y="293846"/>
                    <a:pt x="5228749" y="299561"/>
                  </a:cubicBezTo>
                  <a:cubicBezTo>
                    <a:pt x="5228749" y="296704"/>
                    <a:pt x="5227796" y="292894"/>
                    <a:pt x="5227796" y="290036"/>
                  </a:cubicBezTo>
                  <a:cubicBezTo>
                    <a:pt x="5227796" y="286226"/>
                    <a:pt x="5228749" y="284321"/>
                    <a:pt x="5230654" y="281464"/>
                  </a:cubicBezTo>
                  <a:close/>
                  <a:moveTo>
                    <a:pt x="5211604" y="344329"/>
                  </a:moveTo>
                  <a:cubicBezTo>
                    <a:pt x="5212556" y="343376"/>
                    <a:pt x="5212556" y="342424"/>
                    <a:pt x="5213509" y="341471"/>
                  </a:cubicBezTo>
                  <a:cubicBezTo>
                    <a:pt x="5213509" y="341471"/>
                    <a:pt x="5213509" y="341471"/>
                    <a:pt x="5213509" y="341471"/>
                  </a:cubicBezTo>
                  <a:cubicBezTo>
                    <a:pt x="5213509" y="341471"/>
                    <a:pt x="5213509" y="342424"/>
                    <a:pt x="5213509" y="342424"/>
                  </a:cubicBezTo>
                  <a:cubicBezTo>
                    <a:pt x="5212556" y="343376"/>
                    <a:pt x="5212556" y="344329"/>
                    <a:pt x="5211604" y="344329"/>
                  </a:cubicBezTo>
                  <a:cubicBezTo>
                    <a:pt x="5211604" y="345281"/>
                    <a:pt x="5211604" y="345281"/>
                    <a:pt x="5211604" y="344329"/>
                  </a:cubicBezTo>
                  <a:close/>
                  <a:moveTo>
                    <a:pt x="5214462" y="343376"/>
                  </a:moveTo>
                  <a:cubicBezTo>
                    <a:pt x="5215414" y="345281"/>
                    <a:pt x="5216367" y="346234"/>
                    <a:pt x="5216367" y="348139"/>
                  </a:cubicBezTo>
                  <a:cubicBezTo>
                    <a:pt x="5215414" y="350044"/>
                    <a:pt x="5214462" y="350996"/>
                    <a:pt x="5213509" y="352901"/>
                  </a:cubicBezTo>
                  <a:cubicBezTo>
                    <a:pt x="5213509" y="351949"/>
                    <a:pt x="5212556" y="351949"/>
                    <a:pt x="5212556" y="350996"/>
                  </a:cubicBezTo>
                  <a:cubicBezTo>
                    <a:pt x="5212556" y="350044"/>
                    <a:pt x="5212556" y="350044"/>
                    <a:pt x="5212556" y="349091"/>
                  </a:cubicBezTo>
                  <a:cubicBezTo>
                    <a:pt x="5212556" y="347186"/>
                    <a:pt x="5213509" y="345281"/>
                    <a:pt x="5214462" y="343376"/>
                  </a:cubicBezTo>
                  <a:cubicBezTo>
                    <a:pt x="5213509" y="343376"/>
                    <a:pt x="5213509" y="343376"/>
                    <a:pt x="5214462" y="343376"/>
                  </a:cubicBezTo>
                  <a:close/>
                  <a:moveTo>
                    <a:pt x="5211604" y="290989"/>
                  </a:moveTo>
                  <a:cubicBezTo>
                    <a:pt x="5211604" y="290989"/>
                    <a:pt x="5211604" y="291941"/>
                    <a:pt x="5211604" y="290989"/>
                  </a:cubicBezTo>
                  <a:cubicBezTo>
                    <a:pt x="5212556" y="292894"/>
                    <a:pt x="5212556" y="294799"/>
                    <a:pt x="5213509" y="296704"/>
                  </a:cubicBezTo>
                  <a:cubicBezTo>
                    <a:pt x="5212556" y="298609"/>
                    <a:pt x="5211604" y="300514"/>
                    <a:pt x="5210651" y="302419"/>
                  </a:cubicBezTo>
                  <a:cubicBezTo>
                    <a:pt x="5211604" y="297656"/>
                    <a:pt x="5211604" y="293846"/>
                    <a:pt x="5211604" y="290989"/>
                  </a:cubicBezTo>
                  <a:close/>
                  <a:moveTo>
                    <a:pt x="5189696" y="260509"/>
                  </a:moveTo>
                  <a:cubicBezTo>
                    <a:pt x="5189696" y="261461"/>
                    <a:pt x="5189696" y="263366"/>
                    <a:pt x="5189696" y="264319"/>
                  </a:cubicBezTo>
                  <a:cubicBezTo>
                    <a:pt x="5188744" y="262414"/>
                    <a:pt x="5187792" y="260509"/>
                    <a:pt x="5186839" y="258604"/>
                  </a:cubicBezTo>
                  <a:cubicBezTo>
                    <a:pt x="5186839" y="258604"/>
                    <a:pt x="5186839" y="257651"/>
                    <a:pt x="5187792" y="257651"/>
                  </a:cubicBezTo>
                  <a:cubicBezTo>
                    <a:pt x="5188744" y="255746"/>
                    <a:pt x="5189696" y="254794"/>
                    <a:pt x="5189696" y="253841"/>
                  </a:cubicBezTo>
                  <a:cubicBezTo>
                    <a:pt x="5189696" y="255746"/>
                    <a:pt x="5189696" y="258604"/>
                    <a:pt x="5189696" y="260509"/>
                  </a:cubicBezTo>
                  <a:close/>
                  <a:moveTo>
                    <a:pt x="5178267" y="230981"/>
                  </a:moveTo>
                  <a:cubicBezTo>
                    <a:pt x="5181124" y="223361"/>
                    <a:pt x="5184934" y="217646"/>
                    <a:pt x="5186839" y="213836"/>
                  </a:cubicBezTo>
                  <a:cubicBezTo>
                    <a:pt x="5187792" y="212884"/>
                    <a:pt x="5187792" y="210979"/>
                    <a:pt x="5188744" y="210026"/>
                  </a:cubicBezTo>
                  <a:cubicBezTo>
                    <a:pt x="5188744" y="212884"/>
                    <a:pt x="5188744" y="215741"/>
                    <a:pt x="5188744" y="219551"/>
                  </a:cubicBezTo>
                  <a:cubicBezTo>
                    <a:pt x="5188744" y="230029"/>
                    <a:pt x="5188744" y="241459"/>
                    <a:pt x="5188744" y="254794"/>
                  </a:cubicBezTo>
                  <a:cubicBezTo>
                    <a:pt x="5187792" y="255746"/>
                    <a:pt x="5186839" y="256699"/>
                    <a:pt x="5185887" y="258604"/>
                  </a:cubicBezTo>
                  <a:cubicBezTo>
                    <a:pt x="5185887" y="258604"/>
                    <a:pt x="5185887" y="258604"/>
                    <a:pt x="5185887" y="258604"/>
                  </a:cubicBezTo>
                  <a:cubicBezTo>
                    <a:pt x="5183029" y="252889"/>
                    <a:pt x="5180171" y="248126"/>
                    <a:pt x="5178267" y="243364"/>
                  </a:cubicBezTo>
                  <a:cubicBezTo>
                    <a:pt x="5177314" y="241459"/>
                    <a:pt x="5176362" y="240506"/>
                    <a:pt x="5175409" y="238601"/>
                  </a:cubicBezTo>
                  <a:cubicBezTo>
                    <a:pt x="5176362" y="234791"/>
                    <a:pt x="5177314" y="232886"/>
                    <a:pt x="5178267" y="230981"/>
                  </a:cubicBezTo>
                  <a:close/>
                  <a:moveTo>
                    <a:pt x="5168742" y="238601"/>
                  </a:moveTo>
                  <a:cubicBezTo>
                    <a:pt x="5168742" y="239554"/>
                    <a:pt x="5168742" y="239554"/>
                    <a:pt x="5168742" y="238601"/>
                  </a:cubicBezTo>
                  <a:cubicBezTo>
                    <a:pt x="5168742" y="239554"/>
                    <a:pt x="5168742" y="239554"/>
                    <a:pt x="5168742" y="238601"/>
                  </a:cubicBezTo>
                  <a:cubicBezTo>
                    <a:pt x="5168742" y="239554"/>
                    <a:pt x="5168742" y="239554"/>
                    <a:pt x="5168742" y="238601"/>
                  </a:cubicBezTo>
                  <a:close/>
                  <a:moveTo>
                    <a:pt x="5166837" y="280511"/>
                  </a:moveTo>
                  <a:cubicBezTo>
                    <a:pt x="5166837" y="272891"/>
                    <a:pt x="5167789" y="266224"/>
                    <a:pt x="5167789" y="259556"/>
                  </a:cubicBezTo>
                  <a:cubicBezTo>
                    <a:pt x="5167789" y="259556"/>
                    <a:pt x="5167789" y="259556"/>
                    <a:pt x="5167789" y="259556"/>
                  </a:cubicBezTo>
                  <a:cubicBezTo>
                    <a:pt x="5168742" y="255746"/>
                    <a:pt x="5170646" y="251936"/>
                    <a:pt x="5171599" y="248126"/>
                  </a:cubicBezTo>
                  <a:cubicBezTo>
                    <a:pt x="5173504" y="252889"/>
                    <a:pt x="5175409" y="257651"/>
                    <a:pt x="5177314" y="263366"/>
                  </a:cubicBezTo>
                  <a:cubicBezTo>
                    <a:pt x="5178267" y="264319"/>
                    <a:pt x="5178267" y="266224"/>
                    <a:pt x="5179219" y="267176"/>
                  </a:cubicBezTo>
                  <a:cubicBezTo>
                    <a:pt x="5178267" y="268129"/>
                    <a:pt x="5177314" y="270034"/>
                    <a:pt x="5176362" y="271939"/>
                  </a:cubicBezTo>
                  <a:cubicBezTo>
                    <a:pt x="5173504" y="275749"/>
                    <a:pt x="5170646" y="281464"/>
                    <a:pt x="5166837" y="287179"/>
                  </a:cubicBezTo>
                  <a:cubicBezTo>
                    <a:pt x="5166837" y="283369"/>
                    <a:pt x="5166837" y="281464"/>
                    <a:pt x="5166837" y="280511"/>
                  </a:cubicBezTo>
                  <a:close/>
                  <a:moveTo>
                    <a:pt x="5166837" y="307181"/>
                  </a:moveTo>
                  <a:cubicBezTo>
                    <a:pt x="5167789" y="303371"/>
                    <a:pt x="5168742" y="299561"/>
                    <a:pt x="5170646" y="296704"/>
                  </a:cubicBezTo>
                  <a:cubicBezTo>
                    <a:pt x="5170646" y="295751"/>
                    <a:pt x="5171599" y="294799"/>
                    <a:pt x="5171599" y="293846"/>
                  </a:cubicBezTo>
                  <a:cubicBezTo>
                    <a:pt x="5173504" y="291941"/>
                    <a:pt x="5175409" y="290036"/>
                    <a:pt x="5176362" y="289084"/>
                  </a:cubicBezTo>
                  <a:cubicBezTo>
                    <a:pt x="5179219" y="286226"/>
                    <a:pt x="5181124" y="284321"/>
                    <a:pt x="5181124" y="284321"/>
                  </a:cubicBezTo>
                  <a:cubicBezTo>
                    <a:pt x="5181124" y="284321"/>
                    <a:pt x="5179219" y="285274"/>
                    <a:pt x="5175409" y="288131"/>
                  </a:cubicBezTo>
                  <a:cubicBezTo>
                    <a:pt x="5174456" y="289084"/>
                    <a:pt x="5173504" y="289084"/>
                    <a:pt x="5172551" y="290036"/>
                  </a:cubicBezTo>
                  <a:cubicBezTo>
                    <a:pt x="5175409" y="283369"/>
                    <a:pt x="5177314" y="277654"/>
                    <a:pt x="5179219" y="272891"/>
                  </a:cubicBezTo>
                  <a:cubicBezTo>
                    <a:pt x="5179219" y="271939"/>
                    <a:pt x="5180171" y="270986"/>
                    <a:pt x="5180171" y="270034"/>
                  </a:cubicBezTo>
                  <a:cubicBezTo>
                    <a:pt x="5182076" y="273844"/>
                    <a:pt x="5183029" y="276701"/>
                    <a:pt x="5184934" y="280511"/>
                  </a:cubicBezTo>
                  <a:cubicBezTo>
                    <a:pt x="5186839" y="284321"/>
                    <a:pt x="5188744" y="289084"/>
                    <a:pt x="5190649" y="292894"/>
                  </a:cubicBezTo>
                  <a:cubicBezTo>
                    <a:pt x="5190649" y="294799"/>
                    <a:pt x="5190649" y="296704"/>
                    <a:pt x="5190649" y="298609"/>
                  </a:cubicBezTo>
                  <a:cubicBezTo>
                    <a:pt x="5191601" y="308134"/>
                    <a:pt x="5191601" y="318611"/>
                    <a:pt x="5192554" y="330041"/>
                  </a:cubicBezTo>
                  <a:cubicBezTo>
                    <a:pt x="5192554" y="331946"/>
                    <a:pt x="5192554" y="333851"/>
                    <a:pt x="5192554" y="335756"/>
                  </a:cubicBezTo>
                  <a:cubicBezTo>
                    <a:pt x="5192554" y="335756"/>
                    <a:pt x="5192554" y="336709"/>
                    <a:pt x="5192554" y="336709"/>
                  </a:cubicBezTo>
                  <a:cubicBezTo>
                    <a:pt x="5192554" y="337661"/>
                    <a:pt x="5191601" y="337661"/>
                    <a:pt x="5191601" y="338614"/>
                  </a:cubicBezTo>
                  <a:cubicBezTo>
                    <a:pt x="5190649" y="341471"/>
                    <a:pt x="5188744" y="345281"/>
                    <a:pt x="5187792" y="348139"/>
                  </a:cubicBezTo>
                  <a:cubicBezTo>
                    <a:pt x="5185887" y="324326"/>
                    <a:pt x="5183981" y="309086"/>
                    <a:pt x="5183981" y="309086"/>
                  </a:cubicBezTo>
                  <a:cubicBezTo>
                    <a:pt x="5183981" y="309086"/>
                    <a:pt x="5180171" y="324326"/>
                    <a:pt x="5177314" y="348139"/>
                  </a:cubicBezTo>
                  <a:cubicBezTo>
                    <a:pt x="5177314" y="350044"/>
                    <a:pt x="5176362" y="352901"/>
                    <a:pt x="5176362" y="354806"/>
                  </a:cubicBezTo>
                  <a:cubicBezTo>
                    <a:pt x="5175409" y="352901"/>
                    <a:pt x="5174456" y="350996"/>
                    <a:pt x="5174456" y="349091"/>
                  </a:cubicBezTo>
                  <a:cubicBezTo>
                    <a:pt x="5173504" y="346234"/>
                    <a:pt x="5172551" y="344329"/>
                    <a:pt x="5171599" y="341471"/>
                  </a:cubicBezTo>
                  <a:cubicBezTo>
                    <a:pt x="5172551" y="336709"/>
                    <a:pt x="5173504" y="332899"/>
                    <a:pt x="5173504" y="328136"/>
                  </a:cubicBezTo>
                  <a:cubicBezTo>
                    <a:pt x="5172551" y="331946"/>
                    <a:pt x="5171599" y="334804"/>
                    <a:pt x="5169694" y="338614"/>
                  </a:cubicBezTo>
                  <a:cubicBezTo>
                    <a:pt x="5168742" y="337661"/>
                    <a:pt x="5168742" y="335756"/>
                    <a:pt x="5167789" y="334804"/>
                  </a:cubicBezTo>
                  <a:cubicBezTo>
                    <a:pt x="5166837" y="327184"/>
                    <a:pt x="5166837" y="320516"/>
                    <a:pt x="5165884" y="312896"/>
                  </a:cubicBezTo>
                  <a:cubicBezTo>
                    <a:pt x="5166837" y="310991"/>
                    <a:pt x="5166837" y="309086"/>
                    <a:pt x="5166837" y="307181"/>
                  </a:cubicBezTo>
                  <a:close/>
                  <a:moveTo>
                    <a:pt x="5161121" y="218599"/>
                  </a:moveTo>
                  <a:cubicBezTo>
                    <a:pt x="5162074" y="221456"/>
                    <a:pt x="5163979" y="225266"/>
                    <a:pt x="5164931" y="229076"/>
                  </a:cubicBezTo>
                  <a:cubicBezTo>
                    <a:pt x="5163979" y="234791"/>
                    <a:pt x="5162074" y="240506"/>
                    <a:pt x="5161121" y="248126"/>
                  </a:cubicBezTo>
                  <a:cubicBezTo>
                    <a:pt x="5160169" y="232886"/>
                    <a:pt x="5158264" y="218599"/>
                    <a:pt x="5157312" y="206216"/>
                  </a:cubicBezTo>
                  <a:cubicBezTo>
                    <a:pt x="5158264" y="209074"/>
                    <a:pt x="5159217" y="213836"/>
                    <a:pt x="5161121" y="218599"/>
                  </a:cubicBezTo>
                  <a:close/>
                  <a:moveTo>
                    <a:pt x="5148739" y="256699"/>
                  </a:moveTo>
                  <a:cubicBezTo>
                    <a:pt x="5148739" y="255746"/>
                    <a:pt x="5149692" y="255746"/>
                    <a:pt x="5149692" y="255746"/>
                  </a:cubicBezTo>
                  <a:cubicBezTo>
                    <a:pt x="5149692" y="264319"/>
                    <a:pt x="5149692" y="273844"/>
                    <a:pt x="5149692" y="283369"/>
                  </a:cubicBezTo>
                  <a:cubicBezTo>
                    <a:pt x="5149692" y="283369"/>
                    <a:pt x="5149692" y="284321"/>
                    <a:pt x="5149692" y="284321"/>
                  </a:cubicBezTo>
                  <a:cubicBezTo>
                    <a:pt x="5147787" y="276701"/>
                    <a:pt x="5144929" y="270034"/>
                    <a:pt x="5143024" y="263366"/>
                  </a:cubicBezTo>
                  <a:cubicBezTo>
                    <a:pt x="5145881" y="261461"/>
                    <a:pt x="5147787" y="258604"/>
                    <a:pt x="5148739" y="256699"/>
                  </a:cubicBezTo>
                  <a:close/>
                  <a:moveTo>
                    <a:pt x="5087779" y="317659"/>
                  </a:moveTo>
                  <a:cubicBezTo>
                    <a:pt x="5087779" y="316706"/>
                    <a:pt x="5087779" y="316706"/>
                    <a:pt x="5087779" y="315754"/>
                  </a:cubicBezTo>
                  <a:cubicBezTo>
                    <a:pt x="5087779" y="316706"/>
                    <a:pt x="5087779" y="316706"/>
                    <a:pt x="5087779" y="317659"/>
                  </a:cubicBezTo>
                  <a:cubicBezTo>
                    <a:pt x="5087779" y="317659"/>
                    <a:pt x="5087779" y="317659"/>
                    <a:pt x="5087779" y="317659"/>
                  </a:cubicBezTo>
                  <a:close/>
                  <a:moveTo>
                    <a:pt x="5122069" y="298609"/>
                  </a:moveTo>
                  <a:cubicBezTo>
                    <a:pt x="5123974" y="294799"/>
                    <a:pt x="5126831" y="290989"/>
                    <a:pt x="5128737" y="287179"/>
                  </a:cubicBezTo>
                  <a:cubicBezTo>
                    <a:pt x="5127784" y="298609"/>
                    <a:pt x="5125879" y="311944"/>
                    <a:pt x="5124926" y="327184"/>
                  </a:cubicBezTo>
                  <a:cubicBezTo>
                    <a:pt x="5123974" y="324326"/>
                    <a:pt x="5122069" y="321469"/>
                    <a:pt x="5121117" y="318611"/>
                  </a:cubicBezTo>
                  <a:cubicBezTo>
                    <a:pt x="5119212" y="314801"/>
                    <a:pt x="5118259" y="311944"/>
                    <a:pt x="5117306" y="308134"/>
                  </a:cubicBezTo>
                  <a:cubicBezTo>
                    <a:pt x="5118259" y="304324"/>
                    <a:pt x="5120164" y="301466"/>
                    <a:pt x="5122069" y="298609"/>
                  </a:cubicBezTo>
                  <a:close/>
                  <a:moveTo>
                    <a:pt x="5110639" y="321469"/>
                  </a:moveTo>
                  <a:cubicBezTo>
                    <a:pt x="5110639" y="321469"/>
                    <a:pt x="5110639" y="321469"/>
                    <a:pt x="5110639" y="321469"/>
                  </a:cubicBezTo>
                  <a:cubicBezTo>
                    <a:pt x="5113496" y="329089"/>
                    <a:pt x="5115401" y="336709"/>
                    <a:pt x="5118259" y="344329"/>
                  </a:cubicBezTo>
                  <a:cubicBezTo>
                    <a:pt x="5117306" y="345281"/>
                    <a:pt x="5117306" y="346234"/>
                    <a:pt x="5116354" y="347186"/>
                  </a:cubicBezTo>
                  <a:cubicBezTo>
                    <a:pt x="5115401" y="348139"/>
                    <a:pt x="5115401" y="349091"/>
                    <a:pt x="5114449" y="349091"/>
                  </a:cubicBezTo>
                  <a:cubicBezTo>
                    <a:pt x="5113496" y="344329"/>
                    <a:pt x="5111592" y="339566"/>
                    <a:pt x="5110639" y="335756"/>
                  </a:cubicBezTo>
                  <a:cubicBezTo>
                    <a:pt x="5109687" y="332899"/>
                    <a:pt x="5108734" y="330041"/>
                    <a:pt x="5107781" y="327184"/>
                  </a:cubicBezTo>
                  <a:cubicBezTo>
                    <a:pt x="5108734" y="325279"/>
                    <a:pt x="5109687" y="323374"/>
                    <a:pt x="5110639" y="321469"/>
                  </a:cubicBezTo>
                  <a:close/>
                  <a:moveTo>
                    <a:pt x="5105876" y="308134"/>
                  </a:moveTo>
                  <a:cubicBezTo>
                    <a:pt x="5104924" y="309086"/>
                    <a:pt x="5103971" y="310991"/>
                    <a:pt x="5103019" y="311944"/>
                  </a:cubicBezTo>
                  <a:cubicBezTo>
                    <a:pt x="5102067" y="310039"/>
                    <a:pt x="5102067" y="308134"/>
                    <a:pt x="5101114" y="306229"/>
                  </a:cubicBezTo>
                  <a:cubicBezTo>
                    <a:pt x="5101114" y="305276"/>
                    <a:pt x="5101114" y="304324"/>
                    <a:pt x="5101114" y="304324"/>
                  </a:cubicBezTo>
                  <a:cubicBezTo>
                    <a:pt x="5101114" y="304324"/>
                    <a:pt x="5101114" y="304324"/>
                    <a:pt x="5101114" y="305276"/>
                  </a:cubicBezTo>
                  <a:cubicBezTo>
                    <a:pt x="5099209" y="299561"/>
                    <a:pt x="5098256" y="293846"/>
                    <a:pt x="5096351" y="288131"/>
                  </a:cubicBezTo>
                  <a:cubicBezTo>
                    <a:pt x="5096351" y="285274"/>
                    <a:pt x="5097304" y="282416"/>
                    <a:pt x="5097304" y="281464"/>
                  </a:cubicBezTo>
                  <a:cubicBezTo>
                    <a:pt x="5100162" y="290989"/>
                    <a:pt x="5103019" y="299561"/>
                    <a:pt x="5105876" y="308134"/>
                  </a:cubicBezTo>
                  <a:close/>
                  <a:moveTo>
                    <a:pt x="5097304" y="282416"/>
                  </a:moveTo>
                  <a:cubicBezTo>
                    <a:pt x="5097304" y="283369"/>
                    <a:pt x="5096351" y="284321"/>
                    <a:pt x="5095399" y="286226"/>
                  </a:cubicBezTo>
                  <a:cubicBezTo>
                    <a:pt x="5094446" y="284321"/>
                    <a:pt x="5094446" y="281464"/>
                    <a:pt x="5093494" y="279559"/>
                  </a:cubicBezTo>
                  <a:cubicBezTo>
                    <a:pt x="5091589" y="271939"/>
                    <a:pt x="5089684" y="265271"/>
                    <a:pt x="5087779" y="258604"/>
                  </a:cubicBezTo>
                  <a:cubicBezTo>
                    <a:pt x="5087779" y="258604"/>
                    <a:pt x="5088731" y="257651"/>
                    <a:pt x="5089684" y="257651"/>
                  </a:cubicBezTo>
                  <a:cubicBezTo>
                    <a:pt x="5092542" y="265271"/>
                    <a:pt x="5094446" y="273844"/>
                    <a:pt x="5097304" y="282416"/>
                  </a:cubicBezTo>
                  <a:close/>
                  <a:moveTo>
                    <a:pt x="5080159" y="224314"/>
                  </a:moveTo>
                  <a:cubicBezTo>
                    <a:pt x="5081112" y="228124"/>
                    <a:pt x="5083969" y="238601"/>
                    <a:pt x="5089684" y="254794"/>
                  </a:cubicBezTo>
                  <a:cubicBezTo>
                    <a:pt x="5089684" y="254794"/>
                    <a:pt x="5088731" y="254794"/>
                    <a:pt x="5087779" y="254794"/>
                  </a:cubicBezTo>
                  <a:cubicBezTo>
                    <a:pt x="5085874" y="245269"/>
                    <a:pt x="5083017" y="236696"/>
                    <a:pt x="5081112" y="228124"/>
                  </a:cubicBezTo>
                  <a:cubicBezTo>
                    <a:pt x="5081112" y="228124"/>
                    <a:pt x="5080159" y="227171"/>
                    <a:pt x="5080159" y="224314"/>
                  </a:cubicBezTo>
                  <a:cubicBezTo>
                    <a:pt x="5080159" y="225266"/>
                    <a:pt x="5080159" y="225266"/>
                    <a:pt x="5080159" y="224314"/>
                  </a:cubicBezTo>
                  <a:close/>
                  <a:moveTo>
                    <a:pt x="5076349" y="272891"/>
                  </a:moveTo>
                  <a:cubicBezTo>
                    <a:pt x="5076349" y="270986"/>
                    <a:pt x="5076349" y="270034"/>
                    <a:pt x="5076349" y="268129"/>
                  </a:cubicBezTo>
                  <a:cubicBezTo>
                    <a:pt x="5077301" y="272891"/>
                    <a:pt x="5078254" y="277654"/>
                    <a:pt x="5079206" y="283369"/>
                  </a:cubicBezTo>
                  <a:cubicBezTo>
                    <a:pt x="5080159" y="289084"/>
                    <a:pt x="5082064" y="295751"/>
                    <a:pt x="5083017" y="301466"/>
                  </a:cubicBezTo>
                  <a:cubicBezTo>
                    <a:pt x="5083017" y="302419"/>
                    <a:pt x="5083017" y="303371"/>
                    <a:pt x="5083017" y="304324"/>
                  </a:cubicBezTo>
                  <a:cubicBezTo>
                    <a:pt x="5083017" y="306229"/>
                    <a:pt x="5082064" y="309086"/>
                    <a:pt x="5082064" y="311944"/>
                  </a:cubicBezTo>
                  <a:cubicBezTo>
                    <a:pt x="5079206" y="305276"/>
                    <a:pt x="5076349" y="298609"/>
                    <a:pt x="5073492" y="292894"/>
                  </a:cubicBezTo>
                  <a:cubicBezTo>
                    <a:pt x="5074444" y="285274"/>
                    <a:pt x="5075396" y="278606"/>
                    <a:pt x="5076349" y="272891"/>
                  </a:cubicBezTo>
                  <a:close/>
                  <a:moveTo>
                    <a:pt x="5066824" y="377666"/>
                  </a:moveTo>
                  <a:cubicBezTo>
                    <a:pt x="5066824" y="378619"/>
                    <a:pt x="5066824" y="379571"/>
                    <a:pt x="5066824" y="380524"/>
                  </a:cubicBezTo>
                  <a:cubicBezTo>
                    <a:pt x="5066824" y="381476"/>
                    <a:pt x="5066824" y="382429"/>
                    <a:pt x="5066824" y="383381"/>
                  </a:cubicBezTo>
                  <a:cubicBezTo>
                    <a:pt x="5066824" y="383381"/>
                    <a:pt x="5066824" y="384334"/>
                    <a:pt x="5065871" y="384334"/>
                  </a:cubicBezTo>
                  <a:cubicBezTo>
                    <a:pt x="5065871" y="383381"/>
                    <a:pt x="5064919" y="382429"/>
                    <a:pt x="5064919" y="381476"/>
                  </a:cubicBezTo>
                  <a:cubicBezTo>
                    <a:pt x="5065871" y="380524"/>
                    <a:pt x="5065871" y="379571"/>
                    <a:pt x="5066824" y="377666"/>
                  </a:cubicBezTo>
                  <a:close/>
                  <a:moveTo>
                    <a:pt x="5057299" y="303371"/>
                  </a:moveTo>
                  <a:cubicBezTo>
                    <a:pt x="5055394" y="300514"/>
                    <a:pt x="5053489" y="297656"/>
                    <a:pt x="5051584" y="294799"/>
                  </a:cubicBezTo>
                  <a:cubicBezTo>
                    <a:pt x="5051584" y="293846"/>
                    <a:pt x="5051584" y="291941"/>
                    <a:pt x="5052537" y="290989"/>
                  </a:cubicBezTo>
                  <a:cubicBezTo>
                    <a:pt x="5053489" y="290036"/>
                    <a:pt x="5054442" y="288131"/>
                    <a:pt x="5055394" y="287179"/>
                  </a:cubicBezTo>
                  <a:cubicBezTo>
                    <a:pt x="5056346" y="291941"/>
                    <a:pt x="5056346" y="297656"/>
                    <a:pt x="5057299" y="303371"/>
                  </a:cubicBezTo>
                  <a:close/>
                  <a:moveTo>
                    <a:pt x="5050631" y="252889"/>
                  </a:moveTo>
                  <a:cubicBezTo>
                    <a:pt x="5051584" y="254794"/>
                    <a:pt x="5051584" y="256699"/>
                    <a:pt x="5052537" y="258604"/>
                  </a:cubicBezTo>
                  <a:cubicBezTo>
                    <a:pt x="5052537" y="259556"/>
                    <a:pt x="5052537" y="260509"/>
                    <a:pt x="5053489" y="260509"/>
                  </a:cubicBezTo>
                  <a:cubicBezTo>
                    <a:pt x="5053489" y="262414"/>
                    <a:pt x="5053489" y="265271"/>
                    <a:pt x="5054442" y="268129"/>
                  </a:cubicBezTo>
                  <a:cubicBezTo>
                    <a:pt x="5053489" y="270034"/>
                    <a:pt x="5053489" y="271939"/>
                    <a:pt x="5052537" y="273844"/>
                  </a:cubicBezTo>
                  <a:cubicBezTo>
                    <a:pt x="5052537" y="274796"/>
                    <a:pt x="5051584" y="275749"/>
                    <a:pt x="5051584" y="276701"/>
                  </a:cubicBezTo>
                  <a:cubicBezTo>
                    <a:pt x="5050631" y="277654"/>
                    <a:pt x="5049679" y="278606"/>
                    <a:pt x="5048726" y="279559"/>
                  </a:cubicBezTo>
                  <a:cubicBezTo>
                    <a:pt x="5048726" y="279559"/>
                    <a:pt x="5048726" y="278606"/>
                    <a:pt x="5048726" y="278606"/>
                  </a:cubicBezTo>
                  <a:cubicBezTo>
                    <a:pt x="5048726" y="277654"/>
                    <a:pt x="5048726" y="275749"/>
                    <a:pt x="5048726" y="274796"/>
                  </a:cubicBezTo>
                  <a:cubicBezTo>
                    <a:pt x="5048726" y="271939"/>
                    <a:pt x="5048726" y="270034"/>
                    <a:pt x="5049679" y="268129"/>
                  </a:cubicBezTo>
                  <a:cubicBezTo>
                    <a:pt x="5049679" y="264319"/>
                    <a:pt x="5050631" y="262414"/>
                    <a:pt x="5050631" y="262414"/>
                  </a:cubicBezTo>
                  <a:cubicBezTo>
                    <a:pt x="5050631" y="262414"/>
                    <a:pt x="5049679" y="264319"/>
                    <a:pt x="5048726" y="268129"/>
                  </a:cubicBezTo>
                  <a:cubicBezTo>
                    <a:pt x="5048726" y="268129"/>
                    <a:pt x="5048726" y="269081"/>
                    <a:pt x="5048726" y="269081"/>
                  </a:cubicBezTo>
                  <a:cubicBezTo>
                    <a:pt x="5048726" y="268129"/>
                    <a:pt x="5048726" y="267176"/>
                    <a:pt x="5048726" y="266224"/>
                  </a:cubicBezTo>
                  <a:cubicBezTo>
                    <a:pt x="5048726" y="260509"/>
                    <a:pt x="5049679" y="256699"/>
                    <a:pt x="5050631" y="252889"/>
                  </a:cubicBezTo>
                  <a:close/>
                  <a:moveTo>
                    <a:pt x="5020151" y="390049"/>
                  </a:moveTo>
                  <a:cubicBezTo>
                    <a:pt x="5018246" y="385286"/>
                    <a:pt x="5016342" y="380524"/>
                    <a:pt x="5014437" y="376714"/>
                  </a:cubicBezTo>
                  <a:cubicBezTo>
                    <a:pt x="5014437" y="376714"/>
                    <a:pt x="5014437" y="375761"/>
                    <a:pt x="5014437" y="375761"/>
                  </a:cubicBezTo>
                  <a:cubicBezTo>
                    <a:pt x="5017294" y="365284"/>
                    <a:pt x="5020151" y="355759"/>
                    <a:pt x="5022056" y="347186"/>
                  </a:cubicBezTo>
                  <a:cubicBezTo>
                    <a:pt x="5022056" y="347186"/>
                    <a:pt x="5022056" y="348139"/>
                    <a:pt x="5022056" y="348139"/>
                  </a:cubicBezTo>
                  <a:cubicBezTo>
                    <a:pt x="5022056" y="352901"/>
                    <a:pt x="5022056" y="357664"/>
                    <a:pt x="5022056" y="363379"/>
                  </a:cubicBezTo>
                  <a:cubicBezTo>
                    <a:pt x="5022056" y="368141"/>
                    <a:pt x="5023009" y="373856"/>
                    <a:pt x="5023009" y="379571"/>
                  </a:cubicBezTo>
                  <a:cubicBezTo>
                    <a:pt x="5023009" y="381476"/>
                    <a:pt x="5023009" y="384334"/>
                    <a:pt x="5023962" y="386239"/>
                  </a:cubicBezTo>
                  <a:cubicBezTo>
                    <a:pt x="5023009" y="386239"/>
                    <a:pt x="5022056" y="388144"/>
                    <a:pt x="5020151" y="390049"/>
                  </a:cubicBezTo>
                  <a:close/>
                  <a:moveTo>
                    <a:pt x="5024914" y="400526"/>
                  </a:moveTo>
                  <a:cubicBezTo>
                    <a:pt x="5024914" y="400526"/>
                    <a:pt x="5024914" y="400526"/>
                    <a:pt x="5024914" y="400526"/>
                  </a:cubicBezTo>
                  <a:cubicBezTo>
                    <a:pt x="5024914" y="400526"/>
                    <a:pt x="5024914" y="400526"/>
                    <a:pt x="5024914" y="400526"/>
                  </a:cubicBezTo>
                  <a:cubicBezTo>
                    <a:pt x="5024914" y="400526"/>
                    <a:pt x="5024914" y="400526"/>
                    <a:pt x="5024914" y="400526"/>
                  </a:cubicBezTo>
                  <a:close/>
                  <a:moveTo>
                    <a:pt x="5035392" y="314801"/>
                  </a:moveTo>
                  <a:cubicBezTo>
                    <a:pt x="5035392" y="315754"/>
                    <a:pt x="5035392" y="316706"/>
                    <a:pt x="5035392" y="317659"/>
                  </a:cubicBezTo>
                  <a:cubicBezTo>
                    <a:pt x="5034439" y="329089"/>
                    <a:pt x="5032534" y="341471"/>
                    <a:pt x="5031581" y="353854"/>
                  </a:cubicBezTo>
                  <a:cubicBezTo>
                    <a:pt x="5031581" y="353854"/>
                    <a:pt x="5031581" y="353854"/>
                    <a:pt x="5031581" y="353854"/>
                  </a:cubicBezTo>
                  <a:cubicBezTo>
                    <a:pt x="5031581" y="353854"/>
                    <a:pt x="5031581" y="354806"/>
                    <a:pt x="5031581" y="354806"/>
                  </a:cubicBezTo>
                  <a:cubicBezTo>
                    <a:pt x="5031581" y="351949"/>
                    <a:pt x="5030629" y="349091"/>
                    <a:pt x="5030629" y="347186"/>
                  </a:cubicBezTo>
                  <a:cubicBezTo>
                    <a:pt x="5029676" y="340519"/>
                    <a:pt x="5028724" y="334804"/>
                    <a:pt x="5027771" y="329089"/>
                  </a:cubicBezTo>
                  <a:cubicBezTo>
                    <a:pt x="5027771" y="328136"/>
                    <a:pt x="5028724" y="326231"/>
                    <a:pt x="5028724" y="325279"/>
                  </a:cubicBezTo>
                  <a:cubicBezTo>
                    <a:pt x="5029676" y="323374"/>
                    <a:pt x="5030629" y="321469"/>
                    <a:pt x="5032534" y="319564"/>
                  </a:cubicBezTo>
                  <a:cubicBezTo>
                    <a:pt x="5033487" y="317659"/>
                    <a:pt x="5034439" y="315754"/>
                    <a:pt x="5035392" y="314801"/>
                  </a:cubicBezTo>
                  <a:close/>
                  <a:moveTo>
                    <a:pt x="5006817" y="242411"/>
                  </a:moveTo>
                  <a:cubicBezTo>
                    <a:pt x="5009674" y="246221"/>
                    <a:pt x="5013484" y="251936"/>
                    <a:pt x="5019199" y="259556"/>
                  </a:cubicBezTo>
                  <a:cubicBezTo>
                    <a:pt x="5022056" y="262414"/>
                    <a:pt x="5023962" y="266224"/>
                    <a:pt x="5025867" y="270034"/>
                  </a:cubicBezTo>
                  <a:cubicBezTo>
                    <a:pt x="5023962" y="268129"/>
                    <a:pt x="5022056" y="265271"/>
                    <a:pt x="5021104" y="263366"/>
                  </a:cubicBezTo>
                  <a:cubicBezTo>
                    <a:pt x="5019199" y="260509"/>
                    <a:pt x="5016342" y="258604"/>
                    <a:pt x="5014437" y="255746"/>
                  </a:cubicBezTo>
                  <a:cubicBezTo>
                    <a:pt x="5011579" y="251936"/>
                    <a:pt x="5007769" y="249079"/>
                    <a:pt x="5004912" y="245269"/>
                  </a:cubicBezTo>
                  <a:cubicBezTo>
                    <a:pt x="5006817" y="244316"/>
                    <a:pt x="5006817" y="243364"/>
                    <a:pt x="5006817" y="242411"/>
                  </a:cubicBezTo>
                  <a:close/>
                  <a:moveTo>
                    <a:pt x="5004912" y="242411"/>
                  </a:moveTo>
                  <a:cubicBezTo>
                    <a:pt x="5004912" y="241459"/>
                    <a:pt x="5004912" y="240506"/>
                    <a:pt x="5004912" y="238601"/>
                  </a:cubicBezTo>
                  <a:cubicBezTo>
                    <a:pt x="5004912" y="238601"/>
                    <a:pt x="5005864" y="239554"/>
                    <a:pt x="5006817" y="241459"/>
                  </a:cubicBezTo>
                  <a:cubicBezTo>
                    <a:pt x="5005864" y="242411"/>
                    <a:pt x="5005864" y="243364"/>
                    <a:pt x="5004912" y="244316"/>
                  </a:cubicBezTo>
                  <a:cubicBezTo>
                    <a:pt x="5004912" y="244316"/>
                    <a:pt x="5004912" y="244316"/>
                    <a:pt x="5004912" y="243364"/>
                  </a:cubicBezTo>
                  <a:cubicBezTo>
                    <a:pt x="5003959" y="243364"/>
                    <a:pt x="5003959" y="242411"/>
                    <a:pt x="5004912" y="242411"/>
                  </a:cubicBezTo>
                  <a:close/>
                  <a:moveTo>
                    <a:pt x="4999196" y="303371"/>
                  </a:moveTo>
                  <a:cubicBezTo>
                    <a:pt x="5001101" y="285274"/>
                    <a:pt x="5002054" y="268129"/>
                    <a:pt x="5003006" y="252889"/>
                  </a:cubicBezTo>
                  <a:cubicBezTo>
                    <a:pt x="5004912" y="255746"/>
                    <a:pt x="5006817" y="257651"/>
                    <a:pt x="5008721" y="260509"/>
                  </a:cubicBezTo>
                  <a:cubicBezTo>
                    <a:pt x="5010626" y="263366"/>
                    <a:pt x="5012531" y="266224"/>
                    <a:pt x="5014437" y="268129"/>
                  </a:cubicBezTo>
                  <a:cubicBezTo>
                    <a:pt x="5016342" y="270986"/>
                    <a:pt x="5018246" y="273844"/>
                    <a:pt x="5020151" y="276701"/>
                  </a:cubicBezTo>
                  <a:cubicBezTo>
                    <a:pt x="5023009" y="281464"/>
                    <a:pt x="5026819" y="287179"/>
                    <a:pt x="5029676" y="292894"/>
                  </a:cubicBezTo>
                  <a:cubicBezTo>
                    <a:pt x="5029676" y="292894"/>
                    <a:pt x="5029676" y="293846"/>
                    <a:pt x="5029676" y="293846"/>
                  </a:cubicBezTo>
                  <a:cubicBezTo>
                    <a:pt x="5028724" y="296704"/>
                    <a:pt x="5026819" y="299561"/>
                    <a:pt x="5025867" y="302419"/>
                  </a:cubicBezTo>
                  <a:cubicBezTo>
                    <a:pt x="5024914" y="303371"/>
                    <a:pt x="5023962" y="304324"/>
                    <a:pt x="5023009" y="305276"/>
                  </a:cubicBezTo>
                  <a:cubicBezTo>
                    <a:pt x="5023009" y="302419"/>
                    <a:pt x="5022056" y="301466"/>
                    <a:pt x="5022056" y="301466"/>
                  </a:cubicBezTo>
                  <a:cubicBezTo>
                    <a:pt x="5022056" y="301466"/>
                    <a:pt x="5022056" y="303371"/>
                    <a:pt x="5022056" y="306229"/>
                  </a:cubicBezTo>
                  <a:cubicBezTo>
                    <a:pt x="5021104" y="307181"/>
                    <a:pt x="5020151" y="308134"/>
                    <a:pt x="5019199" y="309086"/>
                  </a:cubicBezTo>
                  <a:cubicBezTo>
                    <a:pt x="5017294" y="311944"/>
                    <a:pt x="5014437" y="314801"/>
                    <a:pt x="5012531" y="318611"/>
                  </a:cubicBezTo>
                  <a:cubicBezTo>
                    <a:pt x="5012531" y="316706"/>
                    <a:pt x="5013484" y="313849"/>
                    <a:pt x="5013484" y="311944"/>
                  </a:cubicBezTo>
                  <a:cubicBezTo>
                    <a:pt x="5014437" y="305276"/>
                    <a:pt x="5015389" y="299561"/>
                    <a:pt x="5017294" y="294799"/>
                  </a:cubicBezTo>
                  <a:cubicBezTo>
                    <a:pt x="5019199" y="285274"/>
                    <a:pt x="5020151" y="279559"/>
                    <a:pt x="5020151" y="279559"/>
                  </a:cubicBezTo>
                  <a:cubicBezTo>
                    <a:pt x="5020151" y="279559"/>
                    <a:pt x="5017294" y="284321"/>
                    <a:pt x="5013484" y="293846"/>
                  </a:cubicBezTo>
                  <a:cubicBezTo>
                    <a:pt x="5011579" y="298609"/>
                    <a:pt x="5008721" y="304324"/>
                    <a:pt x="5006817" y="310039"/>
                  </a:cubicBezTo>
                  <a:cubicBezTo>
                    <a:pt x="5003959" y="316706"/>
                    <a:pt x="5002054" y="324326"/>
                    <a:pt x="4999196" y="331946"/>
                  </a:cubicBezTo>
                  <a:cubicBezTo>
                    <a:pt x="4999196" y="331946"/>
                    <a:pt x="4999196" y="332899"/>
                    <a:pt x="4999196" y="332899"/>
                  </a:cubicBezTo>
                  <a:cubicBezTo>
                    <a:pt x="4998244" y="330994"/>
                    <a:pt x="4997292" y="329089"/>
                    <a:pt x="4997292" y="327184"/>
                  </a:cubicBezTo>
                  <a:cubicBezTo>
                    <a:pt x="4998244" y="320516"/>
                    <a:pt x="4998244" y="311944"/>
                    <a:pt x="4999196" y="303371"/>
                  </a:cubicBezTo>
                  <a:close/>
                  <a:moveTo>
                    <a:pt x="4968717" y="208121"/>
                  </a:moveTo>
                  <a:cubicBezTo>
                    <a:pt x="4968717" y="209074"/>
                    <a:pt x="4968717" y="210026"/>
                    <a:pt x="4967764" y="212884"/>
                  </a:cubicBezTo>
                  <a:cubicBezTo>
                    <a:pt x="4967764" y="213836"/>
                    <a:pt x="4966812" y="215741"/>
                    <a:pt x="4966812" y="217646"/>
                  </a:cubicBezTo>
                  <a:cubicBezTo>
                    <a:pt x="4966812" y="216694"/>
                    <a:pt x="4966812" y="216694"/>
                    <a:pt x="4966812" y="215741"/>
                  </a:cubicBezTo>
                  <a:cubicBezTo>
                    <a:pt x="4967764" y="213836"/>
                    <a:pt x="4968717" y="210979"/>
                    <a:pt x="4968717" y="208121"/>
                  </a:cubicBezTo>
                  <a:close/>
                  <a:moveTo>
                    <a:pt x="4960144" y="364331"/>
                  </a:moveTo>
                  <a:cubicBezTo>
                    <a:pt x="4960144" y="370046"/>
                    <a:pt x="4961096" y="375761"/>
                    <a:pt x="4961096" y="381476"/>
                  </a:cubicBezTo>
                  <a:cubicBezTo>
                    <a:pt x="4960144" y="384334"/>
                    <a:pt x="4959192" y="388144"/>
                    <a:pt x="4958239" y="391001"/>
                  </a:cubicBezTo>
                  <a:cubicBezTo>
                    <a:pt x="4958239" y="389096"/>
                    <a:pt x="4957287" y="387191"/>
                    <a:pt x="4957287" y="386239"/>
                  </a:cubicBezTo>
                  <a:cubicBezTo>
                    <a:pt x="4957287" y="384334"/>
                    <a:pt x="4957287" y="382429"/>
                    <a:pt x="4957287" y="380524"/>
                  </a:cubicBezTo>
                  <a:cubicBezTo>
                    <a:pt x="4957287" y="371951"/>
                    <a:pt x="4957287" y="363379"/>
                    <a:pt x="4956334" y="356711"/>
                  </a:cubicBezTo>
                  <a:cubicBezTo>
                    <a:pt x="4956334" y="354806"/>
                    <a:pt x="4956334" y="353854"/>
                    <a:pt x="4956334" y="351949"/>
                  </a:cubicBezTo>
                  <a:cubicBezTo>
                    <a:pt x="4957287" y="350996"/>
                    <a:pt x="4958239" y="349091"/>
                    <a:pt x="4958239" y="348139"/>
                  </a:cubicBezTo>
                  <a:cubicBezTo>
                    <a:pt x="4959192" y="352901"/>
                    <a:pt x="4959192" y="358616"/>
                    <a:pt x="4960144" y="364331"/>
                  </a:cubicBezTo>
                  <a:close/>
                  <a:moveTo>
                    <a:pt x="4957287" y="256699"/>
                  </a:moveTo>
                  <a:cubicBezTo>
                    <a:pt x="4957287" y="257651"/>
                    <a:pt x="4957287" y="258604"/>
                    <a:pt x="4957287" y="258604"/>
                  </a:cubicBezTo>
                  <a:cubicBezTo>
                    <a:pt x="4957287" y="258604"/>
                    <a:pt x="4957287" y="259556"/>
                    <a:pt x="4957287" y="259556"/>
                  </a:cubicBezTo>
                  <a:cubicBezTo>
                    <a:pt x="4956334" y="262414"/>
                    <a:pt x="4956334" y="264319"/>
                    <a:pt x="4955381" y="267176"/>
                  </a:cubicBezTo>
                  <a:cubicBezTo>
                    <a:pt x="4955381" y="266224"/>
                    <a:pt x="4954429" y="266224"/>
                    <a:pt x="4954429" y="265271"/>
                  </a:cubicBezTo>
                  <a:cubicBezTo>
                    <a:pt x="4955381" y="263366"/>
                    <a:pt x="4956334" y="259556"/>
                    <a:pt x="4957287" y="256699"/>
                  </a:cubicBezTo>
                  <a:close/>
                  <a:moveTo>
                    <a:pt x="4954429" y="268129"/>
                  </a:moveTo>
                  <a:cubicBezTo>
                    <a:pt x="4954429" y="269081"/>
                    <a:pt x="4955381" y="270034"/>
                    <a:pt x="4955381" y="270986"/>
                  </a:cubicBezTo>
                  <a:cubicBezTo>
                    <a:pt x="4954429" y="276701"/>
                    <a:pt x="4952524" y="283369"/>
                    <a:pt x="4951571" y="290036"/>
                  </a:cubicBezTo>
                  <a:cubicBezTo>
                    <a:pt x="4949667" y="298609"/>
                    <a:pt x="4947762" y="307181"/>
                    <a:pt x="4944904" y="316706"/>
                  </a:cubicBezTo>
                  <a:cubicBezTo>
                    <a:pt x="4943951" y="312896"/>
                    <a:pt x="4943951" y="310991"/>
                    <a:pt x="4943951" y="310991"/>
                  </a:cubicBezTo>
                  <a:cubicBezTo>
                    <a:pt x="4943951" y="310991"/>
                    <a:pt x="4943951" y="314801"/>
                    <a:pt x="4943951" y="320516"/>
                  </a:cubicBezTo>
                  <a:cubicBezTo>
                    <a:pt x="4942999" y="326231"/>
                    <a:pt x="4941094" y="330994"/>
                    <a:pt x="4940142" y="336709"/>
                  </a:cubicBezTo>
                  <a:cubicBezTo>
                    <a:pt x="4940142" y="336709"/>
                    <a:pt x="4940142" y="335756"/>
                    <a:pt x="4940142" y="335756"/>
                  </a:cubicBezTo>
                  <a:cubicBezTo>
                    <a:pt x="4939189" y="331946"/>
                    <a:pt x="4939189" y="329089"/>
                    <a:pt x="4938237" y="325279"/>
                  </a:cubicBezTo>
                  <a:cubicBezTo>
                    <a:pt x="4943951" y="306229"/>
                    <a:pt x="4949667" y="286226"/>
                    <a:pt x="4954429" y="268129"/>
                  </a:cubicBezTo>
                  <a:close/>
                  <a:moveTo>
                    <a:pt x="4922044" y="378619"/>
                  </a:moveTo>
                  <a:cubicBezTo>
                    <a:pt x="4922044" y="378619"/>
                    <a:pt x="4922044" y="378619"/>
                    <a:pt x="4922044" y="378619"/>
                  </a:cubicBezTo>
                  <a:cubicBezTo>
                    <a:pt x="4922044" y="379571"/>
                    <a:pt x="4922044" y="379571"/>
                    <a:pt x="4922044" y="378619"/>
                  </a:cubicBezTo>
                  <a:cubicBezTo>
                    <a:pt x="4922044" y="379571"/>
                    <a:pt x="4922044" y="378619"/>
                    <a:pt x="4922044" y="378619"/>
                  </a:cubicBezTo>
                  <a:close/>
                  <a:moveTo>
                    <a:pt x="4908709" y="307181"/>
                  </a:moveTo>
                  <a:cubicBezTo>
                    <a:pt x="4910614" y="312896"/>
                    <a:pt x="4912519" y="318611"/>
                    <a:pt x="4915376" y="326231"/>
                  </a:cubicBezTo>
                  <a:cubicBezTo>
                    <a:pt x="4913471" y="330041"/>
                    <a:pt x="4911567" y="334804"/>
                    <a:pt x="4909662" y="338614"/>
                  </a:cubicBezTo>
                  <a:cubicBezTo>
                    <a:pt x="4908709" y="327184"/>
                    <a:pt x="4907756" y="316706"/>
                    <a:pt x="4906804" y="308134"/>
                  </a:cubicBezTo>
                  <a:cubicBezTo>
                    <a:pt x="4906804" y="306229"/>
                    <a:pt x="4906804" y="305276"/>
                    <a:pt x="4906804" y="305276"/>
                  </a:cubicBezTo>
                  <a:cubicBezTo>
                    <a:pt x="4906804" y="305276"/>
                    <a:pt x="4906804" y="306229"/>
                    <a:pt x="4905851" y="307181"/>
                  </a:cubicBezTo>
                  <a:cubicBezTo>
                    <a:pt x="4905851" y="303371"/>
                    <a:pt x="4904899" y="300514"/>
                    <a:pt x="4904899" y="297656"/>
                  </a:cubicBezTo>
                  <a:cubicBezTo>
                    <a:pt x="4906804" y="300514"/>
                    <a:pt x="4907756" y="303371"/>
                    <a:pt x="4908709" y="307181"/>
                  </a:cubicBezTo>
                  <a:close/>
                  <a:moveTo>
                    <a:pt x="4897279" y="351949"/>
                  </a:moveTo>
                  <a:cubicBezTo>
                    <a:pt x="4897279" y="356711"/>
                    <a:pt x="4897279" y="360521"/>
                    <a:pt x="4896326" y="365284"/>
                  </a:cubicBezTo>
                  <a:cubicBezTo>
                    <a:pt x="4896326" y="366236"/>
                    <a:pt x="4895374" y="367189"/>
                    <a:pt x="4895374" y="368141"/>
                  </a:cubicBezTo>
                  <a:cubicBezTo>
                    <a:pt x="4895374" y="365284"/>
                    <a:pt x="4894421" y="361474"/>
                    <a:pt x="4894421" y="357664"/>
                  </a:cubicBezTo>
                  <a:cubicBezTo>
                    <a:pt x="4893469" y="351949"/>
                    <a:pt x="4893469" y="347186"/>
                    <a:pt x="4892517" y="341471"/>
                  </a:cubicBezTo>
                  <a:cubicBezTo>
                    <a:pt x="4894421" y="345281"/>
                    <a:pt x="4895374" y="348139"/>
                    <a:pt x="4897279" y="351949"/>
                  </a:cubicBezTo>
                  <a:close/>
                  <a:moveTo>
                    <a:pt x="4822984" y="387191"/>
                  </a:moveTo>
                  <a:cubicBezTo>
                    <a:pt x="4822984" y="386239"/>
                    <a:pt x="4822984" y="386239"/>
                    <a:pt x="4822984" y="385286"/>
                  </a:cubicBezTo>
                  <a:cubicBezTo>
                    <a:pt x="4822984" y="386239"/>
                    <a:pt x="4822984" y="387191"/>
                    <a:pt x="4822984" y="387191"/>
                  </a:cubicBezTo>
                  <a:cubicBezTo>
                    <a:pt x="4822984" y="387191"/>
                    <a:pt x="4822984" y="387191"/>
                    <a:pt x="4822984" y="387191"/>
                  </a:cubicBezTo>
                  <a:close/>
                  <a:moveTo>
                    <a:pt x="4842987" y="338614"/>
                  </a:moveTo>
                  <a:cubicBezTo>
                    <a:pt x="4842987" y="344329"/>
                    <a:pt x="4842987" y="350044"/>
                    <a:pt x="4842987" y="356711"/>
                  </a:cubicBezTo>
                  <a:cubicBezTo>
                    <a:pt x="4842987" y="357664"/>
                    <a:pt x="4842987" y="359569"/>
                    <a:pt x="4842987" y="360521"/>
                  </a:cubicBezTo>
                  <a:cubicBezTo>
                    <a:pt x="4842034" y="366236"/>
                    <a:pt x="4841081" y="373856"/>
                    <a:pt x="4840129" y="382429"/>
                  </a:cubicBezTo>
                  <a:cubicBezTo>
                    <a:pt x="4839176" y="385286"/>
                    <a:pt x="4839176" y="387191"/>
                    <a:pt x="4838224" y="390049"/>
                  </a:cubicBezTo>
                  <a:cubicBezTo>
                    <a:pt x="4834414" y="389096"/>
                    <a:pt x="4830604" y="388144"/>
                    <a:pt x="4826794" y="387191"/>
                  </a:cubicBezTo>
                  <a:cubicBezTo>
                    <a:pt x="4825841" y="384334"/>
                    <a:pt x="4824889" y="381476"/>
                    <a:pt x="4824889" y="379571"/>
                  </a:cubicBezTo>
                  <a:cubicBezTo>
                    <a:pt x="4825841" y="376714"/>
                    <a:pt x="4826794" y="373856"/>
                    <a:pt x="4827747" y="370999"/>
                  </a:cubicBezTo>
                  <a:cubicBezTo>
                    <a:pt x="4830604" y="361474"/>
                    <a:pt x="4834414" y="352901"/>
                    <a:pt x="4838224" y="346234"/>
                  </a:cubicBezTo>
                  <a:cubicBezTo>
                    <a:pt x="4840129" y="342424"/>
                    <a:pt x="4842034" y="339566"/>
                    <a:pt x="4843939" y="336709"/>
                  </a:cubicBezTo>
                  <a:cubicBezTo>
                    <a:pt x="4842987" y="337661"/>
                    <a:pt x="4842987" y="338614"/>
                    <a:pt x="4842987" y="338614"/>
                  </a:cubicBezTo>
                  <a:cubicBezTo>
                    <a:pt x="4842987" y="338614"/>
                    <a:pt x="4842987" y="338614"/>
                    <a:pt x="4842987" y="338614"/>
                  </a:cubicBezTo>
                  <a:close/>
                  <a:moveTo>
                    <a:pt x="4843939" y="329089"/>
                  </a:moveTo>
                  <a:cubicBezTo>
                    <a:pt x="4843939" y="329089"/>
                    <a:pt x="4843939" y="329089"/>
                    <a:pt x="4843939" y="329089"/>
                  </a:cubicBezTo>
                  <a:cubicBezTo>
                    <a:pt x="4841081" y="324326"/>
                    <a:pt x="4838224" y="320516"/>
                    <a:pt x="4836319" y="318611"/>
                  </a:cubicBezTo>
                  <a:cubicBezTo>
                    <a:pt x="4836319" y="318611"/>
                    <a:pt x="4836319" y="318611"/>
                    <a:pt x="4836319" y="318611"/>
                  </a:cubicBezTo>
                  <a:cubicBezTo>
                    <a:pt x="4837272" y="316706"/>
                    <a:pt x="4838224" y="315754"/>
                    <a:pt x="4839176" y="314801"/>
                  </a:cubicBezTo>
                  <a:cubicBezTo>
                    <a:pt x="4840129" y="316706"/>
                    <a:pt x="4841081" y="319564"/>
                    <a:pt x="4842987" y="321469"/>
                  </a:cubicBezTo>
                  <a:cubicBezTo>
                    <a:pt x="4842987" y="322421"/>
                    <a:pt x="4843939" y="323374"/>
                    <a:pt x="4843939" y="323374"/>
                  </a:cubicBezTo>
                  <a:cubicBezTo>
                    <a:pt x="4843939" y="325279"/>
                    <a:pt x="4843939" y="327184"/>
                    <a:pt x="4843939" y="329089"/>
                  </a:cubicBezTo>
                  <a:close/>
                  <a:moveTo>
                    <a:pt x="4845844" y="296704"/>
                  </a:moveTo>
                  <a:cubicBezTo>
                    <a:pt x="4845844" y="302419"/>
                    <a:pt x="4844891" y="309086"/>
                    <a:pt x="4844891" y="316706"/>
                  </a:cubicBezTo>
                  <a:cubicBezTo>
                    <a:pt x="4842987" y="314801"/>
                    <a:pt x="4842034" y="311944"/>
                    <a:pt x="4840129" y="310039"/>
                  </a:cubicBezTo>
                  <a:cubicBezTo>
                    <a:pt x="4839176" y="309086"/>
                    <a:pt x="4838224" y="307181"/>
                    <a:pt x="4837272" y="306229"/>
                  </a:cubicBezTo>
                  <a:cubicBezTo>
                    <a:pt x="4840129" y="300514"/>
                    <a:pt x="4842987" y="295751"/>
                    <a:pt x="4845844" y="290989"/>
                  </a:cubicBezTo>
                  <a:cubicBezTo>
                    <a:pt x="4846797" y="290036"/>
                    <a:pt x="4846797" y="289084"/>
                    <a:pt x="4847749" y="288131"/>
                  </a:cubicBezTo>
                  <a:cubicBezTo>
                    <a:pt x="4846797" y="290989"/>
                    <a:pt x="4845844" y="293846"/>
                    <a:pt x="4845844" y="296704"/>
                  </a:cubicBezTo>
                  <a:close/>
                  <a:moveTo>
                    <a:pt x="4869656" y="325279"/>
                  </a:moveTo>
                  <a:cubicBezTo>
                    <a:pt x="4869656" y="326231"/>
                    <a:pt x="4869656" y="326231"/>
                    <a:pt x="4869656" y="327184"/>
                  </a:cubicBezTo>
                  <a:cubicBezTo>
                    <a:pt x="4869656" y="327184"/>
                    <a:pt x="4869656" y="326231"/>
                    <a:pt x="4869656" y="325279"/>
                  </a:cubicBezTo>
                  <a:cubicBezTo>
                    <a:pt x="4869656" y="323374"/>
                    <a:pt x="4869656" y="320516"/>
                    <a:pt x="4869656" y="318611"/>
                  </a:cubicBezTo>
                  <a:cubicBezTo>
                    <a:pt x="4869656" y="320516"/>
                    <a:pt x="4869656" y="323374"/>
                    <a:pt x="4869656" y="325279"/>
                  </a:cubicBezTo>
                  <a:close/>
                  <a:moveTo>
                    <a:pt x="4854416" y="276701"/>
                  </a:moveTo>
                  <a:cubicBezTo>
                    <a:pt x="4860131" y="267176"/>
                    <a:pt x="4865847" y="261461"/>
                    <a:pt x="4868704" y="256699"/>
                  </a:cubicBezTo>
                  <a:cubicBezTo>
                    <a:pt x="4869656" y="255746"/>
                    <a:pt x="4870609" y="253841"/>
                    <a:pt x="4871562" y="252889"/>
                  </a:cubicBezTo>
                  <a:cubicBezTo>
                    <a:pt x="4871562" y="254794"/>
                    <a:pt x="4871562" y="257651"/>
                    <a:pt x="4871562" y="259556"/>
                  </a:cubicBezTo>
                  <a:cubicBezTo>
                    <a:pt x="4868704" y="270986"/>
                    <a:pt x="4864894" y="283369"/>
                    <a:pt x="4861084" y="296704"/>
                  </a:cubicBezTo>
                  <a:cubicBezTo>
                    <a:pt x="4861084" y="297656"/>
                    <a:pt x="4860131" y="299561"/>
                    <a:pt x="4860131" y="300514"/>
                  </a:cubicBezTo>
                  <a:cubicBezTo>
                    <a:pt x="4857274" y="291941"/>
                    <a:pt x="4855369" y="284321"/>
                    <a:pt x="4853464" y="278606"/>
                  </a:cubicBezTo>
                  <a:cubicBezTo>
                    <a:pt x="4854416" y="277654"/>
                    <a:pt x="4854416" y="277654"/>
                    <a:pt x="4854416" y="276701"/>
                  </a:cubicBezTo>
                  <a:cubicBezTo>
                    <a:pt x="4854416" y="276701"/>
                    <a:pt x="4854416" y="276701"/>
                    <a:pt x="4854416" y="276701"/>
                  </a:cubicBezTo>
                  <a:close/>
                  <a:moveTo>
                    <a:pt x="4850606" y="281464"/>
                  </a:moveTo>
                  <a:cubicBezTo>
                    <a:pt x="4852512" y="290989"/>
                    <a:pt x="4854416" y="303371"/>
                    <a:pt x="4857274" y="316706"/>
                  </a:cubicBezTo>
                  <a:cubicBezTo>
                    <a:pt x="4856322" y="321469"/>
                    <a:pt x="4855369" y="325279"/>
                    <a:pt x="4854416" y="330041"/>
                  </a:cubicBezTo>
                  <a:cubicBezTo>
                    <a:pt x="4853464" y="329089"/>
                    <a:pt x="4852512" y="327184"/>
                    <a:pt x="4852512" y="326231"/>
                  </a:cubicBezTo>
                  <a:cubicBezTo>
                    <a:pt x="4852512" y="325279"/>
                    <a:pt x="4852512" y="323374"/>
                    <a:pt x="4852512" y="322421"/>
                  </a:cubicBezTo>
                  <a:cubicBezTo>
                    <a:pt x="4851559" y="311944"/>
                    <a:pt x="4851559" y="303371"/>
                    <a:pt x="4850606" y="295751"/>
                  </a:cubicBezTo>
                  <a:cubicBezTo>
                    <a:pt x="4850606" y="290989"/>
                    <a:pt x="4849654" y="287179"/>
                    <a:pt x="4849654" y="284321"/>
                  </a:cubicBezTo>
                  <a:cubicBezTo>
                    <a:pt x="4849654" y="283369"/>
                    <a:pt x="4849654" y="282416"/>
                    <a:pt x="4850606" y="281464"/>
                  </a:cubicBezTo>
                  <a:close/>
                  <a:moveTo>
                    <a:pt x="4838224" y="290036"/>
                  </a:moveTo>
                  <a:cubicBezTo>
                    <a:pt x="4841081" y="283369"/>
                    <a:pt x="4843939" y="277654"/>
                    <a:pt x="4845844" y="272891"/>
                  </a:cubicBezTo>
                  <a:cubicBezTo>
                    <a:pt x="4846797" y="270034"/>
                    <a:pt x="4847749" y="267176"/>
                    <a:pt x="4848701" y="265271"/>
                  </a:cubicBezTo>
                  <a:cubicBezTo>
                    <a:pt x="4848701" y="268129"/>
                    <a:pt x="4849654" y="271939"/>
                    <a:pt x="4849654" y="275749"/>
                  </a:cubicBezTo>
                  <a:cubicBezTo>
                    <a:pt x="4848701" y="276701"/>
                    <a:pt x="4848701" y="277654"/>
                    <a:pt x="4847749" y="277654"/>
                  </a:cubicBezTo>
                  <a:cubicBezTo>
                    <a:pt x="4847749" y="274796"/>
                    <a:pt x="4847749" y="273844"/>
                    <a:pt x="4847749" y="273844"/>
                  </a:cubicBezTo>
                  <a:cubicBezTo>
                    <a:pt x="4847749" y="273844"/>
                    <a:pt x="4847749" y="275749"/>
                    <a:pt x="4847749" y="278606"/>
                  </a:cubicBezTo>
                  <a:cubicBezTo>
                    <a:pt x="4845844" y="281464"/>
                    <a:pt x="4842987" y="284321"/>
                    <a:pt x="4841081" y="288131"/>
                  </a:cubicBezTo>
                  <a:cubicBezTo>
                    <a:pt x="4840129" y="290036"/>
                    <a:pt x="4838224" y="291941"/>
                    <a:pt x="4836319" y="294799"/>
                  </a:cubicBezTo>
                  <a:cubicBezTo>
                    <a:pt x="4836319" y="292894"/>
                    <a:pt x="4837272" y="291941"/>
                    <a:pt x="4838224" y="290036"/>
                  </a:cubicBezTo>
                  <a:close/>
                  <a:moveTo>
                    <a:pt x="4835366" y="309086"/>
                  </a:moveTo>
                  <a:cubicBezTo>
                    <a:pt x="4835366" y="309086"/>
                    <a:pt x="4835366" y="308134"/>
                    <a:pt x="4836319" y="308134"/>
                  </a:cubicBezTo>
                  <a:cubicBezTo>
                    <a:pt x="4837272" y="309086"/>
                    <a:pt x="4837272" y="310039"/>
                    <a:pt x="4838224" y="311944"/>
                  </a:cubicBezTo>
                  <a:cubicBezTo>
                    <a:pt x="4838224" y="312896"/>
                    <a:pt x="4839176" y="312896"/>
                    <a:pt x="4839176" y="313849"/>
                  </a:cubicBezTo>
                  <a:cubicBezTo>
                    <a:pt x="4838224" y="314801"/>
                    <a:pt x="4837272" y="315754"/>
                    <a:pt x="4835366" y="317659"/>
                  </a:cubicBezTo>
                  <a:cubicBezTo>
                    <a:pt x="4835366" y="317659"/>
                    <a:pt x="4835366" y="317659"/>
                    <a:pt x="4835366" y="317659"/>
                  </a:cubicBezTo>
                  <a:cubicBezTo>
                    <a:pt x="4835366" y="317659"/>
                    <a:pt x="4834414" y="316706"/>
                    <a:pt x="4834414" y="316706"/>
                  </a:cubicBezTo>
                  <a:cubicBezTo>
                    <a:pt x="4833462" y="315754"/>
                    <a:pt x="4833462" y="315754"/>
                    <a:pt x="4832509" y="314801"/>
                  </a:cubicBezTo>
                  <a:cubicBezTo>
                    <a:pt x="4833462" y="312896"/>
                    <a:pt x="4834414" y="310991"/>
                    <a:pt x="4835366" y="309086"/>
                  </a:cubicBezTo>
                  <a:close/>
                  <a:moveTo>
                    <a:pt x="4830604" y="319564"/>
                  </a:moveTo>
                  <a:cubicBezTo>
                    <a:pt x="4831556" y="317659"/>
                    <a:pt x="4831556" y="316706"/>
                    <a:pt x="4832509" y="314801"/>
                  </a:cubicBezTo>
                  <a:cubicBezTo>
                    <a:pt x="4832509" y="315754"/>
                    <a:pt x="4833462" y="315754"/>
                    <a:pt x="4833462" y="316706"/>
                  </a:cubicBezTo>
                  <a:cubicBezTo>
                    <a:pt x="4833462" y="317659"/>
                    <a:pt x="4834414" y="317659"/>
                    <a:pt x="4834414" y="318611"/>
                  </a:cubicBezTo>
                  <a:cubicBezTo>
                    <a:pt x="4832509" y="320516"/>
                    <a:pt x="4830604" y="322421"/>
                    <a:pt x="4828699" y="324326"/>
                  </a:cubicBezTo>
                  <a:cubicBezTo>
                    <a:pt x="4829651" y="322421"/>
                    <a:pt x="4829651" y="320516"/>
                    <a:pt x="4830604" y="319564"/>
                  </a:cubicBezTo>
                  <a:close/>
                  <a:moveTo>
                    <a:pt x="4817269" y="364331"/>
                  </a:moveTo>
                  <a:cubicBezTo>
                    <a:pt x="4817269" y="361474"/>
                    <a:pt x="4817269" y="359569"/>
                    <a:pt x="4817269" y="356711"/>
                  </a:cubicBezTo>
                  <a:cubicBezTo>
                    <a:pt x="4820126" y="349091"/>
                    <a:pt x="4822984" y="342424"/>
                    <a:pt x="4824889" y="335756"/>
                  </a:cubicBezTo>
                  <a:cubicBezTo>
                    <a:pt x="4824889" y="335756"/>
                    <a:pt x="4825841" y="334804"/>
                    <a:pt x="4825841" y="334804"/>
                  </a:cubicBezTo>
                  <a:cubicBezTo>
                    <a:pt x="4829651" y="328136"/>
                    <a:pt x="4833462" y="323374"/>
                    <a:pt x="4835366" y="319564"/>
                  </a:cubicBezTo>
                  <a:cubicBezTo>
                    <a:pt x="4835366" y="320516"/>
                    <a:pt x="4836319" y="321469"/>
                    <a:pt x="4837272" y="322421"/>
                  </a:cubicBezTo>
                  <a:cubicBezTo>
                    <a:pt x="4838224" y="324326"/>
                    <a:pt x="4839176" y="327184"/>
                    <a:pt x="4841081" y="330994"/>
                  </a:cubicBezTo>
                  <a:cubicBezTo>
                    <a:pt x="4842034" y="332899"/>
                    <a:pt x="4842034" y="333851"/>
                    <a:pt x="4842987" y="335756"/>
                  </a:cubicBezTo>
                  <a:cubicBezTo>
                    <a:pt x="4840129" y="338614"/>
                    <a:pt x="4838224" y="341471"/>
                    <a:pt x="4835366" y="345281"/>
                  </a:cubicBezTo>
                  <a:cubicBezTo>
                    <a:pt x="4831556" y="350996"/>
                    <a:pt x="4826794" y="357664"/>
                    <a:pt x="4822984" y="366236"/>
                  </a:cubicBezTo>
                  <a:cubicBezTo>
                    <a:pt x="4822031" y="367189"/>
                    <a:pt x="4821079" y="368141"/>
                    <a:pt x="4820126" y="369094"/>
                  </a:cubicBezTo>
                  <a:cubicBezTo>
                    <a:pt x="4819174" y="370046"/>
                    <a:pt x="4818222" y="370999"/>
                    <a:pt x="4817269" y="371951"/>
                  </a:cubicBezTo>
                  <a:cubicBezTo>
                    <a:pt x="4816316" y="369094"/>
                    <a:pt x="4817269" y="366236"/>
                    <a:pt x="4817269" y="364331"/>
                  </a:cubicBezTo>
                  <a:close/>
                  <a:moveTo>
                    <a:pt x="4816316" y="376714"/>
                  </a:moveTo>
                  <a:cubicBezTo>
                    <a:pt x="4817269" y="373856"/>
                    <a:pt x="4819174" y="370999"/>
                    <a:pt x="4820126" y="370046"/>
                  </a:cubicBezTo>
                  <a:cubicBezTo>
                    <a:pt x="4820126" y="370046"/>
                    <a:pt x="4820126" y="370046"/>
                    <a:pt x="4820126" y="370046"/>
                  </a:cubicBezTo>
                  <a:cubicBezTo>
                    <a:pt x="4820126" y="370046"/>
                    <a:pt x="4820126" y="370046"/>
                    <a:pt x="4820126" y="370046"/>
                  </a:cubicBezTo>
                  <a:cubicBezTo>
                    <a:pt x="4819174" y="372904"/>
                    <a:pt x="4817269" y="375761"/>
                    <a:pt x="4816316" y="378619"/>
                  </a:cubicBezTo>
                  <a:cubicBezTo>
                    <a:pt x="4816316" y="376714"/>
                    <a:pt x="4816316" y="376714"/>
                    <a:pt x="4816316" y="376714"/>
                  </a:cubicBezTo>
                  <a:close/>
                  <a:moveTo>
                    <a:pt x="4762024" y="305276"/>
                  </a:moveTo>
                  <a:cubicBezTo>
                    <a:pt x="4762024" y="306229"/>
                    <a:pt x="4762976" y="312896"/>
                    <a:pt x="4763929" y="322421"/>
                  </a:cubicBezTo>
                  <a:cubicBezTo>
                    <a:pt x="4762024" y="317659"/>
                    <a:pt x="4761072" y="313849"/>
                    <a:pt x="4760119" y="309086"/>
                  </a:cubicBezTo>
                  <a:cubicBezTo>
                    <a:pt x="4761072" y="306229"/>
                    <a:pt x="4761072" y="303371"/>
                    <a:pt x="4762024" y="300514"/>
                  </a:cubicBezTo>
                  <a:cubicBezTo>
                    <a:pt x="4762024" y="302419"/>
                    <a:pt x="4762024" y="303371"/>
                    <a:pt x="4762024" y="305276"/>
                  </a:cubicBezTo>
                  <a:close/>
                  <a:moveTo>
                    <a:pt x="4755356" y="279559"/>
                  </a:moveTo>
                  <a:cubicBezTo>
                    <a:pt x="4757262" y="284321"/>
                    <a:pt x="4758214" y="289084"/>
                    <a:pt x="4760119" y="294799"/>
                  </a:cubicBezTo>
                  <a:cubicBezTo>
                    <a:pt x="4760119" y="295751"/>
                    <a:pt x="4760119" y="296704"/>
                    <a:pt x="4761072" y="297656"/>
                  </a:cubicBezTo>
                  <a:cubicBezTo>
                    <a:pt x="4760119" y="299561"/>
                    <a:pt x="4759166" y="301466"/>
                    <a:pt x="4758214" y="304324"/>
                  </a:cubicBezTo>
                  <a:cubicBezTo>
                    <a:pt x="4757262" y="300514"/>
                    <a:pt x="4755356" y="296704"/>
                    <a:pt x="4754404" y="292894"/>
                  </a:cubicBezTo>
                  <a:cubicBezTo>
                    <a:pt x="4754404" y="288131"/>
                    <a:pt x="4754404" y="284321"/>
                    <a:pt x="4755356" y="279559"/>
                  </a:cubicBezTo>
                  <a:close/>
                  <a:moveTo>
                    <a:pt x="4759166" y="342424"/>
                  </a:moveTo>
                  <a:cubicBezTo>
                    <a:pt x="4757262" y="338614"/>
                    <a:pt x="4756309" y="335756"/>
                    <a:pt x="4755356" y="331946"/>
                  </a:cubicBezTo>
                  <a:cubicBezTo>
                    <a:pt x="4755356" y="330041"/>
                    <a:pt x="4756309" y="328136"/>
                    <a:pt x="4756309" y="326231"/>
                  </a:cubicBezTo>
                  <a:cubicBezTo>
                    <a:pt x="4757262" y="330994"/>
                    <a:pt x="4758214" y="336709"/>
                    <a:pt x="4759166" y="342424"/>
                  </a:cubicBezTo>
                  <a:close/>
                  <a:moveTo>
                    <a:pt x="4753451" y="312896"/>
                  </a:moveTo>
                  <a:cubicBezTo>
                    <a:pt x="4753451" y="313849"/>
                    <a:pt x="4753451" y="314801"/>
                    <a:pt x="4754404" y="315754"/>
                  </a:cubicBezTo>
                  <a:cubicBezTo>
                    <a:pt x="4754404" y="316706"/>
                    <a:pt x="4754404" y="316706"/>
                    <a:pt x="4753451" y="317659"/>
                  </a:cubicBezTo>
                  <a:cubicBezTo>
                    <a:pt x="4753451" y="315754"/>
                    <a:pt x="4753451" y="313849"/>
                    <a:pt x="4753451" y="312896"/>
                  </a:cubicBezTo>
                  <a:close/>
                  <a:moveTo>
                    <a:pt x="4755356" y="373856"/>
                  </a:moveTo>
                  <a:cubicBezTo>
                    <a:pt x="4755356" y="374809"/>
                    <a:pt x="4755356" y="374809"/>
                    <a:pt x="4756309" y="375761"/>
                  </a:cubicBezTo>
                  <a:cubicBezTo>
                    <a:pt x="4755356" y="376714"/>
                    <a:pt x="4755356" y="378619"/>
                    <a:pt x="4754404" y="379571"/>
                  </a:cubicBezTo>
                  <a:cubicBezTo>
                    <a:pt x="4753451" y="379571"/>
                    <a:pt x="4753451" y="379571"/>
                    <a:pt x="4752499" y="379571"/>
                  </a:cubicBezTo>
                  <a:cubicBezTo>
                    <a:pt x="4753451" y="377666"/>
                    <a:pt x="4754404" y="375761"/>
                    <a:pt x="4755356" y="373856"/>
                  </a:cubicBezTo>
                  <a:close/>
                  <a:moveTo>
                    <a:pt x="4748689" y="291941"/>
                  </a:moveTo>
                  <a:cubicBezTo>
                    <a:pt x="4747737" y="295751"/>
                    <a:pt x="4747737" y="299561"/>
                    <a:pt x="4746784" y="303371"/>
                  </a:cubicBezTo>
                  <a:cubicBezTo>
                    <a:pt x="4746784" y="303371"/>
                    <a:pt x="4746784" y="303371"/>
                    <a:pt x="4746784" y="303371"/>
                  </a:cubicBezTo>
                  <a:cubicBezTo>
                    <a:pt x="4746784" y="302419"/>
                    <a:pt x="4746784" y="300514"/>
                    <a:pt x="4746784" y="299561"/>
                  </a:cubicBezTo>
                  <a:cubicBezTo>
                    <a:pt x="4746784" y="296704"/>
                    <a:pt x="4747737" y="293846"/>
                    <a:pt x="4748689" y="291941"/>
                  </a:cubicBezTo>
                  <a:close/>
                  <a:moveTo>
                    <a:pt x="4738212" y="327184"/>
                  </a:moveTo>
                  <a:cubicBezTo>
                    <a:pt x="4738212" y="331946"/>
                    <a:pt x="4737259" y="335756"/>
                    <a:pt x="4737259" y="341471"/>
                  </a:cubicBezTo>
                  <a:cubicBezTo>
                    <a:pt x="4737259" y="339566"/>
                    <a:pt x="4736306" y="338614"/>
                    <a:pt x="4736306" y="336709"/>
                  </a:cubicBezTo>
                  <a:cubicBezTo>
                    <a:pt x="4737259" y="332899"/>
                    <a:pt x="4737259" y="330041"/>
                    <a:pt x="4738212" y="327184"/>
                  </a:cubicBezTo>
                  <a:close/>
                  <a:moveTo>
                    <a:pt x="4720114" y="261461"/>
                  </a:moveTo>
                  <a:cubicBezTo>
                    <a:pt x="4720114" y="261461"/>
                    <a:pt x="4720114" y="261461"/>
                    <a:pt x="4720114" y="261461"/>
                  </a:cubicBezTo>
                  <a:cubicBezTo>
                    <a:pt x="4722972" y="270034"/>
                    <a:pt x="4725829" y="279559"/>
                    <a:pt x="4729639" y="290989"/>
                  </a:cubicBezTo>
                  <a:cubicBezTo>
                    <a:pt x="4730591" y="292894"/>
                    <a:pt x="4730591" y="294799"/>
                    <a:pt x="4731544" y="296704"/>
                  </a:cubicBezTo>
                  <a:cubicBezTo>
                    <a:pt x="4730591" y="300514"/>
                    <a:pt x="4728687" y="304324"/>
                    <a:pt x="4727734" y="308134"/>
                  </a:cubicBezTo>
                  <a:cubicBezTo>
                    <a:pt x="4726781" y="304324"/>
                    <a:pt x="4724876" y="299561"/>
                    <a:pt x="4723924" y="295751"/>
                  </a:cubicBezTo>
                  <a:cubicBezTo>
                    <a:pt x="4722019" y="289084"/>
                    <a:pt x="4720114" y="282416"/>
                    <a:pt x="4718209" y="276701"/>
                  </a:cubicBezTo>
                  <a:cubicBezTo>
                    <a:pt x="4718209" y="270034"/>
                    <a:pt x="4719162" y="265271"/>
                    <a:pt x="4720114" y="261461"/>
                  </a:cubicBezTo>
                  <a:close/>
                  <a:moveTo>
                    <a:pt x="4709637" y="324326"/>
                  </a:moveTo>
                  <a:cubicBezTo>
                    <a:pt x="4711541" y="315754"/>
                    <a:pt x="4712494" y="308134"/>
                    <a:pt x="4713447" y="301466"/>
                  </a:cubicBezTo>
                  <a:cubicBezTo>
                    <a:pt x="4715351" y="310991"/>
                    <a:pt x="4717256" y="321469"/>
                    <a:pt x="4719162" y="331946"/>
                  </a:cubicBezTo>
                  <a:cubicBezTo>
                    <a:pt x="4718209" y="335756"/>
                    <a:pt x="4716304" y="339566"/>
                    <a:pt x="4715351" y="343376"/>
                  </a:cubicBezTo>
                  <a:cubicBezTo>
                    <a:pt x="4715351" y="343376"/>
                    <a:pt x="4715351" y="343376"/>
                    <a:pt x="4715351" y="343376"/>
                  </a:cubicBezTo>
                  <a:cubicBezTo>
                    <a:pt x="4712494" y="339566"/>
                    <a:pt x="4709637" y="335756"/>
                    <a:pt x="4707731" y="332899"/>
                  </a:cubicBezTo>
                  <a:cubicBezTo>
                    <a:pt x="4708684" y="330041"/>
                    <a:pt x="4708684" y="327184"/>
                    <a:pt x="4709637" y="324326"/>
                  </a:cubicBezTo>
                  <a:close/>
                  <a:moveTo>
                    <a:pt x="4703922" y="355759"/>
                  </a:moveTo>
                  <a:cubicBezTo>
                    <a:pt x="4704874" y="357664"/>
                    <a:pt x="4704874" y="358616"/>
                    <a:pt x="4705826" y="360521"/>
                  </a:cubicBezTo>
                  <a:cubicBezTo>
                    <a:pt x="4706779" y="363379"/>
                    <a:pt x="4707731" y="366236"/>
                    <a:pt x="4708684" y="369094"/>
                  </a:cubicBezTo>
                  <a:cubicBezTo>
                    <a:pt x="4707731" y="371951"/>
                    <a:pt x="4705826" y="374809"/>
                    <a:pt x="4704874" y="377666"/>
                  </a:cubicBezTo>
                  <a:cubicBezTo>
                    <a:pt x="4704874" y="377666"/>
                    <a:pt x="4704874" y="376714"/>
                    <a:pt x="4704874" y="376714"/>
                  </a:cubicBezTo>
                  <a:cubicBezTo>
                    <a:pt x="4703922" y="374809"/>
                    <a:pt x="4702969" y="373856"/>
                    <a:pt x="4702016" y="371951"/>
                  </a:cubicBezTo>
                  <a:cubicBezTo>
                    <a:pt x="4702016" y="366236"/>
                    <a:pt x="4702969" y="361474"/>
                    <a:pt x="4703922" y="355759"/>
                  </a:cubicBezTo>
                  <a:close/>
                  <a:moveTo>
                    <a:pt x="4682966" y="380524"/>
                  </a:moveTo>
                  <a:cubicBezTo>
                    <a:pt x="4682014" y="384334"/>
                    <a:pt x="4681062" y="388144"/>
                    <a:pt x="4680109" y="392906"/>
                  </a:cubicBezTo>
                  <a:cubicBezTo>
                    <a:pt x="4679156" y="392906"/>
                    <a:pt x="4677251" y="393859"/>
                    <a:pt x="4676299" y="393859"/>
                  </a:cubicBezTo>
                  <a:cubicBezTo>
                    <a:pt x="4676299" y="391954"/>
                    <a:pt x="4675347" y="390049"/>
                    <a:pt x="4675347" y="388144"/>
                  </a:cubicBezTo>
                  <a:cubicBezTo>
                    <a:pt x="4678204" y="384334"/>
                    <a:pt x="4681062" y="381476"/>
                    <a:pt x="4682966" y="378619"/>
                  </a:cubicBezTo>
                  <a:cubicBezTo>
                    <a:pt x="4682014" y="379571"/>
                    <a:pt x="4682966" y="380524"/>
                    <a:pt x="4682966" y="380524"/>
                  </a:cubicBezTo>
                  <a:close/>
                  <a:moveTo>
                    <a:pt x="4672489" y="361474"/>
                  </a:moveTo>
                  <a:cubicBezTo>
                    <a:pt x="4674394" y="365284"/>
                    <a:pt x="4677251" y="370046"/>
                    <a:pt x="4679156" y="373856"/>
                  </a:cubicBezTo>
                  <a:cubicBezTo>
                    <a:pt x="4677251" y="375761"/>
                    <a:pt x="4674394" y="377666"/>
                    <a:pt x="4672489" y="379571"/>
                  </a:cubicBezTo>
                  <a:cubicBezTo>
                    <a:pt x="4672489" y="378619"/>
                    <a:pt x="4672489" y="377666"/>
                    <a:pt x="4671537" y="376714"/>
                  </a:cubicBezTo>
                  <a:cubicBezTo>
                    <a:pt x="4671537" y="374809"/>
                    <a:pt x="4670584" y="372904"/>
                    <a:pt x="4670584" y="370999"/>
                  </a:cubicBezTo>
                  <a:cubicBezTo>
                    <a:pt x="4671537" y="368141"/>
                    <a:pt x="4671537" y="364331"/>
                    <a:pt x="4672489" y="361474"/>
                  </a:cubicBezTo>
                  <a:close/>
                  <a:moveTo>
                    <a:pt x="4661059" y="265271"/>
                  </a:moveTo>
                  <a:cubicBezTo>
                    <a:pt x="4662012" y="260509"/>
                    <a:pt x="4662964" y="256699"/>
                    <a:pt x="4663916" y="252889"/>
                  </a:cubicBezTo>
                  <a:cubicBezTo>
                    <a:pt x="4665822" y="246221"/>
                    <a:pt x="4667726" y="241459"/>
                    <a:pt x="4669631" y="237649"/>
                  </a:cubicBezTo>
                  <a:cubicBezTo>
                    <a:pt x="4669631" y="239554"/>
                    <a:pt x="4669631" y="240506"/>
                    <a:pt x="4669631" y="242411"/>
                  </a:cubicBezTo>
                  <a:cubicBezTo>
                    <a:pt x="4667726" y="250031"/>
                    <a:pt x="4664869" y="259556"/>
                    <a:pt x="4661059" y="269081"/>
                  </a:cubicBezTo>
                  <a:cubicBezTo>
                    <a:pt x="4661059" y="268129"/>
                    <a:pt x="4661059" y="266224"/>
                    <a:pt x="4661059" y="265271"/>
                  </a:cubicBezTo>
                  <a:close/>
                  <a:moveTo>
                    <a:pt x="4645819" y="278606"/>
                  </a:moveTo>
                  <a:cubicBezTo>
                    <a:pt x="4646772" y="271939"/>
                    <a:pt x="4647724" y="266224"/>
                    <a:pt x="4648676" y="260509"/>
                  </a:cubicBezTo>
                  <a:cubicBezTo>
                    <a:pt x="4649629" y="257651"/>
                    <a:pt x="4649629" y="253841"/>
                    <a:pt x="4650581" y="250984"/>
                  </a:cubicBezTo>
                  <a:cubicBezTo>
                    <a:pt x="4650581" y="250984"/>
                    <a:pt x="4650581" y="251936"/>
                    <a:pt x="4650581" y="251936"/>
                  </a:cubicBezTo>
                  <a:cubicBezTo>
                    <a:pt x="4651534" y="254794"/>
                    <a:pt x="4652487" y="259556"/>
                    <a:pt x="4652487" y="265271"/>
                  </a:cubicBezTo>
                  <a:cubicBezTo>
                    <a:pt x="4652487" y="267176"/>
                    <a:pt x="4652487" y="269081"/>
                    <a:pt x="4652487" y="270034"/>
                  </a:cubicBezTo>
                  <a:cubicBezTo>
                    <a:pt x="4651534" y="272891"/>
                    <a:pt x="4651534" y="275749"/>
                    <a:pt x="4650581" y="278606"/>
                  </a:cubicBezTo>
                  <a:cubicBezTo>
                    <a:pt x="4649629" y="282416"/>
                    <a:pt x="4648676" y="287179"/>
                    <a:pt x="4648676" y="290989"/>
                  </a:cubicBezTo>
                  <a:cubicBezTo>
                    <a:pt x="4648676" y="287179"/>
                    <a:pt x="4646772" y="283369"/>
                    <a:pt x="4645819" y="278606"/>
                  </a:cubicBezTo>
                  <a:cubicBezTo>
                    <a:pt x="4645819" y="278606"/>
                    <a:pt x="4645819" y="278606"/>
                    <a:pt x="4645819" y="278606"/>
                  </a:cubicBezTo>
                  <a:close/>
                  <a:moveTo>
                    <a:pt x="4642962" y="293846"/>
                  </a:moveTo>
                  <a:cubicBezTo>
                    <a:pt x="4643914" y="296704"/>
                    <a:pt x="4643914" y="299561"/>
                    <a:pt x="4644866" y="302419"/>
                  </a:cubicBezTo>
                  <a:cubicBezTo>
                    <a:pt x="4644866" y="304324"/>
                    <a:pt x="4645819" y="307181"/>
                    <a:pt x="4645819" y="309086"/>
                  </a:cubicBezTo>
                  <a:cubicBezTo>
                    <a:pt x="4645819" y="309086"/>
                    <a:pt x="4645819" y="309086"/>
                    <a:pt x="4645819" y="309086"/>
                  </a:cubicBezTo>
                  <a:cubicBezTo>
                    <a:pt x="4644866" y="308134"/>
                    <a:pt x="4643914" y="307181"/>
                    <a:pt x="4642962" y="306229"/>
                  </a:cubicBezTo>
                  <a:cubicBezTo>
                    <a:pt x="4642962" y="304324"/>
                    <a:pt x="4642009" y="302419"/>
                    <a:pt x="4642009" y="299561"/>
                  </a:cubicBezTo>
                  <a:cubicBezTo>
                    <a:pt x="4642962" y="297656"/>
                    <a:pt x="4642962" y="295751"/>
                    <a:pt x="4642962" y="293846"/>
                  </a:cubicBezTo>
                  <a:close/>
                  <a:moveTo>
                    <a:pt x="4595337" y="280511"/>
                  </a:moveTo>
                  <a:cubicBezTo>
                    <a:pt x="4596289" y="284321"/>
                    <a:pt x="4597241" y="289084"/>
                    <a:pt x="4598194" y="293846"/>
                  </a:cubicBezTo>
                  <a:cubicBezTo>
                    <a:pt x="4598194" y="295751"/>
                    <a:pt x="4598194" y="298609"/>
                    <a:pt x="4598194" y="300514"/>
                  </a:cubicBezTo>
                  <a:cubicBezTo>
                    <a:pt x="4598194" y="304324"/>
                    <a:pt x="4598194" y="308134"/>
                    <a:pt x="4598194" y="311944"/>
                  </a:cubicBezTo>
                  <a:cubicBezTo>
                    <a:pt x="4597241" y="313849"/>
                    <a:pt x="4597241" y="316706"/>
                    <a:pt x="4596289" y="319564"/>
                  </a:cubicBezTo>
                  <a:cubicBezTo>
                    <a:pt x="4595337" y="316706"/>
                    <a:pt x="4594384" y="314801"/>
                    <a:pt x="4593431" y="311944"/>
                  </a:cubicBezTo>
                  <a:cubicBezTo>
                    <a:pt x="4593431" y="310039"/>
                    <a:pt x="4593431" y="307181"/>
                    <a:pt x="4593431" y="305276"/>
                  </a:cubicBezTo>
                  <a:cubicBezTo>
                    <a:pt x="4593431" y="298609"/>
                    <a:pt x="4593431" y="292894"/>
                    <a:pt x="4593431" y="286226"/>
                  </a:cubicBezTo>
                  <a:cubicBezTo>
                    <a:pt x="4593431" y="284321"/>
                    <a:pt x="4594384" y="282416"/>
                    <a:pt x="4595337" y="280511"/>
                  </a:cubicBezTo>
                  <a:cubicBezTo>
                    <a:pt x="4595337" y="280511"/>
                    <a:pt x="4595337" y="280511"/>
                    <a:pt x="4595337" y="280511"/>
                  </a:cubicBezTo>
                  <a:close/>
                  <a:moveTo>
                    <a:pt x="4595337" y="277654"/>
                  </a:moveTo>
                  <a:cubicBezTo>
                    <a:pt x="4594384" y="278606"/>
                    <a:pt x="4594384" y="278606"/>
                    <a:pt x="4593431" y="279559"/>
                  </a:cubicBezTo>
                  <a:cubicBezTo>
                    <a:pt x="4593431" y="279559"/>
                    <a:pt x="4593431" y="280511"/>
                    <a:pt x="4592479" y="280511"/>
                  </a:cubicBezTo>
                  <a:cubicBezTo>
                    <a:pt x="4592479" y="274796"/>
                    <a:pt x="4592479" y="269081"/>
                    <a:pt x="4592479" y="263366"/>
                  </a:cubicBezTo>
                  <a:cubicBezTo>
                    <a:pt x="4593431" y="267176"/>
                    <a:pt x="4594384" y="271939"/>
                    <a:pt x="4595337" y="277654"/>
                  </a:cubicBezTo>
                  <a:close/>
                  <a:moveTo>
                    <a:pt x="4576287" y="253841"/>
                  </a:moveTo>
                  <a:cubicBezTo>
                    <a:pt x="4576287" y="260509"/>
                    <a:pt x="4576287" y="267176"/>
                    <a:pt x="4575334" y="273844"/>
                  </a:cubicBezTo>
                  <a:cubicBezTo>
                    <a:pt x="4573429" y="270034"/>
                    <a:pt x="4571524" y="266224"/>
                    <a:pt x="4569619" y="262414"/>
                  </a:cubicBezTo>
                  <a:cubicBezTo>
                    <a:pt x="4572476" y="259556"/>
                    <a:pt x="4574381" y="256699"/>
                    <a:pt x="4576287" y="253841"/>
                  </a:cubicBezTo>
                  <a:close/>
                  <a:moveTo>
                    <a:pt x="4566762" y="268129"/>
                  </a:moveTo>
                  <a:cubicBezTo>
                    <a:pt x="4566762" y="268129"/>
                    <a:pt x="4566762" y="269081"/>
                    <a:pt x="4566762" y="268129"/>
                  </a:cubicBezTo>
                  <a:cubicBezTo>
                    <a:pt x="4568666" y="273844"/>
                    <a:pt x="4570572" y="278606"/>
                    <a:pt x="4571524" y="284321"/>
                  </a:cubicBezTo>
                  <a:cubicBezTo>
                    <a:pt x="4572476" y="288131"/>
                    <a:pt x="4573429" y="292894"/>
                    <a:pt x="4574381" y="296704"/>
                  </a:cubicBezTo>
                  <a:cubicBezTo>
                    <a:pt x="4574381" y="298609"/>
                    <a:pt x="4574381" y="299561"/>
                    <a:pt x="4574381" y="301466"/>
                  </a:cubicBezTo>
                  <a:cubicBezTo>
                    <a:pt x="4570572" y="293846"/>
                    <a:pt x="4568666" y="289084"/>
                    <a:pt x="4568666" y="289084"/>
                  </a:cubicBezTo>
                  <a:cubicBezTo>
                    <a:pt x="4568666" y="289084"/>
                    <a:pt x="4570572" y="296704"/>
                    <a:pt x="4574381" y="309086"/>
                  </a:cubicBezTo>
                  <a:cubicBezTo>
                    <a:pt x="4573429" y="310991"/>
                    <a:pt x="4572476" y="312896"/>
                    <a:pt x="4571524" y="314801"/>
                  </a:cubicBezTo>
                  <a:cubicBezTo>
                    <a:pt x="4571524" y="314801"/>
                    <a:pt x="4571524" y="314801"/>
                    <a:pt x="4571524" y="315754"/>
                  </a:cubicBezTo>
                  <a:cubicBezTo>
                    <a:pt x="4568666" y="293846"/>
                    <a:pt x="4566762" y="278606"/>
                    <a:pt x="4564856" y="271939"/>
                  </a:cubicBezTo>
                  <a:cubicBezTo>
                    <a:pt x="4564856" y="270986"/>
                    <a:pt x="4565809" y="270034"/>
                    <a:pt x="4566762" y="268129"/>
                  </a:cubicBezTo>
                  <a:close/>
                  <a:moveTo>
                    <a:pt x="4560094" y="254794"/>
                  </a:moveTo>
                  <a:cubicBezTo>
                    <a:pt x="4561047" y="256699"/>
                    <a:pt x="4561999" y="258604"/>
                    <a:pt x="4562951" y="260509"/>
                  </a:cubicBezTo>
                  <a:cubicBezTo>
                    <a:pt x="4561999" y="261461"/>
                    <a:pt x="4561047" y="262414"/>
                    <a:pt x="4561047" y="263366"/>
                  </a:cubicBezTo>
                  <a:cubicBezTo>
                    <a:pt x="4560094" y="265271"/>
                    <a:pt x="4558189" y="266224"/>
                    <a:pt x="4557237" y="268129"/>
                  </a:cubicBezTo>
                  <a:cubicBezTo>
                    <a:pt x="4558189" y="263366"/>
                    <a:pt x="4559141" y="258604"/>
                    <a:pt x="4560094" y="254794"/>
                  </a:cubicBezTo>
                  <a:close/>
                  <a:moveTo>
                    <a:pt x="4548664" y="317659"/>
                  </a:moveTo>
                  <a:cubicBezTo>
                    <a:pt x="4551522" y="307181"/>
                    <a:pt x="4554379" y="298609"/>
                    <a:pt x="4557237" y="290036"/>
                  </a:cubicBezTo>
                  <a:cubicBezTo>
                    <a:pt x="4559141" y="284321"/>
                    <a:pt x="4561047" y="279559"/>
                    <a:pt x="4562951" y="275749"/>
                  </a:cubicBezTo>
                  <a:cubicBezTo>
                    <a:pt x="4561999" y="283369"/>
                    <a:pt x="4561047" y="298609"/>
                    <a:pt x="4560094" y="318611"/>
                  </a:cubicBezTo>
                  <a:cubicBezTo>
                    <a:pt x="4557237" y="313849"/>
                    <a:pt x="4555331" y="310991"/>
                    <a:pt x="4555331" y="310991"/>
                  </a:cubicBezTo>
                  <a:cubicBezTo>
                    <a:pt x="4555331" y="310991"/>
                    <a:pt x="4557237" y="314801"/>
                    <a:pt x="4560094" y="321469"/>
                  </a:cubicBezTo>
                  <a:cubicBezTo>
                    <a:pt x="4560094" y="321469"/>
                    <a:pt x="4560094" y="321469"/>
                    <a:pt x="4560094" y="321469"/>
                  </a:cubicBezTo>
                  <a:cubicBezTo>
                    <a:pt x="4560094" y="328136"/>
                    <a:pt x="4559141" y="334804"/>
                    <a:pt x="4559141" y="342424"/>
                  </a:cubicBezTo>
                  <a:cubicBezTo>
                    <a:pt x="4558189" y="346234"/>
                    <a:pt x="4556284" y="349091"/>
                    <a:pt x="4555331" y="352901"/>
                  </a:cubicBezTo>
                  <a:cubicBezTo>
                    <a:pt x="4554379" y="355759"/>
                    <a:pt x="4553426" y="358616"/>
                    <a:pt x="4552474" y="361474"/>
                  </a:cubicBezTo>
                  <a:cubicBezTo>
                    <a:pt x="4550569" y="354806"/>
                    <a:pt x="4549616" y="349091"/>
                    <a:pt x="4547712" y="343376"/>
                  </a:cubicBezTo>
                  <a:cubicBezTo>
                    <a:pt x="4547712" y="333851"/>
                    <a:pt x="4547712" y="328136"/>
                    <a:pt x="4547712" y="328136"/>
                  </a:cubicBezTo>
                  <a:cubicBezTo>
                    <a:pt x="4547712" y="328136"/>
                    <a:pt x="4546759" y="331946"/>
                    <a:pt x="4545806" y="338614"/>
                  </a:cubicBezTo>
                  <a:cubicBezTo>
                    <a:pt x="4545806" y="338614"/>
                    <a:pt x="4545806" y="337661"/>
                    <a:pt x="4545806" y="337661"/>
                  </a:cubicBezTo>
                  <a:cubicBezTo>
                    <a:pt x="4545806" y="336709"/>
                    <a:pt x="4545806" y="336709"/>
                    <a:pt x="4544854" y="335756"/>
                  </a:cubicBezTo>
                  <a:cubicBezTo>
                    <a:pt x="4546759" y="329089"/>
                    <a:pt x="4547712" y="323374"/>
                    <a:pt x="4548664" y="317659"/>
                  </a:cubicBezTo>
                  <a:close/>
                  <a:moveTo>
                    <a:pt x="4457224" y="306229"/>
                  </a:moveTo>
                  <a:cubicBezTo>
                    <a:pt x="4457224" y="306229"/>
                    <a:pt x="4456272" y="306229"/>
                    <a:pt x="4457224" y="306229"/>
                  </a:cubicBezTo>
                  <a:cubicBezTo>
                    <a:pt x="4457224" y="305276"/>
                    <a:pt x="4457224" y="305276"/>
                    <a:pt x="4457224" y="304324"/>
                  </a:cubicBezTo>
                  <a:cubicBezTo>
                    <a:pt x="4457224" y="305276"/>
                    <a:pt x="4457224" y="306229"/>
                    <a:pt x="4457224" y="306229"/>
                  </a:cubicBezTo>
                  <a:close/>
                  <a:moveTo>
                    <a:pt x="4478179" y="359569"/>
                  </a:moveTo>
                  <a:cubicBezTo>
                    <a:pt x="4477226" y="352901"/>
                    <a:pt x="4476274" y="346234"/>
                    <a:pt x="4476274" y="339566"/>
                  </a:cubicBezTo>
                  <a:cubicBezTo>
                    <a:pt x="4476274" y="338614"/>
                    <a:pt x="4476274" y="337661"/>
                    <a:pt x="4476274" y="336709"/>
                  </a:cubicBezTo>
                  <a:cubicBezTo>
                    <a:pt x="4479131" y="340519"/>
                    <a:pt x="4481037" y="343376"/>
                    <a:pt x="4483894" y="347186"/>
                  </a:cubicBezTo>
                  <a:cubicBezTo>
                    <a:pt x="4481037" y="350996"/>
                    <a:pt x="4480084" y="355759"/>
                    <a:pt x="4478179" y="359569"/>
                  </a:cubicBezTo>
                  <a:close/>
                  <a:moveTo>
                    <a:pt x="4497229" y="371951"/>
                  </a:moveTo>
                  <a:cubicBezTo>
                    <a:pt x="4497229" y="370046"/>
                    <a:pt x="4497229" y="369094"/>
                    <a:pt x="4497229" y="367189"/>
                  </a:cubicBezTo>
                  <a:cubicBezTo>
                    <a:pt x="4497229" y="368141"/>
                    <a:pt x="4497229" y="369094"/>
                    <a:pt x="4498181" y="370046"/>
                  </a:cubicBezTo>
                  <a:cubicBezTo>
                    <a:pt x="4497229" y="370999"/>
                    <a:pt x="4497229" y="370999"/>
                    <a:pt x="4497229" y="371951"/>
                  </a:cubicBezTo>
                  <a:close/>
                  <a:moveTo>
                    <a:pt x="4504849" y="322421"/>
                  </a:moveTo>
                  <a:cubicBezTo>
                    <a:pt x="4504849" y="325279"/>
                    <a:pt x="4504849" y="328136"/>
                    <a:pt x="4504849" y="330994"/>
                  </a:cubicBezTo>
                  <a:cubicBezTo>
                    <a:pt x="4503897" y="333851"/>
                    <a:pt x="4502944" y="337661"/>
                    <a:pt x="4501991" y="341471"/>
                  </a:cubicBezTo>
                  <a:cubicBezTo>
                    <a:pt x="4501991" y="343376"/>
                    <a:pt x="4501039" y="346234"/>
                    <a:pt x="4501039" y="348139"/>
                  </a:cubicBezTo>
                  <a:cubicBezTo>
                    <a:pt x="4500087" y="347186"/>
                    <a:pt x="4499134" y="346234"/>
                    <a:pt x="4499134" y="345281"/>
                  </a:cubicBezTo>
                  <a:cubicBezTo>
                    <a:pt x="4499134" y="344329"/>
                    <a:pt x="4498181" y="343376"/>
                    <a:pt x="4498181" y="342424"/>
                  </a:cubicBezTo>
                  <a:cubicBezTo>
                    <a:pt x="4499134" y="336709"/>
                    <a:pt x="4501039" y="330994"/>
                    <a:pt x="4501991" y="326231"/>
                  </a:cubicBezTo>
                  <a:cubicBezTo>
                    <a:pt x="4502944" y="320516"/>
                    <a:pt x="4504849" y="315754"/>
                    <a:pt x="4506754" y="310991"/>
                  </a:cubicBezTo>
                  <a:cubicBezTo>
                    <a:pt x="4505801" y="314801"/>
                    <a:pt x="4505801" y="318611"/>
                    <a:pt x="4504849" y="322421"/>
                  </a:cubicBezTo>
                  <a:close/>
                  <a:moveTo>
                    <a:pt x="4462939" y="250984"/>
                  </a:moveTo>
                  <a:cubicBezTo>
                    <a:pt x="4465797" y="242411"/>
                    <a:pt x="4468654" y="233839"/>
                    <a:pt x="4470559" y="226219"/>
                  </a:cubicBezTo>
                  <a:cubicBezTo>
                    <a:pt x="4470559" y="227171"/>
                    <a:pt x="4472464" y="229076"/>
                    <a:pt x="4474369" y="231934"/>
                  </a:cubicBezTo>
                  <a:cubicBezTo>
                    <a:pt x="4475322" y="233839"/>
                    <a:pt x="4477226" y="235744"/>
                    <a:pt x="4479131" y="238601"/>
                  </a:cubicBezTo>
                  <a:cubicBezTo>
                    <a:pt x="4481037" y="241459"/>
                    <a:pt x="4481989" y="245269"/>
                    <a:pt x="4483894" y="248126"/>
                  </a:cubicBezTo>
                  <a:cubicBezTo>
                    <a:pt x="4485799" y="251936"/>
                    <a:pt x="4487704" y="255746"/>
                    <a:pt x="4489609" y="260509"/>
                  </a:cubicBezTo>
                  <a:cubicBezTo>
                    <a:pt x="4491514" y="265271"/>
                    <a:pt x="4493419" y="270034"/>
                    <a:pt x="4495324" y="275749"/>
                  </a:cubicBezTo>
                  <a:cubicBezTo>
                    <a:pt x="4497229" y="281464"/>
                    <a:pt x="4499134" y="287179"/>
                    <a:pt x="4501039" y="293846"/>
                  </a:cubicBezTo>
                  <a:cubicBezTo>
                    <a:pt x="4501991" y="296704"/>
                    <a:pt x="4502944" y="299561"/>
                    <a:pt x="4503897" y="303371"/>
                  </a:cubicBezTo>
                  <a:cubicBezTo>
                    <a:pt x="4501991" y="308134"/>
                    <a:pt x="4499134" y="312896"/>
                    <a:pt x="4497229" y="317659"/>
                  </a:cubicBezTo>
                  <a:cubicBezTo>
                    <a:pt x="4496276" y="320516"/>
                    <a:pt x="4494372" y="323374"/>
                    <a:pt x="4493419" y="326231"/>
                  </a:cubicBezTo>
                  <a:cubicBezTo>
                    <a:pt x="4490562" y="297656"/>
                    <a:pt x="4488656" y="280511"/>
                    <a:pt x="4488656" y="280511"/>
                  </a:cubicBezTo>
                  <a:cubicBezTo>
                    <a:pt x="4488656" y="280511"/>
                    <a:pt x="4487704" y="294799"/>
                    <a:pt x="4487704" y="319564"/>
                  </a:cubicBezTo>
                  <a:cubicBezTo>
                    <a:pt x="4486751" y="316706"/>
                    <a:pt x="4484847" y="313849"/>
                    <a:pt x="4483894" y="311944"/>
                  </a:cubicBezTo>
                  <a:cubicBezTo>
                    <a:pt x="4477226" y="297656"/>
                    <a:pt x="4473416" y="289084"/>
                    <a:pt x="4473416" y="289084"/>
                  </a:cubicBezTo>
                  <a:cubicBezTo>
                    <a:pt x="4473416" y="289084"/>
                    <a:pt x="4476274" y="297656"/>
                    <a:pt x="4481037" y="312896"/>
                  </a:cubicBezTo>
                  <a:cubicBezTo>
                    <a:pt x="4482941" y="317659"/>
                    <a:pt x="4484847" y="323374"/>
                    <a:pt x="4486751" y="330041"/>
                  </a:cubicBezTo>
                  <a:cubicBezTo>
                    <a:pt x="4485799" y="329089"/>
                    <a:pt x="4485799" y="328136"/>
                    <a:pt x="4484847" y="328136"/>
                  </a:cubicBezTo>
                  <a:cubicBezTo>
                    <a:pt x="4481037" y="324326"/>
                    <a:pt x="4478179" y="321469"/>
                    <a:pt x="4475322" y="318611"/>
                  </a:cubicBezTo>
                  <a:cubicBezTo>
                    <a:pt x="4474369" y="313849"/>
                    <a:pt x="4473416" y="309086"/>
                    <a:pt x="4473416" y="304324"/>
                  </a:cubicBezTo>
                  <a:cubicBezTo>
                    <a:pt x="4471512" y="294799"/>
                    <a:pt x="4470559" y="286226"/>
                    <a:pt x="4468654" y="278606"/>
                  </a:cubicBezTo>
                  <a:cubicBezTo>
                    <a:pt x="4474369" y="264319"/>
                    <a:pt x="4477226" y="256699"/>
                    <a:pt x="4477226" y="256699"/>
                  </a:cubicBezTo>
                  <a:cubicBezTo>
                    <a:pt x="4477226" y="256699"/>
                    <a:pt x="4473416" y="262414"/>
                    <a:pt x="4466749" y="273844"/>
                  </a:cubicBezTo>
                  <a:cubicBezTo>
                    <a:pt x="4465797" y="268129"/>
                    <a:pt x="4464844" y="263366"/>
                    <a:pt x="4462939" y="258604"/>
                  </a:cubicBezTo>
                  <a:cubicBezTo>
                    <a:pt x="4462939" y="257651"/>
                    <a:pt x="4462939" y="256699"/>
                    <a:pt x="4462939" y="256699"/>
                  </a:cubicBezTo>
                  <a:cubicBezTo>
                    <a:pt x="4461987" y="253841"/>
                    <a:pt x="4461987" y="252889"/>
                    <a:pt x="4462939" y="250984"/>
                  </a:cubicBezTo>
                  <a:close/>
                  <a:moveTo>
                    <a:pt x="4461034" y="255746"/>
                  </a:moveTo>
                  <a:cubicBezTo>
                    <a:pt x="4461034" y="255746"/>
                    <a:pt x="4461034" y="256699"/>
                    <a:pt x="4461034" y="255746"/>
                  </a:cubicBezTo>
                  <a:cubicBezTo>
                    <a:pt x="4461034" y="256699"/>
                    <a:pt x="4461034" y="256699"/>
                    <a:pt x="4461034" y="255746"/>
                  </a:cubicBezTo>
                  <a:cubicBezTo>
                    <a:pt x="4461034" y="255746"/>
                    <a:pt x="4461034" y="255746"/>
                    <a:pt x="4461034" y="255746"/>
                  </a:cubicBezTo>
                  <a:close/>
                  <a:moveTo>
                    <a:pt x="4455319" y="274796"/>
                  </a:moveTo>
                  <a:cubicBezTo>
                    <a:pt x="4456272" y="272891"/>
                    <a:pt x="4457224" y="270034"/>
                    <a:pt x="4457224" y="268129"/>
                  </a:cubicBezTo>
                  <a:cubicBezTo>
                    <a:pt x="4457224" y="270034"/>
                    <a:pt x="4457224" y="271939"/>
                    <a:pt x="4457224" y="273844"/>
                  </a:cubicBezTo>
                  <a:cubicBezTo>
                    <a:pt x="4457224" y="277654"/>
                    <a:pt x="4457224" y="280511"/>
                    <a:pt x="4458176" y="284321"/>
                  </a:cubicBezTo>
                  <a:cubicBezTo>
                    <a:pt x="4457224" y="287179"/>
                    <a:pt x="4455319" y="290036"/>
                    <a:pt x="4454366" y="292894"/>
                  </a:cubicBezTo>
                  <a:cubicBezTo>
                    <a:pt x="4454366" y="287179"/>
                    <a:pt x="4454366" y="280511"/>
                    <a:pt x="4455319" y="274796"/>
                  </a:cubicBezTo>
                  <a:close/>
                  <a:moveTo>
                    <a:pt x="4449604" y="361474"/>
                  </a:moveTo>
                  <a:cubicBezTo>
                    <a:pt x="4450556" y="353854"/>
                    <a:pt x="4450556" y="346234"/>
                    <a:pt x="4451509" y="339566"/>
                  </a:cubicBezTo>
                  <a:cubicBezTo>
                    <a:pt x="4452462" y="340519"/>
                    <a:pt x="4452462" y="342424"/>
                    <a:pt x="4453414" y="343376"/>
                  </a:cubicBezTo>
                  <a:cubicBezTo>
                    <a:pt x="4453414" y="343376"/>
                    <a:pt x="4453414" y="343376"/>
                    <a:pt x="4453414" y="344329"/>
                  </a:cubicBezTo>
                  <a:cubicBezTo>
                    <a:pt x="4453414" y="344329"/>
                    <a:pt x="4453414" y="344329"/>
                    <a:pt x="4453414" y="344329"/>
                  </a:cubicBezTo>
                  <a:cubicBezTo>
                    <a:pt x="4452462" y="350996"/>
                    <a:pt x="4451509" y="358616"/>
                    <a:pt x="4451509" y="366236"/>
                  </a:cubicBezTo>
                  <a:cubicBezTo>
                    <a:pt x="4450556" y="372904"/>
                    <a:pt x="4449604" y="380524"/>
                    <a:pt x="4448651" y="388144"/>
                  </a:cubicBezTo>
                  <a:cubicBezTo>
                    <a:pt x="4447699" y="387191"/>
                    <a:pt x="4447699" y="387191"/>
                    <a:pt x="4446747" y="386239"/>
                  </a:cubicBezTo>
                  <a:cubicBezTo>
                    <a:pt x="4447699" y="377666"/>
                    <a:pt x="4448651" y="370046"/>
                    <a:pt x="4449604" y="361474"/>
                  </a:cubicBezTo>
                  <a:close/>
                  <a:moveTo>
                    <a:pt x="4386739" y="331946"/>
                  </a:moveTo>
                  <a:cubicBezTo>
                    <a:pt x="4387691" y="332899"/>
                    <a:pt x="4388644" y="334804"/>
                    <a:pt x="4390549" y="335756"/>
                  </a:cubicBezTo>
                  <a:cubicBezTo>
                    <a:pt x="4390549" y="337661"/>
                    <a:pt x="4390549" y="339566"/>
                    <a:pt x="4390549" y="342424"/>
                  </a:cubicBezTo>
                  <a:cubicBezTo>
                    <a:pt x="4389597" y="343376"/>
                    <a:pt x="4388644" y="345281"/>
                    <a:pt x="4386739" y="347186"/>
                  </a:cubicBezTo>
                  <a:cubicBezTo>
                    <a:pt x="4386739" y="341471"/>
                    <a:pt x="4386739" y="336709"/>
                    <a:pt x="4386739" y="331946"/>
                  </a:cubicBezTo>
                  <a:close/>
                  <a:moveTo>
                    <a:pt x="4389597" y="376714"/>
                  </a:moveTo>
                  <a:cubicBezTo>
                    <a:pt x="4389597" y="376714"/>
                    <a:pt x="4389597" y="375761"/>
                    <a:pt x="4388644" y="375761"/>
                  </a:cubicBezTo>
                  <a:cubicBezTo>
                    <a:pt x="4388644" y="373856"/>
                    <a:pt x="4387691" y="371951"/>
                    <a:pt x="4387691" y="370046"/>
                  </a:cubicBezTo>
                  <a:cubicBezTo>
                    <a:pt x="4387691" y="367189"/>
                    <a:pt x="4387691" y="363379"/>
                    <a:pt x="4387691" y="360521"/>
                  </a:cubicBezTo>
                  <a:cubicBezTo>
                    <a:pt x="4387691" y="357664"/>
                    <a:pt x="4387691" y="354806"/>
                    <a:pt x="4387691" y="351949"/>
                  </a:cubicBezTo>
                  <a:cubicBezTo>
                    <a:pt x="4388644" y="349091"/>
                    <a:pt x="4390549" y="347186"/>
                    <a:pt x="4391501" y="345281"/>
                  </a:cubicBezTo>
                  <a:cubicBezTo>
                    <a:pt x="4391501" y="346234"/>
                    <a:pt x="4391501" y="348139"/>
                    <a:pt x="4391501" y="349091"/>
                  </a:cubicBezTo>
                  <a:cubicBezTo>
                    <a:pt x="4391501" y="355759"/>
                    <a:pt x="4392454" y="362426"/>
                    <a:pt x="4392454" y="370046"/>
                  </a:cubicBezTo>
                  <a:cubicBezTo>
                    <a:pt x="4390549" y="371951"/>
                    <a:pt x="4389597" y="374809"/>
                    <a:pt x="4389597" y="376714"/>
                  </a:cubicBezTo>
                  <a:close/>
                  <a:moveTo>
                    <a:pt x="4424839" y="351949"/>
                  </a:moveTo>
                  <a:cubicBezTo>
                    <a:pt x="4424839" y="352901"/>
                    <a:pt x="4424839" y="353854"/>
                    <a:pt x="4424839" y="354806"/>
                  </a:cubicBezTo>
                  <a:cubicBezTo>
                    <a:pt x="4423887" y="355759"/>
                    <a:pt x="4423887" y="356711"/>
                    <a:pt x="4422934" y="356711"/>
                  </a:cubicBezTo>
                  <a:cubicBezTo>
                    <a:pt x="4422934" y="354806"/>
                    <a:pt x="4423887" y="353854"/>
                    <a:pt x="4424839" y="351949"/>
                  </a:cubicBezTo>
                  <a:close/>
                  <a:moveTo>
                    <a:pt x="4415314" y="411004"/>
                  </a:moveTo>
                  <a:cubicBezTo>
                    <a:pt x="4415314" y="411004"/>
                    <a:pt x="4415314" y="411956"/>
                    <a:pt x="4415314" y="411956"/>
                  </a:cubicBezTo>
                  <a:cubicBezTo>
                    <a:pt x="4414362" y="411004"/>
                    <a:pt x="4413409" y="410051"/>
                    <a:pt x="4412456" y="409099"/>
                  </a:cubicBezTo>
                  <a:cubicBezTo>
                    <a:pt x="4412456" y="401479"/>
                    <a:pt x="4412456" y="392906"/>
                    <a:pt x="4411504" y="385286"/>
                  </a:cubicBezTo>
                  <a:cubicBezTo>
                    <a:pt x="4414362" y="380524"/>
                    <a:pt x="4417219" y="376714"/>
                    <a:pt x="4420076" y="372904"/>
                  </a:cubicBezTo>
                  <a:cubicBezTo>
                    <a:pt x="4420076" y="373856"/>
                    <a:pt x="4421029" y="373856"/>
                    <a:pt x="4421029" y="374809"/>
                  </a:cubicBezTo>
                  <a:cubicBezTo>
                    <a:pt x="4419124" y="386239"/>
                    <a:pt x="4417219" y="397669"/>
                    <a:pt x="4415314" y="411004"/>
                  </a:cubicBezTo>
                  <a:close/>
                  <a:moveTo>
                    <a:pt x="4410551" y="254794"/>
                  </a:moveTo>
                  <a:cubicBezTo>
                    <a:pt x="4413409" y="260509"/>
                    <a:pt x="4417219" y="267176"/>
                    <a:pt x="4421029" y="273844"/>
                  </a:cubicBezTo>
                  <a:cubicBezTo>
                    <a:pt x="4419124" y="280511"/>
                    <a:pt x="4417219" y="287179"/>
                    <a:pt x="4415314" y="293846"/>
                  </a:cubicBezTo>
                  <a:cubicBezTo>
                    <a:pt x="4413409" y="301466"/>
                    <a:pt x="4410551" y="309086"/>
                    <a:pt x="4408647" y="316706"/>
                  </a:cubicBezTo>
                  <a:cubicBezTo>
                    <a:pt x="4407694" y="305276"/>
                    <a:pt x="4406741" y="297656"/>
                    <a:pt x="4406741" y="297656"/>
                  </a:cubicBezTo>
                  <a:cubicBezTo>
                    <a:pt x="4406741" y="297656"/>
                    <a:pt x="4404837" y="310991"/>
                    <a:pt x="4402931" y="331946"/>
                  </a:cubicBezTo>
                  <a:cubicBezTo>
                    <a:pt x="4402931" y="333851"/>
                    <a:pt x="4401979" y="335756"/>
                    <a:pt x="4401026" y="337661"/>
                  </a:cubicBezTo>
                  <a:cubicBezTo>
                    <a:pt x="4401026" y="337661"/>
                    <a:pt x="4400074" y="336709"/>
                    <a:pt x="4400074" y="336709"/>
                  </a:cubicBezTo>
                  <a:cubicBezTo>
                    <a:pt x="4393406" y="295751"/>
                    <a:pt x="4388644" y="270034"/>
                    <a:pt x="4388644" y="270034"/>
                  </a:cubicBezTo>
                  <a:cubicBezTo>
                    <a:pt x="4388644" y="270034"/>
                    <a:pt x="4388644" y="292894"/>
                    <a:pt x="4389597" y="328136"/>
                  </a:cubicBezTo>
                  <a:cubicBezTo>
                    <a:pt x="4388644" y="327184"/>
                    <a:pt x="4387691" y="326231"/>
                    <a:pt x="4386739" y="325279"/>
                  </a:cubicBezTo>
                  <a:cubicBezTo>
                    <a:pt x="4386739" y="324326"/>
                    <a:pt x="4386739" y="324326"/>
                    <a:pt x="4386739" y="323374"/>
                  </a:cubicBezTo>
                  <a:cubicBezTo>
                    <a:pt x="4387691" y="311944"/>
                    <a:pt x="4386739" y="300514"/>
                    <a:pt x="4387691" y="290989"/>
                  </a:cubicBezTo>
                  <a:cubicBezTo>
                    <a:pt x="4388644" y="280511"/>
                    <a:pt x="4388644" y="271939"/>
                    <a:pt x="4389597" y="263366"/>
                  </a:cubicBezTo>
                  <a:cubicBezTo>
                    <a:pt x="4390549" y="254794"/>
                    <a:pt x="4390549" y="248126"/>
                    <a:pt x="4391501" y="242411"/>
                  </a:cubicBezTo>
                  <a:cubicBezTo>
                    <a:pt x="4392454" y="233839"/>
                    <a:pt x="4393406" y="228124"/>
                    <a:pt x="4393406" y="225266"/>
                  </a:cubicBezTo>
                  <a:cubicBezTo>
                    <a:pt x="4399122" y="232886"/>
                    <a:pt x="4403884" y="243364"/>
                    <a:pt x="4410551" y="254794"/>
                  </a:cubicBezTo>
                  <a:close/>
                  <a:moveTo>
                    <a:pt x="4389597" y="217646"/>
                  </a:moveTo>
                  <a:cubicBezTo>
                    <a:pt x="4390549" y="219551"/>
                    <a:pt x="4392454" y="221456"/>
                    <a:pt x="4393406" y="224314"/>
                  </a:cubicBezTo>
                  <a:cubicBezTo>
                    <a:pt x="4392454" y="227171"/>
                    <a:pt x="4390549" y="232886"/>
                    <a:pt x="4387691" y="240506"/>
                  </a:cubicBezTo>
                  <a:cubicBezTo>
                    <a:pt x="4385787" y="246221"/>
                    <a:pt x="4383881" y="252889"/>
                    <a:pt x="4381976" y="260509"/>
                  </a:cubicBezTo>
                  <a:cubicBezTo>
                    <a:pt x="4381976" y="259556"/>
                    <a:pt x="4381976" y="257651"/>
                    <a:pt x="4381976" y="256699"/>
                  </a:cubicBezTo>
                  <a:cubicBezTo>
                    <a:pt x="4384834" y="242411"/>
                    <a:pt x="4386739" y="229076"/>
                    <a:pt x="4389597" y="217646"/>
                  </a:cubicBezTo>
                  <a:close/>
                  <a:moveTo>
                    <a:pt x="4374356" y="291941"/>
                  </a:moveTo>
                  <a:cubicBezTo>
                    <a:pt x="4374356" y="291941"/>
                    <a:pt x="4374356" y="292894"/>
                    <a:pt x="4374356" y="292894"/>
                  </a:cubicBezTo>
                  <a:cubicBezTo>
                    <a:pt x="4374356" y="292894"/>
                    <a:pt x="4374356" y="292894"/>
                    <a:pt x="4374356" y="291941"/>
                  </a:cubicBezTo>
                  <a:cubicBezTo>
                    <a:pt x="4374356" y="291941"/>
                    <a:pt x="4374356" y="291941"/>
                    <a:pt x="4374356" y="291941"/>
                  </a:cubicBezTo>
                  <a:close/>
                  <a:moveTo>
                    <a:pt x="4360069" y="282416"/>
                  </a:moveTo>
                  <a:cubicBezTo>
                    <a:pt x="4360069" y="284321"/>
                    <a:pt x="4360069" y="287179"/>
                    <a:pt x="4360069" y="290036"/>
                  </a:cubicBezTo>
                  <a:cubicBezTo>
                    <a:pt x="4360069" y="289084"/>
                    <a:pt x="4359116" y="288131"/>
                    <a:pt x="4359116" y="288131"/>
                  </a:cubicBezTo>
                  <a:cubicBezTo>
                    <a:pt x="4359116" y="285274"/>
                    <a:pt x="4359116" y="283369"/>
                    <a:pt x="4360069" y="282416"/>
                  </a:cubicBezTo>
                  <a:close/>
                  <a:moveTo>
                    <a:pt x="4313397" y="387191"/>
                  </a:moveTo>
                  <a:cubicBezTo>
                    <a:pt x="4312444" y="388144"/>
                    <a:pt x="4312444" y="390049"/>
                    <a:pt x="4311491" y="391001"/>
                  </a:cubicBezTo>
                  <a:cubicBezTo>
                    <a:pt x="4312444" y="389096"/>
                    <a:pt x="4312444" y="388144"/>
                    <a:pt x="4313397" y="387191"/>
                  </a:cubicBezTo>
                  <a:cubicBezTo>
                    <a:pt x="4313397" y="386239"/>
                    <a:pt x="4313397" y="387191"/>
                    <a:pt x="4313397" y="387191"/>
                  </a:cubicBezTo>
                  <a:close/>
                  <a:moveTo>
                    <a:pt x="4311491" y="351949"/>
                  </a:moveTo>
                  <a:cubicBezTo>
                    <a:pt x="4311491" y="356711"/>
                    <a:pt x="4312444" y="360521"/>
                    <a:pt x="4312444" y="365284"/>
                  </a:cubicBezTo>
                  <a:cubicBezTo>
                    <a:pt x="4311491" y="364331"/>
                    <a:pt x="4311491" y="364331"/>
                    <a:pt x="4311491" y="363379"/>
                  </a:cubicBezTo>
                  <a:cubicBezTo>
                    <a:pt x="4311491" y="358616"/>
                    <a:pt x="4311491" y="355759"/>
                    <a:pt x="4311491" y="351949"/>
                  </a:cubicBezTo>
                  <a:close/>
                  <a:moveTo>
                    <a:pt x="4247674" y="313849"/>
                  </a:moveTo>
                  <a:cubicBezTo>
                    <a:pt x="4247674" y="312896"/>
                    <a:pt x="4247674" y="312896"/>
                    <a:pt x="4247674" y="311944"/>
                  </a:cubicBezTo>
                  <a:cubicBezTo>
                    <a:pt x="4247674" y="312896"/>
                    <a:pt x="4247674" y="312896"/>
                    <a:pt x="4247674" y="313849"/>
                  </a:cubicBezTo>
                  <a:cubicBezTo>
                    <a:pt x="4247674" y="317659"/>
                    <a:pt x="4247674" y="320516"/>
                    <a:pt x="4246722" y="324326"/>
                  </a:cubicBezTo>
                  <a:cubicBezTo>
                    <a:pt x="4246722" y="323374"/>
                    <a:pt x="4246722" y="322421"/>
                    <a:pt x="4246722" y="322421"/>
                  </a:cubicBezTo>
                  <a:cubicBezTo>
                    <a:pt x="4246722" y="318611"/>
                    <a:pt x="4247674" y="315754"/>
                    <a:pt x="4247674" y="313849"/>
                  </a:cubicBezTo>
                  <a:close/>
                  <a:moveTo>
                    <a:pt x="4181951" y="367189"/>
                  </a:moveTo>
                  <a:cubicBezTo>
                    <a:pt x="4181951" y="351949"/>
                    <a:pt x="4182904" y="337661"/>
                    <a:pt x="4182904" y="324326"/>
                  </a:cubicBezTo>
                  <a:cubicBezTo>
                    <a:pt x="4182904" y="326231"/>
                    <a:pt x="4183856" y="328136"/>
                    <a:pt x="4183856" y="330041"/>
                  </a:cubicBezTo>
                  <a:cubicBezTo>
                    <a:pt x="4184809" y="333851"/>
                    <a:pt x="4185761" y="336709"/>
                    <a:pt x="4185761" y="340519"/>
                  </a:cubicBezTo>
                  <a:cubicBezTo>
                    <a:pt x="4185761" y="341471"/>
                    <a:pt x="4185761" y="342424"/>
                    <a:pt x="4185761" y="342424"/>
                  </a:cubicBezTo>
                  <a:cubicBezTo>
                    <a:pt x="4184809" y="339566"/>
                    <a:pt x="4183856" y="338614"/>
                    <a:pt x="4183856" y="338614"/>
                  </a:cubicBezTo>
                  <a:cubicBezTo>
                    <a:pt x="4183856" y="338614"/>
                    <a:pt x="4184809" y="345281"/>
                    <a:pt x="4187666" y="357664"/>
                  </a:cubicBezTo>
                  <a:cubicBezTo>
                    <a:pt x="4187666" y="360521"/>
                    <a:pt x="4188619" y="362426"/>
                    <a:pt x="4189571" y="365284"/>
                  </a:cubicBezTo>
                  <a:cubicBezTo>
                    <a:pt x="4189571" y="368141"/>
                    <a:pt x="4190524" y="370999"/>
                    <a:pt x="4191476" y="373856"/>
                  </a:cubicBezTo>
                  <a:cubicBezTo>
                    <a:pt x="4191476" y="377666"/>
                    <a:pt x="4190524" y="382429"/>
                    <a:pt x="4190524" y="386239"/>
                  </a:cubicBezTo>
                  <a:cubicBezTo>
                    <a:pt x="4190524" y="388144"/>
                    <a:pt x="4190524" y="390049"/>
                    <a:pt x="4190524" y="391954"/>
                  </a:cubicBezTo>
                  <a:cubicBezTo>
                    <a:pt x="4187666" y="383381"/>
                    <a:pt x="4184809" y="374809"/>
                    <a:pt x="4181951" y="367189"/>
                  </a:cubicBezTo>
                  <a:cubicBezTo>
                    <a:pt x="4181951" y="369094"/>
                    <a:pt x="4181951" y="368141"/>
                    <a:pt x="4181951" y="367189"/>
                  </a:cubicBezTo>
                  <a:close/>
                  <a:moveTo>
                    <a:pt x="4161949" y="401479"/>
                  </a:moveTo>
                  <a:cubicBezTo>
                    <a:pt x="4161949" y="400526"/>
                    <a:pt x="4161949" y="400526"/>
                    <a:pt x="4161949" y="399574"/>
                  </a:cubicBezTo>
                  <a:cubicBezTo>
                    <a:pt x="4161949" y="399574"/>
                    <a:pt x="4161949" y="399574"/>
                    <a:pt x="4161949" y="399574"/>
                  </a:cubicBezTo>
                  <a:cubicBezTo>
                    <a:pt x="4161949" y="400526"/>
                    <a:pt x="4161949" y="401479"/>
                    <a:pt x="4161949" y="401479"/>
                  </a:cubicBezTo>
                  <a:close/>
                  <a:moveTo>
                    <a:pt x="4160044" y="306229"/>
                  </a:moveTo>
                  <a:cubicBezTo>
                    <a:pt x="4160044" y="299561"/>
                    <a:pt x="4160996" y="295751"/>
                    <a:pt x="4160996" y="292894"/>
                  </a:cubicBezTo>
                  <a:cubicBezTo>
                    <a:pt x="4161949" y="289084"/>
                    <a:pt x="4162901" y="286226"/>
                    <a:pt x="4163854" y="282416"/>
                  </a:cubicBezTo>
                  <a:cubicBezTo>
                    <a:pt x="4163854" y="292894"/>
                    <a:pt x="4162901" y="303371"/>
                    <a:pt x="4162901" y="313849"/>
                  </a:cubicBezTo>
                  <a:cubicBezTo>
                    <a:pt x="4161949" y="310991"/>
                    <a:pt x="4160996" y="309086"/>
                    <a:pt x="4160044" y="306229"/>
                  </a:cubicBezTo>
                  <a:cubicBezTo>
                    <a:pt x="4160044" y="306229"/>
                    <a:pt x="4160044" y="306229"/>
                    <a:pt x="4160044" y="306229"/>
                  </a:cubicBezTo>
                  <a:close/>
                  <a:moveTo>
                    <a:pt x="4128611" y="354806"/>
                  </a:moveTo>
                  <a:cubicBezTo>
                    <a:pt x="4128611" y="350996"/>
                    <a:pt x="4128611" y="347186"/>
                    <a:pt x="4127659" y="343376"/>
                  </a:cubicBezTo>
                  <a:cubicBezTo>
                    <a:pt x="4127659" y="345281"/>
                    <a:pt x="4127659" y="347186"/>
                    <a:pt x="4128611" y="350044"/>
                  </a:cubicBezTo>
                  <a:cubicBezTo>
                    <a:pt x="4129564" y="354806"/>
                    <a:pt x="4129564" y="360521"/>
                    <a:pt x="4130516" y="365284"/>
                  </a:cubicBezTo>
                  <a:cubicBezTo>
                    <a:pt x="4129564" y="361474"/>
                    <a:pt x="4129564" y="358616"/>
                    <a:pt x="4128611" y="354806"/>
                  </a:cubicBezTo>
                  <a:close/>
                  <a:moveTo>
                    <a:pt x="4124801" y="255746"/>
                  </a:moveTo>
                  <a:cubicBezTo>
                    <a:pt x="4124801" y="252889"/>
                    <a:pt x="4124801" y="250031"/>
                    <a:pt x="4124801" y="248126"/>
                  </a:cubicBezTo>
                  <a:cubicBezTo>
                    <a:pt x="4129564" y="265271"/>
                    <a:pt x="4134326" y="284321"/>
                    <a:pt x="4140041" y="303371"/>
                  </a:cubicBezTo>
                  <a:cubicBezTo>
                    <a:pt x="4140041" y="304324"/>
                    <a:pt x="4140994" y="306229"/>
                    <a:pt x="4140994" y="307181"/>
                  </a:cubicBezTo>
                  <a:cubicBezTo>
                    <a:pt x="4140994" y="311944"/>
                    <a:pt x="4140994" y="316706"/>
                    <a:pt x="4140994" y="321469"/>
                  </a:cubicBezTo>
                  <a:cubicBezTo>
                    <a:pt x="4136231" y="310991"/>
                    <a:pt x="4133374" y="305276"/>
                    <a:pt x="4133374" y="305276"/>
                  </a:cubicBezTo>
                  <a:cubicBezTo>
                    <a:pt x="4133374" y="305276"/>
                    <a:pt x="4134326" y="308134"/>
                    <a:pt x="4135279" y="312896"/>
                  </a:cubicBezTo>
                  <a:cubicBezTo>
                    <a:pt x="4132421" y="309086"/>
                    <a:pt x="4130516" y="304324"/>
                    <a:pt x="4127659" y="300514"/>
                  </a:cubicBezTo>
                  <a:cubicBezTo>
                    <a:pt x="4125754" y="293846"/>
                    <a:pt x="4124801" y="288131"/>
                    <a:pt x="4123849" y="284321"/>
                  </a:cubicBezTo>
                  <a:cubicBezTo>
                    <a:pt x="4124801" y="273844"/>
                    <a:pt x="4124801" y="264319"/>
                    <a:pt x="4124801" y="255746"/>
                  </a:cubicBezTo>
                  <a:close/>
                  <a:moveTo>
                    <a:pt x="4095274" y="395764"/>
                  </a:moveTo>
                  <a:cubicBezTo>
                    <a:pt x="4094321" y="395764"/>
                    <a:pt x="4094321" y="395764"/>
                    <a:pt x="4095274" y="395764"/>
                  </a:cubicBezTo>
                  <a:cubicBezTo>
                    <a:pt x="4095274" y="394811"/>
                    <a:pt x="4095274" y="394811"/>
                    <a:pt x="4095274" y="394811"/>
                  </a:cubicBezTo>
                  <a:cubicBezTo>
                    <a:pt x="4095274" y="394811"/>
                    <a:pt x="4095274" y="395764"/>
                    <a:pt x="4095274" y="395764"/>
                  </a:cubicBezTo>
                  <a:close/>
                  <a:moveTo>
                    <a:pt x="4093369" y="386239"/>
                  </a:moveTo>
                  <a:cubicBezTo>
                    <a:pt x="4093369" y="383381"/>
                    <a:pt x="4093369" y="379571"/>
                    <a:pt x="4093369" y="376714"/>
                  </a:cubicBezTo>
                  <a:cubicBezTo>
                    <a:pt x="4094321" y="378619"/>
                    <a:pt x="4095274" y="380524"/>
                    <a:pt x="4096226" y="382429"/>
                  </a:cubicBezTo>
                  <a:cubicBezTo>
                    <a:pt x="4094321" y="384334"/>
                    <a:pt x="4094321" y="385286"/>
                    <a:pt x="4093369" y="386239"/>
                  </a:cubicBezTo>
                  <a:close/>
                  <a:moveTo>
                    <a:pt x="4097179" y="342424"/>
                  </a:moveTo>
                  <a:cubicBezTo>
                    <a:pt x="4098131" y="339566"/>
                    <a:pt x="4098131" y="337661"/>
                    <a:pt x="4099084" y="334804"/>
                  </a:cubicBezTo>
                  <a:cubicBezTo>
                    <a:pt x="4099084" y="335756"/>
                    <a:pt x="4099084" y="336709"/>
                    <a:pt x="4099084" y="337661"/>
                  </a:cubicBezTo>
                  <a:cubicBezTo>
                    <a:pt x="4099084" y="339566"/>
                    <a:pt x="4098131" y="340519"/>
                    <a:pt x="4097179" y="342424"/>
                  </a:cubicBezTo>
                  <a:close/>
                  <a:moveTo>
                    <a:pt x="4100989" y="353854"/>
                  </a:moveTo>
                  <a:cubicBezTo>
                    <a:pt x="4100989" y="352901"/>
                    <a:pt x="4100989" y="351949"/>
                    <a:pt x="4100989" y="351949"/>
                  </a:cubicBezTo>
                  <a:cubicBezTo>
                    <a:pt x="4100989" y="351949"/>
                    <a:pt x="4100989" y="351949"/>
                    <a:pt x="4100989" y="351949"/>
                  </a:cubicBezTo>
                  <a:cubicBezTo>
                    <a:pt x="4100989" y="352901"/>
                    <a:pt x="4100989" y="353854"/>
                    <a:pt x="4100989" y="353854"/>
                  </a:cubicBezTo>
                  <a:cubicBezTo>
                    <a:pt x="4100989" y="354806"/>
                    <a:pt x="4100989" y="353854"/>
                    <a:pt x="4100989" y="353854"/>
                  </a:cubicBezTo>
                  <a:close/>
                  <a:moveTo>
                    <a:pt x="4115276" y="322421"/>
                  </a:moveTo>
                  <a:cubicBezTo>
                    <a:pt x="4115276" y="330994"/>
                    <a:pt x="4114324" y="341471"/>
                    <a:pt x="4114324" y="350996"/>
                  </a:cubicBezTo>
                  <a:cubicBezTo>
                    <a:pt x="4113371" y="336709"/>
                    <a:pt x="4111466" y="327184"/>
                    <a:pt x="4111466" y="327184"/>
                  </a:cubicBezTo>
                  <a:cubicBezTo>
                    <a:pt x="4111466" y="327184"/>
                    <a:pt x="4110514" y="332899"/>
                    <a:pt x="4108609" y="342424"/>
                  </a:cubicBezTo>
                  <a:cubicBezTo>
                    <a:pt x="4108609" y="342424"/>
                    <a:pt x="4107656" y="341471"/>
                    <a:pt x="4107656" y="341471"/>
                  </a:cubicBezTo>
                  <a:cubicBezTo>
                    <a:pt x="4107656" y="339566"/>
                    <a:pt x="4106704" y="338614"/>
                    <a:pt x="4106704" y="336709"/>
                  </a:cubicBezTo>
                  <a:cubicBezTo>
                    <a:pt x="4108609" y="330994"/>
                    <a:pt x="4111466" y="326231"/>
                    <a:pt x="4113371" y="322421"/>
                  </a:cubicBezTo>
                  <a:cubicBezTo>
                    <a:pt x="4114324" y="321469"/>
                    <a:pt x="4114324" y="319564"/>
                    <a:pt x="4115276" y="318611"/>
                  </a:cubicBezTo>
                  <a:cubicBezTo>
                    <a:pt x="4115276" y="319564"/>
                    <a:pt x="4115276" y="320516"/>
                    <a:pt x="4115276" y="322421"/>
                  </a:cubicBezTo>
                  <a:close/>
                  <a:moveTo>
                    <a:pt x="4109561" y="295751"/>
                  </a:moveTo>
                  <a:cubicBezTo>
                    <a:pt x="4111466" y="299561"/>
                    <a:pt x="4113371" y="303371"/>
                    <a:pt x="4116229" y="308134"/>
                  </a:cubicBezTo>
                  <a:cubicBezTo>
                    <a:pt x="4116229" y="309086"/>
                    <a:pt x="4116229" y="310991"/>
                    <a:pt x="4116229" y="311944"/>
                  </a:cubicBezTo>
                  <a:cubicBezTo>
                    <a:pt x="4114324" y="314801"/>
                    <a:pt x="4112419" y="316706"/>
                    <a:pt x="4110514" y="320516"/>
                  </a:cubicBezTo>
                  <a:cubicBezTo>
                    <a:pt x="4108609" y="323374"/>
                    <a:pt x="4106704" y="326231"/>
                    <a:pt x="4104799" y="329089"/>
                  </a:cubicBezTo>
                  <a:cubicBezTo>
                    <a:pt x="4103846" y="326231"/>
                    <a:pt x="4102894" y="324326"/>
                    <a:pt x="4102894" y="322421"/>
                  </a:cubicBezTo>
                  <a:cubicBezTo>
                    <a:pt x="4105751" y="311944"/>
                    <a:pt x="4107656" y="303371"/>
                    <a:pt x="4109561" y="295751"/>
                  </a:cubicBezTo>
                  <a:close/>
                  <a:moveTo>
                    <a:pt x="4092416" y="294799"/>
                  </a:moveTo>
                  <a:cubicBezTo>
                    <a:pt x="4093369" y="284321"/>
                    <a:pt x="4093369" y="274796"/>
                    <a:pt x="4094321" y="265271"/>
                  </a:cubicBezTo>
                  <a:cubicBezTo>
                    <a:pt x="4095274" y="268129"/>
                    <a:pt x="4096226" y="270034"/>
                    <a:pt x="4098131" y="272891"/>
                  </a:cubicBezTo>
                  <a:cubicBezTo>
                    <a:pt x="4100989" y="278606"/>
                    <a:pt x="4103846" y="284321"/>
                    <a:pt x="4106704" y="290989"/>
                  </a:cubicBezTo>
                  <a:cubicBezTo>
                    <a:pt x="4103846" y="296704"/>
                    <a:pt x="4101941" y="304324"/>
                    <a:pt x="4098131" y="311944"/>
                  </a:cubicBezTo>
                  <a:cubicBezTo>
                    <a:pt x="4097179" y="308134"/>
                    <a:pt x="4096226" y="306229"/>
                    <a:pt x="4096226" y="306229"/>
                  </a:cubicBezTo>
                  <a:cubicBezTo>
                    <a:pt x="4096226" y="306229"/>
                    <a:pt x="4096226" y="310039"/>
                    <a:pt x="4097179" y="315754"/>
                  </a:cubicBezTo>
                  <a:cubicBezTo>
                    <a:pt x="4095274" y="320516"/>
                    <a:pt x="4093369" y="324326"/>
                    <a:pt x="4092416" y="329089"/>
                  </a:cubicBezTo>
                  <a:cubicBezTo>
                    <a:pt x="4092416" y="328136"/>
                    <a:pt x="4091464" y="326231"/>
                    <a:pt x="4091464" y="325279"/>
                  </a:cubicBezTo>
                  <a:cubicBezTo>
                    <a:pt x="4091464" y="324326"/>
                    <a:pt x="4090511" y="323374"/>
                    <a:pt x="4090511" y="321469"/>
                  </a:cubicBezTo>
                  <a:cubicBezTo>
                    <a:pt x="4091464" y="311944"/>
                    <a:pt x="4092416" y="303371"/>
                    <a:pt x="4092416" y="294799"/>
                  </a:cubicBezTo>
                  <a:close/>
                  <a:moveTo>
                    <a:pt x="4085749" y="244316"/>
                  </a:moveTo>
                  <a:cubicBezTo>
                    <a:pt x="4085749" y="245269"/>
                    <a:pt x="4085749" y="245269"/>
                    <a:pt x="4085749" y="244316"/>
                  </a:cubicBezTo>
                  <a:cubicBezTo>
                    <a:pt x="4085749" y="247174"/>
                    <a:pt x="4085749" y="248126"/>
                    <a:pt x="4084796" y="250031"/>
                  </a:cubicBezTo>
                  <a:cubicBezTo>
                    <a:pt x="4084796" y="249079"/>
                    <a:pt x="4084796" y="246221"/>
                    <a:pt x="4085749" y="244316"/>
                  </a:cubicBezTo>
                  <a:close/>
                  <a:moveTo>
                    <a:pt x="4043839" y="279559"/>
                  </a:moveTo>
                  <a:cubicBezTo>
                    <a:pt x="4044791" y="280511"/>
                    <a:pt x="4044791" y="280511"/>
                    <a:pt x="4043839" y="279559"/>
                  </a:cubicBezTo>
                  <a:cubicBezTo>
                    <a:pt x="4044791" y="281464"/>
                    <a:pt x="4044791" y="282416"/>
                    <a:pt x="4044791" y="283369"/>
                  </a:cubicBezTo>
                  <a:cubicBezTo>
                    <a:pt x="4043839" y="282416"/>
                    <a:pt x="4043839" y="281464"/>
                    <a:pt x="4043839" y="281464"/>
                  </a:cubicBezTo>
                  <a:cubicBezTo>
                    <a:pt x="4043839" y="281464"/>
                    <a:pt x="4043839" y="283369"/>
                    <a:pt x="4044791" y="286226"/>
                  </a:cubicBezTo>
                  <a:cubicBezTo>
                    <a:pt x="4044791" y="287179"/>
                    <a:pt x="4044791" y="288131"/>
                    <a:pt x="4044791" y="290036"/>
                  </a:cubicBezTo>
                  <a:cubicBezTo>
                    <a:pt x="4043839" y="288131"/>
                    <a:pt x="4042886" y="286226"/>
                    <a:pt x="4042886" y="284321"/>
                  </a:cubicBezTo>
                  <a:cubicBezTo>
                    <a:pt x="4043839" y="282416"/>
                    <a:pt x="4043839" y="281464"/>
                    <a:pt x="4043839" y="279559"/>
                  </a:cubicBezTo>
                  <a:close/>
                  <a:moveTo>
                    <a:pt x="4044791" y="333851"/>
                  </a:moveTo>
                  <a:cubicBezTo>
                    <a:pt x="4044791" y="333851"/>
                    <a:pt x="4044791" y="333851"/>
                    <a:pt x="4044791" y="333851"/>
                  </a:cubicBezTo>
                  <a:cubicBezTo>
                    <a:pt x="4044791" y="335756"/>
                    <a:pt x="4044791" y="337661"/>
                    <a:pt x="4044791" y="339566"/>
                  </a:cubicBezTo>
                  <a:cubicBezTo>
                    <a:pt x="4043839" y="338614"/>
                    <a:pt x="4043839" y="338614"/>
                    <a:pt x="4042886" y="337661"/>
                  </a:cubicBezTo>
                  <a:cubicBezTo>
                    <a:pt x="4042886" y="335756"/>
                    <a:pt x="4043839" y="334804"/>
                    <a:pt x="4044791" y="333851"/>
                  </a:cubicBezTo>
                  <a:close/>
                  <a:moveTo>
                    <a:pt x="4039076" y="271939"/>
                  </a:moveTo>
                  <a:cubicBezTo>
                    <a:pt x="4039076" y="272891"/>
                    <a:pt x="4039076" y="272891"/>
                    <a:pt x="4039076" y="273844"/>
                  </a:cubicBezTo>
                  <a:cubicBezTo>
                    <a:pt x="4039076" y="272891"/>
                    <a:pt x="4038124" y="271939"/>
                    <a:pt x="4038124" y="270034"/>
                  </a:cubicBezTo>
                  <a:cubicBezTo>
                    <a:pt x="4037171" y="268129"/>
                    <a:pt x="4037171" y="267176"/>
                    <a:pt x="4036219" y="265271"/>
                  </a:cubicBezTo>
                  <a:cubicBezTo>
                    <a:pt x="4037171" y="267176"/>
                    <a:pt x="4038124" y="269081"/>
                    <a:pt x="4039076" y="271939"/>
                  </a:cubicBezTo>
                  <a:close/>
                  <a:moveTo>
                    <a:pt x="4033361" y="358616"/>
                  </a:moveTo>
                  <a:cubicBezTo>
                    <a:pt x="4033361" y="355759"/>
                    <a:pt x="4034314" y="353854"/>
                    <a:pt x="4034314" y="351949"/>
                  </a:cubicBezTo>
                  <a:cubicBezTo>
                    <a:pt x="4035266" y="350044"/>
                    <a:pt x="4037171" y="347186"/>
                    <a:pt x="4038124" y="345281"/>
                  </a:cubicBezTo>
                  <a:cubicBezTo>
                    <a:pt x="4040029" y="347186"/>
                    <a:pt x="4041934" y="350044"/>
                    <a:pt x="4043839" y="351949"/>
                  </a:cubicBezTo>
                  <a:cubicBezTo>
                    <a:pt x="4042886" y="363379"/>
                    <a:pt x="4041934" y="376714"/>
                    <a:pt x="4040981" y="391954"/>
                  </a:cubicBezTo>
                  <a:cubicBezTo>
                    <a:pt x="4039076" y="398621"/>
                    <a:pt x="4037171" y="406241"/>
                    <a:pt x="4035266" y="413861"/>
                  </a:cubicBezTo>
                  <a:cubicBezTo>
                    <a:pt x="4033361" y="407194"/>
                    <a:pt x="4030504" y="401479"/>
                    <a:pt x="4029551" y="395764"/>
                  </a:cubicBezTo>
                  <a:cubicBezTo>
                    <a:pt x="4028599" y="392906"/>
                    <a:pt x="4027646" y="391001"/>
                    <a:pt x="4027646" y="388144"/>
                  </a:cubicBezTo>
                  <a:cubicBezTo>
                    <a:pt x="4029551" y="377666"/>
                    <a:pt x="4031456" y="368141"/>
                    <a:pt x="4033361" y="358616"/>
                  </a:cubicBezTo>
                  <a:close/>
                  <a:moveTo>
                    <a:pt x="4020026" y="324326"/>
                  </a:moveTo>
                  <a:cubicBezTo>
                    <a:pt x="4020979" y="325279"/>
                    <a:pt x="4020979" y="325279"/>
                    <a:pt x="4021931" y="326231"/>
                  </a:cubicBezTo>
                  <a:cubicBezTo>
                    <a:pt x="4020979" y="329089"/>
                    <a:pt x="4020026" y="331946"/>
                    <a:pt x="4019074" y="334804"/>
                  </a:cubicBezTo>
                  <a:cubicBezTo>
                    <a:pt x="4018121" y="336709"/>
                    <a:pt x="4018121" y="339566"/>
                    <a:pt x="4017169" y="341471"/>
                  </a:cubicBezTo>
                  <a:cubicBezTo>
                    <a:pt x="4017169" y="341471"/>
                    <a:pt x="4017169" y="342424"/>
                    <a:pt x="4016216" y="342424"/>
                  </a:cubicBezTo>
                  <a:cubicBezTo>
                    <a:pt x="4016216" y="343376"/>
                    <a:pt x="4015264" y="343376"/>
                    <a:pt x="4015264" y="344329"/>
                  </a:cubicBezTo>
                  <a:cubicBezTo>
                    <a:pt x="4014311" y="333851"/>
                    <a:pt x="4012406" y="324326"/>
                    <a:pt x="4011454" y="315754"/>
                  </a:cubicBezTo>
                  <a:cubicBezTo>
                    <a:pt x="4014311" y="317659"/>
                    <a:pt x="4017169" y="320516"/>
                    <a:pt x="4020026" y="324326"/>
                  </a:cubicBezTo>
                  <a:close/>
                  <a:moveTo>
                    <a:pt x="3999071" y="282416"/>
                  </a:moveTo>
                  <a:cubicBezTo>
                    <a:pt x="4000024" y="282416"/>
                    <a:pt x="4000024" y="282416"/>
                    <a:pt x="3999071" y="282416"/>
                  </a:cubicBezTo>
                  <a:cubicBezTo>
                    <a:pt x="4000024" y="290989"/>
                    <a:pt x="4000024" y="300514"/>
                    <a:pt x="4000024" y="310991"/>
                  </a:cubicBezTo>
                  <a:cubicBezTo>
                    <a:pt x="4000024" y="312896"/>
                    <a:pt x="4000024" y="314801"/>
                    <a:pt x="4000024" y="316706"/>
                  </a:cubicBezTo>
                  <a:cubicBezTo>
                    <a:pt x="4000024" y="319564"/>
                    <a:pt x="3999071" y="322421"/>
                    <a:pt x="3999071" y="325279"/>
                  </a:cubicBezTo>
                  <a:cubicBezTo>
                    <a:pt x="3999071" y="325279"/>
                    <a:pt x="3999071" y="326231"/>
                    <a:pt x="3999071" y="327184"/>
                  </a:cubicBezTo>
                  <a:cubicBezTo>
                    <a:pt x="3999071" y="326231"/>
                    <a:pt x="3998119" y="325279"/>
                    <a:pt x="3998119" y="324326"/>
                  </a:cubicBezTo>
                  <a:lnTo>
                    <a:pt x="3997166" y="314801"/>
                  </a:lnTo>
                  <a:lnTo>
                    <a:pt x="3996214" y="286226"/>
                  </a:lnTo>
                  <a:cubicBezTo>
                    <a:pt x="3997166" y="285274"/>
                    <a:pt x="3998119" y="284321"/>
                    <a:pt x="3999071" y="282416"/>
                  </a:cubicBezTo>
                  <a:close/>
                  <a:moveTo>
                    <a:pt x="3983831" y="405289"/>
                  </a:moveTo>
                  <a:cubicBezTo>
                    <a:pt x="3982879" y="408146"/>
                    <a:pt x="3981926" y="410051"/>
                    <a:pt x="3980021" y="412909"/>
                  </a:cubicBezTo>
                  <a:cubicBezTo>
                    <a:pt x="3980021" y="412909"/>
                    <a:pt x="3980021" y="412909"/>
                    <a:pt x="3980021" y="412909"/>
                  </a:cubicBezTo>
                  <a:cubicBezTo>
                    <a:pt x="3981926" y="407194"/>
                    <a:pt x="3981926" y="404336"/>
                    <a:pt x="3982879" y="402431"/>
                  </a:cubicBezTo>
                  <a:cubicBezTo>
                    <a:pt x="3982879" y="403384"/>
                    <a:pt x="3982879" y="404336"/>
                    <a:pt x="3983831" y="405289"/>
                  </a:cubicBezTo>
                  <a:close/>
                  <a:moveTo>
                    <a:pt x="3980974" y="395764"/>
                  </a:moveTo>
                  <a:cubicBezTo>
                    <a:pt x="3981926" y="397669"/>
                    <a:pt x="3981926" y="399574"/>
                    <a:pt x="3982879" y="401479"/>
                  </a:cubicBezTo>
                  <a:cubicBezTo>
                    <a:pt x="3982879" y="402431"/>
                    <a:pt x="3980974" y="404336"/>
                    <a:pt x="3979069" y="407194"/>
                  </a:cubicBezTo>
                  <a:cubicBezTo>
                    <a:pt x="3979069" y="407194"/>
                    <a:pt x="3979069" y="406241"/>
                    <a:pt x="3979069" y="406241"/>
                  </a:cubicBezTo>
                  <a:cubicBezTo>
                    <a:pt x="3980021" y="403384"/>
                    <a:pt x="3980021" y="399574"/>
                    <a:pt x="3980974" y="395764"/>
                  </a:cubicBezTo>
                  <a:close/>
                  <a:moveTo>
                    <a:pt x="3976211" y="378619"/>
                  </a:moveTo>
                  <a:cubicBezTo>
                    <a:pt x="3976211" y="378619"/>
                    <a:pt x="3976211" y="378619"/>
                    <a:pt x="3976211" y="378619"/>
                  </a:cubicBezTo>
                  <a:cubicBezTo>
                    <a:pt x="3976211" y="379571"/>
                    <a:pt x="3976211" y="379571"/>
                    <a:pt x="3976211" y="380524"/>
                  </a:cubicBezTo>
                  <a:cubicBezTo>
                    <a:pt x="3976211" y="379571"/>
                    <a:pt x="3976211" y="378619"/>
                    <a:pt x="3976211" y="378619"/>
                  </a:cubicBezTo>
                  <a:close/>
                  <a:moveTo>
                    <a:pt x="3948589" y="255746"/>
                  </a:moveTo>
                  <a:cubicBezTo>
                    <a:pt x="3948589" y="262414"/>
                    <a:pt x="3947636" y="270034"/>
                    <a:pt x="3946684" y="277654"/>
                  </a:cubicBezTo>
                  <a:cubicBezTo>
                    <a:pt x="3946684" y="279559"/>
                    <a:pt x="3946684" y="282416"/>
                    <a:pt x="3945731" y="285274"/>
                  </a:cubicBezTo>
                  <a:cubicBezTo>
                    <a:pt x="3944779" y="278606"/>
                    <a:pt x="3944779" y="272891"/>
                    <a:pt x="3943826" y="266224"/>
                  </a:cubicBezTo>
                  <a:cubicBezTo>
                    <a:pt x="3942874" y="257651"/>
                    <a:pt x="3940969" y="249079"/>
                    <a:pt x="3940016" y="240506"/>
                  </a:cubicBezTo>
                  <a:cubicBezTo>
                    <a:pt x="3940016" y="240506"/>
                    <a:pt x="3940016" y="240506"/>
                    <a:pt x="3940016" y="239554"/>
                  </a:cubicBezTo>
                  <a:cubicBezTo>
                    <a:pt x="3940016" y="238601"/>
                    <a:pt x="3940016" y="237649"/>
                    <a:pt x="3940016" y="236696"/>
                  </a:cubicBezTo>
                  <a:cubicBezTo>
                    <a:pt x="3940969" y="237649"/>
                    <a:pt x="3941921" y="239554"/>
                    <a:pt x="3942874" y="240506"/>
                  </a:cubicBezTo>
                  <a:cubicBezTo>
                    <a:pt x="3944779" y="243364"/>
                    <a:pt x="3945731" y="245269"/>
                    <a:pt x="3947636" y="248126"/>
                  </a:cubicBezTo>
                  <a:cubicBezTo>
                    <a:pt x="3948589" y="251936"/>
                    <a:pt x="3948589" y="253841"/>
                    <a:pt x="3948589" y="255746"/>
                  </a:cubicBezTo>
                  <a:close/>
                  <a:moveTo>
                    <a:pt x="3943826" y="205264"/>
                  </a:moveTo>
                  <a:cubicBezTo>
                    <a:pt x="3943826" y="207169"/>
                    <a:pt x="3943826" y="209074"/>
                    <a:pt x="3943826" y="210979"/>
                  </a:cubicBezTo>
                  <a:cubicBezTo>
                    <a:pt x="3943826" y="216694"/>
                    <a:pt x="3944779" y="223361"/>
                    <a:pt x="3945731" y="230981"/>
                  </a:cubicBezTo>
                  <a:cubicBezTo>
                    <a:pt x="3945731" y="232886"/>
                    <a:pt x="3945731" y="234791"/>
                    <a:pt x="3946684" y="236696"/>
                  </a:cubicBezTo>
                  <a:cubicBezTo>
                    <a:pt x="3943826" y="233839"/>
                    <a:pt x="3941921" y="230029"/>
                    <a:pt x="3939064" y="228124"/>
                  </a:cubicBezTo>
                  <a:cubicBezTo>
                    <a:pt x="3938111" y="224314"/>
                    <a:pt x="3938111" y="219551"/>
                    <a:pt x="3937159" y="215741"/>
                  </a:cubicBezTo>
                  <a:cubicBezTo>
                    <a:pt x="3940016" y="210979"/>
                    <a:pt x="3941921" y="208121"/>
                    <a:pt x="3943826" y="205264"/>
                  </a:cubicBezTo>
                  <a:close/>
                  <a:moveTo>
                    <a:pt x="3866674" y="369094"/>
                  </a:moveTo>
                  <a:cubicBezTo>
                    <a:pt x="3866674" y="369094"/>
                    <a:pt x="3866674" y="368141"/>
                    <a:pt x="3867626" y="368141"/>
                  </a:cubicBezTo>
                  <a:cubicBezTo>
                    <a:pt x="3867626" y="369094"/>
                    <a:pt x="3867626" y="370046"/>
                    <a:pt x="3867626" y="370999"/>
                  </a:cubicBezTo>
                  <a:cubicBezTo>
                    <a:pt x="3867626" y="370046"/>
                    <a:pt x="3866674" y="370046"/>
                    <a:pt x="3866674" y="369094"/>
                  </a:cubicBezTo>
                  <a:close/>
                  <a:moveTo>
                    <a:pt x="3886676" y="354806"/>
                  </a:moveTo>
                  <a:cubicBezTo>
                    <a:pt x="3885724" y="351949"/>
                    <a:pt x="3883819" y="350044"/>
                    <a:pt x="3882866" y="348139"/>
                  </a:cubicBezTo>
                  <a:cubicBezTo>
                    <a:pt x="3882866" y="345281"/>
                    <a:pt x="3881914" y="341471"/>
                    <a:pt x="3881914" y="338614"/>
                  </a:cubicBezTo>
                  <a:cubicBezTo>
                    <a:pt x="3883819" y="343376"/>
                    <a:pt x="3885724" y="349091"/>
                    <a:pt x="3886676" y="354806"/>
                  </a:cubicBezTo>
                  <a:cubicBezTo>
                    <a:pt x="3887629" y="354806"/>
                    <a:pt x="3887629" y="355759"/>
                    <a:pt x="3887629" y="356711"/>
                  </a:cubicBezTo>
                  <a:cubicBezTo>
                    <a:pt x="3887629" y="355759"/>
                    <a:pt x="3887629" y="354806"/>
                    <a:pt x="3886676" y="354806"/>
                  </a:cubicBezTo>
                  <a:close/>
                  <a:moveTo>
                    <a:pt x="3897154" y="278606"/>
                  </a:moveTo>
                  <a:cubicBezTo>
                    <a:pt x="3899059" y="275749"/>
                    <a:pt x="3900011" y="272891"/>
                    <a:pt x="3901916" y="270986"/>
                  </a:cubicBezTo>
                  <a:cubicBezTo>
                    <a:pt x="3901916" y="270986"/>
                    <a:pt x="3901916" y="270986"/>
                    <a:pt x="3901916" y="270986"/>
                  </a:cubicBezTo>
                  <a:cubicBezTo>
                    <a:pt x="3900964" y="273844"/>
                    <a:pt x="3899059" y="276701"/>
                    <a:pt x="3897154" y="278606"/>
                  </a:cubicBezTo>
                  <a:cubicBezTo>
                    <a:pt x="3898106" y="279559"/>
                    <a:pt x="3897154" y="279559"/>
                    <a:pt x="3897154" y="278606"/>
                  </a:cubicBezTo>
                  <a:close/>
                  <a:moveTo>
                    <a:pt x="3900011" y="291941"/>
                  </a:moveTo>
                  <a:cubicBezTo>
                    <a:pt x="3900011" y="290989"/>
                    <a:pt x="3900964" y="289084"/>
                    <a:pt x="3901916" y="288131"/>
                  </a:cubicBezTo>
                  <a:cubicBezTo>
                    <a:pt x="3901916" y="287179"/>
                    <a:pt x="3902869" y="287179"/>
                    <a:pt x="3902869" y="286226"/>
                  </a:cubicBezTo>
                  <a:cubicBezTo>
                    <a:pt x="3902869" y="290036"/>
                    <a:pt x="3902869" y="293846"/>
                    <a:pt x="3903821" y="297656"/>
                  </a:cubicBezTo>
                  <a:cubicBezTo>
                    <a:pt x="3903821" y="298609"/>
                    <a:pt x="3903821" y="300514"/>
                    <a:pt x="3902869" y="301466"/>
                  </a:cubicBezTo>
                  <a:cubicBezTo>
                    <a:pt x="3902869" y="300514"/>
                    <a:pt x="3902869" y="299561"/>
                    <a:pt x="3901916" y="298609"/>
                  </a:cubicBezTo>
                  <a:cubicBezTo>
                    <a:pt x="3901916" y="295751"/>
                    <a:pt x="3900964" y="293846"/>
                    <a:pt x="3900011" y="291941"/>
                  </a:cubicBezTo>
                  <a:close/>
                  <a:moveTo>
                    <a:pt x="3903821" y="431006"/>
                  </a:moveTo>
                  <a:cubicBezTo>
                    <a:pt x="3903821" y="431006"/>
                    <a:pt x="3903821" y="431959"/>
                    <a:pt x="3902869" y="431959"/>
                  </a:cubicBezTo>
                  <a:lnTo>
                    <a:pt x="3901916" y="431959"/>
                  </a:lnTo>
                  <a:cubicBezTo>
                    <a:pt x="3902869" y="430054"/>
                    <a:pt x="3902869" y="428149"/>
                    <a:pt x="3903821" y="426244"/>
                  </a:cubicBezTo>
                  <a:cubicBezTo>
                    <a:pt x="3903821" y="427196"/>
                    <a:pt x="3903821" y="427196"/>
                    <a:pt x="3904774" y="428149"/>
                  </a:cubicBezTo>
                  <a:cubicBezTo>
                    <a:pt x="3903821" y="429101"/>
                    <a:pt x="3903821" y="430054"/>
                    <a:pt x="3903821" y="431006"/>
                  </a:cubicBezTo>
                  <a:close/>
                  <a:moveTo>
                    <a:pt x="3925729" y="309086"/>
                  </a:moveTo>
                  <a:cubicBezTo>
                    <a:pt x="3923824" y="301466"/>
                    <a:pt x="3922871" y="297656"/>
                    <a:pt x="3922871" y="297656"/>
                  </a:cubicBezTo>
                  <a:cubicBezTo>
                    <a:pt x="3922871" y="297656"/>
                    <a:pt x="3922871" y="301466"/>
                    <a:pt x="3923824" y="308134"/>
                  </a:cubicBezTo>
                  <a:cubicBezTo>
                    <a:pt x="3920966" y="297656"/>
                    <a:pt x="3919061" y="291941"/>
                    <a:pt x="3919061" y="291941"/>
                  </a:cubicBezTo>
                  <a:cubicBezTo>
                    <a:pt x="3919061" y="291941"/>
                    <a:pt x="3920014" y="301466"/>
                    <a:pt x="3922871" y="317659"/>
                  </a:cubicBezTo>
                  <a:cubicBezTo>
                    <a:pt x="3922871" y="320516"/>
                    <a:pt x="3923824" y="322421"/>
                    <a:pt x="3923824" y="325279"/>
                  </a:cubicBezTo>
                  <a:cubicBezTo>
                    <a:pt x="3922871" y="328136"/>
                    <a:pt x="3922871" y="331946"/>
                    <a:pt x="3921919" y="334804"/>
                  </a:cubicBezTo>
                  <a:cubicBezTo>
                    <a:pt x="3921919" y="334804"/>
                    <a:pt x="3921919" y="335756"/>
                    <a:pt x="3921919" y="335756"/>
                  </a:cubicBezTo>
                  <a:cubicBezTo>
                    <a:pt x="3921919" y="333851"/>
                    <a:pt x="3920966" y="331946"/>
                    <a:pt x="3920966" y="330041"/>
                  </a:cubicBezTo>
                  <a:cubicBezTo>
                    <a:pt x="3919061" y="319564"/>
                    <a:pt x="3917156" y="310039"/>
                    <a:pt x="3915251" y="301466"/>
                  </a:cubicBezTo>
                  <a:cubicBezTo>
                    <a:pt x="3913346" y="293846"/>
                    <a:pt x="3912394" y="287179"/>
                    <a:pt x="3911441" y="281464"/>
                  </a:cubicBezTo>
                  <a:cubicBezTo>
                    <a:pt x="3911441" y="273844"/>
                    <a:pt x="3912394" y="268129"/>
                    <a:pt x="3912394" y="264319"/>
                  </a:cubicBezTo>
                  <a:cubicBezTo>
                    <a:pt x="3912394" y="264319"/>
                    <a:pt x="3912394" y="263366"/>
                    <a:pt x="3912394" y="263366"/>
                  </a:cubicBezTo>
                  <a:cubicBezTo>
                    <a:pt x="3914299" y="265271"/>
                    <a:pt x="3917156" y="268129"/>
                    <a:pt x="3919061" y="270986"/>
                  </a:cubicBezTo>
                  <a:cubicBezTo>
                    <a:pt x="3920966" y="272891"/>
                    <a:pt x="3922871" y="274796"/>
                    <a:pt x="3923824" y="277654"/>
                  </a:cubicBezTo>
                  <a:cubicBezTo>
                    <a:pt x="3923824" y="277654"/>
                    <a:pt x="3923824" y="280511"/>
                    <a:pt x="3924776" y="284321"/>
                  </a:cubicBezTo>
                  <a:cubicBezTo>
                    <a:pt x="3922871" y="279559"/>
                    <a:pt x="3921919" y="277654"/>
                    <a:pt x="3921919" y="277654"/>
                  </a:cubicBezTo>
                  <a:cubicBezTo>
                    <a:pt x="3921919" y="277654"/>
                    <a:pt x="3923824" y="284321"/>
                    <a:pt x="3926681" y="296704"/>
                  </a:cubicBezTo>
                  <a:cubicBezTo>
                    <a:pt x="3926681" y="298609"/>
                    <a:pt x="3927634" y="301466"/>
                    <a:pt x="3927634" y="304324"/>
                  </a:cubicBezTo>
                  <a:cubicBezTo>
                    <a:pt x="3927634" y="304324"/>
                    <a:pt x="3927634" y="304324"/>
                    <a:pt x="3927634" y="305276"/>
                  </a:cubicBezTo>
                  <a:cubicBezTo>
                    <a:pt x="3926681" y="304324"/>
                    <a:pt x="3925729" y="306229"/>
                    <a:pt x="3925729" y="309086"/>
                  </a:cubicBezTo>
                  <a:close/>
                  <a:moveTo>
                    <a:pt x="3929539" y="287179"/>
                  </a:moveTo>
                  <a:cubicBezTo>
                    <a:pt x="3929539" y="289084"/>
                    <a:pt x="3928586" y="290989"/>
                    <a:pt x="3928586" y="292894"/>
                  </a:cubicBezTo>
                  <a:cubicBezTo>
                    <a:pt x="3928586" y="291941"/>
                    <a:pt x="3927634" y="290989"/>
                    <a:pt x="3927634" y="290036"/>
                  </a:cubicBezTo>
                  <a:cubicBezTo>
                    <a:pt x="3924776" y="281464"/>
                    <a:pt x="3923824" y="275749"/>
                    <a:pt x="3923824" y="275749"/>
                  </a:cubicBezTo>
                  <a:cubicBezTo>
                    <a:pt x="3924776" y="277654"/>
                    <a:pt x="3926681" y="279559"/>
                    <a:pt x="3927634" y="281464"/>
                  </a:cubicBezTo>
                  <a:cubicBezTo>
                    <a:pt x="3928586" y="282416"/>
                    <a:pt x="3928586" y="283369"/>
                    <a:pt x="3929539" y="284321"/>
                  </a:cubicBezTo>
                  <a:cubicBezTo>
                    <a:pt x="3929539" y="284321"/>
                    <a:pt x="3929539" y="285274"/>
                    <a:pt x="3929539" y="287179"/>
                  </a:cubicBezTo>
                  <a:close/>
                  <a:moveTo>
                    <a:pt x="3926681" y="242411"/>
                  </a:moveTo>
                  <a:cubicBezTo>
                    <a:pt x="3927634" y="251936"/>
                    <a:pt x="3928586" y="261461"/>
                    <a:pt x="3928586" y="270986"/>
                  </a:cubicBezTo>
                  <a:cubicBezTo>
                    <a:pt x="3926681" y="269081"/>
                    <a:pt x="3924776" y="266224"/>
                    <a:pt x="3921919" y="265271"/>
                  </a:cubicBezTo>
                  <a:cubicBezTo>
                    <a:pt x="3919061" y="262414"/>
                    <a:pt x="3916204" y="259556"/>
                    <a:pt x="3913346" y="257651"/>
                  </a:cubicBezTo>
                  <a:cubicBezTo>
                    <a:pt x="3915251" y="253841"/>
                    <a:pt x="3916204" y="250031"/>
                    <a:pt x="3917156" y="246221"/>
                  </a:cubicBezTo>
                  <a:cubicBezTo>
                    <a:pt x="3920014" y="241459"/>
                    <a:pt x="3922871" y="236696"/>
                    <a:pt x="3925729" y="232886"/>
                  </a:cubicBezTo>
                  <a:cubicBezTo>
                    <a:pt x="3925729" y="235744"/>
                    <a:pt x="3925729" y="239554"/>
                    <a:pt x="3926681" y="242411"/>
                  </a:cubicBezTo>
                  <a:close/>
                  <a:moveTo>
                    <a:pt x="3900964" y="168116"/>
                  </a:moveTo>
                  <a:cubicBezTo>
                    <a:pt x="3905726" y="160496"/>
                    <a:pt x="3910489" y="153829"/>
                    <a:pt x="3914299" y="147161"/>
                  </a:cubicBezTo>
                  <a:cubicBezTo>
                    <a:pt x="3914299" y="150019"/>
                    <a:pt x="3915251" y="152876"/>
                    <a:pt x="3915251" y="156686"/>
                  </a:cubicBezTo>
                  <a:cubicBezTo>
                    <a:pt x="3917156" y="168116"/>
                    <a:pt x="3919061" y="181451"/>
                    <a:pt x="3920966" y="196691"/>
                  </a:cubicBezTo>
                  <a:cubicBezTo>
                    <a:pt x="3921919" y="202406"/>
                    <a:pt x="3921919" y="208121"/>
                    <a:pt x="3922871" y="213836"/>
                  </a:cubicBezTo>
                  <a:cubicBezTo>
                    <a:pt x="3920966" y="211931"/>
                    <a:pt x="3920014" y="210979"/>
                    <a:pt x="3920014" y="210979"/>
                  </a:cubicBezTo>
                  <a:cubicBezTo>
                    <a:pt x="3920014" y="210979"/>
                    <a:pt x="3920966" y="212884"/>
                    <a:pt x="3923824" y="214789"/>
                  </a:cubicBezTo>
                  <a:cubicBezTo>
                    <a:pt x="3923824" y="218599"/>
                    <a:pt x="3924776" y="222409"/>
                    <a:pt x="3924776" y="226219"/>
                  </a:cubicBezTo>
                  <a:cubicBezTo>
                    <a:pt x="3919061" y="232886"/>
                    <a:pt x="3913346" y="240506"/>
                    <a:pt x="3906679" y="249079"/>
                  </a:cubicBezTo>
                  <a:cubicBezTo>
                    <a:pt x="3905726" y="250031"/>
                    <a:pt x="3905726" y="250984"/>
                    <a:pt x="3904774" y="251936"/>
                  </a:cubicBezTo>
                  <a:cubicBezTo>
                    <a:pt x="3903821" y="251936"/>
                    <a:pt x="3903821" y="250984"/>
                    <a:pt x="3902869" y="250984"/>
                  </a:cubicBezTo>
                  <a:cubicBezTo>
                    <a:pt x="3901916" y="245269"/>
                    <a:pt x="3900964" y="242411"/>
                    <a:pt x="3900964" y="242411"/>
                  </a:cubicBezTo>
                  <a:cubicBezTo>
                    <a:pt x="3900964" y="242411"/>
                    <a:pt x="3900964" y="245269"/>
                    <a:pt x="3900964" y="249079"/>
                  </a:cubicBezTo>
                  <a:cubicBezTo>
                    <a:pt x="3900011" y="248126"/>
                    <a:pt x="3898106" y="247174"/>
                    <a:pt x="3897154" y="247174"/>
                  </a:cubicBezTo>
                  <a:cubicBezTo>
                    <a:pt x="3893344" y="245269"/>
                    <a:pt x="3891439" y="243364"/>
                    <a:pt x="3891439" y="243364"/>
                  </a:cubicBezTo>
                  <a:cubicBezTo>
                    <a:pt x="3891439" y="243364"/>
                    <a:pt x="3893344" y="245269"/>
                    <a:pt x="3896201" y="248126"/>
                  </a:cubicBezTo>
                  <a:cubicBezTo>
                    <a:pt x="3897154" y="249079"/>
                    <a:pt x="3899059" y="250984"/>
                    <a:pt x="3900964" y="251936"/>
                  </a:cubicBezTo>
                  <a:cubicBezTo>
                    <a:pt x="3900964" y="253841"/>
                    <a:pt x="3900964" y="254794"/>
                    <a:pt x="3900964" y="256699"/>
                  </a:cubicBezTo>
                  <a:cubicBezTo>
                    <a:pt x="3899059" y="259556"/>
                    <a:pt x="3896201" y="263366"/>
                    <a:pt x="3894296" y="266224"/>
                  </a:cubicBezTo>
                  <a:cubicBezTo>
                    <a:pt x="3893344" y="261461"/>
                    <a:pt x="3891439" y="255746"/>
                    <a:pt x="3890486" y="250984"/>
                  </a:cubicBezTo>
                  <a:cubicBezTo>
                    <a:pt x="3886676" y="235744"/>
                    <a:pt x="3883819" y="222409"/>
                    <a:pt x="3880009" y="210026"/>
                  </a:cubicBezTo>
                  <a:cubicBezTo>
                    <a:pt x="3880009" y="209074"/>
                    <a:pt x="3879056" y="207169"/>
                    <a:pt x="3879056" y="206216"/>
                  </a:cubicBezTo>
                  <a:cubicBezTo>
                    <a:pt x="3886676" y="191929"/>
                    <a:pt x="3894296" y="178594"/>
                    <a:pt x="3900964" y="168116"/>
                  </a:cubicBezTo>
                  <a:close/>
                  <a:moveTo>
                    <a:pt x="3873341" y="214789"/>
                  </a:moveTo>
                  <a:cubicBezTo>
                    <a:pt x="3875246" y="226219"/>
                    <a:pt x="3877151" y="238601"/>
                    <a:pt x="3879056" y="251936"/>
                  </a:cubicBezTo>
                  <a:cubicBezTo>
                    <a:pt x="3880009" y="260509"/>
                    <a:pt x="3881914" y="270034"/>
                    <a:pt x="3883819" y="280511"/>
                  </a:cubicBezTo>
                  <a:cubicBezTo>
                    <a:pt x="3883819" y="281464"/>
                    <a:pt x="3882866" y="281464"/>
                    <a:pt x="3882866" y="282416"/>
                  </a:cubicBezTo>
                  <a:cubicBezTo>
                    <a:pt x="3880009" y="273844"/>
                    <a:pt x="3878104" y="266224"/>
                    <a:pt x="3875246" y="259556"/>
                  </a:cubicBezTo>
                  <a:cubicBezTo>
                    <a:pt x="3871436" y="250031"/>
                    <a:pt x="3868579" y="241459"/>
                    <a:pt x="3865721" y="234791"/>
                  </a:cubicBezTo>
                  <a:cubicBezTo>
                    <a:pt x="3865721" y="233839"/>
                    <a:pt x="3864769" y="232886"/>
                    <a:pt x="3864769" y="231934"/>
                  </a:cubicBezTo>
                  <a:cubicBezTo>
                    <a:pt x="3867626" y="225266"/>
                    <a:pt x="3870484" y="219551"/>
                    <a:pt x="3873341" y="214789"/>
                  </a:cubicBezTo>
                  <a:close/>
                  <a:moveTo>
                    <a:pt x="3864769" y="341471"/>
                  </a:moveTo>
                  <a:cubicBezTo>
                    <a:pt x="3863816" y="342424"/>
                    <a:pt x="3863816" y="344329"/>
                    <a:pt x="3862864" y="345281"/>
                  </a:cubicBezTo>
                  <a:cubicBezTo>
                    <a:pt x="3862864" y="344329"/>
                    <a:pt x="3863816" y="343376"/>
                    <a:pt x="3864769" y="341471"/>
                  </a:cubicBezTo>
                  <a:cubicBezTo>
                    <a:pt x="3864769" y="341471"/>
                    <a:pt x="3864769" y="341471"/>
                    <a:pt x="3864769" y="341471"/>
                  </a:cubicBezTo>
                  <a:close/>
                  <a:moveTo>
                    <a:pt x="3854291" y="211931"/>
                  </a:moveTo>
                  <a:cubicBezTo>
                    <a:pt x="3854291" y="208121"/>
                    <a:pt x="3855244" y="204311"/>
                    <a:pt x="3856196" y="201454"/>
                  </a:cubicBezTo>
                  <a:cubicBezTo>
                    <a:pt x="3856196" y="206216"/>
                    <a:pt x="3856196" y="212884"/>
                    <a:pt x="3857149" y="220504"/>
                  </a:cubicBezTo>
                  <a:cubicBezTo>
                    <a:pt x="3856196" y="222409"/>
                    <a:pt x="3855244" y="224314"/>
                    <a:pt x="3854291" y="226219"/>
                  </a:cubicBezTo>
                  <a:cubicBezTo>
                    <a:pt x="3853339" y="220504"/>
                    <a:pt x="3854291" y="215741"/>
                    <a:pt x="3854291" y="211931"/>
                  </a:cubicBezTo>
                  <a:close/>
                  <a:moveTo>
                    <a:pt x="3849529" y="262414"/>
                  </a:moveTo>
                  <a:cubicBezTo>
                    <a:pt x="3849529" y="260509"/>
                    <a:pt x="3849529" y="259556"/>
                    <a:pt x="3849529" y="257651"/>
                  </a:cubicBezTo>
                  <a:cubicBezTo>
                    <a:pt x="3849529" y="257651"/>
                    <a:pt x="3849529" y="256699"/>
                    <a:pt x="3850481" y="256699"/>
                  </a:cubicBezTo>
                  <a:cubicBezTo>
                    <a:pt x="3853339" y="263366"/>
                    <a:pt x="3856196" y="270986"/>
                    <a:pt x="3859054" y="278606"/>
                  </a:cubicBezTo>
                  <a:cubicBezTo>
                    <a:pt x="3859054" y="279559"/>
                    <a:pt x="3859054" y="279559"/>
                    <a:pt x="3860006" y="280511"/>
                  </a:cubicBezTo>
                  <a:cubicBezTo>
                    <a:pt x="3860959" y="290989"/>
                    <a:pt x="3861911" y="302419"/>
                    <a:pt x="3862864" y="313849"/>
                  </a:cubicBezTo>
                  <a:cubicBezTo>
                    <a:pt x="3862864" y="313849"/>
                    <a:pt x="3862864" y="313849"/>
                    <a:pt x="3862864" y="313849"/>
                  </a:cubicBezTo>
                  <a:cubicBezTo>
                    <a:pt x="3858101" y="305276"/>
                    <a:pt x="3852386" y="298609"/>
                    <a:pt x="3847624" y="291941"/>
                  </a:cubicBezTo>
                  <a:cubicBezTo>
                    <a:pt x="3848576" y="281464"/>
                    <a:pt x="3848576" y="271939"/>
                    <a:pt x="3849529" y="262414"/>
                  </a:cubicBezTo>
                  <a:close/>
                  <a:moveTo>
                    <a:pt x="3846671" y="308134"/>
                  </a:moveTo>
                  <a:cubicBezTo>
                    <a:pt x="3849529" y="312896"/>
                    <a:pt x="3852386" y="318611"/>
                    <a:pt x="3855244" y="323374"/>
                  </a:cubicBezTo>
                  <a:cubicBezTo>
                    <a:pt x="3855244" y="324326"/>
                    <a:pt x="3856196" y="324326"/>
                    <a:pt x="3856196" y="325279"/>
                  </a:cubicBezTo>
                  <a:cubicBezTo>
                    <a:pt x="3856196" y="326231"/>
                    <a:pt x="3855244" y="326231"/>
                    <a:pt x="3855244" y="327184"/>
                  </a:cubicBezTo>
                  <a:cubicBezTo>
                    <a:pt x="3853339" y="330041"/>
                    <a:pt x="3851434" y="333851"/>
                    <a:pt x="3849529" y="336709"/>
                  </a:cubicBezTo>
                  <a:cubicBezTo>
                    <a:pt x="3848576" y="334804"/>
                    <a:pt x="3846671" y="331946"/>
                    <a:pt x="3845719" y="330041"/>
                  </a:cubicBezTo>
                  <a:cubicBezTo>
                    <a:pt x="3845719" y="323374"/>
                    <a:pt x="3846671" y="315754"/>
                    <a:pt x="3846671" y="308134"/>
                  </a:cubicBezTo>
                  <a:close/>
                  <a:moveTo>
                    <a:pt x="3843814" y="415766"/>
                  </a:moveTo>
                  <a:cubicBezTo>
                    <a:pt x="3844766" y="413861"/>
                    <a:pt x="3845719" y="411956"/>
                    <a:pt x="3846671" y="410051"/>
                  </a:cubicBezTo>
                  <a:cubicBezTo>
                    <a:pt x="3846671" y="411956"/>
                    <a:pt x="3847624" y="414814"/>
                    <a:pt x="3847624" y="416719"/>
                  </a:cubicBezTo>
                  <a:cubicBezTo>
                    <a:pt x="3847624" y="417671"/>
                    <a:pt x="3847624" y="418624"/>
                    <a:pt x="3847624" y="419576"/>
                  </a:cubicBezTo>
                  <a:cubicBezTo>
                    <a:pt x="3847624" y="420529"/>
                    <a:pt x="3846671" y="421481"/>
                    <a:pt x="3846671" y="422434"/>
                  </a:cubicBezTo>
                  <a:cubicBezTo>
                    <a:pt x="3845719" y="423386"/>
                    <a:pt x="3845719" y="425291"/>
                    <a:pt x="3844766" y="426244"/>
                  </a:cubicBezTo>
                  <a:lnTo>
                    <a:pt x="3842861" y="426244"/>
                  </a:lnTo>
                  <a:cubicBezTo>
                    <a:pt x="3843814" y="422434"/>
                    <a:pt x="3843814" y="418624"/>
                    <a:pt x="3843814" y="415766"/>
                  </a:cubicBezTo>
                  <a:close/>
                  <a:moveTo>
                    <a:pt x="3830479" y="297656"/>
                  </a:moveTo>
                  <a:cubicBezTo>
                    <a:pt x="3830479" y="298609"/>
                    <a:pt x="3830479" y="298609"/>
                    <a:pt x="3830479" y="299561"/>
                  </a:cubicBezTo>
                  <a:cubicBezTo>
                    <a:pt x="3830479" y="300514"/>
                    <a:pt x="3830479" y="300514"/>
                    <a:pt x="3830479" y="301466"/>
                  </a:cubicBezTo>
                  <a:cubicBezTo>
                    <a:pt x="3830479" y="303371"/>
                    <a:pt x="3830479" y="305276"/>
                    <a:pt x="3829526" y="307181"/>
                  </a:cubicBezTo>
                  <a:cubicBezTo>
                    <a:pt x="3828574" y="306229"/>
                    <a:pt x="3827621" y="305276"/>
                    <a:pt x="3827621" y="304324"/>
                  </a:cubicBezTo>
                  <a:cubicBezTo>
                    <a:pt x="3828574" y="301466"/>
                    <a:pt x="3829526" y="299561"/>
                    <a:pt x="3830479" y="297656"/>
                  </a:cubicBezTo>
                  <a:close/>
                  <a:moveTo>
                    <a:pt x="3826669" y="305276"/>
                  </a:moveTo>
                  <a:cubicBezTo>
                    <a:pt x="3827621" y="306229"/>
                    <a:pt x="3827621" y="308134"/>
                    <a:pt x="3828574" y="310039"/>
                  </a:cubicBezTo>
                  <a:cubicBezTo>
                    <a:pt x="3828574" y="311944"/>
                    <a:pt x="3828574" y="312896"/>
                    <a:pt x="3827621" y="314801"/>
                  </a:cubicBezTo>
                  <a:cubicBezTo>
                    <a:pt x="3826669" y="312896"/>
                    <a:pt x="3824764" y="310991"/>
                    <a:pt x="3823811" y="309086"/>
                  </a:cubicBezTo>
                  <a:cubicBezTo>
                    <a:pt x="3825716" y="307181"/>
                    <a:pt x="3825716" y="306229"/>
                    <a:pt x="3826669" y="305276"/>
                  </a:cubicBezTo>
                  <a:close/>
                  <a:moveTo>
                    <a:pt x="3820001" y="319564"/>
                  </a:moveTo>
                  <a:cubicBezTo>
                    <a:pt x="3821906" y="323374"/>
                    <a:pt x="3823811" y="328136"/>
                    <a:pt x="3826669" y="332899"/>
                  </a:cubicBezTo>
                  <a:cubicBezTo>
                    <a:pt x="3826669" y="332899"/>
                    <a:pt x="3826669" y="333851"/>
                    <a:pt x="3827621" y="333851"/>
                  </a:cubicBezTo>
                  <a:cubicBezTo>
                    <a:pt x="3827621" y="336709"/>
                    <a:pt x="3826669" y="339566"/>
                    <a:pt x="3826669" y="343376"/>
                  </a:cubicBezTo>
                  <a:cubicBezTo>
                    <a:pt x="3825716" y="354806"/>
                    <a:pt x="3825716" y="366236"/>
                    <a:pt x="3824764" y="377666"/>
                  </a:cubicBezTo>
                  <a:cubicBezTo>
                    <a:pt x="3823811" y="372904"/>
                    <a:pt x="3821906" y="368141"/>
                    <a:pt x="3820954" y="364331"/>
                  </a:cubicBezTo>
                  <a:cubicBezTo>
                    <a:pt x="3820954" y="360521"/>
                    <a:pt x="3820001" y="356711"/>
                    <a:pt x="3820001" y="352901"/>
                  </a:cubicBezTo>
                  <a:cubicBezTo>
                    <a:pt x="3820001" y="347186"/>
                    <a:pt x="3819049" y="341471"/>
                    <a:pt x="3818096" y="336709"/>
                  </a:cubicBezTo>
                  <a:cubicBezTo>
                    <a:pt x="3820001" y="333851"/>
                    <a:pt x="3821906" y="332899"/>
                    <a:pt x="3821906" y="332899"/>
                  </a:cubicBezTo>
                  <a:cubicBezTo>
                    <a:pt x="3821906" y="332899"/>
                    <a:pt x="3820954" y="333851"/>
                    <a:pt x="3818096" y="335756"/>
                  </a:cubicBezTo>
                  <a:cubicBezTo>
                    <a:pt x="3818096" y="332899"/>
                    <a:pt x="3817144" y="329089"/>
                    <a:pt x="3817144" y="326231"/>
                  </a:cubicBezTo>
                  <a:cubicBezTo>
                    <a:pt x="3818096" y="323374"/>
                    <a:pt x="3819049" y="321469"/>
                    <a:pt x="3820001" y="319564"/>
                  </a:cubicBezTo>
                  <a:close/>
                  <a:moveTo>
                    <a:pt x="3788569" y="264319"/>
                  </a:moveTo>
                  <a:cubicBezTo>
                    <a:pt x="3789521" y="266224"/>
                    <a:pt x="3791426" y="268129"/>
                    <a:pt x="3792379" y="270986"/>
                  </a:cubicBezTo>
                  <a:cubicBezTo>
                    <a:pt x="3795236" y="274796"/>
                    <a:pt x="3798094" y="280511"/>
                    <a:pt x="3800951" y="285274"/>
                  </a:cubicBezTo>
                  <a:cubicBezTo>
                    <a:pt x="3800951" y="286226"/>
                    <a:pt x="3800951" y="286226"/>
                    <a:pt x="3800951" y="287179"/>
                  </a:cubicBezTo>
                  <a:cubicBezTo>
                    <a:pt x="3800951" y="290989"/>
                    <a:pt x="3800951" y="294799"/>
                    <a:pt x="3800951" y="298609"/>
                  </a:cubicBezTo>
                  <a:cubicBezTo>
                    <a:pt x="3800951" y="299561"/>
                    <a:pt x="3800951" y="300514"/>
                    <a:pt x="3800951" y="300514"/>
                  </a:cubicBezTo>
                  <a:cubicBezTo>
                    <a:pt x="3799999" y="295751"/>
                    <a:pt x="3798094" y="291941"/>
                    <a:pt x="3797141" y="287179"/>
                  </a:cubicBezTo>
                  <a:cubicBezTo>
                    <a:pt x="3797141" y="286226"/>
                    <a:pt x="3796189" y="285274"/>
                    <a:pt x="3796189" y="285274"/>
                  </a:cubicBezTo>
                  <a:cubicBezTo>
                    <a:pt x="3796189" y="282416"/>
                    <a:pt x="3796189" y="280511"/>
                    <a:pt x="3796189" y="280511"/>
                  </a:cubicBezTo>
                  <a:cubicBezTo>
                    <a:pt x="3796189" y="280511"/>
                    <a:pt x="3796189" y="281464"/>
                    <a:pt x="3795236" y="283369"/>
                  </a:cubicBezTo>
                  <a:cubicBezTo>
                    <a:pt x="3794284" y="279559"/>
                    <a:pt x="3792379" y="275749"/>
                    <a:pt x="3791426" y="271939"/>
                  </a:cubicBezTo>
                  <a:cubicBezTo>
                    <a:pt x="3790474" y="269081"/>
                    <a:pt x="3789521" y="266224"/>
                    <a:pt x="3788569" y="264319"/>
                  </a:cubicBezTo>
                  <a:close/>
                  <a:moveTo>
                    <a:pt x="3748564" y="364331"/>
                  </a:moveTo>
                  <a:cubicBezTo>
                    <a:pt x="3748564" y="359569"/>
                    <a:pt x="3748564" y="355759"/>
                    <a:pt x="3748564" y="351949"/>
                  </a:cubicBezTo>
                  <a:cubicBezTo>
                    <a:pt x="3749516" y="353854"/>
                    <a:pt x="3749516" y="355759"/>
                    <a:pt x="3750469" y="358616"/>
                  </a:cubicBezTo>
                  <a:cubicBezTo>
                    <a:pt x="3749516" y="359569"/>
                    <a:pt x="3749516" y="361474"/>
                    <a:pt x="3748564" y="364331"/>
                  </a:cubicBezTo>
                  <a:close/>
                  <a:moveTo>
                    <a:pt x="3762851" y="399574"/>
                  </a:moveTo>
                  <a:cubicBezTo>
                    <a:pt x="3761899" y="401479"/>
                    <a:pt x="3760946" y="403384"/>
                    <a:pt x="3759994" y="405289"/>
                  </a:cubicBezTo>
                  <a:cubicBezTo>
                    <a:pt x="3759994" y="400526"/>
                    <a:pt x="3760946" y="395764"/>
                    <a:pt x="3760946" y="391954"/>
                  </a:cubicBezTo>
                  <a:cubicBezTo>
                    <a:pt x="3760946" y="391954"/>
                    <a:pt x="3760946" y="391001"/>
                    <a:pt x="3760946" y="391001"/>
                  </a:cubicBezTo>
                  <a:cubicBezTo>
                    <a:pt x="3761899" y="392906"/>
                    <a:pt x="3761899" y="394811"/>
                    <a:pt x="3762851" y="396716"/>
                  </a:cubicBezTo>
                  <a:cubicBezTo>
                    <a:pt x="3763804" y="397669"/>
                    <a:pt x="3762851" y="398621"/>
                    <a:pt x="3762851" y="399574"/>
                  </a:cubicBezTo>
                  <a:close/>
                  <a:moveTo>
                    <a:pt x="3770471" y="290036"/>
                  </a:moveTo>
                  <a:cubicBezTo>
                    <a:pt x="3772376" y="296704"/>
                    <a:pt x="3773329" y="302419"/>
                    <a:pt x="3775234" y="309086"/>
                  </a:cubicBezTo>
                  <a:cubicBezTo>
                    <a:pt x="3774281" y="306229"/>
                    <a:pt x="3773329" y="304324"/>
                    <a:pt x="3771424" y="301466"/>
                  </a:cubicBezTo>
                  <a:cubicBezTo>
                    <a:pt x="3771424" y="300514"/>
                    <a:pt x="3770471" y="300514"/>
                    <a:pt x="3770471" y="299561"/>
                  </a:cubicBezTo>
                  <a:cubicBezTo>
                    <a:pt x="3770471" y="296704"/>
                    <a:pt x="3770471" y="293846"/>
                    <a:pt x="3770471" y="290989"/>
                  </a:cubicBezTo>
                  <a:cubicBezTo>
                    <a:pt x="3770471" y="290989"/>
                    <a:pt x="3770471" y="290036"/>
                    <a:pt x="3770471" y="290036"/>
                  </a:cubicBezTo>
                  <a:close/>
                  <a:moveTo>
                    <a:pt x="3769519" y="370046"/>
                  </a:moveTo>
                  <a:cubicBezTo>
                    <a:pt x="3769519" y="370999"/>
                    <a:pt x="3769519" y="371951"/>
                    <a:pt x="3770471" y="372904"/>
                  </a:cubicBezTo>
                  <a:cubicBezTo>
                    <a:pt x="3769519" y="370999"/>
                    <a:pt x="3768566" y="369094"/>
                    <a:pt x="3767614" y="366236"/>
                  </a:cubicBezTo>
                  <a:cubicBezTo>
                    <a:pt x="3767614" y="362426"/>
                    <a:pt x="3767614" y="359569"/>
                    <a:pt x="3767614" y="359569"/>
                  </a:cubicBezTo>
                  <a:cubicBezTo>
                    <a:pt x="3767614" y="359569"/>
                    <a:pt x="3767614" y="361474"/>
                    <a:pt x="3766661" y="364331"/>
                  </a:cubicBezTo>
                  <a:cubicBezTo>
                    <a:pt x="3765709" y="363379"/>
                    <a:pt x="3765709" y="361474"/>
                    <a:pt x="3764756" y="360521"/>
                  </a:cubicBezTo>
                  <a:cubicBezTo>
                    <a:pt x="3764756" y="359569"/>
                    <a:pt x="3764756" y="358616"/>
                    <a:pt x="3764756" y="357664"/>
                  </a:cubicBezTo>
                  <a:cubicBezTo>
                    <a:pt x="3764756" y="355759"/>
                    <a:pt x="3765709" y="353854"/>
                    <a:pt x="3765709" y="351949"/>
                  </a:cubicBezTo>
                  <a:cubicBezTo>
                    <a:pt x="3767614" y="358616"/>
                    <a:pt x="3768566" y="364331"/>
                    <a:pt x="3769519" y="370046"/>
                  </a:cubicBezTo>
                  <a:close/>
                  <a:moveTo>
                    <a:pt x="3753326" y="250031"/>
                  </a:moveTo>
                  <a:cubicBezTo>
                    <a:pt x="3754279" y="245269"/>
                    <a:pt x="3754279" y="241459"/>
                    <a:pt x="3755231" y="236696"/>
                  </a:cubicBezTo>
                  <a:cubicBezTo>
                    <a:pt x="3755231" y="235744"/>
                    <a:pt x="3755231" y="233839"/>
                    <a:pt x="3756184" y="232886"/>
                  </a:cubicBezTo>
                  <a:cubicBezTo>
                    <a:pt x="3757136" y="231934"/>
                    <a:pt x="3757136" y="230981"/>
                    <a:pt x="3758089" y="230029"/>
                  </a:cubicBezTo>
                  <a:cubicBezTo>
                    <a:pt x="3759041" y="232886"/>
                    <a:pt x="3759041" y="234791"/>
                    <a:pt x="3759994" y="237649"/>
                  </a:cubicBezTo>
                  <a:cubicBezTo>
                    <a:pt x="3762851" y="250984"/>
                    <a:pt x="3766661" y="266224"/>
                    <a:pt x="3769519" y="281464"/>
                  </a:cubicBezTo>
                  <a:cubicBezTo>
                    <a:pt x="3768566" y="284321"/>
                    <a:pt x="3768566" y="287179"/>
                    <a:pt x="3767614" y="290036"/>
                  </a:cubicBezTo>
                  <a:cubicBezTo>
                    <a:pt x="3767614" y="290036"/>
                    <a:pt x="3767614" y="290036"/>
                    <a:pt x="3767614" y="290989"/>
                  </a:cubicBezTo>
                  <a:cubicBezTo>
                    <a:pt x="3762851" y="280511"/>
                    <a:pt x="3757136" y="270986"/>
                    <a:pt x="3752374" y="261461"/>
                  </a:cubicBezTo>
                  <a:cubicBezTo>
                    <a:pt x="3752374" y="258604"/>
                    <a:pt x="3752374" y="253841"/>
                    <a:pt x="3753326" y="250031"/>
                  </a:cubicBezTo>
                  <a:close/>
                  <a:moveTo>
                    <a:pt x="3748564" y="296704"/>
                  </a:moveTo>
                  <a:cubicBezTo>
                    <a:pt x="3748564" y="296704"/>
                    <a:pt x="3748564" y="296704"/>
                    <a:pt x="3748564" y="296704"/>
                  </a:cubicBezTo>
                  <a:cubicBezTo>
                    <a:pt x="3751421" y="301466"/>
                    <a:pt x="3753326" y="307181"/>
                    <a:pt x="3756184" y="313849"/>
                  </a:cubicBezTo>
                  <a:cubicBezTo>
                    <a:pt x="3756184" y="314801"/>
                    <a:pt x="3757136" y="315754"/>
                    <a:pt x="3757136" y="316706"/>
                  </a:cubicBezTo>
                  <a:cubicBezTo>
                    <a:pt x="3758089" y="318611"/>
                    <a:pt x="3758089" y="321469"/>
                    <a:pt x="3759041" y="323374"/>
                  </a:cubicBezTo>
                  <a:cubicBezTo>
                    <a:pt x="3758089" y="325279"/>
                    <a:pt x="3758089" y="328136"/>
                    <a:pt x="3757136" y="330041"/>
                  </a:cubicBezTo>
                  <a:cubicBezTo>
                    <a:pt x="3756184" y="333851"/>
                    <a:pt x="3755231" y="337661"/>
                    <a:pt x="3754279" y="341471"/>
                  </a:cubicBezTo>
                  <a:cubicBezTo>
                    <a:pt x="3753326" y="339566"/>
                    <a:pt x="3751421" y="337661"/>
                    <a:pt x="3750469" y="335756"/>
                  </a:cubicBezTo>
                  <a:cubicBezTo>
                    <a:pt x="3749516" y="333851"/>
                    <a:pt x="3748564" y="332899"/>
                    <a:pt x="3747611" y="331946"/>
                  </a:cubicBezTo>
                  <a:cubicBezTo>
                    <a:pt x="3748564" y="320516"/>
                    <a:pt x="3748564" y="308134"/>
                    <a:pt x="3748564" y="296704"/>
                  </a:cubicBezTo>
                  <a:close/>
                  <a:moveTo>
                    <a:pt x="3738086" y="273844"/>
                  </a:moveTo>
                  <a:cubicBezTo>
                    <a:pt x="3738086" y="273844"/>
                    <a:pt x="3738086" y="273844"/>
                    <a:pt x="3738086" y="273844"/>
                  </a:cubicBezTo>
                  <a:cubicBezTo>
                    <a:pt x="3738086" y="274796"/>
                    <a:pt x="3738086" y="274796"/>
                    <a:pt x="3738086" y="274796"/>
                  </a:cubicBezTo>
                  <a:cubicBezTo>
                    <a:pt x="3738086" y="273844"/>
                    <a:pt x="3738086" y="273844"/>
                    <a:pt x="3738086" y="273844"/>
                  </a:cubicBezTo>
                  <a:close/>
                  <a:moveTo>
                    <a:pt x="3689509" y="326231"/>
                  </a:moveTo>
                  <a:cubicBezTo>
                    <a:pt x="3688556" y="328136"/>
                    <a:pt x="3687604" y="330041"/>
                    <a:pt x="3686651" y="331946"/>
                  </a:cubicBezTo>
                  <a:cubicBezTo>
                    <a:pt x="3686651" y="331946"/>
                    <a:pt x="3686651" y="330994"/>
                    <a:pt x="3685699" y="330994"/>
                  </a:cubicBezTo>
                  <a:cubicBezTo>
                    <a:pt x="3685699" y="328136"/>
                    <a:pt x="3685699" y="325279"/>
                    <a:pt x="3685699" y="322421"/>
                  </a:cubicBezTo>
                  <a:cubicBezTo>
                    <a:pt x="3685699" y="319564"/>
                    <a:pt x="3685699" y="316706"/>
                    <a:pt x="3685699" y="313849"/>
                  </a:cubicBezTo>
                  <a:cubicBezTo>
                    <a:pt x="3686651" y="316706"/>
                    <a:pt x="3688556" y="320516"/>
                    <a:pt x="3689509" y="325279"/>
                  </a:cubicBezTo>
                  <a:cubicBezTo>
                    <a:pt x="3689509" y="326231"/>
                    <a:pt x="3689509" y="326231"/>
                    <a:pt x="3689509" y="326231"/>
                  </a:cubicBezTo>
                  <a:close/>
                  <a:moveTo>
                    <a:pt x="3716179" y="211931"/>
                  </a:moveTo>
                  <a:cubicBezTo>
                    <a:pt x="3718084" y="214789"/>
                    <a:pt x="3719036" y="218599"/>
                    <a:pt x="3720941" y="221456"/>
                  </a:cubicBezTo>
                  <a:cubicBezTo>
                    <a:pt x="3719989" y="224314"/>
                    <a:pt x="3719989" y="227171"/>
                    <a:pt x="3719036" y="230029"/>
                  </a:cubicBezTo>
                  <a:cubicBezTo>
                    <a:pt x="3719036" y="230981"/>
                    <a:pt x="3719036" y="232886"/>
                    <a:pt x="3718084" y="233839"/>
                  </a:cubicBezTo>
                  <a:cubicBezTo>
                    <a:pt x="3715226" y="230029"/>
                    <a:pt x="3713321" y="228124"/>
                    <a:pt x="3713321" y="228124"/>
                  </a:cubicBezTo>
                  <a:cubicBezTo>
                    <a:pt x="3713321" y="228124"/>
                    <a:pt x="3715226" y="230981"/>
                    <a:pt x="3717131" y="235744"/>
                  </a:cubicBezTo>
                  <a:cubicBezTo>
                    <a:pt x="3716179" y="241459"/>
                    <a:pt x="3715226" y="247174"/>
                    <a:pt x="3714274" y="253841"/>
                  </a:cubicBezTo>
                  <a:cubicBezTo>
                    <a:pt x="3714274" y="252889"/>
                    <a:pt x="3714274" y="251936"/>
                    <a:pt x="3714274" y="250984"/>
                  </a:cubicBezTo>
                  <a:cubicBezTo>
                    <a:pt x="3714274" y="246221"/>
                    <a:pt x="3713321" y="242411"/>
                    <a:pt x="3713321" y="238601"/>
                  </a:cubicBezTo>
                  <a:cubicBezTo>
                    <a:pt x="3713321" y="234791"/>
                    <a:pt x="3713321" y="230981"/>
                    <a:pt x="3713321" y="227171"/>
                  </a:cubicBezTo>
                  <a:cubicBezTo>
                    <a:pt x="3713321" y="219551"/>
                    <a:pt x="3712369" y="213836"/>
                    <a:pt x="3712369" y="208121"/>
                  </a:cubicBezTo>
                  <a:cubicBezTo>
                    <a:pt x="3712369" y="207169"/>
                    <a:pt x="3712369" y="206216"/>
                    <a:pt x="3712369" y="205264"/>
                  </a:cubicBezTo>
                  <a:cubicBezTo>
                    <a:pt x="3713321" y="207169"/>
                    <a:pt x="3714274" y="209074"/>
                    <a:pt x="3716179" y="211931"/>
                  </a:cubicBezTo>
                  <a:close/>
                  <a:moveTo>
                    <a:pt x="3679984" y="236696"/>
                  </a:moveTo>
                  <a:cubicBezTo>
                    <a:pt x="3681889" y="222409"/>
                    <a:pt x="3683794" y="209074"/>
                    <a:pt x="3684746" y="196691"/>
                  </a:cubicBezTo>
                  <a:cubicBezTo>
                    <a:pt x="3685699" y="185261"/>
                    <a:pt x="3687604" y="174784"/>
                    <a:pt x="3687604" y="166211"/>
                  </a:cubicBezTo>
                  <a:cubicBezTo>
                    <a:pt x="3687604" y="161449"/>
                    <a:pt x="3688556" y="157639"/>
                    <a:pt x="3688556" y="154781"/>
                  </a:cubicBezTo>
                  <a:cubicBezTo>
                    <a:pt x="3690461" y="159544"/>
                    <a:pt x="3694271" y="168116"/>
                    <a:pt x="3699034" y="178594"/>
                  </a:cubicBezTo>
                  <a:cubicBezTo>
                    <a:pt x="3701891" y="184309"/>
                    <a:pt x="3704749" y="191929"/>
                    <a:pt x="3708559" y="199549"/>
                  </a:cubicBezTo>
                  <a:cubicBezTo>
                    <a:pt x="3708559" y="201454"/>
                    <a:pt x="3707606" y="204311"/>
                    <a:pt x="3707606" y="207169"/>
                  </a:cubicBezTo>
                  <a:cubicBezTo>
                    <a:pt x="3706654" y="211931"/>
                    <a:pt x="3705701" y="218599"/>
                    <a:pt x="3704749" y="226219"/>
                  </a:cubicBezTo>
                  <a:cubicBezTo>
                    <a:pt x="3703796" y="230029"/>
                    <a:pt x="3703796" y="233839"/>
                    <a:pt x="3702844" y="237649"/>
                  </a:cubicBezTo>
                  <a:cubicBezTo>
                    <a:pt x="3702844" y="241459"/>
                    <a:pt x="3701891" y="246221"/>
                    <a:pt x="3701891" y="250984"/>
                  </a:cubicBezTo>
                  <a:cubicBezTo>
                    <a:pt x="3700939" y="259556"/>
                    <a:pt x="3700939" y="270034"/>
                    <a:pt x="3700939" y="280511"/>
                  </a:cubicBezTo>
                  <a:cubicBezTo>
                    <a:pt x="3700939" y="287179"/>
                    <a:pt x="3700939" y="293846"/>
                    <a:pt x="3700939" y="300514"/>
                  </a:cubicBezTo>
                  <a:cubicBezTo>
                    <a:pt x="3699034" y="293846"/>
                    <a:pt x="3697129" y="290036"/>
                    <a:pt x="3697129" y="290036"/>
                  </a:cubicBezTo>
                  <a:cubicBezTo>
                    <a:pt x="3697129" y="290036"/>
                    <a:pt x="3698081" y="296704"/>
                    <a:pt x="3699034" y="308134"/>
                  </a:cubicBezTo>
                  <a:cubicBezTo>
                    <a:pt x="3696176" y="312896"/>
                    <a:pt x="3693319" y="317659"/>
                    <a:pt x="3690461" y="322421"/>
                  </a:cubicBezTo>
                  <a:cubicBezTo>
                    <a:pt x="3687604" y="317659"/>
                    <a:pt x="3685699" y="313849"/>
                    <a:pt x="3683794" y="310991"/>
                  </a:cubicBezTo>
                  <a:cubicBezTo>
                    <a:pt x="3683794" y="305276"/>
                    <a:pt x="3683794" y="302419"/>
                    <a:pt x="3683794" y="302419"/>
                  </a:cubicBezTo>
                  <a:cubicBezTo>
                    <a:pt x="3683794" y="302419"/>
                    <a:pt x="3683794" y="304324"/>
                    <a:pt x="3682841" y="308134"/>
                  </a:cubicBezTo>
                  <a:cubicBezTo>
                    <a:pt x="3680936" y="304324"/>
                    <a:pt x="3679031" y="302419"/>
                    <a:pt x="3679031" y="302419"/>
                  </a:cubicBezTo>
                  <a:cubicBezTo>
                    <a:pt x="3679031" y="302419"/>
                    <a:pt x="3679984" y="305276"/>
                    <a:pt x="3681889" y="310991"/>
                  </a:cubicBezTo>
                  <a:cubicBezTo>
                    <a:pt x="3680936" y="313849"/>
                    <a:pt x="3680936" y="318611"/>
                    <a:pt x="3679984" y="323374"/>
                  </a:cubicBezTo>
                  <a:cubicBezTo>
                    <a:pt x="3677126" y="317659"/>
                    <a:pt x="3675221" y="311944"/>
                    <a:pt x="3672364" y="307181"/>
                  </a:cubicBezTo>
                  <a:cubicBezTo>
                    <a:pt x="3674269" y="300514"/>
                    <a:pt x="3676174" y="294799"/>
                    <a:pt x="3677126" y="289084"/>
                  </a:cubicBezTo>
                  <a:cubicBezTo>
                    <a:pt x="3679031" y="283369"/>
                    <a:pt x="3680936" y="277654"/>
                    <a:pt x="3681889" y="272891"/>
                  </a:cubicBezTo>
                  <a:cubicBezTo>
                    <a:pt x="3683794" y="268129"/>
                    <a:pt x="3685699" y="264319"/>
                    <a:pt x="3686651" y="260509"/>
                  </a:cubicBezTo>
                  <a:cubicBezTo>
                    <a:pt x="3690461" y="253841"/>
                    <a:pt x="3692366" y="250031"/>
                    <a:pt x="3692366" y="250031"/>
                  </a:cubicBezTo>
                  <a:cubicBezTo>
                    <a:pt x="3692366" y="250031"/>
                    <a:pt x="3689509" y="252889"/>
                    <a:pt x="3683794" y="258604"/>
                  </a:cubicBezTo>
                  <a:cubicBezTo>
                    <a:pt x="3680936" y="261461"/>
                    <a:pt x="3678079" y="265271"/>
                    <a:pt x="3675221" y="270034"/>
                  </a:cubicBezTo>
                  <a:cubicBezTo>
                    <a:pt x="3674269" y="271939"/>
                    <a:pt x="3673316" y="273844"/>
                    <a:pt x="3671411" y="275749"/>
                  </a:cubicBezTo>
                  <a:cubicBezTo>
                    <a:pt x="3677126" y="261461"/>
                    <a:pt x="3679031" y="248126"/>
                    <a:pt x="3679984" y="236696"/>
                  </a:cubicBezTo>
                  <a:close/>
                  <a:moveTo>
                    <a:pt x="3678079" y="342424"/>
                  </a:moveTo>
                  <a:cubicBezTo>
                    <a:pt x="3678079" y="344329"/>
                    <a:pt x="3677126" y="346234"/>
                    <a:pt x="3677126" y="349091"/>
                  </a:cubicBezTo>
                  <a:cubicBezTo>
                    <a:pt x="3677126" y="347186"/>
                    <a:pt x="3676174" y="345281"/>
                    <a:pt x="3676174" y="343376"/>
                  </a:cubicBezTo>
                  <a:cubicBezTo>
                    <a:pt x="3675221" y="340519"/>
                    <a:pt x="3675221" y="337661"/>
                    <a:pt x="3674269" y="335756"/>
                  </a:cubicBezTo>
                  <a:cubicBezTo>
                    <a:pt x="3675221" y="337661"/>
                    <a:pt x="3676174" y="340519"/>
                    <a:pt x="3678079" y="342424"/>
                  </a:cubicBezTo>
                  <a:close/>
                  <a:moveTo>
                    <a:pt x="3664744" y="355759"/>
                  </a:moveTo>
                  <a:cubicBezTo>
                    <a:pt x="3664744" y="357664"/>
                    <a:pt x="3664744" y="360521"/>
                    <a:pt x="3664744" y="362426"/>
                  </a:cubicBezTo>
                  <a:cubicBezTo>
                    <a:pt x="3664744" y="365284"/>
                    <a:pt x="3663791" y="368141"/>
                    <a:pt x="3663791" y="371951"/>
                  </a:cubicBezTo>
                  <a:cubicBezTo>
                    <a:pt x="3663791" y="371951"/>
                    <a:pt x="3663791" y="371951"/>
                    <a:pt x="3663791" y="371951"/>
                  </a:cubicBezTo>
                  <a:cubicBezTo>
                    <a:pt x="3663791" y="370046"/>
                    <a:pt x="3662839" y="368141"/>
                    <a:pt x="3662839" y="367189"/>
                  </a:cubicBezTo>
                  <a:cubicBezTo>
                    <a:pt x="3662839" y="367189"/>
                    <a:pt x="3662839" y="367189"/>
                    <a:pt x="3662839" y="366236"/>
                  </a:cubicBezTo>
                  <a:cubicBezTo>
                    <a:pt x="3663791" y="363379"/>
                    <a:pt x="3664744" y="359569"/>
                    <a:pt x="3664744" y="355759"/>
                  </a:cubicBezTo>
                  <a:close/>
                  <a:moveTo>
                    <a:pt x="3603784" y="369094"/>
                  </a:moveTo>
                  <a:cubicBezTo>
                    <a:pt x="3603784" y="367189"/>
                    <a:pt x="3602831" y="365284"/>
                    <a:pt x="3602831" y="363379"/>
                  </a:cubicBezTo>
                  <a:cubicBezTo>
                    <a:pt x="3603784" y="359569"/>
                    <a:pt x="3604736" y="355759"/>
                    <a:pt x="3605689" y="352901"/>
                  </a:cubicBezTo>
                  <a:cubicBezTo>
                    <a:pt x="3605689" y="351949"/>
                    <a:pt x="3606641" y="350996"/>
                    <a:pt x="3606641" y="350044"/>
                  </a:cubicBezTo>
                  <a:cubicBezTo>
                    <a:pt x="3606641" y="350996"/>
                    <a:pt x="3607594" y="351949"/>
                    <a:pt x="3607594" y="352901"/>
                  </a:cubicBezTo>
                  <a:lnTo>
                    <a:pt x="3607594" y="353854"/>
                  </a:lnTo>
                  <a:cubicBezTo>
                    <a:pt x="3605689" y="358616"/>
                    <a:pt x="3604736" y="364331"/>
                    <a:pt x="3603784" y="369094"/>
                  </a:cubicBezTo>
                  <a:close/>
                  <a:moveTo>
                    <a:pt x="3612356" y="329089"/>
                  </a:moveTo>
                  <a:cubicBezTo>
                    <a:pt x="3612356" y="329089"/>
                    <a:pt x="3611404" y="328136"/>
                    <a:pt x="3611404" y="327184"/>
                  </a:cubicBezTo>
                  <a:cubicBezTo>
                    <a:pt x="3611404" y="325279"/>
                    <a:pt x="3611404" y="323374"/>
                    <a:pt x="3610451" y="321469"/>
                  </a:cubicBezTo>
                  <a:cubicBezTo>
                    <a:pt x="3611404" y="322421"/>
                    <a:pt x="3612356" y="323374"/>
                    <a:pt x="3613309" y="324326"/>
                  </a:cubicBezTo>
                  <a:cubicBezTo>
                    <a:pt x="3613309" y="326231"/>
                    <a:pt x="3612356" y="327184"/>
                    <a:pt x="3612356" y="329089"/>
                  </a:cubicBezTo>
                  <a:close/>
                  <a:moveTo>
                    <a:pt x="3633311" y="366236"/>
                  </a:moveTo>
                  <a:cubicBezTo>
                    <a:pt x="3632359" y="363379"/>
                    <a:pt x="3630454" y="361474"/>
                    <a:pt x="3629501" y="358616"/>
                  </a:cubicBezTo>
                  <a:cubicBezTo>
                    <a:pt x="3629501" y="357664"/>
                    <a:pt x="3629501" y="355759"/>
                    <a:pt x="3629501" y="354806"/>
                  </a:cubicBezTo>
                  <a:cubicBezTo>
                    <a:pt x="3631406" y="357664"/>
                    <a:pt x="3632359" y="361474"/>
                    <a:pt x="3633311" y="366236"/>
                  </a:cubicBezTo>
                  <a:cubicBezTo>
                    <a:pt x="3633311" y="366236"/>
                    <a:pt x="3634264" y="366236"/>
                    <a:pt x="3633311" y="366236"/>
                  </a:cubicBezTo>
                  <a:cubicBezTo>
                    <a:pt x="3634264" y="366236"/>
                    <a:pt x="3633311" y="366236"/>
                    <a:pt x="3633311" y="366236"/>
                  </a:cubicBezTo>
                  <a:close/>
                  <a:moveTo>
                    <a:pt x="3632359" y="331946"/>
                  </a:moveTo>
                  <a:cubicBezTo>
                    <a:pt x="3633311" y="336709"/>
                    <a:pt x="3634264" y="342424"/>
                    <a:pt x="3635216" y="348139"/>
                  </a:cubicBezTo>
                  <a:cubicBezTo>
                    <a:pt x="3634264" y="346234"/>
                    <a:pt x="3632359" y="343376"/>
                    <a:pt x="3631406" y="341471"/>
                  </a:cubicBezTo>
                  <a:cubicBezTo>
                    <a:pt x="3631406" y="337661"/>
                    <a:pt x="3631406" y="334804"/>
                    <a:pt x="3632359" y="331946"/>
                  </a:cubicBezTo>
                  <a:close/>
                  <a:moveTo>
                    <a:pt x="3618071" y="270034"/>
                  </a:moveTo>
                  <a:cubicBezTo>
                    <a:pt x="3621881" y="261461"/>
                    <a:pt x="3624739" y="252889"/>
                    <a:pt x="3628549" y="246221"/>
                  </a:cubicBezTo>
                  <a:cubicBezTo>
                    <a:pt x="3629501" y="244316"/>
                    <a:pt x="3629501" y="243364"/>
                    <a:pt x="3630454" y="242411"/>
                  </a:cubicBezTo>
                  <a:cubicBezTo>
                    <a:pt x="3629501" y="249079"/>
                    <a:pt x="3627596" y="256699"/>
                    <a:pt x="3625691" y="265271"/>
                  </a:cubicBezTo>
                  <a:cubicBezTo>
                    <a:pt x="3623786" y="267176"/>
                    <a:pt x="3620929" y="269081"/>
                    <a:pt x="3618071" y="271939"/>
                  </a:cubicBezTo>
                  <a:cubicBezTo>
                    <a:pt x="3618071" y="270986"/>
                    <a:pt x="3618071" y="270034"/>
                    <a:pt x="3618071" y="270034"/>
                  </a:cubicBezTo>
                  <a:close/>
                  <a:moveTo>
                    <a:pt x="3601879" y="310039"/>
                  </a:moveTo>
                  <a:cubicBezTo>
                    <a:pt x="3603784" y="306229"/>
                    <a:pt x="3604736" y="302419"/>
                    <a:pt x="3606641" y="298609"/>
                  </a:cubicBezTo>
                  <a:cubicBezTo>
                    <a:pt x="3609499" y="291941"/>
                    <a:pt x="3612356" y="285274"/>
                    <a:pt x="3615214" y="278606"/>
                  </a:cubicBezTo>
                  <a:cubicBezTo>
                    <a:pt x="3617119" y="276701"/>
                    <a:pt x="3619024" y="273844"/>
                    <a:pt x="3619976" y="271939"/>
                  </a:cubicBezTo>
                  <a:cubicBezTo>
                    <a:pt x="3621881" y="270034"/>
                    <a:pt x="3623786" y="268129"/>
                    <a:pt x="3625691" y="266224"/>
                  </a:cubicBezTo>
                  <a:cubicBezTo>
                    <a:pt x="3625691" y="268129"/>
                    <a:pt x="3624739" y="269081"/>
                    <a:pt x="3624739" y="270986"/>
                  </a:cubicBezTo>
                  <a:cubicBezTo>
                    <a:pt x="3621881" y="282416"/>
                    <a:pt x="3619976" y="295751"/>
                    <a:pt x="3617119" y="309086"/>
                  </a:cubicBezTo>
                  <a:cubicBezTo>
                    <a:pt x="3616166" y="312896"/>
                    <a:pt x="3615214" y="317659"/>
                    <a:pt x="3614261" y="322421"/>
                  </a:cubicBezTo>
                  <a:cubicBezTo>
                    <a:pt x="3613309" y="321469"/>
                    <a:pt x="3612356" y="320516"/>
                    <a:pt x="3611404" y="320516"/>
                  </a:cubicBezTo>
                  <a:cubicBezTo>
                    <a:pt x="3610451" y="312896"/>
                    <a:pt x="3610451" y="306229"/>
                    <a:pt x="3609499" y="298609"/>
                  </a:cubicBezTo>
                  <a:cubicBezTo>
                    <a:pt x="3609499" y="305276"/>
                    <a:pt x="3608546" y="311944"/>
                    <a:pt x="3608546" y="318611"/>
                  </a:cubicBezTo>
                  <a:cubicBezTo>
                    <a:pt x="3607594" y="318611"/>
                    <a:pt x="3606641" y="317659"/>
                    <a:pt x="3606641" y="317659"/>
                  </a:cubicBezTo>
                  <a:cubicBezTo>
                    <a:pt x="3607594" y="318611"/>
                    <a:pt x="3608546" y="318611"/>
                    <a:pt x="3608546" y="319564"/>
                  </a:cubicBezTo>
                  <a:cubicBezTo>
                    <a:pt x="3608546" y="320516"/>
                    <a:pt x="3608546" y="321469"/>
                    <a:pt x="3608546" y="322421"/>
                  </a:cubicBezTo>
                  <a:cubicBezTo>
                    <a:pt x="3606641" y="318611"/>
                    <a:pt x="3604736" y="315754"/>
                    <a:pt x="3602831" y="312896"/>
                  </a:cubicBezTo>
                  <a:cubicBezTo>
                    <a:pt x="3601879" y="310991"/>
                    <a:pt x="3601879" y="310039"/>
                    <a:pt x="3601879" y="310039"/>
                  </a:cubicBezTo>
                  <a:close/>
                  <a:moveTo>
                    <a:pt x="3600926" y="335756"/>
                  </a:moveTo>
                  <a:cubicBezTo>
                    <a:pt x="3601879" y="339566"/>
                    <a:pt x="3603784" y="342424"/>
                    <a:pt x="3604736" y="346234"/>
                  </a:cubicBezTo>
                  <a:cubicBezTo>
                    <a:pt x="3603784" y="348139"/>
                    <a:pt x="3602831" y="350044"/>
                    <a:pt x="3601879" y="351949"/>
                  </a:cubicBezTo>
                  <a:cubicBezTo>
                    <a:pt x="3601879" y="351949"/>
                    <a:pt x="3601879" y="352901"/>
                    <a:pt x="3600926" y="352901"/>
                  </a:cubicBezTo>
                  <a:cubicBezTo>
                    <a:pt x="3600926" y="350044"/>
                    <a:pt x="3599974" y="348139"/>
                    <a:pt x="3599974" y="345281"/>
                  </a:cubicBezTo>
                  <a:cubicBezTo>
                    <a:pt x="3599974" y="342424"/>
                    <a:pt x="3600926" y="338614"/>
                    <a:pt x="3600926" y="335756"/>
                  </a:cubicBezTo>
                  <a:close/>
                  <a:moveTo>
                    <a:pt x="3556159" y="342424"/>
                  </a:moveTo>
                  <a:cubicBezTo>
                    <a:pt x="3556159" y="335756"/>
                    <a:pt x="3557111" y="330041"/>
                    <a:pt x="3557111" y="324326"/>
                  </a:cubicBezTo>
                  <a:cubicBezTo>
                    <a:pt x="3557111" y="325279"/>
                    <a:pt x="3558064" y="327184"/>
                    <a:pt x="3558064" y="328136"/>
                  </a:cubicBezTo>
                  <a:cubicBezTo>
                    <a:pt x="3558064" y="330041"/>
                    <a:pt x="3559016" y="331946"/>
                    <a:pt x="3559016" y="333851"/>
                  </a:cubicBezTo>
                  <a:cubicBezTo>
                    <a:pt x="3559016" y="333851"/>
                    <a:pt x="3559016" y="334804"/>
                    <a:pt x="3559016" y="334804"/>
                  </a:cubicBezTo>
                  <a:cubicBezTo>
                    <a:pt x="3558064" y="337661"/>
                    <a:pt x="3557111" y="339566"/>
                    <a:pt x="3556159" y="342424"/>
                  </a:cubicBezTo>
                  <a:close/>
                  <a:moveTo>
                    <a:pt x="3559969" y="279559"/>
                  </a:moveTo>
                  <a:cubicBezTo>
                    <a:pt x="3559016" y="277654"/>
                    <a:pt x="3559016" y="276701"/>
                    <a:pt x="3559016" y="274796"/>
                  </a:cubicBezTo>
                  <a:cubicBezTo>
                    <a:pt x="3559969" y="275749"/>
                    <a:pt x="3560921" y="275749"/>
                    <a:pt x="3561874" y="276701"/>
                  </a:cubicBezTo>
                  <a:cubicBezTo>
                    <a:pt x="3563779" y="277654"/>
                    <a:pt x="3564731" y="278606"/>
                    <a:pt x="3566636" y="280511"/>
                  </a:cubicBezTo>
                  <a:cubicBezTo>
                    <a:pt x="3565684" y="282416"/>
                    <a:pt x="3563779" y="284321"/>
                    <a:pt x="3562826" y="287179"/>
                  </a:cubicBezTo>
                  <a:cubicBezTo>
                    <a:pt x="3561874" y="285274"/>
                    <a:pt x="3560921" y="282416"/>
                    <a:pt x="3559969" y="279559"/>
                  </a:cubicBezTo>
                  <a:close/>
                  <a:moveTo>
                    <a:pt x="3571399" y="287179"/>
                  </a:moveTo>
                  <a:cubicBezTo>
                    <a:pt x="3571399" y="294799"/>
                    <a:pt x="3571399" y="303371"/>
                    <a:pt x="3571399" y="311944"/>
                  </a:cubicBezTo>
                  <a:cubicBezTo>
                    <a:pt x="3570446" y="312896"/>
                    <a:pt x="3570446" y="313849"/>
                    <a:pt x="3569494" y="314801"/>
                  </a:cubicBezTo>
                  <a:cubicBezTo>
                    <a:pt x="3567589" y="307181"/>
                    <a:pt x="3565684" y="299561"/>
                    <a:pt x="3562826" y="292894"/>
                  </a:cubicBezTo>
                  <a:cubicBezTo>
                    <a:pt x="3563779" y="289084"/>
                    <a:pt x="3565684" y="285274"/>
                    <a:pt x="3566636" y="282416"/>
                  </a:cubicBezTo>
                  <a:cubicBezTo>
                    <a:pt x="3568541" y="283369"/>
                    <a:pt x="3570446" y="284321"/>
                    <a:pt x="3571399" y="287179"/>
                  </a:cubicBezTo>
                  <a:cubicBezTo>
                    <a:pt x="3571399" y="286226"/>
                    <a:pt x="3571399" y="286226"/>
                    <a:pt x="3571399" y="287179"/>
                  </a:cubicBezTo>
                  <a:close/>
                  <a:moveTo>
                    <a:pt x="3571399" y="281464"/>
                  </a:moveTo>
                  <a:cubicBezTo>
                    <a:pt x="3570446" y="280511"/>
                    <a:pt x="3569494" y="280511"/>
                    <a:pt x="3568541" y="279559"/>
                  </a:cubicBezTo>
                  <a:cubicBezTo>
                    <a:pt x="3568541" y="279559"/>
                    <a:pt x="3568541" y="279559"/>
                    <a:pt x="3568541" y="279559"/>
                  </a:cubicBezTo>
                  <a:cubicBezTo>
                    <a:pt x="3570446" y="276701"/>
                    <a:pt x="3571399" y="274796"/>
                    <a:pt x="3571399" y="273844"/>
                  </a:cubicBezTo>
                  <a:cubicBezTo>
                    <a:pt x="3571399" y="276701"/>
                    <a:pt x="3571399" y="279559"/>
                    <a:pt x="3571399" y="281464"/>
                  </a:cubicBezTo>
                  <a:close/>
                  <a:moveTo>
                    <a:pt x="3567589" y="250031"/>
                  </a:moveTo>
                  <a:cubicBezTo>
                    <a:pt x="3568541" y="254794"/>
                    <a:pt x="3569494" y="260509"/>
                    <a:pt x="3570446" y="265271"/>
                  </a:cubicBezTo>
                  <a:cubicBezTo>
                    <a:pt x="3570446" y="267176"/>
                    <a:pt x="3571399" y="270034"/>
                    <a:pt x="3571399" y="271939"/>
                  </a:cubicBezTo>
                  <a:cubicBezTo>
                    <a:pt x="3571399" y="271939"/>
                    <a:pt x="3571399" y="272891"/>
                    <a:pt x="3571399" y="272891"/>
                  </a:cubicBezTo>
                  <a:cubicBezTo>
                    <a:pt x="3571399" y="272891"/>
                    <a:pt x="3569494" y="274796"/>
                    <a:pt x="3567589" y="277654"/>
                  </a:cubicBezTo>
                  <a:cubicBezTo>
                    <a:pt x="3567589" y="277654"/>
                    <a:pt x="3567589" y="277654"/>
                    <a:pt x="3567589" y="277654"/>
                  </a:cubicBezTo>
                  <a:cubicBezTo>
                    <a:pt x="3565684" y="276701"/>
                    <a:pt x="3563779" y="274796"/>
                    <a:pt x="3561874" y="274796"/>
                  </a:cubicBezTo>
                  <a:cubicBezTo>
                    <a:pt x="3559969" y="273844"/>
                    <a:pt x="3559016" y="273844"/>
                    <a:pt x="3558064" y="272891"/>
                  </a:cubicBezTo>
                  <a:cubicBezTo>
                    <a:pt x="3557111" y="269081"/>
                    <a:pt x="3555206" y="264319"/>
                    <a:pt x="3554254" y="260509"/>
                  </a:cubicBezTo>
                  <a:cubicBezTo>
                    <a:pt x="3555206" y="259556"/>
                    <a:pt x="3555206" y="258604"/>
                    <a:pt x="3556159" y="257651"/>
                  </a:cubicBezTo>
                  <a:cubicBezTo>
                    <a:pt x="3559969" y="251936"/>
                    <a:pt x="3562826" y="247174"/>
                    <a:pt x="3566636" y="243364"/>
                  </a:cubicBezTo>
                  <a:cubicBezTo>
                    <a:pt x="3567589" y="246221"/>
                    <a:pt x="3567589" y="248126"/>
                    <a:pt x="3567589" y="250031"/>
                  </a:cubicBezTo>
                  <a:close/>
                  <a:moveTo>
                    <a:pt x="3561874" y="229076"/>
                  </a:moveTo>
                  <a:cubicBezTo>
                    <a:pt x="3561874" y="228124"/>
                    <a:pt x="3562826" y="228124"/>
                    <a:pt x="3562826" y="227171"/>
                  </a:cubicBezTo>
                  <a:cubicBezTo>
                    <a:pt x="3563779" y="230029"/>
                    <a:pt x="3563779" y="232886"/>
                    <a:pt x="3564731" y="235744"/>
                  </a:cubicBezTo>
                  <a:cubicBezTo>
                    <a:pt x="3564731" y="236696"/>
                    <a:pt x="3564731" y="237649"/>
                    <a:pt x="3565684" y="238601"/>
                  </a:cubicBezTo>
                  <a:cubicBezTo>
                    <a:pt x="3561874" y="241459"/>
                    <a:pt x="3557111" y="246221"/>
                    <a:pt x="3552349" y="251936"/>
                  </a:cubicBezTo>
                  <a:cubicBezTo>
                    <a:pt x="3552349" y="250031"/>
                    <a:pt x="3551396" y="248126"/>
                    <a:pt x="3551396" y="247174"/>
                  </a:cubicBezTo>
                  <a:cubicBezTo>
                    <a:pt x="3555206" y="241459"/>
                    <a:pt x="3558064" y="234791"/>
                    <a:pt x="3561874" y="229076"/>
                  </a:cubicBezTo>
                  <a:close/>
                  <a:moveTo>
                    <a:pt x="3551396" y="293846"/>
                  </a:moveTo>
                  <a:cubicBezTo>
                    <a:pt x="3552349" y="298609"/>
                    <a:pt x="3553301" y="303371"/>
                    <a:pt x="3554254" y="307181"/>
                  </a:cubicBezTo>
                  <a:cubicBezTo>
                    <a:pt x="3553301" y="311944"/>
                    <a:pt x="3551396" y="315754"/>
                    <a:pt x="3550444" y="321469"/>
                  </a:cubicBezTo>
                  <a:cubicBezTo>
                    <a:pt x="3549491" y="325279"/>
                    <a:pt x="3548539" y="329089"/>
                    <a:pt x="3547586" y="333851"/>
                  </a:cubicBezTo>
                  <a:cubicBezTo>
                    <a:pt x="3547586" y="332899"/>
                    <a:pt x="3546634" y="332899"/>
                    <a:pt x="3546634" y="331946"/>
                  </a:cubicBezTo>
                  <a:cubicBezTo>
                    <a:pt x="3545681" y="330041"/>
                    <a:pt x="3544729" y="329089"/>
                    <a:pt x="3543776" y="327184"/>
                  </a:cubicBezTo>
                  <a:cubicBezTo>
                    <a:pt x="3544729" y="319564"/>
                    <a:pt x="3544729" y="312896"/>
                    <a:pt x="3544729" y="306229"/>
                  </a:cubicBezTo>
                  <a:cubicBezTo>
                    <a:pt x="3545681" y="299561"/>
                    <a:pt x="3546634" y="292894"/>
                    <a:pt x="3547586" y="286226"/>
                  </a:cubicBezTo>
                  <a:cubicBezTo>
                    <a:pt x="3547586" y="283369"/>
                    <a:pt x="3548539" y="279559"/>
                    <a:pt x="3548539" y="276701"/>
                  </a:cubicBezTo>
                  <a:cubicBezTo>
                    <a:pt x="3548539" y="282416"/>
                    <a:pt x="3550444" y="288131"/>
                    <a:pt x="3551396" y="293846"/>
                  </a:cubicBezTo>
                  <a:close/>
                  <a:moveTo>
                    <a:pt x="3543776" y="191929"/>
                  </a:moveTo>
                  <a:cubicBezTo>
                    <a:pt x="3545681" y="187166"/>
                    <a:pt x="3547586" y="183356"/>
                    <a:pt x="3549491" y="180499"/>
                  </a:cubicBezTo>
                  <a:cubicBezTo>
                    <a:pt x="3549491" y="181451"/>
                    <a:pt x="3549491" y="183356"/>
                    <a:pt x="3548539" y="185261"/>
                  </a:cubicBezTo>
                  <a:cubicBezTo>
                    <a:pt x="3547586" y="192881"/>
                    <a:pt x="3546634" y="201454"/>
                    <a:pt x="3544729" y="211931"/>
                  </a:cubicBezTo>
                  <a:cubicBezTo>
                    <a:pt x="3544729" y="213836"/>
                    <a:pt x="3543776" y="215741"/>
                    <a:pt x="3543776" y="217646"/>
                  </a:cubicBezTo>
                  <a:cubicBezTo>
                    <a:pt x="3541871" y="210026"/>
                    <a:pt x="3539966" y="204311"/>
                    <a:pt x="3539014" y="200501"/>
                  </a:cubicBezTo>
                  <a:cubicBezTo>
                    <a:pt x="3540919" y="196691"/>
                    <a:pt x="3541871" y="194786"/>
                    <a:pt x="3543776" y="191929"/>
                  </a:cubicBezTo>
                  <a:close/>
                  <a:moveTo>
                    <a:pt x="3530441" y="217646"/>
                  </a:moveTo>
                  <a:cubicBezTo>
                    <a:pt x="3533299" y="211931"/>
                    <a:pt x="3536156" y="206216"/>
                    <a:pt x="3539014" y="201454"/>
                  </a:cubicBezTo>
                  <a:cubicBezTo>
                    <a:pt x="3539014" y="205264"/>
                    <a:pt x="3539966" y="210979"/>
                    <a:pt x="3540919" y="217646"/>
                  </a:cubicBezTo>
                  <a:cubicBezTo>
                    <a:pt x="3540919" y="221456"/>
                    <a:pt x="3541871" y="226219"/>
                    <a:pt x="3542824" y="231934"/>
                  </a:cubicBezTo>
                  <a:cubicBezTo>
                    <a:pt x="3541871" y="234791"/>
                    <a:pt x="3541871" y="237649"/>
                    <a:pt x="3540919" y="240506"/>
                  </a:cubicBezTo>
                  <a:cubicBezTo>
                    <a:pt x="3537109" y="246221"/>
                    <a:pt x="3532346" y="252889"/>
                    <a:pt x="3528536" y="259556"/>
                  </a:cubicBezTo>
                  <a:cubicBezTo>
                    <a:pt x="3528536" y="258604"/>
                    <a:pt x="3528536" y="257651"/>
                    <a:pt x="3528536" y="257651"/>
                  </a:cubicBezTo>
                  <a:cubicBezTo>
                    <a:pt x="3528536" y="251936"/>
                    <a:pt x="3528536" y="246221"/>
                    <a:pt x="3527584" y="240506"/>
                  </a:cubicBezTo>
                  <a:cubicBezTo>
                    <a:pt x="3527584" y="236696"/>
                    <a:pt x="3526631" y="232886"/>
                    <a:pt x="3526631" y="229076"/>
                  </a:cubicBezTo>
                  <a:cubicBezTo>
                    <a:pt x="3527584" y="224314"/>
                    <a:pt x="3528536" y="220504"/>
                    <a:pt x="3530441" y="217646"/>
                  </a:cubicBezTo>
                  <a:close/>
                  <a:moveTo>
                    <a:pt x="3490436" y="321469"/>
                  </a:moveTo>
                  <a:cubicBezTo>
                    <a:pt x="3490436" y="320516"/>
                    <a:pt x="3490436" y="318611"/>
                    <a:pt x="3490436" y="317659"/>
                  </a:cubicBezTo>
                  <a:cubicBezTo>
                    <a:pt x="3490436" y="318611"/>
                    <a:pt x="3491389" y="319564"/>
                    <a:pt x="3491389" y="319564"/>
                  </a:cubicBezTo>
                  <a:cubicBezTo>
                    <a:pt x="3491389" y="320516"/>
                    <a:pt x="3491389" y="320516"/>
                    <a:pt x="3490436" y="321469"/>
                  </a:cubicBezTo>
                  <a:close/>
                  <a:moveTo>
                    <a:pt x="3514249" y="250984"/>
                  </a:moveTo>
                  <a:cubicBezTo>
                    <a:pt x="3515201" y="249079"/>
                    <a:pt x="3516154" y="247174"/>
                    <a:pt x="3516154" y="246221"/>
                  </a:cubicBezTo>
                  <a:cubicBezTo>
                    <a:pt x="3516154" y="250031"/>
                    <a:pt x="3516154" y="253841"/>
                    <a:pt x="3515201" y="257651"/>
                  </a:cubicBezTo>
                  <a:cubicBezTo>
                    <a:pt x="3515201" y="261461"/>
                    <a:pt x="3514249" y="266224"/>
                    <a:pt x="3514249" y="270986"/>
                  </a:cubicBezTo>
                  <a:cubicBezTo>
                    <a:pt x="3513296" y="267176"/>
                    <a:pt x="3511391" y="263366"/>
                    <a:pt x="3509486" y="259556"/>
                  </a:cubicBezTo>
                  <a:cubicBezTo>
                    <a:pt x="3512344" y="255746"/>
                    <a:pt x="3513296" y="252889"/>
                    <a:pt x="3514249" y="250984"/>
                  </a:cubicBezTo>
                  <a:close/>
                  <a:moveTo>
                    <a:pt x="3504724" y="271939"/>
                  </a:moveTo>
                  <a:cubicBezTo>
                    <a:pt x="3504724" y="272891"/>
                    <a:pt x="3505676" y="273844"/>
                    <a:pt x="3505676" y="274796"/>
                  </a:cubicBezTo>
                  <a:cubicBezTo>
                    <a:pt x="3506629" y="279559"/>
                    <a:pt x="3508534" y="283369"/>
                    <a:pt x="3509486" y="288131"/>
                  </a:cubicBezTo>
                  <a:cubicBezTo>
                    <a:pt x="3508534" y="290036"/>
                    <a:pt x="3507581" y="291941"/>
                    <a:pt x="3505676" y="293846"/>
                  </a:cubicBezTo>
                  <a:cubicBezTo>
                    <a:pt x="3505676" y="290036"/>
                    <a:pt x="3504724" y="286226"/>
                    <a:pt x="3504724" y="282416"/>
                  </a:cubicBezTo>
                  <a:cubicBezTo>
                    <a:pt x="3504724" y="279559"/>
                    <a:pt x="3504724" y="275749"/>
                    <a:pt x="3504724" y="271939"/>
                  </a:cubicBezTo>
                  <a:cubicBezTo>
                    <a:pt x="3504724" y="272891"/>
                    <a:pt x="3504724" y="272891"/>
                    <a:pt x="3504724" y="271939"/>
                  </a:cubicBezTo>
                  <a:close/>
                  <a:moveTo>
                    <a:pt x="3501866" y="398621"/>
                  </a:moveTo>
                  <a:cubicBezTo>
                    <a:pt x="3499961" y="389096"/>
                    <a:pt x="3497104" y="380524"/>
                    <a:pt x="3495199" y="371951"/>
                  </a:cubicBezTo>
                  <a:cubicBezTo>
                    <a:pt x="3495199" y="370999"/>
                    <a:pt x="3494246" y="370046"/>
                    <a:pt x="3494246" y="369094"/>
                  </a:cubicBezTo>
                  <a:cubicBezTo>
                    <a:pt x="3496151" y="365284"/>
                    <a:pt x="3498056" y="361474"/>
                    <a:pt x="3499961" y="357664"/>
                  </a:cubicBezTo>
                  <a:cubicBezTo>
                    <a:pt x="3500914" y="370999"/>
                    <a:pt x="3500914" y="384334"/>
                    <a:pt x="3501866" y="398621"/>
                  </a:cubicBezTo>
                  <a:close/>
                  <a:moveTo>
                    <a:pt x="3496151" y="290036"/>
                  </a:moveTo>
                  <a:cubicBezTo>
                    <a:pt x="3497104" y="288131"/>
                    <a:pt x="3498056" y="286226"/>
                    <a:pt x="3499009" y="284321"/>
                  </a:cubicBezTo>
                  <a:cubicBezTo>
                    <a:pt x="3499009" y="288131"/>
                    <a:pt x="3499009" y="291941"/>
                    <a:pt x="3499009" y="295751"/>
                  </a:cubicBezTo>
                  <a:cubicBezTo>
                    <a:pt x="3498056" y="293846"/>
                    <a:pt x="3497104" y="291941"/>
                    <a:pt x="3496151" y="290036"/>
                  </a:cubicBezTo>
                  <a:close/>
                  <a:moveTo>
                    <a:pt x="3496151" y="252889"/>
                  </a:moveTo>
                  <a:cubicBezTo>
                    <a:pt x="3496151" y="250984"/>
                    <a:pt x="3496151" y="249079"/>
                    <a:pt x="3496151" y="247174"/>
                  </a:cubicBezTo>
                  <a:cubicBezTo>
                    <a:pt x="3497104" y="250031"/>
                    <a:pt x="3498056" y="252889"/>
                    <a:pt x="3499009" y="254794"/>
                  </a:cubicBezTo>
                  <a:cubicBezTo>
                    <a:pt x="3498056" y="256699"/>
                    <a:pt x="3496151" y="258604"/>
                    <a:pt x="3495199" y="261461"/>
                  </a:cubicBezTo>
                  <a:cubicBezTo>
                    <a:pt x="3495199" y="258604"/>
                    <a:pt x="3496151" y="255746"/>
                    <a:pt x="3496151" y="252889"/>
                  </a:cubicBezTo>
                  <a:close/>
                  <a:moveTo>
                    <a:pt x="3481864" y="205264"/>
                  </a:moveTo>
                  <a:cubicBezTo>
                    <a:pt x="3484721" y="212884"/>
                    <a:pt x="3488531" y="220504"/>
                    <a:pt x="3491389" y="230029"/>
                  </a:cubicBezTo>
                  <a:cubicBezTo>
                    <a:pt x="3492341" y="233839"/>
                    <a:pt x="3494246" y="238601"/>
                    <a:pt x="3495199" y="243364"/>
                  </a:cubicBezTo>
                  <a:cubicBezTo>
                    <a:pt x="3494246" y="245269"/>
                    <a:pt x="3493294" y="248126"/>
                    <a:pt x="3492341" y="251936"/>
                  </a:cubicBezTo>
                  <a:cubicBezTo>
                    <a:pt x="3491389" y="256699"/>
                    <a:pt x="3489484" y="261461"/>
                    <a:pt x="3487579" y="268129"/>
                  </a:cubicBezTo>
                  <a:cubicBezTo>
                    <a:pt x="3487579" y="269081"/>
                    <a:pt x="3487579" y="269081"/>
                    <a:pt x="3486626" y="270034"/>
                  </a:cubicBezTo>
                  <a:cubicBezTo>
                    <a:pt x="3484721" y="265271"/>
                    <a:pt x="3481864" y="260509"/>
                    <a:pt x="3479959" y="255746"/>
                  </a:cubicBezTo>
                  <a:cubicBezTo>
                    <a:pt x="3479959" y="245269"/>
                    <a:pt x="3479959" y="235744"/>
                    <a:pt x="3479959" y="228124"/>
                  </a:cubicBezTo>
                  <a:cubicBezTo>
                    <a:pt x="3479959" y="221456"/>
                    <a:pt x="3479959" y="216694"/>
                    <a:pt x="3479959" y="213836"/>
                  </a:cubicBezTo>
                  <a:cubicBezTo>
                    <a:pt x="3480911" y="211931"/>
                    <a:pt x="3480911" y="208121"/>
                    <a:pt x="3481864" y="205264"/>
                  </a:cubicBezTo>
                  <a:close/>
                  <a:moveTo>
                    <a:pt x="3473291" y="241459"/>
                  </a:moveTo>
                  <a:cubicBezTo>
                    <a:pt x="3474244" y="239554"/>
                    <a:pt x="3474244" y="236696"/>
                    <a:pt x="3475196" y="234791"/>
                  </a:cubicBezTo>
                  <a:cubicBezTo>
                    <a:pt x="3474244" y="236696"/>
                    <a:pt x="3474244" y="239554"/>
                    <a:pt x="3473291" y="241459"/>
                  </a:cubicBezTo>
                  <a:cubicBezTo>
                    <a:pt x="3473291" y="242411"/>
                    <a:pt x="3473291" y="241459"/>
                    <a:pt x="3473291" y="241459"/>
                  </a:cubicBezTo>
                  <a:cubicBezTo>
                    <a:pt x="3473291" y="241459"/>
                    <a:pt x="3473291" y="241459"/>
                    <a:pt x="3473291" y="241459"/>
                  </a:cubicBezTo>
                  <a:close/>
                  <a:moveTo>
                    <a:pt x="3468529" y="260509"/>
                  </a:moveTo>
                  <a:cubicBezTo>
                    <a:pt x="3468529" y="261461"/>
                    <a:pt x="3469481" y="262414"/>
                    <a:pt x="3469481" y="263366"/>
                  </a:cubicBezTo>
                  <a:cubicBezTo>
                    <a:pt x="3469481" y="266224"/>
                    <a:pt x="3468529" y="268129"/>
                    <a:pt x="3468529" y="270986"/>
                  </a:cubicBezTo>
                  <a:cubicBezTo>
                    <a:pt x="3467576" y="279559"/>
                    <a:pt x="3466624" y="290036"/>
                    <a:pt x="3465671" y="300514"/>
                  </a:cubicBezTo>
                  <a:cubicBezTo>
                    <a:pt x="3464719" y="306229"/>
                    <a:pt x="3464719" y="311944"/>
                    <a:pt x="3464719" y="318611"/>
                  </a:cubicBezTo>
                  <a:cubicBezTo>
                    <a:pt x="3464719" y="319564"/>
                    <a:pt x="3463766" y="320516"/>
                    <a:pt x="3463766" y="321469"/>
                  </a:cubicBezTo>
                  <a:cubicBezTo>
                    <a:pt x="3462814" y="316706"/>
                    <a:pt x="3460909" y="311944"/>
                    <a:pt x="3459956" y="307181"/>
                  </a:cubicBezTo>
                  <a:cubicBezTo>
                    <a:pt x="3459956" y="307181"/>
                    <a:pt x="3459956" y="306229"/>
                    <a:pt x="3459956" y="306229"/>
                  </a:cubicBezTo>
                  <a:cubicBezTo>
                    <a:pt x="3459956" y="304324"/>
                    <a:pt x="3460909" y="302419"/>
                    <a:pt x="3460909" y="300514"/>
                  </a:cubicBezTo>
                  <a:cubicBezTo>
                    <a:pt x="3463766" y="287179"/>
                    <a:pt x="3466624" y="273844"/>
                    <a:pt x="3468529" y="260509"/>
                  </a:cubicBezTo>
                  <a:close/>
                  <a:moveTo>
                    <a:pt x="3451384" y="237649"/>
                  </a:moveTo>
                  <a:cubicBezTo>
                    <a:pt x="3451384" y="231934"/>
                    <a:pt x="3451384" y="227171"/>
                    <a:pt x="3451384" y="221456"/>
                  </a:cubicBezTo>
                  <a:cubicBezTo>
                    <a:pt x="3451384" y="221456"/>
                    <a:pt x="3451384" y="221456"/>
                    <a:pt x="3451384" y="222409"/>
                  </a:cubicBezTo>
                  <a:cubicBezTo>
                    <a:pt x="3453289" y="227171"/>
                    <a:pt x="3456146" y="231934"/>
                    <a:pt x="3458051" y="237649"/>
                  </a:cubicBezTo>
                  <a:cubicBezTo>
                    <a:pt x="3458051" y="237649"/>
                    <a:pt x="3458051" y="238601"/>
                    <a:pt x="3458051" y="238601"/>
                  </a:cubicBezTo>
                  <a:cubicBezTo>
                    <a:pt x="3455194" y="248126"/>
                    <a:pt x="3452336" y="257651"/>
                    <a:pt x="3450431" y="267176"/>
                  </a:cubicBezTo>
                  <a:cubicBezTo>
                    <a:pt x="3450431" y="267176"/>
                    <a:pt x="3450431" y="267176"/>
                    <a:pt x="3450431" y="267176"/>
                  </a:cubicBezTo>
                  <a:cubicBezTo>
                    <a:pt x="3451384" y="256699"/>
                    <a:pt x="3451384" y="247174"/>
                    <a:pt x="3451384" y="237649"/>
                  </a:cubicBezTo>
                  <a:close/>
                  <a:moveTo>
                    <a:pt x="3405664" y="273844"/>
                  </a:moveTo>
                  <a:cubicBezTo>
                    <a:pt x="3406616" y="268129"/>
                    <a:pt x="3406616" y="263366"/>
                    <a:pt x="3406616" y="258604"/>
                  </a:cubicBezTo>
                  <a:cubicBezTo>
                    <a:pt x="3406616" y="253841"/>
                    <a:pt x="3406616" y="249079"/>
                    <a:pt x="3406616" y="245269"/>
                  </a:cubicBezTo>
                  <a:cubicBezTo>
                    <a:pt x="3406616" y="247174"/>
                    <a:pt x="3407569" y="251936"/>
                    <a:pt x="3409474" y="259556"/>
                  </a:cubicBezTo>
                  <a:cubicBezTo>
                    <a:pt x="3409474" y="264319"/>
                    <a:pt x="3407569" y="269081"/>
                    <a:pt x="3405664" y="273844"/>
                  </a:cubicBezTo>
                  <a:close/>
                  <a:moveTo>
                    <a:pt x="3416141" y="335756"/>
                  </a:moveTo>
                  <a:cubicBezTo>
                    <a:pt x="3416141" y="341471"/>
                    <a:pt x="3416141" y="347186"/>
                    <a:pt x="3416141" y="353854"/>
                  </a:cubicBezTo>
                  <a:cubicBezTo>
                    <a:pt x="3416141" y="351949"/>
                    <a:pt x="3415189" y="350044"/>
                    <a:pt x="3415189" y="348139"/>
                  </a:cubicBezTo>
                  <a:cubicBezTo>
                    <a:pt x="3414236" y="340519"/>
                    <a:pt x="3414236" y="333851"/>
                    <a:pt x="3413284" y="328136"/>
                  </a:cubicBezTo>
                  <a:cubicBezTo>
                    <a:pt x="3413284" y="328136"/>
                    <a:pt x="3413284" y="328136"/>
                    <a:pt x="3413284" y="328136"/>
                  </a:cubicBezTo>
                  <a:cubicBezTo>
                    <a:pt x="3414236" y="325279"/>
                    <a:pt x="3415189" y="323374"/>
                    <a:pt x="3417094" y="320516"/>
                  </a:cubicBezTo>
                  <a:cubicBezTo>
                    <a:pt x="3417094" y="324326"/>
                    <a:pt x="3417094" y="329089"/>
                    <a:pt x="3416141" y="335756"/>
                  </a:cubicBezTo>
                  <a:close/>
                  <a:moveTo>
                    <a:pt x="3421856" y="320516"/>
                  </a:moveTo>
                  <a:cubicBezTo>
                    <a:pt x="3420904" y="324326"/>
                    <a:pt x="3420904" y="329089"/>
                    <a:pt x="3419951" y="332899"/>
                  </a:cubicBezTo>
                  <a:cubicBezTo>
                    <a:pt x="3418999" y="326231"/>
                    <a:pt x="3418999" y="320516"/>
                    <a:pt x="3418046" y="316706"/>
                  </a:cubicBezTo>
                  <a:cubicBezTo>
                    <a:pt x="3418999" y="314801"/>
                    <a:pt x="3419951" y="312896"/>
                    <a:pt x="3420904" y="310991"/>
                  </a:cubicBezTo>
                  <a:cubicBezTo>
                    <a:pt x="3420904" y="310039"/>
                    <a:pt x="3421856" y="309086"/>
                    <a:pt x="3421856" y="308134"/>
                  </a:cubicBezTo>
                  <a:cubicBezTo>
                    <a:pt x="3421856" y="310039"/>
                    <a:pt x="3422809" y="310991"/>
                    <a:pt x="3422809" y="312896"/>
                  </a:cubicBezTo>
                  <a:cubicBezTo>
                    <a:pt x="3422809" y="314801"/>
                    <a:pt x="3422809" y="317659"/>
                    <a:pt x="3421856" y="320516"/>
                  </a:cubicBezTo>
                  <a:close/>
                  <a:moveTo>
                    <a:pt x="3410426" y="139541"/>
                  </a:moveTo>
                  <a:cubicBezTo>
                    <a:pt x="3413284" y="145256"/>
                    <a:pt x="3417094" y="151924"/>
                    <a:pt x="3421856" y="161449"/>
                  </a:cubicBezTo>
                  <a:cubicBezTo>
                    <a:pt x="3424714" y="167164"/>
                    <a:pt x="3428524" y="173831"/>
                    <a:pt x="3433286" y="181451"/>
                  </a:cubicBezTo>
                  <a:cubicBezTo>
                    <a:pt x="3431381" y="187166"/>
                    <a:pt x="3430429" y="192881"/>
                    <a:pt x="3428524" y="198596"/>
                  </a:cubicBezTo>
                  <a:cubicBezTo>
                    <a:pt x="3427571" y="202406"/>
                    <a:pt x="3426619" y="206216"/>
                    <a:pt x="3425666" y="210026"/>
                  </a:cubicBezTo>
                  <a:cubicBezTo>
                    <a:pt x="3424714" y="205264"/>
                    <a:pt x="3423761" y="200501"/>
                    <a:pt x="3422809" y="195739"/>
                  </a:cubicBezTo>
                  <a:cubicBezTo>
                    <a:pt x="3419951" y="183356"/>
                    <a:pt x="3417094" y="171926"/>
                    <a:pt x="3415189" y="163354"/>
                  </a:cubicBezTo>
                  <a:cubicBezTo>
                    <a:pt x="3413284" y="154781"/>
                    <a:pt x="3411379" y="148114"/>
                    <a:pt x="3410426" y="143351"/>
                  </a:cubicBezTo>
                  <a:cubicBezTo>
                    <a:pt x="3409474" y="141446"/>
                    <a:pt x="3410426" y="140494"/>
                    <a:pt x="3410426" y="139541"/>
                  </a:cubicBezTo>
                  <a:close/>
                  <a:moveTo>
                    <a:pt x="3408521" y="136684"/>
                  </a:moveTo>
                  <a:cubicBezTo>
                    <a:pt x="3408521" y="136684"/>
                    <a:pt x="3408521" y="136684"/>
                    <a:pt x="3408521" y="136684"/>
                  </a:cubicBezTo>
                  <a:cubicBezTo>
                    <a:pt x="3408521" y="136684"/>
                    <a:pt x="3408521" y="136684"/>
                    <a:pt x="3408521" y="136684"/>
                  </a:cubicBezTo>
                  <a:cubicBezTo>
                    <a:pt x="3408521" y="136684"/>
                    <a:pt x="3408521" y="136684"/>
                    <a:pt x="3408521" y="136684"/>
                  </a:cubicBezTo>
                  <a:close/>
                  <a:moveTo>
                    <a:pt x="3395186" y="266224"/>
                  </a:moveTo>
                  <a:cubicBezTo>
                    <a:pt x="3396139" y="251936"/>
                    <a:pt x="3396139" y="239554"/>
                    <a:pt x="3396139" y="227171"/>
                  </a:cubicBezTo>
                  <a:cubicBezTo>
                    <a:pt x="3396139" y="222409"/>
                    <a:pt x="3396139" y="217646"/>
                    <a:pt x="3396139" y="212884"/>
                  </a:cubicBezTo>
                  <a:cubicBezTo>
                    <a:pt x="3397091" y="210026"/>
                    <a:pt x="3398044" y="207169"/>
                    <a:pt x="3398996" y="204311"/>
                  </a:cubicBezTo>
                  <a:cubicBezTo>
                    <a:pt x="3398044" y="206216"/>
                    <a:pt x="3397091" y="208121"/>
                    <a:pt x="3396139" y="210026"/>
                  </a:cubicBezTo>
                  <a:cubicBezTo>
                    <a:pt x="3396139" y="207169"/>
                    <a:pt x="3396139" y="204311"/>
                    <a:pt x="3396139" y="202406"/>
                  </a:cubicBezTo>
                  <a:cubicBezTo>
                    <a:pt x="3397091" y="199549"/>
                    <a:pt x="3397091" y="197644"/>
                    <a:pt x="3398044" y="194786"/>
                  </a:cubicBezTo>
                  <a:cubicBezTo>
                    <a:pt x="3401854" y="178594"/>
                    <a:pt x="3405664" y="162401"/>
                    <a:pt x="3408521" y="145256"/>
                  </a:cubicBezTo>
                  <a:cubicBezTo>
                    <a:pt x="3408521" y="150019"/>
                    <a:pt x="3409474" y="155734"/>
                    <a:pt x="3410426" y="162401"/>
                  </a:cubicBezTo>
                  <a:cubicBezTo>
                    <a:pt x="3411379" y="171926"/>
                    <a:pt x="3412331" y="182404"/>
                    <a:pt x="3414236" y="195739"/>
                  </a:cubicBezTo>
                  <a:cubicBezTo>
                    <a:pt x="3415189" y="202406"/>
                    <a:pt x="3416141" y="209074"/>
                    <a:pt x="3417094" y="215741"/>
                  </a:cubicBezTo>
                  <a:cubicBezTo>
                    <a:pt x="3418046" y="220504"/>
                    <a:pt x="3418999" y="224314"/>
                    <a:pt x="3419951" y="229076"/>
                  </a:cubicBezTo>
                  <a:cubicBezTo>
                    <a:pt x="3418999" y="230981"/>
                    <a:pt x="3418999" y="232886"/>
                    <a:pt x="3418046" y="233839"/>
                  </a:cubicBezTo>
                  <a:cubicBezTo>
                    <a:pt x="3416141" y="240506"/>
                    <a:pt x="3414236" y="247174"/>
                    <a:pt x="3411379" y="253841"/>
                  </a:cubicBezTo>
                  <a:cubicBezTo>
                    <a:pt x="3408521" y="248126"/>
                    <a:pt x="3407569" y="245269"/>
                    <a:pt x="3407569" y="244316"/>
                  </a:cubicBezTo>
                  <a:cubicBezTo>
                    <a:pt x="3407569" y="242411"/>
                    <a:pt x="3407569" y="241459"/>
                    <a:pt x="3407569" y="239554"/>
                  </a:cubicBezTo>
                  <a:cubicBezTo>
                    <a:pt x="3407569" y="230029"/>
                    <a:pt x="3407569" y="224314"/>
                    <a:pt x="3407569" y="224314"/>
                  </a:cubicBezTo>
                  <a:cubicBezTo>
                    <a:pt x="3407569" y="224314"/>
                    <a:pt x="3405664" y="230029"/>
                    <a:pt x="3403759" y="239554"/>
                  </a:cubicBezTo>
                  <a:cubicBezTo>
                    <a:pt x="3402806" y="244316"/>
                    <a:pt x="3400901" y="250031"/>
                    <a:pt x="3399949" y="256699"/>
                  </a:cubicBezTo>
                  <a:cubicBezTo>
                    <a:pt x="3398996" y="262414"/>
                    <a:pt x="3397091" y="269081"/>
                    <a:pt x="3395186" y="275749"/>
                  </a:cubicBezTo>
                  <a:cubicBezTo>
                    <a:pt x="3395186" y="273844"/>
                    <a:pt x="3395186" y="270034"/>
                    <a:pt x="3395186" y="266224"/>
                  </a:cubicBezTo>
                  <a:close/>
                  <a:moveTo>
                    <a:pt x="3363754" y="252889"/>
                  </a:moveTo>
                  <a:cubicBezTo>
                    <a:pt x="3364706" y="256699"/>
                    <a:pt x="3365659" y="260509"/>
                    <a:pt x="3365659" y="264319"/>
                  </a:cubicBezTo>
                  <a:cubicBezTo>
                    <a:pt x="3364706" y="266224"/>
                    <a:pt x="3363754" y="267176"/>
                    <a:pt x="3363754" y="269081"/>
                  </a:cubicBezTo>
                  <a:cubicBezTo>
                    <a:pt x="3363754" y="262414"/>
                    <a:pt x="3363754" y="257651"/>
                    <a:pt x="3363754" y="252889"/>
                  </a:cubicBezTo>
                  <a:close/>
                  <a:moveTo>
                    <a:pt x="3321844" y="351949"/>
                  </a:moveTo>
                  <a:cubicBezTo>
                    <a:pt x="3321844" y="349091"/>
                    <a:pt x="3322796" y="345281"/>
                    <a:pt x="3322796" y="342424"/>
                  </a:cubicBezTo>
                  <a:cubicBezTo>
                    <a:pt x="3322796" y="344329"/>
                    <a:pt x="3323749" y="346234"/>
                    <a:pt x="3323749" y="347186"/>
                  </a:cubicBezTo>
                  <a:cubicBezTo>
                    <a:pt x="3323749" y="349091"/>
                    <a:pt x="3322796" y="350044"/>
                    <a:pt x="3321844" y="351949"/>
                  </a:cubicBezTo>
                  <a:close/>
                  <a:moveTo>
                    <a:pt x="3340894" y="273844"/>
                  </a:moveTo>
                  <a:cubicBezTo>
                    <a:pt x="3342799" y="282416"/>
                    <a:pt x="3345656" y="290036"/>
                    <a:pt x="3347561" y="298609"/>
                  </a:cubicBezTo>
                  <a:cubicBezTo>
                    <a:pt x="3346609" y="300514"/>
                    <a:pt x="3345656" y="302419"/>
                    <a:pt x="3344704" y="304324"/>
                  </a:cubicBezTo>
                  <a:cubicBezTo>
                    <a:pt x="3342799" y="299561"/>
                    <a:pt x="3340894" y="295751"/>
                    <a:pt x="3338989" y="290989"/>
                  </a:cubicBezTo>
                  <a:cubicBezTo>
                    <a:pt x="3338036" y="276701"/>
                    <a:pt x="3336131" y="263366"/>
                    <a:pt x="3335179" y="251936"/>
                  </a:cubicBezTo>
                  <a:cubicBezTo>
                    <a:pt x="3337084" y="259556"/>
                    <a:pt x="3338989" y="266224"/>
                    <a:pt x="3340894" y="273844"/>
                  </a:cubicBezTo>
                  <a:close/>
                  <a:moveTo>
                    <a:pt x="3330416" y="376714"/>
                  </a:moveTo>
                  <a:cubicBezTo>
                    <a:pt x="3330416" y="377666"/>
                    <a:pt x="3330416" y="378619"/>
                    <a:pt x="3331369" y="379571"/>
                  </a:cubicBezTo>
                  <a:cubicBezTo>
                    <a:pt x="3330416" y="380524"/>
                    <a:pt x="3330416" y="382429"/>
                    <a:pt x="3329464" y="384334"/>
                  </a:cubicBezTo>
                  <a:cubicBezTo>
                    <a:pt x="3329464" y="383381"/>
                    <a:pt x="3328511" y="382429"/>
                    <a:pt x="3328511" y="381476"/>
                  </a:cubicBezTo>
                  <a:cubicBezTo>
                    <a:pt x="3328511" y="379571"/>
                    <a:pt x="3329464" y="378619"/>
                    <a:pt x="3330416" y="376714"/>
                  </a:cubicBezTo>
                  <a:close/>
                  <a:moveTo>
                    <a:pt x="3329464" y="202406"/>
                  </a:moveTo>
                  <a:cubicBezTo>
                    <a:pt x="3329464" y="203359"/>
                    <a:pt x="3329464" y="205264"/>
                    <a:pt x="3329464" y="207169"/>
                  </a:cubicBezTo>
                  <a:cubicBezTo>
                    <a:pt x="3329464" y="206216"/>
                    <a:pt x="3329464" y="206216"/>
                    <a:pt x="3328511" y="205264"/>
                  </a:cubicBezTo>
                  <a:cubicBezTo>
                    <a:pt x="3329464" y="204311"/>
                    <a:pt x="3329464" y="203359"/>
                    <a:pt x="3329464" y="202406"/>
                  </a:cubicBezTo>
                  <a:close/>
                  <a:moveTo>
                    <a:pt x="3326606" y="302419"/>
                  </a:moveTo>
                  <a:cubicBezTo>
                    <a:pt x="3327559" y="305276"/>
                    <a:pt x="3328511" y="307181"/>
                    <a:pt x="3329464" y="310039"/>
                  </a:cubicBezTo>
                  <a:cubicBezTo>
                    <a:pt x="3329464" y="310991"/>
                    <a:pt x="3329464" y="310991"/>
                    <a:pt x="3329464" y="311944"/>
                  </a:cubicBezTo>
                  <a:cubicBezTo>
                    <a:pt x="3328511" y="310039"/>
                    <a:pt x="3327559" y="308134"/>
                    <a:pt x="3326606" y="306229"/>
                  </a:cubicBezTo>
                  <a:cubicBezTo>
                    <a:pt x="3326606" y="304324"/>
                    <a:pt x="3326606" y="303371"/>
                    <a:pt x="3326606" y="302419"/>
                  </a:cubicBezTo>
                  <a:close/>
                  <a:moveTo>
                    <a:pt x="3323749" y="227171"/>
                  </a:moveTo>
                  <a:cubicBezTo>
                    <a:pt x="3324701" y="224314"/>
                    <a:pt x="3324701" y="221456"/>
                    <a:pt x="3325654" y="219551"/>
                  </a:cubicBezTo>
                  <a:cubicBezTo>
                    <a:pt x="3325654" y="220504"/>
                    <a:pt x="3325654" y="220504"/>
                    <a:pt x="3325654" y="221456"/>
                  </a:cubicBezTo>
                  <a:cubicBezTo>
                    <a:pt x="3322796" y="232886"/>
                    <a:pt x="3320891" y="244316"/>
                    <a:pt x="3318034" y="256699"/>
                  </a:cubicBezTo>
                  <a:cubicBezTo>
                    <a:pt x="3318034" y="256699"/>
                    <a:pt x="3318034" y="255746"/>
                    <a:pt x="3317081" y="255746"/>
                  </a:cubicBezTo>
                  <a:cubicBezTo>
                    <a:pt x="3319939" y="245269"/>
                    <a:pt x="3321844" y="235744"/>
                    <a:pt x="3323749" y="227171"/>
                  </a:cubicBezTo>
                  <a:close/>
                  <a:moveTo>
                    <a:pt x="3315176" y="269081"/>
                  </a:moveTo>
                  <a:cubicBezTo>
                    <a:pt x="3315176" y="270034"/>
                    <a:pt x="3316129" y="270986"/>
                    <a:pt x="3316129" y="270986"/>
                  </a:cubicBezTo>
                  <a:cubicBezTo>
                    <a:pt x="3315176" y="274796"/>
                    <a:pt x="3315176" y="278606"/>
                    <a:pt x="3314224" y="282416"/>
                  </a:cubicBezTo>
                  <a:cubicBezTo>
                    <a:pt x="3314224" y="281464"/>
                    <a:pt x="3313271" y="280511"/>
                    <a:pt x="3313271" y="280511"/>
                  </a:cubicBezTo>
                  <a:cubicBezTo>
                    <a:pt x="3313271" y="276701"/>
                    <a:pt x="3314224" y="272891"/>
                    <a:pt x="3315176" y="269081"/>
                  </a:cubicBezTo>
                  <a:close/>
                  <a:moveTo>
                    <a:pt x="3305651" y="310991"/>
                  </a:moveTo>
                  <a:cubicBezTo>
                    <a:pt x="3306604" y="307181"/>
                    <a:pt x="3307556" y="302419"/>
                    <a:pt x="3308509" y="298609"/>
                  </a:cubicBezTo>
                  <a:cubicBezTo>
                    <a:pt x="3309461" y="299561"/>
                    <a:pt x="3309461" y="301466"/>
                    <a:pt x="3310414" y="302419"/>
                  </a:cubicBezTo>
                  <a:cubicBezTo>
                    <a:pt x="3309461" y="308134"/>
                    <a:pt x="3308509" y="314801"/>
                    <a:pt x="3307556" y="320516"/>
                  </a:cubicBezTo>
                  <a:cubicBezTo>
                    <a:pt x="3306604" y="318611"/>
                    <a:pt x="3305651" y="315754"/>
                    <a:pt x="3304699" y="313849"/>
                  </a:cubicBezTo>
                  <a:cubicBezTo>
                    <a:pt x="3305651" y="313849"/>
                    <a:pt x="3305651" y="312896"/>
                    <a:pt x="3305651" y="310991"/>
                  </a:cubicBezTo>
                  <a:close/>
                  <a:moveTo>
                    <a:pt x="3302794" y="327184"/>
                  </a:moveTo>
                  <a:cubicBezTo>
                    <a:pt x="3303746" y="330041"/>
                    <a:pt x="3303746" y="332899"/>
                    <a:pt x="3304699" y="335756"/>
                  </a:cubicBezTo>
                  <a:cubicBezTo>
                    <a:pt x="3303746" y="339566"/>
                    <a:pt x="3302794" y="344329"/>
                    <a:pt x="3300889" y="349091"/>
                  </a:cubicBezTo>
                  <a:cubicBezTo>
                    <a:pt x="3299936" y="350996"/>
                    <a:pt x="3299936" y="353854"/>
                    <a:pt x="3298984" y="355759"/>
                  </a:cubicBezTo>
                  <a:cubicBezTo>
                    <a:pt x="3298031" y="354806"/>
                    <a:pt x="3298031" y="352901"/>
                    <a:pt x="3297079" y="351949"/>
                  </a:cubicBezTo>
                  <a:cubicBezTo>
                    <a:pt x="3298984" y="343376"/>
                    <a:pt x="3300889" y="334804"/>
                    <a:pt x="3302794" y="327184"/>
                  </a:cubicBezTo>
                  <a:close/>
                  <a:moveTo>
                    <a:pt x="3279934" y="297656"/>
                  </a:moveTo>
                  <a:cubicBezTo>
                    <a:pt x="3279934" y="294799"/>
                    <a:pt x="3279934" y="291941"/>
                    <a:pt x="3280886" y="289084"/>
                  </a:cubicBezTo>
                  <a:cubicBezTo>
                    <a:pt x="3281839" y="280511"/>
                    <a:pt x="3282791" y="271939"/>
                    <a:pt x="3283744" y="263366"/>
                  </a:cubicBezTo>
                  <a:cubicBezTo>
                    <a:pt x="3283744" y="259556"/>
                    <a:pt x="3284696" y="255746"/>
                    <a:pt x="3284696" y="252889"/>
                  </a:cubicBezTo>
                  <a:cubicBezTo>
                    <a:pt x="3287554" y="258604"/>
                    <a:pt x="3290411" y="264319"/>
                    <a:pt x="3293269" y="270034"/>
                  </a:cubicBezTo>
                  <a:cubicBezTo>
                    <a:pt x="3292316" y="272891"/>
                    <a:pt x="3292316" y="274796"/>
                    <a:pt x="3291364" y="277654"/>
                  </a:cubicBezTo>
                  <a:cubicBezTo>
                    <a:pt x="3291364" y="279559"/>
                    <a:pt x="3290411" y="281464"/>
                    <a:pt x="3290411" y="283369"/>
                  </a:cubicBezTo>
                  <a:cubicBezTo>
                    <a:pt x="3289459" y="271939"/>
                    <a:pt x="3289459" y="264319"/>
                    <a:pt x="3289459" y="264319"/>
                  </a:cubicBezTo>
                  <a:cubicBezTo>
                    <a:pt x="3289459" y="264319"/>
                    <a:pt x="3285649" y="285274"/>
                    <a:pt x="3281839" y="317659"/>
                  </a:cubicBezTo>
                  <a:cubicBezTo>
                    <a:pt x="3281839" y="317659"/>
                    <a:pt x="3280886" y="317659"/>
                    <a:pt x="3280886" y="317659"/>
                  </a:cubicBezTo>
                  <a:cubicBezTo>
                    <a:pt x="3280886" y="317659"/>
                    <a:pt x="3280886" y="316706"/>
                    <a:pt x="3280886" y="316706"/>
                  </a:cubicBezTo>
                  <a:cubicBezTo>
                    <a:pt x="3280886" y="316706"/>
                    <a:pt x="3280886" y="315754"/>
                    <a:pt x="3279934" y="315754"/>
                  </a:cubicBezTo>
                  <a:cubicBezTo>
                    <a:pt x="3279934" y="314801"/>
                    <a:pt x="3278981" y="314801"/>
                    <a:pt x="3278981" y="313849"/>
                  </a:cubicBezTo>
                  <a:cubicBezTo>
                    <a:pt x="3278981" y="308134"/>
                    <a:pt x="3279934" y="302419"/>
                    <a:pt x="3279934" y="297656"/>
                  </a:cubicBezTo>
                  <a:close/>
                  <a:moveTo>
                    <a:pt x="3263741" y="295751"/>
                  </a:moveTo>
                  <a:cubicBezTo>
                    <a:pt x="3263741" y="294799"/>
                    <a:pt x="3263741" y="293846"/>
                    <a:pt x="3263741" y="293846"/>
                  </a:cubicBezTo>
                  <a:cubicBezTo>
                    <a:pt x="3263741" y="293846"/>
                    <a:pt x="3263741" y="294799"/>
                    <a:pt x="3263741" y="295751"/>
                  </a:cubicBezTo>
                  <a:cubicBezTo>
                    <a:pt x="3264694" y="295751"/>
                    <a:pt x="3264694" y="295751"/>
                    <a:pt x="3264694" y="296704"/>
                  </a:cubicBezTo>
                  <a:cubicBezTo>
                    <a:pt x="3263741" y="299561"/>
                    <a:pt x="3262789" y="303371"/>
                    <a:pt x="3262789" y="306229"/>
                  </a:cubicBezTo>
                  <a:cubicBezTo>
                    <a:pt x="3262789" y="302419"/>
                    <a:pt x="3263741" y="298609"/>
                    <a:pt x="3263741" y="295751"/>
                  </a:cubicBezTo>
                  <a:close/>
                  <a:moveTo>
                    <a:pt x="3232309" y="381476"/>
                  </a:moveTo>
                  <a:cubicBezTo>
                    <a:pt x="3232309" y="372904"/>
                    <a:pt x="3232309" y="365284"/>
                    <a:pt x="3232309" y="357664"/>
                  </a:cubicBezTo>
                  <a:cubicBezTo>
                    <a:pt x="3232309" y="357664"/>
                    <a:pt x="3232309" y="358616"/>
                    <a:pt x="3232309" y="358616"/>
                  </a:cubicBezTo>
                  <a:cubicBezTo>
                    <a:pt x="3232309" y="359569"/>
                    <a:pt x="3232309" y="360521"/>
                    <a:pt x="3233261" y="360521"/>
                  </a:cubicBezTo>
                  <a:cubicBezTo>
                    <a:pt x="3233261" y="367189"/>
                    <a:pt x="3233261" y="373856"/>
                    <a:pt x="3232309" y="381476"/>
                  </a:cubicBezTo>
                  <a:close/>
                  <a:moveTo>
                    <a:pt x="3239929" y="327184"/>
                  </a:moveTo>
                  <a:cubicBezTo>
                    <a:pt x="3240881" y="330994"/>
                    <a:pt x="3240881" y="335756"/>
                    <a:pt x="3241834" y="339566"/>
                  </a:cubicBezTo>
                  <a:cubicBezTo>
                    <a:pt x="3240881" y="337661"/>
                    <a:pt x="3239929" y="335756"/>
                    <a:pt x="3239929" y="333851"/>
                  </a:cubicBezTo>
                  <a:cubicBezTo>
                    <a:pt x="3239929" y="331946"/>
                    <a:pt x="3239929" y="330994"/>
                    <a:pt x="3239929" y="329089"/>
                  </a:cubicBezTo>
                  <a:cubicBezTo>
                    <a:pt x="3238976" y="328136"/>
                    <a:pt x="3239929" y="328136"/>
                    <a:pt x="3239929" y="327184"/>
                  </a:cubicBezTo>
                  <a:close/>
                  <a:moveTo>
                    <a:pt x="3234214" y="318611"/>
                  </a:moveTo>
                  <a:cubicBezTo>
                    <a:pt x="3235166" y="315754"/>
                    <a:pt x="3236119" y="312896"/>
                    <a:pt x="3237071" y="310039"/>
                  </a:cubicBezTo>
                  <a:cubicBezTo>
                    <a:pt x="3237071" y="311944"/>
                    <a:pt x="3238024" y="313849"/>
                    <a:pt x="3238024" y="314801"/>
                  </a:cubicBezTo>
                  <a:cubicBezTo>
                    <a:pt x="3238024" y="315754"/>
                    <a:pt x="3238024" y="315754"/>
                    <a:pt x="3238024" y="316706"/>
                  </a:cubicBezTo>
                  <a:cubicBezTo>
                    <a:pt x="3238024" y="316706"/>
                    <a:pt x="3238024" y="317659"/>
                    <a:pt x="3237071" y="317659"/>
                  </a:cubicBezTo>
                  <a:cubicBezTo>
                    <a:pt x="3237071" y="314801"/>
                    <a:pt x="3236119" y="311944"/>
                    <a:pt x="3237071" y="311944"/>
                  </a:cubicBezTo>
                  <a:cubicBezTo>
                    <a:pt x="3238024" y="311944"/>
                    <a:pt x="3237071" y="314801"/>
                    <a:pt x="3236119" y="319564"/>
                  </a:cubicBezTo>
                  <a:cubicBezTo>
                    <a:pt x="3235166" y="320516"/>
                    <a:pt x="3235166" y="321469"/>
                    <a:pt x="3234214" y="322421"/>
                  </a:cubicBezTo>
                  <a:cubicBezTo>
                    <a:pt x="3234214" y="321469"/>
                    <a:pt x="3233261" y="320516"/>
                    <a:pt x="3233261" y="319564"/>
                  </a:cubicBezTo>
                  <a:cubicBezTo>
                    <a:pt x="3234214" y="319564"/>
                    <a:pt x="3234214" y="319564"/>
                    <a:pt x="3234214" y="318611"/>
                  </a:cubicBezTo>
                  <a:close/>
                  <a:moveTo>
                    <a:pt x="3233261" y="286226"/>
                  </a:moveTo>
                  <a:cubicBezTo>
                    <a:pt x="3233261" y="287179"/>
                    <a:pt x="3233261" y="287179"/>
                    <a:pt x="3233261" y="288131"/>
                  </a:cubicBezTo>
                  <a:cubicBezTo>
                    <a:pt x="3233261" y="289084"/>
                    <a:pt x="3232309" y="289084"/>
                    <a:pt x="3232309" y="290036"/>
                  </a:cubicBezTo>
                  <a:cubicBezTo>
                    <a:pt x="3232309" y="287179"/>
                    <a:pt x="3232309" y="285274"/>
                    <a:pt x="3232309" y="282416"/>
                  </a:cubicBezTo>
                  <a:cubicBezTo>
                    <a:pt x="3232309" y="284321"/>
                    <a:pt x="3233261" y="285274"/>
                    <a:pt x="3233261" y="286226"/>
                  </a:cubicBezTo>
                  <a:close/>
                  <a:moveTo>
                    <a:pt x="3222784" y="285274"/>
                  </a:moveTo>
                  <a:cubicBezTo>
                    <a:pt x="3222784" y="281464"/>
                    <a:pt x="3222784" y="277654"/>
                    <a:pt x="3223736" y="273844"/>
                  </a:cubicBezTo>
                  <a:cubicBezTo>
                    <a:pt x="3224689" y="271939"/>
                    <a:pt x="3224689" y="270034"/>
                    <a:pt x="3224689" y="270034"/>
                  </a:cubicBezTo>
                  <a:cubicBezTo>
                    <a:pt x="3224689" y="270034"/>
                    <a:pt x="3224689" y="270034"/>
                    <a:pt x="3224689" y="270986"/>
                  </a:cubicBezTo>
                  <a:cubicBezTo>
                    <a:pt x="3225641" y="265271"/>
                    <a:pt x="3226594" y="259556"/>
                    <a:pt x="3227546" y="253841"/>
                  </a:cubicBezTo>
                  <a:cubicBezTo>
                    <a:pt x="3227546" y="253841"/>
                    <a:pt x="3227546" y="253841"/>
                    <a:pt x="3227546" y="253841"/>
                  </a:cubicBezTo>
                  <a:cubicBezTo>
                    <a:pt x="3226594" y="264319"/>
                    <a:pt x="3225641" y="277654"/>
                    <a:pt x="3223736" y="292894"/>
                  </a:cubicBezTo>
                  <a:cubicBezTo>
                    <a:pt x="3223736" y="292894"/>
                    <a:pt x="3223736" y="291941"/>
                    <a:pt x="3222784" y="291941"/>
                  </a:cubicBezTo>
                  <a:cubicBezTo>
                    <a:pt x="3222784" y="291941"/>
                    <a:pt x="3222784" y="291941"/>
                    <a:pt x="3222784" y="290989"/>
                  </a:cubicBezTo>
                  <a:cubicBezTo>
                    <a:pt x="3221831" y="289084"/>
                    <a:pt x="3221831" y="287179"/>
                    <a:pt x="3222784" y="285274"/>
                  </a:cubicBezTo>
                  <a:close/>
                  <a:moveTo>
                    <a:pt x="3217069" y="207169"/>
                  </a:moveTo>
                  <a:cubicBezTo>
                    <a:pt x="3218021" y="210979"/>
                    <a:pt x="3218974" y="214789"/>
                    <a:pt x="3219926" y="219551"/>
                  </a:cubicBezTo>
                  <a:cubicBezTo>
                    <a:pt x="3218021" y="225266"/>
                    <a:pt x="3217069" y="231934"/>
                    <a:pt x="3215164" y="238601"/>
                  </a:cubicBezTo>
                  <a:cubicBezTo>
                    <a:pt x="3215164" y="226219"/>
                    <a:pt x="3217069" y="215741"/>
                    <a:pt x="3217069" y="207169"/>
                  </a:cubicBezTo>
                  <a:close/>
                  <a:moveTo>
                    <a:pt x="3191351" y="249079"/>
                  </a:moveTo>
                  <a:cubicBezTo>
                    <a:pt x="3191351" y="242411"/>
                    <a:pt x="3192304" y="236696"/>
                    <a:pt x="3192304" y="232886"/>
                  </a:cubicBezTo>
                  <a:cubicBezTo>
                    <a:pt x="3193256" y="234791"/>
                    <a:pt x="3193256" y="235744"/>
                    <a:pt x="3194209" y="238601"/>
                  </a:cubicBezTo>
                  <a:cubicBezTo>
                    <a:pt x="3193256" y="247174"/>
                    <a:pt x="3192304" y="255746"/>
                    <a:pt x="3191351" y="265271"/>
                  </a:cubicBezTo>
                  <a:cubicBezTo>
                    <a:pt x="3191351" y="258604"/>
                    <a:pt x="3191351" y="253841"/>
                    <a:pt x="3191351" y="249079"/>
                  </a:cubicBezTo>
                  <a:close/>
                  <a:moveTo>
                    <a:pt x="3155156" y="313849"/>
                  </a:moveTo>
                  <a:cubicBezTo>
                    <a:pt x="3155156" y="315754"/>
                    <a:pt x="3156109" y="317659"/>
                    <a:pt x="3156109" y="320516"/>
                  </a:cubicBezTo>
                  <a:cubicBezTo>
                    <a:pt x="3156109" y="325279"/>
                    <a:pt x="3157061" y="330041"/>
                    <a:pt x="3158014" y="334804"/>
                  </a:cubicBezTo>
                  <a:cubicBezTo>
                    <a:pt x="3157061" y="341471"/>
                    <a:pt x="3155156" y="348139"/>
                    <a:pt x="3154204" y="354806"/>
                  </a:cubicBezTo>
                  <a:cubicBezTo>
                    <a:pt x="3153251" y="353854"/>
                    <a:pt x="3153251" y="352901"/>
                    <a:pt x="3152299" y="351949"/>
                  </a:cubicBezTo>
                  <a:cubicBezTo>
                    <a:pt x="3152299" y="350996"/>
                    <a:pt x="3152299" y="350044"/>
                    <a:pt x="3152299" y="350044"/>
                  </a:cubicBezTo>
                  <a:cubicBezTo>
                    <a:pt x="3152299" y="348139"/>
                    <a:pt x="3151346" y="347186"/>
                    <a:pt x="3151346" y="345281"/>
                  </a:cubicBezTo>
                  <a:cubicBezTo>
                    <a:pt x="3151346" y="345281"/>
                    <a:pt x="3151346" y="344329"/>
                    <a:pt x="3151346" y="344329"/>
                  </a:cubicBezTo>
                  <a:lnTo>
                    <a:pt x="3151346" y="338614"/>
                  </a:lnTo>
                  <a:cubicBezTo>
                    <a:pt x="3151346" y="329089"/>
                    <a:pt x="3153251" y="321469"/>
                    <a:pt x="3155156" y="313849"/>
                  </a:cubicBezTo>
                  <a:close/>
                  <a:moveTo>
                    <a:pt x="3139916" y="213836"/>
                  </a:moveTo>
                  <a:cubicBezTo>
                    <a:pt x="3140869" y="220504"/>
                    <a:pt x="3142774" y="228124"/>
                    <a:pt x="3143726" y="235744"/>
                  </a:cubicBezTo>
                  <a:cubicBezTo>
                    <a:pt x="3145631" y="246221"/>
                    <a:pt x="3147536" y="256699"/>
                    <a:pt x="3148489" y="267176"/>
                  </a:cubicBezTo>
                  <a:cubicBezTo>
                    <a:pt x="3146584" y="272891"/>
                    <a:pt x="3145631" y="278606"/>
                    <a:pt x="3143726" y="284321"/>
                  </a:cubicBezTo>
                  <a:cubicBezTo>
                    <a:pt x="3140869" y="251936"/>
                    <a:pt x="3138964" y="228124"/>
                    <a:pt x="3137059" y="216694"/>
                  </a:cubicBezTo>
                  <a:cubicBezTo>
                    <a:pt x="3138011" y="215741"/>
                    <a:pt x="3138964" y="214789"/>
                    <a:pt x="3139916" y="213836"/>
                  </a:cubicBezTo>
                  <a:close/>
                  <a:moveTo>
                    <a:pt x="3130391" y="337661"/>
                  </a:moveTo>
                  <a:cubicBezTo>
                    <a:pt x="3130391" y="336709"/>
                    <a:pt x="3130391" y="336709"/>
                    <a:pt x="3130391" y="335756"/>
                  </a:cubicBezTo>
                  <a:cubicBezTo>
                    <a:pt x="3130391" y="335756"/>
                    <a:pt x="3130391" y="335756"/>
                    <a:pt x="3130391" y="335756"/>
                  </a:cubicBezTo>
                  <a:cubicBezTo>
                    <a:pt x="3130391" y="336709"/>
                    <a:pt x="3130391" y="336709"/>
                    <a:pt x="3130391" y="337661"/>
                  </a:cubicBezTo>
                  <a:close/>
                  <a:moveTo>
                    <a:pt x="3130391" y="328136"/>
                  </a:moveTo>
                  <a:cubicBezTo>
                    <a:pt x="3130391" y="328136"/>
                    <a:pt x="3130391" y="327184"/>
                    <a:pt x="3130391" y="328136"/>
                  </a:cubicBezTo>
                  <a:cubicBezTo>
                    <a:pt x="3130391" y="327184"/>
                    <a:pt x="3130391" y="328136"/>
                    <a:pt x="3130391" y="328136"/>
                  </a:cubicBezTo>
                  <a:cubicBezTo>
                    <a:pt x="3130391" y="328136"/>
                    <a:pt x="3130391" y="328136"/>
                    <a:pt x="3130391" y="328136"/>
                  </a:cubicBezTo>
                  <a:close/>
                  <a:moveTo>
                    <a:pt x="3133249" y="276701"/>
                  </a:moveTo>
                  <a:cubicBezTo>
                    <a:pt x="3133249" y="276701"/>
                    <a:pt x="3133249" y="275749"/>
                    <a:pt x="3133249" y="276701"/>
                  </a:cubicBezTo>
                  <a:cubicBezTo>
                    <a:pt x="3131344" y="270034"/>
                    <a:pt x="3129439" y="264319"/>
                    <a:pt x="3128486" y="259556"/>
                  </a:cubicBezTo>
                  <a:cubicBezTo>
                    <a:pt x="3128486" y="254794"/>
                    <a:pt x="3128486" y="250031"/>
                    <a:pt x="3127534" y="246221"/>
                  </a:cubicBezTo>
                  <a:cubicBezTo>
                    <a:pt x="3131344" y="235744"/>
                    <a:pt x="3134201" y="228124"/>
                    <a:pt x="3135154" y="223361"/>
                  </a:cubicBezTo>
                  <a:cubicBezTo>
                    <a:pt x="3135154" y="235744"/>
                    <a:pt x="3134201" y="253841"/>
                    <a:pt x="3133249" y="276701"/>
                  </a:cubicBezTo>
                  <a:close/>
                  <a:moveTo>
                    <a:pt x="3130391" y="229076"/>
                  </a:moveTo>
                  <a:cubicBezTo>
                    <a:pt x="3132296" y="225266"/>
                    <a:pt x="3134201" y="222409"/>
                    <a:pt x="3136106" y="219551"/>
                  </a:cubicBezTo>
                  <a:cubicBezTo>
                    <a:pt x="3136106" y="220504"/>
                    <a:pt x="3136106" y="220504"/>
                    <a:pt x="3136106" y="221456"/>
                  </a:cubicBezTo>
                  <a:cubicBezTo>
                    <a:pt x="3134201" y="224314"/>
                    <a:pt x="3131344" y="229076"/>
                    <a:pt x="3127534" y="236696"/>
                  </a:cubicBezTo>
                  <a:cubicBezTo>
                    <a:pt x="3127534" y="235744"/>
                    <a:pt x="3127534" y="235744"/>
                    <a:pt x="3127534" y="234791"/>
                  </a:cubicBezTo>
                  <a:cubicBezTo>
                    <a:pt x="3128486" y="232886"/>
                    <a:pt x="3129439" y="230981"/>
                    <a:pt x="3130391" y="229076"/>
                  </a:cubicBezTo>
                  <a:close/>
                  <a:moveTo>
                    <a:pt x="3114199" y="290036"/>
                  </a:moveTo>
                  <a:cubicBezTo>
                    <a:pt x="3114199" y="289084"/>
                    <a:pt x="3113246" y="288131"/>
                    <a:pt x="3113246" y="287179"/>
                  </a:cubicBezTo>
                  <a:cubicBezTo>
                    <a:pt x="3113246" y="287179"/>
                    <a:pt x="3113246" y="287179"/>
                    <a:pt x="3113246" y="286226"/>
                  </a:cubicBezTo>
                  <a:cubicBezTo>
                    <a:pt x="3114199" y="284321"/>
                    <a:pt x="3114199" y="283369"/>
                    <a:pt x="3115151" y="281464"/>
                  </a:cubicBezTo>
                  <a:cubicBezTo>
                    <a:pt x="3114199" y="284321"/>
                    <a:pt x="3114199" y="287179"/>
                    <a:pt x="3114199" y="290036"/>
                  </a:cubicBezTo>
                  <a:close/>
                  <a:moveTo>
                    <a:pt x="3115151" y="257651"/>
                  </a:moveTo>
                  <a:cubicBezTo>
                    <a:pt x="3115151" y="256699"/>
                    <a:pt x="3116104" y="256699"/>
                    <a:pt x="3116104" y="255746"/>
                  </a:cubicBezTo>
                  <a:cubicBezTo>
                    <a:pt x="3116104" y="256699"/>
                    <a:pt x="3116104" y="257651"/>
                    <a:pt x="3115151" y="257651"/>
                  </a:cubicBezTo>
                  <a:cubicBezTo>
                    <a:pt x="3114199" y="261461"/>
                    <a:pt x="3111341" y="265271"/>
                    <a:pt x="3109436" y="270034"/>
                  </a:cubicBezTo>
                  <a:cubicBezTo>
                    <a:pt x="3111341" y="266224"/>
                    <a:pt x="3113246" y="261461"/>
                    <a:pt x="3115151" y="257651"/>
                  </a:cubicBezTo>
                  <a:close/>
                  <a:moveTo>
                    <a:pt x="3110389" y="292894"/>
                  </a:moveTo>
                  <a:cubicBezTo>
                    <a:pt x="3111341" y="297656"/>
                    <a:pt x="3112294" y="302419"/>
                    <a:pt x="3113246" y="309086"/>
                  </a:cubicBezTo>
                  <a:cubicBezTo>
                    <a:pt x="3113246" y="310039"/>
                    <a:pt x="3113246" y="310991"/>
                    <a:pt x="3114199" y="311944"/>
                  </a:cubicBezTo>
                  <a:cubicBezTo>
                    <a:pt x="3114199" y="314801"/>
                    <a:pt x="3114199" y="317659"/>
                    <a:pt x="3114199" y="321469"/>
                  </a:cubicBezTo>
                  <a:cubicBezTo>
                    <a:pt x="3114199" y="321469"/>
                    <a:pt x="3114199" y="320516"/>
                    <a:pt x="3114199" y="319564"/>
                  </a:cubicBezTo>
                  <a:cubicBezTo>
                    <a:pt x="3113246" y="315754"/>
                    <a:pt x="3112294" y="312896"/>
                    <a:pt x="3110389" y="309086"/>
                  </a:cubicBezTo>
                  <a:cubicBezTo>
                    <a:pt x="3110389" y="306229"/>
                    <a:pt x="3109436" y="303371"/>
                    <a:pt x="3109436" y="300514"/>
                  </a:cubicBezTo>
                  <a:cubicBezTo>
                    <a:pt x="3109436" y="300514"/>
                    <a:pt x="3109436" y="299561"/>
                    <a:pt x="3109436" y="299561"/>
                  </a:cubicBezTo>
                  <a:cubicBezTo>
                    <a:pt x="3108484" y="297656"/>
                    <a:pt x="3109436" y="295751"/>
                    <a:pt x="3110389" y="292894"/>
                  </a:cubicBezTo>
                  <a:close/>
                  <a:moveTo>
                    <a:pt x="3098006" y="350996"/>
                  </a:moveTo>
                  <a:cubicBezTo>
                    <a:pt x="3098006" y="350996"/>
                    <a:pt x="3098006" y="350996"/>
                    <a:pt x="3098006" y="350996"/>
                  </a:cubicBezTo>
                  <a:cubicBezTo>
                    <a:pt x="3098006" y="351949"/>
                    <a:pt x="3098006" y="352901"/>
                    <a:pt x="3098006" y="353854"/>
                  </a:cubicBezTo>
                  <a:cubicBezTo>
                    <a:pt x="3098006" y="353854"/>
                    <a:pt x="3098006" y="353854"/>
                    <a:pt x="3097054" y="354806"/>
                  </a:cubicBezTo>
                  <a:cubicBezTo>
                    <a:pt x="3097054" y="353854"/>
                    <a:pt x="3098006" y="351949"/>
                    <a:pt x="3098006" y="350996"/>
                  </a:cubicBezTo>
                  <a:close/>
                  <a:moveTo>
                    <a:pt x="3093244" y="377666"/>
                  </a:moveTo>
                  <a:cubicBezTo>
                    <a:pt x="3095149" y="372904"/>
                    <a:pt x="3097054" y="370046"/>
                    <a:pt x="3097054" y="370046"/>
                  </a:cubicBezTo>
                  <a:cubicBezTo>
                    <a:pt x="3097054" y="370046"/>
                    <a:pt x="3096101" y="371951"/>
                    <a:pt x="3094196" y="373856"/>
                  </a:cubicBezTo>
                  <a:cubicBezTo>
                    <a:pt x="3095149" y="368141"/>
                    <a:pt x="3096101" y="361474"/>
                    <a:pt x="3097054" y="355759"/>
                  </a:cubicBezTo>
                  <a:cubicBezTo>
                    <a:pt x="3097054" y="354806"/>
                    <a:pt x="3098006" y="354806"/>
                    <a:pt x="3098006" y="353854"/>
                  </a:cubicBezTo>
                  <a:cubicBezTo>
                    <a:pt x="3098006" y="359569"/>
                    <a:pt x="3098006" y="366236"/>
                    <a:pt x="3098006" y="371951"/>
                  </a:cubicBezTo>
                  <a:cubicBezTo>
                    <a:pt x="3098006" y="375761"/>
                    <a:pt x="3098006" y="379571"/>
                    <a:pt x="3098006" y="383381"/>
                  </a:cubicBezTo>
                  <a:lnTo>
                    <a:pt x="3095149" y="383381"/>
                  </a:lnTo>
                  <a:cubicBezTo>
                    <a:pt x="3095149" y="383381"/>
                    <a:pt x="3095149" y="383381"/>
                    <a:pt x="3095149" y="383381"/>
                  </a:cubicBezTo>
                  <a:cubicBezTo>
                    <a:pt x="3094196" y="381476"/>
                    <a:pt x="3094196" y="379571"/>
                    <a:pt x="3093244" y="378619"/>
                  </a:cubicBezTo>
                  <a:cubicBezTo>
                    <a:pt x="3093244" y="379571"/>
                    <a:pt x="3093244" y="378619"/>
                    <a:pt x="3093244" y="377666"/>
                  </a:cubicBezTo>
                  <a:close/>
                  <a:moveTo>
                    <a:pt x="3084671" y="293846"/>
                  </a:moveTo>
                  <a:cubicBezTo>
                    <a:pt x="3084671" y="288131"/>
                    <a:pt x="3085624" y="282416"/>
                    <a:pt x="3085624" y="276701"/>
                  </a:cubicBezTo>
                  <a:cubicBezTo>
                    <a:pt x="3085624" y="277654"/>
                    <a:pt x="3085624" y="277654"/>
                    <a:pt x="3085624" y="278606"/>
                  </a:cubicBezTo>
                  <a:cubicBezTo>
                    <a:pt x="3086576" y="281464"/>
                    <a:pt x="3087529" y="285274"/>
                    <a:pt x="3088481" y="289084"/>
                  </a:cubicBezTo>
                  <a:cubicBezTo>
                    <a:pt x="3087529" y="290036"/>
                    <a:pt x="3087529" y="290989"/>
                    <a:pt x="3086576" y="291941"/>
                  </a:cubicBezTo>
                  <a:cubicBezTo>
                    <a:pt x="3085624" y="292894"/>
                    <a:pt x="3084671" y="294799"/>
                    <a:pt x="3084671" y="296704"/>
                  </a:cubicBezTo>
                  <a:cubicBezTo>
                    <a:pt x="3084671" y="294799"/>
                    <a:pt x="3084671" y="294799"/>
                    <a:pt x="3084671" y="293846"/>
                  </a:cubicBezTo>
                  <a:close/>
                  <a:moveTo>
                    <a:pt x="3086576" y="348139"/>
                  </a:moveTo>
                  <a:cubicBezTo>
                    <a:pt x="3086576" y="349091"/>
                    <a:pt x="3086576" y="349091"/>
                    <a:pt x="3086576" y="350044"/>
                  </a:cubicBezTo>
                  <a:cubicBezTo>
                    <a:pt x="3085624" y="353854"/>
                    <a:pt x="3084671" y="357664"/>
                    <a:pt x="3083719" y="361474"/>
                  </a:cubicBezTo>
                  <a:cubicBezTo>
                    <a:pt x="3083719" y="360521"/>
                    <a:pt x="3083719" y="358616"/>
                    <a:pt x="3083719" y="357664"/>
                  </a:cubicBezTo>
                  <a:cubicBezTo>
                    <a:pt x="3084671" y="353854"/>
                    <a:pt x="3085624" y="350996"/>
                    <a:pt x="3086576" y="348139"/>
                  </a:cubicBezTo>
                  <a:close/>
                  <a:moveTo>
                    <a:pt x="3057049" y="235744"/>
                  </a:moveTo>
                  <a:cubicBezTo>
                    <a:pt x="3058001" y="227171"/>
                    <a:pt x="3058954" y="218599"/>
                    <a:pt x="3059906" y="210979"/>
                  </a:cubicBezTo>
                  <a:cubicBezTo>
                    <a:pt x="3060859" y="204311"/>
                    <a:pt x="3061811" y="197644"/>
                    <a:pt x="3062764" y="191929"/>
                  </a:cubicBezTo>
                  <a:cubicBezTo>
                    <a:pt x="3063716" y="195739"/>
                    <a:pt x="3065621" y="201454"/>
                    <a:pt x="3067526" y="209074"/>
                  </a:cubicBezTo>
                  <a:cubicBezTo>
                    <a:pt x="3067526" y="213836"/>
                    <a:pt x="3066574" y="217646"/>
                    <a:pt x="3066574" y="222409"/>
                  </a:cubicBezTo>
                  <a:cubicBezTo>
                    <a:pt x="3065621" y="231934"/>
                    <a:pt x="3064669" y="242411"/>
                    <a:pt x="3063716" y="253841"/>
                  </a:cubicBezTo>
                  <a:cubicBezTo>
                    <a:pt x="3062764" y="258604"/>
                    <a:pt x="3060859" y="263366"/>
                    <a:pt x="3059906" y="268129"/>
                  </a:cubicBezTo>
                  <a:cubicBezTo>
                    <a:pt x="3058954" y="262414"/>
                    <a:pt x="3058001" y="257651"/>
                    <a:pt x="3057049" y="252889"/>
                  </a:cubicBezTo>
                  <a:cubicBezTo>
                    <a:pt x="3057049" y="250984"/>
                    <a:pt x="3056096" y="250031"/>
                    <a:pt x="3056096" y="248126"/>
                  </a:cubicBezTo>
                  <a:cubicBezTo>
                    <a:pt x="3056096" y="244316"/>
                    <a:pt x="3056096" y="239554"/>
                    <a:pt x="3057049" y="235744"/>
                  </a:cubicBezTo>
                  <a:close/>
                  <a:moveTo>
                    <a:pt x="3002756" y="307181"/>
                  </a:moveTo>
                  <a:cubicBezTo>
                    <a:pt x="3002756" y="308134"/>
                    <a:pt x="3001804" y="309086"/>
                    <a:pt x="3001804" y="310039"/>
                  </a:cubicBezTo>
                  <a:cubicBezTo>
                    <a:pt x="3001804" y="308134"/>
                    <a:pt x="3002756" y="307181"/>
                    <a:pt x="3002756" y="305276"/>
                  </a:cubicBezTo>
                  <a:cubicBezTo>
                    <a:pt x="3004661" y="298609"/>
                    <a:pt x="3005614" y="292894"/>
                    <a:pt x="3006566" y="286226"/>
                  </a:cubicBezTo>
                  <a:cubicBezTo>
                    <a:pt x="3007519" y="287179"/>
                    <a:pt x="3007519" y="289084"/>
                    <a:pt x="3008471" y="290036"/>
                  </a:cubicBezTo>
                  <a:cubicBezTo>
                    <a:pt x="3006566" y="295751"/>
                    <a:pt x="3004661" y="301466"/>
                    <a:pt x="3002756" y="307181"/>
                  </a:cubicBezTo>
                  <a:close/>
                  <a:moveTo>
                    <a:pt x="3036094" y="249079"/>
                  </a:moveTo>
                  <a:cubicBezTo>
                    <a:pt x="3036094" y="254794"/>
                    <a:pt x="3036094" y="260509"/>
                    <a:pt x="3036094" y="266224"/>
                  </a:cubicBezTo>
                  <a:cubicBezTo>
                    <a:pt x="3035141" y="263366"/>
                    <a:pt x="3034189" y="260509"/>
                    <a:pt x="3033236" y="258604"/>
                  </a:cubicBezTo>
                  <a:cubicBezTo>
                    <a:pt x="3034189" y="255746"/>
                    <a:pt x="3035141" y="252889"/>
                    <a:pt x="3036094" y="249079"/>
                  </a:cubicBezTo>
                  <a:close/>
                  <a:moveTo>
                    <a:pt x="3030379" y="269081"/>
                  </a:moveTo>
                  <a:cubicBezTo>
                    <a:pt x="3030379" y="269081"/>
                    <a:pt x="3030379" y="270034"/>
                    <a:pt x="3030379" y="269081"/>
                  </a:cubicBezTo>
                  <a:cubicBezTo>
                    <a:pt x="3030379" y="270034"/>
                    <a:pt x="3030379" y="270034"/>
                    <a:pt x="3030379" y="269081"/>
                  </a:cubicBezTo>
                  <a:cubicBezTo>
                    <a:pt x="3030379" y="269081"/>
                    <a:pt x="3030379" y="269081"/>
                    <a:pt x="3030379" y="269081"/>
                  </a:cubicBezTo>
                  <a:close/>
                  <a:moveTo>
                    <a:pt x="3027521" y="353854"/>
                  </a:moveTo>
                  <a:cubicBezTo>
                    <a:pt x="3026569" y="356711"/>
                    <a:pt x="3024664" y="360521"/>
                    <a:pt x="3023711" y="364331"/>
                  </a:cubicBezTo>
                  <a:cubicBezTo>
                    <a:pt x="3021806" y="370046"/>
                    <a:pt x="3019901" y="376714"/>
                    <a:pt x="3017996" y="383381"/>
                  </a:cubicBezTo>
                  <a:cubicBezTo>
                    <a:pt x="3017996" y="384334"/>
                    <a:pt x="3017044" y="384334"/>
                    <a:pt x="3017044" y="385286"/>
                  </a:cubicBezTo>
                  <a:cubicBezTo>
                    <a:pt x="3016091" y="382429"/>
                    <a:pt x="3015139" y="379571"/>
                    <a:pt x="3015139" y="376714"/>
                  </a:cubicBezTo>
                  <a:cubicBezTo>
                    <a:pt x="3017044" y="372904"/>
                    <a:pt x="3018949" y="370046"/>
                    <a:pt x="3020854" y="366236"/>
                  </a:cubicBezTo>
                  <a:cubicBezTo>
                    <a:pt x="3023711" y="361474"/>
                    <a:pt x="3025616" y="357664"/>
                    <a:pt x="3028474" y="352901"/>
                  </a:cubicBezTo>
                  <a:cubicBezTo>
                    <a:pt x="3027521" y="352901"/>
                    <a:pt x="3027521" y="353854"/>
                    <a:pt x="3027521" y="353854"/>
                  </a:cubicBezTo>
                  <a:close/>
                  <a:moveTo>
                    <a:pt x="3021806" y="230029"/>
                  </a:moveTo>
                  <a:cubicBezTo>
                    <a:pt x="3022759" y="231934"/>
                    <a:pt x="3022759" y="235744"/>
                    <a:pt x="3024664" y="241459"/>
                  </a:cubicBezTo>
                  <a:cubicBezTo>
                    <a:pt x="3024664" y="241459"/>
                    <a:pt x="3024664" y="241459"/>
                    <a:pt x="3024664" y="241459"/>
                  </a:cubicBezTo>
                  <a:cubicBezTo>
                    <a:pt x="3022759" y="237649"/>
                    <a:pt x="3022759" y="233839"/>
                    <a:pt x="3021806" y="230029"/>
                  </a:cubicBezTo>
                  <a:cubicBezTo>
                    <a:pt x="3021806" y="230029"/>
                    <a:pt x="3021806" y="230029"/>
                    <a:pt x="3021806" y="230029"/>
                  </a:cubicBezTo>
                  <a:close/>
                  <a:moveTo>
                    <a:pt x="3020854" y="305276"/>
                  </a:moveTo>
                  <a:cubicBezTo>
                    <a:pt x="3020854" y="305276"/>
                    <a:pt x="3020854" y="305276"/>
                    <a:pt x="3020854" y="305276"/>
                  </a:cubicBezTo>
                  <a:cubicBezTo>
                    <a:pt x="3020854" y="306229"/>
                    <a:pt x="3020854" y="305276"/>
                    <a:pt x="3020854" y="305276"/>
                  </a:cubicBezTo>
                  <a:cubicBezTo>
                    <a:pt x="3020854" y="305276"/>
                    <a:pt x="3020854" y="305276"/>
                    <a:pt x="3020854" y="305276"/>
                  </a:cubicBezTo>
                  <a:close/>
                  <a:moveTo>
                    <a:pt x="3017996" y="317659"/>
                  </a:moveTo>
                  <a:cubicBezTo>
                    <a:pt x="3018949" y="321469"/>
                    <a:pt x="3020854" y="325279"/>
                    <a:pt x="3021806" y="329089"/>
                  </a:cubicBezTo>
                  <a:cubicBezTo>
                    <a:pt x="3022759" y="332899"/>
                    <a:pt x="3023711" y="336709"/>
                    <a:pt x="3025616" y="339566"/>
                  </a:cubicBezTo>
                  <a:cubicBezTo>
                    <a:pt x="3020854" y="345281"/>
                    <a:pt x="3016091" y="351949"/>
                    <a:pt x="3011329" y="359569"/>
                  </a:cubicBezTo>
                  <a:cubicBezTo>
                    <a:pt x="3011329" y="359569"/>
                    <a:pt x="3011329" y="359569"/>
                    <a:pt x="3011329" y="360521"/>
                  </a:cubicBezTo>
                  <a:cubicBezTo>
                    <a:pt x="3010376" y="357664"/>
                    <a:pt x="3009424" y="354806"/>
                    <a:pt x="3009424" y="351949"/>
                  </a:cubicBezTo>
                  <a:cubicBezTo>
                    <a:pt x="3011329" y="340519"/>
                    <a:pt x="3015139" y="329089"/>
                    <a:pt x="3017996" y="317659"/>
                  </a:cubicBezTo>
                  <a:close/>
                  <a:moveTo>
                    <a:pt x="3013234" y="257651"/>
                  </a:moveTo>
                  <a:cubicBezTo>
                    <a:pt x="3013234" y="258604"/>
                    <a:pt x="3013234" y="259556"/>
                    <a:pt x="3014186" y="261461"/>
                  </a:cubicBezTo>
                  <a:cubicBezTo>
                    <a:pt x="3014186" y="263366"/>
                    <a:pt x="3015139" y="266224"/>
                    <a:pt x="3015139" y="269081"/>
                  </a:cubicBezTo>
                  <a:cubicBezTo>
                    <a:pt x="3013234" y="273844"/>
                    <a:pt x="3012281" y="279559"/>
                    <a:pt x="3010376" y="284321"/>
                  </a:cubicBezTo>
                  <a:cubicBezTo>
                    <a:pt x="3010376" y="283369"/>
                    <a:pt x="3009424" y="283369"/>
                    <a:pt x="3009424" y="282416"/>
                  </a:cubicBezTo>
                  <a:cubicBezTo>
                    <a:pt x="3009424" y="281464"/>
                    <a:pt x="3008471" y="280511"/>
                    <a:pt x="3008471" y="279559"/>
                  </a:cubicBezTo>
                  <a:cubicBezTo>
                    <a:pt x="3008471" y="278606"/>
                    <a:pt x="3008471" y="277654"/>
                    <a:pt x="3009424" y="276701"/>
                  </a:cubicBezTo>
                  <a:cubicBezTo>
                    <a:pt x="3010376" y="270034"/>
                    <a:pt x="3011329" y="263366"/>
                    <a:pt x="3013234" y="257651"/>
                  </a:cubicBezTo>
                  <a:close/>
                  <a:moveTo>
                    <a:pt x="3008471" y="230029"/>
                  </a:moveTo>
                  <a:cubicBezTo>
                    <a:pt x="3009424" y="234791"/>
                    <a:pt x="3010376" y="239554"/>
                    <a:pt x="3010376" y="244316"/>
                  </a:cubicBezTo>
                  <a:cubicBezTo>
                    <a:pt x="3009424" y="246221"/>
                    <a:pt x="3008471" y="249079"/>
                    <a:pt x="3007519" y="250984"/>
                  </a:cubicBezTo>
                  <a:cubicBezTo>
                    <a:pt x="3005614" y="254794"/>
                    <a:pt x="3003709" y="259556"/>
                    <a:pt x="3001804" y="264319"/>
                  </a:cubicBezTo>
                  <a:cubicBezTo>
                    <a:pt x="3003709" y="251936"/>
                    <a:pt x="3005614" y="240506"/>
                    <a:pt x="3008471" y="230029"/>
                  </a:cubicBezTo>
                  <a:close/>
                  <a:moveTo>
                    <a:pt x="3003709" y="195739"/>
                  </a:moveTo>
                  <a:cubicBezTo>
                    <a:pt x="3003709" y="198596"/>
                    <a:pt x="3004661" y="202406"/>
                    <a:pt x="3004661" y="205264"/>
                  </a:cubicBezTo>
                  <a:cubicBezTo>
                    <a:pt x="3002756" y="210979"/>
                    <a:pt x="3000851" y="216694"/>
                    <a:pt x="2997994" y="223361"/>
                  </a:cubicBezTo>
                  <a:cubicBezTo>
                    <a:pt x="2993231" y="235744"/>
                    <a:pt x="2990374" y="248126"/>
                    <a:pt x="2986564" y="262414"/>
                  </a:cubicBezTo>
                  <a:cubicBezTo>
                    <a:pt x="2985611" y="265271"/>
                    <a:pt x="2985611" y="268129"/>
                    <a:pt x="2984659" y="270986"/>
                  </a:cubicBezTo>
                  <a:cubicBezTo>
                    <a:pt x="2984659" y="270986"/>
                    <a:pt x="2984659" y="270986"/>
                    <a:pt x="2984659" y="270986"/>
                  </a:cubicBezTo>
                  <a:cubicBezTo>
                    <a:pt x="2991326" y="243364"/>
                    <a:pt x="2997994" y="218599"/>
                    <a:pt x="3003709" y="195739"/>
                  </a:cubicBezTo>
                  <a:close/>
                  <a:moveTo>
                    <a:pt x="2974181" y="311944"/>
                  </a:moveTo>
                  <a:cubicBezTo>
                    <a:pt x="2976086" y="302419"/>
                    <a:pt x="2978944" y="292894"/>
                    <a:pt x="2980849" y="284321"/>
                  </a:cubicBezTo>
                  <a:cubicBezTo>
                    <a:pt x="2980849" y="284321"/>
                    <a:pt x="2980849" y="285274"/>
                    <a:pt x="2980849" y="285274"/>
                  </a:cubicBezTo>
                  <a:cubicBezTo>
                    <a:pt x="2978944" y="291941"/>
                    <a:pt x="2977991" y="299561"/>
                    <a:pt x="2976086" y="307181"/>
                  </a:cubicBezTo>
                  <a:cubicBezTo>
                    <a:pt x="2975134" y="313849"/>
                    <a:pt x="2973229" y="320516"/>
                    <a:pt x="2972276" y="327184"/>
                  </a:cubicBezTo>
                  <a:cubicBezTo>
                    <a:pt x="2971324" y="325279"/>
                    <a:pt x="2971324" y="324326"/>
                    <a:pt x="2970371" y="322421"/>
                  </a:cubicBezTo>
                  <a:cubicBezTo>
                    <a:pt x="2972276" y="318611"/>
                    <a:pt x="2973229" y="314801"/>
                    <a:pt x="2974181" y="311944"/>
                  </a:cubicBezTo>
                  <a:close/>
                  <a:moveTo>
                    <a:pt x="2964656" y="349091"/>
                  </a:moveTo>
                  <a:cubicBezTo>
                    <a:pt x="2965609" y="344329"/>
                    <a:pt x="2967514" y="339566"/>
                    <a:pt x="2968466" y="334804"/>
                  </a:cubicBezTo>
                  <a:cubicBezTo>
                    <a:pt x="2969419" y="337661"/>
                    <a:pt x="2970371" y="341471"/>
                    <a:pt x="2970371" y="344329"/>
                  </a:cubicBezTo>
                  <a:cubicBezTo>
                    <a:pt x="2970371" y="347186"/>
                    <a:pt x="2969419" y="350996"/>
                    <a:pt x="2969419" y="353854"/>
                  </a:cubicBezTo>
                  <a:cubicBezTo>
                    <a:pt x="2968466" y="361474"/>
                    <a:pt x="2967514" y="369094"/>
                    <a:pt x="2966561" y="377666"/>
                  </a:cubicBezTo>
                  <a:cubicBezTo>
                    <a:pt x="2965609" y="373856"/>
                    <a:pt x="2964656" y="369094"/>
                    <a:pt x="2963704" y="366236"/>
                  </a:cubicBezTo>
                  <a:cubicBezTo>
                    <a:pt x="2967514" y="350996"/>
                    <a:pt x="2969419" y="341471"/>
                    <a:pt x="2969419" y="341471"/>
                  </a:cubicBezTo>
                  <a:cubicBezTo>
                    <a:pt x="2969419" y="341471"/>
                    <a:pt x="2967514" y="344329"/>
                    <a:pt x="2964656" y="349091"/>
                  </a:cubicBezTo>
                  <a:close/>
                  <a:moveTo>
                    <a:pt x="2958941" y="383381"/>
                  </a:moveTo>
                  <a:cubicBezTo>
                    <a:pt x="2958941" y="383381"/>
                    <a:pt x="2958941" y="384334"/>
                    <a:pt x="2958941" y="383381"/>
                  </a:cubicBezTo>
                  <a:cubicBezTo>
                    <a:pt x="2958941" y="384334"/>
                    <a:pt x="2958941" y="384334"/>
                    <a:pt x="2958941" y="383381"/>
                  </a:cubicBezTo>
                  <a:cubicBezTo>
                    <a:pt x="2958941" y="384334"/>
                    <a:pt x="2958941" y="384334"/>
                    <a:pt x="2958941" y="383381"/>
                  </a:cubicBezTo>
                  <a:cubicBezTo>
                    <a:pt x="2958941" y="384334"/>
                    <a:pt x="2958941" y="383381"/>
                    <a:pt x="2958941" y="383381"/>
                  </a:cubicBezTo>
                  <a:close/>
                  <a:moveTo>
                    <a:pt x="2936081" y="284321"/>
                  </a:moveTo>
                  <a:cubicBezTo>
                    <a:pt x="2935129" y="280511"/>
                    <a:pt x="2935129" y="277654"/>
                    <a:pt x="2934176" y="273844"/>
                  </a:cubicBezTo>
                  <a:cubicBezTo>
                    <a:pt x="2935129" y="272891"/>
                    <a:pt x="2935129" y="271939"/>
                    <a:pt x="2936081" y="271939"/>
                  </a:cubicBezTo>
                  <a:cubicBezTo>
                    <a:pt x="2936081" y="276701"/>
                    <a:pt x="2936081" y="280511"/>
                    <a:pt x="2936081" y="284321"/>
                  </a:cubicBezTo>
                  <a:close/>
                  <a:moveTo>
                    <a:pt x="2936081" y="267176"/>
                  </a:moveTo>
                  <a:cubicBezTo>
                    <a:pt x="2936081" y="267176"/>
                    <a:pt x="2936081" y="267176"/>
                    <a:pt x="2936081" y="267176"/>
                  </a:cubicBezTo>
                  <a:cubicBezTo>
                    <a:pt x="2935129" y="268129"/>
                    <a:pt x="2935129" y="268129"/>
                    <a:pt x="2934176" y="269081"/>
                  </a:cubicBezTo>
                  <a:cubicBezTo>
                    <a:pt x="2935129" y="268129"/>
                    <a:pt x="2935129" y="266224"/>
                    <a:pt x="2936081" y="265271"/>
                  </a:cubicBezTo>
                  <a:cubicBezTo>
                    <a:pt x="2935129" y="265271"/>
                    <a:pt x="2936081" y="266224"/>
                    <a:pt x="2936081" y="267176"/>
                  </a:cubicBezTo>
                  <a:close/>
                  <a:moveTo>
                    <a:pt x="2929414" y="243364"/>
                  </a:moveTo>
                  <a:lnTo>
                    <a:pt x="2930366" y="243364"/>
                  </a:lnTo>
                  <a:lnTo>
                    <a:pt x="2933224" y="244316"/>
                  </a:lnTo>
                  <a:cubicBezTo>
                    <a:pt x="2933224" y="248126"/>
                    <a:pt x="2934176" y="251936"/>
                    <a:pt x="2934176" y="255746"/>
                  </a:cubicBezTo>
                  <a:cubicBezTo>
                    <a:pt x="2933224" y="257651"/>
                    <a:pt x="2932271" y="259556"/>
                    <a:pt x="2931319" y="261461"/>
                  </a:cubicBezTo>
                  <a:cubicBezTo>
                    <a:pt x="2930366" y="256699"/>
                    <a:pt x="2929414" y="251936"/>
                    <a:pt x="2927509" y="248126"/>
                  </a:cubicBezTo>
                  <a:cubicBezTo>
                    <a:pt x="2928461" y="246221"/>
                    <a:pt x="2929414" y="245269"/>
                    <a:pt x="2929414" y="243364"/>
                  </a:cubicBezTo>
                  <a:close/>
                  <a:moveTo>
                    <a:pt x="2917984" y="351949"/>
                  </a:moveTo>
                  <a:cubicBezTo>
                    <a:pt x="2917984" y="352901"/>
                    <a:pt x="2917984" y="352901"/>
                    <a:pt x="2918936" y="353854"/>
                  </a:cubicBezTo>
                  <a:cubicBezTo>
                    <a:pt x="2918936" y="356711"/>
                    <a:pt x="2919889" y="360521"/>
                    <a:pt x="2919889" y="363379"/>
                  </a:cubicBezTo>
                  <a:cubicBezTo>
                    <a:pt x="2920841" y="369094"/>
                    <a:pt x="2921794" y="374809"/>
                    <a:pt x="2922746" y="380524"/>
                  </a:cubicBezTo>
                  <a:cubicBezTo>
                    <a:pt x="2921794" y="380524"/>
                    <a:pt x="2921794" y="380524"/>
                    <a:pt x="2920841" y="380524"/>
                  </a:cubicBezTo>
                  <a:cubicBezTo>
                    <a:pt x="2918936" y="374809"/>
                    <a:pt x="2916079" y="368141"/>
                    <a:pt x="2913221" y="362426"/>
                  </a:cubicBezTo>
                  <a:cubicBezTo>
                    <a:pt x="2914174" y="358616"/>
                    <a:pt x="2916079" y="355759"/>
                    <a:pt x="2917984" y="351949"/>
                  </a:cubicBezTo>
                  <a:close/>
                  <a:moveTo>
                    <a:pt x="2904649" y="224314"/>
                  </a:moveTo>
                  <a:cubicBezTo>
                    <a:pt x="2904649" y="224314"/>
                    <a:pt x="2904649" y="224314"/>
                    <a:pt x="2904649" y="224314"/>
                  </a:cubicBezTo>
                  <a:cubicBezTo>
                    <a:pt x="2904649" y="228124"/>
                    <a:pt x="2903696" y="232886"/>
                    <a:pt x="2903696" y="237649"/>
                  </a:cubicBezTo>
                  <a:cubicBezTo>
                    <a:pt x="2903696" y="241459"/>
                    <a:pt x="2902744" y="245269"/>
                    <a:pt x="2902744" y="250031"/>
                  </a:cubicBezTo>
                  <a:cubicBezTo>
                    <a:pt x="2901791" y="245269"/>
                    <a:pt x="2901791" y="240506"/>
                    <a:pt x="2900839" y="235744"/>
                  </a:cubicBezTo>
                  <a:cubicBezTo>
                    <a:pt x="2901791" y="231934"/>
                    <a:pt x="2902744" y="228124"/>
                    <a:pt x="2904649" y="224314"/>
                  </a:cubicBezTo>
                  <a:close/>
                  <a:moveTo>
                    <a:pt x="2885599" y="294799"/>
                  </a:moveTo>
                  <a:cubicBezTo>
                    <a:pt x="2886551" y="290036"/>
                    <a:pt x="2887504" y="285274"/>
                    <a:pt x="2888456" y="280511"/>
                  </a:cubicBezTo>
                  <a:cubicBezTo>
                    <a:pt x="2888456" y="289084"/>
                    <a:pt x="2889409" y="298609"/>
                    <a:pt x="2889409" y="308134"/>
                  </a:cubicBezTo>
                  <a:cubicBezTo>
                    <a:pt x="2887504" y="304324"/>
                    <a:pt x="2886551" y="301466"/>
                    <a:pt x="2884646" y="297656"/>
                  </a:cubicBezTo>
                  <a:cubicBezTo>
                    <a:pt x="2884646" y="296704"/>
                    <a:pt x="2885599" y="295751"/>
                    <a:pt x="2885599" y="294799"/>
                  </a:cubicBezTo>
                  <a:close/>
                  <a:moveTo>
                    <a:pt x="2869406" y="301466"/>
                  </a:moveTo>
                  <a:cubicBezTo>
                    <a:pt x="2869406" y="302419"/>
                    <a:pt x="2869406" y="302419"/>
                    <a:pt x="2869406" y="301466"/>
                  </a:cubicBezTo>
                  <a:cubicBezTo>
                    <a:pt x="2869406" y="302419"/>
                    <a:pt x="2869406" y="302419"/>
                    <a:pt x="2869406" y="302419"/>
                  </a:cubicBezTo>
                  <a:cubicBezTo>
                    <a:pt x="2869406" y="303371"/>
                    <a:pt x="2868454" y="304324"/>
                    <a:pt x="2868454" y="305276"/>
                  </a:cubicBezTo>
                  <a:cubicBezTo>
                    <a:pt x="2864644" y="298609"/>
                    <a:pt x="2860834" y="290989"/>
                    <a:pt x="2856071" y="284321"/>
                  </a:cubicBezTo>
                  <a:cubicBezTo>
                    <a:pt x="2856071" y="283369"/>
                    <a:pt x="2855119" y="283369"/>
                    <a:pt x="2855119" y="282416"/>
                  </a:cubicBezTo>
                  <a:cubicBezTo>
                    <a:pt x="2856071" y="279559"/>
                    <a:pt x="2857024" y="276701"/>
                    <a:pt x="2857976" y="273844"/>
                  </a:cubicBezTo>
                  <a:cubicBezTo>
                    <a:pt x="2861786" y="283369"/>
                    <a:pt x="2865596" y="292894"/>
                    <a:pt x="2869406" y="301466"/>
                  </a:cubicBezTo>
                  <a:close/>
                  <a:moveTo>
                    <a:pt x="2851309" y="262414"/>
                  </a:moveTo>
                  <a:cubicBezTo>
                    <a:pt x="2851309" y="261461"/>
                    <a:pt x="2851309" y="260509"/>
                    <a:pt x="2851309" y="259556"/>
                  </a:cubicBezTo>
                  <a:cubicBezTo>
                    <a:pt x="2852261" y="262414"/>
                    <a:pt x="2853214" y="264319"/>
                    <a:pt x="2855119" y="267176"/>
                  </a:cubicBezTo>
                  <a:cubicBezTo>
                    <a:pt x="2855119" y="268129"/>
                    <a:pt x="2856071" y="268129"/>
                    <a:pt x="2856071" y="269081"/>
                  </a:cubicBezTo>
                  <a:cubicBezTo>
                    <a:pt x="2855119" y="270986"/>
                    <a:pt x="2853214" y="273844"/>
                    <a:pt x="2851309" y="276701"/>
                  </a:cubicBezTo>
                  <a:cubicBezTo>
                    <a:pt x="2851309" y="275749"/>
                    <a:pt x="2850356" y="275749"/>
                    <a:pt x="2850356" y="274796"/>
                  </a:cubicBezTo>
                  <a:cubicBezTo>
                    <a:pt x="2850356" y="270986"/>
                    <a:pt x="2851309" y="267176"/>
                    <a:pt x="2851309" y="262414"/>
                  </a:cubicBezTo>
                  <a:close/>
                  <a:moveTo>
                    <a:pt x="2848451" y="312896"/>
                  </a:moveTo>
                  <a:cubicBezTo>
                    <a:pt x="2848451" y="309086"/>
                    <a:pt x="2848451" y="306229"/>
                    <a:pt x="2848451" y="302419"/>
                  </a:cubicBezTo>
                  <a:cubicBezTo>
                    <a:pt x="2852261" y="310039"/>
                    <a:pt x="2857024" y="318611"/>
                    <a:pt x="2860834" y="327184"/>
                  </a:cubicBezTo>
                  <a:cubicBezTo>
                    <a:pt x="2858929" y="332899"/>
                    <a:pt x="2857024" y="338614"/>
                    <a:pt x="2856071" y="344329"/>
                  </a:cubicBezTo>
                  <a:cubicBezTo>
                    <a:pt x="2855119" y="348139"/>
                    <a:pt x="2854166" y="351949"/>
                    <a:pt x="2853214" y="355759"/>
                  </a:cubicBezTo>
                  <a:cubicBezTo>
                    <a:pt x="2852261" y="350996"/>
                    <a:pt x="2852261" y="346234"/>
                    <a:pt x="2851309" y="341471"/>
                  </a:cubicBezTo>
                  <a:cubicBezTo>
                    <a:pt x="2850356" y="332899"/>
                    <a:pt x="2849404" y="324326"/>
                    <a:pt x="2847499" y="316706"/>
                  </a:cubicBezTo>
                  <a:cubicBezTo>
                    <a:pt x="2848451" y="315754"/>
                    <a:pt x="2848451" y="313849"/>
                    <a:pt x="2848451" y="312896"/>
                  </a:cubicBezTo>
                  <a:close/>
                  <a:moveTo>
                    <a:pt x="2836069" y="226219"/>
                  </a:moveTo>
                  <a:cubicBezTo>
                    <a:pt x="2839879" y="234791"/>
                    <a:pt x="2843689" y="243364"/>
                    <a:pt x="2847499" y="251936"/>
                  </a:cubicBezTo>
                  <a:cubicBezTo>
                    <a:pt x="2846546" y="254794"/>
                    <a:pt x="2845594" y="257651"/>
                    <a:pt x="2844641" y="261461"/>
                  </a:cubicBezTo>
                  <a:cubicBezTo>
                    <a:pt x="2844641" y="262414"/>
                    <a:pt x="2843689" y="264319"/>
                    <a:pt x="2843689" y="266224"/>
                  </a:cubicBezTo>
                  <a:cubicBezTo>
                    <a:pt x="2841784" y="263366"/>
                    <a:pt x="2840831" y="261461"/>
                    <a:pt x="2838926" y="258604"/>
                  </a:cubicBezTo>
                  <a:cubicBezTo>
                    <a:pt x="2837974" y="249079"/>
                    <a:pt x="2836069" y="238601"/>
                    <a:pt x="2834164" y="229076"/>
                  </a:cubicBezTo>
                  <a:cubicBezTo>
                    <a:pt x="2836069" y="228124"/>
                    <a:pt x="2836069" y="227171"/>
                    <a:pt x="2836069" y="226219"/>
                  </a:cubicBezTo>
                  <a:close/>
                  <a:moveTo>
                    <a:pt x="2830354" y="305276"/>
                  </a:moveTo>
                  <a:cubicBezTo>
                    <a:pt x="2830354" y="308134"/>
                    <a:pt x="2830354" y="310039"/>
                    <a:pt x="2831306" y="312896"/>
                  </a:cubicBezTo>
                  <a:cubicBezTo>
                    <a:pt x="2831306" y="312896"/>
                    <a:pt x="2831306" y="312896"/>
                    <a:pt x="2831306" y="313849"/>
                  </a:cubicBezTo>
                  <a:cubicBezTo>
                    <a:pt x="2831306" y="311944"/>
                    <a:pt x="2831306" y="310039"/>
                    <a:pt x="2830354" y="308134"/>
                  </a:cubicBezTo>
                  <a:cubicBezTo>
                    <a:pt x="2830354" y="307181"/>
                    <a:pt x="2830354" y="306229"/>
                    <a:pt x="2830354" y="305276"/>
                  </a:cubicBezTo>
                  <a:close/>
                  <a:moveTo>
                    <a:pt x="2829401" y="292894"/>
                  </a:moveTo>
                  <a:cubicBezTo>
                    <a:pt x="2829401" y="294799"/>
                    <a:pt x="2829401" y="296704"/>
                    <a:pt x="2830354" y="299561"/>
                  </a:cubicBezTo>
                  <a:cubicBezTo>
                    <a:pt x="2830354" y="300514"/>
                    <a:pt x="2830354" y="300514"/>
                    <a:pt x="2829401" y="301466"/>
                  </a:cubicBezTo>
                  <a:cubicBezTo>
                    <a:pt x="2829401" y="300514"/>
                    <a:pt x="2829401" y="300514"/>
                    <a:pt x="2829401" y="299561"/>
                  </a:cubicBezTo>
                  <a:cubicBezTo>
                    <a:pt x="2828449" y="296704"/>
                    <a:pt x="2828449" y="294799"/>
                    <a:pt x="2829401" y="292894"/>
                  </a:cubicBezTo>
                  <a:close/>
                  <a:moveTo>
                    <a:pt x="2785586" y="268129"/>
                  </a:moveTo>
                  <a:cubicBezTo>
                    <a:pt x="2784634" y="269081"/>
                    <a:pt x="2783681" y="270034"/>
                    <a:pt x="2782729" y="271939"/>
                  </a:cubicBezTo>
                  <a:cubicBezTo>
                    <a:pt x="2782729" y="270986"/>
                    <a:pt x="2782729" y="270034"/>
                    <a:pt x="2782729" y="269081"/>
                  </a:cubicBezTo>
                  <a:cubicBezTo>
                    <a:pt x="2782729" y="268129"/>
                    <a:pt x="2782729" y="266224"/>
                    <a:pt x="2782729" y="265271"/>
                  </a:cubicBezTo>
                  <a:cubicBezTo>
                    <a:pt x="2783681" y="263366"/>
                    <a:pt x="2785586" y="260509"/>
                    <a:pt x="2786539" y="258604"/>
                  </a:cubicBezTo>
                  <a:cubicBezTo>
                    <a:pt x="2786539" y="259556"/>
                    <a:pt x="2786539" y="259556"/>
                    <a:pt x="2786539" y="260509"/>
                  </a:cubicBezTo>
                  <a:cubicBezTo>
                    <a:pt x="2785586" y="262414"/>
                    <a:pt x="2785586" y="265271"/>
                    <a:pt x="2785586" y="268129"/>
                  </a:cubicBezTo>
                  <a:close/>
                  <a:moveTo>
                    <a:pt x="2796064" y="268129"/>
                  </a:moveTo>
                  <a:cubicBezTo>
                    <a:pt x="2796064" y="267176"/>
                    <a:pt x="2796064" y="267176"/>
                    <a:pt x="2796064" y="268129"/>
                  </a:cubicBezTo>
                  <a:cubicBezTo>
                    <a:pt x="2797016" y="266224"/>
                    <a:pt x="2797969" y="264319"/>
                    <a:pt x="2798921" y="263366"/>
                  </a:cubicBezTo>
                  <a:cubicBezTo>
                    <a:pt x="2797969" y="264319"/>
                    <a:pt x="2797016" y="266224"/>
                    <a:pt x="2796064" y="268129"/>
                  </a:cubicBezTo>
                  <a:close/>
                  <a:moveTo>
                    <a:pt x="2803684" y="314801"/>
                  </a:moveTo>
                  <a:cubicBezTo>
                    <a:pt x="2803684" y="315754"/>
                    <a:pt x="2802731" y="317659"/>
                    <a:pt x="2802731" y="318611"/>
                  </a:cubicBezTo>
                  <a:cubicBezTo>
                    <a:pt x="2802731" y="320516"/>
                    <a:pt x="2801779" y="322421"/>
                    <a:pt x="2801779" y="325279"/>
                  </a:cubicBezTo>
                  <a:cubicBezTo>
                    <a:pt x="2800826" y="322421"/>
                    <a:pt x="2799874" y="320516"/>
                    <a:pt x="2798921" y="317659"/>
                  </a:cubicBezTo>
                  <a:cubicBezTo>
                    <a:pt x="2798921" y="316706"/>
                    <a:pt x="2798921" y="316706"/>
                    <a:pt x="2798921" y="315754"/>
                  </a:cubicBezTo>
                  <a:cubicBezTo>
                    <a:pt x="2798921" y="315754"/>
                    <a:pt x="2798921" y="315754"/>
                    <a:pt x="2798921" y="315754"/>
                  </a:cubicBezTo>
                  <a:cubicBezTo>
                    <a:pt x="2799874" y="311944"/>
                    <a:pt x="2800826" y="308134"/>
                    <a:pt x="2801779" y="304324"/>
                  </a:cubicBezTo>
                  <a:cubicBezTo>
                    <a:pt x="2802731" y="307181"/>
                    <a:pt x="2802731" y="310039"/>
                    <a:pt x="2803684" y="312896"/>
                  </a:cubicBezTo>
                  <a:cubicBezTo>
                    <a:pt x="2803684" y="313849"/>
                    <a:pt x="2803684" y="313849"/>
                    <a:pt x="2803684" y="314801"/>
                  </a:cubicBezTo>
                  <a:close/>
                  <a:moveTo>
                    <a:pt x="2810351" y="280511"/>
                  </a:moveTo>
                  <a:cubicBezTo>
                    <a:pt x="2808446" y="287179"/>
                    <a:pt x="2807494" y="294799"/>
                    <a:pt x="2805589" y="302419"/>
                  </a:cubicBezTo>
                  <a:cubicBezTo>
                    <a:pt x="2804636" y="301466"/>
                    <a:pt x="2804636" y="299561"/>
                    <a:pt x="2803684" y="298609"/>
                  </a:cubicBezTo>
                  <a:cubicBezTo>
                    <a:pt x="2803684" y="297656"/>
                    <a:pt x="2803684" y="297656"/>
                    <a:pt x="2802731" y="296704"/>
                  </a:cubicBezTo>
                  <a:cubicBezTo>
                    <a:pt x="2803684" y="292894"/>
                    <a:pt x="2804636" y="290036"/>
                    <a:pt x="2805589" y="287179"/>
                  </a:cubicBezTo>
                  <a:cubicBezTo>
                    <a:pt x="2806541" y="284321"/>
                    <a:pt x="2808446" y="280511"/>
                    <a:pt x="2809399" y="277654"/>
                  </a:cubicBezTo>
                  <a:cubicBezTo>
                    <a:pt x="2809399" y="276701"/>
                    <a:pt x="2810351" y="275749"/>
                    <a:pt x="2810351" y="275749"/>
                  </a:cubicBezTo>
                  <a:cubicBezTo>
                    <a:pt x="2811304" y="276701"/>
                    <a:pt x="2810351" y="278606"/>
                    <a:pt x="2810351" y="280511"/>
                  </a:cubicBezTo>
                  <a:close/>
                  <a:moveTo>
                    <a:pt x="2811304" y="276701"/>
                  </a:moveTo>
                  <a:cubicBezTo>
                    <a:pt x="2811304" y="275749"/>
                    <a:pt x="2811304" y="275749"/>
                    <a:pt x="2811304" y="274796"/>
                  </a:cubicBezTo>
                  <a:cubicBezTo>
                    <a:pt x="2812256" y="273844"/>
                    <a:pt x="2812256" y="271939"/>
                    <a:pt x="2813209" y="270986"/>
                  </a:cubicBezTo>
                  <a:cubicBezTo>
                    <a:pt x="2812256" y="272891"/>
                    <a:pt x="2812256" y="274796"/>
                    <a:pt x="2811304" y="276701"/>
                  </a:cubicBezTo>
                  <a:close/>
                  <a:moveTo>
                    <a:pt x="2812256" y="236696"/>
                  </a:moveTo>
                  <a:cubicBezTo>
                    <a:pt x="2810351" y="239554"/>
                    <a:pt x="2808446" y="243364"/>
                    <a:pt x="2806541" y="246221"/>
                  </a:cubicBezTo>
                  <a:cubicBezTo>
                    <a:pt x="2804636" y="248126"/>
                    <a:pt x="2802731" y="250031"/>
                    <a:pt x="2799874" y="251936"/>
                  </a:cubicBezTo>
                  <a:cubicBezTo>
                    <a:pt x="2797969" y="253841"/>
                    <a:pt x="2796064" y="255746"/>
                    <a:pt x="2794159" y="257651"/>
                  </a:cubicBezTo>
                  <a:cubicBezTo>
                    <a:pt x="2793206" y="252889"/>
                    <a:pt x="2792254" y="249079"/>
                    <a:pt x="2792254" y="245269"/>
                  </a:cubicBezTo>
                  <a:cubicBezTo>
                    <a:pt x="2793206" y="242411"/>
                    <a:pt x="2795111" y="240506"/>
                    <a:pt x="2796064" y="238601"/>
                  </a:cubicBezTo>
                  <a:cubicBezTo>
                    <a:pt x="2799874" y="231934"/>
                    <a:pt x="2802731" y="227171"/>
                    <a:pt x="2804636" y="224314"/>
                  </a:cubicBezTo>
                  <a:cubicBezTo>
                    <a:pt x="2807494" y="228124"/>
                    <a:pt x="2809399" y="232886"/>
                    <a:pt x="2812256" y="236696"/>
                  </a:cubicBezTo>
                  <a:close/>
                  <a:moveTo>
                    <a:pt x="2804636" y="223361"/>
                  </a:moveTo>
                  <a:cubicBezTo>
                    <a:pt x="2802731" y="225266"/>
                    <a:pt x="2798921" y="229076"/>
                    <a:pt x="2794159" y="235744"/>
                  </a:cubicBezTo>
                  <a:cubicBezTo>
                    <a:pt x="2793206" y="236696"/>
                    <a:pt x="2793206" y="237649"/>
                    <a:pt x="2792254" y="238601"/>
                  </a:cubicBezTo>
                  <a:cubicBezTo>
                    <a:pt x="2792254" y="238601"/>
                    <a:pt x="2792254" y="238601"/>
                    <a:pt x="2792254" y="238601"/>
                  </a:cubicBezTo>
                  <a:cubicBezTo>
                    <a:pt x="2794159" y="235744"/>
                    <a:pt x="2795111" y="232886"/>
                    <a:pt x="2796064" y="230981"/>
                  </a:cubicBezTo>
                  <a:cubicBezTo>
                    <a:pt x="2797969" y="226219"/>
                    <a:pt x="2800826" y="222409"/>
                    <a:pt x="2801779" y="219551"/>
                  </a:cubicBezTo>
                  <a:cubicBezTo>
                    <a:pt x="2802731" y="220504"/>
                    <a:pt x="2803684" y="222409"/>
                    <a:pt x="2804636" y="223361"/>
                  </a:cubicBezTo>
                  <a:close/>
                  <a:moveTo>
                    <a:pt x="2787491" y="196691"/>
                  </a:moveTo>
                  <a:cubicBezTo>
                    <a:pt x="2792254" y="203359"/>
                    <a:pt x="2796064" y="210026"/>
                    <a:pt x="2800826" y="217646"/>
                  </a:cubicBezTo>
                  <a:cubicBezTo>
                    <a:pt x="2798921" y="220504"/>
                    <a:pt x="2796064" y="224314"/>
                    <a:pt x="2792254" y="228124"/>
                  </a:cubicBezTo>
                  <a:cubicBezTo>
                    <a:pt x="2791301" y="229076"/>
                    <a:pt x="2790349" y="230029"/>
                    <a:pt x="2790349" y="230981"/>
                  </a:cubicBezTo>
                  <a:cubicBezTo>
                    <a:pt x="2789396" y="226219"/>
                    <a:pt x="2788444" y="222409"/>
                    <a:pt x="2787491" y="218599"/>
                  </a:cubicBezTo>
                  <a:cubicBezTo>
                    <a:pt x="2783681" y="205264"/>
                    <a:pt x="2781776" y="196691"/>
                    <a:pt x="2781776" y="196691"/>
                  </a:cubicBezTo>
                  <a:cubicBezTo>
                    <a:pt x="2781776" y="196691"/>
                    <a:pt x="2782729" y="204311"/>
                    <a:pt x="2783681" y="218599"/>
                  </a:cubicBezTo>
                  <a:cubicBezTo>
                    <a:pt x="2784634" y="224314"/>
                    <a:pt x="2784634" y="230981"/>
                    <a:pt x="2784634" y="237649"/>
                  </a:cubicBezTo>
                  <a:cubicBezTo>
                    <a:pt x="2783681" y="239554"/>
                    <a:pt x="2781776" y="241459"/>
                    <a:pt x="2780824" y="243364"/>
                  </a:cubicBezTo>
                  <a:cubicBezTo>
                    <a:pt x="2779871" y="227171"/>
                    <a:pt x="2779871" y="213836"/>
                    <a:pt x="2778919" y="204311"/>
                  </a:cubicBezTo>
                  <a:cubicBezTo>
                    <a:pt x="2777966" y="192881"/>
                    <a:pt x="2777966" y="186214"/>
                    <a:pt x="2777966" y="186214"/>
                  </a:cubicBezTo>
                  <a:cubicBezTo>
                    <a:pt x="2777966" y="186214"/>
                    <a:pt x="2777014" y="192881"/>
                    <a:pt x="2775109" y="204311"/>
                  </a:cubicBezTo>
                  <a:cubicBezTo>
                    <a:pt x="2775109" y="207169"/>
                    <a:pt x="2774156" y="210979"/>
                    <a:pt x="2774156" y="214789"/>
                  </a:cubicBezTo>
                  <a:cubicBezTo>
                    <a:pt x="2773204" y="206216"/>
                    <a:pt x="2772251" y="198596"/>
                    <a:pt x="2770346" y="190976"/>
                  </a:cubicBezTo>
                  <a:cubicBezTo>
                    <a:pt x="2770346" y="190024"/>
                    <a:pt x="2770346" y="190024"/>
                    <a:pt x="2770346" y="189071"/>
                  </a:cubicBezTo>
                  <a:cubicBezTo>
                    <a:pt x="2770346" y="188119"/>
                    <a:pt x="2770346" y="186214"/>
                    <a:pt x="2770346" y="185261"/>
                  </a:cubicBezTo>
                  <a:cubicBezTo>
                    <a:pt x="2769394" y="174784"/>
                    <a:pt x="2768441" y="168116"/>
                    <a:pt x="2768441" y="166211"/>
                  </a:cubicBezTo>
                  <a:cubicBezTo>
                    <a:pt x="2774156" y="174784"/>
                    <a:pt x="2779871" y="185261"/>
                    <a:pt x="2787491" y="196691"/>
                  </a:cubicBezTo>
                  <a:close/>
                  <a:moveTo>
                    <a:pt x="2767489" y="167164"/>
                  </a:moveTo>
                  <a:cubicBezTo>
                    <a:pt x="2767489" y="168116"/>
                    <a:pt x="2767489" y="169069"/>
                    <a:pt x="2767489" y="170974"/>
                  </a:cubicBezTo>
                  <a:cubicBezTo>
                    <a:pt x="2767489" y="169069"/>
                    <a:pt x="2767489" y="168116"/>
                    <a:pt x="2766536" y="166211"/>
                  </a:cubicBezTo>
                  <a:cubicBezTo>
                    <a:pt x="2767489" y="166211"/>
                    <a:pt x="2767489" y="166211"/>
                    <a:pt x="2767489" y="167164"/>
                  </a:cubicBezTo>
                  <a:close/>
                  <a:moveTo>
                    <a:pt x="2757964" y="342424"/>
                  </a:moveTo>
                  <a:cubicBezTo>
                    <a:pt x="2757011" y="340519"/>
                    <a:pt x="2756059" y="338614"/>
                    <a:pt x="2755106" y="336709"/>
                  </a:cubicBezTo>
                  <a:cubicBezTo>
                    <a:pt x="2756059" y="333851"/>
                    <a:pt x="2757964" y="331946"/>
                    <a:pt x="2758916" y="329089"/>
                  </a:cubicBezTo>
                  <a:cubicBezTo>
                    <a:pt x="2759869" y="330041"/>
                    <a:pt x="2759869" y="331946"/>
                    <a:pt x="2760821" y="332899"/>
                  </a:cubicBezTo>
                  <a:cubicBezTo>
                    <a:pt x="2759869" y="336709"/>
                    <a:pt x="2758916" y="339566"/>
                    <a:pt x="2757964" y="342424"/>
                  </a:cubicBezTo>
                  <a:close/>
                  <a:moveTo>
                    <a:pt x="2762726" y="327184"/>
                  </a:moveTo>
                  <a:cubicBezTo>
                    <a:pt x="2762726" y="328136"/>
                    <a:pt x="2761774" y="329089"/>
                    <a:pt x="2761774" y="330994"/>
                  </a:cubicBezTo>
                  <a:cubicBezTo>
                    <a:pt x="2760821" y="330041"/>
                    <a:pt x="2760821" y="329089"/>
                    <a:pt x="2759869" y="328136"/>
                  </a:cubicBezTo>
                  <a:cubicBezTo>
                    <a:pt x="2760821" y="327184"/>
                    <a:pt x="2760821" y="325279"/>
                    <a:pt x="2761774" y="324326"/>
                  </a:cubicBezTo>
                  <a:cubicBezTo>
                    <a:pt x="2762726" y="325279"/>
                    <a:pt x="2762726" y="326231"/>
                    <a:pt x="2762726" y="327184"/>
                  </a:cubicBezTo>
                  <a:cubicBezTo>
                    <a:pt x="2762726" y="327184"/>
                    <a:pt x="2762726" y="327184"/>
                    <a:pt x="2762726" y="327184"/>
                  </a:cubicBezTo>
                  <a:close/>
                  <a:moveTo>
                    <a:pt x="2762726" y="250031"/>
                  </a:moveTo>
                  <a:cubicBezTo>
                    <a:pt x="2762726" y="256699"/>
                    <a:pt x="2762726" y="263366"/>
                    <a:pt x="2762726" y="270034"/>
                  </a:cubicBezTo>
                  <a:cubicBezTo>
                    <a:pt x="2759869" y="273844"/>
                    <a:pt x="2757011" y="278606"/>
                    <a:pt x="2754154" y="282416"/>
                  </a:cubicBezTo>
                  <a:cubicBezTo>
                    <a:pt x="2754154" y="283369"/>
                    <a:pt x="2753201" y="283369"/>
                    <a:pt x="2753201" y="284321"/>
                  </a:cubicBezTo>
                  <a:cubicBezTo>
                    <a:pt x="2753201" y="283369"/>
                    <a:pt x="2752249" y="283369"/>
                    <a:pt x="2752249" y="282416"/>
                  </a:cubicBezTo>
                  <a:cubicBezTo>
                    <a:pt x="2752249" y="281464"/>
                    <a:pt x="2753201" y="280511"/>
                    <a:pt x="2753201" y="278606"/>
                  </a:cubicBezTo>
                  <a:cubicBezTo>
                    <a:pt x="2754154" y="274796"/>
                    <a:pt x="2755106" y="270986"/>
                    <a:pt x="2756059" y="267176"/>
                  </a:cubicBezTo>
                  <a:cubicBezTo>
                    <a:pt x="2757964" y="260509"/>
                    <a:pt x="2759869" y="255746"/>
                    <a:pt x="2761774" y="251936"/>
                  </a:cubicBezTo>
                  <a:cubicBezTo>
                    <a:pt x="2761774" y="251936"/>
                    <a:pt x="2761774" y="250031"/>
                    <a:pt x="2762726" y="250031"/>
                  </a:cubicBezTo>
                  <a:cubicBezTo>
                    <a:pt x="2762726" y="250031"/>
                    <a:pt x="2762726" y="250031"/>
                    <a:pt x="2762726" y="250031"/>
                  </a:cubicBezTo>
                  <a:close/>
                  <a:moveTo>
                    <a:pt x="2753201" y="250031"/>
                  </a:moveTo>
                  <a:cubicBezTo>
                    <a:pt x="2755106" y="242411"/>
                    <a:pt x="2756059" y="236696"/>
                    <a:pt x="2757011" y="230981"/>
                  </a:cubicBezTo>
                  <a:cubicBezTo>
                    <a:pt x="2758916" y="236696"/>
                    <a:pt x="2760821" y="242411"/>
                    <a:pt x="2762726" y="249079"/>
                  </a:cubicBezTo>
                  <a:cubicBezTo>
                    <a:pt x="2761774" y="250031"/>
                    <a:pt x="2761774" y="250984"/>
                    <a:pt x="2760821" y="252889"/>
                  </a:cubicBezTo>
                  <a:cubicBezTo>
                    <a:pt x="2758916" y="255746"/>
                    <a:pt x="2756059" y="260509"/>
                    <a:pt x="2752249" y="267176"/>
                  </a:cubicBezTo>
                  <a:cubicBezTo>
                    <a:pt x="2750344" y="270034"/>
                    <a:pt x="2749391" y="272891"/>
                    <a:pt x="2748439" y="275749"/>
                  </a:cubicBezTo>
                  <a:cubicBezTo>
                    <a:pt x="2748439" y="275749"/>
                    <a:pt x="2748439" y="274796"/>
                    <a:pt x="2747486" y="274796"/>
                  </a:cubicBezTo>
                  <a:cubicBezTo>
                    <a:pt x="2749391" y="265271"/>
                    <a:pt x="2751296" y="256699"/>
                    <a:pt x="2753201" y="250031"/>
                  </a:cubicBezTo>
                  <a:close/>
                  <a:moveTo>
                    <a:pt x="2749391" y="362426"/>
                  </a:moveTo>
                  <a:cubicBezTo>
                    <a:pt x="2748439" y="360521"/>
                    <a:pt x="2747486" y="359569"/>
                    <a:pt x="2746534" y="357664"/>
                  </a:cubicBezTo>
                  <a:cubicBezTo>
                    <a:pt x="2746534" y="356711"/>
                    <a:pt x="2746534" y="355759"/>
                    <a:pt x="2746534" y="354806"/>
                  </a:cubicBezTo>
                  <a:cubicBezTo>
                    <a:pt x="2747486" y="356711"/>
                    <a:pt x="2748439" y="359569"/>
                    <a:pt x="2749391" y="362426"/>
                  </a:cubicBezTo>
                  <a:close/>
                  <a:moveTo>
                    <a:pt x="2734151" y="258604"/>
                  </a:moveTo>
                  <a:cubicBezTo>
                    <a:pt x="2736056" y="262414"/>
                    <a:pt x="2737961" y="268129"/>
                    <a:pt x="2740819" y="273844"/>
                  </a:cubicBezTo>
                  <a:cubicBezTo>
                    <a:pt x="2738914" y="278606"/>
                    <a:pt x="2737009" y="284321"/>
                    <a:pt x="2735104" y="290036"/>
                  </a:cubicBezTo>
                  <a:cubicBezTo>
                    <a:pt x="2735104" y="288131"/>
                    <a:pt x="2734151" y="287179"/>
                    <a:pt x="2734151" y="287179"/>
                  </a:cubicBezTo>
                  <a:cubicBezTo>
                    <a:pt x="2734151" y="287179"/>
                    <a:pt x="2734151" y="289084"/>
                    <a:pt x="2734151" y="291941"/>
                  </a:cubicBezTo>
                  <a:cubicBezTo>
                    <a:pt x="2734151" y="291941"/>
                    <a:pt x="2734151" y="291941"/>
                    <a:pt x="2734151" y="291941"/>
                  </a:cubicBezTo>
                  <a:cubicBezTo>
                    <a:pt x="2733199" y="290989"/>
                    <a:pt x="2733199" y="290036"/>
                    <a:pt x="2732246" y="289084"/>
                  </a:cubicBezTo>
                  <a:cubicBezTo>
                    <a:pt x="2732246" y="288131"/>
                    <a:pt x="2731294" y="287179"/>
                    <a:pt x="2731294" y="286226"/>
                  </a:cubicBezTo>
                  <a:cubicBezTo>
                    <a:pt x="2733199" y="275749"/>
                    <a:pt x="2734151" y="266224"/>
                    <a:pt x="2734151" y="258604"/>
                  </a:cubicBezTo>
                  <a:close/>
                  <a:moveTo>
                    <a:pt x="2715101" y="290989"/>
                  </a:moveTo>
                  <a:cubicBezTo>
                    <a:pt x="2715101" y="284321"/>
                    <a:pt x="2715101" y="278606"/>
                    <a:pt x="2716054" y="273844"/>
                  </a:cubicBezTo>
                  <a:cubicBezTo>
                    <a:pt x="2717006" y="274796"/>
                    <a:pt x="2717006" y="276701"/>
                    <a:pt x="2717959" y="278606"/>
                  </a:cubicBezTo>
                  <a:cubicBezTo>
                    <a:pt x="2717006" y="287179"/>
                    <a:pt x="2717006" y="295751"/>
                    <a:pt x="2716054" y="304324"/>
                  </a:cubicBezTo>
                  <a:cubicBezTo>
                    <a:pt x="2716054" y="304324"/>
                    <a:pt x="2715101" y="303371"/>
                    <a:pt x="2715101" y="303371"/>
                  </a:cubicBezTo>
                  <a:cubicBezTo>
                    <a:pt x="2714149" y="298609"/>
                    <a:pt x="2715101" y="294799"/>
                    <a:pt x="2715101" y="290989"/>
                  </a:cubicBezTo>
                  <a:close/>
                  <a:moveTo>
                    <a:pt x="2705576" y="243364"/>
                  </a:moveTo>
                  <a:cubicBezTo>
                    <a:pt x="2705576" y="244316"/>
                    <a:pt x="2705576" y="246221"/>
                    <a:pt x="2704624" y="247174"/>
                  </a:cubicBezTo>
                  <a:lnTo>
                    <a:pt x="2703671" y="238601"/>
                  </a:lnTo>
                  <a:cubicBezTo>
                    <a:pt x="2704624" y="239554"/>
                    <a:pt x="2705576" y="241459"/>
                    <a:pt x="2705576" y="243364"/>
                  </a:cubicBezTo>
                  <a:close/>
                  <a:moveTo>
                    <a:pt x="2697956" y="312896"/>
                  </a:moveTo>
                  <a:cubicBezTo>
                    <a:pt x="2697956" y="312896"/>
                    <a:pt x="2697956" y="313849"/>
                    <a:pt x="2697956" y="313849"/>
                  </a:cubicBezTo>
                  <a:cubicBezTo>
                    <a:pt x="2697956" y="312896"/>
                    <a:pt x="2697956" y="311944"/>
                    <a:pt x="2697956" y="310991"/>
                  </a:cubicBezTo>
                  <a:lnTo>
                    <a:pt x="2697956" y="312896"/>
                  </a:lnTo>
                  <a:close/>
                  <a:moveTo>
                    <a:pt x="2664619" y="234791"/>
                  </a:moveTo>
                  <a:cubicBezTo>
                    <a:pt x="2665571" y="235744"/>
                    <a:pt x="2665571" y="237649"/>
                    <a:pt x="2666524" y="238601"/>
                  </a:cubicBezTo>
                  <a:cubicBezTo>
                    <a:pt x="2668429" y="253841"/>
                    <a:pt x="2670334" y="270034"/>
                    <a:pt x="2673191" y="287179"/>
                  </a:cubicBezTo>
                  <a:cubicBezTo>
                    <a:pt x="2672239" y="284321"/>
                    <a:pt x="2671286" y="282416"/>
                    <a:pt x="2670334" y="279559"/>
                  </a:cubicBezTo>
                  <a:cubicBezTo>
                    <a:pt x="2670334" y="279559"/>
                    <a:pt x="2670334" y="278606"/>
                    <a:pt x="2670334" y="278606"/>
                  </a:cubicBezTo>
                  <a:cubicBezTo>
                    <a:pt x="2670334" y="276701"/>
                    <a:pt x="2671286" y="276701"/>
                    <a:pt x="2671286" y="276701"/>
                  </a:cubicBezTo>
                  <a:cubicBezTo>
                    <a:pt x="2671286" y="276701"/>
                    <a:pt x="2671286" y="277654"/>
                    <a:pt x="2670334" y="278606"/>
                  </a:cubicBezTo>
                  <a:cubicBezTo>
                    <a:pt x="2669381" y="266224"/>
                    <a:pt x="2667476" y="255746"/>
                    <a:pt x="2664619" y="246221"/>
                  </a:cubicBezTo>
                  <a:cubicBezTo>
                    <a:pt x="2664619" y="244316"/>
                    <a:pt x="2663666" y="242411"/>
                    <a:pt x="2663666" y="240506"/>
                  </a:cubicBezTo>
                  <a:cubicBezTo>
                    <a:pt x="2663666" y="238601"/>
                    <a:pt x="2663666" y="236696"/>
                    <a:pt x="2664619" y="234791"/>
                  </a:cubicBezTo>
                  <a:close/>
                  <a:moveTo>
                    <a:pt x="2657951" y="339566"/>
                  </a:moveTo>
                  <a:cubicBezTo>
                    <a:pt x="2656999" y="338614"/>
                    <a:pt x="2656999" y="337661"/>
                    <a:pt x="2656046" y="336709"/>
                  </a:cubicBezTo>
                  <a:cubicBezTo>
                    <a:pt x="2656999" y="332899"/>
                    <a:pt x="2656999" y="329089"/>
                    <a:pt x="2657951" y="325279"/>
                  </a:cubicBezTo>
                  <a:cubicBezTo>
                    <a:pt x="2658904" y="330041"/>
                    <a:pt x="2657951" y="334804"/>
                    <a:pt x="2657951" y="339566"/>
                  </a:cubicBezTo>
                  <a:close/>
                  <a:moveTo>
                    <a:pt x="2654141" y="277654"/>
                  </a:moveTo>
                  <a:cubicBezTo>
                    <a:pt x="2656046" y="284321"/>
                    <a:pt x="2657951" y="291941"/>
                    <a:pt x="2659856" y="298609"/>
                  </a:cubicBezTo>
                  <a:cubicBezTo>
                    <a:pt x="2659856" y="298609"/>
                    <a:pt x="2659856" y="299561"/>
                    <a:pt x="2659856" y="299561"/>
                  </a:cubicBezTo>
                  <a:cubicBezTo>
                    <a:pt x="2657951" y="304324"/>
                    <a:pt x="2656046" y="310039"/>
                    <a:pt x="2653189" y="316706"/>
                  </a:cubicBezTo>
                  <a:cubicBezTo>
                    <a:pt x="2653189" y="317659"/>
                    <a:pt x="2652236" y="318611"/>
                    <a:pt x="2652236" y="319564"/>
                  </a:cubicBezTo>
                  <a:cubicBezTo>
                    <a:pt x="2651284" y="316706"/>
                    <a:pt x="2651284" y="313849"/>
                    <a:pt x="2650331" y="311944"/>
                  </a:cubicBezTo>
                  <a:cubicBezTo>
                    <a:pt x="2649379" y="308134"/>
                    <a:pt x="2648426" y="305276"/>
                    <a:pt x="2647474" y="301466"/>
                  </a:cubicBezTo>
                  <a:cubicBezTo>
                    <a:pt x="2649379" y="293846"/>
                    <a:pt x="2651284" y="286226"/>
                    <a:pt x="2654141" y="277654"/>
                  </a:cubicBezTo>
                  <a:close/>
                  <a:moveTo>
                    <a:pt x="2633186" y="283369"/>
                  </a:moveTo>
                  <a:cubicBezTo>
                    <a:pt x="2633186" y="284321"/>
                    <a:pt x="2633186" y="284321"/>
                    <a:pt x="2633186" y="285274"/>
                  </a:cubicBezTo>
                  <a:cubicBezTo>
                    <a:pt x="2633186" y="285274"/>
                    <a:pt x="2633186" y="286226"/>
                    <a:pt x="2633186" y="286226"/>
                  </a:cubicBezTo>
                  <a:cubicBezTo>
                    <a:pt x="2633186" y="287179"/>
                    <a:pt x="2632234" y="288131"/>
                    <a:pt x="2632234" y="290036"/>
                  </a:cubicBezTo>
                  <a:cubicBezTo>
                    <a:pt x="2633186" y="287179"/>
                    <a:pt x="2633186" y="285274"/>
                    <a:pt x="2633186" y="283369"/>
                  </a:cubicBezTo>
                  <a:close/>
                  <a:moveTo>
                    <a:pt x="2578894" y="242411"/>
                  </a:moveTo>
                  <a:cubicBezTo>
                    <a:pt x="2578894" y="242411"/>
                    <a:pt x="2578894" y="241459"/>
                    <a:pt x="2577941" y="241459"/>
                  </a:cubicBezTo>
                  <a:cubicBezTo>
                    <a:pt x="2578894" y="239554"/>
                    <a:pt x="2579846" y="237649"/>
                    <a:pt x="2580799" y="235744"/>
                  </a:cubicBezTo>
                  <a:cubicBezTo>
                    <a:pt x="2580799" y="235744"/>
                    <a:pt x="2580799" y="235744"/>
                    <a:pt x="2580799" y="235744"/>
                  </a:cubicBezTo>
                  <a:cubicBezTo>
                    <a:pt x="2580799" y="238601"/>
                    <a:pt x="2579846" y="240506"/>
                    <a:pt x="2578894" y="242411"/>
                  </a:cubicBezTo>
                  <a:close/>
                  <a:moveTo>
                    <a:pt x="2597944" y="275749"/>
                  </a:moveTo>
                  <a:cubicBezTo>
                    <a:pt x="2597944" y="275749"/>
                    <a:pt x="2597944" y="274796"/>
                    <a:pt x="2597944" y="274796"/>
                  </a:cubicBezTo>
                  <a:cubicBezTo>
                    <a:pt x="2597944" y="274796"/>
                    <a:pt x="2598896" y="275749"/>
                    <a:pt x="2597944" y="275749"/>
                  </a:cubicBezTo>
                  <a:cubicBezTo>
                    <a:pt x="2598896" y="275749"/>
                    <a:pt x="2597944" y="275749"/>
                    <a:pt x="2597944" y="275749"/>
                  </a:cubicBezTo>
                  <a:close/>
                  <a:moveTo>
                    <a:pt x="2616041" y="309086"/>
                  </a:moveTo>
                  <a:cubicBezTo>
                    <a:pt x="2615089" y="312896"/>
                    <a:pt x="2614136" y="315754"/>
                    <a:pt x="2613184" y="319564"/>
                  </a:cubicBezTo>
                  <a:cubicBezTo>
                    <a:pt x="2613184" y="318611"/>
                    <a:pt x="2613184" y="318611"/>
                    <a:pt x="2613184" y="318611"/>
                  </a:cubicBezTo>
                  <a:cubicBezTo>
                    <a:pt x="2613184" y="318611"/>
                    <a:pt x="2613184" y="319564"/>
                    <a:pt x="2613184" y="319564"/>
                  </a:cubicBezTo>
                  <a:cubicBezTo>
                    <a:pt x="2613184" y="319564"/>
                    <a:pt x="2613184" y="319564"/>
                    <a:pt x="2613184" y="319564"/>
                  </a:cubicBezTo>
                  <a:cubicBezTo>
                    <a:pt x="2609374" y="309086"/>
                    <a:pt x="2604611" y="298609"/>
                    <a:pt x="2600801" y="289084"/>
                  </a:cubicBezTo>
                  <a:cubicBezTo>
                    <a:pt x="2601754" y="287179"/>
                    <a:pt x="2602706" y="284321"/>
                    <a:pt x="2602706" y="282416"/>
                  </a:cubicBezTo>
                  <a:cubicBezTo>
                    <a:pt x="2605564" y="287179"/>
                    <a:pt x="2609374" y="292894"/>
                    <a:pt x="2612231" y="299561"/>
                  </a:cubicBezTo>
                  <a:cubicBezTo>
                    <a:pt x="2613184" y="302419"/>
                    <a:pt x="2615089" y="305276"/>
                    <a:pt x="2616041" y="308134"/>
                  </a:cubicBezTo>
                  <a:lnTo>
                    <a:pt x="2616041" y="309086"/>
                  </a:lnTo>
                  <a:lnTo>
                    <a:pt x="2616041" y="309086"/>
                  </a:lnTo>
                  <a:close/>
                  <a:moveTo>
                    <a:pt x="2604611" y="276701"/>
                  </a:moveTo>
                  <a:cubicBezTo>
                    <a:pt x="2605564" y="272891"/>
                    <a:pt x="2607469" y="270034"/>
                    <a:pt x="2608421" y="267176"/>
                  </a:cubicBezTo>
                  <a:cubicBezTo>
                    <a:pt x="2609374" y="271939"/>
                    <a:pt x="2612231" y="279559"/>
                    <a:pt x="2615089" y="290036"/>
                  </a:cubicBezTo>
                  <a:cubicBezTo>
                    <a:pt x="2611279" y="285274"/>
                    <a:pt x="2608421" y="280511"/>
                    <a:pt x="2604611" y="276701"/>
                  </a:cubicBezTo>
                  <a:close/>
                  <a:moveTo>
                    <a:pt x="2614136" y="276701"/>
                  </a:moveTo>
                  <a:cubicBezTo>
                    <a:pt x="2612231" y="271939"/>
                    <a:pt x="2610326" y="268129"/>
                    <a:pt x="2609374" y="266224"/>
                  </a:cubicBezTo>
                  <a:cubicBezTo>
                    <a:pt x="2610326" y="263366"/>
                    <a:pt x="2611279" y="260509"/>
                    <a:pt x="2612231" y="257651"/>
                  </a:cubicBezTo>
                  <a:cubicBezTo>
                    <a:pt x="2612231" y="263366"/>
                    <a:pt x="2613184" y="270034"/>
                    <a:pt x="2614136" y="276701"/>
                  </a:cubicBezTo>
                  <a:close/>
                  <a:moveTo>
                    <a:pt x="2606516" y="208121"/>
                  </a:moveTo>
                  <a:cubicBezTo>
                    <a:pt x="2607469" y="221456"/>
                    <a:pt x="2609374" y="235744"/>
                    <a:pt x="2611279" y="250984"/>
                  </a:cubicBezTo>
                  <a:cubicBezTo>
                    <a:pt x="2611279" y="250984"/>
                    <a:pt x="2611279" y="251936"/>
                    <a:pt x="2611279" y="251936"/>
                  </a:cubicBezTo>
                  <a:cubicBezTo>
                    <a:pt x="2608421" y="256699"/>
                    <a:pt x="2604611" y="263366"/>
                    <a:pt x="2600801" y="271939"/>
                  </a:cubicBezTo>
                  <a:cubicBezTo>
                    <a:pt x="2599849" y="270034"/>
                    <a:pt x="2598896" y="269081"/>
                    <a:pt x="2597944" y="268129"/>
                  </a:cubicBezTo>
                  <a:cubicBezTo>
                    <a:pt x="2596991" y="257651"/>
                    <a:pt x="2596039" y="247174"/>
                    <a:pt x="2595086" y="237649"/>
                  </a:cubicBezTo>
                  <a:cubicBezTo>
                    <a:pt x="2595086" y="234791"/>
                    <a:pt x="2594134" y="230981"/>
                    <a:pt x="2594134" y="228124"/>
                  </a:cubicBezTo>
                  <a:cubicBezTo>
                    <a:pt x="2598896" y="207169"/>
                    <a:pt x="2602706" y="190976"/>
                    <a:pt x="2605564" y="179546"/>
                  </a:cubicBezTo>
                  <a:cubicBezTo>
                    <a:pt x="2604611" y="188119"/>
                    <a:pt x="2605564" y="197644"/>
                    <a:pt x="2606516" y="208121"/>
                  </a:cubicBezTo>
                  <a:close/>
                  <a:moveTo>
                    <a:pt x="2586514" y="186214"/>
                  </a:moveTo>
                  <a:cubicBezTo>
                    <a:pt x="2591276" y="175736"/>
                    <a:pt x="2595086" y="167164"/>
                    <a:pt x="2598896" y="159544"/>
                  </a:cubicBezTo>
                  <a:cubicBezTo>
                    <a:pt x="2599849" y="157639"/>
                    <a:pt x="2600801" y="155734"/>
                    <a:pt x="2601754" y="153829"/>
                  </a:cubicBezTo>
                  <a:cubicBezTo>
                    <a:pt x="2602706" y="159544"/>
                    <a:pt x="2602706" y="166211"/>
                    <a:pt x="2603659" y="173831"/>
                  </a:cubicBezTo>
                  <a:cubicBezTo>
                    <a:pt x="2600801" y="182404"/>
                    <a:pt x="2596039" y="194786"/>
                    <a:pt x="2590324" y="210979"/>
                  </a:cubicBezTo>
                  <a:cubicBezTo>
                    <a:pt x="2589371" y="202406"/>
                    <a:pt x="2587466" y="194786"/>
                    <a:pt x="2586514" y="187166"/>
                  </a:cubicBezTo>
                  <a:cubicBezTo>
                    <a:pt x="2586514" y="187166"/>
                    <a:pt x="2586514" y="187166"/>
                    <a:pt x="2586514" y="186214"/>
                  </a:cubicBezTo>
                  <a:close/>
                  <a:moveTo>
                    <a:pt x="2584609" y="408146"/>
                  </a:moveTo>
                  <a:cubicBezTo>
                    <a:pt x="2584609" y="408146"/>
                    <a:pt x="2584609" y="409099"/>
                    <a:pt x="2584609" y="408146"/>
                  </a:cubicBezTo>
                  <a:cubicBezTo>
                    <a:pt x="2583656" y="403384"/>
                    <a:pt x="2582704" y="398621"/>
                    <a:pt x="2581751" y="393859"/>
                  </a:cubicBezTo>
                  <a:cubicBezTo>
                    <a:pt x="2582704" y="398621"/>
                    <a:pt x="2583656" y="403384"/>
                    <a:pt x="2584609" y="408146"/>
                  </a:cubicBezTo>
                  <a:close/>
                  <a:moveTo>
                    <a:pt x="2580799" y="199549"/>
                  </a:moveTo>
                  <a:cubicBezTo>
                    <a:pt x="2580799" y="208121"/>
                    <a:pt x="2581751" y="217646"/>
                    <a:pt x="2581751" y="228124"/>
                  </a:cubicBezTo>
                  <a:cubicBezTo>
                    <a:pt x="2580799" y="229076"/>
                    <a:pt x="2579846" y="230029"/>
                    <a:pt x="2578894" y="231934"/>
                  </a:cubicBezTo>
                  <a:cubicBezTo>
                    <a:pt x="2577941" y="232886"/>
                    <a:pt x="2576989" y="234791"/>
                    <a:pt x="2575084" y="236696"/>
                  </a:cubicBezTo>
                  <a:cubicBezTo>
                    <a:pt x="2574131" y="235744"/>
                    <a:pt x="2574131" y="234791"/>
                    <a:pt x="2573179" y="233839"/>
                  </a:cubicBezTo>
                  <a:cubicBezTo>
                    <a:pt x="2573179" y="231934"/>
                    <a:pt x="2573179" y="230981"/>
                    <a:pt x="2572226" y="229076"/>
                  </a:cubicBezTo>
                  <a:cubicBezTo>
                    <a:pt x="2572226" y="226219"/>
                    <a:pt x="2571274" y="222409"/>
                    <a:pt x="2571274" y="219551"/>
                  </a:cubicBezTo>
                  <a:cubicBezTo>
                    <a:pt x="2575084" y="211931"/>
                    <a:pt x="2577941" y="206216"/>
                    <a:pt x="2580799" y="199549"/>
                  </a:cubicBezTo>
                  <a:close/>
                  <a:moveTo>
                    <a:pt x="2569369" y="320516"/>
                  </a:moveTo>
                  <a:cubicBezTo>
                    <a:pt x="2569369" y="322421"/>
                    <a:pt x="2570321" y="325279"/>
                    <a:pt x="2570321" y="327184"/>
                  </a:cubicBezTo>
                  <a:cubicBezTo>
                    <a:pt x="2570321" y="328136"/>
                    <a:pt x="2570321" y="329089"/>
                    <a:pt x="2571274" y="330041"/>
                  </a:cubicBezTo>
                  <a:cubicBezTo>
                    <a:pt x="2568416" y="334804"/>
                    <a:pt x="2566511" y="339566"/>
                    <a:pt x="2563654" y="345281"/>
                  </a:cubicBezTo>
                  <a:cubicBezTo>
                    <a:pt x="2563654" y="344329"/>
                    <a:pt x="2562701" y="343376"/>
                    <a:pt x="2562701" y="342424"/>
                  </a:cubicBezTo>
                  <a:cubicBezTo>
                    <a:pt x="2565559" y="334804"/>
                    <a:pt x="2567464" y="328136"/>
                    <a:pt x="2569369" y="320516"/>
                  </a:cubicBezTo>
                  <a:close/>
                  <a:moveTo>
                    <a:pt x="2556034" y="262414"/>
                  </a:moveTo>
                  <a:cubicBezTo>
                    <a:pt x="2556986" y="258604"/>
                    <a:pt x="2558891" y="255746"/>
                    <a:pt x="2559844" y="251936"/>
                  </a:cubicBezTo>
                  <a:cubicBezTo>
                    <a:pt x="2559844" y="253841"/>
                    <a:pt x="2559844" y="255746"/>
                    <a:pt x="2560796" y="257651"/>
                  </a:cubicBezTo>
                  <a:cubicBezTo>
                    <a:pt x="2560796" y="258604"/>
                    <a:pt x="2559844" y="258604"/>
                    <a:pt x="2559844" y="259556"/>
                  </a:cubicBezTo>
                  <a:cubicBezTo>
                    <a:pt x="2557939" y="262414"/>
                    <a:pt x="2556034" y="266224"/>
                    <a:pt x="2554129" y="269081"/>
                  </a:cubicBezTo>
                  <a:cubicBezTo>
                    <a:pt x="2554129" y="266224"/>
                    <a:pt x="2555081" y="264319"/>
                    <a:pt x="2556034" y="262414"/>
                  </a:cubicBezTo>
                  <a:close/>
                  <a:moveTo>
                    <a:pt x="2561749" y="276701"/>
                  </a:moveTo>
                  <a:cubicBezTo>
                    <a:pt x="2561749" y="275749"/>
                    <a:pt x="2561749" y="275749"/>
                    <a:pt x="2562701" y="274796"/>
                  </a:cubicBezTo>
                  <a:cubicBezTo>
                    <a:pt x="2563654" y="278606"/>
                    <a:pt x="2563654" y="283369"/>
                    <a:pt x="2564606" y="287179"/>
                  </a:cubicBezTo>
                  <a:cubicBezTo>
                    <a:pt x="2562701" y="293846"/>
                    <a:pt x="2559844" y="301466"/>
                    <a:pt x="2557939" y="309086"/>
                  </a:cubicBezTo>
                  <a:cubicBezTo>
                    <a:pt x="2556986" y="310991"/>
                    <a:pt x="2556986" y="312896"/>
                    <a:pt x="2556034" y="313849"/>
                  </a:cubicBezTo>
                  <a:cubicBezTo>
                    <a:pt x="2555081" y="308134"/>
                    <a:pt x="2554129" y="302419"/>
                    <a:pt x="2553176" y="296704"/>
                  </a:cubicBezTo>
                  <a:cubicBezTo>
                    <a:pt x="2556034" y="290036"/>
                    <a:pt x="2558891" y="282416"/>
                    <a:pt x="2561749" y="276701"/>
                  </a:cubicBezTo>
                  <a:close/>
                  <a:moveTo>
                    <a:pt x="2538889" y="252889"/>
                  </a:moveTo>
                  <a:cubicBezTo>
                    <a:pt x="2539841" y="249079"/>
                    <a:pt x="2539841" y="245269"/>
                    <a:pt x="2540794" y="242411"/>
                  </a:cubicBezTo>
                  <a:cubicBezTo>
                    <a:pt x="2540794" y="241459"/>
                    <a:pt x="2541746" y="239554"/>
                    <a:pt x="2542699" y="238601"/>
                  </a:cubicBezTo>
                  <a:cubicBezTo>
                    <a:pt x="2543651" y="236696"/>
                    <a:pt x="2543651" y="234791"/>
                    <a:pt x="2544604" y="233839"/>
                  </a:cubicBezTo>
                  <a:cubicBezTo>
                    <a:pt x="2544604" y="237649"/>
                    <a:pt x="2543651" y="242411"/>
                    <a:pt x="2543651" y="248126"/>
                  </a:cubicBezTo>
                  <a:cubicBezTo>
                    <a:pt x="2543651" y="250984"/>
                    <a:pt x="2543651" y="253841"/>
                    <a:pt x="2542699" y="257651"/>
                  </a:cubicBezTo>
                  <a:cubicBezTo>
                    <a:pt x="2540794" y="261461"/>
                    <a:pt x="2539841" y="264319"/>
                    <a:pt x="2537936" y="268129"/>
                  </a:cubicBezTo>
                  <a:cubicBezTo>
                    <a:pt x="2537936" y="263366"/>
                    <a:pt x="2537936" y="257651"/>
                    <a:pt x="2538889" y="252889"/>
                  </a:cubicBezTo>
                  <a:close/>
                  <a:moveTo>
                    <a:pt x="2521744" y="475774"/>
                  </a:moveTo>
                  <a:cubicBezTo>
                    <a:pt x="2521744" y="478631"/>
                    <a:pt x="2522696" y="481489"/>
                    <a:pt x="2522696" y="484346"/>
                  </a:cubicBezTo>
                  <a:cubicBezTo>
                    <a:pt x="2521744" y="482441"/>
                    <a:pt x="2521744" y="481489"/>
                    <a:pt x="2520791" y="479584"/>
                  </a:cubicBezTo>
                  <a:cubicBezTo>
                    <a:pt x="2521744" y="478631"/>
                    <a:pt x="2521744" y="477679"/>
                    <a:pt x="2521744" y="475774"/>
                  </a:cubicBezTo>
                  <a:close/>
                  <a:moveTo>
                    <a:pt x="2514124" y="323374"/>
                  </a:moveTo>
                  <a:cubicBezTo>
                    <a:pt x="2514124" y="323374"/>
                    <a:pt x="2515076" y="323374"/>
                    <a:pt x="2514124" y="323374"/>
                  </a:cubicBezTo>
                  <a:cubicBezTo>
                    <a:pt x="2514124" y="325279"/>
                    <a:pt x="2513171" y="326231"/>
                    <a:pt x="2513171" y="328136"/>
                  </a:cubicBezTo>
                  <a:cubicBezTo>
                    <a:pt x="2513171" y="328136"/>
                    <a:pt x="2513171" y="328136"/>
                    <a:pt x="2513171" y="329089"/>
                  </a:cubicBezTo>
                  <a:cubicBezTo>
                    <a:pt x="2513171" y="326231"/>
                    <a:pt x="2514124" y="324326"/>
                    <a:pt x="2514124" y="323374"/>
                  </a:cubicBezTo>
                  <a:close/>
                  <a:moveTo>
                    <a:pt x="2509361" y="300514"/>
                  </a:moveTo>
                  <a:cubicBezTo>
                    <a:pt x="2509361" y="301466"/>
                    <a:pt x="2509361" y="301466"/>
                    <a:pt x="2508409" y="302419"/>
                  </a:cubicBezTo>
                  <a:cubicBezTo>
                    <a:pt x="2508409" y="302419"/>
                    <a:pt x="2508409" y="302419"/>
                    <a:pt x="2508409" y="302419"/>
                  </a:cubicBezTo>
                  <a:cubicBezTo>
                    <a:pt x="2508409" y="299561"/>
                    <a:pt x="2507456" y="297656"/>
                    <a:pt x="2507456" y="294799"/>
                  </a:cubicBezTo>
                  <a:cubicBezTo>
                    <a:pt x="2508409" y="296704"/>
                    <a:pt x="2509361" y="298609"/>
                    <a:pt x="2509361" y="300514"/>
                  </a:cubicBezTo>
                  <a:close/>
                  <a:moveTo>
                    <a:pt x="2496979" y="292894"/>
                  </a:moveTo>
                  <a:cubicBezTo>
                    <a:pt x="2497931" y="290989"/>
                    <a:pt x="2497931" y="290036"/>
                    <a:pt x="2497931" y="290036"/>
                  </a:cubicBezTo>
                  <a:cubicBezTo>
                    <a:pt x="2497931" y="290036"/>
                    <a:pt x="2497931" y="290989"/>
                    <a:pt x="2496979" y="290989"/>
                  </a:cubicBezTo>
                  <a:cubicBezTo>
                    <a:pt x="2496979" y="289084"/>
                    <a:pt x="2496979" y="286226"/>
                    <a:pt x="2497931" y="284321"/>
                  </a:cubicBezTo>
                  <a:cubicBezTo>
                    <a:pt x="2497931" y="278606"/>
                    <a:pt x="2498884" y="272891"/>
                    <a:pt x="2498884" y="269081"/>
                  </a:cubicBezTo>
                  <a:cubicBezTo>
                    <a:pt x="2498884" y="268129"/>
                    <a:pt x="2498884" y="267176"/>
                    <a:pt x="2498884" y="266224"/>
                  </a:cubicBezTo>
                  <a:cubicBezTo>
                    <a:pt x="2499836" y="270034"/>
                    <a:pt x="2500789" y="273844"/>
                    <a:pt x="2502694" y="277654"/>
                  </a:cubicBezTo>
                  <a:cubicBezTo>
                    <a:pt x="2502694" y="279559"/>
                    <a:pt x="2502694" y="281464"/>
                    <a:pt x="2502694" y="283369"/>
                  </a:cubicBezTo>
                  <a:cubicBezTo>
                    <a:pt x="2502694" y="288131"/>
                    <a:pt x="2501741" y="294799"/>
                    <a:pt x="2501741" y="302419"/>
                  </a:cubicBezTo>
                  <a:cubicBezTo>
                    <a:pt x="2501741" y="306229"/>
                    <a:pt x="2501741" y="310039"/>
                    <a:pt x="2501741" y="313849"/>
                  </a:cubicBezTo>
                  <a:cubicBezTo>
                    <a:pt x="2501741" y="317659"/>
                    <a:pt x="2500789" y="321469"/>
                    <a:pt x="2500789" y="325279"/>
                  </a:cubicBezTo>
                  <a:cubicBezTo>
                    <a:pt x="2500789" y="325279"/>
                    <a:pt x="2500789" y="326231"/>
                    <a:pt x="2500789" y="326231"/>
                  </a:cubicBezTo>
                  <a:cubicBezTo>
                    <a:pt x="2500789" y="322421"/>
                    <a:pt x="2499836" y="319564"/>
                    <a:pt x="2499836" y="315754"/>
                  </a:cubicBezTo>
                  <a:cubicBezTo>
                    <a:pt x="2499836" y="313849"/>
                    <a:pt x="2499836" y="311944"/>
                    <a:pt x="2499836" y="310039"/>
                  </a:cubicBezTo>
                  <a:cubicBezTo>
                    <a:pt x="2499836" y="305276"/>
                    <a:pt x="2500789" y="300514"/>
                    <a:pt x="2500789" y="297656"/>
                  </a:cubicBezTo>
                  <a:cubicBezTo>
                    <a:pt x="2500789" y="290989"/>
                    <a:pt x="2500789" y="286226"/>
                    <a:pt x="2500789" y="286226"/>
                  </a:cubicBezTo>
                  <a:cubicBezTo>
                    <a:pt x="2500789" y="286226"/>
                    <a:pt x="2498884" y="289084"/>
                    <a:pt x="2496979" y="292894"/>
                  </a:cubicBezTo>
                  <a:cubicBezTo>
                    <a:pt x="2496979" y="293846"/>
                    <a:pt x="2496979" y="293846"/>
                    <a:pt x="2496979" y="292894"/>
                  </a:cubicBezTo>
                  <a:close/>
                  <a:moveTo>
                    <a:pt x="2449354" y="334804"/>
                  </a:moveTo>
                  <a:cubicBezTo>
                    <a:pt x="2448401" y="332899"/>
                    <a:pt x="2448401" y="330041"/>
                    <a:pt x="2447449" y="328136"/>
                  </a:cubicBezTo>
                  <a:cubicBezTo>
                    <a:pt x="2448401" y="326231"/>
                    <a:pt x="2449354" y="323374"/>
                    <a:pt x="2450306" y="321469"/>
                  </a:cubicBezTo>
                  <a:cubicBezTo>
                    <a:pt x="2450306" y="321469"/>
                    <a:pt x="2450306" y="322421"/>
                    <a:pt x="2450306" y="322421"/>
                  </a:cubicBezTo>
                  <a:cubicBezTo>
                    <a:pt x="2450306" y="323374"/>
                    <a:pt x="2450306" y="323374"/>
                    <a:pt x="2451259" y="324326"/>
                  </a:cubicBezTo>
                  <a:cubicBezTo>
                    <a:pt x="2450306" y="327184"/>
                    <a:pt x="2449354" y="330994"/>
                    <a:pt x="2449354" y="334804"/>
                  </a:cubicBezTo>
                  <a:close/>
                  <a:moveTo>
                    <a:pt x="2450306" y="254794"/>
                  </a:moveTo>
                  <a:cubicBezTo>
                    <a:pt x="2450306" y="253841"/>
                    <a:pt x="2451259" y="252889"/>
                    <a:pt x="2451259" y="251936"/>
                  </a:cubicBezTo>
                  <a:cubicBezTo>
                    <a:pt x="2451259" y="251936"/>
                    <a:pt x="2451259" y="251936"/>
                    <a:pt x="2451259" y="250984"/>
                  </a:cubicBezTo>
                  <a:cubicBezTo>
                    <a:pt x="2451259" y="250984"/>
                    <a:pt x="2451259" y="251936"/>
                    <a:pt x="2451259" y="251936"/>
                  </a:cubicBezTo>
                  <a:cubicBezTo>
                    <a:pt x="2451259" y="252889"/>
                    <a:pt x="2451259" y="253841"/>
                    <a:pt x="2450306" y="254794"/>
                  </a:cubicBezTo>
                  <a:close/>
                  <a:moveTo>
                    <a:pt x="2452211" y="251936"/>
                  </a:moveTo>
                  <a:cubicBezTo>
                    <a:pt x="2452211" y="251936"/>
                    <a:pt x="2452211" y="250984"/>
                    <a:pt x="2451259" y="250984"/>
                  </a:cubicBezTo>
                  <a:cubicBezTo>
                    <a:pt x="2453164" y="246221"/>
                    <a:pt x="2454116" y="242411"/>
                    <a:pt x="2456021" y="238601"/>
                  </a:cubicBezTo>
                  <a:cubicBezTo>
                    <a:pt x="2457926" y="236696"/>
                    <a:pt x="2458879" y="233839"/>
                    <a:pt x="2460784" y="231934"/>
                  </a:cubicBezTo>
                  <a:cubicBezTo>
                    <a:pt x="2460784" y="232886"/>
                    <a:pt x="2459831" y="234791"/>
                    <a:pt x="2459831" y="235744"/>
                  </a:cubicBezTo>
                  <a:cubicBezTo>
                    <a:pt x="2458879" y="239554"/>
                    <a:pt x="2456974" y="243364"/>
                    <a:pt x="2456021" y="248126"/>
                  </a:cubicBezTo>
                  <a:cubicBezTo>
                    <a:pt x="2455069" y="248126"/>
                    <a:pt x="2454116" y="250031"/>
                    <a:pt x="2452211" y="251936"/>
                  </a:cubicBezTo>
                  <a:close/>
                  <a:moveTo>
                    <a:pt x="2457926" y="266224"/>
                  </a:moveTo>
                  <a:cubicBezTo>
                    <a:pt x="2457926" y="267176"/>
                    <a:pt x="2456974" y="267176"/>
                    <a:pt x="2456974" y="268129"/>
                  </a:cubicBezTo>
                  <a:cubicBezTo>
                    <a:pt x="2457926" y="267176"/>
                    <a:pt x="2457926" y="266224"/>
                    <a:pt x="2457926" y="266224"/>
                  </a:cubicBezTo>
                  <a:cubicBezTo>
                    <a:pt x="2457926" y="265271"/>
                    <a:pt x="2457926" y="266224"/>
                    <a:pt x="2457926" y="266224"/>
                  </a:cubicBezTo>
                  <a:close/>
                  <a:moveTo>
                    <a:pt x="2457926" y="374809"/>
                  </a:moveTo>
                  <a:cubicBezTo>
                    <a:pt x="2456974" y="371951"/>
                    <a:pt x="2456974" y="369094"/>
                    <a:pt x="2456021" y="367189"/>
                  </a:cubicBezTo>
                  <a:cubicBezTo>
                    <a:pt x="2456021" y="365284"/>
                    <a:pt x="2456021" y="364331"/>
                    <a:pt x="2456021" y="362426"/>
                  </a:cubicBezTo>
                  <a:cubicBezTo>
                    <a:pt x="2456021" y="355759"/>
                    <a:pt x="2456021" y="350044"/>
                    <a:pt x="2456021" y="344329"/>
                  </a:cubicBezTo>
                  <a:cubicBezTo>
                    <a:pt x="2456974" y="347186"/>
                    <a:pt x="2457926" y="350996"/>
                    <a:pt x="2458879" y="354806"/>
                  </a:cubicBezTo>
                  <a:cubicBezTo>
                    <a:pt x="2459831" y="361474"/>
                    <a:pt x="2458879" y="368141"/>
                    <a:pt x="2457926" y="374809"/>
                  </a:cubicBezTo>
                  <a:close/>
                  <a:moveTo>
                    <a:pt x="2456974" y="308134"/>
                  </a:moveTo>
                  <a:cubicBezTo>
                    <a:pt x="2456974" y="307181"/>
                    <a:pt x="2456974" y="306229"/>
                    <a:pt x="2456974" y="305276"/>
                  </a:cubicBezTo>
                  <a:cubicBezTo>
                    <a:pt x="2456974" y="304324"/>
                    <a:pt x="2457926" y="303371"/>
                    <a:pt x="2457926" y="302419"/>
                  </a:cubicBezTo>
                  <a:cubicBezTo>
                    <a:pt x="2458879" y="306229"/>
                    <a:pt x="2458879" y="310039"/>
                    <a:pt x="2459831" y="313849"/>
                  </a:cubicBezTo>
                  <a:cubicBezTo>
                    <a:pt x="2459831" y="314801"/>
                    <a:pt x="2459831" y="315754"/>
                    <a:pt x="2460784" y="317659"/>
                  </a:cubicBezTo>
                  <a:cubicBezTo>
                    <a:pt x="2458879" y="313849"/>
                    <a:pt x="2457926" y="310991"/>
                    <a:pt x="2456974" y="308134"/>
                  </a:cubicBezTo>
                  <a:close/>
                  <a:moveTo>
                    <a:pt x="2458879" y="290036"/>
                  </a:moveTo>
                  <a:cubicBezTo>
                    <a:pt x="2458879" y="289084"/>
                    <a:pt x="2459831" y="288131"/>
                    <a:pt x="2459831" y="287179"/>
                  </a:cubicBezTo>
                  <a:cubicBezTo>
                    <a:pt x="2460784" y="284321"/>
                    <a:pt x="2461736" y="280511"/>
                    <a:pt x="2463641" y="277654"/>
                  </a:cubicBezTo>
                  <a:cubicBezTo>
                    <a:pt x="2464594" y="278606"/>
                    <a:pt x="2464594" y="280511"/>
                    <a:pt x="2465546" y="281464"/>
                  </a:cubicBezTo>
                  <a:cubicBezTo>
                    <a:pt x="2463641" y="284321"/>
                    <a:pt x="2461736" y="287179"/>
                    <a:pt x="2458879" y="290036"/>
                  </a:cubicBezTo>
                  <a:close/>
                  <a:moveTo>
                    <a:pt x="2464594" y="305276"/>
                  </a:moveTo>
                  <a:cubicBezTo>
                    <a:pt x="2463641" y="301466"/>
                    <a:pt x="2462689" y="298609"/>
                    <a:pt x="2460784" y="295751"/>
                  </a:cubicBezTo>
                  <a:cubicBezTo>
                    <a:pt x="2460784" y="294799"/>
                    <a:pt x="2461736" y="293846"/>
                    <a:pt x="2462689" y="292894"/>
                  </a:cubicBezTo>
                  <a:cubicBezTo>
                    <a:pt x="2464594" y="290036"/>
                    <a:pt x="2465546" y="287179"/>
                    <a:pt x="2466499" y="285274"/>
                  </a:cubicBezTo>
                  <a:cubicBezTo>
                    <a:pt x="2465546" y="290989"/>
                    <a:pt x="2465546" y="297656"/>
                    <a:pt x="2464594" y="305276"/>
                  </a:cubicBezTo>
                  <a:close/>
                  <a:moveTo>
                    <a:pt x="2467451" y="274796"/>
                  </a:moveTo>
                  <a:cubicBezTo>
                    <a:pt x="2467451" y="273844"/>
                    <a:pt x="2466499" y="272891"/>
                    <a:pt x="2466499" y="272891"/>
                  </a:cubicBezTo>
                  <a:cubicBezTo>
                    <a:pt x="2467451" y="270986"/>
                    <a:pt x="2467451" y="270034"/>
                    <a:pt x="2468404" y="268129"/>
                  </a:cubicBezTo>
                  <a:cubicBezTo>
                    <a:pt x="2468404" y="270034"/>
                    <a:pt x="2467451" y="272891"/>
                    <a:pt x="2467451" y="274796"/>
                  </a:cubicBezTo>
                  <a:close/>
                  <a:moveTo>
                    <a:pt x="2471261" y="233839"/>
                  </a:moveTo>
                  <a:cubicBezTo>
                    <a:pt x="2471261" y="233839"/>
                    <a:pt x="2471261" y="237649"/>
                    <a:pt x="2470309" y="245269"/>
                  </a:cubicBezTo>
                  <a:cubicBezTo>
                    <a:pt x="2470309" y="245269"/>
                    <a:pt x="2470309" y="246221"/>
                    <a:pt x="2469356" y="246221"/>
                  </a:cubicBezTo>
                  <a:cubicBezTo>
                    <a:pt x="2466499" y="251936"/>
                    <a:pt x="2462689" y="256699"/>
                    <a:pt x="2459831" y="263366"/>
                  </a:cubicBezTo>
                  <a:cubicBezTo>
                    <a:pt x="2459831" y="262414"/>
                    <a:pt x="2458879" y="262414"/>
                    <a:pt x="2458879" y="261461"/>
                  </a:cubicBezTo>
                  <a:cubicBezTo>
                    <a:pt x="2459831" y="256699"/>
                    <a:pt x="2460784" y="250984"/>
                    <a:pt x="2461736" y="247174"/>
                  </a:cubicBezTo>
                  <a:cubicBezTo>
                    <a:pt x="2461736" y="246221"/>
                    <a:pt x="2462689" y="246221"/>
                    <a:pt x="2462689" y="245269"/>
                  </a:cubicBezTo>
                  <a:cubicBezTo>
                    <a:pt x="2466499" y="239554"/>
                    <a:pt x="2469356" y="234791"/>
                    <a:pt x="2472214" y="231934"/>
                  </a:cubicBezTo>
                  <a:cubicBezTo>
                    <a:pt x="2472214" y="231934"/>
                    <a:pt x="2472214" y="231934"/>
                    <a:pt x="2472214" y="231934"/>
                  </a:cubicBezTo>
                  <a:cubicBezTo>
                    <a:pt x="2472214" y="234791"/>
                    <a:pt x="2473166" y="237649"/>
                    <a:pt x="2473166" y="240506"/>
                  </a:cubicBezTo>
                  <a:cubicBezTo>
                    <a:pt x="2473166" y="241459"/>
                    <a:pt x="2472214" y="241459"/>
                    <a:pt x="2472214" y="242411"/>
                  </a:cubicBezTo>
                  <a:cubicBezTo>
                    <a:pt x="2472214" y="236696"/>
                    <a:pt x="2471261" y="233839"/>
                    <a:pt x="2471261" y="233839"/>
                  </a:cubicBezTo>
                  <a:close/>
                  <a:moveTo>
                    <a:pt x="2467451" y="211931"/>
                  </a:moveTo>
                  <a:cubicBezTo>
                    <a:pt x="2466499" y="212884"/>
                    <a:pt x="2466499" y="212884"/>
                    <a:pt x="2465546" y="213836"/>
                  </a:cubicBezTo>
                  <a:cubicBezTo>
                    <a:pt x="2465546" y="212884"/>
                    <a:pt x="2465546" y="212884"/>
                    <a:pt x="2466499" y="211931"/>
                  </a:cubicBezTo>
                  <a:cubicBezTo>
                    <a:pt x="2467451" y="210026"/>
                    <a:pt x="2467451" y="209074"/>
                    <a:pt x="2468404" y="208121"/>
                  </a:cubicBezTo>
                  <a:cubicBezTo>
                    <a:pt x="2468404" y="209074"/>
                    <a:pt x="2468404" y="210026"/>
                    <a:pt x="2468404" y="210979"/>
                  </a:cubicBezTo>
                  <a:cubicBezTo>
                    <a:pt x="2468404" y="210979"/>
                    <a:pt x="2468404" y="210979"/>
                    <a:pt x="2467451" y="211931"/>
                  </a:cubicBezTo>
                  <a:cubicBezTo>
                    <a:pt x="2468404" y="210979"/>
                    <a:pt x="2468404" y="210979"/>
                    <a:pt x="2467451" y="211931"/>
                  </a:cubicBezTo>
                  <a:cubicBezTo>
                    <a:pt x="2468404" y="210979"/>
                    <a:pt x="2467451" y="210979"/>
                    <a:pt x="2467451" y="211931"/>
                  </a:cubicBezTo>
                  <a:close/>
                  <a:moveTo>
                    <a:pt x="2470309" y="218599"/>
                  </a:moveTo>
                  <a:cubicBezTo>
                    <a:pt x="2471261" y="222409"/>
                    <a:pt x="2471261" y="226219"/>
                    <a:pt x="2472214" y="230029"/>
                  </a:cubicBezTo>
                  <a:cubicBezTo>
                    <a:pt x="2472214" y="230029"/>
                    <a:pt x="2472214" y="230029"/>
                    <a:pt x="2472214" y="230029"/>
                  </a:cubicBezTo>
                  <a:cubicBezTo>
                    <a:pt x="2470309" y="231934"/>
                    <a:pt x="2467451" y="234791"/>
                    <a:pt x="2463641" y="237649"/>
                  </a:cubicBezTo>
                  <a:cubicBezTo>
                    <a:pt x="2463641" y="236696"/>
                    <a:pt x="2463641" y="235744"/>
                    <a:pt x="2464594" y="234791"/>
                  </a:cubicBezTo>
                  <a:cubicBezTo>
                    <a:pt x="2465546" y="230981"/>
                    <a:pt x="2465546" y="227171"/>
                    <a:pt x="2466499" y="224314"/>
                  </a:cubicBezTo>
                  <a:cubicBezTo>
                    <a:pt x="2466499" y="224314"/>
                    <a:pt x="2466499" y="224314"/>
                    <a:pt x="2466499" y="224314"/>
                  </a:cubicBezTo>
                  <a:cubicBezTo>
                    <a:pt x="2467451" y="223361"/>
                    <a:pt x="2468404" y="220504"/>
                    <a:pt x="2470309" y="218599"/>
                  </a:cubicBezTo>
                  <a:close/>
                  <a:moveTo>
                    <a:pt x="2477929" y="223361"/>
                  </a:moveTo>
                  <a:cubicBezTo>
                    <a:pt x="2476976" y="219551"/>
                    <a:pt x="2476024" y="215741"/>
                    <a:pt x="2475071" y="212884"/>
                  </a:cubicBezTo>
                  <a:cubicBezTo>
                    <a:pt x="2476024" y="211931"/>
                    <a:pt x="2476976" y="210026"/>
                    <a:pt x="2477929" y="209074"/>
                  </a:cubicBezTo>
                  <a:cubicBezTo>
                    <a:pt x="2477929" y="211931"/>
                    <a:pt x="2477929" y="214789"/>
                    <a:pt x="2477929" y="217646"/>
                  </a:cubicBezTo>
                  <a:cubicBezTo>
                    <a:pt x="2477929" y="219551"/>
                    <a:pt x="2477929" y="221456"/>
                    <a:pt x="2477929" y="223361"/>
                  </a:cubicBezTo>
                  <a:close/>
                  <a:moveTo>
                    <a:pt x="2473166" y="206216"/>
                  </a:moveTo>
                  <a:cubicBezTo>
                    <a:pt x="2473166" y="205264"/>
                    <a:pt x="2472214" y="204311"/>
                    <a:pt x="2472214" y="203359"/>
                  </a:cubicBezTo>
                  <a:cubicBezTo>
                    <a:pt x="2472214" y="202406"/>
                    <a:pt x="2472214" y="202406"/>
                    <a:pt x="2471261" y="201454"/>
                  </a:cubicBezTo>
                  <a:cubicBezTo>
                    <a:pt x="2472214" y="199549"/>
                    <a:pt x="2473166" y="197644"/>
                    <a:pt x="2474119" y="195739"/>
                  </a:cubicBezTo>
                  <a:cubicBezTo>
                    <a:pt x="2475071" y="193834"/>
                    <a:pt x="2476976" y="190976"/>
                    <a:pt x="2477929" y="189071"/>
                  </a:cubicBezTo>
                  <a:cubicBezTo>
                    <a:pt x="2477929" y="192881"/>
                    <a:pt x="2477929" y="197644"/>
                    <a:pt x="2477929" y="201454"/>
                  </a:cubicBezTo>
                  <a:cubicBezTo>
                    <a:pt x="2476024" y="203359"/>
                    <a:pt x="2474119" y="205264"/>
                    <a:pt x="2473166" y="206216"/>
                  </a:cubicBezTo>
                  <a:close/>
                  <a:moveTo>
                    <a:pt x="2473166" y="255746"/>
                  </a:moveTo>
                  <a:cubicBezTo>
                    <a:pt x="2474119" y="254794"/>
                    <a:pt x="2474119" y="252889"/>
                    <a:pt x="2475071" y="251936"/>
                  </a:cubicBezTo>
                  <a:cubicBezTo>
                    <a:pt x="2476024" y="256699"/>
                    <a:pt x="2476024" y="261461"/>
                    <a:pt x="2476976" y="266224"/>
                  </a:cubicBezTo>
                  <a:cubicBezTo>
                    <a:pt x="2477929" y="274796"/>
                    <a:pt x="2478881" y="283369"/>
                    <a:pt x="2479834" y="292894"/>
                  </a:cubicBezTo>
                  <a:cubicBezTo>
                    <a:pt x="2479834" y="293846"/>
                    <a:pt x="2479834" y="295751"/>
                    <a:pt x="2479834" y="296704"/>
                  </a:cubicBezTo>
                  <a:cubicBezTo>
                    <a:pt x="2479834" y="296704"/>
                    <a:pt x="2479834" y="295751"/>
                    <a:pt x="2479834" y="295751"/>
                  </a:cubicBezTo>
                  <a:cubicBezTo>
                    <a:pt x="2477929" y="292894"/>
                    <a:pt x="2476976" y="290036"/>
                    <a:pt x="2475071" y="288131"/>
                  </a:cubicBezTo>
                  <a:cubicBezTo>
                    <a:pt x="2475071" y="275749"/>
                    <a:pt x="2474119" y="264319"/>
                    <a:pt x="2473166" y="255746"/>
                  </a:cubicBezTo>
                  <a:close/>
                  <a:moveTo>
                    <a:pt x="2481739" y="324326"/>
                  </a:moveTo>
                  <a:cubicBezTo>
                    <a:pt x="2481739" y="325279"/>
                    <a:pt x="2480786" y="325279"/>
                    <a:pt x="2480786" y="326231"/>
                  </a:cubicBezTo>
                  <a:cubicBezTo>
                    <a:pt x="2479834" y="330041"/>
                    <a:pt x="2477929" y="334804"/>
                    <a:pt x="2476024" y="340519"/>
                  </a:cubicBezTo>
                  <a:cubicBezTo>
                    <a:pt x="2476024" y="329089"/>
                    <a:pt x="2476024" y="317659"/>
                    <a:pt x="2476024" y="308134"/>
                  </a:cubicBezTo>
                  <a:cubicBezTo>
                    <a:pt x="2476024" y="308134"/>
                    <a:pt x="2476024" y="308134"/>
                    <a:pt x="2476024" y="308134"/>
                  </a:cubicBezTo>
                  <a:cubicBezTo>
                    <a:pt x="2476976" y="311944"/>
                    <a:pt x="2478881" y="314801"/>
                    <a:pt x="2479834" y="318611"/>
                  </a:cubicBezTo>
                  <a:cubicBezTo>
                    <a:pt x="2479834" y="319564"/>
                    <a:pt x="2480786" y="321469"/>
                    <a:pt x="2480786" y="322421"/>
                  </a:cubicBezTo>
                  <a:cubicBezTo>
                    <a:pt x="2480786" y="322421"/>
                    <a:pt x="2481739" y="323374"/>
                    <a:pt x="2481739" y="324326"/>
                  </a:cubicBezTo>
                  <a:cubicBezTo>
                    <a:pt x="2481739" y="324326"/>
                    <a:pt x="2481739" y="324326"/>
                    <a:pt x="2481739" y="324326"/>
                  </a:cubicBezTo>
                  <a:close/>
                  <a:moveTo>
                    <a:pt x="2436971" y="215741"/>
                  </a:moveTo>
                  <a:cubicBezTo>
                    <a:pt x="2440781" y="209074"/>
                    <a:pt x="2444591" y="202406"/>
                    <a:pt x="2447449" y="195739"/>
                  </a:cubicBezTo>
                  <a:cubicBezTo>
                    <a:pt x="2451259" y="190024"/>
                    <a:pt x="2454116" y="184309"/>
                    <a:pt x="2457926" y="178594"/>
                  </a:cubicBezTo>
                  <a:cubicBezTo>
                    <a:pt x="2464594" y="168116"/>
                    <a:pt x="2469356" y="157639"/>
                    <a:pt x="2475071" y="150971"/>
                  </a:cubicBezTo>
                  <a:cubicBezTo>
                    <a:pt x="2477929" y="146209"/>
                    <a:pt x="2480786" y="142399"/>
                    <a:pt x="2482691" y="138589"/>
                  </a:cubicBezTo>
                  <a:cubicBezTo>
                    <a:pt x="2481739" y="142399"/>
                    <a:pt x="2481739" y="148114"/>
                    <a:pt x="2480786" y="154781"/>
                  </a:cubicBezTo>
                  <a:cubicBezTo>
                    <a:pt x="2479834" y="162401"/>
                    <a:pt x="2479834" y="170974"/>
                    <a:pt x="2478881" y="181451"/>
                  </a:cubicBezTo>
                  <a:cubicBezTo>
                    <a:pt x="2476024" y="185261"/>
                    <a:pt x="2473166" y="189071"/>
                    <a:pt x="2470309" y="193834"/>
                  </a:cubicBezTo>
                  <a:cubicBezTo>
                    <a:pt x="2470309" y="193834"/>
                    <a:pt x="2470309" y="194786"/>
                    <a:pt x="2469356" y="194786"/>
                  </a:cubicBezTo>
                  <a:cubicBezTo>
                    <a:pt x="2466499" y="186214"/>
                    <a:pt x="2465546" y="181451"/>
                    <a:pt x="2465546" y="181451"/>
                  </a:cubicBezTo>
                  <a:cubicBezTo>
                    <a:pt x="2465546" y="181451"/>
                    <a:pt x="2466499" y="187166"/>
                    <a:pt x="2467451" y="197644"/>
                  </a:cubicBezTo>
                  <a:cubicBezTo>
                    <a:pt x="2465546" y="201454"/>
                    <a:pt x="2462689" y="205264"/>
                    <a:pt x="2460784" y="209074"/>
                  </a:cubicBezTo>
                  <a:cubicBezTo>
                    <a:pt x="2456021" y="216694"/>
                    <a:pt x="2452211" y="225266"/>
                    <a:pt x="2447449" y="234791"/>
                  </a:cubicBezTo>
                  <a:cubicBezTo>
                    <a:pt x="2443639" y="238601"/>
                    <a:pt x="2440781" y="243364"/>
                    <a:pt x="2436971" y="247174"/>
                  </a:cubicBezTo>
                  <a:cubicBezTo>
                    <a:pt x="2436971" y="248126"/>
                    <a:pt x="2436019" y="248126"/>
                    <a:pt x="2436019" y="249079"/>
                  </a:cubicBezTo>
                  <a:cubicBezTo>
                    <a:pt x="2436019" y="249079"/>
                    <a:pt x="2436019" y="249079"/>
                    <a:pt x="2436019" y="249079"/>
                  </a:cubicBezTo>
                  <a:cubicBezTo>
                    <a:pt x="2435066" y="240506"/>
                    <a:pt x="2434114" y="232886"/>
                    <a:pt x="2433161" y="225266"/>
                  </a:cubicBezTo>
                  <a:cubicBezTo>
                    <a:pt x="2433161" y="221456"/>
                    <a:pt x="2435066" y="218599"/>
                    <a:pt x="2436971" y="215741"/>
                  </a:cubicBezTo>
                  <a:close/>
                  <a:moveTo>
                    <a:pt x="2416016" y="313849"/>
                  </a:moveTo>
                  <a:cubicBezTo>
                    <a:pt x="2416016" y="313849"/>
                    <a:pt x="2416016" y="313849"/>
                    <a:pt x="2416016" y="313849"/>
                  </a:cubicBezTo>
                  <a:cubicBezTo>
                    <a:pt x="2415064" y="310039"/>
                    <a:pt x="2414111" y="307181"/>
                    <a:pt x="2413159" y="304324"/>
                  </a:cubicBezTo>
                  <a:cubicBezTo>
                    <a:pt x="2414111" y="303371"/>
                    <a:pt x="2414111" y="302419"/>
                    <a:pt x="2415064" y="301466"/>
                  </a:cubicBezTo>
                  <a:cubicBezTo>
                    <a:pt x="2415064" y="302419"/>
                    <a:pt x="2415064" y="302419"/>
                    <a:pt x="2415064" y="303371"/>
                  </a:cubicBezTo>
                  <a:cubicBezTo>
                    <a:pt x="2415064" y="306229"/>
                    <a:pt x="2416016" y="310039"/>
                    <a:pt x="2416016" y="313849"/>
                  </a:cubicBezTo>
                  <a:cubicBezTo>
                    <a:pt x="2416016" y="313849"/>
                    <a:pt x="2416016" y="313849"/>
                    <a:pt x="2416016" y="313849"/>
                  </a:cubicBezTo>
                  <a:close/>
                  <a:moveTo>
                    <a:pt x="2422684" y="288131"/>
                  </a:moveTo>
                  <a:cubicBezTo>
                    <a:pt x="2422684" y="290036"/>
                    <a:pt x="2422684" y="291941"/>
                    <a:pt x="2422684" y="293846"/>
                  </a:cubicBezTo>
                  <a:cubicBezTo>
                    <a:pt x="2421731" y="295751"/>
                    <a:pt x="2421731" y="297656"/>
                    <a:pt x="2420779" y="299561"/>
                  </a:cubicBezTo>
                  <a:cubicBezTo>
                    <a:pt x="2419826" y="297656"/>
                    <a:pt x="2419826" y="295751"/>
                    <a:pt x="2418874" y="293846"/>
                  </a:cubicBezTo>
                  <a:cubicBezTo>
                    <a:pt x="2419826" y="292894"/>
                    <a:pt x="2419826" y="291941"/>
                    <a:pt x="2420779" y="290989"/>
                  </a:cubicBezTo>
                  <a:cubicBezTo>
                    <a:pt x="2421731" y="290036"/>
                    <a:pt x="2421731" y="289084"/>
                    <a:pt x="2422684" y="288131"/>
                  </a:cubicBezTo>
                  <a:close/>
                  <a:moveTo>
                    <a:pt x="2414111" y="259556"/>
                  </a:moveTo>
                  <a:cubicBezTo>
                    <a:pt x="2416016" y="255746"/>
                    <a:pt x="2417921" y="251936"/>
                    <a:pt x="2419826" y="248126"/>
                  </a:cubicBezTo>
                  <a:cubicBezTo>
                    <a:pt x="2419826" y="253841"/>
                    <a:pt x="2420779" y="259556"/>
                    <a:pt x="2420779" y="266224"/>
                  </a:cubicBezTo>
                  <a:cubicBezTo>
                    <a:pt x="2417921" y="270034"/>
                    <a:pt x="2415064" y="273844"/>
                    <a:pt x="2412206" y="277654"/>
                  </a:cubicBezTo>
                  <a:cubicBezTo>
                    <a:pt x="2411254" y="276701"/>
                    <a:pt x="2411254" y="275749"/>
                    <a:pt x="2410301" y="273844"/>
                  </a:cubicBezTo>
                  <a:cubicBezTo>
                    <a:pt x="2409349" y="272891"/>
                    <a:pt x="2409349" y="271939"/>
                    <a:pt x="2408396" y="270986"/>
                  </a:cubicBezTo>
                  <a:cubicBezTo>
                    <a:pt x="2410301" y="268129"/>
                    <a:pt x="2412206" y="263366"/>
                    <a:pt x="2414111" y="259556"/>
                  </a:cubicBezTo>
                  <a:close/>
                  <a:moveTo>
                    <a:pt x="2406491" y="275749"/>
                  </a:moveTo>
                  <a:cubicBezTo>
                    <a:pt x="2406491" y="275749"/>
                    <a:pt x="2406491" y="275749"/>
                    <a:pt x="2406491" y="275749"/>
                  </a:cubicBezTo>
                  <a:cubicBezTo>
                    <a:pt x="2407444" y="277654"/>
                    <a:pt x="2408396" y="279559"/>
                    <a:pt x="2409349" y="282416"/>
                  </a:cubicBezTo>
                  <a:cubicBezTo>
                    <a:pt x="2408396" y="283369"/>
                    <a:pt x="2407444" y="285274"/>
                    <a:pt x="2406491" y="286226"/>
                  </a:cubicBezTo>
                  <a:cubicBezTo>
                    <a:pt x="2405539" y="284321"/>
                    <a:pt x="2405539" y="282416"/>
                    <a:pt x="2404586" y="280511"/>
                  </a:cubicBezTo>
                  <a:cubicBezTo>
                    <a:pt x="2405539" y="278606"/>
                    <a:pt x="2405539" y="276701"/>
                    <a:pt x="2406491" y="275749"/>
                  </a:cubicBezTo>
                  <a:close/>
                  <a:moveTo>
                    <a:pt x="2405539" y="317659"/>
                  </a:moveTo>
                  <a:cubicBezTo>
                    <a:pt x="2406491" y="321469"/>
                    <a:pt x="2407444" y="324326"/>
                    <a:pt x="2408396" y="328136"/>
                  </a:cubicBezTo>
                  <a:cubicBezTo>
                    <a:pt x="2408396" y="330041"/>
                    <a:pt x="2408396" y="331946"/>
                    <a:pt x="2408396" y="334804"/>
                  </a:cubicBezTo>
                  <a:cubicBezTo>
                    <a:pt x="2408396" y="333851"/>
                    <a:pt x="2407444" y="332899"/>
                    <a:pt x="2407444" y="332899"/>
                  </a:cubicBezTo>
                  <a:cubicBezTo>
                    <a:pt x="2407444" y="332899"/>
                    <a:pt x="2407444" y="335756"/>
                    <a:pt x="2407444" y="340519"/>
                  </a:cubicBezTo>
                  <a:cubicBezTo>
                    <a:pt x="2406491" y="344329"/>
                    <a:pt x="2405539" y="347186"/>
                    <a:pt x="2404586" y="350996"/>
                  </a:cubicBezTo>
                  <a:cubicBezTo>
                    <a:pt x="2403634" y="355759"/>
                    <a:pt x="2401729" y="359569"/>
                    <a:pt x="2400776" y="364331"/>
                  </a:cubicBezTo>
                  <a:cubicBezTo>
                    <a:pt x="2399824" y="357664"/>
                    <a:pt x="2398871" y="350044"/>
                    <a:pt x="2398871" y="343376"/>
                  </a:cubicBezTo>
                  <a:cubicBezTo>
                    <a:pt x="2398871" y="340519"/>
                    <a:pt x="2397919" y="336709"/>
                    <a:pt x="2397919" y="333851"/>
                  </a:cubicBezTo>
                  <a:cubicBezTo>
                    <a:pt x="2397919" y="332899"/>
                    <a:pt x="2397919" y="331946"/>
                    <a:pt x="2398871" y="330994"/>
                  </a:cubicBezTo>
                  <a:cubicBezTo>
                    <a:pt x="2399824" y="325279"/>
                    <a:pt x="2402681" y="321469"/>
                    <a:pt x="2405539" y="317659"/>
                  </a:cubicBezTo>
                  <a:close/>
                  <a:moveTo>
                    <a:pt x="2398871" y="291941"/>
                  </a:moveTo>
                  <a:cubicBezTo>
                    <a:pt x="2398871" y="292894"/>
                    <a:pt x="2399824" y="293846"/>
                    <a:pt x="2399824" y="295751"/>
                  </a:cubicBezTo>
                  <a:cubicBezTo>
                    <a:pt x="2397919" y="298609"/>
                    <a:pt x="2396014" y="300514"/>
                    <a:pt x="2394109" y="303371"/>
                  </a:cubicBezTo>
                  <a:cubicBezTo>
                    <a:pt x="2394109" y="303371"/>
                    <a:pt x="2394109" y="302419"/>
                    <a:pt x="2394109" y="302419"/>
                  </a:cubicBezTo>
                  <a:cubicBezTo>
                    <a:pt x="2396014" y="298609"/>
                    <a:pt x="2397919" y="295751"/>
                    <a:pt x="2398871" y="291941"/>
                  </a:cubicBezTo>
                  <a:close/>
                  <a:moveTo>
                    <a:pt x="2393156" y="267176"/>
                  </a:moveTo>
                  <a:cubicBezTo>
                    <a:pt x="2392204" y="268129"/>
                    <a:pt x="2392204" y="269081"/>
                    <a:pt x="2391251" y="270034"/>
                  </a:cubicBezTo>
                  <a:cubicBezTo>
                    <a:pt x="2390299" y="264319"/>
                    <a:pt x="2390299" y="259556"/>
                    <a:pt x="2389346" y="254794"/>
                  </a:cubicBezTo>
                  <a:cubicBezTo>
                    <a:pt x="2391251" y="258604"/>
                    <a:pt x="2392204" y="263366"/>
                    <a:pt x="2393156" y="267176"/>
                  </a:cubicBezTo>
                  <a:close/>
                  <a:moveTo>
                    <a:pt x="2351246" y="278606"/>
                  </a:moveTo>
                  <a:cubicBezTo>
                    <a:pt x="2351246" y="277654"/>
                    <a:pt x="2351246" y="277654"/>
                    <a:pt x="2351246" y="278606"/>
                  </a:cubicBezTo>
                  <a:lnTo>
                    <a:pt x="2351246" y="275749"/>
                  </a:lnTo>
                  <a:cubicBezTo>
                    <a:pt x="2351246" y="276701"/>
                    <a:pt x="2351246" y="277654"/>
                    <a:pt x="2351246" y="278606"/>
                  </a:cubicBezTo>
                  <a:close/>
                  <a:moveTo>
                    <a:pt x="2378869" y="295751"/>
                  </a:moveTo>
                  <a:cubicBezTo>
                    <a:pt x="2377916" y="298609"/>
                    <a:pt x="2376011" y="300514"/>
                    <a:pt x="2375059" y="303371"/>
                  </a:cubicBezTo>
                  <a:cubicBezTo>
                    <a:pt x="2375059" y="304324"/>
                    <a:pt x="2374106" y="304324"/>
                    <a:pt x="2374106" y="305276"/>
                  </a:cubicBezTo>
                  <a:cubicBezTo>
                    <a:pt x="2374106" y="305276"/>
                    <a:pt x="2374106" y="304324"/>
                    <a:pt x="2374106" y="304324"/>
                  </a:cubicBezTo>
                  <a:cubicBezTo>
                    <a:pt x="2376964" y="261461"/>
                    <a:pt x="2376011" y="231934"/>
                    <a:pt x="2376011" y="231934"/>
                  </a:cubicBezTo>
                  <a:cubicBezTo>
                    <a:pt x="2376011" y="231934"/>
                    <a:pt x="2372201" y="249079"/>
                    <a:pt x="2366486" y="277654"/>
                  </a:cubicBezTo>
                  <a:cubicBezTo>
                    <a:pt x="2365534" y="275749"/>
                    <a:pt x="2365534" y="273844"/>
                    <a:pt x="2364581" y="272891"/>
                  </a:cubicBezTo>
                  <a:cubicBezTo>
                    <a:pt x="2363629" y="270034"/>
                    <a:pt x="2362676" y="267176"/>
                    <a:pt x="2361724" y="264319"/>
                  </a:cubicBezTo>
                  <a:cubicBezTo>
                    <a:pt x="2361724" y="257651"/>
                    <a:pt x="2361724" y="250984"/>
                    <a:pt x="2361724" y="245269"/>
                  </a:cubicBezTo>
                  <a:lnTo>
                    <a:pt x="2365534" y="234791"/>
                  </a:lnTo>
                  <a:lnTo>
                    <a:pt x="2376011" y="211931"/>
                  </a:lnTo>
                  <a:cubicBezTo>
                    <a:pt x="2376011" y="221456"/>
                    <a:pt x="2376011" y="232886"/>
                    <a:pt x="2376011" y="244316"/>
                  </a:cubicBezTo>
                  <a:cubicBezTo>
                    <a:pt x="2376011" y="258604"/>
                    <a:pt x="2376011" y="274796"/>
                    <a:pt x="2376964" y="290989"/>
                  </a:cubicBezTo>
                  <a:cubicBezTo>
                    <a:pt x="2378869" y="292894"/>
                    <a:pt x="2378869" y="293846"/>
                    <a:pt x="2378869" y="295751"/>
                  </a:cubicBezTo>
                  <a:close/>
                  <a:moveTo>
                    <a:pt x="2362676" y="180499"/>
                  </a:moveTo>
                  <a:cubicBezTo>
                    <a:pt x="2364581" y="175736"/>
                    <a:pt x="2366486" y="170974"/>
                    <a:pt x="2368391" y="166211"/>
                  </a:cubicBezTo>
                  <a:cubicBezTo>
                    <a:pt x="2372201" y="157639"/>
                    <a:pt x="2375059" y="149066"/>
                    <a:pt x="2377916" y="140494"/>
                  </a:cubicBezTo>
                  <a:cubicBezTo>
                    <a:pt x="2377916" y="141446"/>
                    <a:pt x="2378869" y="142399"/>
                    <a:pt x="2378869" y="143351"/>
                  </a:cubicBezTo>
                  <a:cubicBezTo>
                    <a:pt x="2379821" y="146209"/>
                    <a:pt x="2379821" y="149066"/>
                    <a:pt x="2378869" y="152876"/>
                  </a:cubicBezTo>
                  <a:cubicBezTo>
                    <a:pt x="2377916" y="149066"/>
                    <a:pt x="2377916" y="147161"/>
                    <a:pt x="2377916" y="147161"/>
                  </a:cubicBezTo>
                  <a:cubicBezTo>
                    <a:pt x="2377916" y="147161"/>
                    <a:pt x="2377916" y="156686"/>
                    <a:pt x="2377916" y="173831"/>
                  </a:cubicBezTo>
                  <a:cubicBezTo>
                    <a:pt x="2377916" y="182404"/>
                    <a:pt x="2377916" y="191929"/>
                    <a:pt x="2377916" y="203359"/>
                  </a:cubicBezTo>
                  <a:cubicBezTo>
                    <a:pt x="2373154" y="210979"/>
                    <a:pt x="2368391" y="219551"/>
                    <a:pt x="2362676" y="227171"/>
                  </a:cubicBezTo>
                  <a:cubicBezTo>
                    <a:pt x="2361724" y="206216"/>
                    <a:pt x="2361724" y="190976"/>
                    <a:pt x="2360771" y="185261"/>
                  </a:cubicBezTo>
                  <a:cubicBezTo>
                    <a:pt x="2361724" y="183356"/>
                    <a:pt x="2361724" y="182404"/>
                    <a:pt x="2362676" y="180499"/>
                  </a:cubicBezTo>
                  <a:close/>
                  <a:moveTo>
                    <a:pt x="2340769" y="241459"/>
                  </a:moveTo>
                  <a:cubicBezTo>
                    <a:pt x="2341721" y="239554"/>
                    <a:pt x="2341721" y="237649"/>
                    <a:pt x="2342674" y="235744"/>
                  </a:cubicBezTo>
                  <a:cubicBezTo>
                    <a:pt x="2344579" y="230981"/>
                    <a:pt x="2345531" y="226219"/>
                    <a:pt x="2347436" y="221456"/>
                  </a:cubicBezTo>
                  <a:cubicBezTo>
                    <a:pt x="2352199" y="210026"/>
                    <a:pt x="2356009" y="198596"/>
                    <a:pt x="2359819" y="187166"/>
                  </a:cubicBezTo>
                  <a:cubicBezTo>
                    <a:pt x="2358866" y="194786"/>
                    <a:pt x="2356961" y="212884"/>
                    <a:pt x="2355056" y="236696"/>
                  </a:cubicBezTo>
                  <a:cubicBezTo>
                    <a:pt x="2354104" y="232886"/>
                    <a:pt x="2353151" y="230029"/>
                    <a:pt x="2353151" y="230029"/>
                  </a:cubicBezTo>
                  <a:cubicBezTo>
                    <a:pt x="2353151" y="230029"/>
                    <a:pt x="2354104" y="233839"/>
                    <a:pt x="2354104" y="241459"/>
                  </a:cubicBezTo>
                  <a:cubicBezTo>
                    <a:pt x="2351246" y="247174"/>
                    <a:pt x="2347436" y="253841"/>
                    <a:pt x="2344579" y="259556"/>
                  </a:cubicBezTo>
                  <a:cubicBezTo>
                    <a:pt x="2344579" y="259556"/>
                    <a:pt x="2344579" y="259556"/>
                    <a:pt x="2344579" y="259556"/>
                  </a:cubicBezTo>
                  <a:cubicBezTo>
                    <a:pt x="2342674" y="254794"/>
                    <a:pt x="2340769" y="250031"/>
                    <a:pt x="2339816" y="245269"/>
                  </a:cubicBezTo>
                  <a:lnTo>
                    <a:pt x="2340769" y="241459"/>
                  </a:lnTo>
                  <a:close/>
                  <a:moveTo>
                    <a:pt x="2344579" y="320516"/>
                  </a:moveTo>
                  <a:cubicBezTo>
                    <a:pt x="2342674" y="316706"/>
                    <a:pt x="2340769" y="313849"/>
                    <a:pt x="2339816" y="310991"/>
                  </a:cubicBezTo>
                  <a:lnTo>
                    <a:pt x="2339816" y="310039"/>
                  </a:lnTo>
                  <a:cubicBezTo>
                    <a:pt x="2341721" y="313849"/>
                    <a:pt x="2343626" y="317659"/>
                    <a:pt x="2344579" y="320516"/>
                  </a:cubicBezTo>
                  <a:close/>
                  <a:moveTo>
                    <a:pt x="2337911" y="317659"/>
                  </a:moveTo>
                  <a:cubicBezTo>
                    <a:pt x="2338864" y="320516"/>
                    <a:pt x="2339816" y="324326"/>
                    <a:pt x="2341721" y="327184"/>
                  </a:cubicBezTo>
                  <a:lnTo>
                    <a:pt x="2336959" y="321469"/>
                  </a:lnTo>
                  <a:lnTo>
                    <a:pt x="2337911" y="317659"/>
                  </a:lnTo>
                  <a:close/>
                  <a:moveTo>
                    <a:pt x="2332196" y="280511"/>
                  </a:moveTo>
                  <a:cubicBezTo>
                    <a:pt x="2332196" y="281464"/>
                    <a:pt x="2333149" y="282416"/>
                    <a:pt x="2333149" y="283369"/>
                  </a:cubicBezTo>
                  <a:cubicBezTo>
                    <a:pt x="2333149" y="282416"/>
                    <a:pt x="2332196" y="282416"/>
                    <a:pt x="2332196" y="281464"/>
                  </a:cubicBezTo>
                  <a:lnTo>
                    <a:pt x="2332196" y="280511"/>
                  </a:lnTo>
                  <a:close/>
                  <a:moveTo>
                    <a:pt x="2330291" y="289084"/>
                  </a:moveTo>
                  <a:cubicBezTo>
                    <a:pt x="2330291" y="290036"/>
                    <a:pt x="2331244" y="290989"/>
                    <a:pt x="2331244" y="290989"/>
                  </a:cubicBezTo>
                  <a:lnTo>
                    <a:pt x="2330291" y="292894"/>
                  </a:lnTo>
                  <a:cubicBezTo>
                    <a:pt x="2330291" y="291941"/>
                    <a:pt x="2329339" y="291941"/>
                    <a:pt x="2329339" y="290989"/>
                  </a:cubicBezTo>
                  <a:lnTo>
                    <a:pt x="2330291" y="289084"/>
                  </a:lnTo>
                  <a:close/>
                  <a:moveTo>
                    <a:pt x="2329339" y="293846"/>
                  </a:moveTo>
                  <a:lnTo>
                    <a:pt x="2329339" y="292894"/>
                  </a:lnTo>
                  <a:cubicBezTo>
                    <a:pt x="2329339" y="293846"/>
                    <a:pt x="2329339" y="293846"/>
                    <a:pt x="2330291" y="294799"/>
                  </a:cubicBezTo>
                  <a:lnTo>
                    <a:pt x="2328386" y="299561"/>
                  </a:lnTo>
                  <a:cubicBezTo>
                    <a:pt x="2328386" y="299561"/>
                    <a:pt x="2328386" y="299561"/>
                    <a:pt x="2328386" y="298609"/>
                  </a:cubicBezTo>
                  <a:lnTo>
                    <a:pt x="2329339" y="293846"/>
                  </a:lnTo>
                  <a:close/>
                  <a:moveTo>
                    <a:pt x="2313146" y="194786"/>
                  </a:moveTo>
                  <a:cubicBezTo>
                    <a:pt x="2314099" y="196691"/>
                    <a:pt x="2314099" y="199549"/>
                    <a:pt x="2315051" y="201454"/>
                  </a:cubicBezTo>
                  <a:cubicBezTo>
                    <a:pt x="2315051" y="202406"/>
                    <a:pt x="2316004" y="203359"/>
                    <a:pt x="2316004" y="205264"/>
                  </a:cubicBezTo>
                  <a:cubicBezTo>
                    <a:pt x="2315051" y="208121"/>
                    <a:pt x="2314099" y="211931"/>
                    <a:pt x="2314099" y="214789"/>
                  </a:cubicBezTo>
                  <a:cubicBezTo>
                    <a:pt x="2314099" y="214789"/>
                    <a:pt x="2314099" y="214789"/>
                    <a:pt x="2314099" y="214789"/>
                  </a:cubicBezTo>
                  <a:cubicBezTo>
                    <a:pt x="2313146" y="211931"/>
                    <a:pt x="2311241" y="210026"/>
                    <a:pt x="2310289" y="207169"/>
                  </a:cubicBezTo>
                  <a:cubicBezTo>
                    <a:pt x="2311241" y="202406"/>
                    <a:pt x="2312194" y="198596"/>
                    <a:pt x="2313146" y="194786"/>
                  </a:cubicBezTo>
                  <a:close/>
                  <a:moveTo>
                    <a:pt x="2304574" y="197644"/>
                  </a:moveTo>
                  <a:cubicBezTo>
                    <a:pt x="2304574" y="198596"/>
                    <a:pt x="2305526" y="199549"/>
                    <a:pt x="2305526" y="200501"/>
                  </a:cubicBezTo>
                  <a:cubicBezTo>
                    <a:pt x="2304574" y="202406"/>
                    <a:pt x="2304574" y="204311"/>
                    <a:pt x="2303621" y="205264"/>
                  </a:cubicBezTo>
                  <a:cubicBezTo>
                    <a:pt x="2304574" y="203359"/>
                    <a:pt x="2304574" y="200501"/>
                    <a:pt x="2304574" y="197644"/>
                  </a:cubicBezTo>
                  <a:close/>
                  <a:moveTo>
                    <a:pt x="2297906" y="272891"/>
                  </a:moveTo>
                  <a:cubicBezTo>
                    <a:pt x="2298859" y="267176"/>
                    <a:pt x="2298859" y="262414"/>
                    <a:pt x="2298859" y="256699"/>
                  </a:cubicBezTo>
                  <a:cubicBezTo>
                    <a:pt x="2298859" y="254794"/>
                    <a:pt x="2299811" y="252889"/>
                    <a:pt x="2299811" y="250984"/>
                  </a:cubicBezTo>
                  <a:cubicBezTo>
                    <a:pt x="2303621" y="236696"/>
                    <a:pt x="2306479" y="223361"/>
                    <a:pt x="2308384" y="211931"/>
                  </a:cubicBezTo>
                  <a:cubicBezTo>
                    <a:pt x="2308384" y="212884"/>
                    <a:pt x="2309336" y="214789"/>
                    <a:pt x="2309336" y="215741"/>
                  </a:cubicBezTo>
                  <a:cubicBezTo>
                    <a:pt x="2310289" y="217646"/>
                    <a:pt x="2310289" y="219551"/>
                    <a:pt x="2311241" y="221456"/>
                  </a:cubicBezTo>
                  <a:cubicBezTo>
                    <a:pt x="2311241" y="221456"/>
                    <a:pt x="2311241" y="221456"/>
                    <a:pt x="2311241" y="221456"/>
                  </a:cubicBezTo>
                  <a:cubicBezTo>
                    <a:pt x="2309336" y="231934"/>
                    <a:pt x="2306479" y="242411"/>
                    <a:pt x="2304574" y="253841"/>
                  </a:cubicBezTo>
                  <a:cubicBezTo>
                    <a:pt x="2302669" y="252889"/>
                    <a:pt x="2302669" y="251936"/>
                    <a:pt x="2302669" y="251936"/>
                  </a:cubicBezTo>
                  <a:cubicBezTo>
                    <a:pt x="2302669" y="251936"/>
                    <a:pt x="2303621" y="252889"/>
                    <a:pt x="2304574" y="253841"/>
                  </a:cubicBezTo>
                  <a:cubicBezTo>
                    <a:pt x="2302669" y="260509"/>
                    <a:pt x="2301716" y="268129"/>
                    <a:pt x="2299811" y="274796"/>
                  </a:cubicBezTo>
                  <a:cubicBezTo>
                    <a:pt x="2297906" y="283369"/>
                    <a:pt x="2296001" y="291941"/>
                    <a:pt x="2294096" y="300514"/>
                  </a:cubicBezTo>
                  <a:cubicBezTo>
                    <a:pt x="2296954" y="291941"/>
                    <a:pt x="2297906" y="282416"/>
                    <a:pt x="2297906" y="272891"/>
                  </a:cubicBezTo>
                  <a:close/>
                  <a:moveTo>
                    <a:pt x="2271236" y="369094"/>
                  </a:moveTo>
                  <a:cubicBezTo>
                    <a:pt x="2271236" y="371951"/>
                    <a:pt x="2271236" y="374809"/>
                    <a:pt x="2270284" y="376714"/>
                  </a:cubicBezTo>
                  <a:lnTo>
                    <a:pt x="2270284" y="376714"/>
                  </a:lnTo>
                  <a:cubicBezTo>
                    <a:pt x="2270284" y="375761"/>
                    <a:pt x="2270284" y="373856"/>
                    <a:pt x="2270284" y="372904"/>
                  </a:cubicBezTo>
                  <a:cubicBezTo>
                    <a:pt x="2270284" y="371951"/>
                    <a:pt x="2270284" y="370046"/>
                    <a:pt x="2271236" y="369094"/>
                  </a:cubicBezTo>
                  <a:close/>
                  <a:moveTo>
                    <a:pt x="2252186" y="297656"/>
                  </a:moveTo>
                  <a:cubicBezTo>
                    <a:pt x="2252186" y="302419"/>
                    <a:pt x="2251234" y="307181"/>
                    <a:pt x="2251234" y="311944"/>
                  </a:cubicBezTo>
                  <a:cubicBezTo>
                    <a:pt x="2251234" y="310991"/>
                    <a:pt x="2250281" y="310039"/>
                    <a:pt x="2250281" y="308134"/>
                  </a:cubicBezTo>
                  <a:cubicBezTo>
                    <a:pt x="2251234" y="305276"/>
                    <a:pt x="2252186" y="301466"/>
                    <a:pt x="2252186" y="297656"/>
                  </a:cubicBezTo>
                  <a:close/>
                  <a:moveTo>
                    <a:pt x="2215991" y="252889"/>
                  </a:moveTo>
                  <a:lnTo>
                    <a:pt x="2215991" y="256699"/>
                  </a:lnTo>
                  <a:cubicBezTo>
                    <a:pt x="2215991" y="256699"/>
                    <a:pt x="2215991" y="256699"/>
                    <a:pt x="2215991" y="256699"/>
                  </a:cubicBezTo>
                  <a:cubicBezTo>
                    <a:pt x="2215039" y="255746"/>
                    <a:pt x="2215991" y="254794"/>
                    <a:pt x="2215991" y="252889"/>
                  </a:cubicBezTo>
                  <a:close/>
                  <a:moveTo>
                    <a:pt x="2211229" y="281464"/>
                  </a:moveTo>
                  <a:cubicBezTo>
                    <a:pt x="2212181" y="273844"/>
                    <a:pt x="2213134" y="267176"/>
                    <a:pt x="2214086" y="260509"/>
                  </a:cubicBezTo>
                  <a:cubicBezTo>
                    <a:pt x="2214086" y="260509"/>
                    <a:pt x="2215039" y="261461"/>
                    <a:pt x="2215039" y="261461"/>
                  </a:cubicBezTo>
                  <a:lnTo>
                    <a:pt x="2215039" y="267176"/>
                  </a:lnTo>
                  <a:cubicBezTo>
                    <a:pt x="2214086" y="277654"/>
                    <a:pt x="2213134" y="289084"/>
                    <a:pt x="2212181" y="299561"/>
                  </a:cubicBezTo>
                  <a:cubicBezTo>
                    <a:pt x="2210276" y="302419"/>
                    <a:pt x="2208371" y="306229"/>
                    <a:pt x="2206466" y="309086"/>
                  </a:cubicBezTo>
                  <a:cubicBezTo>
                    <a:pt x="2208371" y="299561"/>
                    <a:pt x="2210276" y="290036"/>
                    <a:pt x="2211229" y="281464"/>
                  </a:cubicBezTo>
                  <a:close/>
                  <a:moveTo>
                    <a:pt x="2205514" y="337661"/>
                  </a:moveTo>
                  <a:cubicBezTo>
                    <a:pt x="2205514" y="338614"/>
                    <a:pt x="2204561" y="338614"/>
                    <a:pt x="2204561" y="339566"/>
                  </a:cubicBezTo>
                  <a:cubicBezTo>
                    <a:pt x="2204561" y="339566"/>
                    <a:pt x="2204561" y="339566"/>
                    <a:pt x="2204561" y="340519"/>
                  </a:cubicBezTo>
                  <a:cubicBezTo>
                    <a:pt x="2204561" y="339566"/>
                    <a:pt x="2204561" y="338614"/>
                    <a:pt x="2205514" y="337661"/>
                  </a:cubicBezTo>
                  <a:close/>
                  <a:moveTo>
                    <a:pt x="2183606" y="336709"/>
                  </a:moveTo>
                  <a:cubicBezTo>
                    <a:pt x="2183606" y="338614"/>
                    <a:pt x="2184559" y="341471"/>
                    <a:pt x="2185511" y="345281"/>
                  </a:cubicBezTo>
                  <a:cubicBezTo>
                    <a:pt x="2185511" y="347186"/>
                    <a:pt x="2184559" y="349091"/>
                    <a:pt x="2184559" y="350044"/>
                  </a:cubicBezTo>
                  <a:cubicBezTo>
                    <a:pt x="2184559" y="347186"/>
                    <a:pt x="2183606" y="343376"/>
                    <a:pt x="2183606" y="340519"/>
                  </a:cubicBezTo>
                  <a:cubicBezTo>
                    <a:pt x="2183606" y="339566"/>
                    <a:pt x="2183606" y="338614"/>
                    <a:pt x="2183606" y="337661"/>
                  </a:cubicBezTo>
                  <a:cubicBezTo>
                    <a:pt x="2182654" y="337661"/>
                    <a:pt x="2182654" y="337661"/>
                    <a:pt x="2183606" y="336709"/>
                  </a:cubicBezTo>
                  <a:close/>
                  <a:moveTo>
                    <a:pt x="2178844" y="345281"/>
                  </a:moveTo>
                  <a:cubicBezTo>
                    <a:pt x="2178844" y="349091"/>
                    <a:pt x="2178844" y="352901"/>
                    <a:pt x="2178844" y="357664"/>
                  </a:cubicBezTo>
                  <a:cubicBezTo>
                    <a:pt x="2177891" y="355759"/>
                    <a:pt x="2176939" y="352901"/>
                    <a:pt x="2175986" y="350996"/>
                  </a:cubicBezTo>
                  <a:cubicBezTo>
                    <a:pt x="2176939" y="348139"/>
                    <a:pt x="2177891" y="346234"/>
                    <a:pt x="2178844" y="345281"/>
                  </a:cubicBezTo>
                  <a:close/>
                  <a:moveTo>
                    <a:pt x="2150269" y="278606"/>
                  </a:moveTo>
                  <a:cubicBezTo>
                    <a:pt x="2155031" y="261461"/>
                    <a:pt x="2159794" y="246221"/>
                    <a:pt x="2162651" y="232886"/>
                  </a:cubicBezTo>
                  <a:cubicBezTo>
                    <a:pt x="2162651" y="233839"/>
                    <a:pt x="2162651" y="234791"/>
                    <a:pt x="2161699" y="235744"/>
                  </a:cubicBezTo>
                  <a:cubicBezTo>
                    <a:pt x="2160746" y="241459"/>
                    <a:pt x="2158841" y="248126"/>
                    <a:pt x="2157889" y="253841"/>
                  </a:cubicBezTo>
                  <a:cubicBezTo>
                    <a:pt x="2156936" y="260509"/>
                    <a:pt x="2155984" y="267176"/>
                    <a:pt x="2154079" y="274796"/>
                  </a:cubicBezTo>
                  <a:cubicBezTo>
                    <a:pt x="2153126" y="280511"/>
                    <a:pt x="2152174" y="287179"/>
                    <a:pt x="2151221" y="293846"/>
                  </a:cubicBezTo>
                  <a:cubicBezTo>
                    <a:pt x="2149316" y="290036"/>
                    <a:pt x="2148364" y="288131"/>
                    <a:pt x="2148364" y="288131"/>
                  </a:cubicBezTo>
                  <a:cubicBezTo>
                    <a:pt x="2148364" y="288131"/>
                    <a:pt x="2149316" y="290989"/>
                    <a:pt x="2150269" y="296704"/>
                  </a:cubicBezTo>
                  <a:cubicBezTo>
                    <a:pt x="2149316" y="302419"/>
                    <a:pt x="2148364" y="309086"/>
                    <a:pt x="2147411" y="314801"/>
                  </a:cubicBezTo>
                  <a:cubicBezTo>
                    <a:pt x="2143601" y="309086"/>
                    <a:pt x="2140744" y="305276"/>
                    <a:pt x="2140744" y="305276"/>
                  </a:cubicBezTo>
                  <a:cubicBezTo>
                    <a:pt x="2145506" y="296704"/>
                    <a:pt x="2147411" y="287179"/>
                    <a:pt x="2150269" y="278606"/>
                  </a:cubicBezTo>
                  <a:close/>
                  <a:moveTo>
                    <a:pt x="2142649" y="305276"/>
                  </a:moveTo>
                  <a:cubicBezTo>
                    <a:pt x="2142649" y="306229"/>
                    <a:pt x="2144554" y="310991"/>
                    <a:pt x="2148364" y="319564"/>
                  </a:cubicBezTo>
                  <a:cubicBezTo>
                    <a:pt x="2148364" y="319564"/>
                    <a:pt x="2148364" y="320516"/>
                    <a:pt x="2148364" y="320516"/>
                  </a:cubicBezTo>
                  <a:cubicBezTo>
                    <a:pt x="2148364" y="320516"/>
                    <a:pt x="2148364" y="321469"/>
                    <a:pt x="2148364" y="321469"/>
                  </a:cubicBezTo>
                  <a:cubicBezTo>
                    <a:pt x="2147411" y="328136"/>
                    <a:pt x="2146459" y="335756"/>
                    <a:pt x="2145506" y="343376"/>
                  </a:cubicBezTo>
                  <a:cubicBezTo>
                    <a:pt x="2143601" y="336709"/>
                    <a:pt x="2141696" y="330994"/>
                    <a:pt x="2139791" y="324326"/>
                  </a:cubicBezTo>
                  <a:cubicBezTo>
                    <a:pt x="2139791" y="323374"/>
                    <a:pt x="2138839" y="321469"/>
                    <a:pt x="2138839" y="320516"/>
                  </a:cubicBezTo>
                  <a:cubicBezTo>
                    <a:pt x="2138839" y="315754"/>
                    <a:pt x="2140744" y="310991"/>
                    <a:pt x="2142649" y="305276"/>
                  </a:cubicBezTo>
                  <a:close/>
                  <a:moveTo>
                    <a:pt x="2058829" y="353854"/>
                  </a:moveTo>
                  <a:cubicBezTo>
                    <a:pt x="2057876" y="357664"/>
                    <a:pt x="2056924" y="362426"/>
                    <a:pt x="2056924" y="366236"/>
                  </a:cubicBezTo>
                  <a:cubicBezTo>
                    <a:pt x="2056924" y="364331"/>
                    <a:pt x="2055971" y="363379"/>
                    <a:pt x="2055971" y="361474"/>
                  </a:cubicBezTo>
                  <a:cubicBezTo>
                    <a:pt x="2055019" y="358616"/>
                    <a:pt x="2055019" y="355759"/>
                    <a:pt x="2054066" y="352901"/>
                  </a:cubicBezTo>
                  <a:cubicBezTo>
                    <a:pt x="2054066" y="352901"/>
                    <a:pt x="2054066" y="352901"/>
                    <a:pt x="2054066" y="351949"/>
                  </a:cubicBezTo>
                  <a:cubicBezTo>
                    <a:pt x="2055971" y="347186"/>
                    <a:pt x="2057876" y="343376"/>
                    <a:pt x="2059781" y="338614"/>
                  </a:cubicBezTo>
                  <a:cubicBezTo>
                    <a:pt x="2059781" y="340519"/>
                    <a:pt x="2060734" y="341471"/>
                    <a:pt x="2060734" y="343376"/>
                  </a:cubicBezTo>
                  <a:cubicBezTo>
                    <a:pt x="2060734" y="347186"/>
                    <a:pt x="2059781" y="350044"/>
                    <a:pt x="2058829" y="353854"/>
                  </a:cubicBezTo>
                  <a:close/>
                  <a:moveTo>
                    <a:pt x="2081689" y="350044"/>
                  </a:moveTo>
                  <a:cubicBezTo>
                    <a:pt x="2080736" y="351949"/>
                    <a:pt x="2080736" y="352901"/>
                    <a:pt x="2079784" y="354806"/>
                  </a:cubicBezTo>
                  <a:cubicBezTo>
                    <a:pt x="2078831" y="351949"/>
                    <a:pt x="2078831" y="350044"/>
                    <a:pt x="2077879" y="347186"/>
                  </a:cubicBezTo>
                  <a:cubicBezTo>
                    <a:pt x="2077879" y="346234"/>
                    <a:pt x="2077879" y="345281"/>
                    <a:pt x="2077879" y="344329"/>
                  </a:cubicBezTo>
                  <a:cubicBezTo>
                    <a:pt x="2078831" y="345281"/>
                    <a:pt x="2079784" y="346234"/>
                    <a:pt x="2080736" y="348139"/>
                  </a:cubicBezTo>
                  <a:cubicBezTo>
                    <a:pt x="2080736" y="348139"/>
                    <a:pt x="2080736" y="349091"/>
                    <a:pt x="2081689" y="350044"/>
                  </a:cubicBezTo>
                  <a:cubicBezTo>
                    <a:pt x="2081689" y="350044"/>
                    <a:pt x="2081689" y="350044"/>
                    <a:pt x="2081689" y="350044"/>
                  </a:cubicBezTo>
                  <a:close/>
                  <a:moveTo>
                    <a:pt x="2081689" y="339566"/>
                  </a:moveTo>
                  <a:cubicBezTo>
                    <a:pt x="2081689" y="340519"/>
                    <a:pt x="2081689" y="341471"/>
                    <a:pt x="2081689" y="341471"/>
                  </a:cubicBezTo>
                  <a:cubicBezTo>
                    <a:pt x="2080736" y="340519"/>
                    <a:pt x="2079784" y="338614"/>
                    <a:pt x="2078831" y="337661"/>
                  </a:cubicBezTo>
                  <a:cubicBezTo>
                    <a:pt x="2078831" y="334804"/>
                    <a:pt x="2079784" y="331946"/>
                    <a:pt x="2079784" y="330041"/>
                  </a:cubicBezTo>
                  <a:cubicBezTo>
                    <a:pt x="2080736" y="332899"/>
                    <a:pt x="2081689" y="335756"/>
                    <a:pt x="2081689" y="339566"/>
                  </a:cubicBezTo>
                  <a:cubicBezTo>
                    <a:pt x="2081689" y="338614"/>
                    <a:pt x="2081689" y="338614"/>
                    <a:pt x="2081689" y="339566"/>
                  </a:cubicBezTo>
                  <a:close/>
                  <a:moveTo>
                    <a:pt x="2085499" y="290036"/>
                  </a:moveTo>
                  <a:cubicBezTo>
                    <a:pt x="2085499" y="295751"/>
                    <a:pt x="2084546" y="301466"/>
                    <a:pt x="2084546" y="307181"/>
                  </a:cubicBezTo>
                  <a:cubicBezTo>
                    <a:pt x="2084546" y="306229"/>
                    <a:pt x="2083594" y="305276"/>
                    <a:pt x="2083594" y="303371"/>
                  </a:cubicBezTo>
                  <a:cubicBezTo>
                    <a:pt x="2084546" y="292894"/>
                    <a:pt x="2085499" y="282416"/>
                    <a:pt x="2086451" y="273844"/>
                  </a:cubicBezTo>
                  <a:cubicBezTo>
                    <a:pt x="2086451" y="271939"/>
                    <a:pt x="2086451" y="269081"/>
                    <a:pt x="2087404" y="267176"/>
                  </a:cubicBezTo>
                  <a:cubicBezTo>
                    <a:pt x="2086451" y="274796"/>
                    <a:pt x="2085499" y="282416"/>
                    <a:pt x="2085499" y="290036"/>
                  </a:cubicBezTo>
                  <a:close/>
                  <a:moveTo>
                    <a:pt x="2089309" y="180499"/>
                  </a:moveTo>
                  <a:cubicBezTo>
                    <a:pt x="2089309" y="186214"/>
                    <a:pt x="2089309" y="192881"/>
                    <a:pt x="2089309" y="200501"/>
                  </a:cubicBezTo>
                  <a:cubicBezTo>
                    <a:pt x="2088356" y="197644"/>
                    <a:pt x="2086451" y="194786"/>
                    <a:pt x="2086451" y="192881"/>
                  </a:cubicBezTo>
                  <a:cubicBezTo>
                    <a:pt x="2087404" y="188119"/>
                    <a:pt x="2088356" y="184309"/>
                    <a:pt x="2089309" y="180499"/>
                  </a:cubicBezTo>
                  <a:close/>
                  <a:moveTo>
                    <a:pt x="2072164" y="241459"/>
                  </a:moveTo>
                  <a:cubicBezTo>
                    <a:pt x="2077879" y="223361"/>
                    <a:pt x="2082641" y="207169"/>
                    <a:pt x="2086451" y="193834"/>
                  </a:cubicBezTo>
                  <a:cubicBezTo>
                    <a:pt x="2087404" y="197644"/>
                    <a:pt x="2088356" y="201454"/>
                    <a:pt x="2090261" y="207169"/>
                  </a:cubicBezTo>
                  <a:cubicBezTo>
                    <a:pt x="2090261" y="207169"/>
                    <a:pt x="2090261" y="207169"/>
                    <a:pt x="2090261" y="208121"/>
                  </a:cubicBezTo>
                  <a:cubicBezTo>
                    <a:pt x="2087404" y="221456"/>
                    <a:pt x="2081689" y="244316"/>
                    <a:pt x="2075974" y="271939"/>
                  </a:cubicBezTo>
                  <a:cubicBezTo>
                    <a:pt x="2075021" y="274796"/>
                    <a:pt x="2075021" y="278606"/>
                    <a:pt x="2074069" y="282416"/>
                  </a:cubicBezTo>
                  <a:cubicBezTo>
                    <a:pt x="2072164" y="278606"/>
                    <a:pt x="2070259" y="274796"/>
                    <a:pt x="2068354" y="271939"/>
                  </a:cubicBezTo>
                  <a:cubicBezTo>
                    <a:pt x="2067401" y="270034"/>
                    <a:pt x="2066449" y="268129"/>
                    <a:pt x="2065496" y="266224"/>
                  </a:cubicBezTo>
                  <a:cubicBezTo>
                    <a:pt x="2067401" y="257651"/>
                    <a:pt x="2069306" y="249079"/>
                    <a:pt x="2072164" y="241459"/>
                  </a:cubicBezTo>
                  <a:close/>
                  <a:moveTo>
                    <a:pt x="2062639" y="270034"/>
                  </a:moveTo>
                  <a:cubicBezTo>
                    <a:pt x="2062639" y="270986"/>
                    <a:pt x="2063591" y="271939"/>
                    <a:pt x="2063591" y="272891"/>
                  </a:cubicBezTo>
                  <a:cubicBezTo>
                    <a:pt x="2065496" y="278606"/>
                    <a:pt x="2067401" y="285274"/>
                    <a:pt x="2069306" y="292894"/>
                  </a:cubicBezTo>
                  <a:cubicBezTo>
                    <a:pt x="2069306" y="293846"/>
                    <a:pt x="2069306" y="293846"/>
                    <a:pt x="2070259" y="294799"/>
                  </a:cubicBezTo>
                  <a:cubicBezTo>
                    <a:pt x="2069306" y="299561"/>
                    <a:pt x="2068354" y="305276"/>
                    <a:pt x="2067401" y="310039"/>
                  </a:cubicBezTo>
                  <a:cubicBezTo>
                    <a:pt x="2066449" y="308134"/>
                    <a:pt x="2066449" y="305276"/>
                    <a:pt x="2065496" y="303371"/>
                  </a:cubicBezTo>
                  <a:cubicBezTo>
                    <a:pt x="2063591" y="296704"/>
                    <a:pt x="2060734" y="290036"/>
                    <a:pt x="2058829" y="284321"/>
                  </a:cubicBezTo>
                  <a:cubicBezTo>
                    <a:pt x="2059781" y="279559"/>
                    <a:pt x="2061686" y="274796"/>
                    <a:pt x="2062639" y="270034"/>
                  </a:cubicBezTo>
                  <a:close/>
                  <a:moveTo>
                    <a:pt x="2053114" y="301466"/>
                  </a:moveTo>
                  <a:cubicBezTo>
                    <a:pt x="2053114" y="303371"/>
                    <a:pt x="2054066" y="304324"/>
                    <a:pt x="2054066" y="306229"/>
                  </a:cubicBezTo>
                  <a:cubicBezTo>
                    <a:pt x="2055019" y="310991"/>
                    <a:pt x="2055971" y="315754"/>
                    <a:pt x="2056924" y="320516"/>
                  </a:cubicBezTo>
                  <a:cubicBezTo>
                    <a:pt x="2056924" y="320516"/>
                    <a:pt x="2055971" y="320516"/>
                    <a:pt x="2055971" y="320516"/>
                  </a:cubicBezTo>
                  <a:cubicBezTo>
                    <a:pt x="2051209" y="318611"/>
                    <a:pt x="2049304" y="317659"/>
                    <a:pt x="2049304" y="317659"/>
                  </a:cubicBezTo>
                  <a:cubicBezTo>
                    <a:pt x="2049304" y="317659"/>
                    <a:pt x="2051209" y="319564"/>
                    <a:pt x="2055971" y="321469"/>
                  </a:cubicBezTo>
                  <a:cubicBezTo>
                    <a:pt x="2056924" y="321469"/>
                    <a:pt x="2056924" y="322421"/>
                    <a:pt x="2057876" y="322421"/>
                  </a:cubicBezTo>
                  <a:cubicBezTo>
                    <a:pt x="2058829" y="326231"/>
                    <a:pt x="2058829" y="329089"/>
                    <a:pt x="2059781" y="332899"/>
                  </a:cubicBezTo>
                  <a:cubicBezTo>
                    <a:pt x="2057876" y="335756"/>
                    <a:pt x="2055971" y="338614"/>
                    <a:pt x="2053114" y="342424"/>
                  </a:cubicBezTo>
                  <a:cubicBezTo>
                    <a:pt x="2052161" y="335756"/>
                    <a:pt x="2050256" y="328136"/>
                    <a:pt x="2049304" y="321469"/>
                  </a:cubicBezTo>
                  <a:cubicBezTo>
                    <a:pt x="2049304" y="319564"/>
                    <a:pt x="2049304" y="317659"/>
                    <a:pt x="2049304" y="315754"/>
                  </a:cubicBezTo>
                  <a:cubicBezTo>
                    <a:pt x="2050256" y="310991"/>
                    <a:pt x="2052161" y="305276"/>
                    <a:pt x="2053114" y="301466"/>
                  </a:cubicBezTo>
                  <a:close/>
                  <a:moveTo>
                    <a:pt x="2044541" y="260509"/>
                  </a:moveTo>
                  <a:cubicBezTo>
                    <a:pt x="2044541" y="260509"/>
                    <a:pt x="2044541" y="260509"/>
                    <a:pt x="2044541" y="260509"/>
                  </a:cubicBezTo>
                  <a:cubicBezTo>
                    <a:pt x="2044541" y="260509"/>
                    <a:pt x="2044541" y="259556"/>
                    <a:pt x="2044541" y="259556"/>
                  </a:cubicBezTo>
                  <a:cubicBezTo>
                    <a:pt x="2044541" y="259556"/>
                    <a:pt x="2044541" y="259556"/>
                    <a:pt x="2044541" y="260509"/>
                  </a:cubicBezTo>
                  <a:close/>
                  <a:moveTo>
                    <a:pt x="2019776" y="188119"/>
                  </a:moveTo>
                  <a:cubicBezTo>
                    <a:pt x="2019776" y="187166"/>
                    <a:pt x="2019776" y="186214"/>
                    <a:pt x="2019776" y="185261"/>
                  </a:cubicBezTo>
                  <a:cubicBezTo>
                    <a:pt x="2019776" y="182404"/>
                    <a:pt x="2020729" y="179546"/>
                    <a:pt x="2020729" y="177641"/>
                  </a:cubicBezTo>
                  <a:cubicBezTo>
                    <a:pt x="2020729" y="180499"/>
                    <a:pt x="2020729" y="184309"/>
                    <a:pt x="2020729" y="189071"/>
                  </a:cubicBezTo>
                  <a:cubicBezTo>
                    <a:pt x="2020729" y="197644"/>
                    <a:pt x="2021681" y="208121"/>
                    <a:pt x="2021681" y="220504"/>
                  </a:cubicBezTo>
                  <a:cubicBezTo>
                    <a:pt x="2021681" y="228124"/>
                    <a:pt x="2022634" y="235744"/>
                    <a:pt x="2023586" y="244316"/>
                  </a:cubicBezTo>
                  <a:cubicBezTo>
                    <a:pt x="2023586" y="245269"/>
                    <a:pt x="2022634" y="246221"/>
                    <a:pt x="2022634" y="247174"/>
                  </a:cubicBezTo>
                  <a:cubicBezTo>
                    <a:pt x="2020729" y="238601"/>
                    <a:pt x="2018824" y="230029"/>
                    <a:pt x="2016919" y="222409"/>
                  </a:cubicBezTo>
                  <a:cubicBezTo>
                    <a:pt x="2018824" y="209074"/>
                    <a:pt x="2018824" y="197644"/>
                    <a:pt x="2019776" y="188119"/>
                  </a:cubicBezTo>
                  <a:close/>
                  <a:moveTo>
                    <a:pt x="1999774" y="298609"/>
                  </a:moveTo>
                  <a:cubicBezTo>
                    <a:pt x="1999774" y="300514"/>
                    <a:pt x="1999774" y="302419"/>
                    <a:pt x="1999774" y="304324"/>
                  </a:cubicBezTo>
                  <a:cubicBezTo>
                    <a:pt x="1998821" y="306229"/>
                    <a:pt x="1998821" y="308134"/>
                    <a:pt x="1997869" y="310039"/>
                  </a:cubicBezTo>
                  <a:cubicBezTo>
                    <a:pt x="1998821" y="306229"/>
                    <a:pt x="1999774" y="302419"/>
                    <a:pt x="1999774" y="298609"/>
                  </a:cubicBezTo>
                  <a:close/>
                  <a:moveTo>
                    <a:pt x="1992154" y="349091"/>
                  </a:moveTo>
                  <a:cubicBezTo>
                    <a:pt x="1992154" y="351949"/>
                    <a:pt x="1992154" y="355759"/>
                    <a:pt x="1992154" y="359569"/>
                  </a:cubicBezTo>
                  <a:cubicBezTo>
                    <a:pt x="1992154" y="362426"/>
                    <a:pt x="1992154" y="366236"/>
                    <a:pt x="1992154" y="369094"/>
                  </a:cubicBezTo>
                  <a:cubicBezTo>
                    <a:pt x="1991201" y="370046"/>
                    <a:pt x="1990249" y="371951"/>
                    <a:pt x="1988344" y="373856"/>
                  </a:cubicBezTo>
                  <a:cubicBezTo>
                    <a:pt x="1990249" y="365284"/>
                    <a:pt x="1991201" y="356711"/>
                    <a:pt x="1992154" y="349091"/>
                  </a:cubicBezTo>
                  <a:close/>
                  <a:moveTo>
                    <a:pt x="1987391" y="381476"/>
                  </a:moveTo>
                  <a:cubicBezTo>
                    <a:pt x="1987391" y="381476"/>
                    <a:pt x="1987391" y="381476"/>
                    <a:pt x="1987391" y="381476"/>
                  </a:cubicBezTo>
                  <a:cubicBezTo>
                    <a:pt x="1989296" y="377666"/>
                    <a:pt x="1991201" y="374809"/>
                    <a:pt x="1992154" y="372904"/>
                  </a:cubicBezTo>
                  <a:cubicBezTo>
                    <a:pt x="1992154" y="374809"/>
                    <a:pt x="1992154" y="377666"/>
                    <a:pt x="1992154" y="379571"/>
                  </a:cubicBezTo>
                  <a:cubicBezTo>
                    <a:pt x="1992154" y="381476"/>
                    <a:pt x="1991201" y="384334"/>
                    <a:pt x="1991201" y="386239"/>
                  </a:cubicBezTo>
                  <a:cubicBezTo>
                    <a:pt x="1990249" y="391001"/>
                    <a:pt x="1989296" y="395764"/>
                    <a:pt x="1988344" y="400526"/>
                  </a:cubicBezTo>
                  <a:cubicBezTo>
                    <a:pt x="1988344" y="400526"/>
                    <a:pt x="1988344" y="399574"/>
                    <a:pt x="1988344" y="399574"/>
                  </a:cubicBezTo>
                  <a:cubicBezTo>
                    <a:pt x="1987391" y="397669"/>
                    <a:pt x="1986439" y="394811"/>
                    <a:pt x="1985486" y="392906"/>
                  </a:cubicBezTo>
                  <a:cubicBezTo>
                    <a:pt x="1986439" y="389096"/>
                    <a:pt x="1986439" y="385286"/>
                    <a:pt x="1987391" y="381476"/>
                  </a:cubicBezTo>
                  <a:close/>
                  <a:moveTo>
                    <a:pt x="1968341" y="290989"/>
                  </a:moveTo>
                  <a:cubicBezTo>
                    <a:pt x="1968341" y="292894"/>
                    <a:pt x="1968341" y="294799"/>
                    <a:pt x="1967389" y="297656"/>
                  </a:cubicBezTo>
                  <a:cubicBezTo>
                    <a:pt x="1967389" y="299561"/>
                    <a:pt x="1966436" y="302419"/>
                    <a:pt x="1966436" y="305276"/>
                  </a:cubicBezTo>
                  <a:cubicBezTo>
                    <a:pt x="1966436" y="309086"/>
                    <a:pt x="1965484" y="313849"/>
                    <a:pt x="1965484" y="318611"/>
                  </a:cubicBezTo>
                  <a:cubicBezTo>
                    <a:pt x="1965484" y="313849"/>
                    <a:pt x="1964531" y="309086"/>
                    <a:pt x="1964531" y="304324"/>
                  </a:cubicBezTo>
                  <a:cubicBezTo>
                    <a:pt x="1964531" y="303371"/>
                    <a:pt x="1964531" y="301466"/>
                    <a:pt x="1964531" y="300514"/>
                  </a:cubicBezTo>
                  <a:cubicBezTo>
                    <a:pt x="1965484" y="296704"/>
                    <a:pt x="1967389" y="293846"/>
                    <a:pt x="1968341" y="290989"/>
                  </a:cubicBezTo>
                  <a:close/>
                  <a:moveTo>
                    <a:pt x="1937861" y="310039"/>
                  </a:moveTo>
                  <a:cubicBezTo>
                    <a:pt x="1937861" y="307181"/>
                    <a:pt x="1937861" y="304324"/>
                    <a:pt x="1937861" y="302419"/>
                  </a:cubicBezTo>
                  <a:cubicBezTo>
                    <a:pt x="1937861" y="300514"/>
                    <a:pt x="1937861" y="297656"/>
                    <a:pt x="1937861" y="295751"/>
                  </a:cubicBezTo>
                  <a:cubicBezTo>
                    <a:pt x="1937861" y="299561"/>
                    <a:pt x="1938814" y="302419"/>
                    <a:pt x="1938814" y="306229"/>
                  </a:cubicBezTo>
                  <a:cubicBezTo>
                    <a:pt x="1938814" y="308134"/>
                    <a:pt x="1938814" y="309086"/>
                    <a:pt x="1937861" y="310039"/>
                  </a:cubicBezTo>
                  <a:close/>
                  <a:moveTo>
                    <a:pt x="1938814" y="272891"/>
                  </a:moveTo>
                  <a:cubicBezTo>
                    <a:pt x="1937861" y="270034"/>
                    <a:pt x="1937861" y="268129"/>
                    <a:pt x="1936909" y="266224"/>
                  </a:cubicBezTo>
                  <a:cubicBezTo>
                    <a:pt x="1936909" y="264319"/>
                    <a:pt x="1936909" y="262414"/>
                    <a:pt x="1936909" y="261461"/>
                  </a:cubicBezTo>
                  <a:cubicBezTo>
                    <a:pt x="1936909" y="256699"/>
                    <a:pt x="1936909" y="250984"/>
                    <a:pt x="1936909" y="246221"/>
                  </a:cubicBezTo>
                  <a:cubicBezTo>
                    <a:pt x="1936909" y="253841"/>
                    <a:pt x="1937861" y="263366"/>
                    <a:pt x="1938814" y="272891"/>
                  </a:cubicBezTo>
                  <a:close/>
                  <a:moveTo>
                    <a:pt x="1900714" y="338614"/>
                  </a:moveTo>
                  <a:cubicBezTo>
                    <a:pt x="1900714" y="336709"/>
                    <a:pt x="1900714" y="334804"/>
                    <a:pt x="1900714" y="333851"/>
                  </a:cubicBezTo>
                  <a:cubicBezTo>
                    <a:pt x="1901666" y="331946"/>
                    <a:pt x="1901666" y="330041"/>
                    <a:pt x="1902619" y="329089"/>
                  </a:cubicBezTo>
                  <a:cubicBezTo>
                    <a:pt x="1903571" y="328136"/>
                    <a:pt x="1904524" y="326231"/>
                    <a:pt x="1904524" y="325279"/>
                  </a:cubicBezTo>
                  <a:cubicBezTo>
                    <a:pt x="1902619" y="330041"/>
                    <a:pt x="1901666" y="333851"/>
                    <a:pt x="1900714" y="338614"/>
                  </a:cubicBezTo>
                  <a:close/>
                  <a:moveTo>
                    <a:pt x="1915954" y="436721"/>
                  </a:moveTo>
                  <a:cubicBezTo>
                    <a:pt x="1915954" y="435769"/>
                    <a:pt x="1915954" y="434816"/>
                    <a:pt x="1915954" y="433864"/>
                  </a:cubicBezTo>
                  <a:cubicBezTo>
                    <a:pt x="1915954" y="433864"/>
                    <a:pt x="1915954" y="434816"/>
                    <a:pt x="1916906" y="434816"/>
                  </a:cubicBezTo>
                  <a:cubicBezTo>
                    <a:pt x="1915954" y="435769"/>
                    <a:pt x="1915954" y="436721"/>
                    <a:pt x="1915954" y="436721"/>
                  </a:cubicBezTo>
                  <a:close/>
                  <a:moveTo>
                    <a:pt x="1920716" y="401479"/>
                  </a:moveTo>
                  <a:cubicBezTo>
                    <a:pt x="1920716" y="403384"/>
                    <a:pt x="1919764" y="405289"/>
                    <a:pt x="1919764" y="407194"/>
                  </a:cubicBezTo>
                  <a:cubicBezTo>
                    <a:pt x="1918811" y="406241"/>
                    <a:pt x="1918811" y="405289"/>
                    <a:pt x="1917859" y="404336"/>
                  </a:cubicBezTo>
                  <a:cubicBezTo>
                    <a:pt x="1918811" y="402431"/>
                    <a:pt x="1919764" y="400526"/>
                    <a:pt x="1919764" y="398621"/>
                  </a:cubicBezTo>
                  <a:cubicBezTo>
                    <a:pt x="1920716" y="399574"/>
                    <a:pt x="1920716" y="400526"/>
                    <a:pt x="1920716" y="401479"/>
                  </a:cubicBezTo>
                  <a:close/>
                  <a:moveTo>
                    <a:pt x="1917859" y="331946"/>
                  </a:moveTo>
                  <a:cubicBezTo>
                    <a:pt x="1918811" y="333851"/>
                    <a:pt x="1919764" y="335756"/>
                    <a:pt x="1919764" y="337661"/>
                  </a:cubicBezTo>
                  <a:cubicBezTo>
                    <a:pt x="1919764" y="337661"/>
                    <a:pt x="1919764" y="337661"/>
                    <a:pt x="1919764" y="337661"/>
                  </a:cubicBezTo>
                  <a:cubicBezTo>
                    <a:pt x="1919764" y="337661"/>
                    <a:pt x="1918811" y="338614"/>
                    <a:pt x="1918811" y="338614"/>
                  </a:cubicBezTo>
                  <a:cubicBezTo>
                    <a:pt x="1917859" y="339566"/>
                    <a:pt x="1916906" y="340519"/>
                    <a:pt x="1916906" y="342424"/>
                  </a:cubicBezTo>
                  <a:cubicBezTo>
                    <a:pt x="1916906" y="341471"/>
                    <a:pt x="1916906" y="341471"/>
                    <a:pt x="1916906" y="341471"/>
                  </a:cubicBezTo>
                  <a:cubicBezTo>
                    <a:pt x="1916906" y="341471"/>
                    <a:pt x="1916906" y="342424"/>
                    <a:pt x="1915954" y="344329"/>
                  </a:cubicBezTo>
                  <a:cubicBezTo>
                    <a:pt x="1915954" y="344329"/>
                    <a:pt x="1915001" y="345281"/>
                    <a:pt x="1915001" y="345281"/>
                  </a:cubicBezTo>
                  <a:cubicBezTo>
                    <a:pt x="1915954" y="340519"/>
                    <a:pt x="1916906" y="335756"/>
                    <a:pt x="1917859" y="331946"/>
                  </a:cubicBezTo>
                  <a:close/>
                  <a:moveTo>
                    <a:pt x="1919764" y="360521"/>
                  </a:moveTo>
                  <a:cubicBezTo>
                    <a:pt x="1919764" y="361474"/>
                    <a:pt x="1919764" y="362426"/>
                    <a:pt x="1919764" y="364331"/>
                  </a:cubicBezTo>
                  <a:cubicBezTo>
                    <a:pt x="1917859" y="367189"/>
                    <a:pt x="1916906" y="370999"/>
                    <a:pt x="1915001" y="373856"/>
                  </a:cubicBezTo>
                  <a:cubicBezTo>
                    <a:pt x="1913096" y="378619"/>
                    <a:pt x="1910239" y="383381"/>
                    <a:pt x="1908334" y="388144"/>
                  </a:cubicBezTo>
                  <a:cubicBezTo>
                    <a:pt x="1908334" y="388144"/>
                    <a:pt x="1907381" y="387191"/>
                    <a:pt x="1907381" y="387191"/>
                  </a:cubicBezTo>
                  <a:cubicBezTo>
                    <a:pt x="1907381" y="386239"/>
                    <a:pt x="1907381" y="386239"/>
                    <a:pt x="1907381" y="385286"/>
                  </a:cubicBezTo>
                  <a:cubicBezTo>
                    <a:pt x="1908334" y="383381"/>
                    <a:pt x="1909286" y="381476"/>
                    <a:pt x="1910239" y="380524"/>
                  </a:cubicBezTo>
                  <a:cubicBezTo>
                    <a:pt x="1913096" y="372904"/>
                    <a:pt x="1916906" y="366236"/>
                    <a:pt x="1919764" y="360521"/>
                  </a:cubicBezTo>
                  <a:close/>
                  <a:moveTo>
                    <a:pt x="1910239" y="299561"/>
                  </a:moveTo>
                  <a:cubicBezTo>
                    <a:pt x="1909286" y="301466"/>
                    <a:pt x="1909286" y="303371"/>
                    <a:pt x="1908334" y="305276"/>
                  </a:cubicBezTo>
                  <a:cubicBezTo>
                    <a:pt x="1908334" y="305276"/>
                    <a:pt x="1908334" y="305276"/>
                    <a:pt x="1908334" y="305276"/>
                  </a:cubicBezTo>
                  <a:cubicBezTo>
                    <a:pt x="1909286" y="302419"/>
                    <a:pt x="1910239" y="300514"/>
                    <a:pt x="1910239" y="299561"/>
                  </a:cubicBezTo>
                  <a:close/>
                  <a:moveTo>
                    <a:pt x="1906429" y="313849"/>
                  </a:moveTo>
                  <a:cubicBezTo>
                    <a:pt x="1907381" y="311944"/>
                    <a:pt x="1907381" y="310991"/>
                    <a:pt x="1908334" y="309086"/>
                  </a:cubicBezTo>
                  <a:cubicBezTo>
                    <a:pt x="1908334" y="309086"/>
                    <a:pt x="1908334" y="309086"/>
                    <a:pt x="1908334" y="310039"/>
                  </a:cubicBezTo>
                  <a:cubicBezTo>
                    <a:pt x="1907381" y="311944"/>
                    <a:pt x="1907381" y="313849"/>
                    <a:pt x="1906429" y="315754"/>
                  </a:cubicBezTo>
                  <a:cubicBezTo>
                    <a:pt x="1906429" y="315754"/>
                    <a:pt x="1905476" y="316706"/>
                    <a:pt x="1905476" y="316706"/>
                  </a:cubicBezTo>
                  <a:cubicBezTo>
                    <a:pt x="1905476" y="314801"/>
                    <a:pt x="1905476" y="314801"/>
                    <a:pt x="1906429" y="313849"/>
                  </a:cubicBezTo>
                  <a:close/>
                  <a:moveTo>
                    <a:pt x="1893094" y="259556"/>
                  </a:moveTo>
                  <a:cubicBezTo>
                    <a:pt x="1893094" y="258604"/>
                    <a:pt x="1894046" y="257651"/>
                    <a:pt x="1894046" y="256699"/>
                  </a:cubicBezTo>
                  <a:cubicBezTo>
                    <a:pt x="1894046" y="256699"/>
                    <a:pt x="1894999" y="256699"/>
                    <a:pt x="1894999" y="256699"/>
                  </a:cubicBezTo>
                  <a:cubicBezTo>
                    <a:pt x="1896904" y="257651"/>
                    <a:pt x="1897856" y="259556"/>
                    <a:pt x="1899761" y="260509"/>
                  </a:cubicBezTo>
                  <a:lnTo>
                    <a:pt x="1904524" y="275749"/>
                  </a:lnTo>
                  <a:cubicBezTo>
                    <a:pt x="1901666" y="283369"/>
                    <a:pt x="1898809" y="290036"/>
                    <a:pt x="1895951" y="297656"/>
                  </a:cubicBezTo>
                  <a:cubicBezTo>
                    <a:pt x="1894999" y="291941"/>
                    <a:pt x="1894999" y="286226"/>
                    <a:pt x="1894046" y="281464"/>
                  </a:cubicBezTo>
                  <a:cubicBezTo>
                    <a:pt x="1894046" y="277654"/>
                    <a:pt x="1893094" y="273844"/>
                    <a:pt x="1892141" y="270034"/>
                  </a:cubicBezTo>
                  <a:cubicBezTo>
                    <a:pt x="1892141" y="270986"/>
                    <a:pt x="1893094" y="271939"/>
                    <a:pt x="1893094" y="272891"/>
                  </a:cubicBezTo>
                  <a:cubicBezTo>
                    <a:pt x="1893094" y="269081"/>
                    <a:pt x="1892141" y="264319"/>
                    <a:pt x="1893094" y="259556"/>
                  </a:cubicBezTo>
                  <a:close/>
                  <a:moveTo>
                    <a:pt x="1841659" y="297656"/>
                  </a:moveTo>
                  <a:cubicBezTo>
                    <a:pt x="1841659" y="303371"/>
                    <a:pt x="1840706" y="308134"/>
                    <a:pt x="1840706" y="313849"/>
                  </a:cubicBezTo>
                  <a:cubicBezTo>
                    <a:pt x="1839754" y="307181"/>
                    <a:pt x="1839754" y="300514"/>
                    <a:pt x="1838801" y="294799"/>
                  </a:cubicBezTo>
                  <a:cubicBezTo>
                    <a:pt x="1838801" y="292894"/>
                    <a:pt x="1838801" y="291941"/>
                    <a:pt x="1838801" y="290989"/>
                  </a:cubicBezTo>
                  <a:cubicBezTo>
                    <a:pt x="1839754" y="292894"/>
                    <a:pt x="1840706" y="294799"/>
                    <a:pt x="1841659" y="297656"/>
                  </a:cubicBezTo>
                  <a:close/>
                  <a:moveTo>
                    <a:pt x="1822609" y="363379"/>
                  </a:moveTo>
                  <a:cubicBezTo>
                    <a:pt x="1823561" y="359569"/>
                    <a:pt x="1825466" y="356711"/>
                    <a:pt x="1826419" y="353854"/>
                  </a:cubicBezTo>
                  <a:cubicBezTo>
                    <a:pt x="1826419" y="357664"/>
                    <a:pt x="1826419" y="360521"/>
                    <a:pt x="1827371" y="364331"/>
                  </a:cubicBezTo>
                  <a:cubicBezTo>
                    <a:pt x="1826419" y="365284"/>
                    <a:pt x="1824514" y="367189"/>
                    <a:pt x="1823561" y="368141"/>
                  </a:cubicBezTo>
                  <a:cubicBezTo>
                    <a:pt x="1822609" y="366236"/>
                    <a:pt x="1822609" y="365284"/>
                    <a:pt x="1822609" y="363379"/>
                  </a:cubicBezTo>
                  <a:close/>
                  <a:moveTo>
                    <a:pt x="1828324" y="403384"/>
                  </a:moveTo>
                  <a:cubicBezTo>
                    <a:pt x="1828324" y="402431"/>
                    <a:pt x="1827371" y="401479"/>
                    <a:pt x="1827371" y="400526"/>
                  </a:cubicBezTo>
                  <a:cubicBezTo>
                    <a:pt x="1826419" y="393859"/>
                    <a:pt x="1825466" y="387191"/>
                    <a:pt x="1825466" y="381476"/>
                  </a:cubicBezTo>
                  <a:cubicBezTo>
                    <a:pt x="1826419" y="379571"/>
                    <a:pt x="1827371" y="378619"/>
                    <a:pt x="1828324" y="377666"/>
                  </a:cubicBezTo>
                  <a:cubicBezTo>
                    <a:pt x="1828324" y="385286"/>
                    <a:pt x="1828324" y="391954"/>
                    <a:pt x="1829276" y="399574"/>
                  </a:cubicBezTo>
                  <a:cubicBezTo>
                    <a:pt x="1828324" y="400526"/>
                    <a:pt x="1828324" y="402431"/>
                    <a:pt x="1828324" y="403384"/>
                  </a:cubicBezTo>
                  <a:close/>
                  <a:moveTo>
                    <a:pt x="1833086" y="339566"/>
                  </a:moveTo>
                  <a:cubicBezTo>
                    <a:pt x="1833086" y="339566"/>
                    <a:pt x="1833086" y="339566"/>
                    <a:pt x="1833086" y="339566"/>
                  </a:cubicBezTo>
                  <a:cubicBezTo>
                    <a:pt x="1833086" y="339566"/>
                    <a:pt x="1833086" y="340519"/>
                    <a:pt x="1833086" y="340519"/>
                  </a:cubicBezTo>
                  <a:cubicBezTo>
                    <a:pt x="1833086" y="340519"/>
                    <a:pt x="1833086" y="339566"/>
                    <a:pt x="1833086" y="339566"/>
                  </a:cubicBezTo>
                  <a:close/>
                  <a:moveTo>
                    <a:pt x="1824514" y="272891"/>
                  </a:moveTo>
                  <a:cubicBezTo>
                    <a:pt x="1824514" y="269081"/>
                    <a:pt x="1824514" y="266224"/>
                    <a:pt x="1824514" y="263366"/>
                  </a:cubicBezTo>
                  <a:cubicBezTo>
                    <a:pt x="1827371" y="269081"/>
                    <a:pt x="1831181" y="276701"/>
                    <a:pt x="1835944" y="285274"/>
                  </a:cubicBezTo>
                  <a:cubicBezTo>
                    <a:pt x="1835944" y="288131"/>
                    <a:pt x="1835944" y="290989"/>
                    <a:pt x="1834991" y="294799"/>
                  </a:cubicBezTo>
                  <a:cubicBezTo>
                    <a:pt x="1834991" y="302419"/>
                    <a:pt x="1834039" y="310991"/>
                    <a:pt x="1834039" y="320516"/>
                  </a:cubicBezTo>
                  <a:cubicBezTo>
                    <a:pt x="1834039" y="323374"/>
                    <a:pt x="1834039" y="327184"/>
                    <a:pt x="1834039" y="330994"/>
                  </a:cubicBezTo>
                  <a:cubicBezTo>
                    <a:pt x="1834039" y="330994"/>
                    <a:pt x="1833086" y="330994"/>
                    <a:pt x="1833086" y="331946"/>
                  </a:cubicBezTo>
                  <a:cubicBezTo>
                    <a:pt x="1833086" y="331946"/>
                    <a:pt x="1832134" y="332899"/>
                    <a:pt x="1832134" y="332899"/>
                  </a:cubicBezTo>
                  <a:cubicBezTo>
                    <a:pt x="1830229" y="326231"/>
                    <a:pt x="1829276" y="321469"/>
                    <a:pt x="1827371" y="316706"/>
                  </a:cubicBezTo>
                  <a:cubicBezTo>
                    <a:pt x="1825466" y="310991"/>
                    <a:pt x="1823561" y="306229"/>
                    <a:pt x="1822609" y="303371"/>
                  </a:cubicBezTo>
                  <a:cubicBezTo>
                    <a:pt x="1823561" y="292894"/>
                    <a:pt x="1823561" y="282416"/>
                    <a:pt x="1824514" y="272891"/>
                  </a:cubicBezTo>
                  <a:close/>
                  <a:moveTo>
                    <a:pt x="1822609" y="309086"/>
                  </a:moveTo>
                  <a:cubicBezTo>
                    <a:pt x="1822609" y="311944"/>
                    <a:pt x="1823561" y="314801"/>
                    <a:pt x="1823561" y="317659"/>
                  </a:cubicBezTo>
                  <a:cubicBezTo>
                    <a:pt x="1824514" y="323374"/>
                    <a:pt x="1824514" y="330994"/>
                    <a:pt x="1825466" y="338614"/>
                  </a:cubicBezTo>
                  <a:cubicBezTo>
                    <a:pt x="1825466" y="339566"/>
                    <a:pt x="1825466" y="340519"/>
                    <a:pt x="1825466" y="340519"/>
                  </a:cubicBezTo>
                  <a:cubicBezTo>
                    <a:pt x="1823561" y="342424"/>
                    <a:pt x="1822609" y="345281"/>
                    <a:pt x="1820704" y="348139"/>
                  </a:cubicBezTo>
                  <a:cubicBezTo>
                    <a:pt x="1820704" y="343376"/>
                    <a:pt x="1820704" y="337661"/>
                    <a:pt x="1820704" y="332899"/>
                  </a:cubicBezTo>
                  <a:cubicBezTo>
                    <a:pt x="1820704" y="332899"/>
                    <a:pt x="1820704" y="332899"/>
                    <a:pt x="1820704" y="331946"/>
                  </a:cubicBezTo>
                  <a:cubicBezTo>
                    <a:pt x="1821656" y="324326"/>
                    <a:pt x="1821656" y="316706"/>
                    <a:pt x="1822609" y="309086"/>
                  </a:cubicBezTo>
                  <a:close/>
                  <a:moveTo>
                    <a:pt x="1763554" y="411956"/>
                  </a:moveTo>
                  <a:cubicBezTo>
                    <a:pt x="1763554" y="410051"/>
                    <a:pt x="1762601" y="408146"/>
                    <a:pt x="1762601" y="406241"/>
                  </a:cubicBezTo>
                  <a:cubicBezTo>
                    <a:pt x="1762601" y="403384"/>
                    <a:pt x="1761649" y="400526"/>
                    <a:pt x="1761649" y="397669"/>
                  </a:cubicBezTo>
                  <a:cubicBezTo>
                    <a:pt x="1761649" y="397669"/>
                    <a:pt x="1761649" y="397669"/>
                    <a:pt x="1761649" y="397669"/>
                  </a:cubicBezTo>
                  <a:cubicBezTo>
                    <a:pt x="1762601" y="398621"/>
                    <a:pt x="1763554" y="399574"/>
                    <a:pt x="1764506" y="400526"/>
                  </a:cubicBezTo>
                  <a:cubicBezTo>
                    <a:pt x="1764506" y="404336"/>
                    <a:pt x="1764506" y="408146"/>
                    <a:pt x="1763554" y="411956"/>
                  </a:cubicBezTo>
                  <a:close/>
                  <a:moveTo>
                    <a:pt x="1766411" y="379571"/>
                  </a:moveTo>
                  <a:cubicBezTo>
                    <a:pt x="1766411" y="379571"/>
                    <a:pt x="1766411" y="379571"/>
                    <a:pt x="1766411" y="379571"/>
                  </a:cubicBezTo>
                  <a:cubicBezTo>
                    <a:pt x="1766411" y="378619"/>
                    <a:pt x="1766411" y="377666"/>
                    <a:pt x="1766411" y="377666"/>
                  </a:cubicBezTo>
                  <a:cubicBezTo>
                    <a:pt x="1766411" y="378619"/>
                    <a:pt x="1766411" y="379571"/>
                    <a:pt x="1766411" y="379571"/>
                  </a:cubicBezTo>
                  <a:close/>
                  <a:moveTo>
                    <a:pt x="1792129" y="251936"/>
                  </a:moveTo>
                  <a:lnTo>
                    <a:pt x="1802606" y="219551"/>
                  </a:lnTo>
                  <a:cubicBezTo>
                    <a:pt x="1802606" y="219551"/>
                    <a:pt x="1802606" y="219551"/>
                    <a:pt x="1802606" y="219551"/>
                  </a:cubicBezTo>
                  <a:cubicBezTo>
                    <a:pt x="1802606" y="237649"/>
                    <a:pt x="1801654" y="255746"/>
                    <a:pt x="1801654" y="274796"/>
                  </a:cubicBezTo>
                  <a:cubicBezTo>
                    <a:pt x="1801654" y="291941"/>
                    <a:pt x="1800701" y="309086"/>
                    <a:pt x="1800701" y="327184"/>
                  </a:cubicBezTo>
                  <a:cubicBezTo>
                    <a:pt x="1798796" y="321469"/>
                    <a:pt x="1796891" y="315754"/>
                    <a:pt x="1794034" y="310991"/>
                  </a:cubicBezTo>
                  <a:cubicBezTo>
                    <a:pt x="1792129" y="305276"/>
                    <a:pt x="1790224" y="299561"/>
                    <a:pt x="1788319" y="294799"/>
                  </a:cubicBezTo>
                  <a:cubicBezTo>
                    <a:pt x="1788319" y="293846"/>
                    <a:pt x="1787366" y="292894"/>
                    <a:pt x="1787366" y="292894"/>
                  </a:cubicBezTo>
                  <a:cubicBezTo>
                    <a:pt x="1787366" y="290989"/>
                    <a:pt x="1786414" y="289084"/>
                    <a:pt x="1786414" y="287179"/>
                  </a:cubicBezTo>
                  <a:cubicBezTo>
                    <a:pt x="1787366" y="284321"/>
                    <a:pt x="1788319" y="282416"/>
                    <a:pt x="1788319" y="279559"/>
                  </a:cubicBezTo>
                  <a:cubicBezTo>
                    <a:pt x="1788319" y="278606"/>
                    <a:pt x="1788319" y="277654"/>
                    <a:pt x="1787366" y="275749"/>
                  </a:cubicBezTo>
                  <a:cubicBezTo>
                    <a:pt x="1787366" y="274796"/>
                    <a:pt x="1785461" y="274796"/>
                    <a:pt x="1785461" y="274796"/>
                  </a:cubicBezTo>
                  <a:cubicBezTo>
                    <a:pt x="1785461" y="274796"/>
                    <a:pt x="1785461" y="274796"/>
                    <a:pt x="1785461" y="274796"/>
                  </a:cubicBezTo>
                  <a:lnTo>
                    <a:pt x="1792129" y="251936"/>
                  </a:lnTo>
                  <a:close/>
                  <a:moveTo>
                    <a:pt x="1785461" y="276701"/>
                  </a:moveTo>
                  <a:cubicBezTo>
                    <a:pt x="1785461" y="276701"/>
                    <a:pt x="1786414" y="277654"/>
                    <a:pt x="1786414" y="278606"/>
                  </a:cubicBezTo>
                  <a:cubicBezTo>
                    <a:pt x="1786414" y="279559"/>
                    <a:pt x="1786414" y="281464"/>
                    <a:pt x="1786414" y="282416"/>
                  </a:cubicBezTo>
                  <a:cubicBezTo>
                    <a:pt x="1785461" y="280511"/>
                    <a:pt x="1785461" y="278606"/>
                    <a:pt x="1785461" y="276701"/>
                  </a:cubicBezTo>
                  <a:cubicBezTo>
                    <a:pt x="1785461" y="276701"/>
                    <a:pt x="1785461" y="276701"/>
                    <a:pt x="1785461" y="276701"/>
                  </a:cubicBezTo>
                  <a:close/>
                  <a:moveTo>
                    <a:pt x="1776889" y="330994"/>
                  </a:moveTo>
                  <a:cubicBezTo>
                    <a:pt x="1779746" y="345281"/>
                    <a:pt x="1782604" y="360521"/>
                    <a:pt x="1785461" y="376714"/>
                  </a:cubicBezTo>
                  <a:cubicBezTo>
                    <a:pt x="1785461" y="379571"/>
                    <a:pt x="1786414" y="382429"/>
                    <a:pt x="1786414" y="385286"/>
                  </a:cubicBezTo>
                  <a:cubicBezTo>
                    <a:pt x="1785461" y="384334"/>
                    <a:pt x="1785461" y="383381"/>
                    <a:pt x="1784509" y="382429"/>
                  </a:cubicBezTo>
                  <a:cubicBezTo>
                    <a:pt x="1785461" y="377666"/>
                    <a:pt x="1785461" y="374809"/>
                    <a:pt x="1785461" y="374809"/>
                  </a:cubicBezTo>
                  <a:cubicBezTo>
                    <a:pt x="1785461" y="374809"/>
                    <a:pt x="1784509" y="376714"/>
                    <a:pt x="1783556" y="380524"/>
                  </a:cubicBezTo>
                  <a:cubicBezTo>
                    <a:pt x="1781651" y="376714"/>
                    <a:pt x="1778794" y="373856"/>
                    <a:pt x="1776889" y="370999"/>
                  </a:cubicBezTo>
                  <a:cubicBezTo>
                    <a:pt x="1776889" y="357664"/>
                    <a:pt x="1776889" y="346234"/>
                    <a:pt x="1776889" y="337661"/>
                  </a:cubicBezTo>
                  <a:cubicBezTo>
                    <a:pt x="1775936" y="334804"/>
                    <a:pt x="1775936" y="332899"/>
                    <a:pt x="1776889" y="330994"/>
                  </a:cubicBezTo>
                  <a:close/>
                  <a:moveTo>
                    <a:pt x="1755934" y="211931"/>
                  </a:moveTo>
                  <a:cubicBezTo>
                    <a:pt x="1756886" y="215741"/>
                    <a:pt x="1758791" y="223361"/>
                    <a:pt x="1761649" y="233839"/>
                  </a:cubicBezTo>
                  <a:cubicBezTo>
                    <a:pt x="1761649" y="234791"/>
                    <a:pt x="1762601" y="236696"/>
                    <a:pt x="1762601" y="238601"/>
                  </a:cubicBezTo>
                  <a:cubicBezTo>
                    <a:pt x="1761649" y="237649"/>
                    <a:pt x="1761649" y="235744"/>
                    <a:pt x="1760696" y="234791"/>
                  </a:cubicBezTo>
                  <a:cubicBezTo>
                    <a:pt x="1759744" y="232886"/>
                    <a:pt x="1759744" y="230981"/>
                    <a:pt x="1759744" y="230981"/>
                  </a:cubicBezTo>
                  <a:cubicBezTo>
                    <a:pt x="1759744" y="230981"/>
                    <a:pt x="1759744" y="231934"/>
                    <a:pt x="1759744" y="232886"/>
                  </a:cubicBezTo>
                  <a:cubicBezTo>
                    <a:pt x="1758791" y="230981"/>
                    <a:pt x="1757839" y="229076"/>
                    <a:pt x="1756886" y="227171"/>
                  </a:cubicBezTo>
                  <a:cubicBezTo>
                    <a:pt x="1755934" y="226219"/>
                    <a:pt x="1755934" y="225266"/>
                    <a:pt x="1754981" y="223361"/>
                  </a:cubicBezTo>
                  <a:cubicBezTo>
                    <a:pt x="1755934" y="219551"/>
                    <a:pt x="1755934" y="215741"/>
                    <a:pt x="1755934" y="211931"/>
                  </a:cubicBezTo>
                  <a:close/>
                  <a:moveTo>
                    <a:pt x="1754981" y="232886"/>
                  </a:moveTo>
                  <a:cubicBezTo>
                    <a:pt x="1754981" y="233839"/>
                    <a:pt x="1755934" y="234791"/>
                    <a:pt x="1755934" y="235744"/>
                  </a:cubicBezTo>
                  <a:cubicBezTo>
                    <a:pt x="1755934" y="236696"/>
                    <a:pt x="1754981" y="237649"/>
                    <a:pt x="1754981" y="240506"/>
                  </a:cubicBezTo>
                  <a:cubicBezTo>
                    <a:pt x="1754981" y="237649"/>
                    <a:pt x="1754981" y="234791"/>
                    <a:pt x="1754981" y="232886"/>
                  </a:cubicBezTo>
                  <a:close/>
                  <a:moveTo>
                    <a:pt x="1754029" y="281464"/>
                  </a:moveTo>
                  <a:cubicBezTo>
                    <a:pt x="1754029" y="270986"/>
                    <a:pt x="1754029" y="261461"/>
                    <a:pt x="1754981" y="252889"/>
                  </a:cubicBezTo>
                  <a:cubicBezTo>
                    <a:pt x="1755934" y="244316"/>
                    <a:pt x="1756886" y="238601"/>
                    <a:pt x="1756886" y="236696"/>
                  </a:cubicBezTo>
                  <a:cubicBezTo>
                    <a:pt x="1758791" y="242411"/>
                    <a:pt x="1761649" y="250031"/>
                    <a:pt x="1763554" y="256699"/>
                  </a:cubicBezTo>
                  <a:cubicBezTo>
                    <a:pt x="1764506" y="265271"/>
                    <a:pt x="1766411" y="274796"/>
                    <a:pt x="1768316" y="286226"/>
                  </a:cubicBezTo>
                  <a:cubicBezTo>
                    <a:pt x="1763554" y="298609"/>
                    <a:pt x="1758791" y="310991"/>
                    <a:pt x="1754981" y="322421"/>
                  </a:cubicBezTo>
                  <a:cubicBezTo>
                    <a:pt x="1754981" y="320516"/>
                    <a:pt x="1754981" y="318611"/>
                    <a:pt x="1754029" y="317659"/>
                  </a:cubicBezTo>
                  <a:cubicBezTo>
                    <a:pt x="1754029" y="317659"/>
                    <a:pt x="1754029" y="316706"/>
                    <a:pt x="1754029" y="316706"/>
                  </a:cubicBezTo>
                  <a:cubicBezTo>
                    <a:pt x="1754029" y="303371"/>
                    <a:pt x="1754029" y="291941"/>
                    <a:pt x="1754029" y="281464"/>
                  </a:cubicBezTo>
                  <a:close/>
                  <a:moveTo>
                    <a:pt x="1687354" y="295751"/>
                  </a:moveTo>
                  <a:cubicBezTo>
                    <a:pt x="1686401" y="302419"/>
                    <a:pt x="1685449" y="309086"/>
                    <a:pt x="1685449" y="314801"/>
                  </a:cubicBezTo>
                  <a:cubicBezTo>
                    <a:pt x="1685449" y="318611"/>
                    <a:pt x="1684496" y="321469"/>
                    <a:pt x="1684496" y="325279"/>
                  </a:cubicBezTo>
                  <a:cubicBezTo>
                    <a:pt x="1683544" y="320516"/>
                    <a:pt x="1682591" y="316706"/>
                    <a:pt x="1681639" y="311944"/>
                  </a:cubicBezTo>
                  <a:cubicBezTo>
                    <a:pt x="1681639" y="310039"/>
                    <a:pt x="1681639" y="309086"/>
                    <a:pt x="1681639" y="309086"/>
                  </a:cubicBezTo>
                  <a:cubicBezTo>
                    <a:pt x="1681639" y="309086"/>
                    <a:pt x="1681639" y="309086"/>
                    <a:pt x="1681639" y="310039"/>
                  </a:cubicBezTo>
                  <a:cubicBezTo>
                    <a:pt x="1681639" y="309086"/>
                    <a:pt x="1680686" y="307181"/>
                    <a:pt x="1680686" y="306229"/>
                  </a:cubicBezTo>
                  <a:cubicBezTo>
                    <a:pt x="1680686" y="305276"/>
                    <a:pt x="1680686" y="304324"/>
                    <a:pt x="1681639" y="303371"/>
                  </a:cubicBezTo>
                  <a:cubicBezTo>
                    <a:pt x="1682591" y="300514"/>
                    <a:pt x="1683544" y="297656"/>
                    <a:pt x="1684496" y="295751"/>
                  </a:cubicBezTo>
                  <a:cubicBezTo>
                    <a:pt x="1686401" y="290989"/>
                    <a:pt x="1687354" y="287179"/>
                    <a:pt x="1689259" y="282416"/>
                  </a:cubicBezTo>
                  <a:cubicBezTo>
                    <a:pt x="1687354" y="287179"/>
                    <a:pt x="1687354" y="291941"/>
                    <a:pt x="1687354" y="295751"/>
                  </a:cubicBezTo>
                  <a:close/>
                  <a:moveTo>
                    <a:pt x="1678781" y="276701"/>
                  </a:moveTo>
                  <a:cubicBezTo>
                    <a:pt x="1680686" y="266224"/>
                    <a:pt x="1682591" y="255746"/>
                    <a:pt x="1684496" y="245269"/>
                  </a:cubicBezTo>
                  <a:cubicBezTo>
                    <a:pt x="1685449" y="250031"/>
                    <a:pt x="1686401" y="254794"/>
                    <a:pt x="1686401" y="259556"/>
                  </a:cubicBezTo>
                  <a:cubicBezTo>
                    <a:pt x="1686401" y="262414"/>
                    <a:pt x="1686401" y="265271"/>
                    <a:pt x="1686401" y="268129"/>
                  </a:cubicBezTo>
                  <a:cubicBezTo>
                    <a:pt x="1686401" y="269081"/>
                    <a:pt x="1686401" y="270034"/>
                    <a:pt x="1686401" y="270986"/>
                  </a:cubicBezTo>
                  <a:cubicBezTo>
                    <a:pt x="1682591" y="276701"/>
                    <a:pt x="1679734" y="284321"/>
                    <a:pt x="1675924" y="292894"/>
                  </a:cubicBezTo>
                  <a:cubicBezTo>
                    <a:pt x="1675924" y="292894"/>
                    <a:pt x="1675924" y="291941"/>
                    <a:pt x="1675924" y="291941"/>
                  </a:cubicBezTo>
                  <a:cubicBezTo>
                    <a:pt x="1676876" y="287179"/>
                    <a:pt x="1677829" y="283369"/>
                    <a:pt x="1678781" y="278606"/>
                  </a:cubicBezTo>
                  <a:cubicBezTo>
                    <a:pt x="1679734" y="276701"/>
                    <a:pt x="1679734" y="275749"/>
                    <a:pt x="1679734" y="275749"/>
                  </a:cubicBezTo>
                  <a:cubicBezTo>
                    <a:pt x="1679734" y="275749"/>
                    <a:pt x="1679734" y="275749"/>
                    <a:pt x="1678781" y="276701"/>
                  </a:cubicBezTo>
                  <a:close/>
                  <a:moveTo>
                    <a:pt x="1677829" y="199549"/>
                  </a:moveTo>
                  <a:cubicBezTo>
                    <a:pt x="1677829" y="201454"/>
                    <a:pt x="1677829" y="202406"/>
                    <a:pt x="1678781" y="204311"/>
                  </a:cubicBezTo>
                  <a:cubicBezTo>
                    <a:pt x="1677829" y="207169"/>
                    <a:pt x="1676876" y="210979"/>
                    <a:pt x="1676876" y="213836"/>
                  </a:cubicBezTo>
                  <a:cubicBezTo>
                    <a:pt x="1676876" y="209074"/>
                    <a:pt x="1676876" y="204311"/>
                    <a:pt x="1677829" y="199549"/>
                  </a:cubicBezTo>
                  <a:close/>
                  <a:moveTo>
                    <a:pt x="1640681" y="226219"/>
                  </a:moveTo>
                  <a:cubicBezTo>
                    <a:pt x="1643539" y="233839"/>
                    <a:pt x="1646396" y="244316"/>
                    <a:pt x="1649254" y="254794"/>
                  </a:cubicBezTo>
                  <a:cubicBezTo>
                    <a:pt x="1651159" y="260509"/>
                    <a:pt x="1652111" y="267176"/>
                    <a:pt x="1654016" y="274796"/>
                  </a:cubicBezTo>
                  <a:cubicBezTo>
                    <a:pt x="1654016" y="276701"/>
                    <a:pt x="1653064" y="279559"/>
                    <a:pt x="1653064" y="281464"/>
                  </a:cubicBezTo>
                  <a:cubicBezTo>
                    <a:pt x="1653064" y="280511"/>
                    <a:pt x="1652111" y="279559"/>
                    <a:pt x="1652111" y="279559"/>
                  </a:cubicBezTo>
                  <a:cubicBezTo>
                    <a:pt x="1652111" y="279559"/>
                    <a:pt x="1652111" y="280511"/>
                    <a:pt x="1652111" y="282416"/>
                  </a:cubicBezTo>
                  <a:cubicBezTo>
                    <a:pt x="1651159" y="288131"/>
                    <a:pt x="1650206" y="293846"/>
                    <a:pt x="1649254" y="300514"/>
                  </a:cubicBezTo>
                  <a:cubicBezTo>
                    <a:pt x="1646396" y="293846"/>
                    <a:pt x="1644491" y="288131"/>
                    <a:pt x="1641634" y="281464"/>
                  </a:cubicBezTo>
                  <a:cubicBezTo>
                    <a:pt x="1642586" y="280511"/>
                    <a:pt x="1642586" y="280511"/>
                    <a:pt x="1643539" y="279559"/>
                  </a:cubicBezTo>
                  <a:cubicBezTo>
                    <a:pt x="1644491" y="278606"/>
                    <a:pt x="1646396" y="277654"/>
                    <a:pt x="1647349" y="277654"/>
                  </a:cubicBezTo>
                  <a:cubicBezTo>
                    <a:pt x="1651159" y="274796"/>
                    <a:pt x="1654016" y="273844"/>
                    <a:pt x="1654016" y="273844"/>
                  </a:cubicBezTo>
                  <a:cubicBezTo>
                    <a:pt x="1654016" y="273844"/>
                    <a:pt x="1652111" y="274796"/>
                    <a:pt x="1647349" y="276701"/>
                  </a:cubicBezTo>
                  <a:cubicBezTo>
                    <a:pt x="1646396" y="277654"/>
                    <a:pt x="1645444" y="277654"/>
                    <a:pt x="1643539" y="278606"/>
                  </a:cubicBezTo>
                  <a:cubicBezTo>
                    <a:pt x="1643539" y="278606"/>
                    <a:pt x="1642586" y="279559"/>
                    <a:pt x="1642586" y="279559"/>
                  </a:cubicBezTo>
                  <a:cubicBezTo>
                    <a:pt x="1642586" y="271939"/>
                    <a:pt x="1642586" y="263366"/>
                    <a:pt x="1642586" y="255746"/>
                  </a:cubicBezTo>
                  <a:cubicBezTo>
                    <a:pt x="1640681" y="246221"/>
                    <a:pt x="1640681" y="235744"/>
                    <a:pt x="1640681" y="226219"/>
                  </a:cubicBezTo>
                  <a:cubicBezTo>
                    <a:pt x="1639729" y="226219"/>
                    <a:pt x="1639729" y="226219"/>
                    <a:pt x="1640681" y="226219"/>
                  </a:cubicBezTo>
                  <a:close/>
                  <a:moveTo>
                    <a:pt x="1620679" y="348139"/>
                  </a:moveTo>
                  <a:cubicBezTo>
                    <a:pt x="1620679" y="349091"/>
                    <a:pt x="1620679" y="350044"/>
                    <a:pt x="1620679" y="351949"/>
                  </a:cubicBezTo>
                  <a:cubicBezTo>
                    <a:pt x="1620679" y="352901"/>
                    <a:pt x="1620679" y="353854"/>
                    <a:pt x="1620679" y="353854"/>
                  </a:cubicBezTo>
                  <a:cubicBezTo>
                    <a:pt x="1619726" y="354806"/>
                    <a:pt x="1619726" y="355759"/>
                    <a:pt x="1618774" y="356711"/>
                  </a:cubicBezTo>
                  <a:cubicBezTo>
                    <a:pt x="1619726" y="353854"/>
                    <a:pt x="1620679" y="350044"/>
                    <a:pt x="1620679" y="348139"/>
                  </a:cubicBezTo>
                  <a:close/>
                  <a:moveTo>
                    <a:pt x="1618774" y="311944"/>
                  </a:moveTo>
                  <a:cubicBezTo>
                    <a:pt x="1617821" y="312896"/>
                    <a:pt x="1617821" y="313849"/>
                    <a:pt x="1616869" y="315754"/>
                  </a:cubicBezTo>
                  <a:cubicBezTo>
                    <a:pt x="1613059" y="323374"/>
                    <a:pt x="1609249" y="332899"/>
                    <a:pt x="1605439" y="343376"/>
                  </a:cubicBezTo>
                  <a:cubicBezTo>
                    <a:pt x="1604486" y="345281"/>
                    <a:pt x="1603534" y="348139"/>
                    <a:pt x="1602581" y="350996"/>
                  </a:cubicBezTo>
                  <a:cubicBezTo>
                    <a:pt x="1602581" y="348139"/>
                    <a:pt x="1602581" y="345281"/>
                    <a:pt x="1602581" y="342424"/>
                  </a:cubicBezTo>
                  <a:cubicBezTo>
                    <a:pt x="1605439" y="334804"/>
                    <a:pt x="1609249" y="328136"/>
                    <a:pt x="1613059" y="321469"/>
                  </a:cubicBezTo>
                  <a:cubicBezTo>
                    <a:pt x="1614964" y="317659"/>
                    <a:pt x="1617821" y="313849"/>
                    <a:pt x="1619726" y="310039"/>
                  </a:cubicBezTo>
                  <a:cubicBezTo>
                    <a:pt x="1618774" y="310991"/>
                    <a:pt x="1618774" y="310991"/>
                    <a:pt x="1618774" y="311944"/>
                  </a:cubicBezTo>
                  <a:close/>
                  <a:moveTo>
                    <a:pt x="1610201" y="269081"/>
                  </a:moveTo>
                  <a:cubicBezTo>
                    <a:pt x="1612106" y="265271"/>
                    <a:pt x="1613059" y="261461"/>
                    <a:pt x="1614011" y="258604"/>
                  </a:cubicBezTo>
                  <a:cubicBezTo>
                    <a:pt x="1614964" y="256699"/>
                    <a:pt x="1615916" y="254794"/>
                    <a:pt x="1616869" y="252889"/>
                  </a:cubicBezTo>
                  <a:cubicBezTo>
                    <a:pt x="1616869" y="264319"/>
                    <a:pt x="1617821" y="277654"/>
                    <a:pt x="1617821" y="292894"/>
                  </a:cubicBezTo>
                  <a:cubicBezTo>
                    <a:pt x="1617821" y="292894"/>
                    <a:pt x="1617821" y="293846"/>
                    <a:pt x="1617821" y="293846"/>
                  </a:cubicBezTo>
                  <a:cubicBezTo>
                    <a:pt x="1616869" y="291941"/>
                    <a:pt x="1615916" y="290036"/>
                    <a:pt x="1614011" y="289084"/>
                  </a:cubicBezTo>
                  <a:cubicBezTo>
                    <a:pt x="1611154" y="284321"/>
                    <a:pt x="1608296" y="280511"/>
                    <a:pt x="1606391" y="277654"/>
                  </a:cubicBezTo>
                  <a:cubicBezTo>
                    <a:pt x="1608296" y="274796"/>
                    <a:pt x="1609249" y="271939"/>
                    <a:pt x="1610201" y="269081"/>
                  </a:cubicBezTo>
                  <a:close/>
                  <a:moveTo>
                    <a:pt x="1600676" y="297656"/>
                  </a:moveTo>
                  <a:cubicBezTo>
                    <a:pt x="1602581" y="290989"/>
                    <a:pt x="1604486" y="285274"/>
                    <a:pt x="1606391" y="279559"/>
                  </a:cubicBezTo>
                  <a:cubicBezTo>
                    <a:pt x="1607344" y="282416"/>
                    <a:pt x="1609249" y="286226"/>
                    <a:pt x="1611154" y="290989"/>
                  </a:cubicBezTo>
                  <a:cubicBezTo>
                    <a:pt x="1613059" y="294799"/>
                    <a:pt x="1614964" y="298609"/>
                    <a:pt x="1616869" y="303371"/>
                  </a:cubicBezTo>
                  <a:cubicBezTo>
                    <a:pt x="1613059" y="307181"/>
                    <a:pt x="1610201" y="312896"/>
                    <a:pt x="1606391" y="317659"/>
                  </a:cubicBezTo>
                  <a:cubicBezTo>
                    <a:pt x="1604486" y="320516"/>
                    <a:pt x="1602581" y="322421"/>
                    <a:pt x="1601629" y="325279"/>
                  </a:cubicBezTo>
                  <a:cubicBezTo>
                    <a:pt x="1601629" y="323374"/>
                    <a:pt x="1601629" y="321469"/>
                    <a:pt x="1600676" y="319564"/>
                  </a:cubicBezTo>
                  <a:cubicBezTo>
                    <a:pt x="1600676" y="314801"/>
                    <a:pt x="1599724" y="310039"/>
                    <a:pt x="1599724" y="305276"/>
                  </a:cubicBezTo>
                  <a:cubicBezTo>
                    <a:pt x="1599724" y="302419"/>
                    <a:pt x="1600676" y="300514"/>
                    <a:pt x="1600676" y="297656"/>
                  </a:cubicBezTo>
                  <a:close/>
                  <a:moveTo>
                    <a:pt x="1567339" y="315754"/>
                  </a:moveTo>
                  <a:cubicBezTo>
                    <a:pt x="1567339" y="320516"/>
                    <a:pt x="1568291" y="325279"/>
                    <a:pt x="1568291" y="330041"/>
                  </a:cubicBezTo>
                  <a:cubicBezTo>
                    <a:pt x="1567339" y="326231"/>
                    <a:pt x="1567339" y="323374"/>
                    <a:pt x="1566386" y="320516"/>
                  </a:cubicBezTo>
                  <a:cubicBezTo>
                    <a:pt x="1567339" y="319564"/>
                    <a:pt x="1567339" y="317659"/>
                    <a:pt x="1567339" y="315754"/>
                  </a:cubicBezTo>
                  <a:close/>
                  <a:moveTo>
                    <a:pt x="1547336" y="265271"/>
                  </a:moveTo>
                  <a:cubicBezTo>
                    <a:pt x="1547336" y="269081"/>
                    <a:pt x="1546384" y="271939"/>
                    <a:pt x="1546384" y="275749"/>
                  </a:cubicBezTo>
                  <a:cubicBezTo>
                    <a:pt x="1546384" y="274796"/>
                    <a:pt x="1545431" y="273844"/>
                    <a:pt x="1545431" y="272891"/>
                  </a:cubicBezTo>
                  <a:cubicBezTo>
                    <a:pt x="1546384" y="270986"/>
                    <a:pt x="1546384" y="268129"/>
                    <a:pt x="1547336" y="265271"/>
                  </a:cubicBezTo>
                  <a:close/>
                  <a:moveTo>
                    <a:pt x="1541621" y="286226"/>
                  </a:moveTo>
                  <a:cubicBezTo>
                    <a:pt x="1542574" y="289084"/>
                    <a:pt x="1543526" y="290989"/>
                    <a:pt x="1543526" y="293846"/>
                  </a:cubicBezTo>
                  <a:cubicBezTo>
                    <a:pt x="1543526" y="295751"/>
                    <a:pt x="1542574" y="298609"/>
                    <a:pt x="1542574" y="301466"/>
                  </a:cubicBezTo>
                  <a:cubicBezTo>
                    <a:pt x="1541621" y="298609"/>
                    <a:pt x="1540669" y="294799"/>
                    <a:pt x="1539716" y="291941"/>
                  </a:cubicBezTo>
                  <a:cubicBezTo>
                    <a:pt x="1540669" y="289084"/>
                    <a:pt x="1541621" y="288131"/>
                    <a:pt x="1541621" y="286226"/>
                  </a:cubicBezTo>
                  <a:close/>
                  <a:moveTo>
                    <a:pt x="1537811" y="271939"/>
                  </a:moveTo>
                  <a:cubicBezTo>
                    <a:pt x="1537811" y="273844"/>
                    <a:pt x="1538764" y="274796"/>
                    <a:pt x="1538764" y="276701"/>
                  </a:cubicBezTo>
                  <a:cubicBezTo>
                    <a:pt x="1537811" y="277654"/>
                    <a:pt x="1537811" y="278606"/>
                    <a:pt x="1536859" y="280511"/>
                  </a:cubicBezTo>
                  <a:cubicBezTo>
                    <a:pt x="1537811" y="276701"/>
                    <a:pt x="1537811" y="273844"/>
                    <a:pt x="1537811" y="271939"/>
                  </a:cubicBezTo>
                  <a:close/>
                  <a:moveTo>
                    <a:pt x="1533049" y="338614"/>
                  </a:moveTo>
                  <a:cubicBezTo>
                    <a:pt x="1533049" y="337661"/>
                    <a:pt x="1533049" y="336709"/>
                    <a:pt x="1533049" y="335756"/>
                  </a:cubicBezTo>
                  <a:cubicBezTo>
                    <a:pt x="1534001" y="340519"/>
                    <a:pt x="1534954" y="345281"/>
                    <a:pt x="1535906" y="350044"/>
                  </a:cubicBezTo>
                  <a:cubicBezTo>
                    <a:pt x="1536859" y="352901"/>
                    <a:pt x="1536859" y="354806"/>
                    <a:pt x="1536859" y="357664"/>
                  </a:cubicBezTo>
                  <a:cubicBezTo>
                    <a:pt x="1536859" y="359569"/>
                    <a:pt x="1536859" y="360521"/>
                    <a:pt x="1536859" y="362426"/>
                  </a:cubicBezTo>
                  <a:cubicBezTo>
                    <a:pt x="1536859" y="362426"/>
                    <a:pt x="1536859" y="362426"/>
                    <a:pt x="1536859" y="362426"/>
                  </a:cubicBezTo>
                  <a:cubicBezTo>
                    <a:pt x="1534954" y="356711"/>
                    <a:pt x="1533049" y="351949"/>
                    <a:pt x="1532096" y="346234"/>
                  </a:cubicBezTo>
                  <a:cubicBezTo>
                    <a:pt x="1533049" y="343376"/>
                    <a:pt x="1533049" y="341471"/>
                    <a:pt x="1533049" y="338614"/>
                  </a:cubicBezTo>
                  <a:close/>
                  <a:moveTo>
                    <a:pt x="1519714" y="270986"/>
                  </a:moveTo>
                  <a:cubicBezTo>
                    <a:pt x="1521619" y="279559"/>
                    <a:pt x="1523524" y="288131"/>
                    <a:pt x="1525429" y="297656"/>
                  </a:cubicBezTo>
                  <a:cubicBezTo>
                    <a:pt x="1525429" y="298609"/>
                    <a:pt x="1525429" y="299561"/>
                    <a:pt x="1524476" y="301466"/>
                  </a:cubicBezTo>
                  <a:cubicBezTo>
                    <a:pt x="1523524" y="306229"/>
                    <a:pt x="1522571" y="310991"/>
                    <a:pt x="1521619" y="315754"/>
                  </a:cubicBezTo>
                  <a:cubicBezTo>
                    <a:pt x="1520666" y="313849"/>
                    <a:pt x="1520666" y="311944"/>
                    <a:pt x="1519714" y="310991"/>
                  </a:cubicBezTo>
                  <a:cubicBezTo>
                    <a:pt x="1519714" y="295751"/>
                    <a:pt x="1518761" y="281464"/>
                    <a:pt x="1517809" y="268129"/>
                  </a:cubicBezTo>
                  <a:cubicBezTo>
                    <a:pt x="1519714" y="268129"/>
                    <a:pt x="1519714" y="269081"/>
                    <a:pt x="1519714" y="270986"/>
                  </a:cubicBezTo>
                  <a:close/>
                  <a:moveTo>
                    <a:pt x="1503521" y="302419"/>
                  </a:moveTo>
                  <a:cubicBezTo>
                    <a:pt x="1503521" y="306229"/>
                    <a:pt x="1503521" y="310039"/>
                    <a:pt x="1502569" y="313849"/>
                  </a:cubicBezTo>
                  <a:cubicBezTo>
                    <a:pt x="1502569" y="318611"/>
                    <a:pt x="1502569" y="324326"/>
                    <a:pt x="1502569" y="330041"/>
                  </a:cubicBezTo>
                  <a:cubicBezTo>
                    <a:pt x="1502569" y="330041"/>
                    <a:pt x="1502569" y="330041"/>
                    <a:pt x="1501616" y="329089"/>
                  </a:cubicBezTo>
                  <a:cubicBezTo>
                    <a:pt x="1500664" y="323374"/>
                    <a:pt x="1498759" y="317659"/>
                    <a:pt x="1497806" y="311944"/>
                  </a:cubicBezTo>
                  <a:cubicBezTo>
                    <a:pt x="1500664" y="309086"/>
                    <a:pt x="1502569" y="306229"/>
                    <a:pt x="1503521" y="302419"/>
                  </a:cubicBezTo>
                  <a:close/>
                  <a:moveTo>
                    <a:pt x="1477804" y="272891"/>
                  </a:moveTo>
                  <a:cubicBezTo>
                    <a:pt x="1477804" y="273844"/>
                    <a:pt x="1477804" y="273844"/>
                    <a:pt x="1477804" y="272891"/>
                  </a:cubicBezTo>
                  <a:cubicBezTo>
                    <a:pt x="1477804" y="275749"/>
                    <a:pt x="1477804" y="278606"/>
                    <a:pt x="1477804" y="282416"/>
                  </a:cubicBezTo>
                  <a:cubicBezTo>
                    <a:pt x="1477804" y="286226"/>
                    <a:pt x="1476851" y="290989"/>
                    <a:pt x="1476851" y="294799"/>
                  </a:cubicBezTo>
                  <a:cubicBezTo>
                    <a:pt x="1476851" y="294799"/>
                    <a:pt x="1476851" y="295751"/>
                    <a:pt x="1475899" y="295751"/>
                  </a:cubicBezTo>
                  <a:cubicBezTo>
                    <a:pt x="1475899" y="290989"/>
                    <a:pt x="1474946" y="286226"/>
                    <a:pt x="1474946" y="282416"/>
                  </a:cubicBezTo>
                  <a:cubicBezTo>
                    <a:pt x="1475899" y="279559"/>
                    <a:pt x="1476851" y="276701"/>
                    <a:pt x="1477804" y="272891"/>
                  </a:cubicBezTo>
                  <a:close/>
                  <a:moveTo>
                    <a:pt x="1461611" y="326231"/>
                  </a:moveTo>
                  <a:cubicBezTo>
                    <a:pt x="1461611" y="327184"/>
                    <a:pt x="1461611" y="327184"/>
                    <a:pt x="1461611" y="328136"/>
                  </a:cubicBezTo>
                  <a:cubicBezTo>
                    <a:pt x="1461611" y="329089"/>
                    <a:pt x="1460659" y="329089"/>
                    <a:pt x="1460659" y="330041"/>
                  </a:cubicBezTo>
                  <a:cubicBezTo>
                    <a:pt x="1460659" y="330041"/>
                    <a:pt x="1460659" y="330041"/>
                    <a:pt x="1460659" y="329089"/>
                  </a:cubicBezTo>
                  <a:cubicBezTo>
                    <a:pt x="1460659" y="328136"/>
                    <a:pt x="1460659" y="327184"/>
                    <a:pt x="1461611" y="326231"/>
                  </a:cubicBezTo>
                  <a:close/>
                  <a:moveTo>
                    <a:pt x="1457801" y="309086"/>
                  </a:moveTo>
                  <a:cubicBezTo>
                    <a:pt x="1456849" y="310039"/>
                    <a:pt x="1456849" y="310039"/>
                    <a:pt x="1457801" y="309086"/>
                  </a:cubicBezTo>
                  <a:cubicBezTo>
                    <a:pt x="1456849" y="307181"/>
                    <a:pt x="1456849" y="305276"/>
                    <a:pt x="1455896" y="302419"/>
                  </a:cubicBezTo>
                  <a:cubicBezTo>
                    <a:pt x="1455896" y="305276"/>
                    <a:pt x="1456849" y="307181"/>
                    <a:pt x="1457801" y="309086"/>
                  </a:cubicBezTo>
                  <a:close/>
                  <a:moveTo>
                    <a:pt x="1442561" y="328136"/>
                  </a:moveTo>
                  <a:cubicBezTo>
                    <a:pt x="1442561" y="324326"/>
                    <a:pt x="1442561" y="321469"/>
                    <a:pt x="1442561" y="318611"/>
                  </a:cubicBezTo>
                  <a:cubicBezTo>
                    <a:pt x="1443514" y="323374"/>
                    <a:pt x="1443514" y="329089"/>
                    <a:pt x="1444466" y="333851"/>
                  </a:cubicBezTo>
                  <a:cubicBezTo>
                    <a:pt x="1443514" y="332899"/>
                    <a:pt x="1443514" y="330994"/>
                    <a:pt x="1442561" y="330041"/>
                  </a:cubicBezTo>
                  <a:cubicBezTo>
                    <a:pt x="1442561" y="330041"/>
                    <a:pt x="1442561" y="329089"/>
                    <a:pt x="1442561" y="328136"/>
                  </a:cubicBezTo>
                  <a:close/>
                  <a:moveTo>
                    <a:pt x="1415891" y="281464"/>
                  </a:moveTo>
                  <a:cubicBezTo>
                    <a:pt x="1415891" y="284321"/>
                    <a:pt x="1415891" y="286226"/>
                    <a:pt x="1415891" y="289084"/>
                  </a:cubicBezTo>
                  <a:cubicBezTo>
                    <a:pt x="1415891" y="289084"/>
                    <a:pt x="1415891" y="289084"/>
                    <a:pt x="1415891" y="289084"/>
                  </a:cubicBezTo>
                  <a:cubicBezTo>
                    <a:pt x="1414939" y="288131"/>
                    <a:pt x="1413986" y="287179"/>
                    <a:pt x="1413034" y="286226"/>
                  </a:cubicBezTo>
                  <a:cubicBezTo>
                    <a:pt x="1414939" y="284321"/>
                    <a:pt x="1415891" y="282416"/>
                    <a:pt x="1415891" y="281464"/>
                  </a:cubicBezTo>
                  <a:close/>
                  <a:moveTo>
                    <a:pt x="1412081" y="290036"/>
                  </a:moveTo>
                  <a:cubicBezTo>
                    <a:pt x="1413034" y="290989"/>
                    <a:pt x="1413034" y="291941"/>
                    <a:pt x="1413986" y="292894"/>
                  </a:cubicBezTo>
                  <a:cubicBezTo>
                    <a:pt x="1414939" y="293846"/>
                    <a:pt x="1414939" y="294799"/>
                    <a:pt x="1415891" y="295751"/>
                  </a:cubicBezTo>
                  <a:cubicBezTo>
                    <a:pt x="1415891" y="297656"/>
                    <a:pt x="1415891" y="299561"/>
                    <a:pt x="1415891" y="300514"/>
                  </a:cubicBezTo>
                  <a:cubicBezTo>
                    <a:pt x="1413986" y="296704"/>
                    <a:pt x="1413034" y="293846"/>
                    <a:pt x="1412081" y="290036"/>
                  </a:cubicBezTo>
                  <a:cubicBezTo>
                    <a:pt x="1412081" y="290036"/>
                    <a:pt x="1412081" y="290036"/>
                    <a:pt x="1412081" y="290036"/>
                  </a:cubicBezTo>
                  <a:close/>
                  <a:moveTo>
                    <a:pt x="1383506" y="364331"/>
                  </a:moveTo>
                  <a:cubicBezTo>
                    <a:pt x="1383506" y="362426"/>
                    <a:pt x="1383506" y="360521"/>
                    <a:pt x="1382554" y="358616"/>
                  </a:cubicBezTo>
                  <a:cubicBezTo>
                    <a:pt x="1382554" y="358616"/>
                    <a:pt x="1382554" y="357664"/>
                    <a:pt x="1382554" y="357664"/>
                  </a:cubicBezTo>
                  <a:cubicBezTo>
                    <a:pt x="1382554" y="358616"/>
                    <a:pt x="1383506" y="360521"/>
                    <a:pt x="1383506" y="362426"/>
                  </a:cubicBezTo>
                  <a:cubicBezTo>
                    <a:pt x="1384459" y="363379"/>
                    <a:pt x="1384459" y="363379"/>
                    <a:pt x="1383506" y="364331"/>
                  </a:cubicBezTo>
                  <a:close/>
                  <a:moveTo>
                    <a:pt x="1386364" y="298609"/>
                  </a:moveTo>
                  <a:cubicBezTo>
                    <a:pt x="1386364" y="298609"/>
                    <a:pt x="1386364" y="298609"/>
                    <a:pt x="1386364" y="298609"/>
                  </a:cubicBezTo>
                  <a:cubicBezTo>
                    <a:pt x="1385411" y="296704"/>
                    <a:pt x="1385411" y="295751"/>
                    <a:pt x="1384459" y="293846"/>
                  </a:cubicBezTo>
                  <a:cubicBezTo>
                    <a:pt x="1385411" y="292894"/>
                    <a:pt x="1385411" y="291941"/>
                    <a:pt x="1386364" y="290989"/>
                  </a:cubicBezTo>
                  <a:cubicBezTo>
                    <a:pt x="1388269" y="289084"/>
                    <a:pt x="1389221" y="287179"/>
                    <a:pt x="1391126" y="286226"/>
                  </a:cubicBezTo>
                  <a:cubicBezTo>
                    <a:pt x="1389221" y="290036"/>
                    <a:pt x="1387316" y="293846"/>
                    <a:pt x="1386364" y="298609"/>
                  </a:cubicBezTo>
                  <a:close/>
                  <a:moveTo>
                    <a:pt x="1383506" y="287179"/>
                  </a:moveTo>
                  <a:cubicBezTo>
                    <a:pt x="1383506" y="287179"/>
                    <a:pt x="1382554" y="288131"/>
                    <a:pt x="1382554" y="288131"/>
                  </a:cubicBezTo>
                  <a:cubicBezTo>
                    <a:pt x="1380649" y="283369"/>
                    <a:pt x="1378744" y="278606"/>
                    <a:pt x="1376839" y="274796"/>
                  </a:cubicBezTo>
                  <a:cubicBezTo>
                    <a:pt x="1379696" y="262414"/>
                    <a:pt x="1382554" y="251936"/>
                    <a:pt x="1384459" y="242411"/>
                  </a:cubicBezTo>
                  <a:cubicBezTo>
                    <a:pt x="1385411" y="250031"/>
                    <a:pt x="1387316" y="263366"/>
                    <a:pt x="1390174" y="281464"/>
                  </a:cubicBezTo>
                  <a:cubicBezTo>
                    <a:pt x="1388269" y="283369"/>
                    <a:pt x="1386364" y="285274"/>
                    <a:pt x="1383506" y="287179"/>
                  </a:cubicBezTo>
                  <a:close/>
                  <a:moveTo>
                    <a:pt x="1391126" y="310991"/>
                  </a:moveTo>
                  <a:cubicBezTo>
                    <a:pt x="1392079" y="307181"/>
                    <a:pt x="1392079" y="303371"/>
                    <a:pt x="1393031" y="299561"/>
                  </a:cubicBezTo>
                  <a:cubicBezTo>
                    <a:pt x="1393031" y="299561"/>
                    <a:pt x="1393031" y="298609"/>
                    <a:pt x="1393031" y="298609"/>
                  </a:cubicBezTo>
                  <a:cubicBezTo>
                    <a:pt x="1393031" y="300514"/>
                    <a:pt x="1393984" y="303371"/>
                    <a:pt x="1393984" y="305276"/>
                  </a:cubicBezTo>
                  <a:cubicBezTo>
                    <a:pt x="1393984" y="308134"/>
                    <a:pt x="1392079" y="309086"/>
                    <a:pt x="1391126" y="310991"/>
                  </a:cubicBezTo>
                  <a:close/>
                  <a:moveTo>
                    <a:pt x="1397794" y="278606"/>
                  </a:moveTo>
                  <a:cubicBezTo>
                    <a:pt x="1397794" y="278606"/>
                    <a:pt x="1397794" y="278606"/>
                    <a:pt x="1397794" y="278606"/>
                  </a:cubicBezTo>
                  <a:cubicBezTo>
                    <a:pt x="1397794" y="278606"/>
                    <a:pt x="1397794" y="279559"/>
                    <a:pt x="1397794" y="279559"/>
                  </a:cubicBezTo>
                  <a:cubicBezTo>
                    <a:pt x="1397794" y="279559"/>
                    <a:pt x="1397794" y="279559"/>
                    <a:pt x="1397794" y="278606"/>
                  </a:cubicBezTo>
                  <a:cubicBezTo>
                    <a:pt x="1397794" y="278606"/>
                    <a:pt x="1397794" y="278606"/>
                    <a:pt x="1397794" y="278606"/>
                  </a:cubicBezTo>
                  <a:close/>
                  <a:moveTo>
                    <a:pt x="1397794" y="322421"/>
                  </a:moveTo>
                  <a:cubicBezTo>
                    <a:pt x="1398746" y="325279"/>
                    <a:pt x="1398746" y="328136"/>
                    <a:pt x="1399699" y="331946"/>
                  </a:cubicBezTo>
                  <a:cubicBezTo>
                    <a:pt x="1399699" y="332899"/>
                    <a:pt x="1399699" y="332899"/>
                    <a:pt x="1399699" y="333851"/>
                  </a:cubicBezTo>
                  <a:cubicBezTo>
                    <a:pt x="1398746" y="330994"/>
                    <a:pt x="1397794" y="328136"/>
                    <a:pt x="1396841" y="326231"/>
                  </a:cubicBezTo>
                  <a:cubicBezTo>
                    <a:pt x="1396841" y="324326"/>
                    <a:pt x="1396841" y="323374"/>
                    <a:pt x="1397794" y="322421"/>
                  </a:cubicBezTo>
                  <a:close/>
                  <a:moveTo>
                    <a:pt x="1387316" y="231934"/>
                  </a:moveTo>
                  <a:cubicBezTo>
                    <a:pt x="1389221" y="242411"/>
                    <a:pt x="1392079" y="255746"/>
                    <a:pt x="1395889" y="270986"/>
                  </a:cubicBezTo>
                  <a:cubicBezTo>
                    <a:pt x="1395889" y="271939"/>
                    <a:pt x="1395889" y="271939"/>
                    <a:pt x="1394936" y="272891"/>
                  </a:cubicBezTo>
                  <a:cubicBezTo>
                    <a:pt x="1390174" y="257651"/>
                    <a:pt x="1386364" y="246221"/>
                    <a:pt x="1384459" y="240506"/>
                  </a:cubicBezTo>
                  <a:cubicBezTo>
                    <a:pt x="1386364" y="237649"/>
                    <a:pt x="1387316" y="234791"/>
                    <a:pt x="1387316" y="231934"/>
                  </a:cubicBezTo>
                  <a:close/>
                  <a:moveTo>
                    <a:pt x="1380649" y="232886"/>
                  </a:moveTo>
                  <a:cubicBezTo>
                    <a:pt x="1382554" y="230029"/>
                    <a:pt x="1384459" y="227171"/>
                    <a:pt x="1386364" y="225266"/>
                  </a:cubicBezTo>
                  <a:cubicBezTo>
                    <a:pt x="1386364" y="225266"/>
                    <a:pt x="1386364" y="225266"/>
                    <a:pt x="1386364" y="225266"/>
                  </a:cubicBezTo>
                  <a:cubicBezTo>
                    <a:pt x="1382554" y="234791"/>
                    <a:pt x="1377791" y="247174"/>
                    <a:pt x="1372076" y="262414"/>
                  </a:cubicBezTo>
                  <a:cubicBezTo>
                    <a:pt x="1371124" y="260509"/>
                    <a:pt x="1371124" y="259556"/>
                    <a:pt x="1370171" y="257651"/>
                  </a:cubicBezTo>
                  <a:cubicBezTo>
                    <a:pt x="1369219" y="256699"/>
                    <a:pt x="1369219" y="255746"/>
                    <a:pt x="1369219" y="253841"/>
                  </a:cubicBezTo>
                  <a:cubicBezTo>
                    <a:pt x="1373029" y="245269"/>
                    <a:pt x="1376839" y="238601"/>
                    <a:pt x="1380649" y="232886"/>
                  </a:cubicBezTo>
                  <a:close/>
                  <a:moveTo>
                    <a:pt x="1356836" y="300514"/>
                  </a:moveTo>
                  <a:cubicBezTo>
                    <a:pt x="1356836" y="301466"/>
                    <a:pt x="1356836" y="301466"/>
                    <a:pt x="1356836" y="302419"/>
                  </a:cubicBezTo>
                  <a:cubicBezTo>
                    <a:pt x="1356836" y="303371"/>
                    <a:pt x="1356836" y="303371"/>
                    <a:pt x="1355884" y="304324"/>
                  </a:cubicBezTo>
                  <a:cubicBezTo>
                    <a:pt x="1355884" y="302419"/>
                    <a:pt x="1355884" y="301466"/>
                    <a:pt x="1355884" y="299561"/>
                  </a:cubicBezTo>
                  <a:cubicBezTo>
                    <a:pt x="1355884" y="299561"/>
                    <a:pt x="1356836" y="299561"/>
                    <a:pt x="1356836" y="300514"/>
                  </a:cubicBezTo>
                  <a:close/>
                  <a:moveTo>
                    <a:pt x="1339691" y="325279"/>
                  </a:moveTo>
                  <a:cubicBezTo>
                    <a:pt x="1339691" y="325279"/>
                    <a:pt x="1339691" y="324326"/>
                    <a:pt x="1339691" y="324326"/>
                  </a:cubicBezTo>
                  <a:cubicBezTo>
                    <a:pt x="1340644" y="322421"/>
                    <a:pt x="1341596" y="319564"/>
                    <a:pt x="1341596" y="317659"/>
                  </a:cubicBezTo>
                  <a:cubicBezTo>
                    <a:pt x="1341596" y="317659"/>
                    <a:pt x="1341596" y="317659"/>
                    <a:pt x="1341596" y="317659"/>
                  </a:cubicBezTo>
                  <a:cubicBezTo>
                    <a:pt x="1341596" y="322421"/>
                    <a:pt x="1341596" y="326231"/>
                    <a:pt x="1341596" y="330994"/>
                  </a:cubicBezTo>
                  <a:cubicBezTo>
                    <a:pt x="1341596" y="328136"/>
                    <a:pt x="1340644" y="326231"/>
                    <a:pt x="1339691" y="325279"/>
                  </a:cubicBezTo>
                  <a:close/>
                  <a:moveTo>
                    <a:pt x="1340644" y="226219"/>
                  </a:moveTo>
                  <a:cubicBezTo>
                    <a:pt x="1340644" y="225266"/>
                    <a:pt x="1340644" y="225266"/>
                    <a:pt x="1340644" y="226219"/>
                  </a:cubicBezTo>
                  <a:cubicBezTo>
                    <a:pt x="1341596" y="229076"/>
                    <a:pt x="1343501" y="232886"/>
                    <a:pt x="1344454" y="237649"/>
                  </a:cubicBezTo>
                  <a:cubicBezTo>
                    <a:pt x="1344454" y="239554"/>
                    <a:pt x="1344454" y="240506"/>
                    <a:pt x="1344454" y="242411"/>
                  </a:cubicBezTo>
                  <a:cubicBezTo>
                    <a:pt x="1344454" y="249079"/>
                    <a:pt x="1343501" y="256699"/>
                    <a:pt x="1343501" y="264319"/>
                  </a:cubicBezTo>
                  <a:cubicBezTo>
                    <a:pt x="1343501" y="267176"/>
                    <a:pt x="1343501" y="270034"/>
                    <a:pt x="1343501" y="272891"/>
                  </a:cubicBezTo>
                  <a:cubicBezTo>
                    <a:pt x="1341596" y="271939"/>
                    <a:pt x="1340644" y="270034"/>
                    <a:pt x="1339691" y="269081"/>
                  </a:cubicBezTo>
                  <a:cubicBezTo>
                    <a:pt x="1338739" y="252889"/>
                    <a:pt x="1339691" y="238601"/>
                    <a:pt x="1340644" y="226219"/>
                  </a:cubicBezTo>
                  <a:close/>
                  <a:moveTo>
                    <a:pt x="1337786" y="295751"/>
                  </a:moveTo>
                  <a:cubicBezTo>
                    <a:pt x="1337786" y="288131"/>
                    <a:pt x="1338739" y="279559"/>
                    <a:pt x="1338739" y="271939"/>
                  </a:cubicBezTo>
                  <a:cubicBezTo>
                    <a:pt x="1339691" y="272891"/>
                    <a:pt x="1341596" y="274796"/>
                    <a:pt x="1342549" y="276701"/>
                  </a:cubicBezTo>
                  <a:cubicBezTo>
                    <a:pt x="1342549" y="276701"/>
                    <a:pt x="1342549" y="276701"/>
                    <a:pt x="1342549" y="276701"/>
                  </a:cubicBezTo>
                  <a:cubicBezTo>
                    <a:pt x="1342549" y="279559"/>
                    <a:pt x="1342549" y="283369"/>
                    <a:pt x="1342549" y="286226"/>
                  </a:cubicBezTo>
                  <a:cubicBezTo>
                    <a:pt x="1340644" y="290036"/>
                    <a:pt x="1338739" y="292894"/>
                    <a:pt x="1337786" y="295751"/>
                  </a:cubicBezTo>
                  <a:cubicBezTo>
                    <a:pt x="1337786" y="296704"/>
                    <a:pt x="1337786" y="296704"/>
                    <a:pt x="1337786" y="296704"/>
                  </a:cubicBezTo>
                  <a:cubicBezTo>
                    <a:pt x="1337786" y="296704"/>
                    <a:pt x="1337786" y="295751"/>
                    <a:pt x="1337786" y="295751"/>
                  </a:cubicBezTo>
                  <a:close/>
                  <a:moveTo>
                    <a:pt x="1314926" y="320516"/>
                  </a:moveTo>
                  <a:cubicBezTo>
                    <a:pt x="1314926" y="320516"/>
                    <a:pt x="1314926" y="320516"/>
                    <a:pt x="1314926" y="320516"/>
                  </a:cubicBezTo>
                  <a:cubicBezTo>
                    <a:pt x="1314926" y="320516"/>
                    <a:pt x="1314926" y="320516"/>
                    <a:pt x="1314926" y="320516"/>
                  </a:cubicBezTo>
                  <a:cubicBezTo>
                    <a:pt x="1314926" y="320516"/>
                    <a:pt x="1314926" y="320516"/>
                    <a:pt x="1314926" y="320516"/>
                  </a:cubicBezTo>
                  <a:close/>
                  <a:moveTo>
                    <a:pt x="1311116" y="312896"/>
                  </a:moveTo>
                  <a:cubicBezTo>
                    <a:pt x="1311116" y="312896"/>
                    <a:pt x="1312069" y="313849"/>
                    <a:pt x="1311116" y="312896"/>
                  </a:cubicBezTo>
                  <a:cubicBezTo>
                    <a:pt x="1311116" y="313849"/>
                    <a:pt x="1311116" y="313849"/>
                    <a:pt x="1311116" y="314801"/>
                  </a:cubicBezTo>
                  <a:cubicBezTo>
                    <a:pt x="1311116" y="314801"/>
                    <a:pt x="1311116" y="314801"/>
                    <a:pt x="1311116" y="314801"/>
                  </a:cubicBezTo>
                  <a:cubicBezTo>
                    <a:pt x="1311116" y="313849"/>
                    <a:pt x="1311116" y="313849"/>
                    <a:pt x="1311116" y="312896"/>
                  </a:cubicBezTo>
                  <a:close/>
                  <a:moveTo>
                    <a:pt x="1242536" y="344329"/>
                  </a:moveTo>
                  <a:cubicBezTo>
                    <a:pt x="1241584" y="341471"/>
                    <a:pt x="1239679" y="339566"/>
                    <a:pt x="1238726" y="336709"/>
                  </a:cubicBezTo>
                  <a:cubicBezTo>
                    <a:pt x="1238726" y="328136"/>
                    <a:pt x="1238726" y="318611"/>
                    <a:pt x="1238726" y="310991"/>
                  </a:cubicBezTo>
                  <a:cubicBezTo>
                    <a:pt x="1238726" y="309086"/>
                    <a:pt x="1238726" y="308134"/>
                    <a:pt x="1238726" y="307181"/>
                  </a:cubicBezTo>
                  <a:cubicBezTo>
                    <a:pt x="1240631" y="317659"/>
                    <a:pt x="1241584" y="328136"/>
                    <a:pt x="1244441" y="339566"/>
                  </a:cubicBezTo>
                  <a:cubicBezTo>
                    <a:pt x="1244441" y="339566"/>
                    <a:pt x="1244441" y="340519"/>
                    <a:pt x="1244441" y="340519"/>
                  </a:cubicBezTo>
                  <a:cubicBezTo>
                    <a:pt x="1243489" y="341471"/>
                    <a:pt x="1242536" y="343376"/>
                    <a:pt x="1242536" y="344329"/>
                  </a:cubicBezTo>
                  <a:close/>
                  <a:moveTo>
                    <a:pt x="1279684" y="290989"/>
                  </a:moveTo>
                  <a:cubicBezTo>
                    <a:pt x="1279684" y="289084"/>
                    <a:pt x="1279684" y="286226"/>
                    <a:pt x="1279684" y="284321"/>
                  </a:cubicBezTo>
                  <a:cubicBezTo>
                    <a:pt x="1280636" y="285274"/>
                    <a:pt x="1280636" y="286226"/>
                    <a:pt x="1281589" y="287179"/>
                  </a:cubicBezTo>
                  <a:cubicBezTo>
                    <a:pt x="1280636" y="289084"/>
                    <a:pt x="1279684" y="290036"/>
                    <a:pt x="1279684" y="290989"/>
                  </a:cubicBezTo>
                  <a:close/>
                  <a:moveTo>
                    <a:pt x="1298734" y="332899"/>
                  </a:moveTo>
                  <a:cubicBezTo>
                    <a:pt x="1298734" y="332899"/>
                    <a:pt x="1298734" y="332899"/>
                    <a:pt x="1298734" y="332899"/>
                  </a:cubicBezTo>
                  <a:cubicBezTo>
                    <a:pt x="1298734" y="331946"/>
                    <a:pt x="1298734" y="331946"/>
                    <a:pt x="1298734" y="330994"/>
                  </a:cubicBezTo>
                  <a:cubicBezTo>
                    <a:pt x="1298734" y="331946"/>
                    <a:pt x="1298734" y="332899"/>
                    <a:pt x="1298734" y="332899"/>
                  </a:cubicBezTo>
                  <a:close/>
                  <a:moveTo>
                    <a:pt x="1295876" y="278606"/>
                  </a:moveTo>
                  <a:cubicBezTo>
                    <a:pt x="1298734" y="285274"/>
                    <a:pt x="1301591" y="291941"/>
                    <a:pt x="1305401" y="299561"/>
                  </a:cubicBezTo>
                  <a:cubicBezTo>
                    <a:pt x="1305401" y="299561"/>
                    <a:pt x="1305401" y="299561"/>
                    <a:pt x="1305401" y="300514"/>
                  </a:cubicBezTo>
                  <a:cubicBezTo>
                    <a:pt x="1305401" y="301466"/>
                    <a:pt x="1305401" y="302419"/>
                    <a:pt x="1304449" y="303371"/>
                  </a:cubicBezTo>
                  <a:cubicBezTo>
                    <a:pt x="1303496" y="300514"/>
                    <a:pt x="1301591" y="298609"/>
                    <a:pt x="1300639" y="295751"/>
                  </a:cubicBezTo>
                  <a:cubicBezTo>
                    <a:pt x="1298734" y="291941"/>
                    <a:pt x="1296829" y="288131"/>
                    <a:pt x="1293971" y="284321"/>
                  </a:cubicBezTo>
                  <a:cubicBezTo>
                    <a:pt x="1294924" y="282416"/>
                    <a:pt x="1295876" y="280511"/>
                    <a:pt x="1295876" y="278606"/>
                  </a:cubicBezTo>
                  <a:close/>
                  <a:moveTo>
                    <a:pt x="1299686" y="328136"/>
                  </a:moveTo>
                  <a:cubicBezTo>
                    <a:pt x="1299686" y="329089"/>
                    <a:pt x="1299686" y="329089"/>
                    <a:pt x="1299686" y="330041"/>
                  </a:cubicBezTo>
                  <a:cubicBezTo>
                    <a:pt x="1299686" y="330041"/>
                    <a:pt x="1298734" y="330994"/>
                    <a:pt x="1298734" y="331946"/>
                  </a:cubicBezTo>
                  <a:cubicBezTo>
                    <a:pt x="1296829" y="329089"/>
                    <a:pt x="1294924" y="326231"/>
                    <a:pt x="1293019" y="324326"/>
                  </a:cubicBezTo>
                  <a:cubicBezTo>
                    <a:pt x="1292066" y="322421"/>
                    <a:pt x="1290161" y="320516"/>
                    <a:pt x="1289209" y="318611"/>
                  </a:cubicBezTo>
                  <a:cubicBezTo>
                    <a:pt x="1289209" y="318611"/>
                    <a:pt x="1289209" y="318611"/>
                    <a:pt x="1289209" y="318611"/>
                  </a:cubicBezTo>
                  <a:cubicBezTo>
                    <a:pt x="1289209" y="314801"/>
                    <a:pt x="1289209" y="311944"/>
                    <a:pt x="1289209" y="309086"/>
                  </a:cubicBezTo>
                  <a:cubicBezTo>
                    <a:pt x="1289209" y="308134"/>
                    <a:pt x="1290161" y="306229"/>
                    <a:pt x="1290161" y="305276"/>
                  </a:cubicBezTo>
                  <a:cubicBezTo>
                    <a:pt x="1293019" y="311944"/>
                    <a:pt x="1296829" y="319564"/>
                    <a:pt x="1299686" y="328136"/>
                  </a:cubicBezTo>
                  <a:close/>
                  <a:moveTo>
                    <a:pt x="1289209" y="263366"/>
                  </a:moveTo>
                  <a:cubicBezTo>
                    <a:pt x="1288256" y="265271"/>
                    <a:pt x="1288256" y="266224"/>
                    <a:pt x="1287304" y="268129"/>
                  </a:cubicBezTo>
                  <a:cubicBezTo>
                    <a:pt x="1287304" y="265271"/>
                    <a:pt x="1287304" y="262414"/>
                    <a:pt x="1287304" y="259556"/>
                  </a:cubicBezTo>
                  <a:cubicBezTo>
                    <a:pt x="1287304" y="260509"/>
                    <a:pt x="1288256" y="262414"/>
                    <a:pt x="1289209" y="263366"/>
                  </a:cubicBezTo>
                  <a:close/>
                  <a:moveTo>
                    <a:pt x="1276826" y="238601"/>
                  </a:moveTo>
                  <a:cubicBezTo>
                    <a:pt x="1277779" y="239554"/>
                    <a:pt x="1277779" y="240506"/>
                    <a:pt x="1278731" y="242411"/>
                  </a:cubicBezTo>
                  <a:cubicBezTo>
                    <a:pt x="1280636" y="246221"/>
                    <a:pt x="1283494" y="251936"/>
                    <a:pt x="1286351" y="257651"/>
                  </a:cubicBezTo>
                  <a:cubicBezTo>
                    <a:pt x="1286351" y="260509"/>
                    <a:pt x="1285399" y="263366"/>
                    <a:pt x="1285399" y="267176"/>
                  </a:cubicBezTo>
                  <a:cubicBezTo>
                    <a:pt x="1282541" y="263366"/>
                    <a:pt x="1280636" y="259556"/>
                    <a:pt x="1277779" y="255746"/>
                  </a:cubicBezTo>
                  <a:cubicBezTo>
                    <a:pt x="1277779" y="250031"/>
                    <a:pt x="1276826" y="245269"/>
                    <a:pt x="1276826" y="242411"/>
                  </a:cubicBezTo>
                  <a:cubicBezTo>
                    <a:pt x="1276826" y="241459"/>
                    <a:pt x="1276826" y="239554"/>
                    <a:pt x="1276826" y="238601"/>
                  </a:cubicBezTo>
                  <a:close/>
                  <a:moveTo>
                    <a:pt x="1273016" y="271939"/>
                  </a:moveTo>
                  <a:cubicBezTo>
                    <a:pt x="1273016" y="271939"/>
                    <a:pt x="1273969" y="272891"/>
                    <a:pt x="1273969" y="272891"/>
                  </a:cubicBezTo>
                  <a:cubicBezTo>
                    <a:pt x="1273969" y="278606"/>
                    <a:pt x="1273016" y="284321"/>
                    <a:pt x="1273016" y="291941"/>
                  </a:cubicBezTo>
                  <a:cubicBezTo>
                    <a:pt x="1272064" y="290989"/>
                    <a:pt x="1272064" y="289084"/>
                    <a:pt x="1271111" y="288131"/>
                  </a:cubicBezTo>
                  <a:cubicBezTo>
                    <a:pt x="1271111" y="282416"/>
                    <a:pt x="1272064" y="276701"/>
                    <a:pt x="1273016" y="271939"/>
                  </a:cubicBezTo>
                  <a:close/>
                  <a:moveTo>
                    <a:pt x="1240631" y="229076"/>
                  </a:moveTo>
                  <a:cubicBezTo>
                    <a:pt x="1241584" y="226219"/>
                    <a:pt x="1243489" y="223361"/>
                    <a:pt x="1244441" y="220504"/>
                  </a:cubicBezTo>
                  <a:cubicBezTo>
                    <a:pt x="1247299" y="226219"/>
                    <a:pt x="1251109" y="230981"/>
                    <a:pt x="1253966" y="237649"/>
                  </a:cubicBezTo>
                  <a:cubicBezTo>
                    <a:pt x="1257776" y="244316"/>
                    <a:pt x="1260634" y="250031"/>
                    <a:pt x="1264444" y="257651"/>
                  </a:cubicBezTo>
                  <a:cubicBezTo>
                    <a:pt x="1265396" y="259556"/>
                    <a:pt x="1267301" y="262414"/>
                    <a:pt x="1268254" y="264319"/>
                  </a:cubicBezTo>
                  <a:cubicBezTo>
                    <a:pt x="1266349" y="270986"/>
                    <a:pt x="1264444" y="277654"/>
                    <a:pt x="1262539" y="286226"/>
                  </a:cubicBezTo>
                  <a:cubicBezTo>
                    <a:pt x="1259681" y="283369"/>
                    <a:pt x="1257776" y="280511"/>
                    <a:pt x="1254919" y="277654"/>
                  </a:cubicBezTo>
                  <a:cubicBezTo>
                    <a:pt x="1250156" y="268129"/>
                    <a:pt x="1246346" y="259556"/>
                    <a:pt x="1241584" y="251936"/>
                  </a:cubicBezTo>
                  <a:cubicBezTo>
                    <a:pt x="1239679" y="249079"/>
                    <a:pt x="1237774" y="246221"/>
                    <a:pt x="1235869" y="243364"/>
                  </a:cubicBezTo>
                  <a:cubicBezTo>
                    <a:pt x="1235869" y="243364"/>
                    <a:pt x="1235869" y="242411"/>
                    <a:pt x="1235869" y="242411"/>
                  </a:cubicBezTo>
                  <a:cubicBezTo>
                    <a:pt x="1237774" y="236696"/>
                    <a:pt x="1239679" y="232886"/>
                    <a:pt x="1240631" y="229076"/>
                  </a:cubicBezTo>
                  <a:close/>
                  <a:moveTo>
                    <a:pt x="1228249" y="304324"/>
                  </a:moveTo>
                  <a:cubicBezTo>
                    <a:pt x="1228249" y="298609"/>
                    <a:pt x="1227296" y="292894"/>
                    <a:pt x="1227296" y="288131"/>
                  </a:cubicBezTo>
                  <a:lnTo>
                    <a:pt x="1227296" y="281464"/>
                  </a:lnTo>
                  <a:cubicBezTo>
                    <a:pt x="1227296" y="280511"/>
                    <a:pt x="1228249" y="280511"/>
                    <a:pt x="1228249" y="279559"/>
                  </a:cubicBezTo>
                  <a:cubicBezTo>
                    <a:pt x="1228249" y="279559"/>
                    <a:pt x="1228249" y="278606"/>
                    <a:pt x="1228249" y="278606"/>
                  </a:cubicBezTo>
                  <a:cubicBezTo>
                    <a:pt x="1228249" y="278606"/>
                    <a:pt x="1229201" y="279559"/>
                    <a:pt x="1229201" y="279559"/>
                  </a:cubicBezTo>
                  <a:cubicBezTo>
                    <a:pt x="1230154" y="280511"/>
                    <a:pt x="1230154" y="282416"/>
                    <a:pt x="1231106" y="284321"/>
                  </a:cubicBezTo>
                  <a:cubicBezTo>
                    <a:pt x="1230154" y="290036"/>
                    <a:pt x="1229201" y="296704"/>
                    <a:pt x="1228249" y="304324"/>
                  </a:cubicBezTo>
                  <a:close/>
                  <a:moveTo>
                    <a:pt x="1232059" y="280511"/>
                  </a:moveTo>
                  <a:cubicBezTo>
                    <a:pt x="1232059" y="279559"/>
                    <a:pt x="1232059" y="279559"/>
                    <a:pt x="1232059" y="278606"/>
                  </a:cubicBezTo>
                  <a:cubicBezTo>
                    <a:pt x="1232059" y="277654"/>
                    <a:pt x="1231106" y="276701"/>
                    <a:pt x="1230154" y="275749"/>
                  </a:cubicBezTo>
                  <a:cubicBezTo>
                    <a:pt x="1229201" y="275749"/>
                    <a:pt x="1228249" y="274796"/>
                    <a:pt x="1227296" y="275749"/>
                  </a:cubicBezTo>
                  <a:cubicBezTo>
                    <a:pt x="1227296" y="275749"/>
                    <a:pt x="1227296" y="275749"/>
                    <a:pt x="1226344" y="275749"/>
                  </a:cubicBezTo>
                  <a:lnTo>
                    <a:pt x="1226344" y="269081"/>
                  </a:lnTo>
                  <a:cubicBezTo>
                    <a:pt x="1227296" y="270034"/>
                    <a:pt x="1228249" y="270986"/>
                    <a:pt x="1230154" y="272891"/>
                  </a:cubicBezTo>
                  <a:cubicBezTo>
                    <a:pt x="1231106" y="273844"/>
                    <a:pt x="1232059" y="274796"/>
                    <a:pt x="1233011" y="276701"/>
                  </a:cubicBezTo>
                  <a:cubicBezTo>
                    <a:pt x="1232059" y="278606"/>
                    <a:pt x="1232059" y="279559"/>
                    <a:pt x="1232059" y="280511"/>
                  </a:cubicBezTo>
                  <a:close/>
                  <a:moveTo>
                    <a:pt x="1230154" y="221456"/>
                  </a:moveTo>
                  <a:cubicBezTo>
                    <a:pt x="1232059" y="225266"/>
                    <a:pt x="1233011" y="229076"/>
                    <a:pt x="1233964" y="233839"/>
                  </a:cubicBezTo>
                  <a:cubicBezTo>
                    <a:pt x="1233964" y="233839"/>
                    <a:pt x="1233964" y="233839"/>
                    <a:pt x="1233964" y="233839"/>
                  </a:cubicBezTo>
                  <a:cubicBezTo>
                    <a:pt x="1233964" y="232886"/>
                    <a:pt x="1233011" y="230981"/>
                    <a:pt x="1233011" y="230029"/>
                  </a:cubicBezTo>
                  <a:cubicBezTo>
                    <a:pt x="1231106" y="226219"/>
                    <a:pt x="1230154" y="223361"/>
                    <a:pt x="1230154" y="221456"/>
                  </a:cubicBezTo>
                  <a:cubicBezTo>
                    <a:pt x="1229201" y="220504"/>
                    <a:pt x="1229201" y="220504"/>
                    <a:pt x="1230154" y="221456"/>
                  </a:cubicBezTo>
                  <a:close/>
                  <a:moveTo>
                    <a:pt x="1229201" y="257651"/>
                  </a:moveTo>
                  <a:cubicBezTo>
                    <a:pt x="1229201" y="257651"/>
                    <a:pt x="1229201" y="257651"/>
                    <a:pt x="1229201" y="257651"/>
                  </a:cubicBezTo>
                  <a:cubicBezTo>
                    <a:pt x="1229201" y="258604"/>
                    <a:pt x="1230154" y="258604"/>
                    <a:pt x="1230154" y="259556"/>
                  </a:cubicBezTo>
                  <a:cubicBezTo>
                    <a:pt x="1230154" y="260509"/>
                    <a:pt x="1230154" y="261461"/>
                    <a:pt x="1230154" y="262414"/>
                  </a:cubicBezTo>
                  <a:cubicBezTo>
                    <a:pt x="1231106" y="266224"/>
                    <a:pt x="1231106" y="270986"/>
                    <a:pt x="1232059" y="274796"/>
                  </a:cubicBezTo>
                  <a:cubicBezTo>
                    <a:pt x="1232059" y="274796"/>
                    <a:pt x="1232059" y="274796"/>
                    <a:pt x="1232059" y="274796"/>
                  </a:cubicBezTo>
                  <a:cubicBezTo>
                    <a:pt x="1231106" y="273844"/>
                    <a:pt x="1230154" y="272891"/>
                    <a:pt x="1229201" y="272891"/>
                  </a:cubicBezTo>
                  <a:cubicBezTo>
                    <a:pt x="1227296" y="270986"/>
                    <a:pt x="1225391" y="270034"/>
                    <a:pt x="1225391" y="269081"/>
                  </a:cubicBezTo>
                  <a:lnTo>
                    <a:pt x="1225391" y="265271"/>
                  </a:lnTo>
                  <a:cubicBezTo>
                    <a:pt x="1227296" y="263366"/>
                    <a:pt x="1228249" y="260509"/>
                    <a:pt x="1229201" y="257651"/>
                  </a:cubicBezTo>
                  <a:close/>
                  <a:moveTo>
                    <a:pt x="1226344" y="235744"/>
                  </a:moveTo>
                  <a:cubicBezTo>
                    <a:pt x="1227296" y="238601"/>
                    <a:pt x="1227296" y="241459"/>
                    <a:pt x="1228249" y="244316"/>
                  </a:cubicBezTo>
                  <a:cubicBezTo>
                    <a:pt x="1228249" y="245269"/>
                    <a:pt x="1227296" y="246221"/>
                    <a:pt x="1227296" y="246221"/>
                  </a:cubicBezTo>
                  <a:cubicBezTo>
                    <a:pt x="1226344" y="245269"/>
                    <a:pt x="1226344" y="245269"/>
                    <a:pt x="1225391" y="244316"/>
                  </a:cubicBezTo>
                  <a:lnTo>
                    <a:pt x="1225391" y="231934"/>
                  </a:lnTo>
                  <a:cubicBezTo>
                    <a:pt x="1225391" y="233839"/>
                    <a:pt x="1225391" y="234791"/>
                    <a:pt x="1226344" y="235744"/>
                  </a:cubicBezTo>
                  <a:close/>
                  <a:moveTo>
                    <a:pt x="1197769" y="293846"/>
                  </a:moveTo>
                  <a:cubicBezTo>
                    <a:pt x="1197769" y="292894"/>
                    <a:pt x="1198721" y="290989"/>
                    <a:pt x="1198721" y="290036"/>
                  </a:cubicBezTo>
                  <a:cubicBezTo>
                    <a:pt x="1198721" y="290989"/>
                    <a:pt x="1198721" y="290989"/>
                    <a:pt x="1198721" y="291941"/>
                  </a:cubicBezTo>
                  <a:cubicBezTo>
                    <a:pt x="1198721" y="293846"/>
                    <a:pt x="1199674" y="296704"/>
                    <a:pt x="1199674" y="299561"/>
                  </a:cubicBezTo>
                  <a:cubicBezTo>
                    <a:pt x="1198721" y="301466"/>
                    <a:pt x="1197769" y="304324"/>
                    <a:pt x="1196816" y="307181"/>
                  </a:cubicBezTo>
                  <a:cubicBezTo>
                    <a:pt x="1195864" y="304324"/>
                    <a:pt x="1195864" y="301466"/>
                    <a:pt x="1194911" y="299561"/>
                  </a:cubicBezTo>
                  <a:cubicBezTo>
                    <a:pt x="1195864" y="297656"/>
                    <a:pt x="1196816" y="295751"/>
                    <a:pt x="1197769" y="293846"/>
                  </a:cubicBezTo>
                  <a:close/>
                  <a:moveTo>
                    <a:pt x="1196816" y="459581"/>
                  </a:moveTo>
                  <a:lnTo>
                    <a:pt x="1196816" y="459581"/>
                  </a:lnTo>
                  <a:cubicBezTo>
                    <a:pt x="1195864" y="458629"/>
                    <a:pt x="1195864" y="457676"/>
                    <a:pt x="1195864" y="455771"/>
                  </a:cubicBezTo>
                  <a:cubicBezTo>
                    <a:pt x="1195864" y="456724"/>
                    <a:pt x="1195864" y="457676"/>
                    <a:pt x="1196816" y="459581"/>
                  </a:cubicBezTo>
                  <a:close/>
                  <a:moveTo>
                    <a:pt x="1190149" y="324326"/>
                  </a:moveTo>
                  <a:cubicBezTo>
                    <a:pt x="1190149" y="325279"/>
                    <a:pt x="1190149" y="325279"/>
                    <a:pt x="1190149" y="324326"/>
                  </a:cubicBezTo>
                  <a:cubicBezTo>
                    <a:pt x="1190149" y="323374"/>
                    <a:pt x="1190149" y="321469"/>
                    <a:pt x="1189196" y="320516"/>
                  </a:cubicBezTo>
                  <a:cubicBezTo>
                    <a:pt x="1190149" y="322421"/>
                    <a:pt x="1190149" y="323374"/>
                    <a:pt x="1190149" y="324326"/>
                  </a:cubicBezTo>
                  <a:close/>
                  <a:moveTo>
                    <a:pt x="1170146" y="270986"/>
                  </a:moveTo>
                  <a:cubicBezTo>
                    <a:pt x="1170146" y="270034"/>
                    <a:pt x="1170146" y="269081"/>
                    <a:pt x="1170146" y="268129"/>
                  </a:cubicBezTo>
                  <a:cubicBezTo>
                    <a:pt x="1170146" y="267176"/>
                    <a:pt x="1170146" y="265271"/>
                    <a:pt x="1170146" y="264319"/>
                  </a:cubicBezTo>
                  <a:cubicBezTo>
                    <a:pt x="1171099" y="253841"/>
                    <a:pt x="1172051" y="244316"/>
                    <a:pt x="1172051" y="235744"/>
                  </a:cubicBezTo>
                  <a:cubicBezTo>
                    <a:pt x="1173004" y="238601"/>
                    <a:pt x="1173956" y="241459"/>
                    <a:pt x="1174909" y="245269"/>
                  </a:cubicBezTo>
                  <a:cubicBezTo>
                    <a:pt x="1174909" y="249079"/>
                    <a:pt x="1175861" y="253841"/>
                    <a:pt x="1176814" y="260509"/>
                  </a:cubicBezTo>
                  <a:cubicBezTo>
                    <a:pt x="1177766" y="267176"/>
                    <a:pt x="1177766" y="275749"/>
                    <a:pt x="1177766" y="285274"/>
                  </a:cubicBezTo>
                  <a:cubicBezTo>
                    <a:pt x="1178719" y="291941"/>
                    <a:pt x="1177766" y="300514"/>
                    <a:pt x="1177766" y="308134"/>
                  </a:cubicBezTo>
                  <a:cubicBezTo>
                    <a:pt x="1177766" y="307181"/>
                    <a:pt x="1176814" y="306229"/>
                    <a:pt x="1176814" y="305276"/>
                  </a:cubicBezTo>
                  <a:cubicBezTo>
                    <a:pt x="1173956" y="298609"/>
                    <a:pt x="1171099" y="292894"/>
                    <a:pt x="1168241" y="287179"/>
                  </a:cubicBezTo>
                  <a:cubicBezTo>
                    <a:pt x="1169194" y="282416"/>
                    <a:pt x="1170146" y="275749"/>
                    <a:pt x="1170146" y="270986"/>
                  </a:cubicBezTo>
                  <a:close/>
                  <a:moveTo>
                    <a:pt x="1170146" y="309086"/>
                  </a:moveTo>
                  <a:cubicBezTo>
                    <a:pt x="1171099" y="312896"/>
                    <a:pt x="1173004" y="317659"/>
                    <a:pt x="1173956" y="321469"/>
                  </a:cubicBezTo>
                  <a:cubicBezTo>
                    <a:pt x="1173004" y="323374"/>
                    <a:pt x="1173004" y="325279"/>
                    <a:pt x="1172051" y="327184"/>
                  </a:cubicBezTo>
                  <a:cubicBezTo>
                    <a:pt x="1171099" y="325279"/>
                    <a:pt x="1171099" y="324326"/>
                    <a:pt x="1170146" y="322421"/>
                  </a:cubicBezTo>
                  <a:cubicBezTo>
                    <a:pt x="1170146" y="321469"/>
                    <a:pt x="1170146" y="319564"/>
                    <a:pt x="1170146" y="318611"/>
                  </a:cubicBezTo>
                  <a:cubicBezTo>
                    <a:pt x="1169194" y="313849"/>
                    <a:pt x="1169194" y="308134"/>
                    <a:pt x="1168241" y="303371"/>
                  </a:cubicBezTo>
                  <a:cubicBezTo>
                    <a:pt x="1168241" y="305276"/>
                    <a:pt x="1169194" y="307181"/>
                    <a:pt x="1170146" y="309086"/>
                  </a:cubicBezTo>
                  <a:close/>
                  <a:moveTo>
                    <a:pt x="1164431" y="236696"/>
                  </a:moveTo>
                  <a:cubicBezTo>
                    <a:pt x="1163479" y="242411"/>
                    <a:pt x="1162526" y="248126"/>
                    <a:pt x="1161574" y="253841"/>
                  </a:cubicBezTo>
                  <a:cubicBezTo>
                    <a:pt x="1161574" y="252889"/>
                    <a:pt x="1161574" y="252889"/>
                    <a:pt x="1161574" y="251936"/>
                  </a:cubicBezTo>
                  <a:cubicBezTo>
                    <a:pt x="1161574" y="251936"/>
                    <a:pt x="1161574" y="250984"/>
                    <a:pt x="1161574" y="250984"/>
                  </a:cubicBezTo>
                  <a:cubicBezTo>
                    <a:pt x="1162526" y="245269"/>
                    <a:pt x="1163479" y="240506"/>
                    <a:pt x="1164431" y="236696"/>
                  </a:cubicBezTo>
                  <a:close/>
                  <a:moveTo>
                    <a:pt x="1140619" y="290036"/>
                  </a:moveTo>
                  <a:cubicBezTo>
                    <a:pt x="1140619" y="290989"/>
                    <a:pt x="1139666" y="290989"/>
                    <a:pt x="1139666" y="291941"/>
                  </a:cubicBezTo>
                  <a:cubicBezTo>
                    <a:pt x="1138714" y="289084"/>
                    <a:pt x="1138714" y="286226"/>
                    <a:pt x="1137761" y="283369"/>
                  </a:cubicBezTo>
                  <a:cubicBezTo>
                    <a:pt x="1138714" y="286226"/>
                    <a:pt x="1139666" y="288131"/>
                    <a:pt x="1140619" y="290036"/>
                  </a:cubicBezTo>
                  <a:close/>
                  <a:moveTo>
                    <a:pt x="1114901" y="339566"/>
                  </a:moveTo>
                  <a:cubicBezTo>
                    <a:pt x="1115854" y="331946"/>
                    <a:pt x="1116806" y="323374"/>
                    <a:pt x="1117759" y="315754"/>
                  </a:cubicBezTo>
                  <a:cubicBezTo>
                    <a:pt x="1118711" y="318611"/>
                    <a:pt x="1118711" y="321469"/>
                    <a:pt x="1119664" y="325279"/>
                  </a:cubicBezTo>
                  <a:cubicBezTo>
                    <a:pt x="1120616" y="328136"/>
                    <a:pt x="1120616" y="331946"/>
                    <a:pt x="1121569" y="334804"/>
                  </a:cubicBezTo>
                  <a:cubicBezTo>
                    <a:pt x="1121569" y="336709"/>
                    <a:pt x="1120616" y="338614"/>
                    <a:pt x="1120616" y="341471"/>
                  </a:cubicBezTo>
                  <a:cubicBezTo>
                    <a:pt x="1120616" y="341471"/>
                    <a:pt x="1120616" y="341471"/>
                    <a:pt x="1120616" y="342424"/>
                  </a:cubicBezTo>
                  <a:cubicBezTo>
                    <a:pt x="1119664" y="344329"/>
                    <a:pt x="1118711" y="346234"/>
                    <a:pt x="1118711" y="348139"/>
                  </a:cubicBezTo>
                  <a:cubicBezTo>
                    <a:pt x="1117759" y="345281"/>
                    <a:pt x="1115854" y="343376"/>
                    <a:pt x="1114901" y="341471"/>
                  </a:cubicBezTo>
                  <a:cubicBezTo>
                    <a:pt x="1114901" y="340519"/>
                    <a:pt x="1114901" y="339566"/>
                    <a:pt x="1114901" y="339566"/>
                  </a:cubicBezTo>
                  <a:close/>
                  <a:moveTo>
                    <a:pt x="1111091" y="219551"/>
                  </a:moveTo>
                  <a:cubicBezTo>
                    <a:pt x="1111091" y="220504"/>
                    <a:pt x="1112044" y="221456"/>
                    <a:pt x="1112044" y="222409"/>
                  </a:cubicBezTo>
                  <a:cubicBezTo>
                    <a:pt x="1112044" y="225266"/>
                    <a:pt x="1112996" y="228124"/>
                    <a:pt x="1112996" y="230029"/>
                  </a:cubicBezTo>
                  <a:cubicBezTo>
                    <a:pt x="1112996" y="230029"/>
                    <a:pt x="1112996" y="230029"/>
                    <a:pt x="1112996" y="230029"/>
                  </a:cubicBezTo>
                  <a:cubicBezTo>
                    <a:pt x="1112996" y="226219"/>
                    <a:pt x="1112044" y="223361"/>
                    <a:pt x="1111091" y="219551"/>
                  </a:cubicBezTo>
                  <a:cubicBezTo>
                    <a:pt x="1111091" y="220504"/>
                    <a:pt x="1111091" y="219551"/>
                    <a:pt x="1111091" y="219551"/>
                  </a:cubicBezTo>
                  <a:close/>
                  <a:moveTo>
                    <a:pt x="1110139" y="217646"/>
                  </a:moveTo>
                  <a:cubicBezTo>
                    <a:pt x="1110139" y="217646"/>
                    <a:pt x="1110139" y="217646"/>
                    <a:pt x="1110139" y="217646"/>
                  </a:cubicBezTo>
                  <a:cubicBezTo>
                    <a:pt x="1110139" y="217646"/>
                    <a:pt x="1109186" y="216694"/>
                    <a:pt x="1109186" y="215741"/>
                  </a:cubicBezTo>
                  <a:cubicBezTo>
                    <a:pt x="1110139" y="216694"/>
                    <a:pt x="1110139" y="216694"/>
                    <a:pt x="1110139" y="217646"/>
                  </a:cubicBezTo>
                  <a:close/>
                  <a:moveTo>
                    <a:pt x="1101566" y="236696"/>
                  </a:moveTo>
                  <a:cubicBezTo>
                    <a:pt x="1104424" y="248126"/>
                    <a:pt x="1107281" y="262414"/>
                    <a:pt x="1111091" y="278606"/>
                  </a:cubicBezTo>
                  <a:cubicBezTo>
                    <a:pt x="1110139" y="283369"/>
                    <a:pt x="1109186" y="289084"/>
                    <a:pt x="1109186" y="293846"/>
                  </a:cubicBezTo>
                  <a:cubicBezTo>
                    <a:pt x="1108234" y="298609"/>
                    <a:pt x="1107281" y="304324"/>
                    <a:pt x="1106329" y="309086"/>
                  </a:cubicBezTo>
                  <a:cubicBezTo>
                    <a:pt x="1106329" y="309086"/>
                    <a:pt x="1106329" y="309086"/>
                    <a:pt x="1106329" y="308134"/>
                  </a:cubicBezTo>
                  <a:cubicBezTo>
                    <a:pt x="1105376" y="300514"/>
                    <a:pt x="1105376" y="295751"/>
                    <a:pt x="1105376" y="295751"/>
                  </a:cubicBezTo>
                  <a:cubicBezTo>
                    <a:pt x="1105376" y="295751"/>
                    <a:pt x="1105376" y="297656"/>
                    <a:pt x="1105376" y="300514"/>
                  </a:cubicBezTo>
                  <a:cubicBezTo>
                    <a:pt x="1103471" y="290989"/>
                    <a:pt x="1101566" y="282416"/>
                    <a:pt x="1099661" y="272891"/>
                  </a:cubicBezTo>
                  <a:cubicBezTo>
                    <a:pt x="1097756" y="265271"/>
                    <a:pt x="1096804" y="256699"/>
                    <a:pt x="1094899" y="249079"/>
                  </a:cubicBezTo>
                  <a:cubicBezTo>
                    <a:pt x="1096804" y="244316"/>
                    <a:pt x="1098709" y="240506"/>
                    <a:pt x="1101566" y="236696"/>
                  </a:cubicBezTo>
                  <a:close/>
                  <a:moveTo>
                    <a:pt x="1027271" y="325279"/>
                  </a:moveTo>
                  <a:cubicBezTo>
                    <a:pt x="1028224" y="319564"/>
                    <a:pt x="1029176" y="314801"/>
                    <a:pt x="1030129" y="310991"/>
                  </a:cubicBezTo>
                  <a:cubicBezTo>
                    <a:pt x="1031081" y="306229"/>
                    <a:pt x="1032986" y="301466"/>
                    <a:pt x="1034891" y="297656"/>
                  </a:cubicBezTo>
                  <a:cubicBezTo>
                    <a:pt x="1035844" y="293846"/>
                    <a:pt x="1037749" y="290989"/>
                    <a:pt x="1039654" y="288131"/>
                  </a:cubicBezTo>
                  <a:cubicBezTo>
                    <a:pt x="1040606" y="291941"/>
                    <a:pt x="1041559" y="295751"/>
                    <a:pt x="1042511" y="299561"/>
                  </a:cubicBezTo>
                  <a:cubicBezTo>
                    <a:pt x="1041559" y="301466"/>
                    <a:pt x="1040606" y="303371"/>
                    <a:pt x="1039654" y="305276"/>
                  </a:cubicBezTo>
                  <a:cubicBezTo>
                    <a:pt x="1034891" y="313849"/>
                    <a:pt x="1031081" y="322421"/>
                    <a:pt x="1028224" y="330994"/>
                  </a:cubicBezTo>
                  <a:cubicBezTo>
                    <a:pt x="1028224" y="329089"/>
                    <a:pt x="1028224" y="327184"/>
                    <a:pt x="1027271" y="325279"/>
                  </a:cubicBezTo>
                  <a:close/>
                  <a:moveTo>
                    <a:pt x="1040606" y="374809"/>
                  </a:moveTo>
                  <a:cubicBezTo>
                    <a:pt x="1040606" y="373856"/>
                    <a:pt x="1039654" y="371951"/>
                    <a:pt x="1039654" y="370999"/>
                  </a:cubicBezTo>
                  <a:cubicBezTo>
                    <a:pt x="1041559" y="366236"/>
                    <a:pt x="1043464" y="360521"/>
                    <a:pt x="1045369" y="355759"/>
                  </a:cubicBezTo>
                  <a:cubicBezTo>
                    <a:pt x="1046321" y="358616"/>
                    <a:pt x="1047274" y="361474"/>
                    <a:pt x="1047274" y="364331"/>
                  </a:cubicBezTo>
                  <a:cubicBezTo>
                    <a:pt x="1047274" y="371951"/>
                    <a:pt x="1047274" y="378619"/>
                    <a:pt x="1048226" y="386239"/>
                  </a:cubicBezTo>
                  <a:cubicBezTo>
                    <a:pt x="1046321" y="385286"/>
                    <a:pt x="1045369" y="384334"/>
                    <a:pt x="1044416" y="384334"/>
                  </a:cubicBezTo>
                  <a:cubicBezTo>
                    <a:pt x="1042511" y="381476"/>
                    <a:pt x="1041559" y="377666"/>
                    <a:pt x="1040606" y="374809"/>
                  </a:cubicBezTo>
                  <a:close/>
                  <a:moveTo>
                    <a:pt x="1046321" y="389096"/>
                  </a:moveTo>
                  <a:cubicBezTo>
                    <a:pt x="1047274" y="390049"/>
                    <a:pt x="1047274" y="390049"/>
                    <a:pt x="1048226" y="391001"/>
                  </a:cubicBezTo>
                  <a:cubicBezTo>
                    <a:pt x="1048226" y="391954"/>
                    <a:pt x="1048226" y="391954"/>
                    <a:pt x="1048226" y="392906"/>
                  </a:cubicBezTo>
                  <a:cubicBezTo>
                    <a:pt x="1047274" y="391954"/>
                    <a:pt x="1046321" y="390049"/>
                    <a:pt x="1046321" y="389096"/>
                  </a:cubicBezTo>
                  <a:close/>
                  <a:moveTo>
                    <a:pt x="1056799" y="292894"/>
                  </a:moveTo>
                  <a:cubicBezTo>
                    <a:pt x="1057751" y="289084"/>
                    <a:pt x="1059656" y="286226"/>
                    <a:pt x="1061561" y="282416"/>
                  </a:cubicBezTo>
                  <a:cubicBezTo>
                    <a:pt x="1063466" y="278606"/>
                    <a:pt x="1064419" y="274796"/>
                    <a:pt x="1066324" y="271939"/>
                  </a:cubicBezTo>
                  <a:cubicBezTo>
                    <a:pt x="1066324" y="272891"/>
                    <a:pt x="1066324" y="272891"/>
                    <a:pt x="1066324" y="273844"/>
                  </a:cubicBezTo>
                  <a:cubicBezTo>
                    <a:pt x="1066324" y="275749"/>
                    <a:pt x="1067276" y="276701"/>
                    <a:pt x="1067276" y="278606"/>
                  </a:cubicBezTo>
                  <a:cubicBezTo>
                    <a:pt x="1066324" y="280511"/>
                    <a:pt x="1064419" y="282416"/>
                    <a:pt x="1063466" y="285274"/>
                  </a:cubicBezTo>
                  <a:cubicBezTo>
                    <a:pt x="1061561" y="288131"/>
                    <a:pt x="1059656" y="291941"/>
                    <a:pt x="1057751" y="295751"/>
                  </a:cubicBezTo>
                  <a:cubicBezTo>
                    <a:pt x="1057751" y="294799"/>
                    <a:pt x="1056799" y="293846"/>
                    <a:pt x="1056799" y="292894"/>
                  </a:cubicBezTo>
                  <a:close/>
                  <a:moveTo>
                    <a:pt x="1059656" y="360521"/>
                  </a:moveTo>
                  <a:cubicBezTo>
                    <a:pt x="1059656" y="360521"/>
                    <a:pt x="1059656" y="359569"/>
                    <a:pt x="1059656" y="360521"/>
                  </a:cubicBezTo>
                  <a:cubicBezTo>
                    <a:pt x="1059656" y="359569"/>
                    <a:pt x="1059656" y="360521"/>
                    <a:pt x="1059656" y="360521"/>
                  </a:cubicBezTo>
                  <a:cubicBezTo>
                    <a:pt x="1059656" y="360521"/>
                    <a:pt x="1059656" y="360521"/>
                    <a:pt x="1059656" y="360521"/>
                  </a:cubicBezTo>
                  <a:close/>
                  <a:moveTo>
                    <a:pt x="1064419" y="383381"/>
                  </a:moveTo>
                  <a:cubicBezTo>
                    <a:pt x="1063466" y="381476"/>
                    <a:pt x="1063466" y="380524"/>
                    <a:pt x="1062514" y="379571"/>
                  </a:cubicBezTo>
                  <a:cubicBezTo>
                    <a:pt x="1062514" y="377666"/>
                    <a:pt x="1062514" y="376714"/>
                    <a:pt x="1063466" y="374809"/>
                  </a:cubicBezTo>
                  <a:cubicBezTo>
                    <a:pt x="1063466" y="375761"/>
                    <a:pt x="1064419" y="377666"/>
                    <a:pt x="1064419" y="378619"/>
                  </a:cubicBezTo>
                  <a:cubicBezTo>
                    <a:pt x="1064419" y="379571"/>
                    <a:pt x="1064419" y="379571"/>
                    <a:pt x="1064419" y="380524"/>
                  </a:cubicBezTo>
                  <a:cubicBezTo>
                    <a:pt x="1064419" y="382429"/>
                    <a:pt x="1065371" y="384334"/>
                    <a:pt x="1065371" y="386239"/>
                  </a:cubicBezTo>
                  <a:cubicBezTo>
                    <a:pt x="1065371" y="385286"/>
                    <a:pt x="1065371" y="384334"/>
                    <a:pt x="1064419" y="383381"/>
                  </a:cubicBezTo>
                  <a:close/>
                  <a:moveTo>
                    <a:pt x="1069181" y="330994"/>
                  </a:moveTo>
                  <a:cubicBezTo>
                    <a:pt x="1067276" y="325279"/>
                    <a:pt x="1065371" y="318611"/>
                    <a:pt x="1063466" y="312896"/>
                  </a:cubicBezTo>
                  <a:cubicBezTo>
                    <a:pt x="1065371" y="309086"/>
                    <a:pt x="1067276" y="304324"/>
                    <a:pt x="1069181" y="300514"/>
                  </a:cubicBezTo>
                  <a:cubicBezTo>
                    <a:pt x="1070134" y="308134"/>
                    <a:pt x="1069181" y="316706"/>
                    <a:pt x="1070134" y="326231"/>
                  </a:cubicBezTo>
                  <a:cubicBezTo>
                    <a:pt x="1069181" y="328136"/>
                    <a:pt x="1069181" y="329089"/>
                    <a:pt x="1069181" y="330994"/>
                  </a:cubicBezTo>
                  <a:close/>
                  <a:moveTo>
                    <a:pt x="1077754" y="262414"/>
                  </a:moveTo>
                  <a:cubicBezTo>
                    <a:pt x="1076801" y="263366"/>
                    <a:pt x="1076801" y="264319"/>
                    <a:pt x="1075849" y="264319"/>
                  </a:cubicBezTo>
                  <a:cubicBezTo>
                    <a:pt x="1074896" y="261461"/>
                    <a:pt x="1074896" y="259556"/>
                    <a:pt x="1073944" y="256699"/>
                  </a:cubicBezTo>
                  <a:lnTo>
                    <a:pt x="1074896" y="256699"/>
                  </a:lnTo>
                  <a:lnTo>
                    <a:pt x="1075849" y="256699"/>
                  </a:lnTo>
                  <a:cubicBezTo>
                    <a:pt x="1076801" y="259556"/>
                    <a:pt x="1077754" y="260509"/>
                    <a:pt x="1077754" y="262414"/>
                  </a:cubicBezTo>
                  <a:close/>
                  <a:moveTo>
                    <a:pt x="1045369" y="175736"/>
                  </a:moveTo>
                  <a:cubicBezTo>
                    <a:pt x="1048226" y="168116"/>
                    <a:pt x="1052036" y="160496"/>
                    <a:pt x="1054894" y="153829"/>
                  </a:cubicBezTo>
                  <a:cubicBezTo>
                    <a:pt x="1054894" y="154781"/>
                    <a:pt x="1054894" y="154781"/>
                    <a:pt x="1055846" y="155734"/>
                  </a:cubicBezTo>
                  <a:cubicBezTo>
                    <a:pt x="1056799" y="160496"/>
                    <a:pt x="1058704" y="166211"/>
                    <a:pt x="1059656" y="171926"/>
                  </a:cubicBezTo>
                  <a:cubicBezTo>
                    <a:pt x="1061561" y="178594"/>
                    <a:pt x="1063466" y="186214"/>
                    <a:pt x="1064419" y="193834"/>
                  </a:cubicBezTo>
                  <a:cubicBezTo>
                    <a:pt x="1066324" y="201454"/>
                    <a:pt x="1067276" y="208121"/>
                    <a:pt x="1069181" y="215741"/>
                  </a:cubicBezTo>
                  <a:cubicBezTo>
                    <a:pt x="1072039" y="228124"/>
                    <a:pt x="1073944" y="241459"/>
                    <a:pt x="1076801" y="253841"/>
                  </a:cubicBezTo>
                  <a:cubicBezTo>
                    <a:pt x="1075849" y="253841"/>
                    <a:pt x="1074896" y="252889"/>
                    <a:pt x="1074896" y="252889"/>
                  </a:cubicBezTo>
                  <a:cubicBezTo>
                    <a:pt x="1070134" y="230981"/>
                    <a:pt x="1067276" y="216694"/>
                    <a:pt x="1067276" y="216694"/>
                  </a:cubicBezTo>
                  <a:cubicBezTo>
                    <a:pt x="1067276" y="216694"/>
                    <a:pt x="1067276" y="232886"/>
                    <a:pt x="1068229" y="257651"/>
                  </a:cubicBezTo>
                  <a:cubicBezTo>
                    <a:pt x="1068229" y="258604"/>
                    <a:pt x="1067276" y="258604"/>
                    <a:pt x="1067276" y="259556"/>
                  </a:cubicBezTo>
                  <a:cubicBezTo>
                    <a:pt x="1065371" y="255746"/>
                    <a:pt x="1065371" y="252889"/>
                    <a:pt x="1065371" y="252889"/>
                  </a:cubicBezTo>
                  <a:cubicBezTo>
                    <a:pt x="1065371" y="252889"/>
                    <a:pt x="1065371" y="255746"/>
                    <a:pt x="1066324" y="261461"/>
                  </a:cubicBezTo>
                  <a:cubicBezTo>
                    <a:pt x="1062514" y="267176"/>
                    <a:pt x="1058704" y="272891"/>
                    <a:pt x="1055846" y="278606"/>
                  </a:cubicBezTo>
                  <a:cubicBezTo>
                    <a:pt x="1055846" y="279559"/>
                    <a:pt x="1054894" y="279559"/>
                    <a:pt x="1054894" y="280511"/>
                  </a:cubicBezTo>
                  <a:cubicBezTo>
                    <a:pt x="1054894" y="279559"/>
                    <a:pt x="1053941" y="278606"/>
                    <a:pt x="1053941" y="277654"/>
                  </a:cubicBezTo>
                  <a:cubicBezTo>
                    <a:pt x="1050131" y="266224"/>
                    <a:pt x="1046321" y="254794"/>
                    <a:pt x="1043464" y="245269"/>
                  </a:cubicBezTo>
                  <a:cubicBezTo>
                    <a:pt x="1040606" y="235744"/>
                    <a:pt x="1037749" y="227171"/>
                    <a:pt x="1035844" y="220504"/>
                  </a:cubicBezTo>
                  <a:cubicBezTo>
                    <a:pt x="1033939" y="215741"/>
                    <a:pt x="1032986" y="211931"/>
                    <a:pt x="1032034" y="209074"/>
                  </a:cubicBezTo>
                  <a:cubicBezTo>
                    <a:pt x="1034891" y="196691"/>
                    <a:pt x="1040606" y="186214"/>
                    <a:pt x="1045369" y="175736"/>
                  </a:cubicBezTo>
                  <a:close/>
                  <a:moveTo>
                    <a:pt x="1019651" y="267176"/>
                  </a:moveTo>
                  <a:cubicBezTo>
                    <a:pt x="1020604" y="251936"/>
                    <a:pt x="1022509" y="236696"/>
                    <a:pt x="1023461" y="221456"/>
                  </a:cubicBezTo>
                  <a:cubicBezTo>
                    <a:pt x="1023461" y="220504"/>
                    <a:pt x="1024414" y="219551"/>
                    <a:pt x="1024414" y="218599"/>
                  </a:cubicBezTo>
                  <a:cubicBezTo>
                    <a:pt x="1026319" y="229076"/>
                    <a:pt x="1028224" y="241459"/>
                    <a:pt x="1032034" y="253841"/>
                  </a:cubicBezTo>
                  <a:cubicBezTo>
                    <a:pt x="1033939" y="263366"/>
                    <a:pt x="1036796" y="272891"/>
                    <a:pt x="1038701" y="283369"/>
                  </a:cubicBezTo>
                  <a:cubicBezTo>
                    <a:pt x="1038701" y="283369"/>
                    <a:pt x="1038701" y="284321"/>
                    <a:pt x="1037749" y="284321"/>
                  </a:cubicBezTo>
                  <a:cubicBezTo>
                    <a:pt x="1035844" y="287179"/>
                    <a:pt x="1032986" y="290036"/>
                    <a:pt x="1031081" y="294799"/>
                  </a:cubicBezTo>
                  <a:cubicBezTo>
                    <a:pt x="1029176" y="298609"/>
                    <a:pt x="1027271" y="302419"/>
                    <a:pt x="1025366" y="306229"/>
                  </a:cubicBezTo>
                  <a:cubicBezTo>
                    <a:pt x="1024414" y="297656"/>
                    <a:pt x="1024414" y="290036"/>
                    <a:pt x="1023461" y="284321"/>
                  </a:cubicBezTo>
                  <a:cubicBezTo>
                    <a:pt x="1022509" y="274796"/>
                    <a:pt x="1022509" y="269081"/>
                    <a:pt x="1022509" y="269081"/>
                  </a:cubicBezTo>
                  <a:cubicBezTo>
                    <a:pt x="1022509" y="269081"/>
                    <a:pt x="1021556" y="274796"/>
                    <a:pt x="1019651" y="284321"/>
                  </a:cubicBezTo>
                  <a:cubicBezTo>
                    <a:pt x="1018699" y="291941"/>
                    <a:pt x="1016794" y="302419"/>
                    <a:pt x="1015841" y="314801"/>
                  </a:cubicBezTo>
                  <a:cubicBezTo>
                    <a:pt x="1015841" y="314801"/>
                    <a:pt x="1015841" y="315754"/>
                    <a:pt x="1015841" y="315754"/>
                  </a:cubicBezTo>
                  <a:cubicBezTo>
                    <a:pt x="1015841" y="315754"/>
                    <a:pt x="1015841" y="315754"/>
                    <a:pt x="1015841" y="315754"/>
                  </a:cubicBezTo>
                  <a:cubicBezTo>
                    <a:pt x="1020604" y="276701"/>
                    <a:pt x="1022509" y="251936"/>
                    <a:pt x="1022509" y="251936"/>
                  </a:cubicBezTo>
                  <a:cubicBezTo>
                    <a:pt x="1022509" y="251936"/>
                    <a:pt x="1021556" y="257651"/>
                    <a:pt x="1019651" y="267176"/>
                  </a:cubicBezTo>
                  <a:close/>
                  <a:moveTo>
                    <a:pt x="1011079" y="364331"/>
                  </a:moveTo>
                  <a:cubicBezTo>
                    <a:pt x="1011079" y="361474"/>
                    <a:pt x="1012031" y="358616"/>
                    <a:pt x="1012031" y="355759"/>
                  </a:cubicBezTo>
                  <a:cubicBezTo>
                    <a:pt x="1012984" y="350996"/>
                    <a:pt x="1012984" y="347186"/>
                    <a:pt x="1013936" y="342424"/>
                  </a:cubicBezTo>
                  <a:cubicBezTo>
                    <a:pt x="1013936" y="342424"/>
                    <a:pt x="1013936" y="342424"/>
                    <a:pt x="1013936" y="342424"/>
                  </a:cubicBezTo>
                  <a:cubicBezTo>
                    <a:pt x="1012984" y="349091"/>
                    <a:pt x="1012984" y="356711"/>
                    <a:pt x="1012031" y="364331"/>
                  </a:cubicBezTo>
                  <a:cubicBezTo>
                    <a:pt x="1012031" y="365284"/>
                    <a:pt x="1011079" y="365284"/>
                    <a:pt x="1011079" y="366236"/>
                  </a:cubicBezTo>
                  <a:cubicBezTo>
                    <a:pt x="1011079" y="366236"/>
                    <a:pt x="1011079" y="366236"/>
                    <a:pt x="1011079" y="366236"/>
                  </a:cubicBezTo>
                  <a:cubicBezTo>
                    <a:pt x="1011079" y="366236"/>
                    <a:pt x="1011079" y="365284"/>
                    <a:pt x="1011079" y="364331"/>
                  </a:cubicBezTo>
                  <a:close/>
                  <a:moveTo>
                    <a:pt x="1004411" y="257651"/>
                  </a:moveTo>
                  <a:cubicBezTo>
                    <a:pt x="1003459" y="265271"/>
                    <a:pt x="1002506" y="273844"/>
                    <a:pt x="1001554" y="281464"/>
                  </a:cubicBezTo>
                  <a:cubicBezTo>
                    <a:pt x="999649" y="277654"/>
                    <a:pt x="997744" y="273844"/>
                    <a:pt x="996791" y="271939"/>
                  </a:cubicBezTo>
                  <a:cubicBezTo>
                    <a:pt x="999649" y="268129"/>
                    <a:pt x="1001554" y="262414"/>
                    <a:pt x="1004411" y="257651"/>
                  </a:cubicBezTo>
                  <a:close/>
                  <a:moveTo>
                    <a:pt x="991076" y="283369"/>
                  </a:moveTo>
                  <a:cubicBezTo>
                    <a:pt x="992981" y="280511"/>
                    <a:pt x="994886" y="276701"/>
                    <a:pt x="995839" y="273844"/>
                  </a:cubicBezTo>
                  <a:cubicBezTo>
                    <a:pt x="996791" y="277654"/>
                    <a:pt x="997744" y="283369"/>
                    <a:pt x="999649" y="291941"/>
                  </a:cubicBezTo>
                  <a:cubicBezTo>
                    <a:pt x="998696" y="303371"/>
                    <a:pt x="996791" y="314801"/>
                    <a:pt x="995839" y="326231"/>
                  </a:cubicBezTo>
                  <a:cubicBezTo>
                    <a:pt x="994886" y="328136"/>
                    <a:pt x="994886" y="329089"/>
                    <a:pt x="993934" y="330994"/>
                  </a:cubicBezTo>
                  <a:cubicBezTo>
                    <a:pt x="992981" y="324326"/>
                    <a:pt x="992981" y="320516"/>
                    <a:pt x="992981" y="320516"/>
                  </a:cubicBezTo>
                  <a:cubicBezTo>
                    <a:pt x="992981" y="320516"/>
                    <a:pt x="992029" y="327184"/>
                    <a:pt x="991076" y="338614"/>
                  </a:cubicBezTo>
                  <a:cubicBezTo>
                    <a:pt x="991076" y="339566"/>
                    <a:pt x="990124" y="340519"/>
                    <a:pt x="990124" y="341471"/>
                  </a:cubicBezTo>
                  <a:cubicBezTo>
                    <a:pt x="987266" y="349091"/>
                    <a:pt x="984409" y="356711"/>
                    <a:pt x="981551" y="365284"/>
                  </a:cubicBezTo>
                  <a:cubicBezTo>
                    <a:pt x="981551" y="364331"/>
                    <a:pt x="981551" y="363379"/>
                    <a:pt x="980599" y="363379"/>
                  </a:cubicBezTo>
                  <a:cubicBezTo>
                    <a:pt x="979646" y="351949"/>
                    <a:pt x="978694" y="341471"/>
                    <a:pt x="977741" y="331946"/>
                  </a:cubicBezTo>
                  <a:cubicBezTo>
                    <a:pt x="976789" y="325279"/>
                    <a:pt x="976789" y="318611"/>
                    <a:pt x="975836" y="311944"/>
                  </a:cubicBezTo>
                  <a:cubicBezTo>
                    <a:pt x="980599" y="301466"/>
                    <a:pt x="986314" y="291941"/>
                    <a:pt x="991076" y="283369"/>
                  </a:cubicBezTo>
                  <a:close/>
                  <a:moveTo>
                    <a:pt x="960596" y="298609"/>
                  </a:moveTo>
                  <a:cubicBezTo>
                    <a:pt x="963454" y="291941"/>
                    <a:pt x="965359" y="286226"/>
                    <a:pt x="968216" y="280511"/>
                  </a:cubicBezTo>
                  <a:cubicBezTo>
                    <a:pt x="968216" y="284321"/>
                    <a:pt x="967264" y="289084"/>
                    <a:pt x="967264" y="294799"/>
                  </a:cubicBezTo>
                  <a:cubicBezTo>
                    <a:pt x="965359" y="297656"/>
                    <a:pt x="963454" y="301466"/>
                    <a:pt x="961549" y="304324"/>
                  </a:cubicBezTo>
                  <a:cubicBezTo>
                    <a:pt x="961549" y="304324"/>
                    <a:pt x="961549" y="304324"/>
                    <a:pt x="961549" y="303371"/>
                  </a:cubicBezTo>
                  <a:cubicBezTo>
                    <a:pt x="961549" y="302419"/>
                    <a:pt x="960596" y="302419"/>
                    <a:pt x="960596" y="301466"/>
                  </a:cubicBezTo>
                  <a:cubicBezTo>
                    <a:pt x="960596" y="299561"/>
                    <a:pt x="960596" y="299561"/>
                    <a:pt x="960596" y="298609"/>
                  </a:cubicBezTo>
                  <a:close/>
                  <a:moveTo>
                    <a:pt x="939641" y="258604"/>
                  </a:moveTo>
                  <a:cubicBezTo>
                    <a:pt x="939641" y="258604"/>
                    <a:pt x="939641" y="258604"/>
                    <a:pt x="939641" y="258604"/>
                  </a:cubicBezTo>
                  <a:cubicBezTo>
                    <a:pt x="941546" y="253841"/>
                    <a:pt x="942499" y="250031"/>
                    <a:pt x="943451" y="246221"/>
                  </a:cubicBezTo>
                  <a:cubicBezTo>
                    <a:pt x="943451" y="248126"/>
                    <a:pt x="943451" y="250031"/>
                    <a:pt x="943451" y="251936"/>
                  </a:cubicBezTo>
                  <a:cubicBezTo>
                    <a:pt x="942499" y="253841"/>
                    <a:pt x="941546" y="256699"/>
                    <a:pt x="939641" y="258604"/>
                  </a:cubicBezTo>
                  <a:lnTo>
                    <a:pt x="939641" y="258604"/>
                  </a:lnTo>
                  <a:close/>
                  <a:moveTo>
                    <a:pt x="944404" y="280511"/>
                  </a:moveTo>
                  <a:lnTo>
                    <a:pt x="943451" y="273844"/>
                  </a:lnTo>
                  <a:cubicBezTo>
                    <a:pt x="943451" y="272891"/>
                    <a:pt x="944404" y="271939"/>
                    <a:pt x="944404" y="270986"/>
                  </a:cubicBezTo>
                  <a:cubicBezTo>
                    <a:pt x="944404" y="270986"/>
                    <a:pt x="944404" y="271939"/>
                    <a:pt x="944404" y="271939"/>
                  </a:cubicBezTo>
                  <a:cubicBezTo>
                    <a:pt x="944404" y="272891"/>
                    <a:pt x="944404" y="274796"/>
                    <a:pt x="944404" y="275749"/>
                  </a:cubicBezTo>
                  <a:cubicBezTo>
                    <a:pt x="945356" y="277654"/>
                    <a:pt x="945356" y="279559"/>
                    <a:pt x="944404" y="280511"/>
                  </a:cubicBezTo>
                  <a:close/>
                  <a:moveTo>
                    <a:pt x="944404" y="270986"/>
                  </a:moveTo>
                  <a:cubicBezTo>
                    <a:pt x="944404" y="270986"/>
                    <a:pt x="944404" y="270986"/>
                    <a:pt x="944404" y="270986"/>
                  </a:cubicBezTo>
                  <a:cubicBezTo>
                    <a:pt x="945356" y="270986"/>
                    <a:pt x="945356" y="270986"/>
                    <a:pt x="944404" y="270986"/>
                  </a:cubicBezTo>
                  <a:cubicBezTo>
                    <a:pt x="945356" y="270986"/>
                    <a:pt x="944404" y="270986"/>
                    <a:pt x="944404" y="270986"/>
                  </a:cubicBezTo>
                  <a:close/>
                  <a:moveTo>
                    <a:pt x="933926" y="227171"/>
                  </a:moveTo>
                  <a:cubicBezTo>
                    <a:pt x="946309" y="185261"/>
                    <a:pt x="954881" y="153829"/>
                    <a:pt x="958691" y="138589"/>
                  </a:cubicBezTo>
                  <a:cubicBezTo>
                    <a:pt x="958691" y="141446"/>
                    <a:pt x="958691" y="143351"/>
                    <a:pt x="958691" y="146209"/>
                  </a:cubicBezTo>
                  <a:cubicBezTo>
                    <a:pt x="957739" y="159544"/>
                    <a:pt x="956786" y="179546"/>
                    <a:pt x="953929" y="203359"/>
                  </a:cubicBezTo>
                  <a:cubicBezTo>
                    <a:pt x="952976" y="215741"/>
                    <a:pt x="951071" y="228124"/>
                    <a:pt x="950119" y="242411"/>
                  </a:cubicBezTo>
                  <a:cubicBezTo>
                    <a:pt x="949166" y="243364"/>
                    <a:pt x="948214" y="245269"/>
                    <a:pt x="948214" y="246221"/>
                  </a:cubicBezTo>
                  <a:cubicBezTo>
                    <a:pt x="947261" y="244316"/>
                    <a:pt x="947261" y="241459"/>
                    <a:pt x="947261" y="240506"/>
                  </a:cubicBezTo>
                  <a:cubicBezTo>
                    <a:pt x="948214" y="235744"/>
                    <a:pt x="949166" y="233839"/>
                    <a:pt x="949166" y="233839"/>
                  </a:cubicBezTo>
                  <a:cubicBezTo>
                    <a:pt x="949166" y="233839"/>
                    <a:pt x="948214" y="235744"/>
                    <a:pt x="946309" y="238601"/>
                  </a:cubicBezTo>
                  <a:cubicBezTo>
                    <a:pt x="945356" y="232886"/>
                    <a:pt x="944404" y="230029"/>
                    <a:pt x="944404" y="230029"/>
                  </a:cubicBezTo>
                  <a:cubicBezTo>
                    <a:pt x="944404" y="230029"/>
                    <a:pt x="944404" y="233839"/>
                    <a:pt x="944404" y="241459"/>
                  </a:cubicBezTo>
                  <a:cubicBezTo>
                    <a:pt x="943451" y="244316"/>
                    <a:pt x="941546" y="248126"/>
                    <a:pt x="939641" y="251936"/>
                  </a:cubicBezTo>
                  <a:lnTo>
                    <a:pt x="938689" y="248126"/>
                  </a:lnTo>
                  <a:lnTo>
                    <a:pt x="936784" y="241459"/>
                  </a:lnTo>
                  <a:cubicBezTo>
                    <a:pt x="941546" y="226219"/>
                    <a:pt x="943451" y="217646"/>
                    <a:pt x="943451" y="217646"/>
                  </a:cubicBezTo>
                  <a:cubicBezTo>
                    <a:pt x="943451" y="217646"/>
                    <a:pt x="940594" y="224314"/>
                    <a:pt x="934879" y="235744"/>
                  </a:cubicBezTo>
                  <a:lnTo>
                    <a:pt x="932974" y="230029"/>
                  </a:lnTo>
                  <a:cubicBezTo>
                    <a:pt x="932974" y="230029"/>
                    <a:pt x="932974" y="228124"/>
                    <a:pt x="933926" y="227171"/>
                  </a:cubicBezTo>
                  <a:close/>
                  <a:moveTo>
                    <a:pt x="921544" y="452914"/>
                  </a:moveTo>
                  <a:cubicBezTo>
                    <a:pt x="921544" y="452914"/>
                    <a:pt x="920591" y="451961"/>
                    <a:pt x="920591" y="451961"/>
                  </a:cubicBezTo>
                  <a:cubicBezTo>
                    <a:pt x="920591" y="447199"/>
                    <a:pt x="920591" y="443389"/>
                    <a:pt x="919639" y="438626"/>
                  </a:cubicBezTo>
                  <a:cubicBezTo>
                    <a:pt x="920591" y="443389"/>
                    <a:pt x="921544" y="448151"/>
                    <a:pt x="921544" y="452914"/>
                  </a:cubicBezTo>
                  <a:close/>
                  <a:moveTo>
                    <a:pt x="912019" y="210979"/>
                  </a:moveTo>
                  <a:lnTo>
                    <a:pt x="915829" y="227171"/>
                  </a:lnTo>
                  <a:cubicBezTo>
                    <a:pt x="915829" y="228124"/>
                    <a:pt x="915829" y="229076"/>
                    <a:pt x="914876" y="230029"/>
                  </a:cubicBezTo>
                  <a:cubicBezTo>
                    <a:pt x="913924" y="231934"/>
                    <a:pt x="913924" y="234791"/>
                    <a:pt x="912971" y="236696"/>
                  </a:cubicBezTo>
                  <a:cubicBezTo>
                    <a:pt x="912971" y="235744"/>
                    <a:pt x="912019" y="233839"/>
                    <a:pt x="912019" y="232886"/>
                  </a:cubicBezTo>
                  <a:cubicBezTo>
                    <a:pt x="912019" y="231934"/>
                    <a:pt x="912019" y="230029"/>
                    <a:pt x="912019" y="228124"/>
                  </a:cubicBezTo>
                  <a:cubicBezTo>
                    <a:pt x="912019" y="222409"/>
                    <a:pt x="911066" y="216694"/>
                    <a:pt x="911066" y="210979"/>
                  </a:cubicBezTo>
                  <a:cubicBezTo>
                    <a:pt x="911066" y="209074"/>
                    <a:pt x="911066" y="206216"/>
                    <a:pt x="911066" y="204311"/>
                  </a:cubicBezTo>
                  <a:lnTo>
                    <a:pt x="912019" y="210979"/>
                  </a:lnTo>
                  <a:close/>
                  <a:moveTo>
                    <a:pt x="833914" y="333851"/>
                  </a:moveTo>
                  <a:cubicBezTo>
                    <a:pt x="833914" y="332899"/>
                    <a:pt x="833914" y="332899"/>
                    <a:pt x="834866" y="331946"/>
                  </a:cubicBezTo>
                  <a:cubicBezTo>
                    <a:pt x="834866" y="333851"/>
                    <a:pt x="834866" y="335756"/>
                    <a:pt x="834866" y="337661"/>
                  </a:cubicBezTo>
                  <a:cubicBezTo>
                    <a:pt x="834866" y="336709"/>
                    <a:pt x="833914" y="334804"/>
                    <a:pt x="833914" y="333851"/>
                  </a:cubicBezTo>
                  <a:close/>
                  <a:moveTo>
                    <a:pt x="847249" y="304324"/>
                  </a:moveTo>
                  <a:cubicBezTo>
                    <a:pt x="847249" y="303371"/>
                    <a:pt x="847249" y="302419"/>
                    <a:pt x="846296" y="301466"/>
                  </a:cubicBezTo>
                  <a:cubicBezTo>
                    <a:pt x="846296" y="300514"/>
                    <a:pt x="846296" y="300514"/>
                    <a:pt x="846296" y="299561"/>
                  </a:cubicBezTo>
                  <a:cubicBezTo>
                    <a:pt x="848201" y="294799"/>
                    <a:pt x="849154" y="290989"/>
                    <a:pt x="851059" y="286226"/>
                  </a:cubicBezTo>
                  <a:cubicBezTo>
                    <a:pt x="850106" y="292894"/>
                    <a:pt x="848201" y="298609"/>
                    <a:pt x="847249" y="304324"/>
                  </a:cubicBezTo>
                  <a:close/>
                  <a:moveTo>
                    <a:pt x="880586" y="300514"/>
                  </a:moveTo>
                  <a:cubicBezTo>
                    <a:pt x="878681" y="306229"/>
                    <a:pt x="877729" y="312896"/>
                    <a:pt x="876776" y="319564"/>
                  </a:cubicBezTo>
                  <a:cubicBezTo>
                    <a:pt x="874871" y="326231"/>
                    <a:pt x="873919" y="334804"/>
                    <a:pt x="872966" y="343376"/>
                  </a:cubicBezTo>
                  <a:cubicBezTo>
                    <a:pt x="872014" y="346234"/>
                    <a:pt x="870109" y="348139"/>
                    <a:pt x="869156" y="350996"/>
                  </a:cubicBezTo>
                  <a:cubicBezTo>
                    <a:pt x="869156" y="350996"/>
                    <a:pt x="868204" y="350044"/>
                    <a:pt x="868204" y="349091"/>
                  </a:cubicBezTo>
                  <a:cubicBezTo>
                    <a:pt x="868204" y="349091"/>
                    <a:pt x="868204" y="348139"/>
                    <a:pt x="867251" y="348139"/>
                  </a:cubicBezTo>
                  <a:cubicBezTo>
                    <a:pt x="867251" y="344329"/>
                    <a:pt x="867251" y="339566"/>
                    <a:pt x="867251" y="335756"/>
                  </a:cubicBezTo>
                  <a:cubicBezTo>
                    <a:pt x="867251" y="323374"/>
                    <a:pt x="867251" y="311944"/>
                    <a:pt x="866299" y="301466"/>
                  </a:cubicBezTo>
                  <a:cubicBezTo>
                    <a:pt x="866299" y="290989"/>
                    <a:pt x="864394" y="281464"/>
                    <a:pt x="863441" y="272891"/>
                  </a:cubicBezTo>
                  <a:cubicBezTo>
                    <a:pt x="862489" y="267176"/>
                    <a:pt x="862489" y="262414"/>
                    <a:pt x="861536" y="257651"/>
                  </a:cubicBezTo>
                  <a:cubicBezTo>
                    <a:pt x="861536" y="256699"/>
                    <a:pt x="861536" y="256699"/>
                    <a:pt x="862489" y="255746"/>
                  </a:cubicBezTo>
                  <a:cubicBezTo>
                    <a:pt x="862489" y="255746"/>
                    <a:pt x="862489" y="255746"/>
                    <a:pt x="862489" y="255746"/>
                  </a:cubicBezTo>
                  <a:cubicBezTo>
                    <a:pt x="867251" y="265271"/>
                    <a:pt x="871061" y="274796"/>
                    <a:pt x="876776" y="286226"/>
                  </a:cubicBezTo>
                  <a:cubicBezTo>
                    <a:pt x="878681" y="290036"/>
                    <a:pt x="880586" y="293846"/>
                    <a:pt x="881539" y="296704"/>
                  </a:cubicBezTo>
                  <a:cubicBezTo>
                    <a:pt x="881539" y="298609"/>
                    <a:pt x="881539" y="299561"/>
                    <a:pt x="880586" y="300514"/>
                  </a:cubicBezTo>
                  <a:close/>
                  <a:moveTo>
                    <a:pt x="885349" y="318611"/>
                  </a:moveTo>
                  <a:cubicBezTo>
                    <a:pt x="885349" y="318611"/>
                    <a:pt x="885349" y="319564"/>
                    <a:pt x="884396" y="319564"/>
                  </a:cubicBezTo>
                  <a:cubicBezTo>
                    <a:pt x="884396" y="319564"/>
                    <a:pt x="884396" y="320516"/>
                    <a:pt x="883444" y="320516"/>
                  </a:cubicBezTo>
                  <a:cubicBezTo>
                    <a:pt x="883444" y="313849"/>
                    <a:pt x="883444" y="308134"/>
                    <a:pt x="884396" y="303371"/>
                  </a:cubicBezTo>
                  <a:cubicBezTo>
                    <a:pt x="885349" y="305276"/>
                    <a:pt x="886301" y="308134"/>
                    <a:pt x="887254" y="310039"/>
                  </a:cubicBezTo>
                  <a:cubicBezTo>
                    <a:pt x="887254" y="312896"/>
                    <a:pt x="886301" y="315754"/>
                    <a:pt x="885349" y="318611"/>
                  </a:cubicBezTo>
                  <a:close/>
                  <a:moveTo>
                    <a:pt x="900589" y="246221"/>
                  </a:moveTo>
                  <a:cubicBezTo>
                    <a:pt x="900589" y="247174"/>
                    <a:pt x="899636" y="247174"/>
                    <a:pt x="900589" y="246221"/>
                  </a:cubicBezTo>
                  <a:cubicBezTo>
                    <a:pt x="899636" y="239554"/>
                    <a:pt x="898684" y="234791"/>
                    <a:pt x="898684" y="234791"/>
                  </a:cubicBezTo>
                  <a:cubicBezTo>
                    <a:pt x="898684" y="234791"/>
                    <a:pt x="898684" y="241459"/>
                    <a:pt x="897731" y="252889"/>
                  </a:cubicBezTo>
                  <a:cubicBezTo>
                    <a:pt x="897731" y="252889"/>
                    <a:pt x="897731" y="252889"/>
                    <a:pt x="897731" y="253841"/>
                  </a:cubicBezTo>
                  <a:cubicBezTo>
                    <a:pt x="895826" y="251936"/>
                    <a:pt x="894874" y="250031"/>
                    <a:pt x="894874" y="250031"/>
                  </a:cubicBezTo>
                  <a:cubicBezTo>
                    <a:pt x="894874" y="250031"/>
                    <a:pt x="895826" y="251936"/>
                    <a:pt x="897731" y="254794"/>
                  </a:cubicBezTo>
                  <a:cubicBezTo>
                    <a:pt x="897731" y="255746"/>
                    <a:pt x="897731" y="256699"/>
                    <a:pt x="897731" y="257651"/>
                  </a:cubicBezTo>
                  <a:cubicBezTo>
                    <a:pt x="897731" y="259556"/>
                    <a:pt x="897731" y="262414"/>
                    <a:pt x="896779" y="264319"/>
                  </a:cubicBezTo>
                  <a:cubicBezTo>
                    <a:pt x="896779" y="264319"/>
                    <a:pt x="896779" y="264319"/>
                    <a:pt x="896779" y="264319"/>
                  </a:cubicBezTo>
                  <a:cubicBezTo>
                    <a:pt x="896779" y="264319"/>
                    <a:pt x="896779" y="264319"/>
                    <a:pt x="896779" y="264319"/>
                  </a:cubicBezTo>
                  <a:cubicBezTo>
                    <a:pt x="896779" y="264319"/>
                    <a:pt x="896779" y="265271"/>
                    <a:pt x="896779" y="265271"/>
                  </a:cubicBezTo>
                  <a:cubicBezTo>
                    <a:pt x="896779" y="267176"/>
                    <a:pt x="896779" y="269081"/>
                    <a:pt x="896779" y="270986"/>
                  </a:cubicBezTo>
                  <a:cubicBezTo>
                    <a:pt x="896779" y="271939"/>
                    <a:pt x="896779" y="271939"/>
                    <a:pt x="896779" y="272891"/>
                  </a:cubicBezTo>
                  <a:cubicBezTo>
                    <a:pt x="896779" y="276701"/>
                    <a:pt x="895826" y="280511"/>
                    <a:pt x="895826" y="285274"/>
                  </a:cubicBezTo>
                  <a:cubicBezTo>
                    <a:pt x="895826" y="286226"/>
                    <a:pt x="895826" y="286226"/>
                    <a:pt x="895826" y="287179"/>
                  </a:cubicBezTo>
                  <a:cubicBezTo>
                    <a:pt x="893921" y="284321"/>
                    <a:pt x="892969" y="281464"/>
                    <a:pt x="891064" y="279559"/>
                  </a:cubicBezTo>
                  <a:cubicBezTo>
                    <a:pt x="885349" y="269081"/>
                    <a:pt x="879634" y="259556"/>
                    <a:pt x="873919" y="250984"/>
                  </a:cubicBezTo>
                  <a:cubicBezTo>
                    <a:pt x="872014" y="248126"/>
                    <a:pt x="871061" y="245269"/>
                    <a:pt x="869156" y="243364"/>
                  </a:cubicBezTo>
                  <a:cubicBezTo>
                    <a:pt x="869156" y="243364"/>
                    <a:pt x="869156" y="243364"/>
                    <a:pt x="869156" y="242411"/>
                  </a:cubicBezTo>
                  <a:cubicBezTo>
                    <a:pt x="872966" y="232886"/>
                    <a:pt x="875824" y="223361"/>
                    <a:pt x="878681" y="215741"/>
                  </a:cubicBezTo>
                  <a:cubicBezTo>
                    <a:pt x="881539" y="210979"/>
                    <a:pt x="884396" y="205264"/>
                    <a:pt x="887254" y="200501"/>
                  </a:cubicBezTo>
                  <a:lnTo>
                    <a:pt x="895826" y="223361"/>
                  </a:lnTo>
                  <a:lnTo>
                    <a:pt x="901541" y="240506"/>
                  </a:lnTo>
                  <a:cubicBezTo>
                    <a:pt x="900589" y="242411"/>
                    <a:pt x="900589" y="244316"/>
                    <a:pt x="900589" y="246221"/>
                  </a:cubicBezTo>
                  <a:close/>
                  <a:moveTo>
                    <a:pt x="891064" y="190976"/>
                  </a:moveTo>
                  <a:cubicBezTo>
                    <a:pt x="892016" y="190024"/>
                    <a:pt x="892969" y="188119"/>
                    <a:pt x="892969" y="187166"/>
                  </a:cubicBezTo>
                  <a:cubicBezTo>
                    <a:pt x="892969" y="189071"/>
                    <a:pt x="894874" y="194786"/>
                    <a:pt x="896779" y="202406"/>
                  </a:cubicBezTo>
                  <a:cubicBezTo>
                    <a:pt x="895826" y="199549"/>
                    <a:pt x="893921" y="195739"/>
                    <a:pt x="891064" y="190976"/>
                  </a:cubicBezTo>
                  <a:close/>
                  <a:moveTo>
                    <a:pt x="904399" y="181451"/>
                  </a:moveTo>
                  <a:cubicBezTo>
                    <a:pt x="904399" y="182404"/>
                    <a:pt x="904399" y="182404"/>
                    <a:pt x="904399" y="183356"/>
                  </a:cubicBezTo>
                  <a:cubicBezTo>
                    <a:pt x="904399" y="190976"/>
                    <a:pt x="903446" y="200501"/>
                    <a:pt x="903446" y="210979"/>
                  </a:cubicBezTo>
                  <a:cubicBezTo>
                    <a:pt x="903446" y="210979"/>
                    <a:pt x="903446" y="210026"/>
                    <a:pt x="903446" y="210026"/>
                  </a:cubicBezTo>
                  <a:cubicBezTo>
                    <a:pt x="898684" y="197644"/>
                    <a:pt x="894874" y="190024"/>
                    <a:pt x="894874" y="188119"/>
                  </a:cubicBezTo>
                  <a:cubicBezTo>
                    <a:pt x="897731" y="183356"/>
                    <a:pt x="900589" y="178594"/>
                    <a:pt x="903446" y="173831"/>
                  </a:cubicBezTo>
                  <a:lnTo>
                    <a:pt x="904399" y="181451"/>
                  </a:lnTo>
                  <a:close/>
                  <a:moveTo>
                    <a:pt x="888206" y="137636"/>
                  </a:moveTo>
                  <a:cubicBezTo>
                    <a:pt x="889159" y="135731"/>
                    <a:pt x="890111" y="134779"/>
                    <a:pt x="890111" y="132874"/>
                  </a:cubicBezTo>
                  <a:lnTo>
                    <a:pt x="898684" y="161449"/>
                  </a:lnTo>
                  <a:cubicBezTo>
                    <a:pt x="896779" y="163354"/>
                    <a:pt x="894874" y="166211"/>
                    <a:pt x="893921" y="168116"/>
                  </a:cubicBezTo>
                  <a:cubicBezTo>
                    <a:pt x="891064" y="171926"/>
                    <a:pt x="888206" y="175736"/>
                    <a:pt x="885349" y="180499"/>
                  </a:cubicBezTo>
                  <a:cubicBezTo>
                    <a:pt x="881539" y="174784"/>
                    <a:pt x="878681" y="169069"/>
                    <a:pt x="874871" y="163354"/>
                  </a:cubicBezTo>
                  <a:cubicBezTo>
                    <a:pt x="879634" y="154781"/>
                    <a:pt x="883444" y="146209"/>
                    <a:pt x="888206" y="137636"/>
                  </a:cubicBezTo>
                  <a:close/>
                  <a:moveTo>
                    <a:pt x="872966" y="169069"/>
                  </a:moveTo>
                  <a:lnTo>
                    <a:pt x="881539" y="188119"/>
                  </a:lnTo>
                  <a:cubicBezTo>
                    <a:pt x="880586" y="189071"/>
                    <a:pt x="879634" y="190976"/>
                    <a:pt x="878681" y="191929"/>
                  </a:cubicBezTo>
                  <a:cubicBezTo>
                    <a:pt x="871061" y="202406"/>
                    <a:pt x="864394" y="213836"/>
                    <a:pt x="856774" y="226219"/>
                  </a:cubicBezTo>
                  <a:cubicBezTo>
                    <a:pt x="854869" y="223361"/>
                    <a:pt x="852964" y="220504"/>
                    <a:pt x="851059" y="217646"/>
                  </a:cubicBezTo>
                  <a:cubicBezTo>
                    <a:pt x="858679" y="199549"/>
                    <a:pt x="865346" y="183356"/>
                    <a:pt x="872966" y="169069"/>
                  </a:cubicBezTo>
                  <a:close/>
                  <a:moveTo>
                    <a:pt x="847249" y="225266"/>
                  </a:moveTo>
                  <a:cubicBezTo>
                    <a:pt x="847249" y="224314"/>
                    <a:pt x="848201" y="223361"/>
                    <a:pt x="848201" y="223361"/>
                  </a:cubicBezTo>
                  <a:cubicBezTo>
                    <a:pt x="849154" y="226219"/>
                    <a:pt x="851059" y="229076"/>
                    <a:pt x="852011" y="232886"/>
                  </a:cubicBezTo>
                  <a:cubicBezTo>
                    <a:pt x="850106" y="236696"/>
                    <a:pt x="848201" y="239554"/>
                    <a:pt x="845344" y="243364"/>
                  </a:cubicBezTo>
                  <a:cubicBezTo>
                    <a:pt x="842486" y="248126"/>
                    <a:pt x="839629" y="252889"/>
                    <a:pt x="837724" y="256699"/>
                  </a:cubicBezTo>
                  <a:cubicBezTo>
                    <a:pt x="837724" y="254794"/>
                    <a:pt x="836771" y="252889"/>
                    <a:pt x="836771" y="250984"/>
                  </a:cubicBezTo>
                  <a:cubicBezTo>
                    <a:pt x="839629" y="242411"/>
                    <a:pt x="843439" y="233839"/>
                    <a:pt x="847249" y="225266"/>
                  </a:cubicBezTo>
                  <a:close/>
                  <a:moveTo>
                    <a:pt x="835819" y="195739"/>
                  </a:moveTo>
                  <a:cubicBezTo>
                    <a:pt x="835819" y="194786"/>
                    <a:pt x="835819" y="194786"/>
                    <a:pt x="835819" y="195739"/>
                  </a:cubicBezTo>
                  <a:cubicBezTo>
                    <a:pt x="836771" y="196691"/>
                    <a:pt x="838676" y="200501"/>
                    <a:pt x="840581" y="206216"/>
                  </a:cubicBezTo>
                  <a:cubicBezTo>
                    <a:pt x="838676" y="210979"/>
                    <a:pt x="835819" y="214789"/>
                    <a:pt x="833914" y="219551"/>
                  </a:cubicBezTo>
                  <a:cubicBezTo>
                    <a:pt x="833914" y="220504"/>
                    <a:pt x="832961" y="220504"/>
                    <a:pt x="832961" y="221456"/>
                  </a:cubicBezTo>
                  <a:cubicBezTo>
                    <a:pt x="833914" y="211931"/>
                    <a:pt x="834866" y="203359"/>
                    <a:pt x="835819" y="195739"/>
                  </a:cubicBezTo>
                  <a:close/>
                  <a:moveTo>
                    <a:pt x="826294" y="274796"/>
                  </a:moveTo>
                  <a:cubicBezTo>
                    <a:pt x="827246" y="273844"/>
                    <a:pt x="827246" y="271939"/>
                    <a:pt x="828199" y="270986"/>
                  </a:cubicBezTo>
                  <a:cubicBezTo>
                    <a:pt x="828199" y="271939"/>
                    <a:pt x="828199" y="272891"/>
                    <a:pt x="828199" y="272891"/>
                  </a:cubicBezTo>
                  <a:cubicBezTo>
                    <a:pt x="827246" y="273844"/>
                    <a:pt x="826294" y="275749"/>
                    <a:pt x="826294" y="276701"/>
                  </a:cubicBezTo>
                  <a:cubicBezTo>
                    <a:pt x="826294" y="275749"/>
                    <a:pt x="826294" y="274796"/>
                    <a:pt x="826294" y="274796"/>
                  </a:cubicBezTo>
                  <a:close/>
                  <a:moveTo>
                    <a:pt x="812006" y="448151"/>
                  </a:moveTo>
                  <a:cubicBezTo>
                    <a:pt x="812006" y="448151"/>
                    <a:pt x="812006" y="448151"/>
                    <a:pt x="812006" y="448151"/>
                  </a:cubicBezTo>
                  <a:cubicBezTo>
                    <a:pt x="812006" y="448151"/>
                    <a:pt x="812006" y="448151"/>
                    <a:pt x="812006" y="448151"/>
                  </a:cubicBezTo>
                  <a:cubicBezTo>
                    <a:pt x="812006" y="448151"/>
                    <a:pt x="812006" y="448151"/>
                    <a:pt x="812006" y="448151"/>
                  </a:cubicBezTo>
                  <a:close/>
                  <a:moveTo>
                    <a:pt x="785336" y="330041"/>
                  </a:moveTo>
                  <a:cubicBezTo>
                    <a:pt x="784384" y="329089"/>
                    <a:pt x="783431" y="327184"/>
                    <a:pt x="782479" y="325279"/>
                  </a:cubicBezTo>
                  <a:cubicBezTo>
                    <a:pt x="782479" y="321469"/>
                    <a:pt x="782479" y="318611"/>
                    <a:pt x="782479" y="315754"/>
                  </a:cubicBezTo>
                  <a:cubicBezTo>
                    <a:pt x="783431" y="319564"/>
                    <a:pt x="785336" y="322421"/>
                    <a:pt x="786289" y="326231"/>
                  </a:cubicBezTo>
                  <a:cubicBezTo>
                    <a:pt x="786289" y="328136"/>
                    <a:pt x="785336" y="329089"/>
                    <a:pt x="785336" y="330041"/>
                  </a:cubicBezTo>
                  <a:close/>
                  <a:moveTo>
                    <a:pt x="797719" y="271939"/>
                  </a:moveTo>
                  <a:cubicBezTo>
                    <a:pt x="799624" y="276701"/>
                    <a:pt x="801529" y="281464"/>
                    <a:pt x="803434" y="286226"/>
                  </a:cubicBezTo>
                  <a:cubicBezTo>
                    <a:pt x="803434" y="287179"/>
                    <a:pt x="802481" y="288131"/>
                    <a:pt x="802481" y="288131"/>
                  </a:cubicBezTo>
                  <a:cubicBezTo>
                    <a:pt x="799624" y="295751"/>
                    <a:pt x="796766" y="302419"/>
                    <a:pt x="792956" y="310039"/>
                  </a:cubicBezTo>
                  <a:cubicBezTo>
                    <a:pt x="792956" y="310039"/>
                    <a:pt x="792956" y="310039"/>
                    <a:pt x="792956" y="309086"/>
                  </a:cubicBezTo>
                  <a:cubicBezTo>
                    <a:pt x="791051" y="305276"/>
                    <a:pt x="789146" y="300514"/>
                    <a:pt x="787241" y="296704"/>
                  </a:cubicBezTo>
                  <a:cubicBezTo>
                    <a:pt x="790099" y="285274"/>
                    <a:pt x="792956" y="274796"/>
                    <a:pt x="795814" y="266224"/>
                  </a:cubicBezTo>
                  <a:cubicBezTo>
                    <a:pt x="796766" y="269081"/>
                    <a:pt x="796766" y="270034"/>
                    <a:pt x="797719" y="271939"/>
                  </a:cubicBezTo>
                  <a:close/>
                  <a:moveTo>
                    <a:pt x="790099" y="253841"/>
                  </a:moveTo>
                  <a:cubicBezTo>
                    <a:pt x="791051" y="255746"/>
                    <a:pt x="792004" y="258604"/>
                    <a:pt x="793909" y="261461"/>
                  </a:cubicBezTo>
                  <a:cubicBezTo>
                    <a:pt x="793909" y="261461"/>
                    <a:pt x="793909" y="261461"/>
                    <a:pt x="793909" y="262414"/>
                  </a:cubicBezTo>
                  <a:cubicBezTo>
                    <a:pt x="791051" y="269081"/>
                    <a:pt x="788194" y="276701"/>
                    <a:pt x="784384" y="286226"/>
                  </a:cubicBezTo>
                  <a:cubicBezTo>
                    <a:pt x="784384" y="282416"/>
                    <a:pt x="784384" y="277654"/>
                    <a:pt x="785336" y="273844"/>
                  </a:cubicBezTo>
                  <a:cubicBezTo>
                    <a:pt x="786289" y="267176"/>
                    <a:pt x="788194" y="260509"/>
                    <a:pt x="790099" y="253841"/>
                  </a:cubicBezTo>
                  <a:close/>
                  <a:moveTo>
                    <a:pt x="773906" y="236696"/>
                  </a:moveTo>
                  <a:cubicBezTo>
                    <a:pt x="774859" y="229076"/>
                    <a:pt x="775811" y="221456"/>
                    <a:pt x="776764" y="213836"/>
                  </a:cubicBezTo>
                  <a:cubicBezTo>
                    <a:pt x="778669" y="218599"/>
                    <a:pt x="781526" y="223361"/>
                    <a:pt x="783431" y="229076"/>
                  </a:cubicBezTo>
                  <a:cubicBezTo>
                    <a:pt x="782479" y="230981"/>
                    <a:pt x="781526" y="233839"/>
                    <a:pt x="780574" y="235744"/>
                  </a:cubicBezTo>
                  <a:cubicBezTo>
                    <a:pt x="778669" y="233839"/>
                    <a:pt x="777716" y="231934"/>
                    <a:pt x="777716" y="231934"/>
                  </a:cubicBezTo>
                  <a:cubicBezTo>
                    <a:pt x="777716" y="231934"/>
                    <a:pt x="778669" y="233839"/>
                    <a:pt x="780574" y="236696"/>
                  </a:cubicBezTo>
                  <a:cubicBezTo>
                    <a:pt x="778669" y="242411"/>
                    <a:pt x="775811" y="249079"/>
                    <a:pt x="773906" y="255746"/>
                  </a:cubicBezTo>
                  <a:cubicBezTo>
                    <a:pt x="773906" y="249079"/>
                    <a:pt x="773906" y="242411"/>
                    <a:pt x="773906" y="236696"/>
                  </a:cubicBezTo>
                  <a:close/>
                  <a:moveTo>
                    <a:pt x="724376" y="219551"/>
                  </a:moveTo>
                  <a:cubicBezTo>
                    <a:pt x="725329" y="212884"/>
                    <a:pt x="726281" y="207169"/>
                    <a:pt x="726281" y="203359"/>
                  </a:cubicBezTo>
                  <a:cubicBezTo>
                    <a:pt x="726281" y="210026"/>
                    <a:pt x="726281" y="218599"/>
                    <a:pt x="726281" y="229076"/>
                  </a:cubicBezTo>
                  <a:cubicBezTo>
                    <a:pt x="725329" y="226219"/>
                    <a:pt x="724376" y="224314"/>
                    <a:pt x="723424" y="223361"/>
                  </a:cubicBezTo>
                  <a:cubicBezTo>
                    <a:pt x="723424" y="222409"/>
                    <a:pt x="723424" y="220504"/>
                    <a:pt x="724376" y="219551"/>
                  </a:cubicBezTo>
                  <a:close/>
                  <a:moveTo>
                    <a:pt x="723424" y="224314"/>
                  </a:moveTo>
                  <a:cubicBezTo>
                    <a:pt x="723424" y="226219"/>
                    <a:pt x="724376" y="230029"/>
                    <a:pt x="724376" y="235744"/>
                  </a:cubicBezTo>
                  <a:cubicBezTo>
                    <a:pt x="725329" y="239554"/>
                    <a:pt x="725329" y="245269"/>
                    <a:pt x="726281" y="250984"/>
                  </a:cubicBezTo>
                  <a:cubicBezTo>
                    <a:pt x="726281" y="250984"/>
                    <a:pt x="726281" y="250984"/>
                    <a:pt x="726281" y="251936"/>
                  </a:cubicBezTo>
                  <a:cubicBezTo>
                    <a:pt x="726281" y="259556"/>
                    <a:pt x="726281" y="268129"/>
                    <a:pt x="727234" y="276701"/>
                  </a:cubicBezTo>
                  <a:cubicBezTo>
                    <a:pt x="727234" y="280511"/>
                    <a:pt x="727234" y="284321"/>
                    <a:pt x="727234" y="288131"/>
                  </a:cubicBezTo>
                  <a:cubicBezTo>
                    <a:pt x="726281" y="286226"/>
                    <a:pt x="726281" y="285274"/>
                    <a:pt x="725329" y="284321"/>
                  </a:cubicBezTo>
                  <a:cubicBezTo>
                    <a:pt x="722471" y="275749"/>
                    <a:pt x="720566" y="268129"/>
                    <a:pt x="717709" y="260509"/>
                  </a:cubicBezTo>
                  <a:cubicBezTo>
                    <a:pt x="719614" y="246221"/>
                    <a:pt x="721519" y="233839"/>
                    <a:pt x="723424" y="224314"/>
                  </a:cubicBezTo>
                  <a:close/>
                  <a:moveTo>
                    <a:pt x="710089" y="308134"/>
                  </a:moveTo>
                  <a:cubicBezTo>
                    <a:pt x="710089" y="311944"/>
                    <a:pt x="711041" y="315754"/>
                    <a:pt x="711041" y="320516"/>
                  </a:cubicBezTo>
                  <a:cubicBezTo>
                    <a:pt x="712946" y="336709"/>
                    <a:pt x="714851" y="354806"/>
                    <a:pt x="717709" y="373856"/>
                  </a:cubicBezTo>
                  <a:cubicBezTo>
                    <a:pt x="715804" y="378619"/>
                    <a:pt x="712946" y="384334"/>
                    <a:pt x="711041" y="389096"/>
                  </a:cubicBezTo>
                  <a:cubicBezTo>
                    <a:pt x="710089" y="387191"/>
                    <a:pt x="710089" y="385286"/>
                    <a:pt x="709136" y="383381"/>
                  </a:cubicBezTo>
                  <a:cubicBezTo>
                    <a:pt x="710089" y="379571"/>
                    <a:pt x="710089" y="375761"/>
                    <a:pt x="711041" y="372904"/>
                  </a:cubicBezTo>
                  <a:cubicBezTo>
                    <a:pt x="712946" y="359569"/>
                    <a:pt x="713899" y="352901"/>
                    <a:pt x="713899" y="352901"/>
                  </a:cubicBezTo>
                  <a:cubicBezTo>
                    <a:pt x="713899" y="352901"/>
                    <a:pt x="711994" y="360521"/>
                    <a:pt x="707231" y="372904"/>
                  </a:cubicBezTo>
                  <a:cubicBezTo>
                    <a:pt x="707231" y="373856"/>
                    <a:pt x="706279" y="374809"/>
                    <a:pt x="706279" y="374809"/>
                  </a:cubicBezTo>
                  <a:cubicBezTo>
                    <a:pt x="704374" y="369094"/>
                    <a:pt x="702469" y="363379"/>
                    <a:pt x="701516" y="357664"/>
                  </a:cubicBezTo>
                  <a:cubicBezTo>
                    <a:pt x="701516" y="357664"/>
                    <a:pt x="701516" y="357664"/>
                    <a:pt x="701516" y="357664"/>
                  </a:cubicBezTo>
                  <a:cubicBezTo>
                    <a:pt x="704374" y="339566"/>
                    <a:pt x="707231" y="323374"/>
                    <a:pt x="710089" y="308134"/>
                  </a:cubicBezTo>
                  <a:close/>
                  <a:moveTo>
                    <a:pt x="676751" y="253841"/>
                  </a:moveTo>
                  <a:cubicBezTo>
                    <a:pt x="676751" y="250984"/>
                    <a:pt x="676751" y="249079"/>
                    <a:pt x="676751" y="246221"/>
                  </a:cubicBezTo>
                  <a:cubicBezTo>
                    <a:pt x="677704" y="237649"/>
                    <a:pt x="678656" y="229076"/>
                    <a:pt x="679609" y="220504"/>
                  </a:cubicBezTo>
                  <a:cubicBezTo>
                    <a:pt x="680561" y="206216"/>
                    <a:pt x="681514" y="192881"/>
                    <a:pt x="682466" y="181451"/>
                  </a:cubicBezTo>
                  <a:cubicBezTo>
                    <a:pt x="682466" y="180499"/>
                    <a:pt x="682466" y="179546"/>
                    <a:pt x="682466" y="178594"/>
                  </a:cubicBezTo>
                  <a:cubicBezTo>
                    <a:pt x="687229" y="193834"/>
                    <a:pt x="691039" y="211931"/>
                    <a:pt x="696754" y="231934"/>
                  </a:cubicBezTo>
                  <a:cubicBezTo>
                    <a:pt x="699611" y="243364"/>
                    <a:pt x="702469" y="254794"/>
                    <a:pt x="705326" y="267176"/>
                  </a:cubicBezTo>
                  <a:cubicBezTo>
                    <a:pt x="704374" y="269081"/>
                    <a:pt x="704374" y="271939"/>
                    <a:pt x="703421" y="273844"/>
                  </a:cubicBezTo>
                  <a:cubicBezTo>
                    <a:pt x="700564" y="284321"/>
                    <a:pt x="697706" y="295751"/>
                    <a:pt x="694849" y="307181"/>
                  </a:cubicBezTo>
                  <a:cubicBezTo>
                    <a:pt x="693896" y="309086"/>
                    <a:pt x="693896" y="311944"/>
                    <a:pt x="692944" y="313849"/>
                  </a:cubicBezTo>
                  <a:cubicBezTo>
                    <a:pt x="691991" y="316706"/>
                    <a:pt x="691039" y="319564"/>
                    <a:pt x="690086" y="322421"/>
                  </a:cubicBezTo>
                  <a:cubicBezTo>
                    <a:pt x="684371" y="305276"/>
                    <a:pt x="679609" y="290036"/>
                    <a:pt x="673894" y="274796"/>
                  </a:cubicBezTo>
                  <a:cubicBezTo>
                    <a:pt x="675799" y="268129"/>
                    <a:pt x="676751" y="260509"/>
                    <a:pt x="676751" y="253841"/>
                  </a:cubicBezTo>
                  <a:close/>
                  <a:moveTo>
                    <a:pt x="668179" y="331946"/>
                  </a:moveTo>
                  <a:cubicBezTo>
                    <a:pt x="668179" y="330994"/>
                    <a:pt x="668179" y="330994"/>
                    <a:pt x="668179" y="330041"/>
                  </a:cubicBezTo>
                  <a:cubicBezTo>
                    <a:pt x="668179" y="331946"/>
                    <a:pt x="669131" y="332899"/>
                    <a:pt x="669131" y="334804"/>
                  </a:cubicBezTo>
                  <a:cubicBezTo>
                    <a:pt x="670084" y="338614"/>
                    <a:pt x="671036" y="342424"/>
                    <a:pt x="671989" y="346234"/>
                  </a:cubicBezTo>
                  <a:cubicBezTo>
                    <a:pt x="672941" y="350044"/>
                    <a:pt x="673894" y="354806"/>
                    <a:pt x="674846" y="359569"/>
                  </a:cubicBezTo>
                  <a:cubicBezTo>
                    <a:pt x="675799" y="363379"/>
                    <a:pt x="676751" y="367189"/>
                    <a:pt x="676751" y="370999"/>
                  </a:cubicBezTo>
                  <a:cubicBezTo>
                    <a:pt x="676751" y="371951"/>
                    <a:pt x="675799" y="372904"/>
                    <a:pt x="675799" y="373856"/>
                  </a:cubicBezTo>
                  <a:cubicBezTo>
                    <a:pt x="675799" y="374809"/>
                    <a:pt x="674846" y="375761"/>
                    <a:pt x="674846" y="377666"/>
                  </a:cubicBezTo>
                  <a:cubicBezTo>
                    <a:pt x="672941" y="374809"/>
                    <a:pt x="671989" y="370999"/>
                    <a:pt x="670084" y="368141"/>
                  </a:cubicBezTo>
                  <a:cubicBezTo>
                    <a:pt x="668179" y="364331"/>
                    <a:pt x="666274" y="361474"/>
                    <a:pt x="664369" y="358616"/>
                  </a:cubicBezTo>
                  <a:cubicBezTo>
                    <a:pt x="665321" y="349091"/>
                    <a:pt x="667226" y="340519"/>
                    <a:pt x="668179" y="331946"/>
                  </a:cubicBezTo>
                  <a:close/>
                  <a:moveTo>
                    <a:pt x="656749" y="266224"/>
                  </a:moveTo>
                  <a:cubicBezTo>
                    <a:pt x="656749" y="266224"/>
                    <a:pt x="656749" y="267176"/>
                    <a:pt x="656749" y="267176"/>
                  </a:cubicBezTo>
                  <a:cubicBezTo>
                    <a:pt x="656749" y="268129"/>
                    <a:pt x="656749" y="269081"/>
                    <a:pt x="656749" y="269081"/>
                  </a:cubicBezTo>
                  <a:cubicBezTo>
                    <a:pt x="656749" y="268129"/>
                    <a:pt x="656749" y="267176"/>
                    <a:pt x="656749" y="266224"/>
                  </a:cubicBezTo>
                  <a:close/>
                  <a:moveTo>
                    <a:pt x="608171" y="318611"/>
                  </a:moveTo>
                  <a:cubicBezTo>
                    <a:pt x="609124" y="305276"/>
                    <a:pt x="611029" y="291941"/>
                    <a:pt x="611981" y="279559"/>
                  </a:cubicBezTo>
                  <a:cubicBezTo>
                    <a:pt x="612934" y="282416"/>
                    <a:pt x="612934" y="285274"/>
                    <a:pt x="613886" y="288131"/>
                  </a:cubicBezTo>
                  <a:cubicBezTo>
                    <a:pt x="614839" y="301466"/>
                    <a:pt x="615791" y="314801"/>
                    <a:pt x="615791" y="327184"/>
                  </a:cubicBezTo>
                  <a:cubicBezTo>
                    <a:pt x="615791" y="329089"/>
                    <a:pt x="615791" y="330041"/>
                    <a:pt x="615791" y="331946"/>
                  </a:cubicBezTo>
                  <a:cubicBezTo>
                    <a:pt x="615791" y="333851"/>
                    <a:pt x="615791" y="335756"/>
                    <a:pt x="615791" y="337661"/>
                  </a:cubicBezTo>
                  <a:cubicBezTo>
                    <a:pt x="614839" y="336709"/>
                    <a:pt x="613886" y="334804"/>
                    <a:pt x="613886" y="333851"/>
                  </a:cubicBezTo>
                  <a:cubicBezTo>
                    <a:pt x="611981" y="330041"/>
                    <a:pt x="609124" y="325279"/>
                    <a:pt x="607219" y="321469"/>
                  </a:cubicBezTo>
                  <a:cubicBezTo>
                    <a:pt x="608171" y="320516"/>
                    <a:pt x="608171" y="319564"/>
                    <a:pt x="608171" y="318611"/>
                  </a:cubicBezTo>
                  <a:close/>
                  <a:moveTo>
                    <a:pt x="606266" y="341471"/>
                  </a:moveTo>
                  <a:cubicBezTo>
                    <a:pt x="609124" y="349091"/>
                    <a:pt x="612934" y="356711"/>
                    <a:pt x="615791" y="364331"/>
                  </a:cubicBezTo>
                  <a:cubicBezTo>
                    <a:pt x="615791" y="364331"/>
                    <a:pt x="615791" y="365284"/>
                    <a:pt x="615791" y="365284"/>
                  </a:cubicBezTo>
                  <a:cubicBezTo>
                    <a:pt x="614839" y="368141"/>
                    <a:pt x="612934" y="371951"/>
                    <a:pt x="611029" y="375761"/>
                  </a:cubicBezTo>
                  <a:cubicBezTo>
                    <a:pt x="610076" y="371951"/>
                    <a:pt x="609124" y="367189"/>
                    <a:pt x="608171" y="363379"/>
                  </a:cubicBezTo>
                  <a:cubicBezTo>
                    <a:pt x="607219" y="358616"/>
                    <a:pt x="606266" y="354806"/>
                    <a:pt x="605314" y="350996"/>
                  </a:cubicBezTo>
                  <a:cubicBezTo>
                    <a:pt x="605314" y="348139"/>
                    <a:pt x="605314" y="344329"/>
                    <a:pt x="606266" y="341471"/>
                  </a:cubicBezTo>
                  <a:close/>
                  <a:moveTo>
                    <a:pt x="606266" y="424339"/>
                  </a:moveTo>
                  <a:cubicBezTo>
                    <a:pt x="607219" y="427196"/>
                    <a:pt x="608171" y="430054"/>
                    <a:pt x="609124" y="433864"/>
                  </a:cubicBezTo>
                  <a:cubicBezTo>
                    <a:pt x="608171" y="434816"/>
                    <a:pt x="608171" y="435769"/>
                    <a:pt x="607219" y="436721"/>
                  </a:cubicBezTo>
                  <a:lnTo>
                    <a:pt x="601504" y="435769"/>
                  </a:lnTo>
                  <a:cubicBezTo>
                    <a:pt x="604361" y="432911"/>
                    <a:pt x="605314" y="428149"/>
                    <a:pt x="606266" y="424339"/>
                  </a:cubicBezTo>
                  <a:close/>
                  <a:moveTo>
                    <a:pt x="599599" y="401479"/>
                  </a:moveTo>
                  <a:cubicBezTo>
                    <a:pt x="599599" y="402431"/>
                    <a:pt x="599599" y="402431"/>
                    <a:pt x="599599" y="401479"/>
                  </a:cubicBezTo>
                  <a:cubicBezTo>
                    <a:pt x="599599" y="402431"/>
                    <a:pt x="599599" y="403384"/>
                    <a:pt x="599599" y="403384"/>
                  </a:cubicBezTo>
                  <a:cubicBezTo>
                    <a:pt x="599599" y="403384"/>
                    <a:pt x="599599" y="402431"/>
                    <a:pt x="599599" y="401479"/>
                  </a:cubicBezTo>
                  <a:close/>
                  <a:moveTo>
                    <a:pt x="587216" y="300514"/>
                  </a:moveTo>
                  <a:cubicBezTo>
                    <a:pt x="588169" y="303371"/>
                    <a:pt x="590074" y="307181"/>
                    <a:pt x="591979" y="310039"/>
                  </a:cubicBezTo>
                  <a:cubicBezTo>
                    <a:pt x="591979" y="311944"/>
                    <a:pt x="591026" y="314801"/>
                    <a:pt x="591026" y="316706"/>
                  </a:cubicBezTo>
                  <a:cubicBezTo>
                    <a:pt x="591026" y="316706"/>
                    <a:pt x="591026" y="316706"/>
                    <a:pt x="591026" y="316706"/>
                  </a:cubicBezTo>
                  <a:cubicBezTo>
                    <a:pt x="591026" y="317659"/>
                    <a:pt x="590074" y="318611"/>
                    <a:pt x="590074" y="319564"/>
                  </a:cubicBezTo>
                  <a:cubicBezTo>
                    <a:pt x="589121" y="316706"/>
                    <a:pt x="588169" y="313849"/>
                    <a:pt x="587216" y="311944"/>
                  </a:cubicBezTo>
                  <a:cubicBezTo>
                    <a:pt x="587216" y="308134"/>
                    <a:pt x="587216" y="303371"/>
                    <a:pt x="586264" y="299561"/>
                  </a:cubicBezTo>
                  <a:cubicBezTo>
                    <a:pt x="586264" y="299561"/>
                    <a:pt x="586264" y="299561"/>
                    <a:pt x="587216" y="300514"/>
                  </a:cubicBezTo>
                  <a:close/>
                  <a:moveTo>
                    <a:pt x="553879" y="257651"/>
                  </a:moveTo>
                  <a:cubicBezTo>
                    <a:pt x="554831" y="249079"/>
                    <a:pt x="554831" y="241459"/>
                    <a:pt x="555784" y="233839"/>
                  </a:cubicBezTo>
                  <a:cubicBezTo>
                    <a:pt x="556736" y="238601"/>
                    <a:pt x="557689" y="243364"/>
                    <a:pt x="558641" y="249079"/>
                  </a:cubicBezTo>
                  <a:cubicBezTo>
                    <a:pt x="557689" y="247174"/>
                    <a:pt x="556736" y="247174"/>
                    <a:pt x="556736" y="247174"/>
                  </a:cubicBezTo>
                  <a:cubicBezTo>
                    <a:pt x="556736" y="247174"/>
                    <a:pt x="557689" y="248126"/>
                    <a:pt x="558641" y="250984"/>
                  </a:cubicBezTo>
                  <a:cubicBezTo>
                    <a:pt x="561499" y="264319"/>
                    <a:pt x="565309" y="280511"/>
                    <a:pt x="570071" y="297656"/>
                  </a:cubicBezTo>
                  <a:cubicBezTo>
                    <a:pt x="570071" y="299561"/>
                    <a:pt x="571024" y="301466"/>
                    <a:pt x="571976" y="303371"/>
                  </a:cubicBezTo>
                  <a:cubicBezTo>
                    <a:pt x="571024" y="306229"/>
                    <a:pt x="570071" y="310039"/>
                    <a:pt x="569119" y="312896"/>
                  </a:cubicBezTo>
                  <a:cubicBezTo>
                    <a:pt x="567214" y="307181"/>
                    <a:pt x="566261" y="301466"/>
                    <a:pt x="564356" y="295751"/>
                  </a:cubicBezTo>
                  <a:cubicBezTo>
                    <a:pt x="560546" y="285274"/>
                    <a:pt x="557689" y="274796"/>
                    <a:pt x="553879" y="266224"/>
                  </a:cubicBezTo>
                  <a:cubicBezTo>
                    <a:pt x="553879" y="263366"/>
                    <a:pt x="553879" y="260509"/>
                    <a:pt x="553879" y="257651"/>
                  </a:cubicBezTo>
                  <a:close/>
                  <a:moveTo>
                    <a:pt x="551974" y="295751"/>
                  </a:moveTo>
                  <a:cubicBezTo>
                    <a:pt x="551974" y="294799"/>
                    <a:pt x="551974" y="294799"/>
                    <a:pt x="551974" y="295751"/>
                  </a:cubicBezTo>
                  <a:cubicBezTo>
                    <a:pt x="551974" y="295751"/>
                    <a:pt x="552926" y="297656"/>
                    <a:pt x="552926" y="298609"/>
                  </a:cubicBezTo>
                  <a:cubicBezTo>
                    <a:pt x="554831" y="304324"/>
                    <a:pt x="555784" y="310991"/>
                    <a:pt x="556736" y="317659"/>
                  </a:cubicBezTo>
                  <a:cubicBezTo>
                    <a:pt x="556736" y="318611"/>
                    <a:pt x="556736" y="319564"/>
                    <a:pt x="557689" y="321469"/>
                  </a:cubicBezTo>
                  <a:cubicBezTo>
                    <a:pt x="557689" y="321469"/>
                    <a:pt x="557689" y="321469"/>
                    <a:pt x="557689" y="322421"/>
                  </a:cubicBezTo>
                  <a:cubicBezTo>
                    <a:pt x="557689" y="323374"/>
                    <a:pt x="557689" y="324326"/>
                    <a:pt x="557689" y="326231"/>
                  </a:cubicBezTo>
                  <a:cubicBezTo>
                    <a:pt x="555784" y="319564"/>
                    <a:pt x="553879" y="312896"/>
                    <a:pt x="552926" y="306229"/>
                  </a:cubicBezTo>
                  <a:cubicBezTo>
                    <a:pt x="551974" y="301466"/>
                    <a:pt x="551974" y="298609"/>
                    <a:pt x="551974" y="295751"/>
                  </a:cubicBezTo>
                  <a:close/>
                  <a:moveTo>
                    <a:pt x="529114" y="290036"/>
                  </a:moveTo>
                  <a:cubicBezTo>
                    <a:pt x="529114" y="290036"/>
                    <a:pt x="529114" y="290989"/>
                    <a:pt x="529114" y="290036"/>
                  </a:cubicBezTo>
                  <a:cubicBezTo>
                    <a:pt x="529114" y="290989"/>
                    <a:pt x="529114" y="290989"/>
                    <a:pt x="529114" y="290036"/>
                  </a:cubicBezTo>
                  <a:cubicBezTo>
                    <a:pt x="529114" y="290989"/>
                    <a:pt x="529114" y="290036"/>
                    <a:pt x="529114" y="290036"/>
                  </a:cubicBezTo>
                  <a:close/>
                  <a:moveTo>
                    <a:pt x="522446" y="336709"/>
                  </a:moveTo>
                  <a:cubicBezTo>
                    <a:pt x="522446" y="333851"/>
                    <a:pt x="523399" y="331946"/>
                    <a:pt x="523399" y="329089"/>
                  </a:cubicBezTo>
                  <a:cubicBezTo>
                    <a:pt x="524351" y="331946"/>
                    <a:pt x="525304" y="333851"/>
                    <a:pt x="526256" y="336709"/>
                  </a:cubicBezTo>
                  <a:cubicBezTo>
                    <a:pt x="528161" y="341471"/>
                    <a:pt x="530066" y="346234"/>
                    <a:pt x="531019" y="350996"/>
                  </a:cubicBezTo>
                  <a:cubicBezTo>
                    <a:pt x="531019" y="358616"/>
                    <a:pt x="531019" y="366236"/>
                    <a:pt x="531971" y="374809"/>
                  </a:cubicBezTo>
                  <a:cubicBezTo>
                    <a:pt x="531971" y="384334"/>
                    <a:pt x="532924" y="393859"/>
                    <a:pt x="533876" y="403384"/>
                  </a:cubicBezTo>
                  <a:cubicBezTo>
                    <a:pt x="530066" y="397669"/>
                    <a:pt x="528161" y="394811"/>
                    <a:pt x="528161" y="394811"/>
                  </a:cubicBezTo>
                  <a:cubicBezTo>
                    <a:pt x="528161" y="394811"/>
                    <a:pt x="530066" y="400526"/>
                    <a:pt x="532924" y="410051"/>
                  </a:cubicBezTo>
                  <a:cubicBezTo>
                    <a:pt x="533876" y="411956"/>
                    <a:pt x="534829" y="414814"/>
                    <a:pt x="534829" y="417671"/>
                  </a:cubicBezTo>
                  <a:cubicBezTo>
                    <a:pt x="534829" y="421481"/>
                    <a:pt x="535781" y="426244"/>
                    <a:pt x="535781" y="430054"/>
                  </a:cubicBezTo>
                  <a:lnTo>
                    <a:pt x="523399" y="428149"/>
                  </a:lnTo>
                  <a:cubicBezTo>
                    <a:pt x="523399" y="428149"/>
                    <a:pt x="522446" y="427196"/>
                    <a:pt x="522446" y="427196"/>
                  </a:cubicBezTo>
                  <a:cubicBezTo>
                    <a:pt x="522446" y="426244"/>
                    <a:pt x="522446" y="424339"/>
                    <a:pt x="522446" y="423386"/>
                  </a:cubicBezTo>
                  <a:cubicBezTo>
                    <a:pt x="525304" y="414814"/>
                    <a:pt x="527209" y="410051"/>
                    <a:pt x="527209" y="410051"/>
                  </a:cubicBezTo>
                  <a:cubicBezTo>
                    <a:pt x="527209" y="410051"/>
                    <a:pt x="525304" y="412909"/>
                    <a:pt x="522446" y="418624"/>
                  </a:cubicBezTo>
                  <a:cubicBezTo>
                    <a:pt x="522446" y="413861"/>
                    <a:pt x="521494" y="409099"/>
                    <a:pt x="521494" y="405289"/>
                  </a:cubicBezTo>
                  <a:cubicBezTo>
                    <a:pt x="520541" y="392906"/>
                    <a:pt x="518636" y="380524"/>
                    <a:pt x="517684" y="369094"/>
                  </a:cubicBezTo>
                  <a:cubicBezTo>
                    <a:pt x="519589" y="356711"/>
                    <a:pt x="520541" y="347186"/>
                    <a:pt x="522446" y="336709"/>
                  </a:cubicBezTo>
                  <a:close/>
                  <a:moveTo>
                    <a:pt x="512921" y="271939"/>
                  </a:moveTo>
                  <a:cubicBezTo>
                    <a:pt x="511969" y="276701"/>
                    <a:pt x="511016" y="281464"/>
                    <a:pt x="509111" y="287179"/>
                  </a:cubicBezTo>
                  <a:cubicBezTo>
                    <a:pt x="509111" y="287179"/>
                    <a:pt x="509111" y="287179"/>
                    <a:pt x="509111" y="288131"/>
                  </a:cubicBezTo>
                  <a:cubicBezTo>
                    <a:pt x="508159" y="284321"/>
                    <a:pt x="508159" y="279559"/>
                    <a:pt x="507206" y="275749"/>
                  </a:cubicBezTo>
                  <a:cubicBezTo>
                    <a:pt x="507206" y="270986"/>
                    <a:pt x="508159" y="267176"/>
                    <a:pt x="508159" y="262414"/>
                  </a:cubicBezTo>
                  <a:lnTo>
                    <a:pt x="509111" y="262414"/>
                  </a:lnTo>
                  <a:cubicBezTo>
                    <a:pt x="511016" y="265271"/>
                    <a:pt x="511969" y="268129"/>
                    <a:pt x="512921" y="271939"/>
                  </a:cubicBezTo>
                  <a:close/>
                  <a:moveTo>
                    <a:pt x="497681" y="207169"/>
                  </a:moveTo>
                  <a:cubicBezTo>
                    <a:pt x="500539" y="217646"/>
                    <a:pt x="503396" y="230981"/>
                    <a:pt x="506254" y="245269"/>
                  </a:cubicBezTo>
                  <a:cubicBezTo>
                    <a:pt x="507206" y="249079"/>
                    <a:pt x="508159" y="252889"/>
                    <a:pt x="509111" y="256699"/>
                  </a:cubicBezTo>
                  <a:cubicBezTo>
                    <a:pt x="508159" y="256699"/>
                    <a:pt x="507206" y="256699"/>
                    <a:pt x="506254" y="256699"/>
                  </a:cubicBezTo>
                  <a:lnTo>
                    <a:pt x="505301" y="256699"/>
                  </a:lnTo>
                  <a:cubicBezTo>
                    <a:pt x="505301" y="256699"/>
                    <a:pt x="505301" y="256699"/>
                    <a:pt x="505301" y="256699"/>
                  </a:cubicBezTo>
                  <a:cubicBezTo>
                    <a:pt x="502444" y="238601"/>
                    <a:pt x="499586" y="220504"/>
                    <a:pt x="497681" y="207169"/>
                  </a:cubicBezTo>
                  <a:cubicBezTo>
                    <a:pt x="496729" y="207169"/>
                    <a:pt x="496729" y="207169"/>
                    <a:pt x="497681" y="207169"/>
                  </a:cubicBezTo>
                  <a:close/>
                  <a:moveTo>
                    <a:pt x="487204" y="419576"/>
                  </a:moveTo>
                  <a:cubicBezTo>
                    <a:pt x="487204" y="420529"/>
                    <a:pt x="486251" y="421481"/>
                    <a:pt x="486251" y="422434"/>
                  </a:cubicBezTo>
                  <a:lnTo>
                    <a:pt x="483394" y="422434"/>
                  </a:lnTo>
                  <a:cubicBezTo>
                    <a:pt x="483394" y="421481"/>
                    <a:pt x="483394" y="419576"/>
                    <a:pt x="483394" y="418624"/>
                  </a:cubicBezTo>
                  <a:cubicBezTo>
                    <a:pt x="483394" y="412909"/>
                    <a:pt x="482441" y="407194"/>
                    <a:pt x="481489" y="401479"/>
                  </a:cubicBezTo>
                  <a:cubicBezTo>
                    <a:pt x="483394" y="407194"/>
                    <a:pt x="485299" y="413861"/>
                    <a:pt x="487204" y="419576"/>
                  </a:cubicBezTo>
                  <a:close/>
                  <a:moveTo>
                    <a:pt x="437674" y="390049"/>
                  </a:moveTo>
                  <a:cubicBezTo>
                    <a:pt x="437674" y="390049"/>
                    <a:pt x="437674" y="390049"/>
                    <a:pt x="437674" y="390049"/>
                  </a:cubicBezTo>
                  <a:cubicBezTo>
                    <a:pt x="437674" y="389096"/>
                    <a:pt x="437674" y="389096"/>
                    <a:pt x="437674" y="388144"/>
                  </a:cubicBezTo>
                  <a:cubicBezTo>
                    <a:pt x="437674" y="388144"/>
                    <a:pt x="437674" y="388144"/>
                    <a:pt x="437674" y="388144"/>
                  </a:cubicBezTo>
                  <a:cubicBezTo>
                    <a:pt x="437674" y="389096"/>
                    <a:pt x="437674" y="390049"/>
                    <a:pt x="437674" y="390049"/>
                  </a:cubicBezTo>
                  <a:cubicBezTo>
                    <a:pt x="437674" y="391001"/>
                    <a:pt x="437674" y="390049"/>
                    <a:pt x="437674" y="390049"/>
                  </a:cubicBezTo>
                  <a:close/>
                  <a:moveTo>
                    <a:pt x="448151" y="362426"/>
                  </a:moveTo>
                  <a:cubicBezTo>
                    <a:pt x="447199" y="360521"/>
                    <a:pt x="446246" y="358616"/>
                    <a:pt x="446246" y="356711"/>
                  </a:cubicBezTo>
                  <a:cubicBezTo>
                    <a:pt x="447199" y="353854"/>
                    <a:pt x="448151" y="350044"/>
                    <a:pt x="449104" y="347186"/>
                  </a:cubicBezTo>
                  <a:cubicBezTo>
                    <a:pt x="448151" y="351949"/>
                    <a:pt x="448151" y="357664"/>
                    <a:pt x="448151" y="362426"/>
                  </a:cubicBezTo>
                  <a:close/>
                  <a:moveTo>
                    <a:pt x="436721" y="227171"/>
                  </a:moveTo>
                  <a:cubicBezTo>
                    <a:pt x="437674" y="233839"/>
                    <a:pt x="439579" y="239554"/>
                    <a:pt x="440531" y="246221"/>
                  </a:cubicBezTo>
                  <a:cubicBezTo>
                    <a:pt x="438626" y="242411"/>
                    <a:pt x="436721" y="238601"/>
                    <a:pt x="434816" y="234791"/>
                  </a:cubicBezTo>
                  <a:cubicBezTo>
                    <a:pt x="435769" y="231934"/>
                    <a:pt x="435769" y="230029"/>
                    <a:pt x="436721" y="227171"/>
                  </a:cubicBezTo>
                  <a:close/>
                  <a:moveTo>
                    <a:pt x="428149" y="280511"/>
                  </a:moveTo>
                  <a:cubicBezTo>
                    <a:pt x="430054" y="270986"/>
                    <a:pt x="431006" y="262414"/>
                    <a:pt x="431959" y="253841"/>
                  </a:cubicBezTo>
                  <a:cubicBezTo>
                    <a:pt x="431959" y="255746"/>
                    <a:pt x="432911" y="256699"/>
                    <a:pt x="432911" y="258604"/>
                  </a:cubicBezTo>
                  <a:cubicBezTo>
                    <a:pt x="434816" y="266224"/>
                    <a:pt x="436721" y="274796"/>
                    <a:pt x="438626" y="284321"/>
                  </a:cubicBezTo>
                  <a:cubicBezTo>
                    <a:pt x="438626" y="286226"/>
                    <a:pt x="439579" y="288131"/>
                    <a:pt x="439579" y="290036"/>
                  </a:cubicBezTo>
                  <a:cubicBezTo>
                    <a:pt x="434816" y="284321"/>
                    <a:pt x="432911" y="281464"/>
                    <a:pt x="432911" y="281464"/>
                  </a:cubicBezTo>
                  <a:cubicBezTo>
                    <a:pt x="432911" y="281464"/>
                    <a:pt x="435769" y="287179"/>
                    <a:pt x="439579" y="295751"/>
                  </a:cubicBezTo>
                  <a:cubicBezTo>
                    <a:pt x="440531" y="296704"/>
                    <a:pt x="440531" y="298609"/>
                    <a:pt x="441484" y="299561"/>
                  </a:cubicBezTo>
                  <a:cubicBezTo>
                    <a:pt x="442436" y="303371"/>
                    <a:pt x="443389" y="308134"/>
                    <a:pt x="443389" y="312896"/>
                  </a:cubicBezTo>
                  <a:cubicBezTo>
                    <a:pt x="444341" y="317659"/>
                    <a:pt x="445294" y="323374"/>
                    <a:pt x="446246" y="328136"/>
                  </a:cubicBezTo>
                  <a:cubicBezTo>
                    <a:pt x="446246" y="330994"/>
                    <a:pt x="447199" y="332899"/>
                    <a:pt x="447199" y="335756"/>
                  </a:cubicBezTo>
                  <a:cubicBezTo>
                    <a:pt x="446246" y="337661"/>
                    <a:pt x="445294" y="339566"/>
                    <a:pt x="445294" y="341471"/>
                  </a:cubicBezTo>
                  <a:cubicBezTo>
                    <a:pt x="444341" y="344329"/>
                    <a:pt x="443389" y="346234"/>
                    <a:pt x="442436" y="349091"/>
                  </a:cubicBezTo>
                  <a:cubicBezTo>
                    <a:pt x="439579" y="342424"/>
                    <a:pt x="437674" y="336709"/>
                    <a:pt x="434816" y="331946"/>
                  </a:cubicBezTo>
                  <a:cubicBezTo>
                    <a:pt x="434816" y="322421"/>
                    <a:pt x="434816" y="317659"/>
                    <a:pt x="434816" y="317659"/>
                  </a:cubicBezTo>
                  <a:cubicBezTo>
                    <a:pt x="434816" y="317659"/>
                    <a:pt x="433864" y="321469"/>
                    <a:pt x="432911" y="328136"/>
                  </a:cubicBezTo>
                  <a:cubicBezTo>
                    <a:pt x="430054" y="319564"/>
                    <a:pt x="426244" y="310991"/>
                    <a:pt x="423386" y="303371"/>
                  </a:cubicBezTo>
                  <a:cubicBezTo>
                    <a:pt x="426244" y="295751"/>
                    <a:pt x="427196" y="288131"/>
                    <a:pt x="428149" y="280511"/>
                  </a:cubicBezTo>
                  <a:close/>
                  <a:moveTo>
                    <a:pt x="418624" y="345281"/>
                  </a:moveTo>
                  <a:cubicBezTo>
                    <a:pt x="419576" y="337661"/>
                    <a:pt x="420529" y="330041"/>
                    <a:pt x="422434" y="322421"/>
                  </a:cubicBezTo>
                  <a:cubicBezTo>
                    <a:pt x="424339" y="328136"/>
                    <a:pt x="425291" y="333851"/>
                    <a:pt x="427196" y="339566"/>
                  </a:cubicBezTo>
                  <a:cubicBezTo>
                    <a:pt x="428149" y="343376"/>
                    <a:pt x="429101" y="347186"/>
                    <a:pt x="430054" y="350996"/>
                  </a:cubicBezTo>
                  <a:cubicBezTo>
                    <a:pt x="429101" y="354806"/>
                    <a:pt x="429101" y="358616"/>
                    <a:pt x="428149" y="362426"/>
                  </a:cubicBezTo>
                  <a:cubicBezTo>
                    <a:pt x="427196" y="360521"/>
                    <a:pt x="426244" y="358616"/>
                    <a:pt x="426244" y="356711"/>
                  </a:cubicBezTo>
                  <a:cubicBezTo>
                    <a:pt x="423386" y="349091"/>
                    <a:pt x="420529" y="344329"/>
                    <a:pt x="420529" y="344329"/>
                  </a:cubicBezTo>
                  <a:cubicBezTo>
                    <a:pt x="420529" y="344329"/>
                    <a:pt x="420529" y="349091"/>
                    <a:pt x="422434" y="357664"/>
                  </a:cubicBezTo>
                  <a:cubicBezTo>
                    <a:pt x="423386" y="361474"/>
                    <a:pt x="423386" y="367189"/>
                    <a:pt x="424339" y="372904"/>
                  </a:cubicBezTo>
                  <a:cubicBezTo>
                    <a:pt x="424339" y="374809"/>
                    <a:pt x="425291" y="375761"/>
                    <a:pt x="425291" y="377666"/>
                  </a:cubicBezTo>
                  <a:cubicBezTo>
                    <a:pt x="425291" y="376714"/>
                    <a:pt x="424339" y="375761"/>
                    <a:pt x="424339" y="375761"/>
                  </a:cubicBezTo>
                  <a:cubicBezTo>
                    <a:pt x="424339" y="375761"/>
                    <a:pt x="424339" y="374809"/>
                    <a:pt x="424339" y="374809"/>
                  </a:cubicBezTo>
                  <a:cubicBezTo>
                    <a:pt x="422434" y="367189"/>
                    <a:pt x="420529" y="359569"/>
                    <a:pt x="418624" y="351949"/>
                  </a:cubicBezTo>
                  <a:cubicBezTo>
                    <a:pt x="417671" y="349091"/>
                    <a:pt x="418624" y="347186"/>
                    <a:pt x="418624" y="345281"/>
                  </a:cubicBezTo>
                  <a:close/>
                  <a:moveTo>
                    <a:pt x="406241" y="261461"/>
                  </a:moveTo>
                  <a:cubicBezTo>
                    <a:pt x="408146" y="267176"/>
                    <a:pt x="410051" y="275749"/>
                    <a:pt x="411956" y="285274"/>
                  </a:cubicBezTo>
                  <a:cubicBezTo>
                    <a:pt x="410051" y="292894"/>
                    <a:pt x="409099" y="301466"/>
                    <a:pt x="407194" y="310039"/>
                  </a:cubicBezTo>
                  <a:cubicBezTo>
                    <a:pt x="406241" y="307181"/>
                    <a:pt x="406241" y="304324"/>
                    <a:pt x="405289" y="302419"/>
                  </a:cubicBezTo>
                  <a:cubicBezTo>
                    <a:pt x="406241" y="288131"/>
                    <a:pt x="406241" y="273844"/>
                    <a:pt x="406241" y="261461"/>
                  </a:cubicBezTo>
                  <a:close/>
                  <a:moveTo>
                    <a:pt x="382429" y="290036"/>
                  </a:moveTo>
                  <a:cubicBezTo>
                    <a:pt x="382429" y="290989"/>
                    <a:pt x="382429" y="292894"/>
                    <a:pt x="381476" y="293846"/>
                  </a:cubicBezTo>
                  <a:cubicBezTo>
                    <a:pt x="381476" y="290989"/>
                    <a:pt x="381476" y="288131"/>
                    <a:pt x="381476" y="285274"/>
                  </a:cubicBezTo>
                  <a:cubicBezTo>
                    <a:pt x="381476" y="287179"/>
                    <a:pt x="382429" y="288131"/>
                    <a:pt x="382429" y="290036"/>
                  </a:cubicBezTo>
                  <a:close/>
                  <a:moveTo>
                    <a:pt x="361474" y="394811"/>
                  </a:moveTo>
                  <a:cubicBezTo>
                    <a:pt x="361474" y="397669"/>
                    <a:pt x="361474" y="401479"/>
                    <a:pt x="361474" y="404336"/>
                  </a:cubicBezTo>
                  <a:cubicBezTo>
                    <a:pt x="361474" y="405289"/>
                    <a:pt x="361474" y="406241"/>
                    <a:pt x="361474" y="407194"/>
                  </a:cubicBezTo>
                  <a:cubicBezTo>
                    <a:pt x="359569" y="399574"/>
                    <a:pt x="357664" y="391001"/>
                    <a:pt x="354806" y="383381"/>
                  </a:cubicBezTo>
                  <a:cubicBezTo>
                    <a:pt x="354806" y="383381"/>
                    <a:pt x="354806" y="383381"/>
                    <a:pt x="354806" y="382429"/>
                  </a:cubicBezTo>
                  <a:cubicBezTo>
                    <a:pt x="353854" y="379571"/>
                    <a:pt x="353854" y="376714"/>
                    <a:pt x="352901" y="373856"/>
                  </a:cubicBezTo>
                  <a:cubicBezTo>
                    <a:pt x="355759" y="381476"/>
                    <a:pt x="358616" y="388144"/>
                    <a:pt x="361474" y="394811"/>
                  </a:cubicBezTo>
                  <a:close/>
                  <a:moveTo>
                    <a:pt x="347186" y="307181"/>
                  </a:moveTo>
                  <a:cubicBezTo>
                    <a:pt x="348139" y="309086"/>
                    <a:pt x="348139" y="310039"/>
                    <a:pt x="349091" y="311944"/>
                  </a:cubicBezTo>
                  <a:cubicBezTo>
                    <a:pt x="348139" y="310991"/>
                    <a:pt x="348139" y="310039"/>
                    <a:pt x="347186" y="309086"/>
                  </a:cubicBezTo>
                  <a:cubicBezTo>
                    <a:pt x="346234" y="309086"/>
                    <a:pt x="346234" y="308134"/>
                    <a:pt x="347186" y="307181"/>
                  </a:cubicBezTo>
                  <a:close/>
                  <a:moveTo>
                    <a:pt x="347186" y="429101"/>
                  </a:moveTo>
                  <a:cubicBezTo>
                    <a:pt x="347186" y="430054"/>
                    <a:pt x="348139" y="431959"/>
                    <a:pt x="348139" y="432911"/>
                  </a:cubicBezTo>
                  <a:lnTo>
                    <a:pt x="346234" y="432911"/>
                  </a:lnTo>
                  <a:cubicBezTo>
                    <a:pt x="346234" y="431006"/>
                    <a:pt x="346234" y="430054"/>
                    <a:pt x="347186" y="429101"/>
                  </a:cubicBezTo>
                  <a:close/>
                  <a:moveTo>
                    <a:pt x="310991" y="439579"/>
                  </a:moveTo>
                  <a:cubicBezTo>
                    <a:pt x="310991" y="434816"/>
                    <a:pt x="310991" y="429101"/>
                    <a:pt x="311944" y="424339"/>
                  </a:cubicBezTo>
                  <a:cubicBezTo>
                    <a:pt x="313849" y="429101"/>
                    <a:pt x="315754" y="433864"/>
                    <a:pt x="317659" y="438626"/>
                  </a:cubicBezTo>
                  <a:lnTo>
                    <a:pt x="310991" y="439579"/>
                  </a:lnTo>
                  <a:close/>
                  <a:moveTo>
                    <a:pt x="302419" y="230981"/>
                  </a:moveTo>
                  <a:cubicBezTo>
                    <a:pt x="303371" y="232886"/>
                    <a:pt x="303371" y="235744"/>
                    <a:pt x="304324" y="237649"/>
                  </a:cubicBezTo>
                  <a:cubicBezTo>
                    <a:pt x="305276" y="242411"/>
                    <a:pt x="306229" y="247174"/>
                    <a:pt x="307181" y="252889"/>
                  </a:cubicBezTo>
                  <a:cubicBezTo>
                    <a:pt x="303371" y="247174"/>
                    <a:pt x="300514" y="244316"/>
                    <a:pt x="300514" y="244316"/>
                  </a:cubicBezTo>
                  <a:cubicBezTo>
                    <a:pt x="300514" y="238601"/>
                    <a:pt x="301466" y="234791"/>
                    <a:pt x="302419" y="230981"/>
                  </a:cubicBezTo>
                  <a:close/>
                  <a:moveTo>
                    <a:pt x="295751" y="269081"/>
                  </a:moveTo>
                  <a:cubicBezTo>
                    <a:pt x="296704" y="264319"/>
                    <a:pt x="297656" y="262414"/>
                    <a:pt x="297656" y="262414"/>
                  </a:cubicBezTo>
                  <a:cubicBezTo>
                    <a:pt x="297656" y="262414"/>
                    <a:pt x="296704" y="263366"/>
                    <a:pt x="295751" y="265271"/>
                  </a:cubicBezTo>
                  <a:cubicBezTo>
                    <a:pt x="296704" y="260509"/>
                    <a:pt x="296704" y="256699"/>
                    <a:pt x="297656" y="251936"/>
                  </a:cubicBezTo>
                  <a:cubicBezTo>
                    <a:pt x="298609" y="249079"/>
                    <a:pt x="298609" y="246221"/>
                    <a:pt x="299561" y="243364"/>
                  </a:cubicBezTo>
                  <a:cubicBezTo>
                    <a:pt x="299561" y="244316"/>
                    <a:pt x="300514" y="245269"/>
                    <a:pt x="301466" y="247174"/>
                  </a:cubicBezTo>
                  <a:cubicBezTo>
                    <a:pt x="304324" y="254794"/>
                    <a:pt x="307181" y="262414"/>
                    <a:pt x="310039" y="270986"/>
                  </a:cubicBezTo>
                  <a:cubicBezTo>
                    <a:pt x="312896" y="285274"/>
                    <a:pt x="315754" y="298609"/>
                    <a:pt x="319564" y="312896"/>
                  </a:cubicBezTo>
                  <a:cubicBezTo>
                    <a:pt x="322421" y="328136"/>
                    <a:pt x="326231" y="343376"/>
                    <a:pt x="330041" y="358616"/>
                  </a:cubicBezTo>
                  <a:cubicBezTo>
                    <a:pt x="330041" y="359569"/>
                    <a:pt x="330041" y="360521"/>
                    <a:pt x="330041" y="362426"/>
                  </a:cubicBezTo>
                  <a:cubicBezTo>
                    <a:pt x="329089" y="375761"/>
                    <a:pt x="328136" y="390049"/>
                    <a:pt x="327184" y="404336"/>
                  </a:cubicBezTo>
                  <a:cubicBezTo>
                    <a:pt x="327184" y="404336"/>
                    <a:pt x="327184" y="404336"/>
                    <a:pt x="327184" y="404336"/>
                  </a:cubicBezTo>
                  <a:cubicBezTo>
                    <a:pt x="325279" y="400526"/>
                    <a:pt x="323374" y="396716"/>
                    <a:pt x="321469" y="392906"/>
                  </a:cubicBezTo>
                  <a:cubicBezTo>
                    <a:pt x="317659" y="382429"/>
                    <a:pt x="313849" y="371951"/>
                    <a:pt x="310991" y="362426"/>
                  </a:cubicBezTo>
                  <a:cubicBezTo>
                    <a:pt x="306229" y="347186"/>
                    <a:pt x="301466" y="332899"/>
                    <a:pt x="296704" y="318611"/>
                  </a:cubicBezTo>
                  <a:cubicBezTo>
                    <a:pt x="294799" y="312896"/>
                    <a:pt x="293846" y="308134"/>
                    <a:pt x="291941" y="302419"/>
                  </a:cubicBezTo>
                  <a:cubicBezTo>
                    <a:pt x="292894" y="290989"/>
                    <a:pt x="294799" y="279559"/>
                    <a:pt x="295751" y="269081"/>
                  </a:cubicBezTo>
                  <a:close/>
                  <a:moveTo>
                    <a:pt x="283369" y="378619"/>
                  </a:moveTo>
                  <a:cubicBezTo>
                    <a:pt x="283369" y="373856"/>
                    <a:pt x="284321" y="369094"/>
                    <a:pt x="284321" y="365284"/>
                  </a:cubicBezTo>
                  <a:cubicBezTo>
                    <a:pt x="284321" y="364331"/>
                    <a:pt x="284321" y="363379"/>
                    <a:pt x="285274" y="363379"/>
                  </a:cubicBezTo>
                  <a:cubicBezTo>
                    <a:pt x="289084" y="370999"/>
                    <a:pt x="291941" y="378619"/>
                    <a:pt x="295751" y="387191"/>
                  </a:cubicBezTo>
                  <a:cubicBezTo>
                    <a:pt x="297656" y="391954"/>
                    <a:pt x="300514" y="395764"/>
                    <a:pt x="302419" y="400526"/>
                  </a:cubicBezTo>
                  <a:cubicBezTo>
                    <a:pt x="302419" y="401479"/>
                    <a:pt x="303371" y="403384"/>
                    <a:pt x="303371" y="404336"/>
                  </a:cubicBezTo>
                  <a:cubicBezTo>
                    <a:pt x="302419" y="407194"/>
                    <a:pt x="302419" y="410051"/>
                    <a:pt x="301466" y="412909"/>
                  </a:cubicBezTo>
                  <a:cubicBezTo>
                    <a:pt x="299561" y="422434"/>
                    <a:pt x="297656" y="432911"/>
                    <a:pt x="295751" y="442436"/>
                  </a:cubicBezTo>
                  <a:lnTo>
                    <a:pt x="283369" y="444341"/>
                  </a:lnTo>
                  <a:cubicBezTo>
                    <a:pt x="282416" y="441484"/>
                    <a:pt x="282416" y="438626"/>
                    <a:pt x="281464" y="435769"/>
                  </a:cubicBezTo>
                  <a:cubicBezTo>
                    <a:pt x="281464" y="425291"/>
                    <a:pt x="281464" y="415766"/>
                    <a:pt x="281464" y="407194"/>
                  </a:cubicBezTo>
                  <a:cubicBezTo>
                    <a:pt x="281464" y="397669"/>
                    <a:pt x="282416" y="388144"/>
                    <a:pt x="283369" y="378619"/>
                  </a:cubicBezTo>
                  <a:close/>
                  <a:moveTo>
                    <a:pt x="237649" y="415766"/>
                  </a:moveTo>
                  <a:cubicBezTo>
                    <a:pt x="234791" y="409099"/>
                    <a:pt x="230981" y="402431"/>
                    <a:pt x="228124" y="395764"/>
                  </a:cubicBezTo>
                  <a:cubicBezTo>
                    <a:pt x="228124" y="391954"/>
                    <a:pt x="229076" y="387191"/>
                    <a:pt x="229076" y="383381"/>
                  </a:cubicBezTo>
                  <a:cubicBezTo>
                    <a:pt x="232886" y="391001"/>
                    <a:pt x="235744" y="398621"/>
                    <a:pt x="239554" y="406241"/>
                  </a:cubicBezTo>
                  <a:cubicBezTo>
                    <a:pt x="239554" y="410051"/>
                    <a:pt x="238601" y="412909"/>
                    <a:pt x="237649" y="415766"/>
                  </a:cubicBezTo>
                  <a:close/>
                  <a:moveTo>
                    <a:pt x="247174" y="431006"/>
                  </a:moveTo>
                  <a:cubicBezTo>
                    <a:pt x="247174" y="429101"/>
                    <a:pt x="247174" y="427196"/>
                    <a:pt x="248126" y="425291"/>
                  </a:cubicBezTo>
                  <a:cubicBezTo>
                    <a:pt x="248126" y="425291"/>
                    <a:pt x="248126" y="425291"/>
                    <a:pt x="248126" y="425291"/>
                  </a:cubicBezTo>
                  <a:cubicBezTo>
                    <a:pt x="248126" y="427196"/>
                    <a:pt x="247174" y="429101"/>
                    <a:pt x="247174" y="431006"/>
                  </a:cubicBezTo>
                  <a:close/>
                  <a:moveTo>
                    <a:pt x="264319" y="204311"/>
                  </a:moveTo>
                  <a:cubicBezTo>
                    <a:pt x="267176" y="195739"/>
                    <a:pt x="269081" y="189071"/>
                    <a:pt x="270986" y="185261"/>
                  </a:cubicBezTo>
                  <a:cubicBezTo>
                    <a:pt x="269081" y="194786"/>
                    <a:pt x="268129" y="204311"/>
                    <a:pt x="267176" y="214789"/>
                  </a:cubicBezTo>
                  <a:cubicBezTo>
                    <a:pt x="267176" y="212884"/>
                    <a:pt x="266224" y="211931"/>
                    <a:pt x="266224" y="210026"/>
                  </a:cubicBezTo>
                  <a:cubicBezTo>
                    <a:pt x="264319" y="207169"/>
                    <a:pt x="264319" y="206216"/>
                    <a:pt x="264319" y="204311"/>
                  </a:cubicBezTo>
                  <a:cubicBezTo>
                    <a:pt x="264319" y="204311"/>
                    <a:pt x="264319" y="204311"/>
                    <a:pt x="264319" y="204311"/>
                  </a:cubicBezTo>
                  <a:close/>
                  <a:moveTo>
                    <a:pt x="254794" y="235744"/>
                  </a:moveTo>
                  <a:cubicBezTo>
                    <a:pt x="256699" y="230029"/>
                    <a:pt x="257651" y="225266"/>
                    <a:pt x="258604" y="220504"/>
                  </a:cubicBezTo>
                  <a:cubicBezTo>
                    <a:pt x="259556" y="227171"/>
                    <a:pt x="260509" y="234791"/>
                    <a:pt x="261461" y="242411"/>
                  </a:cubicBezTo>
                  <a:cubicBezTo>
                    <a:pt x="261461" y="243364"/>
                    <a:pt x="261461" y="244316"/>
                    <a:pt x="262414" y="245269"/>
                  </a:cubicBezTo>
                  <a:cubicBezTo>
                    <a:pt x="261461" y="253841"/>
                    <a:pt x="260509" y="261461"/>
                    <a:pt x="260509" y="270034"/>
                  </a:cubicBezTo>
                  <a:cubicBezTo>
                    <a:pt x="259556" y="268129"/>
                    <a:pt x="258604" y="266224"/>
                    <a:pt x="257651" y="264319"/>
                  </a:cubicBezTo>
                  <a:cubicBezTo>
                    <a:pt x="254794" y="258604"/>
                    <a:pt x="252889" y="253841"/>
                    <a:pt x="250984" y="249079"/>
                  </a:cubicBezTo>
                  <a:cubicBezTo>
                    <a:pt x="252889" y="245269"/>
                    <a:pt x="253841" y="239554"/>
                    <a:pt x="254794" y="235744"/>
                  </a:cubicBezTo>
                  <a:close/>
                  <a:moveTo>
                    <a:pt x="245269" y="276701"/>
                  </a:moveTo>
                  <a:cubicBezTo>
                    <a:pt x="246221" y="270986"/>
                    <a:pt x="248126" y="265271"/>
                    <a:pt x="249079" y="260509"/>
                  </a:cubicBezTo>
                  <a:cubicBezTo>
                    <a:pt x="250031" y="262414"/>
                    <a:pt x="250031" y="265271"/>
                    <a:pt x="250984" y="268129"/>
                  </a:cubicBezTo>
                  <a:cubicBezTo>
                    <a:pt x="252889" y="275749"/>
                    <a:pt x="255746" y="284321"/>
                    <a:pt x="258604" y="292894"/>
                  </a:cubicBezTo>
                  <a:cubicBezTo>
                    <a:pt x="258604" y="293846"/>
                    <a:pt x="259556" y="294799"/>
                    <a:pt x="259556" y="294799"/>
                  </a:cubicBezTo>
                  <a:cubicBezTo>
                    <a:pt x="259556" y="295751"/>
                    <a:pt x="259556" y="296704"/>
                    <a:pt x="259556" y="297656"/>
                  </a:cubicBezTo>
                  <a:cubicBezTo>
                    <a:pt x="258604" y="310039"/>
                    <a:pt x="258604" y="321469"/>
                    <a:pt x="257651" y="333851"/>
                  </a:cubicBezTo>
                  <a:cubicBezTo>
                    <a:pt x="255746" y="325279"/>
                    <a:pt x="253841" y="317659"/>
                    <a:pt x="250984" y="309086"/>
                  </a:cubicBezTo>
                  <a:cubicBezTo>
                    <a:pt x="252889" y="304324"/>
                    <a:pt x="253841" y="301466"/>
                    <a:pt x="253841" y="301466"/>
                  </a:cubicBezTo>
                  <a:cubicBezTo>
                    <a:pt x="253841" y="301466"/>
                    <a:pt x="252889" y="303371"/>
                    <a:pt x="250984" y="307181"/>
                  </a:cubicBezTo>
                  <a:cubicBezTo>
                    <a:pt x="249079" y="299561"/>
                    <a:pt x="247174" y="291941"/>
                    <a:pt x="244316" y="284321"/>
                  </a:cubicBezTo>
                  <a:cubicBezTo>
                    <a:pt x="244316" y="281464"/>
                    <a:pt x="245269" y="279559"/>
                    <a:pt x="245269" y="276701"/>
                  </a:cubicBezTo>
                  <a:close/>
                  <a:moveTo>
                    <a:pt x="236696" y="325279"/>
                  </a:moveTo>
                  <a:cubicBezTo>
                    <a:pt x="236696" y="324326"/>
                    <a:pt x="236696" y="323374"/>
                    <a:pt x="237649" y="322421"/>
                  </a:cubicBezTo>
                  <a:cubicBezTo>
                    <a:pt x="237649" y="324326"/>
                    <a:pt x="238601" y="327184"/>
                    <a:pt x="238601" y="329089"/>
                  </a:cubicBezTo>
                  <a:cubicBezTo>
                    <a:pt x="237649" y="330994"/>
                    <a:pt x="236696" y="332899"/>
                    <a:pt x="235744" y="335756"/>
                  </a:cubicBezTo>
                  <a:cubicBezTo>
                    <a:pt x="235744" y="332899"/>
                    <a:pt x="235744" y="329089"/>
                    <a:pt x="236696" y="325279"/>
                  </a:cubicBezTo>
                  <a:close/>
                  <a:moveTo>
                    <a:pt x="234791" y="353854"/>
                  </a:moveTo>
                  <a:cubicBezTo>
                    <a:pt x="236696" y="348139"/>
                    <a:pt x="238601" y="342424"/>
                    <a:pt x="240506" y="337661"/>
                  </a:cubicBezTo>
                  <a:cubicBezTo>
                    <a:pt x="240506" y="339566"/>
                    <a:pt x="241459" y="340519"/>
                    <a:pt x="241459" y="342424"/>
                  </a:cubicBezTo>
                  <a:cubicBezTo>
                    <a:pt x="243364" y="352901"/>
                    <a:pt x="246221" y="362426"/>
                    <a:pt x="248126" y="372904"/>
                  </a:cubicBezTo>
                  <a:cubicBezTo>
                    <a:pt x="248126" y="374809"/>
                    <a:pt x="247174" y="376714"/>
                    <a:pt x="247174" y="378619"/>
                  </a:cubicBezTo>
                  <a:cubicBezTo>
                    <a:pt x="245269" y="375761"/>
                    <a:pt x="243364" y="371951"/>
                    <a:pt x="242411" y="369094"/>
                  </a:cubicBezTo>
                  <a:cubicBezTo>
                    <a:pt x="239554" y="364331"/>
                    <a:pt x="236696" y="359569"/>
                    <a:pt x="234791" y="353854"/>
                  </a:cubicBezTo>
                  <a:cubicBezTo>
                    <a:pt x="234791" y="354806"/>
                    <a:pt x="234791" y="353854"/>
                    <a:pt x="234791" y="353854"/>
                  </a:cubicBezTo>
                  <a:close/>
                  <a:moveTo>
                    <a:pt x="222409" y="297656"/>
                  </a:moveTo>
                  <a:cubicBezTo>
                    <a:pt x="224314" y="290036"/>
                    <a:pt x="226219" y="283369"/>
                    <a:pt x="227171" y="278606"/>
                  </a:cubicBezTo>
                  <a:cubicBezTo>
                    <a:pt x="227171" y="280511"/>
                    <a:pt x="228124" y="282416"/>
                    <a:pt x="228124" y="284321"/>
                  </a:cubicBezTo>
                  <a:cubicBezTo>
                    <a:pt x="229076" y="286226"/>
                    <a:pt x="229076" y="288131"/>
                    <a:pt x="230029" y="290989"/>
                  </a:cubicBezTo>
                  <a:cubicBezTo>
                    <a:pt x="227171" y="301466"/>
                    <a:pt x="225266" y="312896"/>
                    <a:pt x="222409" y="324326"/>
                  </a:cubicBezTo>
                  <a:cubicBezTo>
                    <a:pt x="222409" y="326231"/>
                    <a:pt x="221456" y="328136"/>
                    <a:pt x="221456" y="330041"/>
                  </a:cubicBezTo>
                  <a:cubicBezTo>
                    <a:pt x="221456" y="330041"/>
                    <a:pt x="221456" y="329089"/>
                    <a:pt x="220504" y="329089"/>
                  </a:cubicBezTo>
                  <a:cubicBezTo>
                    <a:pt x="219551" y="323374"/>
                    <a:pt x="219551" y="317659"/>
                    <a:pt x="218599" y="312896"/>
                  </a:cubicBezTo>
                  <a:cubicBezTo>
                    <a:pt x="220504" y="306229"/>
                    <a:pt x="221456" y="301466"/>
                    <a:pt x="222409" y="297656"/>
                  </a:cubicBezTo>
                  <a:close/>
                  <a:moveTo>
                    <a:pt x="169069" y="411956"/>
                  </a:moveTo>
                  <a:cubicBezTo>
                    <a:pt x="169069" y="411956"/>
                    <a:pt x="169069" y="412909"/>
                    <a:pt x="169069" y="412909"/>
                  </a:cubicBezTo>
                  <a:cubicBezTo>
                    <a:pt x="168116" y="407194"/>
                    <a:pt x="167164" y="401479"/>
                    <a:pt x="165259" y="396716"/>
                  </a:cubicBezTo>
                  <a:cubicBezTo>
                    <a:pt x="165259" y="389096"/>
                    <a:pt x="164306" y="382429"/>
                    <a:pt x="164306" y="375761"/>
                  </a:cubicBezTo>
                  <a:cubicBezTo>
                    <a:pt x="163354" y="365284"/>
                    <a:pt x="162401" y="354806"/>
                    <a:pt x="161449" y="345281"/>
                  </a:cubicBezTo>
                  <a:cubicBezTo>
                    <a:pt x="160496" y="336709"/>
                    <a:pt x="159544" y="329089"/>
                    <a:pt x="158591" y="321469"/>
                  </a:cubicBezTo>
                  <a:cubicBezTo>
                    <a:pt x="158591" y="322421"/>
                    <a:pt x="159544" y="322421"/>
                    <a:pt x="159544" y="323374"/>
                  </a:cubicBezTo>
                  <a:cubicBezTo>
                    <a:pt x="160496" y="325279"/>
                    <a:pt x="161449" y="326231"/>
                    <a:pt x="162401" y="328136"/>
                  </a:cubicBezTo>
                  <a:cubicBezTo>
                    <a:pt x="163354" y="342424"/>
                    <a:pt x="165259" y="359569"/>
                    <a:pt x="167164" y="376714"/>
                  </a:cubicBezTo>
                  <a:cubicBezTo>
                    <a:pt x="168116" y="385286"/>
                    <a:pt x="169069" y="393859"/>
                    <a:pt x="170021" y="402431"/>
                  </a:cubicBezTo>
                  <a:cubicBezTo>
                    <a:pt x="170021" y="405289"/>
                    <a:pt x="169069" y="408146"/>
                    <a:pt x="169069" y="411956"/>
                  </a:cubicBezTo>
                  <a:close/>
                  <a:moveTo>
                    <a:pt x="209074" y="350044"/>
                  </a:moveTo>
                  <a:cubicBezTo>
                    <a:pt x="209074" y="352901"/>
                    <a:pt x="209074" y="356711"/>
                    <a:pt x="209074" y="359569"/>
                  </a:cubicBezTo>
                  <a:cubicBezTo>
                    <a:pt x="208121" y="358616"/>
                    <a:pt x="208121" y="357664"/>
                    <a:pt x="207169" y="356711"/>
                  </a:cubicBezTo>
                  <a:cubicBezTo>
                    <a:pt x="208121" y="354806"/>
                    <a:pt x="209074" y="351949"/>
                    <a:pt x="209074" y="350044"/>
                  </a:cubicBezTo>
                  <a:close/>
                  <a:moveTo>
                    <a:pt x="170974" y="259556"/>
                  </a:moveTo>
                  <a:cubicBezTo>
                    <a:pt x="173831" y="264319"/>
                    <a:pt x="175736" y="270034"/>
                    <a:pt x="178594" y="274796"/>
                  </a:cubicBezTo>
                  <a:cubicBezTo>
                    <a:pt x="181451" y="280511"/>
                    <a:pt x="184309" y="286226"/>
                    <a:pt x="187166" y="291941"/>
                  </a:cubicBezTo>
                  <a:cubicBezTo>
                    <a:pt x="192881" y="304324"/>
                    <a:pt x="198596" y="316706"/>
                    <a:pt x="205264" y="330041"/>
                  </a:cubicBezTo>
                  <a:cubicBezTo>
                    <a:pt x="203359" y="333851"/>
                    <a:pt x="202406" y="338614"/>
                    <a:pt x="200501" y="343376"/>
                  </a:cubicBezTo>
                  <a:cubicBezTo>
                    <a:pt x="200501" y="343376"/>
                    <a:pt x="200501" y="342424"/>
                    <a:pt x="199549" y="342424"/>
                  </a:cubicBezTo>
                  <a:cubicBezTo>
                    <a:pt x="193834" y="330994"/>
                    <a:pt x="187166" y="320516"/>
                    <a:pt x="180499" y="310039"/>
                  </a:cubicBezTo>
                  <a:cubicBezTo>
                    <a:pt x="178594" y="301466"/>
                    <a:pt x="176689" y="296704"/>
                    <a:pt x="176689" y="296704"/>
                  </a:cubicBezTo>
                  <a:cubicBezTo>
                    <a:pt x="176689" y="296704"/>
                    <a:pt x="176689" y="299561"/>
                    <a:pt x="176689" y="305276"/>
                  </a:cubicBezTo>
                  <a:cubicBezTo>
                    <a:pt x="175736" y="303371"/>
                    <a:pt x="174784" y="301466"/>
                    <a:pt x="172879" y="299561"/>
                  </a:cubicBezTo>
                  <a:cubicBezTo>
                    <a:pt x="172879" y="299561"/>
                    <a:pt x="171926" y="298609"/>
                    <a:pt x="171926" y="298609"/>
                  </a:cubicBezTo>
                  <a:cubicBezTo>
                    <a:pt x="170974" y="291941"/>
                    <a:pt x="169069" y="285274"/>
                    <a:pt x="168116" y="279559"/>
                  </a:cubicBezTo>
                  <a:cubicBezTo>
                    <a:pt x="164306" y="262414"/>
                    <a:pt x="161449" y="247174"/>
                    <a:pt x="158591" y="235744"/>
                  </a:cubicBezTo>
                  <a:cubicBezTo>
                    <a:pt x="163354" y="243364"/>
                    <a:pt x="167164" y="250984"/>
                    <a:pt x="170974" y="259556"/>
                  </a:cubicBezTo>
                  <a:close/>
                  <a:moveTo>
                    <a:pt x="161449" y="307181"/>
                  </a:moveTo>
                  <a:cubicBezTo>
                    <a:pt x="159544" y="305276"/>
                    <a:pt x="157639" y="303371"/>
                    <a:pt x="156686" y="301466"/>
                  </a:cubicBezTo>
                  <a:cubicBezTo>
                    <a:pt x="156686" y="300514"/>
                    <a:pt x="156686" y="298609"/>
                    <a:pt x="155734" y="297656"/>
                  </a:cubicBezTo>
                  <a:cubicBezTo>
                    <a:pt x="156686" y="300514"/>
                    <a:pt x="158591" y="304324"/>
                    <a:pt x="161449" y="307181"/>
                  </a:cubicBezTo>
                  <a:close/>
                  <a:moveTo>
                    <a:pt x="130969" y="280511"/>
                  </a:moveTo>
                  <a:cubicBezTo>
                    <a:pt x="131921" y="281464"/>
                    <a:pt x="132874" y="282416"/>
                    <a:pt x="133826" y="284321"/>
                  </a:cubicBezTo>
                  <a:cubicBezTo>
                    <a:pt x="137636" y="289084"/>
                    <a:pt x="141446" y="294799"/>
                    <a:pt x="145256" y="301466"/>
                  </a:cubicBezTo>
                  <a:cubicBezTo>
                    <a:pt x="147161" y="304324"/>
                    <a:pt x="149066" y="307181"/>
                    <a:pt x="150971" y="310039"/>
                  </a:cubicBezTo>
                  <a:cubicBezTo>
                    <a:pt x="150971" y="318611"/>
                    <a:pt x="150019" y="329089"/>
                    <a:pt x="150019" y="341471"/>
                  </a:cubicBezTo>
                  <a:cubicBezTo>
                    <a:pt x="150019" y="341471"/>
                    <a:pt x="150019" y="340519"/>
                    <a:pt x="149066" y="339566"/>
                  </a:cubicBezTo>
                  <a:cubicBezTo>
                    <a:pt x="148114" y="335756"/>
                    <a:pt x="146209" y="331946"/>
                    <a:pt x="145256" y="328136"/>
                  </a:cubicBezTo>
                  <a:cubicBezTo>
                    <a:pt x="144304" y="324326"/>
                    <a:pt x="142399" y="321469"/>
                    <a:pt x="140494" y="317659"/>
                  </a:cubicBezTo>
                  <a:cubicBezTo>
                    <a:pt x="137636" y="310991"/>
                    <a:pt x="134779" y="306229"/>
                    <a:pt x="132874" y="301466"/>
                  </a:cubicBezTo>
                  <a:cubicBezTo>
                    <a:pt x="130969" y="296704"/>
                    <a:pt x="129064" y="292894"/>
                    <a:pt x="127159" y="290989"/>
                  </a:cubicBezTo>
                  <a:cubicBezTo>
                    <a:pt x="129064" y="287179"/>
                    <a:pt x="130016" y="283369"/>
                    <a:pt x="130969" y="280511"/>
                  </a:cubicBezTo>
                  <a:close/>
                  <a:moveTo>
                    <a:pt x="121444" y="318611"/>
                  </a:moveTo>
                  <a:cubicBezTo>
                    <a:pt x="123349" y="309086"/>
                    <a:pt x="124301" y="301466"/>
                    <a:pt x="127159" y="294799"/>
                  </a:cubicBezTo>
                  <a:cubicBezTo>
                    <a:pt x="127159" y="294799"/>
                    <a:pt x="127159" y="294799"/>
                    <a:pt x="127159" y="293846"/>
                  </a:cubicBezTo>
                  <a:cubicBezTo>
                    <a:pt x="128111" y="296704"/>
                    <a:pt x="128111" y="299561"/>
                    <a:pt x="129064" y="303371"/>
                  </a:cubicBezTo>
                  <a:cubicBezTo>
                    <a:pt x="130016" y="308134"/>
                    <a:pt x="131921" y="313849"/>
                    <a:pt x="133826" y="320516"/>
                  </a:cubicBezTo>
                  <a:cubicBezTo>
                    <a:pt x="135731" y="327184"/>
                    <a:pt x="137636" y="334804"/>
                    <a:pt x="138589" y="342424"/>
                  </a:cubicBezTo>
                  <a:cubicBezTo>
                    <a:pt x="140494" y="350996"/>
                    <a:pt x="141446" y="359569"/>
                    <a:pt x="143351" y="369094"/>
                  </a:cubicBezTo>
                  <a:cubicBezTo>
                    <a:pt x="145256" y="378619"/>
                    <a:pt x="146209" y="388144"/>
                    <a:pt x="148114" y="398621"/>
                  </a:cubicBezTo>
                  <a:cubicBezTo>
                    <a:pt x="148114" y="399574"/>
                    <a:pt x="148114" y="401479"/>
                    <a:pt x="149066" y="403384"/>
                  </a:cubicBezTo>
                  <a:cubicBezTo>
                    <a:pt x="149066" y="406241"/>
                    <a:pt x="149066" y="408146"/>
                    <a:pt x="149066" y="411004"/>
                  </a:cubicBezTo>
                  <a:cubicBezTo>
                    <a:pt x="149066" y="412909"/>
                    <a:pt x="149066" y="414814"/>
                    <a:pt x="149066" y="416719"/>
                  </a:cubicBezTo>
                  <a:cubicBezTo>
                    <a:pt x="145256" y="407194"/>
                    <a:pt x="142399" y="397669"/>
                    <a:pt x="138589" y="388144"/>
                  </a:cubicBezTo>
                  <a:cubicBezTo>
                    <a:pt x="135731" y="379571"/>
                    <a:pt x="132874" y="371951"/>
                    <a:pt x="129064" y="363379"/>
                  </a:cubicBezTo>
                  <a:cubicBezTo>
                    <a:pt x="130969" y="360521"/>
                    <a:pt x="131921" y="358616"/>
                    <a:pt x="131921" y="358616"/>
                  </a:cubicBezTo>
                  <a:cubicBezTo>
                    <a:pt x="131921" y="358616"/>
                    <a:pt x="130969" y="359569"/>
                    <a:pt x="129064" y="361474"/>
                  </a:cubicBezTo>
                  <a:cubicBezTo>
                    <a:pt x="127159" y="357664"/>
                    <a:pt x="126206" y="353854"/>
                    <a:pt x="124301" y="350044"/>
                  </a:cubicBezTo>
                  <a:cubicBezTo>
                    <a:pt x="124301" y="348139"/>
                    <a:pt x="125254" y="346234"/>
                    <a:pt x="125254" y="344329"/>
                  </a:cubicBezTo>
                  <a:cubicBezTo>
                    <a:pt x="128111" y="333851"/>
                    <a:pt x="129064" y="328136"/>
                    <a:pt x="129064" y="328136"/>
                  </a:cubicBezTo>
                  <a:cubicBezTo>
                    <a:pt x="129064" y="328136"/>
                    <a:pt x="126206" y="333851"/>
                    <a:pt x="121444" y="343376"/>
                  </a:cubicBezTo>
                  <a:cubicBezTo>
                    <a:pt x="121444" y="343376"/>
                    <a:pt x="121444" y="343376"/>
                    <a:pt x="121444" y="343376"/>
                  </a:cubicBezTo>
                  <a:cubicBezTo>
                    <a:pt x="121444" y="342424"/>
                    <a:pt x="121444" y="342424"/>
                    <a:pt x="120491" y="341471"/>
                  </a:cubicBezTo>
                  <a:cubicBezTo>
                    <a:pt x="119539" y="339566"/>
                    <a:pt x="118586" y="337661"/>
                    <a:pt x="117634" y="334804"/>
                  </a:cubicBezTo>
                  <a:cubicBezTo>
                    <a:pt x="119539" y="329089"/>
                    <a:pt x="120491" y="323374"/>
                    <a:pt x="121444" y="318611"/>
                  </a:cubicBezTo>
                  <a:close/>
                  <a:moveTo>
                    <a:pt x="116681" y="393859"/>
                  </a:moveTo>
                  <a:cubicBezTo>
                    <a:pt x="120491" y="402431"/>
                    <a:pt x="123349" y="411004"/>
                    <a:pt x="127159" y="419576"/>
                  </a:cubicBezTo>
                  <a:lnTo>
                    <a:pt x="113824" y="414814"/>
                  </a:lnTo>
                  <a:cubicBezTo>
                    <a:pt x="115729" y="408146"/>
                    <a:pt x="115729" y="400526"/>
                    <a:pt x="116681" y="393859"/>
                  </a:cubicBezTo>
                  <a:close/>
                  <a:moveTo>
                    <a:pt x="91916" y="341471"/>
                  </a:moveTo>
                  <a:cubicBezTo>
                    <a:pt x="91916" y="339566"/>
                    <a:pt x="92869" y="337661"/>
                    <a:pt x="92869" y="335756"/>
                  </a:cubicBezTo>
                  <a:cubicBezTo>
                    <a:pt x="93821" y="337661"/>
                    <a:pt x="93821" y="338614"/>
                    <a:pt x="94774" y="340519"/>
                  </a:cubicBezTo>
                  <a:cubicBezTo>
                    <a:pt x="97631" y="346234"/>
                    <a:pt x="99536" y="351949"/>
                    <a:pt x="102394" y="358616"/>
                  </a:cubicBezTo>
                  <a:cubicBezTo>
                    <a:pt x="100489" y="367189"/>
                    <a:pt x="98584" y="374809"/>
                    <a:pt x="96679" y="384334"/>
                  </a:cubicBezTo>
                  <a:cubicBezTo>
                    <a:pt x="95726" y="389096"/>
                    <a:pt x="94774" y="393859"/>
                    <a:pt x="94774" y="399574"/>
                  </a:cubicBezTo>
                  <a:cubicBezTo>
                    <a:pt x="94774" y="399574"/>
                    <a:pt x="93821" y="400526"/>
                    <a:pt x="93821" y="400526"/>
                  </a:cubicBezTo>
                  <a:cubicBezTo>
                    <a:pt x="92869" y="401479"/>
                    <a:pt x="91916" y="403384"/>
                    <a:pt x="90964" y="404336"/>
                  </a:cubicBezTo>
                  <a:cubicBezTo>
                    <a:pt x="90011" y="396716"/>
                    <a:pt x="89059" y="390049"/>
                    <a:pt x="88106" y="382429"/>
                  </a:cubicBezTo>
                  <a:cubicBezTo>
                    <a:pt x="87154" y="376714"/>
                    <a:pt x="86201" y="370999"/>
                    <a:pt x="85249" y="365284"/>
                  </a:cubicBezTo>
                  <a:cubicBezTo>
                    <a:pt x="87154" y="356711"/>
                    <a:pt x="89059" y="348139"/>
                    <a:pt x="91916" y="341471"/>
                  </a:cubicBezTo>
                  <a:close/>
                  <a:moveTo>
                    <a:pt x="72866" y="407194"/>
                  </a:moveTo>
                  <a:cubicBezTo>
                    <a:pt x="72866" y="408146"/>
                    <a:pt x="72866" y="408146"/>
                    <a:pt x="72866" y="409099"/>
                  </a:cubicBezTo>
                  <a:cubicBezTo>
                    <a:pt x="72866" y="409099"/>
                    <a:pt x="72866" y="409099"/>
                    <a:pt x="71914" y="409099"/>
                  </a:cubicBezTo>
                  <a:cubicBezTo>
                    <a:pt x="71914" y="408146"/>
                    <a:pt x="72866" y="408146"/>
                    <a:pt x="72866" y="407194"/>
                  </a:cubicBezTo>
                  <a:close/>
                </a:path>
              </a:pathLst>
            </a:custGeom>
            <a:solidFill>
              <a:schemeClr val="accent1"/>
            </a:solidFill>
            <a:ln w="9525" cap="flat">
              <a:noFill/>
              <a:prstDash val="solid"/>
              <a:miter/>
            </a:ln>
          </p:spPr>
          <p:txBody>
            <a:bodyPr rtlCol="0" anchor="ctr"/>
            <a:lstStyle/>
            <a:p>
              <a:pPr marL="0" marR="0" lvl="0" indent="0" algn="l" defTabSz="91376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Arial Unicode MS"/>
                <a:cs typeface="+mn-cs"/>
              </a:endParaRPr>
            </a:p>
          </p:txBody>
        </p:sp>
        <p:sp>
          <p:nvSpPr>
            <p:cNvPr id="8" name="Graphic 41">
              <a:extLst>
                <a:ext uri="{FF2B5EF4-FFF2-40B4-BE49-F238E27FC236}">
                  <a16:creationId xmlns:a16="http://schemas.microsoft.com/office/drawing/2014/main" id="{D99DEF50-1B12-45D7-8822-C1AF050634CB}"/>
                </a:ext>
              </a:extLst>
            </p:cNvPr>
            <p:cNvSpPr/>
            <p:nvPr userDrawn="1"/>
          </p:nvSpPr>
          <p:spPr>
            <a:xfrm>
              <a:off x="5489944" y="6411432"/>
              <a:ext cx="5608465" cy="446567"/>
            </a:xfrm>
            <a:custGeom>
              <a:avLst/>
              <a:gdLst>
                <a:gd name="connsiteX0" fmla="*/ 7144 w 6400800"/>
                <a:gd name="connsiteY0" fmla="*/ 511016 h 514350"/>
                <a:gd name="connsiteX1" fmla="*/ 6354604 w 6400800"/>
                <a:gd name="connsiteY1" fmla="*/ 511016 h 514350"/>
                <a:gd name="connsiteX2" fmla="*/ 6354604 w 6400800"/>
                <a:gd name="connsiteY2" fmla="*/ 409099 h 514350"/>
                <a:gd name="connsiteX3" fmla="*/ 6327934 w 6400800"/>
                <a:gd name="connsiteY3" fmla="*/ 415766 h 514350"/>
                <a:gd name="connsiteX4" fmla="*/ 6327934 w 6400800"/>
                <a:gd name="connsiteY4" fmla="*/ 404336 h 514350"/>
                <a:gd name="connsiteX5" fmla="*/ 6328887 w 6400800"/>
                <a:gd name="connsiteY5" fmla="*/ 383381 h 514350"/>
                <a:gd name="connsiteX6" fmla="*/ 6329839 w 6400800"/>
                <a:gd name="connsiteY6" fmla="*/ 365284 h 514350"/>
                <a:gd name="connsiteX7" fmla="*/ 6324124 w 6400800"/>
                <a:gd name="connsiteY7" fmla="*/ 383381 h 514350"/>
                <a:gd name="connsiteX8" fmla="*/ 6319362 w 6400800"/>
                <a:gd name="connsiteY8" fmla="*/ 404336 h 514350"/>
                <a:gd name="connsiteX9" fmla="*/ 6316504 w 6400800"/>
                <a:gd name="connsiteY9" fmla="*/ 419576 h 514350"/>
                <a:gd name="connsiteX10" fmla="*/ 6303169 w 6400800"/>
                <a:gd name="connsiteY10" fmla="*/ 423386 h 514350"/>
                <a:gd name="connsiteX11" fmla="*/ 6304121 w 6400800"/>
                <a:gd name="connsiteY11" fmla="*/ 405289 h 514350"/>
                <a:gd name="connsiteX12" fmla="*/ 6319362 w 6400800"/>
                <a:gd name="connsiteY12" fmla="*/ 358616 h 514350"/>
                <a:gd name="connsiteX13" fmla="*/ 6322219 w 6400800"/>
                <a:gd name="connsiteY13" fmla="*/ 349091 h 514350"/>
                <a:gd name="connsiteX14" fmla="*/ 6334601 w 6400800"/>
                <a:gd name="connsiteY14" fmla="*/ 312896 h 514350"/>
                <a:gd name="connsiteX15" fmla="*/ 6349842 w 6400800"/>
                <a:gd name="connsiteY15" fmla="*/ 269081 h 514350"/>
                <a:gd name="connsiteX16" fmla="*/ 6363176 w 6400800"/>
                <a:gd name="connsiteY16" fmla="*/ 228124 h 514350"/>
                <a:gd name="connsiteX17" fmla="*/ 6375559 w 6400800"/>
                <a:gd name="connsiteY17" fmla="*/ 190976 h 514350"/>
                <a:gd name="connsiteX18" fmla="*/ 6393656 w 6400800"/>
                <a:gd name="connsiteY18" fmla="*/ 134779 h 514350"/>
                <a:gd name="connsiteX19" fmla="*/ 6400324 w 6400800"/>
                <a:gd name="connsiteY19" fmla="*/ 113824 h 514350"/>
                <a:gd name="connsiteX20" fmla="*/ 6389846 w 6400800"/>
                <a:gd name="connsiteY20" fmla="*/ 133826 h 514350"/>
                <a:gd name="connsiteX21" fmla="*/ 6380321 w 6400800"/>
                <a:gd name="connsiteY21" fmla="*/ 153829 h 514350"/>
                <a:gd name="connsiteX22" fmla="*/ 6392704 w 6400800"/>
                <a:gd name="connsiteY22" fmla="*/ 110966 h 514350"/>
                <a:gd name="connsiteX23" fmla="*/ 6399371 w 6400800"/>
                <a:gd name="connsiteY23" fmla="*/ 87154 h 514350"/>
                <a:gd name="connsiteX24" fmla="*/ 6388894 w 6400800"/>
                <a:gd name="connsiteY24" fmla="*/ 109061 h 514350"/>
                <a:gd name="connsiteX25" fmla="*/ 6377464 w 6400800"/>
                <a:gd name="connsiteY25" fmla="*/ 134779 h 514350"/>
                <a:gd name="connsiteX26" fmla="*/ 6364129 w 6400800"/>
                <a:gd name="connsiteY26" fmla="*/ 168116 h 514350"/>
                <a:gd name="connsiteX27" fmla="*/ 6332696 w 6400800"/>
                <a:gd name="connsiteY27" fmla="*/ 253841 h 514350"/>
                <a:gd name="connsiteX28" fmla="*/ 6316504 w 6400800"/>
                <a:gd name="connsiteY28" fmla="*/ 302419 h 514350"/>
                <a:gd name="connsiteX29" fmla="*/ 6314599 w 6400800"/>
                <a:gd name="connsiteY29" fmla="*/ 308134 h 514350"/>
                <a:gd name="connsiteX30" fmla="*/ 6317456 w 6400800"/>
                <a:gd name="connsiteY30" fmla="*/ 287179 h 514350"/>
                <a:gd name="connsiteX31" fmla="*/ 6319362 w 6400800"/>
                <a:gd name="connsiteY31" fmla="*/ 267176 h 514350"/>
                <a:gd name="connsiteX32" fmla="*/ 6320314 w 6400800"/>
                <a:gd name="connsiteY32" fmla="*/ 250031 h 514350"/>
                <a:gd name="connsiteX33" fmla="*/ 6314599 w 6400800"/>
                <a:gd name="connsiteY33" fmla="*/ 266224 h 514350"/>
                <a:gd name="connsiteX34" fmla="*/ 6302217 w 6400800"/>
                <a:gd name="connsiteY34" fmla="*/ 310039 h 514350"/>
                <a:gd name="connsiteX35" fmla="*/ 6293644 w 6400800"/>
                <a:gd name="connsiteY35" fmla="*/ 339566 h 514350"/>
                <a:gd name="connsiteX36" fmla="*/ 6286976 w 6400800"/>
                <a:gd name="connsiteY36" fmla="*/ 362426 h 514350"/>
                <a:gd name="connsiteX37" fmla="*/ 6284119 w 6400800"/>
                <a:gd name="connsiteY37" fmla="*/ 335756 h 514350"/>
                <a:gd name="connsiteX38" fmla="*/ 6288881 w 6400800"/>
                <a:gd name="connsiteY38" fmla="*/ 318611 h 514350"/>
                <a:gd name="connsiteX39" fmla="*/ 6302217 w 6400800"/>
                <a:gd name="connsiteY39" fmla="*/ 274796 h 514350"/>
                <a:gd name="connsiteX40" fmla="*/ 6307931 w 6400800"/>
                <a:gd name="connsiteY40" fmla="*/ 255746 h 514350"/>
                <a:gd name="connsiteX41" fmla="*/ 6313646 w 6400800"/>
                <a:gd name="connsiteY41" fmla="*/ 238601 h 514350"/>
                <a:gd name="connsiteX42" fmla="*/ 6323171 w 6400800"/>
                <a:gd name="connsiteY42" fmla="*/ 210026 h 514350"/>
                <a:gd name="connsiteX43" fmla="*/ 6330792 w 6400800"/>
                <a:gd name="connsiteY43" fmla="*/ 185261 h 514350"/>
                <a:gd name="connsiteX44" fmla="*/ 6319362 w 6400800"/>
                <a:gd name="connsiteY44" fmla="*/ 208121 h 514350"/>
                <a:gd name="connsiteX45" fmla="*/ 6306026 w 6400800"/>
                <a:gd name="connsiteY45" fmla="*/ 234791 h 514350"/>
                <a:gd name="connsiteX46" fmla="*/ 6298406 w 6400800"/>
                <a:gd name="connsiteY46" fmla="*/ 250984 h 514350"/>
                <a:gd name="connsiteX47" fmla="*/ 6290787 w 6400800"/>
                <a:gd name="connsiteY47" fmla="*/ 270034 h 514350"/>
                <a:gd name="connsiteX48" fmla="*/ 6278404 w 6400800"/>
                <a:gd name="connsiteY48" fmla="*/ 301466 h 514350"/>
                <a:gd name="connsiteX49" fmla="*/ 6277451 w 6400800"/>
                <a:gd name="connsiteY49" fmla="*/ 292894 h 514350"/>
                <a:gd name="connsiteX50" fmla="*/ 6276499 w 6400800"/>
                <a:gd name="connsiteY50" fmla="*/ 306229 h 514350"/>
                <a:gd name="connsiteX51" fmla="*/ 6273642 w 6400800"/>
                <a:gd name="connsiteY51" fmla="*/ 312896 h 514350"/>
                <a:gd name="connsiteX52" fmla="*/ 6269831 w 6400800"/>
                <a:gd name="connsiteY52" fmla="*/ 322421 h 514350"/>
                <a:gd name="connsiteX53" fmla="*/ 6273642 w 6400800"/>
                <a:gd name="connsiteY53" fmla="*/ 300514 h 514350"/>
                <a:gd name="connsiteX54" fmla="*/ 6283167 w 6400800"/>
                <a:gd name="connsiteY54" fmla="*/ 252889 h 514350"/>
                <a:gd name="connsiteX55" fmla="*/ 6287929 w 6400800"/>
                <a:gd name="connsiteY55" fmla="*/ 231934 h 514350"/>
                <a:gd name="connsiteX56" fmla="*/ 6292692 w 6400800"/>
                <a:gd name="connsiteY56" fmla="*/ 212884 h 514350"/>
                <a:gd name="connsiteX57" fmla="*/ 6300312 w 6400800"/>
                <a:gd name="connsiteY57" fmla="*/ 181451 h 514350"/>
                <a:gd name="connsiteX58" fmla="*/ 6306026 w 6400800"/>
                <a:gd name="connsiteY58" fmla="*/ 153829 h 514350"/>
                <a:gd name="connsiteX59" fmla="*/ 6296501 w 6400800"/>
                <a:gd name="connsiteY59" fmla="*/ 180499 h 514350"/>
                <a:gd name="connsiteX60" fmla="*/ 6286024 w 6400800"/>
                <a:gd name="connsiteY60" fmla="*/ 210979 h 514350"/>
                <a:gd name="connsiteX61" fmla="*/ 6279356 w 6400800"/>
                <a:gd name="connsiteY61" fmla="*/ 230029 h 514350"/>
                <a:gd name="connsiteX62" fmla="*/ 6273642 w 6400800"/>
                <a:gd name="connsiteY62" fmla="*/ 250984 h 514350"/>
                <a:gd name="connsiteX63" fmla="*/ 6260306 w 6400800"/>
                <a:gd name="connsiteY63" fmla="*/ 298609 h 514350"/>
                <a:gd name="connsiteX64" fmla="*/ 6246971 w 6400800"/>
                <a:gd name="connsiteY64" fmla="*/ 351949 h 514350"/>
                <a:gd name="connsiteX65" fmla="*/ 6236494 w 6400800"/>
                <a:gd name="connsiteY65" fmla="*/ 396716 h 514350"/>
                <a:gd name="connsiteX66" fmla="*/ 6235542 w 6400800"/>
                <a:gd name="connsiteY66" fmla="*/ 394811 h 514350"/>
                <a:gd name="connsiteX67" fmla="*/ 6234589 w 6400800"/>
                <a:gd name="connsiteY67" fmla="*/ 370046 h 514350"/>
                <a:gd name="connsiteX68" fmla="*/ 6230779 w 6400800"/>
                <a:gd name="connsiteY68" fmla="*/ 389096 h 514350"/>
                <a:gd name="connsiteX69" fmla="*/ 6227921 w 6400800"/>
                <a:gd name="connsiteY69" fmla="*/ 384334 h 514350"/>
                <a:gd name="connsiteX70" fmla="*/ 6216492 w 6400800"/>
                <a:gd name="connsiteY70" fmla="*/ 367189 h 514350"/>
                <a:gd name="connsiteX71" fmla="*/ 6223159 w 6400800"/>
                <a:gd name="connsiteY71" fmla="*/ 348139 h 514350"/>
                <a:gd name="connsiteX72" fmla="*/ 6236494 w 6400800"/>
                <a:gd name="connsiteY72" fmla="*/ 310991 h 514350"/>
                <a:gd name="connsiteX73" fmla="*/ 6247924 w 6400800"/>
                <a:gd name="connsiteY73" fmla="*/ 279559 h 514350"/>
                <a:gd name="connsiteX74" fmla="*/ 6256496 w 6400800"/>
                <a:gd name="connsiteY74" fmla="*/ 254794 h 514350"/>
                <a:gd name="connsiteX75" fmla="*/ 6264117 w 6400800"/>
                <a:gd name="connsiteY75" fmla="*/ 233839 h 514350"/>
                <a:gd name="connsiteX76" fmla="*/ 6252687 w 6400800"/>
                <a:gd name="connsiteY76" fmla="*/ 253841 h 514350"/>
                <a:gd name="connsiteX77" fmla="*/ 6240304 w 6400800"/>
                <a:gd name="connsiteY77" fmla="*/ 276701 h 514350"/>
                <a:gd name="connsiteX78" fmla="*/ 6225064 w 6400800"/>
                <a:gd name="connsiteY78" fmla="*/ 307181 h 514350"/>
                <a:gd name="connsiteX79" fmla="*/ 6208871 w 6400800"/>
                <a:gd name="connsiteY79" fmla="*/ 343376 h 514350"/>
                <a:gd name="connsiteX80" fmla="*/ 6205062 w 6400800"/>
                <a:gd name="connsiteY80" fmla="*/ 351949 h 514350"/>
                <a:gd name="connsiteX81" fmla="*/ 6204109 w 6400800"/>
                <a:gd name="connsiteY81" fmla="*/ 350996 h 514350"/>
                <a:gd name="connsiteX82" fmla="*/ 6210776 w 6400800"/>
                <a:gd name="connsiteY82" fmla="*/ 320516 h 514350"/>
                <a:gd name="connsiteX83" fmla="*/ 6222206 w 6400800"/>
                <a:gd name="connsiteY83" fmla="*/ 268129 h 514350"/>
                <a:gd name="connsiteX84" fmla="*/ 6226017 w 6400800"/>
                <a:gd name="connsiteY84" fmla="*/ 248126 h 514350"/>
                <a:gd name="connsiteX85" fmla="*/ 6218396 w 6400800"/>
                <a:gd name="connsiteY85" fmla="*/ 267176 h 514350"/>
                <a:gd name="connsiteX86" fmla="*/ 6209824 w 6400800"/>
                <a:gd name="connsiteY86" fmla="*/ 289084 h 514350"/>
                <a:gd name="connsiteX87" fmla="*/ 6199346 w 6400800"/>
                <a:gd name="connsiteY87" fmla="*/ 317659 h 514350"/>
                <a:gd name="connsiteX88" fmla="*/ 6193631 w 6400800"/>
                <a:gd name="connsiteY88" fmla="*/ 335756 h 514350"/>
                <a:gd name="connsiteX89" fmla="*/ 6184106 w 6400800"/>
                <a:gd name="connsiteY89" fmla="*/ 322421 h 514350"/>
                <a:gd name="connsiteX90" fmla="*/ 6181249 w 6400800"/>
                <a:gd name="connsiteY90" fmla="*/ 318611 h 514350"/>
                <a:gd name="connsiteX91" fmla="*/ 6184106 w 6400800"/>
                <a:gd name="connsiteY91" fmla="*/ 302419 h 514350"/>
                <a:gd name="connsiteX92" fmla="*/ 6189821 w 6400800"/>
                <a:gd name="connsiteY92" fmla="*/ 274796 h 514350"/>
                <a:gd name="connsiteX93" fmla="*/ 6195537 w 6400800"/>
                <a:gd name="connsiteY93" fmla="*/ 250984 h 514350"/>
                <a:gd name="connsiteX94" fmla="*/ 6186012 w 6400800"/>
                <a:gd name="connsiteY94" fmla="*/ 273844 h 514350"/>
                <a:gd name="connsiteX95" fmla="*/ 6176487 w 6400800"/>
                <a:gd name="connsiteY95" fmla="*/ 300514 h 514350"/>
                <a:gd name="connsiteX96" fmla="*/ 6173629 w 6400800"/>
                <a:gd name="connsiteY96" fmla="*/ 309086 h 514350"/>
                <a:gd name="connsiteX97" fmla="*/ 6172676 w 6400800"/>
                <a:gd name="connsiteY97" fmla="*/ 308134 h 514350"/>
                <a:gd name="connsiteX98" fmla="*/ 6174581 w 6400800"/>
                <a:gd name="connsiteY98" fmla="*/ 294799 h 514350"/>
                <a:gd name="connsiteX99" fmla="*/ 6180296 w 6400800"/>
                <a:gd name="connsiteY99" fmla="*/ 263366 h 514350"/>
                <a:gd name="connsiteX100" fmla="*/ 6185059 w 6400800"/>
                <a:gd name="connsiteY100" fmla="*/ 236696 h 514350"/>
                <a:gd name="connsiteX101" fmla="*/ 6188869 w 6400800"/>
                <a:gd name="connsiteY101" fmla="*/ 215741 h 514350"/>
                <a:gd name="connsiteX102" fmla="*/ 6192679 w 6400800"/>
                <a:gd name="connsiteY102" fmla="*/ 197644 h 514350"/>
                <a:gd name="connsiteX103" fmla="*/ 6185059 w 6400800"/>
                <a:gd name="connsiteY103" fmla="*/ 214789 h 514350"/>
                <a:gd name="connsiteX104" fmla="*/ 6168867 w 6400800"/>
                <a:gd name="connsiteY104" fmla="*/ 260509 h 514350"/>
                <a:gd name="connsiteX105" fmla="*/ 6163151 w 6400800"/>
                <a:gd name="connsiteY105" fmla="*/ 280511 h 514350"/>
                <a:gd name="connsiteX106" fmla="*/ 6159342 w 6400800"/>
                <a:gd name="connsiteY106" fmla="*/ 253841 h 514350"/>
                <a:gd name="connsiteX107" fmla="*/ 6154579 w 6400800"/>
                <a:gd name="connsiteY107" fmla="*/ 225266 h 514350"/>
                <a:gd name="connsiteX108" fmla="*/ 6156484 w 6400800"/>
                <a:gd name="connsiteY108" fmla="*/ 285274 h 514350"/>
                <a:gd name="connsiteX109" fmla="*/ 6143149 w 6400800"/>
                <a:gd name="connsiteY109" fmla="*/ 268129 h 514350"/>
                <a:gd name="connsiteX110" fmla="*/ 6143149 w 6400800"/>
                <a:gd name="connsiteY110" fmla="*/ 267176 h 514350"/>
                <a:gd name="connsiteX111" fmla="*/ 6146006 w 6400800"/>
                <a:gd name="connsiteY111" fmla="*/ 256699 h 514350"/>
                <a:gd name="connsiteX112" fmla="*/ 6161246 w 6400800"/>
                <a:gd name="connsiteY112" fmla="*/ 178594 h 514350"/>
                <a:gd name="connsiteX113" fmla="*/ 6152674 w 6400800"/>
                <a:gd name="connsiteY113" fmla="*/ 200501 h 514350"/>
                <a:gd name="connsiteX114" fmla="*/ 6152674 w 6400800"/>
                <a:gd name="connsiteY114" fmla="*/ 197644 h 514350"/>
                <a:gd name="connsiteX115" fmla="*/ 6156484 w 6400800"/>
                <a:gd name="connsiteY115" fmla="*/ 172879 h 514350"/>
                <a:gd name="connsiteX116" fmla="*/ 6160294 w 6400800"/>
                <a:gd name="connsiteY116" fmla="*/ 150971 h 514350"/>
                <a:gd name="connsiteX117" fmla="*/ 6152674 w 6400800"/>
                <a:gd name="connsiteY117" fmla="*/ 171926 h 514350"/>
                <a:gd name="connsiteX118" fmla="*/ 6145054 w 6400800"/>
                <a:gd name="connsiteY118" fmla="*/ 196691 h 514350"/>
                <a:gd name="connsiteX119" fmla="*/ 6138387 w 6400800"/>
                <a:gd name="connsiteY119" fmla="*/ 220504 h 514350"/>
                <a:gd name="connsiteX120" fmla="*/ 6135529 w 6400800"/>
                <a:gd name="connsiteY120" fmla="*/ 202406 h 514350"/>
                <a:gd name="connsiteX121" fmla="*/ 6134576 w 6400800"/>
                <a:gd name="connsiteY121" fmla="*/ 221456 h 514350"/>
                <a:gd name="connsiteX122" fmla="*/ 6132671 w 6400800"/>
                <a:gd name="connsiteY122" fmla="*/ 242411 h 514350"/>
                <a:gd name="connsiteX123" fmla="*/ 6131719 w 6400800"/>
                <a:gd name="connsiteY123" fmla="*/ 249079 h 514350"/>
                <a:gd name="connsiteX124" fmla="*/ 6130767 w 6400800"/>
                <a:gd name="connsiteY124" fmla="*/ 253841 h 514350"/>
                <a:gd name="connsiteX125" fmla="*/ 6129814 w 6400800"/>
                <a:gd name="connsiteY125" fmla="*/ 251936 h 514350"/>
                <a:gd name="connsiteX126" fmla="*/ 6130767 w 6400800"/>
                <a:gd name="connsiteY126" fmla="*/ 254794 h 514350"/>
                <a:gd name="connsiteX127" fmla="*/ 6129814 w 6400800"/>
                <a:gd name="connsiteY127" fmla="*/ 261461 h 514350"/>
                <a:gd name="connsiteX128" fmla="*/ 6129814 w 6400800"/>
                <a:gd name="connsiteY128" fmla="*/ 243364 h 514350"/>
                <a:gd name="connsiteX129" fmla="*/ 6126004 w 6400800"/>
                <a:gd name="connsiteY129" fmla="*/ 274796 h 514350"/>
                <a:gd name="connsiteX130" fmla="*/ 6125051 w 6400800"/>
                <a:gd name="connsiteY130" fmla="*/ 281464 h 514350"/>
                <a:gd name="connsiteX131" fmla="*/ 6122194 w 6400800"/>
                <a:gd name="connsiteY131" fmla="*/ 267176 h 514350"/>
                <a:gd name="connsiteX132" fmla="*/ 6117431 w 6400800"/>
                <a:gd name="connsiteY132" fmla="*/ 243364 h 514350"/>
                <a:gd name="connsiteX133" fmla="*/ 6118384 w 6400800"/>
                <a:gd name="connsiteY133" fmla="*/ 267176 h 514350"/>
                <a:gd name="connsiteX134" fmla="*/ 6119337 w 6400800"/>
                <a:gd name="connsiteY134" fmla="*/ 300514 h 514350"/>
                <a:gd name="connsiteX135" fmla="*/ 6114574 w 6400800"/>
                <a:gd name="connsiteY135" fmla="*/ 317659 h 514350"/>
                <a:gd name="connsiteX136" fmla="*/ 6114574 w 6400800"/>
                <a:gd name="connsiteY136" fmla="*/ 307181 h 514350"/>
                <a:gd name="connsiteX137" fmla="*/ 6112669 w 6400800"/>
                <a:gd name="connsiteY137" fmla="*/ 286226 h 514350"/>
                <a:gd name="connsiteX138" fmla="*/ 6109812 w 6400800"/>
                <a:gd name="connsiteY138" fmla="*/ 270986 h 514350"/>
                <a:gd name="connsiteX139" fmla="*/ 6105049 w 6400800"/>
                <a:gd name="connsiteY139" fmla="*/ 258604 h 514350"/>
                <a:gd name="connsiteX140" fmla="*/ 6106001 w 6400800"/>
                <a:gd name="connsiteY140" fmla="*/ 272891 h 514350"/>
                <a:gd name="connsiteX141" fmla="*/ 6106001 w 6400800"/>
                <a:gd name="connsiteY141" fmla="*/ 282416 h 514350"/>
                <a:gd name="connsiteX142" fmla="*/ 6104096 w 6400800"/>
                <a:gd name="connsiteY142" fmla="*/ 273844 h 514350"/>
                <a:gd name="connsiteX143" fmla="*/ 6102192 w 6400800"/>
                <a:gd name="connsiteY143" fmla="*/ 268129 h 514350"/>
                <a:gd name="connsiteX144" fmla="*/ 6101239 w 6400800"/>
                <a:gd name="connsiteY144" fmla="*/ 253841 h 514350"/>
                <a:gd name="connsiteX145" fmla="*/ 6103144 w 6400800"/>
                <a:gd name="connsiteY145" fmla="*/ 247174 h 514350"/>
                <a:gd name="connsiteX146" fmla="*/ 6107906 w 6400800"/>
                <a:gd name="connsiteY146" fmla="*/ 225266 h 514350"/>
                <a:gd name="connsiteX147" fmla="*/ 6111717 w 6400800"/>
                <a:gd name="connsiteY147" fmla="*/ 205264 h 514350"/>
                <a:gd name="connsiteX148" fmla="*/ 6104096 w 6400800"/>
                <a:gd name="connsiteY148" fmla="*/ 223361 h 514350"/>
                <a:gd name="connsiteX149" fmla="*/ 6099334 w 6400800"/>
                <a:gd name="connsiteY149" fmla="*/ 234791 h 514350"/>
                <a:gd name="connsiteX150" fmla="*/ 6096476 w 6400800"/>
                <a:gd name="connsiteY150" fmla="*/ 206216 h 514350"/>
                <a:gd name="connsiteX151" fmla="*/ 6097429 w 6400800"/>
                <a:gd name="connsiteY151" fmla="*/ 199549 h 514350"/>
                <a:gd name="connsiteX152" fmla="*/ 6101239 w 6400800"/>
                <a:gd name="connsiteY152" fmla="*/ 177641 h 514350"/>
                <a:gd name="connsiteX153" fmla="*/ 6104096 w 6400800"/>
                <a:gd name="connsiteY153" fmla="*/ 157639 h 514350"/>
                <a:gd name="connsiteX154" fmla="*/ 6107906 w 6400800"/>
                <a:gd name="connsiteY154" fmla="*/ 124301 h 514350"/>
                <a:gd name="connsiteX155" fmla="*/ 6110764 w 6400800"/>
                <a:gd name="connsiteY155" fmla="*/ 95726 h 514350"/>
                <a:gd name="connsiteX156" fmla="*/ 6104096 w 6400800"/>
                <a:gd name="connsiteY156" fmla="*/ 124301 h 514350"/>
                <a:gd name="connsiteX157" fmla="*/ 6096476 w 6400800"/>
                <a:gd name="connsiteY157" fmla="*/ 156686 h 514350"/>
                <a:gd name="connsiteX158" fmla="*/ 6091714 w 6400800"/>
                <a:gd name="connsiteY158" fmla="*/ 176689 h 514350"/>
                <a:gd name="connsiteX159" fmla="*/ 6085999 w 6400800"/>
                <a:gd name="connsiteY159" fmla="*/ 198596 h 514350"/>
                <a:gd name="connsiteX160" fmla="*/ 6081237 w 6400800"/>
                <a:gd name="connsiteY160" fmla="*/ 214789 h 514350"/>
                <a:gd name="connsiteX161" fmla="*/ 6074569 w 6400800"/>
                <a:gd name="connsiteY161" fmla="*/ 201454 h 514350"/>
                <a:gd name="connsiteX162" fmla="*/ 6079331 w 6400800"/>
                <a:gd name="connsiteY162" fmla="*/ 219551 h 514350"/>
                <a:gd name="connsiteX163" fmla="*/ 6073617 w 6400800"/>
                <a:gd name="connsiteY163" fmla="*/ 230029 h 514350"/>
                <a:gd name="connsiteX164" fmla="*/ 6069806 w 6400800"/>
                <a:gd name="connsiteY164" fmla="*/ 237649 h 514350"/>
                <a:gd name="connsiteX165" fmla="*/ 6069806 w 6400800"/>
                <a:gd name="connsiteY165" fmla="*/ 228124 h 514350"/>
                <a:gd name="connsiteX166" fmla="*/ 6069806 w 6400800"/>
                <a:gd name="connsiteY166" fmla="*/ 205264 h 514350"/>
                <a:gd name="connsiteX167" fmla="*/ 6065996 w 6400800"/>
                <a:gd name="connsiteY167" fmla="*/ 228124 h 514350"/>
                <a:gd name="connsiteX168" fmla="*/ 6061234 w 6400800"/>
                <a:gd name="connsiteY168" fmla="*/ 253841 h 514350"/>
                <a:gd name="connsiteX169" fmla="*/ 6059329 w 6400800"/>
                <a:gd name="connsiteY169" fmla="*/ 263366 h 514350"/>
                <a:gd name="connsiteX170" fmla="*/ 6057424 w 6400800"/>
                <a:gd name="connsiteY170" fmla="*/ 268129 h 514350"/>
                <a:gd name="connsiteX171" fmla="*/ 6048851 w 6400800"/>
                <a:gd name="connsiteY171" fmla="*/ 294799 h 514350"/>
                <a:gd name="connsiteX172" fmla="*/ 6041231 w 6400800"/>
                <a:gd name="connsiteY172" fmla="*/ 324326 h 514350"/>
                <a:gd name="connsiteX173" fmla="*/ 6041231 w 6400800"/>
                <a:gd name="connsiteY173" fmla="*/ 325279 h 514350"/>
                <a:gd name="connsiteX174" fmla="*/ 6033612 w 6400800"/>
                <a:gd name="connsiteY174" fmla="*/ 306229 h 514350"/>
                <a:gd name="connsiteX175" fmla="*/ 6029801 w 6400800"/>
                <a:gd name="connsiteY175" fmla="*/ 296704 h 514350"/>
                <a:gd name="connsiteX176" fmla="*/ 6029801 w 6400800"/>
                <a:gd name="connsiteY176" fmla="*/ 295751 h 514350"/>
                <a:gd name="connsiteX177" fmla="*/ 6031706 w 6400800"/>
                <a:gd name="connsiteY177" fmla="*/ 281464 h 514350"/>
                <a:gd name="connsiteX178" fmla="*/ 6033612 w 6400800"/>
                <a:gd name="connsiteY178" fmla="*/ 269081 h 514350"/>
                <a:gd name="connsiteX179" fmla="*/ 6027896 w 6400800"/>
                <a:gd name="connsiteY179" fmla="*/ 280511 h 514350"/>
                <a:gd name="connsiteX180" fmla="*/ 6025039 w 6400800"/>
                <a:gd name="connsiteY180" fmla="*/ 286226 h 514350"/>
                <a:gd name="connsiteX181" fmla="*/ 6020276 w 6400800"/>
                <a:gd name="connsiteY181" fmla="*/ 272891 h 514350"/>
                <a:gd name="connsiteX182" fmla="*/ 6008846 w 6400800"/>
                <a:gd name="connsiteY182" fmla="*/ 244316 h 514350"/>
                <a:gd name="connsiteX183" fmla="*/ 6016467 w 6400800"/>
                <a:gd name="connsiteY183" fmla="*/ 273844 h 514350"/>
                <a:gd name="connsiteX184" fmla="*/ 6022181 w 6400800"/>
                <a:gd name="connsiteY184" fmla="*/ 293846 h 514350"/>
                <a:gd name="connsiteX185" fmla="*/ 6019324 w 6400800"/>
                <a:gd name="connsiteY185" fmla="*/ 302419 h 514350"/>
                <a:gd name="connsiteX186" fmla="*/ 6016467 w 6400800"/>
                <a:gd name="connsiteY186" fmla="*/ 311944 h 514350"/>
                <a:gd name="connsiteX187" fmla="*/ 6010751 w 6400800"/>
                <a:gd name="connsiteY187" fmla="*/ 333851 h 514350"/>
                <a:gd name="connsiteX188" fmla="*/ 6010751 w 6400800"/>
                <a:gd name="connsiteY188" fmla="*/ 334804 h 514350"/>
                <a:gd name="connsiteX189" fmla="*/ 6003131 w 6400800"/>
                <a:gd name="connsiteY189" fmla="*/ 320516 h 514350"/>
                <a:gd name="connsiteX190" fmla="*/ 5996464 w 6400800"/>
                <a:gd name="connsiteY190" fmla="*/ 308134 h 514350"/>
                <a:gd name="connsiteX191" fmla="*/ 5999321 w 6400800"/>
                <a:gd name="connsiteY191" fmla="*/ 302419 h 514350"/>
                <a:gd name="connsiteX192" fmla="*/ 6007894 w 6400800"/>
                <a:gd name="connsiteY192" fmla="*/ 283369 h 514350"/>
                <a:gd name="connsiteX193" fmla="*/ 6014562 w 6400800"/>
                <a:gd name="connsiteY193" fmla="*/ 267176 h 514350"/>
                <a:gd name="connsiteX194" fmla="*/ 6004084 w 6400800"/>
                <a:gd name="connsiteY194" fmla="*/ 281464 h 514350"/>
                <a:gd name="connsiteX195" fmla="*/ 5993606 w 6400800"/>
                <a:gd name="connsiteY195" fmla="*/ 297656 h 514350"/>
                <a:gd name="connsiteX196" fmla="*/ 5989796 w 6400800"/>
                <a:gd name="connsiteY196" fmla="*/ 273844 h 514350"/>
                <a:gd name="connsiteX197" fmla="*/ 5991701 w 6400800"/>
                <a:gd name="connsiteY197" fmla="*/ 250984 h 514350"/>
                <a:gd name="connsiteX198" fmla="*/ 5997417 w 6400800"/>
                <a:gd name="connsiteY198" fmla="*/ 212884 h 514350"/>
                <a:gd name="connsiteX199" fmla="*/ 6003131 w 6400800"/>
                <a:gd name="connsiteY199" fmla="*/ 179546 h 514350"/>
                <a:gd name="connsiteX200" fmla="*/ 5993606 w 6400800"/>
                <a:gd name="connsiteY200" fmla="*/ 211931 h 514350"/>
                <a:gd name="connsiteX201" fmla="*/ 5985034 w 6400800"/>
                <a:gd name="connsiteY201" fmla="*/ 248126 h 514350"/>
                <a:gd name="connsiteX202" fmla="*/ 5974556 w 6400800"/>
                <a:gd name="connsiteY202" fmla="*/ 206216 h 514350"/>
                <a:gd name="connsiteX203" fmla="*/ 5974556 w 6400800"/>
                <a:gd name="connsiteY203" fmla="*/ 206216 h 514350"/>
                <a:gd name="connsiteX204" fmla="*/ 5977414 w 6400800"/>
                <a:gd name="connsiteY204" fmla="*/ 178594 h 514350"/>
                <a:gd name="connsiteX205" fmla="*/ 5979319 w 6400800"/>
                <a:gd name="connsiteY205" fmla="*/ 153829 h 514350"/>
                <a:gd name="connsiteX206" fmla="*/ 5973604 w 6400800"/>
                <a:gd name="connsiteY206" fmla="*/ 177641 h 514350"/>
                <a:gd name="connsiteX207" fmla="*/ 5969794 w 6400800"/>
                <a:gd name="connsiteY207" fmla="*/ 191929 h 514350"/>
                <a:gd name="connsiteX208" fmla="*/ 5959317 w 6400800"/>
                <a:gd name="connsiteY208" fmla="*/ 160496 h 514350"/>
                <a:gd name="connsiteX209" fmla="*/ 5946934 w 6400800"/>
                <a:gd name="connsiteY209" fmla="*/ 130016 h 514350"/>
                <a:gd name="connsiteX210" fmla="*/ 5934551 w 6400800"/>
                <a:gd name="connsiteY210" fmla="*/ 104299 h 514350"/>
                <a:gd name="connsiteX211" fmla="*/ 5943124 w 6400800"/>
                <a:gd name="connsiteY211" fmla="*/ 131921 h 514350"/>
                <a:gd name="connsiteX212" fmla="*/ 5951696 w 6400800"/>
                <a:gd name="connsiteY212" fmla="*/ 163354 h 514350"/>
                <a:gd name="connsiteX213" fmla="*/ 5961221 w 6400800"/>
                <a:gd name="connsiteY213" fmla="*/ 204311 h 514350"/>
                <a:gd name="connsiteX214" fmla="*/ 5964079 w 6400800"/>
                <a:gd name="connsiteY214" fmla="*/ 216694 h 514350"/>
                <a:gd name="connsiteX215" fmla="*/ 5962174 w 6400800"/>
                <a:gd name="connsiteY215" fmla="*/ 222409 h 514350"/>
                <a:gd name="connsiteX216" fmla="*/ 5958364 w 6400800"/>
                <a:gd name="connsiteY216" fmla="*/ 235744 h 514350"/>
                <a:gd name="connsiteX217" fmla="*/ 5956459 w 6400800"/>
                <a:gd name="connsiteY217" fmla="*/ 232886 h 514350"/>
                <a:gd name="connsiteX218" fmla="*/ 5956459 w 6400800"/>
                <a:gd name="connsiteY218" fmla="*/ 231934 h 514350"/>
                <a:gd name="connsiteX219" fmla="*/ 5956459 w 6400800"/>
                <a:gd name="connsiteY219" fmla="*/ 232886 h 514350"/>
                <a:gd name="connsiteX220" fmla="*/ 5938362 w 6400800"/>
                <a:gd name="connsiteY220" fmla="*/ 199549 h 514350"/>
                <a:gd name="connsiteX221" fmla="*/ 5927884 w 6400800"/>
                <a:gd name="connsiteY221" fmla="*/ 180499 h 514350"/>
                <a:gd name="connsiteX222" fmla="*/ 5953601 w 6400800"/>
                <a:gd name="connsiteY222" fmla="*/ 250984 h 514350"/>
                <a:gd name="connsiteX223" fmla="*/ 5952649 w 6400800"/>
                <a:gd name="connsiteY223" fmla="*/ 255746 h 514350"/>
                <a:gd name="connsiteX224" fmla="*/ 5945029 w 6400800"/>
                <a:gd name="connsiteY224" fmla="*/ 282416 h 514350"/>
                <a:gd name="connsiteX225" fmla="*/ 5944076 w 6400800"/>
                <a:gd name="connsiteY225" fmla="*/ 285274 h 514350"/>
                <a:gd name="connsiteX226" fmla="*/ 5940267 w 6400800"/>
                <a:gd name="connsiteY226" fmla="*/ 271939 h 514350"/>
                <a:gd name="connsiteX227" fmla="*/ 5928837 w 6400800"/>
                <a:gd name="connsiteY227" fmla="*/ 237649 h 514350"/>
                <a:gd name="connsiteX228" fmla="*/ 5922169 w 6400800"/>
                <a:gd name="connsiteY228" fmla="*/ 220504 h 514350"/>
                <a:gd name="connsiteX229" fmla="*/ 5923121 w 6400800"/>
                <a:gd name="connsiteY229" fmla="*/ 216694 h 514350"/>
                <a:gd name="connsiteX230" fmla="*/ 5921217 w 6400800"/>
                <a:gd name="connsiteY230" fmla="*/ 219551 h 514350"/>
                <a:gd name="connsiteX231" fmla="*/ 5917406 w 6400800"/>
                <a:gd name="connsiteY231" fmla="*/ 211931 h 514350"/>
                <a:gd name="connsiteX232" fmla="*/ 5908834 w 6400800"/>
                <a:gd name="connsiteY232" fmla="*/ 194786 h 514350"/>
                <a:gd name="connsiteX233" fmla="*/ 5907881 w 6400800"/>
                <a:gd name="connsiteY233" fmla="*/ 183356 h 514350"/>
                <a:gd name="connsiteX234" fmla="*/ 5905024 w 6400800"/>
                <a:gd name="connsiteY234" fmla="*/ 159544 h 514350"/>
                <a:gd name="connsiteX235" fmla="*/ 5904071 w 6400800"/>
                <a:gd name="connsiteY235" fmla="*/ 184309 h 514350"/>
                <a:gd name="connsiteX236" fmla="*/ 5903119 w 6400800"/>
                <a:gd name="connsiteY236" fmla="*/ 211931 h 514350"/>
                <a:gd name="connsiteX237" fmla="*/ 5902167 w 6400800"/>
                <a:gd name="connsiteY237" fmla="*/ 229076 h 514350"/>
                <a:gd name="connsiteX238" fmla="*/ 5902167 w 6400800"/>
                <a:gd name="connsiteY238" fmla="*/ 248126 h 514350"/>
                <a:gd name="connsiteX239" fmla="*/ 5903119 w 6400800"/>
                <a:gd name="connsiteY239" fmla="*/ 270034 h 514350"/>
                <a:gd name="connsiteX240" fmla="*/ 5900262 w 6400800"/>
                <a:gd name="connsiteY240" fmla="*/ 285274 h 514350"/>
                <a:gd name="connsiteX241" fmla="*/ 5899309 w 6400800"/>
                <a:gd name="connsiteY241" fmla="*/ 282416 h 514350"/>
                <a:gd name="connsiteX242" fmla="*/ 5895499 w 6400800"/>
                <a:gd name="connsiteY242" fmla="*/ 263366 h 514350"/>
                <a:gd name="connsiteX243" fmla="*/ 5891689 w 6400800"/>
                <a:gd name="connsiteY243" fmla="*/ 248126 h 514350"/>
                <a:gd name="connsiteX244" fmla="*/ 5891689 w 6400800"/>
                <a:gd name="connsiteY244" fmla="*/ 245269 h 514350"/>
                <a:gd name="connsiteX245" fmla="*/ 5890737 w 6400800"/>
                <a:gd name="connsiteY245" fmla="*/ 247174 h 514350"/>
                <a:gd name="connsiteX246" fmla="*/ 5890737 w 6400800"/>
                <a:gd name="connsiteY246" fmla="*/ 247174 h 514350"/>
                <a:gd name="connsiteX247" fmla="*/ 5890737 w 6400800"/>
                <a:gd name="connsiteY247" fmla="*/ 248126 h 514350"/>
                <a:gd name="connsiteX248" fmla="*/ 5881212 w 6400800"/>
                <a:gd name="connsiteY248" fmla="*/ 275749 h 514350"/>
                <a:gd name="connsiteX249" fmla="*/ 5878354 w 6400800"/>
                <a:gd name="connsiteY249" fmla="*/ 262414 h 514350"/>
                <a:gd name="connsiteX250" fmla="*/ 5874544 w 6400800"/>
                <a:gd name="connsiteY250" fmla="*/ 240506 h 514350"/>
                <a:gd name="connsiteX251" fmla="*/ 5874544 w 6400800"/>
                <a:gd name="connsiteY251" fmla="*/ 262414 h 514350"/>
                <a:gd name="connsiteX252" fmla="*/ 5875496 w 6400800"/>
                <a:gd name="connsiteY252" fmla="*/ 290989 h 514350"/>
                <a:gd name="connsiteX253" fmla="*/ 5873592 w 6400800"/>
                <a:gd name="connsiteY253" fmla="*/ 298609 h 514350"/>
                <a:gd name="connsiteX254" fmla="*/ 5870734 w 6400800"/>
                <a:gd name="connsiteY254" fmla="*/ 271939 h 514350"/>
                <a:gd name="connsiteX255" fmla="*/ 5867876 w 6400800"/>
                <a:gd name="connsiteY255" fmla="*/ 292894 h 514350"/>
                <a:gd name="connsiteX256" fmla="*/ 5866924 w 6400800"/>
                <a:gd name="connsiteY256" fmla="*/ 269081 h 514350"/>
                <a:gd name="connsiteX257" fmla="*/ 5865971 w 6400800"/>
                <a:gd name="connsiteY257" fmla="*/ 243364 h 514350"/>
                <a:gd name="connsiteX258" fmla="*/ 5873592 w 6400800"/>
                <a:gd name="connsiteY258" fmla="*/ 225266 h 514350"/>
                <a:gd name="connsiteX259" fmla="*/ 5865971 w 6400800"/>
                <a:gd name="connsiteY259" fmla="*/ 237649 h 514350"/>
                <a:gd name="connsiteX260" fmla="*/ 5865971 w 6400800"/>
                <a:gd name="connsiteY260" fmla="*/ 230029 h 514350"/>
                <a:gd name="connsiteX261" fmla="*/ 5865019 w 6400800"/>
                <a:gd name="connsiteY261" fmla="*/ 194786 h 514350"/>
                <a:gd name="connsiteX262" fmla="*/ 5863114 w 6400800"/>
                <a:gd name="connsiteY262" fmla="*/ 141446 h 514350"/>
                <a:gd name="connsiteX263" fmla="*/ 5862162 w 6400800"/>
                <a:gd name="connsiteY263" fmla="*/ 121444 h 514350"/>
                <a:gd name="connsiteX264" fmla="*/ 5859304 w 6400800"/>
                <a:gd name="connsiteY264" fmla="*/ 141446 h 514350"/>
                <a:gd name="connsiteX265" fmla="*/ 5856446 w 6400800"/>
                <a:gd name="connsiteY265" fmla="*/ 161449 h 514350"/>
                <a:gd name="connsiteX266" fmla="*/ 5853589 w 6400800"/>
                <a:gd name="connsiteY266" fmla="*/ 120491 h 514350"/>
                <a:gd name="connsiteX267" fmla="*/ 5851684 w 6400800"/>
                <a:gd name="connsiteY267" fmla="*/ 98584 h 514350"/>
                <a:gd name="connsiteX268" fmla="*/ 5849779 w 6400800"/>
                <a:gd name="connsiteY268" fmla="*/ 120491 h 514350"/>
                <a:gd name="connsiteX269" fmla="*/ 5847874 w 6400800"/>
                <a:gd name="connsiteY269" fmla="*/ 146209 h 514350"/>
                <a:gd name="connsiteX270" fmla="*/ 5846921 w 6400800"/>
                <a:gd name="connsiteY270" fmla="*/ 179546 h 514350"/>
                <a:gd name="connsiteX271" fmla="*/ 5846921 w 6400800"/>
                <a:gd name="connsiteY271" fmla="*/ 262414 h 514350"/>
                <a:gd name="connsiteX272" fmla="*/ 5846921 w 6400800"/>
                <a:gd name="connsiteY272" fmla="*/ 269081 h 514350"/>
                <a:gd name="connsiteX273" fmla="*/ 5843112 w 6400800"/>
                <a:gd name="connsiteY273" fmla="*/ 274796 h 514350"/>
                <a:gd name="connsiteX274" fmla="*/ 5840254 w 6400800"/>
                <a:gd name="connsiteY274" fmla="*/ 261461 h 514350"/>
                <a:gd name="connsiteX275" fmla="*/ 5841206 w 6400800"/>
                <a:gd name="connsiteY275" fmla="*/ 242411 h 514350"/>
                <a:gd name="connsiteX276" fmla="*/ 5841206 w 6400800"/>
                <a:gd name="connsiteY276" fmla="*/ 223361 h 514350"/>
                <a:gd name="connsiteX277" fmla="*/ 5837396 w 6400800"/>
                <a:gd name="connsiteY277" fmla="*/ 242411 h 514350"/>
                <a:gd name="connsiteX278" fmla="*/ 5836444 w 6400800"/>
                <a:gd name="connsiteY278" fmla="*/ 245269 h 514350"/>
                <a:gd name="connsiteX279" fmla="*/ 5829776 w 6400800"/>
                <a:gd name="connsiteY279" fmla="*/ 215741 h 514350"/>
                <a:gd name="connsiteX280" fmla="*/ 5824062 w 6400800"/>
                <a:gd name="connsiteY280" fmla="*/ 189071 h 514350"/>
                <a:gd name="connsiteX281" fmla="*/ 5825967 w 6400800"/>
                <a:gd name="connsiteY281" fmla="*/ 215741 h 514350"/>
                <a:gd name="connsiteX282" fmla="*/ 5828824 w 6400800"/>
                <a:gd name="connsiteY282" fmla="*/ 246221 h 514350"/>
                <a:gd name="connsiteX283" fmla="*/ 5831681 w 6400800"/>
                <a:gd name="connsiteY283" fmla="*/ 268129 h 514350"/>
                <a:gd name="connsiteX284" fmla="*/ 5826919 w 6400800"/>
                <a:gd name="connsiteY284" fmla="*/ 276701 h 514350"/>
                <a:gd name="connsiteX285" fmla="*/ 5825967 w 6400800"/>
                <a:gd name="connsiteY285" fmla="*/ 270986 h 514350"/>
                <a:gd name="connsiteX286" fmla="*/ 5822156 w 6400800"/>
                <a:gd name="connsiteY286" fmla="*/ 250031 h 514350"/>
                <a:gd name="connsiteX287" fmla="*/ 5818346 w 6400800"/>
                <a:gd name="connsiteY287" fmla="*/ 231934 h 514350"/>
                <a:gd name="connsiteX288" fmla="*/ 5818346 w 6400800"/>
                <a:gd name="connsiteY288" fmla="*/ 250031 h 514350"/>
                <a:gd name="connsiteX289" fmla="*/ 5818346 w 6400800"/>
                <a:gd name="connsiteY289" fmla="*/ 270986 h 514350"/>
                <a:gd name="connsiteX290" fmla="*/ 5812631 w 6400800"/>
                <a:gd name="connsiteY290" fmla="*/ 262414 h 514350"/>
                <a:gd name="connsiteX291" fmla="*/ 5812631 w 6400800"/>
                <a:gd name="connsiteY291" fmla="*/ 246221 h 514350"/>
                <a:gd name="connsiteX292" fmla="*/ 5814537 w 6400800"/>
                <a:gd name="connsiteY292" fmla="*/ 220504 h 514350"/>
                <a:gd name="connsiteX293" fmla="*/ 5816442 w 6400800"/>
                <a:gd name="connsiteY293" fmla="*/ 221456 h 514350"/>
                <a:gd name="connsiteX294" fmla="*/ 5819299 w 6400800"/>
                <a:gd name="connsiteY294" fmla="*/ 224314 h 514350"/>
                <a:gd name="connsiteX295" fmla="*/ 5822156 w 6400800"/>
                <a:gd name="connsiteY295" fmla="*/ 231934 h 514350"/>
                <a:gd name="connsiteX296" fmla="*/ 5821204 w 6400800"/>
                <a:gd name="connsiteY296" fmla="*/ 223361 h 514350"/>
                <a:gd name="connsiteX297" fmla="*/ 5818346 w 6400800"/>
                <a:gd name="connsiteY297" fmla="*/ 219551 h 514350"/>
                <a:gd name="connsiteX298" fmla="*/ 5813584 w 6400800"/>
                <a:gd name="connsiteY298" fmla="*/ 217646 h 514350"/>
                <a:gd name="connsiteX299" fmla="*/ 5811679 w 6400800"/>
                <a:gd name="connsiteY299" fmla="*/ 217646 h 514350"/>
                <a:gd name="connsiteX300" fmla="*/ 5811679 w 6400800"/>
                <a:gd name="connsiteY300" fmla="*/ 219551 h 514350"/>
                <a:gd name="connsiteX301" fmla="*/ 5805012 w 6400800"/>
                <a:gd name="connsiteY301" fmla="*/ 246221 h 514350"/>
                <a:gd name="connsiteX302" fmla="*/ 5803106 w 6400800"/>
                <a:gd name="connsiteY302" fmla="*/ 256699 h 514350"/>
                <a:gd name="connsiteX303" fmla="*/ 5796439 w 6400800"/>
                <a:gd name="connsiteY303" fmla="*/ 264319 h 514350"/>
                <a:gd name="connsiteX304" fmla="*/ 5795487 w 6400800"/>
                <a:gd name="connsiteY304" fmla="*/ 253841 h 514350"/>
                <a:gd name="connsiteX305" fmla="*/ 5794534 w 6400800"/>
                <a:gd name="connsiteY305" fmla="*/ 248126 h 514350"/>
                <a:gd name="connsiteX306" fmla="*/ 5794534 w 6400800"/>
                <a:gd name="connsiteY306" fmla="*/ 253841 h 514350"/>
                <a:gd name="connsiteX307" fmla="*/ 5793581 w 6400800"/>
                <a:gd name="connsiteY307" fmla="*/ 268129 h 514350"/>
                <a:gd name="connsiteX308" fmla="*/ 5791676 w 6400800"/>
                <a:gd name="connsiteY308" fmla="*/ 270034 h 514350"/>
                <a:gd name="connsiteX309" fmla="*/ 5791676 w 6400800"/>
                <a:gd name="connsiteY309" fmla="*/ 270034 h 514350"/>
                <a:gd name="connsiteX310" fmla="*/ 5787867 w 6400800"/>
                <a:gd name="connsiteY310" fmla="*/ 239554 h 514350"/>
                <a:gd name="connsiteX311" fmla="*/ 5793581 w 6400800"/>
                <a:gd name="connsiteY311" fmla="*/ 224314 h 514350"/>
                <a:gd name="connsiteX312" fmla="*/ 5786914 w 6400800"/>
                <a:gd name="connsiteY312" fmla="*/ 234791 h 514350"/>
                <a:gd name="connsiteX313" fmla="*/ 5785009 w 6400800"/>
                <a:gd name="connsiteY313" fmla="*/ 205264 h 514350"/>
                <a:gd name="connsiteX314" fmla="*/ 5795487 w 6400800"/>
                <a:gd name="connsiteY314" fmla="*/ 183356 h 514350"/>
                <a:gd name="connsiteX315" fmla="*/ 5795487 w 6400800"/>
                <a:gd name="connsiteY315" fmla="*/ 184309 h 514350"/>
                <a:gd name="connsiteX316" fmla="*/ 5795487 w 6400800"/>
                <a:gd name="connsiteY316" fmla="*/ 183356 h 514350"/>
                <a:gd name="connsiteX317" fmla="*/ 5797392 w 6400800"/>
                <a:gd name="connsiteY317" fmla="*/ 178594 h 514350"/>
                <a:gd name="connsiteX318" fmla="*/ 5812631 w 6400800"/>
                <a:gd name="connsiteY318" fmla="*/ 145256 h 514350"/>
                <a:gd name="connsiteX319" fmla="*/ 5825967 w 6400800"/>
                <a:gd name="connsiteY319" fmla="*/ 115729 h 514350"/>
                <a:gd name="connsiteX320" fmla="*/ 5809774 w 6400800"/>
                <a:gd name="connsiteY320" fmla="*/ 143351 h 514350"/>
                <a:gd name="connsiteX321" fmla="*/ 5791676 w 6400800"/>
                <a:gd name="connsiteY321" fmla="*/ 173831 h 514350"/>
                <a:gd name="connsiteX322" fmla="*/ 5788819 w 6400800"/>
                <a:gd name="connsiteY322" fmla="*/ 170974 h 514350"/>
                <a:gd name="connsiteX323" fmla="*/ 5783104 w 6400800"/>
                <a:gd name="connsiteY323" fmla="*/ 169069 h 514350"/>
                <a:gd name="connsiteX324" fmla="*/ 5781199 w 6400800"/>
                <a:gd name="connsiteY324" fmla="*/ 169069 h 514350"/>
                <a:gd name="connsiteX325" fmla="*/ 5781199 w 6400800"/>
                <a:gd name="connsiteY325" fmla="*/ 170974 h 514350"/>
                <a:gd name="connsiteX326" fmla="*/ 5777389 w 6400800"/>
                <a:gd name="connsiteY326" fmla="*/ 197644 h 514350"/>
                <a:gd name="connsiteX327" fmla="*/ 5766912 w 6400800"/>
                <a:gd name="connsiteY327" fmla="*/ 217646 h 514350"/>
                <a:gd name="connsiteX328" fmla="*/ 5752624 w 6400800"/>
                <a:gd name="connsiteY328" fmla="*/ 244316 h 514350"/>
                <a:gd name="connsiteX329" fmla="*/ 5751671 w 6400800"/>
                <a:gd name="connsiteY329" fmla="*/ 233839 h 514350"/>
                <a:gd name="connsiteX330" fmla="*/ 5749767 w 6400800"/>
                <a:gd name="connsiteY330" fmla="*/ 216694 h 514350"/>
                <a:gd name="connsiteX331" fmla="*/ 5757387 w 6400800"/>
                <a:gd name="connsiteY331" fmla="*/ 190024 h 514350"/>
                <a:gd name="connsiteX332" fmla="*/ 5749767 w 6400800"/>
                <a:gd name="connsiteY332" fmla="*/ 210979 h 514350"/>
                <a:gd name="connsiteX333" fmla="*/ 5748814 w 6400800"/>
                <a:gd name="connsiteY333" fmla="*/ 204311 h 514350"/>
                <a:gd name="connsiteX334" fmla="*/ 5745004 w 6400800"/>
                <a:gd name="connsiteY334" fmla="*/ 178594 h 514350"/>
                <a:gd name="connsiteX335" fmla="*/ 5745004 w 6400800"/>
                <a:gd name="connsiteY335" fmla="*/ 204311 h 514350"/>
                <a:gd name="connsiteX336" fmla="*/ 5745004 w 6400800"/>
                <a:gd name="connsiteY336" fmla="*/ 222409 h 514350"/>
                <a:gd name="connsiteX337" fmla="*/ 5744051 w 6400800"/>
                <a:gd name="connsiteY337" fmla="*/ 225266 h 514350"/>
                <a:gd name="connsiteX338" fmla="*/ 5731669 w 6400800"/>
                <a:gd name="connsiteY338" fmla="*/ 259556 h 514350"/>
                <a:gd name="connsiteX339" fmla="*/ 5731669 w 6400800"/>
                <a:gd name="connsiteY339" fmla="*/ 258604 h 514350"/>
                <a:gd name="connsiteX340" fmla="*/ 5734526 w 6400800"/>
                <a:gd name="connsiteY340" fmla="*/ 238601 h 514350"/>
                <a:gd name="connsiteX341" fmla="*/ 5727859 w 6400800"/>
                <a:gd name="connsiteY341" fmla="*/ 258604 h 514350"/>
                <a:gd name="connsiteX342" fmla="*/ 5725954 w 6400800"/>
                <a:gd name="connsiteY342" fmla="*/ 264319 h 514350"/>
                <a:gd name="connsiteX343" fmla="*/ 5725954 w 6400800"/>
                <a:gd name="connsiteY343" fmla="*/ 263366 h 514350"/>
                <a:gd name="connsiteX344" fmla="*/ 5725954 w 6400800"/>
                <a:gd name="connsiteY344" fmla="*/ 262414 h 514350"/>
                <a:gd name="connsiteX345" fmla="*/ 5726906 w 6400800"/>
                <a:gd name="connsiteY345" fmla="*/ 256699 h 514350"/>
                <a:gd name="connsiteX346" fmla="*/ 5729764 w 6400800"/>
                <a:gd name="connsiteY346" fmla="*/ 242411 h 514350"/>
                <a:gd name="connsiteX347" fmla="*/ 5732621 w 6400800"/>
                <a:gd name="connsiteY347" fmla="*/ 230029 h 514350"/>
                <a:gd name="connsiteX348" fmla="*/ 5737384 w 6400800"/>
                <a:gd name="connsiteY348" fmla="*/ 210026 h 514350"/>
                <a:gd name="connsiteX349" fmla="*/ 5741194 w 6400800"/>
                <a:gd name="connsiteY349" fmla="*/ 191929 h 514350"/>
                <a:gd name="connsiteX350" fmla="*/ 5739289 w 6400800"/>
                <a:gd name="connsiteY350" fmla="*/ 196691 h 514350"/>
                <a:gd name="connsiteX351" fmla="*/ 5740242 w 6400800"/>
                <a:gd name="connsiteY351" fmla="*/ 190024 h 514350"/>
                <a:gd name="connsiteX352" fmla="*/ 5731669 w 6400800"/>
                <a:gd name="connsiteY352" fmla="*/ 211931 h 514350"/>
                <a:gd name="connsiteX353" fmla="*/ 5726906 w 6400800"/>
                <a:gd name="connsiteY353" fmla="*/ 224314 h 514350"/>
                <a:gd name="connsiteX354" fmla="*/ 5725001 w 6400800"/>
                <a:gd name="connsiteY354" fmla="*/ 228124 h 514350"/>
                <a:gd name="connsiteX355" fmla="*/ 5720239 w 6400800"/>
                <a:gd name="connsiteY355" fmla="*/ 240506 h 514350"/>
                <a:gd name="connsiteX356" fmla="*/ 5717381 w 6400800"/>
                <a:gd name="connsiteY356" fmla="*/ 250031 h 514350"/>
                <a:gd name="connsiteX357" fmla="*/ 5715476 w 6400800"/>
                <a:gd name="connsiteY357" fmla="*/ 254794 h 514350"/>
                <a:gd name="connsiteX358" fmla="*/ 5709762 w 6400800"/>
                <a:gd name="connsiteY358" fmla="*/ 272891 h 514350"/>
                <a:gd name="connsiteX359" fmla="*/ 5704046 w 6400800"/>
                <a:gd name="connsiteY359" fmla="*/ 290989 h 514350"/>
                <a:gd name="connsiteX360" fmla="*/ 5696426 w 6400800"/>
                <a:gd name="connsiteY360" fmla="*/ 275749 h 514350"/>
                <a:gd name="connsiteX361" fmla="*/ 5695474 w 6400800"/>
                <a:gd name="connsiteY361" fmla="*/ 269081 h 514350"/>
                <a:gd name="connsiteX362" fmla="*/ 5695474 w 6400800"/>
                <a:gd name="connsiteY362" fmla="*/ 272891 h 514350"/>
                <a:gd name="connsiteX363" fmla="*/ 5688806 w 6400800"/>
                <a:gd name="connsiteY363" fmla="*/ 259556 h 514350"/>
                <a:gd name="connsiteX364" fmla="*/ 5680234 w 6400800"/>
                <a:gd name="connsiteY364" fmla="*/ 243364 h 514350"/>
                <a:gd name="connsiteX365" fmla="*/ 5684996 w 6400800"/>
                <a:gd name="connsiteY365" fmla="*/ 260509 h 514350"/>
                <a:gd name="connsiteX366" fmla="*/ 5694521 w 6400800"/>
                <a:gd name="connsiteY366" fmla="*/ 292894 h 514350"/>
                <a:gd name="connsiteX367" fmla="*/ 5694521 w 6400800"/>
                <a:gd name="connsiteY367" fmla="*/ 309086 h 514350"/>
                <a:gd name="connsiteX368" fmla="*/ 5694521 w 6400800"/>
                <a:gd name="connsiteY368" fmla="*/ 323374 h 514350"/>
                <a:gd name="connsiteX369" fmla="*/ 5691664 w 6400800"/>
                <a:gd name="connsiteY369" fmla="*/ 331946 h 514350"/>
                <a:gd name="connsiteX370" fmla="*/ 5689759 w 6400800"/>
                <a:gd name="connsiteY370" fmla="*/ 329089 h 514350"/>
                <a:gd name="connsiteX371" fmla="*/ 5689759 w 6400800"/>
                <a:gd name="connsiteY371" fmla="*/ 320516 h 514350"/>
                <a:gd name="connsiteX372" fmla="*/ 5687854 w 6400800"/>
                <a:gd name="connsiteY372" fmla="*/ 286226 h 514350"/>
                <a:gd name="connsiteX373" fmla="*/ 5684996 w 6400800"/>
                <a:gd name="connsiteY373" fmla="*/ 319564 h 514350"/>
                <a:gd name="connsiteX374" fmla="*/ 5681187 w 6400800"/>
                <a:gd name="connsiteY374" fmla="*/ 312896 h 514350"/>
                <a:gd name="connsiteX375" fmla="*/ 5675471 w 6400800"/>
                <a:gd name="connsiteY375" fmla="*/ 273844 h 514350"/>
                <a:gd name="connsiteX376" fmla="*/ 5672614 w 6400800"/>
                <a:gd name="connsiteY376" fmla="*/ 253841 h 514350"/>
                <a:gd name="connsiteX377" fmla="*/ 5670709 w 6400800"/>
                <a:gd name="connsiteY377" fmla="*/ 235744 h 514350"/>
                <a:gd name="connsiteX378" fmla="*/ 5667851 w 6400800"/>
                <a:gd name="connsiteY378" fmla="*/ 207169 h 514350"/>
                <a:gd name="connsiteX379" fmla="*/ 5665946 w 6400800"/>
                <a:gd name="connsiteY379" fmla="*/ 188119 h 514350"/>
                <a:gd name="connsiteX380" fmla="*/ 5666899 w 6400800"/>
                <a:gd name="connsiteY380" fmla="*/ 183356 h 514350"/>
                <a:gd name="connsiteX381" fmla="*/ 5665946 w 6400800"/>
                <a:gd name="connsiteY381" fmla="*/ 186214 h 514350"/>
                <a:gd name="connsiteX382" fmla="*/ 5664994 w 6400800"/>
                <a:gd name="connsiteY382" fmla="*/ 181451 h 514350"/>
                <a:gd name="connsiteX383" fmla="*/ 5664994 w 6400800"/>
                <a:gd name="connsiteY383" fmla="*/ 188119 h 514350"/>
                <a:gd name="connsiteX384" fmla="*/ 5654517 w 6400800"/>
                <a:gd name="connsiteY384" fmla="*/ 211931 h 514350"/>
                <a:gd name="connsiteX385" fmla="*/ 5653564 w 6400800"/>
                <a:gd name="connsiteY385" fmla="*/ 205264 h 514350"/>
                <a:gd name="connsiteX386" fmla="*/ 5652612 w 6400800"/>
                <a:gd name="connsiteY386" fmla="*/ 189071 h 514350"/>
                <a:gd name="connsiteX387" fmla="*/ 5657374 w 6400800"/>
                <a:gd name="connsiteY387" fmla="*/ 179546 h 514350"/>
                <a:gd name="connsiteX388" fmla="*/ 5652612 w 6400800"/>
                <a:gd name="connsiteY388" fmla="*/ 187166 h 514350"/>
                <a:gd name="connsiteX389" fmla="*/ 5652612 w 6400800"/>
                <a:gd name="connsiteY389" fmla="*/ 185261 h 514350"/>
                <a:gd name="connsiteX390" fmla="*/ 5651659 w 6400800"/>
                <a:gd name="connsiteY390" fmla="*/ 167164 h 514350"/>
                <a:gd name="connsiteX391" fmla="*/ 5649754 w 6400800"/>
                <a:gd name="connsiteY391" fmla="*/ 179546 h 514350"/>
                <a:gd name="connsiteX392" fmla="*/ 5649754 w 6400800"/>
                <a:gd name="connsiteY392" fmla="*/ 178594 h 514350"/>
                <a:gd name="connsiteX393" fmla="*/ 5647849 w 6400800"/>
                <a:gd name="connsiteY393" fmla="*/ 159544 h 514350"/>
                <a:gd name="connsiteX394" fmla="*/ 5646896 w 6400800"/>
                <a:gd name="connsiteY394" fmla="*/ 142399 h 514350"/>
                <a:gd name="connsiteX395" fmla="*/ 5645944 w 6400800"/>
                <a:gd name="connsiteY395" fmla="*/ 114776 h 514350"/>
                <a:gd name="connsiteX396" fmla="*/ 5644992 w 6400800"/>
                <a:gd name="connsiteY396" fmla="*/ 90011 h 514350"/>
                <a:gd name="connsiteX397" fmla="*/ 5641181 w 6400800"/>
                <a:gd name="connsiteY397" fmla="*/ 113824 h 514350"/>
                <a:gd name="connsiteX398" fmla="*/ 5639276 w 6400800"/>
                <a:gd name="connsiteY398" fmla="*/ 141446 h 514350"/>
                <a:gd name="connsiteX399" fmla="*/ 5638324 w 6400800"/>
                <a:gd name="connsiteY399" fmla="*/ 158591 h 514350"/>
                <a:gd name="connsiteX400" fmla="*/ 5638324 w 6400800"/>
                <a:gd name="connsiteY400" fmla="*/ 177641 h 514350"/>
                <a:gd name="connsiteX401" fmla="*/ 5639276 w 6400800"/>
                <a:gd name="connsiteY401" fmla="*/ 205264 h 514350"/>
                <a:gd name="connsiteX402" fmla="*/ 5637371 w 6400800"/>
                <a:gd name="connsiteY402" fmla="*/ 208121 h 514350"/>
                <a:gd name="connsiteX403" fmla="*/ 5636419 w 6400800"/>
                <a:gd name="connsiteY403" fmla="*/ 209074 h 514350"/>
                <a:gd name="connsiteX404" fmla="*/ 5636419 w 6400800"/>
                <a:gd name="connsiteY404" fmla="*/ 208121 h 514350"/>
                <a:gd name="connsiteX405" fmla="*/ 5636419 w 6400800"/>
                <a:gd name="connsiteY405" fmla="*/ 209074 h 514350"/>
                <a:gd name="connsiteX406" fmla="*/ 5631656 w 6400800"/>
                <a:gd name="connsiteY406" fmla="*/ 215741 h 514350"/>
                <a:gd name="connsiteX407" fmla="*/ 5626894 w 6400800"/>
                <a:gd name="connsiteY407" fmla="*/ 192881 h 514350"/>
                <a:gd name="connsiteX408" fmla="*/ 5626894 w 6400800"/>
                <a:gd name="connsiteY408" fmla="*/ 222409 h 514350"/>
                <a:gd name="connsiteX409" fmla="*/ 5626894 w 6400800"/>
                <a:gd name="connsiteY409" fmla="*/ 223361 h 514350"/>
                <a:gd name="connsiteX410" fmla="*/ 5618321 w 6400800"/>
                <a:gd name="connsiteY410" fmla="*/ 211931 h 514350"/>
                <a:gd name="connsiteX411" fmla="*/ 5593556 w 6400800"/>
                <a:gd name="connsiteY411" fmla="*/ 181451 h 514350"/>
                <a:gd name="connsiteX412" fmla="*/ 5570696 w 6400800"/>
                <a:gd name="connsiteY412" fmla="*/ 155734 h 514350"/>
                <a:gd name="connsiteX413" fmla="*/ 5590699 w 6400800"/>
                <a:gd name="connsiteY413" fmla="*/ 184309 h 514350"/>
                <a:gd name="connsiteX414" fmla="*/ 5612606 w 6400800"/>
                <a:gd name="connsiteY414" fmla="*/ 217646 h 514350"/>
                <a:gd name="connsiteX415" fmla="*/ 5616417 w 6400800"/>
                <a:gd name="connsiteY415" fmla="*/ 223361 h 514350"/>
                <a:gd name="connsiteX416" fmla="*/ 5620226 w 6400800"/>
                <a:gd name="connsiteY416" fmla="*/ 233839 h 514350"/>
                <a:gd name="connsiteX417" fmla="*/ 5620226 w 6400800"/>
                <a:gd name="connsiteY417" fmla="*/ 234791 h 514350"/>
                <a:gd name="connsiteX418" fmla="*/ 5616417 w 6400800"/>
                <a:gd name="connsiteY418" fmla="*/ 241459 h 514350"/>
                <a:gd name="connsiteX419" fmla="*/ 5616417 w 6400800"/>
                <a:gd name="connsiteY419" fmla="*/ 240506 h 514350"/>
                <a:gd name="connsiteX420" fmla="*/ 5616417 w 6400800"/>
                <a:gd name="connsiteY420" fmla="*/ 241459 h 514350"/>
                <a:gd name="connsiteX421" fmla="*/ 5614512 w 6400800"/>
                <a:gd name="connsiteY421" fmla="*/ 245269 h 514350"/>
                <a:gd name="connsiteX422" fmla="*/ 5594509 w 6400800"/>
                <a:gd name="connsiteY422" fmla="*/ 280511 h 514350"/>
                <a:gd name="connsiteX423" fmla="*/ 5594509 w 6400800"/>
                <a:gd name="connsiteY423" fmla="*/ 275749 h 514350"/>
                <a:gd name="connsiteX424" fmla="*/ 5594509 w 6400800"/>
                <a:gd name="connsiteY424" fmla="*/ 268129 h 514350"/>
                <a:gd name="connsiteX425" fmla="*/ 5596414 w 6400800"/>
                <a:gd name="connsiteY425" fmla="*/ 256699 h 514350"/>
                <a:gd name="connsiteX426" fmla="*/ 5594509 w 6400800"/>
                <a:gd name="connsiteY426" fmla="*/ 263366 h 514350"/>
                <a:gd name="connsiteX427" fmla="*/ 5594509 w 6400800"/>
                <a:gd name="connsiteY427" fmla="*/ 262414 h 514350"/>
                <a:gd name="connsiteX428" fmla="*/ 5592604 w 6400800"/>
                <a:gd name="connsiteY428" fmla="*/ 250031 h 514350"/>
                <a:gd name="connsiteX429" fmla="*/ 5590699 w 6400800"/>
                <a:gd name="connsiteY429" fmla="*/ 232886 h 514350"/>
                <a:gd name="connsiteX430" fmla="*/ 5596414 w 6400800"/>
                <a:gd name="connsiteY430" fmla="*/ 217646 h 514350"/>
                <a:gd name="connsiteX431" fmla="*/ 5589746 w 6400800"/>
                <a:gd name="connsiteY431" fmla="*/ 230029 h 514350"/>
                <a:gd name="connsiteX432" fmla="*/ 5589746 w 6400800"/>
                <a:gd name="connsiteY432" fmla="*/ 230029 h 514350"/>
                <a:gd name="connsiteX433" fmla="*/ 5586889 w 6400800"/>
                <a:gd name="connsiteY433" fmla="*/ 211931 h 514350"/>
                <a:gd name="connsiteX434" fmla="*/ 5585937 w 6400800"/>
                <a:gd name="connsiteY434" fmla="*/ 230029 h 514350"/>
                <a:gd name="connsiteX435" fmla="*/ 5585937 w 6400800"/>
                <a:gd name="connsiteY435" fmla="*/ 230981 h 514350"/>
                <a:gd name="connsiteX436" fmla="*/ 5583079 w 6400800"/>
                <a:gd name="connsiteY436" fmla="*/ 213836 h 514350"/>
                <a:gd name="connsiteX437" fmla="*/ 5583079 w 6400800"/>
                <a:gd name="connsiteY437" fmla="*/ 242411 h 514350"/>
                <a:gd name="connsiteX438" fmla="*/ 5581174 w 6400800"/>
                <a:gd name="connsiteY438" fmla="*/ 246221 h 514350"/>
                <a:gd name="connsiteX439" fmla="*/ 5579269 w 6400800"/>
                <a:gd name="connsiteY439" fmla="*/ 250031 h 514350"/>
                <a:gd name="connsiteX440" fmla="*/ 5571649 w 6400800"/>
                <a:gd name="connsiteY440" fmla="*/ 209074 h 514350"/>
                <a:gd name="connsiteX441" fmla="*/ 5567839 w 6400800"/>
                <a:gd name="connsiteY441" fmla="*/ 189071 h 514350"/>
                <a:gd name="connsiteX442" fmla="*/ 5563076 w 6400800"/>
                <a:gd name="connsiteY442" fmla="*/ 170974 h 514350"/>
                <a:gd name="connsiteX443" fmla="*/ 5555456 w 6400800"/>
                <a:gd name="connsiteY443" fmla="*/ 141446 h 514350"/>
                <a:gd name="connsiteX444" fmla="*/ 5548789 w 6400800"/>
                <a:gd name="connsiteY444" fmla="*/ 115729 h 514350"/>
                <a:gd name="connsiteX445" fmla="*/ 5551646 w 6400800"/>
                <a:gd name="connsiteY445" fmla="*/ 142399 h 514350"/>
                <a:gd name="connsiteX446" fmla="*/ 5555456 w 6400800"/>
                <a:gd name="connsiteY446" fmla="*/ 172879 h 514350"/>
                <a:gd name="connsiteX447" fmla="*/ 5558314 w 6400800"/>
                <a:gd name="connsiteY447" fmla="*/ 190976 h 514350"/>
                <a:gd name="connsiteX448" fmla="*/ 5560219 w 6400800"/>
                <a:gd name="connsiteY448" fmla="*/ 211931 h 514350"/>
                <a:gd name="connsiteX449" fmla="*/ 5564981 w 6400800"/>
                <a:gd name="connsiteY449" fmla="*/ 257651 h 514350"/>
                <a:gd name="connsiteX450" fmla="*/ 5565934 w 6400800"/>
                <a:gd name="connsiteY450" fmla="*/ 274796 h 514350"/>
                <a:gd name="connsiteX451" fmla="*/ 5564029 w 6400800"/>
                <a:gd name="connsiteY451" fmla="*/ 278606 h 514350"/>
                <a:gd name="connsiteX452" fmla="*/ 5561171 w 6400800"/>
                <a:gd name="connsiteY452" fmla="*/ 284321 h 514350"/>
                <a:gd name="connsiteX453" fmla="*/ 5549742 w 6400800"/>
                <a:gd name="connsiteY453" fmla="*/ 264319 h 514350"/>
                <a:gd name="connsiteX454" fmla="*/ 5548789 w 6400800"/>
                <a:gd name="connsiteY454" fmla="*/ 261461 h 514350"/>
                <a:gd name="connsiteX455" fmla="*/ 5544026 w 6400800"/>
                <a:gd name="connsiteY455" fmla="*/ 247174 h 514350"/>
                <a:gd name="connsiteX456" fmla="*/ 5547837 w 6400800"/>
                <a:gd name="connsiteY456" fmla="*/ 228124 h 514350"/>
                <a:gd name="connsiteX457" fmla="*/ 5542121 w 6400800"/>
                <a:gd name="connsiteY457" fmla="*/ 241459 h 514350"/>
                <a:gd name="connsiteX458" fmla="*/ 5541169 w 6400800"/>
                <a:gd name="connsiteY458" fmla="*/ 238601 h 514350"/>
                <a:gd name="connsiteX459" fmla="*/ 5538312 w 6400800"/>
                <a:gd name="connsiteY459" fmla="*/ 230029 h 514350"/>
                <a:gd name="connsiteX460" fmla="*/ 5551646 w 6400800"/>
                <a:gd name="connsiteY460" fmla="*/ 167164 h 514350"/>
                <a:gd name="connsiteX461" fmla="*/ 5528787 w 6400800"/>
                <a:gd name="connsiteY461" fmla="*/ 225266 h 514350"/>
                <a:gd name="connsiteX462" fmla="*/ 5524976 w 6400800"/>
                <a:gd name="connsiteY462" fmla="*/ 217646 h 514350"/>
                <a:gd name="connsiteX463" fmla="*/ 5524024 w 6400800"/>
                <a:gd name="connsiteY463" fmla="*/ 207169 h 514350"/>
                <a:gd name="connsiteX464" fmla="*/ 5521167 w 6400800"/>
                <a:gd name="connsiteY464" fmla="*/ 185261 h 514350"/>
                <a:gd name="connsiteX465" fmla="*/ 5520214 w 6400800"/>
                <a:gd name="connsiteY465" fmla="*/ 207169 h 514350"/>
                <a:gd name="connsiteX466" fmla="*/ 5520214 w 6400800"/>
                <a:gd name="connsiteY466" fmla="*/ 232886 h 514350"/>
                <a:gd name="connsiteX467" fmla="*/ 5520214 w 6400800"/>
                <a:gd name="connsiteY467" fmla="*/ 248126 h 514350"/>
                <a:gd name="connsiteX468" fmla="*/ 5520214 w 6400800"/>
                <a:gd name="connsiteY468" fmla="*/ 250984 h 514350"/>
                <a:gd name="connsiteX469" fmla="*/ 5505926 w 6400800"/>
                <a:gd name="connsiteY469" fmla="*/ 291941 h 514350"/>
                <a:gd name="connsiteX470" fmla="*/ 5503069 w 6400800"/>
                <a:gd name="connsiteY470" fmla="*/ 300514 h 514350"/>
                <a:gd name="connsiteX471" fmla="*/ 5498306 w 6400800"/>
                <a:gd name="connsiteY471" fmla="*/ 290989 h 514350"/>
                <a:gd name="connsiteX472" fmla="*/ 5498306 w 6400800"/>
                <a:gd name="connsiteY472" fmla="*/ 285274 h 514350"/>
                <a:gd name="connsiteX473" fmla="*/ 5499259 w 6400800"/>
                <a:gd name="connsiteY473" fmla="*/ 269081 h 514350"/>
                <a:gd name="connsiteX474" fmla="*/ 5494496 w 6400800"/>
                <a:gd name="connsiteY474" fmla="*/ 284321 h 514350"/>
                <a:gd name="connsiteX475" fmla="*/ 5481162 w 6400800"/>
                <a:gd name="connsiteY475" fmla="*/ 257651 h 514350"/>
                <a:gd name="connsiteX476" fmla="*/ 5483067 w 6400800"/>
                <a:gd name="connsiteY476" fmla="*/ 251936 h 514350"/>
                <a:gd name="connsiteX477" fmla="*/ 5492592 w 6400800"/>
                <a:gd name="connsiteY477" fmla="*/ 224314 h 514350"/>
                <a:gd name="connsiteX478" fmla="*/ 5500212 w 6400800"/>
                <a:gd name="connsiteY478" fmla="*/ 200501 h 514350"/>
                <a:gd name="connsiteX479" fmla="*/ 5493544 w 6400800"/>
                <a:gd name="connsiteY479" fmla="*/ 212884 h 514350"/>
                <a:gd name="connsiteX480" fmla="*/ 5502117 w 6400800"/>
                <a:gd name="connsiteY480" fmla="*/ 188119 h 514350"/>
                <a:gd name="connsiteX481" fmla="*/ 5511642 w 6400800"/>
                <a:gd name="connsiteY481" fmla="*/ 160496 h 514350"/>
                <a:gd name="connsiteX482" fmla="*/ 5498306 w 6400800"/>
                <a:gd name="connsiteY482" fmla="*/ 186214 h 514350"/>
                <a:gd name="connsiteX483" fmla="*/ 5484019 w 6400800"/>
                <a:gd name="connsiteY483" fmla="*/ 215741 h 514350"/>
                <a:gd name="connsiteX484" fmla="*/ 5475446 w 6400800"/>
                <a:gd name="connsiteY484" fmla="*/ 233839 h 514350"/>
                <a:gd name="connsiteX485" fmla="*/ 5472589 w 6400800"/>
                <a:gd name="connsiteY485" fmla="*/ 241459 h 514350"/>
                <a:gd name="connsiteX486" fmla="*/ 5461159 w 6400800"/>
                <a:gd name="connsiteY486" fmla="*/ 221456 h 514350"/>
                <a:gd name="connsiteX487" fmla="*/ 5469731 w 6400800"/>
                <a:gd name="connsiteY487" fmla="*/ 248126 h 514350"/>
                <a:gd name="connsiteX488" fmla="*/ 5466874 w 6400800"/>
                <a:gd name="connsiteY488" fmla="*/ 254794 h 514350"/>
                <a:gd name="connsiteX489" fmla="*/ 5465921 w 6400800"/>
                <a:gd name="connsiteY489" fmla="*/ 257651 h 514350"/>
                <a:gd name="connsiteX490" fmla="*/ 5464969 w 6400800"/>
                <a:gd name="connsiteY490" fmla="*/ 256699 h 514350"/>
                <a:gd name="connsiteX491" fmla="*/ 5455444 w 6400800"/>
                <a:gd name="connsiteY491" fmla="*/ 246221 h 514350"/>
                <a:gd name="connsiteX492" fmla="*/ 5452587 w 6400800"/>
                <a:gd name="connsiteY492" fmla="*/ 230029 h 514350"/>
                <a:gd name="connsiteX493" fmla="*/ 5448776 w 6400800"/>
                <a:gd name="connsiteY493" fmla="*/ 214789 h 514350"/>
                <a:gd name="connsiteX494" fmla="*/ 5442109 w 6400800"/>
                <a:gd name="connsiteY494" fmla="*/ 190024 h 514350"/>
                <a:gd name="connsiteX495" fmla="*/ 5442109 w 6400800"/>
                <a:gd name="connsiteY495" fmla="*/ 190024 h 514350"/>
                <a:gd name="connsiteX496" fmla="*/ 5442109 w 6400800"/>
                <a:gd name="connsiteY496" fmla="*/ 180499 h 514350"/>
                <a:gd name="connsiteX497" fmla="*/ 5441156 w 6400800"/>
                <a:gd name="connsiteY497" fmla="*/ 186214 h 514350"/>
                <a:gd name="connsiteX498" fmla="*/ 5436394 w 6400800"/>
                <a:gd name="connsiteY498" fmla="*/ 169069 h 514350"/>
                <a:gd name="connsiteX499" fmla="*/ 5438299 w 6400800"/>
                <a:gd name="connsiteY499" fmla="*/ 190976 h 514350"/>
                <a:gd name="connsiteX500" fmla="*/ 5439251 w 6400800"/>
                <a:gd name="connsiteY500" fmla="*/ 195739 h 514350"/>
                <a:gd name="connsiteX501" fmla="*/ 5433537 w 6400800"/>
                <a:gd name="connsiteY501" fmla="*/ 225266 h 514350"/>
                <a:gd name="connsiteX502" fmla="*/ 5429726 w 6400800"/>
                <a:gd name="connsiteY502" fmla="*/ 221456 h 514350"/>
                <a:gd name="connsiteX503" fmla="*/ 5433537 w 6400800"/>
                <a:gd name="connsiteY503" fmla="*/ 225266 h 514350"/>
                <a:gd name="connsiteX504" fmla="*/ 5430679 w 6400800"/>
                <a:gd name="connsiteY504" fmla="*/ 240506 h 514350"/>
                <a:gd name="connsiteX505" fmla="*/ 5428774 w 6400800"/>
                <a:gd name="connsiteY505" fmla="*/ 228124 h 514350"/>
                <a:gd name="connsiteX506" fmla="*/ 5428774 w 6400800"/>
                <a:gd name="connsiteY506" fmla="*/ 242411 h 514350"/>
                <a:gd name="connsiteX507" fmla="*/ 5424012 w 6400800"/>
                <a:gd name="connsiteY507" fmla="*/ 222409 h 514350"/>
                <a:gd name="connsiteX508" fmla="*/ 5419249 w 6400800"/>
                <a:gd name="connsiteY508" fmla="*/ 200501 h 514350"/>
                <a:gd name="connsiteX509" fmla="*/ 5420201 w 6400800"/>
                <a:gd name="connsiteY509" fmla="*/ 223361 h 514350"/>
                <a:gd name="connsiteX510" fmla="*/ 5424964 w 6400800"/>
                <a:gd name="connsiteY510" fmla="*/ 274796 h 514350"/>
                <a:gd name="connsiteX511" fmla="*/ 5420201 w 6400800"/>
                <a:gd name="connsiteY511" fmla="*/ 299561 h 514350"/>
                <a:gd name="connsiteX512" fmla="*/ 5418296 w 6400800"/>
                <a:gd name="connsiteY512" fmla="*/ 305276 h 514350"/>
                <a:gd name="connsiteX513" fmla="*/ 5415439 w 6400800"/>
                <a:gd name="connsiteY513" fmla="*/ 298609 h 514350"/>
                <a:gd name="connsiteX514" fmla="*/ 5417344 w 6400800"/>
                <a:gd name="connsiteY514" fmla="*/ 291941 h 514350"/>
                <a:gd name="connsiteX515" fmla="*/ 5414487 w 6400800"/>
                <a:gd name="connsiteY515" fmla="*/ 296704 h 514350"/>
                <a:gd name="connsiteX516" fmla="*/ 5414487 w 6400800"/>
                <a:gd name="connsiteY516" fmla="*/ 295751 h 514350"/>
                <a:gd name="connsiteX517" fmla="*/ 5411629 w 6400800"/>
                <a:gd name="connsiteY517" fmla="*/ 287179 h 514350"/>
                <a:gd name="connsiteX518" fmla="*/ 5414487 w 6400800"/>
                <a:gd name="connsiteY518" fmla="*/ 268129 h 514350"/>
                <a:gd name="connsiteX519" fmla="*/ 5409724 w 6400800"/>
                <a:gd name="connsiteY519" fmla="*/ 282416 h 514350"/>
                <a:gd name="connsiteX520" fmla="*/ 5404009 w 6400800"/>
                <a:gd name="connsiteY520" fmla="*/ 267176 h 514350"/>
                <a:gd name="connsiteX521" fmla="*/ 5399246 w 6400800"/>
                <a:gd name="connsiteY521" fmla="*/ 253841 h 514350"/>
                <a:gd name="connsiteX522" fmla="*/ 5400199 w 6400800"/>
                <a:gd name="connsiteY522" fmla="*/ 232886 h 514350"/>
                <a:gd name="connsiteX523" fmla="*/ 5396389 w 6400800"/>
                <a:gd name="connsiteY523" fmla="*/ 247174 h 514350"/>
                <a:gd name="connsiteX524" fmla="*/ 5395437 w 6400800"/>
                <a:gd name="connsiteY524" fmla="*/ 244316 h 514350"/>
                <a:gd name="connsiteX525" fmla="*/ 5387817 w 6400800"/>
                <a:gd name="connsiteY525" fmla="*/ 224314 h 514350"/>
                <a:gd name="connsiteX526" fmla="*/ 5391626 w 6400800"/>
                <a:gd name="connsiteY526" fmla="*/ 245269 h 514350"/>
                <a:gd name="connsiteX527" fmla="*/ 5394484 w 6400800"/>
                <a:gd name="connsiteY527" fmla="*/ 257651 h 514350"/>
                <a:gd name="connsiteX528" fmla="*/ 5384959 w 6400800"/>
                <a:gd name="connsiteY528" fmla="*/ 300514 h 514350"/>
                <a:gd name="connsiteX529" fmla="*/ 5384006 w 6400800"/>
                <a:gd name="connsiteY529" fmla="*/ 297656 h 514350"/>
                <a:gd name="connsiteX530" fmla="*/ 5382101 w 6400800"/>
                <a:gd name="connsiteY530" fmla="*/ 283369 h 514350"/>
                <a:gd name="connsiteX531" fmla="*/ 5382101 w 6400800"/>
                <a:gd name="connsiteY531" fmla="*/ 287179 h 514350"/>
                <a:gd name="connsiteX532" fmla="*/ 5380196 w 6400800"/>
                <a:gd name="connsiteY532" fmla="*/ 276701 h 514350"/>
                <a:gd name="connsiteX533" fmla="*/ 5379244 w 6400800"/>
                <a:gd name="connsiteY533" fmla="*/ 272891 h 514350"/>
                <a:gd name="connsiteX534" fmla="*/ 5380196 w 6400800"/>
                <a:gd name="connsiteY534" fmla="*/ 269081 h 514350"/>
                <a:gd name="connsiteX535" fmla="*/ 5379244 w 6400800"/>
                <a:gd name="connsiteY535" fmla="*/ 271939 h 514350"/>
                <a:gd name="connsiteX536" fmla="*/ 5372576 w 6400800"/>
                <a:gd name="connsiteY536" fmla="*/ 241459 h 514350"/>
                <a:gd name="connsiteX537" fmla="*/ 5373529 w 6400800"/>
                <a:gd name="connsiteY537" fmla="*/ 232886 h 514350"/>
                <a:gd name="connsiteX538" fmla="*/ 5378292 w 6400800"/>
                <a:gd name="connsiteY538" fmla="*/ 190024 h 514350"/>
                <a:gd name="connsiteX539" fmla="*/ 5384006 w 6400800"/>
                <a:gd name="connsiteY539" fmla="*/ 153829 h 514350"/>
                <a:gd name="connsiteX540" fmla="*/ 5386864 w 6400800"/>
                <a:gd name="connsiteY540" fmla="*/ 138589 h 514350"/>
                <a:gd name="connsiteX541" fmla="*/ 5389721 w 6400800"/>
                <a:gd name="connsiteY541" fmla="*/ 126206 h 514350"/>
                <a:gd name="connsiteX542" fmla="*/ 5394484 w 6400800"/>
                <a:gd name="connsiteY542" fmla="*/ 102394 h 514350"/>
                <a:gd name="connsiteX543" fmla="*/ 5385912 w 6400800"/>
                <a:gd name="connsiteY543" fmla="*/ 125254 h 514350"/>
                <a:gd name="connsiteX544" fmla="*/ 5381149 w 6400800"/>
                <a:gd name="connsiteY544" fmla="*/ 137636 h 514350"/>
                <a:gd name="connsiteX545" fmla="*/ 5376387 w 6400800"/>
                <a:gd name="connsiteY545" fmla="*/ 151924 h 514350"/>
                <a:gd name="connsiteX546" fmla="*/ 5366862 w 6400800"/>
                <a:gd name="connsiteY546" fmla="*/ 188119 h 514350"/>
                <a:gd name="connsiteX547" fmla="*/ 5363051 w 6400800"/>
                <a:gd name="connsiteY547" fmla="*/ 205264 h 514350"/>
                <a:gd name="connsiteX548" fmla="*/ 5360194 w 6400800"/>
                <a:gd name="connsiteY548" fmla="*/ 196691 h 514350"/>
                <a:gd name="connsiteX549" fmla="*/ 5361146 w 6400800"/>
                <a:gd name="connsiteY549" fmla="*/ 210979 h 514350"/>
                <a:gd name="connsiteX550" fmla="*/ 5357337 w 6400800"/>
                <a:gd name="connsiteY550" fmla="*/ 230981 h 514350"/>
                <a:gd name="connsiteX551" fmla="*/ 5355431 w 6400800"/>
                <a:gd name="connsiteY551" fmla="*/ 245269 h 514350"/>
                <a:gd name="connsiteX552" fmla="*/ 5354479 w 6400800"/>
                <a:gd name="connsiteY552" fmla="*/ 235744 h 514350"/>
                <a:gd name="connsiteX553" fmla="*/ 5354479 w 6400800"/>
                <a:gd name="connsiteY553" fmla="*/ 230029 h 514350"/>
                <a:gd name="connsiteX554" fmla="*/ 5355431 w 6400800"/>
                <a:gd name="connsiteY554" fmla="*/ 210979 h 514350"/>
                <a:gd name="connsiteX555" fmla="*/ 5352574 w 6400800"/>
                <a:gd name="connsiteY555" fmla="*/ 222409 h 514350"/>
                <a:gd name="connsiteX556" fmla="*/ 5347812 w 6400800"/>
                <a:gd name="connsiteY556" fmla="*/ 190024 h 514350"/>
                <a:gd name="connsiteX557" fmla="*/ 5347812 w 6400800"/>
                <a:gd name="connsiteY557" fmla="*/ 179546 h 514350"/>
                <a:gd name="connsiteX558" fmla="*/ 5347812 w 6400800"/>
                <a:gd name="connsiteY558" fmla="*/ 160496 h 514350"/>
                <a:gd name="connsiteX559" fmla="*/ 5344954 w 6400800"/>
                <a:gd name="connsiteY559" fmla="*/ 173831 h 514350"/>
                <a:gd name="connsiteX560" fmla="*/ 5341144 w 6400800"/>
                <a:gd name="connsiteY560" fmla="*/ 150019 h 514350"/>
                <a:gd name="connsiteX561" fmla="*/ 5342096 w 6400800"/>
                <a:gd name="connsiteY561" fmla="*/ 177641 h 514350"/>
                <a:gd name="connsiteX562" fmla="*/ 5342096 w 6400800"/>
                <a:gd name="connsiteY562" fmla="*/ 187166 h 514350"/>
                <a:gd name="connsiteX563" fmla="*/ 5340192 w 6400800"/>
                <a:gd name="connsiteY563" fmla="*/ 200501 h 514350"/>
                <a:gd name="connsiteX564" fmla="*/ 5337334 w 6400800"/>
                <a:gd name="connsiteY564" fmla="*/ 229076 h 514350"/>
                <a:gd name="connsiteX565" fmla="*/ 5336381 w 6400800"/>
                <a:gd name="connsiteY565" fmla="*/ 263366 h 514350"/>
                <a:gd name="connsiteX566" fmla="*/ 5336381 w 6400800"/>
                <a:gd name="connsiteY566" fmla="*/ 282416 h 514350"/>
                <a:gd name="connsiteX567" fmla="*/ 5336381 w 6400800"/>
                <a:gd name="connsiteY567" fmla="*/ 282416 h 514350"/>
                <a:gd name="connsiteX568" fmla="*/ 5333524 w 6400800"/>
                <a:gd name="connsiteY568" fmla="*/ 293846 h 514350"/>
                <a:gd name="connsiteX569" fmla="*/ 5332571 w 6400800"/>
                <a:gd name="connsiteY569" fmla="*/ 291941 h 514350"/>
                <a:gd name="connsiteX570" fmla="*/ 5327809 w 6400800"/>
                <a:gd name="connsiteY570" fmla="*/ 278606 h 514350"/>
                <a:gd name="connsiteX571" fmla="*/ 5319237 w 6400800"/>
                <a:gd name="connsiteY571" fmla="*/ 252889 h 514350"/>
                <a:gd name="connsiteX572" fmla="*/ 5310664 w 6400800"/>
                <a:gd name="connsiteY572" fmla="*/ 230029 h 514350"/>
                <a:gd name="connsiteX573" fmla="*/ 5315426 w 6400800"/>
                <a:gd name="connsiteY573" fmla="*/ 253841 h 514350"/>
                <a:gd name="connsiteX574" fmla="*/ 5318284 w 6400800"/>
                <a:gd name="connsiteY574" fmla="*/ 267176 h 514350"/>
                <a:gd name="connsiteX575" fmla="*/ 5315426 w 6400800"/>
                <a:gd name="connsiteY575" fmla="*/ 263366 h 514350"/>
                <a:gd name="connsiteX576" fmla="*/ 5320189 w 6400800"/>
                <a:gd name="connsiteY576" fmla="*/ 276701 h 514350"/>
                <a:gd name="connsiteX577" fmla="*/ 5321142 w 6400800"/>
                <a:gd name="connsiteY577" fmla="*/ 281464 h 514350"/>
                <a:gd name="connsiteX578" fmla="*/ 5324951 w 6400800"/>
                <a:gd name="connsiteY578" fmla="*/ 297656 h 514350"/>
                <a:gd name="connsiteX579" fmla="*/ 5326856 w 6400800"/>
                <a:gd name="connsiteY579" fmla="*/ 306229 h 514350"/>
                <a:gd name="connsiteX580" fmla="*/ 5316379 w 6400800"/>
                <a:gd name="connsiteY580" fmla="*/ 322421 h 514350"/>
                <a:gd name="connsiteX581" fmla="*/ 5306854 w 6400800"/>
                <a:gd name="connsiteY581" fmla="*/ 338614 h 514350"/>
                <a:gd name="connsiteX582" fmla="*/ 5298281 w 6400800"/>
                <a:gd name="connsiteY582" fmla="*/ 354806 h 514350"/>
                <a:gd name="connsiteX583" fmla="*/ 5298281 w 6400800"/>
                <a:gd name="connsiteY583" fmla="*/ 344329 h 514350"/>
                <a:gd name="connsiteX584" fmla="*/ 5301139 w 6400800"/>
                <a:gd name="connsiteY584" fmla="*/ 318611 h 514350"/>
                <a:gd name="connsiteX585" fmla="*/ 5305901 w 6400800"/>
                <a:gd name="connsiteY585" fmla="*/ 291941 h 514350"/>
                <a:gd name="connsiteX586" fmla="*/ 5311617 w 6400800"/>
                <a:gd name="connsiteY586" fmla="*/ 269081 h 514350"/>
                <a:gd name="connsiteX587" fmla="*/ 5302092 w 6400800"/>
                <a:gd name="connsiteY587" fmla="*/ 290989 h 514350"/>
                <a:gd name="connsiteX588" fmla="*/ 5299234 w 6400800"/>
                <a:gd name="connsiteY588" fmla="*/ 298609 h 514350"/>
                <a:gd name="connsiteX589" fmla="*/ 5299234 w 6400800"/>
                <a:gd name="connsiteY589" fmla="*/ 263366 h 514350"/>
                <a:gd name="connsiteX590" fmla="*/ 5290662 w 6400800"/>
                <a:gd name="connsiteY590" fmla="*/ 317659 h 514350"/>
                <a:gd name="connsiteX591" fmla="*/ 5289709 w 6400800"/>
                <a:gd name="connsiteY591" fmla="*/ 312896 h 514350"/>
                <a:gd name="connsiteX592" fmla="*/ 5284946 w 6400800"/>
                <a:gd name="connsiteY592" fmla="*/ 295751 h 514350"/>
                <a:gd name="connsiteX593" fmla="*/ 5284946 w 6400800"/>
                <a:gd name="connsiteY593" fmla="*/ 295751 h 514350"/>
                <a:gd name="connsiteX594" fmla="*/ 5284946 w 6400800"/>
                <a:gd name="connsiteY594" fmla="*/ 295751 h 514350"/>
                <a:gd name="connsiteX595" fmla="*/ 5282089 w 6400800"/>
                <a:gd name="connsiteY595" fmla="*/ 284321 h 514350"/>
                <a:gd name="connsiteX596" fmla="*/ 5281137 w 6400800"/>
                <a:gd name="connsiteY596" fmla="*/ 282416 h 514350"/>
                <a:gd name="connsiteX597" fmla="*/ 5288756 w 6400800"/>
                <a:gd name="connsiteY597" fmla="*/ 252889 h 514350"/>
                <a:gd name="connsiteX598" fmla="*/ 5279231 w 6400800"/>
                <a:gd name="connsiteY598" fmla="*/ 273844 h 514350"/>
                <a:gd name="connsiteX599" fmla="*/ 5275421 w 6400800"/>
                <a:gd name="connsiteY599" fmla="*/ 262414 h 514350"/>
                <a:gd name="connsiteX600" fmla="*/ 5268754 w 6400800"/>
                <a:gd name="connsiteY600" fmla="*/ 243364 h 514350"/>
                <a:gd name="connsiteX601" fmla="*/ 5271612 w 6400800"/>
                <a:gd name="connsiteY601" fmla="*/ 262414 h 514350"/>
                <a:gd name="connsiteX602" fmla="*/ 5274469 w 6400800"/>
                <a:gd name="connsiteY602" fmla="*/ 283369 h 514350"/>
                <a:gd name="connsiteX603" fmla="*/ 5263039 w 6400800"/>
                <a:gd name="connsiteY603" fmla="*/ 310039 h 514350"/>
                <a:gd name="connsiteX604" fmla="*/ 5263039 w 6400800"/>
                <a:gd name="connsiteY604" fmla="*/ 302419 h 514350"/>
                <a:gd name="connsiteX605" fmla="*/ 5260181 w 6400800"/>
                <a:gd name="connsiteY605" fmla="*/ 310039 h 514350"/>
                <a:gd name="connsiteX606" fmla="*/ 5260181 w 6400800"/>
                <a:gd name="connsiteY606" fmla="*/ 309086 h 514350"/>
                <a:gd name="connsiteX607" fmla="*/ 5261134 w 6400800"/>
                <a:gd name="connsiteY607" fmla="*/ 301466 h 514350"/>
                <a:gd name="connsiteX608" fmla="*/ 5262087 w 6400800"/>
                <a:gd name="connsiteY608" fmla="*/ 284321 h 514350"/>
                <a:gd name="connsiteX609" fmla="*/ 5263039 w 6400800"/>
                <a:gd name="connsiteY609" fmla="*/ 269081 h 514350"/>
                <a:gd name="connsiteX610" fmla="*/ 5258276 w 6400800"/>
                <a:gd name="connsiteY610" fmla="*/ 283369 h 514350"/>
                <a:gd name="connsiteX611" fmla="*/ 5257324 w 6400800"/>
                <a:gd name="connsiteY611" fmla="*/ 287179 h 514350"/>
                <a:gd name="connsiteX612" fmla="*/ 5255419 w 6400800"/>
                <a:gd name="connsiteY612" fmla="*/ 273844 h 514350"/>
                <a:gd name="connsiteX613" fmla="*/ 5255419 w 6400800"/>
                <a:gd name="connsiteY613" fmla="*/ 271939 h 514350"/>
                <a:gd name="connsiteX614" fmla="*/ 5255419 w 6400800"/>
                <a:gd name="connsiteY614" fmla="*/ 270986 h 514350"/>
                <a:gd name="connsiteX615" fmla="*/ 5256371 w 6400800"/>
                <a:gd name="connsiteY615" fmla="*/ 266224 h 514350"/>
                <a:gd name="connsiteX616" fmla="*/ 5255419 w 6400800"/>
                <a:gd name="connsiteY616" fmla="*/ 268129 h 514350"/>
                <a:gd name="connsiteX617" fmla="*/ 5258276 w 6400800"/>
                <a:gd name="connsiteY617" fmla="*/ 232886 h 514350"/>
                <a:gd name="connsiteX618" fmla="*/ 5263039 w 6400800"/>
                <a:gd name="connsiteY618" fmla="*/ 158591 h 514350"/>
                <a:gd name="connsiteX619" fmla="*/ 5252562 w 6400800"/>
                <a:gd name="connsiteY619" fmla="*/ 204311 h 514350"/>
                <a:gd name="connsiteX620" fmla="*/ 5255419 w 6400800"/>
                <a:gd name="connsiteY620" fmla="*/ 173831 h 514350"/>
                <a:gd name="connsiteX621" fmla="*/ 5258276 w 6400800"/>
                <a:gd name="connsiteY621" fmla="*/ 140494 h 514350"/>
                <a:gd name="connsiteX622" fmla="*/ 5260181 w 6400800"/>
                <a:gd name="connsiteY622" fmla="*/ 110966 h 514350"/>
                <a:gd name="connsiteX623" fmla="*/ 5254467 w 6400800"/>
                <a:gd name="connsiteY623" fmla="*/ 139541 h 514350"/>
                <a:gd name="connsiteX624" fmla="*/ 5247799 w 6400800"/>
                <a:gd name="connsiteY624" fmla="*/ 172879 h 514350"/>
                <a:gd name="connsiteX625" fmla="*/ 5243989 w 6400800"/>
                <a:gd name="connsiteY625" fmla="*/ 192881 h 514350"/>
                <a:gd name="connsiteX626" fmla="*/ 5243037 w 6400800"/>
                <a:gd name="connsiteY626" fmla="*/ 201454 h 514350"/>
                <a:gd name="connsiteX627" fmla="*/ 5241131 w 6400800"/>
                <a:gd name="connsiteY627" fmla="*/ 194786 h 514350"/>
                <a:gd name="connsiteX628" fmla="*/ 5241131 w 6400800"/>
                <a:gd name="connsiteY628" fmla="*/ 209074 h 514350"/>
                <a:gd name="connsiteX629" fmla="*/ 5240179 w 6400800"/>
                <a:gd name="connsiteY629" fmla="*/ 215741 h 514350"/>
                <a:gd name="connsiteX630" fmla="*/ 5235417 w 6400800"/>
                <a:gd name="connsiteY630" fmla="*/ 246221 h 514350"/>
                <a:gd name="connsiteX631" fmla="*/ 5230654 w 6400800"/>
                <a:gd name="connsiteY631" fmla="*/ 252889 h 514350"/>
                <a:gd name="connsiteX632" fmla="*/ 5222081 w 6400800"/>
                <a:gd name="connsiteY632" fmla="*/ 266224 h 514350"/>
                <a:gd name="connsiteX633" fmla="*/ 5215414 w 6400800"/>
                <a:gd name="connsiteY633" fmla="*/ 279559 h 514350"/>
                <a:gd name="connsiteX634" fmla="*/ 5215414 w 6400800"/>
                <a:gd name="connsiteY634" fmla="*/ 278606 h 514350"/>
                <a:gd name="connsiteX635" fmla="*/ 5216367 w 6400800"/>
                <a:gd name="connsiteY635" fmla="*/ 275749 h 514350"/>
                <a:gd name="connsiteX636" fmla="*/ 5215414 w 6400800"/>
                <a:gd name="connsiteY636" fmla="*/ 277654 h 514350"/>
                <a:gd name="connsiteX637" fmla="*/ 5211604 w 6400800"/>
                <a:gd name="connsiteY637" fmla="*/ 249079 h 514350"/>
                <a:gd name="connsiteX638" fmla="*/ 5208746 w 6400800"/>
                <a:gd name="connsiteY638" fmla="*/ 224314 h 514350"/>
                <a:gd name="connsiteX639" fmla="*/ 5205889 w 6400800"/>
                <a:gd name="connsiteY639" fmla="*/ 202406 h 514350"/>
                <a:gd name="connsiteX640" fmla="*/ 5204937 w 6400800"/>
                <a:gd name="connsiteY640" fmla="*/ 224314 h 514350"/>
                <a:gd name="connsiteX641" fmla="*/ 5204937 w 6400800"/>
                <a:gd name="connsiteY641" fmla="*/ 249079 h 514350"/>
                <a:gd name="connsiteX642" fmla="*/ 5204937 w 6400800"/>
                <a:gd name="connsiteY642" fmla="*/ 264319 h 514350"/>
                <a:gd name="connsiteX643" fmla="*/ 5205889 w 6400800"/>
                <a:gd name="connsiteY643" fmla="*/ 281464 h 514350"/>
                <a:gd name="connsiteX644" fmla="*/ 5205889 w 6400800"/>
                <a:gd name="connsiteY644" fmla="*/ 289084 h 514350"/>
                <a:gd name="connsiteX645" fmla="*/ 5203984 w 6400800"/>
                <a:gd name="connsiteY645" fmla="*/ 286226 h 514350"/>
                <a:gd name="connsiteX646" fmla="*/ 5205889 w 6400800"/>
                <a:gd name="connsiteY646" fmla="*/ 290989 h 514350"/>
                <a:gd name="connsiteX647" fmla="*/ 5205889 w 6400800"/>
                <a:gd name="connsiteY647" fmla="*/ 291941 h 514350"/>
                <a:gd name="connsiteX648" fmla="*/ 5203984 w 6400800"/>
                <a:gd name="connsiteY648" fmla="*/ 287179 h 514350"/>
                <a:gd name="connsiteX649" fmla="*/ 5203984 w 6400800"/>
                <a:gd name="connsiteY649" fmla="*/ 287179 h 514350"/>
                <a:gd name="connsiteX650" fmla="*/ 5203984 w 6400800"/>
                <a:gd name="connsiteY650" fmla="*/ 287179 h 514350"/>
                <a:gd name="connsiteX651" fmla="*/ 5199221 w 6400800"/>
                <a:gd name="connsiteY651" fmla="*/ 278606 h 514350"/>
                <a:gd name="connsiteX652" fmla="*/ 5202079 w 6400800"/>
                <a:gd name="connsiteY652" fmla="*/ 290989 h 514350"/>
                <a:gd name="connsiteX653" fmla="*/ 5198269 w 6400800"/>
                <a:gd name="connsiteY653" fmla="*/ 300514 h 514350"/>
                <a:gd name="connsiteX654" fmla="*/ 5195412 w 6400800"/>
                <a:gd name="connsiteY654" fmla="*/ 295751 h 514350"/>
                <a:gd name="connsiteX655" fmla="*/ 5191601 w 6400800"/>
                <a:gd name="connsiteY655" fmla="*/ 263366 h 514350"/>
                <a:gd name="connsiteX656" fmla="*/ 5184934 w 6400800"/>
                <a:gd name="connsiteY656" fmla="*/ 190024 h 514350"/>
                <a:gd name="connsiteX657" fmla="*/ 5183981 w 6400800"/>
                <a:gd name="connsiteY657" fmla="*/ 169069 h 514350"/>
                <a:gd name="connsiteX658" fmla="*/ 5183981 w 6400800"/>
                <a:gd name="connsiteY658" fmla="*/ 161449 h 514350"/>
                <a:gd name="connsiteX659" fmla="*/ 5183029 w 6400800"/>
                <a:gd name="connsiteY659" fmla="*/ 169069 h 514350"/>
                <a:gd name="connsiteX660" fmla="*/ 5181124 w 6400800"/>
                <a:gd name="connsiteY660" fmla="*/ 190024 h 514350"/>
                <a:gd name="connsiteX661" fmla="*/ 5180171 w 6400800"/>
                <a:gd name="connsiteY661" fmla="*/ 211931 h 514350"/>
                <a:gd name="connsiteX662" fmla="*/ 5177314 w 6400800"/>
                <a:gd name="connsiteY662" fmla="*/ 215741 h 514350"/>
                <a:gd name="connsiteX663" fmla="*/ 5165884 w 6400800"/>
                <a:gd name="connsiteY663" fmla="*/ 231934 h 514350"/>
                <a:gd name="connsiteX664" fmla="*/ 5163979 w 6400800"/>
                <a:gd name="connsiteY664" fmla="*/ 235744 h 514350"/>
                <a:gd name="connsiteX665" fmla="*/ 5161121 w 6400800"/>
                <a:gd name="connsiteY665" fmla="*/ 230029 h 514350"/>
                <a:gd name="connsiteX666" fmla="*/ 5161121 w 6400800"/>
                <a:gd name="connsiteY666" fmla="*/ 229076 h 514350"/>
                <a:gd name="connsiteX667" fmla="*/ 5163026 w 6400800"/>
                <a:gd name="connsiteY667" fmla="*/ 213836 h 514350"/>
                <a:gd name="connsiteX668" fmla="*/ 5163979 w 6400800"/>
                <a:gd name="connsiteY668" fmla="*/ 208121 h 514350"/>
                <a:gd name="connsiteX669" fmla="*/ 5158264 w 6400800"/>
                <a:gd name="connsiteY669" fmla="*/ 224314 h 514350"/>
                <a:gd name="connsiteX670" fmla="*/ 5156359 w 6400800"/>
                <a:gd name="connsiteY670" fmla="*/ 220504 h 514350"/>
                <a:gd name="connsiteX671" fmla="*/ 5147787 w 6400800"/>
                <a:gd name="connsiteY671" fmla="*/ 205264 h 514350"/>
                <a:gd name="connsiteX672" fmla="*/ 5144929 w 6400800"/>
                <a:gd name="connsiteY672" fmla="*/ 178594 h 514350"/>
                <a:gd name="connsiteX673" fmla="*/ 5141119 w 6400800"/>
                <a:gd name="connsiteY673" fmla="*/ 149066 h 514350"/>
                <a:gd name="connsiteX674" fmla="*/ 5141119 w 6400800"/>
                <a:gd name="connsiteY674" fmla="*/ 178594 h 514350"/>
                <a:gd name="connsiteX675" fmla="*/ 5141119 w 6400800"/>
                <a:gd name="connsiteY675" fmla="*/ 255746 h 514350"/>
                <a:gd name="connsiteX676" fmla="*/ 5141119 w 6400800"/>
                <a:gd name="connsiteY676" fmla="*/ 258604 h 514350"/>
                <a:gd name="connsiteX677" fmla="*/ 5139214 w 6400800"/>
                <a:gd name="connsiteY677" fmla="*/ 260509 h 514350"/>
                <a:gd name="connsiteX678" fmla="*/ 5134451 w 6400800"/>
                <a:gd name="connsiteY678" fmla="*/ 265271 h 514350"/>
                <a:gd name="connsiteX679" fmla="*/ 5128737 w 6400800"/>
                <a:gd name="connsiteY679" fmla="*/ 184309 h 514350"/>
                <a:gd name="connsiteX680" fmla="*/ 5124926 w 6400800"/>
                <a:gd name="connsiteY680" fmla="*/ 236696 h 514350"/>
                <a:gd name="connsiteX681" fmla="*/ 5119212 w 6400800"/>
                <a:gd name="connsiteY681" fmla="*/ 219551 h 514350"/>
                <a:gd name="connsiteX682" fmla="*/ 5123974 w 6400800"/>
                <a:gd name="connsiteY682" fmla="*/ 249079 h 514350"/>
                <a:gd name="connsiteX683" fmla="*/ 5123021 w 6400800"/>
                <a:gd name="connsiteY683" fmla="*/ 258604 h 514350"/>
                <a:gd name="connsiteX684" fmla="*/ 5120164 w 6400800"/>
                <a:gd name="connsiteY684" fmla="*/ 279559 h 514350"/>
                <a:gd name="connsiteX685" fmla="*/ 5116354 w 6400800"/>
                <a:gd name="connsiteY685" fmla="*/ 285274 h 514350"/>
                <a:gd name="connsiteX686" fmla="*/ 5106829 w 6400800"/>
                <a:gd name="connsiteY686" fmla="*/ 298609 h 514350"/>
                <a:gd name="connsiteX687" fmla="*/ 5103971 w 6400800"/>
                <a:gd name="connsiteY687" fmla="*/ 303371 h 514350"/>
                <a:gd name="connsiteX688" fmla="*/ 5085874 w 6400800"/>
                <a:gd name="connsiteY688" fmla="*/ 261461 h 514350"/>
                <a:gd name="connsiteX689" fmla="*/ 5086826 w 6400800"/>
                <a:gd name="connsiteY689" fmla="*/ 261461 h 514350"/>
                <a:gd name="connsiteX690" fmla="*/ 5091589 w 6400800"/>
                <a:gd name="connsiteY690" fmla="*/ 260509 h 514350"/>
                <a:gd name="connsiteX691" fmla="*/ 5086826 w 6400800"/>
                <a:gd name="connsiteY691" fmla="*/ 260509 h 514350"/>
                <a:gd name="connsiteX692" fmla="*/ 5085874 w 6400800"/>
                <a:gd name="connsiteY692" fmla="*/ 260509 h 514350"/>
                <a:gd name="connsiteX693" fmla="*/ 5071587 w 6400800"/>
                <a:gd name="connsiteY693" fmla="*/ 230029 h 514350"/>
                <a:gd name="connsiteX694" fmla="*/ 5071587 w 6400800"/>
                <a:gd name="connsiteY694" fmla="*/ 222409 h 514350"/>
                <a:gd name="connsiteX695" fmla="*/ 5069681 w 6400800"/>
                <a:gd name="connsiteY695" fmla="*/ 227171 h 514350"/>
                <a:gd name="connsiteX696" fmla="*/ 5062062 w 6400800"/>
                <a:gd name="connsiteY696" fmla="*/ 192881 h 514350"/>
                <a:gd name="connsiteX697" fmla="*/ 5058251 w 6400800"/>
                <a:gd name="connsiteY697" fmla="*/ 174784 h 514350"/>
                <a:gd name="connsiteX698" fmla="*/ 5055394 w 6400800"/>
                <a:gd name="connsiteY698" fmla="*/ 159544 h 514350"/>
                <a:gd name="connsiteX699" fmla="*/ 5049679 w 6400800"/>
                <a:gd name="connsiteY699" fmla="*/ 130016 h 514350"/>
                <a:gd name="connsiteX700" fmla="*/ 5050631 w 6400800"/>
                <a:gd name="connsiteY700" fmla="*/ 159544 h 514350"/>
                <a:gd name="connsiteX701" fmla="*/ 5051584 w 6400800"/>
                <a:gd name="connsiteY701" fmla="*/ 174784 h 514350"/>
                <a:gd name="connsiteX702" fmla="*/ 5053489 w 6400800"/>
                <a:gd name="connsiteY702" fmla="*/ 192881 h 514350"/>
                <a:gd name="connsiteX703" fmla="*/ 5059204 w 6400800"/>
                <a:gd name="connsiteY703" fmla="*/ 236696 h 514350"/>
                <a:gd name="connsiteX704" fmla="*/ 5061109 w 6400800"/>
                <a:gd name="connsiteY704" fmla="*/ 249079 h 514350"/>
                <a:gd name="connsiteX705" fmla="*/ 5055394 w 6400800"/>
                <a:gd name="connsiteY705" fmla="*/ 270034 h 514350"/>
                <a:gd name="connsiteX706" fmla="*/ 5052537 w 6400800"/>
                <a:gd name="connsiteY706" fmla="*/ 271939 h 514350"/>
                <a:gd name="connsiteX707" fmla="*/ 5052537 w 6400800"/>
                <a:gd name="connsiteY707" fmla="*/ 271939 h 514350"/>
                <a:gd name="connsiteX708" fmla="*/ 5051584 w 6400800"/>
                <a:gd name="connsiteY708" fmla="*/ 267176 h 514350"/>
                <a:gd name="connsiteX709" fmla="*/ 5051584 w 6400800"/>
                <a:gd name="connsiteY709" fmla="*/ 269081 h 514350"/>
                <a:gd name="connsiteX710" fmla="*/ 5048726 w 6400800"/>
                <a:gd name="connsiteY710" fmla="*/ 261461 h 514350"/>
                <a:gd name="connsiteX711" fmla="*/ 5048726 w 6400800"/>
                <a:gd name="connsiteY711" fmla="*/ 261461 h 514350"/>
                <a:gd name="connsiteX712" fmla="*/ 5050631 w 6400800"/>
                <a:gd name="connsiteY712" fmla="*/ 252889 h 514350"/>
                <a:gd name="connsiteX713" fmla="*/ 5047774 w 6400800"/>
                <a:gd name="connsiteY713" fmla="*/ 259556 h 514350"/>
                <a:gd name="connsiteX714" fmla="*/ 5039201 w 6400800"/>
                <a:gd name="connsiteY714" fmla="*/ 236696 h 514350"/>
                <a:gd name="connsiteX715" fmla="*/ 5031581 w 6400800"/>
                <a:gd name="connsiteY715" fmla="*/ 214789 h 514350"/>
                <a:gd name="connsiteX716" fmla="*/ 5035392 w 6400800"/>
                <a:gd name="connsiteY716" fmla="*/ 237649 h 514350"/>
                <a:gd name="connsiteX717" fmla="*/ 5039201 w 6400800"/>
                <a:gd name="connsiteY717" fmla="*/ 256699 h 514350"/>
                <a:gd name="connsiteX718" fmla="*/ 5034439 w 6400800"/>
                <a:gd name="connsiteY718" fmla="*/ 265271 h 514350"/>
                <a:gd name="connsiteX719" fmla="*/ 5034439 w 6400800"/>
                <a:gd name="connsiteY719" fmla="*/ 262414 h 514350"/>
                <a:gd name="connsiteX720" fmla="*/ 5030629 w 6400800"/>
                <a:gd name="connsiteY720" fmla="*/ 241459 h 514350"/>
                <a:gd name="connsiteX721" fmla="*/ 5026819 w 6400800"/>
                <a:gd name="connsiteY721" fmla="*/ 223361 h 514350"/>
                <a:gd name="connsiteX722" fmla="*/ 5025867 w 6400800"/>
                <a:gd name="connsiteY722" fmla="*/ 242411 h 514350"/>
                <a:gd name="connsiteX723" fmla="*/ 5025867 w 6400800"/>
                <a:gd name="connsiteY723" fmla="*/ 263366 h 514350"/>
                <a:gd name="connsiteX724" fmla="*/ 5025867 w 6400800"/>
                <a:gd name="connsiteY724" fmla="*/ 276701 h 514350"/>
                <a:gd name="connsiteX725" fmla="*/ 5025867 w 6400800"/>
                <a:gd name="connsiteY725" fmla="*/ 281464 h 514350"/>
                <a:gd name="connsiteX726" fmla="*/ 5010626 w 6400800"/>
                <a:gd name="connsiteY726" fmla="*/ 263366 h 514350"/>
                <a:gd name="connsiteX727" fmla="*/ 4995387 w 6400800"/>
                <a:gd name="connsiteY727" fmla="*/ 248126 h 514350"/>
                <a:gd name="connsiteX728" fmla="*/ 4997292 w 6400800"/>
                <a:gd name="connsiteY728" fmla="*/ 243364 h 514350"/>
                <a:gd name="connsiteX729" fmla="*/ 4994434 w 6400800"/>
                <a:gd name="connsiteY729" fmla="*/ 248126 h 514350"/>
                <a:gd name="connsiteX730" fmla="*/ 4992529 w 6400800"/>
                <a:gd name="connsiteY730" fmla="*/ 246221 h 514350"/>
                <a:gd name="connsiteX731" fmla="*/ 4994434 w 6400800"/>
                <a:gd name="connsiteY731" fmla="*/ 190024 h 514350"/>
                <a:gd name="connsiteX732" fmla="*/ 4983004 w 6400800"/>
                <a:gd name="connsiteY732" fmla="*/ 240506 h 514350"/>
                <a:gd name="connsiteX733" fmla="*/ 4981099 w 6400800"/>
                <a:gd name="connsiteY733" fmla="*/ 238601 h 514350"/>
                <a:gd name="connsiteX734" fmla="*/ 4959192 w 6400800"/>
                <a:gd name="connsiteY734" fmla="*/ 219551 h 514350"/>
                <a:gd name="connsiteX735" fmla="*/ 4978242 w 6400800"/>
                <a:gd name="connsiteY735" fmla="*/ 241459 h 514350"/>
                <a:gd name="connsiteX736" fmla="*/ 4982051 w 6400800"/>
                <a:gd name="connsiteY736" fmla="*/ 246221 h 514350"/>
                <a:gd name="connsiteX737" fmla="*/ 4982051 w 6400800"/>
                <a:gd name="connsiteY737" fmla="*/ 248126 h 514350"/>
                <a:gd name="connsiteX738" fmla="*/ 4976337 w 6400800"/>
                <a:gd name="connsiteY738" fmla="*/ 279559 h 514350"/>
                <a:gd name="connsiteX739" fmla="*/ 4969669 w 6400800"/>
                <a:gd name="connsiteY739" fmla="*/ 290989 h 514350"/>
                <a:gd name="connsiteX740" fmla="*/ 4960144 w 6400800"/>
                <a:gd name="connsiteY740" fmla="*/ 265271 h 514350"/>
                <a:gd name="connsiteX741" fmla="*/ 4960144 w 6400800"/>
                <a:gd name="connsiteY741" fmla="*/ 264319 h 514350"/>
                <a:gd name="connsiteX742" fmla="*/ 4959192 w 6400800"/>
                <a:gd name="connsiteY742" fmla="*/ 237649 h 514350"/>
                <a:gd name="connsiteX743" fmla="*/ 4958239 w 6400800"/>
                <a:gd name="connsiteY743" fmla="*/ 214789 h 514350"/>
                <a:gd name="connsiteX744" fmla="*/ 4968717 w 6400800"/>
                <a:gd name="connsiteY744" fmla="*/ 164306 h 514350"/>
                <a:gd name="connsiteX745" fmla="*/ 4974431 w 6400800"/>
                <a:gd name="connsiteY745" fmla="*/ 134779 h 514350"/>
                <a:gd name="connsiteX746" fmla="*/ 4964906 w 6400800"/>
                <a:gd name="connsiteY746" fmla="*/ 163354 h 514350"/>
                <a:gd name="connsiteX747" fmla="*/ 4955381 w 6400800"/>
                <a:gd name="connsiteY747" fmla="*/ 191929 h 514350"/>
                <a:gd name="connsiteX748" fmla="*/ 4955381 w 6400800"/>
                <a:gd name="connsiteY748" fmla="*/ 176689 h 514350"/>
                <a:gd name="connsiteX749" fmla="*/ 4952524 w 6400800"/>
                <a:gd name="connsiteY749" fmla="*/ 202406 h 514350"/>
                <a:gd name="connsiteX750" fmla="*/ 4952524 w 6400800"/>
                <a:gd name="connsiteY750" fmla="*/ 203359 h 514350"/>
                <a:gd name="connsiteX751" fmla="*/ 4944904 w 6400800"/>
                <a:gd name="connsiteY751" fmla="*/ 227171 h 514350"/>
                <a:gd name="connsiteX752" fmla="*/ 4944904 w 6400800"/>
                <a:gd name="connsiteY752" fmla="*/ 226219 h 514350"/>
                <a:gd name="connsiteX753" fmla="*/ 4936331 w 6400800"/>
                <a:gd name="connsiteY753" fmla="*/ 199549 h 514350"/>
                <a:gd name="connsiteX754" fmla="*/ 4942046 w 6400800"/>
                <a:gd name="connsiteY754" fmla="*/ 236696 h 514350"/>
                <a:gd name="connsiteX755" fmla="*/ 4941094 w 6400800"/>
                <a:gd name="connsiteY755" fmla="*/ 239554 h 514350"/>
                <a:gd name="connsiteX756" fmla="*/ 4922996 w 6400800"/>
                <a:gd name="connsiteY756" fmla="*/ 292894 h 514350"/>
                <a:gd name="connsiteX757" fmla="*/ 4922996 w 6400800"/>
                <a:gd name="connsiteY757" fmla="*/ 289084 h 514350"/>
                <a:gd name="connsiteX758" fmla="*/ 4920139 w 6400800"/>
                <a:gd name="connsiteY758" fmla="*/ 269081 h 514350"/>
                <a:gd name="connsiteX759" fmla="*/ 4919187 w 6400800"/>
                <a:gd name="connsiteY759" fmla="*/ 290036 h 514350"/>
                <a:gd name="connsiteX760" fmla="*/ 4919187 w 6400800"/>
                <a:gd name="connsiteY760" fmla="*/ 296704 h 514350"/>
                <a:gd name="connsiteX761" fmla="*/ 4917281 w 6400800"/>
                <a:gd name="connsiteY761" fmla="*/ 289084 h 514350"/>
                <a:gd name="connsiteX762" fmla="*/ 4911567 w 6400800"/>
                <a:gd name="connsiteY762" fmla="*/ 266224 h 514350"/>
                <a:gd name="connsiteX763" fmla="*/ 4904899 w 6400800"/>
                <a:gd name="connsiteY763" fmla="*/ 246221 h 514350"/>
                <a:gd name="connsiteX764" fmla="*/ 4907756 w 6400800"/>
                <a:gd name="connsiteY764" fmla="*/ 267176 h 514350"/>
                <a:gd name="connsiteX765" fmla="*/ 4909662 w 6400800"/>
                <a:gd name="connsiteY765" fmla="*/ 290989 h 514350"/>
                <a:gd name="connsiteX766" fmla="*/ 4911567 w 6400800"/>
                <a:gd name="connsiteY766" fmla="*/ 321469 h 514350"/>
                <a:gd name="connsiteX767" fmla="*/ 4908709 w 6400800"/>
                <a:gd name="connsiteY767" fmla="*/ 327184 h 514350"/>
                <a:gd name="connsiteX768" fmla="*/ 4902042 w 6400800"/>
                <a:gd name="connsiteY768" fmla="*/ 313849 h 514350"/>
                <a:gd name="connsiteX769" fmla="*/ 4894421 w 6400800"/>
                <a:gd name="connsiteY769" fmla="*/ 298609 h 514350"/>
                <a:gd name="connsiteX770" fmla="*/ 4892517 w 6400800"/>
                <a:gd name="connsiteY770" fmla="*/ 285274 h 514350"/>
                <a:gd name="connsiteX771" fmla="*/ 4891564 w 6400800"/>
                <a:gd name="connsiteY771" fmla="*/ 293846 h 514350"/>
                <a:gd name="connsiteX772" fmla="*/ 4888706 w 6400800"/>
                <a:gd name="connsiteY772" fmla="*/ 289084 h 514350"/>
                <a:gd name="connsiteX773" fmla="*/ 4891564 w 6400800"/>
                <a:gd name="connsiteY773" fmla="*/ 295751 h 514350"/>
                <a:gd name="connsiteX774" fmla="*/ 4887754 w 6400800"/>
                <a:gd name="connsiteY774" fmla="*/ 348139 h 514350"/>
                <a:gd name="connsiteX775" fmla="*/ 4887754 w 6400800"/>
                <a:gd name="connsiteY775" fmla="*/ 357664 h 514350"/>
                <a:gd name="connsiteX776" fmla="*/ 4882991 w 6400800"/>
                <a:gd name="connsiteY776" fmla="*/ 350996 h 514350"/>
                <a:gd name="connsiteX777" fmla="*/ 4882039 w 6400800"/>
                <a:gd name="connsiteY777" fmla="*/ 338614 h 514350"/>
                <a:gd name="connsiteX778" fmla="*/ 4882039 w 6400800"/>
                <a:gd name="connsiteY778" fmla="*/ 337661 h 514350"/>
                <a:gd name="connsiteX779" fmla="*/ 4883944 w 6400800"/>
                <a:gd name="connsiteY779" fmla="*/ 327184 h 514350"/>
                <a:gd name="connsiteX780" fmla="*/ 4885849 w 6400800"/>
                <a:gd name="connsiteY780" fmla="*/ 319564 h 514350"/>
                <a:gd name="connsiteX781" fmla="*/ 4887754 w 6400800"/>
                <a:gd name="connsiteY781" fmla="*/ 312896 h 514350"/>
                <a:gd name="connsiteX782" fmla="*/ 4884896 w 6400800"/>
                <a:gd name="connsiteY782" fmla="*/ 318611 h 514350"/>
                <a:gd name="connsiteX783" fmla="*/ 4882039 w 6400800"/>
                <a:gd name="connsiteY783" fmla="*/ 326231 h 514350"/>
                <a:gd name="connsiteX784" fmla="*/ 4882039 w 6400800"/>
                <a:gd name="connsiteY784" fmla="*/ 328136 h 514350"/>
                <a:gd name="connsiteX785" fmla="*/ 4882039 w 6400800"/>
                <a:gd name="connsiteY785" fmla="*/ 326231 h 514350"/>
                <a:gd name="connsiteX786" fmla="*/ 4877276 w 6400800"/>
                <a:gd name="connsiteY786" fmla="*/ 288131 h 514350"/>
                <a:gd name="connsiteX787" fmla="*/ 4873466 w 6400800"/>
                <a:gd name="connsiteY787" fmla="*/ 263366 h 514350"/>
                <a:gd name="connsiteX788" fmla="*/ 4878229 w 6400800"/>
                <a:gd name="connsiteY788" fmla="*/ 238601 h 514350"/>
                <a:gd name="connsiteX789" fmla="*/ 4882039 w 6400800"/>
                <a:gd name="connsiteY789" fmla="*/ 211931 h 514350"/>
                <a:gd name="connsiteX790" fmla="*/ 4874419 w 6400800"/>
                <a:gd name="connsiteY790" fmla="*/ 237649 h 514350"/>
                <a:gd name="connsiteX791" fmla="*/ 4870609 w 6400800"/>
                <a:gd name="connsiteY791" fmla="*/ 249079 h 514350"/>
                <a:gd name="connsiteX792" fmla="*/ 4866799 w 6400800"/>
                <a:gd name="connsiteY792" fmla="*/ 231934 h 514350"/>
                <a:gd name="connsiteX793" fmla="*/ 4862037 w 6400800"/>
                <a:gd name="connsiteY793" fmla="*/ 210979 h 514350"/>
                <a:gd name="connsiteX794" fmla="*/ 4862989 w 6400800"/>
                <a:gd name="connsiteY794" fmla="*/ 232886 h 514350"/>
                <a:gd name="connsiteX795" fmla="*/ 4863941 w 6400800"/>
                <a:gd name="connsiteY795" fmla="*/ 248126 h 514350"/>
                <a:gd name="connsiteX796" fmla="*/ 4863941 w 6400800"/>
                <a:gd name="connsiteY796" fmla="*/ 261461 h 514350"/>
                <a:gd name="connsiteX797" fmla="*/ 4860131 w 6400800"/>
                <a:gd name="connsiteY797" fmla="*/ 264319 h 514350"/>
                <a:gd name="connsiteX798" fmla="*/ 4843939 w 6400800"/>
                <a:gd name="connsiteY798" fmla="*/ 281464 h 514350"/>
                <a:gd name="connsiteX799" fmla="*/ 4841081 w 6400800"/>
                <a:gd name="connsiteY799" fmla="*/ 270986 h 514350"/>
                <a:gd name="connsiteX800" fmla="*/ 4842987 w 6400800"/>
                <a:gd name="connsiteY800" fmla="*/ 266224 h 514350"/>
                <a:gd name="connsiteX801" fmla="*/ 4841081 w 6400800"/>
                <a:gd name="connsiteY801" fmla="*/ 269081 h 514350"/>
                <a:gd name="connsiteX802" fmla="*/ 4840129 w 6400800"/>
                <a:gd name="connsiteY802" fmla="*/ 262414 h 514350"/>
                <a:gd name="connsiteX803" fmla="*/ 4840129 w 6400800"/>
                <a:gd name="connsiteY803" fmla="*/ 270034 h 514350"/>
                <a:gd name="connsiteX804" fmla="*/ 4833462 w 6400800"/>
                <a:gd name="connsiteY804" fmla="*/ 278606 h 514350"/>
                <a:gd name="connsiteX805" fmla="*/ 4822984 w 6400800"/>
                <a:gd name="connsiteY805" fmla="*/ 294799 h 514350"/>
                <a:gd name="connsiteX806" fmla="*/ 4816316 w 6400800"/>
                <a:gd name="connsiteY806" fmla="*/ 304324 h 514350"/>
                <a:gd name="connsiteX807" fmla="*/ 4809649 w 6400800"/>
                <a:gd name="connsiteY807" fmla="*/ 315754 h 514350"/>
                <a:gd name="connsiteX808" fmla="*/ 4807744 w 6400800"/>
                <a:gd name="connsiteY808" fmla="*/ 318611 h 514350"/>
                <a:gd name="connsiteX809" fmla="*/ 4807744 w 6400800"/>
                <a:gd name="connsiteY809" fmla="*/ 304324 h 514350"/>
                <a:gd name="connsiteX810" fmla="*/ 4803934 w 6400800"/>
                <a:gd name="connsiteY810" fmla="*/ 327184 h 514350"/>
                <a:gd name="connsiteX811" fmla="*/ 4795362 w 6400800"/>
                <a:gd name="connsiteY811" fmla="*/ 342424 h 514350"/>
                <a:gd name="connsiteX812" fmla="*/ 4795362 w 6400800"/>
                <a:gd name="connsiteY812" fmla="*/ 324326 h 514350"/>
                <a:gd name="connsiteX813" fmla="*/ 4795362 w 6400800"/>
                <a:gd name="connsiteY813" fmla="*/ 311944 h 514350"/>
                <a:gd name="connsiteX814" fmla="*/ 4796314 w 6400800"/>
                <a:gd name="connsiteY814" fmla="*/ 302419 h 514350"/>
                <a:gd name="connsiteX815" fmla="*/ 4797266 w 6400800"/>
                <a:gd name="connsiteY815" fmla="*/ 297656 h 514350"/>
                <a:gd name="connsiteX816" fmla="*/ 4803934 w 6400800"/>
                <a:gd name="connsiteY816" fmla="*/ 264319 h 514350"/>
                <a:gd name="connsiteX817" fmla="*/ 4815364 w 6400800"/>
                <a:gd name="connsiteY817" fmla="*/ 192881 h 514350"/>
                <a:gd name="connsiteX818" fmla="*/ 4792504 w 6400800"/>
                <a:gd name="connsiteY818" fmla="*/ 262414 h 514350"/>
                <a:gd name="connsiteX819" fmla="*/ 4790599 w 6400800"/>
                <a:gd name="connsiteY819" fmla="*/ 268129 h 514350"/>
                <a:gd name="connsiteX820" fmla="*/ 4788694 w 6400800"/>
                <a:gd name="connsiteY820" fmla="*/ 250031 h 514350"/>
                <a:gd name="connsiteX821" fmla="*/ 4787741 w 6400800"/>
                <a:gd name="connsiteY821" fmla="*/ 270986 h 514350"/>
                <a:gd name="connsiteX822" fmla="*/ 4787741 w 6400800"/>
                <a:gd name="connsiteY822" fmla="*/ 281464 h 514350"/>
                <a:gd name="connsiteX823" fmla="*/ 4782979 w 6400800"/>
                <a:gd name="connsiteY823" fmla="*/ 299561 h 514350"/>
                <a:gd name="connsiteX824" fmla="*/ 4782979 w 6400800"/>
                <a:gd name="connsiteY824" fmla="*/ 293846 h 514350"/>
                <a:gd name="connsiteX825" fmla="*/ 4784884 w 6400800"/>
                <a:gd name="connsiteY825" fmla="*/ 263366 h 514350"/>
                <a:gd name="connsiteX826" fmla="*/ 4786789 w 6400800"/>
                <a:gd name="connsiteY826" fmla="*/ 239554 h 514350"/>
                <a:gd name="connsiteX827" fmla="*/ 4789647 w 6400800"/>
                <a:gd name="connsiteY827" fmla="*/ 218599 h 514350"/>
                <a:gd name="connsiteX828" fmla="*/ 4782979 w 6400800"/>
                <a:gd name="connsiteY828" fmla="*/ 238601 h 514350"/>
                <a:gd name="connsiteX829" fmla="*/ 4777264 w 6400800"/>
                <a:gd name="connsiteY829" fmla="*/ 262414 h 514350"/>
                <a:gd name="connsiteX830" fmla="*/ 4776312 w 6400800"/>
                <a:gd name="connsiteY830" fmla="*/ 269081 h 514350"/>
                <a:gd name="connsiteX831" fmla="*/ 4773454 w 6400800"/>
                <a:gd name="connsiteY831" fmla="*/ 251936 h 514350"/>
                <a:gd name="connsiteX832" fmla="*/ 4773454 w 6400800"/>
                <a:gd name="connsiteY832" fmla="*/ 284321 h 514350"/>
                <a:gd name="connsiteX833" fmla="*/ 4771549 w 6400800"/>
                <a:gd name="connsiteY833" fmla="*/ 293846 h 514350"/>
                <a:gd name="connsiteX834" fmla="*/ 4771549 w 6400800"/>
                <a:gd name="connsiteY834" fmla="*/ 295751 h 514350"/>
                <a:gd name="connsiteX835" fmla="*/ 4767739 w 6400800"/>
                <a:gd name="connsiteY835" fmla="*/ 260509 h 514350"/>
                <a:gd name="connsiteX836" fmla="*/ 4764881 w 6400800"/>
                <a:gd name="connsiteY836" fmla="*/ 297656 h 514350"/>
                <a:gd name="connsiteX837" fmla="*/ 4755356 w 6400800"/>
                <a:gd name="connsiteY837" fmla="*/ 276701 h 514350"/>
                <a:gd name="connsiteX838" fmla="*/ 4750594 w 6400800"/>
                <a:gd name="connsiteY838" fmla="*/ 270034 h 514350"/>
                <a:gd name="connsiteX839" fmla="*/ 4758214 w 6400800"/>
                <a:gd name="connsiteY839" fmla="*/ 243364 h 514350"/>
                <a:gd name="connsiteX840" fmla="*/ 4780122 w 6400800"/>
                <a:gd name="connsiteY840" fmla="*/ 161449 h 514350"/>
                <a:gd name="connsiteX841" fmla="*/ 4787741 w 6400800"/>
                <a:gd name="connsiteY841" fmla="*/ 130016 h 514350"/>
                <a:gd name="connsiteX842" fmla="*/ 4776312 w 6400800"/>
                <a:gd name="connsiteY842" fmla="*/ 160496 h 514350"/>
                <a:gd name="connsiteX843" fmla="*/ 4747737 w 6400800"/>
                <a:gd name="connsiteY843" fmla="*/ 240506 h 514350"/>
                <a:gd name="connsiteX844" fmla="*/ 4742022 w 6400800"/>
                <a:gd name="connsiteY844" fmla="*/ 257651 h 514350"/>
                <a:gd name="connsiteX845" fmla="*/ 4742022 w 6400800"/>
                <a:gd name="connsiteY845" fmla="*/ 257651 h 514350"/>
                <a:gd name="connsiteX846" fmla="*/ 4727734 w 6400800"/>
                <a:gd name="connsiteY846" fmla="*/ 244316 h 514350"/>
                <a:gd name="connsiteX847" fmla="*/ 4721066 w 6400800"/>
                <a:gd name="connsiteY847" fmla="*/ 240506 h 514350"/>
                <a:gd name="connsiteX848" fmla="*/ 4716304 w 6400800"/>
                <a:gd name="connsiteY848" fmla="*/ 238601 h 514350"/>
                <a:gd name="connsiteX849" fmla="*/ 4712494 w 6400800"/>
                <a:gd name="connsiteY849" fmla="*/ 237649 h 514350"/>
                <a:gd name="connsiteX850" fmla="*/ 4716304 w 6400800"/>
                <a:gd name="connsiteY850" fmla="*/ 239554 h 514350"/>
                <a:gd name="connsiteX851" fmla="*/ 4725829 w 6400800"/>
                <a:gd name="connsiteY851" fmla="*/ 246221 h 514350"/>
                <a:gd name="connsiteX852" fmla="*/ 4736306 w 6400800"/>
                <a:gd name="connsiteY852" fmla="*/ 260509 h 514350"/>
                <a:gd name="connsiteX853" fmla="*/ 4739164 w 6400800"/>
                <a:gd name="connsiteY853" fmla="*/ 266224 h 514350"/>
                <a:gd name="connsiteX854" fmla="*/ 4729639 w 6400800"/>
                <a:gd name="connsiteY854" fmla="*/ 293846 h 514350"/>
                <a:gd name="connsiteX855" fmla="*/ 4728687 w 6400800"/>
                <a:gd name="connsiteY855" fmla="*/ 295751 h 514350"/>
                <a:gd name="connsiteX856" fmla="*/ 4728687 w 6400800"/>
                <a:gd name="connsiteY856" fmla="*/ 294799 h 514350"/>
                <a:gd name="connsiteX857" fmla="*/ 4728687 w 6400800"/>
                <a:gd name="connsiteY857" fmla="*/ 290989 h 514350"/>
                <a:gd name="connsiteX858" fmla="*/ 4727734 w 6400800"/>
                <a:gd name="connsiteY858" fmla="*/ 293846 h 514350"/>
                <a:gd name="connsiteX859" fmla="*/ 4717256 w 6400800"/>
                <a:gd name="connsiteY859" fmla="*/ 270986 h 514350"/>
                <a:gd name="connsiteX860" fmla="*/ 4714399 w 6400800"/>
                <a:gd name="connsiteY860" fmla="*/ 265271 h 514350"/>
                <a:gd name="connsiteX861" fmla="*/ 4716304 w 6400800"/>
                <a:gd name="connsiteY861" fmla="*/ 252889 h 514350"/>
                <a:gd name="connsiteX862" fmla="*/ 4713447 w 6400800"/>
                <a:gd name="connsiteY862" fmla="*/ 262414 h 514350"/>
                <a:gd name="connsiteX863" fmla="*/ 4706779 w 6400800"/>
                <a:gd name="connsiteY863" fmla="*/ 248126 h 514350"/>
                <a:gd name="connsiteX864" fmla="*/ 4712494 w 6400800"/>
                <a:gd name="connsiteY864" fmla="*/ 267176 h 514350"/>
                <a:gd name="connsiteX865" fmla="*/ 4708684 w 6400800"/>
                <a:gd name="connsiteY865" fmla="*/ 277654 h 514350"/>
                <a:gd name="connsiteX866" fmla="*/ 4694397 w 6400800"/>
                <a:gd name="connsiteY866" fmla="*/ 236696 h 514350"/>
                <a:gd name="connsiteX867" fmla="*/ 4702969 w 6400800"/>
                <a:gd name="connsiteY867" fmla="*/ 293846 h 514350"/>
                <a:gd name="connsiteX868" fmla="*/ 4691539 w 6400800"/>
                <a:gd name="connsiteY868" fmla="*/ 331946 h 514350"/>
                <a:gd name="connsiteX869" fmla="*/ 4690587 w 6400800"/>
                <a:gd name="connsiteY869" fmla="*/ 329089 h 514350"/>
                <a:gd name="connsiteX870" fmla="*/ 4682966 w 6400800"/>
                <a:gd name="connsiteY870" fmla="*/ 313849 h 514350"/>
                <a:gd name="connsiteX871" fmla="*/ 4684872 w 6400800"/>
                <a:gd name="connsiteY871" fmla="*/ 322421 h 514350"/>
                <a:gd name="connsiteX872" fmla="*/ 4684872 w 6400800"/>
                <a:gd name="connsiteY872" fmla="*/ 322421 h 514350"/>
                <a:gd name="connsiteX873" fmla="*/ 4671537 w 6400800"/>
                <a:gd name="connsiteY873" fmla="*/ 304324 h 514350"/>
                <a:gd name="connsiteX874" fmla="*/ 4682014 w 6400800"/>
                <a:gd name="connsiteY874" fmla="*/ 324326 h 514350"/>
                <a:gd name="connsiteX875" fmla="*/ 4688681 w 6400800"/>
                <a:gd name="connsiteY875" fmla="*/ 337661 h 514350"/>
                <a:gd name="connsiteX876" fmla="*/ 4689634 w 6400800"/>
                <a:gd name="connsiteY876" fmla="*/ 340519 h 514350"/>
                <a:gd name="connsiteX877" fmla="*/ 4682966 w 6400800"/>
                <a:gd name="connsiteY877" fmla="*/ 366236 h 514350"/>
                <a:gd name="connsiteX878" fmla="*/ 4678204 w 6400800"/>
                <a:gd name="connsiteY878" fmla="*/ 359569 h 514350"/>
                <a:gd name="connsiteX879" fmla="*/ 4669631 w 6400800"/>
                <a:gd name="connsiteY879" fmla="*/ 349091 h 514350"/>
                <a:gd name="connsiteX880" fmla="*/ 4668679 w 6400800"/>
                <a:gd name="connsiteY880" fmla="*/ 348139 h 514350"/>
                <a:gd name="connsiteX881" fmla="*/ 4669631 w 6400800"/>
                <a:gd name="connsiteY881" fmla="*/ 330994 h 514350"/>
                <a:gd name="connsiteX882" fmla="*/ 4669631 w 6400800"/>
                <a:gd name="connsiteY882" fmla="*/ 310991 h 514350"/>
                <a:gd name="connsiteX883" fmla="*/ 4669631 w 6400800"/>
                <a:gd name="connsiteY883" fmla="*/ 313849 h 514350"/>
                <a:gd name="connsiteX884" fmla="*/ 4670584 w 6400800"/>
                <a:gd name="connsiteY884" fmla="*/ 301466 h 514350"/>
                <a:gd name="connsiteX885" fmla="*/ 4670584 w 6400800"/>
                <a:gd name="connsiteY885" fmla="*/ 287179 h 514350"/>
                <a:gd name="connsiteX886" fmla="*/ 4675347 w 6400800"/>
                <a:gd name="connsiteY886" fmla="*/ 274796 h 514350"/>
                <a:gd name="connsiteX887" fmla="*/ 4689634 w 6400800"/>
                <a:gd name="connsiteY887" fmla="*/ 250984 h 514350"/>
                <a:gd name="connsiteX888" fmla="*/ 4681062 w 6400800"/>
                <a:gd name="connsiteY888" fmla="*/ 262414 h 514350"/>
                <a:gd name="connsiteX889" fmla="*/ 4686776 w 6400800"/>
                <a:gd name="connsiteY889" fmla="*/ 248126 h 514350"/>
                <a:gd name="connsiteX890" fmla="*/ 4675347 w 6400800"/>
                <a:gd name="connsiteY890" fmla="*/ 265271 h 514350"/>
                <a:gd name="connsiteX891" fmla="*/ 4670584 w 6400800"/>
                <a:gd name="connsiteY891" fmla="*/ 272891 h 514350"/>
                <a:gd name="connsiteX892" fmla="*/ 4670584 w 6400800"/>
                <a:gd name="connsiteY892" fmla="*/ 268129 h 514350"/>
                <a:gd name="connsiteX893" fmla="*/ 4668679 w 6400800"/>
                <a:gd name="connsiteY893" fmla="*/ 250984 h 514350"/>
                <a:gd name="connsiteX894" fmla="*/ 4669631 w 6400800"/>
                <a:gd name="connsiteY894" fmla="*/ 247174 h 514350"/>
                <a:gd name="connsiteX895" fmla="*/ 4671537 w 6400800"/>
                <a:gd name="connsiteY895" fmla="*/ 222409 h 514350"/>
                <a:gd name="connsiteX896" fmla="*/ 4670584 w 6400800"/>
                <a:gd name="connsiteY896" fmla="*/ 229076 h 514350"/>
                <a:gd name="connsiteX897" fmla="*/ 4666774 w 6400800"/>
                <a:gd name="connsiteY897" fmla="*/ 242411 h 514350"/>
                <a:gd name="connsiteX898" fmla="*/ 4666774 w 6400800"/>
                <a:gd name="connsiteY898" fmla="*/ 241459 h 514350"/>
                <a:gd name="connsiteX899" fmla="*/ 4666774 w 6400800"/>
                <a:gd name="connsiteY899" fmla="*/ 241459 h 514350"/>
                <a:gd name="connsiteX900" fmla="*/ 4666774 w 6400800"/>
                <a:gd name="connsiteY900" fmla="*/ 241459 h 514350"/>
                <a:gd name="connsiteX901" fmla="*/ 4662012 w 6400800"/>
                <a:gd name="connsiteY901" fmla="*/ 228124 h 514350"/>
                <a:gd name="connsiteX902" fmla="*/ 4660106 w 6400800"/>
                <a:gd name="connsiteY902" fmla="*/ 222409 h 514350"/>
                <a:gd name="connsiteX903" fmla="*/ 4661059 w 6400800"/>
                <a:gd name="connsiteY903" fmla="*/ 228124 h 514350"/>
                <a:gd name="connsiteX904" fmla="*/ 4662964 w 6400800"/>
                <a:gd name="connsiteY904" fmla="*/ 244316 h 514350"/>
                <a:gd name="connsiteX905" fmla="*/ 4662964 w 6400800"/>
                <a:gd name="connsiteY905" fmla="*/ 246221 h 514350"/>
                <a:gd name="connsiteX906" fmla="*/ 4662964 w 6400800"/>
                <a:gd name="connsiteY906" fmla="*/ 246221 h 514350"/>
                <a:gd name="connsiteX907" fmla="*/ 4654391 w 6400800"/>
                <a:gd name="connsiteY907" fmla="*/ 262414 h 514350"/>
                <a:gd name="connsiteX908" fmla="*/ 4650581 w 6400800"/>
                <a:gd name="connsiteY908" fmla="*/ 271939 h 514350"/>
                <a:gd name="connsiteX909" fmla="*/ 4646772 w 6400800"/>
                <a:gd name="connsiteY909" fmla="*/ 261461 h 514350"/>
                <a:gd name="connsiteX910" fmla="*/ 4645819 w 6400800"/>
                <a:gd name="connsiteY910" fmla="*/ 259556 h 514350"/>
                <a:gd name="connsiteX911" fmla="*/ 4646772 w 6400800"/>
                <a:gd name="connsiteY911" fmla="*/ 253841 h 514350"/>
                <a:gd name="connsiteX912" fmla="*/ 4653439 w 6400800"/>
                <a:gd name="connsiteY912" fmla="*/ 227171 h 514350"/>
                <a:gd name="connsiteX913" fmla="*/ 4660106 w 6400800"/>
                <a:gd name="connsiteY913" fmla="*/ 204311 h 514350"/>
                <a:gd name="connsiteX914" fmla="*/ 4650581 w 6400800"/>
                <a:gd name="connsiteY914" fmla="*/ 226219 h 514350"/>
                <a:gd name="connsiteX915" fmla="*/ 4641056 w 6400800"/>
                <a:gd name="connsiteY915" fmla="*/ 251936 h 514350"/>
                <a:gd name="connsiteX916" fmla="*/ 4636294 w 6400800"/>
                <a:gd name="connsiteY916" fmla="*/ 267176 h 514350"/>
                <a:gd name="connsiteX917" fmla="*/ 4636294 w 6400800"/>
                <a:gd name="connsiteY917" fmla="*/ 259556 h 514350"/>
                <a:gd name="connsiteX918" fmla="*/ 4638199 w 6400800"/>
                <a:gd name="connsiteY918" fmla="*/ 242411 h 514350"/>
                <a:gd name="connsiteX919" fmla="*/ 4639151 w 6400800"/>
                <a:gd name="connsiteY919" fmla="*/ 235744 h 514350"/>
                <a:gd name="connsiteX920" fmla="*/ 4637247 w 6400800"/>
                <a:gd name="connsiteY920" fmla="*/ 241459 h 514350"/>
                <a:gd name="connsiteX921" fmla="*/ 4632484 w 6400800"/>
                <a:gd name="connsiteY921" fmla="*/ 258604 h 514350"/>
                <a:gd name="connsiteX922" fmla="*/ 4632484 w 6400800"/>
                <a:gd name="connsiteY922" fmla="*/ 258604 h 514350"/>
                <a:gd name="connsiteX923" fmla="*/ 4631531 w 6400800"/>
                <a:gd name="connsiteY923" fmla="*/ 254794 h 514350"/>
                <a:gd name="connsiteX924" fmla="*/ 4632484 w 6400800"/>
                <a:gd name="connsiteY924" fmla="*/ 259556 h 514350"/>
                <a:gd name="connsiteX925" fmla="*/ 4628674 w 6400800"/>
                <a:gd name="connsiteY925" fmla="*/ 285274 h 514350"/>
                <a:gd name="connsiteX926" fmla="*/ 4628674 w 6400800"/>
                <a:gd name="connsiteY926" fmla="*/ 293846 h 514350"/>
                <a:gd name="connsiteX927" fmla="*/ 4625816 w 6400800"/>
                <a:gd name="connsiteY927" fmla="*/ 303371 h 514350"/>
                <a:gd name="connsiteX928" fmla="*/ 4610576 w 6400800"/>
                <a:gd name="connsiteY928" fmla="*/ 293846 h 514350"/>
                <a:gd name="connsiteX929" fmla="*/ 4604862 w 6400800"/>
                <a:gd name="connsiteY929" fmla="*/ 290989 h 514350"/>
                <a:gd name="connsiteX930" fmla="*/ 4610576 w 6400800"/>
                <a:gd name="connsiteY930" fmla="*/ 294799 h 514350"/>
                <a:gd name="connsiteX931" fmla="*/ 4624864 w 6400800"/>
                <a:gd name="connsiteY931" fmla="*/ 307181 h 514350"/>
                <a:gd name="connsiteX932" fmla="*/ 4625816 w 6400800"/>
                <a:gd name="connsiteY932" fmla="*/ 308134 h 514350"/>
                <a:gd name="connsiteX933" fmla="*/ 4622006 w 6400800"/>
                <a:gd name="connsiteY933" fmla="*/ 325279 h 514350"/>
                <a:gd name="connsiteX934" fmla="*/ 4619149 w 6400800"/>
                <a:gd name="connsiteY934" fmla="*/ 343376 h 514350"/>
                <a:gd name="connsiteX935" fmla="*/ 4607719 w 6400800"/>
                <a:gd name="connsiteY935" fmla="*/ 306229 h 514350"/>
                <a:gd name="connsiteX936" fmla="*/ 4602956 w 6400800"/>
                <a:gd name="connsiteY936" fmla="*/ 290989 h 514350"/>
                <a:gd name="connsiteX937" fmla="*/ 4601051 w 6400800"/>
                <a:gd name="connsiteY937" fmla="*/ 269081 h 514350"/>
                <a:gd name="connsiteX938" fmla="*/ 4599147 w 6400800"/>
                <a:gd name="connsiteY938" fmla="*/ 248126 h 514350"/>
                <a:gd name="connsiteX939" fmla="*/ 4597241 w 6400800"/>
                <a:gd name="connsiteY939" fmla="*/ 269081 h 514350"/>
                <a:gd name="connsiteX940" fmla="*/ 4597241 w 6400800"/>
                <a:gd name="connsiteY940" fmla="*/ 271939 h 514350"/>
                <a:gd name="connsiteX941" fmla="*/ 4589622 w 6400800"/>
                <a:gd name="connsiteY941" fmla="*/ 250031 h 514350"/>
                <a:gd name="connsiteX942" fmla="*/ 4589622 w 6400800"/>
                <a:gd name="connsiteY942" fmla="*/ 240506 h 514350"/>
                <a:gd name="connsiteX943" fmla="*/ 4590574 w 6400800"/>
                <a:gd name="connsiteY943" fmla="*/ 197644 h 514350"/>
                <a:gd name="connsiteX944" fmla="*/ 4590574 w 6400800"/>
                <a:gd name="connsiteY944" fmla="*/ 109061 h 514350"/>
                <a:gd name="connsiteX945" fmla="*/ 4579144 w 6400800"/>
                <a:gd name="connsiteY945" fmla="*/ 197644 h 514350"/>
                <a:gd name="connsiteX946" fmla="*/ 4574381 w 6400800"/>
                <a:gd name="connsiteY946" fmla="*/ 240506 h 514350"/>
                <a:gd name="connsiteX947" fmla="*/ 4573429 w 6400800"/>
                <a:gd name="connsiteY947" fmla="*/ 256699 h 514350"/>
                <a:gd name="connsiteX948" fmla="*/ 4572476 w 6400800"/>
                <a:gd name="connsiteY948" fmla="*/ 257651 h 514350"/>
                <a:gd name="connsiteX949" fmla="*/ 4563904 w 6400800"/>
                <a:gd name="connsiteY949" fmla="*/ 265271 h 514350"/>
                <a:gd name="connsiteX950" fmla="*/ 4563904 w 6400800"/>
                <a:gd name="connsiteY950" fmla="*/ 264319 h 514350"/>
                <a:gd name="connsiteX951" fmla="*/ 4559141 w 6400800"/>
                <a:gd name="connsiteY951" fmla="*/ 255746 h 514350"/>
                <a:gd name="connsiteX952" fmla="*/ 4560094 w 6400800"/>
                <a:gd name="connsiteY952" fmla="*/ 249079 h 514350"/>
                <a:gd name="connsiteX953" fmla="*/ 4576287 w 6400800"/>
                <a:gd name="connsiteY953" fmla="*/ 159544 h 514350"/>
                <a:gd name="connsiteX954" fmla="*/ 4550569 w 6400800"/>
                <a:gd name="connsiteY954" fmla="*/ 243364 h 514350"/>
                <a:gd name="connsiteX955" fmla="*/ 4550569 w 6400800"/>
                <a:gd name="connsiteY955" fmla="*/ 243364 h 514350"/>
                <a:gd name="connsiteX956" fmla="*/ 4550569 w 6400800"/>
                <a:gd name="connsiteY956" fmla="*/ 243364 h 514350"/>
                <a:gd name="connsiteX957" fmla="*/ 4549616 w 6400800"/>
                <a:gd name="connsiteY957" fmla="*/ 246221 h 514350"/>
                <a:gd name="connsiteX958" fmla="*/ 4548664 w 6400800"/>
                <a:gd name="connsiteY958" fmla="*/ 248126 h 514350"/>
                <a:gd name="connsiteX959" fmla="*/ 4548664 w 6400800"/>
                <a:gd name="connsiteY959" fmla="*/ 248126 h 514350"/>
                <a:gd name="connsiteX960" fmla="*/ 4548664 w 6400800"/>
                <a:gd name="connsiteY960" fmla="*/ 248126 h 514350"/>
                <a:gd name="connsiteX961" fmla="*/ 4536281 w 6400800"/>
                <a:gd name="connsiteY961" fmla="*/ 292894 h 514350"/>
                <a:gd name="connsiteX962" fmla="*/ 4531519 w 6400800"/>
                <a:gd name="connsiteY962" fmla="*/ 241459 h 514350"/>
                <a:gd name="connsiteX963" fmla="*/ 4525804 w 6400800"/>
                <a:gd name="connsiteY963" fmla="*/ 303371 h 514350"/>
                <a:gd name="connsiteX964" fmla="*/ 4525804 w 6400800"/>
                <a:gd name="connsiteY964" fmla="*/ 309086 h 514350"/>
                <a:gd name="connsiteX965" fmla="*/ 4524851 w 6400800"/>
                <a:gd name="connsiteY965" fmla="*/ 308134 h 514350"/>
                <a:gd name="connsiteX966" fmla="*/ 4525804 w 6400800"/>
                <a:gd name="connsiteY966" fmla="*/ 310039 h 514350"/>
                <a:gd name="connsiteX967" fmla="*/ 4523899 w 6400800"/>
                <a:gd name="connsiteY967" fmla="*/ 333851 h 514350"/>
                <a:gd name="connsiteX968" fmla="*/ 4523899 w 6400800"/>
                <a:gd name="connsiteY968" fmla="*/ 337661 h 514350"/>
                <a:gd name="connsiteX969" fmla="*/ 4522947 w 6400800"/>
                <a:gd name="connsiteY969" fmla="*/ 339566 h 514350"/>
                <a:gd name="connsiteX970" fmla="*/ 4517231 w 6400800"/>
                <a:gd name="connsiteY970" fmla="*/ 322421 h 514350"/>
                <a:gd name="connsiteX971" fmla="*/ 4514374 w 6400800"/>
                <a:gd name="connsiteY971" fmla="*/ 301466 h 514350"/>
                <a:gd name="connsiteX972" fmla="*/ 4517231 w 6400800"/>
                <a:gd name="connsiteY972" fmla="*/ 297656 h 514350"/>
                <a:gd name="connsiteX973" fmla="*/ 4521041 w 6400800"/>
                <a:gd name="connsiteY973" fmla="*/ 291941 h 514350"/>
                <a:gd name="connsiteX974" fmla="*/ 4516279 w 6400800"/>
                <a:gd name="connsiteY974" fmla="*/ 297656 h 514350"/>
                <a:gd name="connsiteX975" fmla="*/ 4514374 w 6400800"/>
                <a:gd name="connsiteY975" fmla="*/ 300514 h 514350"/>
                <a:gd name="connsiteX976" fmla="*/ 4514374 w 6400800"/>
                <a:gd name="connsiteY976" fmla="*/ 298609 h 514350"/>
                <a:gd name="connsiteX977" fmla="*/ 4517231 w 6400800"/>
                <a:gd name="connsiteY977" fmla="*/ 293846 h 514350"/>
                <a:gd name="connsiteX978" fmla="*/ 4520089 w 6400800"/>
                <a:gd name="connsiteY978" fmla="*/ 288131 h 514350"/>
                <a:gd name="connsiteX979" fmla="*/ 4516279 w 6400800"/>
                <a:gd name="connsiteY979" fmla="*/ 292894 h 514350"/>
                <a:gd name="connsiteX980" fmla="*/ 4514374 w 6400800"/>
                <a:gd name="connsiteY980" fmla="*/ 295751 h 514350"/>
                <a:gd name="connsiteX981" fmla="*/ 4512469 w 6400800"/>
                <a:gd name="connsiteY981" fmla="*/ 281464 h 514350"/>
                <a:gd name="connsiteX982" fmla="*/ 4511516 w 6400800"/>
                <a:gd name="connsiteY982" fmla="*/ 268129 h 514350"/>
                <a:gd name="connsiteX983" fmla="*/ 4510564 w 6400800"/>
                <a:gd name="connsiteY983" fmla="*/ 272891 h 514350"/>
                <a:gd name="connsiteX984" fmla="*/ 4506754 w 6400800"/>
                <a:gd name="connsiteY984" fmla="*/ 250984 h 514350"/>
                <a:gd name="connsiteX985" fmla="*/ 4506754 w 6400800"/>
                <a:gd name="connsiteY985" fmla="*/ 292894 h 514350"/>
                <a:gd name="connsiteX986" fmla="*/ 4501991 w 6400800"/>
                <a:gd name="connsiteY986" fmla="*/ 282416 h 514350"/>
                <a:gd name="connsiteX987" fmla="*/ 4494372 w 6400800"/>
                <a:gd name="connsiteY987" fmla="*/ 267176 h 514350"/>
                <a:gd name="connsiteX988" fmla="*/ 4486751 w 6400800"/>
                <a:gd name="connsiteY988" fmla="*/ 254794 h 514350"/>
                <a:gd name="connsiteX989" fmla="*/ 4480084 w 6400800"/>
                <a:gd name="connsiteY989" fmla="*/ 245269 h 514350"/>
                <a:gd name="connsiteX990" fmla="*/ 4474369 w 6400800"/>
                <a:gd name="connsiteY990" fmla="*/ 238601 h 514350"/>
                <a:gd name="connsiteX991" fmla="*/ 4469606 w 6400800"/>
                <a:gd name="connsiteY991" fmla="*/ 233839 h 514350"/>
                <a:gd name="connsiteX992" fmla="*/ 4471512 w 6400800"/>
                <a:gd name="connsiteY992" fmla="*/ 225266 h 514350"/>
                <a:gd name="connsiteX993" fmla="*/ 4477226 w 6400800"/>
                <a:gd name="connsiteY993" fmla="*/ 198596 h 514350"/>
                <a:gd name="connsiteX994" fmla="*/ 4481037 w 6400800"/>
                <a:gd name="connsiteY994" fmla="*/ 175736 h 514350"/>
                <a:gd name="connsiteX995" fmla="*/ 4473416 w 6400800"/>
                <a:gd name="connsiteY995" fmla="*/ 197644 h 514350"/>
                <a:gd name="connsiteX996" fmla="*/ 4463891 w 6400800"/>
                <a:gd name="connsiteY996" fmla="*/ 222409 h 514350"/>
                <a:gd name="connsiteX997" fmla="*/ 4455319 w 6400800"/>
                <a:gd name="connsiteY997" fmla="*/ 244316 h 514350"/>
                <a:gd name="connsiteX998" fmla="*/ 4453414 w 6400800"/>
                <a:gd name="connsiteY998" fmla="*/ 237649 h 514350"/>
                <a:gd name="connsiteX999" fmla="*/ 4454366 w 6400800"/>
                <a:gd name="connsiteY999" fmla="*/ 247174 h 514350"/>
                <a:gd name="connsiteX1000" fmla="*/ 4451509 w 6400800"/>
                <a:gd name="connsiteY1000" fmla="*/ 253841 h 514350"/>
                <a:gd name="connsiteX1001" fmla="*/ 4436269 w 6400800"/>
                <a:gd name="connsiteY1001" fmla="*/ 289084 h 514350"/>
                <a:gd name="connsiteX1002" fmla="*/ 4435316 w 6400800"/>
                <a:gd name="connsiteY1002" fmla="*/ 287179 h 514350"/>
                <a:gd name="connsiteX1003" fmla="*/ 4438174 w 6400800"/>
                <a:gd name="connsiteY1003" fmla="*/ 274796 h 514350"/>
                <a:gd name="connsiteX1004" fmla="*/ 4444841 w 6400800"/>
                <a:gd name="connsiteY1004" fmla="*/ 247174 h 514350"/>
                <a:gd name="connsiteX1005" fmla="*/ 4454366 w 6400800"/>
                <a:gd name="connsiteY1005" fmla="*/ 195739 h 514350"/>
                <a:gd name="connsiteX1006" fmla="*/ 4460081 w 6400800"/>
                <a:gd name="connsiteY1006" fmla="*/ 151924 h 514350"/>
                <a:gd name="connsiteX1007" fmla="*/ 4461987 w 6400800"/>
                <a:gd name="connsiteY1007" fmla="*/ 133826 h 514350"/>
                <a:gd name="connsiteX1008" fmla="*/ 4462939 w 6400800"/>
                <a:gd name="connsiteY1008" fmla="*/ 118586 h 514350"/>
                <a:gd name="connsiteX1009" fmla="*/ 4463891 w 6400800"/>
                <a:gd name="connsiteY1009" fmla="*/ 89059 h 514350"/>
                <a:gd name="connsiteX1010" fmla="*/ 4458176 w 6400800"/>
                <a:gd name="connsiteY1010" fmla="*/ 118586 h 514350"/>
                <a:gd name="connsiteX1011" fmla="*/ 4455319 w 6400800"/>
                <a:gd name="connsiteY1011" fmla="*/ 133826 h 514350"/>
                <a:gd name="connsiteX1012" fmla="*/ 4451509 w 6400800"/>
                <a:gd name="connsiteY1012" fmla="*/ 151924 h 514350"/>
                <a:gd name="connsiteX1013" fmla="*/ 4441984 w 6400800"/>
                <a:gd name="connsiteY1013" fmla="*/ 194786 h 514350"/>
                <a:gd name="connsiteX1014" fmla="*/ 4428649 w 6400800"/>
                <a:gd name="connsiteY1014" fmla="*/ 245269 h 514350"/>
                <a:gd name="connsiteX1015" fmla="*/ 4421981 w 6400800"/>
                <a:gd name="connsiteY1015" fmla="*/ 269081 h 514350"/>
                <a:gd name="connsiteX1016" fmla="*/ 4414362 w 6400800"/>
                <a:gd name="connsiteY1016" fmla="*/ 258604 h 514350"/>
                <a:gd name="connsiteX1017" fmla="*/ 4394359 w 6400800"/>
                <a:gd name="connsiteY1017" fmla="*/ 230029 h 514350"/>
                <a:gd name="connsiteX1018" fmla="*/ 4387691 w 6400800"/>
                <a:gd name="connsiteY1018" fmla="*/ 221456 h 514350"/>
                <a:gd name="connsiteX1019" fmla="*/ 4395312 w 6400800"/>
                <a:gd name="connsiteY1019" fmla="*/ 180499 h 514350"/>
                <a:gd name="connsiteX1020" fmla="*/ 4382929 w 6400800"/>
                <a:gd name="connsiteY1020" fmla="*/ 215741 h 514350"/>
                <a:gd name="connsiteX1021" fmla="*/ 4375309 w 6400800"/>
                <a:gd name="connsiteY1021" fmla="*/ 206216 h 514350"/>
                <a:gd name="connsiteX1022" fmla="*/ 4381976 w 6400800"/>
                <a:gd name="connsiteY1022" fmla="*/ 218599 h 514350"/>
                <a:gd name="connsiteX1023" fmla="*/ 4369594 w 6400800"/>
                <a:gd name="connsiteY1023" fmla="*/ 259556 h 514350"/>
                <a:gd name="connsiteX1024" fmla="*/ 4368641 w 6400800"/>
                <a:gd name="connsiteY1024" fmla="*/ 241459 h 514350"/>
                <a:gd name="connsiteX1025" fmla="*/ 4366737 w 6400800"/>
                <a:gd name="connsiteY1025" fmla="*/ 263366 h 514350"/>
                <a:gd name="connsiteX1026" fmla="*/ 4365784 w 6400800"/>
                <a:gd name="connsiteY1026" fmla="*/ 274796 h 514350"/>
                <a:gd name="connsiteX1027" fmla="*/ 4362926 w 6400800"/>
                <a:gd name="connsiteY1027" fmla="*/ 285274 h 514350"/>
                <a:gd name="connsiteX1028" fmla="*/ 4362926 w 6400800"/>
                <a:gd name="connsiteY1028" fmla="*/ 282416 h 514350"/>
                <a:gd name="connsiteX1029" fmla="*/ 4361022 w 6400800"/>
                <a:gd name="connsiteY1029" fmla="*/ 261461 h 514350"/>
                <a:gd name="connsiteX1030" fmla="*/ 4359116 w 6400800"/>
                <a:gd name="connsiteY1030" fmla="*/ 283369 h 514350"/>
                <a:gd name="connsiteX1031" fmla="*/ 4359116 w 6400800"/>
                <a:gd name="connsiteY1031" fmla="*/ 290989 h 514350"/>
                <a:gd name="connsiteX1032" fmla="*/ 4357212 w 6400800"/>
                <a:gd name="connsiteY1032" fmla="*/ 295751 h 514350"/>
                <a:gd name="connsiteX1033" fmla="*/ 4351497 w 6400800"/>
                <a:gd name="connsiteY1033" fmla="*/ 284321 h 514350"/>
                <a:gd name="connsiteX1034" fmla="*/ 4351497 w 6400800"/>
                <a:gd name="connsiteY1034" fmla="*/ 257651 h 514350"/>
                <a:gd name="connsiteX1035" fmla="*/ 4351497 w 6400800"/>
                <a:gd name="connsiteY1035" fmla="*/ 238601 h 514350"/>
                <a:gd name="connsiteX1036" fmla="*/ 4349591 w 6400800"/>
                <a:gd name="connsiteY1036" fmla="*/ 221456 h 514350"/>
                <a:gd name="connsiteX1037" fmla="*/ 4345781 w 6400800"/>
                <a:gd name="connsiteY1037" fmla="*/ 194786 h 514350"/>
                <a:gd name="connsiteX1038" fmla="*/ 4342924 w 6400800"/>
                <a:gd name="connsiteY1038" fmla="*/ 170974 h 514350"/>
                <a:gd name="connsiteX1039" fmla="*/ 4341972 w 6400800"/>
                <a:gd name="connsiteY1039" fmla="*/ 194786 h 514350"/>
                <a:gd name="connsiteX1040" fmla="*/ 4341972 w 6400800"/>
                <a:gd name="connsiteY1040" fmla="*/ 217646 h 514350"/>
                <a:gd name="connsiteX1041" fmla="*/ 4340066 w 6400800"/>
                <a:gd name="connsiteY1041" fmla="*/ 205264 h 514350"/>
                <a:gd name="connsiteX1042" fmla="*/ 4339114 w 6400800"/>
                <a:gd name="connsiteY1042" fmla="*/ 226219 h 514350"/>
                <a:gd name="connsiteX1043" fmla="*/ 4338162 w 6400800"/>
                <a:gd name="connsiteY1043" fmla="*/ 250031 h 514350"/>
                <a:gd name="connsiteX1044" fmla="*/ 4338162 w 6400800"/>
                <a:gd name="connsiteY1044" fmla="*/ 252889 h 514350"/>
                <a:gd name="connsiteX1045" fmla="*/ 4337209 w 6400800"/>
                <a:gd name="connsiteY1045" fmla="*/ 250984 h 514350"/>
                <a:gd name="connsiteX1046" fmla="*/ 4318159 w 6400800"/>
                <a:gd name="connsiteY1046" fmla="*/ 196691 h 514350"/>
                <a:gd name="connsiteX1047" fmla="*/ 4289584 w 6400800"/>
                <a:gd name="connsiteY1047" fmla="*/ 116681 h 514350"/>
                <a:gd name="connsiteX1048" fmla="*/ 4278154 w 6400800"/>
                <a:gd name="connsiteY1048" fmla="*/ 86201 h 514350"/>
                <a:gd name="connsiteX1049" fmla="*/ 4285774 w 6400800"/>
                <a:gd name="connsiteY1049" fmla="*/ 117634 h 514350"/>
                <a:gd name="connsiteX1050" fmla="*/ 4307681 w 6400800"/>
                <a:gd name="connsiteY1050" fmla="*/ 199549 h 514350"/>
                <a:gd name="connsiteX1051" fmla="*/ 4334351 w 6400800"/>
                <a:gd name="connsiteY1051" fmla="*/ 295751 h 514350"/>
                <a:gd name="connsiteX1052" fmla="*/ 4334351 w 6400800"/>
                <a:gd name="connsiteY1052" fmla="*/ 296704 h 514350"/>
                <a:gd name="connsiteX1053" fmla="*/ 4334351 w 6400800"/>
                <a:gd name="connsiteY1053" fmla="*/ 294799 h 514350"/>
                <a:gd name="connsiteX1054" fmla="*/ 4334351 w 6400800"/>
                <a:gd name="connsiteY1054" fmla="*/ 301466 h 514350"/>
                <a:gd name="connsiteX1055" fmla="*/ 4333399 w 6400800"/>
                <a:gd name="connsiteY1055" fmla="*/ 315754 h 514350"/>
                <a:gd name="connsiteX1056" fmla="*/ 4329589 w 6400800"/>
                <a:gd name="connsiteY1056" fmla="*/ 344329 h 514350"/>
                <a:gd name="connsiteX1057" fmla="*/ 4328637 w 6400800"/>
                <a:gd name="connsiteY1057" fmla="*/ 343376 h 514350"/>
                <a:gd name="connsiteX1058" fmla="*/ 4326731 w 6400800"/>
                <a:gd name="connsiteY1058" fmla="*/ 340519 h 514350"/>
                <a:gd name="connsiteX1059" fmla="*/ 4325779 w 6400800"/>
                <a:gd name="connsiteY1059" fmla="*/ 333851 h 514350"/>
                <a:gd name="connsiteX1060" fmla="*/ 4315301 w 6400800"/>
                <a:gd name="connsiteY1060" fmla="*/ 267176 h 514350"/>
                <a:gd name="connsiteX1061" fmla="*/ 4301966 w 6400800"/>
                <a:gd name="connsiteY1061" fmla="*/ 202406 h 514350"/>
                <a:gd name="connsiteX1062" fmla="*/ 4303872 w 6400800"/>
                <a:gd name="connsiteY1062" fmla="*/ 268129 h 514350"/>
                <a:gd name="connsiteX1063" fmla="*/ 4303872 w 6400800"/>
                <a:gd name="connsiteY1063" fmla="*/ 274796 h 514350"/>
                <a:gd name="connsiteX1064" fmla="*/ 4301966 w 6400800"/>
                <a:gd name="connsiteY1064" fmla="*/ 290036 h 514350"/>
                <a:gd name="connsiteX1065" fmla="*/ 4300062 w 6400800"/>
                <a:gd name="connsiteY1065" fmla="*/ 300514 h 514350"/>
                <a:gd name="connsiteX1066" fmla="*/ 4288631 w 6400800"/>
                <a:gd name="connsiteY1066" fmla="*/ 286226 h 514350"/>
                <a:gd name="connsiteX1067" fmla="*/ 4299109 w 6400800"/>
                <a:gd name="connsiteY1067" fmla="*/ 305276 h 514350"/>
                <a:gd name="connsiteX1068" fmla="*/ 4296251 w 6400800"/>
                <a:gd name="connsiteY1068" fmla="*/ 323374 h 514350"/>
                <a:gd name="connsiteX1069" fmla="*/ 4292441 w 6400800"/>
                <a:gd name="connsiteY1069" fmla="*/ 346234 h 514350"/>
                <a:gd name="connsiteX1070" fmla="*/ 4290537 w 6400800"/>
                <a:gd name="connsiteY1070" fmla="*/ 343376 h 514350"/>
                <a:gd name="connsiteX1071" fmla="*/ 4288631 w 6400800"/>
                <a:gd name="connsiteY1071" fmla="*/ 308134 h 514350"/>
                <a:gd name="connsiteX1072" fmla="*/ 4281964 w 6400800"/>
                <a:gd name="connsiteY1072" fmla="*/ 231934 h 514350"/>
                <a:gd name="connsiteX1073" fmla="*/ 4277201 w 6400800"/>
                <a:gd name="connsiteY1073" fmla="*/ 309086 h 514350"/>
                <a:gd name="connsiteX1074" fmla="*/ 4277201 w 6400800"/>
                <a:gd name="connsiteY1074" fmla="*/ 318611 h 514350"/>
                <a:gd name="connsiteX1075" fmla="*/ 4273391 w 6400800"/>
                <a:gd name="connsiteY1075" fmla="*/ 310039 h 514350"/>
                <a:gd name="connsiteX1076" fmla="*/ 4272439 w 6400800"/>
                <a:gd name="connsiteY1076" fmla="*/ 303371 h 514350"/>
                <a:gd name="connsiteX1077" fmla="*/ 4270534 w 6400800"/>
                <a:gd name="connsiteY1077" fmla="*/ 273844 h 514350"/>
                <a:gd name="connsiteX1078" fmla="*/ 4269581 w 6400800"/>
                <a:gd name="connsiteY1078" fmla="*/ 260509 h 514350"/>
                <a:gd name="connsiteX1079" fmla="*/ 4269581 w 6400800"/>
                <a:gd name="connsiteY1079" fmla="*/ 255746 h 514350"/>
                <a:gd name="connsiteX1080" fmla="*/ 4270534 w 6400800"/>
                <a:gd name="connsiteY1080" fmla="*/ 234791 h 514350"/>
                <a:gd name="connsiteX1081" fmla="*/ 4273391 w 6400800"/>
                <a:gd name="connsiteY1081" fmla="*/ 155734 h 514350"/>
                <a:gd name="connsiteX1082" fmla="*/ 4259104 w 6400800"/>
                <a:gd name="connsiteY1082" fmla="*/ 233839 h 514350"/>
                <a:gd name="connsiteX1083" fmla="*/ 4253389 w 6400800"/>
                <a:gd name="connsiteY1083" fmla="*/ 271939 h 514350"/>
                <a:gd name="connsiteX1084" fmla="*/ 4252437 w 6400800"/>
                <a:gd name="connsiteY1084" fmla="*/ 270034 h 514350"/>
                <a:gd name="connsiteX1085" fmla="*/ 4253389 w 6400800"/>
                <a:gd name="connsiteY1085" fmla="*/ 262414 h 514350"/>
                <a:gd name="connsiteX1086" fmla="*/ 4255294 w 6400800"/>
                <a:gd name="connsiteY1086" fmla="*/ 240506 h 514350"/>
                <a:gd name="connsiteX1087" fmla="*/ 4249579 w 6400800"/>
                <a:gd name="connsiteY1087" fmla="*/ 262414 h 514350"/>
                <a:gd name="connsiteX1088" fmla="*/ 4248626 w 6400800"/>
                <a:gd name="connsiteY1088" fmla="*/ 264319 h 514350"/>
                <a:gd name="connsiteX1089" fmla="*/ 4246722 w 6400800"/>
                <a:gd name="connsiteY1089" fmla="*/ 261461 h 514350"/>
                <a:gd name="connsiteX1090" fmla="*/ 4244816 w 6400800"/>
                <a:gd name="connsiteY1090" fmla="*/ 257651 h 514350"/>
                <a:gd name="connsiteX1091" fmla="*/ 4244816 w 6400800"/>
                <a:gd name="connsiteY1091" fmla="*/ 251936 h 514350"/>
                <a:gd name="connsiteX1092" fmla="*/ 4243864 w 6400800"/>
                <a:gd name="connsiteY1092" fmla="*/ 256699 h 514350"/>
                <a:gd name="connsiteX1093" fmla="*/ 4240054 w 6400800"/>
                <a:gd name="connsiteY1093" fmla="*/ 251936 h 514350"/>
                <a:gd name="connsiteX1094" fmla="*/ 4229576 w 6400800"/>
                <a:gd name="connsiteY1094" fmla="*/ 235744 h 514350"/>
                <a:gd name="connsiteX1095" fmla="*/ 4220051 w 6400800"/>
                <a:gd name="connsiteY1095" fmla="*/ 222409 h 514350"/>
                <a:gd name="connsiteX1096" fmla="*/ 4226719 w 6400800"/>
                <a:gd name="connsiteY1096" fmla="*/ 237649 h 514350"/>
                <a:gd name="connsiteX1097" fmla="*/ 4234339 w 6400800"/>
                <a:gd name="connsiteY1097" fmla="*/ 254794 h 514350"/>
                <a:gd name="connsiteX1098" fmla="*/ 4236244 w 6400800"/>
                <a:gd name="connsiteY1098" fmla="*/ 258604 h 514350"/>
                <a:gd name="connsiteX1099" fmla="*/ 4231481 w 6400800"/>
                <a:gd name="connsiteY1099" fmla="*/ 251936 h 514350"/>
                <a:gd name="connsiteX1100" fmla="*/ 4220051 w 6400800"/>
                <a:gd name="connsiteY1100" fmla="*/ 237649 h 514350"/>
                <a:gd name="connsiteX1101" fmla="*/ 4202906 w 6400800"/>
                <a:gd name="connsiteY1101" fmla="*/ 219551 h 514350"/>
                <a:gd name="connsiteX1102" fmla="*/ 4196239 w 6400800"/>
                <a:gd name="connsiteY1102" fmla="*/ 213836 h 514350"/>
                <a:gd name="connsiteX1103" fmla="*/ 4201954 w 6400800"/>
                <a:gd name="connsiteY1103" fmla="*/ 220504 h 514350"/>
                <a:gd name="connsiteX1104" fmla="*/ 4216241 w 6400800"/>
                <a:gd name="connsiteY1104" fmla="*/ 240506 h 514350"/>
                <a:gd name="connsiteX1105" fmla="*/ 4225766 w 6400800"/>
                <a:gd name="connsiteY1105" fmla="*/ 255746 h 514350"/>
                <a:gd name="connsiteX1106" fmla="*/ 4235291 w 6400800"/>
                <a:gd name="connsiteY1106" fmla="*/ 273844 h 514350"/>
                <a:gd name="connsiteX1107" fmla="*/ 4235291 w 6400800"/>
                <a:gd name="connsiteY1107" fmla="*/ 274796 h 514350"/>
                <a:gd name="connsiteX1108" fmla="*/ 4235291 w 6400800"/>
                <a:gd name="connsiteY1108" fmla="*/ 282416 h 514350"/>
                <a:gd name="connsiteX1109" fmla="*/ 4234339 w 6400800"/>
                <a:gd name="connsiteY1109" fmla="*/ 281464 h 514350"/>
                <a:gd name="connsiteX1110" fmla="*/ 4229576 w 6400800"/>
                <a:gd name="connsiteY1110" fmla="*/ 276701 h 514350"/>
                <a:gd name="connsiteX1111" fmla="*/ 4233387 w 6400800"/>
                <a:gd name="connsiteY1111" fmla="*/ 282416 h 514350"/>
                <a:gd name="connsiteX1112" fmla="*/ 4235291 w 6400800"/>
                <a:gd name="connsiteY1112" fmla="*/ 284321 h 514350"/>
                <a:gd name="connsiteX1113" fmla="*/ 4235291 w 6400800"/>
                <a:gd name="connsiteY1113" fmla="*/ 285274 h 514350"/>
                <a:gd name="connsiteX1114" fmla="*/ 4229576 w 6400800"/>
                <a:gd name="connsiteY1114" fmla="*/ 310039 h 514350"/>
                <a:gd name="connsiteX1115" fmla="*/ 4222909 w 6400800"/>
                <a:gd name="connsiteY1115" fmla="*/ 295751 h 514350"/>
                <a:gd name="connsiteX1116" fmla="*/ 4228624 w 6400800"/>
                <a:gd name="connsiteY1116" fmla="*/ 316706 h 514350"/>
                <a:gd name="connsiteX1117" fmla="*/ 4226719 w 6400800"/>
                <a:gd name="connsiteY1117" fmla="*/ 327184 h 514350"/>
                <a:gd name="connsiteX1118" fmla="*/ 4223862 w 6400800"/>
                <a:gd name="connsiteY1118" fmla="*/ 341471 h 514350"/>
                <a:gd name="connsiteX1119" fmla="*/ 4222909 w 6400800"/>
                <a:gd name="connsiteY1119" fmla="*/ 334804 h 514350"/>
                <a:gd name="connsiteX1120" fmla="*/ 4219099 w 6400800"/>
                <a:gd name="connsiteY1120" fmla="*/ 311944 h 514350"/>
                <a:gd name="connsiteX1121" fmla="*/ 4219099 w 6400800"/>
                <a:gd name="connsiteY1121" fmla="*/ 331946 h 514350"/>
                <a:gd name="connsiteX1122" fmla="*/ 4217194 w 6400800"/>
                <a:gd name="connsiteY1122" fmla="*/ 322421 h 514350"/>
                <a:gd name="connsiteX1123" fmla="*/ 4198144 w 6400800"/>
                <a:gd name="connsiteY1123" fmla="*/ 240506 h 514350"/>
                <a:gd name="connsiteX1124" fmla="*/ 4205764 w 6400800"/>
                <a:gd name="connsiteY1124" fmla="*/ 323374 h 514350"/>
                <a:gd name="connsiteX1125" fmla="*/ 4210526 w 6400800"/>
                <a:gd name="connsiteY1125" fmla="*/ 364331 h 514350"/>
                <a:gd name="connsiteX1126" fmla="*/ 4210526 w 6400800"/>
                <a:gd name="connsiteY1126" fmla="*/ 363379 h 514350"/>
                <a:gd name="connsiteX1127" fmla="*/ 4206716 w 6400800"/>
                <a:gd name="connsiteY1127" fmla="*/ 350044 h 514350"/>
                <a:gd name="connsiteX1128" fmla="*/ 4202906 w 6400800"/>
                <a:gd name="connsiteY1128" fmla="*/ 338614 h 514350"/>
                <a:gd name="connsiteX1129" fmla="*/ 4202906 w 6400800"/>
                <a:gd name="connsiteY1129" fmla="*/ 350996 h 514350"/>
                <a:gd name="connsiteX1130" fmla="*/ 4202906 w 6400800"/>
                <a:gd name="connsiteY1130" fmla="*/ 365284 h 514350"/>
                <a:gd name="connsiteX1131" fmla="*/ 4202906 w 6400800"/>
                <a:gd name="connsiteY1131" fmla="*/ 373856 h 514350"/>
                <a:gd name="connsiteX1132" fmla="*/ 4202906 w 6400800"/>
                <a:gd name="connsiteY1132" fmla="*/ 380524 h 514350"/>
                <a:gd name="connsiteX1133" fmla="*/ 4201954 w 6400800"/>
                <a:gd name="connsiteY1133" fmla="*/ 378619 h 514350"/>
                <a:gd name="connsiteX1134" fmla="*/ 4201001 w 6400800"/>
                <a:gd name="connsiteY1134" fmla="*/ 361474 h 514350"/>
                <a:gd name="connsiteX1135" fmla="*/ 4196239 w 6400800"/>
                <a:gd name="connsiteY1135" fmla="*/ 290989 h 514350"/>
                <a:gd name="connsiteX1136" fmla="*/ 4191476 w 6400800"/>
                <a:gd name="connsiteY1136" fmla="*/ 343376 h 514350"/>
                <a:gd name="connsiteX1137" fmla="*/ 4188619 w 6400800"/>
                <a:gd name="connsiteY1137" fmla="*/ 335756 h 514350"/>
                <a:gd name="connsiteX1138" fmla="*/ 4181951 w 6400800"/>
                <a:gd name="connsiteY1138" fmla="*/ 319564 h 514350"/>
                <a:gd name="connsiteX1139" fmla="*/ 4180999 w 6400800"/>
                <a:gd name="connsiteY1139" fmla="*/ 316706 h 514350"/>
                <a:gd name="connsiteX1140" fmla="*/ 4180999 w 6400800"/>
                <a:gd name="connsiteY1140" fmla="*/ 256699 h 514350"/>
                <a:gd name="connsiteX1141" fmla="*/ 4180999 w 6400800"/>
                <a:gd name="connsiteY1141" fmla="*/ 230029 h 514350"/>
                <a:gd name="connsiteX1142" fmla="*/ 4177189 w 6400800"/>
                <a:gd name="connsiteY1142" fmla="*/ 256699 h 514350"/>
                <a:gd name="connsiteX1143" fmla="*/ 4175284 w 6400800"/>
                <a:gd name="connsiteY1143" fmla="*/ 270034 h 514350"/>
                <a:gd name="connsiteX1144" fmla="*/ 4174331 w 6400800"/>
                <a:gd name="connsiteY1144" fmla="*/ 251936 h 514350"/>
                <a:gd name="connsiteX1145" fmla="*/ 4168616 w 6400800"/>
                <a:gd name="connsiteY1145" fmla="*/ 176689 h 514350"/>
                <a:gd name="connsiteX1146" fmla="*/ 4162901 w 6400800"/>
                <a:gd name="connsiteY1146" fmla="*/ 251936 h 514350"/>
                <a:gd name="connsiteX1147" fmla="*/ 4160996 w 6400800"/>
                <a:gd name="connsiteY1147" fmla="*/ 287179 h 514350"/>
                <a:gd name="connsiteX1148" fmla="*/ 4154329 w 6400800"/>
                <a:gd name="connsiteY1148" fmla="*/ 303371 h 514350"/>
                <a:gd name="connsiteX1149" fmla="*/ 4146709 w 6400800"/>
                <a:gd name="connsiteY1149" fmla="*/ 280511 h 514350"/>
                <a:gd name="connsiteX1150" fmla="*/ 4140041 w 6400800"/>
                <a:gd name="connsiteY1150" fmla="*/ 246221 h 514350"/>
                <a:gd name="connsiteX1151" fmla="*/ 4133374 w 6400800"/>
                <a:gd name="connsiteY1151" fmla="*/ 224314 h 514350"/>
                <a:gd name="connsiteX1152" fmla="*/ 4134326 w 6400800"/>
                <a:gd name="connsiteY1152" fmla="*/ 230029 h 514350"/>
                <a:gd name="connsiteX1153" fmla="*/ 4136231 w 6400800"/>
                <a:gd name="connsiteY1153" fmla="*/ 247174 h 514350"/>
                <a:gd name="connsiteX1154" fmla="*/ 4136231 w 6400800"/>
                <a:gd name="connsiteY1154" fmla="*/ 250031 h 514350"/>
                <a:gd name="connsiteX1155" fmla="*/ 4118134 w 6400800"/>
                <a:gd name="connsiteY1155" fmla="*/ 197644 h 514350"/>
                <a:gd name="connsiteX1156" fmla="*/ 4093369 w 6400800"/>
                <a:gd name="connsiteY1156" fmla="*/ 121444 h 514350"/>
                <a:gd name="connsiteX1157" fmla="*/ 4083844 w 6400800"/>
                <a:gd name="connsiteY1157" fmla="*/ 92869 h 514350"/>
                <a:gd name="connsiteX1158" fmla="*/ 4089559 w 6400800"/>
                <a:gd name="connsiteY1158" fmla="*/ 122396 h 514350"/>
                <a:gd name="connsiteX1159" fmla="*/ 4106704 w 6400800"/>
                <a:gd name="connsiteY1159" fmla="*/ 200501 h 514350"/>
                <a:gd name="connsiteX1160" fmla="*/ 4119086 w 6400800"/>
                <a:gd name="connsiteY1160" fmla="*/ 248126 h 514350"/>
                <a:gd name="connsiteX1161" fmla="*/ 4117181 w 6400800"/>
                <a:gd name="connsiteY1161" fmla="*/ 262414 h 514350"/>
                <a:gd name="connsiteX1162" fmla="*/ 4114324 w 6400800"/>
                <a:gd name="connsiteY1162" fmla="*/ 290036 h 514350"/>
                <a:gd name="connsiteX1163" fmla="*/ 4110514 w 6400800"/>
                <a:gd name="connsiteY1163" fmla="*/ 284321 h 514350"/>
                <a:gd name="connsiteX1164" fmla="*/ 4114324 w 6400800"/>
                <a:gd name="connsiteY1164" fmla="*/ 269081 h 514350"/>
                <a:gd name="connsiteX1165" fmla="*/ 4108609 w 6400800"/>
                <a:gd name="connsiteY1165" fmla="*/ 282416 h 514350"/>
                <a:gd name="connsiteX1166" fmla="*/ 4102894 w 6400800"/>
                <a:gd name="connsiteY1166" fmla="*/ 273844 h 514350"/>
                <a:gd name="connsiteX1167" fmla="*/ 4096226 w 6400800"/>
                <a:gd name="connsiteY1167" fmla="*/ 263366 h 514350"/>
                <a:gd name="connsiteX1168" fmla="*/ 4097179 w 6400800"/>
                <a:gd name="connsiteY1168" fmla="*/ 262414 h 514350"/>
                <a:gd name="connsiteX1169" fmla="*/ 4096226 w 6400800"/>
                <a:gd name="connsiteY1169" fmla="*/ 263366 h 514350"/>
                <a:gd name="connsiteX1170" fmla="*/ 4090511 w 6400800"/>
                <a:gd name="connsiteY1170" fmla="*/ 253841 h 514350"/>
                <a:gd name="connsiteX1171" fmla="*/ 4090511 w 6400800"/>
                <a:gd name="connsiteY1171" fmla="*/ 252889 h 514350"/>
                <a:gd name="connsiteX1172" fmla="*/ 4090511 w 6400800"/>
                <a:gd name="connsiteY1172" fmla="*/ 238601 h 514350"/>
                <a:gd name="connsiteX1173" fmla="*/ 4090511 w 6400800"/>
                <a:gd name="connsiteY1173" fmla="*/ 215741 h 514350"/>
                <a:gd name="connsiteX1174" fmla="*/ 4089559 w 6400800"/>
                <a:gd name="connsiteY1174" fmla="*/ 195739 h 514350"/>
                <a:gd name="connsiteX1175" fmla="*/ 4086701 w 6400800"/>
                <a:gd name="connsiteY1175" fmla="*/ 214789 h 514350"/>
                <a:gd name="connsiteX1176" fmla="*/ 4083844 w 6400800"/>
                <a:gd name="connsiteY1176" fmla="*/ 236696 h 514350"/>
                <a:gd name="connsiteX1177" fmla="*/ 4083844 w 6400800"/>
                <a:gd name="connsiteY1177" fmla="*/ 239554 h 514350"/>
                <a:gd name="connsiteX1178" fmla="*/ 4081939 w 6400800"/>
                <a:gd name="connsiteY1178" fmla="*/ 236696 h 514350"/>
                <a:gd name="connsiteX1179" fmla="*/ 4081939 w 6400800"/>
                <a:gd name="connsiteY1179" fmla="*/ 234791 h 514350"/>
                <a:gd name="connsiteX1180" fmla="*/ 4081939 w 6400800"/>
                <a:gd name="connsiteY1180" fmla="*/ 210026 h 514350"/>
                <a:gd name="connsiteX1181" fmla="*/ 4081939 w 6400800"/>
                <a:gd name="connsiteY1181" fmla="*/ 188119 h 514350"/>
                <a:gd name="connsiteX1182" fmla="*/ 4078129 w 6400800"/>
                <a:gd name="connsiteY1182" fmla="*/ 210026 h 514350"/>
                <a:gd name="connsiteX1183" fmla="*/ 4075271 w 6400800"/>
                <a:gd name="connsiteY1183" fmla="*/ 227171 h 514350"/>
                <a:gd name="connsiteX1184" fmla="*/ 4059079 w 6400800"/>
                <a:gd name="connsiteY1184" fmla="*/ 202406 h 514350"/>
                <a:gd name="connsiteX1185" fmla="*/ 4073366 w 6400800"/>
                <a:gd name="connsiteY1185" fmla="*/ 236696 h 514350"/>
                <a:gd name="connsiteX1186" fmla="*/ 4071461 w 6400800"/>
                <a:gd name="connsiteY1186" fmla="*/ 250984 h 514350"/>
                <a:gd name="connsiteX1187" fmla="*/ 4067651 w 6400800"/>
                <a:gd name="connsiteY1187" fmla="*/ 268129 h 514350"/>
                <a:gd name="connsiteX1188" fmla="*/ 4064794 w 6400800"/>
                <a:gd name="connsiteY1188" fmla="*/ 279559 h 514350"/>
                <a:gd name="connsiteX1189" fmla="*/ 4061936 w 6400800"/>
                <a:gd name="connsiteY1189" fmla="*/ 253841 h 514350"/>
                <a:gd name="connsiteX1190" fmla="*/ 4054316 w 6400800"/>
                <a:gd name="connsiteY1190" fmla="*/ 207169 h 514350"/>
                <a:gd name="connsiteX1191" fmla="*/ 4050506 w 6400800"/>
                <a:gd name="connsiteY1191" fmla="*/ 186214 h 514350"/>
                <a:gd name="connsiteX1192" fmla="*/ 4046696 w 6400800"/>
                <a:gd name="connsiteY1192" fmla="*/ 168116 h 514350"/>
                <a:gd name="connsiteX1193" fmla="*/ 4040029 w 6400800"/>
                <a:gd name="connsiteY1193" fmla="*/ 137636 h 514350"/>
                <a:gd name="connsiteX1194" fmla="*/ 4034314 w 6400800"/>
                <a:gd name="connsiteY1194" fmla="*/ 111919 h 514350"/>
                <a:gd name="connsiteX1195" fmla="*/ 4036219 w 6400800"/>
                <a:gd name="connsiteY1195" fmla="*/ 138589 h 514350"/>
                <a:gd name="connsiteX1196" fmla="*/ 4039076 w 6400800"/>
                <a:gd name="connsiteY1196" fmla="*/ 169069 h 514350"/>
                <a:gd name="connsiteX1197" fmla="*/ 4042886 w 6400800"/>
                <a:gd name="connsiteY1197" fmla="*/ 208121 h 514350"/>
                <a:gd name="connsiteX1198" fmla="*/ 4044791 w 6400800"/>
                <a:gd name="connsiteY1198" fmla="*/ 238601 h 514350"/>
                <a:gd name="connsiteX1199" fmla="*/ 4031456 w 6400800"/>
                <a:gd name="connsiteY1199" fmla="*/ 170021 h 514350"/>
                <a:gd name="connsiteX1200" fmla="*/ 4036219 w 6400800"/>
                <a:gd name="connsiteY1200" fmla="*/ 252889 h 514350"/>
                <a:gd name="connsiteX1201" fmla="*/ 4037171 w 6400800"/>
                <a:gd name="connsiteY1201" fmla="*/ 264319 h 514350"/>
                <a:gd name="connsiteX1202" fmla="*/ 4035266 w 6400800"/>
                <a:gd name="connsiteY1202" fmla="*/ 271939 h 514350"/>
                <a:gd name="connsiteX1203" fmla="*/ 4030504 w 6400800"/>
                <a:gd name="connsiteY1203" fmla="*/ 266224 h 514350"/>
                <a:gd name="connsiteX1204" fmla="*/ 4023836 w 6400800"/>
                <a:gd name="connsiteY1204" fmla="*/ 258604 h 514350"/>
                <a:gd name="connsiteX1205" fmla="*/ 4009549 w 6400800"/>
                <a:gd name="connsiteY1205" fmla="*/ 229076 h 514350"/>
                <a:gd name="connsiteX1206" fmla="*/ 3996214 w 6400800"/>
                <a:gd name="connsiteY1206" fmla="*/ 203359 h 514350"/>
                <a:gd name="connsiteX1207" fmla="*/ 4005739 w 6400800"/>
                <a:gd name="connsiteY1207" fmla="*/ 230981 h 514350"/>
                <a:gd name="connsiteX1208" fmla="*/ 4014311 w 6400800"/>
                <a:gd name="connsiteY1208" fmla="*/ 255746 h 514350"/>
                <a:gd name="connsiteX1209" fmla="*/ 4007644 w 6400800"/>
                <a:gd name="connsiteY1209" fmla="*/ 243364 h 514350"/>
                <a:gd name="connsiteX1210" fmla="*/ 4015264 w 6400800"/>
                <a:gd name="connsiteY1210" fmla="*/ 267176 h 514350"/>
                <a:gd name="connsiteX1211" fmla="*/ 4024789 w 6400800"/>
                <a:gd name="connsiteY1211" fmla="*/ 294799 h 514350"/>
                <a:gd name="connsiteX1212" fmla="*/ 4026694 w 6400800"/>
                <a:gd name="connsiteY1212" fmla="*/ 301466 h 514350"/>
                <a:gd name="connsiteX1213" fmla="*/ 4017169 w 6400800"/>
                <a:gd name="connsiteY1213" fmla="*/ 329089 h 514350"/>
                <a:gd name="connsiteX1214" fmla="*/ 4016216 w 6400800"/>
                <a:gd name="connsiteY1214" fmla="*/ 328136 h 514350"/>
                <a:gd name="connsiteX1215" fmla="*/ 4005739 w 6400800"/>
                <a:gd name="connsiteY1215" fmla="*/ 320516 h 514350"/>
                <a:gd name="connsiteX1216" fmla="*/ 4005739 w 6400800"/>
                <a:gd name="connsiteY1216" fmla="*/ 318611 h 514350"/>
                <a:gd name="connsiteX1217" fmla="*/ 4004786 w 6400800"/>
                <a:gd name="connsiteY1217" fmla="*/ 310991 h 514350"/>
                <a:gd name="connsiteX1218" fmla="*/ 4002881 w 6400800"/>
                <a:gd name="connsiteY1218" fmla="*/ 269081 h 514350"/>
                <a:gd name="connsiteX1219" fmla="*/ 4000024 w 6400800"/>
                <a:gd name="connsiteY1219" fmla="*/ 284321 h 514350"/>
                <a:gd name="connsiteX1220" fmla="*/ 3993356 w 6400800"/>
                <a:gd name="connsiteY1220" fmla="*/ 248126 h 514350"/>
                <a:gd name="connsiteX1221" fmla="*/ 3993356 w 6400800"/>
                <a:gd name="connsiteY1221" fmla="*/ 286226 h 514350"/>
                <a:gd name="connsiteX1222" fmla="*/ 3992404 w 6400800"/>
                <a:gd name="connsiteY1222" fmla="*/ 286226 h 514350"/>
                <a:gd name="connsiteX1223" fmla="*/ 3990499 w 6400800"/>
                <a:gd name="connsiteY1223" fmla="*/ 287179 h 514350"/>
                <a:gd name="connsiteX1224" fmla="*/ 3985736 w 6400800"/>
                <a:gd name="connsiteY1224" fmla="*/ 292894 h 514350"/>
                <a:gd name="connsiteX1225" fmla="*/ 3985736 w 6400800"/>
                <a:gd name="connsiteY1225" fmla="*/ 292894 h 514350"/>
                <a:gd name="connsiteX1226" fmla="*/ 3985736 w 6400800"/>
                <a:gd name="connsiteY1226" fmla="*/ 293846 h 514350"/>
                <a:gd name="connsiteX1227" fmla="*/ 3983831 w 6400800"/>
                <a:gd name="connsiteY1227" fmla="*/ 313849 h 514350"/>
                <a:gd name="connsiteX1228" fmla="*/ 3978116 w 6400800"/>
                <a:gd name="connsiteY1228" fmla="*/ 303371 h 514350"/>
                <a:gd name="connsiteX1229" fmla="*/ 3987641 w 6400800"/>
                <a:gd name="connsiteY1229" fmla="*/ 272891 h 514350"/>
                <a:gd name="connsiteX1230" fmla="*/ 3976211 w 6400800"/>
                <a:gd name="connsiteY1230" fmla="*/ 298609 h 514350"/>
                <a:gd name="connsiteX1231" fmla="*/ 3973354 w 6400800"/>
                <a:gd name="connsiteY1231" fmla="*/ 293846 h 514350"/>
                <a:gd name="connsiteX1232" fmla="*/ 3973354 w 6400800"/>
                <a:gd name="connsiteY1232" fmla="*/ 288131 h 514350"/>
                <a:gd name="connsiteX1233" fmla="*/ 3973354 w 6400800"/>
                <a:gd name="connsiteY1233" fmla="*/ 287179 h 514350"/>
                <a:gd name="connsiteX1234" fmla="*/ 3977164 w 6400800"/>
                <a:gd name="connsiteY1234" fmla="*/ 278606 h 514350"/>
                <a:gd name="connsiteX1235" fmla="*/ 3980974 w 6400800"/>
                <a:gd name="connsiteY1235" fmla="*/ 270986 h 514350"/>
                <a:gd name="connsiteX1236" fmla="*/ 3976211 w 6400800"/>
                <a:gd name="connsiteY1236" fmla="*/ 277654 h 514350"/>
                <a:gd name="connsiteX1237" fmla="*/ 3973354 w 6400800"/>
                <a:gd name="connsiteY1237" fmla="*/ 282416 h 514350"/>
                <a:gd name="connsiteX1238" fmla="*/ 3974306 w 6400800"/>
                <a:gd name="connsiteY1238" fmla="*/ 254794 h 514350"/>
                <a:gd name="connsiteX1239" fmla="*/ 3975259 w 6400800"/>
                <a:gd name="connsiteY1239" fmla="*/ 230029 h 514350"/>
                <a:gd name="connsiteX1240" fmla="*/ 3970496 w 6400800"/>
                <a:gd name="connsiteY1240" fmla="*/ 254794 h 514350"/>
                <a:gd name="connsiteX1241" fmla="*/ 3965734 w 6400800"/>
                <a:gd name="connsiteY1241" fmla="*/ 281464 h 514350"/>
                <a:gd name="connsiteX1242" fmla="*/ 3961924 w 6400800"/>
                <a:gd name="connsiteY1242" fmla="*/ 274796 h 514350"/>
                <a:gd name="connsiteX1243" fmla="*/ 3962876 w 6400800"/>
                <a:gd name="connsiteY1243" fmla="*/ 269081 h 514350"/>
                <a:gd name="connsiteX1244" fmla="*/ 3966686 w 6400800"/>
                <a:gd name="connsiteY1244" fmla="*/ 245269 h 514350"/>
                <a:gd name="connsiteX1245" fmla="*/ 3959066 w 6400800"/>
                <a:gd name="connsiteY1245" fmla="*/ 268129 h 514350"/>
                <a:gd name="connsiteX1246" fmla="*/ 3959066 w 6400800"/>
                <a:gd name="connsiteY1246" fmla="*/ 269081 h 514350"/>
                <a:gd name="connsiteX1247" fmla="*/ 3958114 w 6400800"/>
                <a:gd name="connsiteY1247" fmla="*/ 267176 h 514350"/>
                <a:gd name="connsiteX1248" fmla="*/ 3958114 w 6400800"/>
                <a:gd name="connsiteY1248" fmla="*/ 269081 h 514350"/>
                <a:gd name="connsiteX1249" fmla="*/ 3955256 w 6400800"/>
                <a:gd name="connsiteY1249" fmla="*/ 264319 h 514350"/>
                <a:gd name="connsiteX1250" fmla="*/ 3954304 w 6400800"/>
                <a:gd name="connsiteY1250" fmla="*/ 247174 h 514350"/>
                <a:gd name="connsiteX1251" fmla="*/ 3951446 w 6400800"/>
                <a:gd name="connsiteY1251" fmla="*/ 214789 h 514350"/>
                <a:gd name="connsiteX1252" fmla="*/ 3947636 w 6400800"/>
                <a:gd name="connsiteY1252" fmla="*/ 190024 h 514350"/>
                <a:gd name="connsiteX1253" fmla="*/ 3943826 w 6400800"/>
                <a:gd name="connsiteY1253" fmla="*/ 169069 h 514350"/>
                <a:gd name="connsiteX1254" fmla="*/ 3943826 w 6400800"/>
                <a:gd name="connsiteY1254" fmla="*/ 190024 h 514350"/>
                <a:gd name="connsiteX1255" fmla="*/ 3943826 w 6400800"/>
                <a:gd name="connsiteY1255" fmla="*/ 214789 h 514350"/>
                <a:gd name="connsiteX1256" fmla="*/ 3943826 w 6400800"/>
                <a:gd name="connsiteY1256" fmla="*/ 225266 h 514350"/>
                <a:gd name="connsiteX1257" fmla="*/ 3940969 w 6400800"/>
                <a:gd name="connsiteY1257" fmla="*/ 215741 h 514350"/>
                <a:gd name="connsiteX1258" fmla="*/ 3939064 w 6400800"/>
                <a:gd name="connsiteY1258" fmla="*/ 207169 h 514350"/>
                <a:gd name="connsiteX1259" fmla="*/ 3940016 w 6400800"/>
                <a:gd name="connsiteY1259" fmla="*/ 205264 h 514350"/>
                <a:gd name="connsiteX1260" fmla="*/ 3939064 w 6400800"/>
                <a:gd name="connsiteY1260" fmla="*/ 206216 h 514350"/>
                <a:gd name="connsiteX1261" fmla="*/ 3936206 w 6400800"/>
                <a:gd name="connsiteY1261" fmla="*/ 197644 h 514350"/>
                <a:gd name="connsiteX1262" fmla="*/ 3937159 w 6400800"/>
                <a:gd name="connsiteY1262" fmla="*/ 208121 h 514350"/>
                <a:gd name="connsiteX1263" fmla="*/ 3929539 w 6400800"/>
                <a:gd name="connsiteY1263" fmla="*/ 216694 h 514350"/>
                <a:gd name="connsiteX1264" fmla="*/ 3925729 w 6400800"/>
                <a:gd name="connsiteY1264" fmla="*/ 197644 h 514350"/>
                <a:gd name="connsiteX1265" fmla="*/ 3916204 w 6400800"/>
                <a:gd name="connsiteY1265" fmla="*/ 158591 h 514350"/>
                <a:gd name="connsiteX1266" fmla="*/ 3912394 w 6400800"/>
                <a:gd name="connsiteY1266" fmla="*/ 144304 h 514350"/>
                <a:gd name="connsiteX1267" fmla="*/ 3915251 w 6400800"/>
                <a:gd name="connsiteY1267" fmla="*/ 139541 h 514350"/>
                <a:gd name="connsiteX1268" fmla="*/ 3935254 w 6400800"/>
                <a:gd name="connsiteY1268" fmla="*/ 110966 h 514350"/>
                <a:gd name="connsiteX1269" fmla="*/ 3912394 w 6400800"/>
                <a:gd name="connsiteY1269" fmla="*/ 136684 h 514350"/>
                <a:gd name="connsiteX1270" fmla="*/ 3910489 w 6400800"/>
                <a:gd name="connsiteY1270" fmla="*/ 138589 h 514350"/>
                <a:gd name="connsiteX1271" fmla="*/ 3906679 w 6400800"/>
                <a:gd name="connsiteY1271" fmla="*/ 128111 h 514350"/>
                <a:gd name="connsiteX1272" fmla="*/ 3898106 w 6400800"/>
                <a:gd name="connsiteY1272" fmla="*/ 102394 h 514350"/>
                <a:gd name="connsiteX1273" fmla="*/ 3902869 w 6400800"/>
                <a:gd name="connsiteY1273" fmla="*/ 129064 h 514350"/>
                <a:gd name="connsiteX1274" fmla="*/ 3905726 w 6400800"/>
                <a:gd name="connsiteY1274" fmla="*/ 143351 h 514350"/>
                <a:gd name="connsiteX1275" fmla="*/ 3905726 w 6400800"/>
                <a:gd name="connsiteY1275" fmla="*/ 143351 h 514350"/>
                <a:gd name="connsiteX1276" fmla="*/ 3887629 w 6400800"/>
                <a:gd name="connsiteY1276" fmla="*/ 167164 h 514350"/>
                <a:gd name="connsiteX1277" fmla="*/ 3866674 w 6400800"/>
                <a:gd name="connsiteY1277" fmla="*/ 195739 h 514350"/>
                <a:gd name="connsiteX1278" fmla="*/ 3862864 w 6400800"/>
                <a:gd name="connsiteY1278" fmla="*/ 182404 h 514350"/>
                <a:gd name="connsiteX1279" fmla="*/ 3854291 w 6400800"/>
                <a:gd name="connsiteY1279" fmla="*/ 155734 h 514350"/>
                <a:gd name="connsiteX1280" fmla="*/ 3859054 w 6400800"/>
                <a:gd name="connsiteY1280" fmla="*/ 183356 h 514350"/>
                <a:gd name="connsiteX1281" fmla="*/ 3862864 w 6400800"/>
                <a:gd name="connsiteY1281" fmla="*/ 202406 h 514350"/>
                <a:gd name="connsiteX1282" fmla="*/ 3858101 w 6400800"/>
                <a:gd name="connsiteY1282" fmla="*/ 209074 h 514350"/>
                <a:gd name="connsiteX1283" fmla="*/ 3853339 w 6400800"/>
                <a:gd name="connsiteY1283" fmla="*/ 216694 h 514350"/>
                <a:gd name="connsiteX1284" fmla="*/ 3849529 w 6400800"/>
                <a:gd name="connsiteY1284" fmla="*/ 195739 h 514350"/>
                <a:gd name="connsiteX1285" fmla="*/ 3852386 w 6400800"/>
                <a:gd name="connsiteY1285" fmla="*/ 178594 h 514350"/>
                <a:gd name="connsiteX1286" fmla="*/ 3855244 w 6400800"/>
                <a:gd name="connsiteY1286" fmla="*/ 158591 h 514350"/>
                <a:gd name="connsiteX1287" fmla="*/ 3848576 w 6400800"/>
                <a:gd name="connsiteY1287" fmla="*/ 177641 h 514350"/>
                <a:gd name="connsiteX1288" fmla="*/ 3841909 w 6400800"/>
                <a:gd name="connsiteY1288" fmla="*/ 199549 h 514350"/>
                <a:gd name="connsiteX1289" fmla="*/ 3838099 w 6400800"/>
                <a:gd name="connsiteY1289" fmla="*/ 212884 h 514350"/>
                <a:gd name="connsiteX1290" fmla="*/ 3835241 w 6400800"/>
                <a:gd name="connsiteY1290" fmla="*/ 225266 h 514350"/>
                <a:gd name="connsiteX1291" fmla="*/ 3834289 w 6400800"/>
                <a:gd name="connsiteY1291" fmla="*/ 222409 h 514350"/>
                <a:gd name="connsiteX1292" fmla="*/ 3825716 w 6400800"/>
                <a:gd name="connsiteY1292" fmla="*/ 209074 h 514350"/>
                <a:gd name="connsiteX1293" fmla="*/ 3809524 w 6400800"/>
                <a:gd name="connsiteY1293" fmla="*/ 184309 h 514350"/>
                <a:gd name="connsiteX1294" fmla="*/ 3821906 w 6400800"/>
                <a:gd name="connsiteY1294" fmla="*/ 210979 h 514350"/>
                <a:gd name="connsiteX1295" fmla="*/ 3828574 w 6400800"/>
                <a:gd name="connsiteY1295" fmla="*/ 224314 h 514350"/>
                <a:gd name="connsiteX1296" fmla="*/ 3832384 w 6400800"/>
                <a:gd name="connsiteY1296" fmla="*/ 234791 h 514350"/>
                <a:gd name="connsiteX1297" fmla="*/ 3828574 w 6400800"/>
                <a:gd name="connsiteY1297" fmla="*/ 254794 h 514350"/>
                <a:gd name="connsiteX1298" fmla="*/ 3825716 w 6400800"/>
                <a:gd name="connsiteY1298" fmla="*/ 259556 h 514350"/>
                <a:gd name="connsiteX1299" fmla="*/ 3820954 w 6400800"/>
                <a:gd name="connsiteY1299" fmla="*/ 269081 h 514350"/>
                <a:gd name="connsiteX1300" fmla="*/ 3820001 w 6400800"/>
                <a:gd name="connsiteY1300" fmla="*/ 267176 h 514350"/>
                <a:gd name="connsiteX1301" fmla="*/ 3804761 w 6400800"/>
                <a:gd name="connsiteY1301" fmla="*/ 249079 h 514350"/>
                <a:gd name="connsiteX1302" fmla="*/ 3817144 w 6400800"/>
                <a:gd name="connsiteY1302" fmla="*/ 270034 h 514350"/>
                <a:gd name="connsiteX1303" fmla="*/ 3819049 w 6400800"/>
                <a:gd name="connsiteY1303" fmla="*/ 272891 h 514350"/>
                <a:gd name="connsiteX1304" fmla="*/ 3806666 w 6400800"/>
                <a:gd name="connsiteY1304" fmla="*/ 294799 h 514350"/>
                <a:gd name="connsiteX1305" fmla="*/ 3806666 w 6400800"/>
                <a:gd name="connsiteY1305" fmla="*/ 294799 h 514350"/>
                <a:gd name="connsiteX1306" fmla="*/ 3803809 w 6400800"/>
                <a:gd name="connsiteY1306" fmla="*/ 290989 h 514350"/>
                <a:gd name="connsiteX1307" fmla="*/ 3802856 w 6400800"/>
                <a:gd name="connsiteY1307" fmla="*/ 287179 h 514350"/>
                <a:gd name="connsiteX1308" fmla="*/ 3799999 w 6400800"/>
                <a:gd name="connsiteY1308" fmla="*/ 276701 h 514350"/>
                <a:gd name="connsiteX1309" fmla="*/ 3795236 w 6400800"/>
                <a:gd name="connsiteY1309" fmla="*/ 260509 h 514350"/>
                <a:gd name="connsiteX1310" fmla="*/ 3790474 w 6400800"/>
                <a:gd name="connsiteY1310" fmla="*/ 246221 h 514350"/>
                <a:gd name="connsiteX1311" fmla="*/ 3791426 w 6400800"/>
                <a:gd name="connsiteY1311" fmla="*/ 260509 h 514350"/>
                <a:gd name="connsiteX1312" fmla="*/ 3792379 w 6400800"/>
                <a:gd name="connsiteY1312" fmla="*/ 273844 h 514350"/>
                <a:gd name="connsiteX1313" fmla="*/ 3787616 w 6400800"/>
                <a:gd name="connsiteY1313" fmla="*/ 268129 h 514350"/>
                <a:gd name="connsiteX1314" fmla="*/ 3777139 w 6400800"/>
                <a:gd name="connsiteY1314" fmla="*/ 255746 h 514350"/>
                <a:gd name="connsiteX1315" fmla="*/ 3773329 w 6400800"/>
                <a:gd name="connsiteY1315" fmla="*/ 246221 h 514350"/>
                <a:gd name="connsiteX1316" fmla="*/ 3764756 w 6400800"/>
                <a:gd name="connsiteY1316" fmla="*/ 224314 h 514350"/>
                <a:gd name="connsiteX1317" fmla="*/ 3769519 w 6400800"/>
                <a:gd name="connsiteY1317" fmla="*/ 247174 h 514350"/>
                <a:gd name="connsiteX1318" fmla="*/ 3776186 w 6400800"/>
                <a:gd name="connsiteY1318" fmla="*/ 273844 h 514350"/>
                <a:gd name="connsiteX1319" fmla="*/ 3781901 w 6400800"/>
                <a:gd name="connsiteY1319" fmla="*/ 299561 h 514350"/>
                <a:gd name="connsiteX1320" fmla="*/ 3760946 w 6400800"/>
                <a:gd name="connsiteY1320" fmla="*/ 234791 h 514350"/>
                <a:gd name="connsiteX1321" fmla="*/ 3755231 w 6400800"/>
                <a:gd name="connsiteY1321" fmla="*/ 218599 h 514350"/>
                <a:gd name="connsiteX1322" fmla="*/ 3759041 w 6400800"/>
                <a:gd name="connsiteY1322" fmla="*/ 211931 h 514350"/>
                <a:gd name="connsiteX1323" fmla="*/ 3754279 w 6400800"/>
                <a:gd name="connsiteY1323" fmla="*/ 217646 h 514350"/>
                <a:gd name="connsiteX1324" fmla="*/ 3750469 w 6400800"/>
                <a:gd name="connsiteY1324" fmla="*/ 208121 h 514350"/>
                <a:gd name="connsiteX1325" fmla="*/ 3752374 w 6400800"/>
                <a:gd name="connsiteY1325" fmla="*/ 197644 h 514350"/>
                <a:gd name="connsiteX1326" fmla="*/ 3748564 w 6400800"/>
                <a:gd name="connsiteY1326" fmla="*/ 205264 h 514350"/>
                <a:gd name="connsiteX1327" fmla="*/ 3734276 w 6400800"/>
                <a:gd name="connsiteY1327" fmla="*/ 167164 h 514350"/>
                <a:gd name="connsiteX1328" fmla="*/ 3742849 w 6400800"/>
                <a:gd name="connsiteY1328" fmla="*/ 217646 h 514350"/>
                <a:gd name="connsiteX1329" fmla="*/ 3736181 w 6400800"/>
                <a:gd name="connsiteY1329" fmla="*/ 236696 h 514350"/>
                <a:gd name="connsiteX1330" fmla="*/ 3735229 w 6400800"/>
                <a:gd name="connsiteY1330" fmla="*/ 238601 h 514350"/>
                <a:gd name="connsiteX1331" fmla="*/ 3730466 w 6400800"/>
                <a:gd name="connsiteY1331" fmla="*/ 245269 h 514350"/>
                <a:gd name="connsiteX1332" fmla="*/ 3726656 w 6400800"/>
                <a:gd name="connsiteY1332" fmla="*/ 236696 h 514350"/>
                <a:gd name="connsiteX1333" fmla="*/ 3726656 w 6400800"/>
                <a:gd name="connsiteY1333" fmla="*/ 232886 h 514350"/>
                <a:gd name="connsiteX1334" fmla="*/ 3725704 w 6400800"/>
                <a:gd name="connsiteY1334" fmla="*/ 214789 h 514350"/>
                <a:gd name="connsiteX1335" fmla="*/ 3722846 w 6400800"/>
                <a:gd name="connsiteY1335" fmla="*/ 230029 h 514350"/>
                <a:gd name="connsiteX1336" fmla="*/ 3721894 w 6400800"/>
                <a:gd name="connsiteY1336" fmla="*/ 229076 h 514350"/>
                <a:gd name="connsiteX1337" fmla="*/ 3721894 w 6400800"/>
                <a:gd name="connsiteY1337" fmla="*/ 229076 h 514350"/>
                <a:gd name="connsiteX1338" fmla="*/ 3725704 w 6400800"/>
                <a:gd name="connsiteY1338" fmla="*/ 190976 h 514350"/>
                <a:gd name="connsiteX1339" fmla="*/ 3727609 w 6400800"/>
                <a:gd name="connsiteY1339" fmla="*/ 172879 h 514350"/>
                <a:gd name="connsiteX1340" fmla="*/ 3730466 w 6400800"/>
                <a:gd name="connsiteY1340" fmla="*/ 155734 h 514350"/>
                <a:gd name="connsiteX1341" fmla="*/ 3734276 w 6400800"/>
                <a:gd name="connsiteY1341" fmla="*/ 128111 h 514350"/>
                <a:gd name="connsiteX1342" fmla="*/ 3737134 w 6400800"/>
                <a:gd name="connsiteY1342" fmla="*/ 104299 h 514350"/>
                <a:gd name="connsiteX1343" fmla="*/ 3730466 w 6400800"/>
                <a:gd name="connsiteY1343" fmla="*/ 127159 h 514350"/>
                <a:gd name="connsiteX1344" fmla="*/ 3722846 w 6400800"/>
                <a:gd name="connsiteY1344" fmla="*/ 153829 h 514350"/>
                <a:gd name="connsiteX1345" fmla="*/ 3718084 w 6400800"/>
                <a:gd name="connsiteY1345" fmla="*/ 170021 h 514350"/>
                <a:gd name="connsiteX1346" fmla="*/ 3714274 w 6400800"/>
                <a:gd name="connsiteY1346" fmla="*/ 188119 h 514350"/>
                <a:gd name="connsiteX1347" fmla="*/ 3710464 w 6400800"/>
                <a:gd name="connsiteY1347" fmla="*/ 208121 h 514350"/>
                <a:gd name="connsiteX1348" fmla="*/ 3710464 w 6400800"/>
                <a:gd name="connsiteY1348" fmla="*/ 207169 h 514350"/>
                <a:gd name="connsiteX1349" fmla="*/ 3691414 w 6400800"/>
                <a:gd name="connsiteY1349" fmla="*/ 174784 h 514350"/>
                <a:gd name="connsiteX1350" fmla="*/ 3677126 w 6400800"/>
                <a:gd name="connsiteY1350" fmla="*/ 150971 h 514350"/>
                <a:gd name="connsiteX1351" fmla="*/ 3678079 w 6400800"/>
                <a:gd name="connsiteY1351" fmla="*/ 137636 h 514350"/>
                <a:gd name="connsiteX1352" fmla="*/ 3675221 w 6400800"/>
                <a:gd name="connsiteY1352" fmla="*/ 149066 h 514350"/>
                <a:gd name="connsiteX1353" fmla="*/ 3674269 w 6400800"/>
                <a:gd name="connsiteY1353" fmla="*/ 147161 h 514350"/>
                <a:gd name="connsiteX1354" fmla="*/ 3675221 w 6400800"/>
                <a:gd name="connsiteY1354" fmla="*/ 150019 h 514350"/>
                <a:gd name="connsiteX1355" fmla="*/ 3672364 w 6400800"/>
                <a:gd name="connsiteY1355" fmla="*/ 164306 h 514350"/>
                <a:gd name="connsiteX1356" fmla="*/ 3665696 w 6400800"/>
                <a:gd name="connsiteY1356" fmla="*/ 194786 h 514350"/>
                <a:gd name="connsiteX1357" fmla="*/ 3662839 w 6400800"/>
                <a:gd name="connsiteY1357" fmla="*/ 209074 h 514350"/>
                <a:gd name="connsiteX1358" fmla="*/ 3661886 w 6400800"/>
                <a:gd name="connsiteY1358" fmla="*/ 210026 h 514350"/>
                <a:gd name="connsiteX1359" fmla="*/ 3658076 w 6400800"/>
                <a:gd name="connsiteY1359" fmla="*/ 216694 h 514350"/>
                <a:gd name="connsiteX1360" fmla="*/ 3658076 w 6400800"/>
                <a:gd name="connsiteY1360" fmla="*/ 174784 h 514350"/>
                <a:gd name="connsiteX1361" fmla="*/ 3645694 w 6400800"/>
                <a:gd name="connsiteY1361" fmla="*/ 239554 h 514350"/>
                <a:gd name="connsiteX1362" fmla="*/ 3644741 w 6400800"/>
                <a:gd name="connsiteY1362" fmla="*/ 246221 h 514350"/>
                <a:gd name="connsiteX1363" fmla="*/ 3643789 w 6400800"/>
                <a:gd name="connsiteY1363" fmla="*/ 249079 h 514350"/>
                <a:gd name="connsiteX1364" fmla="*/ 3640931 w 6400800"/>
                <a:gd name="connsiteY1364" fmla="*/ 259556 h 514350"/>
                <a:gd name="connsiteX1365" fmla="*/ 3633311 w 6400800"/>
                <a:gd name="connsiteY1365" fmla="*/ 243364 h 514350"/>
                <a:gd name="connsiteX1366" fmla="*/ 3639979 w 6400800"/>
                <a:gd name="connsiteY1366" fmla="*/ 265271 h 514350"/>
                <a:gd name="connsiteX1367" fmla="*/ 3637121 w 6400800"/>
                <a:gd name="connsiteY1367" fmla="*/ 275749 h 514350"/>
                <a:gd name="connsiteX1368" fmla="*/ 3627596 w 6400800"/>
                <a:gd name="connsiteY1368" fmla="*/ 261461 h 514350"/>
                <a:gd name="connsiteX1369" fmla="*/ 3635216 w 6400800"/>
                <a:gd name="connsiteY1369" fmla="*/ 280511 h 514350"/>
                <a:gd name="connsiteX1370" fmla="*/ 3635216 w 6400800"/>
                <a:gd name="connsiteY1370" fmla="*/ 281464 h 514350"/>
                <a:gd name="connsiteX1371" fmla="*/ 3630454 w 6400800"/>
                <a:gd name="connsiteY1371" fmla="*/ 309086 h 514350"/>
                <a:gd name="connsiteX1372" fmla="*/ 3627596 w 6400800"/>
                <a:gd name="connsiteY1372" fmla="*/ 332899 h 514350"/>
                <a:gd name="connsiteX1373" fmla="*/ 3620929 w 6400800"/>
                <a:gd name="connsiteY1373" fmla="*/ 312896 h 514350"/>
                <a:gd name="connsiteX1374" fmla="*/ 3620929 w 6400800"/>
                <a:gd name="connsiteY1374" fmla="*/ 309086 h 514350"/>
                <a:gd name="connsiteX1375" fmla="*/ 3619976 w 6400800"/>
                <a:gd name="connsiteY1375" fmla="*/ 310991 h 514350"/>
                <a:gd name="connsiteX1376" fmla="*/ 3619024 w 6400800"/>
                <a:gd name="connsiteY1376" fmla="*/ 308134 h 514350"/>
                <a:gd name="connsiteX1377" fmla="*/ 3622834 w 6400800"/>
                <a:gd name="connsiteY1377" fmla="*/ 272891 h 514350"/>
                <a:gd name="connsiteX1378" fmla="*/ 3626644 w 6400800"/>
                <a:gd name="connsiteY1378" fmla="*/ 221456 h 514350"/>
                <a:gd name="connsiteX1379" fmla="*/ 3630454 w 6400800"/>
                <a:gd name="connsiteY1379" fmla="*/ 211931 h 514350"/>
                <a:gd name="connsiteX1380" fmla="*/ 3626644 w 6400800"/>
                <a:gd name="connsiteY1380" fmla="*/ 216694 h 514350"/>
                <a:gd name="connsiteX1381" fmla="*/ 3626644 w 6400800"/>
                <a:gd name="connsiteY1381" fmla="*/ 214789 h 514350"/>
                <a:gd name="connsiteX1382" fmla="*/ 3626644 w 6400800"/>
                <a:gd name="connsiteY1382" fmla="*/ 192881 h 514350"/>
                <a:gd name="connsiteX1383" fmla="*/ 3622834 w 6400800"/>
                <a:gd name="connsiteY1383" fmla="*/ 214789 h 514350"/>
                <a:gd name="connsiteX1384" fmla="*/ 3620929 w 6400800"/>
                <a:gd name="connsiteY1384" fmla="*/ 226219 h 514350"/>
                <a:gd name="connsiteX1385" fmla="*/ 3620929 w 6400800"/>
                <a:gd name="connsiteY1385" fmla="*/ 227171 h 514350"/>
                <a:gd name="connsiteX1386" fmla="*/ 3609499 w 6400800"/>
                <a:gd name="connsiteY1386" fmla="*/ 243364 h 514350"/>
                <a:gd name="connsiteX1387" fmla="*/ 3603784 w 6400800"/>
                <a:gd name="connsiteY1387" fmla="*/ 251936 h 514350"/>
                <a:gd name="connsiteX1388" fmla="*/ 3613309 w 6400800"/>
                <a:gd name="connsiteY1388" fmla="*/ 225266 h 514350"/>
                <a:gd name="connsiteX1389" fmla="*/ 3619024 w 6400800"/>
                <a:gd name="connsiteY1389" fmla="*/ 208121 h 514350"/>
                <a:gd name="connsiteX1390" fmla="*/ 3624739 w 6400800"/>
                <a:gd name="connsiteY1390" fmla="*/ 192881 h 514350"/>
                <a:gd name="connsiteX1391" fmla="*/ 3634264 w 6400800"/>
                <a:gd name="connsiteY1391" fmla="*/ 168116 h 514350"/>
                <a:gd name="connsiteX1392" fmla="*/ 3642836 w 6400800"/>
                <a:gd name="connsiteY1392" fmla="*/ 146209 h 514350"/>
                <a:gd name="connsiteX1393" fmla="*/ 3631406 w 6400800"/>
                <a:gd name="connsiteY1393" fmla="*/ 166211 h 514350"/>
                <a:gd name="connsiteX1394" fmla="*/ 3618071 w 6400800"/>
                <a:gd name="connsiteY1394" fmla="*/ 189071 h 514350"/>
                <a:gd name="connsiteX1395" fmla="*/ 3610451 w 6400800"/>
                <a:gd name="connsiteY1395" fmla="*/ 203359 h 514350"/>
                <a:gd name="connsiteX1396" fmla="*/ 3602831 w 6400800"/>
                <a:gd name="connsiteY1396" fmla="*/ 219551 h 514350"/>
                <a:gd name="connsiteX1397" fmla="*/ 3588544 w 6400800"/>
                <a:gd name="connsiteY1397" fmla="*/ 250031 h 514350"/>
                <a:gd name="connsiteX1398" fmla="*/ 3588544 w 6400800"/>
                <a:gd name="connsiteY1398" fmla="*/ 242411 h 514350"/>
                <a:gd name="connsiteX1399" fmla="*/ 3585686 w 6400800"/>
                <a:gd name="connsiteY1399" fmla="*/ 256699 h 514350"/>
                <a:gd name="connsiteX1400" fmla="*/ 3585686 w 6400800"/>
                <a:gd name="connsiteY1400" fmla="*/ 257651 h 514350"/>
                <a:gd name="connsiteX1401" fmla="*/ 3579971 w 6400800"/>
                <a:gd name="connsiteY1401" fmla="*/ 270986 h 514350"/>
                <a:gd name="connsiteX1402" fmla="*/ 3573304 w 6400800"/>
                <a:gd name="connsiteY1402" fmla="*/ 282416 h 514350"/>
                <a:gd name="connsiteX1403" fmla="*/ 3568541 w 6400800"/>
                <a:gd name="connsiteY1403" fmla="*/ 263366 h 514350"/>
                <a:gd name="connsiteX1404" fmla="*/ 3564731 w 6400800"/>
                <a:gd name="connsiteY1404" fmla="*/ 248126 h 514350"/>
                <a:gd name="connsiteX1405" fmla="*/ 3564731 w 6400800"/>
                <a:gd name="connsiteY1405" fmla="*/ 248126 h 514350"/>
                <a:gd name="connsiteX1406" fmla="*/ 3562826 w 6400800"/>
                <a:gd name="connsiteY1406" fmla="*/ 237649 h 514350"/>
                <a:gd name="connsiteX1407" fmla="*/ 3561874 w 6400800"/>
                <a:gd name="connsiteY1407" fmla="*/ 233839 h 514350"/>
                <a:gd name="connsiteX1408" fmla="*/ 3566636 w 6400800"/>
                <a:gd name="connsiteY1408" fmla="*/ 227171 h 514350"/>
                <a:gd name="connsiteX1409" fmla="*/ 3561874 w 6400800"/>
                <a:gd name="connsiteY1409" fmla="*/ 230981 h 514350"/>
                <a:gd name="connsiteX1410" fmla="*/ 3559016 w 6400800"/>
                <a:gd name="connsiteY1410" fmla="*/ 218599 h 514350"/>
                <a:gd name="connsiteX1411" fmla="*/ 3559016 w 6400800"/>
                <a:gd name="connsiteY1411" fmla="*/ 231934 h 514350"/>
                <a:gd name="connsiteX1412" fmla="*/ 3554254 w 6400800"/>
                <a:gd name="connsiteY1412" fmla="*/ 220504 h 514350"/>
                <a:gd name="connsiteX1413" fmla="*/ 3569494 w 6400800"/>
                <a:gd name="connsiteY1413" fmla="*/ 197644 h 514350"/>
                <a:gd name="connsiteX1414" fmla="*/ 3585686 w 6400800"/>
                <a:gd name="connsiteY1414" fmla="*/ 174784 h 514350"/>
                <a:gd name="connsiteX1415" fmla="*/ 3600926 w 6400800"/>
                <a:gd name="connsiteY1415" fmla="*/ 154781 h 514350"/>
                <a:gd name="connsiteX1416" fmla="*/ 3582829 w 6400800"/>
                <a:gd name="connsiteY1416" fmla="*/ 171926 h 514350"/>
                <a:gd name="connsiteX1417" fmla="*/ 3562826 w 6400800"/>
                <a:gd name="connsiteY1417" fmla="*/ 192881 h 514350"/>
                <a:gd name="connsiteX1418" fmla="*/ 3549491 w 6400800"/>
                <a:gd name="connsiteY1418" fmla="*/ 209074 h 514350"/>
                <a:gd name="connsiteX1419" fmla="*/ 3542824 w 6400800"/>
                <a:gd name="connsiteY1419" fmla="*/ 193834 h 514350"/>
                <a:gd name="connsiteX1420" fmla="*/ 3546634 w 6400800"/>
                <a:gd name="connsiteY1420" fmla="*/ 212884 h 514350"/>
                <a:gd name="connsiteX1421" fmla="*/ 3539966 w 6400800"/>
                <a:gd name="connsiteY1421" fmla="*/ 222409 h 514350"/>
                <a:gd name="connsiteX1422" fmla="*/ 3539014 w 6400800"/>
                <a:gd name="connsiteY1422" fmla="*/ 223361 h 514350"/>
                <a:gd name="connsiteX1423" fmla="*/ 3539014 w 6400800"/>
                <a:gd name="connsiteY1423" fmla="*/ 210979 h 514350"/>
                <a:gd name="connsiteX1424" fmla="*/ 3539014 w 6400800"/>
                <a:gd name="connsiteY1424" fmla="*/ 184309 h 514350"/>
                <a:gd name="connsiteX1425" fmla="*/ 3539014 w 6400800"/>
                <a:gd name="connsiteY1425" fmla="*/ 173831 h 514350"/>
                <a:gd name="connsiteX1426" fmla="*/ 3540919 w 6400800"/>
                <a:gd name="connsiteY1426" fmla="*/ 170021 h 514350"/>
                <a:gd name="connsiteX1427" fmla="*/ 3539014 w 6400800"/>
                <a:gd name="connsiteY1427" fmla="*/ 172879 h 514350"/>
                <a:gd name="connsiteX1428" fmla="*/ 3539014 w 6400800"/>
                <a:gd name="connsiteY1428" fmla="*/ 162401 h 514350"/>
                <a:gd name="connsiteX1429" fmla="*/ 3537109 w 6400800"/>
                <a:gd name="connsiteY1429" fmla="*/ 176689 h 514350"/>
                <a:gd name="connsiteX1430" fmla="*/ 3527584 w 6400800"/>
                <a:gd name="connsiteY1430" fmla="*/ 190976 h 514350"/>
                <a:gd name="connsiteX1431" fmla="*/ 3511391 w 6400800"/>
                <a:gd name="connsiteY1431" fmla="*/ 214789 h 514350"/>
                <a:gd name="connsiteX1432" fmla="*/ 3510439 w 6400800"/>
                <a:gd name="connsiteY1432" fmla="*/ 215741 h 514350"/>
                <a:gd name="connsiteX1433" fmla="*/ 3508534 w 6400800"/>
                <a:gd name="connsiteY1433" fmla="*/ 201454 h 514350"/>
                <a:gd name="connsiteX1434" fmla="*/ 3505676 w 6400800"/>
                <a:gd name="connsiteY1434" fmla="*/ 180499 h 514350"/>
                <a:gd name="connsiteX1435" fmla="*/ 3504724 w 6400800"/>
                <a:gd name="connsiteY1435" fmla="*/ 202406 h 514350"/>
                <a:gd name="connsiteX1436" fmla="*/ 3503771 w 6400800"/>
                <a:gd name="connsiteY1436" fmla="*/ 226219 h 514350"/>
                <a:gd name="connsiteX1437" fmla="*/ 3500914 w 6400800"/>
                <a:gd name="connsiteY1437" fmla="*/ 230981 h 514350"/>
                <a:gd name="connsiteX1438" fmla="*/ 3491389 w 6400800"/>
                <a:gd name="connsiteY1438" fmla="*/ 247174 h 514350"/>
                <a:gd name="connsiteX1439" fmla="*/ 3483769 w 6400800"/>
                <a:gd name="connsiteY1439" fmla="*/ 230029 h 514350"/>
                <a:gd name="connsiteX1440" fmla="*/ 3469481 w 6400800"/>
                <a:gd name="connsiteY1440" fmla="*/ 200501 h 514350"/>
                <a:gd name="connsiteX1441" fmla="*/ 3471386 w 6400800"/>
                <a:gd name="connsiteY1441" fmla="*/ 190976 h 514350"/>
                <a:gd name="connsiteX1442" fmla="*/ 3477101 w 6400800"/>
                <a:gd name="connsiteY1442" fmla="*/ 167164 h 514350"/>
                <a:gd name="connsiteX1443" fmla="*/ 3482816 w 6400800"/>
                <a:gd name="connsiteY1443" fmla="*/ 146209 h 514350"/>
                <a:gd name="connsiteX1444" fmla="*/ 3492341 w 6400800"/>
                <a:gd name="connsiteY1444" fmla="*/ 111919 h 514350"/>
                <a:gd name="connsiteX1445" fmla="*/ 3499961 w 6400800"/>
                <a:gd name="connsiteY1445" fmla="*/ 82391 h 514350"/>
                <a:gd name="connsiteX1446" fmla="*/ 3488531 w 6400800"/>
                <a:gd name="connsiteY1446" fmla="*/ 110966 h 514350"/>
                <a:gd name="connsiteX1447" fmla="*/ 3476149 w 6400800"/>
                <a:gd name="connsiteY1447" fmla="*/ 144304 h 514350"/>
                <a:gd name="connsiteX1448" fmla="*/ 3468529 w 6400800"/>
                <a:gd name="connsiteY1448" fmla="*/ 164306 h 514350"/>
                <a:gd name="connsiteX1449" fmla="*/ 3461861 w 6400800"/>
                <a:gd name="connsiteY1449" fmla="*/ 185261 h 514350"/>
                <a:gd name="connsiteX1450" fmla="*/ 3452336 w 6400800"/>
                <a:gd name="connsiteY1450" fmla="*/ 168116 h 514350"/>
                <a:gd name="connsiteX1451" fmla="*/ 3460909 w 6400800"/>
                <a:gd name="connsiteY1451" fmla="*/ 189071 h 514350"/>
                <a:gd name="connsiteX1452" fmla="*/ 3450431 w 6400800"/>
                <a:gd name="connsiteY1452" fmla="*/ 225266 h 514350"/>
                <a:gd name="connsiteX1453" fmla="*/ 3441859 w 6400800"/>
                <a:gd name="connsiteY1453" fmla="*/ 210026 h 514350"/>
                <a:gd name="connsiteX1454" fmla="*/ 3442811 w 6400800"/>
                <a:gd name="connsiteY1454" fmla="*/ 208121 h 514350"/>
                <a:gd name="connsiteX1455" fmla="*/ 3445669 w 6400800"/>
                <a:gd name="connsiteY1455" fmla="*/ 190976 h 514350"/>
                <a:gd name="connsiteX1456" fmla="*/ 3439001 w 6400800"/>
                <a:gd name="connsiteY1456" fmla="*/ 205264 h 514350"/>
                <a:gd name="connsiteX1457" fmla="*/ 3439001 w 6400800"/>
                <a:gd name="connsiteY1457" fmla="*/ 205264 h 514350"/>
                <a:gd name="connsiteX1458" fmla="*/ 3438049 w 6400800"/>
                <a:gd name="connsiteY1458" fmla="*/ 165259 h 514350"/>
                <a:gd name="connsiteX1459" fmla="*/ 3437096 w 6400800"/>
                <a:gd name="connsiteY1459" fmla="*/ 135731 h 514350"/>
                <a:gd name="connsiteX1460" fmla="*/ 3435191 w 6400800"/>
                <a:gd name="connsiteY1460" fmla="*/ 112871 h 514350"/>
                <a:gd name="connsiteX1461" fmla="*/ 3433286 w 6400800"/>
                <a:gd name="connsiteY1461" fmla="*/ 92869 h 514350"/>
                <a:gd name="connsiteX1462" fmla="*/ 3431381 w 6400800"/>
                <a:gd name="connsiteY1462" fmla="*/ 112871 h 514350"/>
                <a:gd name="connsiteX1463" fmla="*/ 3428524 w 6400800"/>
                <a:gd name="connsiteY1463" fmla="*/ 149066 h 514350"/>
                <a:gd name="connsiteX1464" fmla="*/ 3428524 w 6400800"/>
                <a:gd name="connsiteY1464" fmla="*/ 150019 h 514350"/>
                <a:gd name="connsiteX1465" fmla="*/ 3426619 w 6400800"/>
                <a:gd name="connsiteY1465" fmla="*/ 131921 h 514350"/>
                <a:gd name="connsiteX1466" fmla="*/ 3423761 w 6400800"/>
                <a:gd name="connsiteY1466" fmla="*/ 113824 h 514350"/>
                <a:gd name="connsiteX1467" fmla="*/ 3422809 w 6400800"/>
                <a:gd name="connsiteY1467" fmla="*/ 131921 h 514350"/>
                <a:gd name="connsiteX1468" fmla="*/ 3420904 w 6400800"/>
                <a:gd name="connsiteY1468" fmla="*/ 174784 h 514350"/>
                <a:gd name="connsiteX1469" fmla="*/ 3412331 w 6400800"/>
                <a:gd name="connsiteY1469" fmla="*/ 162401 h 514350"/>
                <a:gd name="connsiteX1470" fmla="*/ 3398044 w 6400800"/>
                <a:gd name="connsiteY1470" fmla="*/ 141446 h 514350"/>
                <a:gd name="connsiteX1471" fmla="*/ 3401854 w 6400800"/>
                <a:gd name="connsiteY1471" fmla="*/ 123349 h 514350"/>
                <a:gd name="connsiteX1472" fmla="*/ 3396139 w 6400800"/>
                <a:gd name="connsiteY1472" fmla="*/ 139541 h 514350"/>
                <a:gd name="connsiteX1473" fmla="*/ 3391376 w 6400800"/>
                <a:gd name="connsiteY1473" fmla="*/ 132874 h 514350"/>
                <a:gd name="connsiteX1474" fmla="*/ 3395186 w 6400800"/>
                <a:gd name="connsiteY1474" fmla="*/ 139541 h 514350"/>
                <a:gd name="connsiteX1475" fmla="*/ 3395186 w 6400800"/>
                <a:gd name="connsiteY1475" fmla="*/ 141446 h 514350"/>
                <a:gd name="connsiteX1476" fmla="*/ 3382804 w 6400800"/>
                <a:gd name="connsiteY1476" fmla="*/ 177641 h 514350"/>
                <a:gd name="connsiteX1477" fmla="*/ 3382804 w 6400800"/>
                <a:gd name="connsiteY1477" fmla="*/ 172879 h 514350"/>
                <a:gd name="connsiteX1478" fmla="*/ 3381851 w 6400800"/>
                <a:gd name="connsiteY1478" fmla="*/ 150971 h 514350"/>
                <a:gd name="connsiteX1479" fmla="*/ 3378994 w 6400800"/>
                <a:gd name="connsiteY1479" fmla="*/ 172879 h 514350"/>
                <a:gd name="connsiteX1480" fmla="*/ 3376136 w 6400800"/>
                <a:gd name="connsiteY1480" fmla="*/ 197644 h 514350"/>
                <a:gd name="connsiteX1481" fmla="*/ 3365659 w 6400800"/>
                <a:gd name="connsiteY1481" fmla="*/ 234791 h 514350"/>
                <a:gd name="connsiteX1482" fmla="*/ 3358991 w 6400800"/>
                <a:gd name="connsiteY1482" fmla="*/ 253841 h 514350"/>
                <a:gd name="connsiteX1483" fmla="*/ 3358039 w 6400800"/>
                <a:gd name="connsiteY1483" fmla="*/ 257651 h 514350"/>
                <a:gd name="connsiteX1484" fmla="*/ 3351371 w 6400800"/>
                <a:gd name="connsiteY1484" fmla="*/ 239554 h 514350"/>
                <a:gd name="connsiteX1485" fmla="*/ 3351371 w 6400800"/>
                <a:gd name="connsiteY1485" fmla="*/ 237649 h 514350"/>
                <a:gd name="connsiteX1486" fmla="*/ 3351371 w 6400800"/>
                <a:gd name="connsiteY1486" fmla="*/ 238601 h 514350"/>
                <a:gd name="connsiteX1487" fmla="*/ 3344704 w 6400800"/>
                <a:gd name="connsiteY1487" fmla="*/ 221456 h 514350"/>
                <a:gd name="connsiteX1488" fmla="*/ 3349466 w 6400800"/>
                <a:gd name="connsiteY1488" fmla="*/ 248126 h 514350"/>
                <a:gd name="connsiteX1489" fmla="*/ 3347561 w 6400800"/>
                <a:gd name="connsiteY1489" fmla="*/ 265271 h 514350"/>
                <a:gd name="connsiteX1490" fmla="*/ 3345656 w 6400800"/>
                <a:gd name="connsiteY1490" fmla="*/ 283369 h 514350"/>
                <a:gd name="connsiteX1491" fmla="*/ 3343751 w 6400800"/>
                <a:gd name="connsiteY1491" fmla="*/ 287179 h 514350"/>
                <a:gd name="connsiteX1492" fmla="*/ 3339941 w 6400800"/>
                <a:gd name="connsiteY1492" fmla="*/ 274796 h 514350"/>
                <a:gd name="connsiteX1493" fmla="*/ 3325654 w 6400800"/>
                <a:gd name="connsiteY1493" fmla="*/ 231934 h 514350"/>
                <a:gd name="connsiteX1494" fmla="*/ 3328511 w 6400800"/>
                <a:gd name="connsiteY1494" fmla="*/ 216694 h 514350"/>
                <a:gd name="connsiteX1495" fmla="*/ 3338036 w 6400800"/>
                <a:gd name="connsiteY1495" fmla="*/ 170974 h 514350"/>
                <a:gd name="connsiteX1496" fmla="*/ 3346609 w 6400800"/>
                <a:gd name="connsiteY1496" fmla="*/ 136684 h 514350"/>
                <a:gd name="connsiteX1497" fmla="*/ 3355181 w 6400800"/>
                <a:gd name="connsiteY1497" fmla="*/ 106204 h 514350"/>
                <a:gd name="connsiteX1498" fmla="*/ 3342799 w 6400800"/>
                <a:gd name="connsiteY1498" fmla="*/ 134779 h 514350"/>
                <a:gd name="connsiteX1499" fmla="*/ 3330416 w 6400800"/>
                <a:gd name="connsiteY1499" fmla="*/ 169069 h 514350"/>
                <a:gd name="connsiteX1500" fmla="*/ 3318986 w 6400800"/>
                <a:gd name="connsiteY1500" fmla="*/ 208121 h 514350"/>
                <a:gd name="connsiteX1501" fmla="*/ 3318986 w 6400800"/>
                <a:gd name="connsiteY1501" fmla="*/ 203359 h 514350"/>
                <a:gd name="connsiteX1502" fmla="*/ 3320891 w 6400800"/>
                <a:gd name="connsiteY1502" fmla="*/ 195739 h 514350"/>
                <a:gd name="connsiteX1503" fmla="*/ 3327559 w 6400800"/>
                <a:gd name="connsiteY1503" fmla="*/ 170021 h 514350"/>
                <a:gd name="connsiteX1504" fmla="*/ 3332321 w 6400800"/>
                <a:gd name="connsiteY1504" fmla="*/ 147161 h 514350"/>
                <a:gd name="connsiteX1505" fmla="*/ 3323749 w 6400800"/>
                <a:gd name="connsiteY1505" fmla="*/ 169069 h 514350"/>
                <a:gd name="connsiteX1506" fmla="*/ 3322796 w 6400800"/>
                <a:gd name="connsiteY1506" fmla="*/ 171926 h 514350"/>
                <a:gd name="connsiteX1507" fmla="*/ 3323749 w 6400800"/>
                <a:gd name="connsiteY1507" fmla="*/ 165259 h 514350"/>
                <a:gd name="connsiteX1508" fmla="*/ 3328511 w 6400800"/>
                <a:gd name="connsiteY1508" fmla="*/ 147161 h 514350"/>
                <a:gd name="connsiteX1509" fmla="*/ 3336131 w 6400800"/>
                <a:gd name="connsiteY1509" fmla="*/ 116681 h 514350"/>
                <a:gd name="connsiteX1510" fmla="*/ 3341846 w 6400800"/>
                <a:gd name="connsiteY1510" fmla="*/ 90011 h 514350"/>
                <a:gd name="connsiteX1511" fmla="*/ 3332321 w 6400800"/>
                <a:gd name="connsiteY1511" fmla="*/ 114776 h 514350"/>
                <a:gd name="connsiteX1512" fmla="*/ 3321844 w 6400800"/>
                <a:gd name="connsiteY1512" fmla="*/ 143351 h 514350"/>
                <a:gd name="connsiteX1513" fmla="*/ 3315176 w 6400800"/>
                <a:gd name="connsiteY1513" fmla="*/ 161449 h 514350"/>
                <a:gd name="connsiteX1514" fmla="*/ 3308509 w 6400800"/>
                <a:gd name="connsiteY1514" fmla="*/ 181451 h 514350"/>
                <a:gd name="connsiteX1515" fmla="*/ 3308509 w 6400800"/>
                <a:gd name="connsiteY1515" fmla="*/ 181451 h 514350"/>
                <a:gd name="connsiteX1516" fmla="*/ 3306604 w 6400800"/>
                <a:gd name="connsiteY1516" fmla="*/ 176689 h 514350"/>
                <a:gd name="connsiteX1517" fmla="*/ 3292316 w 6400800"/>
                <a:gd name="connsiteY1517" fmla="*/ 140494 h 514350"/>
                <a:gd name="connsiteX1518" fmla="*/ 3305651 w 6400800"/>
                <a:gd name="connsiteY1518" fmla="*/ 189071 h 514350"/>
                <a:gd name="connsiteX1519" fmla="*/ 3294221 w 6400800"/>
                <a:gd name="connsiteY1519" fmla="*/ 227171 h 514350"/>
                <a:gd name="connsiteX1520" fmla="*/ 3293269 w 6400800"/>
                <a:gd name="connsiteY1520" fmla="*/ 230981 h 514350"/>
                <a:gd name="connsiteX1521" fmla="*/ 3292316 w 6400800"/>
                <a:gd name="connsiteY1521" fmla="*/ 229076 h 514350"/>
                <a:gd name="connsiteX1522" fmla="*/ 3277076 w 6400800"/>
                <a:gd name="connsiteY1522" fmla="*/ 197644 h 514350"/>
                <a:gd name="connsiteX1523" fmla="*/ 3291364 w 6400800"/>
                <a:gd name="connsiteY1523" fmla="*/ 237649 h 514350"/>
                <a:gd name="connsiteX1524" fmla="*/ 3285649 w 6400800"/>
                <a:gd name="connsiteY1524" fmla="*/ 257651 h 514350"/>
                <a:gd name="connsiteX1525" fmla="*/ 3277076 w 6400800"/>
                <a:gd name="connsiteY1525" fmla="*/ 246221 h 514350"/>
                <a:gd name="connsiteX1526" fmla="*/ 3274219 w 6400800"/>
                <a:gd name="connsiteY1526" fmla="*/ 242411 h 514350"/>
                <a:gd name="connsiteX1527" fmla="*/ 3277076 w 6400800"/>
                <a:gd name="connsiteY1527" fmla="*/ 199549 h 514350"/>
                <a:gd name="connsiteX1528" fmla="*/ 3272314 w 6400800"/>
                <a:gd name="connsiteY1528" fmla="*/ 217646 h 514350"/>
                <a:gd name="connsiteX1529" fmla="*/ 3268504 w 6400800"/>
                <a:gd name="connsiteY1529" fmla="*/ 234791 h 514350"/>
                <a:gd name="connsiteX1530" fmla="*/ 3258979 w 6400800"/>
                <a:gd name="connsiteY1530" fmla="*/ 223361 h 514350"/>
                <a:gd name="connsiteX1531" fmla="*/ 3241834 w 6400800"/>
                <a:gd name="connsiteY1531" fmla="*/ 203359 h 514350"/>
                <a:gd name="connsiteX1532" fmla="*/ 3256121 w 6400800"/>
                <a:gd name="connsiteY1532" fmla="*/ 226219 h 514350"/>
                <a:gd name="connsiteX1533" fmla="*/ 3266599 w 6400800"/>
                <a:gd name="connsiteY1533" fmla="*/ 243364 h 514350"/>
                <a:gd name="connsiteX1534" fmla="*/ 3260884 w 6400800"/>
                <a:gd name="connsiteY1534" fmla="*/ 265271 h 514350"/>
                <a:gd name="connsiteX1535" fmla="*/ 3256121 w 6400800"/>
                <a:gd name="connsiteY1535" fmla="*/ 288131 h 514350"/>
                <a:gd name="connsiteX1536" fmla="*/ 3256121 w 6400800"/>
                <a:gd name="connsiteY1536" fmla="*/ 287179 h 514350"/>
                <a:gd name="connsiteX1537" fmla="*/ 3256121 w 6400800"/>
                <a:gd name="connsiteY1537" fmla="*/ 289084 h 514350"/>
                <a:gd name="connsiteX1538" fmla="*/ 3255169 w 6400800"/>
                <a:gd name="connsiteY1538" fmla="*/ 293846 h 514350"/>
                <a:gd name="connsiteX1539" fmla="*/ 3253264 w 6400800"/>
                <a:gd name="connsiteY1539" fmla="*/ 290036 h 514350"/>
                <a:gd name="connsiteX1540" fmla="*/ 3254216 w 6400800"/>
                <a:gd name="connsiteY1540" fmla="*/ 280511 h 514350"/>
                <a:gd name="connsiteX1541" fmla="*/ 3252311 w 6400800"/>
                <a:gd name="connsiteY1541" fmla="*/ 287179 h 514350"/>
                <a:gd name="connsiteX1542" fmla="*/ 3246596 w 6400800"/>
                <a:gd name="connsiteY1542" fmla="*/ 276701 h 514350"/>
                <a:gd name="connsiteX1543" fmla="*/ 3251359 w 6400800"/>
                <a:gd name="connsiteY1543" fmla="*/ 290989 h 514350"/>
                <a:gd name="connsiteX1544" fmla="*/ 3249454 w 6400800"/>
                <a:gd name="connsiteY1544" fmla="*/ 298609 h 514350"/>
                <a:gd name="connsiteX1545" fmla="*/ 3247549 w 6400800"/>
                <a:gd name="connsiteY1545" fmla="*/ 304324 h 514350"/>
                <a:gd name="connsiteX1546" fmla="*/ 3246596 w 6400800"/>
                <a:gd name="connsiteY1546" fmla="*/ 301466 h 514350"/>
                <a:gd name="connsiteX1547" fmla="*/ 3246596 w 6400800"/>
                <a:gd name="connsiteY1547" fmla="*/ 306229 h 514350"/>
                <a:gd name="connsiteX1548" fmla="*/ 3243739 w 6400800"/>
                <a:gd name="connsiteY1548" fmla="*/ 317659 h 514350"/>
                <a:gd name="connsiteX1549" fmla="*/ 3239929 w 6400800"/>
                <a:gd name="connsiteY1549" fmla="*/ 304324 h 514350"/>
                <a:gd name="connsiteX1550" fmla="*/ 3242786 w 6400800"/>
                <a:gd name="connsiteY1550" fmla="*/ 296704 h 514350"/>
                <a:gd name="connsiteX1551" fmla="*/ 3238976 w 6400800"/>
                <a:gd name="connsiteY1551" fmla="*/ 302419 h 514350"/>
                <a:gd name="connsiteX1552" fmla="*/ 3236119 w 6400800"/>
                <a:gd name="connsiteY1552" fmla="*/ 293846 h 514350"/>
                <a:gd name="connsiteX1553" fmla="*/ 3235166 w 6400800"/>
                <a:gd name="connsiteY1553" fmla="*/ 290036 h 514350"/>
                <a:gd name="connsiteX1554" fmla="*/ 3241834 w 6400800"/>
                <a:gd name="connsiteY1554" fmla="*/ 273844 h 514350"/>
                <a:gd name="connsiteX1555" fmla="*/ 3249454 w 6400800"/>
                <a:gd name="connsiteY1555" fmla="*/ 256699 h 514350"/>
                <a:gd name="connsiteX1556" fmla="*/ 3256121 w 6400800"/>
                <a:gd name="connsiteY1556" fmla="*/ 242411 h 514350"/>
                <a:gd name="connsiteX1557" fmla="*/ 3245644 w 6400800"/>
                <a:gd name="connsiteY1557" fmla="*/ 254794 h 514350"/>
                <a:gd name="connsiteX1558" fmla="*/ 3235166 w 6400800"/>
                <a:gd name="connsiteY1558" fmla="*/ 270034 h 514350"/>
                <a:gd name="connsiteX1559" fmla="*/ 3230404 w 6400800"/>
                <a:gd name="connsiteY1559" fmla="*/ 276701 h 514350"/>
                <a:gd name="connsiteX1560" fmla="*/ 3229451 w 6400800"/>
                <a:gd name="connsiteY1560" fmla="*/ 272891 h 514350"/>
                <a:gd name="connsiteX1561" fmla="*/ 3222784 w 6400800"/>
                <a:gd name="connsiteY1561" fmla="*/ 253841 h 514350"/>
                <a:gd name="connsiteX1562" fmla="*/ 3218021 w 6400800"/>
                <a:gd name="connsiteY1562" fmla="*/ 241459 h 514350"/>
                <a:gd name="connsiteX1563" fmla="*/ 3218021 w 6400800"/>
                <a:gd name="connsiteY1563" fmla="*/ 236696 h 514350"/>
                <a:gd name="connsiteX1564" fmla="*/ 3222784 w 6400800"/>
                <a:gd name="connsiteY1564" fmla="*/ 206216 h 514350"/>
                <a:gd name="connsiteX1565" fmla="*/ 3229451 w 6400800"/>
                <a:gd name="connsiteY1565" fmla="*/ 166211 h 514350"/>
                <a:gd name="connsiteX1566" fmla="*/ 3235166 w 6400800"/>
                <a:gd name="connsiteY1566" fmla="*/ 135731 h 514350"/>
                <a:gd name="connsiteX1567" fmla="*/ 3239929 w 6400800"/>
                <a:gd name="connsiteY1567" fmla="*/ 109061 h 514350"/>
                <a:gd name="connsiteX1568" fmla="*/ 3231356 w 6400800"/>
                <a:gd name="connsiteY1568" fmla="*/ 134779 h 514350"/>
                <a:gd name="connsiteX1569" fmla="*/ 3212306 w 6400800"/>
                <a:gd name="connsiteY1569" fmla="*/ 204311 h 514350"/>
                <a:gd name="connsiteX1570" fmla="*/ 3209449 w 6400800"/>
                <a:gd name="connsiteY1570" fmla="*/ 215741 h 514350"/>
                <a:gd name="connsiteX1571" fmla="*/ 3204686 w 6400800"/>
                <a:gd name="connsiteY1571" fmla="*/ 204311 h 514350"/>
                <a:gd name="connsiteX1572" fmla="*/ 3203734 w 6400800"/>
                <a:gd name="connsiteY1572" fmla="*/ 175736 h 514350"/>
                <a:gd name="connsiteX1573" fmla="*/ 3200876 w 6400800"/>
                <a:gd name="connsiteY1573" fmla="*/ 206216 h 514350"/>
                <a:gd name="connsiteX1574" fmla="*/ 3196114 w 6400800"/>
                <a:gd name="connsiteY1574" fmla="*/ 240506 h 514350"/>
                <a:gd name="connsiteX1575" fmla="*/ 3195161 w 6400800"/>
                <a:gd name="connsiteY1575" fmla="*/ 243364 h 514350"/>
                <a:gd name="connsiteX1576" fmla="*/ 3196114 w 6400800"/>
                <a:gd name="connsiteY1576" fmla="*/ 217646 h 514350"/>
                <a:gd name="connsiteX1577" fmla="*/ 3198019 w 6400800"/>
                <a:gd name="connsiteY1577" fmla="*/ 180499 h 514350"/>
                <a:gd name="connsiteX1578" fmla="*/ 3199924 w 6400800"/>
                <a:gd name="connsiteY1578" fmla="*/ 151924 h 514350"/>
                <a:gd name="connsiteX1579" fmla="*/ 3200876 w 6400800"/>
                <a:gd name="connsiteY1579" fmla="*/ 127159 h 514350"/>
                <a:gd name="connsiteX1580" fmla="*/ 3195161 w 6400800"/>
                <a:gd name="connsiteY1580" fmla="*/ 151924 h 514350"/>
                <a:gd name="connsiteX1581" fmla="*/ 3184684 w 6400800"/>
                <a:gd name="connsiteY1581" fmla="*/ 217646 h 514350"/>
                <a:gd name="connsiteX1582" fmla="*/ 3181826 w 6400800"/>
                <a:gd name="connsiteY1582" fmla="*/ 235744 h 514350"/>
                <a:gd name="connsiteX1583" fmla="*/ 3179921 w 6400800"/>
                <a:gd name="connsiteY1583" fmla="*/ 231934 h 514350"/>
                <a:gd name="connsiteX1584" fmla="*/ 3179921 w 6400800"/>
                <a:gd name="connsiteY1584" fmla="*/ 224314 h 514350"/>
                <a:gd name="connsiteX1585" fmla="*/ 3178969 w 6400800"/>
                <a:gd name="connsiteY1585" fmla="*/ 230029 h 514350"/>
                <a:gd name="connsiteX1586" fmla="*/ 3177064 w 6400800"/>
                <a:gd name="connsiteY1586" fmla="*/ 227171 h 514350"/>
                <a:gd name="connsiteX1587" fmla="*/ 3178016 w 6400800"/>
                <a:gd name="connsiteY1587" fmla="*/ 231934 h 514350"/>
                <a:gd name="connsiteX1588" fmla="*/ 3174206 w 6400800"/>
                <a:gd name="connsiteY1588" fmla="*/ 250984 h 514350"/>
                <a:gd name="connsiteX1589" fmla="*/ 3170396 w 6400800"/>
                <a:gd name="connsiteY1589" fmla="*/ 277654 h 514350"/>
                <a:gd name="connsiteX1590" fmla="*/ 3169444 w 6400800"/>
                <a:gd name="connsiteY1590" fmla="*/ 275749 h 514350"/>
                <a:gd name="connsiteX1591" fmla="*/ 3163729 w 6400800"/>
                <a:gd name="connsiteY1591" fmla="*/ 215741 h 514350"/>
                <a:gd name="connsiteX1592" fmla="*/ 3162776 w 6400800"/>
                <a:gd name="connsiteY1592" fmla="*/ 207169 h 514350"/>
                <a:gd name="connsiteX1593" fmla="*/ 3163729 w 6400800"/>
                <a:gd name="connsiteY1593" fmla="*/ 203359 h 514350"/>
                <a:gd name="connsiteX1594" fmla="*/ 3174206 w 6400800"/>
                <a:gd name="connsiteY1594" fmla="*/ 132874 h 514350"/>
                <a:gd name="connsiteX1595" fmla="*/ 3178016 w 6400800"/>
                <a:gd name="connsiteY1595" fmla="*/ 106204 h 514350"/>
                <a:gd name="connsiteX1596" fmla="*/ 3170396 w 6400800"/>
                <a:gd name="connsiteY1596" fmla="*/ 131921 h 514350"/>
                <a:gd name="connsiteX1597" fmla="*/ 3158014 w 6400800"/>
                <a:gd name="connsiteY1597" fmla="*/ 177641 h 514350"/>
                <a:gd name="connsiteX1598" fmla="*/ 3154204 w 6400800"/>
                <a:gd name="connsiteY1598" fmla="*/ 159544 h 514350"/>
                <a:gd name="connsiteX1599" fmla="*/ 3149441 w 6400800"/>
                <a:gd name="connsiteY1599" fmla="*/ 134779 h 514350"/>
                <a:gd name="connsiteX1600" fmla="*/ 3143726 w 6400800"/>
                <a:gd name="connsiteY1600" fmla="*/ 112871 h 514350"/>
                <a:gd name="connsiteX1601" fmla="*/ 3133249 w 6400800"/>
                <a:gd name="connsiteY1601" fmla="*/ 77629 h 514350"/>
                <a:gd name="connsiteX1602" fmla="*/ 3122771 w 6400800"/>
                <a:gd name="connsiteY1602" fmla="*/ 47149 h 514350"/>
                <a:gd name="connsiteX1603" fmla="*/ 3129439 w 6400800"/>
                <a:gd name="connsiteY1603" fmla="*/ 78581 h 514350"/>
                <a:gd name="connsiteX1604" fmla="*/ 3136106 w 6400800"/>
                <a:gd name="connsiteY1604" fmla="*/ 114776 h 514350"/>
                <a:gd name="connsiteX1605" fmla="*/ 3139916 w 6400800"/>
                <a:gd name="connsiteY1605" fmla="*/ 136684 h 514350"/>
                <a:gd name="connsiteX1606" fmla="*/ 3142774 w 6400800"/>
                <a:gd name="connsiteY1606" fmla="*/ 161449 h 514350"/>
                <a:gd name="connsiteX1607" fmla="*/ 3147536 w 6400800"/>
                <a:gd name="connsiteY1607" fmla="*/ 213836 h 514350"/>
                <a:gd name="connsiteX1608" fmla="*/ 3146584 w 6400800"/>
                <a:gd name="connsiteY1608" fmla="*/ 217646 h 514350"/>
                <a:gd name="connsiteX1609" fmla="*/ 3143726 w 6400800"/>
                <a:gd name="connsiteY1609" fmla="*/ 210026 h 514350"/>
                <a:gd name="connsiteX1610" fmla="*/ 3138964 w 6400800"/>
                <a:gd name="connsiteY1610" fmla="*/ 196691 h 514350"/>
                <a:gd name="connsiteX1611" fmla="*/ 3134201 w 6400800"/>
                <a:gd name="connsiteY1611" fmla="*/ 179546 h 514350"/>
                <a:gd name="connsiteX1612" fmla="*/ 3126581 w 6400800"/>
                <a:gd name="connsiteY1612" fmla="*/ 155734 h 514350"/>
                <a:gd name="connsiteX1613" fmla="*/ 3129439 w 6400800"/>
                <a:gd name="connsiteY1613" fmla="*/ 172879 h 514350"/>
                <a:gd name="connsiteX1614" fmla="*/ 3118961 w 6400800"/>
                <a:gd name="connsiteY1614" fmla="*/ 150019 h 514350"/>
                <a:gd name="connsiteX1615" fmla="*/ 3112294 w 6400800"/>
                <a:gd name="connsiteY1615" fmla="*/ 136684 h 514350"/>
                <a:gd name="connsiteX1616" fmla="*/ 3102769 w 6400800"/>
                <a:gd name="connsiteY1616" fmla="*/ 113824 h 514350"/>
                <a:gd name="connsiteX1617" fmla="*/ 3090386 w 6400800"/>
                <a:gd name="connsiteY1617" fmla="*/ 87154 h 514350"/>
                <a:gd name="connsiteX1618" fmla="*/ 3099911 w 6400800"/>
                <a:gd name="connsiteY1618" fmla="*/ 114776 h 514350"/>
                <a:gd name="connsiteX1619" fmla="*/ 3109436 w 6400800"/>
                <a:gd name="connsiteY1619" fmla="*/ 146209 h 514350"/>
                <a:gd name="connsiteX1620" fmla="*/ 3115151 w 6400800"/>
                <a:gd name="connsiteY1620" fmla="*/ 167164 h 514350"/>
                <a:gd name="connsiteX1621" fmla="*/ 3109436 w 6400800"/>
                <a:gd name="connsiteY1621" fmla="*/ 155734 h 514350"/>
                <a:gd name="connsiteX1622" fmla="*/ 3116104 w 6400800"/>
                <a:gd name="connsiteY1622" fmla="*/ 176689 h 514350"/>
                <a:gd name="connsiteX1623" fmla="*/ 3121819 w 6400800"/>
                <a:gd name="connsiteY1623" fmla="*/ 194786 h 514350"/>
                <a:gd name="connsiteX1624" fmla="*/ 3125629 w 6400800"/>
                <a:gd name="connsiteY1624" fmla="*/ 213836 h 514350"/>
                <a:gd name="connsiteX1625" fmla="*/ 3123724 w 6400800"/>
                <a:gd name="connsiteY1625" fmla="*/ 215741 h 514350"/>
                <a:gd name="connsiteX1626" fmla="*/ 3122771 w 6400800"/>
                <a:gd name="connsiteY1626" fmla="*/ 210979 h 514350"/>
                <a:gd name="connsiteX1627" fmla="*/ 3122771 w 6400800"/>
                <a:gd name="connsiteY1627" fmla="*/ 216694 h 514350"/>
                <a:gd name="connsiteX1628" fmla="*/ 3113246 w 6400800"/>
                <a:gd name="connsiteY1628" fmla="*/ 228124 h 514350"/>
                <a:gd name="connsiteX1629" fmla="*/ 3113246 w 6400800"/>
                <a:gd name="connsiteY1629" fmla="*/ 228124 h 514350"/>
                <a:gd name="connsiteX1630" fmla="*/ 3110389 w 6400800"/>
                <a:gd name="connsiteY1630" fmla="*/ 191929 h 514350"/>
                <a:gd name="connsiteX1631" fmla="*/ 3108484 w 6400800"/>
                <a:gd name="connsiteY1631" fmla="*/ 171926 h 514350"/>
                <a:gd name="connsiteX1632" fmla="*/ 3106579 w 6400800"/>
                <a:gd name="connsiteY1632" fmla="*/ 192881 h 514350"/>
                <a:gd name="connsiteX1633" fmla="*/ 3104674 w 6400800"/>
                <a:gd name="connsiteY1633" fmla="*/ 228124 h 514350"/>
                <a:gd name="connsiteX1634" fmla="*/ 3104674 w 6400800"/>
                <a:gd name="connsiteY1634" fmla="*/ 227171 h 514350"/>
                <a:gd name="connsiteX1635" fmla="*/ 3097054 w 6400800"/>
                <a:gd name="connsiteY1635" fmla="*/ 208121 h 514350"/>
                <a:gd name="connsiteX1636" fmla="*/ 3100864 w 6400800"/>
                <a:gd name="connsiteY1636" fmla="*/ 228124 h 514350"/>
                <a:gd name="connsiteX1637" fmla="*/ 3103721 w 6400800"/>
                <a:gd name="connsiteY1637" fmla="*/ 244316 h 514350"/>
                <a:gd name="connsiteX1638" fmla="*/ 3096101 w 6400800"/>
                <a:gd name="connsiteY1638" fmla="*/ 255746 h 514350"/>
                <a:gd name="connsiteX1639" fmla="*/ 3087529 w 6400800"/>
                <a:gd name="connsiteY1639" fmla="*/ 270034 h 514350"/>
                <a:gd name="connsiteX1640" fmla="*/ 3082766 w 6400800"/>
                <a:gd name="connsiteY1640" fmla="*/ 252889 h 514350"/>
                <a:gd name="connsiteX1641" fmla="*/ 3077051 w 6400800"/>
                <a:gd name="connsiteY1641" fmla="*/ 233839 h 514350"/>
                <a:gd name="connsiteX1642" fmla="*/ 3078956 w 6400800"/>
                <a:gd name="connsiteY1642" fmla="*/ 252889 h 514350"/>
                <a:gd name="connsiteX1643" fmla="*/ 3079909 w 6400800"/>
                <a:gd name="connsiteY1643" fmla="*/ 264319 h 514350"/>
                <a:gd name="connsiteX1644" fmla="*/ 3077051 w 6400800"/>
                <a:gd name="connsiteY1644" fmla="*/ 255746 h 514350"/>
                <a:gd name="connsiteX1645" fmla="*/ 3074194 w 6400800"/>
                <a:gd name="connsiteY1645" fmla="*/ 248126 h 514350"/>
                <a:gd name="connsiteX1646" fmla="*/ 3074194 w 6400800"/>
                <a:gd name="connsiteY1646" fmla="*/ 242411 h 514350"/>
                <a:gd name="connsiteX1647" fmla="*/ 3075146 w 6400800"/>
                <a:gd name="connsiteY1647" fmla="*/ 229076 h 514350"/>
                <a:gd name="connsiteX1648" fmla="*/ 3077051 w 6400800"/>
                <a:gd name="connsiteY1648" fmla="*/ 220504 h 514350"/>
                <a:gd name="connsiteX1649" fmla="*/ 3086576 w 6400800"/>
                <a:gd name="connsiteY1649" fmla="*/ 189071 h 514350"/>
                <a:gd name="connsiteX1650" fmla="*/ 3096101 w 6400800"/>
                <a:gd name="connsiteY1650" fmla="*/ 161449 h 514350"/>
                <a:gd name="connsiteX1651" fmla="*/ 3083719 w 6400800"/>
                <a:gd name="connsiteY1651" fmla="*/ 188119 h 514350"/>
                <a:gd name="connsiteX1652" fmla="*/ 3071336 w 6400800"/>
                <a:gd name="connsiteY1652" fmla="*/ 218599 h 514350"/>
                <a:gd name="connsiteX1653" fmla="*/ 3068479 w 6400800"/>
                <a:gd name="connsiteY1653" fmla="*/ 224314 h 514350"/>
                <a:gd name="connsiteX1654" fmla="*/ 3068479 w 6400800"/>
                <a:gd name="connsiteY1654" fmla="*/ 216694 h 514350"/>
                <a:gd name="connsiteX1655" fmla="*/ 3069431 w 6400800"/>
                <a:gd name="connsiteY1655" fmla="*/ 209074 h 514350"/>
                <a:gd name="connsiteX1656" fmla="*/ 3072289 w 6400800"/>
                <a:gd name="connsiteY1656" fmla="*/ 181451 h 514350"/>
                <a:gd name="connsiteX1657" fmla="*/ 3073241 w 6400800"/>
                <a:gd name="connsiteY1657" fmla="*/ 157639 h 514350"/>
                <a:gd name="connsiteX1658" fmla="*/ 3067526 w 6400800"/>
                <a:gd name="connsiteY1658" fmla="*/ 180499 h 514350"/>
                <a:gd name="connsiteX1659" fmla="*/ 3066574 w 6400800"/>
                <a:gd name="connsiteY1659" fmla="*/ 183356 h 514350"/>
                <a:gd name="connsiteX1660" fmla="*/ 3064669 w 6400800"/>
                <a:gd name="connsiteY1660" fmla="*/ 148114 h 514350"/>
                <a:gd name="connsiteX1661" fmla="*/ 3064669 w 6400800"/>
                <a:gd name="connsiteY1661" fmla="*/ 145256 h 514350"/>
                <a:gd name="connsiteX1662" fmla="*/ 3064669 w 6400800"/>
                <a:gd name="connsiteY1662" fmla="*/ 146209 h 514350"/>
                <a:gd name="connsiteX1663" fmla="*/ 3063716 w 6400800"/>
                <a:gd name="connsiteY1663" fmla="*/ 131921 h 514350"/>
                <a:gd name="connsiteX1664" fmla="*/ 3058954 w 6400800"/>
                <a:gd name="connsiteY1664" fmla="*/ 174784 h 514350"/>
                <a:gd name="connsiteX1665" fmla="*/ 3056096 w 6400800"/>
                <a:gd name="connsiteY1665" fmla="*/ 190976 h 514350"/>
                <a:gd name="connsiteX1666" fmla="*/ 3054191 w 6400800"/>
                <a:gd name="connsiteY1666" fmla="*/ 201454 h 514350"/>
                <a:gd name="connsiteX1667" fmla="*/ 3049429 w 6400800"/>
                <a:gd name="connsiteY1667" fmla="*/ 189071 h 514350"/>
                <a:gd name="connsiteX1668" fmla="*/ 3049429 w 6400800"/>
                <a:gd name="connsiteY1668" fmla="*/ 188119 h 514350"/>
                <a:gd name="connsiteX1669" fmla="*/ 3056096 w 6400800"/>
                <a:gd name="connsiteY1669" fmla="*/ 151924 h 514350"/>
                <a:gd name="connsiteX1670" fmla="*/ 3062764 w 6400800"/>
                <a:gd name="connsiteY1670" fmla="*/ 120491 h 514350"/>
                <a:gd name="connsiteX1671" fmla="*/ 3052286 w 6400800"/>
                <a:gd name="connsiteY1671" fmla="*/ 150971 h 514350"/>
                <a:gd name="connsiteX1672" fmla="*/ 3041809 w 6400800"/>
                <a:gd name="connsiteY1672" fmla="*/ 186214 h 514350"/>
                <a:gd name="connsiteX1673" fmla="*/ 3036094 w 6400800"/>
                <a:gd name="connsiteY1673" fmla="*/ 208121 h 514350"/>
                <a:gd name="connsiteX1674" fmla="*/ 3034189 w 6400800"/>
                <a:gd name="connsiteY1674" fmla="*/ 215741 h 514350"/>
                <a:gd name="connsiteX1675" fmla="*/ 3032284 w 6400800"/>
                <a:gd name="connsiteY1675" fmla="*/ 205264 h 514350"/>
                <a:gd name="connsiteX1676" fmla="*/ 3048476 w 6400800"/>
                <a:gd name="connsiteY1676" fmla="*/ 148114 h 514350"/>
                <a:gd name="connsiteX1677" fmla="*/ 3057049 w 6400800"/>
                <a:gd name="connsiteY1677" fmla="*/ 123349 h 514350"/>
                <a:gd name="connsiteX1678" fmla="*/ 3054191 w 6400800"/>
                <a:gd name="connsiteY1678" fmla="*/ 129064 h 514350"/>
                <a:gd name="connsiteX1679" fmla="*/ 3045619 w 6400800"/>
                <a:gd name="connsiteY1679" fmla="*/ 146209 h 514350"/>
                <a:gd name="connsiteX1680" fmla="*/ 3029426 w 6400800"/>
                <a:gd name="connsiteY1680" fmla="*/ 184309 h 514350"/>
                <a:gd name="connsiteX1681" fmla="*/ 3029426 w 6400800"/>
                <a:gd name="connsiteY1681" fmla="*/ 167164 h 514350"/>
                <a:gd name="connsiteX1682" fmla="*/ 3030379 w 6400800"/>
                <a:gd name="connsiteY1682" fmla="*/ 140494 h 514350"/>
                <a:gd name="connsiteX1683" fmla="*/ 3025616 w 6400800"/>
                <a:gd name="connsiteY1683" fmla="*/ 166211 h 514350"/>
                <a:gd name="connsiteX1684" fmla="*/ 3022759 w 6400800"/>
                <a:gd name="connsiteY1684" fmla="*/ 196691 h 514350"/>
                <a:gd name="connsiteX1685" fmla="*/ 3022759 w 6400800"/>
                <a:gd name="connsiteY1685" fmla="*/ 202406 h 514350"/>
                <a:gd name="connsiteX1686" fmla="*/ 3019901 w 6400800"/>
                <a:gd name="connsiteY1686" fmla="*/ 210979 h 514350"/>
                <a:gd name="connsiteX1687" fmla="*/ 3011329 w 6400800"/>
                <a:gd name="connsiteY1687" fmla="*/ 234791 h 514350"/>
                <a:gd name="connsiteX1688" fmla="*/ 3007519 w 6400800"/>
                <a:gd name="connsiteY1688" fmla="*/ 226219 h 514350"/>
                <a:gd name="connsiteX1689" fmla="*/ 3011329 w 6400800"/>
                <a:gd name="connsiteY1689" fmla="*/ 215741 h 514350"/>
                <a:gd name="connsiteX1690" fmla="*/ 3006566 w 6400800"/>
                <a:gd name="connsiteY1690" fmla="*/ 222409 h 514350"/>
                <a:gd name="connsiteX1691" fmla="*/ 3001804 w 6400800"/>
                <a:gd name="connsiteY1691" fmla="*/ 202406 h 514350"/>
                <a:gd name="connsiteX1692" fmla="*/ 3000851 w 6400800"/>
                <a:gd name="connsiteY1692" fmla="*/ 197644 h 514350"/>
                <a:gd name="connsiteX1693" fmla="*/ 3003709 w 6400800"/>
                <a:gd name="connsiteY1693" fmla="*/ 189071 h 514350"/>
                <a:gd name="connsiteX1694" fmla="*/ 3011329 w 6400800"/>
                <a:gd name="connsiteY1694" fmla="*/ 164306 h 514350"/>
                <a:gd name="connsiteX1695" fmla="*/ 3018949 w 6400800"/>
                <a:gd name="connsiteY1695" fmla="*/ 142399 h 514350"/>
                <a:gd name="connsiteX1696" fmla="*/ 3007519 w 6400800"/>
                <a:gd name="connsiteY1696" fmla="*/ 162401 h 514350"/>
                <a:gd name="connsiteX1697" fmla="*/ 2997994 w 6400800"/>
                <a:gd name="connsiteY1697" fmla="*/ 182404 h 514350"/>
                <a:gd name="connsiteX1698" fmla="*/ 2995136 w 6400800"/>
                <a:gd name="connsiteY1698" fmla="*/ 169069 h 514350"/>
                <a:gd name="connsiteX1699" fmla="*/ 3014186 w 6400800"/>
                <a:gd name="connsiteY1699" fmla="*/ 100489 h 514350"/>
                <a:gd name="connsiteX1700" fmla="*/ 3021806 w 6400800"/>
                <a:gd name="connsiteY1700" fmla="*/ 76676 h 514350"/>
                <a:gd name="connsiteX1701" fmla="*/ 3024664 w 6400800"/>
                <a:gd name="connsiteY1701" fmla="*/ 68104 h 514350"/>
                <a:gd name="connsiteX1702" fmla="*/ 3020854 w 6400800"/>
                <a:gd name="connsiteY1702" fmla="*/ 75724 h 514350"/>
                <a:gd name="connsiteX1703" fmla="*/ 3010376 w 6400800"/>
                <a:gd name="connsiteY1703" fmla="*/ 98584 h 514350"/>
                <a:gd name="connsiteX1704" fmla="*/ 2996089 w 6400800"/>
                <a:gd name="connsiteY1704" fmla="*/ 134779 h 514350"/>
                <a:gd name="connsiteX1705" fmla="*/ 2991326 w 6400800"/>
                <a:gd name="connsiteY1705" fmla="*/ 148114 h 514350"/>
                <a:gd name="connsiteX1706" fmla="*/ 2987516 w 6400800"/>
                <a:gd name="connsiteY1706" fmla="*/ 122396 h 514350"/>
                <a:gd name="connsiteX1707" fmla="*/ 2984659 w 6400800"/>
                <a:gd name="connsiteY1707" fmla="*/ 91916 h 514350"/>
                <a:gd name="connsiteX1708" fmla="*/ 2983706 w 6400800"/>
                <a:gd name="connsiteY1708" fmla="*/ 122396 h 514350"/>
                <a:gd name="connsiteX1709" fmla="*/ 2985611 w 6400800"/>
                <a:gd name="connsiteY1709" fmla="*/ 157639 h 514350"/>
                <a:gd name="connsiteX1710" fmla="*/ 2985611 w 6400800"/>
                <a:gd name="connsiteY1710" fmla="*/ 163354 h 514350"/>
                <a:gd name="connsiteX1711" fmla="*/ 2978944 w 6400800"/>
                <a:gd name="connsiteY1711" fmla="*/ 182404 h 514350"/>
                <a:gd name="connsiteX1712" fmla="*/ 2960846 w 6400800"/>
                <a:gd name="connsiteY1712" fmla="*/ 238601 h 514350"/>
                <a:gd name="connsiteX1713" fmla="*/ 2959894 w 6400800"/>
                <a:gd name="connsiteY1713" fmla="*/ 234791 h 514350"/>
                <a:gd name="connsiteX1714" fmla="*/ 2960846 w 6400800"/>
                <a:gd name="connsiteY1714" fmla="*/ 239554 h 514350"/>
                <a:gd name="connsiteX1715" fmla="*/ 2950369 w 6400800"/>
                <a:gd name="connsiteY1715" fmla="*/ 274796 h 514350"/>
                <a:gd name="connsiteX1716" fmla="*/ 2952274 w 6400800"/>
                <a:gd name="connsiteY1716" fmla="*/ 264319 h 514350"/>
                <a:gd name="connsiteX1717" fmla="*/ 2944654 w 6400800"/>
                <a:gd name="connsiteY1717" fmla="*/ 284321 h 514350"/>
                <a:gd name="connsiteX1718" fmla="*/ 2944654 w 6400800"/>
                <a:gd name="connsiteY1718" fmla="*/ 283369 h 514350"/>
                <a:gd name="connsiteX1719" fmla="*/ 2945606 w 6400800"/>
                <a:gd name="connsiteY1719" fmla="*/ 277654 h 514350"/>
                <a:gd name="connsiteX1720" fmla="*/ 2949416 w 6400800"/>
                <a:gd name="connsiteY1720" fmla="*/ 238601 h 514350"/>
                <a:gd name="connsiteX1721" fmla="*/ 2951321 w 6400800"/>
                <a:gd name="connsiteY1721" fmla="*/ 221456 h 514350"/>
                <a:gd name="connsiteX1722" fmla="*/ 2953226 w 6400800"/>
                <a:gd name="connsiteY1722" fmla="*/ 205264 h 514350"/>
                <a:gd name="connsiteX1723" fmla="*/ 2956084 w 6400800"/>
                <a:gd name="connsiteY1723" fmla="*/ 179546 h 514350"/>
                <a:gd name="connsiteX1724" fmla="*/ 2958941 w 6400800"/>
                <a:gd name="connsiteY1724" fmla="*/ 156686 h 514350"/>
                <a:gd name="connsiteX1725" fmla="*/ 2952274 w 6400800"/>
                <a:gd name="connsiteY1725" fmla="*/ 178594 h 514350"/>
                <a:gd name="connsiteX1726" fmla="*/ 2945606 w 6400800"/>
                <a:gd name="connsiteY1726" fmla="*/ 203359 h 514350"/>
                <a:gd name="connsiteX1727" fmla="*/ 2941796 w 6400800"/>
                <a:gd name="connsiteY1727" fmla="*/ 218599 h 514350"/>
                <a:gd name="connsiteX1728" fmla="*/ 2937986 w 6400800"/>
                <a:gd name="connsiteY1728" fmla="*/ 235744 h 514350"/>
                <a:gd name="connsiteX1729" fmla="*/ 2931319 w 6400800"/>
                <a:gd name="connsiteY1729" fmla="*/ 270034 h 514350"/>
                <a:gd name="connsiteX1730" fmla="*/ 2929414 w 6400800"/>
                <a:gd name="connsiteY1730" fmla="*/ 260509 h 514350"/>
                <a:gd name="connsiteX1731" fmla="*/ 2928461 w 6400800"/>
                <a:gd name="connsiteY1731" fmla="*/ 256699 h 514350"/>
                <a:gd name="connsiteX1732" fmla="*/ 2931319 w 6400800"/>
                <a:gd name="connsiteY1732" fmla="*/ 251936 h 514350"/>
                <a:gd name="connsiteX1733" fmla="*/ 2927509 w 6400800"/>
                <a:gd name="connsiteY1733" fmla="*/ 254794 h 514350"/>
                <a:gd name="connsiteX1734" fmla="*/ 2925604 w 6400800"/>
                <a:gd name="connsiteY1734" fmla="*/ 247174 h 514350"/>
                <a:gd name="connsiteX1735" fmla="*/ 2931319 w 6400800"/>
                <a:gd name="connsiteY1735" fmla="*/ 231934 h 514350"/>
                <a:gd name="connsiteX1736" fmla="*/ 2924651 w 6400800"/>
                <a:gd name="connsiteY1736" fmla="*/ 243364 h 514350"/>
                <a:gd name="connsiteX1737" fmla="*/ 2922746 w 6400800"/>
                <a:gd name="connsiteY1737" fmla="*/ 237649 h 514350"/>
                <a:gd name="connsiteX1738" fmla="*/ 2922746 w 6400800"/>
                <a:gd name="connsiteY1738" fmla="*/ 236696 h 514350"/>
                <a:gd name="connsiteX1739" fmla="*/ 2921794 w 6400800"/>
                <a:gd name="connsiteY1739" fmla="*/ 236696 h 514350"/>
                <a:gd name="connsiteX1740" fmla="*/ 2916079 w 6400800"/>
                <a:gd name="connsiteY1740" fmla="*/ 236696 h 514350"/>
                <a:gd name="connsiteX1741" fmla="*/ 2916079 w 6400800"/>
                <a:gd name="connsiteY1741" fmla="*/ 236696 h 514350"/>
                <a:gd name="connsiteX1742" fmla="*/ 2935129 w 6400800"/>
                <a:gd name="connsiteY1742" fmla="*/ 176689 h 514350"/>
                <a:gd name="connsiteX1743" fmla="*/ 2909411 w 6400800"/>
                <a:gd name="connsiteY1743" fmla="*/ 230029 h 514350"/>
                <a:gd name="connsiteX1744" fmla="*/ 2902744 w 6400800"/>
                <a:gd name="connsiteY1744" fmla="*/ 211931 h 514350"/>
                <a:gd name="connsiteX1745" fmla="*/ 2900839 w 6400800"/>
                <a:gd name="connsiteY1745" fmla="*/ 195739 h 514350"/>
                <a:gd name="connsiteX1746" fmla="*/ 2897981 w 6400800"/>
                <a:gd name="connsiteY1746" fmla="*/ 173831 h 514350"/>
                <a:gd name="connsiteX1747" fmla="*/ 2896076 w 6400800"/>
                <a:gd name="connsiteY1747" fmla="*/ 153829 h 514350"/>
                <a:gd name="connsiteX1748" fmla="*/ 2893219 w 6400800"/>
                <a:gd name="connsiteY1748" fmla="*/ 121444 h 514350"/>
                <a:gd name="connsiteX1749" fmla="*/ 2890361 w 6400800"/>
                <a:gd name="connsiteY1749" fmla="*/ 93821 h 514350"/>
                <a:gd name="connsiteX1750" fmla="*/ 2889409 w 6400800"/>
                <a:gd name="connsiteY1750" fmla="*/ 121444 h 514350"/>
                <a:gd name="connsiteX1751" fmla="*/ 2889409 w 6400800"/>
                <a:gd name="connsiteY1751" fmla="*/ 153829 h 514350"/>
                <a:gd name="connsiteX1752" fmla="*/ 2889409 w 6400800"/>
                <a:gd name="connsiteY1752" fmla="*/ 173831 h 514350"/>
                <a:gd name="connsiteX1753" fmla="*/ 2890361 w 6400800"/>
                <a:gd name="connsiteY1753" fmla="*/ 195739 h 514350"/>
                <a:gd name="connsiteX1754" fmla="*/ 2891314 w 6400800"/>
                <a:gd name="connsiteY1754" fmla="*/ 211931 h 514350"/>
                <a:gd name="connsiteX1755" fmla="*/ 2887504 w 6400800"/>
                <a:gd name="connsiteY1755" fmla="*/ 217646 h 514350"/>
                <a:gd name="connsiteX1756" fmla="*/ 2885599 w 6400800"/>
                <a:gd name="connsiteY1756" fmla="*/ 221456 h 514350"/>
                <a:gd name="connsiteX1757" fmla="*/ 2880836 w 6400800"/>
                <a:gd name="connsiteY1757" fmla="*/ 195739 h 514350"/>
                <a:gd name="connsiteX1758" fmla="*/ 2874169 w 6400800"/>
                <a:gd name="connsiteY1758" fmla="*/ 166211 h 514350"/>
                <a:gd name="connsiteX1759" fmla="*/ 2867501 w 6400800"/>
                <a:gd name="connsiteY1759" fmla="*/ 144304 h 514350"/>
                <a:gd name="connsiteX1760" fmla="*/ 2860834 w 6400800"/>
                <a:gd name="connsiteY1760" fmla="*/ 125254 h 514350"/>
                <a:gd name="connsiteX1761" fmla="*/ 2863691 w 6400800"/>
                <a:gd name="connsiteY1761" fmla="*/ 145256 h 514350"/>
                <a:gd name="connsiteX1762" fmla="*/ 2866549 w 6400800"/>
                <a:gd name="connsiteY1762" fmla="*/ 168116 h 514350"/>
                <a:gd name="connsiteX1763" fmla="*/ 2869406 w 6400800"/>
                <a:gd name="connsiteY1763" fmla="*/ 197644 h 514350"/>
                <a:gd name="connsiteX1764" fmla="*/ 2872264 w 6400800"/>
                <a:gd name="connsiteY1764" fmla="*/ 232886 h 514350"/>
                <a:gd name="connsiteX1765" fmla="*/ 2873216 w 6400800"/>
                <a:gd name="connsiteY1765" fmla="*/ 247174 h 514350"/>
                <a:gd name="connsiteX1766" fmla="*/ 2864644 w 6400800"/>
                <a:gd name="connsiteY1766" fmla="*/ 270034 h 514350"/>
                <a:gd name="connsiteX1767" fmla="*/ 2863691 w 6400800"/>
                <a:gd name="connsiteY1767" fmla="*/ 274796 h 514350"/>
                <a:gd name="connsiteX1768" fmla="*/ 2855119 w 6400800"/>
                <a:gd name="connsiteY1768" fmla="*/ 257651 h 514350"/>
                <a:gd name="connsiteX1769" fmla="*/ 2841784 w 6400800"/>
                <a:gd name="connsiteY1769" fmla="*/ 230029 h 514350"/>
                <a:gd name="connsiteX1770" fmla="*/ 2855119 w 6400800"/>
                <a:gd name="connsiteY1770" fmla="*/ 226219 h 514350"/>
                <a:gd name="connsiteX1771" fmla="*/ 2853214 w 6400800"/>
                <a:gd name="connsiteY1771" fmla="*/ 231934 h 514350"/>
                <a:gd name="connsiteX1772" fmla="*/ 2840831 w 6400800"/>
                <a:gd name="connsiteY1772" fmla="*/ 209074 h 514350"/>
                <a:gd name="connsiteX1773" fmla="*/ 2866549 w 6400800"/>
                <a:gd name="connsiteY1773" fmla="*/ 150971 h 514350"/>
                <a:gd name="connsiteX1774" fmla="*/ 2835116 w 6400800"/>
                <a:gd name="connsiteY1774" fmla="*/ 198596 h 514350"/>
                <a:gd name="connsiteX1775" fmla="*/ 2829401 w 6400800"/>
                <a:gd name="connsiteY1775" fmla="*/ 188119 h 514350"/>
                <a:gd name="connsiteX1776" fmla="*/ 2820829 w 6400800"/>
                <a:gd name="connsiteY1776" fmla="*/ 132874 h 514350"/>
                <a:gd name="connsiteX1777" fmla="*/ 2821781 w 6400800"/>
                <a:gd name="connsiteY1777" fmla="*/ 173831 h 514350"/>
                <a:gd name="connsiteX1778" fmla="*/ 2807494 w 6400800"/>
                <a:gd name="connsiteY1778" fmla="*/ 151924 h 514350"/>
                <a:gd name="connsiteX1779" fmla="*/ 2782729 w 6400800"/>
                <a:gd name="connsiteY1779" fmla="*/ 115729 h 514350"/>
                <a:gd name="connsiteX1780" fmla="*/ 2759869 w 6400800"/>
                <a:gd name="connsiteY1780" fmla="*/ 85249 h 514350"/>
                <a:gd name="connsiteX1781" fmla="*/ 2778919 w 6400800"/>
                <a:gd name="connsiteY1781" fmla="*/ 118586 h 514350"/>
                <a:gd name="connsiteX1782" fmla="*/ 2799874 w 6400800"/>
                <a:gd name="connsiteY1782" fmla="*/ 156686 h 514350"/>
                <a:gd name="connsiteX1783" fmla="*/ 2812256 w 6400800"/>
                <a:gd name="connsiteY1783" fmla="*/ 180499 h 514350"/>
                <a:gd name="connsiteX1784" fmla="*/ 2820829 w 6400800"/>
                <a:gd name="connsiteY1784" fmla="*/ 197644 h 514350"/>
                <a:gd name="connsiteX1785" fmla="*/ 2820829 w 6400800"/>
                <a:gd name="connsiteY1785" fmla="*/ 204311 h 514350"/>
                <a:gd name="connsiteX1786" fmla="*/ 2821781 w 6400800"/>
                <a:gd name="connsiteY1786" fmla="*/ 218599 h 514350"/>
                <a:gd name="connsiteX1787" fmla="*/ 2817019 w 6400800"/>
                <a:gd name="connsiteY1787" fmla="*/ 227171 h 514350"/>
                <a:gd name="connsiteX1788" fmla="*/ 2806541 w 6400800"/>
                <a:gd name="connsiteY1788" fmla="*/ 211931 h 514350"/>
                <a:gd name="connsiteX1789" fmla="*/ 2805589 w 6400800"/>
                <a:gd name="connsiteY1789" fmla="*/ 210026 h 514350"/>
                <a:gd name="connsiteX1790" fmla="*/ 2806541 w 6400800"/>
                <a:gd name="connsiteY1790" fmla="*/ 208121 h 514350"/>
                <a:gd name="connsiteX1791" fmla="*/ 2805589 w 6400800"/>
                <a:gd name="connsiteY1791" fmla="*/ 209074 h 514350"/>
                <a:gd name="connsiteX1792" fmla="*/ 2792254 w 6400800"/>
                <a:gd name="connsiteY1792" fmla="*/ 191929 h 514350"/>
                <a:gd name="connsiteX1793" fmla="*/ 2767489 w 6400800"/>
                <a:gd name="connsiteY1793" fmla="*/ 161449 h 514350"/>
                <a:gd name="connsiteX1794" fmla="*/ 2765584 w 6400800"/>
                <a:gd name="connsiteY1794" fmla="*/ 158591 h 514350"/>
                <a:gd name="connsiteX1795" fmla="*/ 2765584 w 6400800"/>
                <a:gd name="connsiteY1795" fmla="*/ 155734 h 514350"/>
                <a:gd name="connsiteX1796" fmla="*/ 2762726 w 6400800"/>
                <a:gd name="connsiteY1796" fmla="*/ 128111 h 514350"/>
                <a:gd name="connsiteX1797" fmla="*/ 2759869 w 6400800"/>
                <a:gd name="connsiteY1797" fmla="*/ 103346 h 514350"/>
                <a:gd name="connsiteX1798" fmla="*/ 2758916 w 6400800"/>
                <a:gd name="connsiteY1798" fmla="*/ 128111 h 514350"/>
                <a:gd name="connsiteX1799" fmla="*/ 2758916 w 6400800"/>
                <a:gd name="connsiteY1799" fmla="*/ 150019 h 514350"/>
                <a:gd name="connsiteX1800" fmla="*/ 2745581 w 6400800"/>
                <a:gd name="connsiteY1800" fmla="*/ 135731 h 514350"/>
                <a:gd name="connsiteX1801" fmla="*/ 2758916 w 6400800"/>
                <a:gd name="connsiteY1801" fmla="*/ 153829 h 514350"/>
                <a:gd name="connsiteX1802" fmla="*/ 2758916 w 6400800"/>
                <a:gd name="connsiteY1802" fmla="*/ 155734 h 514350"/>
                <a:gd name="connsiteX1803" fmla="*/ 2758916 w 6400800"/>
                <a:gd name="connsiteY1803" fmla="*/ 172879 h 514350"/>
                <a:gd name="connsiteX1804" fmla="*/ 2759869 w 6400800"/>
                <a:gd name="connsiteY1804" fmla="*/ 191929 h 514350"/>
                <a:gd name="connsiteX1805" fmla="*/ 2761774 w 6400800"/>
                <a:gd name="connsiteY1805" fmla="*/ 219551 h 514350"/>
                <a:gd name="connsiteX1806" fmla="*/ 2760821 w 6400800"/>
                <a:gd name="connsiteY1806" fmla="*/ 217646 h 514350"/>
                <a:gd name="connsiteX1807" fmla="*/ 2760821 w 6400800"/>
                <a:gd name="connsiteY1807" fmla="*/ 216694 h 514350"/>
                <a:gd name="connsiteX1808" fmla="*/ 2760821 w 6400800"/>
                <a:gd name="connsiteY1808" fmla="*/ 217646 h 514350"/>
                <a:gd name="connsiteX1809" fmla="*/ 2741771 w 6400800"/>
                <a:gd name="connsiteY1809" fmla="*/ 172879 h 514350"/>
                <a:gd name="connsiteX1810" fmla="*/ 2757011 w 6400800"/>
                <a:gd name="connsiteY1810" fmla="*/ 228124 h 514350"/>
                <a:gd name="connsiteX1811" fmla="*/ 2743676 w 6400800"/>
                <a:gd name="connsiteY1811" fmla="*/ 268129 h 514350"/>
                <a:gd name="connsiteX1812" fmla="*/ 2736056 w 6400800"/>
                <a:gd name="connsiteY1812" fmla="*/ 254794 h 514350"/>
                <a:gd name="connsiteX1813" fmla="*/ 2737009 w 6400800"/>
                <a:gd name="connsiteY1813" fmla="*/ 232886 h 514350"/>
                <a:gd name="connsiteX1814" fmla="*/ 2732246 w 6400800"/>
                <a:gd name="connsiteY1814" fmla="*/ 249079 h 514350"/>
                <a:gd name="connsiteX1815" fmla="*/ 2730341 w 6400800"/>
                <a:gd name="connsiteY1815" fmla="*/ 246221 h 514350"/>
                <a:gd name="connsiteX1816" fmla="*/ 2731294 w 6400800"/>
                <a:gd name="connsiteY1816" fmla="*/ 250031 h 514350"/>
                <a:gd name="connsiteX1817" fmla="*/ 2729389 w 6400800"/>
                <a:gd name="connsiteY1817" fmla="*/ 258604 h 514350"/>
                <a:gd name="connsiteX1818" fmla="*/ 2729389 w 6400800"/>
                <a:gd name="connsiteY1818" fmla="*/ 247174 h 514350"/>
                <a:gd name="connsiteX1819" fmla="*/ 2731294 w 6400800"/>
                <a:gd name="connsiteY1819" fmla="*/ 218599 h 514350"/>
                <a:gd name="connsiteX1820" fmla="*/ 2733199 w 6400800"/>
                <a:gd name="connsiteY1820" fmla="*/ 219551 h 514350"/>
                <a:gd name="connsiteX1821" fmla="*/ 2736056 w 6400800"/>
                <a:gd name="connsiteY1821" fmla="*/ 222409 h 514350"/>
                <a:gd name="connsiteX1822" fmla="*/ 2738914 w 6400800"/>
                <a:gd name="connsiteY1822" fmla="*/ 230981 h 514350"/>
                <a:gd name="connsiteX1823" fmla="*/ 2737961 w 6400800"/>
                <a:gd name="connsiteY1823" fmla="*/ 222409 h 514350"/>
                <a:gd name="connsiteX1824" fmla="*/ 2735104 w 6400800"/>
                <a:gd name="connsiteY1824" fmla="*/ 218599 h 514350"/>
                <a:gd name="connsiteX1825" fmla="*/ 2730341 w 6400800"/>
                <a:gd name="connsiteY1825" fmla="*/ 216694 h 514350"/>
                <a:gd name="connsiteX1826" fmla="*/ 2728436 w 6400800"/>
                <a:gd name="connsiteY1826" fmla="*/ 216694 h 514350"/>
                <a:gd name="connsiteX1827" fmla="*/ 2728436 w 6400800"/>
                <a:gd name="connsiteY1827" fmla="*/ 218599 h 514350"/>
                <a:gd name="connsiteX1828" fmla="*/ 2721769 w 6400800"/>
                <a:gd name="connsiteY1828" fmla="*/ 248126 h 514350"/>
                <a:gd name="connsiteX1829" fmla="*/ 2719864 w 6400800"/>
                <a:gd name="connsiteY1829" fmla="*/ 260509 h 514350"/>
                <a:gd name="connsiteX1830" fmla="*/ 2717006 w 6400800"/>
                <a:gd name="connsiteY1830" fmla="*/ 254794 h 514350"/>
                <a:gd name="connsiteX1831" fmla="*/ 2717006 w 6400800"/>
                <a:gd name="connsiteY1831" fmla="*/ 253841 h 514350"/>
                <a:gd name="connsiteX1832" fmla="*/ 2718911 w 6400800"/>
                <a:gd name="connsiteY1832" fmla="*/ 238601 h 514350"/>
                <a:gd name="connsiteX1833" fmla="*/ 2716054 w 6400800"/>
                <a:gd name="connsiteY1833" fmla="*/ 247174 h 514350"/>
                <a:gd name="connsiteX1834" fmla="*/ 2716054 w 6400800"/>
                <a:gd name="connsiteY1834" fmla="*/ 176689 h 514350"/>
                <a:gd name="connsiteX1835" fmla="*/ 2713196 w 6400800"/>
                <a:gd name="connsiteY1835" fmla="*/ 198596 h 514350"/>
                <a:gd name="connsiteX1836" fmla="*/ 2709386 w 6400800"/>
                <a:gd name="connsiteY1836" fmla="*/ 230029 h 514350"/>
                <a:gd name="connsiteX1837" fmla="*/ 2704624 w 6400800"/>
                <a:gd name="connsiteY1837" fmla="*/ 218599 h 514350"/>
                <a:gd name="connsiteX1838" fmla="*/ 2703671 w 6400800"/>
                <a:gd name="connsiteY1838" fmla="*/ 199549 h 514350"/>
                <a:gd name="connsiteX1839" fmla="*/ 2703671 w 6400800"/>
                <a:gd name="connsiteY1839" fmla="*/ 163354 h 514350"/>
                <a:gd name="connsiteX1840" fmla="*/ 2706529 w 6400800"/>
                <a:gd name="connsiteY1840" fmla="*/ 164306 h 514350"/>
                <a:gd name="connsiteX1841" fmla="*/ 2710339 w 6400800"/>
                <a:gd name="connsiteY1841" fmla="*/ 167164 h 514350"/>
                <a:gd name="connsiteX1842" fmla="*/ 2714149 w 6400800"/>
                <a:gd name="connsiteY1842" fmla="*/ 176689 h 514350"/>
                <a:gd name="connsiteX1843" fmla="*/ 2712244 w 6400800"/>
                <a:gd name="connsiteY1843" fmla="*/ 166211 h 514350"/>
                <a:gd name="connsiteX1844" fmla="*/ 2708434 w 6400800"/>
                <a:gd name="connsiteY1844" fmla="*/ 161449 h 514350"/>
                <a:gd name="connsiteX1845" fmla="*/ 2702719 w 6400800"/>
                <a:gd name="connsiteY1845" fmla="*/ 159544 h 514350"/>
                <a:gd name="connsiteX1846" fmla="*/ 2700814 w 6400800"/>
                <a:gd name="connsiteY1846" fmla="*/ 159544 h 514350"/>
                <a:gd name="connsiteX1847" fmla="*/ 2700814 w 6400800"/>
                <a:gd name="connsiteY1847" fmla="*/ 161449 h 514350"/>
                <a:gd name="connsiteX1848" fmla="*/ 2697004 w 6400800"/>
                <a:gd name="connsiteY1848" fmla="*/ 193834 h 514350"/>
                <a:gd name="connsiteX1849" fmla="*/ 2693194 w 6400800"/>
                <a:gd name="connsiteY1849" fmla="*/ 181451 h 514350"/>
                <a:gd name="connsiteX1850" fmla="*/ 2697004 w 6400800"/>
                <a:gd name="connsiteY1850" fmla="*/ 198596 h 514350"/>
                <a:gd name="connsiteX1851" fmla="*/ 2697004 w 6400800"/>
                <a:gd name="connsiteY1851" fmla="*/ 198596 h 514350"/>
                <a:gd name="connsiteX1852" fmla="*/ 2696051 w 6400800"/>
                <a:gd name="connsiteY1852" fmla="*/ 236696 h 514350"/>
                <a:gd name="connsiteX1853" fmla="*/ 2697004 w 6400800"/>
                <a:gd name="connsiteY1853" fmla="*/ 262414 h 514350"/>
                <a:gd name="connsiteX1854" fmla="*/ 2697004 w 6400800"/>
                <a:gd name="connsiteY1854" fmla="*/ 263366 h 514350"/>
                <a:gd name="connsiteX1855" fmla="*/ 2696051 w 6400800"/>
                <a:gd name="connsiteY1855" fmla="*/ 265271 h 514350"/>
                <a:gd name="connsiteX1856" fmla="*/ 2694146 w 6400800"/>
                <a:gd name="connsiteY1856" fmla="*/ 261461 h 514350"/>
                <a:gd name="connsiteX1857" fmla="*/ 2685574 w 6400800"/>
                <a:gd name="connsiteY1857" fmla="*/ 246221 h 514350"/>
                <a:gd name="connsiteX1858" fmla="*/ 2677954 w 6400800"/>
                <a:gd name="connsiteY1858" fmla="*/ 210979 h 514350"/>
                <a:gd name="connsiteX1859" fmla="*/ 2676049 w 6400800"/>
                <a:gd name="connsiteY1859" fmla="*/ 200501 h 514350"/>
                <a:gd name="connsiteX1860" fmla="*/ 2681764 w 6400800"/>
                <a:gd name="connsiteY1860" fmla="*/ 173831 h 514350"/>
                <a:gd name="connsiteX1861" fmla="*/ 2687479 w 6400800"/>
                <a:gd name="connsiteY1861" fmla="*/ 144304 h 514350"/>
                <a:gd name="connsiteX1862" fmla="*/ 2691289 w 6400800"/>
                <a:gd name="connsiteY1862" fmla="*/ 118586 h 514350"/>
                <a:gd name="connsiteX1863" fmla="*/ 2683669 w 6400800"/>
                <a:gd name="connsiteY1863" fmla="*/ 143351 h 514350"/>
                <a:gd name="connsiteX1864" fmla="*/ 2677954 w 6400800"/>
                <a:gd name="connsiteY1864" fmla="*/ 162401 h 514350"/>
                <a:gd name="connsiteX1865" fmla="*/ 2673191 w 6400800"/>
                <a:gd name="connsiteY1865" fmla="*/ 176689 h 514350"/>
                <a:gd name="connsiteX1866" fmla="*/ 2673191 w 6400800"/>
                <a:gd name="connsiteY1866" fmla="*/ 177641 h 514350"/>
                <a:gd name="connsiteX1867" fmla="*/ 2672239 w 6400800"/>
                <a:gd name="connsiteY1867" fmla="*/ 173831 h 514350"/>
                <a:gd name="connsiteX1868" fmla="*/ 2666524 w 6400800"/>
                <a:gd name="connsiteY1868" fmla="*/ 146209 h 514350"/>
                <a:gd name="connsiteX1869" fmla="*/ 2661761 w 6400800"/>
                <a:gd name="connsiteY1869" fmla="*/ 121444 h 514350"/>
                <a:gd name="connsiteX1870" fmla="*/ 2662714 w 6400800"/>
                <a:gd name="connsiteY1870" fmla="*/ 146209 h 514350"/>
                <a:gd name="connsiteX1871" fmla="*/ 2666524 w 6400800"/>
                <a:gd name="connsiteY1871" fmla="*/ 196691 h 514350"/>
                <a:gd name="connsiteX1872" fmla="*/ 2665571 w 6400800"/>
                <a:gd name="connsiteY1872" fmla="*/ 200501 h 514350"/>
                <a:gd name="connsiteX1873" fmla="*/ 2664619 w 6400800"/>
                <a:gd name="connsiteY1873" fmla="*/ 204311 h 514350"/>
                <a:gd name="connsiteX1874" fmla="*/ 2649379 w 6400800"/>
                <a:gd name="connsiteY1874" fmla="*/ 174784 h 514350"/>
                <a:gd name="connsiteX1875" fmla="*/ 2634139 w 6400800"/>
                <a:gd name="connsiteY1875" fmla="*/ 141446 h 514350"/>
                <a:gd name="connsiteX1876" fmla="*/ 2646521 w 6400800"/>
                <a:gd name="connsiteY1876" fmla="*/ 176689 h 514350"/>
                <a:gd name="connsiteX1877" fmla="*/ 2661761 w 6400800"/>
                <a:gd name="connsiteY1877" fmla="*/ 214789 h 514350"/>
                <a:gd name="connsiteX1878" fmla="*/ 2660809 w 6400800"/>
                <a:gd name="connsiteY1878" fmla="*/ 216694 h 514350"/>
                <a:gd name="connsiteX1879" fmla="*/ 2652236 w 6400800"/>
                <a:gd name="connsiteY1879" fmla="*/ 201454 h 514350"/>
                <a:gd name="connsiteX1880" fmla="*/ 2648426 w 6400800"/>
                <a:gd name="connsiteY1880" fmla="*/ 196691 h 514350"/>
                <a:gd name="connsiteX1881" fmla="*/ 2651284 w 6400800"/>
                <a:gd name="connsiteY1881" fmla="*/ 202406 h 514350"/>
                <a:gd name="connsiteX1882" fmla="*/ 2657951 w 6400800"/>
                <a:gd name="connsiteY1882" fmla="*/ 218599 h 514350"/>
                <a:gd name="connsiteX1883" fmla="*/ 2658904 w 6400800"/>
                <a:gd name="connsiteY1883" fmla="*/ 223361 h 514350"/>
                <a:gd name="connsiteX1884" fmla="*/ 2657951 w 6400800"/>
                <a:gd name="connsiteY1884" fmla="*/ 226219 h 514350"/>
                <a:gd name="connsiteX1885" fmla="*/ 2647474 w 6400800"/>
                <a:gd name="connsiteY1885" fmla="*/ 193834 h 514350"/>
                <a:gd name="connsiteX1886" fmla="*/ 2638901 w 6400800"/>
                <a:gd name="connsiteY1886" fmla="*/ 169069 h 514350"/>
                <a:gd name="connsiteX1887" fmla="*/ 2631281 w 6400800"/>
                <a:gd name="connsiteY1887" fmla="*/ 147161 h 514350"/>
                <a:gd name="connsiteX1888" fmla="*/ 2635091 w 6400800"/>
                <a:gd name="connsiteY1888" fmla="*/ 170021 h 514350"/>
                <a:gd name="connsiteX1889" fmla="*/ 2647474 w 6400800"/>
                <a:gd name="connsiteY1889" fmla="*/ 230029 h 514350"/>
                <a:gd name="connsiteX1890" fmla="*/ 2651284 w 6400800"/>
                <a:gd name="connsiteY1890" fmla="*/ 247174 h 514350"/>
                <a:gd name="connsiteX1891" fmla="*/ 2642711 w 6400800"/>
                <a:gd name="connsiteY1891" fmla="*/ 273844 h 514350"/>
                <a:gd name="connsiteX1892" fmla="*/ 2640806 w 6400800"/>
                <a:gd name="connsiteY1892" fmla="*/ 270034 h 514350"/>
                <a:gd name="connsiteX1893" fmla="*/ 2639854 w 6400800"/>
                <a:gd name="connsiteY1893" fmla="*/ 268129 h 514350"/>
                <a:gd name="connsiteX1894" fmla="*/ 2643664 w 6400800"/>
                <a:gd name="connsiteY1894" fmla="*/ 220504 h 514350"/>
                <a:gd name="connsiteX1895" fmla="*/ 2636996 w 6400800"/>
                <a:gd name="connsiteY1895" fmla="*/ 247174 h 514350"/>
                <a:gd name="connsiteX1896" fmla="*/ 2636044 w 6400800"/>
                <a:gd name="connsiteY1896" fmla="*/ 204311 h 514350"/>
                <a:gd name="connsiteX1897" fmla="*/ 2630329 w 6400800"/>
                <a:gd name="connsiteY1897" fmla="*/ 240506 h 514350"/>
                <a:gd name="connsiteX1898" fmla="*/ 2623661 w 6400800"/>
                <a:gd name="connsiteY1898" fmla="*/ 206216 h 514350"/>
                <a:gd name="connsiteX1899" fmla="*/ 2610326 w 6400800"/>
                <a:gd name="connsiteY1899" fmla="*/ 147161 h 514350"/>
                <a:gd name="connsiteX1900" fmla="*/ 2615089 w 6400800"/>
                <a:gd name="connsiteY1900" fmla="*/ 137636 h 514350"/>
                <a:gd name="connsiteX1901" fmla="*/ 2610326 w 6400800"/>
                <a:gd name="connsiteY1901" fmla="*/ 145256 h 514350"/>
                <a:gd name="connsiteX1902" fmla="*/ 2609374 w 6400800"/>
                <a:gd name="connsiteY1902" fmla="*/ 143351 h 514350"/>
                <a:gd name="connsiteX1903" fmla="*/ 2603659 w 6400800"/>
                <a:gd name="connsiteY1903" fmla="*/ 119539 h 514350"/>
                <a:gd name="connsiteX1904" fmla="*/ 2605564 w 6400800"/>
                <a:gd name="connsiteY1904" fmla="*/ 144304 h 514350"/>
                <a:gd name="connsiteX1905" fmla="*/ 2606516 w 6400800"/>
                <a:gd name="connsiteY1905" fmla="*/ 150971 h 514350"/>
                <a:gd name="connsiteX1906" fmla="*/ 2600801 w 6400800"/>
                <a:gd name="connsiteY1906" fmla="*/ 158591 h 514350"/>
                <a:gd name="connsiteX1907" fmla="*/ 2589371 w 6400800"/>
                <a:gd name="connsiteY1907" fmla="*/ 175736 h 514350"/>
                <a:gd name="connsiteX1908" fmla="*/ 2588419 w 6400800"/>
                <a:gd name="connsiteY1908" fmla="*/ 171926 h 514350"/>
                <a:gd name="connsiteX1909" fmla="*/ 2583656 w 6400800"/>
                <a:gd name="connsiteY1909" fmla="*/ 147161 h 514350"/>
                <a:gd name="connsiteX1910" fmla="*/ 2584609 w 6400800"/>
                <a:gd name="connsiteY1910" fmla="*/ 171926 h 514350"/>
                <a:gd name="connsiteX1911" fmla="*/ 2585561 w 6400800"/>
                <a:gd name="connsiteY1911" fmla="*/ 182404 h 514350"/>
                <a:gd name="connsiteX1912" fmla="*/ 2585561 w 6400800"/>
                <a:gd name="connsiteY1912" fmla="*/ 182404 h 514350"/>
                <a:gd name="connsiteX1913" fmla="*/ 2576036 w 6400800"/>
                <a:gd name="connsiteY1913" fmla="*/ 198596 h 514350"/>
                <a:gd name="connsiteX1914" fmla="*/ 2574131 w 6400800"/>
                <a:gd name="connsiteY1914" fmla="*/ 177641 h 514350"/>
                <a:gd name="connsiteX1915" fmla="*/ 2573179 w 6400800"/>
                <a:gd name="connsiteY1915" fmla="*/ 157639 h 514350"/>
                <a:gd name="connsiteX1916" fmla="*/ 2571274 w 6400800"/>
                <a:gd name="connsiteY1916" fmla="*/ 170974 h 514350"/>
                <a:gd name="connsiteX1917" fmla="*/ 2571274 w 6400800"/>
                <a:gd name="connsiteY1917" fmla="*/ 170021 h 514350"/>
                <a:gd name="connsiteX1918" fmla="*/ 2569369 w 6400800"/>
                <a:gd name="connsiteY1918" fmla="*/ 149066 h 514350"/>
                <a:gd name="connsiteX1919" fmla="*/ 2568416 w 6400800"/>
                <a:gd name="connsiteY1919" fmla="*/ 130016 h 514350"/>
                <a:gd name="connsiteX1920" fmla="*/ 2567464 w 6400800"/>
                <a:gd name="connsiteY1920" fmla="*/ 99536 h 514350"/>
                <a:gd name="connsiteX1921" fmla="*/ 2566511 w 6400800"/>
                <a:gd name="connsiteY1921" fmla="*/ 72866 h 514350"/>
                <a:gd name="connsiteX1922" fmla="*/ 2562701 w 6400800"/>
                <a:gd name="connsiteY1922" fmla="*/ 99536 h 514350"/>
                <a:gd name="connsiteX1923" fmla="*/ 2560796 w 6400800"/>
                <a:gd name="connsiteY1923" fmla="*/ 130016 h 514350"/>
                <a:gd name="connsiteX1924" fmla="*/ 2559844 w 6400800"/>
                <a:gd name="connsiteY1924" fmla="*/ 149066 h 514350"/>
                <a:gd name="connsiteX1925" fmla="*/ 2559844 w 6400800"/>
                <a:gd name="connsiteY1925" fmla="*/ 170021 h 514350"/>
                <a:gd name="connsiteX1926" fmla="*/ 2560796 w 6400800"/>
                <a:gd name="connsiteY1926" fmla="*/ 195739 h 514350"/>
                <a:gd name="connsiteX1927" fmla="*/ 2558891 w 6400800"/>
                <a:gd name="connsiteY1927" fmla="*/ 191929 h 514350"/>
                <a:gd name="connsiteX1928" fmla="*/ 2561749 w 6400800"/>
                <a:gd name="connsiteY1928" fmla="*/ 200501 h 514350"/>
                <a:gd name="connsiteX1929" fmla="*/ 2562701 w 6400800"/>
                <a:gd name="connsiteY1929" fmla="*/ 217646 h 514350"/>
                <a:gd name="connsiteX1930" fmla="*/ 2562701 w 6400800"/>
                <a:gd name="connsiteY1930" fmla="*/ 223361 h 514350"/>
                <a:gd name="connsiteX1931" fmla="*/ 2551271 w 6400800"/>
                <a:gd name="connsiteY1931" fmla="*/ 247174 h 514350"/>
                <a:gd name="connsiteX1932" fmla="*/ 2549366 w 6400800"/>
                <a:gd name="connsiteY1932" fmla="*/ 230029 h 514350"/>
                <a:gd name="connsiteX1933" fmla="*/ 2555081 w 6400800"/>
                <a:gd name="connsiteY1933" fmla="*/ 212884 h 514350"/>
                <a:gd name="connsiteX1934" fmla="*/ 2546509 w 6400800"/>
                <a:gd name="connsiteY1934" fmla="*/ 228124 h 514350"/>
                <a:gd name="connsiteX1935" fmla="*/ 2547461 w 6400800"/>
                <a:gd name="connsiteY1935" fmla="*/ 222409 h 514350"/>
                <a:gd name="connsiteX1936" fmla="*/ 2553176 w 6400800"/>
                <a:gd name="connsiteY1936" fmla="*/ 196691 h 514350"/>
                <a:gd name="connsiteX1937" fmla="*/ 2543651 w 6400800"/>
                <a:gd name="connsiteY1937" fmla="*/ 221456 h 514350"/>
                <a:gd name="connsiteX1938" fmla="*/ 2536984 w 6400800"/>
                <a:gd name="connsiteY1938" fmla="*/ 246221 h 514350"/>
                <a:gd name="connsiteX1939" fmla="*/ 2536984 w 6400800"/>
                <a:gd name="connsiteY1939" fmla="*/ 244316 h 514350"/>
                <a:gd name="connsiteX1940" fmla="*/ 2534126 w 6400800"/>
                <a:gd name="connsiteY1940" fmla="*/ 221456 h 514350"/>
                <a:gd name="connsiteX1941" fmla="*/ 2533174 w 6400800"/>
                <a:gd name="connsiteY1941" fmla="*/ 244316 h 514350"/>
                <a:gd name="connsiteX1942" fmla="*/ 2533174 w 6400800"/>
                <a:gd name="connsiteY1942" fmla="*/ 250984 h 514350"/>
                <a:gd name="connsiteX1943" fmla="*/ 2532221 w 6400800"/>
                <a:gd name="connsiteY1943" fmla="*/ 245269 h 514350"/>
                <a:gd name="connsiteX1944" fmla="*/ 2524601 w 6400800"/>
                <a:gd name="connsiteY1944" fmla="*/ 213836 h 514350"/>
                <a:gd name="connsiteX1945" fmla="*/ 2517934 w 6400800"/>
                <a:gd name="connsiteY1945" fmla="*/ 190024 h 514350"/>
                <a:gd name="connsiteX1946" fmla="*/ 2511266 w 6400800"/>
                <a:gd name="connsiteY1946" fmla="*/ 169069 h 514350"/>
                <a:gd name="connsiteX1947" fmla="*/ 2514124 w 6400800"/>
                <a:gd name="connsiteY1947" fmla="*/ 190976 h 514350"/>
                <a:gd name="connsiteX1948" fmla="*/ 2516981 w 6400800"/>
                <a:gd name="connsiteY1948" fmla="*/ 215741 h 514350"/>
                <a:gd name="connsiteX1949" fmla="*/ 2520791 w 6400800"/>
                <a:gd name="connsiteY1949" fmla="*/ 248126 h 514350"/>
                <a:gd name="connsiteX1950" fmla="*/ 2523649 w 6400800"/>
                <a:gd name="connsiteY1950" fmla="*/ 277654 h 514350"/>
                <a:gd name="connsiteX1951" fmla="*/ 2521744 w 6400800"/>
                <a:gd name="connsiteY1951" fmla="*/ 282416 h 514350"/>
                <a:gd name="connsiteX1952" fmla="*/ 2516981 w 6400800"/>
                <a:gd name="connsiteY1952" fmla="*/ 263366 h 514350"/>
                <a:gd name="connsiteX1953" fmla="*/ 2511266 w 6400800"/>
                <a:gd name="connsiteY1953" fmla="*/ 243364 h 514350"/>
                <a:gd name="connsiteX1954" fmla="*/ 2513171 w 6400800"/>
                <a:gd name="connsiteY1954" fmla="*/ 264319 h 514350"/>
                <a:gd name="connsiteX1955" fmla="*/ 2514124 w 6400800"/>
                <a:gd name="connsiteY1955" fmla="*/ 277654 h 514350"/>
                <a:gd name="connsiteX1956" fmla="*/ 2504599 w 6400800"/>
                <a:gd name="connsiteY1956" fmla="*/ 256699 h 514350"/>
                <a:gd name="connsiteX1957" fmla="*/ 2504599 w 6400800"/>
                <a:gd name="connsiteY1957" fmla="*/ 253841 h 514350"/>
                <a:gd name="connsiteX1958" fmla="*/ 2503646 w 6400800"/>
                <a:gd name="connsiteY1958" fmla="*/ 255746 h 514350"/>
                <a:gd name="connsiteX1959" fmla="*/ 2497931 w 6400800"/>
                <a:gd name="connsiteY1959" fmla="*/ 243364 h 514350"/>
                <a:gd name="connsiteX1960" fmla="*/ 2502694 w 6400800"/>
                <a:gd name="connsiteY1960" fmla="*/ 259556 h 514350"/>
                <a:gd name="connsiteX1961" fmla="*/ 2499836 w 6400800"/>
                <a:gd name="connsiteY1961" fmla="*/ 267176 h 514350"/>
                <a:gd name="connsiteX1962" fmla="*/ 2498884 w 6400800"/>
                <a:gd name="connsiteY1962" fmla="*/ 270034 h 514350"/>
                <a:gd name="connsiteX1963" fmla="*/ 2494121 w 6400800"/>
                <a:gd name="connsiteY1963" fmla="*/ 223361 h 514350"/>
                <a:gd name="connsiteX1964" fmla="*/ 2496026 w 6400800"/>
                <a:gd name="connsiteY1964" fmla="*/ 220504 h 514350"/>
                <a:gd name="connsiteX1965" fmla="*/ 2506504 w 6400800"/>
                <a:gd name="connsiteY1965" fmla="*/ 203359 h 514350"/>
                <a:gd name="connsiteX1966" fmla="*/ 2510314 w 6400800"/>
                <a:gd name="connsiteY1966" fmla="*/ 197644 h 514350"/>
                <a:gd name="connsiteX1967" fmla="*/ 2505551 w 6400800"/>
                <a:gd name="connsiteY1967" fmla="*/ 203359 h 514350"/>
                <a:gd name="connsiteX1968" fmla="*/ 2493169 w 6400800"/>
                <a:gd name="connsiteY1968" fmla="*/ 217646 h 514350"/>
                <a:gd name="connsiteX1969" fmla="*/ 2493169 w 6400800"/>
                <a:gd name="connsiteY1969" fmla="*/ 216694 h 514350"/>
                <a:gd name="connsiteX1970" fmla="*/ 2491264 w 6400800"/>
                <a:gd name="connsiteY1970" fmla="*/ 196691 h 514350"/>
                <a:gd name="connsiteX1971" fmla="*/ 2501741 w 6400800"/>
                <a:gd name="connsiteY1971" fmla="*/ 183356 h 514350"/>
                <a:gd name="connsiteX1972" fmla="*/ 2490311 w 6400800"/>
                <a:gd name="connsiteY1972" fmla="*/ 192881 h 514350"/>
                <a:gd name="connsiteX1973" fmla="*/ 2489359 w 6400800"/>
                <a:gd name="connsiteY1973" fmla="*/ 176689 h 514350"/>
                <a:gd name="connsiteX1974" fmla="*/ 2497931 w 6400800"/>
                <a:gd name="connsiteY1974" fmla="*/ 165259 h 514350"/>
                <a:gd name="connsiteX1975" fmla="*/ 2502694 w 6400800"/>
                <a:gd name="connsiteY1975" fmla="*/ 159544 h 514350"/>
                <a:gd name="connsiteX1976" fmla="*/ 2496979 w 6400800"/>
                <a:gd name="connsiteY1976" fmla="*/ 164306 h 514350"/>
                <a:gd name="connsiteX1977" fmla="*/ 2489359 w 6400800"/>
                <a:gd name="connsiteY1977" fmla="*/ 171926 h 514350"/>
                <a:gd name="connsiteX1978" fmla="*/ 2488406 w 6400800"/>
                <a:gd name="connsiteY1978" fmla="*/ 153829 h 514350"/>
                <a:gd name="connsiteX1979" fmla="*/ 2487454 w 6400800"/>
                <a:gd name="connsiteY1979" fmla="*/ 135731 h 514350"/>
                <a:gd name="connsiteX1980" fmla="*/ 2494121 w 6400800"/>
                <a:gd name="connsiteY1980" fmla="*/ 125254 h 514350"/>
                <a:gd name="connsiteX1981" fmla="*/ 2487454 w 6400800"/>
                <a:gd name="connsiteY1981" fmla="*/ 132874 h 514350"/>
                <a:gd name="connsiteX1982" fmla="*/ 2487454 w 6400800"/>
                <a:gd name="connsiteY1982" fmla="*/ 129064 h 514350"/>
                <a:gd name="connsiteX1983" fmla="*/ 2486501 w 6400800"/>
                <a:gd name="connsiteY1983" fmla="*/ 132874 h 514350"/>
                <a:gd name="connsiteX1984" fmla="*/ 2475071 w 6400800"/>
                <a:gd name="connsiteY1984" fmla="*/ 146209 h 514350"/>
                <a:gd name="connsiteX1985" fmla="*/ 2455069 w 6400800"/>
                <a:gd name="connsiteY1985" fmla="*/ 171926 h 514350"/>
                <a:gd name="connsiteX1986" fmla="*/ 2442686 w 6400800"/>
                <a:gd name="connsiteY1986" fmla="*/ 188119 h 514350"/>
                <a:gd name="connsiteX1987" fmla="*/ 2433161 w 6400800"/>
                <a:gd name="connsiteY1987" fmla="*/ 203359 h 514350"/>
                <a:gd name="connsiteX1988" fmla="*/ 2432209 w 6400800"/>
                <a:gd name="connsiteY1988" fmla="*/ 191929 h 514350"/>
                <a:gd name="connsiteX1989" fmla="*/ 2425541 w 6400800"/>
                <a:gd name="connsiteY1989" fmla="*/ 110966 h 514350"/>
                <a:gd name="connsiteX1990" fmla="*/ 2424589 w 6400800"/>
                <a:gd name="connsiteY1990" fmla="*/ 88106 h 514350"/>
                <a:gd name="connsiteX1991" fmla="*/ 2424589 w 6400800"/>
                <a:gd name="connsiteY1991" fmla="*/ 80486 h 514350"/>
                <a:gd name="connsiteX1992" fmla="*/ 2423636 w 6400800"/>
                <a:gd name="connsiteY1992" fmla="*/ 88106 h 514350"/>
                <a:gd name="connsiteX1993" fmla="*/ 2421731 w 6400800"/>
                <a:gd name="connsiteY1993" fmla="*/ 110966 h 514350"/>
                <a:gd name="connsiteX1994" fmla="*/ 2420779 w 6400800"/>
                <a:gd name="connsiteY1994" fmla="*/ 146209 h 514350"/>
                <a:gd name="connsiteX1995" fmla="*/ 2421731 w 6400800"/>
                <a:gd name="connsiteY1995" fmla="*/ 191929 h 514350"/>
                <a:gd name="connsiteX1996" fmla="*/ 2422684 w 6400800"/>
                <a:gd name="connsiteY1996" fmla="*/ 220504 h 514350"/>
                <a:gd name="connsiteX1997" fmla="*/ 2405539 w 6400800"/>
                <a:gd name="connsiteY1997" fmla="*/ 250031 h 514350"/>
                <a:gd name="connsiteX1998" fmla="*/ 2401729 w 6400800"/>
                <a:gd name="connsiteY1998" fmla="*/ 256699 h 514350"/>
                <a:gd name="connsiteX1999" fmla="*/ 2400776 w 6400800"/>
                <a:gd name="connsiteY1999" fmla="*/ 255746 h 514350"/>
                <a:gd name="connsiteX2000" fmla="*/ 2392204 w 6400800"/>
                <a:gd name="connsiteY2000" fmla="*/ 233839 h 514350"/>
                <a:gd name="connsiteX2001" fmla="*/ 2385536 w 6400800"/>
                <a:gd name="connsiteY2001" fmla="*/ 170974 h 514350"/>
                <a:gd name="connsiteX2002" fmla="*/ 2382679 w 6400800"/>
                <a:gd name="connsiteY2002" fmla="*/ 150971 h 514350"/>
                <a:gd name="connsiteX2003" fmla="*/ 2384584 w 6400800"/>
                <a:gd name="connsiteY2003" fmla="*/ 140494 h 514350"/>
                <a:gd name="connsiteX2004" fmla="*/ 2382679 w 6400800"/>
                <a:gd name="connsiteY2004" fmla="*/ 135731 h 514350"/>
                <a:gd name="connsiteX2005" fmla="*/ 2390299 w 6400800"/>
                <a:gd name="connsiteY2005" fmla="*/ 114776 h 514350"/>
                <a:gd name="connsiteX2006" fmla="*/ 2427446 w 6400800"/>
                <a:gd name="connsiteY2006" fmla="*/ 12859 h 514350"/>
                <a:gd name="connsiteX2007" fmla="*/ 2380774 w 6400800"/>
                <a:gd name="connsiteY2007" fmla="*/ 110014 h 514350"/>
                <a:gd name="connsiteX2008" fmla="*/ 2358866 w 6400800"/>
                <a:gd name="connsiteY2008" fmla="*/ 157639 h 514350"/>
                <a:gd name="connsiteX2009" fmla="*/ 2355056 w 6400800"/>
                <a:gd name="connsiteY2009" fmla="*/ 166211 h 514350"/>
                <a:gd name="connsiteX2010" fmla="*/ 2357914 w 6400800"/>
                <a:gd name="connsiteY2010" fmla="*/ 155734 h 514350"/>
                <a:gd name="connsiteX2011" fmla="*/ 2362676 w 6400800"/>
                <a:gd name="connsiteY2011" fmla="*/ 132874 h 514350"/>
                <a:gd name="connsiteX2012" fmla="*/ 2354104 w 6400800"/>
                <a:gd name="connsiteY2012" fmla="*/ 154781 h 514350"/>
                <a:gd name="connsiteX2013" fmla="*/ 2344579 w 6400800"/>
                <a:gd name="connsiteY2013" fmla="*/ 179546 h 514350"/>
                <a:gd name="connsiteX2014" fmla="*/ 2334101 w 6400800"/>
                <a:gd name="connsiteY2014" fmla="*/ 211931 h 514350"/>
                <a:gd name="connsiteX2015" fmla="*/ 2334101 w 6400800"/>
                <a:gd name="connsiteY2015" fmla="*/ 211931 h 514350"/>
                <a:gd name="connsiteX2016" fmla="*/ 2340769 w 6400800"/>
                <a:gd name="connsiteY2016" fmla="*/ 171926 h 514350"/>
                <a:gd name="connsiteX2017" fmla="*/ 2347436 w 6400800"/>
                <a:gd name="connsiteY2017" fmla="*/ 130969 h 514350"/>
                <a:gd name="connsiteX2018" fmla="*/ 2354104 w 6400800"/>
                <a:gd name="connsiteY2018" fmla="*/ 99536 h 514350"/>
                <a:gd name="connsiteX2019" fmla="*/ 2358866 w 6400800"/>
                <a:gd name="connsiteY2019" fmla="*/ 71914 h 514350"/>
                <a:gd name="connsiteX2020" fmla="*/ 2350294 w 6400800"/>
                <a:gd name="connsiteY2020" fmla="*/ 98584 h 514350"/>
                <a:gd name="connsiteX2021" fmla="*/ 2340769 w 6400800"/>
                <a:gd name="connsiteY2021" fmla="*/ 129064 h 514350"/>
                <a:gd name="connsiteX2022" fmla="*/ 2330291 w 6400800"/>
                <a:gd name="connsiteY2022" fmla="*/ 170021 h 514350"/>
                <a:gd name="connsiteX2023" fmla="*/ 2324576 w 6400800"/>
                <a:gd name="connsiteY2023" fmla="*/ 193834 h 514350"/>
                <a:gd name="connsiteX2024" fmla="*/ 2320766 w 6400800"/>
                <a:gd name="connsiteY2024" fmla="*/ 185261 h 514350"/>
                <a:gd name="connsiteX2025" fmla="*/ 2326481 w 6400800"/>
                <a:gd name="connsiteY2025" fmla="*/ 157639 h 514350"/>
                <a:gd name="connsiteX2026" fmla="*/ 2318861 w 6400800"/>
                <a:gd name="connsiteY2026" fmla="*/ 179546 h 514350"/>
                <a:gd name="connsiteX2027" fmla="*/ 2315051 w 6400800"/>
                <a:gd name="connsiteY2027" fmla="*/ 170974 h 514350"/>
                <a:gd name="connsiteX2028" fmla="*/ 2317909 w 6400800"/>
                <a:gd name="connsiteY2028" fmla="*/ 181451 h 514350"/>
                <a:gd name="connsiteX2029" fmla="*/ 2313146 w 6400800"/>
                <a:gd name="connsiteY2029" fmla="*/ 193834 h 514350"/>
                <a:gd name="connsiteX2030" fmla="*/ 2311241 w 6400800"/>
                <a:gd name="connsiteY2030" fmla="*/ 190976 h 514350"/>
                <a:gd name="connsiteX2031" fmla="*/ 2314099 w 6400800"/>
                <a:gd name="connsiteY2031" fmla="*/ 141446 h 514350"/>
                <a:gd name="connsiteX2032" fmla="*/ 2298859 w 6400800"/>
                <a:gd name="connsiteY2032" fmla="*/ 202406 h 514350"/>
                <a:gd name="connsiteX2033" fmla="*/ 2292191 w 6400800"/>
                <a:gd name="connsiteY2033" fmla="*/ 231934 h 514350"/>
                <a:gd name="connsiteX2034" fmla="*/ 2289334 w 6400800"/>
                <a:gd name="connsiteY2034" fmla="*/ 250031 h 514350"/>
                <a:gd name="connsiteX2035" fmla="*/ 2285524 w 6400800"/>
                <a:gd name="connsiteY2035" fmla="*/ 259556 h 514350"/>
                <a:gd name="connsiteX2036" fmla="*/ 2275999 w 6400800"/>
                <a:gd name="connsiteY2036" fmla="*/ 287179 h 514350"/>
                <a:gd name="connsiteX2037" fmla="*/ 2275999 w 6400800"/>
                <a:gd name="connsiteY2037" fmla="*/ 288131 h 514350"/>
                <a:gd name="connsiteX2038" fmla="*/ 2275999 w 6400800"/>
                <a:gd name="connsiteY2038" fmla="*/ 282416 h 514350"/>
                <a:gd name="connsiteX2039" fmla="*/ 2276951 w 6400800"/>
                <a:gd name="connsiteY2039" fmla="*/ 265271 h 514350"/>
                <a:gd name="connsiteX2040" fmla="*/ 2272189 w 6400800"/>
                <a:gd name="connsiteY2040" fmla="*/ 281464 h 514350"/>
                <a:gd name="connsiteX2041" fmla="*/ 2269331 w 6400800"/>
                <a:gd name="connsiteY2041" fmla="*/ 290989 h 514350"/>
                <a:gd name="connsiteX2042" fmla="*/ 2269331 w 6400800"/>
                <a:gd name="connsiteY2042" fmla="*/ 290989 h 514350"/>
                <a:gd name="connsiteX2043" fmla="*/ 2269331 w 6400800"/>
                <a:gd name="connsiteY2043" fmla="*/ 261461 h 514350"/>
                <a:gd name="connsiteX2044" fmla="*/ 2270284 w 6400800"/>
                <a:gd name="connsiteY2044" fmla="*/ 238601 h 514350"/>
                <a:gd name="connsiteX2045" fmla="*/ 2272189 w 6400800"/>
                <a:gd name="connsiteY2045" fmla="*/ 225266 h 514350"/>
                <a:gd name="connsiteX2046" fmla="*/ 2275999 w 6400800"/>
                <a:gd name="connsiteY2046" fmla="*/ 210979 h 514350"/>
                <a:gd name="connsiteX2047" fmla="*/ 2266474 w 6400800"/>
                <a:gd name="connsiteY2047" fmla="*/ 232886 h 514350"/>
                <a:gd name="connsiteX2048" fmla="*/ 2267426 w 6400800"/>
                <a:gd name="connsiteY2048" fmla="*/ 228124 h 514350"/>
                <a:gd name="connsiteX2049" fmla="*/ 2263616 w 6400800"/>
                <a:gd name="connsiteY2049" fmla="*/ 235744 h 514350"/>
                <a:gd name="connsiteX2050" fmla="*/ 2265521 w 6400800"/>
                <a:gd name="connsiteY2050" fmla="*/ 220504 h 514350"/>
                <a:gd name="connsiteX2051" fmla="*/ 2256949 w 6400800"/>
                <a:gd name="connsiteY2051" fmla="*/ 247174 h 514350"/>
                <a:gd name="connsiteX2052" fmla="*/ 2252186 w 6400800"/>
                <a:gd name="connsiteY2052" fmla="*/ 258604 h 514350"/>
                <a:gd name="connsiteX2053" fmla="*/ 2250281 w 6400800"/>
                <a:gd name="connsiteY2053" fmla="*/ 262414 h 514350"/>
                <a:gd name="connsiteX2054" fmla="*/ 2255044 w 6400800"/>
                <a:gd name="connsiteY2054" fmla="*/ 243364 h 514350"/>
                <a:gd name="connsiteX2055" fmla="*/ 2267426 w 6400800"/>
                <a:gd name="connsiteY2055" fmla="*/ 178594 h 514350"/>
                <a:gd name="connsiteX2056" fmla="*/ 2270284 w 6400800"/>
                <a:gd name="connsiteY2056" fmla="*/ 153829 h 514350"/>
                <a:gd name="connsiteX2057" fmla="*/ 2262664 w 6400800"/>
                <a:gd name="connsiteY2057" fmla="*/ 177641 h 514350"/>
                <a:gd name="connsiteX2058" fmla="*/ 2254091 w 6400800"/>
                <a:gd name="connsiteY2058" fmla="*/ 205264 h 514350"/>
                <a:gd name="connsiteX2059" fmla="*/ 2246471 w 6400800"/>
                <a:gd name="connsiteY2059" fmla="*/ 230981 h 514350"/>
                <a:gd name="connsiteX2060" fmla="*/ 2241709 w 6400800"/>
                <a:gd name="connsiteY2060" fmla="*/ 244316 h 514350"/>
                <a:gd name="connsiteX2061" fmla="*/ 2239804 w 6400800"/>
                <a:gd name="connsiteY2061" fmla="*/ 233839 h 514350"/>
                <a:gd name="connsiteX2062" fmla="*/ 2233136 w 6400800"/>
                <a:gd name="connsiteY2062" fmla="*/ 205264 h 514350"/>
                <a:gd name="connsiteX2063" fmla="*/ 2237899 w 6400800"/>
                <a:gd name="connsiteY2063" fmla="*/ 255746 h 514350"/>
                <a:gd name="connsiteX2064" fmla="*/ 2234089 w 6400800"/>
                <a:gd name="connsiteY2064" fmla="*/ 269081 h 514350"/>
                <a:gd name="connsiteX2065" fmla="*/ 2233136 w 6400800"/>
                <a:gd name="connsiteY2065" fmla="*/ 270034 h 514350"/>
                <a:gd name="connsiteX2066" fmla="*/ 2233136 w 6400800"/>
                <a:gd name="connsiteY2066" fmla="*/ 263366 h 514350"/>
                <a:gd name="connsiteX2067" fmla="*/ 2231231 w 6400800"/>
                <a:gd name="connsiteY2067" fmla="*/ 234791 h 514350"/>
                <a:gd name="connsiteX2068" fmla="*/ 2228374 w 6400800"/>
                <a:gd name="connsiteY2068" fmla="*/ 207169 h 514350"/>
                <a:gd name="connsiteX2069" fmla="*/ 2230279 w 6400800"/>
                <a:gd name="connsiteY2069" fmla="*/ 193834 h 514350"/>
                <a:gd name="connsiteX2070" fmla="*/ 2226469 w 6400800"/>
                <a:gd name="connsiteY2070" fmla="*/ 204311 h 514350"/>
                <a:gd name="connsiteX2071" fmla="*/ 2222659 w 6400800"/>
                <a:gd name="connsiteY2071" fmla="*/ 200501 h 514350"/>
                <a:gd name="connsiteX2072" fmla="*/ 2220754 w 6400800"/>
                <a:gd name="connsiteY2072" fmla="*/ 199549 h 514350"/>
                <a:gd name="connsiteX2073" fmla="*/ 2217896 w 6400800"/>
                <a:gd name="connsiteY2073" fmla="*/ 199549 h 514350"/>
                <a:gd name="connsiteX2074" fmla="*/ 2215039 w 6400800"/>
                <a:gd name="connsiteY2074" fmla="*/ 202406 h 514350"/>
                <a:gd name="connsiteX2075" fmla="*/ 2213134 w 6400800"/>
                <a:gd name="connsiteY2075" fmla="*/ 214789 h 514350"/>
                <a:gd name="connsiteX2076" fmla="*/ 2217896 w 6400800"/>
                <a:gd name="connsiteY2076" fmla="*/ 203359 h 514350"/>
                <a:gd name="connsiteX2077" fmla="*/ 2219801 w 6400800"/>
                <a:gd name="connsiteY2077" fmla="*/ 201454 h 514350"/>
                <a:gd name="connsiteX2078" fmla="*/ 2220754 w 6400800"/>
                <a:gd name="connsiteY2078" fmla="*/ 202406 h 514350"/>
                <a:gd name="connsiteX2079" fmla="*/ 2223611 w 6400800"/>
                <a:gd name="connsiteY2079" fmla="*/ 207169 h 514350"/>
                <a:gd name="connsiteX2080" fmla="*/ 2223611 w 6400800"/>
                <a:gd name="connsiteY2080" fmla="*/ 215741 h 514350"/>
                <a:gd name="connsiteX2081" fmla="*/ 2223611 w 6400800"/>
                <a:gd name="connsiteY2081" fmla="*/ 215741 h 514350"/>
                <a:gd name="connsiteX2082" fmla="*/ 2215991 w 6400800"/>
                <a:gd name="connsiteY2082" fmla="*/ 241459 h 514350"/>
                <a:gd name="connsiteX2083" fmla="*/ 2206466 w 6400800"/>
                <a:gd name="connsiteY2083" fmla="*/ 274796 h 514350"/>
                <a:gd name="connsiteX2084" fmla="*/ 2196941 w 6400800"/>
                <a:gd name="connsiteY2084" fmla="*/ 313849 h 514350"/>
                <a:gd name="connsiteX2085" fmla="*/ 2195989 w 6400800"/>
                <a:gd name="connsiteY2085" fmla="*/ 305276 h 514350"/>
                <a:gd name="connsiteX2086" fmla="*/ 2195036 w 6400800"/>
                <a:gd name="connsiteY2086" fmla="*/ 317659 h 514350"/>
                <a:gd name="connsiteX2087" fmla="*/ 2193131 w 6400800"/>
                <a:gd name="connsiteY2087" fmla="*/ 314801 h 514350"/>
                <a:gd name="connsiteX2088" fmla="*/ 2195036 w 6400800"/>
                <a:gd name="connsiteY2088" fmla="*/ 318611 h 514350"/>
                <a:gd name="connsiteX2089" fmla="*/ 2195036 w 6400800"/>
                <a:gd name="connsiteY2089" fmla="*/ 323374 h 514350"/>
                <a:gd name="connsiteX2090" fmla="*/ 2192179 w 6400800"/>
                <a:gd name="connsiteY2090" fmla="*/ 334804 h 514350"/>
                <a:gd name="connsiteX2091" fmla="*/ 2190274 w 6400800"/>
                <a:gd name="connsiteY2091" fmla="*/ 330994 h 514350"/>
                <a:gd name="connsiteX2092" fmla="*/ 2191226 w 6400800"/>
                <a:gd name="connsiteY2092" fmla="*/ 330041 h 514350"/>
                <a:gd name="connsiteX2093" fmla="*/ 2190274 w 6400800"/>
                <a:gd name="connsiteY2093" fmla="*/ 330994 h 514350"/>
                <a:gd name="connsiteX2094" fmla="*/ 2188369 w 6400800"/>
                <a:gd name="connsiteY2094" fmla="*/ 326231 h 514350"/>
                <a:gd name="connsiteX2095" fmla="*/ 2189321 w 6400800"/>
                <a:gd name="connsiteY2095" fmla="*/ 331946 h 514350"/>
                <a:gd name="connsiteX2096" fmla="*/ 2188369 w 6400800"/>
                <a:gd name="connsiteY2096" fmla="*/ 332899 h 514350"/>
                <a:gd name="connsiteX2097" fmla="*/ 2185511 w 6400800"/>
                <a:gd name="connsiteY2097" fmla="*/ 315754 h 514350"/>
                <a:gd name="connsiteX2098" fmla="*/ 2184559 w 6400800"/>
                <a:gd name="connsiteY2098" fmla="*/ 336709 h 514350"/>
                <a:gd name="connsiteX2099" fmla="*/ 2184559 w 6400800"/>
                <a:gd name="connsiteY2099" fmla="*/ 337661 h 514350"/>
                <a:gd name="connsiteX2100" fmla="*/ 2179796 w 6400800"/>
                <a:gd name="connsiteY2100" fmla="*/ 343376 h 514350"/>
                <a:gd name="connsiteX2101" fmla="*/ 2178844 w 6400800"/>
                <a:gd name="connsiteY2101" fmla="*/ 340519 h 514350"/>
                <a:gd name="connsiteX2102" fmla="*/ 2192179 w 6400800"/>
                <a:gd name="connsiteY2102" fmla="*/ 283369 h 514350"/>
                <a:gd name="connsiteX2103" fmla="*/ 2212181 w 6400800"/>
                <a:gd name="connsiteY2103" fmla="*/ 190024 h 514350"/>
                <a:gd name="connsiteX2104" fmla="*/ 2183606 w 6400800"/>
                <a:gd name="connsiteY2104" fmla="*/ 272891 h 514350"/>
                <a:gd name="connsiteX2105" fmla="*/ 2187416 w 6400800"/>
                <a:gd name="connsiteY2105" fmla="*/ 253841 h 514350"/>
                <a:gd name="connsiteX2106" fmla="*/ 2192179 w 6400800"/>
                <a:gd name="connsiteY2106" fmla="*/ 231934 h 514350"/>
                <a:gd name="connsiteX2107" fmla="*/ 2196941 w 6400800"/>
                <a:gd name="connsiteY2107" fmla="*/ 210026 h 514350"/>
                <a:gd name="connsiteX2108" fmla="*/ 2200751 w 6400800"/>
                <a:gd name="connsiteY2108" fmla="*/ 193834 h 514350"/>
                <a:gd name="connsiteX2109" fmla="*/ 2204561 w 6400800"/>
                <a:gd name="connsiteY2109" fmla="*/ 179546 h 514350"/>
                <a:gd name="connsiteX2110" fmla="*/ 2211229 w 6400800"/>
                <a:gd name="connsiteY2110" fmla="*/ 155734 h 514350"/>
                <a:gd name="connsiteX2111" fmla="*/ 2217896 w 6400800"/>
                <a:gd name="connsiteY2111" fmla="*/ 134779 h 514350"/>
                <a:gd name="connsiteX2112" fmla="*/ 2211229 w 6400800"/>
                <a:gd name="connsiteY2112" fmla="*/ 148114 h 514350"/>
                <a:gd name="connsiteX2113" fmla="*/ 2211229 w 6400800"/>
                <a:gd name="connsiteY2113" fmla="*/ 147161 h 514350"/>
                <a:gd name="connsiteX2114" fmla="*/ 2216944 w 6400800"/>
                <a:gd name="connsiteY2114" fmla="*/ 125254 h 514350"/>
                <a:gd name="connsiteX2115" fmla="*/ 2222659 w 6400800"/>
                <a:gd name="connsiteY2115" fmla="*/ 105251 h 514350"/>
                <a:gd name="connsiteX2116" fmla="*/ 2233136 w 6400800"/>
                <a:gd name="connsiteY2116" fmla="*/ 72866 h 514350"/>
                <a:gd name="connsiteX2117" fmla="*/ 2242661 w 6400800"/>
                <a:gd name="connsiteY2117" fmla="*/ 45244 h 514350"/>
                <a:gd name="connsiteX2118" fmla="*/ 2229326 w 6400800"/>
                <a:gd name="connsiteY2118" fmla="*/ 71914 h 514350"/>
                <a:gd name="connsiteX2119" fmla="*/ 2215991 w 6400800"/>
                <a:gd name="connsiteY2119" fmla="*/ 103346 h 514350"/>
                <a:gd name="connsiteX2120" fmla="*/ 2208371 w 6400800"/>
                <a:gd name="connsiteY2120" fmla="*/ 122396 h 514350"/>
                <a:gd name="connsiteX2121" fmla="*/ 2200751 w 6400800"/>
                <a:gd name="connsiteY2121" fmla="*/ 144304 h 514350"/>
                <a:gd name="connsiteX2122" fmla="*/ 2184559 w 6400800"/>
                <a:gd name="connsiteY2122" fmla="*/ 193834 h 514350"/>
                <a:gd name="connsiteX2123" fmla="*/ 2175034 w 6400800"/>
                <a:gd name="connsiteY2123" fmla="*/ 228124 h 514350"/>
                <a:gd name="connsiteX2124" fmla="*/ 2177891 w 6400800"/>
                <a:gd name="connsiteY2124" fmla="*/ 203359 h 514350"/>
                <a:gd name="connsiteX2125" fmla="*/ 2178844 w 6400800"/>
                <a:gd name="connsiteY2125" fmla="*/ 190024 h 514350"/>
                <a:gd name="connsiteX2126" fmla="*/ 2180749 w 6400800"/>
                <a:gd name="connsiteY2126" fmla="*/ 184309 h 514350"/>
                <a:gd name="connsiteX2127" fmla="*/ 2179796 w 6400800"/>
                <a:gd name="connsiteY2127" fmla="*/ 187166 h 514350"/>
                <a:gd name="connsiteX2128" fmla="*/ 2180749 w 6400800"/>
                <a:gd name="connsiteY2128" fmla="*/ 176689 h 514350"/>
                <a:gd name="connsiteX2129" fmla="*/ 2175986 w 6400800"/>
                <a:gd name="connsiteY2129" fmla="*/ 194786 h 514350"/>
                <a:gd name="connsiteX2130" fmla="*/ 2170271 w 6400800"/>
                <a:gd name="connsiteY2130" fmla="*/ 208121 h 514350"/>
                <a:gd name="connsiteX2131" fmla="*/ 2144554 w 6400800"/>
                <a:gd name="connsiteY2131" fmla="*/ 271939 h 514350"/>
                <a:gd name="connsiteX2132" fmla="*/ 2135029 w 6400800"/>
                <a:gd name="connsiteY2132" fmla="*/ 296704 h 514350"/>
                <a:gd name="connsiteX2133" fmla="*/ 2135029 w 6400800"/>
                <a:gd name="connsiteY2133" fmla="*/ 295751 h 514350"/>
                <a:gd name="connsiteX2134" fmla="*/ 2129314 w 6400800"/>
                <a:gd name="connsiteY2134" fmla="*/ 282416 h 514350"/>
                <a:gd name="connsiteX2135" fmla="*/ 2137886 w 6400800"/>
                <a:gd name="connsiteY2135" fmla="*/ 231934 h 514350"/>
                <a:gd name="connsiteX2136" fmla="*/ 2141696 w 6400800"/>
                <a:gd name="connsiteY2136" fmla="*/ 210026 h 514350"/>
                <a:gd name="connsiteX2137" fmla="*/ 2134076 w 6400800"/>
                <a:gd name="connsiteY2137" fmla="*/ 230981 h 514350"/>
                <a:gd name="connsiteX2138" fmla="*/ 2123599 w 6400800"/>
                <a:gd name="connsiteY2138" fmla="*/ 263366 h 514350"/>
                <a:gd name="connsiteX2139" fmla="*/ 2122646 w 6400800"/>
                <a:gd name="connsiteY2139" fmla="*/ 253841 h 514350"/>
                <a:gd name="connsiteX2140" fmla="*/ 2117884 w 6400800"/>
                <a:gd name="connsiteY2140" fmla="*/ 211931 h 514350"/>
                <a:gd name="connsiteX2141" fmla="*/ 2112169 w 6400800"/>
                <a:gd name="connsiteY2141" fmla="*/ 176689 h 514350"/>
                <a:gd name="connsiteX2142" fmla="*/ 2107406 w 6400800"/>
                <a:gd name="connsiteY2142" fmla="*/ 150019 h 514350"/>
                <a:gd name="connsiteX2143" fmla="*/ 2102644 w 6400800"/>
                <a:gd name="connsiteY2143" fmla="*/ 127159 h 514350"/>
                <a:gd name="connsiteX2144" fmla="*/ 2103596 w 6400800"/>
                <a:gd name="connsiteY2144" fmla="*/ 150971 h 514350"/>
                <a:gd name="connsiteX2145" fmla="*/ 2104549 w 6400800"/>
                <a:gd name="connsiteY2145" fmla="*/ 168116 h 514350"/>
                <a:gd name="connsiteX2146" fmla="*/ 2104549 w 6400800"/>
                <a:gd name="connsiteY2146" fmla="*/ 183356 h 514350"/>
                <a:gd name="connsiteX2147" fmla="*/ 2105501 w 6400800"/>
                <a:gd name="connsiteY2147" fmla="*/ 207169 h 514350"/>
                <a:gd name="connsiteX2148" fmla="*/ 2106454 w 6400800"/>
                <a:gd name="connsiteY2148" fmla="*/ 225266 h 514350"/>
                <a:gd name="connsiteX2149" fmla="*/ 2104549 w 6400800"/>
                <a:gd name="connsiteY2149" fmla="*/ 221456 h 514350"/>
                <a:gd name="connsiteX2150" fmla="*/ 2104549 w 6400800"/>
                <a:gd name="connsiteY2150" fmla="*/ 221456 h 514350"/>
                <a:gd name="connsiteX2151" fmla="*/ 2104549 w 6400800"/>
                <a:gd name="connsiteY2151" fmla="*/ 221456 h 514350"/>
                <a:gd name="connsiteX2152" fmla="*/ 2102644 w 6400800"/>
                <a:gd name="connsiteY2152" fmla="*/ 215741 h 514350"/>
                <a:gd name="connsiteX2153" fmla="*/ 2101691 w 6400800"/>
                <a:gd name="connsiteY2153" fmla="*/ 205264 h 514350"/>
                <a:gd name="connsiteX2154" fmla="*/ 2098834 w 6400800"/>
                <a:gd name="connsiteY2154" fmla="*/ 176689 h 514350"/>
                <a:gd name="connsiteX2155" fmla="*/ 2097881 w 6400800"/>
                <a:gd name="connsiteY2155" fmla="*/ 168116 h 514350"/>
                <a:gd name="connsiteX2156" fmla="*/ 2102644 w 6400800"/>
                <a:gd name="connsiteY2156" fmla="*/ 149066 h 514350"/>
                <a:gd name="connsiteX2157" fmla="*/ 2096929 w 6400800"/>
                <a:gd name="connsiteY2157" fmla="*/ 162401 h 514350"/>
                <a:gd name="connsiteX2158" fmla="*/ 2095024 w 6400800"/>
                <a:gd name="connsiteY2158" fmla="*/ 151924 h 514350"/>
                <a:gd name="connsiteX2159" fmla="*/ 2095024 w 6400800"/>
                <a:gd name="connsiteY2159" fmla="*/ 167164 h 514350"/>
                <a:gd name="connsiteX2160" fmla="*/ 2066449 w 6400800"/>
                <a:gd name="connsiteY2160" fmla="*/ 235744 h 514350"/>
                <a:gd name="connsiteX2161" fmla="*/ 2056924 w 6400800"/>
                <a:gd name="connsiteY2161" fmla="*/ 259556 h 514350"/>
                <a:gd name="connsiteX2162" fmla="*/ 2063591 w 6400800"/>
                <a:gd name="connsiteY2162" fmla="*/ 219551 h 514350"/>
                <a:gd name="connsiteX2163" fmla="*/ 2052161 w 6400800"/>
                <a:gd name="connsiteY2163" fmla="*/ 252889 h 514350"/>
                <a:gd name="connsiteX2164" fmla="*/ 2050256 w 6400800"/>
                <a:gd name="connsiteY2164" fmla="*/ 248126 h 514350"/>
                <a:gd name="connsiteX2165" fmla="*/ 2050256 w 6400800"/>
                <a:gd name="connsiteY2165" fmla="*/ 233839 h 514350"/>
                <a:gd name="connsiteX2166" fmla="*/ 2048351 w 6400800"/>
                <a:gd name="connsiteY2166" fmla="*/ 244316 h 514350"/>
                <a:gd name="connsiteX2167" fmla="*/ 2046446 w 6400800"/>
                <a:gd name="connsiteY2167" fmla="*/ 240506 h 514350"/>
                <a:gd name="connsiteX2168" fmla="*/ 2047399 w 6400800"/>
                <a:gd name="connsiteY2168" fmla="*/ 247174 h 514350"/>
                <a:gd name="connsiteX2169" fmla="*/ 2044541 w 6400800"/>
                <a:gd name="connsiteY2169" fmla="*/ 266224 h 514350"/>
                <a:gd name="connsiteX2170" fmla="*/ 2043589 w 6400800"/>
                <a:gd name="connsiteY2170" fmla="*/ 259556 h 514350"/>
                <a:gd name="connsiteX2171" fmla="*/ 2041684 w 6400800"/>
                <a:gd name="connsiteY2171" fmla="*/ 249079 h 514350"/>
                <a:gd name="connsiteX2172" fmla="*/ 2048351 w 6400800"/>
                <a:gd name="connsiteY2172" fmla="*/ 184309 h 514350"/>
                <a:gd name="connsiteX2173" fmla="*/ 2039779 w 6400800"/>
                <a:gd name="connsiteY2173" fmla="*/ 216694 h 514350"/>
                <a:gd name="connsiteX2174" fmla="*/ 2036921 w 6400800"/>
                <a:gd name="connsiteY2174" fmla="*/ 223361 h 514350"/>
                <a:gd name="connsiteX2175" fmla="*/ 2035969 w 6400800"/>
                <a:gd name="connsiteY2175" fmla="*/ 218599 h 514350"/>
                <a:gd name="connsiteX2176" fmla="*/ 2031206 w 6400800"/>
                <a:gd name="connsiteY2176" fmla="*/ 187166 h 514350"/>
                <a:gd name="connsiteX2177" fmla="*/ 2028349 w 6400800"/>
                <a:gd name="connsiteY2177" fmla="*/ 169069 h 514350"/>
                <a:gd name="connsiteX2178" fmla="*/ 2031206 w 6400800"/>
                <a:gd name="connsiteY2178" fmla="*/ 147161 h 514350"/>
                <a:gd name="connsiteX2179" fmla="*/ 2028349 w 6400800"/>
                <a:gd name="connsiteY2179" fmla="*/ 157639 h 514350"/>
                <a:gd name="connsiteX2180" fmla="*/ 2030254 w 6400800"/>
                <a:gd name="connsiteY2180" fmla="*/ 138589 h 514350"/>
                <a:gd name="connsiteX2181" fmla="*/ 2023586 w 6400800"/>
                <a:gd name="connsiteY2181" fmla="*/ 160496 h 514350"/>
                <a:gd name="connsiteX2182" fmla="*/ 2017871 w 6400800"/>
                <a:gd name="connsiteY2182" fmla="*/ 186214 h 514350"/>
                <a:gd name="connsiteX2183" fmla="*/ 2016919 w 6400800"/>
                <a:gd name="connsiteY2183" fmla="*/ 191929 h 514350"/>
                <a:gd name="connsiteX2184" fmla="*/ 2016919 w 6400800"/>
                <a:gd name="connsiteY2184" fmla="*/ 190976 h 514350"/>
                <a:gd name="connsiteX2185" fmla="*/ 2019776 w 6400800"/>
                <a:gd name="connsiteY2185" fmla="*/ 158591 h 514350"/>
                <a:gd name="connsiteX2186" fmla="*/ 2015014 w 6400800"/>
                <a:gd name="connsiteY2186" fmla="*/ 178594 h 514350"/>
                <a:gd name="connsiteX2187" fmla="*/ 2014061 w 6400800"/>
                <a:gd name="connsiteY2187" fmla="*/ 174784 h 514350"/>
                <a:gd name="connsiteX2188" fmla="*/ 2014061 w 6400800"/>
                <a:gd name="connsiteY2188" fmla="*/ 177641 h 514350"/>
                <a:gd name="connsiteX2189" fmla="*/ 2011204 w 6400800"/>
                <a:gd name="connsiteY2189" fmla="*/ 163354 h 514350"/>
                <a:gd name="connsiteX2190" fmla="*/ 2003584 w 6400800"/>
                <a:gd name="connsiteY2190" fmla="*/ 125254 h 514350"/>
                <a:gd name="connsiteX2191" fmla="*/ 1996916 w 6400800"/>
                <a:gd name="connsiteY2191" fmla="*/ 91916 h 514350"/>
                <a:gd name="connsiteX2192" fmla="*/ 1999774 w 6400800"/>
                <a:gd name="connsiteY2192" fmla="*/ 125254 h 514350"/>
                <a:gd name="connsiteX2193" fmla="*/ 2003584 w 6400800"/>
                <a:gd name="connsiteY2193" fmla="*/ 164306 h 514350"/>
                <a:gd name="connsiteX2194" fmla="*/ 2008346 w 6400800"/>
                <a:gd name="connsiteY2194" fmla="*/ 203359 h 514350"/>
                <a:gd name="connsiteX2195" fmla="*/ 1999774 w 6400800"/>
                <a:gd name="connsiteY2195" fmla="*/ 240506 h 514350"/>
                <a:gd name="connsiteX2196" fmla="*/ 1984534 w 6400800"/>
                <a:gd name="connsiteY2196" fmla="*/ 314801 h 514350"/>
                <a:gd name="connsiteX2197" fmla="*/ 1984534 w 6400800"/>
                <a:gd name="connsiteY2197" fmla="*/ 283369 h 514350"/>
                <a:gd name="connsiteX2198" fmla="*/ 1984534 w 6400800"/>
                <a:gd name="connsiteY2198" fmla="*/ 267176 h 514350"/>
                <a:gd name="connsiteX2199" fmla="*/ 1986439 w 6400800"/>
                <a:gd name="connsiteY2199" fmla="*/ 263366 h 514350"/>
                <a:gd name="connsiteX2200" fmla="*/ 1984534 w 6400800"/>
                <a:gd name="connsiteY2200" fmla="*/ 265271 h 514350"/>
                <a:gd name="connsiteX2201" fmla="*/ 1985486 w 6400800"/>
                <a:gd name="connsiteY2201" fmla="*/ 243364 h 514350"/>
                <a:gd name="connsiteX2202" fmla="*/ 1987391 w 6400800"/>
                <a:gd name="connsiteY2202" fmla="*/ 212884 h 514350"/>
                <a:gd name="connsiteX2203" fmla="*/ 1989296 w 6400800"/>
                <a:gd name="connsiteY2203" fmla="*/ 186214 h 514350"/>
                <a:gd name="connsiteX2204" fmla="*/ 1983581 w 6400800"/>
                <a:gd name="connsiteY2204" fmla="*/ 211931 h 514350"/>
                <a:gd name="connsiteX2205" fmla="*/ 1978819 w 6400800"/>
                <a:gd name="connsiteY2205" fmla="*/ 242411 h 514350"/>
                <a:gd name="connsiteX2206" fmla="*/ 1974056 w 6400800"/>
                <a:gd name="connsiteY2206" fmla="*/ 281464 h 514350"/>
                <a:gd name="connsiteX2207" fmla="*/ 1973104 w 6400800"/>
                <a:gd name="connsiteY2207" fmla="*/ 282416 h 514350"/>
                <a:gd name="connsiteX2208" fmla="*/ 1968341 w 6400800"/>
                <a:gd name="connsiteY2208" fmla="*/ 289084 h 514350"/>
                <a:gd name="connsiteX2209" fmla="*/ 1968341 w 6400800"/>
                <a:gd name="connsiteY2209" fmla="*/ 283369 h 514350"/>
                <a:gd name="connsiteX2210" fmla="*/ 1973104 w 6400800"/>
                <a:gd name="connsiteY2210" fmla="*/ 274796 h 514350"/>
                <a:gd name="connsiteX2211" fmla="*/ 1968341 w 6400800"/>
                <a:gd name="connsiteY2211" fmla="*/ 280511 h 514350"/>
                <a:gd name="connsiteX2212" fmla="*/ 1973104 w 6400800"/>
                <a:gd name="connsiteY2212" fmla="*/ 224314 h 514350"/>
                <a:gd name="connsiteX2213" fmla="*/ 1976914 w 6400800"/>
                <a:gd name="connsiteY2213" fmla="*/ 187166 h 514350"/>
                <a:gd name="connsiteX2214" fmla="*/ 1967389 w 6400800"/>
                <a:gd name="connsiteY2214" fmla="*/ 218599 h 514350"/>
                <a:gd name="connsiteX2215" fmla="*/ 1967389 w 6400800"/>
                <a:gd name="connsiteY2215" fmla="*/ 216694 h 514350"/>
                <a:gd name="connsiteX2216" fmla="*/ 1966436 w 6400800"/>
                <a:gd name="connsiteY2216" fmla="*/ 220504 h 514350"/>
                <a:gd name="connsiteX2217" fmla="*/ 1957864 w 6400800"/>
                <a:gd name="connsiteY2217" fmla="*/ 250031 h 514350"/>
                <a:gd name="connsiteX2218" fmla="*/ 1952149 w 6400800"/>
                <a:gd name="connsiteY2218" fmla="*/ 271939 h 514350"/>
                <a:gd name="connsiteX2219" fmla="*/ 1941671 w 6400800"/>
                <a:gd name="connsiteY2219" fmla="*/ 221456 h 514350"/>
                <a:gd name="connsiteX2220" fmla="*/ 1942624 w 6400800"/>
                <a:gd name="connsiteY2220" fmla="*/ 213836 h 514350"/>
                <a:gd name="connsiteX2221" fmla="*/ 1952149 w 6400800"/>
                <a:gd name="connsiteY2221" fmla="*/ 186214 h 514350"/>
                <a:gd name="connsiteX2222" fmla="*/ 1962626 w 6400800"/>
                <a:gd name="connsiteY2222" fmla="*/ 157639 h 514350"/>
                <a:gd name="connsiteX2223" fmla="*/ 1948339 w 6400800"/>
                <a:gd name="connsiteY2223" fmla="*/ 185261 h 514350"/>
                <a:gd name="connsiteX2224" fmla="*/ 1945481 w 6400800"/>
                <a:gd name="connsiteY2224" fmla="*/ 190976 h 514350"/>
                <a:gd name="connsiteX2225" fmla="*/ 1945481 w 6400800"/>
                <a:gd name="connsiteY2225" fmla="*/ 189071 h 514350"/>
                <a:gd name="connsiteX2226" fmla="*/ 1944529 w 6400800"/>
                <a:gd name="connsiteY2226" fmla="*/ 192881 h 514350"/>
                <a:gd name="connsiteX2227" fmla="*/ 1938814 w 6400800"/>
                <a:gd name="connsiteY2227" fmla="*/ 205264 h 514350"/>
                <a:gd name="connsiteX2228" fmla="*/ 1935004 w 6400800"/>
                <a:gd name="connsiteY2228" fmla="*/ 148114 h 514350"/>
                <a:gd name="connsiteX2229" fmla="*/ 1928336 w 6400800"/>
                <a:gd name="connsiteY2229" fmla="*/ 224314 h 514350"/>
                <a:gd name="connsiteX2230" fmla="*/ 1928336 w 6400800"/>
                <a:gd name="connsiteY2230" fmla="*/ 229076 h 514350"/>
                <a:gd name="connsiteX2231" fmla="*/ 1924526 w 6400800"/>
                <a:gd name="connsiteY2231" fmla="*/ 236696 h 514350"/>
                <a:gd name="connsiteX2232" fmla="*/ 1915001 w 6400800"/>
                <a:gd name="connsiteY2232" fmla="*/ 258604 h 514350"/>
                <a:gd name="connsiteX2233" fmla="*/ 1911191 w 6400800"/>
                <a:gd name="connsiteY2233" fmla="*/ 268129 h 514350"/>
                <a:gd name="connsiteX2234" fmla="*/ 1907381 w 6400800"/>
                <a:gd name="connsiteY2234" fmla="*/ 259556 h 514350"/>
                <a:gd name="connsiteX2235" fmla="*/ 1907381 w 6400800"/>
                <a:gd name="connsiteY2235" fmla="*/ 258604 h 514350"/>
                <a:gd name="connsiteX2236" fmla="*/ 1907381 w 6400800"/>
                <a:gd name="connsiteY2236" fmla="*/ 258604 h 514350"/>
                <a:gd name="connsiteX2237" fmla="*/ 1900714 w 6400800"/>
                <a:gd name="connsiteY2237" fmla="*/ 253841 h 514350"/>
                <a:gd name="connsiteX2238" fmla="*/ 1897856 w 6400800"/>
                <a:gd name="connsiteY2238" fmla="*/ 252889 h 514350"/>
                <a:gd name="connsiteX2239" fmla="*/ 1896904 w 6400800"/>
                <a:gd name="connsiteY2239" fmla="*/ 252889 h 514350"/>
                <a:gd name="connsiteX2240" fmla="*/ 1896904 w 6400800"/>
                <a:gd name="connsiteY2240" fmla="*/ 250984 h 514350"/>
                <a:gd name="connsiteX2241" fmla="*/ 1897856 w 6400800"/>
                <a:gd name="connsiteY2241" fmla="*/ 246221 h 514350"/>
                <a:gd name="connsiteX2242" fmla="*/ 1902619 w 6400800"/>
                <a:gd name="connsiteY2242" fmla="*/ 230029 h 514350"/>
                <a:gd name="connsiteX2243" fmla="*/ 1903571 w 6400800"/>
                <a:gd name="connsiteY2243" fmla="*/ 226219 h 514350"/>
                <a:gd name="connsiteX2244" fmla="*/ 1902619 w 6400800"/>
                <a:gd name="connsiteY2244" fmla="*/ 227171 h 514350"/>
                <a:gd name="connsiteX2245" fmla="*/ 1906429 w 6400800"/>
                <a:gd name="connsiteY2245" fmla="*/ 214789 h 514350"/>
                <a:gd name="connsiteX2246" fmla="*/ 1915001 w 6400800"/>
                <a:gd name="connsiteY2246" fmla="*/ 190976 h 514350"/>
                <a:gd name="connsiteX2247" fmla="*/ 1922621 w 6400800"/>
                <a:gd name="connsiteY2247" fmla="*/ 170021 h 514350"/>
                <a:gd name="connsiteX2248" fmla="*/ 1911191 w 6400800"/>
                <a:gd name="connsiteY2248" fmla="*/ 189071 h 514350"/>
                <a:gd name="connsiteX2249" fmla="*/ 1899761 w 6400800"/>
                <a:gd name="connsiteY2249" fmla="*/ 211931 h 514350"/>
                <a:gd name="connsiteX2250" fmla="*/ 1893094 w 6400800"/>
                <a:gd name="connsiteY2250" fmla="*/ 226219 h 514350"/>
                <a:gd name="connsiteX2251" fmla="*/ 1889284 w 6400800"/>
                <a:gd name="connsiteY2251" fmla="*/ 235744 h 514350"/>
                <a:gd name="connsiteX2252" fmla="*/ 1888331 w 6400800"/>
                <a:gd name="connsiteY2252" fmla="*/ 232886 h 514350"/>
                <a:gd name="connsiteX2253" fmla="*/ 1889284 w 6400800"/>
                <a:gd name="connsiteY2253" fmla="*/ 216694 h 514350"/>
                <a:gd name="connsiteX2254" fmla="*/ 1891189 w 6400800"/>
                <a:gd name="connsiteY2254" fmla="*/ 200501 h 514350"/>
                <a:gd name="connsiteX2255" fmla="*/ 1894046 w 6400800"/>
                <a:gd name="connsiteY2255" fmla="*/ 187166 h 514350"/>
                <a:gd name="connsiteX2256" fmla="*/ 1899761 w 6400800"/>
                <a:gd name="connsiteY2256" fmla="*/ 169069 h 514350"/>
                <a:gd name="connsiteX2257" fmla="*/ 1902619 w 6400800"/>
                <a:gd name="connsiteY2257" fmla="*/ 162401 h 514350"/>
                <a:gd name="connsiteX2258" fmla="*/ 1898809 w 6400800"/>
                <a:gd name="connsiteY2258" fmla="*/ 168116 h 514350"/>
                <a:gd name="connsiteX2259" fmla="*/ 1890236 w 6400800"/>
                <a:gd name="connsiteY2259" fmla="*/ 186214 h 514350"/>
                <a:gd name="connsiteX2260" fmla="*/ 1885474 w 6400800"/>
                <a:gd name="connsiteY2260" fmla="*/ 199549 h 514350"/>
                <a:gd name="connsiteX2261" fmla="*/ 1882616 w 6400800"/>
                <a:gd name="connsiteY2261" fmla="*/ 213836 h 514350"/>
                <a:gd name="connsiteX2262" fmla="*/ 1882616 w 6400800"/>
                <a:gd name="connsiteY2262" fmla="*/ 210026 h 514350"/>
                <a:gd name="connsiteX2263" fmla="*/ 1878806 w 6400800"/>
                <a:gd name="connsiteY2263" fmla="*/ 228124 h 514350"/>
                <a:gd name="connsiteX2264" fmla="*/ 1874996 w 6400800"/>
                <a:gd name="connsiteY2264" fmla="*/ 243364 h 514350"/>
                <a:gd name="connsiteX2265" fmla="*/ 1874996 w 6400800"/>
                <a:gd name="connsiteY2265" fmla="*/ 237649 h 514350"/>
                <a:gd name="connsiteX2266" fmla="*/ 1872139 w 6400800"/>
                <a:gd name="connsiteY2266" fmla="*/ 255746 h 514350"/>
                <a:gd name="connsiteX2267" fmla="*/ 1868329 w 6400800"/>
                <a:gd name="connsiteY2267" fmla="*/ 270986 h 514350"/>
                <a:gd name="connsiteX2268" fmla="*/ 1869281 w 6400800"/>
                <a:gd name="connsiteY2268" fmla="*/ 259556 h 514350"/>
                <a:gd name="connsiteX2269" fmla="*/ 1874996 w 6400800"/>
                <a:gd name="connsiteY2269" fmla="*/ 213836 h 514350"/>
                <a:gd name="connsiteX2270" fmla="*/ 1877854 w 6400800"/>
                <a:gd name="connsiteY2270" fmla="*/ 193834 h 514350"/>
                <a:gd name="connsiteX2271" fmla="*/ 1881664 w 6400800"/>
                <a:gd name="connsiteY2271" fmla="*/ 175736 h 514350"/>
                <a:gd name="connsiteX2272" fmla="*/ 1888331 w 6400800"/>
                <a:gd name="connsiteY2272" fmla="*/ 146209 h 514350"/>
                <a:gd name="connsiteX2273" fmla="*/ 1894999 w 6400800"/>
                <a:gd name="connsiteY2273" fmla="*/ 120491 h 514350"/>
                <a:gd name="connsiteX2274" fmla="*/ 1885474 w 6400800"/>
                <a:gd name="connsiteY2274" fmla="*/ 144304 h 514350"/>
                <a:gd name="connsiteX2275" fmla="*/ 1875949 w 6400800"/>
                <a:gd name="connsiteY2275" fmla="*/ 172879 h 514350"/>
                <a:gd name="connsiteX2276" fmla="*/ 1870234 w 6400800"/>
                <a:gd name="connsiteY2276" fmla="*/ 190976 h 514350"/>
                <a:gd name="connsiteX2277" fmla="*/ 1865471 w 6400800"/>
                <a:gd name="connsiteY2277" fmla="*/ 210979 h 514350"/>
                <a:gd name="connsiteX2278" fmla="*/ 1858804 w 6400800"/>
                <a:gd name="connsiteY2278" fmla="*/ 238601 h 514350"/>
                <a:gd name="connsiteX2279" fmla="*/ 1856899 w 6400800"/>
                <a:gd name="connsiteY2279" fmla="*/ 194786 h 514350"/>
                <a:gd name="connsiteX2280" fmla="*/ 1854994 w 6400800"/>
                <a:gd name="connsiteY2280" fmla="*/ 172879 h 514350"/>
                <a:gd name="connsiteX2281" fmla="*/ 1853089 w 6400800"/>
                <a:gd name="connsiteY2281" fmla="*/ 194786 h 514350"/>
                <a:gd name="connsiteX2282" fmla="*/ 1848326 w 6400800"/>
                <a:gd name="connsiteY2282" fmla="*/ 250984 h 514350"/>
                <a:gd name="connsiteX2283" fmla="*/ 1845469 w 6400800"/>
                <a:gd name="connsiteY2283" fmla="*/ 282416 h 514350"/>
                <a:gd name="connsiteX2284" fmla="*/ 1839754 w 6400800"/>
                <a:gd name="connsiteY2284" fmla="*/ 273844 h 514350"/>
                <a:gd name="connsiteX2285" fmla="*/ 1838801 w 6400800"/>
                <a:gd name="connsiteY2285" fmla="*/ 269081 h 514350"/>
                <a:gd name="connsiteX2286" fmla="*/ 1838801 w 6400800"/>
                <a:gd name="connsiteY2286" fmla="*/ 272891 h 514350"/>
                <a:gd name="connsiteX2287" fmla="*/ 1827371 w 6400800"/>
                <a:gd name="connsiteY2287" fmla="*/ 256699 h 514350"/>
                <a:gd name="connsiteX2288" fmla="*/ 1828324 w 6400800"/>
                <a:gd name="connsiteY2288" fmla="*/ 190976 h 514350"/>
                <a:gd name="connsiteX2289" fmla="*/ 1822609 w 6400800"/>
                <a:gd name="connsiteY2289" fmla="*/ 222409 h 514350"/>
                <a:gd name="connsiteX2290" fmla="*/ 1822609 w 6400800"/>
                <a:gd name="connsiteY2290" fmla="*/ 214789 h 514350"/>
                <a:gd name="connsiteX2291" fmla="*/ 1822609 w 6400800"/>
                <a:gd name="connsiteY2291" fmla="*/ 161449 h 514350"/>
                <a:gd name="connsiteX2292" fmla="*/ 1823561 w 6400800"/>
                <a:gd name="connsiteY2292" fmla="*/ 113824 h 514350"/>
                <a:gd name="connsiteX2293" fmla="*/ 1823561 w 6400800"/>
                <a:gd name="connsiteY2293" fmla="*/ 15716 h 514350"/>
                <a:gd name="connsiteX2294" fmla="*/ 1812131 w 6400800"/>
                <a:gd name="connsiteY2294" fmla="*/ 112871 h 514350"/>
                <a:gd name="connsiteX2295" fmla="*/ 1807369 w 6400800"/>
                <a:gd name="connsiteY2295" fmla="*/ 160496 h 514350"/>
                <a:gd name="connsiteX2296" fmla="*/ 1805464 w 6400800"/>
                <a:gd name="connsiteY2296" fmla="*/ 209074 h 514350"/>
                <a:gd name="connsiteX2297" fmla="*/ 1801654 w 6400800"/>
                <a:gd name="connsiteY2297" fmla="*/ 211931 h 514350"/>
                <a:gd name="connsiteX2298" fmla="*/ 1801654 w 6400800"/>
                <a:gd name="connsiteY2298" fmla="*/ 211931 h 514350"/>
                <a:gd name="connsiteX2299" fmla="*/ 1801654 w 6400800"/>
                <a:gd name="connsiteY2299" fmla="*/ 212884 h 514350"/>
                <a:gd name="connsiteX2300" fmla="*/ 1790224 w 6400800"/>
                <a:gd name="connsiteY2300" fmla="*/ 237649 h 514350"/>
                <a:gd name="connsiteX2301" fmla="*/ 1790224 w 6400800"/>
                <a:gd name="connsiteY2301" fmla="*/ 207169 h 514350"/>
                <a:gd name="connsiteX2302" fmla="*/ 1786414 w 6400800"/>
                <a:gd name="connsiteY2302" fmla="*/ 239554 h 514350"/>
                <a:gd name="connsiteX2303" fmla="*/ 1784509 w 6400800"/>
                <a:gd name="connsiteY2303" fmla="*/ 250984 h 514350"/>
                <a:gd name="connsiteX2304" fmla="*/ 1783556 w 6400800"/>
                <a:gd name="connsiteY2304" fmla="*/ 252889 h 514350"/>
                <a:gd name="connsiteX2305" fmla="*/ 1776889 w 6400800"/>
                <a:gd name="connsiteY2305" fmla="*/ 226219 h 514350"/>
                <a:gd name="connsiteX2306" fmla="*/ 1777841 w 6400800"/>
                <a:gd name="connsiteY2306" fmla="*/ 253841 h 514350"/>
                <a:gd name="connsiteX2307" fmla="*/ 1768316 w 6400800"/>
                <a:gd name="connsiteY2307" fmla="*/ 230029 h 514350"/>
                <a:gd name="connsiteX2308" fmla="*/ 1759744 w 6400800"/>
                <a:gd name="connsiteY2308" fmla="*/ 209074 h 514350"/>
                <a:gd name="connsiteX2309" fmla="*/ 1759744 w 6400800"/>
                <a:gd name="connsiteY2309" fmla="*/ 208121 h 514350"/>
                <a:gd name="connsiteX2310" fmla="*/ 1761649 w 6400800"/>
                <a:gd name="connsiteY2310" fmla="*/ 198596 h 514350"/>
                <a:gd name="connsiteX2311" fmla="*/ 1759744 w 6400800"/>
                <a:gd name="connsiteY2311" fmla="*/ 203359 h 514350"/>
                <a:gd name="connsiteX2312" fmla="*/ 1759744 w 6400800"/>
                <a:gd name="connsiteY2312" fmla="*/ 195739 h 514350"/>
                <a:gd name="connsiteX2313" fmla="*/ 1761649 w 6400800"/>
                <a:gd name="connsiteY2313" fmla="*/ 171926 h 514350"/>
                <a:gd name="connsiteX2314" fmla="*/ 1762601 w 6400800"/>
                <a:gd name="connsiteY2314" fmla="*/ 151924 h 514350"/>
                <a:gd name="connsiteX2315" fmla="*/ 1756886 w 6400800"/>
                <a:gd name="connsiteY2315" fmla="*/ 171926 h 514350"/>
                <a:gd name="connsiteX2316" fmla="*/ 1749266 w 6400800"/>
                <a:gd name="connsiteY2316" fmla="*/ 205264 h 514350"/>
                <a:gd name="connsiteX2317" fmla="*/ 1745456 w 6400800"/>
                <a:gd name="connsiteY2317" fmla="*/ 197644 h 514350"/>
                <a:gd name="connsiteX2318" fmla="*/ 1749266 w 6400800"/>
                <a:gd name="connsiteY2318" fmla="*/ 208121 h 514350"/>
                <a:gd name="connsiteX2319" fmla="*/ 1746409 w 6400800"/>
                <a:gd name="connsiteY2319" fmla="*/ 225266 h 514350"/>
                <a:gd name="connsiteX2320" fmla="*/ 1746409 w 6400800"/>
                <a:gd name="connsiteY2320" fmla="*/ 228124 h 514350"/>
                <a:gd name="connsiteX2321" fmla="*/ 1737836 w 6400800"/>
                <a:gd name="connsiteY2321" fmla="*/ 171926 h 514350"/>
                <a:gd name="connsiteX2322" fmla="*/ 1738789 w 6400800"/>
                <a:gd name="connsiteY2322" fmla="*/ 252889 h 514350"/>
                <a:gd name="connsiteX2323" fmla="*/ 1736884 w 6400800"/>
                <a:gd name="connsiteY2323" fmla="*/ 256699 h 514350"/>
                <a:gd name="connsiteX2324" fmla="*/ 1735931 w 6400800"/>
                <a:gd name="connsiteY2324" fmla="*/ 252889 h 514350"/>
                <a:gd name="connsiteX2325" fmla="*/ 1735931 w 6400800"/>
                <a:gd name="connsiteY2325" fmla="*/ 257651 h 514350"/>
                <a:gd name="connsiteX2326" fmla="*/ 1733074 w 6400800"/>
                <a:gd name="connsiteY2326" fmla="*/ 264319 h 514350"/>
                <a:gd name="connsiteX2327" fmla="*/ 1727359 w 6400800"/>
                <a:gd name="connsiteY2327" fmla="*/ 283369 h 514350"/>
                <a:gd name="connsiteX2328" fmla="*/ 1722596 w 6400800"/>
                <a:gd name="connsiteY2328" fmla="*/ 299561 h 514350"/>
                <a:gd name="connsiteX2329" fmla="*/ 1718786 w 6400800"/>
                <a:gd name="connsiteY2329" fmla="*/ 267176 h 514350"/>
                <a:gd name="connsiteX2330" fmla="*/ 1716881 w 6400800"/>
                <a:gd name="connsiteY2330" fmla="*/ 317659 h 514350"/>
                <a:gd name="connsiteX2331" fmla="*/ 1716881 w 6400800"/>
                <a:gd name="connsiteY2331" fmla="*/ 318611 h 514350"/>
                <a:gd name="connsiteX2332" fmla="*/ 1714976 w 6400800"/>
                <a:gd name="connsiteY2332" fmla="*/ 316706 h 514350"/>
                <a:gd name="connsiteX2333" fmla="*/ 1707356 w 6400800"/>
                <a:gd name="connsiteY2333" fmla="*/ 288131 h 514350"/>
                <a:gd name="connsiteX2334" fmla="*/ 1709261 w 6400800"/>
                <a:gd name="connsiteY2334" fmla="*/ 237649 h 514350"/>
                <a:gd name="connsiteX2335" fmla="*/ 1710214 w 6400800"/>
                <a:gd name="connsiteY2335" fmla="*/ 163354 h 514350"/>
                <a:gd name="connsiteX2336" fmla="*/ 1698784 w 6400800"/>
                <a:gd name="connsiteY2336" fmla="*/ 229076 h 514350"/>
                <a:gd name="connsiteX2337" fmla="*/ 1694021 w 6400800"/>
                <a:gd name="connsiteY2337" fmla="*/ 203359 h 514350"/>
                <a:gd name="connsiteX2338" fmla="*/ 1699736 w 6400800"/>
                <a:gd name="connsiteY2338" fmla="*/ 170021 h 514350"/>
                <a:gd name="connsiteX2339" fmla="*/ 1706404 w 6400800"/>
                <a:gd name="connsiteY2339" fmla="*/ 119539 h 514350"/>
                <a:gd name="connsiteX2340" fmla="*/ 1710214 w 6400800"/>
                <a:gd name="connsiteY2340" fmla="*/ 80486 h 514350"/>
                <a:gd name="connsiteX2341" fmla="*/ 1713071 w 6400800"/>
                <a:gd name="connsiteY2341" fmla="*/ 47149 h 514350"/>
                <a:gd name="connsiteX2342" fmla="*/ 1706404 w 6400800"/>
                <a:gd name="connsiteY2342" fmla="*/ 80486 h 514350"/>
                <a:gd name="connsiteX2343" fmla="*/ 1698784 w 6400800"/>
                <a:gd name="connsiteY2343" fmla="*/ 118586 h 514350"/>
                <a:gd name="connsiteX2344" fmla="*/ 1688306 w 6400800"/>
                <a:gd name="connsiteY2344" fmla="*/ 168116 h 514350"/>
                <a:gd name="connsiteX2345" fmla="*/ 1687354 w 6400800"/>
                <a:gd name="connsiteY2345" fmla="*/ 171926 h 514350"/>
                <a:gd name="connsiteX2346" fmla="*/ 1684496 w 6400800"/>
                <a:gd name="connsiteY2346" fmla="*/ 160496 h 514350"/>
                <a:gd name="connsiteX2347" fmla="*/ 1685449 w 6400800"/>
                <a:gd name="connsiteY2347" fmla="*/ 179546 h 514350"/>
                <a:gd name="connsiteX2348" fmla="*/ 1681639 w 6400800"/>
                <a:gd name="connsiteY2348" fmla="*/ 197644 h 514350"/>
                <a:gd name="connsiteX2349" fmla="*/ 1680686 w 6400800"/>
                <a:gd name="connsiteY2349" fmla="*/ 192881 h 514350"/>
                <a:gd name="connsiteX2350" fmla="*/ 1681639 w 6400800"/>
                <a:gd name="connsiteY2350" fmla="*/ 174784 h 514350"/>
                <a:gd name="connsiteX2351" fmla="*/ 1682591 w 6400800"/>
                <a:gd name="connsiteY2351" fmla="*/ 143351 h 514350"/>
                <a:gd name="connsiteX2352" fmla="*/ 1683544 w 6400800"/>
                <a:gd name="connsiteY2352" fmla="*/ 115729 h 514350"/>
                <a:gd name="connsiteX2353" fmla="*/ 1678781 w 6400800"/>
                <a:gd name="connsiteY2353" fmla="*/ 143351 h 514350"/>
                <a:gd name="connsiteX2354" fmla="*/ 1674019 w 6400800"/>
                <a:gd name="connsiteY2354" fmla="*/ 174784 h 514350"/>
                <a:gd name="connsiteX2355" fmla="*/ 1666399 w 6400800"/>
                <a:gd name="connsiteY2355" fmla="*/ 215741 h 514350"/>
                <a:gd name="connsiteX2356" fmla="*/ 1663541 w 6400800"/>
                <a:gd name="connsiteY2356" fmla="*/ 231934 h 514350"/>
                <a:gd name="connsiteX2357" fmla="*/ 1661636 w 6400800"/>
                <a:gd name="connsiteY2357" fmla="*/ 225266 h 514350"/>
                <a:gd name="connsiteX2358" fmla="*/ 1662589 w 6400800"/>
                <a:gd name="connsiteY2358" fmla="*/ 236696 h 514350"/>
                <a:gd name="connsiteX2359" fmla="*/ 1659731 w 6400800"/>
                <a:gd name="connsiteY2359" fmla="*/ 253841 h 514350"/>
                <a:gd name="connsiteX2360" fmla="*/ 1658779 w 6400800"/>
                <a:gd name="connsiteY2360" fmla="*/ 251936 h 514350"/>
                <a:gd name="connsiteX2361" fmla="*/ 1646396 w 6400800"/>
                <a:gd name="connsiteY2361" fmla="*/ 223361 h 514350"/>
                <a:gd name="connsiteX2362" fmla="*/ 1642586 w 6400800"/>
                <a:gd name="connsiteY2362" fmla="*/ 215741 h 514350"/>
                <a:gd name="connsiteX2363" fmla="*/ 1642586 w 6400800"/>
                <a:gd name="connsiteY2363" fmla="*/ 202406 h 514350"/>
                <a:gd name="connsiteX2364" fmla="*/ 1640681 w 6400800"/>
                <a:gd name="connsiteY2364" fmla="*/ 154781 h 514350"/>
                <a:gd name="connsiteX2365" fmla="*/ 1635919 w 6400800"/>
                <a:gd name="connsiteY2365" fmla="*/ 111919 h 514350"/>
                <a:gd name="connsiteX2366" fmla="*/ 1624489 w 6400800"/>
                <a:gd name="connsiteY2366" fmla="*/ 23336 h 514350"/>
                <a:gd name="connsiteX2367" fmla="*/ 1624489 w 6400800"/>
                <a:gd name="connsiteY2367" fmla="*/ 111919 h 514350"/>
                <a:gd name="connsiteX2368" fmla="*/ 1625441 w 6400800"/>
                <a:gd name="connsiteY2368" fmla="*/ 154781 h 514350"/>
                <a:gd name="connsiteX2369" fmla="*/ 1625441 w 6400800"/>
                <a:gd name="connsiteY2369" fmla="*/ 202406 h 514350"/>
                <a:gd name="connsiteX2370" fmla="*/ 1625441 w 6400800"/>
                <a:gd name="connsiteY2370" fmla="*/ 225266 h 514350"/>
                <a:gd name="connsiteX2371" fmla="*/ 1625441 w 6400800"/>
                <a:gd name="connsiteY2371" fmla="*/ 230981 h 514350"/>
                <a:gd name="connsiteX2372" fmla="*/ 1623536 w 6400800"/>
                <a:gd name="connsiteY2372" fmla="*/ 227171 h 514350"/>
                <a:gd name="connsiteX2373" fmla="*/ 1619726 w 6400800"/>
                <a:gd name="connsiteY2373" fmla="*/ 203359 h 514350"/>
                <a:gd name="connsiteX2374" fmla="*/ 1619726 w 6400800"/>
                <a:gd name="connsiteY2374" fmla="*/ 217646 h 514350"/>
                <a:gd name="connsiteX2375" fmla="*/ 1608296 w 6400800"/>
                <a:gd name="connsiteY2375" fmla="*/ 190976 h 514350"/>
                <a:gd name="connsiteX2376" fmla="*/ 1619726 w 6400800"/>
                <a:gd name="connsiteY2376" fmla="*/ 233839 h 514350"/>
                <a:gd name="connsiteX2377" fmla="*/ 1619726 w 6400800"/>
                <a:gd name="connsiteY2377" fmla="*/ 242411 h 514350"/>
                <a:gd name="connsiteX2378" fmla="*/ 1613059 w 6400800"/>
                <a:gd name="connsiteY2378" fmla="*/ 233839 h 514350"/>
                <a:gd name="connsiteX2379" fmla="*/ 1619726 w 6400800"/>
                <a:gd name="connsiteY2379" fmla="*/ 247174 h 514350"/>
                <a:gd name="connsiteX2380" fmla="*/ 1610201 w 6400800"/>
                <a:gd name="connsiteY2380" fmla="*/ 264319 h 514350"/>
                <a:gd name="connsiteX2381" fmla="*/ 1607344 w 6400800"/>
                <a:gd name="connsiteY2381" fmla="*/ 270034 h 514350"/>
                <a:gd name="connsiteX2382" fmla="*/ 1606391 w 6400800"/>
                <a:gd name="connsiteY2382" fmla="*/ 269081 h 514350"/>
                <a:gd name="connsiteX2383" fmla="*/ 1607344 w 6400800"/>
                <a:gd name="connsiteY2383" fmla="*/ 270034 h 514350"/>
                <a:gd name="connsiteX2384" fmla="*/ 1601629 w 6400800"/>
                <a:gd name="connsiteY2384" fmla="*/ 282416 h 514350"/>
                <a:gd name="connsiteX2385" fmla="*/ 1600676 w 6400800"/>
                <a:gd name="connsiteY2385" fmla="*/ 269081 h 514350"/>
                <a:gd name="connsiteX2386" fmla="*/ 1595914 w 6400800"/>
                <a:gd name="connsiteY2386" fmla="*/ 207169 h 514350"/>
                <a:gd name="connsiteX2387" fmla="*/ 1594009 w 6400800"/>
                <a:gd name="connsiteY2387" fmla="*/ 183356 h 514350"/>
                <a:gd name="connsiteX2388" fmla="*/ 1592104 w 6400800"/>
                <a:gd name="connsiteY2388" fmla="*/ 207169 h 514350"/>
                <a:gd name="connsiteX2389" fmla="*/ 1591151 w 6400800"/>
                <a:gd name="connsiteY2389" fmla="*/ 227171 h 514350"/>
                <a:gd name="connsiteX2390" fmla="*/ 1583531 w 6400800"/>
                <a:gd name="connsiteY2390" fmla="*/ 197644 h 514350"/>
                <a:gd name="connsiteX2391" fmla="*/ 1578769 w 6400800"/>
                <a:gd name="connsiteY2391" fmla="*/ 179546 h 514350"/>
                <a:gd name="connsiteX2392" fmla="*/ 1573054 w 6400800"/>
                <a:gd name="connsiteY2392" fmla="*/ 163354 h 514350"/>
                <a:gd name="connsiteX2393" fmla="*/ 1563529 w 6400800"/>
                <a:gd name="connsiteY2393" fmla="*/ 137636 h 514350"/>
                <a:gd name="connsiteX2394" fmla="*/ 1554004 w 6400800"/>
                <a:gd name="connsiteY2394" fmla="*/ 115729 h 514350"/>
                <a:gd name="connsiteX2395" fmla="*/ 1560671 w 6400800"/>
                <a:gd name="connsiteY2395" fmla="*/ 138589 h 514350"/>
                <a:gd name="connsiteX2396" fmla="*/ 1567339 w 6400800"/>
                <a:gd name="connsiteY2396" fmla="*/ 165259 h 514350"/>
                <a:gd name="connsiteX2397" fmla="*/ 1571149 w 6400800"/>
                <a:gd name="connsiteY2397" fmla="*/ 181451 h 514350"/>
                <a:gd name="connsiteX2398" fmla="*/ 1574006 w 6400800"/>
                <a:gd name="connsiteY2398" fmla="*/ 199549 h 514350"/>
                <a:gd name="connsiteX2399" fmla="*/ 1579721 w 6400800"/>
                <a:gd name="connsiteY2399" fmla="*/ 240506 h 514350"/>
                <a:gd name="connsiteX2400" fmla="*/ 1584484 w 6400800"/>
                <a:gd name="connsiteY2400" fmla="*/ 283369 h 514350"/>
                <a:gd name="connsiteX2401" fmla="*/ 1576864 w 6400800"/>
                <a:gd name="connsiteY2401" fmla="*/ 258604 h 514350"/>
                <a:gd name="connsiteX2402" fmla="*/ 1573054 w 6400800"/>
                <a:gd name="connsiteY2402" fmla="*/ 249079 h 514350"/>
                <a:gd name="connsiteX2403" fmla="*/ 1573054 w 6400800"/>
                <a:gd name="connsiteY2403" fmla="*/ 247174 h 514350"/>
                <a:gd name="connsiteX2404" fmla="*/ 1572101 w 6400800"/>
                <a:gd name="connsiteY2404" fmla="*/ 234791 h 514350"/>
                <a:gd name="connsiteX2405" fmla="*/ 1567339 w 6400800"/>
                <a:gd name="connsiteY2405" fmla="*/ 198596 h 514350"/>
                <a:gd name="connsiteX2406" fmla="*/ 1563529 w 6400800"/>
                <a:gd name="connsiteY2406" fmla="*/ 184309 h 514350"/>
                <a:gd name="connsiteX2407" fmla="*/ 1558766 w 6400800"/>
                <a:gd name="connsiteY2407" fmla="*/ 171926 h 514350"/>
                <a:gd name="connsiteX2408" fmla="*/ 1550194 w 6400800"/>
                <a:gd name="connsiteY2408" fmla="*/ 155734 h 514350"/>
                <a:gd name="connsiteX2409" fmla="*/ 1546384 w 6400800"/>
                <a:gd name="connsiteY2409" fmla="*/ 150019 h 514350"/>
                <a:gd name="connsiteX2410" fmla="*/ 1549241 w 6400800"/>
                <a:gd name="connsiteY2410" fmla="*/ 155734 h 514350"/>
                <a:gd name="connsiteX2411" fmla="*/ 1554956 w 6400800"/>
                <a:gd name="connsiteY2411" fmla="*/ 171926 h 514350"/>
                <a:gd name="connsiteX2412" fmla="*/ 1557814 w 6400800"/>
                <a:gd name="connsiteY2412" fmla="*/ 184309 h 514350"/>
                <a:gd name="connsiteX2413" fmla="*/ 1559719 w 6400800"/>
                <a:gd name="connsiteY2413" fmla="*/ 198596 h 514350"/>
                <a:gd name="connsiteX2414" fmla="*/ 1560671 w 6400800"/>
                <a:gd name="connsiteY2414" fmla="*/ 213836 h 514350"/>
                <a:gd name="connsiteX2415" fmla="*/ 1559719 w 6400800"/>
                <a:gd name="connsiteY2415" fmla="*/ 216694 h 514350"/>
                <a:gd name="connsiteX2416" fmla="*/ 1555909 w 6400800"/>
                <a:gd name="connsiteY2416" fmla="*/ 208121 h 514350"/>
                <a:gd name="connsiteX2417" fmla="*/ 1549241 w 6400800"/>
                <a:gd name="connsiteY2417" fmla="*/ 194786 h 514350"/>
                <a:gd name="connsiteX2418" fmla="*/ 1537811 w 6400800"/>
                <a:gd name="connsiteY2418" fmla="*/ 173831 h 514350"/>
                <a:gd name="connsiteX2419" fmla="*/ 1526381 w 6400800"/>
                <a:gd name="connsiteY2419" fmla="*/ 156686 h 514350"/>
                <a:gd name="connsiteX2420" fmla="*/ 1534001 w 6400800"/>
                <a:gd name="connsiteY2420" fmla="*/ 175736 h 514350"/>
                <a:gd name="connsiteX2421" fmla="*/ 1542574 w 6400800"/>
                <a:gd name="connsiteY2421" fmla="*/ 197644 h 514350"/>
                <a:gd name="connsiteX2422" fmla="*/ 1546384 w 6400800"/>
                <a:gd name="connsiteY2422" fmla="*/ 209074 h 514350"/>
                <a:gd name="connsiteX2423" fmla="*/ 1545431 w 6400800"/>
                <a:gd name="connsiteY2423" fmla="*/ 208121 h 514350"/>
                <a:gd name="connsiteX2424" fmla="*/ 1546384 w 6400800"/>
                <a:gd name="connsiteY2424" fmla="*/ 210979 h 514350"/>
                <a:gd name="connsiteX2425" fmla="*/ 1551146 w 6400800"/>
                <a:gd name="connsiteY2425" fmla="*/ 226219 h 514350"/>
                <a:gd name="connsiteX2426" fmla="*/ 1552099 w 6400800"/>
                <a:gd name="connsiteY2426" fmla="*/ 230981 h 514350"/>
                <a:gd name="connsiteX2427" fmla="*/ 1553051 w 6400800"/>
                <a:gd name="connsiteY2427" fmla="*/ 235744 h 514350"/>
                <a:gd name="connsiteX2428" fmla="*/ 1554004 w 6400800"/>
                <a:gd name="connsiteY2428" fmla="*/ 241459 h 514350"/>
                <a:gd name="connsiteX2429" fmla="*/ 1554004 w 6400800"/>
                <a:gd name="connsiteY2429" fmla="*/ 244316 h 514350"/>
                <a:gd name="connsiteX2430" fmla="*/ 1553051 w 6400800"/>
                <a:gd name="connsiteY2430" fmla="*/ 250031 h 514350"/>
                <a:gd name="connsiteX2431" fmla="*/ 1547336 w 6400800"/>
                <a:gd name="connsiteY2431" fmla="*/ 263366 h 514350"/>
                <a:gd name="connsiteX2432" fmla="*/ 1542574 w 6400800"/>
                <a:gd name="connsiteY2432" fmla="*/ 251936 h 514350"/>
                <a:gd name="connsiteX2433" fmla="*/ 1542574 w 6400800"/>
                <a:gd name="connsiteY2433" fmla="*/ 243364 h 514350"/>
                <a:gd name="connsiteX2434" fmla="*/ 1542574 w 6400800"/>
                <a:gd name="connsiteY2434" fmla="*/ 222409 h 514350"/>
                <a:gd name="connsiteX2435" fmla="*/ 1538764 w 6400800"/>
                <a:gd name="connsiteY2435" fmla="*/ 243364 h 514350"/>
                <a:gd name="connsiteX2436" fmla="*/ 1538764 w 6400800"/>
                <a:gd name="connsiteY2436" fmla="*/ 243364 h 514350"/>
                <a:gd name="connsiteX2437" fmla="*/ 1531144 w 6400800"/>
                <a:gd name="connsiteY2437" fmla="*/ 226219 h 514350"/>
                <a:gd name="connsiteX2438" fmla="*/ 1537811 w 6400800"/>
                <a:gd name="connsiteY2438" fmla="*/ 250031 h 514350"/>
                <a:gd name="connsiteX2439" fmla="*/ 1536859 w 6400800"/>
                <a:gd name="connsiteY2439" fmla="*/ 258604 h 514350"/>
                <a:gd name="connsiteX2440" fmla="*/ 1531144 w 6400800"/>
                <a:gd name="connsiteY2440" fmla="*/ 239554 h 514350"/>
                <a:gd name="connsiteX2441" fmla="*/ 1525429 w 6400800"/>
                <a:gd name="connsiteY2441" fmla="*/ 220504 h 514350"/>
                <a:gd name="connsiteX2442" fmla="*/ 1521619 w 6400800"/>
                <a:gd name="connsiteY2442" fmla="*/ 211931 h 514350"/>
                <a:gd name="connsiteX2443" fmla="*/ 1515904 w 6400800"/>
                <a:gd name="connsiteY2443" fmla="*/ 150019 h 514350"/>
                <a:gd name="connsiteX2444" fmla="*/ 1513046 w 6400800"/>
                <a:gd name="connsiteY2444" fmla="*/ 192881 h 514350"/>
                <a:gd name="connsiteX2445" fmla="*/ 1506379 w 6400800"/>
                <a:gd name="connsiteY2445" fmla="*/ 177641 h 514350"/>
                <a:gd name="connsiteX2446" fmla="*/ 1495901 w 6400800"/>
                <a:gd name="connsiteY2446" fmla="*/ 154781 h 514350"/>
                <a:gd name="connsiteX2447" fmla="*/ 1502569 w 6400800"/>
                <a:gd name="connsiteY2447" fmla="*/ 178594 h 514350"/>
                <a:gd name="connsiteX2448" fmla="*/ 1505426 w 6400800"/>
                <a:gd name="connsiteY2448" fmla="*/ 190024 h 514350"/>
                <a:gd name="connsiteX2449" fmla="*/ 1504474 w 6400800"/>
                <a:gd name="connsiteY2449" fmla="*/ 189071 h 514350"/>
                <a:gd name="connsiteX2450" fmla="*/ 1510189 w 6400800"/>
                <a:gd name="connsiteY2450" fmla="*/ 210026 h 514350"/>
                <a:gd name="connsiteX2451" fmla="*/ 1511141 w 6400800"/>
                <a:gd name="connsiteY2451" fmla="*/ 213836 h 514350"/>
                <a:gd name="connsiteX2452" fmla="*/ 1510189 w 6400800"/>
                <a:gd name="connsiteY2452" fmla="*/ 233839 h 514350"/>
                <a:gd name="connsiteX2453" fmla="*/ 1509236 w 6400800"/>
                <a:gd name="connsiteY2453" fmla="*/ 258604 h 514350"/>
                <a:gd name="connsiteX2454" fmla="*/ 1498759 w 6400800"/>
                <a:gd name="connsiteY2454" fmla="*/ 230981 h 514350"/>
                <a:gd name="connsiteX2455" fmla="*/ 1508284 w 6400800"/>
                <a:gd name="connsiteY2455" fmla="*/ 275749 h 514350"/>
                <a:gd name="connsiteX2456" fmla="*/ 1507331 w 6400800"/>
                <a:gd name="connsiteY2456" fmla="*/ 288131 h 514350"/>
                <a:gd name="connsiteX2457" fmla="*/ 1504474 w 6400800"/>
                <a:gd name="connsiteY2457" fmla="*/ 292894 h 514350"/>
                <a:gd name="connsiteX2458" fmla="*/ 1500664 w 6400800"/>
                <a:gd name="connsiteY2458" fmla="*/ 298609 h 514350"/>
                <a:gd name="connsiteX2459" fmla="*/ 1493044 w 6400800"/>
                <a:gd name="connsiteY2459" fmla="*/ 266224 h 514350"/>
                <a:gd name="connsiteX2460" fmla="*/ 1497806 w 6400800"/>
                <a:gd name="connsiteY2460" fmla="*/ 246221 h 514350"/>
                <a:gd name="connsiteX2461" fmla="*/ 1491139 w 6400800"/>
                <a:gd name="connsiteY2461" fmla="*/ 260509 h 514350"/>
                <a:gd name="connsiteX2462" fmla="*/ 1491139 w 6400800"/>
                <a:gd name="connsiteY2462" fmla="*/ 259556 h 514350"/>
                <a:gd name="connsiteX2463" fmla="*/ 1490186 w 6400800"/>
                <a:gd name="connsiteY2463" fmla="*/ 244316 h 514350"/>
                <a:gd name="connsiteX2464" fmla="*/ 1489234 w 6400800"/>
                <a:gd name="connsiteY2464" fmla="*/ 238601 h 514350"/>
                <a:gd name="connsiteX2465" fmla="*/ 1489234 w 6400800"/>
                <a:gd name="connsiteY2465" fmla="*/ 237649 h 514350"/>
                <a:gd name="connsiteX2466" fmla="*/ 1489234 w 6400800"/>
                <a:gd name="connsiteY2466" fmla="*/ 238601 h 514350"/>
                <a:gd name="connsiteX2467" fmla="*/ 1486376 w 6400800"/>
                <a:gd name="connsiteY2467" fmla="*/ 219551 h 514350"/>
                <a:gd name="connsiteX2468" fmla="*/ 1482566 w 6400800"/>
                <a:gd name="connsiteY2468" fmla="*/ 198596 h 514350"/>
                <a:gd name="connsiteX2469" fmla="*/ 1482566 w 6400800"/>
                <a:gd name="connsiteY2469" fmla="*/ 220504 h 514350"/>
                <a:gd name="connsiteX2470" fmla="*/ 1482566 w 6400800"/>
                <a:gd name="connsiteY2470" fmla="*/ 228124 h 514350"/>
                <a:gd name="connsiteX2471" fmla="*/ 1473041 w 6400800"/>
                <a:gd name="connsiteY2471" fmla="*/ 193834 h 514350"/>
                <a:gd name="connsiteX2472" fmla="*/ 1479709 w 6400800"/>
                <a:gd name="connsiteY2472" fmla="*/ 259556 h 514350"/>
                <a:gd name="connsiteX2473" fmla="*/ 1478756 w 6400800"/>
                <a:gd name="connsiteY2473" fmla="*/ 262414 h 514350"/>
                <a:gd name="connsiteX2474" fmla="*/ 1476851 w 6400800"/>
                <a:gd name="connsiteY2474" fmla="*/ 266224 h 514350"/>
                <a:gd name="connsiteX2475" fmla="*/ 1475899 w 6400800"/>
                <a:gd name="connsiteY2475" fmla="*/ 257651 h 514350"/>
                <a:gd name="connsiteX2476" fmla="*/ 1471136 w 6400800"/>
                <a:gd name="connsiteY2476" fmla="*/ 221456 h 514350"/>
                <a:gd name="connsiteX2477" fmla="*/ 1466374 w 6400800"/>
                <a:gd name="connsiteY2477" fmla="*/ 193834 h 514350"/>
                <a:gd name="connsiteX2478" fmla="*/ 1460659 w 6400800"/>
                <a:gd name="connsiteY2478" fmla="*/ 170021 h 514350"/>
                <a:gd name="connsiteX2479" fmla="*/ 1462564 w 6400800"/>
                <a:gd name="connsiteY2479" fmla="*/ 193834 h 514350"/>
                <a:gd name="connsiteX2480" fmla="*/ 1464469 w 6400800"/>
                <a:gd name="connsiteY2480" fmla="*/ 221456 h 514350"/>
                <a:gd name="connsiteX2481" fmla="*/ 1465421 w 6400800"/>
                <a:gd name="connsiteY2481" fmla="*/ 257651 h 514350"/>
                <a:gd name="connsiteX2482" fmla="*/ 1465421 w 6400800"/>
                <a:gd name="connsiteY2482" fmla="*/ 275749 h 514350"/>
                <a:gd name="connsiteX2483" fmla="*/ 1455896 w 6400800"/>
                <a:gd name="connsiteY2483" fmla="*/ 246221 h 514350"/>
                <a:gd name="connsiteX2484" fmla="*/ 1447324 w 6400800"/>
                <a:gd name="connsiteY2484" fmla="*/ 218599 h 514350"/>
                <a:gd name="connsiteX2485" fmla="*/ 1439704 w 6400800"/>
                <a:gd name="connsiteY2485" fmla="*/ 194786 h 514350"/>
                <a:gd name="connsiteX2486" fmla="*/ 1442561 w 6400800"/>
                <a:gd name="connsiteY2486" fmla="*/ 215741 h 514350"/>
                <a:gd name="connsiteX2487" fmla="*/ 1435894 w 6400800"/>
                <a:gd name="connsiteY2487" fmla="*/ 185261 h 514350"/>
                <a:gd name="connsiteX2488" fmla="*/ 1435894 w 6400800"/>
                <a:gd name="connsiteY2488" fmla="*/ 159544 h 514350"/>
                <a:gd name="connsiteX2489" fmla="*/ 1433036 w 6400800"/>
                <a:gd name="connsiteY2489" fmla="*/ 173831 h 514350"/>
                <a:gd name="connsiteX2490" fmla="*/ 1430179 w 6400800"/>
                <a:gd name="connsiteY2490" fmla="*/ 160496 h 514350"/>
                <a:gd name="connsiteX2491" fmla="*/ 1430179 w 6400800"/>
                <a:gd name="connsiteY2491" fmla="*/ 166211 h 514350"/>
                <a:gd name="connsiteX2492" fmla="*/ 1425416 w 6400800"/>
                <a:gd name="connsiteY2492" fmla="*/ 147161 h 514350"/>
                <a:gd name="connsiteX2493" fmla="*/ 1418749 w 6400800"/>
                <a:gd name="connsiteY2493" fmla="*/ 127159 h 514350"/>
                <a:gd name="connsiteX2494" fmla="*/ 1421606 w 6400800"/>
                <a:gd name="connsiteY2494" fmla="*/ 148114 h 514350"/>
                <a:gd name="connsiteX2495" fmla="*/ 1423511 w 6400800"/>
                <a:gd name="connsiteY2495" fmla="*/ 171926 h 514350"/>
                <a:gd name="connsiteX2496" fmla="*/ 1425416 w 6400800"/>
                <a:gd name="connsiteY2496" fmla="*/ 202406 h 514350"/>
                <a:gd name="connsiteX2497" fmla="*/ 1426369 w 6400800"/>
                <a:gd name="connsiteY2497" fmla="*/ 218599 h 514350"/>
                <a:gd name="connsiteX2498" fmla="*/ 1424464 w 6400800"/>
                <a:gd name="connsiteY2498" fmla="*/ 235744 h 514350"/>
                <a:gd name="connsiteX2499" fmla="*/ 1421606 w 6400800"/>
                <a:gd name="connsiteY2499" fmla="*/ 226219 h 514350"/>
                <a:gd name="connsiteX2500" fmla="*/ 1415891 w 6400800"/>
                <a:gd name="connsiteY2500" fmla="*/ 210026 h 514350"/>
                <a:gd name="connsiteX2501" fmla="*/ 1410176 w 6400800"/>
                <a:gd name="connsiteY2501" fmla="*/ 195739 h 514350"/>
                <a:gd name="connsiteX2502" fmla="*/ 1412081 w 6400800"/>
                <a:gd name="connsiteY2502" fmla="*/ 210979 h 514350"/>
                <a:gd name="connsiteX2503" fmla="*/ 1414939 w 6400800"/>
                <a:gd name="connsiteY2503" fmla="*/ 228124 h 514350"/>
                <a:gd name="connsiteX2504" fmla="*/ 1416844 w 6400800"/>
                <a:gd name="connsiteY2504" fmla="*/ 250031 h 514350"/>
                <a:gd name="connsiteX2505" fmla="*/ 1418749 w 6400800"/>
                <a:gd name="connsiteY2505" fmla="*/ 268129 h 514350"/>
                <a:gd name="connsiteX2506" fmla="*/ 1413034 w 6400800"/>
                <a:gd name="connsiteY2506" fmla="*/ 277654 h 514350"/>
                <a:gd name="connsiteX2507" fmla="*/ 1411129 w 6400800"/>
                <a:gd name="connsiteY2507" fmla="*/ 271939 h 514350"/>
                <a:gd name="connsiteX2508" fmla="*/ 1401604 w 6400800"/>
                <a:gd name="connsiteY2508" fmla="*/ 215741 h 514350"/>
                <a:gd name="connsiteX2509" fmla="*/ 1400651 w 6400800"/>
                <a:gd name="connsiteY2509" fmla="*/ 243364 h 514350"/>
                <a:gd name="connsiteX2510" fmla="*/ 1392079 w 6400800"/>
                <a:gd name="connsiteY2510" fmla="*/ 219551 h 514350"/>
                <a:gd name="connsiteX2511" fmla="*/ 1393031 w 6400800"/>
                <a:gd name="connsiteY2511" fmla="*/ 213836 h 514350"/>
                <a:gd name="connsiteX2512" fmla="*/ 1395889 w 6400800"/>
                <a:gd name="connsiteY2512" fmla="*/ 210979 h 514350"/>
                <a:gd name="connsiteX2513" fmla="*/ 1400651 w 6400800"/>
                <a:gd name="connsiteY2513" fmla="*/ 205264 h 514350"/>
                <a:gd name="connsiteX2514" fmla="*/ 1394936 w 6400800"/>
                <a:gd name="connsiteY2514" fmla="*/ 210026 h 514350"/>
                <a:gd name="connsiteX2515" fmla="*/ 1393031 w 6400800"/>
                <a:gd name="connsiteY2515" fmla="*/ 210979 h 514350"/>
                <a:gd name="connsiteX2516" fmla="*/ 1394936 w 6400800"/>
                <a:gd name="connsiteY2516" fmla="*/ 202406 h 514350"/>
                <a:gd name="connsiteX2517" fmla="*/ 1391126 w 6400800"/>
                <a:gd name="connsiteY2517" fmla="*/ 212884 h 514350"/>
                <a:gd name="connsiteX2518" fmla="*/ 1390174 w 6400800"/>
                <a:gd name="connsiteY2518" fmla="*/ 213836 h 514350"/>
                <a:gd name="connsiteX2519" fmla="*/ 1384459 w 6400800"/>
                <a:gd name="connsiteY2519" fmla="*/ 199549 h 514350"/>
                <a:gd name="connsiteX2520" fmla="*/ 1387316 w 6400800"/>
                <a:gd name="connsiteY2520" fmla="*/ 215741 h 514350"/>
                <a:gd name="connsiteX2521" fmla="*/ 1378744 w 6400800"/>
                <a:gd name="connsiteY2521" fmla="*/ 224314 h 514350"/>
                <a:gd name="connsiteX2522" fmla="*/ 1367314 w 6400800"/>
                <a:gd name="connsiteY2522" fmla="*/ 240506 h 514350"/>
                <a:gd name="connsiteX2523" fmla="*/ 1354931 w 6400800"/>
                <a:gd name="connsiteY2523" fmla="*/ 209074 h 514350"/>
                <a:gd name="connsiteX2524" fmla="*/ 1354931 w 6400800"/>
                <a:gd name="connsiteY2524" fmla="*/ 185261 h 514350"/>
                <a:gd name="connsiteX2525" fmla="*/ 1354931 w 6400800"/>
                <a:gd name="connsiteY2525" fmla="*/ 157639 h 514350"/>
                <a:gd name="connsiteX2526" fmla="*/ 1351121 w 6400800"/>
                <a:gd name="connsiteY2526" fmla="*/ 185261 h 514350"/>
                <a:gd name="connsiteX2527" fmla="*/ 1349216 w 6400800"/>
                <a:gd name="connsiteY2527" fmla="*/ 197644 h 514350"/>
                <a:gd name="connsiteX2528" fmla="*/ 1343501 w 6400800"/>
                <a:gd name="connsiteY2528" fmla="*/ 186214 h 514350"/>
                <a:gd name="connsiteX2529" fmla="*/ 1344454 w 6400800"/>
                <a:gd name="connsiteY2529" fmla="*/ 171926 h 514350"/>
                <a:gd name="connsiteX2530" fmla="*/ 1344454 w 6400800"/>
                <a:gd name="connsiteY2530" fmla="*/ 157639 h 514350"/>
                <a:gd name="connsiteX2531" fmla="*/ 1345406 w 6400800"/>
                <a:gd name="connsiteY2531" fmla="*/ 142399 h 514350"/>
                <a:gd name="connsiteX2532" fmla="*/ 1346359 w 6400800"/>
                <a:gd name="connsiteY2532" fmla="*/ 120491 h 514350"/>
                <a:gd name="connsiteX2533" fmla="*/ 1341596 w 6400800"/>
                <a:gd name="connsiteY2533" fmla="*/ 141446 h 514350"/>
                <a:gd name="connsiteX2534" fmla="*/ 1336834 w 6400800"/>
                <a:gd name="connsiteY2534" fmla="*/ 166211 h 514350"/>
                <a:gd name="connsiteX2535" fmla="*/ 1335881 w 6400800"/>
                <a:gd name="connsiteY2535" fmla="*/ 169069 h 514350"/>
                <a:gd name="connsiteX2536" fmla="*/ 1327309 w 6400800"/>
                <a:gd name="connsiteY2536" fmla="*/ 150971 h 514350"/>
                <a:gd name="connsiteX2537" fmla="*/ 1280636 w 6400800"/>
                <a:gd name="connsiteY2537" fmla="*/ 53816 h 514350"/>
                <a:gd name="connsiteX2538" fmla="*/ 1317784 w 6400800"/>
                <a:gd name="connsiteY2538" fmla="*/ 155734 h 514350"/>
                <a:gd name="connsiteX2539" fmla="*/ 1332071 w 6400800"/>
                <a:gd name="connsiteY2539" fmla="*/ 193834 h 514350"/>
                <a:gd name="connsiteX2540" fmla="*/ 1331119 w 6400800"/>
                <a:gd name="connsiteY2540" fmla="*/ 197644 h 514350"/>
                <a:gd name="connsiteX2541" fmla="*/ 1326356 w 6400800"/>
                <a:gd name="connsiteY2541" fmla="*/ 235744 h 514350"/>
                <a:gd name="connsiteX2542" fmla="*/ 1321594 w 6400800"/>
                <a:gd name="connsiteY2542" fmla="*/ 277654 h 514350"/>
                <a:gd name="connsiteX2543" fmla="*/ 1319689 w 6400800"/>
                <a:gd name="connsiteY2543" fmla="*/ 293846 h 514350"/>
                <a:gd name="connsiteX2544" fmla="*/ 1317784 w 6400800"/>
                <a:gd name="connsiteY2544" fmla="*/ 290989 h 514350"/>
                <a:gd name="connsiteX2545" fmla="*/ 1317784 w 6400800"/>
                <a:gd name="connsiteY2545" fmla="*/ 289084 h 514350"/>
                <a:gd name="connsiteX2546" fmla="*/ 1316831 w 6400800"/>
                <a:gd name="connsiteY2546" fmla="*/ 290989 h 514350"/>
                <a:gd name="connsiteX2547" fmla="*/ 1315879 w 6400800"/>
                <a:gd name="connsiteY2547" fmla="*/ 288131 h 514350"/>
                <a:gd name="connsiteX2548" fmla="*/ 1313974 w 6400800"/>
                <a:gd name="connsiteY2548" fmla="*/ 285274 h 514350"/>
                <a:gd name="connsiteX2549" fmla="*/ 1316831 w 6400800"/>
                <a:gd name="connsiteY2549" fmla="*/ 244316 h 514350"/>
                <a:gd name="connsiteX2550" fmla="*/ 1309211 w 6400800"/>
                <a:gd name="connsiteY2550" fmla="*/ 277654 h 514350"/>
                <a:gd name="connsiteX2551" fmla="*/ 1298734 w 6400800"/>
                <a:gd name="connsiteY2551" fmla="*/ 260509 h 514350"/>
                <a:gd name="connsiteX2552" fmla="*/ 1313974 w 6400800"/>
                <a:gd name="connsiteY2552" fmla="*/ 199549 h 514350"/>
                <a:gd name="connsiteX2553" fmla="*/ 1319689 w 6400800"/>
                <a:gd name="connsiteY2553" fmla="*/ 172879 h 514350"/>
                <a:gd name="connsiteX2554" fmla="*/ 1291114 w 6400800"/>
                <a:gd name="connsiteY2554" fmla="*/ 249079 h 514350"/>
                <a:gd name="connsiteX2555" fmla="*/ 1281589 w 6400800"/>
                <a:gd name="connsiteY2555" fmla="*/ 234791 h 514350"/>
                <a:gd name="connsiteX2556" fmla="*/ 1267301 w 6400800"/>
                <a:gd name="connsiteY2556" fmla="*/ 215741 h 514350"/>
                <a:gd name="connsiteX2557" fmla="*/ 1275874 w 6400800"/>
                <a:gd name="connsiteY2557" fmla="*/ 232886 h 514350"/>
                <a:gd name="connsiteX2558" fmla="*/ 1272064 w 6400800"/>
                <a:gd name="connsiteY2558" fmla="*/ 243364 h 514350"/>
                <a:gd name="connsiteX2559" fmla="*/ 1261586 w 6400800"/>
                <a:gd name="connsiteY2559" fmla="*/ 227171 h 514350"/>
                <a:gd name="connsiteX2560" fmla="*/ 1249204 w 6400800"/>
                <a:gd name="connsiteY2560" fmla="*/ 210979 h 514350"/>
                <a:gd name="connsiteX2561" fmla="*/ 1247299 w 6400800"/>
                <a:gd name="connsiteY2561" fmla="*/ 208121 h 514350"/>
                <a:gd name="connsiteX2562" fmla="*/ 1251109 w 6400800"/>
                <a:gd name="connsiteY2562" fmla="*/ 199549 h 514350"/>
                <a:gd name="connsiteX2563" fmla="*/ 1246346 w 6400800"/>
                <a:gd name="connsiteY2563" fmla="*/ 206216 h 514350"/>
                <a:gd name="connsiteX2564" fmla="*/ 1229201 w 6400800"/>
                <a:gd name="connsiteY2564" fmla="*/ 184309 h 514350"/>
                <a:gd name="connsiteX2565" fmla="*/ 1211104 w 6400800"/>
                <a:gd name="connsiteY2565" fmla="*/ 162401 h 514350"/>
                <a:gd name="connsiteX2566" fmla="*/ 1226344 w 6400800"/>
                <a:gd name="connsiteY2566" fmla="*/ 186214 h 514350"/>
                <a:gd name="connsiteX2567" fmla="*/ 1242536 w 6400800"/>
                <a:gd name="connsiteY2567" fmla="*/ 211931 h 514350"/>
                <a:gd name="connsiteX2568" fmla="*/ 1236821 w 6400800"/>
                <a:gd name="connsiteY2568" fmla="*/ 220504 h 514350"/>
                <a:gd name="connsiteX2569" fmla="*/ 1233011 w 6400800"/>
                <a:gd name="connsiteY2569" fmla="*/ 226219 h 514350"/>
                <a:gd name="connsiteX2570" fmla="*/ 1231106 w 6400800"/>
                <a:gd name="connsiteY2570" fmla="*/ 212884 h 514350"/>
                <a:gd name="connsiteX2571" fmla="*/ 1228249 w 6400800"/>
                <a:gd name="connsiteY2571" fmla="*/ 209074 h 514350"/>
                <a:gd name="connsiteX2572" fmla="*/ 1226344 w 6400800"/>
                <a:gd name="connsiteY2572" fmla="*/ 209074 h 514350"/>
                <a:gd name="connsiteX2573" fmla="*/ 1223486 w 6400800"/>
                <a:gd name="connsiteY2573" fmla="*/ 199549 h 514350"/>
                <a:gd name="connsiteX2574" fmla="*/ 1215866 w 6400800"/>
                <a:gd name="connsiteY2574" fmla="*/ 179546 h 514350"/>
                <a:gd name="connsiteX2575" fmla="*/ 1219676 w 6400800"/>
                <a:gd name="connsiteY2575" fmla="*/ 200501 h 514350"/>
                <a:gd name="connsiteX2576" fmla="*/ 1221581 w 6400800"/>
                <a:gd name="connsiteY2576" fmla="*/ 211931 h 514350"/>
                <a:gd name="connsiteX2577" fmla="*/ 1220629 w 6400800"/>
                <a:gd name="connsiteY2577" fmla="*/ 213836 h 514350"/>
                <a:gd name="connsiteX2578" fmla="*/ 1207294 w 6400800"/>
                <a:gd name="connsiteY2578" fmla="*/ 200501 h 514350"/>
                <a:gd name="connsiteX2579" fmla="*/ 1201579 w 6400800"/>
                <a:gd name="connsiteY2579" fmla="*/ 195739 h 514350"/>
                <a:gd name="connsiteX2580" fmla="*/ 1206341 w 6400800"/>
                <a:gd name="connsiteY2580" fmla="*/ 201454 h 514350"/>
                <a:gd name="connsiteX2581" fmla="*/ 1217771 w 6400800"/>
                <a:gd name="connsiteY2581" fmla="*/ 217646 h 514350"/>
                <a:gd name="connsiteX2582" fmla="*/ 1217771 w 6400800"/>
                <a:gd name="connsiteY2582" fmla="*/ 217646 h 514350"/>
                <a:gd name="connsiteX2583" fmla="*/ 1216819 w 6400800"/>
                <a:gd name="connsiteY2583" fmla="*/ 231934 h 514350"/>
                <a:gd name="connsiteX2584" fmla="*/ 1202531 w 6400800"/>
                <a:gd name="connsiteY2584" fmla="*/ 219551 h 514350"/>
                <a:gd name="connsiteX2585" fmla="*/ 1215866 w 6400800"/>
                <a:gd name="connsiteY2585" fmla="*/ 236696 h 514350"/>
                <a:gd name="connsiteX2586" fmla="*/ 1214914 w 6400800"/>
                <a:gd name="connsiteY2586" fmla="*/ 249079 h 514350"/>
                <a:gd name="connsiteX2587" fmla="*/ 1214914 w 6400800"/>
                <a:gd name="connsiteY2587" fmla="*/ 255746 h 514350"/>
                <a:gd name="connsiteX2588" fmla="*/ 1213961 w 6400800"/>
                <a:gd name="connsiteY2588" fmla="*/ 250984 h 514350"/>
                <a:gd name="connsiteX2589" fmla="*/ 1213961 w 6400800"/>
                <a:gd name="connsiteY2589" fmla="*/ 250031 h 514350"/>
                <a:gd name="connsiteX2590" fmla="*/ 1214914 w 6400800"/>
                <a:gd name="connsiteY2590" fmla="*/ 249079 h 514350"/>
                <a:gd name="connsiteX2591" fmla="*/ 1213961 w 6400800"/>
                <a:gd name="connsiteY2591" fmla="*/ 250031 h 514350"/>
                <a:gd name="connsiteX2592" fmla="*/ 1207294 w 6400800"/>
                <a:gd name="connsiteY2592" fmla="*/ 229076 h 514350"/>
                <a:gd name="connsiteX2593" fmla="*/ 1200626 w 6400800"/>
                <a:gd name="connsiteY2593" fmla="*/ 212884 h 514350"/>
                <a:gd name="connsiteX2594" fmla="*/ 1193959 w 6400800"/>
                <a:gd name="connsiteY2594" fmla="*/ 198596 h 514350"/>
                <a:gd name="connsiteX2595" fmla="*/ 1196816 w 6400800"/>
                <a:gd name="connsiteY2595" fmla="*/ 213836 h 514350"/>
                <a:gd name="connsiteX2596" fmla="*/ 1200626 w 6400800"/>
                <a:gd name="connsiteY2596" fmla="*/ 230981 h 514350"/>
                <a:gd name="connsiteX2597" fmla="*/ 1204436 w 6400800"/>
                <a:gd name="connsiteY2597" fmla="*/ 252889 h 514350"/>
                <a:gd name="connsiteX2598" fmla="*/ 1205389 w 6400800"/>
                <a:gd name="connsiteY2598" fmla="*/ 258604 h 514350"/>
                <a:gd name="connsiteX2599" fmla="*/ 1196816 w 6400800"/>
                <a:gd name="connsiteY2599" fmla="*/ 239554 h 514350"/>
                <a:gd name="connsiteX2600" fmla="*/ 1189196 w 6400800"/>
                <a:gd name="connsiteY2600" fmla="*/ 224314 h 514350"/>
                <a:gd name="connsiteX2601" fmla="*/ 1181576 w 6400800"/>
                <a:gd name="connsiteY2601" fmla="*/ 211931 h 514350"/>
                <a:gd name="connsiteX2602" fmla="*/ 1185386 w 6400800"/>
                <a:gd name="connsiteY2602" fmla="*/ 225266 h 514350"/>
                <a:gd name="connsiteX2603" fmla="*/ 1190149 w 6400800"/>
                <a:gd name="connsiteY2603" fmla="*/ 241459 h 514350"/>
                <a:gd name="connsiteX2604" fmla="*/ 1194911 w 6400800"/>
                <a:gd name="connsiteY2604" fmla="*/ 262414 h 514350"/>
                <a:gd name="connsiteX2605" fmla="*/ 1197769 w 6400800"/>
                <a:gd name="connsiteY2605" fmla="*/ 276701 h 514350"/>
                <a:gd name="connsiteX2606" fmla="*/ 1193959 w 6400800"/>
                <a:gd name="connsiteY2606" fmla="*/ 284321 h 514350"/>
                <a:gd name="connsiteX2607" fmla="*/ 1193959 w 6400800"/>
                <a:gd name="connsiteY2607" fmla="*/ 283369 h 514350"/>
                <a:gd name="connsiteX2608" fmla="*/ 1193006 w 6400800"/>
                <a:gd name="connsiteY2608" fmla="*/ 279559 h 514350"/>
                <a:gd name="connsiteX2609" fmla="*/ 1193959 w 6400800"/>
                <a:gd name="connsiteY2609" fmla="*/ 276701 h 514350"/>
                <a:gd name="connsiteX2610" fmla="*/ 1193006 w 6400800"/>
                <a:gd name="connsiteY2610" fmla="*/ 278606 h 514350"/>
                <a:gd name="connsiteX2611" fmla="*/ 1184434 w 6400800"/>
                <a:gd name="connsiteY2611" fmla="*/ 250984 h 514350"/>
                <a:gd name="connsiteX2612" fmla="*/ 1174909 w 6400800"/>
                <a:gd name="connsiteY2612" fmla="*/ 227171 h 514350"/>
                <a:gd name="connsiteX2613" fmla="*/ 1174909 w 6400800"/>
                <a:gd name="connsiteY2613" fmla="*/ 223361 h 514350"/>
                <a:gd name="connsiteX2614" fmla="*/ 1175861 w 6400800"/>
                <a:gd name="connsiteY2614" fmla="*/ 196691 h 514350"/>
                <a:gd name="connsiteX2615" fmla="*/ 1174909 w 6400800"/>
                <a:gd name="connsiteY2615" fmla="*/ 173831 h 514350"/>
                <a:gd name="connsiteX2616" fmla="*/ 1172051 w 6400800"/>
                <a:gd name="connsiteY2616" fmla="*/ 196691 h 514350"/>
                <a:gd name="connsiteX2617" fmla="*/ 1168241 w 6400800"/>
                <a:gd name="connsiteY2617" fmla="*/ 223361 h 514350"/>
                <a:gd name="connsiteX2618" fmla="*/ 1168241 w 6400800"/>
                <a:gd name="connsiteY2618" fmla="*/ 226219 h 514350"/>
                <a:gd name="connsiteX2619" fmla="*/ 1162526 w 6400800"/>
                <a:gd name="connsiteY2619" fmla="*/ 238601 h 514350"/>
                <a:gd name="connsiteX2620" fmla="*/ 1158716 w 6400800"/>
                <a:gd name="connsiteY2620" fmla="*/ 215741 h 514350"/>
                <a:gd name="connsiteX2621" fmla="*/ 1152049 w 6400800"/>
                <a:gd name="connsiteY2621" fmla="*/ 189071 h 514350"/>
                <a:gd name="connsiteX2622" fmla="*/ 1136809 w 6400800"/>
                <a:gd name="connsiteY2622" fmla="*/ 133826 h 514350"/>
                <a:gd name="connsiteX2623" fmla="*/ 1140619 w 6400800"/>
                <a:gd name="connsiteY2623" fmla="*/ 190024 h 514350"/>
                <a:gd name="connsiteX2624" fmla="*/ 1143476 w 6400800"/>
                <a:gd name="connsiteY2624" fmla="*/ 217646 h 514350"/>
                <a:gd name="connsiteX2625" fmla="*/ 1146334 w 6400800"/>
                <a:gd name="connsiteY2625" fmla="*/ 248126 h 514350"/>
                <a:gd name="connsiteX2626" fmla="*/ 1147286 w 6400800"/>
                <a:gd name="connsiteY2626" fmla="*/ 261461 h 514350"/>
                <a:gd name="connsiteX2627" fmla="*/ 1147286 w 6400800"/>
                <a:gd name="connsiteY2627" fmla="*/ 261461 h 514350"/>
                <a:gd name="connsiteX2628" fmla="*/ 1147286 w 6400800"/>
                <a:gd name="connsiteY2628" fmla="*/ 258604 h 514350"/>
                <a:gd name="connsiteX2629" fmla="*/ 1147286 w 6400800"/>
                <a:gd name="connsiteY2629" fmla="*/ 260509 h 514350"/>
                <a:gd name="connsiteX2630" fmla="*/ 1143476 w 6400800"/>
                <a:gd name="connsiteY2630" fmla="*/ 251936 h 514350"/>
                <a:gd name="connsiteX2631" fmla="*/ 1141571 w 6400800"/>
                <a:gd name="connsiteY2631" fmla="*/ 249079 h 514350"/>
                <a:gd name="connsiteX2632" fmla="*/ 1141571 w 6400800"/>
                <a:gd name="connsiteY2632" fmla="*/ 237649 h 514350"/>
                <a:gd name="connsiteX2633" fmla="*/ 1139666 w 6400800"/>
                <a:gd name="connsiteY2633" fmla="*/ 246221 h 514350"/>
                <a:gd name="connsiteX2634" fmla="*/ 1132046 w 6400800"/>
                <a:gd name="connsiteY2634" fmla="*/ 231934 h 514350"/>
                <a:gd name="connsiteX2635" fmla="*/ 1132046 w 6400800"/>
                <a:gd name="connsiteY2635" fmla="*/ 230981 h 514350"/>
                <a:gd name="connsiteX2636" fmla="*/ 1120616 w 6400800"/>
                <a:gd name="connsiteY2636" fmla="*/ 177641 h 514350"/>
                <a:gd name="connsiteX2637" fmla="*/ 1110139 w 6400800"/>
                <a:gd name="connsiteY2637" fmla="*/ 132874 h 514350"/>
                <a:gd name="connsiteX2638" fmla="*/ 1100614 w 6400800"/>
                <a:gd name="connsiteY2638" fmla="*/ 98584 h 514350"/>
                <a:gd name="connsiteX2639" fmla="*/ 1092041 w 6400800"/>
                <a:gd name="connsiteY2639" fmla="*/ 69056 h 514350"/>
                <a:gd name="connsiteX2640" fmla="*/ 1096804 w 6400800"/>
                <a:gd name="connsiteY2640" fmla="*/ 99536 h 514350"/>
                <a:gd name="connsiteX2641" fmla="*/ 1103471 w 6400800"/>
                <a:gd name="connsiteY2641" fmla="*/ 134779 h 514350"/>
                <a:gd name="connsiteX2642" fmla="*/ 1110139 w 6400800"/>
                <a:gd name="connsiteY2642" fmla="*/ 180499 h 514350"/>
                <a:gd name="connsiteX2643" fmla="*/ 1112996 w 6400800"/>
                <a:gd name="connsiteY2643" fmla="*/ 199549 h 514350"/>
                <a:gd name="connsiteX2644" fmla="*/ 1110139 w 6400800"/>
                <a:gd name="connsiteY2644" fmla="*/ 194786 h 514350"/>
                <a:gd name="connsiteX2645" fmla="*/ 1106329 w 6400800"/>
                <a:gd name="connsiteY2645" fmla="*/ 190024 h 514350"/>
                <a:gd name="connsiteX2646" fmla="*/ 1105376 w 6400800"/>
                <a:gd name="connsiteY2646" fmla="*/ 188119 h 514350"/>
                <a:gd name="connsiteX2647" fmla="*/ 1095851 w 6400800"/>
                <a:gd name="connsiteY2647" fmla="*/ 160496 h 514350"/>
                <a:gd name="connsiteX2648" fmla="*/ 1087279 w 6400800"/>
                <a:gd name="connsiteY2648" fmla="*/ 136684 h 514350"/>
                <a:gd name="connsiteX2649" fmla="*/ 1092041 w 6400800"/>
                <a:gd name="connsiteY2649" fmla="*/ 161449 h 514350"/>
                <a:gd name="connsiteX2650" fmla="*/ 1098709 w 6400800"/>
                <a:gd name="connsiteY2650" fmla="*/ 190024 h 514350"/>
                <a:gd name="connsiteX2651" fmla="*/ 1103471 w 6400800"/>
                <a:gd name="connsiteY2651" fmla="*/ 215741 h 514350"/>
                <a:gd name="connsiteX2652" fmla="*/ 1097756 w 6400800"/>
                <a:gd name="connsiteY2652" fmla="*/ 200501 h 514350"/>
                <a:gd name="connsiteX2653" fmla="*/ 1102519 w 6400800"/>
                <a:gd name="connsiteY2653" fmla="*/ 224314 h 514350"/>
                <a:gd name="connsiteX2654" fmla="*/ 1094899 w 6400800"/>
                <a:gd name="connsiteY2654" fmla="*/ 233839 h 514350"/>
                <a:gd name="connsiteX2655" fmla="*/ 1089184 w 6400800"/>
                <a:gd name="connsiteY2655" fmla="*/ 209074 h 514350"/>
                <a:gd name="connsiteX2656" fmla="*/ 1084421 w 6400800"/>
                <a:gd name="connsiteY2656" fmla="*/ 166211 h 514350"/>
                <a:gd name="connsiteX2657" fmla="*/ 1083469 w 6400800"/>
                <a:gd name="connsiteY2657" fmla="*/ 184309 h 514350"/>
                <a:gd name="connsiteX2658" fmla="*/ 1073944 w 6400800"/>
                <a:gd name="connsiteY2658" fmla="*/ 149066 h 514350"/>
                <a:gd name="connsiteX2659" fmla="*/ 1066324 w 6400800"/>
                <a:gd name="connsiteY2659" fmla="*/ 123349 h 514350"/>
                <a:gd name="connsiteX2660" fmla="*/ 1075849 w 6400800"/>
                <a:gd name="connsiteY2660" fmla="*/ 94774 h 514350"/>
                <a:gd name="connsiteX2661" fmla="*/ 1064419 w 6400800"/>
                <a:gd name="connsiteY2661" fmla="*/ 119539 h 514350"/>
                <a:gd name="connsiteX2662" fmla="*/ 1057751 w 6400800"/>
                <a:gd name="connsiteY2662" fmla="*/ 100489 h 514350"/>
                <a:gd name="connsiteX2663" fmla="*/ 1050131 w 6400800"/>
                <a:gd name="connsiteY2663" fmla="*/ 78581 h 514350"/>
                <a:gd name="connsiteX2664" fmla="*/ 1042511 w 6400800"/>
                <a:gd name="connsiteY2664" fmla="*/ 59531 h 514350"/>
                <a:gd name="connsiteX2665" fmla="*/ 1029176 w 6400800"/>
                <a:gd name="connsiteY2665" fmla="*/ 28099 h 514350"/>
                <a:gd name="connsiteX2666" fmla="*/ 1012984 w 6400800"/>
                <a:gd name="connsiteY2666" fmla="*/ 7144 h 514350"/>
                <a:gd name="connsiteX2667" fmla="*/ 1022509 w 6400800"/>
                <a:gd name="connsiteY2667" fmla="*/ 34766 h 514350"/>
                <a:gd name="connsiteX2668" fmla="*/ 1032986 w 6400800"/>
                <a:gd name="connsiteY2668" fmla="*/ 67151 h 514350"/>
                <a:gd name="connsiteX2669" fmla="*/ 1038701 w 6400800"/>
                <a:gd name="connsiteY2669" fmla="*/ 87154 h 514350"/>
                <a:gd name="connsiteX2670" fmla="*/ 1044416 w 6400800"/>
                <a:gd name="connsiteY2670" fmla="*/ 109061 h 514350"/>
                <a:gd name="connsiteX2671" fmla="*/ 1044416 w 6400800"/>
                <a:gd name="connsiteY2671" fmla="*/ 110014 h 514350"/>
                <a:gd name="connsiteX2672" fmla="*/ 1037749 w 6400800"/>
                <a:gd name="connsiteY2672" fmla="*/ 96679 h 514350"/>
                <a:gd name="connsiteX2673" fmla="*/ 1044416 w 6400800"/>
                <a:gd name="connsiteY2673" fmla="*/ 117634 h 514350"/>
                <a:gd name="connsiteX2674" fmla="*/ 1051084 w 6400800"/>
                <a:gd name="connsiteY2674" fmla="*/ 141446 h 514350"/>
                <a:gd name="connsiteX2675" fmla="*/ 1052036 w 6400800"/>
                <a:gd name="connsiteY2675" fmla="*/ 146209 h 514350"/>
                <a:gd name="connsiteX2676" fmla="*/ 1037749 w 6400800"/>
                <a:gd name="connsiteY2676" fmla="*/ 172879 h 514350"/>
                <a:gd name="connsiteX2677" fmla="*/ 1024414 w 6400800"/>
                <a:gd name="connsiteY2677" fmla="*/ 195739 h 514350"/>
                <a:gd name="connsiteX2678" fmla="*/ 1023461 w 6400800"/>
                <a:gd name="connsiteY2678" fmla="*/ 192881 h 514350"/>
                <a:gd name="connsiteX2679" fmla="*/ 1023461 w 6400800"/>
                <a:gd name="connsiteY2679" fmla="*/ 184309 h 514350"/>
                <a:gd name="connsiteX2680" fmla="*/ 1024414 w 6400800"/>
                <a:gd name="connsiteY2680" fmla="*/ 142399 h 514350"/>
                <a:gd name="connsiteX2681" fmla="*/ 1023461 w 6400800"/>
                <a:gd name="connsiteY2681" fmla="*/ 110014 h 514350"/>
                <a:gd name="connsiteX2682" fmla="*/ 1021556 w 6400800"/>
                <a:gd name="connsiteY2682" fmla="*/ 89059 h 514350"/>
                <a:gd name="connsiteX2683" fmla="*/ 1020604 w 6400800"/>
                <a:gd name="connsiteY2683" fmla="*/ 81439 h 514350"/>
                <a:gd name="connsiteX2684" fmla="*/ 1020604 w 6400800"/>
                <a:gd name="connsiteY2684" fmla="*/ 89059 h 514350"/>
                <a:gd name="connsiteX2685" fmla="*/ 1019651 w 6400800"/>
                <a:gd name="connsiteY2685" fmla="*/ 110014 h 514350"/>
                <a:gd name="connsiteX2686" fmla="*/ 1014889 w 6400800"/>
                <a:gd name="connsiteY2686" fmla="*/ 165259 h 514350"/>
                <a:gd name="connsiteX2687" fmla="*/ 1013936 w 6400800"/>
                <a:gd name="connsiteY2687" fmla="*/ 161449 h 514350"/>
                <a:gd name="connsiteX2688" fmla="*/ 1014889 w 6400800"/>
                <a:gd name="connsiteY2688" fmla="*/ 168116 h 514350"/>
                <a:gd name="connsiteX2689" fmla="*/ 1012984 w 6400800"/>
                <a:gd name="connsiteY2689" fmla="*/ 183356 h 514350"/>
                <a:gd name="connsiteX2690" fmla="*/ 1007269 w 6400800"/>
                <a:gd name="connsiteY2690" fmla="*/ 224314 h 514350"/>
                <a:gd name="connsiteX2691" fmla="*/ 972026 w 6400800"/>
                <a:gd name="connsiteY2691" fmla="*/ 283369 h 514350"/>
                <a:gd name="connsiteX2692" fmla="*/ 971074 w 6400800"/>
                <a:gd name="connsiteY2692" fmla="*/ 269081 h 514350"/>
                <a:gd name="connsiteX2693" fmla="*/ 977741 w 6400800"/>
                <a:gd name="connsiteY2693" fmla="*/ 251936 h 514350"/>
                <a:gd name="connsiteX2694" fmla="*/ 992981 w 6400800"/>
                <a:gd name="connsiteY2694" fmla="*/ 206216 h 514350"/>
                <a:gd name="connsiteX2695" fmla="*/ 1002506 w 6400800"/>
                <a:gd name="connsiteY2695" fmla="*/ 170974 h 514350"/>
                <a:gd name="connsiteX2696" fmla="*/ 1009174 w 6400800"/>
                <a:gd name="connsiteY2696" fmla="*/ 139541 h 514350"/>
                <a:gd name="connsiteX2697" fmla="*/ 998696 w 6400800"/>
                <a:gd name="connsiteY2697" fmla="*/ 170021 h 514350"/>
                <a:gd name="connsiteX2698" fmla="*/ 985361 w 6400800"/>
                <a:gd name="connsiteY2698" fmla="*/ 204311 h 514350"/>
                <a:gd name="connsiteX2699" fmla="*/ 966311 w 6400800"/>
                <a:gd name="connsiteY2699" fmla="*/ 248126 h 514350"/>
                <a:gd name="connsiteX2700" fmla="*/ 960596 w 6400800"/>
                <a:gd name="connsiteY2700" fmla="*/ 260509 h 514350"/>
                <a:gd name="connsiteX2701" fmla="*/ 961549 w 6400800"/>
                <a:gd name="connsiteY2701" fmla="*/ 225266 h 514350"/>
                <a:gd name="connsiteX2702" fmla="*/ 969169 w 6400800"/>
                <a:gd name="connsiteY2702" fmla="*/ 206216 h 514350"/>
                <a:gd name="connsiteX2703" fmla="*/ 961549 w 6400800"/>
                <a:gd name="connsiteY2703" fmla="*/ 218599 h 514350"/>
                <a:gd name="connsiteX2704" fmla="*/ 961549 w 6400800"/>
                <a:gd name="connsiteY2704" fmla="*/ 206216 h 514350"/>
                <a:gd name="connsiteX2705" fmla="*/ 958691 w 6400800"/>
                <a:gd name="connsiteY2705" fmla="*/ 149066 h 514350"/>
                <a:gd name="connsiteX2706" fmla="*/ 956786 w 6400800"/>
                <a:gd name="connsiteY2706" fmla="*/ 134779 h 514350"/>
                <a:gd name="connsiteX2707" fmla="*/ 957739 w 6400800"/>
                <a:gd name="connsiteY2707" fmla="*/ 131921 h 514350"/>
                <a:gd name="connsiteX2708" fmla="*/ 956786 w 6400800"/>
                <a:gd name="connsiteY2708" fmla="*/ 133826 h 514350"/>
                <a:gd name="connsiteX2709" fmla="*/ 956786 w 6400800"/>
                <a:gd name="connsiteY2709" fmla="*/ 132874 h 514350"/>
                <a:gd name="connsiteX2710" fmla="*/ 955834 w 6400800"/>
                <a:gd name="connsiteY2710" fmla="*/ 127159 h 514350"/>
                <a:gd name="connsiteX2711" fmla="*/ 955834 w 6400800"/>
                <a:gd name="connsiteY2711" fmla="*/ 136684 h 514350"/>
                <a:gd name="connsiteX2712" fmla="*/ 927259 w 6400800"/>
                <a:gd name="connsiteY2712" fmla="*/ 206216 h 514350"/>
                <a:gd name="connsiteX2713" fmla="*/ 927259 w 6400800"/>
                <a:gd name="connsiteY2713" fmla="*/ 205264 h 514350"/>
                <a:gd name="connsiteX2714" fmla="*/ 930116 w 6400800"/>
                <a:gd name="connsiteY2714" fmla="*/ 183356 h 514350"/>
                <a:gd name="connsiteX2715" fmla="*/ 932974 w 6400800"/>
                <a:gd name="connsiteY2715" fmla="*/ 164306 h 514350"/>
                <a:gd name="connsiteX2716" fmla="*/ 926306 w 6400800"/>
                <a:gd name="connsiteY2716" fmla="*/ 183356 h 514350"/>
                <a:gd name="connsiteX2717" fmla="*/ 920591 w 6400800"/>
                <a:gd name="connsiteY2717" fmla="*/ 203359 h 514350"/>
                <a:gd name="connsiteX2718" fmla="*/ 910114 w 6400800"/>
                <a:gd name="connsiteY2718" fmla="*/ 171926 h 514350"/>
                <a:gd name="connsiteX2719" fmla="*/ 907256 w 6400800"/>
                <a:gd name="connsiteY2719" fmla="*/ 164306 h 514350"/>
                <a:gd name="connsiteX2720" fmla="*/ 912019 w 6400800"/>
                <a:gd name="connsiteY2720" fmla="*/ 157639 h 514350"/>
                <a:gd name="connsiteX2721" fmla="*/ 933926 w 6400800"/>
                <a:gd name="connsiteY2721" fmla="*/ 124301 h 514350"/>
                <a:gd name="connsiteX2722" fmla="*/ 953929 w 6400800"/>
                <a:gd name="connsiteY2722" fmla="*/ 95726 h 514350"/>
                <a:gd name="connsiteX2723" fmla="*/ 931069 w 6400800"/>
                <a:gd name="connsiteY2723" fmla="*/ 121444 h 514350"/>
                <a:gd name="connsiteX2724" fmla="*/ 906304 w 6400800"/>
                <a:gd name="connsiteY2724" fmla="*/ 151924 h 514350"/>
                <a:gd name="connsiteX2725" fmla="*/ 904399 w 6400800"/>
                <a:gd name="connsiteY2725" fmla="*/ 154781 h 514350"/>
                <a:gd name="connsiteX2726" fmla="*/ 894874 w 6400800"/>
                <a:gd name="connsiteY2726" fmla="*/ 131921 h 514350"/>
                <a:gd name="connsiteX2727" fmla="*/ 892016 w 6400800"/>
                <a:gd name="connsiteY2727" fmla="*/ 126206 h 514350"/>
                <a:gd name="connsiteX2728" fmla="*/ 897731 w 6400800"/>
                <a:gd name="connsiteY2728" fmla="*/ 115729 h 514350"/>
                <a:gd name="connsiteX2729" fmla="*/ 918686 w 6400800"/>
                <a:gd name="connsiteY2729" fmla="*/ 77629 h 514350"/>
                <a:gd name="connsiteX2730" fmla="*/ 937736 w 6400800"/>
                <a:gd name="connsiteY2730" fmla="*/ 44291 h 514350"/>
                <a:gd name="connsiteX2731" fmla="*/ 914876 w 6400800"/>
                <a:gd name="connsiteY2731" fmla="*/ 74771 h 514350"/>
                <a:gd name="connsiteX2732" fmla="*/ 890111 w 6400800"/>
                <a:gd name="connsiteY2732" fmla="*/ 110966 h 514350"/>
                <a:gd name="connsiteX2733" fmla="*/ 886301 w 6400800"/>
                <a:gd name="connsiteY2733" fmla="*/ 116681 h 514350"/>
                <a:gd name="connsiteX2734" fmla="*/ 874871 w 6400800"/>
                <a:gd name="connsiteY2734" fmla="*/ 92869 h 514350"/>
                <a:gd name="connsiteX2735" fmla="*/ 873919 w 6400800"/>
                <a:gd name="connsiteY2735" fmla="*/ 90964 h 514350"/>
                <a:gd name="connsiteX2736" fmla="*/ 872966 w 6400800"/>
                <a:gd name="connsiteY2736" fmla="*/ 91916 h 514350"/>
                <a:gd name="connsiteX2737" fmla="*/ 868204 w 6400800"/>
                <a:gd name="connsiteY2737" fmla="*/ 95726 h 514350"/>
                <a:gd name="connsiteX2738" fmla="*/ 866299 w 6400800"/>
                <a:gd name="connsiteY2738" fmla="*/ 101441 h 514350"/>
                <a:gd name="connsiteX2739" fmla="*/ 868204 w 6400800"/>
                <a:gd name="connsiteY2739" fmla="*/ 113824 h 514350"/>
                <a:gd name="connsiteX2740" fmla="*/ 868204 w 6400800"/>
                <a:gd name="connsiteY2740" fmla="*/ 102394 h 514350"/>
                <a:gd name="connsiteX2741" fmla="*/ 870109 w 6400800"/>
                <a:gd name="connsiteY2741" fmla="*/ 97631 h 514350"/>
                <a:gd name="connsiteX2742" fmla="*/ 872966 w 6400800"/>
                <a:gd name="connsiteY2742" fmla="*/ 95726 h 514350"/>
                <a:gd name="connsiteX2743" fmla="*/ 882491 w 6400800"/>
                <a:gd name="connsiteY2743" fmla="*/ 122396 h 514350"/>
                <a:gd name="connsiteX2744" fmla="*/ 875824 w 6400800"/>
                <a:gd name="connsiteY2744" fmla="*/ 132874 h 514350"/>
                <a:gd name="connsiteX2745" fmla="*/ 860584 w 6400800"/>
                <a:gd name="connsiteY2745" fmla="*/ 159544 h 514350"/>
                <a:gd name="connsiteX2746" fmla="*/ 837724 w 6400800"/>
                <a:gd name="connsiteY2746" fmla="*/ 203359 h 514350"/>
                <a:gd name="connsiteX2747" fmla="*/ 832009 w 6400800"/>
                <a:gd name="connsiteY2747" fmla="*/ 194786 h 514350"/>
                <a:gd name="connsiteX2748" fmla="*/ 838676 w 6400800"/>
                <a:gd name="connsiteY2748" fmla="*/ 137636 h 514350"/>
                <a:gd name="connsiteX2749" fmla="*/ 840581 w 6400800"/>
                <a:gd name="connsiteY2749" fmla="*/ 115729 h 514350"/>
                <a:gd name="connsiteX2750" fmla="*/ 834866 w 6400800"/>
                <a:gd name="connsiteY2750" fmla="*/ 137636 h 514350"/>
                <a:gd name="connsiteX2751" fmla="*/ 820579 w 6400800"/>
                <a:gd name="connsiteY2751" fmla="*/ 194786 h 514350"/>
                <a:gd name="connsiteX2752" fmla="*/ 818674 w 6400800"/>
                <a:gd name="connsiteY2752" fmla="*/ 204311 h 514350"/>
                <a:gd name="connsiteX2753" fmla="*/ 815816 w 6400800"/>
                <a:gd name="connsiteY2753" fmla="*/ 197644 h 514350"/>
                <a:gd name="connsiteX2754" fmla="*/ 807244 w 6400800"/>
                <a:gd name="connsiteY2754" fmla="*/ 174784 h 514350"/>
                <a:gd name="connsiteX2755" fmla="*/ 812006 w 6400800"/>
                <a:gd name="connsiteY2755" fmla="*/ 198596 h 514350"/>
                <a:gd name="connsiteX2756" fmla="*/ 814864 w 6400800"/>
                <a:gd name="connsiteY2756" fmla="*/ 210979 h 514350"/>
                <a:gd name="connsiteX2757" fmla="*/ 815816 w 6400800"/>
                <a:gd name="connsiteY2757" fmla="*/ 216694 h 514350"/>
                <a:gd name="connsiteX2758" fmla="*/ 811054 w 6400800"/>
                <a:gd name="connsiteY2758" fmla="*/ 239554 h 514350"/>
                <a:gd name="connsiteX2759" fmla="*/ 808196 w 6400800"/>
                <a:gd name="connsiteY2759" fmla="*/ 219551 h 514350"/>
                <a:gd name="connsiteX2760" fmla="*/ 807244 w 6400800"/>
                <a:gd name="connsiteY2760" fmla="*/ 264319 h 514350"/>
                <a:gd name="connsiteX2761" fmla="*/ 807244 w 6400800"/>
                <a:gd name="connsiteY2761" fmla="*/ 266224 h 514350"/>
                <a:gd name="connsiteX2762" fmla="*/ 798671 w 6400800"/>
                <a:gd name="connsiteY2762" fmla="*/ 246221 h 514350"/>
                <a:gd name="connsiteX2763" fmla="*/ 800576 w 6400800"/>
                <a:gd name="connsiteY2763" fmla="*/ 239554 h 514350"/>
                <a:gd name="connsiteX2764" fmla="*/ 797719 w 6400800"/>
                <a:gd name="connsiteY2764" fmla="*/ 245269 h 514350"/>
                <a:gd name="connsiteX2765" fmla="*/ 796766 w 6400800"/>
                <a:gd name="connsiteY2765" fmla="*/ 242411 h 514350"/>
                <a:gd name="connsiteX2766" fmla="*/ 792956 w 6400800"/>
                <a:gd name="connsiteY2766" fmla="*/ 233839 h 514350"/>
                <a:gd name="connsiteX2767" fmla="*/ 796766 w 6400800"/>
                <a:gd name="connsiteY2767" fmla="*/ 218599 h 514350"/>
                <a:gd name="connsiteX2768" fmla="*/ 809149 w 6400800"/>
                <a:gd name="connsiteY2768" fmla="*/ 164306 h 514350"/>
                <a:gd name="connsiteX2769" fmla="*/ 812959 w 6400800"/>
                <a:gd name="connsiteY2769" fmla="*/ 143351 h 514350"/>
                <a:gd name="connsiteX2770" fmla="*/ 805339 w 6400800"/>
                <a:gd name="connsiteY2770" fmla="*/ 163354 h 514350"/>
                <a:gd name="connsiteX2771" fmla="*/ 796766 w 6400800"/>
                <a:gd name="connsiteY2771" fmla="*/ 186214 h 514350"/>
                <a:gd name="connsiteX2772" fmla="*/ 785336 w 6400800"/>
                <a:gd name="connsiteY2772" fmla="*/ 215741 h 514350"/>
                <a:gd name="connsiteX2773" fmla="*/ 784384 w 6400800"/>
                <a:gd name="connsiteY2773" fmla="*/ 218599 h 514350"/>
                <a:gd name="connsiteX2774" fmla="*/ 776764 w 6400800"/>
                <a:gd name="connsiteY2774" fmla="*/ 205264 h 514350"/>
                <a:gd name="connsiteX2775" fmla="*/ 774859 w 6400800"/>
                <a:gd name="connsiteY2775" fmla="*/ 202406 h 514350"/>
                <a:gd name="connsiteX2776" fmla="*/ 774859 w 6400800"/>
                <a:gd name="connsiteY2776" fmla="*/ 201454 h 514350"/>
                <a:gd name="connsiteX2777" fmla="*/ 780574 w 6400800"/>
                <a:gd name="connsiteY2777" fmla="*/ 142399 h 514350"/>
                <a:gd name="connsiteX2778" fmla="*/ 781526 w 6400800"/>
                <a:gd name="connsiteY2778" fmla="*/ 119539 h 514350"/>
                <a:gd name="connsiteX2779" fmla="*/ 776764 w 6400800"/>
                <a:gd name="connsiteY2779" fmla="*/ 141446 h 514350"/>
                <a:gd name="connsiteX2780" fmla="*/ 771049 w 6400800"/>
                <a:gd name="connsiteY2780" fmla="*/ 167164 h 514350"/>
                <a:gd name="connsiteX2781" fmla="*/ 766286 w 6400800"/>
                <a:gd name="connsiteY2781" fmla="*/ 189071 h 514350"/>
                <a:gd name="connsiteX2782" fmla="*/ 758666 w 6400800"/>
                <a:gd name="connsiteY2782" fmla="*/ 178594 h 514350"/>
                <a:gd name="connsiteX2783" fmla="*/ 745331 w 6400800"/>
                <a:gd name="connsiteY2783" fmla="*/ 163354 h 514350"/>
                <a:gd name="connsiteX2784" fmla="*/ 740569 w 6400800"/>
                <a:gd name="connsiteY2784" fmla="*/ 157639 h 514350"/>
                <a:gd name="connsiteX2785" fmla="*/ 744379 w 6400800"/>
                <a:gd name="connsiteY2785" fmla="*/ 163354 h 514350"/>
                <a:gd name="connsiteX2786" fmla="*/ 754856 w 6400800"/>
                <a:gd name="connsiteY2786" fmla="*/ 180499 h 514350"/>
                <a:gd name="connsiteX2787" fmla="*/ 763429 w 6400800"/>
                <a:gd name="connsiteY2787" fmla="*/ 196691 h 514350"/>
                <a:gd name="connsiteX2788" fmla="*/ 762476 w 6400800"/>
                <a:gd name="connsiteY2788" fmla="*/ 199549 h 514350"/>
                <a:gd name="connsiteX2789" fmla="*/ 753904 w 6400800"/>
                <a:gd name="connsiteY2789" fmla="*/ 238601 h 514350"/>
                <a:gd name="connsiteX2790" fmla="*/ 747236 w 6400800"/>
                <a:gd name="connsiteY2790" fmla="*/ 224314 h 514350"/>
                <a:gd name="connsiteX2791" fmla="*/ 752951 w 6400800"/>
                <a:gd name="connsiteY2791" fmla="*/ 241459 h 514350"/>
                <a:gd name="connsiteX2792" fmla="*/ 751046 w 6400800"/>
                <a:gd name="connsiteY2792" fmla="*/ 243364 h 514350"/>
                <a:gd name="connsiteX2793" fmla="*/ 749141 w 6400800"/>
                <a:gd name="connsiteY2793" fmla="*/ 252889 h 514350"/>
                <a:gd name="connsiteX2794" fmla="*/ 752951 w 6400800"/>
                <a:gd name="connsiteY2794" fmla="*/ 244316 h 514350"/>
                <a:gd name="connsiteX2795" fmla="*/ 752951 w 6400800"/>
                <a:gd name="connsiteY2795" fmla="*/ 244316 h 514350"/>
                <a:gd name="connsiteX2796" fmla="*/ 744379 w 6400800"/>
                <a:gd name="connsiteY2796" fmla="*/ 282416 h 514350"/>
                <a:gd name="connsiteX2797" fmla="*/ 741521 w 6400800"/>
                <a:gd name="connsiteY2797" fmla="*/ 296704 h 514350"/>
                <a:gd name="connsiteX2798" fmla="*/ 738664 w 6400800"/>
                <a:gd name="connsiteY2798" fmla="*/ 306229 h 514350"/>
                <a:gd name="connsiteX2799" fmla="*/ 738664 w 6400800"/>
                <a:gd name="connsiteY2799" fmla="*/ 306229 h 514350"/>
                <a:gd name="connsiteX2800" fmla="*/ 737711 w 6400800"/>
                <a:gd name="connsiteY2800" fmla="*/ 293846 h 514350"/>
                <a:gd name="connsiteX2801" fmla="*/ 733901 w 6400800"/>
                <a:gd name="connsiteY2801" fmla="*/ 270034 h 514350"/>
                <a:gd name="connsiteX2802" fmla="*/ 731996 w 6400800"/>
                <a:gd name="connsiteY2802" fmla="*/ 259556 h 514350"/>
                <a:gd name="connsiteX2803" fmla="*/ 731044 w 6400800"/>
                <a:gd name="connsiteY2803" fmla="*/ 257651 h 514350"/>
                <a:gd name="connsiteX2804" fmla="*/ 725329 w 6400800"/>
                <a:gd name="connsiteY2804" fmla="*/ 210979 h 514350"/>
                <a:gd name="connsiteX2805" fmla="*/ 722471 w 6400800"/>
                <a:gd name="connsiteY2805" fmla="*/ 186214 h 514350"/>
                <a:gd name="connsiteX2806" fmla="*/ 722471 w 6400800"/>
                <a:gd name="connsiteY2806" fmla="*/ 199549 h 514350"/>
                <a:gd name="connsiteX2807" fmla="*/ 709136 w 6400800"/>
                <a:gd name="connsiteY2807" fmla="*/ 243364 h 514350"/>
                <a:gd name="connsiteX2808" fmla="*/ 704374 w 6400800"/>
                <a:gd name="connsiteY2808" fmla="*/ 229076 h 514350"/>
                <a:gd name="connsiteX2809" fmla="*/ 687229 w 6400800"/>
                <a:gd name="connsiteY2809" fmla="*/ 181451 h 514350"/>
                <a:gd name="connsiteX2810" fmla="*/ 679609 w 6400800"/>
                <a:gd name="connsiteY2810" fmla="*/ 161449 h 514350"/>
                <a:gd name="connsiteX2811" fmla="*/ 679609 w 6400800"/>
                <a:gd name="connsiteY2811" fmla="*/ 148114 h 514350"/>
                <a:gd name="connsiteX2812" fmla="*/ 679609 w 6400800"/>
                <a:gd name="connsiteY2812" fmla="*/ 122396 h 514350"/>
                <a:gd name="connsiteX2813" fmla="*/ 678656 w 6400800"/>
                <a:gd name="connsiteY2813" fmla="*/ 100489 h 514350"/>
                <a:gd name="connsiteX2814" fmla="*/ 675799 w 6400800"/>
                <a:gd name="connsiteY2814" fmla="*/ 122396 h 514350"/>
                <a:gd name="connsiteX2815" fmla="*/ 672941 w 6400800"/>
                <a:gd name="connsiteY2815" fmla="*/ 144304 h 514350"/>
                <a:gd name="connsiteX2816" fmla="*/ 663416 w 6400800"/>
                <a:gd name="connsiteY2816" fmla="*/ 122396 h 514350"/>
                <a:gd name="connsiteX2817" fmla="*/ 659606 w 6400800"/>
                <a:gd name="connsiteY2817" fmla="*/ 114776 h 514350"/>
                <a:gd name="connsiteX2818" fmla="*/ 662464 w 6400800"/>
                <a:gd name="connsiteY2818" fmla="*/ 123349 h 514350"/>
                <a:gd name="connsiteX2819" fmla="*/ 670084 w 6400800"/>
                <a:gd name="connsiteY2819" fmla="*/ 147161 h 514350"/>
                <a:gd name="connsiteX2820" fmla="*/ 671989 w 6400800"/>
                <a:gd name="connsiteY2820" fmla="*/ 153829 h 514350"/>
                <a:gd name="connsiteX2821" fmla="*/ 671036 w 6400800"/>
                <a:gd name="connsiteY2821" fmla="*/ 164306 h 514350"/>
                <a:gd name="connsiteX2822" fmla="*/ 668179 w 6400800"/>
                <a:gd name="connsiteY2822" fmla="*/ 181451 h 514350"/>
                <a:gd name="connsiteX2823" fmla="*/ 662464 w 6400800"/>
                <a:gd name="connsiteY2823" fmla="*/ 219551 h 514350"/>
                <a:gd name="connsiteX2824" fmla="*/ 658654 w 6400800"/>
                <a:gd name="connsiteY2824" fmla="*/ 239554 h 514350"/>
                <a:gd name="connsiteX2825" fmla="*/ 655796 w 6400800"/>
                <a:gd name="connsiteY2825" fmla="*/ 231934 h 514350"/>
                <a:gd name="connsiteX2826" fmla="*/ 657701 w 6400800"/>
                <a:gd name="connsiteY2826" fmla="*/ 210026 h 514350"/>
                <a:gd name="connsiteX2827" fmla="*/ 653891 w 6400800"/>
                <a:gd name="connsiteY2827" fmla="*/ 226219 h 514350"/>
                <a:gd name="connsiteX2828" fmla="*/ 638651 w 6400800"/>
                <a:gd name="connsiteY2828" fmla="*/ 191929 h 514350"/>
                <a:gd name="connsiteX2829" fmla="*/ 630079 w 6400800"/>
                <a:gd name="connsiteY2829" fmla="*/ 174784 h 514350"/>
                <a:gd name="connsiteX2830" fmla="*/ 627221 w 6400800"/>
                <a:gd name="connsiteY2830" fmla="*/ 169069 h 514350"/>
                <a:gd name="connsiteX2831" fmla="*/ 635794 w 6400800"/>
                <a:gd name="connsiteY2831" fmla="*/ 193834 h 514350"/>
                <a:gd name="connsiteX2832" fmla="*/ 649129 w 6400800"/>
                <a:gd name="connsiteY2832" fmla="*/ 240506 h 514350"/>
                <a:gd name="connsiteX2833" fmla="*/ 650081 w 6400800"/>
                <a:gd name="connsiteY2833" fmla="*/ 244316 h 514350"/>
                <a:gd name="connsiteX2834" fmla="*/ 647224 w 6400800"/>
                <a:gd name="connsiteY2834" fmla="*/ 262414 h 514350"/>
                <a:gd name="connsiteX2835" fmla="*/ 644366 w 6400800"/>
                <a:gd name="connsiteY2835" fmla="*/ 279559 h 514350"/>
                <a:gd name="connsiteX2836" fmla="*/ 642461 w 6400800"/>
                <a:gd name="connsiteY2836" fmla="*/ 298609 h 514350"/>
                <a:gd name="connsiteX2837" fmla="*/ 642461 w 6400800"/>
                <a:gd name="connsiteY2837" fmla="*/ 298609 h 514350"/>
                <a:gd name="connsiteX2838" fmla="*/ 642461 w 6400800"/>
                <a:gd name="connsiteY2838" fmla="*/ 294799 h 514350"/>
                <a:gd name="connsiteX2839" fmla="*/ 641509 w 6400800"/>
                <a:gd name="connsiteY2839" fmla="*/ 315754 h 514350"/>
                <a:gd name="connsiteX2840" fmla="*/ 641509 w 6400800"/>
                <a:gd name="connsiteY2840" fmla="*/ 317659 h 514350"/>
                <a:gd name="connsiteX2841" fmla="*/ 639604 w 6400800"/>
                <a:gd name="connsiteY2841" fmla="*/ 309086 h 514350"/>
                <a:gd name="connsiteX2842" fmla="*/ 640556 w 6400800"/>
                <a:gd name="connsiteY2842" fmla="*/ 304324 h 514350"/>
                <a:gd name="connsiteX2843" fmla="*/ 638651 w 6400800"/>
                <a:gd name="connsiteY2843" fmla="*/ 307181 h 514350"/>
                <a:gd name="connsiteX2844" fmla="*/ 632936 w 6400800"/>
                <a:gd name="connsiteY2844" fmla="*/ 284321 h 514350"/>
                <a:gd name="connsiteX2845" fmla="*/ 624364 w 6400800"/>
                <a:gd name="connsiteY2845" fmla="*/ 250031 h 514350"/>
                <a:gd name="connsiteX2846" fmla="*/ 617696 w 6400800"/>
                <a:gd name="connsiteY2846" fmla="*/ 223361 h 514350"/>
                <a:gd name="connsiteX2847" fmla="*/ 614839 w 6400800"/>
                <a:gd name="connsiteY2847" fmla="*/ 210979 h 514350"/>
                <a:gd name="connsiteX2848" fmla="*/ 615791 w 6400800"/>
                <a:gd name="connsiteY2848" fmla="*/ 190024 h 514350"/>
                <a:gd name="connsiteX2849" fmla="*/ 617696 w 6400800"/>
                <a:gd name="connsiteY2849" fmla="*/ 126206 h 514350"/>
                <a:gd name="connsiteX2850" fmla="*/ 607219 w 6400800"/>
                <a:gd name="connsiteY2850" fmla="*/ 187166 h 514350"/>
                <a:gd name="connsiteX2851" fmla="*/ 606266 w 6400800"/>
                <a:gd name="connsiteY2851" fmla="*/ 184309 h 514350"/>
                <a:gd name="connsiteX2852" fmla="*/ 606266 w 6400800"/>
                <a:gd name="connsiteY2852" fmla="*/ 189071 h 514350"/>
                <a:gd name="connsiteX2853" fmla="*/ 601504 w 6400800"/>
                <a:gd name="connsiteY2853" fmla="*/ 215741 h 514350"/>
                <a:gd name="connsiteX2854" fmla="*/ 599599 w 6400800"/>
                <a:gd name="connsiteY2854" fmla="*/ 210979 h 514350"/>
                <a:gd name="connsiteX2855" fmla="*/ 591026 w 6400800"/>
                <a:gd name="connsiteY2855" fmla="*/ 191929 h 514350"/>
                <a:gd name="connsiteX2856" fmla="*/ 595789 w 6400800"/>
                <a:gd name="connsiteY2856" fmla="*/ 212884 h 514350"/>
                <a:gd name="connsiteX2857" fmla="*/ 599599 w 6400800"/>
                <a:gd name="connsiteY2857" fmla="*/ 230029 h 514350"/>
                <a:gd name="connsiteX2858" fmla="*/ 595789 w 6400800"/>
                <a:gd name="connsiteY2858" fmla="*/ 251936 h 514350"/>
                <a:gd name="connsiteX2859" fmla="*/ 589121 w 6400800"/>
                <a:gd name="connsiteY2859" fmla="*/ 294799 h 514350"/>
                <a:gd name="connsiteX2860" fmla="*/ 582454 w 6400800"/>
                <a:gd name="connsiteY2860" fmla="*/ 284321 h 514350"/>
                <a:gd name="connsiteX2861" fmla="*/ 585311 w 6400800"/>
                <a:gd name="connsiteY2861" fmla="*/ 265271 h 514350"/>
                <a:gd name="connsiteX2862" fmla="*/ 588169 w 6400800"/>
                <a:gd name="connsiteY2862" fmla="*/ 244316 h 514350"/>
                <a:gd name="connsiteX2863" fmla="*/ 591026 w 6400800"/>
                <a:gd name="connsiteY2863" fmla="*/ 225266 h 514350"/>
                <a:gd name="connsiteX2864" fmla="*/ 584359 w 6400800"/>
                <a:gd name="connsiteY2864" fmla="*/ 243364 h 514350"/>
                <a:gd name="connsiteX2865" fmla="*/ 579596 w 6400800"/>
                <a:gd name="connsiteY2865" fmla="*/ 258604 h 514350"/>
                <a:gd name="connsiteX2866" fmla="*/ 577691 w 6400800"/>
                <a:gd name="connsiteY2866" fmla="*/ 231934 h 514350"/>
                <a:gd name="connsiteX2867" fmla="*/ 575786 w 6400800"/>
                <a:gd name="connsiteY2867" fmla="*/ 210979 h 514350"/>
                <a:gd name="connsiteX2868" fmla="*/ 573881 w 6400800"/>
                <a:gd name="connsiteY2868" fmla="*/ 230981 h 514350"/>
                <a:gd name="connsiteX2869" fmla="*/ 571024 w 6400800"/>
                <a:gd name="connsiteY2869" fmla="*/ 267176 h 514350"/>
                <a:gd name="connsiteX2870" fmla="*/ 571024 w 6400800"/>
                <a:gd name="connsiteY2870" fmla="*/ 267176 h 514350"/>
                <a:gd name="connsiteX2871" fmla="*/ 567214 w 6400800"/>
                <a:gd name="connsiteY2871" fmla="*/ 262414 h 514350"/>
                <a:gd name="connsiteX2872" fmla="*/ 552926 w 6400800"/>
                <a:gd name="connsiteY2872" fmla="*/ 219551 h 514350"/>
                <a:gd name="connsiteX2873" fmla="*/ 552926 w 6400800"/>
                <a:gd name="connsiteY2873" fmla="*/ 218599 h 514350"/>
                <a:gd name="connsiteX2874" fmla="*/ 555784 w 6400800"/>
                <a:gd name="connsiteY2874" fmla="*/ 189071 h 514350"/>
                <a:gd name="connsiteX2875" fmla="*/ 558641 w 6400800"/>
                <a:gd name="connsiteY2875" fmla="*/ 162401 h 514350"/>
                <a:gd name="connsiteX2876" fmla="*/ 561499 w 6400800"/>
                <a:gd name="connsiteY2876" fmla="*/ 141446 h 514350"/>
                <a:gd name="connsiteX2877" fmla="*/ 564356 w 6400800"/>
                <a:gd name="connsiteY2877" fmla="*/ 123349 h 514350"/>
                <a:gd name="connsiteX2878" fmla="*/ 557689 w 6400800"/>
                <a:gd name="connsiteY2878" fmla="*/ 140494 h 514350"/>
                <a:gd name="connsiteX2879" fmla="*/ 551021 w 6400800"/>
                <a:gd name="connsiteY2879" fmla="*/ 160496 h 514350"/>
                <a:gd name="connsiteX2880" fmla="*/ 544354 w 6400800"/>
                <a:gd name="connsiteY2880" fmla="*/ 187166 h 514350"/>
                <a:gd name="connsiteX2881" fmla="*/ 537686 w 6400800"/>
                <a:gd name="connsiteY2881" fmla="*/ 218599 h 514350"/>
                <a:gd name="connsiteX2882" fmla="*/ 535781 w 6400800"/>
                <a:gd name="connsiteY2882" fmla="*/ 231934 h 514350"/>
                <a:gd name="connsiteX2883" fmla="*/ 534829 w 6400800"/>
                <a:gd name="connsiteY2883" fmla="*/ 220504 h 514350"/>
                <a:gd name="connsiteX2884" fmla="*/ 532924 w 6400800"/>
                <a:gd name="connsiteY2884" fmla="*/ 205264 h 514350"/>
                <a:gd name="connsiteX2885" fmla="*/ 533876 w 6400800"/>
                <a:gd name="connsiteY2885" fmla="*/ 186214 h 514350"/>
                <a:gd name="connsiteX2886" fmla="*/ 534829 w 6400800"/>
                <a:gd name="connsiteY2886" fmla="*/ 166211 h 514350"/>
                <a:gd name="connsiteX2887" fmla="*/ 534829 w 6400800"/>
                <a:gd name="connsiteY2887" fmla="*/ 148114 h 514350"/>
                <a:gd name="connsiteX2888" fmla="*/ 534829 w 6400800"/>
                <a:gd name="connsiteY2888" fmla="*/ 118586 h 514350"/>
                <a:gd name="connsiteX2889" fmla="*/ 533876 w 6400800"/>
                <a:gd name="connsiteY2889" fmla="*/ 92869 h 514350"/>
                <a:gd name="connsiteX2890" fmla="*/ 531019 w 6400800"/>
                <a:gd name="connsiteY2890" fmla="*/ 118586 h 514350"/>
                <a:gd name="connsiteX2891" fmla="*/ 528161 w 6400800"/>
                <a:gd name="connsiteY2891" fmla="*/ 147161 h 514350"/>
                <a:gd name="connsiteX2892" fmla="*/ 526256 w 6400800"/>
                <a:gd name="connsiteY2892" fmla="*/ 165259 h 514350"/>
                <a:gd name="connsiteX2893" fmla="*/ 523399 w 6400800"/>
                <a:gd name="connsiteY2893" fmla="*/ 185261 h 514350"/>
                <a:gd name="connsiteX2894" fmla="*/ 521494 w 6400800"/>
                <a:gd name="connsiteY2894" fmla="*/ 197644 h 514350"/>
                <a:gd name="connsiteX2895" fmla="*/ 513874 w 6400800"/>
                <a:gd name="connsiteY2895" fmla="*/ 170021 h 514350"/>
                <a:gd name="connsiteX2896" fmla="*/ 506254 w 6400800"/>
                <a:gd name="connsiteY2896" fmla="*/ 144304 h 514350"/>
                <a:gd name="connsiteX2897" fmla="*/ 510064 w 6400800"/>
                <a:gd name="connsiteY2897" fmla="*/ 170974 h 514350"/>
                <a:gd name="connsiteX2898" fmla="*/ 517684 w 6400800"/>
                <a:gd name="connsiteY2898" fmla="*/ 222409 h 514350"/>
                <a:gd name="connsiteX2899" fmla="*/ 516731 w 6400800"/>
                <a:gd name="connsiteY2899" fmla="*/ 230029 h 514350"/>
                <a:gd name="connsiteX2900" fmla="*/ 512921 w 6400800"/>
                <a:gd name="connsiteY2900" fmla="*/ 251936 h 514350"/>
                <a:gd name="connsiteX2901" fmla="*/ 487204 w 6400800"/>
                <a:gd name="connsiteY2901" fmla="*/ 172879 h 514350"/>
                <a:gd name="connsiteX2902" fmla="*/ 485299 w 6400800"/>
                <a:gd name="connsiteY2902" fmla="*/ 164306 h 514350"/>
                <a:gd name="connsiteX2903" fmla="*/ 486251 w 6400800"/>
                <a:gd name="connsiteY2903" fmla="*/ 189071 h 514350"/>
                <a:gd name="connsiteX2904" fmla="*/ 488156 w 6400800"/>
                <a:gd name="connsiteY2904" fmla="*/ 217646 h 514350"/>
                <a:gd name="connsiteX2905" fmla="*/ 489109 w 6400800"/>
                <a:gd name="connsiteY2905" fmla="*/ 238601 h 514350"/>
                <a:gd name="connsiteX2906" fmla="*/ 486251 w 6400800"/>
                <a:gd name="connsiteY2906" fmla="*/ 223361 h 514350"/>
                <a:gd name="connsiteX2907" fmla="*/ 482441 w 6400800"/>
                <a:gd name="connsiteY2907" fmla="*/ 207169 h 514350"/>
                <a:gd name="connsiteX2908" fmla="*/ 478631 w 6400800"/>
                <a:gd name="connsiteY2908" fmla="*/ 192881 h 514350"/>
                <a:gd name="connsiteX2909" fmla="*/ 471964 w 6400800"/>
                <a:gd name="connsiteY2909" fmla="*/ 170021 h 514350"/>
                <a:gd name="connsiteX2910" fmla="*/ 465296 w 6400800"/>
                <a:gd name="connsiteY2910" fmla="*/ 150019 h 514350"/>
                <a:gd name="connsiteX2911" fmla="*/ 468154 w 6400800"/>
                <a:gd name="connsiteY2911" fmla="*/ 170021 h 514350"/>
                <a:gd name="connsiteX2912" fmla="*/ 471011 w 6400800"/>
                <a:gd name="connsiteY2912" fmla="*/ 193834 h 514350"/>
                <a:gd name="connsiteX2913" fmla="*/ 472916 w 6400800"/>
                <a:gd name="connsiteY2913" fmla="*/ 208121 h 514350"/>
                <a:gd name="connsiteX2914" fmla="*/ 474821 w 6400800"/>
                <a:gd name="connsiteY2914" fmla="*/ 224314 h 514350"/>
                <a:gd name="connsiteX2915" fmla="*/ 478631 w 6400800"/>
                <a:gd name="connsiteY2915" fmla="*/ 255746 h 514350"/>
                <a:gd name="connsiteX2916" fmla="*/ 474821 w 6400800"/>
                <a:gd name="connsiteY2916" fmla="*/ 240506 h 514350"/>
                <a:gd name="connsiteX2917" fmla="*/ 455771 w 6400800"/>
                <a:gd name="connsiteY2917" fmla="*/ 170974 h 514350"/>
                <a:gd name="connsiteX2918" fmla="*/ 447199 w 6400800"/>
                <a:gd name="connsiteY2918" fmla="*/ 145256 h 514350"/>
                <a:gd name="connsiteX2919" fmla="*/ 451961 w 6400800"/>
                <a:gd name="connsiteY2919" fmla="*/ 171926 h 514350"/>
                <a:gd name="connsiteX2920" fmla="*/ 457676 w 6400800"/>
                <a:gd name="connsiteY2920" fmla="*/ 202406 h 514350"/>
                <a:gd name="connsiteX2921" fmla="*/ 464344 w 6400800"/>
                <a:gd name="connsiteY2921" fmla="*/ 242411 h 514350"/>
                <a:gd name="connsiteX2922" fmla="*/ 471011 w 6400800"/>
                <a:gd name="connsiteY2922" fmla="*/ 282416 h 514350"/>
                <a:gd name="connsiteX2923" fmla="*/ 467201 w 6400800"/>
                <a:gd name="connsiteY2923" fmla="*/ 272891 h 514350"/>
                <a:gd name="connsiteX2924" fmla="*/ 459581 w 6400800"/>
                <a:gd name="connsiteY2924" fmla="*/ 255746 h 514350"/>
                <a:gd name="connsiteX2925" fmla="*/ 463391 w 6400800"/>
                <a:gd name="connsiteY2925" fmla="*/ 273844 h 514350"/>
                <a:gd name="connsiteX2926" fmla="*/ 468154 w 6400800"/>
                <a:gd name="connsiteY2926" fmla="*/ 293846 h 514350"/>
                <a:gd name="connsiteX2927" fmla="*/ 471011 w 6400800"/>
                <a:gd name="connsiteY2927" fmla="*/ 306229 h 514350"/>
                <a:gd name="connsiteX2928" fmla="*/ 473869 w 6400800"/>
                <a:gd name="connsiteY2928" fmla="*/ 320516 h 514350"/>
                <a:gd name="connsiteX2929" fmla="*/ 479584 w 6400800"/>
                <a:gd name="connsiteY2929" fmla="*/ 351949 h 514350"/>
                <a:gd name="connsiteX2930" fmla="*/ 479584 w 6400800"/>
                <a:gd name="connsiteY2930" fmla="*/ 353854 h 514350"/>
                <a:gd name="connsiteX2931" fmla="*/ 478631 w 6400800"/>
                <a:gd name="connsiteY2931" fmla="*/ 351949 h 514350"/>
                <a:gd name="connsiteX2932" fmla="*/ 471964 w 6400800"/>
                <a:gd name="connsiteY2932" fmla="*/ 338614 h 514350"/>
                <a:gd name="connsiteX2933" fmla="*/ 470059 w 6400800"/>
                <a:gd name="connsiteY2933" fmla="*/ 324326 h 514350"/>
                <a:gd name="connsiteX2934" fmla="*/ 462439 w 6400800"/>
                <a:gd name="connsiteY2934" fmla="*/ 280511 h 514350"/>
                <a:gd name="connsiteX2935" fmla="*/ 452914 w 6400800"/>
                <a:gd name="connsiteY2935" fmla="*/ 240506 h 514350"/>
                <a:gd name="connsiteX2936" fmla="*/ 441484 w 6400800"/>
                <a:gd name="connsiteY2936" fmla="*/ 205264 h 514350"/>
                <a:gd name="connsiteX2937" fmla="*/ 437674 w 6400800"/>
                <a:gd name="connsiteY2937" fmla="*/ 194786 h 514350"/>
                <a:gd name="connsiteX2938" fmla="*/ 440531 w 6400800"/>
                <a:gd name="connsiteY2938" fmla="*/ 167164 h 514350"/>
                <a:gd name="connsiteX2939" fmla="*/ 442436 w 6400800"/>
                <a:gd name="connsiteY2939" fmla="*/ 128111 h 514350"/>
                <a:gd name="connsiteX2940" fmla="*/ 441484 w 6400800"/>
                <a:gd name="connsiteY2940" fmla="*/ 94774 h 514350"/>
                <a:gd name="connsiteX2941" fmla="*/ 438626 w 6400800"/>
                <a:gd name="connsiteY2941" fmla="*/ 128111 h 514350"/>
                <a:gd name="connsiteX2942" fmla="*/ 433864 w 6400800"/>
                <a:gd name="connsiteY2942" fmla="*/ 166211 h 514350"/>
                <a:gd name="connsiteX2943" fmla="*/ 431959 w 6400800"/>
                <a:gd name="connsiteY2943" fmla="*/ 178594 h 514350"/>
                <a:gd name="connsiteX2944" fmla="*/ 431006 w 6400800"/>
                <a:gd name="connsiteY2944" fmla="*/ 175736 h 514350"/>
                <a:gd name="connsiteX2945" fmla="*/ 419576 w 6400800"/>
                <a:gd name="connsiteY2945" fmla="*/ 153829 h 514350"/>
                <a:gd name="connsiteX2946" fmla="*/ 408146 w 6400800"/>
                <a:gd name="connsiteY2946" fmla="*/ 135731 h 514350"/>
                <a:gd name="connsiteX2947" fmla="*/ 415766 w 6400800"/>
                <a:gd name="connsiteY2947" fmla="*/ 155734 h 514350"/>
                <a:gd name="connsiteX2948" fmla="*/ 423386 w 6400800"/>
                <a:gd name="connsiteY2948" fmla="*/ 178594 h 514350"/>
                <a:gd name="connsiteX2949" fmla="*/ 428149 w 6400800"/>
                <a:gd name="connsiteY2949" fmla="*/ 195739 h 514350"/>
                <a:gd name="connsiteX2950" fmla="*/ 424339 w 6400800"/>
                <a:gd name="connsiteY2950" fmla="*/ 214789 h 514350"/>
                <a:gd name="connsiteX2951" fmla="*/ 424339 w 6400800"/>
                <a:gd name="connsiteY2951" fmla="*/ 214789 h 514350"/>
                <a:gd name="connsiteX2952" fmla="*/ 415766 w 6400800"/>
                <a:gd name="connsiteY2952" fmla="*/ 202406 h 514350"/>
                <a:gd name="connsiteX2953" fmla="*/ 421481 w 6400800"/>
                <a:gd name="connsiteY2953" fmla="*/ 216694 h 514350"/>
                <a:gd name="connsiteX2954" fmla="*/ 423386 w 6400800"/>
                <a:gd name="connsiteY2954" fmla="*/ 223361 h 514350"/>
                <a:gd name="connsiteX2955" fmla="*/ 412909 w 6400800"/>
                <a:gd name="connsiteY2955" fmla="*/ 272891 h 514350"/>
                <a:gd name="connsiteX2956" fmla="*/ 405289 w 6400800"/>
                <a:gd name="connsiteY2956" fmla="*/ 253841 h 514350"/>
                <a:gd name="connsiteX2957" fmla="*/ 405289 w 6400800"/>
                <a:gd name="connsiteY2957" fmla="*/ 253841 h 514350"/>
                <a:gd name="connsiteX2958" fmla="*/ 404336 w 6400800"/>
                <a:gd name="connsiteY2958" fmla="*/ 210026 h 514350"/>
                <a:gd name="connsiteX2959" fmla="*/ 401479 w 6400800"/>
                <a:gd name="connsiteY2959" fmla="*/ 176689 h 514350"/>
                <a:gd name="connsiteX2960" fmla="*/ 396716 w 6400800"/>
                <a:gd name="connsiteY2960" fmla="*/ 148114 h 514350"/>
                <a:gd name="connsiteX2961" fmla="*/ 397669 w 6400800"/>
                <a:gd name="connsiteY2961" fmla="*/ 177641 h 514350"/>
                <a:gd name="connsiteX2962" fmla="*/ 396716 w 6400800"/>
                <a:gd name="connsiteY2962" fmla="*/ 206216 h 514350"/>
                <a:gd name="connsiteX2963" fmla="*/ 389096 w 6400800"/>
                <a:gd name="connsiteY2963" fmla="*/ 244316 h 514350"/>
                <a:gd name="connsiteX2964" fmla="*/ 381476 w 6400800"/>
                <a:gd name="connsiteY2964" fmla="*/ 219551 h 514350"/>
                <a:gd name="connsiteX2965" fmla="*/ 374809 w 6400800"/>
                <a:gd name="connsiteY2965" fmla="*/ 199549 h 514350"/>
                <a:gd name="connsiteX2966" fmla="*/ 372904 w 6400800"/>
                <a:gd name="connsiteY2966" fmla="*/ 194786 h 514350"/>
                <a:gd name="connsiteX2967" fmla="*/ 372904 w 6400800"/>
                <a:gd name="connsiteY2967" fmla="*/ 190976 h 514350"/>
                <a:gd name="connsiteX2968" fmla="*/ 370046 w 6400800"/>
                <a:gd name="connsiteY2968" fmla="*/ 177641 h 514350"/>
                <a:gd name="connsiteX2969" fmla="*/ 366236 w 6400800"/>
                <a:gd name="connsiteY2969" fmla="*/ 155734 h 514350"/>
                <a:gd name="connsiteX2970" fmla="*/ 364331 w 6400800"/>
                <a:gd name="connsiteY2970" fmla="*/ 148114 h 514350"/>
                <a:gd name="connsiteX2971" fmla="*/ 363379 w 6400800"/>
                <a:gd name="connsiteY2971" fmla="*/ 135731 h 514350"/>
                <a:gd name="connsiteX2972" fmla="*/ 363379 w 6400800"/>
                <a:gd name="connsiteY2972" fmla="*/ 140494 h 514350"/>
                <a:gd name="connsiteX2973" fmla="*/ 362426 w 6400800"/>
                <a:gd name="connsiteY2973" fmla="*/ 136684 h 514350"/>
                <a:gd name="connsiteX2974" fmla="*/ 362426 w 6400800"/>
                <a:gd name="connsiteY2974" fmla="*/ 151924 h 514350"/>
                <a:gd name="connsiteX2975" fmla="*/ 361474 w 6400800"/>
                <a:gd name="connsiteY2975" fmla="*/ 163354 h 514350"/>
                <a:gd name="connsiteX2976" fmla="*/ 357664 w 6400800"/>
                <a:gd name="connsiteY2976" fmla="*/ 151924 h 514350"/>
                <a:gd name="connsiteX2977" fmla="*/ 348139 w 6400800"/>
                <a:gd name="connsiteY2977" fmla="*/ 127159 h 514350"/>
                <a:gd name="connsiteX2978" fmla="*/ 353854 w 6400800"/>
                <a:gd name="connsiteY2978" fmla="*/ 153829 h 514350"/>
                <a:gd name="connsiteX2979" fmla="*/ 361474 w 6400800"/>
                <a:gd name="connsiteY2979" fmla="*/ 183356 h 514350"/>
                <a:gd name="connsiteX2980" fmla="*/ 361474 w 6400800"/>
                <a:gd name="connsiteY2980" fmla="*/ 192881 h 514350"/>
                <a:gd name="connsiteX2981" fmla="*/ 357664 w 6400800"/>
                <a:gd name="connsiteY2981" fmla="*/ 184309 h 514350"/>
                <a:gd name="connsiteX2982" fmla="*/ 360521 w 6400800"/>
                <a:gd name="connsiteY2982" fmla="*/ 198596 h 514350"/>
                <a:gd name="connsiteX2983" fmla="*/ 359569 w 6400800"/>
                <a:gd name="connsiteY2983" fmla="*/ 221456 h 514350"/>
                <a:gd name="connsiteX2984" fmla="*/ 355759 w 6400800"/>
                <a:gd name="connsiteY2984" fmla="*/ 208121 h 514350"/>
                <a:gd name="connsiteX2985" fmla="*/ 350996 w 6400800"/>
                <a:gd name="connsiteY2985" fmla="*/ 193834 h 514350"/>
                <a:gd name="connsiteX2986" fmla="*/ 351949 w 6400800"/>
                <a:gd name="connsiteY2986" fmla="*/ 208121 h 514350"/>
                <a:gd name="connsiteX2987" fmla="*/ 352901 w 6400800"/>
                <a:gd name="connsiteY2987" fmla="*/ 224314 h 514350"/>
                <a:gd name="connsiteX2988" fmla="*/ 353854 w 6400800"/>
                <a:gd name="connsiteY2988" fmla="*/ 246221 h 514350"/>
                <a:gd name="connsiteX2989" fmla="*/ 354806 w 6400800"/>
                <a:gd name="connsiteY2989" fmla="*/ 270986 h 514350"/>
                <a:gd name="connsiteX2990" fmla="*/ 355759 w 6400800"/>
                <a:gd name="connsiteY2990" fmla="*/ 299561 h 514350"/>
                <a:gd name="connsiteX2991" fmla="*/ 356711 w 6400800"/>
                <a:gd name="connsiteY2991" fmla="*/ 316706 h 514350"/>
                <a:gd name="connsiteX2992" fmla="*/ 346234 w 6400800"/>
                <a:gd name="connsiteY2992" fmla="*/ 298609 h 514350"/>
                <a:gd name="connsiteX2993" fmla="*/ 345281 w 6400800"/>
                <a:gd name="connsiteY2993" fmla="*/ 296704 h 514350"/>
                <a:gd name="connsiteX2994" fmla="*/ 345281 w 6400800"/>
                <a:gd name="connsiteY2994" fmla="*/ 291941 h 514350"/>
                <a:gd name="connsiteX2995" fmla="*/ 348139 w 6400800"/>
                <a:gd name="connsiteY2995" fmla="*/ 267176 h 514350"/>
                <a:gd name="connsiteX2996" fmla="*/ 350044 w 6400800"/>
                <a:gd name="connsiteY2996" fmla="*/ 246221 h 514350"/>
                <a:gd name="connsiteX2997" fmla="*/ 344329 w 6400800"/>
                <a:gd name="connsiteY2997" fmla="*/ 267176 h 514350"/>
                <a:gd name="connsiteX2998" fmla="*/ 339566 w 6400800"/>
                <a:gd name="connsiteY2998" fmla="*/ 287179 h 514350"/>
                <a:gd name="connsiteX2999" fmla="*/ 339566 w 6400800"/>
                <a:gd name="connsiteY2999" fmla="*/ 287179 h 514350"/>
                <a:gd name="connsiteX3000" fmla="*/ 339566 w 6400800"/>
                <a:gd name="connsiteY3000" fmla="*/ 288131 h 514350"/>
                <a:gd name="connsiteX3001" fmla="*/ 338614 w 6400800"/>
                <a:gd name="connsiteY3001" fmla="*/ 291941 h 514350"/>
                <a:gd name="connsiteX3002" fmla="*/ 337661 w 6400800"/>
                <a:gd name="connsiteY3002" fmla="*/ 297656 h 514350"/>
                <a:gd name="connsiteX3003" fmla="*/ 324326 w 6400800"/>
                <a:gd name="connsiteY3003" fmla="*/ 277654 h 514350"/>
                <a:gd name="connsiteX3004" fmla="*/ 310991 w 6400800"/>
                <a:gd name="connsiteY3004" fmla="*/ 233839 h 514350"/>
                <a:gd name="connsiteX3005" fmla="*/ 303371 w 6400800"/>
                <a:gd name="connsiteY3005" fmla="*/ 211931 h 514350"/>
                <a:gd name="connsiteX3006" fmla="*/ 306229 w 6400800"/>
                <a:gd name="connsiteY3006" fmla="*/ 196691 h 514350"/>
                <a:gd name="connsiteX3007" fmla="*/ 316706 w 6400800"/>
                <a:gd name="connsiteY3007" fmla="*/ 150971 h 514350"/>
                <a:gd name="connsiteX3008" fmla="*/ 326231 w 6400800"/>
                <a:gd name="connsiteY3008" fmla="*/ 115729 h 514350"/>
                <a:gd name="connsiteX3009" fmla="*/ 335756 w 6400800"/>
                <a:gd name="connsiteY3009" fmla="*/ 85249 h 514350"/>
                <a:gd name="connsiteX3010" fmla="*/ 323374 w 6400800"/>
                <a:gd name="connsiteY3010" fmla="*/ 113824 h 514350"/>
                <a:gd name="connsiteX3011" fmla="*/ 310991 w 6400800"/>
                <a:gd name="connsiteY3011" fmla="*/ 148114 h 514350"/>
                <a:gd name="connsiteX3012" fmla="*/ 303371 w 6400800"/>
                <a:gd name="connsiteY3012" fmla="*/ 169069 h 514350"/>
                <a:gd name="connsiteX3013" fmla="*/ 297656 w 6400800"/>
                <a:gd name="connsiteY3013" fmla="*/ 190024 h 514350"/>
                <a:gd name="connsiteX3014" fmla="*/ 287179 w 6400800"/>
                <a:gd name="connsiteY3014" fmla="*/ 159544 h 514350"/>
                <a:gd name="connsiteX3015" fmla="*/ 294799 w 6400800"/>
                <a:gd name="connsiteY3015" fmla="*/ 198596 h 514350"/>
                <a:gd name="connsiteX3016" fmla="*/ 283369 w 6400800"/>
                <a:gd name="connsiteY3016" fmla="*/ 247174 h 514350"/>
                <a:gd name="connsiteX3017" fmla="*/ 279559 w 6400800"/>
                <a:gd name="connsiteY3017" fmla="*/ 264319 h 514350"/>
                <a:gd name="connsiteX3018" fmla="*/ 276701 w 6400800"/>
                <a:gd name="connsiteY3018" fmla="*/ 253841 h 514350"/>
                <a:gd name="connsiteX3019" fmla="*/ 278606 w 6400800"/>
                <a:gd name="connsiteY3019" fmla="*/ 227171 h 514350"/>
                <a:gd name="connsiteX3020" fmla="*/ 284321 w 6400800"/>
                <a:gd name="connsiteY3020" fmla="*/ 166211 h 514350"/>
                <a:gd name="connsiteX3021" fmla="*/ 287179 w 6400800"/>
                <a:gd name="connsiteY3021" fmla="*/ 139541 h 514350"/>
                <a:gd name="connsiteX3022" fmla="*/ 290989 w 6400800"/>
                <a:gd name="connsiteY3022" fmla="*/ 115729 h 514350"/>
                <a:gd name="connsiteX3023" fmla="*/ 297656 w 6400800"/>
                <a:gd name="connsiteY3023" fmla="*/ 76676 h 514350"/>
                <a:gd name="connsiteX3024" fmla="*/ 304324 w 6400800"/>
                <a:gd name="connsiteY3024" fmla="*/ 42386 h 514350"/>
                <a:gd name="connsiteX3025" fmla="*/ 293846 w 6400800"/>
                <a:gd name="connsiteY3025" fmla="*/ 75724 h 514350"/>
                <a:gd name="connsiteX3026" fmla="*/ 283369 w 6400800"/>
                <a:gd name="connsiteY3026" fmla="*/ 114776 h 514350"/>
                <a:gd name="connsiteX3027" fmla="*/ 277654 w 6400800"/>
                <a:gd name="connsiteY3027" fmla="*/ 138589 h 514350"/>
                <a:gd name="connsiteX3028" fmla="*/ 272891 w 6400800"/>
                <a:gd name="connsiteY3028" fmla="*/ 165259 h 514350"/>
                <a:gd name="connsiteX3029" fmla="*/ 270034 w 6400800"/>
                <a:gd name="connsiteY3029" fmla="*/ 178594 h 514350"/>
                <a:gd name="connsiteX3030" fmla="*/ 261461 w 6400800"/>
                <a:gd name="connsiteY3030" fmla="*/ 196691 h 514350"/>
                <a:gd name="connsiteX3031" fmla="*/ 258604 w 6400800"/>
                <a:gd name="connsiteY3031" fmla="*/ 183356 h 514350"/>
                <a:gd name="connsiteX3032" fmla="*/ 253841 w 6400800"/>
                <a:gd name="connsiteY3032" fmla="*/ 161449 h 514350"/>
                <a:gd name="connsiteX3033" fmla="*/ 254794 w 6400800"/>
                <a:gd name="connsiteY3033" fmla="*/ 183356 h 514350"/>
                <a:gd name="connsiteX3034" fmla="*/ 256699 w 6400800"/>
                <a:gd name="connsiteY3034" fmla="*/ 207169 h 514350"/>
                <a:gd name="connsiteX3035" fmla="*/ 247174 w 6400800"/>
                <a:gd name="connsiteY3035" fmla="*/ 231934 h 514350"/>
                <a:gd name="connsiteX3036" fmla="*/ 245269 w 6400800"/>
                <a:gd name="connsiteY3036" fmla="*/ 236696 h 514350"/>
                <a:gd name="connsiteX3037" fmla="*/ 242411 w 6400800"/>
                <a:gd name="connsiteY3037" fmla="*/ 230029 h 514350"/>
                <a:gd name="connsiteX3038" fmla="*/ 244316 w 6400800"/>
                <a:gd name="connsiteY3038" fmla="*/ 240506 h 514350"/>
                <a:gd name="connsiteX3039" fmla="*/ 236696 w 6400800"/>
                <a:gd name="connsiteY3039" fmla="*/ 262414 h 514350"/>
                <a:gd name="connsiteX3040" fmla="*/ 226219 w 6400800"/>
                <a:gd name="connsiteY3040" fmla="*/ 227171 h 514350"/>
                <a:gd name="connsiteX3041" fmla="*/ 218599 w 6400800"/>
                <a:gd name="connsiteY3041" fmla="*/ 204311 h 514350"/>
                <a:gd name="connsiteX3042" fmla="*/ 210979 w 6400800"/>
                <a:gd name="connsiteY3042" fmla="*/ 184309 h 514350"/>
                <a:gd name="connsiteX3043" fmla="*/ 198596 w 6400800"/>
                <a:gd name="connsiteY3043" fmla="*/ 150971 h 514350"/>
                <a:gd name="connsiteX3044" fmla="*/ 187166 w 6400800"/>
                <a:gd name="connsiteY3044" fmla="*/ 122396 h 514350"/>
                <a:gd name="connsiteX3045" fmla="*/ 194786 w 6400800"/>
                <a:gd name="connsiteY3045" fmla="*/ 151924 h 514350"/>
                <a:gd name="connsiteX3046" fmla="*/ 204311 w 6400800"/>
                <a:gd name="connsiteY3046" fmla="*/ 186214 h 514350"/>
                <a:gd name="connsiteX3047" fmla="*/ 210026 w 6400800"/>
                <a:gd name="connsiteY3047" fmla="*/ 207169 h 514350"/>
                <a:gd name="connsiteX3048" fmla="*/ 215741 w 6400800"/>
                <a:gd name="connsiteY3048" fmla="*/ 230981 h 514350"/>
                <a:gd name="connsiteX3049" fmla="*/ 226219 w 6400800"/>
                <a:gd name="connsiteY3049" fmla="*/ 275749 h 514350"/>
                <a:gd name="connsiteX3050" fmla="*/ 218599 w 6400800"/>
                <a:gd name="connsiteY3050" fmla="*/ 295751 h 514350"/>
                <a:gd name="connsiteX3051" fmla="*/ 217646 w 6400800"/>
                <a:gd name="connsiteY3051" fmla="*/ 298609 h 514350"/>
                <a:gd name="connsiteX3052" fmla="*/ 214789 w 6400800"/>
                <a:gd name="connsiteY3052" fmla="*/ 266224 h 514350"/>
                <a:gd name="connsiteX3053" fmla="*/ 212884 w 6400800"/>
                <a:gd name="connsiteY3053" fmla="*/ 241459 h 514350"/>
                <a:gd name="connsiteX3054" fmla="*/ 210979 w 6400800"/>
                <a:gd name="connsiteY3054" fmla="*/ 266224 h 514350"/>
                <a:gd name="connsiteX3055" fmla="*/ 209074 w 6400800"/>
                <a:gd name="connsiteY3055" fmla="*/ 309086 h 514350"/>
                <a:gd name="connsiteX3056" fmla="*/ 196691 w 6400800"/>
                <a:gd name="connsiteY3056" fmla="*/ 287179 h 514350"/>
                <a:gd name="connsiteX3057" fmla="*/ 187166 w 6400800"/>
                <a:gd name="connsiteY3057" fmla="*/ 270034 h 514350"/>
                <a:gd name="connsiteX3058" fmla="*/ 177641 w 6400800"/>
                <a:gd name="connsiteY3058" fmla="*/ 255746 h 514350"/>
                <a:gd name="connsiteX3059" fmla="*/ 161449 w 6400800"/>
                <a:gd name="connsiteY3059" fmla="*/ 231934 h 514350"/>
                <a:gd name="connsiteX3060" fmla="*/ 156686 w 6400800"/>
                <a:gd name="connsiteY3060" fmla="*/ 225266 h 514350"/>
                <a:gd name="connsiteX3061" fmla="*/ 152876 w 6400800"/>
                <a:gd name="connsiteY3061" fmla="*/ 209074 h 514350"/>
                <a:gd name="connsiteX3062" fmla="*/ 152876 w 6400800"/>
                <a:gd name="connsiteY3062" fmla="*/ 219551 h 514350"/>
                <a:gd name="connsiteX3063" fmla="*/ 146209 w 6400800"/>
                <a:gd name="connsiteY3063" fmla="*/ 210979 h 514350"/>
                <a:gd name="connsiteX3064" fmla="*/ 152876 w 6400800"/>
                <a:gd name="connsiteY3064" fmla="*/ 224314 h 514350"/>
                <a:gd name="connsiteX3065" fmla="*/ 156686 w 6400800"/>
                <a:gd name="connsiteY3065" fmla="*/ 275749 h 514350"/>
                <a:gd name="connsiteX3066" fmla="*/ 148114 w 6400800"/>
                <a:gd name="connsiteY3066" fmla="*/ 263366 h 514350"/>
                <a:gd name="connsiteX3067" fmla="*/ 124301 w 6400800"/>
                <a:gd name="connsiteY3067" fmla="*/ 233839 h 514350"/>
                <a:gd name="connsiteX3068" fmla="*/ 104299 w 6400800"/>
                <a:gd name="connsiteY3068" fmla="*/ 212884 h 514350"/>
                <a:gd name="connsiteX3069" fmla="*/ 88106 w 6400800"/>
                <a:gd name="connsiteY3069" fmla="*/ 197644 h 514350"/>
                <a:gd name="connsiteX3070" fmla="*/ 103346 w 6400800"/>
                <a:gd name="connsiteY3070" fmla="*/ 217646 h 514350"/>
                <a:gd name="connsiteX3071" fmla="*/ 119539 w 6400800"/>
                <a:gd name="connsiteY3071" fmla="*/ 240506 h 514350"/>
                <a:gd name="connsiteX3072" fmla="*/ 139541 w 6400800"/>
                <a:gd name="connsiteY3072" fmla="*/ 271939 h 514350"/>
                <a:gd name="connsiteX3073" fmla="*/ 151924 w 6400800"/>
                <a:gd name="connsiteY3073" fmla="*/ 292894 h 514350"/>
                <a:gd name="connsiteX3074" fmla="*/ 151924 w 6400800"/>
                <a:gd name="connsiteY3074" fmla="*/ 297656 h 514350"/>
                <a:gd name="connsiteX3075" fmla="*/ 150971 w 6400800"/>
                <a:gd name="connsiteY3075" fmla="*/ 296704 h 514350"/>
                <a:gd name="connsiteX3076" fmla="*/ 136684 w 6400800"/>
                <a:gd name="connsiteY3076" fmla="*/ 282416 h 514350"/>
                <a:gd name="connsiteX3077" fmla="*/ 131921 w 6400800"/>
                <a:gd name="connsiteY3077" fmla="*/ 278606 h 514350"/>
                <a:gd name="connsiteX3078" fmla="*/ 132874 w 6400800"/>
                <a:gd name="connsiteY3078" fmla="*/ 274796 h 514350"/>
                <a:gd name="connsiteX3079" fmla="*/ 130969 w 6400800"/>
                <a:gd name="connsiteY3079" fmla="*/ 278606 h 514350"/>
                <a:gd name="connsiteX3080" fmla="*/ 122396 w 6400800"/>
                <a:gd name="connsiteY3080" fmla="*/ 270986 h 514350"/>
                <a:gd name="connsiteX3081" fmla="*/ 130016 w 6400800"/>
                <a:gd name="connsiteY3081" fmla="*/ 280511 h 514350"/>
                <a:gd name="connsiteX3082" fmla="*/ 123349 w 6400800"/>
                <a:gd name="connsiteY3082" fmla="*/ 293846 h 514350"/>
                <a:gd name="connsiteX3083" fmla="*/ 114776 w 6400800"/>
                <a:gd name="connsiteY3083" fmla="*/ 316706 h 514350"/>
                <a:gd name="connsiteX3084" fmla="*/ 112871 w 6400800"/>
                <a:gd name="connsiteY3084" fmla="*/ 321469 h 514350"/>
                <a:gd name="connsiteX3085" fmla="*/ 103346 w 6400800"/>
                <a:gd name="connsiteY3085" fmla="*/ 299561 h 514350"/>
                <a:gd name="connsiteX3086" fmla="*/ 86201 w 6400800"/>
                <a:gd name="connsiteY3086" fmla="*/ 262414 h 514350"/>
                <a:gd name="connsiteX3087" fmla="*/ 78581 w 6400800"/>
                <a:gd name="connsiteY3087" fmla="*/ 245269 h 514350"/>
                <a:gd name="connsiteX3088" fmla="*/ 70961 w 6400800"/>
                <a:gd name="connsiteY3088" fmla="*/ 230981 h 514350"/>
                <a:gd name="connsiteX3089" fmla="*/ 57626 w 6400800"/>
                <a:gd name="connsiteY3089" fmla="*/ 208121 h 514350"/>
                <a:gd name="connsiteX3090" fmla="*/ 46196 w 6400800"/>
                <a:gd name="connsiteY3090" fmla="*/ 188119 h 514350"/>
                <a:gd name="connsiteX3091" fmla="*/ 54769 w 6400800"/>
                <a:gd name="connsiteY3091" fmla="*/ 210026 h 514350"/>
                <a:gd name="connsiteX3092" fmla="*/ 64294 w 6400800"/>
                <a:gd name="connsiteY3092" fmla="*/ 234791 h 514350"/>
                <a:gd name="connsiteX3093" fmla="*/ 70009 w 6400800"/>
                <a:gd name="connsiteY3093" fmla="*/ 250031 h 514350"/>
                <a:gd name="connsiteX3094" fmla="*/ 75724 w 6400800"/>
                <a:gd name="connsiteY3094" fmla="*/ 266224 h 514350"/>
                <a:gd name="connsiteX3095" fmla="*/ 85249 w 6400800"/>
                <a:gd name="connsiteY3095" fmla="*/ 292894 h 514350"/>
                <a:gd name="connsiteX3096" fmla="*/ 79534 w 6400800"/>
                <a:gd name="connsiteY3096" fmla="*/ 284321 h 514350"/>
                <a:gd name="connsiteX3097" fmla="*/ 68104 w 6400800"/>
                <a:gd name="connsiteY3097" fmla="*/ 268129 h 514350"/>
                <a:gd name="connsiteX3098" fmla="*/ 57626 w 6400800"/>
                <a:gd name="connsiteY3098" fmla="*/ 253841 h 514350"/>
                <a:gd name="connsiteX3099" fmla="*/ 64294 w 6400800"/>
                <a:gd name="connsiteY3099" fmla="*/ 270034 h 514350"/>
                <a:gd name="connsiteX3100" fmla="*/ 71914 w 6400800"/>
                <a:gd name="connsiteY3100" fmla="*/ 288131 h 514350"/>
                <a:gd name="connsiteX3101" fmla="*/ 83344 w 6400800"/>
                <a:gd name="connsiteY3101" fmla="*/ 311944 h 514350"/>
                <a:gd name="connsiteX3102" fmla="*/ 90964 w 6400800"/>
                <a:gd name="connsiteY3102" fmla="*/ 330994 h 514350"/>
                <a:gd name="connsiteX3103" fmla="*/ 87154 w 6400800"/>
                <a:gd name="connsiteY3103" fmla="*/ 339566 h 514350"/>
                <a:gd name="connsiteX3104" fmla="*/ 81439 w 6400800"/>
                <a:gd name="connsiteY3104" fmla="*/ 352901 h 514350"/>
                <a:gd name="connsiteX3105" fmla="*/ 78581 w 6400800"/>
                <a:gd name="connsiteY3105" fmla="*/ 339566 h 514350"/>
                <a:gd name="connsiteX3106" fmla="*/ 70009 w 6400800"/>
                <a:gd name="connsiteY3106" fmla="*/ 301466 h 514350"/>
                <a:gd name="connsiteX3107" fmla="*/ 61436 w 6400800"/>
                <a:gd name="connsiteY3107" fmla="*/ 269081 h 514350"/>
                <a:gd name="connsiteX3108" fmla="*/ 53816 w 6400800"/>
                <a:gd name="connsiteY3108" fmla="*/ 244316 h 514350"/>
                <a:gd name="connsiteX3109" fmla="*/ 46196 w 6400800"/>
                <a:gd name="connsiteY3109" fmla="*/ 223361 h 514350"/>
                <a:gd name="connsiteX3110" fmla="*/ 50006 w 6400800"/>
                <a:gd name="connsiteY3110" fmla="*/ 245269 h 514350"/>
                <a:gd name="connsiteX3111" fmla="*/ 53816 w 6400800"/>
                <a:gd name="connsiteY3111" fmla="*/ 270034 h 514350"/>
                <a:gd name="connsiteX3112" fmla="*/ 58579 w 6400800"/>
                <a:gd name="connsiteY3112" fmla="*/ 302419 h 514350"/>
                <a:gd name="connsiteX3113" fmla="*/ 64294 w 6400800"/>
                <a:gd name="connsiteY3113" fmla="*/ 340519 h 514350"/>
                <a:gd name="connsiteX3114" fmla="*/ 69056 w 6400800"/>
                <a:gd name="connsiteY3114" fmla="*/ 381476 h 514350"/>
                <a:gd name="connsiteX3115" fmla="*/ 67151 w 6400800"/>
                <a:gd name="connsiteY3115" fmla="*/ 385286 h 514350"/>
                <a:gd name="connsiteX3116" fmla="*/ 60484 w 6400800"/>
                <a:gd name="connsiteY3116" fmla="*/ 405289 h 514350"/>
                <a:gd name="connsiteX3117" fmla="*/ 59531 w 6400800"/>
                <a:gd name="connsiteY3117" fmla="*/ 407194 h 514350"/>
                <a:gd name="connsiteX3118" fmla="*/ 56674 w 6400800"/>
                <a:gd name="connsiteY3118" fmla="*/ 407194 h 514350"/>
                <a:gd name="connsiteX3119" fmla="*/ 54769 w 6400800"/>
                <a:gd name="connsiteY3119" fmla="*/ 399574 h 514350"/>
                <a:gd name="connsiteX3120" fmla="*/ 46196 w 6400800"/>
                <a:gd name="connsiteY3120" fmla="*/ 364331 h 514350"/>
                <a:gd name="connsiteX3121" fmla="*/ 37624 w 6400800"/>
                <a:gd name="connsiteY3121" fmla="*/ 332899 h 514350"/>
                <a:gd name="connsiteX3122" fmla="*/ 21431 w 6400800"/>
                <a:gd name="connsiteY3122" fmla="*/ 287179 h 514350"/>
                <a:gd name="connsiteX3123" fmla="*/ 13811 w 6400800"/>
                <a:gd name="connsiteY3123" fmla="*/ 270034 h 514350"/>
                <a:gd name="connsiteX3124" fmla="*/ 17621 w 6400800"/>
                <a:gd name="connsiteY3124" fmla="*/ 288131 h 514350"/>
                <a:gd name="connsiteX3125" fmla="*/ 21431 w 6400800"/>
                <a:gd name="connsiteY3125" fmla="*/ 309086 h 514350"/>
                <a:gd name="connsiteX3126" fmla="*/ 26194 w 6400800"/>
                <a:gd name="connsiteY3126" fmla="*/ 335756 h 514350"/>
                <a:gd name="connsiteX3127" fmla="*/ 31909 w 6400800"/>
                <a:gd name="connsiteY3127" fmla="*/ 367189 h 514350"/>
                <a:gd name="connsiteX3128" fmla="*/ 39529 w 6400800"/>
                <a:gd name="connsiteY3128" fmla="*/ 402431 h 514350"/>
                <a:gd name="connsiteX3129" fmla="*/ 39529 w 6400800"/>
                <a:gd name="connsiteY3129" fmla="*/ 404336 h 514350"/>
                <a:gd name="connsiteX3130" fmla="*/ 7144 w 6400800"/>
                <a:gd name="connsiteY3130" fmla="*/ 399574 h 514350"/>
                <a:gd name="connsiteX3131" fmla="*/ 7144 w 6400800"/>
                <a:gd name="connsiteY3131" fmla="*/ 511016 h 514350"/>
                <a:gd name="connsiteX3132" fmla="*/ 6277451 w 6400800"/>
                <a:gd name="connsiteY3132" fmla="*/ 364331 h 514350"/>
                <a:gd name="connsiteX3133" fmla="*/ 6279356 w 6400800"/>
                <a:gd name="connsiteY3133" fmla="*/ 357664 h 514350"/>
                <a:gd name="connsiteX3134" fmla="*/ 6279356 w 6400800"/>
                <a:gd name="connsiteY3134" fmla="*/ 361474 h 514350"/>
                <a:gd name="connsiteX3135" fmla="*/ 6277451 w 6400800"/>
                <a:gd name="connsiteY3135" fmla="*/ 399574 h 514350"/>
                <a:gd name="connsiteX3136" fmla="*/ 6267926 w 6400800"/>
                <a:gd name="connsiteY3136" fmla="*/ 430054 h 514350"/>
                <a:gd name="connsiteX3137" fmla="*/ 6266021 w 6400800"/>
                <a:gd name="connsiteY3137" fmla="*/ 430054 h 514350"/>
                <a:gd name="connsiteX3138" fmla="*/ 6260306 w 6400800"/>
                <a:gd name="connsiteY3138" fmla="*/ 421481 h 514350"/>
                <a:gd name="connsiteX3139" fmla="*/ 6277451 w 6400800"/>
                <a:gd name="connsiteY3139" fmla="*/ 364331 h 514350"/>
                <a:gd name="connsiteX3140" fmla="*/ 6211729 w 6400800"/>
                <a:gd name="connsiteY3140" fmla="*/ 425291 h 514350"/>
                <a:gd name="connsiteX3141" fmla="*/ 6212681 w 6400800"/>
                <a:gd name="connsiteY3141" fmla="*/ 398621 h 514350"/>
                <a:gd name="connsiteX3142" fmla="*/ 6213634 w 6400800"/>
                <a:gd name="connsiteY3142" fmla="*/ 390049 h 514350"/>
                <a:gd name="connsiteX3143" fmla="*/ 6216492 w 6400800"/>
                <a:gd name="connsiteY3143" fmla="*/ 393859 h 514350"/>
                <a:gd name="connsiteX3144" fmla="*/ 6227921 w 6400800"/>
                <a:gd name="connsiteY3144" fmla="*/ 408146 h 514350"/>
                <a:gd name="connsiteX3145" fmla="*/ 6225064 w 6400800"/>
                <a:gd name="connsiteY3145" fmla="*/ 412909 h 514350"/>
                <a:gd name="connsiteX3146" fmla="*/ 6221254 w 6400800"/>
                <a:gd name="connsiteY3146" fmla="*/ 420529 h 514350"/>
                <a:gd name="connsiteX3147" fmla="*/ 6218396 w 6400800"/>
                <a:gd name="connsiteY3147" fmla="*/ 429101 h 514350"/>
                <a:gd name="connsiteX3148" fmla="*/ 6217444 w 6400800"/>
                <a:gd name="connsiteY3148" fmla="*/ 431006 h 514350"/>
                <a:gd name="connsiteX3149" fmla="*/ 6217444 w 6400800"/>
                <a:gd name="connsiteY3149" fmla="*/ 429101 h 514350"/>
                <a:gd name="connsiteX3150" fmla="*/ 6215539 w 6400800"/>
                <a:gd name="connsiteY3150" fmla="*/ 413861 h 514350"/>
                <a:gd name="connsiteX3151" fmla="*/ 6213634 w 6400800"/>
                <a:gd name="connsiteY3151" fmla="*/ 429101 h 514350"/>
                <a:gd name="connsiteX3152" fmla="*/ 6211729 w 6400800"/>
                <a:gd name="connsiteY3152" fmla="*/ 441484 h 514350"/>
                <a:gd name="connsiteX3153" fmla="*/ 6211729 w 6400800"/>
                <a:gd name="connsiteY3153" fmla="*/ 425291 h 514350"/>
                <a:gd name="connsiteX3154" fmla="*/ 6183154 w 6400800"/>
                <a:gd name="connsiteY3154" fmla="*/ 343376 h 514350"/>
                <a:gd name="connsiteX3155" fmla="*/ 6187917 w 6400800"/>
                <a:gd name="connsiteY3155" fmla="*/ 350996 h 514350"/>
                <a:gd name="connsiteX3156" fmla="*/ 6191726 w 6400800"/>
                <a:gd name="connsiteY3156" fmla="*/ 356711 h 514350"/>
                <a:gd name="connsiteX3157" fmla="*/ 6183154 w 6400800"/>
                <a:gd name="connsiteY3157" fmla="*/ 388144 h 514350"/>
                <a:gd name="connsiteX3158" fmla="*/ 6182201 w 6400800"/>
                <a:gd name="connsiteY3158" fmla="*/ 391954 h 514350"/>
                <a:gd name="connsiteX3159" fmla="*/ 6181249 w 6400800"/>
                <a:gd name="connsiteY3159" fmla="*/ 375761 h 514350"/>
                <a:gd name="connsiteX3160" fmla="*/ 6181249 w 6400800"/>
                <a:gd name="connsiteY3160" fmla="*/ 372904 h 514350"/>
                <a:gd name="connsiteX3161" fmla="*/ 6183154 w 6400800"/>
                <a:gd name="connsiteY3161" fmla="*/ 343376 h 514350"/>
                <a:gd name="connsiteX3162" fmla="*/ 6144101 w 6400800"/>
                <a:gd name="connsiteY3162" fmla="*/ 308134 h 514350"/>
                <a:gd name="connsiteX3163" fmla="*/ 6147912 w 6400800"/>
                <a:gd name="connsiteY3163" fmla="*/ 276701 h 514350"/>
                <a:gd name="connsiteX3164" fmla="*/ 6153626 w 6400800"/>
                <a:gd name="connsiteY3164" fmla="*/ 289084 h 514350"/>
                <a:gd name="connsiteX3165" fmla="*/ 6161246 w 6400800"/>
                <a:gd name="connsiteY3165" fmla="*/ 305276 h 514350"/>
                <a:gd name="connsiteX3166" fmla="*/ 6157437 w 6400800"/>
                <a:gd name="connsiteY3166" fmla="*/ 319564 h 514350"/>
                <a:gd name="connsiteX3167" fmla="*/ 6152674 w 6400800"/>
                <a:gd name="connsiteY3167" fmla="*/ 342424 h 514350"/>
                <a:gd name="connsiteX3168" fmla="*/ 6150769 w 6400800"/>
                <a:gd name="connsiteY3168" fmla="*/ 356711 h 514350"/>
                <a:gd name="connsiteX3169" fmla="*/ 6149817 w 6400800"/>
                <a:gd name="connsiteY3169" fmla="*/ 360521 h 514350"/>
                <a:gd name="connsiteX3170" fmla="*/ 6148864 w 6400800"/>
                <a:gd name="connsiteY3170" fmla="*/ 365284 h 514350"/>
                <a:gd name="connsiteX3171" fmla="*/ 6146006 w 6400800"/>
                <a:gd name="connsiteY3171" fmla="*/ 360521 h 514350"/>
                <a:gd name="connsiteX3172" fmla="*/ 6147912 w 6400800"/>
                <a:gd name="connsiteY3172" fmla="*/ 368141 h 514350"/>
                <a:gd name="connsiteX3173" fmla="*/ 6145054 w 6400800"/>
                <a:gd name="connsiteY3173" fmla="*/ 389096 h 514350"/>
                <a:gd name="connsiteX3174" fmla="*/ 6144101 w 6400800"/>
                <a:gd name="connsiteY3174" fmla="*/ 386239 h 514350"/>
                <a:gd name="connsiteX3175" fmla="*/ 6143149 w 6400800"/>
                <a:gd name="connsiteY3175" fmla="*/ 384334 h 514350"/>
                <a:gd name="connsiteX3176" fmla="*/ 6142196 w 6400800"/>
                <a:gd name="connsiteY3176" fmla="*/ 369094 h 514350"/>
                <a:gd name="connsiteX3177" fmla="*/ 6139339 w 6400800"/>
                <a:gd name="connsiteY3177" fmla="*/ 343376 h 514350"/>
                <a:gd name="connsiteX3178" fmla="*/ 6144101 w 6400800"/>
                <a:gd name="connsiteY3178" fmla="*/ 308134 h 514350"/>
                <a:gd name="connsiteX3179" fmla="*/ 6095524 w 6400800"/>
                <a:gd name="connsiteY3179" fmla="*/ 384334 h 514350"/>
                <a:gd name="connsiteX3180" fmla="*/ 6088856 w 6400800"/>
                <a:gd name="connsiteY3180" fmla="*/ 412909 h 514350"/>
                <a:gd name="connsiteX3181" fmla="*/ 6083142 w 6400800"/>
                <a:gd name="connsiteY3181" fmla="*/ 435769 h 514350"/>
                <a:gd name="connsiteX3182" fmla="*/ 6076474 w 6400800"/>
                <a:gd name="connsiteY3182" fmla="*/ 411956 h 514350"/>
                <a:gd name="connsiteX3183" fmla="*/ 6079331 w 6400800"/>
                <a:gd name="connsiteY3183" fmla="*/ 391001 h 514350"/>
                <a:gd name="connsiteX3184" fmla="*/ 6084094 w 6400800"/>
                <a:gd name="connsiteY3184" fmla="*/ 368141 h 514350"/>
                <a:gd name="connsiteX3185" fmla="*/ 6088856 w 6400800"/>
                <a:gd name="connsiteY3185" fmla="*/ 347186 h 514350"/>
                <a:gd name="connsiteX3186" fmla="*/ 6091714 w 6400800"/>
                <a:gd name="connsiteY3186" fmla="*/ 348139 h 514350"/>
                <a:gd name="connsiteX3187" fmla="*/ 6095524 w 6400800"/>
                <a:gd name="connsiteY3187" fmla="*/ 350996 h 514350"/>
                <a:gd name="connsiteX3188" fmla="*/ 6100287 w 6400800"/>
                <a:gd name="connsiteY3188" fmla="*/ 359569 h 514350"/>
                <a:gd name="connsiteX3189" fmla="*/ 6095524 w 6400800"/>
                <a:gd name="connsiteY3189" fmla="*/ 384334 h 514350"/>
                <a:gd name="connsiteX3190" fmla="*/ 6102192 w 6400800"/>
                <a:gd name="connsiteY3190" fmla="*/ 206216 h 514350"/>
                <a:gd name="connsiteX3191" fmla="*/ 6101239 w 6400800"/>
                <a:gd name="connsiteY3191" fmla="*/ 235744 h 514350"/>
                <a:gd name="connsiteX3192" fmla="*/ 6101239 w 6400800"/>
                <a:gd name="connsiteY3192" fmla="*/ 241459 h 514350"/>
                <a:gd name="connsiteX3193" fmla="*/ 6101239 w 6400800"/>
                <a:gd name="connsiteY3193" fmla="*/ 242411 h 514350"/>
                <a:gd name="connsiteX3194" fmla="*/ 6101239 w 6400800"/>
                <a:gd name="connsiteY3194" fmla="*/ 242411 h 514350"/>
                <a:gd name="connsiteX3195" fmla="*/ 6100287 w 6400800"/>
                <a:gd name="connsiteY3195" fmla="*/ 239554 h 514350"/>
                <a:gd name="connsiteX3196" fmla="*/ 6097429 w 6400800"/>
                <a:gd name="connsiteY3196" fmla="*/ 230981 h 514350"/>
                <a:gd name="connsiteX3197" fmla="*/ 6102192 w 6400800"/>
                <a:gd name="connsiteY3197" fmla="*/ 206216 h 514350"/>
                <a:gd name="connsiteX3198" fmla="*/ 6100287 w 6400800"/>
                <a:gd name="connsiteY3198" fmla="*/ 284321 h 514350"/>
                <a:gd name="connsiteX3199" fmla="*/ 6098381 w 6400800"/>
                <a:gd name="connsiteY3199" fmla="*/ 279559 h 514350"/>
                <a:gd name="connsiteX3200" fmla="*/ 6099334 w 6400800"/>
                <a:gd name="connsiteY3200" fmla="*/ 277654 h 514350"/>
                <a:gd name="connsiteX3201" fmla="*/ 6100287 w 6400800"/>
                <a:gd name="connsiteY3201" fmla="*/ 284321 h 514350"/>
                <a:gd name="connsiteX3202" fmla="*/ 6093619 w 6400800"/>
                <a:gd name="connsiteY3202" fmla="*/ 247174 h 514350"/>
                <a:gd name="connsiteX3203" fmla="*/ 6095524 w 6400800"/>
                <a:gd name="connsiteY3203" fmla="*/ 255746 h 514350"/>
                <a:gd name="connsiteX3204" fmla="*/ 6091714 w 6400800"/>
                <a:gd name="connsiteY3204" fmla="*/ 264319 h 514350"/>
                <a:gd name="connsiteX3205" fmla="*/ 6090762 w 6400800"/>
                <a:gd name="connsiteY3205" fmla="*/ 262414 h 514350"/>
                <a:gd name="connsiteX3206" fmla="*/ 6093619 w 6400800"/>
                <a:gd name="connsiteY3206" fmla="*/ 247174 h 514350"/>
                <a:gd name="connsiteX3207" fmla="*/ 6088856 w 6400800"/>
                <a:gd name="connsiteY3207" fmla="*/ 269081 h 514350"/>
                <a:gd name="connsiteX3208" fmla="*/ 6088856 w 6400800"/>
                <a:gd name="connsiteY3208" fmla="*/ 270034 h 514350"/>
                <a:gd name="connsiteX3209" fmla="*/ 6088856 w 6400800"/>
                <a:gd name="connsiteY3209" fmla="*/ 270034 h 514350"/>
                <a:gd name="connsiteX3210" fmla="*/ 6087904 w 6400800"/>
                <a:gd name="connsiteY3210" fmla="*/ 272891 h 514350"/>
                <a:gd name="connsiteX3211" fmla="*/ 6088856 w 6400800"/>
                <a:gd name="connsiteY3211" fmla="*/ 269081 h 514350"/>
                <a:gd name="connsiteX3212" fmla="*/ 6067901 w 6400800"/>
                <a:gd name="connsiteY3212" fmla="*/ 369094 h 514350"/>
                <a:gd name="connsiteX3213" fmla="*/ 6080284 w 6400800"/>
                <a:gd name="connsiteY3213" fmla="*/ 339566 h 514350"/>
                <a:gd name="connsiteX3214" fmla="*/ 6085046 w 6400800"/>
                <a:gd name="connsiteY3214" fmla="*/ 326231 h 514350"/>
                <a:gd name="connsiteX3215" fmla="*/ 6088856 w 6400800"/>
                <a:gd name="connsiteY3215" fmla="*/ 313849 h 514350"/>
                <a:gd name="connsiteX3216" fmla="*/ 6093619 w 6400800"/>
                <a:gd name="connsiteY3216" fmla="*/ 293846 h 514350"/>
                <a:gd name="connsiteX3217" fmla="*/ 6093619 w 6400800"/>
                <a:gd name="connsiteY3217" fmla="*/ 293846 h 514350"/>
                <a:gd name="connsiteX3218" fmla="*/ 6096476 w 6400800"/>
                <a:gd name="connsiteY3218" fmla="*/ 310991 h 514350"/>
                <a:gd name="connsiteX3219" fmla="*/ 6100287 w 6400800"/>
                <a:gd name="connsiteY3219" fmla="*/ 339566 h 514350"/>
                <a:gd name="connsiteX3220" fmla="*/ 6101239 w 6400800"/>
                <a:gd name="connsiteY3220" fmla="*/ 355759 h 514350"/>
                <a:gd name="connsiteX3221" fmla="*/ 6101239 w 6400800"/>
                <a:gd name="connsiteY3221" fmla="*/ 355759 h 514350"/>
                <a:gd name="connsiteX3222" fmla="*/ 6100287 w 6400800"/>
                <a:gd name="connsiteY3222" fmla="*/ 359569 h 514350"/>
                <a:gd name="connsiteX3223" fmla="*/ 6097429 w 6400800"/>
                <a:gd name="connsiteY3223" fmla="*/ 350044 h 514350"/>
                <a:gd name="connsiteX3224" fmla="*/ 6093619 w 6400800"/>
                <a:gd name="connsiteY3224" fmla="*/ 345281 h 514350"/>
                <a:gd name="connsiteX3225" fmla="*/ 6087904 w 6400800"/>
                <a:gd name="connsiteY3225" fmla="*/ 342424 h 514350"/>
                <a:gd name="connsiteX3226" fmla="*/ 6085999 w 6400800"/>
                <a:gd name="connsiteY3226" fmla="*/ 341471 h 514350"/>
                <a:gd name="connsiteX3227" fmla="*/ 6085046 w 6400800"/>
                <a:gd name="connsiteY3227" fmla="*/ 343376 h 514350"/>
                <a:gd name="connsiteX3228" fmla="*/ 6076474 w 6400800"/>
                <a:gd name="connsiteY3228" fmla="*/ 365284 h 514350"/>
                <a:gd name="connsiteX3229" fmla="*/ 6069806 w 6400800"/>
                <a:gd name="connsiteY3229" fmla="*/ 384334 h 514350"/>
                <a:gd name="connsiteX3230" fmla="*/ 6065996 w 6400800"/>
                <a:gd name="connsiteY3230" fmla="*/ 372904 h 514350"/>
                <a:gd name="connsiteX3231" fmla="*/ 6067901 w 6400800"/>
                <a:gd name="connsiteY3231" fmla="*/ 369094 h 514350"/>
                <a:gd name="connsiteX3232" fmla="*/ 6035517 w 6400800"/>
                <a:gd name="connsiteY3232" fmla="*/ 310039 h 514350"/>
                <a:gd name="connsiteX3233" fmla="*/ 6035517 w 6400800"/>
                <a:gd name="connsiteY3233" fmla="*/ 308134 h 514350"/>
                <a:gd name="connsiteX3234" fmla="*/ 6040279 w 6400800"/>
                <a:gd name="connsiteY3234" fmla="*/ 324326 h 514350"/>
                <a:gd name="connsiteX3235" fmla="*/ 6044089 w 6400800"/>
                <a:gd name="connsiteY3235" fmla="*/ 338614 h 514350"/>
                <a:gd name="connsiteX3236" fmla="*/ 6038374 w 6400800"/>
                <a:gd name="connsiteY3236" fmla="*/ 355759 h 514350"/>
                <a:gd name="connsiteX3237" fmla="*/ 6033612 w 6400800"/>
                <a:gd name="connsiteY3237" fmla="*/ 330041 h 514350"/>
                <a:gd name="connsiteX3238" fmla="*/ 6035517 w 6400800"/>
                <a:gd name="connsiteY3238" fmla="*/ 310039 h 514350"/>
                <a:gd name="connsiteX3239" fmla="*/ 6012656 w 6400800"/>
                <a:gd name="connsiteY3239" fmla="*/ 361474 h 514350"/>
                <a:gd name="connsiteX3240" fmla="*/ 6012656 w 6400800"/>
                <a:gd name="connsiteY3240" fmla="*/ 363379 h 514350"/>
                <a:gd name="connsiteX3241" fmla="*/ 6012656 w 6400800"/>
                <a:gd name="connsiteY3241" fmla="*/ 359569 h 514350"/>
                <a:gd name="connsiteX3242" fmla="*/ 6012656 w 6400800"/>
                <a:gd name="connsiteY3242" fmla="*/ 361474 h 514350"/>
                <a:gd name="connsiteX3243" fmla="*/ 6007894 w 6400800"/>
                <a:gd name="connsiteY3243" fmla="*/ 351949 h 514350"/>
                <a:gd name="connsiteX3244" fmla="*/ 6007894 w 6400800"/>
                <a:gd name="connsiteY3244" fmla="*/ 352901 h 514350"/>
                <a:gd name="connsiteX3245" fmla="*/ 6007894 w 6400800"/>
                <a:gd name="connsiteY3245" fmla="*/ 351949 h 514350"/>
                <a:gd name="connsiteX3246" fmla="*/ 6007894 w 6400800"/>
                <a:gd name="connsiteY3246" fmla="*/ 351949 h 514350"/>
                <a:gd name="connsiteX3247" fmla="*/ 5976462 w 6400800"/>
                <a:gd name="connsiteY3247" fmla="*/ 410051 h 514350"/>
                <a:gd name="connsiteX3248" fmla="*/ 5973604 w 6400800"/>
                <a:gd name="connsiteY3248" fmla="*/ 402431 h 514350"/>
                <a:gd name="connsiteX3249" fmla="*/ 5972651 w 6400800"/>
                <a:gd name="connsiteY3249" fmla="*/ 398621 h 514350"/>
                <a:gd name="connsiteX3250" fmla="*/ 5971699 w 6400800"/>
                <a:gd name="connsiteY3250" fmla="*/ 391001 h 514350"/>
                <a:gd name="connsiteX3251" fmla="*/ 5973604 w 6400800"/>
                <a:gd name="connsiteY3251" fmla="*/ 386239 h 514350"/>
                <a:gd name="connsiteX3252" fmla="*/ 5977414 w 6400800"/>
                <a:gd name="connsiteY3252" fmla="*/ 374809 h 514350"/>
                <a:gd name="connsiteX3253" fmla="*/ 5976462 w 6400800"/>
                <a:gd name="connsiteY3253" fmla="*/ 410051 h 514350"/>
                <a:gd name="connsiteX3254" fmla="*/ 5976462 w 6400800"/>
                <a:gd name="connsiteY3254" fmla="*/ 239554 h 514350"/>
                <a:gd name="connsiteX3255" fmla="*/ 5978367 w 6400800"/>
                <a:gd name="connsiteY3255" fmla="*/ 250031 h 514350"/>
                <a:gd name="connsiteX3256" fmla="*/ 5979319 w 6400800"/>
                <a:gd name="connsiteY3256" fmla="*/ 256699 h 514350"/>
                <a:gd name="connsiteX3257" fmla="*/ 5974556 w 6400800"/>
                <a:gd name="connsiteY3257" fmla="*/ 248126 h 514350"/>
                <a:gd name="connsiteX3258" fmla="*/ 5976462 w 6400800"/>
                <a:gd name="connsiteY3258" fmla="*/ 239554 h 514350"/>
                <a:gd name="connsiteX3259" fmla="*/ 5965984 w 6400800"/>
                <a:gd name="connsiteY3259" fmla="*/ 291941 h 514350"/>
                <a:gd name="connsiteX3260" fmla="*/ 5966937 w 6400800"/>
                <a:gd name="connsiteY3260" fmla="*/ 286226 h 514350"/>
                <a:gd name="connsiteX3261" fmla="*/ 5967889 w 6400800"/>
                <a:gd name="connsiteY3261" fmla="*/ 282416 h 514350"/>
                <a:gd name="connsiteX3262" fmla="*/ 5970746 w 6400800"/>
                <a:gd name="connsiteY3262" fmla="*/ 269081 h 514350"/>
                <a:gd name="connsiteX3263" fmla="*/ 5983129 w 6400800"/>
                <a:gd name="connsiteY3263" fmla="*/ 298609 h 514350"/>
                <a:gd name="connsiteX3264" fmla="*/ 5980271 w 6400800"/>
                <a:gd name="connsiteY3264" fmla="*/ 330994 h 514350"/>
                <a:gd name="connsiteX3265" fmla="*/ 5979319 w 6400800"/>
                <a:gd name="connsiteY3265" fmla="*/ 331946 h 514350"/>
                <a:gd name="connsiteX3266" fmla="*/ 5976462 w 6400800"/>
                <a:gd name="connsiteY3266" fmla="*/ 328136 h 514350"/>
                <a:gd name="connsiteX3267" fmla="*/ 5979319 w 6400800"/>
                <a:gd name="connsiteY3267" fmla="*/ 332899 h 514350"/>
                <a:gd name="connsiteX3268" fmla="*/ 5972651 w 6400800"/>
                <a:gd name="connsiteY3268" fmla="*/ 346234 h 514350"/>
                <a:gd name="connsiteX3269" fmla="*/ 5967889 w 6400800"/>
                <a:gd name="connsiteY3269" fmla="*/ 355759 h 514350"/>
                <a:gd name="connsiteX3270" fmla="*/ 5967889 w 6400800"/>
                <a:gd name="connsiteY3270" fmla="*/ 355759 h 514350"/>
                <a:gd name="connsiteX3271" fmla="*/ 5966937 w 6400800"/>
                <a:gd name="connsiteY3271" fmla="*/ 351949 h 514350"/>
                <a:gd name="connsiteX3272" fmla="*/ 5965031 w 6400800"/>
                <a:gd name="connsiteY3272" fmla="*/ 333851 h 514350"/>
                <a:gd name="connsiteX3273" fmla="*/ 5963126 w 6400800"/>
                <a:gd name="connsiteY3273" fmla="*/ 299561 h 514350"/>
                <a:gd name="connsiteX3274" fmla="*/ 5965984 w 6400800"/>
                <a:gd name="connsiteY3274" fmla="*/ 291941 h 514350"/>
                <a:gd name="connsiteX3275" fmla="*/ 5952649 w 6400800"/>
                <a:gd name="connsiteY3275" fmla="*/ 385286 h 514350"/>
                <a:gd name="connsiteX3276" fmla="*/ 5952649 w 6400800"/>
                <a:gd name="connsiteY3276" fmla="*/ 385286 h 514350"/>
                <a:gd name="connsiteX3277" fmla="*/ 5952649 w 6400800"/>
                <a:gd name="connsiteY3277" fmla="*/ 385286 h 514350"/>
                <a:gd name="connsiteX3278" fmla="*/ 5952649 w 6400800"/>
                <a:gd name="connsiteY3278" fmla="*/ 385286 h 514350"/>
                <a:gd name="connsiteX3279" fmla="*/ 5934551 w 6400800"/>
                <a:gd name="connsiteY3279" fmla="*/ 339566 h 514350"/>
                <a:gd name="connsiteX3280" fmla="*/ 5933599 w 6400800"/>
                <a:gd name="connsiteY3280" fmla="*/ 332899 h 514350"/>
                <a:gd name="connsiteX3281" fmla="*/ 5933599 w 6400800"/>
                <a:gd name="connsiteY3281" fmla="*/ 330994 h 514350"/>
                <a:gd name="connsiteX3282" fmla="*/ 5935504 w 6400800"/>
                <a:gd name="connsiteY3282" fmla="*/ 336709 h 514350"/>
                <a:gd name="connsiteX3283" fmla="*/ 5934551 w 6400800"/>
                <a:gd name="connsiteY3283" fmla="*/ 339566 h 514350"/>
                <a:gd name="connsiteX3284" fmla="*/ 5948839 w 6400800"/>
                <a:gd name="connsiteY3284" fmla="*/ 371951 h 514350"/>
                <a:gd name="connsiteX3285" fmla="*/ 5945981 w 6400800"/>
                <a:gd name="connsiteY3285" fmla="*/ 382429 h 514350"/>
                <a:gd name="connsiteX3286" fmla="*/ 5943124 w 6400800"/>
                <a:gd name="connsiteY3286" fmla="*/ 392906 h 514350"/>
                <a:gd name="connsiteX3287" fmla="*/ 5943124 w 6400800"/>
                <a:gd name="connsiteY3287" fmla="*/ 378619 h 514350"/>
                <a:gd name="connsiteX3288" fmla="*/ 5943124 w 6400800"/>
                <a:gd name="connsiteY3288" fmla="*/ 378619 h 514350"/>
                <a:gd name="connsiteX3289" fmla="*/ 5946934 w 6400800"/>
                <a:gd name="connsiteY3289" fmla="*/ 365284 h 514350"/>
                <a:gd name="connsiteX3290" fmla="*/ 5948839 w 6400800"/>
                <a:gd name="connsiteY3290" fmla="*/ 371951 h 514350"/>
                <a:gd name="connsiteX3291" fmla="*/ 5930742 w 6400800"/>
                <a:gd name="connsiteY3291" fmla="*/ 234791 h 514350"/>
                <a:gd name="connsiteX3292" fmla="*/ 5938362 w 6400800"/>
                <a:gd name="connsiteY3292" fmla="*/ 269081 h 514350"/>
                <a:gd name="connsiteX3293" fmla="*/ 5945029 w 6400800"/>
                <a:gd name="connsiteY3293" fmla="*/ 307181 h 514350"/>
                <a:gd name="connsiteX3294" fmla="*/ 5940267 w 6400800"/>
                <a:gd name="connsiteY3294" fmla="*/ 323374 h 514350"/>
                <a:gd name="connsiteX3295" fmla="*/ 5940267 w 6400800"/>
                <a:gd name="connsiteY3295" fmla="*/ 324326 h 514350"/>
                <a:gd name="connsiteX3296" fmla="*/ 5931694 w 6400800"/>
                <a:gd name="connsiteY3296" fmla="*/ 307181 h 514350"/>
                <a:gd name="connsiteX3297" fmla="*/ 5928837 w 6400800"/>
                <a:gd name="connsiteY3297" fmla="*/ 284321 h 514350"/>
                <a:gd name="connsiteX3298" fmla="*/ 5926931 w 6400800"/>
                <a:gd name="connsiteY3298" fmla="*/ 266224 h 514350"/>
                <a:gd name="connsiteX3299" fmla="*/ 5929789 w 6400800"/>
                <a:gd name="connsiteY3299" fmla="*/ 259556 h 514350"/>
                <a:gd name="connsiteX3300" fmla="*/ 5926931 w 6400800"/>
                <a:gd name="connsiteY3300" fmla="*/ 264319 h 514350"/>
                <a:gd name="connsiteX3301" fmla="*/ 5925026 w 6400800"/>
                <a:gd name="connsiteY3301" fmla="*/ 245269 h 514350"/>
                <a:gd name="connsiteX3302" fmla="*/ 5926931 w 6400800"/>
                <a:gd name="connsiteY3302" fmla="*/ 233839 h 514350"/>
                <a:gd name="connsiteX3303" fmla="*/ 5928837 w 6400800"/>
                <a:gd name="connsiteY3303" fmla="*/ 226219 h 514350"/>
                <a:gd name="connsiteX3304" fmla="*/ 5930742 w 6400800"/>
                <a:gd name="connsiteY3304" fmla="*/ 234791 h 514350"/>
                <a:gd name="connsiteX3305" fmla="*/ 5923121 w 6400800"/>
                <a:gd name="connsiteY3305" fmla="*/ 209074 h 514350"/>
                <a:gd name="connsiteX3306" fmla="*/ 5926931 w 6400800"/>
                <a:gd name="connsiteY3306" fmla="*/ 222409 h 514350"/>
                <a:gd name="connsiteX3307" fmla="*/ 5922169 w 6400800"/>
                <a:gd name="connsiteY3307" fmla="*/ 232886 h 514350"/>
                <a:gd name="connsiteX3308" fmla="*/ 5919312 w 6400800"/>
                <a:gd name="connsiteY3308" fmla="*/ 206216 h 514350"/>
                <a:gd name="connsiteX3309" fmla="*/ 5918359 w 6400800"/>
                <a:gd name="connsiteY3309" fmla="*/ 193834 h 514350"/>
                <a:gd name="connsiteX3310" fmla="*/ 5923121 w 6400800"/>
                <a:gd name="connsiteY3310" fmla="*/ 209074 h 514350"/>
                <a:gd name="connsiteX3311" fmla="*/ 5901214 w 6400800"/>
                <a:gd name="connsiteY3311" fmla="*/ 244316 h 514350"/>
                <a:gd name="connsiteX3312" fmla="*/ 5901214 w 6400800"/>
                <a:gd name="connsiteY3312" fmla="*/ 258604 h 514350"/>
                <a:gd name="connsiteX3313" fmla="*/ 5902167 w 6400800"/>
                <a:gd name="connsiteY3313" fmla="*/ 278606 h 514350"/>
                <a:gd name="connsiteX3314" fmla="*/ 5904071 w 6400800"/>
                <a:gd name="connsiteY3314" fmla="*/ 302419 h 514350"/>
                <a:gd name="connsiteX3315" fmla="*/ 5900262 w 6400800"/>
                <a:gd name="connsiteY3315" fmla="*/ 310039 h 514350"/>
                <a:gd name="connsiteX3316" fmla="*/ 5895499 w 6400800"/>
                <a:gd name="connsiteY3316" fmla="*/ 284321 h 514350"/>
                <a:gd name="connsiteX3317" fmla="*/ 5901214 w 6400800"/>
                <a:gd name="connsiteY3317" fmla="*/ 244316 h 514350"/>
                <a:gd name="connsiteX3318" fmla="*/ 5903119 w 6400800"/>
                <a:gd name="connsiteY3318" fmla="*/ 324326 h 514350"/>
                <a:gd name="connsiteX3319" fmla="*/ 5903119 w 6400800"/>
                <a:gd name="connsiteY3319" fmla="*/ 328136 h 514350"/>
                <a:gd name="connsiteX3320" fmla="*/ 5902167 w 6400800"/>
                <a:gd name="connsiteY3320" fmla="*/ 325279 h 514350"/>
                <a:gd name="connsiteX3321" fmla="*/ 5903119 w 6400800"/>
                <a:gd name="connsiteY3321" fmla="*/ 324326 h 514350"/>
                <a:gd name="connsiteX3322" fmla="*/ 5892642 w 6400800"/>
                <a:gd name="connsiteY3322" fmla="*/ 348139 h 514350"/>
                <a:gd name="connsiteX3323" fmla="*/ 5893594 w 6400800"/>
                <a:gd name="connsiteY3323" fmla="*/ 352901 h 514350"/>
                <a:gd name="connsiteX3324" fmla="*/ 5893594 w 6400800"/>
                <a:gd name="connsiteY3324" fmla="*/ 355759 h 514350"/>
                <a:gd name="connsiteX3325" fmla="*/ 5891689 w 6400800"/>
                <a:gd name="connsiteY3325" fmla="*/ 350996 h 514350"/>
                <a:gd name="connsiteX3326" fmla="*/ 5892642 w 6400800"/>
                <a:gd name="connsiteY3326" fmla="*/ 348139 h 514350"/>
                <a:gd name="connsiteX3327" fmla="*/ 5893594 w 6400800"/>
                <a:gd name="connsiteY3327" fmla="*/ 373856 h 514350"/>
                <a:gd name="connsiteX3328" fmla="*/ 5898356 w 6400800"/>
                <a:gd name="connsiteY3328" fmla="*/ 391954 h 514350"/>
                <a:gd name="connsiteX3329" fmla="*/ 5902167 w 6400800"/>
                <a:gd name="connsiteY3329" fmla="*/ 408146 h 514350"/>
                <a:gd name="connsiteX3330" fmla="*/ 5904071 w 6400800"/>
                <a:gd name="connsiteY3330" fmla="*/ 417671 h 514350"/>
                <a:gd name="connsiteX3331" fmla="*/ 5904071 w 6400800"/>
                <a:gd name="connsiteY3331" fmla="*/ 417671 h 514350"/>
                <a:gd name="connsiteX3332" fmla="*/ 5890737 w 6400800"/>
                <a:gd name="connsiteY3332" fmla="*/ 387191 h 514350"/>
                <a:gd name="connsiteX3333" fmla="*/ 5888831 w 6400800"/>
                <a:gd name="connsiteY3333" fmla="*/ 383381 h 514350"/>
                <a:gd name="connsiteX3334" fmla="*/ 5887879 w 6400800"/>
                <a:gd name="connsiteY3334" fmla="*/ 357664 h 514350"/>
                <a:gd name="connsiteX3335" fmla="*/ 5888831 w 6400800"/>
                <a:gd name="connsiteY3335" fmla="*/ 356711 h 514350"/>
                <a:gd name="connsiteX3336" fmla="*/ 5893594 w 6400800"/>
                <a:gd name="connsiteY3336" fmla="*/ 373856 h 514350"/>
                <a:gd name="connsiteX3337" fmla="*/ 5886926 w 6400800"/>
                <a:gd name="connsiteY3337" fmla="*/ 321469 h 514350"/>
                <a:gd name="connsiteX3338" fmla="*/ 5888831 w 6400800"/>
                <a:gd name="connsiteY3338" fmla="*/ 311944 h 514350"/>
                <a:gd name="connsiteX3339" fmla="*/ 5888831 w 6400800"/>
                <a:gd name="connsiteY3339" fmla="*/ 314801 h 514350"/>
                <a:gd name="connsiteX3340" fmla="*/ 5889784 w 6400800"/>
                <a:gd name="connsiteY3340" fmla="*/ 326231 h 514350"/>
                <a:gd name="connsiteX3341" fmla="*/ 5885974 w 6400800"/>
                <a:gd name="connsiteY3341" fmla="*/ 332899 h 514350"/>
                <a:gd name="connsiteX3342" fmla="*/ 5885974 w 6400800"/>
                <a:gd name="connsiteY3342" fmla="*/ 325279 h 514350"/>
                <a:gd name="connsiteX3343" fmla="*/ 5886926 w 6400800"/>
                <a:gd name="connsiteY3343" fmla="*/ 321469 h 514350"/>
                <a:gd name="connsiteX3344" fmla="*/ 5858351 w 6400800"/>
                <a:gd name="connsiteY3344" fmla="*/ 279559 h 514350"/>
                <a:gd name="connsiteX3345" fmla="*/ 5858351 w 6400800"/>
                <a:gd name="connsiteY3345" fmla="*/ 284321 h 514350"/>
                <a:gd name="connsiteX3346" fmla="*/ 5858351 w 6400800"/>
                <a:gd name="connsiteY3346" fmla="*/ 285274 h 514350"/>
                <a:gd name="connsiteX3347" fmla="*/ 5857399 w 6400800"/>
                <a:gd name="connsiteY3347" fmla="*/ 281464 h 514350"/>
                <a:gd name="connsiteX3348" fmla="*/ 5858351 w 6400800"/>
                <a:gd name="connsiteY3348" fmla="*/ 279559 h 514350"/>
                <a:gd name="connsiteX3349" fmla="*/ 5841206 w 6400800"/>
                <a:gd name="connsiteY3349" fmla="*/ 264319 h 514350"/>
                <a:gd name="connsiteX3350" fmla="*/ 5840254 w 6400800"/>
                <a:gd name="connsiteY3350" fmla="*/ 270034 h 514350"/>
                <a:gd name="connsiteX3351" fmla="*/ 5839301 w 6400800"/>
                <a:gd name="connsiteY3351" fmla="*/ 277654 h 514350"/>
                <a:gd name="connsiteX3352" fmla="*/ 5838349 w 6400800"/>
                <a:gd name="connsiteY3352" fmla="*/ 271939 h 514350"/>
                <a:gd name="connsiteX3353" fmla="*/ 5841206 w 6400800"/>
                <a:gd name="connsiteY3353" fmla="*/ 264319 h 514350"/>
                <a:gd name="connsiteX3354" fmla="*/ 5828824 w 6400800"/>
                <a:gd name="connsiteY3354" fmla="*/ 305276 h 514350"/>
                <a:gd name="connsiteX3355" fmla="*/ 5826919 w 6400800"/>
                <a:gd name="connsiteY3355" fmla="*/ 308134 h 514350"/>
                <a:gd name="connsiteX3356" fmla="*/ 5826919 w 6400800"/>
                <a:gd name="connsiteY3356" fmla="*/ 306229 h 514350"/>
                <a:gd name="connsiteX3357" fmla="*/ 5829776 w 6400800"/>
                <a:gd name="connsiteY3357" fmla="*/ 299561 h 514350"/>
                <a:gd name="connsiteX3358" fmla="*/ 5828824 w 6400800"/>
                <a:gd name="connsiteY3358" fmla="*/ 305276 h 514350"/>
                <a:gd name="connsiteX3359" fmla="*/ 5823109 w 6400800"/>
                <a:gd name="connsiteY3359" fmla="*/ 259556 h 514350"/>
                <a:gd name="connsiteX3360" fmla="*/ 5827871 w 6400800"/>
                <a:gd name="connsiteY3360" fmla="*/ 270986 h 514350"/>
                <a:gd name="connsiteX3361" fmla="*/ 5828824 w 6400800"/>
                <a:gd name="connsiteY3361" fmla="*/ 273844 h 514350"/>
                <a:gd name="connsiteX3362" fmla="*/ 5828824 w 6400800"/>
                <a:gd name="connsiteY3362" fmla="*/ 286226 h 514350"/>
                <a:gd name="connsiteX3363" fmla="*/ 5824062 w 6400800"/>
                <a:gd name="connsiteY3363" fmla="*/ 295751 h 514350"/>
                <a:gd name="connsiteX3364" fmla="*/ 5824062 w 6400800"/>
                <a:gd name="connsiteY3364" fmla="*/ 294799 h 514350"/>
                <a:gd name="connsiteX3365" fmla="*/ 5823109 w 6400800"/>
                <a:gd name="connsiteY3365" fmla="*/ 267176 h 514350"/>
                <a:gd name="connsiteX3366" fmla="*/ 5823109 w 6400800"/>
                <a:gd name="connsiteY3366" fmla="*/ 259556 h 514350"/>
                <a:gd name="connsiteX3367" fmla="*/ 5813584 w 6400800"/>
                <a:gd name="connsiteY3367" fmla="*/ 252889 h 514350"/>
                <a:gd name="connsiteX3368" fmla="*/ 5812631 w 6400800"/>
                <a:gd name="connsiteY3368" fmla="*/ 258604 h 514350"/>
                <a:gd name="connsiteX3369" fmla="*/ 5811679 w 6400800"/>
                <a:gd name="connsiteY3369" fmla="*/ 255746 h 514350"/>
                <a:gd name="connsiteX3370" fmla="*/ 5811679 w 6400800"/>
                <a:gd name="connsiteY3370" fmla="*/ 262414 h 514350"/>
                <a:gd name="connsiteX3371" fmla="*/ 5810726 w 6400800"/>
                <a:gd name="connsiteY3371" fmla="*/ 267176 h 514350"/>
                <a:gd name="connsiteX3372" fmla="*/ 5808821 w 6400800"/>
                <a:gd name="connsiteY3372" fmla="*/ 294799 h 514350"/>
                <a:gd name="connsiteX3373" fmla="*/ 5808821 w 6400800"/>
                <a:gd name="connsiteY3373" fmla="*/ 304324 h 514350"/>
                <a:gd name="connsiteX3374" fmla="*/ 5807869 w 6400800"/>
                <a:gd name="connsiteY3374" fmla="*/ 300514 h 514350"/>
                <a:gd name="connsiteX3375" fmla="*/ 5806917 w 6400800"/>
                <a:gd name="connsiteY3375" fmla="*/ 264319 h 514350"/>
                <a:gd name="connsiteX3376" fmla="*/ 5806917 w 6400800"/>
                <a:gd name="connsiteY3376" fmla="*/ 262414 h 514350"/>
                <a:gd name="connsiteX3377" fmla="*/ 5813584 w 6400800"/>
                <a:gd name="connsiteY3377" fmla="*/ 252889 h 514350"/>
                <a:gd name="connsiteX3378" fmla="*/ 5804059 w 6400800"/>
                <a:gd name="connsiteY3378" fmla="*/ 268129 h 514350"/>
                <a:gd name="connsiteX3379" fmla="*/ 5804059 w 6400800"/>
                <a:gd name="connsiteY3379" fmla="*/ 269081 h 514350"/>
                <a:gd name="connsiteX3380" fmla="*/ 5804059 w 6400800"/>
                <a:gd name="connsiteY3380" fmla="*/ 268129 h 514350"/>
                <a:gd name="connsiteX3381" fmla="*/ 5804059 w 6400800"/>
                <a:gd name="connsiteY3381" fmla="*/ 268129 h 514350"/>
                <a:gd name="connsiteX3382" fmla="*/ 5799296 w 6400800"/>
                <a:gd name="connsiteY3382" fmla="*/ 164306 h 514350"/>
                <a:gd name="connsiteX3383" fmla="*/ 5802154 w 6400800"/>
                <a:gd name="connsiteY3383" fmla="*/ 166211 h 514350"/>
                <a:gd name="connsiteX3384" fmla="*/ 5796439 w 6400800"/>
                <a:gd name="connsiteY3384" fmla="*/ 176689 h 514350"/>
                <a:gd name="connsiteX3385" fmla="*/ 5796439 w 6400800"/>
                <a:gd name="connsiteY3385" fmla="*/ 163354 h 514350"/>
                <a:gd name="connsiteX3386" fmla="*/ 5799296 w 6400800"/>
                <a:gd name="connsiteY3386" fmla="*/ 164306 h 514350"/>
                <a:gd name="connsiteX3387" fmla="*/ 5770721 w 6400800"/>
                <a:gd name="connsiteY3387" fmla="*/ 386239 h 514350"/>
                <a:gd name="connsiteX3388" fmla="*/ 5770721 w 6400800"/>
                <a:gd name="connsiteY3388" fmla="*/ 383381 h 514350"/>
                <a:gd name="connsiteX3389" fmla="*/ 5770721 w 6400800"/>
                <a:gd name="connsiteY3389" fmla="*/ 382429 h 514350"/>
                <a:gd name="connsiteX3390" fmla="*/ 5771674 w 6400800"/>
                <a:gd name="connsiteY3390" fmla="*/ 387191 h 514350"/>
                <a:gd name="connsiteX3391" fmla="*/ 5770721 w 6400800"/>
                <a:gd name="connsiteY3391" fmla="*/ 386239 h 514350"/>
                <a:gd name="connsiteX3392" fmla="*/ 5782151 w 6400800"/>
                <a:gd name="connsiteY3392" fmla="*/ 253841 h 514350"/>
                <a:gd name="connsiteX3393" fmla="*/ 5780246 w 6400800"/>
                <a:gd name="connsiteY3393" fmla="*/ 258604 h 514350"/>
                <a:gd name="connsiteX3394" fmla="*/ 5777389 w 6400800"/>
                <a:gd name="connsiteY3394" fmla="*/ 267176 h 514350"/>
                <a:gd name="connsiteX3395" fmla="*/ 5773579 w 6400800"/>
                <a:gd name="connsiteY3395" fmla="*/ 275749 h 514350"/>
                <a:gd name="connsiteX3396" fmla="*/ 5772626 w 6400800"/>
                <a:gd name="connsiteY3396" fmla="*/ 273844 h 514350"/>
                <a:gd name="connsiteX3397" fmla="*/ 5771674 w 6400800"/>
                <a:gd name="connsiteY3397" fmla="*/ 272891 h 514350"/>
                <a:gd name="connsiteX3398" fmla="*/ 5783104 w 6400800"/>
                <a:gd name="connsiteY3398" fmla="*/ 241459 h 514350"/>
                <a:gd name="connsiteX3399" fmla="*/ 5782151 w 6400800"/>
                <a:gd name="connsiteY3399" fmla="*/ 253841 h 514350"/>
                <a:gd name="connsiteX3400" fmla="*/ 5785962 w 6400800"/>
                <a:gd name="connsiteY3400" fmla="*/ 221456 h 514350"/>
                <a:gd name="connsiteX3401" fmla="*/ 5784056 w 6400800"/>
                <a:gd name="connsiteY3401" fmla="*/ 239554 h 514350"/>
                <a:gd name="connsiteX3402" fmla="*/ 5784056 w 6400800"/>
                <a:gd name="connsiteY3402" fmla="*/ 240506 h 514350"/>
                <a:gd name="connsiteX3403" fmla="*/ 5770721 w 6400800"/>
                <a:gd name="connsiteY3403" fmla="*/ 267176 h 514350"/>
                <a:gd name="connsiteX3404" fmla="*/ 5769769 w 6400800"/>
                <a:gd name="connsiteY3404" fmla="*/ 261461 h 514350"/>
                <a:gd name="connsiteX3405" fmla="*/ 5769769 w 6400800"/>
                <a:gd name="connsiteY3405" fmla="*/ 258604 h 514350"/>
                <a:gd name="connsiteX3406" fmla="*/ 5785962 w 6400800"/>
                <a:gd name="connsiteY3406" fmla="*/ 221456 h 514350"/>
                <a:gd name="connsiteX3407" fmla="*/ 5754529 w 6400800"/>
                <a:gd name="connsiteY3407" fmla="*/ 333851 h 514350"/>
                <a:gd name="connsiteX3408" fmla="*/ 5746909 w 6400800"/>
                <a:gd name="connsiteY3408" fmla="*/ 348139 h 514350"/>
                <a:gd name="connsiteX3409" fmla="*/ 5745956 w 6400800"/>
                <a:gd name="connsiteY3409" fmla="*/ 346234 h 514350"/>
                <a:gd name="connsiteX3410" fmla="*/ 5754529 w 6400800"/>
                <a:gd name="connsiteY3410" fmla="*/ 322421 h 514350"/>
                <a:gd name="connsiteX3411" fmla="*/ 5754529 w 6400800"/>
                <a:gd name="connsiteY3411" fmla="*/ 333851 h 514350"/>
                <a:gd name="connsiteX3412" fmla="*/ 5754529 w 6400800"/>
                <a:gd name="connsiteY3412" fmla="*/ 333851 h 514350"/>
                <a:gd name="connsiteX3413" fmla="*/ 5762149 w 6400800"/>
                <a:gd name="connsiteY3413" fmla="*/ 302419 h 514350"/>
                <a:gd name="connsiteX3414" fmla="*/ 5762149 w 6400800"/>
                <a:gd name="connsiteY3414" fmla="*/ 302419 h 514350"/>
                <a:gd name="connsiteX3415" fmla="*/ 5762149 w 6400800"/>
                <a:gd name="connsiteY3415" fmla="*/ 302419 h 514350"/>
                <a:gd name="connsiteX3416" fmla="*/ 5762149 w 6400800"/>
                <a:gd name="connsiteY3416" fmla="*/ 302419 h 514350"/>
                <a:gd name="connsiteX3417" fmla="*/ 5761196 w 6400800"/>
                <a:gd name="connsiteY3417" fmla="*/ 304324 h 514350"/>
                <a:gd name="connsiteX3418" fmla="*/ 5762149 w 6400800"/>
                <a:gd name="connsiteY3418" fmla="*/ 305276 h 514350"/>
                <a:gd name="connsiteX3419" fmla="*/ 5762149 w 6400800"/>
                <a:gd name="connsiteY3419" fmla="*/ 308134 h 514350"/>
                <a:gd name="connsiteX3420" fmla="*/ 5762149 w 6400800"/>
                <a:gd name="connsiteY3420" fmla="*/ 310039 h 514350"/>
                <a:gd name="connsiteX3421" fmla="*/ 5759292 w 6400800"/>
                <a:gd name="connsiteY3421" fmla="*/ 320516 h 514350"/>
                <a:gd name="connsiteX3422" fmla="*/ 5757387 w 6400800"/>
                <a:gd name="connsiteY3422" fmla="*/ 328136 h 514350"/>
                <a:gd name="connsiteX3423" fmla="*/ 5755481 w 6400800"/>
                <a:gd name="connsiteY3423" fmla="*/ 320516 h 514350"/>
                <a:gd name="connsiteX3424" fmla="*/ 5761196 w 6400800"/>
                <a:gd name="connsiteY3424" fmla="*/ 304324 h 514350"/>
                <a:gd name="connsiteX3425" fmla="*/ 5760244 w 6400800"/>
                <a:gd name="connsiteY3425" fmla="*/ 289084 h 514350"/>
                <a:gd name="connsiteX3426" fmla="*/ 5759292 w 6400800"/>
                <a:gd name="connsiteY3426" fmla="*/ 290989 h 514350"/>
                <a:gd name="connsiteX3427" fmla="*/ 5751671 w 6400800"/>
                <a:gd name="connsiteY3427" fmla="*/ 301466 h 514350"/>
                <a:gd name="connsiteX3428" fmla="*/ 5748814 w 6400800"/>
                <a:gd name="connsiteY3428" fmla="*/ 305276 h 514350"/>
                <a:gd name="connsiteX3429" fmla="*/ 5759292 w 6400800"/>
                <a:gd name="connsiteY3429" fmla="*/ 280511 h 514350"/>
                <a:gd name="connsiteX3430" fmla="*/ 5760244 w 6400800"/>
                <a:gd name="connsiteY3430" fmla="*/ 289084 h 514350"/>
                <a:gd name="connsiteX3431" fmla="*/ 5756434 w 6400800"/>
                <a:gd name="connsiteY3431" fmla="*/ 227171 h 514350"/>
                <a:gd name="connsiteX3432" fmla="*/ 5756434 w 6400800"/>
                <a:gd name="connsiteY3432" fmla="*/ 243364 h 514350"/>
                <a:gd name="connsiteX3433" fmla="*/ 5757387 w 6400800"/>
                <a:gd name="connsiteY3433" fmla="*/ 250984 h 514350"/>
                <a:gd name="connsiteX3434" fmla="*/ 5753576 w 6400800"/>
                <a:gd name="connsiteY3434" fmla="*/ 259556 h 514350"/>
                <a:gd name="connsiteX3435" fmla="*/ 5741194 w 6400800"/>
                <a:gd name="connsiteY3435" fmla="*/ 285274 h 514350"/>
                <a:gd name="connsiteX3436" fmla="*/ 5756434 w 6400800"/>
                <a:gd name="connsiteY3436" fmla="*/ 227171 h 514350"/>
                <a:gd name="connsiteX3437" fmla="*/ 5676424 w 6400800"/>
                <a:gd name="connsiteY3437" fmla="*/ 184309 h 514350"/>
                <a:gd name="connsiteX3438" fmla="*/ 5676424 w 6400800"/>
                <a:gd name="connsiteY3438" fmla="*/ 198596 h 514350"/>
                <a:gd name="connsiteX3439" fmla="*/ 5676424 w 6400800"/>
                <a:gd name="connsiteY3439" fmla="*/ 228124 h 514350"/>
                <a:gd name="connsiteX3440" fmla="*/ 5676424 w 6400800"/>
                <a:gd name="connsiteY3440" fmla="*/ 246221 h 514350"/>
                <a:gd name="connsiteX3441" fmla="*/ 5677376 w 6400800"/>
                <a:gd name="connsiteY3441" fmla="*/ 266224 h 514350"/>
                <a:gd name="connsiteX3442" fmla="*/ 5678329 w 6400800"/>
                <a:gd name="connsiteY3442" fmla="*/ 276701 h 514350"/>
                <a:gd name="connsiteX3443" fmla="*/ 5678329 w 6400800"/>
                <a:gd name="connsiteY3443" fmla="*/ 276701 h 514350"/>
                <a:gd name="connsiteX3444" fmla="*/ 5675471 w 6400800"/>
                <a:gd name="connsiteY3444" fmla="*/ 259556 h 514350"/>
                <a:gd name="connsiteX3445" fmla="*/ 5672614 w 6400800"/>
                <a:gd name="connsiteY3445" fmla="*/ 242411 h 514350"/>
                <a:gd name="connsiteX3446" fmla="*/ 5669756 w 6400800"/>
                <a:gd name="connsiteY3446" fmla="*/ 223361 h 514350"/>
                <a:gd name="connsiteX3447" fmla="*/ 5668804 w 6400800"/>
                <a:gd name="connsiteY3447" fmla="*/ 216694 h 514350"/>
                <a:gd name="connsiteX3448" fmla="*/ 5676424 w 6400800"/>
                <a:gd name="connsiteY3448" fmla="*/ 184309 h 514350"/>
                <a:gd name="connsiteX3449" fmla="*/ 5652612 w 6400800"/>
                <a:gd name="connsiteY3449" fmla="*/ 263366 h 514350"/>
                <a:gd name="connsiteX3450" fmla="*/ 5653564 w 6400800"/>
                <a:gd name="connsiteY3450" fmla="*/ 261461 h 514350"/>
                <a:gd name="connsiteX3451" fmla="*/ 5655469 w 6400800"/>
                <a:gd name="connsiteY3451" fmla="*/ 264319 h 514350"/>
                <a:gd name="connsiteX3452" fmla="*/ 5655469 w 6400800"/>
                <a:gd name="connsiteY3452" fmla="*/ 268129 h 514350"/>
                <a:gd name="connsiteX3453" fmla="*/ 5657374 w 6400800"/>
                <a:gd name="connsiteY3453" fmla="*/ 286226 h 514350"/>
                <a:gd name="connsiteX3454" fmla="*/ 5652612 w 6400800"/>
                <a:gd name="connsiteY3454" fmla="*/ 269081 h 514350"/>
                <a:gd name="connsiteX3455" fmla="*/ 5651659 w 6400800"/>
                <a:gd name="connsiteY3455" fmla="*/ 267176 h 514350"/>
                <a:gd name="connsiteX3456" fmla="*/ 5652612 w 6400800"/>
                <a:gd name="connsiteY3456" fmla="*/ 263366 h 514350"/>
                <a:gd name="connsiteX3457" fmla="*/ 5650706 w 6400800"/>
                <a:gd name="connsiteY3457" fmla="*/ 205264 h 514350"/>
                <a:gd name="connsiteX3458" fmla="*/ 5651659 w 6400800"/>
                <a:gd name="connsiteY3458" fmla="*/ 212884 h 514350"/>
                <a:gd name="connsiteX3459" fmla="*/ 5649754 w 6400800"/>
                <a:gd name="connsiteY3459" fmla="*/ 207169 h 514350"/>
                <a:gd name="connsiteX3460" fmla="*/ 5650706 w 6400800"/>
                <a:gd name="connsiteY3460" fmla="*/ 205264 h 514350"/>
                <a:gd name="connsiteX3461" fmla="*/ 5647849 w 6400800"/>
                <a:gd name="connsiteY3461" fmla="*/ 209074 h 514350"/>
                <a:gd name="connsiteX3462" fmla="*/ 5649754 w 6400800"/>
                <a:gd name="connsiteY3462" fmla="*/ 219551 h 514350"/>
                <a:gd name="connsiteX3463" fmla="*/ 5651659 w 6400800"/>
                <a:gd name="connsiteY3463" fmla="*/ 235744 h 514350"/>
                <a:gd name="connsiteX3464" fmla="*/ 5651659 w 6400800"/>
                <a:gd name="connsiteY3464" fmla="*/ 236696 h 514350"/>
                <a:gd name="connsiteX3465" fmla="*/ 5645944 w 6400800"/>
                <a:gd name="connsiteY3465" fmla="*/ 228124 h 514350"/>
                <a:gd name="connsiteX3466" fmla="*/ 5644039 w 6400800"/>
                <a:gd name="connsiteY3466" fmla="*/ 216694 h 514350"/>
                <a:gd name="connsiteX3467" fmla="*/ 5647849 w 6400800"/>
                <a:gd name="connsiteY3467" fmla="*/ 209074 h 514350"/>
                <a:gd name="connsiteX3468" fmla="*/ 5642134 w 6400800"/>
                <a:gd name="connsiteY3468" fmla="*/ 370046 h 514350"/>
                <a:gd name="connsiteX3469" fmla="*/ 5643087 w 6400800"/>
                <a:gd name="connsiteY3469" fmla="*/ 377666 h 514350"/>
                <a:gd name="connsiteX3470" fmla="*/ 5641181 w 6400800"/>
                <a:gd name="connsiteY3470" fmla="*/ 385286 h 514350"/>
                <a:gd name="connsiteX3471" fmla="*/ 5642134 w 6400800"/>
                <a:gd name="connsiteY3471" fmla="*/ 370046 h 514350"/>
                <a:gd name="connsiteX3472" fmla="*/ 5624037 w 6400800"/>
                <a:gd name="connsiteY3472" fmla="*/ 272891 h 514350"/>
                <a:gd name="connsiteX3473" fmla="*/ 5625942 w 6400800"/>
                <a:gd name="connsiteY3473" fmla="*/ 258604 h 514350"/>
                <a:gd name="connsiteX3474" fmla="*/ 5625942 w 6400800"/>
                <a:gd name="connsiteY3474" fmla="*/ 254794 h 514350"/>
                <a:gd name="connsiteX3475" fmla="*/ 5632609 w 6400800"/>
                <a:gd name="connsiteY3475" fmla="*/ 241459 h 514350"/>
                <a:gd name="connsiteX3476" fmla="*/ 5634514 w 6400800"/>
                <a:gd name="connsiteY3476" fmla="*/ 236696 h 514350"/>
                <a:gd name="connsiteX3477" fmla="*/ 5637371 w 6400800"/>
                <a:gd name="connsiteY3477" fmla="*/ 245269 h 514350"/>
                <a:gd name="connsiteX3478" fmla="*/ 5640229 w 6400800"/>
                <a:gd name="connsiteY3478" fmla="*/ 259556 h 514350"/>
                <a:gd name="connsiteX3479" fmla="*/ 5640229 w 6400800"/>
                <a:gd name="connsiteY3479" fmla="*/ 266224 h 514350"/>
                <a:gd name="connsiteX3480" fmla="*/ 5631656 w 6400800"/>
                <a:gd name="connsiteY3480" fmla="*/ 288131 h 514350"/>
                <a:gd name="connsiteX3481" fmla="*/ 5624037 w 6400800"/>
                <a:gd name="connsiteY3481" fmla="*/ 277654 h 514350"/>
                <a:gd name="connsiteX3482" fmla="*/ 5624037 w 6400800"/>
                <a:gd name="connsiteY3482" fmla="*/ 272891 h 514350"/>
                <a:gd name="connsiteX3483" fmla="*/ 5623084 w 6400800"/>
                <a:gd name="connsiteY3483" fmla="*/ 289084 h 514350"/>
                <a:gd name="connsiteX3484" fmla="*/ 5623084 w 6400800"/>
                <a:gd name="connsiteY3484" fmla="*/ 287179 h 514350"/>
                <a:gd name="connsiteX3485" fmla="*/ 5624989 w 6400800"/>
                <a:gd name="connsiteY3485" fmla="*/ 290989 h 514350"/>
                <a:gd name="connsiteX3486" fmla="*/ 5626894 w 6400800"/>
                <a:gd name="connsiteY3486" fmla="*/ 298609 h 514350"/>
                <a:gd name="connsiteX3487" fmla="*/ 5625942 w 6400800"/>
                <a:gd name="connsiteY3487" fmla="*/ 300514 h 514350"/>
                <a:gd name="connsiteX3488" fmla="*/ 5625942 w 6400800"/>
                <a:gd name="connsiteY3488" fmla="*/ 300514 h 514350"/>
                <a:gd name="connsiteX3489" fmla="*/ 5622131 w 6400800"/>
                <a:gd name="connsiteY3489" fmla="*/ 295751 h 514350"/>
                <a:gd name="connsiteX3490" fmla="*/ 5623084 w 6400800"/>
                <a:gd name="connsiteY3490" fmla="*/ 289084 h 514350"/>
                <a:gd name="connsiteX3491" fmla="*/ 5621179 w 6400800"/>
                <a:gd name="connsiteY3491" fmla="*/ 310991 h 514350"/>
                <a:gd name="connsiteX3492" fmla="*/ 5621179 w 6400800"/>
                <a:gd name="connsiteY3492" fmla="*/ 310991 h 514350"/>
                <a:gd name="connsiteX3493" fmla="*/ 5621179 w 6400800"/>
                <a:gd name="connsiteY3493" fmla="*/ 310991 h 514350"/>
                <a:gd name="connsiteX3494" fmla="*/ 5621179 w 6400800"/>
                <a:gd name="connsiteY3494" fmla="*/ 310991 h 514350"/>
                <a:gd name="connsiteX3495" fmla="*/ 5618321 w 6400800"/>
                <a:gd name="connsiteY3495" fmla="*/ 270034 h 514350"/>
                <a:gd name="connsiteX3496" fmla="*/ 5618321 w 6400800"/>
                <a:gd name="connsiteY3496" fmla="*/ 270034 h 514350"/>
                <a:gd name="connsiteX3497" fmla="*/ 5618321 w 6400800"/>
                <a:gd name="connsiteY3497" fmla="*/ 270034 h 514350"/>
                <a:gd name="connsiteX3498" fmla="*/ 5618321 w 6400800"/>
                <a:gd name="connsiteY3498" fmla="*/ 270034 h 514350"/>
                <a:gd name="connsiteX3499" fmla="*/ 5617369 w 6400800"/>
                <a:gd name="connsiteY3499" fmla="*/ 272891 h 514350"/>
                <a:gd name="connsiteX3500" fmla="*/ 5618321 w 6400800"/>
                <a:gd name="connsiteY3500" fmla="*/ 273844 h 514350"/>
                <a:gd name="connsiteX3501" fmla="*/ 5616417 w 6400800"/>
                <a:gd name="connsiteY3501" fmla="*/ 286226 h 514350"/>
                <a:gd name="connsiteX3502" fmla="*/ 5613559 w 6400800"/>
                <a:gd name="connsiteY3502" fmla="*/ 282416 h 514350"/>
                <a:gd name="connsiteX3503" fmla="*/ 5617369 w 6400800"/>
                <a:gd name="connsiteY3503" fmla="*/ 272891 h 514350"/>
                <a:gd name="connsiteX3504" fmla="*/ 5608796 w 6400800"/>
                <a:gd name="connsiteY3504" fmla="*/ 290989 h 514350"/>
                <a:gd name="connsiteX3505" fmla="*/ 5608796 w 6400800"/>
                <a:gd name="connsiteY3505" fmla="*/ 290989 h 514350"/>
                <a:gd name="connsiteX3506" fmla="*/ 5611654 w 6400800"/>
                <a:gd name="connsiteY3506" fmla="*/ 294799 h 514350"/>
                <a:gd name="connsiteX3507" fmla="*/ 5613559 w 6400800"/>
                <a:gd name="connsiteY3507" fmla="*/ 297656 h 514350"/>
                <a:gd name="connsiteX3508" fmla="*/ 5611654 w 6400800"/>
                <a:gd name="connsiteY3508" fmla="*/ 310991 h 514350"/>
                <a:gd name="connsiteX3509" fmla="*/ 5608796 w 6400800"/>
                <a:gd name="connsiteY3509" fmla="*/ 292894 h 514350"/>
                <a:gd name="connsiteX3510" fmla="*/ 5608796 w 6400800"/>
                <a:gd name="connsiteY3510" fmla="*/ 290989 h 514350"/>
                <a:gd name="connsiteX3511" fmla="*/ 5594509 w 6400800"/>
                <a:gd name="connsiteY3511" fmla="*/ 241459 h 514350"/>
                <a:gd name="connsiteX3512" fmla="*/ 5595462 w 6400800"/>
                <a:gd name="connsiteY3512" fmla="*/ 258604 h 514350"/>
                <a:gd name="connsiteX3513" fmla="*/ 5595462 w 6400800"/>
                <a:gd name="connsiteY3513" fmla="*/ 259556 h 514350"/>
                <a:gd name="connsiteX3514" fmla="*/ 5595462 w 6400800"/>
                <a:gd name="connsiteY3514" fmla="*/ 261461 h 514350"/>
                <a:gd name="connsiteX3515" fmla="*/ 5593556 w 6400800"/>
                <a:gd name="connsiteY3515" fmla="*/ 259556 h 514350"/>
                <a:gd name="connsiteX3516" fmla="*/ 5592604 w 6400800"/>
                <a:gd name="connsiteY3516" fmla="*/ 250031 h 514350"/>
                <a:gd name="connsiteX3517" fmla="*/ 5594509 w 6400800"/>
                <a:gd name="connsiteY3517" fmla="*/ 241459 h 514350"/>
                <a:gd name="connsiteX3518" fmla="*/ 5578317 w 6400800"/>
                <a:gd name="connsiteY3518" fmla="*/ 284321 h 514350"/>
                <a:gd name="connsiteX3519" fmla="*/ 5578317 w 6400800"/>
                <a:gd name="connsiteY3519" fmla="*/ 286226 h 514350"/>
                <a:gd name="connsiteX3520" fmla="*/ 5577364 w 6400800"/>
                <a:gd name="connsiteY3520" fmla="*/ 285274 h 514350"/>
                <a:gd name="connsiteX3521" fmla="*/ 5578317 w 6400800"/>
                <a:gd name="connsiteY3521" fmla="*/ 284321 h 514350"/>
                <a:gd name="connsiteX3522" fmla="*/ 5573554 w 6400800"/>
                <a:gd name="connsiteY3522" fmla="*/ 299561 h 514350"/>
                <a:gd name="connsiteX3523" fmla="*/ 5576412 w 6400800"/>
                <a:gd name="connsiteY3523" fmla="*/ 305276 h 514350"/>
                <a:gd name="connsiteX3524" fmla="*/ 5577364 w 6400800"/>
                <a:gd name="connsiteY3524" fmla="*/ 307181 h 514350"/>
                <a:gd name="connsiteX3525" fmla="*/ 5576412 w 6400800"/>
                <a:gd name="connsiteY3525" fmla="*/ 325279 h 514350"/>
                <a:gd name="connsiteX3526" fmla="*/ 5576412 w 6400800"/>
                <a:gd name="connsiteY3526" fmla="*/ 328136 h 514350"/>
                <a:gd name="connsiteX3527" fmla="*/ 5575459 w 6400800"/>
                <a:gd name="connsiteY3527" fmla="*/ 319564 h 514350"/>
                <a:gd name="connsiteX3528" fmla="*/ 5573554 w 6400800"/>
                <a:gd name="connsiteY3528" fmla="*/ 303371 h 514350"/>
                <a:gd name="connsiteX3529" fmla="*/ 5573554 w 6400800"/>
                <a:gd name="connsiteY3529" fmla="*/ 299561 h 514350"/>
                <a:gd name="connsiteX3530" fmla="*/ 5550694 w 6400800"/>
                <a:gd name="connsiteY3530" fmla="*/ 308134 h 514350"/>
                <a:gd name="connsiteX3531" fmla="*/ 5549742 w 6400800"/>
                <a:gd name="connsiteY3531" fmla="*/ 301466 h 514350"/>
                <a:gd name="connsiteX3532" fmla="*/ 5551646 w 6400800"/>
                <a:gd name="connsiteY3532" fmla="*/ 294799 h 514350"/>
                <a:gd name="connsiteX3533" fmla="*/ 5552599 w 6400800"/>
                <a:gd name="connsiteY3533" fmla="*/ 291941 h 514350"/>
                <a:gd name="connsiteX3534" fmla="*/ 5554504 w 6400800"/>
                <a:gd name="connsiteY3534" fmla="*/ 302419 h 514350"/>
                <a:gd name="connsiteX3535" fmla="*/ 5552599 w 6400800"/>
                <a:gd name="connsiteY3535" fmla="*/ 306229 h 514350"/>
                <a:gd name="connsiteX3536" fmla="*/ 5550694 w 6400800"/>
                <a:gd name="connsiteY3536" fmla="*/ 308134 h 514350"/>
                <a:gd name="connsiteX3537" fmla="*/ 5557362 w 6400800"/>
                <a:gd name="connsiteY3537" fmla="*/ 313849 h 514350"/>
                <a:gd name="connsiteX3538" fmla="*/ 5557362 w 6400800"/>
                <a:gd name="connsiteY3538" fmla="*/ 313849 h 514350"/>
                <a:gd name="connsiteX3539" fmla="*/ 5553551 w 6400800"/>
                <a:gd name="connsiteY3539" fmla="*/ 318611 h 514350"/>
                <a:gd name="connsiteX3540" fmla="*/ 5556409 w 6400800"/>
                <a:gd name="connsiteY3540" fmla="*/ 310039 h 514350"/>
                <a:gd name="connsiteX3541" fmla="*/ 5557362 w 6400800"/>
                <a:gd name="connsiteY3541" fmla="*/ 313849 h 514350"/>
                <a:gd name="connsiteX3542" fmla="*/ 5557362 w 6400800"/>
                <a:gd name="connsiteY3542" fmla="*/ 313849 h 514350"/>
                <a:gd name="connsiteX3543" fmla="*/ 5561171 w 6400800"/>
                <a:gd name="connsiteY3543" fmla="*/ 359569 h 514350"/>
                <a:gd name="connsiteX3544" fmla="*/ 5561171 w 6400800"/>
                <a:gd name="connsiteY3544" fmla="*/ 361474 h 514350"/>
                <a:gd name="connsiteX3545" fmla="*/ 5560219 w 6400800"/>
                <a:gd name="connsiteY3545" fmla="*/ 360521 h 514350"/>
                <a:gd name="connsiteX3546" fmla="*/ 5558314 w 6400800"/>
                <a:gd name="connsiteY3546" fmla="*/ 350996 h 514350"/>
                <a:gd name="connsiteX3547" fmla="*/ 5560219 w 6400800"/>
                <a:gd name="connsiteY3547" fmla="*/ 342424 h 514350"/>
                <a:gd name="connsiteX3548" fmla="*/ 5561171 w 6400800"/>
                <a:gd name="connsiteY3548" fmla="*/ 359569 h 514350"/>
                <a:gd name="connsiteX3549" fmla="*/ 5559267 w 6400800"/>
                <a:gd name="connsiteY3549" fmla="*/ 303371 h 514350"/>
                <a:gd name="connsiteX3550" fmla="*/ 5559267 w 6400800"/>
                <a:gd name="connsiteY3550" fmla="*/ 303371 h 514350"/>
                <a:gd name="connsiteX3551" fmla="*/ 5559267 w 6400800"/>
                <a:gd name="connsiteY3551" fmla="*/ 303371 h 514350"/>
                <a:gd name="connsiteX3552" fmla="*/ 5559267 w 6400800"/>
                <a:gd name="connsiteY3552" fmla="*/ 303371 h 514350"/>
                <a:gd name="connsiteX3553" fmla="*/ 5557362 w 6400800"/>
                <a:gd name="connsiteY3553" fmla="*/ 277654 h 514350"/>
                <a:gd name="connsiteX3554" fmla="*/ 5558314 w 6400800"/>
                <a:gd name="connsiteY3554" fmla="*/ 283369 h 514350"/>
                <a:gd name="connsiteX3555" fmla="*/ 5559267 w 6400800"/>
                <a:gd name="connsiteY3555" fmla="*/ 293846 h 514350"/>
                <a:gd name="connsiteX3556" fmla="*/ 5557362 w 6400800"/>
                <a:gd name="connsiteY3556" fmla="*/ 296704 h 514350"/>
                <a:gd name="connsiteX3557" fmla="*/ 5554504 w 6400800"/>
                <a:gd name="connsiteY3557" fmla="*/ 287179 h 514350"/>
                <a:gd name="connsiteX3558" fmla="*/ 5557362 w 6400800"/>
                <a:gd name="connsiteY3558" fmla="*/ 277654 h 514350"/>
                <a:gd name="connsiteX3559" fmla="*/ 5553551 w 6400800"/>
                <a:gd name="connsiteY3559" fmla="*/ 252889 h 514350"/>
                <a:gd name="connsiteX3560" fmla="*/ 5553551 w 6400800"/>
                <a:gd name="connsiteY3560" fmla="*/ 252889 h 514350"/>
                <a:gd name="connsiteX3561" fmla="*/ 5553551 w 6400800"/>
                <a:gd name="connsiteY3561" fmla="*/ 253841 h 514350"/>
                <a:gd name="connsiteX3562" fmla="*/ 5555456 w 6400800"/>
                <a:gd name="connsiteY3562" fmla="*/ 268129 h 514350"/>
                <a:gd name="connsiteX3563" fmla="*/ 5555456 w 6400800"/>
                <a:gd name="connsiteY3563" fmla="*/ 270986 h 514350"/>
                <a:gd name="connsiteX3564" fmla="*/ 5552599 w 6400800"/>
                <a:gd name="connsiteY3564" fmla="*/ 275749 h 514350"/>
                <a:gd name="connsiteX3565" fmla="*/ 5549742 w 6400800"/>
                <a:gd name="connsiteY3565" fmla="*/ 280511 h 514350"/>
                <a:gd name="connsiteX3566" fmla="*/ 5549742 w 6400800"/>
                <a:gd name="connsiteY3566" fmla="*/ 280511 h 514350"/>
                <a:gd name="connsiteX3567" fmla="*/ 5549742 w 6400800"/>
                <a:gd name="connsiteY3567" fmla="*/ 280511 h 514350"/>
                <a:gd name="connsiteX3568" fmla="*/ 5545931 w 6400800"/>
                <a:gd name="connsiteY3568" fmla="*/ 286226 h 514350"/>
                <a:gd name="connsiteX3569" fmla="*/ 5544979 w 6400800"/>
                <a:gd name="connsiteY3569" fmla="*/ 281464 h 514350"/>
                <a:gd name="connsiteX3570" fmla="*/ 5546884 w 6400800"/>
                <a:gd name="connsiteY3570" fmla="*/ 275749 h 514350"/>
                <a:gd name="connsiteX3571" fmla="*/ 5549742 w 6400800"/>
                <a:gd name="connsiteY3571" fmla="*/ 261461 h 514350"/>
                <a:gd name="connsiteX3572" fmla="*/ 5553551 w 6400800"/>
                <a:gd name="connsiteY3572" fmla="*/ 252889 h 514350"/>
                <a:gd name="connsiteX3573" fmla="*/ 5548789 w 6400800"/>
                <a:gd name="connsiteY3573" fmla="*/ 226219 h 514350"/>
                <a:gd name="connsiteX3574" fmla="*/ 5549742 w 6400800"/>
                <a:gd name="connsiteY3574" fmla="*/ 230029 h 514350"/>
                <a:gd name="connsiteX3575" fmla="*/ 5550694 w 6400800"/>
                <a:gd name="connsiteY3575" fmla="*/ 234791 h 514350"/>
                <a:gd name="connsiteX3576" fmla="*/ 5547837 w 6400800"/>
                <a:gd name="connsiteY3576" fmla="*/ 230029 h 514350"/>
                <a:gd name="connsiteX3577" fmla="*/ 5548789 w 6400800"/>
                <a:gd name="connsiteY3577" fmla="*/ 226219 h 514350"/>
                <a:gd name="connsiteX3578" fmla="*/ 5546884 w 6400800"/>
                <a:gd name="connsiteY3578" fmla="*/ 235744 h 514350"/>
                <a:gd name="connsiteX3579" fmla="*/ 5550694 w 6400800"/>
                <a:gd name="connsiteY3579" fmla="*/ 244316 h 514350"/>
                <a:gd name="connsiteX3580" fmla="*/ 5544979 w 6400800"/>
                <a:gd name="connsiteY3580" fmla="*/ 259556 h 514350"/>
                <a:gd name="connsiteX3581" fmla="*/ 5544026 w 6400800"/>
                <a:gd name="connsiteY3581" fmla="*/ 262414 h 514350"/>
                <a:gd name="connsiteX3582" fmla="*/ 5543074 w 6400800"/>
                <a:gd name="connsiteY3582" fmla="*/ 257651 h 514350"/>
                <a:gd name="connsiteX3583" fmla="*/ 5542121 w 6400800"/>
                <a:gd name="connsiteY3583" fmla="*/ 254794 h 514350"/>
                <a:gd name="connsiteX3584" fmla="*/ 5546884 w 6400800"/>
                <a:gd name="connsiteY3584" fmla="*/ 235744 h 514350"/>
                <a:gd name="connsiteX3585" fmla="*/ 5540217 w 6400800"/>
                <a:gd name="connsiteY3585" fmla="*/ 218599 h 514350"/>
                <a:gd name="connsiteX3586" fmla="*/ 5539264 w 6400800"/>
                <a:gd name="connsiteY3586" fmla="*/ 220504 h 514350"/>
                <a:gd name="connsiteX3587" fmla="*/ 5538312 w 6400800"/>
                <a:gd name="connsiteY3587" fmla="*/ 223361 h 514350"/>
                <a:gd name="connsiteX3588" fmla="*/ 5536406 w 6400800"/>
                <a:gd name="connsiteY3588" fmla="*/ 210026 h 514350"/>
                <a:gd name="connsiteX3589" fmla="*/ 5540217 w 6400800"/>
                <a:gd name="connsiteY3589" fmla="*/ 218599 h 514350"/>
                <a:gd name="connsiteX3590" fmla="*/ 5507831 w 6400800"/>
                <a:gd name="connsiteY3590" fmla="*/ 312896 h 514350"/>
                <a:gd name="connsiteX3591" fmla="*/ 5507831 w 6400800"/>
                <a:gd name="connsiteY3591" fmla="*/ 312896 h 514350"/>
                <a:gd name="connsiteX3592" fmla="*/ 5507831 w 6400800"/>
                <a:gd name="connsiteY3592" fmla="*/ 313849 h 514350"/>
                <a:gd name="connsiteX3593" fmla="*/ 5507831 w 6400800"/>
                <a:gd name="connsiteY3593" fmla="*/ 312896 h 514350"/>
                <a:gd name="connsiteX3594" fmla="*/ 5481162 w 6400800"/>
                <a:gd name="connsiteY3594" fmla="*/ 326231 h 514350"/>
                <a:gd name="connsiteX3595" fmla="*/ 5480209 w 6400800"/>
                <a:gd name="connsiteY3595" fmla="*/ 330994 h 514350"/>
                <a:gd name="connsiteX3596" fmla="*/ 5479256 w 6400800"/>
                <a:gd name="connsiteY3596" fmla="*/ 324326 h 514350"/>
                <a:gd name="connsiteX3597" fmla="*/ 5479256 w 6400800"/>
                <a:gd name="connsiteY3597" fmla="*/ 322421 h 514350"/>
                <a:gd name="connsiteX3598" fmla="*/ 5478304 w 6400800"/>
                <a:gd name="connsiteY3598" fmla="*/ 311944 h 514350"/>
                <a:gd name="connsiteX3599" fmla="*/ 5482114 w 6400800"/>
                <a:gd name="connsiteY3599" fmla="*/ 325279 h 514350"/>
                <a:gd name="connsiteX3600" fmla="*/ 5481162 w 6400800"/>
                <a:gd name="connsiteY3600" fmla="*/ 326231 h 514350"/>
                <a:gd name="connsiteX3601" fmla="*/ 5493544 w 6400800"/>
                <a:gd name="connsiteY3601" fmla="*/ 339566 h 514350"/>
                <a:gd name="connsiteX3602" fmla="*/ 5493544 w 6400800"/>
                <a:gd name="connsiteY3602" fmla="*/ 339566 h 514350"/>
                <a:gd name="connsiteX3603" fmla="*/ 5493544 w 6400800"/>
                <a:gd name="connsiteY3603" fmla="*/ 339566 h 514350"/>
                <a:gd name="connsiteX3604" fmla="*/ 5493544 w 6400800"/>
                <a:gd name="connsiteY3604" fmla="*/ 339566 h 514350"/>
                <a:gd name="connsiteX3605" fmla="*/ 5488781 w 6400800"/>
                <a:gd name="connsiteY3605" fmla="*/ 261461 h 514350"/>
                <a:gd name="connsiteX3606" fmla="*/ 5488781 w 6400800"/>
                <a:gd name="connsiteY3606" fmla="*/ 261461 h 514350"/>
                <a:gd name="connsiteX3607" fmla="*/ 5490687 w 6400800"/>
                <a:gd name="connsiteY3607" fmla="*/ 267176 h 514350"/>
                <a:gd name="connsiteX3608" fmla="*/ 5487829 w 6400800"/>
                <a:gd name="connsiteY3608" fmla="*/ 264319 h 514350"/>
                <a:gd name="connsiteX3609" fmla="*/ 5488781 w 6400800"/>
                <a:gd name="connsiteY3609" fmla="*/ 261461 h 514350"/>
                <a:gd name="connsiteX3610" fmla="*/ 5483067 w 6400800"/>
                <a:gd name="connsiteY3610" fmla="*/ 280511 h 514350"/>
                <a:gd name="connsiteX3611" fmla="*/ 5484971 w 6400800"/>
                <a:gd name="connsiteY3611" fmla="*/ 272891 h 514350"/>
                <a:gd name="connsiteX3612" fmla="*/ 5496401 w 6400800"/>
                <a:gd name="connsiteY3612" fmla="*/ 291941 h 514350"/>
                <a:gd name="connsiteX3613" fmla="*/ 5500212 w 6400800"/>
                <a:gd name="connsiteY3613" fmla="*/ 297656 h 514350"/>
                <a:gd name="connsiteX3614" fmla="*/ 5497354 w 6400800"/>
                <a:gd name="connsiteY3614" fmla="*/ 307181 h 514350"/>
                <a:gd name="connsiteX3615" fmla="*/ 5496401 w 6400800"/>
                <a:gd name="connsiteY3615" fmla="*/ 310991 h 514350"/>
                <a:gd name="connsiteX3616" fmla="*/ 5493544 w 6400800"/>
                <a:gd name="connsiteY3616" fmla="*/ 307181 h 514350"/>
                <a:gd name="connsiteX3617" fmla="*/ 5495449 w 6400800"/>
                <a:gd name="connsiteY3617" fmla="*/ 311944 h 514350"/>
                <a:gd name="connsiteX3618" fmla="*/ 5494496 w 6400800"/>
                <a:gd name="connsiteY3618" fmla="*/ 319564 h 514350"/>
                <a:gd name="connsiteX3619" fmla="*/ 5492592 w 6400800"/>
                <a:gd name="connsiteY3619" fmla="*/ 330041 h 514350"/>
                <a:gd name="connsiteX3620" fmla="*/ 5488781 w 6400800"/>
                <a:gd name="connsiteY3620" fmla="*/ 333851 h 514350"/>
                <a:gd name="connsiteX3621" fmla="*/ 5485924 w 6400800"/>
                <a:gd name="connsiteY3621" fmla="*/ 327184 h 514350"/>
                <a:gd name="connsiteX3622" fmla="*/ 5487829 w 6400800"/>
                <a:gd name="connsiteY3622" fmla="*/ 312896 h 514350"/>
                <a:gd name="connsiteX3623" fmla="*/ 5489734 w 6400800"/>
                <a:gd name="connsiteY3623" fmla="*/ 299561 h 514350"/>
                <a:gd name="connsiteX3624" fmla="*/ 5484019 w 6400800"/>
                <a:gd name="connsiteY3624" fmla="*/ 311944 h 514350"/>
                <a:gd name="connsiteX3625" fmla="*/ 5483067 w 6400800"/>
                <a:gd name="connsiteY3625" fmla="*/ 313849 h 514350"/>
                <a:gd name="connsiteX3626" fmla="*/ 5483067 w 6400800"/>
                <a:gd name="connsiteY3626" fmla="*/ 312896 h 514350"/>
                <a:gd name="connsiteX3627" fmla="*/ 5478304 w 6400800"/>
                <a:gd name="connsiteY3627" fmla="*/ 292894 h 514350"/>
                <a:gd name="connsiteX3628" fmla="*/ 5479256 w 6400800"/>
                <a:gd name="connsiteY3628" fmla="*/ 309086 h 514350"/>
                <a:gd name="connsiteX3629" fmla="*/ 5479256 w 6400800"/>
                <a:gd name="connsiteY3629" fmla="*/ 308134 h 514350"/>
                <a:gd name="connsiteX3630" fmla="*/ 5476399 w 6400800"/>
                <a:gd name="connsiteY3630" fmla="*/ 300514 h 514350"/>
                <a:gd name="connsiteX3631" fmla="*/ 5483067 w 6400800"/>
                <a:gd name="connsiteY3631" fmla="*/ 280511 h 514350"/>
                <a:gd name="connsiteX3632" fmla="*/ 5472589 w 6400800"/>
                <a:gd name="connsiteY3632" fmla="*/ 254794 h 514350"/>
                <a:gd name="connsiteX3633" fmla="*/ 5475446 w 6400800"/>
                <a:gd name="connsiteY3633" fmla="*/ 258604 h 514350"/>
                <a:gd name="connsiteX3634" fmla="*/ 5471637 w 6400800"/>
                <a:gd name="connsiteY3634" fmla="*/ 268129 h 514350"/>
                <a:gd name="connsiteX3635" fmla="*/ 5468779 w 6400800"/>
                <a:gd name="connsiteY3635" fmla="*/ 249079 h 514350"/>
                <a:gd name="connsiteX3636" fmla="*/ 5472589 w 6400800"/>
                <a:gd name="connsiteY3636" fmla="*/ 254794 h 514350"/>
                <a:gd name="connsiteX3637" fmla="*/ 5452587 w 6400800"/>
                <a:gd name="connsiteY3637" fmla="*/ 208121 h 514350"/>
                <a:gd name="connsiteX3638" fmla="*/ 5452587 w 6400800"/>
                <a:gd name="connsiteY3638" fmla="*/ 210026 h 514350"/>
                <a:gd name="connsiteX3639" fmla="*/ 5454492 w 6400800"/>
                <a:gd name="connsiteY3639" fmla="*/ 225266 h 514350"/>
                <a:gd name="connsiteX3640" fmla="*/ 5454492 w 6400800"/>
                <a:gd name="connsiteY3640" fmla="*/ 228124 h 514350"/>
                <a:gd name="connsiteX3641" fmla="*/ 5450681 w 6400800"/>
                <a:gd name="connsiteY3641" fmla="*/ 225266 h 514350"/>
                <a:gd name="connsiteX3642" fmla="*/ 5452587 w 6400800"/>
                <a:gd name="connsiteY3642" fmla="*/ 208121 h 514350"/>
                <a:gd name="connsiteX3643" fmla="*/ 5449729 w 6400800"/>
                <a:gd name="connsiteY3643" fmla="*/ 250031 h 514350"/>
                <a:gd name="connsiteX3644" fmla="*/ 5451634 w 6400800"/>
                <a:gd name="connsiteY3644" fmla="*/ 228124 h 514350"/>
                <a:gd name="connsiteX3645" fmla="*/ 5453539 w 6400800"/>
                <a:gd name="connsiteY3645" fmla="*/ 230029 h 514350"/>
                <a:gd name="connsiteX3646" fmla="*/ 5455444 w 6400800"/>
                <a:gd name="connsiteY3646" fmla="*/ 232886 h 514350"/>
                <a:gd name="connsiteX3647" fmla="*/ 5456396 w 6400800"/>
                <a:gd name="connsiteY3647" fmla="*/ 243364 h 514350"/>
                <a:gd name="connsiteX3648" fmla="*/ 5459254 w 6400800"/>
                <a:gd name="connsiteY3648" fmla="*/ 282416 h 514350"/>
                <a:gd name="connsiteX3649" fmla="*/ 5460206 w 6400800"/>
                <a:gd name="connsiteY3649" fmla="*/ 299561 h 514350"/>
                <a:gd name="connsiteX3650" fmla="*/ 5455444 w 6400800"/>
                <a:gd name="connsiteY3650" fmla="*/ 313849 h 514350"/>
                <a:gd name="connsiteX3651" fmla="*/ 5447824 w 6400800"/>
                <a:gd name="connsiteY3651" fmla="*/ 280511 h 514350"/>
                <a:gd name="connsiteX3652" fmla="*/ 5446871 w 6400800"/>
                <a:gd name="connsiteY3652" fmla="*/ 276701 h 514350"/>
                <a:gd name="connsiteX3653" fmla="*/ 5449729 w 6400800"/>
                <a:gd name="connsiteY3653" fmla="*/ 250031 h 514350"/>
                <a:gd name="connsiteX3654" fmla="*/ 5443062 w 6400800"/>
                <a:gd name="connsiteY3654" fmla="*/ 327184 h 514350"/>
                <a:gd name="connsiteX3655" fmla="*/ 5445919 w 6400800"/>
                <a:gd name="connsiteY3655" fmla="*/ 343376 h 514350"/>
                <a:gd name="connsiteX3656" fmla="*/ 5443062 w 6400800"/>
                <a:gd name="connsiteY3656" fmla="*/ 334804 h 514350"/>
                <a:gd name="connsiteX3657" fmla="*/ 5443062 w 6400800"/>
                <a:gd name="connsiteY3657" fmla="*/ 327184 h 514350"/>
                <a:gd name="connsiteX3658" fmla="*/ 5417344 w 6400800"/>
                <a:gd name="connsiteY3658" fmla="*/ 318611 h 514350"/>
                <a:gd name="connsiteX3659" fmla="*/ 5419249 w 6400800"/>
                <a:gd name="connsiteY3659" fmla="*/ 312896 h 514350"/>
                <a:gd name="connsiteX3660" fmla="*/ 5421154 w 6400800"/>
                <a:gd name="connsiteY3660" fmla="*/ 320516 h 514350"/>
                <a:gd name="connsiteX3661" fmla="*/ 5421154 w 6400800"/>
                <a:gd name="connsiteY3661" fmla="*/ 321469 h 514350"/>
                <a:gd name="connsiteX3662" fmla="*/ 5421154 w 6400800"/>
                <a:gd name="connsiteY3662" fmla="*/ 320516 h 514350"/>
                <a:gd name="connsiteX3663" fmla="*/ 5421154 w 6400800"/>
                <a:gd name="connsiteY3663" fmla="*/ 322421 h 514350"/>
                <a:gd name="connsiteX3664" fmla="*/ 5418296 w 6400800"/>
                <a:gd name="connsiteY3664" fmla="*/ 331946 h 514350"/>
                <a:gd name="connsiteX3665" fmla="*/ 5417344 w 6400800"/>
                <a:gd name="connsiteY3665" fmla="*/ 329089 h 514350"/>
                <a:gd name="connsiteX3666" fmla="*/ 5417344 w 6400800"/>
                <a:gd name="connsiteY3666" fmla="*/ 318611 h 514350"/>
                <a:gd name="connsiteX3667" fmla="*/ 5416392 w 6400800"/>
                <a:gd name="connsiteY3667" fmla="*/ 334804 h 514350"/>
                <a:gd name="connsiteX3668" fmla="*/ 5417344 w 6400800"/>
                <a:gd name="connsiteY3668" fmla="*/ 335756 h 514350"/>
                <a:gd name="connsiteX3669" fmla="*/ 5416392 w 6400800"/>
                <a:gd name="connsiteY3669" fmla="*/ 337661 h 514350"/>
                <a:gd name="connsiteX3670" fmla="*/ 5416392 w 6400800"/>
                <a:gd name="connsiteY3670" fmla="*/ 334804 h 514350"/>
                <a:gd name="connsiteX3671" fmla="*/ 5405914 w 6400800"/>
                <a:gd name="connsiteY3671" fmla="*/ 325279 h 514350"/>
                <a:gd name="connsiteX3672" fmla="*/ 5407819 w 6400800"/>
                <a:gd name="connsiteY3672" fmla="*/ 271939 h 514350"/>
                <a:gd name="connsiteX3673" fmla="*/ 5407819 w 6400800"/>
                <a:gd name="connsiteY3673" fmla="*/ 267176 h 514350"/>
                <a:gd name="connsiteX3674" fmla="*/ 5414487 w 6400800"/>
                <a:gd name="connsiteY3674" fmla="*/ 292894 h 514350"/>
                <a:gd name="connsiteX3675" fmla="*/ 5414487 w 6400800"/>
                <a:gd name="connsiteY3675" fmla="*/ 293846 h 514350"/>
                <a:gd name="connsiteX3676" fmla="*/ 5411629 w 6400800"/>
                <a:gd name="connsiteY3676" fmla="*/ 303371 h 514350"/>
                <a:gd name="connsiteX3677" fmla="*/ 5404962 w 6400800"/>
                <a:gd name="connsiteY3677" fmla="*/ 331946 h 514350"/>
                <a:gd name="connsiteX3678" fmla="*/ 5404962 w 6400800"/>
                <a:gd name="connsiteY3678" fmla="*/ 332899 h 514350"/>
                <a:gd name="connsiteX3679" fmla="*/ 5405914 w 6400800"/>
                <a:gd name="connsiteY3679" fmla="*/ 325279 h 514350"/>
                <a:gd name="connsiteX3680" fmla="*/ 5384006 w 6400800"/>
                <a:gd name="connsiteY3680" fmla="*/ 310991 h 514350"/>
                <a:gd name="connsiteX3681" fmla="*/ 5386864 w 6400800"/>
                <a:gd name="connsiteY3681" fmla="*/ 334804 h 514350"/>
                <a:gd name="connsiteX3682" fmla="*/ 5384959 w 6400800"/>
                <a:gd name="connsiteY3682" fmla="*/ 341471 h 514350"/>
                <a:gd name="connsiteX3683" fmla="*/ 5382101 w 6400800"/>
                <a:gd name="connsiteY3683" fmla="*/ 325279 h 514350"/>
                <a:gd name="connsiteX3684" fmla="*/ 5378292 w 6400800"/>
                <a:gd name="connsiteY3684" fmla="*/ 305276 h 514350"/>
                <a:gd name="connsiteX3685" fmla="*/ 5381149 w 6400800"/>
                <a:gd name="connsiteY3685" fmla="*/ 294799 h 514350"/>
                <a:gd name="connsiteX3686" fmla="*/ 5384006 w 6400800"/>
                <a:gd name="connsiteY3686" fmla="*/ 310991 h 514350"/>
                <a:gd name="connsiteX3687" fmla="*/ 5379244 w 6400800"/>
                <a:gd name="connsiteY3687" fmla="*/ 274796 h 514350"/>
                <a:gd name="connsiteX3688" fmla="*/ 5379244 w 6400800"/>
                <a:gd name="connsiteY3688" fmla="*/ 271939 h 514350"/>
                <a:gd name="connsiteX3689" fmla="*/ 5381149 w 6400800"/>
                <a:gd name="connsiteY3689" fmla="*/ 284321 h 514350"/>
                <a:gd name="connsiteX3690" fmla="*/ 5380196 w 6400800"/>
                <a:gd name="connsiteY3690" fmla="*/ 285274 h 514350"/>
                <a:gd name="connsiteX3691" fmla="*/ 5378292 w 6400800"/>
                <a:gd name="connsiteY3691" fmla="*/ 290036 h 514350"/>
                <a:gd name="connsiteX3692" fmla="*/ 5379244 w 6400800"/>
                <a:gd name="connsiteY3692" fmla="*/ 274796 h 514350"/>
                <a:gd name="connsiteX3693" fmla="*/ 5332571 w 6400800"/>
                <a:gd name="connsiteY3693" fmla="*/ 321469 h 514350"/>
                <a:gd name="connsiteX3694" fmla="*/ 5338287 w 6400800"/>
                <a:gd name="connsiteY3694" fmla="*/ 309086 h 514350"/>
                <a:gd name="connsiteX3695" fmla="*/ 5338287 w 6400800"/>
                <a:gd name="connsiteY3695" fmla="*/ 310039 h 514350"/>
                <a:gd name="connsiteX3696" fmla="*/ 5326856 w 6400800"/>
                <a:gd name="connsiteY3696" fmla="*/ 351949 h 514350"/>
                <a:gd name="connsiteX3697" fmla="*/ 5323999 w 6400800"/>
                <a:gd name="connsiteY3697" fmla="*/ 336709 h 514350"/>
                <a:gd name="connsiteX3698" fmla="*/ 5332571 w 6400800"/>
                <a:gd name="connsiteY3698" fmla="*/ 321469 h 514350"/>
                <a:gd name="connsiteX3699" fmla="*/ 5319237 w 6400800"/>
                <a:gd name="connsiteY3699" fmla="*/ 350996 h 514350"/>
                <a:gd name="connsiteX3700" fmla="*/ 5323046 w 6400800"/>
                <a:gd name="connsiteY3700" fmla="*/ 342424 h 514350"/>
                <a:gd name="connsiteX3701" fmla="*/ 5322094 w 6400800"/>
                <a:gd name="connsiteY3701" fmla="*/ 371951 h 514350"/>
                <a:gd name="connsiteX3702" fmla="*/ 5319237 w 6400800"/>
                <a:gd name="connsiteY3702" fmla="*/ 362426 h 514350"/>
                <a:gd name="connsiteX3703" fmla="*/ 5319237 w 6400800"/>
                <a:gd name="connsiteY3703" fmla="*/ 350996 h 514350"/>
                <a:gd name="connsiteX3704" fmla="*/ 5316379 w 6400800"/>
                <a:gd name="connsiteY3704" fmla="*/ 392906 h 514350"/>
                <a:gd name="connsiteX3705" fmla="*/ 5317331 w 6400800"/>
                <a:gd name="connsiteY3705" fmla="*/ 382429 h 514350"/>
                <a:gd name="connsiteX3706" fmla="*/ 5318284 w 6400800"/>
                <a:gd name="connsiteY3706" fmla="*/ 390049 h 514350"/>
                <a:gd name="connsiteX3707" fmla="*/ 5315426 w 6400800"/>
                <a:gd name="connsiteY3707" fmla="*/ 399574 h 514350"/>
                <a:gd name="connsiteX3708" fmla="*/ 5316379 w 6400800"/>
                <a:gd name="connsiteY3708" fmla="*/ 392906 h 514350"/>
                <a:gd name="connsiteX3709" fmla="*/ 5285899 w 6400800"/>
                <a:gd name="connsiteY3709" fmla="*/ 293846 h 514350"/>
                <a:gd name="connsiteX3710" fmla="*/ 5286851 w 6400800"/>
                <a:gd name="connsiteY3710" fmla="*/ 298609 h 514350"/>
                <a:gd name="connsiteX3711" fmla="*/ 5283994 w 6400800"/>
                <a:gd name="connsiteY3711" fmla="*/ 302419 h 514350"/>
                <a:gd name="connsiteX3712" fmla="*/ 5285899 w 6400800"/>
                <a:gd name="connsiteY3712" fmla="*/ 293846 h 514350"/>
                <a:gd name="connsiteX3713" fmla="*/ 5279231 w 6400800"/>
                <a:gd name="connsiteY3713" fmla="*/ 319564 h 514350"/>
                <a:gd name="connsiteX3714" fmla="*/ 5282089 w 6400800"/>
                <a:gd name="connsiteY3714" fmla="*/ 311944 h 514350"/>
                <a:gd name="connsiteX3715" fmla="*/ 5287804 w 6400800"/>
                <a:gd name="connsiteY3715" fmla="*/ 302419 h 514350"/>
                <a:gd name="connsiteX3716" fmla="*/ 5288756 w 6400800"/>
                <a:gd name="connsiteY3716" fmla="*/ 309086 h 514350"/>
                <a:gd name="connsiteX3717" fmla="*/ 5292567 w 6400800"/>
                <a:gd name="connsiteY3717" fmla="*/ 340519 h 514350"/>
                <a:gd name="connsiteX3718" fmla="*/ 5287804 w 6400800"/>
                <a:gd name="connsiteY3718" fmla="*/ 363379 h 514350"/>
                <a:gd name="connsiteX3719" fmla="*/ 5287804 w 6400800"/>
                <a:gd name="connsiteY3719" fmla="*/ 351949 h 514350"/>
                <a:gd name="connsiteX3720" fmla="*/ 5287804 w 6400800"/>
                <a:gd name="connsiteY3720" fmla="*/ 335756 h 514350"/>
                <a:gd name="connsiteX3721" fmla="*/ 5283994 w 6400800"/>
                <a:gd name="connsiteY3721" fmla="*/ 350996 h 514350"/>
                <a:gd name="connsiteX3722" fmla="*/ 5280184 w 6400800"/>
                <a:gd name="connsiteY3722" fmla="*/ 369094 h 514350"/>
                <a:gd name="connsiteX3723" fmla="*/ 5280184 w 6400800"/>
                <a:gd name="connsiteY3723" fmla="*/ 370046 h 514350"/>
                <a:gd name="connsiteX3724" fmla="*/ 5277326 w 6400800"/>
                <a:gd name="connsiteY3724" fmla="*/ 350044 h 514350"/>
                <a:gd name="connsiteX3725" fmla="*/ 5275421 w 6400800"/>
                <a:gd name="connsiteY3725" fmla="*/ 335756 h 514350"/>
                <a:gd name="connsiteX3726" fmla="*/ 5279231 w 6400800"/>
                <a:gd name="connsiteY3726" fmla="*/ 319564 h 514350"/>
                <a:gd name="connsiteX3727" fmla="*/ 5236369 w 6400800"/>
                <a:gd name="connsiteY3727" fmla="*/ 318611 h 514350"/>
                <a:gd name="connsiteX3728" fmla="*/ 5235417 w 6400800"/>
                <a:gd name="connsiteY3728" fmla="*/ 320516 h 514350"/>
                <a:gd name="connsiteX3729" fmla="*/ 5230654 w 6400800"/>
                <a:gd name="connsiteY3729" fmla="*/ 311944 h 514350"/>
                <a:gd name="connsiteX3730" fmla="*/ 5230654 w 6400800"/>
                <a:gd name="connsiteY3730" fmla="*/ 310991 h 514350"/>
                <a:gd name="connsiteX3731" fmla="*/ 5239226 w 6400800"/>
                <a:gd name="connsiteY3731" fmla="*/ 295751 h 514350"/>
                <a:gd name="connsiteX3732" fmla="*/ 5236369 w 6400800"/>
                <a:gd name="connsiteY3732" fmla="*/ 318611 h 514350"/>
                <a:gd name="connsiteX3733" fmla="*/ 5230654 w 6400800"/>
                <a:gd name="connsiteY3733" fmla="*/ 281464 h 514350"/>
                <a:gd name="connsiteX3734" fmla="*/ 5237321 w 6400800"/>
                <a:gd name="connsiteY3734" fmla="*/ 265271 h 514350"/>
                <a:gd name="connsiteX3735" fmla="*/ 5243989 w 6400800"/>
                <a:gd name="connsiteY3735" fmla="*/ 251936 h 514350"/>
                <a:gd name="connsiteX3736" fmla="*/ 5242084 w 6400800"/>
                <a:gd name="connsiteY3736" fmla="*/ 264319 h 514350"/>
                <a:gd name="connsiteX3737" fmla="*/ 5240179 w 6400800"/>
                <a:gd name="connsiteY3737" fmla="*/ 283369 h 514350"/>
                <a:gd name="connsiteX3738" fmla="*/ 5228749 w 6400800"/>
                <a:gd name="connsiteY3738" fmla="*/ 299561 h 514350"/>
                <a:gd name="connsiteX3739" fmla="*/ 5227796 w 6400800"/>
                <a:gd name="connsiteY3739" fmla="*/ 290036 h 514350"/>
                <a:gd name="connsiteX3740" fmla="*/ 5230654 w 6400800"/>
                <a:gd name="connsiteY3740" fmla="*/ 281464 h 514350"/>
                <a:gd name="connsiteX3741" fmla="*/ 5211604 w 6400800"/>
                <a:gd name="connsiteY3741" fmla="*/ 344329 h 514350"/>
                <a:gd name="connsiteX3742" fmla="*/ 5213509 w 6400800"/>
                <a:gd name="connsiteY3742" fmla="*/ 341471 h 514350"/>
                <a:gd name="connsiteX3743" fmla="*/ 5213509 w 6400800"/>
                <a:gd name="connsiteY3743" fmla="*/ 341471 h 514350"/>
                <a:gd name="connsiteX3744" fmla="*/ 5213509 w 6400800"/>
                <a:gd name="connsiteY3744" fmla="*/ 342424 h 514350"/>
                <a:gd name="connsiteX3745" fmla="*/ 5211604 w 6400800"/>
                <a:gd name="connsiteY3745" fmla="*/ 344329 h 514350"/>
                <a:gd name="connsiteX3746" fmla="*/ 5211604 w 6400800"/>
                <a:gd name="connsiteY3746" fmla="*/ 344329 h 514350"/>
                <a:gd name="connsiteX3747" fmla="*/ 5214462 w 6400800"/>
                <a:gd name="connsiteY3747" fmla="*/ 343376 h 514350"/>
                <a:gd name="connsiteX3748" fmla="*/ 5216367 w 6400800"/>
                <a:gd name="connsiteY3748" fmla="*/ 348139 h 514350"/>
                <a:gd name="connsiteX3749" fmla="*/ 5213509 w 6400800"/>
                <a:gd name="connsiteY3749" fmla="*/ 352901 h 514350"/>
                <a:gd name="connsiteX3750" fmla="*/ 5212556 w 6400800"/>
                <a:gd name="connsiteY3750" fmla="*/ 350996 h 514350"/>
                <a:gd name="connsiteX3751" fmla="*/ 5212556 w 6400800"/>
                <a:gd name="connsiteY3751" fmla="*/ 349091 h 514350"/>
                <a:gd name="connsiteX3752" fmla="*/ 5214462 w 6400800"/>
                <a:gd name="connsiteY3752" fmla="*/ 343376 h 514350"/>
                <a:gd name="connsiteX3753" fmla="*/ 5214462 w 6400800"/>
                <a:gd name="connsiteY3753" fmla="*/ 343376 h 514350"/>
                <a:gd name="connsiteX3754" fmla="*/ 5211604 w 6400800"/>
                <a:gd name="connsiteY3754" fmla="*/ 290989 h 514350"/>
                <a:gd name="connsiteX3755" fmla="*/ 5211604 w 6400800"/>
                <a:gd name="connsiteY3755" fmla="*/ 290989 h 514350"/>
                <a:gd name="connsiteX3756" fmla="*/ 5213509 w 6400800"/>
                <a:gd name="connsiteY3756" fmla="*/ 296704 h 514350"/>
                <a:gd name="connsiteX3757" fmla="*/ 5210651 w 6400800"/>
                <a:gd name="connsiteY3757" fmla="*/ 302419 h 514350"/>
                <a:gd name="connsiteX3758" fmla="*/ 5211604 w 6400800"/>
                <a:gd name="connsiteY3758" fmla="*/ 290989 h 514350"/>
                <a:gd name="connsiteX3759" fmla="*/ 5189696 w 6400800"/>
                <a:gd name="connsiteY3759" fmla="*/ 260509 h 514350"/>
                <a:gd name="connsiteX3760" fmla="*/ 5189696 w 6400800"/>
                <a:gd name="connsiteY3760" fmla="*/ 264319 h 514350"/>
                <a:gd name="connsiteX3761" fmla="*/ 5186839 w 6400800"/>
                <a:gd name="connsiteY3761" fmla="*/ 258604 h 514350"/>
                <a:gd name="connsiteX3762" fmla="*/ 5187792 w 6400800"/>
                <a:gd name="connsiteY3762" fmla="*/ 257651 h 514350"/>
                <a:gd name="connsiteX3763" fmla="*/ 5189696 w 6400800"/>
                <a:gd name="connsiteY3763" fmla="*/ 253841 h 514350"/>
                <a:gd name="connsiteX3764" fmla="*/ 5189696 w 6400800"/>
                <a:gd name="connsiteY3764" fmla="*/ 260509 h 514350"/>
                <a:gd name="connsiteX3765" fmla="*/ 5178267 w 6400800"/>
                <a:gd name="connsiteY3765" fmla="*/ 230981 h 514350"/>
                <a:gd name="connsiteX3766" fmla="*/ 5186839 w 6400800"/>
                <a:gd name="connsiteY3766" fmla="*/ 213836 h 514350"/>
                <a:gd name="connsiteX3767" fmla="*/ 5188744 w 6400800"/>
                <a:gd name="connsiteY3767" fmla="*/ 210026 h 514350"/>
                <a:gd name="connsiteX3768" fmla="*/ 5188744 w 6400800"/>
                <a:gd name="connsiteY3768" fmla="*/ 219551 h 514350"/>
                <a:gd name="connsiteX3769" fmla="*/ 5188744 w 6400800"/>
                <a:gd name="connsiteY3769" fmla="*/ 254794 h 514350"/>
                <a:gd name="connsiteX3770" fmla="*/ 5185887 w 6400800"/>
                <a:gd name="connsiteY3770" fmla="*/ 258604 h 514350"/>
                <a:gd name="connsiteX3771" fmla="*/ 5185887 w 6400800"/>
                <a:gd name="connsiteY3771" fmla="*/ 258604 h 514350"/>
                <a:gd name="connsiteX3772" fmla="*/ 5178267 w 6400800"/>
                <a:gd name="connsiteY3772" fmla="*/ 243364 h 514350"/>
                <a:gd name="connsiteX3773" fmla="*/ 5175409 w 6400800"/>
                <a:gd name="connsiteY3773" fmla="*/ 238601 h 514350"/>
                <a:gd name="connsiteX3774" fmla="*/ 5178267 w 6400800"/>
                <a:gd name="connsiteY3774" fmla="*/ 230981 h 514350"/>
                <a:gd name="connsiteX3775" fmla="*/ 5168742 w 6400800"/>
                <a:gd name="connsiteY3775" fmla="*/ 238601 h 514350"/>
                <a:gd name="connsiteX3776" fmla="*/ 5168742 w 6400800"/>
                <a:gd name="connsiteY3776" fmla="*/ 238601 h 514350"/>
                <a:gd name="connsiteX3777" fmla="*/ 5168742 w 6400800"/>
                <a:gd name="connsiteY3777" fmla="*/ 238601 h 514350"/>
                <a:gd name="connsiteX3778" fmla="*/ 5168742 w 6400800"/>
                <a:gd name="connsiteY3778" fmla="*/ 238601 h 514350"/>
                <a:gd name="connsiteX3779" fmla="*/ 5166837 w 6400800"/>
                <a:gd name="connsiteY3779" fmla="*/ 280511 h 514350"/>
                <a:gd name="connsiteX3780" fmla="*/ 5167789 w 6400800"/>
                <a:gd name="connsiteY3780" fmla="*/ 259556 h 514350"/>
                <a:gd name="connsiteX3781" fmla="*/ 5167789 w 6400800"/>
                <a:gd name="connsiteY3781" fmla="*/ 259556 h 514350"/>
                <a:gd name="connsiteX3782" fmla="*/ 5171599 w 6400800"/>
                <a:gd name="connsiteY3782" fmla="*/ 248126 h 514350"/>
                <a:gd name="connsiteX3783" fmla="*/ 5177314 w 6400800"/>
                <a:gd name="connsiteY3783" fmla="*/ 263366 h 514350"/>
                <a:gd name="connsiteX3784" fmla="*/ 5179219 w 6400800"/>
                <a:gd name="connsiteY3784" fmla="*/ 267176 h 514350"/>
                <a:gd name="connsiteX3785" fmla="*/ 5176362 w 6400800"/>
                <a:gd name="connsiteY3785" fmla="*/ 271939 h 514350"/>
                <a:gd name="connsiteX3786" fmla="*/ 5166837 w 6400800"/>
                <a:gd name="connsiteY3786" fmla="*/ 287179 h 514350"/>
                <a:gd name="connsiteX3787" fmla="*/ 5166837 w 6400800"/>
                <a:gd name="connsiteY3787" fmla="*/ 280511 h 514350"/>
                <a:gd name="connsiteX3788" fmla="*/ 5166837 w 6400800"/>
                <a:gd name="connsiteY3788" fmla="*/ 307181 h 514350"/>
                <a:gd name="connsiteX3789" fmla="*/ 5170646 w 6400800"/>
                <a:gd name="connsiteY3789" fmla="*/ 296704 h 514350"/>
                <a:gd name="connsiteX3790" fmla="*/ 5171599 w 6400800"/>
                <a:gd name="connsiteY3790" fmla="*/ 293846 h 514350"/>
                <a:gd name="connsiteX3791" fmla="*/ 5176362 w 6400800"/>
                <a:gd name="connsiteY3791" fmla="*/ 289084 h 514350"/>
                <a:gd name="connsiteX3792" fmla="*/ 5181124 w 6400800"/>
                <a:gd name="connsiteY3792" fmla="*/ 284321 h 514350"/>
                <a:gd name="connsiteX3793" fmla="*/ 5175409 w 6400800"/>
                <a:gd name="connsiteY3793" fmla="*/ 288131 h 514350"/>
                <a:gd name="connsiteX3794" fmla="*/ 5172551 w 6400800"/>
                <a:gd name="connsiteY3794" fmla="*/ 290036 h 514350"/>
                <a:gd name="connsiteX3795" fmla="*/ 5179219 w 6400800"/>
                <a:gd name="connsiteY3795" fmla="*/ 272891 h 514350"/>
                <a:gd name="connsiteX3796" fmla="*/ 5180171 w 6400800"/>
                <a:gd name="connsiteY3796" fmla="*/ 270034 h 514350"/>
                <a:gd name="connsiteX3797" fmla="*/ 5184934 w 6400800"/>
                <a:gd name="connsiteY3797" fmla="*/ 280511 h 514350"/>
                <a:gd name="connsiteX3798" fmla="*/ 5190649 w 6400800"/>
                <a:gd name="connsiteY3798" fmla="*/ 292894 h 514350"/>
                <a:gd name="connsiteX3799" fmla="*/ 5190649 w 6400800"/>
                <a:gd name="connsiteY3799" fmla="*/ 298609 h 514350"/>
                <a:gd name="connsiteX3800" fmla="*/ 5192554 w 6400800"/>
                <a:gd name="connsiteY3800" fmla="*/ 330041 h 514350"/>
                <a:gd name="connsiteX3801" fmla="*/ 5192554 w 6400800"/>
                <a:gd name="connsiteY3801" fmla="*/ 335756 h 514350"/>
                <a:gd name="connsiteX3802" fmla="*/ 5192554 w 6400800"/>
                <a:gd name="connsiteY3802" fmla="*/ 336709 h 514350"/>
                <a:gd name="connsiteX3803" fmla="*/ 5191601 w 6400800"/>
                <a:gd name="connsiteY3803" fmla="*/ 338614 h 514350"/>
                <a:gd name="connsiteX3804" fmla="*/ 5187792 w 6400800"/>
                <a:gd name="connsiteY3804" fmla="*/ 348139 h 514350"/>
                <a:gd name="connsiteX3805" fmla="*/ 5183981 w 6400800"/>
                <a:gd name="connsiteY3805" fmla="*/ 309086 h 514350"/>
                <a:gd name="connsiteX3806" fmla="*/ 5177314 w 6400800"/>
                <a:gd name="connsiteY3806" fmla="*/ 348139 h 514350"/>
                <a:gd name="connsiteX3807" fmla="*/ 5176362 w 6400800"/>
                <a:gd name="connsiteY3807" fmla="*/ 354806 h 514350"/>
                <a:gd name="connsiteX3808" fmla="*/ 5174456 w 6400800"/>
                <a:gd name="connsiteY3808" fmla="*/ 349091 h 514350"/>
                <a:gd name="connsiteX3809" fmla="*/ 5171599 w 6400800"/>
                <a:gd name="connsiteY3809" fmla="*/ 341471 h 514350"/>
                <a:gd name="connsiteX3810" fmla="*/ 5173504 w 6400800"/>
                <a:gd name="connsiteY3810" fmla="*/ 328136 h 514350"/>
                <a:gd name="connsiteX3811" fmla="*/ 5169694 w 6400800"/>
                <a:gd name="connsiteY3811" fmla="*/ 338614 h 514350"/>
                <a:gd name="connsiteX3812" fmla="*/ 5167789 w 6400800"/>
                <a:gd name="connsiteY3812" fmla="*/ 334804 h 514350"/>
                <a:gd name="connsiteX3813" fmla="*/ 5165884 w 6400800"/>
                <a:gd name="connsiteY3813" fmla="*/ 312896 h 514350"/>
                <a:gd name="connsiteX3814" fmla="*/ 5166837 w 6400800"/>
                <a:gd name="connsiteY3814" fmla="*/ 307181 h 514350"/>
                <a:gd name="connsiteX3815" fmla="*/ 5161121 w 6400800"/>
                <a:gd name="connsiteY3815" fmla="*/ 218599 h 514350"/>
                <a:gd name="connsiteX3816" fmla="*/ 5164931 w 6400800"/>
                <a:gd name="connsiteY3816" fmla="*/ 229076 h 514350"/>
                <a:gd name="connsiteX3817" fmla="*/ 5161121 w 6400800"/>
                <a:gd name="connsiteY3817" fmla="*/ 248126 h 514350"/>
                <a:gd name="connsiteX3818" fmla="*/ 5157312 w 6400800"/>
                <a:gd name="connsiteY3818" fmla="*/ 206216 h 514350"/>
                <a:gd name="connsiteX3819" fmla="*/ 5161121 w 6400800"/>
                <a:gd name="connsiteY3819" fmla="*/ 218599 h 514350"/>
                <a:gd name="connsiteX3820" fmla="*/ 5148739 w 6400800"/>
                <a:gd name="connsiteY3820" fmla="*/ 256699 h 514350"/>
                <a:gd name="connsiteX3821" fmla="*/ 5149692 w 6400800"/>
                <a:gd name="connsiteY3821" fmla="*/ 255746 h 514350"/>
                <a:gd name="connsiteX3822" fmla="*/ 5149692 w 6400800"/>
                <a:gd name="connsiteY3822" fmla="*/ 283369 h 514350"/>
                <a:gd name="connsiteX3823" fmla="*/ 5149692 w 6400800"/>
                <a:gd name="connsiteY3823" fmla="*/ 284321 h 514350"/>
                <a:gd name="connsiteX3824" fmla="*/ 5143024 w 6400800"/>
                <a:gd name="connsiteY3824" fmla="*/ 263366 h 514350"/>
                <a:gd name="connsiteX3825" fmla="*/ 5148739 w 6400800"/>
                <a:gd name="connsiteY3825" fmla="*/ 256699 h 514350"/>
                <a:gd name="connsiteX3826" fmla="*/ 5087779 w 6400800"/>
                <a:gd name="connsiteY3826" fmla="*/ 317659 h 514350"/>
                <a:gd name="connsiteX3827" fmla="*/ 5087779 w 6400800"/>
                <a:gd name="connsiteY3827" fmla="*/ 315754 h 514350"/>
                <a:gd name="connsiteX3828" fmla="*/ 5087779 w 6400800"/>
                <a:gd name="connsiteY3828" fmla="*/ 317659 h 514350"/>
                <a:gd name="connsiteX3829" fmla="*/ 5087779 w 6400800"/>
                <a:gd name="connsiteY3829" fmla="*/ 317659 h 514350"/>
                <a:gd name="connsiteX3830" fmla="*/ 5122069 w 6400800"/>
                <a:gd name="connsiteY3830" fmla="*/ 298609 h 514350"/>
                <a:gd name="connsiteX3831" fmla="*/ 5128737 w 6400800"/>
                <a:gd name="connsiteY3831" fmla="*/ 287179 h 514350"/>
                <a:gd name="connsiteX3832" fmla="*/ 5124926 w 6400800"/>
                <a:gd name="connsiteY3832" fmla="*/ 327184 h 514350"/>
                <a:gd name="connsiteX3833" fmla="*/ 5121117 w 6400800"/>
                <a:gd name="connsiteY3833" fmla="*/ 318611 h 514350"/>
                <a:gd name="connsiteX3834" fmla="*/ 5117306 w 6400800"/>
                <a:gd name="connsiteY3834" fmla="*/ 308134 h 514350"/>
                <a:gd name="connsiteX3835" fmla="*/ 5122069 w 6400800"/>
                <a:gd name="connsiteY3835" fmla="*/ 298609 h 514350"/>
                <a:gd name="connsiteX3836" fmla="*/ 5110639 w 6400800"/>
                <a:gd name="connsiteY3836" fmla="*/ 321469 h 514350"/>
                <a:gd name="connsiteX3837" fmla="*/ 5110639 w 6400800"/>
                <a:gd name="connsiteY3837" fmla="*/ 321469 h 514350"/>
                <a:gd name="connsiteX3838" fmla="*/ 5118259 w 6400800"/>
                <a:gd name="connsiteY3838" fmla="*/ 344329 h 514350"/>
                <a:gd name="connsiteX3839" fmla="*/ 5116354 w 6400800"/>
                <a:gd name="connsiteY3839" fmla="*/ 347186 h 514350"/>
                <a:gd name="connsiteX3840" fmla="*/ 5114449 w 6400800"/>
                <a:gd name="connsiteY3840" fmla="*/ 349091 h 514350"/>
                <a:gd name="connsiteX3841" fmla="*/ 5110639 w 6400800"/>
                <a:gd name="connsiteY3841" fmla="*/ 335756 h 514350"/>
                <a:gd name="connsiteX3842" fmla="*/ 5107781 w 6400800"/>
                <a:gd name="connsiteY3842" fmla="*/ 327184 h 514350"/>
                <a:gd name="connsiteX3843" fmla="*/ 5110639 w 6400800"/>
                <a:gd name="connsiteY3843" fmla="*/ 321469 h 514350"/>
                <a:gd name="connsiteX3844" fmla="*/ 5105876 w 6400800"/>
                <a:gd name="connsiteY3844" fmla="*/ 308134 h 514350"/>
                <a:gd name="connsiteX3845" fmla="*/ 5103019 w 6400800"/>
                <a:gd name="connsiteY3845" fmla="*/ 311944 h 514350"/>
                <a:gd name="connsiteX3846" fmla="*/ 5101114 w 6400800"/>
                <a:gd name="connsiteY3846" fmla="*/ 306229 h 514350"/>
                <a:gd name="connsiteX3847" fmla="*/ 5101114 w 6400800"/>
                <a:gd name="connsiteY3847" fmla="*/ 304324 h 514350"/>
                <a:gd name="connsiteX3848" fmla="*/ 5101114 w 6400800"/>
                <a:gd name="connsiteY3848" fmla="*/ 305276 h 514350"/>
                <a:gd name="connsiteX3849" fmla="*/ 5096351 w 6400800"/>
                <a:gd name="connsiteY3849" fmla="*/ 288131 h 514350"/>
                <a:gd name="connsiteX3850" fmla="*/ 5097304 w 6400800"/>
                <a:gd name="connsiteY3850" fmla="*/ 281464 h 514350"/>
                <a:gd name="connsiteX3851" fmla="*/ 5105876 w 6400800"/>
                <a:gd name="connsiteY3851" fmla="*/ 308134 h 514350"/>
                <a:gd name="connsiteX3852" fmla="*/ 5097304 w 6400800"/>
                <a:gd name="connsiteY3852" fmla="*/ 282416 h 514350"/>
                <a:gd name="connsiteX3853" fmla="*/ 5095399 w 6400800"/>
                <a:gd name="connsiteY3853" fmla="*/ 286226 h 514350"/>
                <a:gd name="connsiteX3854" fmla="*/ 5093494 w 6400800"/>
                <a:gd name="connsiteY3854" fmla="*/ 279559 h 514350"/>
                <a:gd name="connsiteX3855" fmla="*/ 5087779 w 6400800"/>
                <a:gd name="connsiteY3855" fmla="*/ 258604 h 514350"/>
                <a:gd name="connsiteX3856" fmla="*/ 5089684 w 6400800"/>
                <a:gd name="connsiteY3856" fmla="*/ 257651 h 514350"/>
                <a:gd name="connsiteX3857" fmla="*/ 5097304 w 6400800"/>
                <a:gd name="connsiteY3857" fmla="*/ 282416 h 514350"/>
                <a:gd name="connsiteX3858" fmla="*/ 5080159 w 6400800"/>
                <a:gd name="connsiteY3858" fmla="*/ 224314 h 514350"/>
                <a:gd name="connsiteX3859" fmla="*/ 5089684 w 6400800"/>
                <a:gd name="connsiteY3859" fmla="*/ 254794 h 514350"/>
                <a:gd name="connsiteX3860" fmla="*/ 5087779 w 6400800"/>
                <a:gd name="connsiteY3860" fmla="*/ 254794 h 514350"/>
                <a:gd name="connsiteX3861" fmla="*/ 5081112 w 6400800"/>
                <a:gd name="connsiteY3861" fmla="*/ 228124 h 514350"/>
                <a:gd name="connsiteX3862" fmla="*/ 5080159 w 6400800"/>
                <a:gd name="connsiteY3862" fmla="*/ 224314 h 514350"/>
                <a:gd name="connsiteX3863" fmla="*/ 5080159 w 6400800"/>
                <a:gd name="connsiteY3863" fmla="*/ 224314 h 514350"/>
                <a:gd name="connsiteX3864" fmla="*/ 5076349 w 6400800"/>
                <a:gd name="connsiteY3864" fmla="*/ 272891 h 514350"/>
                <a:gd name="connsiteX3865" fmla="*/ 5076349 w 6400800"/>
                <a:gd name="connsiteY3865" fmla="*/ 268129 h 514350"/>
                <a:gd name="connsiteX3866" fmla="*/ 5079206 w 6400800"/>
                <a:gd name="connsiteY3866" fmla="*/ 283369 h 514350"/>
                <a:gd name="connsiteX3867" fmla="*/ 5083017 w 6400800"/>
                <a:gd name="connsiteY3867" fmla="*/ 301466 h 514350"/>
                <a:gd name="connsiteX3868" fmla="*/ 5083017 w 6400800"/>
                <a:gd name="connsiteY3868" fmla="*/ 304324 h 514350"/>
                <a:gd name="connsiteX3869" fmla="*/ 5082064 w 6400800"/>
                <a:gd name="connsiteY3869" fmla="*/ 311944 h 514350"/>
                <a:gd name="connsiteX3870" fmla="*/ 5073492 w 6400800"/>
                <a:gd name="connsiteY3870" fmla="*/ 292894 h 514350"/>
                <a:gd name="connsiteX3871" fmla="*/ 5076349 w 6400800"/>
                <a:gd name="connsiteY3871" fmla="*/ 272891 h 514350"/>
                <a:gd name="connsiteX3872" fmla="*/ 5066824 w 6400800"/>
                <a:gd name="connsiteY3872" fmla="*/ 377666 h 514350"/>
                <a:gd name="connsiteX3873" fmla="*/ 5066824 w 6400800"/>
                <a:gd name="connsiteY3873" fmla="*/ 380524 h 514350"/>
                <a:gd name="connsiteX3874" fmla="*/ 5066824 w 6400800"/>
                <a:gd name="connsiteY3874" fmla="*/ 383381 h 514350"/>
                <a:gd name="connsiteX3875" fmla="*/ 5065871 w 6400800"/>
                <a:gd name="connsiteY3875" fmla="*/ 384334 h 514350"/>
                <a:gd name="connsiteX3876" fmla="*/ 5064919 w 6400800"/>
                <a:gd name="connsiteY3876" fmla="*/ 381476 h 514350"/>
                <a:gd name="connsiteX3877" fmla="*/ 5066824 w 6400800"/>
                <a:gd name="connsiteY3877" fmla="*/ 377666 h 514350"/>
                <a:gd name="connsiteX3878" fmla="*/ 5057299 w 6400800"/>
                <a:gd name="connsiteY3878" fmla="*/ 303371 h 514350"/>
                <a:gd name="connsiteX3879" fmla="*/ 5051584 w 6400800"/>
                <a:gd name="connsiteY3879" fmla="*/ 294799 h 514350"/>
                <a:gd name="connsiteX3880" fmla="*/ 5052537 w 6400800"/>
                <a:gd name="connsiteY3880" fmla="*/ 290989 h 514350"/>
                <a:gd name="connsiteX3881" fmla="*/ 5055394 w 6400800"/>
                <a:gd name="connsiteY3881" fmla="*/ 287179 h 514350"/>
                <a:gd name="connsiteX3882" fmla="*/ 5057299 w 6400800"/>
                <a:gd name="connsiteY3882" fmla="*/ 303371 h 514350"/>
                <a:gd name="connsiteX3883" fmla="*/ 5050631 w 6400800"/>
                <a:gd name="connsiteY3883" fmla="*/ 252889 h 514350"/>
                <a:gd name="connsiteX3884" fmla="*/ 5052537 w 6400800"/>
                <a:gd name="connsiteY3884" fmla="*/ 258604 h 514350"/>
                <a:gd name="connsiteX3885" fmla="*/ 5053489 w 6400800"/>
                <a:gd name="connsiteY3885" fmla="*/ 260509 h 514350"/>
                <a:gd name="connsiteX3886" fmla="*/ 5054442 w 6400800"/>
                <a:gd name="connsiteY3886" fmla="*/ 268129 h 514350"/>
                <a:gd name="connsiteX3887" fmla="*/ 5052537 w 6400800"/>
                <a:gd name="connsiteY3887" fmla="*/ 273844 h 514350"/>
                <a:gd name="connsiteX3888" fmla="*/ 5051584 w 6400800"/>
                <a:gd name="connsiteY3888" fmla="*/ 276701 h 514350"/>
                <a:gd name="connsiteX3889" fmla="*/ 5048726 w 6400800"/>
                <a:gd name="connsiteY3889" fmla="*/ 279559 h 514350"/>
                <a:gd name="connsiteX3890" fmla="*/ 5048726 w 6400800"/>
                <a:gd name="connsiteY3890" fmla="*/ 278606 h 514350"/>
                <a:gd name="connsiteX3891" fmla="*/ 5048726 w 6400800"/>
                <a:gd name="connsiteY3891" fmla="*/ 274796 h 514350"/>
                <a:gd name="connsiteX3892" fmla="*/ 5049679 w 6400800"/>
                <a:gd name="connsiteY3892" fmla="*/ 268129 h 514350"/>
                <a:gd name="connsiteX3893" fmla="*/ 5050631 w 6400800"/>
                <a:gd name="connsiteY3893" fmla="*/ 262414 h 514350"/>
                <a:gd name="connsiteX3894" fmla="*/ 5048726 w 6400800"/>
                <a:gd name="connsiteY3894" fmla="*/ 268129 h 514350"/>
                <a:gd name="connsiteX3895" fmla="*/ 5048726 w 6400800"/>
                <a:gd name="connsiteY3895" fmla="*/ 269081 h 514350"/>
                <a:gd name="connsiteX3896" fmla="*/ 5048726 w 6400800"/>
                <a:gd name="connsiteY3896" fmla="*/ 266224 h 514350"/>
                <a:gd name="connsiteX3897" fmla="*/ 5050631 w 6400800"/>
                <a:gd name="connsiteY3897" fmla="*/ 252889 h 514350"/>
                <a:gd name="connsiteX3898" fmla="*/ 5020151 w 6400800"/>
                <a:gd name="connsiteY3898" fmla="*/ 390049 h 514350"/>
                <a:gd name="connsiteX3899" fmla="*/ 5014437 w 6400800"/>
                <a:gd name="connsiteY3899" fmla="*/ 376714 h 514350"/>
                <a:gd name="connsiteX3900" fmla="*/ 5014437 w 6400800"/>
                <a:gd name="connsiteY3900" fmla="*/ 375761 h 514350"/>
                <a:gd name="connsiteX3901" fmla="*/ 5022056 w 6400800"/>
                <a:gd name="connsiteY3901" fmla="*/ 347186 h 514350"/>
                <a:gd name="connsiteX3902" fmla="*/ 5022056 w 6400800"/>
                <a:gd name="connsiteY3902" fmla="*/ 348139 h 514350"/>
                <a:gd name="connsiteX3903" fmla="*/ 5022056 w 6400800"/>
                <a:gd name="connsiteY3903" fmla="*/ 363379 h 514350"/>
                <a:gd name="connsiteX3904" fmla="*/ 5023009 w 6400800"/>
                <a:gd name="connsiteY3904" fmla="*/ 379571 h 514350"/>
                <a:gd name="connsiteX3905" fmla="*/ 5023962 w 6400800"/>
                <a:gd name="connsiteY3905" fmla="*/ 386239 h 514350"/>
                <a:gd name="connsiteX3906" fmla="*/ 5020151 w 6400800"/>
                <a:gd name="connsiteY3906" fmla="*/ 390049 h 514350"/>
                <a:gd name="connsiteX3907" fmla="*/ 5024914 w 6400800"/>
                <a:gd name="connsiteY3907" fmla="*/ 400526 h 514350"/>
                <a:gd name="connsiteX3908" fmla="*/ 5024914 w 6400800"/>
                <a:gd name="connsiteY3908" fmla="*/ 400526 h 514350"/>
                <a:gd name="connsiteX3909" fmla="*/ 5024914 w 6400800"/>
                <a:gd name="connsiteY3909" fmla="*/ 400526 h 514350"/>
                <a:gd name="connsiteX3910" fmla="*/ 5024914 w 6400800"/>
                <a:gd name="connsiteY3910" fmla="*/ 400526 h 514350"/>
                <a:gd name="connsiteX3911" fmla="*/ 5035392 w 6400800"/>
                <a:gd name="connsiteY3911" fmla="*/ 314801 h 514350"/>
                <a:gd name="connsiteX3912" fmla="*/ 5035392 w 6400800"/>
                <a:gd name="connsiteY3912" fmla="*/ 317659 h 514350"/>
                <a:gd name="connsiteX3913" fmla="*/ 5031581 w 6400800"/>
                <a:gd name="connsiteY3913" fmla="*/ 353854 h 514350"/>
                <a:gd name="connsiteX3914" fmla="*/ 5031581 w 6400800"/>
                <a:gd name="connsiteY3914" fmla="*/ 353854 h 514350"/>
                <a:gd name="connsiteX3915" fmla="*/ 5031581 w 6400800"/>
                <a:gd name="connsiteY3915" fmla="*/ 354806 h 514350"/>
                <a:gd name="connsiteX3916" fmla="*/ 5030629 w 6400800"/>
                <a:gd name="connsiteY3916" fmla="*/ 347186 h 514350"/>
                <a:gd name="connsiteX3917" fmla="*/ 5027771 w 6400800"/>
                <a:gd name="connsiteY3917" fmla="*/ 329089 h 514350"/>
                <a:gd name="connsiteX3918" fmla="*/ 5028724 w 6400800"/>
                <a:gd name="connsiteY3918" fmla="*/ 325279 h 514350"/>
                <a:gd name="connsiteX3919" fmla="*/ 5032534 w 6400800"/>
                <a:gd name="connsiteY3919" fmla="*/ 319564 h 514350"/>
                <a:gd name="connsiteX3920" fmla="*/ 5035392 w 6400800"/>
                <a:gd name="connsiteY3920" fmla="*/ 314801 h 514350"/>
                <a:gd name="connsiteX3921" fmla="*/ 5006817 w 6400800"/>
                <a:gd name="connsiteY3921" fmla="*/ 242411 h 514350"/>
                <a:gd name="connsiteX3922" fmla="*/ 5019199 w 6400800"/>
                <a:gd name="connsiteY3922" fmla="*/ 259556 h 514350"/>
                <a:gd name="connsiteX3923" fmla="*/ 5025867 w 6400800"/>
                <a:gd name="connsiteY3923" fmla="*/ 270034 h 514350"/>
                <a:gd name="connsiteX3924" fmla="*/ 5021104 w 6400800"/>
                <a:gd name="connsiteY3924" fmla="*/ 263366 h 514350"/>
                <a:gd name="connsiteX3925" fmla="*/ 5014437 w 6400800"/>
                <a:gd name="connsiteY3925" fmla="*/ 255746 h 514350"/>
                <a:gd name="connsiteX3926" fmla="*/ 5004912 w 6400800"/>
                <a:gd name="connsiteY3926" fmla="*/ 245269 h 514350"/>
                <a:gd name="connsiteX3927" fmla="*/ 5006817 w 6400800"/>
                <a:gd name="connsiteY3927" fmla="*/ 242411 h 514350"/>
                <a:gd name="connsiteX3928" fmla="*/ 5004912 w 6400800"/>
                <a:gd name="connsiteY3928" fmla="*/ 242411 h 514350"/>
                <a:gd name="connsiteX3929" fmla="*/ 5004912 w 6400800"/>
                <a:gd name="connsiteY3929" fmla="*/ 238601 h 514350"/>
                <a:gd name="connsiteX3930" fmla="*/ 5006817 w 6400800"/>
                <a:gd name="connsiteY3930" fmla="*/ 241459 h 514350"/>
                <a:gd name="connsiteX3931" fmla="*/ 5004912 w 6400800"/>
                <a:gd name="connsiteY3931" fmla="*/ 244316 h 514350"/>
                <a:gd name="connsiteX3932" fmla="*/ 5004912 w 6400800"/>
                <a:gd name="connsiteY3932" fmla="*/ 243364 h 514350"/>
                <a:gd name="connsiteX3933" fmla="*/ 5004912 w 6400800"/>
                <a:gd name="connsiteY3933" fmla="*/ 242411 h 514350"/>
                <a:gd name="connsiteX3934" fmla="*/ 4999196 w 6400800"/>
                <a:gd name="connsiteY3934" fmla="*/ 303371 h 514350"/>
                <a:gd name="connsiteX3935" fmla="*/ 5003006 w 6400800"/>
                <a:gd name="connsiteY3935" fmla="*/ 252889 h 514350"/>
                <a:gd name="connsiteX3936" fmla="*/ 5008721 w 6400800"/>
                <a:gd name="connsiteY3936" fmla="*/ 260509 h 514350"/>
                <a:gd name="connsiteX3937" fmla="*/ 5014437 w 6400800"/>
                <a:gd name="connsiteY3937" fmla="*/ 268129 h 514350"/>
                <a:gd name="connsiteX3938" fmla="*/ 5020151 w 6400800"/>
                <a:gd name="connsiteY3938" fmla="*/ 276701 h 514350"/>
                <a:gd name="connsiteX3939" fmla="*/ 5029676 w 6400800"/>
                <a:gd name="connsiteY3939" fmla="*/ 292894 h 514350"/>
                <a:gd name="connsiteX3940" fmla="*/ 5029676 w 6400800"/>
                <a:gd name="connsiteY3940" fmla="*/ 293846 h 514350"/>
                <a:gd name="connsiteX3941" fmla="*/ 5025867 w 6400800"/>
                <a:gd name="connsiteY3941" fmla="*/ 302419 h 514350"/>
                <a:gd name="connsiteX3942" fmla="*/ 5023009 w 6400800"/>
                <a:gd name="connsiteY3942" fmla="*/ 305276 h 514350"/>
                <a:gd name="connsiteX3943" fmla="*/ 5022056 w 6400800"/>
                <a:gd name="connsiteY3943" fmla="*/ 301466 h 514350"/>
                <a:gd name="connsiteX3944" fmla="*/ 5022056 w 6400800"/>
                <a:gd name="connsiteY3944" fmla="*/ 306229 h 514350"/>
                <a:gd name="connsiteX3945" fmla="*/ 5019199 w 6400800"/>
                <a:gd name="connsiteY3945" fmla="*/ 309086 h 514350"/>
                <a:gd name="connsiteX3946" fmla="*/ 5012531 w 6400800"/>
                <a:gd name="connsiteY3946" fmla="*/ 318611 h 514350"/>
                <a:gd name="connsiteX3947" fmla="*/ 5013484 w 6400800"/>
                <a:gd name="connsiteY3947" fmla="*/ 311944 h 514350"/>
                <a:gd name="connsiteX3948" fmla="*/ 5017294 w 6400800"/>
                <a:gd name="connsiteY3948" fmla="*/ 294799 h 514350"/>
                <a:gd name="connsiteX3949" fmla="*/ 5020151 w 6400800"/>
                <a:gd name="connsiteY3949" fmla="*/ 279559 h 514350"/>
                <a:gd name="connsiteX3950" fmla="*/ 5013484 w 6400800"/>
                <a:gd name="connsiteY3950" fmla="*/ 293846 h 514350"/>
                <a:gd name="connsiteX3951" fmla="*/ 5006817 w 6400800"/>
                <a:gd name="connsiteY3951" fmla="*/ 310039 h 514350"/>
                <a:gd name="connsiteX3952" fmla="*/ 4999196 w 6400800"/>
                <a:gd name="connsiteY3952" fmla="*/ 331946 h 514350"/>
                <a:gd name="connsiteX3953" fmla="*/ 4999196 w 6400800"/>
                <a:gd name="connsiteY3953" fmla="*/ 332899 h 514350"/>
                <a:gd name="connsiteX3954" fmla="*/ 4997292 w 6400800"/>
                <a:gd name="connsiteY3954" fmla="*/ 327184 h 514350"/>
                <a:gd name="connsiteX3955" fmla="*/ 4999196 w 6400800"/>
                <a:gd name="connsiteY3955" fmla="*/ 303371 h 514350"/>
                <a:gd name="connsiteX3956" fmla="*/ 4968717 w 6400800"/>
                <a:gd name="connsiteY3956" fmla="*/ 208121 h 514350"/>
                <a:gd name="connsiteX3957" fmla="*/ 4967764 w 6400800"/>
                <a:gd name="connsiteY3957" fmla="*/ 212884 h 514350"/>
                <a:gd name="connsiteX3958" fmla="*/ 4966812 w 6400800"/>
                <a:gd name="connsiteY3958" fmla="*/ 217646 h 514350"/>
                <a:gd name="connsiteX3959" fmla="*/ 4966812 w 6400800"/>
                <a:gd name="connsiteY3959" fmla="*/ 215741 h 514350"/>
                <a:gd name="connsiteX3960" fmla="*/ 4968717 w 6400800"/>
                <a:gd name="connsiteY3960" fmla="*/ 208121 h 514350"/>
                <a:gd name="connsiteX3961" fmla="*/ 4960144 w 6400800"/>
                <a:gd name="connsiteY3961" fmla="*/ 364331 h 514350"/>
                <a:gd name="connsiteX3962" fmla="*/ 4961096 w 6400800"/>
                <a:gd name="connsiteY3962" fmla="*/ 381476 h 514350"/>
                <a:gd name="connsiteX3963" fmla="*/ 4958239 w 6400800"/>
                <a:gd name="connsiteY3963" fmla="*/ 391001 h 514350"/>
                <a:gd name="connsiteX3964" fmla="*/ 4957287 w 6400800"/>
                <a:gd name="connsiteY3964" fmla="*/ 386239 h 514350"/>
                <a:gd name="connsiteX3965" fmla="*/ 4957287 w 6400800"/>
                <a:gd name="connsiteY3965" fmla="*/ 380524 h 514350"/>
                <a:gd name="connsiteX3966" fmla="*/ 4956334 w 6400800"/>
                <a:gd name="connsiteY3966" fmla="*/ 356711 h 514350"/>
                <a:gd name="connsiteX3967" fmla="*/ 4956334 w 6400800"/>
                <a:gd name="connsiteY3967" fmla="*/ 351949 h 514350"/>
                <a:gd name="connsiteX3968" fmla="*/ 4958239 w 6400800"/>
                <a:gd name="connsiteY3968" fmla="*/ 348139 h 514350"/>
                <a:gd name="connsiteX3969" fmla="*/ 4960144 w 6400800"/>
                <a:gd name="connsiteY3969" fmla="*/ 364331 h 514350"/>
                <a:gd name="connsiteX3970" fmla="*/ 4957287 w 6400800"/>
                <a:gd name="connsiteY3970" fmla="*/ 256699 h 514350"/>
                <a:gd name="connsiteX3971" fmla="*/ 4957287 w 6400800"/>
                <a:gd name="connsiteY3971" fmla="*/ 258604 h 514350"/>
                <a:gd name="connsiteX3972" fmla="*/ 4957287 w 6400800"/>
                <a:gd name="connsiteY3972" fmla="*/ 259556 h 514350"/>
                <a:gd name="connsiteX3973" fmla="*/ 4955381 w 6400800"/>
                <a:gd name="connsiteY3973" fmla="*/ 267176 h 514350"/>
                <a:gd name="connsiteX3974" fmla="*/ 4954429 w 6400800"/>
                <a:gd name="connsiteY3974" fmla="*/ 265271 h 514350"/>
                <a:gd name="connsiteX3975" fmla="*/ 4957287 w 6400800"/>
                <a:gd name="connsiteY3975" fmla="*/ 256699 h 514350"/>
                <a:gd name="connsiteX3976" fmla="*/ 4954429 w 6400800"/>
                <a:gd name="connsiteY3976" fmla="*/ 268129 h 514350"/>
                <a:gd name="connsiteX3977" fmla="*/ 4955381 w 6400800"/>
                <a:gd name="connsiteY3977" fmla="*/ 270986 h 514350"/>
                <a:gd name="connsiteX3978" fmla="*/ 4951571 w 6400800"/>
                <a:gd name="connsiteY3978" fmla="*/ 290036 h 514350"/>
                <a:gd name="connsiteX3979" fmla="*/ 4944904 w 6400800"/>
                <a:gd name="connsiteY3979" fmla="*/ 316706 h 514350"/>
                <a:gd name="connsiteX3980" fmla="*/ 4943951 w 6400800"/>
                <a:gd name="connsiteY3980" fmla="*/ 310991 h 514350"/>
                <a:gd name="connsiteX3981" fmla="*/ 4943951 w 6400800"/>
                <a:gd name="connsiteY3981" fmla="*/ 320516 h 514350"/>
                <a:gd name="connsiteX3982" fmla="*/ 4940142 w 6400800"/>
                <a:gd name="connsiteY3982" fmla="*/ 336709 h 514350"/>
                <a:gd name="connsiteX3983" fmla="*/ 4940142 w 6400800"/>
                <a:gd name="connsiteY3983" fmla="*/ 335756 h 514350"/>
                <a:gd name="connsiteX3984" fmla="*/ 4938237 w 6400800"/>
                <a:gd name="connsiteY3984" fmla="*/ 325279 h 514350"/>
                <a:gd name="connsiteX3985" fmla="*/ 4954429 w 6400800"/>
                <a:gd name="connsiteY3985" fmla="*/ 268129 h 514350"/>
                <a:gd name="connsiteX3986" fmla="*/ 4922044 w 6400800"/>
                <a:gd name="connsiteY3986" fmla="*/ 378619 h 514350"/>
                <a:gd name="connsiteX3987" fmla="*/ 4922044 w 6400800"/>
                <a:gd name="connsiteY3987" fmla="*/ 378619 h 514350"/>
                <a:gd name="connsiteX3988" fmla="*/ 4922044 w 6400800"/>
                <a:gd name="connsiteY3988" fmla="*/ 378619 h 514350"/>
                <a:gd name="connsiteX3989" fmla="*/ 4922044 w 6400800"/>
                <a:gd name="connsiteY3989" fmla="*/ 378619 h 514350"/>
                <a:gd name="connsiteX3990" fmla="*/ 4908709 w 6400800"/>
                <a:gd name="connsiteY3990" fmla="*/ 307181 h 514350"/>
                <a:gd name="connsiteX3991" fmla="*/ 4915376 w 6400800"/>
                <a:gd name="connsiteY3991" fmla="*/ 326231 h 514350"/>
                <a:gd name="connsiteX3992" fmla="*/ 4909662 w 6400800"/>
                <a:gd name="connsiteY3992" fmla="*/ 338614 h 514350"/>
                <a:gd name="connsiteX3993" fmla="*/ 4906804 w 6400800"/>
                <a:gd name="connsiteY3993" fmla="*/ 308134 h 514350"/>
                <a:gd name="connsiteX3994" fmla="*/ 4906804 w 6400800"/>
                <a:gd name="connsiteY3994" fmla="*/ 305276 h 514350"/>
                <a:gd name="connsiteX3995" fmla="*/ 4905851 w 6400800"/>
                <a:gd name="connsiteY3995" fmla="*/ 307181 h 514350"/>
                <a:gd name="connsiteX3996" fmla="*/ 4904899 w 6400800"/>
                <a:gd name="connsiteY3996" fmla="*/ 297656 h 514350"/>
                <a:gd name="connsiteX3997" fmla="*/ 4908709 w 6400800"/>
                <a:gd name="connsiteY3997" fmla="*/ 307181 h 514350"/>
                <a:gd name="connsiteX3998" fmla="*/ 4897279 w 6400800"/>
                <a:gd name="connsiteY3998" fmla="*/ 351949 h 514350"/>
                <a:gd name="connsiteX3999" fmla="*/ 4896326 w 6400800"/>
                <a:gd name="connsiteY3999" fmla="*/ 365284 h 514350"/>
                <a:gd name="connsiteX4000" fmla="*/ 4895374 w 6400800"/>
                <a:gd name="connsiteY4000" fmla="*/ 368141 h 514350"/>
                <a:gd name="connsiteX4001" fmla="*/ 4894421 w 6400800"/>
                <a:gd name="connsiteY4001" fmla="*/ 357664 h 514350"/>
                <a:gd name="connsiteX4002" fmla="*/ 4892517 w 6400800"/>
                <a:gd name="connsiteY4002" fmla="*/ 341471 h 514350"/>
                <a:gd name="connsiteX4003" fmla="*/ 4897279 w 6400800"/>
                <a:gd name="connsiteY4003" fmla="*/ 351949 h 514350"/>
                <a:gd name="connsiteX4004" fmla="*/ 4822984 w 6400800"/>
                <a:gd name="connsiteY4004" fmla="*/ 387191 h 514350"/>
                <a:gd name="connsiteX4005" fmla="*/ 4822984 w 6400800"/>
                <a:gd name="connsiteY4005" fmla="*/ 385286 h 514350"/>
                <a:gd name="connsiteX4006" fmla="*/ 4822984 w 6400800"/>
                <a:gd name="connsiteY4006" fmla="*/ 387191 h 514350"/>
                <a:gd name="connsiteX4007" fmla="*/ 4822984 w 6400800"/>
                <a:gd name="connsiteY4007" fmla="*/ 387191 h 514350"/>
                <a:gd name="connsiteX4008" fmla="*/ 4842987 w 6400800"/>
                <a:gd name="connsiteY4008" fmla="*/ 338614 h 514350"/>
                <a:gd name="connsiteX4009" fmla="*/ 4842987 w 6400800"/>
                <a:gd name="connsiteY4009" fmla="*/ 356711 h 514350"/>
                <a:gd name="connsiteX4010" fmla="*/ 4842987 w 6400800"/>
                <a:gd name="connsiteY4010" fmla="*/ 360521 h 514350"/>
                <a:gd name="connsiteX4011" fmla="*/ 4840129 w 6400800"/>
                <a:gd name="connsiteY4011" fmla="*/ 382429 h 514350"/>
                <a:gd name="connsiteX4012" fmla="*/ 4838224 w 6400800"/>
                <a:gd name="connsiteY4012" fmla="*/ 390049 h 514350"/>
                <a:gd name="connsiteX4013" fmla="*/ 4826794 w 6400800"/>
                <a:gd name="connsiteY4013" fmla="*/ 387191 h 514350"/>
                <a:gd name="connsiteX4014" fmla="*/ 4824889 w 6400800"/>
                <a:gd name="connsiteY4014" fmla="*/ 379571 h 514350"/>
                <a:gd name="connsiteX4015" fmla="*/ 4827747 w 6400800"/>
                <a:gd name="connsiteY4015" fmla="*/ 370999 h 514350"/>
                <a:gd name="connsiteX4016" fmla="*/ 4838224 w 6400800"/>
                <a:gd name="connsiteY4016" fmla="*/ 346234 h 514350"/>
                <a:gd name="connsiteX4017" fmla="*/ 4843939 w 6400800"/>
                <a:gd name="connsiteY4017" fmla="*/ 336709 h 514350"/>
                <a:gd name="connsiteX4018" fmla="*/ 4842987 w 6400800"/>
                <a:gd name="connsiteY4018" fmla="*/ 338614 h 514350"/>
                <a:gd name="connsiteX4019" fmla="*/ 4842987 w 6400800"/>
                <a:gd name="connsiteY4019" fmla="*/ 338614 h 514350"/>
                <a:gd name="connsiteX4020" fmla="*/ 4843939 w 6400800"/>
                <a:gd name="connsiteY4020" fmla="*/ 329089 h 514350"/>
                <a:gd name="connsiteX4021" fmla="*/ 4843939 w 6400800"/>
                <a:gd name="connsiteY4021" fmla="*/ 329089 h 514350"/>
                <a:gd name="connsiteX4022" fmla="*/ 4836319 w 6400800"/>
                <a:gd name="connsiteY4022" fmla="*/ 318611 h 514350"/>
                <a:gd name="connsiteX4023" fmla="*/ 4836319 w 6400800"/>
                <a:gd name="connsiteY4023" fmla="*/ 318611 h 514350"/>
                <a:gd name="connsiteX4024" fmla="*/ 4839176 w 6400800"/>
                <a:gd name="connsiteY4024" fmla="*/ 314801 h 514350"/>
                <a:gd name="connsiteX4025" fmla="*/ 4842987 w 6400800"/>
                <a:gd name="connsiteY4025" fmla="*/ 321469 h 514350"/>
                <a:gd name="connsiteX4026" fmla="*/ 4843939 w 6400800"/>
                <a:gd name="connsiteY4026" fmla="*/ 323374 h 514350"/>
                <a:gd name="connsiteX4027" fmla="*/ 4843939 w 6400800"/>
                <a:gd name="connsiteY4027" fmla="*/ 329089 h 514350"/>
                <a:gd name="connsiteX4028" fmla="*/ 4845844 w 6400800"/>
                <a:gd name="connsiteY4028" fmla="*/ 296704 h 514350"/>
                <a:gd name="connsiteX4029" fmla="*/ 4844891 w 6400800"/>
                <a:gd name="connsiteY4029" fmla="*/ 316706 h 514350"/>
                <a:gd name="connsiteX4030" fmla="*/ 4840129 w 6400800"/>
                <a:gd name="connsiteY4030" fmla="*/ 310039 h 514350"/>
                <a:gd name="connsiteX4031" fmla="*/ 4837272 w 6400800"/>
                <a:gd name="connsiteY4031" fmla="*/ 306229 h 514350"/>
                <a:gd name="connsiteX4032" fmla="*/ 4845844 w 6400800"/>
                <a:gd name="connsiteY4032" fmla="*/ 290989 h 514350"/>
                <a:gd name="connsiteX4033" fmla="*/ 4847749 w 6400800"/>
                <a:gd name="connsiteY4033" fmla="*/ 288131 h 514350"/>
                <a:gd name="connsiteX4034" fmla="*/ 4845844 w 6400800"/>
                <a:gd name="connsiteY4034" fmla="*/ 296704 h 514350"/>
                <a:gd name="connsiteX4035" fmla="*/ 4869656 w 6400800"/>
                <a:gd name="connsiteY4035" fmla="*/ 325279 h 514350"/>
                <a:gd name="connsiteX4036" fmla="*/ 4869656 w 6400800"/>
                <a:gd name="connsiteY4036" fmla="*/ 327184 h 514350"/>
                <a:gd name="connsiteX4037" fmla="*/ 4869656 w 6400800"/>
                <a:gd name="connsiteY4037" fmla="*/ 325279 h 514350"/>
                <a:gd name="connsiteX4038" fmla="*/ 4869656 w 6400800"/>
                <a:gd name="connsiteY4038" fmla="*/ 318611 h 514350"/>
                <a:gd name="connsiteX4039" fmla="*/ 4869656 w 6400800"/>
                <a:gd name="connsiteY4039" fmla="*/ 325279 h 514350"/>
                <a:gd name="connsiteX4040" fmla="*/ 4854416 w 6400800"/>
                <a:gd name="connsiteY4040" fmla="*/ 276701 h 514350"/>
                <a:gd name="connsiteX4041" fmla="*/ 4868704 w 6400800"/>
                <a:gd name="connsiteY4041" fmla="*/ 256699 h 514350"/>
                <a:gd name="connsiteX4042" fmla="*/ 4871562 w 6400800"/>
                <a:gd name="connsiteY4042" fmla="*/ 252889 h 514350"/>
                <a:gd name="connsiteX4043" fmla="*/ 4871562 w 6400800"/>
                <a:gd name="connsiteY4043" fmla="*/ 259556 h 514350"/>
                <a:gd name="connsiteX4044" fmla="*/ 4861084 w 6400800"/>
                <a:gd name="connsiteY4044" fmla="*/ 296704 h 514350"/>
                <a:gd name="connsiteX4045" fmla="*/ 4860131 w 6400800"/>
                <a:gd name="connsiteY4045" fmla="*/ 300514 h 514350"/>
                <a:gd name="connsiteX4046" fmla="*/ 4853464 w 6400800"/>
                <a:gd name="connsiteY4046" fmla="*/ 278606 h 514350"/>
                <a:gd name="connsiteX4047" fmla="*/ 4854416 w 6400800"/>
                <a:gd name="connsiteY4047" fmla="*/ 276701 h 514350"/>
                <a:gd name="connsiteX4048" fmla="*/ 4854416 w 6400800"/>
                <a:gd name="connsiteY4048" fmla="*/ 276701 h 514350"/>
                <a:gd name="connsiteX4049" fmla="*/ 4850606 w 6400800"/>
                <a:gd name="connsiteY4049" fmla="*/ 281464 h 514350"/>
                <a:gd name="connsiteX4050" fmla="*/ 4857274 w 6400800"/>
                <a:gd name="connsiteY4050" fmla="*/ 316706 h 514350"/>
                <a:gd name="connsiteX4051" fmla="*/ 4854416 w 6400800"/>
                <a:gd name="connsiteY4051" fmla="*/ 330041 h 514350"/>
                <a:gd name="connsiteX4052" fmla="*/ 4852512 w 6400800"/>
                <a:gd name="connsiteY4052" fmla="*/ 326231 h 514350"/>
                <a:gd name="connsiteX4053" fmla="*/ 4852512 w 6400800"/>
                <a:gd name="connsiteY4053" fmla="*/ 322421 h 514350"/>
                <a:gd name="connsiteX4054" fmla="*/ 4850606 w 6400800"/>
                <a:gd name="connsiteY4054" fmla="*/ 295751 h 514350"/>
                <a:gd name="connsiteX4055" fmla="*/ 4849654 w 6400800"/>
                <a:gd name="connsiteY4055" fmla="*/ 284321 h 514350"/>
                <a:gd name="connsiteX4056" fmla="*/ 4850606 w 6400800"/>
                <a:gd name="connsiteY4056" fmla="*/ 281464 h 514350"/>
                <a:gd name="connsiteX4057" fmla="*/ 4838224 w 6400800"/>
                <a:gd name="connsiteY4057" fmla="*/ 290036 h 514350"/>
                <a:gd name="connsiteX4058" fmla="*/ 4845844 w 6400800"/>
                <a:gd name="connsiteY4058" fmla="*/ 272891 h 514350"/>
                <a:gd name="connsiteX4059" fmla="*/ 4848701 w 6400800"/>
                <a:gd name="connsiteY4059" fmla="*/ 265271 h 514350"/>
                <a:gd name="connsiteX4060" fmla="*/ 4849654 w 6400800"/>
                <a:gd name="connsiteY4060" fmla="*/ 275749 h 514350"/>
                <a:gd name="connsiteX4061" fmla="*/ 4847749 w 6400800"/>
                <a:gd name="connsiteY4061" fmla="*/ 277654 h 514350"/>
                <a:gd name="connsiteX4062" fmla="*/ 4847749 w 6400800"/>
                <a:gd name="connsiteY4062" fmla="*/ 273844 h 514350"/>
                <a:gd name="connsiteX4063" fmla="*/ 4847749 w 6400800"/>
                <a:gd name="connsiteY4063" fmla="*/ 278606 h 514350"/>
                <a:gd name="connsiteX4064" fmla="*/ 4841081 w 6400800"/>
                <a:gd name="connsiteY4064" fmla="*/ 288131 h 514350"/>
                <a:gd name="connsiteX4065" fmla="*/ 4836319 w 6400800"/>
                <a:gd name="connsiteY4065" fmla="*/ 294799 h 514350"/>
                <a:gd name="connsiteX4066" fmla="*/ 4838224 w 6400800"/>
                <a:gd name="connsiteY4066" fmla="*/ 290036 h 514350"/>
                <a:gd name="connsiteX4067" fmla="*/ 4835366 w 6400800"/>
                <a:gd name="connsiteY4067" fmla="*/ 309086 h 514350"/>
                <a:gd name="connsiteX4068" fmla="*/ 4836319 w 6400800"/>
                <a:gd name="connsiteY4068" fmla="*/ 308134 h 514350"/>
                <a:gd name="connsiteX4069" fmla="*/ 4838224 w 6400800"/>
                <a:gd name="connsiteY4069" fmla="*/ 311944 h 514350"/>
                <a:gd name="connsiteX4070" fmla="*/ 4839176 w 6400800"/>
                <a:gd name="connsiteY4070" fmla="*/ 313849 h 514350"/>
                <a:gd name="connsiteX4071" fmla="*/ 4835366 w 6400800"/>
                <a:gd name="connsiteY4071" fmla="*/ 317659 h 514350"/>
                <a:gd name="connsiteX4072" fmla="*/ 4835366 w 6400800"/>
                <a:gd name="connsiteY4072" fmla="*/ 317659 h 514350"/>
                <a:gd name="connsiteX4073" fmla="*/ 4834414 w 6400800"/>
                <a:gd name="connsiteY4073" fmla="*/ 316706 h 514350"/>
                <a:gd name="connsiteX4074" fmla="*/ 4832509 w 6400800"/>
                <a:gd name="connsiteY4074" fmla="*/ 314801 h 514350"/>
                <a:gd name="connsiteX4075" fmla="*/ 4835366 w 6400800"/>
                <a:gd name="connsiteY4075" fmla="*/ 309086 h 514350"/>
                <a:gd name="connsiteX4076" fmla="*/ 4830604 w 6400800"/>
                <a:gd name="connsiteY4076" fmla="*/ 319564 h 514350"/>
                <a:gd name="connsiteX4077" fmla="*/ 4832509 w 6400800"/>
                <a:gd name="connsiteY4077" fmla="*/ 314801 h 514350"/>
                <a:gd name="connsiteX4078" fmla="*/ 4833462 w 6400800"/>
                <a:gd name="connsiteY4078" fmla="*/ 316706 h 514350"/>
                <a:gd name="connsiteX4079" fmla="*/ 4834414 w 6400800"/>
                <a:gd name="connsiteY4079" fmla="*/ 318611 h 514350"/>
                <a:gd name="connsiteX4080" fmla="*/ 4828699 w 6400800"/>
                <a:gd name="connsiteY4080" fmla="*/ 324326 h 514350"/>
                <a:gd name="connsiteX4081" fmla="*/ 4830604 w 6400800"/>
                <a:gd name="connsiteY4081" fmla="*/ 319564 h 514350"/>
                <a:gd name="connsiteX4082" fmla="*/ 4817269 w 6400800"/>
                <a:gd name="connsiteY4082" fmla="*/ 364331 h 514350"/>
                <a:gd name="connsiteX4083" fmla="*/ 4817269 w 6400800"/>
                <a:gd name="connsiteY4083" fmla="*/ 356711 h 514350"/>
                <a:gd name="connsiteX4084" fmla="*/ 4824889 w 6400800"/>
                <a:gd name="connsiteY4084" fmla="*/ 335756 h 514350"/>
                <a:gd name="connsiteX4085" fmla="*/ 4825841 w 6400800"/>
                <a:gd name="connsiteY4085" fmla="*/ 334804 h 514350"/>
                <a:gd name="connsiteX4086" fmla="*/ 4835366 w 6400800"/>
                <a:gd name="connsiteY4086" fmla="*/ 319564 h 514350"/>
                <a:gd name="connsiteX4087" fmla="*/ 4837272 w 6400800"/>
                <a:gd name="connsiteY4087" fmla="*/ 322421 h 514350"/>
                <a:gd name="connsiteX4088" fmla="*/ 4841081 w 6400800"/>
                <a:gd name="connsiteY4088" fmla="*/ 330994 h 514350"/>
                <a:gd name="connsiteX4089" fmla="*/ 4842987 w 6400800"/>
                <a:gd name="connsiteY4089" fmla="*/ 335756 h 514350"/>
                <a:gd name="connsiteX4090" fmla="*/ 4835366 w 6400800"/>
                <a:gd name="connsiteY4090" fmla="*/ 345281 h 514350"/>
                <a:gd name="connsiteX4091" fmla="*/ 4822984 w 6400800"/>
                <a:gd name="connsiteY4091" fmla="*/ 366236 h 514350"/>
                <a:gd name="connsiteX4092" fmla="*/ 4820126 w 6400800"/>
                <a:gd name="connsiteY4092" fmla="*/ 369094 h 514350"/>
                <a:gd name="connsiteX4093" fmla="*/ 4817269 w 6400800"/>
                <a:gd name="connsiteY4093" fmla="*/ 371951 h 514350"/>
                <a:gd name="connsiteX4094" fmla="*/ 4817269 w 6400800"/>
                <a:gd name="connsiteY4094" fmla="*/ 364331 h 514350"/>
                <a:gd name="connsiteX4095" fmla="*/ 4816316 w 6400800"/>
                <a:gd name="connsiteY4095" fmla="*/ 376714 h 514350"/>
                <a:gd name="connsiteX4096" fmla="*/ 4820126 w 6400800"/>
                <a:gd name="connsiteY4096" fmla="*/ 370046 h 514350"/>
                <a:gd name="connsiteX4097" fmla="*/ 4820126 w 6400800"/>
                <a:gd name="connsiteY4097" fmla="*/ 370046 h 514350"/>
                <a:gd name="connsiteX4098" fmla="*/ 4820126 w 6400800"/>
                <a:gd name="connsiteY4098" fmla="*/ 370046 h 514350"/>
                <a:gd name="connsiteX4099" fmla="*/ 4816316 w 6400800"/>
                <a:gd name="connsiteY4099" fmla="*/ 378619 h 514350"/>
                <a:gd name="connsiteX4100" fmla="*/ 4816316 w 6400800"/>
                <a:gd name="connsiteY4100" fmla="*/ 376714 h 514350"/>
                <a:gd name="connsiteX4101" fmla="*/ 4762024 w 6400800"/>
                <a:gd name="connsiteY4101" fmla="*/ 305276 h 514350"/>
                <a:gd name="connsiteX4102" fmla="*/ 4763929 w 6400800"/>
                <a:gd name="connsiteY4102" fmla="*/ 322421 h 514350"/>
                <a:gd name="connsiteX4103" fmla="*/ 4760119 w 6400800"/>
                <a:gd name="connsiteY4103" fmla="*/ 309086 h 514350"/>
                <a:gd name="connsiteX4104" fmla="*/ 4762024 w 6400800"/>
                <a:gd name="connsiteY4104" fmla="*/ 300514 h 514350"/>
                <a:gd name="connsiteX4105" fmla="*/ 4762024 w 6400800"/>
                <a:gd name="connsiteY4105" fmla="*/ 305276 h 514350"/>
                <a:gd name="connsiteX4106" fmla="*/ 4755356 w 6400800"/>
                <a:gd name="connsiteY4106" fmla="*/ 279559 h 514350"/>
                <a:gd name="connsiteX4107" fmla="*/ 4760119 w 6400800"/>
                <a:gd name="connsiteY4107" fmla="*/ 294799 h 514350"/>
                <a:gd name="connsiteX4108" fmla="*/ 4761072 w 6400800"/>
                <a:gd name="connsiteY4108" fmla="*/ 297656 h 514350"/>
                <a:gd name="connsiteX4109" fmla="*/ 4758214 w 6400800"/>
                <a:gd name="connsiteY4109" fmla="*/ 304324 h 514350"/>
                <a:gd name="connsiteX4110" fmla="*/ 4754404 w 6400800"/>
                <a:gd name="connsiteY4110" fmla="*/ 292894 h 514350"/>
                <a:gd name="connsiteX4111" fmla="*/ 4755356 w 6400800"/>
                <a:gd name="connsiteY4111" fmla="*/ 279559 h 514350"/>
                <a:gd name="connsiteX4112" fmla="*/ 4759166 w 6400800"/>
                <a:gd name="connsiteY4112" fmla="*/ 342424 h 514350"/>
                <a:gd name="connsiteX4113" fmla="*/ 4755356 w 6400800"/>
                <a:gd name="connsiteY4113" fmla="*/ 331946 h 514350"/>
                <a:gd name="connsiteX4114" fmla="*/ 4756309 w 6400800"/>
                <a:gd name="connsiteY4114" fmla="*/ 326231 h 514350"/>
                <a:gd name="connsiteX4115" fmla="*/ 4759166 w 6400800"/>
                <a:gd name="connsiteY4115" fmla="*/ 342424 h 514350"/>
                <a:gd name="connsiteX4116" fmla="*/ 4753451 w 6400800"/>
                <a:gd name="connsiteY4116" fmla="*/ 312896 h 514350"/>
                <a:gd name="connsiteX4117" fmla="*/ 4754404 w 6400800"/>
                <a:gd name="connsiteY4117" fmla="*/ 315754 h 514350"/>
                <a:gd name="connsiteX4118" fmla="*/ 4753451 w 6400800"/>
                <a:gd name="connsiteY4118" fmla="*/ 317659 h 514350"/>
                <a:gd name="connsiteX4119" fmla="*/ 4753451 w 6400800"/>
                <a:gd name="connsiteY4119" fmla="*/ 312896 h 514350"/>
                <a:gd name="connsiteX4120" fmla="*/ 4755356 w 6400800"/>
                <a:gd name="connsiteY4120" fmla="*/ 373856 h 514350"/>
                <a:gd name="connsiteX4121" fmla="*/ 4756309 w 6400800"/>
                <a:gd name="connsiteY4121" fmla="*/ 375761 h 514350"/>
                <a:gd name="connsiteX4122" fmla="*/ 4754404 w 6400800"/>
                <a:gd name="connsiteY4122" fmla="*/ 379571 h 514350"/>
                <a:gd name="connsiteX4123" fmla="*/ 4752499 w 6400800"/>
                <a:gd name="connsiteY4123" fmla="*/ 379571 h 514350"/>
                <a:gd name="connsiteX4124" fmla="*/ 4755356 w 6400800"/>
                <a:gd name="connsiteY4124" fmla="*/ 373856 h 514350"/>
                <a:gd name="connsiteX4125" fmla="*/ 4748689 w 6400800"/>
                <a:gd name="connsiteY4125" fmla="*/ 291941 h 514350"/>
                <a:gd name="connsiteX4126" fmla="*/ 4746784 w 6400800"/>
                <a:gd name="connsiteY4126" fmla="*/ 303371 h 514350"/>
                <a:gd name="connsiteX4127" fmla="*/ 4746784 w 6400800"/>
                <a:gd name="connsiteY4127" fmla="*/ 303371 h 514350"/>
                <a:gd name="connsiteX4128" fmla="*/ 4746784 w 6400800"/>
                <a:gd name="connsiteY4128" fmla="*/ 299561 h 514350"/>
                <a:gd name="connsiteX4129" fmla="*/ 4748689 w 6400800"/>
                <a:gd name="connsiteY4129" fmla="*/ 291941 h 514350"/>
                <a:gd name="connsiteX4130" fmla="*/ 4738212 w 6400800"/>
                <a:gd name="connsiteY4130" fmla="*/ 327184 h 514350"/>
                <a:gd name="connsiteX4131" fmla="*/ 4737259 w 6400800"/>
                <a:gd name="connsiteY4131" fmla="*/ 341471 h 514350"/>
                <a:gd name="connsiteX4132" fmla="*/ 4736306 w 6400800"/>
                <a:gd name="connsiteY4132" fmla="*/ 336709 h 514350"/>
                <a:gd name="connsiteX4133" fmla="*/ 4738212 w 6400800"/>
                <a:gd name="connsiteY4133" fmla="*/ 327184 h 514350"/>
                <a:gd name="connsiteX4134" fmla="*/ 4720114 w 6400800"/>
                <a:gd name="connsiteY4134" fmla="*/ 261461 h 514350"/>
                <a:gd name="connsiteX4135" fmla="*/ 4720114 w 6400800"/>
                <a:gd name="connsiteY4135" fmla="*/ 261461 h 514350"/>
                <a:gd name="connsiteX4136" fmla="*/ 4729639 w 6400800"/>
                <a:gd name="connsiteY4136" fmla="*/ 290989 h 514350"/>
                <a:gd name="connsiteX4137" fmla="*/ 4731544 w 6400800"/>
                <a:gd name="connsiteY4137" fmla="*/ 296704 h 514350"/>
                <a:gd name="connsiteX4138" fmla="*/ 4727734 w 6400800"/>
                <a:gd name="connsiteY4138" fmla="*/ 308134 h 514350"/>
                <a:gd name="connsiteX4139" fmla="*/ 4723924 w 6400800"/>
                <a:gd name="connsiteY4139" fmla="*/ 295751 h 514350"/>
                <a:gd name="connsiteX4140" fmla="*/ 4718209 w 6400800"/>
                <a:gd name="connsiteY4140" fmla="*/ 276701 h 514350"/>
                <a:gd name="connsiteX4141" fmla="*/ 4720114 w 6400800"/>
                <a:gd name="connsiteY4141" fmla="*/ 261461 h 514350"/>
                <a:gd name="connsiteX4142" fmla="*/ 4709637 w 6400800"/>
                <a:gd name="connsiteY4142" fmla="*/ 324326 h 514350"/>
                <a:gd name="connsiteX4143" fmla="*/ 4713447 w 6400800"/>
                <a:gd name="connsiteY4143" fmla="*/ 301466 h 514350"/>
                <a:gd name="connsiteX4144" fmla="*/ 4719162 w 6400800"/>
                <a:gd name="connsiteY4144" fmla="*/ 331946 h 514350"/>
                <a:gd name="connsiteX4145" fmla="*/ 4715351 w 6400800"/>
                <a:gd name="connsiteY4145" fmla="*/ 343376 h 514350"/>
                <a:gd name="connsiteX4146" fmla="*/ 4715351 w 6400800"/>
                <a:gd name="connsiteY4146" fmla="*/ 343376 h 514350"/>
                <a:gd name="connsiteX4147" fmla="*/ 4707731 w 6400800"/>
                <a:gd name="connsiteY4147" fmla="*/ 332899 h 514350"/>
                <a:gd name="connsiteX4148" fmla="*/ 4709637 w 6400800"/>
                <a:gd name="connsiteY4148" fmla="*/ 324326 h 514350"/>
                <a:gd name="connsiteX4149" fmla="*/ 4703922 w 6400800"/>
                <a:gd name="connsiteY4149" fmla="*/ 355759 h 514350"/>
                <a:gd name="connsiteX4150" fmla="*/ 4705826 w 6400800"/>
                <a:gd name="connsiteY4150" fmla="*/ 360521 h 514350"/>
                <a:gd name="connsiteX4151" fmla="*/ 4708684 w 6400800"/>
                <a:gd name="connsiteY4151" fmla="*/ 369094 h 514350"/>
                <a:gd name="connsiteX4152" fmla="*/ 4704874 w 6400800"/>
                <a:gd name="connsiteY4152" fmla="*/ 377666 h 514350"/>
                <a:gd name="connsiteX4153" fmla="*/ 4704874 w 6400800"/>
                <a:gd name="connsiteY4153" fmla="*/ 376714 h 514350"/>
                <a:gd name="connsiteX4154" fmla="*/ 4702016 w 6400800"/>
                <a:gd name="connsiteY4154" fmla="*/ 371951 h 514350"/>
                <a:gd name="connsiteX4155" fmla="*/ 4703922 w 6400800"/>
                <a:gd name="connsiteY4155" fmla="*/ 355759 h 514350"/>
                <a:gd name="connsiteX4156" fmla="*/ 4682966 w 6400800"/>
                <a:gd name="connsiteY4156" fmla="*/ 380524 h 514350"/>
                <a:gd name="connsiteX4157" fmla="*/ 4680109 w 6400800"/>
                <a:gd name="connsiteY4157" fmla="*/ 392906 h 514350"/>
                <a:gd name="connsiteX4158" fmla="*/ 4676299 w 6400800"/>
                <a:gd name="connsiteY4158" fmla="*/ 393859 h 514350"/>
                <a:gd name="connsiteX4159" fmla="*/ 4675347 w 6400800"/>
                <a:gd name="connsiteY4159" fmla="*/ 388144 h 514350"/>
                <a:gd name="connsiteX4160" fmla="*/ 4682966 w 6400800"/>
                <a:gd name="connsiteY4160" fmla="*/ 378619 h 514350"/>
                <a:gd name="connsiteX4161" fmla="*/ 4682966 w 6400800"/>
                <a:gd name="connsiteY4161" fmla="*/ 380524 h 514350"/>
                <a:gd name="connsiteX4162" fmla="*/ 4672489 w 6400800"/>
                <a:gd name="connsiteY4162" fmla="*/ 361474 h 514350"/>
                <a:gd name="connsiteX4163" fmla="*/ 4679156 w 6400800"/>
                <a:gd name="connsiteY4163" fmla="*/ 373856 h 514350"/>
                <a:gd name="connsiteX4164" fmla="*/ 4672489 w 6400800"/>
                <a:gd name="connsiteY4164" fmla="*/ 379571 h 514350"/>
                <a:gd name="connsiteX4165" fmla="*/ 4671537 w 6400800"/>
                <a:gd name="connsiteY4165" fmla="*/ 376714 h 514350"/>
                <a:gd name="connsiteX4166" fmla="*/ 4670584 w 6400800"/>
                <a:gd name="connsiteY4166" fmla="*/ 370999 h 514350"/>
                <a:gd name="connsiteX4167" fmla="*/ 4672489 w 6400800"/>
                <a:gd name="connsiteY4167" fmla="*/ 361474 h 514350"/>
                <a:gd name="connsiteX4168" fmla="*/ 4661059 w 6400800"/>
                <a:gd name="connsiteY4168" fmla="*/ 265271 h 514350"/>
                <a:gd name="connsiteX4169" fmla="*/ 4663916 w 6400800"/>
                <a:gd name="connsiteY4169" fmla="*/ 252889 h 514350"/>
                <a:gd name="connsiteX4170" fmla="*/ 4669631 w 6400800"/>
                <a:gd name="connsiteY4170" fmla="*/ 237649 h 514350"/>
                <a:gd name="connsiteX4171" fmla="*/ 4669631 w 6400800"/>
                <a:gd name="connsiteY4171" fmla="*/ 242411 h 514350"/>
                <a:gd name="connsiteX4172" fmla="*/ 4661059 w 6400800"/>
                <a:gd name="connsiteY4172" fmla="*/ 269081 h 514350"/>
                <a:gd name="connsiteX4173" fmla="*/ 4661059 w 6400800"/>
                <a:gd name="connsiteY4173" fmla="*/ 265271 h 514350"/>
                <a:gd name="connsiteX4174" fmla="*/ 4645819 w 6400800"/>
                <a:gd name="connsiteY4174" fmla="*/ 278606 h 514350"/>
                <a:gd name="connsiteX4175" fmla="*/ 4648676 w 6400800"/>
                <a:gd name="connsiteY4175" fmla="*/ 260509 h 514350"/>
                <a:gd name="connsiteX4176" fmla="*/ 4650581 w 6400800"/>
                <a:gd name="connsiteY4176" fmla="*/ 250984 h 514350"/>
                <a:gd name="connsiteX4177" fmla="*/ 4650581 w 6400800"/>
                <a:gd name="connsiteY4177" fmla="*/ 251936 h 514350"/>
                <a:gd name="connsiteX4178" fmla="*/ 4652487 w 6400800"/>
                <a:gd name="connsiteY4178" fmla="*/ 265271 h 514350"/>
                <a:gd name="connsiteX4179" fmla="*/ 4652487 w 6400800"/>
                <a:gd name="connsiteY4179" fmla="*/ 270034 h 514350"/>
                <a:gd name="connsiteX4180" fmla="*/ 4650581 w 6400800"/>
                <a:gd name="connsiteY4180" fmla="*/ 278606 h 514350"/>
                <a:gd name="connsiteX4181" fmla="*/ 4648676 w 6400800"/>
                <a:gd name="connsiteY4181" fmla="*/ 290989 h 514350"/>
                <a:gd name="connsiteX4182" fmla="*/ 4645819 w 6400800"/>
                <a:gd name="connsiteY4182" fmla="*/ 278606 h 514350"/>
                <a:gd name="connsiteX4183" fmla="*/ 4645819 w 6400800"/>
                <a:gd name="connsiteY4183" fmla="*/ 278606 h 514350"/>
                <a:gd name="connsiteX4184" fmla="*/ 4642962 w 6400800"/>
                <a:gd name="connsiteY4184" fmla="*/ 293846 h 514350"/>
                <a:gd name="connsiteX4185" fmla="*/ 4644866 w 6400800"/>
                <a:gd name="connsiteY4185" fmla="*/ 302419 h 514350"/>
                <a:gd name="connsiteX4186" fmla="*/ 4645819 w 6400800"/>
                <a:gd name="connsiteY4186" fmla="*/ 309086 h 514350"/>
                <a:gd name="connsiteX4187" fmla="*/ 4645819 w 6400800"/>
                <a:gd name="connsiteY4187" fmla="*/ 309086 h 514350"/>
                <a:gd name="connsiteX4188" fmla="*/ 4642962 w 6400800"/>
                <a:gd name="connsiteY4188" fmla="*/ 306229 h 514350"/>
                <a:gd name="connsiteX4189" fmla="*/ 4642009 w 6400800"/>
                <a:gd name="connsiteY4189" fmla="*/ 299561 h 514350"/>
                <a:gd name="connsiteX4190" fmla="*/ 4642962 w 6400800"/>
                <a:gd name="connsiteY4190" fmla="*/ 293846 h 514350"/>
                <a:gd name="connsiteX4191" fmla="*/ 4595337 w 6400800"/>
                <a:gd name="connsiteY4191" fmla="*/ 280511 h 514350"/>
                <a:gd name="connsiteX4192" fmla="*/ 4598194 w 6400800"/>
                <a:gd name="connsiteY4192" fmla="*/ 293846 h 514350"/>
                <a:gd name="connsiteX4193" fmla="*/ 4598194 w 6400800"/>
                <a:gd name="connsiteY4193" fmla="*/ 300514 h 514350"/>
                <a:gd name="connsiteX4194" fmla="*/ 4598194 w 6400800"/>
                <a:gd name="connsiteY4194" fmla="*/ 311944 h 514350"/>
                <a:gd name="connsiteX4195" fmla="*/ 4596289 w 6400800"/>
                <a:gd name="connsiteY4195" fmla="*/ 319564 h 514350"/>
                <a:gd name="connsiteX4196" fmla="*/ 4593431 w 6400800"/>
                <a:gd name="connsiteY4196" fmla="*/ 311944 h 514350"/>
                <a:gd name="connsiteX4197" fmla="*/ 4593431 w 6400800"/>
                <a:gd name="connsiteY4197" fmla="*/ 305276 h 514350"/>
                <a:gd name="connsiteX4198" fmla="*/ 4593431 w 6400800"/>
                <a:gd name="connsiteY4198" fmla="*/ 286226 h 514350"/>
                <a:gd name="connsiteX4199" fmla="*/ 4595337 w 6400800"/>
                <a:gd name="connsiteY4199" fmla="*/ 280511 h 514350"/>
                <a:gd name="connsiteX4200" fmla="*/ 4595337 w 6400800"/>
                <a:gd name="connsiteY4200" fmla="*/ 280511 h 514350"/>
                <a:gd name="connsiteX4201" fmla="*/ 4595337 w 6400800"/>
                <a:gd name="connsiteY4201" fmla="*/ 277654 h 514350"/>
                <a:gd name="connsiteX4202" fmla="*/ 4593431 w 6400800"/>
                <a:gd name="connsiteY4202" fmla="*/ 279559 h 514350"/>
                <a:gd name="connsiteX4203" fmla="*/ 4592479 w 6400800"/>
                <a:gd name="connsiteY4203" fmla="*/ 280511 h 514350"/>
                <a:gd name="connsiteX4204" fmla="*/ 4592479 w 6400800"/>
                <a:gd name="connsiteY4204" fmla="*/ 263366 h 514350"/>
                <a:gd name="connsiteX4205" fmla="*/ 4595337 w 6400800"/>
                <a:gd name="connsiteY4205" fmla="*/ 277654 h 514350"/>
                <a:gd name="connsiteX4206" fmla="*/ 4576287 w 6400800"/>
                <a:gd name="connsiteY4206" fmla="*/ 253841 h 514350"/>
                <a:gd name="connsiteX4207" fmla="*/ 4575334 w 6400800"/>
                <a:gd name="connsiteY4207" fmla="*/ 273844 h 514350"/>
                <a:gd name="connsiteX4208" fmla="*/ 4569619 w 6400800"/>
                <a:gd name="connsiteY4208" fmla="*/ 262414 h 514350"/>
                <a:gd name="connsiteX4209" fmla="*/ 4576287 w 6400800"/>
                <a:gd name="connsiteY4209" fmla="*/ 253841 h 514350"/>
                <a:gd name="connsiteX4210" fmla="*/ 4566762 w 6400800"/>
                <a:gd name="connsiteY4210" fmla="*/ 268129 h 514350"/>
                <a:gd name="connsiteX4211" fmla="*/ 4566762 w 6400800"/>
                <a:gd name="connsiteY4211" fmla="*/ 268129 h 514350"/>
                <a:gd name="connsiteX4212" fmla="*/ 4571524 w 6400800"/>
                <a:gd name="connsiteY4212" fmla="*/ 284321 h 514350"/>
                <a:gd name="connsiteX4213" fmla="*/ 4574381 w 6400800"/>
                <a:gd name="connsiteY4213" fmla="*/ 296704 h 514350"/>
                <a:gd name="connsiteX4214" fmla="*/ 4574381 w 6400800"/>
                <a:gd name="connsiteY4214" fmla="*/ 301466 h 514350"/>
                <a:gd name="connsiteX4215" fmla="*/ 4568666 w 6400800"/>
                <a:gd name="connsiteY4215" fmla="*/ 289084 h 514350"/>
                <a:gd name="connsiteX4216" fmla="*/ 4574381 w 6400800"/>
                <a:gd name="connsiteY4216" fmla="*/ 309086 h 514350"/>
                <a:gd name="connsiteX4217" fmla="*/ 4571524 w 6400800"/>
                <a:gd name="connsiteY4217" fmla="*/ 314801 h 514350"/>
                <a:gd name="connsiteX4218" fmla="*/ 4571524 w 6400800"/>
                <a:gd name="connsiteY4218" fmla="*/ 315754 h 514350"/>
                <a:gd name="connsiteX4219" fmla="*/ 4564856 w 6400800"/>
                <a:gd name="connsiteY4219" fmla="*/ 271939 h 514350"/>
                <a:gd name="connsiteX4220" fmla="*/ 4566762 w 6400800"/>
                <a:gd name="connsiteY4220" fmla="*/ 268129 h 514350"/>
                <a:gd name="connsiteX4221" fmla="*/ 4560094 w 6400800"/>
                <a:gd name="connsiteY4221" fmla="*/ 254794 h 514350"/>
                <a:gd name="connsiteX4222" fmla="*/ 4562951 w 6400800"/>
                <a:gd name="connsiteY4222" fmla="*/ 260509 h 514350"/>
                <a:gd name="connsiteX4223" fmla="*/ 4561047 w 6400800"/>
                <a:gd name="connsiteY4223" fmla="*/ 263366 h 514350"/>
                <a:gd name="connsiteX4224" fmla="*/ 4557237 w 6400800"/>
                <a:gd name="connsiteY4224" fmla="*/ 268129 h 514350"/>
                <a:gd name="connsiteX4225" fmla="*/ 4560094 w 6400800"/>
                <a:gd name="connsiteY4225" fmla="*/ 254794 h 514350"/>
                <a:gd name="connsiteX4226" fmla="*/ 4548664 w 6400800"/>
                <a:gd name="connsiteY4226" fmla="*/ 317659 h 514350"/>
                <a:gd name="connsiteX4227" fmla="*/ 4557237 w 6400800"/>
                <a:gd name="connsiteY4227" fmla="*/ 290036 h 514350"/>
                <a:gd name="connsiteX4228" fmla="*/ 4562951 w 6400800"/>
                <a:gd name="connsiteY4228" fmla="*/ 275749 h 514350"/>
                <a:gd name="connsiteX4229" fmla="*/ 4560094 w 6400800"/>
                <a:gd name="connsiteY4229" fmla="*/ 318611 h 514350"/>
                <a:gd name="connsiteX4230" fmla="*/ 4555331 w 6400800"/>
                <a:gd name="connsiteY4230" fmla="*/ 310991 h 514350"/>
                <a:gd name="connsiteX4231" fmla="*/ 4560094 w 6400800"/>
                <a:gd name="connsiteY4231" fmla="*/ 321469 h 514350"/>
                <a:gd name="connsiteX4232" fmla="*/ 4560094 w 6400800"/>
                <a:gd name="connsiteY4232" fmla="*/ 321469 h 514350"/>
                <a:gd name="connsiteX4233" fmla="*/ 4559141 w 6400800"/>
                <a:gd name="connsiteY4233" fmla="*/ 342424 h 514350"/>
                <a:gd name="connsiteX4234" fmla="*/ 4555331 w 6400800"/>
                <a:gd name="connsiteY4234" fmla="*/ 352901 h 514350"/>
                <a:gd name="connsiteX4235" fmla="*/ 4552474 w 6400800"/>
                <a:gd name="connsiteY4235" fmla="*/ 361474 h 514350"/>
                <a:gd name="connsiteX4236" fmla="*/ 4547712 w 6400800"/>
                <a:gd name="connsiteY4236" fmla="*/ 343376 h 514350"/>
                <a:gd name="connsiteX4237" fmla="*/ 4547712 w 6400800"/>
                <a:gd name="connsiteY4237" fmla="*/ 328136 h 514350"/>
                <a:gd name="connsiteX4238" fmla="*/ 4545806 w 6400800"/>
                <a:gd name="connsiteY4238" fmla="*/ 338614 h 514350"/>
                <a:gd name="connsiteX4239" fmla="*/ 4545806 w 6400800"/>
                <a:gd name="connsiteY4239" fmla="*/ 337661 h 514350"/>
                <a:gd name="connsiteX4240" fmla="*/ 4544854 w 6400800"/>
                <a:gd name="connsiteY4240" fmla="*/ 335756 h 514350"/>
                <a:gd name="connsiteX4241" fmla="*/ 4548664 w 6400800"/>
                <a:gd name="connsiteY4241" fmla="*/ 317659 h 514350"/>
                <a:gd name="connsiteX4242" fmla="*/ 4457224 w 6400800"/>
                <a:gd name="connsiteY4242" fmla="*/ 306229 h 514350"/>
                <a:gd name="connsiteX4243" fmla="*/ 4457224 w 6400800"/>
                <a:gd name="connsiteY4243" fmla="*/ 306229 h 514350"/>
                <a:gd name="connsiteX4244" fmla="*/ 4457224 w 6400800"/>
                <a:gd name="connsiteY4244" fmla="*/ 304324 h 514350"/>
                <a:gd name="connsiteX4245" fmla="*/ 4457224 w 6400800"/>
                <a:gd name="connsiteY4245" fmla="*/ 306229 h 514350"/>
                <a:gd name="connsiteX4246" fmla="*/ 4478179 w 6400800"/>
                <a:gd name="connsiteY4246" fmla="*/ 359569 h 514350"/>
                <a:gd name="connsiteX4247" fmla="*/ 4476274 w 6400800"/>
                <a:gd name="connsiteY4247" fmla="*/ 339566 h 514350"/>
                <a:gd name="connsiteX4248" fmla="*/ 4476274 w 6400800"/>
                <a:gd name="connsiteY4248" fmla="*/ 336709 h 514350"/>
                <a:gd name="connsiteX4249" fmla="*/ 4483894 w 6400800"/>
                <a:gd name="connsiteY4249" fmla="*/ 347186 h 514350"/>
                <a:gd name="connsiteX4250" fmla="*/ 4478179 w 6400800"/>
                <a:gd name="connsiteY4250" fmla="*/ 359569 h 514350"/>
                <a:gd name="connsiteX4251" fmla="*/ 4497229 w 6400800"/>
                <a:gd name="connsiteY4251" fmla="*/ 371951 h 514350"/>
                <a:gd name="connsiteX4252" fmla="*/ 4497229 w 6400800"/>
                <a:gd name="connsiteY4252" fmla="*/ 367189 h 514350"/>
                <a:gd name="connsiteX4253" fmla="*/ 4498181 w 6400800"/>
                <a:gd name="connsiteY4253" fmla="*/ 370046 h 514350"/>
                <a:gd name="connsiteX4254" fmla="*/ 4497229 w 6400800"/>
                <a:gd name="connsiteY4254" fmla="*/ 371951 h 514350"/>
                <a:gd name="connsiteX4255" fmla="*/ 4504849 w 6400800"/>
                <a:gd name="connsiteY4255" fmla="*/ 322421 h 514350"/>
                <a:gd name="connsiteX4256" fmla="*/ 4504849 w 6400800"/>
                <a:gd name="connsiteY4256" fmla="*/ 330994 h 514350"/>
                <a:gd name="connsiteX4257" fmla="*/ 4501991 w 6400800"/>
                <a:gd name="connsiteY4257" fmla="*/ 341471 h 514350"/>
                <a:gd name="connsiteX4258" fmla="*/ 4501039 w 6400800"/>
                <a:gd name="connsiteY4258" fmla="*/ 348139 h 514350"/>
                <a:gd name="connsiteX4259" fmla="*/ 4499134 w 6400800"/>
                <a:gd name="connsiteY4259" fmla="*/ 345281 h 514350"/>
                <a:gd name="connsiteX4260" fmla="*/ 4498181 w 6400800"/>
                <a:gd name="connsiteY4260" fmla="*/ 342424 h 514350"/>
                <a:gd name="connsiteX4261" fmla="*/ 4501991 w 6400800"/>
                <a:gd name="connsiteY4261" fmla="*/ 326231 h 514350"/>
                <a:gd name="connsiteX4262" fmla="*/ 4506754 w 6400800"/>
                <a:gd name="connsiteY4262" fmla="*/ 310991 h 514350"/>
                <a:gd name="connsiteX4263" fmla="*/ 4504849 w 6400800"/>
                <a:gd name="connsiteY4263" fmla="*/ 322421 h 514350"/>
                <a:gd name="connsiteX4264" fmla="*/ 4462939 w 6400800"/>
                <a:gd name="connsiteY4264" fmla="*/ 250984 h 514350"/>
                <a:gd name="connsiteX4265" fmla="*/ 4470559 w 6400800"/>
                <a:gd name="connsiteY4265" fmla="*/ 226219 h 514350"/>
                <a:gd name="connsiteX4266" fmla="*/ 4474369 w 6400800"/>
                <a:gd name="connsiteY4266" fmla="*/ 231934 h 514350"/>
                <a:gd name="connsiteX4267" fmla="*/ 4479131 w 6400800"/>
                <a:gd name="connsiteY4267" fmla="*/ 238601 h 514350"/>
                <a:gd name="connsiteX4268" fmla="*/ 4483894 w 6400800"/>
                <a:gd name="connsiteY4268" fmla="*/ 248126 h 514350"/>
                <a:gd name="connsiteX4269" fmla="*/ 4489609 w 6400800"/>
                <a:gd name="connsiteY4269" fmla="*/ 260509 h 514350"/>
                <a:gd name="connsiteX4270" fmla="*/ 4495324 w 6400800"/>
                <a:gd name="connsiteY4270" fmla="*/ 275749 h 514350"/>
                <a:gd name="connsiteX4271" fmla="*/ 4501039 w 6400800"/>
                <a:gd name="connsiteY4271" fmla="*/ 293846 h 514350"/>
                <a:gd name="connsiteX4272" fmla="*/ 4503897 w 6400800"/>
                <a:gd name="connsiteY4272" fmla="*/ 303371 h 514350"/>
                <a:gd name="connsiteX4273" fmla="*/ 4497229 w 6400800"/>
                <a:gd name="connsiteY4273" fmla="*/ 317659 h 514350"/>
                <a:gd name="connsiteX4274" fmla="*/ 4493419 w 6400800"/>
                <a:gd name="connsiteY4274" fmla="*/ 326231 h 514350"/>
                <a:gd name="connsiteX4275" fmla="*/ 4488656 w 6400800"/>
                <a:gd name="connsiteY4275" fmla="*/ 280511 h 514350"/>
                <a:gd name="connsiteX4276" fmla="*/ 4487704 w 6400800"/>
                <a:gd name="connsiteY4276" fmla="*/ 319564 h 514350"/>
                <a:gd name="connsiteX4277" fmla="*/ 4483894 w 6400800"/>
                <a:gd name="connsiteY4277" fmla="*/ 311944 h 514350"/>
                <a:gd name="connsiteX4278" fmla="*/ 4473416 w 6400800"/>
                <a:gd name="connsiteY4278" fmla="*/ 289084 h 514350"/>
                <a:gd name="connsiteX4279" fmla="*/ 4481037 w 6400800"/>
                <a:gd name="connsiteY4279" fmla="*/ 312896 h 514350"/>
                <a:gd name="connsiteX4280" fmla="*/ 4486751 w 6400800"/>
                <a:gd name="connsiteY4280" fmla="*/ 330041 h 514350"/>
                <a:gd name="connsiteX4281" fmla="*/ 4484847 w 6400800"/>
                <a:gd name="connsiteY4281" fmla="*/ 328136 h 514350"/>
                <a:gd name="connsiteX4282" fmla="*/ 4475322 w 6400800"/>
                <a:gd name="connsiteY4282" fmla="*/ 318611 h 514350"/>
                <a:gd name="connsiteX4283" fmla="*/ 4473416 w 6400800"/>
                <a:gd name="connsiteY4283" fmla="*/ 304324 h 514350"/>
                <a:gd name="connsiteX4284" fmla="*/ 4468654 w 6400800"/>
                <a:gd name="connsiteY4284" fmla="*/ 278606 h 514350"/>
                <a:gd name="connsiteX4285" fmla="*/ 4477226 w 6400800"/>
                <a:gd name="connsiteY4285" fmla="*/ 256699 h 514350"/>
                <a:gd name="connsiteX4286" fmla="*/ 4466749 w 6400800"/>
                <a:gd name="connsiteY4286" fmla="*/ 273844 h 514350"/>
                <a:gd name="connsiteX4287" fmla="*/ 4462939 w 6400800"/>
                <a:gd name="connsiteY4287" fmla="*/ 258604 h 514350"/>
                <a:gd name="connsiteX4288" fmla="*/ 4462939 w 6400800"/>
                <a:gd name="connsiteY4288" fmla="*/ 256699 h 514350"/>
                <a:gd name="connsiteX4289" fmla="*/ 4462939 w 6400800"/>
                <a:gd name="connsiteY4289" fmla="*/ 250984 h 514350"/>
                <a:gd name="connsiteX4290" fmla="*/ 4461034 w 6400800"/>
                <a:gd name="connsiteY4290" fmla="*/ 255746 h 514350"/>
                <a:gd name="connsiteX4291" fmla="*/ 4461034 w 6400800"/>
                <a:gd name="connsiteY4291" fmla="*/ 255746 h 514350"/>
                <a:gd name="connsiteX4292" fmla="*/ 4461034 w 6400800"/>
                <a:gd name="connsiteY4292" fmla="*/ 255746 h 514350"/>
                <a:gd name="connsiteX4293" fmla="*/ 4461034 w 6400800"/>
                <a:gd name="connsiteY4293" fmla="*/ 255746 h 514350"/>
                <a:gd name="connsiteX4294" fmla="*/ 4455319 w 6400800"/>
                <a:gd name="connsiteY4294" fmla="*/ 274796 h 514350"/>
                <a:gd name="connsiteX4295" fmla="*/ 4457224 w 6400800"/>
                <a:gd name="connsiteY4295" fmla="*/ 268129 h 514350"/>
                <a:gd name="connsiteX4296" fmla="*/ 4457224 w 6400800"/>
                <a:gd name="connsiteY4296" fmla="*/ 273844 h 514350"/>
                <a:gd name="connsiteX4297" fmla="*/ 4458176 w 6400800"/>
                <a:gd name="connsiteY4297" fmla="*/ 284321 h 514350"/>
                <a:gd name="connsiteX4298" fmla="*/ 4454366 w 6400800"/>
                <a:gd name="connsiteY4298" fmla="*/ 292894 h 514350"/>
                <a:gd name="connsiteX4299" fmla="*/ 4455319 w 6400800"/>
                <a:gd name="connsiteY4299" fmla="*/ 274796 h 514350"/>
                <a:gd name="connsiteX4300" fmla="*/ 4449604 w 6400800"/>
                <a:gd name="connsiteY4300" fmla="*/ 361474 h 514350"/>
                <a:gd name="connsiteX4301" fmla="*/ 4451509 w 6400800"/>
                <a:gd name="connsiteY4301" fmla="*/ 339566 h 514350"/>
                <a:gd name="connsiteX4302" fmla="*/ 4453414 w 6400800"/>
                <a:gd name="connsiteY4302" fmla="*/ 343376 h 514350"/>
                <a:gd name="connsiteX4303" fmla="*/ 4453414 w 6400800"/>
                <a:gd name="connsiteY4303" fmla="*/ 344329 h 514350"/>
                <a:gd name="connsiteX4304" fmla="*/ 4453414 w 6400800"/>
                <a:gd name="connsiteY4304" fmla="*/ 344329 h 514350"/>
                <a:gd name="connsiteX4305" fmla="*/ 4451509 w 6400800"/>
                <a:gd name="connsiteY4305" fmla="*/ 366236 h 514350"/>
                <a:gd name="connsiteX4306" fmla="*/ 4448651 w 6400800"/>
                <a:gd name="connsiteY4306" fmla="*/ 388144 h 514350"/>
                <a:gd name="connsiteX4307" fmla="*/ 4446747 w 6400800"/>
                <a:gd name="connsiteY4307" fmla="*/ 386239 h 514350"/>
                <a:gd name="connsiteX4308" fmla="*/ 4449604 w 6400800"/>
                <a:gd name="connsiteY4308" fmla="*/ 361474 h 514350"/>
                <a:gd name="connsiteX4309" fmla="*/ 4386739 w 6400800"/>
                <a:gd name="connsiteY4309" fmla="*/ 331946 h 514350"/>
                <a:gd name="connsiteX4310" fmla="*/ 4390549 w 6400800"/>
                <a:gd name="connsiteY4310" fmla="*/ 335756 h 514350"/>
                <a:gd name="connsiteX4311" fmla="*/ 4390549 w 6400800"/>
                <a:gd name="connsiteY4311" fmla="*/ 342424 h 514350"/>
                <a:gd name="connsiteX4312" fmla="*/ 4386739 w 6400800"/>
                <a:gd name="connsiteY4312" fmla="*/ 347186 h 514350"/>
                <a:gd name="connsiteX4313" fmla="*/ 4386739 w 6400800"/>
                <a:gd name="connsiteY4313" fmla="*/ 331946 h 514350"/>
                <a:gd name="connsiteX4314" fmla="*/ 4389597 w 6400800"/>
                <a:gd name="connsiteY4314" fmla="*/ 376714 h 514350"/>
                <a:gd name="connsiteX4315" fmla="*/ 4388644 w 6400800"/>
                <a:gd name="connsiteY4315" fmla="*/ 375761 h 514350"/>
                <a:gd name="connsiteX4316" fmla="*/ 4387691 w 6400800"/>
                <a:gd name="connsiteY4316" fmla="*/ 370046 h 514350"/>
                <a:gd name="connsiteX4317" fmla="*/ 4387691 w 6400800"/>
                <a:gd name="connsiteY4317" fmla="*/ 360521 h 514350"/>
                <a:gd name="connsiteX4318" fmla="*/ 4387691 w 6400800"/>
                <a:gd name="connsiteY4318" fmla="*/ 351949 h 514350"/>
                <a:gd name="connsiteX4319" fmla="*/ 4391501 w 6400800"/>
                <a:gd name="connsiteY4319" fmla="*/ 345281 h 514350"/>
                <a:gd name="connsiteX4320" fmla="*/ 4391501 w 6400800"/>
                <a:gd name="connsiteY4320" fmla="*/ 349091 h 514350"/>
                <a:gd name="connsiteX4321" fmla="*/ 4392454 w 6400800"/>
                <a:gd name="connsiteY4321" fmla="*/ 370046 h 514350"/>
                <a:gd name="connsiteX4322" fmla="*/ 4389597 w 6400800"/>
                <a:gd name="connsiteY4322" fmla="*/ 376714 h 514350"/>
                <a:gd name="connsiteX4323" fmla="*/ 4424839 w 6400800"/>
                <a:gd name="connsiteY4323" fmla="*/ 351949 h 514350"/>
                <a:gd name="connsiteX4324" fmla="*/ 4424839 w 6400800"/>
                <a:gd name="connsiteY4324" fmla="*/ 354806 h 514350"/>
                <a:gd name="connsiteX4325" fmla="*/ 4422934 w 6400800"/>
                <a:gd name="connsiteY4325" fmla="*/ 356711 h 514350"/>
                <a:gd name="connsiteX4326" fmla="*/ 4424839 w 6400800"/>
                <a:gd name="connsiteY4326" fmla="*/ 351949 h 514350"/>
                <a:gd name="connsiteX4327" fmla="*/ 4415314 w 6400800"/>
                <a:gd name="connsiteY4327" fmla="*/ 411004 h 514350"/>
                <a:gd name="connsiteX4328" fmla="*/ 4415314 w 6400800"/>
                <a:gd name="connsiteY4328" fmla="*/ 411956 h 514350"/>
                <a:gd name="connsiteX4329" fmla="*/ 4412456 w 6400800"/>
                <a:gd name="connsiteY4329" fmla="*/ 409099 h 514350"/>
                <a:gd name="connsiteX4330" fmla="*/ 4411504 w 6400800"/>
                <a:gd name="connsiteY4330" fmla="*/ 385286 h 514350"/>
                <a:gd name="connsiteX4331" fmla="*/ 4420076 w 6400800"/>
                <a:gd name="connsiteY4331" fmla="*/ 372904 h 514350"/>
                <a:gd name="connsiteX4332" fmla="*/ 4421029 w 6400800"/>
                <a:gd name="connsiteY4332" fmla="*/ 374809 h 514350"/>
                <a:gd name="connsiteX4333" fmla="*/ 4415314 w 6400800"/>
                <a:gd name="connsiteY4333" fmla="*/ 411004 h 514350"/>
                <a:gd name="connsiteX4334" fmla="*/ 4410551 w 6400800"/>
                <a:gd name="connsiteY4334" fmla="*/ 254794 h 514350"/>
                <a:gd name="connsiteX4335" fmla="*/ 4421029 w 6400800"/>
                <a:gd name="connsiteY4335" fmla="*/ 273844 h 514350"/>
                <a:gd name="connsiteX4336" fmla="*/ 4415314 w 6400800"/>
                <a:gd name="connsiteY4336" fmla="*/ 293846 h 514350"/>
                <a:gd name="connsiteX4337" fmla="*/ 4408647 w 6400800"/>
                <a:gd name="connsiteY4337" fmla="*/ 316706 h 514350"/>
                <a:gd name="connsiteX4338" fmla="*/ 4406741 w 6400800"/>
                <a:gd name="connsiteY4338" fmla="*/ 297656 h 514350"/>
                <a:gd name="connsiteX4339" fmla="*/ 4402931 w 6400800"/>
                <a:gd name="connsiteY4339" fmla="*/ 331946 h 514350"/>
                <a:gd name="connsiteX4340" fmla="*/ 4401026 w 6400800"/>
                <a:gd name="connsiteY4340" fmla="*/ 337661 h 514350"/>
                <a:gd name="connsiteX4341" fmla="*/ 4400074 w 6400800"/>
                <a:gd name="connsiteY4341" fmla="*/ 336709 h 514350"/>
                <a:gd name="connsiteX4342" fmla="*/ 4388644 w 6400800"/>
                <a:gd name="connsiteY4342" fmla="*/ 270034 h 514350"/>
                <a:gd name="connsiteX4343" fmla="*/ 4389597 w 6400800"/>
                <a:gd name="connsiteY4343" fmla="*/ 328136 h 514350"/>
                <a:gd name="connsiteX4344" fmla="*/ 4386739 w 6400800"/>
                <a:gd name="connsiteY4344" fmla="*/ 325279 h 514350"/>
                <a:gd name="connsiteX4345" fmla="*/ 4386739 w 6400800"/>
                <a:gd name="connsiteY4345" fmla="*/ 323374 h 514350"/>
                <a:gd name="connsiteX4346" fmla="*/ 4387691 w 6400800"/>
                <a:gd name="connsiteY4346" fmla="*/ 290989 h 514350"/>
                <a:gd name="connsiteX4347" fmla="*/ 4389597 w 6400800"/>
                <a:gd name="connsiteY4347" fmla="*/ 263366 h 514350"/>
                <a:gd name="connsiteX4348" fmla="*/ 4391501 w 6400800"/>
                <a:gd name="connsiteY4348" fmla="*/ 242411 h 514350"/>
                <a:gd name="connsiteX4349" fmla="*/ 4393406 w 6400800"/>
                <a:gd name="connsiteY4349" fmla="*/ 225266 h 514350"/>
                <a:gd name="connsiteX4350" fmla="*/ 4410551 w 6400800"/>
                <a:gd name="connsiteY4350" fmla="*/ 254794 h 514350"/>
                <a:gd name="connsiteX4351" fmla="*/ 4389597 w 6400800"/>
                <a:gd name="connsiteY4351" fmla="*/ 217646 h 514350"/>
                <a:gd name="connsiteX4352" fmla="*/ 4393406 w 6400800"/>
                <a:gd name="connsiteY4352" fmla="*/ 224314 h 514350"/>
                <a:gd name="connsiteX4353" fmla="*/ 4387691 w 6400800"/>
                <a:gd name="connsiteY4353" fmla="*/ 240506 h 514350"/>
                <a:gd name="connsiteX4354" fmla="*/ 4381976 w 6400800"/>
                <a:gd name="connsiteY4354" fmla="*/ 260509 h 514350"/>
                <a:gd name="connsiteX4355" fmla="*/ 4381976 w 6400800"/>
                <a:gd name="connsiteY4355" fmla="*/ 256699 h 514350"/>
                <a:gd name="connsiteX4356" fmla="*/ 4389597 w 6400800"/>
                <a:gd name="connsiteY4356" fmla="*/ 217646 h 514350"/>
                <a:gd name="connsiteX4357" fmla="*/ 4374356 w 6400800"/>
                <a:gd name="connsiteY4357" fmla="*/ 291941 h 514350"/>
                <a:gd name="connsiteX4358" fmla="*/ 4374356 w 6400800"/>
                <a:gd name="connsiteY4358" fmla="*/ 292894 h 514350"/>
                <a:gd name="connsiteX4359" fmla="*/ 4374356 w 6400800"/>
                <a:gd name="connsiteY4359" fmla="*/ 291941 h 514350"/>
                <a:gd name="connsiteX4360" fmla="*/ 4374356 w 6400800"/>
                <a:gd name="connsiteY4360" fmla="*/ 291941 h 514350"/>
                <a:gd name="connsiteX4361" fmla="*/ 4360069 w 6400800"/>
                <a:gd name="connsiteY4361" fmla="*/ 282416 h 514350"/>
                <a:gd name="connsiteX4362" fmla="*/ 4360069 w 6400800"/>
                <a:gd name="connsiteY4362" fmla="*/ 290036 h 514350"/>
                <a:gd name="connsiteX4363" fmla="*/ 4359116 w 6400800"/>
                <a:gd name="connsiteY4363" fmla="*/ 288131 h 514350"/>
                <a:gd name="connsiteX4364" fmla="*/ 4360069 w 6400800"/>
                <a:gd name="connsiteY4364" fmla="*/ 282416 h 514350"/>
                <a:gd name="connsiteX4365" fmla="*/ 4313397 w 6400800"/>
                <a:gd name="connsiteY4365" fmla="*/ 387191 h 514350"/>
                <a:gd name="connsiteX4366" fmla="*/ 4311491 w 6400800"/>
                <a:gd name="connsiteY4366" fmla="*/ 391001 h 514350"/>
                <a:gd name="connsiteX4367" fmla="*/ 4313397 w 6400800"/>
                <a:gd name="connsiteY4367" fmla="*/ 387191 h 514350"/>
                <a:gd name="connsiteX4368" fmla="*/ 4313397 w 6400800"/>
                <a:gd name="connsiteY4368" fmla="*/ 387191 h 514350"/>
                <a:gd name="connsiteX4369" fmla="*/ 4311491 w 6400800"/>
                <a:gd name="connsiteY4369" fmla="*/ 351949 h 514350"/>
                <a:gd name="connsiteX4370" fmla="*/ 4312444 w 6400800"/>
                <a:gd name="connsiteY4370" fmla="*/ 365284 h 514350"/>
                <a:gd name="connsiteX4371" fmla="*/ 4311491 w 6400800"/>
                <a:gd name="connsiteY4371" fmla="*/ 363379 h 514350"/>
                <a:gd name="connsiteX4372" fmla="*/ 4311491 w 6400800"/>
                <a:gd name="connsiteY4372" fmla="*/ 351949 h 514350"/>
                <a:gd name="connsiteX4373" fmla="*/ 4247674 w 6400800"/>
                <a:gd name="connsiteY4373" fmla="*/ 313849 h 514350"/>
                <a:gd name="connsiteX4374" fmla="*/ 4247674 w 6400800"/>
                <a:gd name="connsiteY4374" fmla="*/ 311944 h 514350"/>
                <a:gd name="connsiteX4375" fmla="*/ 4247674 w 6400800"/>
                <a:gd name="connsiteY4375" fmla="*/ 313849 h 514350"/>
                <a:gd name="connsiteX4376" fmla="*/ 4246722 w 6400800"/>
                <a:gd name="connsiteY4376" fmla="*/ 324326 h 514350"/>
                <a:gd name="connsiteX4377" fmla="*/ 4246722 w 6400800"/>
                <a:gd name="connsiteY4377" fmla="*/ 322421 h 514350"/>
                <a:gd name="connsiteX4378" fmla="*/ 4247674 w 6400800"/>
                <a:gd name="connsiteY4378" fmla="*/ 313849 h 514350"/>
                <a:gd name="connsiteX4379" fmla="*/ 4181951 w 6400800"/>
                <a:gd name="connsiteY4379" fmla="*/ 367189 h 514350"/>
                <a:gd name="connsiteX4380" fmla="*/ 4182904 w 6400800"/>
                <a:gd name="connsiteY4380" fmla="*/ 324326 h 514350"/>
                <a:gd name="connsiteX4381" fmla="*/ 4183856 w 6400800"/>
                <a:gd name="connsiteY4381" fmla="*/ 330041 h 514350"/>
                <a:gd name="connsiteX4382" fmla="*/ 4185761 w 6400800"/>
                <a:gd name="connsiteY4382" fmla="*/ 340519 h 514350"/>
                <a:gd name="connsiteX4383" fmla="*/ 4185761 w 6400800"/>
                <a:gd name="connsiteY4383" fmla="*/ 342424 h 514350"/>
                <a:gd name="connsiteX4384" fmla="*/ 4183856 w 6400800"/>
                <a:gd name="connsiteY4384" fmla="*/ 338614 h 514350"/>
                <a:gd name="connsiteX4385" fmla="*/ 4187666 w 6400800"/>
                <a:gd name="connsiteY4385" fmla="*/ 357664 h 514350"/>
                <a:gd name="connsiteX4386" fmla="*/ 4189571 w 6400800"/>
                <a:gd name="connsiteY4386" fmla="*/ 365284 h 514350"/>
                <a:gd name="connsiteX4387" fmla="*/ 4191476 w 6400800"/>
                <a:gd name="connsiteY4387" fmla="*/ 373856 h 514350"/>
                <a:gd name="connsiteX4388" fmla="*/ 4190524 w 6400800"/>
                <a:gd name="connsiteY4388" fmla="*/ 386239 h 514350"/>
                <a:gd name="connsiteX4389" fmla="*/ 4190524 w 6400800"/>
                <a:gd name="connsiteY4389" fmla="*/ 391954 h 514350"/>
                <a:gd name="connsiteX4390" fmla="*/ 4181951 w 6400800"/>
                <a:gd name="connsiteY4390" fmla="*/ 367189 h 514350"/>
                <a:gd name="connsiteX4391" fmla="*/ 4181951 w 6400800"/>
                <a:gd name="connsiteY4391" fmla="*/ 367189 h 514350"/>
                <a:gd name="connsiteX4392" fmla="*/ 4161949 w 6400800"/>
                <a:gd name="connsiteY4392" fmla="*/ 401479 h 514350"/>
                <a:gd name="connsiteX4393" fmla="*/ 4161949 w 6400800"/>
                <a:gd name="connsiteY4393" fmla="*/ 399574 h 514350"/>
                <a:gd name="connsiteX4394" fmla="*/ 4161949 w 6400800"/>
                <a:gd name="connsiteY4394" fmla="*/ 399574 h 514350"/>
                <a:gd name="connsiteX4395" fmla="*/ 4161949 w 6400800"/>
                <a:gd name="connsiteY4395" fmla="*/ 401479 h 514350"/>
                <a:gd name="connsiteX4396" fmla="*/ 4160044 w 6400800"/>
                <a:gd name="connsiteY4396" fmla="*/ 306229 h 514350"/>
                <a:gd name="connsiteX4397" fmla="*/ 4160996 w 6400800"/>
                <a:gd name="connsiteY4397" fmla="*/ 292894 h 514350"/>
                <a:gd name="connsiteX4398" fmla="*/ 4163854 w 6400800"/>
                <a:gd name="connsiteY4398" fmla="*/ 282416 h 514350"/>
                <a:gd name="connsiteX4399" fmla="*/ 4162901 w 6400800"/>
                <a:gd name="connsiteY4399" fmla="*/ 313849 h 514350"/>
                <a:gd name="connsiteX4400" fmla="*/ 4160044 w 6400800"/>
                <a:gd name="connsiteY4400" fmla="*/ 306229 h 514350"/>
                <a:gd name="connsiteX4401" fmla="*/ 4160044 w 6400800"/>
                <a:gd name="connsiteY4401" fmla="*/ 306229 h 514350"/>
                <a:gd name="connsiteX4402" fmla="*/ 4128611 w 6400800"/>
                <a:gd name="connsiteY4402" fmla="*/ 354806 h 514350"/>
                <a:gd name="connsiteX4403" fmla="*/ 4127659 w 6400800"/>
                <a:gd name="connsiteY4403" fmla="*/ 343376 h 514350"/>
                <a:gd name="connsiteX4404" fmla="*/ 4128611 w 6400800"/>
                <a:gd name="connsiteY4404" fmla="*/ 350044 h 514350"/>
                <a:gd name="connsiteX4405" fmla="*/ 4130516 w 6400800"/>
                <a:gd name="connsiteY4405" fmla="*/ 365284 h 514350"/>
                <a:gd name="connsiteX4406" fmla="*/ 4128611 w 6400800"/>
                <a:gd name="connsiteY4406" fmla="*/ 354806 h 514350"/>
                <a:gd name="connsiteX4407" fmla="*/ 4124801 w 6400800"/>
                <a:gd name="connsiteY4407" fmla="*/ 255746 h 514350"/>
                <a:gd name="connsiteX4408" fmla="*/ 4124801 w 6400800"/>
                <a:gd name="connsiteY4408" fmla="*/ 248126 h 514350"/>
                <a:gd name="connsiteX4409" fmla="*/ 4140041 w 6400800"/>
                <a:gd name="connsiteY4409" fmla="*/ 303371 h 514350"/>
                <a:gd name="connsiteX4410" fmla="*/ 4140994 w 6400800"/>
                <a:gd name="connsiteY4410" fmla="*/ 307181 h 514350"/>
                <a:gd name="connsiteX4411" fmla="*/ 4140994 w 6400800"/>
                <a:gd name="connsiteY4411" fmla="*/ 321469 h 514350"/>
                <a:gd name="connsiteX4412" fmla="*/ 4133374 w 6400800"/>
                <a:gd name="connsiteY4412" fmla="*/ 305276 h 514350"/>
                <a:gd name="connsiteX4413" fmla="*/ 4135279 w 6400800"/>
                <a:gd name="connsiteY4413" fmla="*/ 312896 h 514350"/>
                <a:gd name="connsiteX4414" fmla="*/ 4127659 w 6400800"/>
                <a:gd name="connsiteY4414" fmla="*/ 300514 h 514350"/>
                <a:gd name="connsiteX4415" fmla="*/ 4123849 w 6400800"/>
                <a:gd name="connsiteY4415" fmla="*/ 284321 h 514350"/>
                <a:gd name="connsiteX4416" fmla="*/ 4124801 w 6400800"/>
                <a:gd name="connsiteY4416" fmla="*/ 255746 h 514350"/>
                <a:gd name="connsiteX4417" fmla="*/ 4095274 w 6400800"/>
                <a:gd name="connsiteY4417" fmla="*/ 395764 h 514350"/>
                <a:gd name="connsiteX4418" fmla="*/ 4095274 w 6400800"/>
                <a:gd name="connsiteY4418" fmla="*/ 395764 h 514350"/>
                <a:gd name="connsiteX4419" fmla="*/ 4095274 w 6400800"/>
                <a:gd name="connsiteY4419" fmla="*/ 394811 h 514350"/>
                <a:gd name="connsiteX4420" fmla="*/ 4095274 w 6400800"/>
                <a:gd name="connsiteY4420" fmla="*/ 395764 h 514350"/>
                <a:gd name="connsiteX4421" fmla="*/ 4093369 w 6400800"/>
                <a:gd name="connsiteY4421" fmla="*/ 386239 h 514350"/>
                <a:gd name="connsiteX4422" fmla="*/ 4093369 w 6400800"/>
                <a:gd name="connsiteY4422" fmla="*/ 376714 h 514350"/>
                <a:gd name="connsiteX4423" fmla="*/ 4096226 w 6400800"/>
                <a:gd name="connsiteY4423" fmla="*/ 382429 h 514350"/>
                <a:gd name="connsiteX4424" fmla="*/ 4093369 w 6400800"/>
                <a:gd name="connsiteY4424" fmla="*/ 386239 h 514350"/>
                <a:gd name="connsiteX4425" fmla="*/ 4097179 w 6400800"/>
                <a:gd name="connsiteY4425" fmla="*/ 342424 h 514350"/>
                <a:gd name="connsiteX4426" fmla="*/ 4099084 w 6400800"/>
                <a:gd name="connsiteY4426" fmla="*/ 334804 h 514350"/>
                <a:gd name="connsiteX4427" fmla="*/ 4099084 w 6400800"/>
                <a:gd name="connsiteY4427" fmla="*/ 337661 h 514350"/>
                <a:gd name="connsiteX4428" fmla="*/ 4097179 w 6400800"/>
                <a:gd name="connsiteY4428" fmla="*/ 342424 h 514350"/>
                <a:gd name="connsiteX4429" fmla="*/ 4100989 w 6400800"/>
                <a:gd name="connsiteY4429" fmla="*/ 353854 h 514350"/>
                <a:gd name="connsiteX4430" fmla="*/ 4100989 w 6400800"/>
                <a:gd name="connsiteY4430" fmla="*/ 351949 h 514350"/>
                <a:gd name="connsiteX4431" fmla="*/ 4100989 w 6400800"/>
                <a:gd name="connsiteY4431" fmla="*/ 351949 h 514350"/>
                <a:gd name="connsiteX4432" fmla="*/ 4100989 w 6400800"/>
                <a:gd name="connsiteY4432" fmla="*/ 353854 h 514350"/>
                <a:gd name="connsiteX4433" fmla="*/ 4100989 w 6400800"/>
                <a:gd name="connsiteY4433" fmla="*/ 353854 h 514350"/>
                <a:gd name="connsiteX4434" fmla="*/ 4115276 w 6400800"/>
                <a:gd name="connsiteY4434" fmla="*/ 322421 h 514350"/>
                <a:gd name="connsiteX4435" fmla="*/ 4114324 w 6400800"/>
                <a:gd name="connsiteY4435" fmla="*/ 350996 h 514350"/>
                <a:gd name="connsiteX4436" fmla="*/ 4111466 w 6400800"/>
                <a:gd name="connsiteY4436" fmla="*/ 327184 h 514350"/>
                <a:gd name="connsiteX4437" fmla="*/ 4108609 w 6400800"/>
                <a:gd name="connsiteY4437" fmla="*/ 342424 h 514350"/>
                <a:gd name="connsiteX4438" fmla="*/ 4107656 w 6400800"/>
                <a:gd name="connsiteY4438" fmla="*/ 341471 h 514350"/>
                <a:gd name="connsiteX4439" fmla="*/ 4106704 w 6400800"/>
                <a:gd name="connsiteY4439" fmla="*/ 336709 h 514350"/>
                <a:gd name="connsiteX4440" fmla="*/ 4113371 w 6400800"/>
                <a:gd name="connsiteY4440" fmla="*/ 322421 h 514350"/>
                <a:gd name="connsiteX4441" fmla="*/ 4115276 w 6400800"/>
                <a:gd name="connsiteY4441" fmla="*/ 318611 h 514350"/>
                <a:gd name="connsiteX4442" fmla="*/ 4115276 w 6400800"/>
                <a:gd name="connsiteY4442" fmla="*/ 322421 h 514350"/>
                <a:gd name="connsiteX4443" fmla="*/ 4109561 w 6400800"/>
                <a:gd name="connsiteY4443" fmla="*/ 295751 h 514350"/>
                <a:gd name="connsiteX4444" fmla="*/ 4116229 w 6400800"/>
                <a:gd name="connsiteY4444" fmla="*/ 308134 h 514350"/>
                <a:gd name="connsiteX4445" fmla="*/ 4116229 w 6400800"/>
                <a:gd name="connsiteY4445" fmla="*/ 311944 h 514350"/>
                <a:gd name="connsiteX4446" fmla="*/ 4110514 w 6400800"/>
                <a:gd name="connsiteY4446" fmla="*/ 320516 h 514350"/>
                <a:gd name="connsiteX4447" fmla="*/ 4104799 w 6400800"/>
                <a:gd name="connsiteY4447" fmla="*/ 329089 h 514350"/>
                <a:gd name="connsiteX4448" fmla="*/ 4102894 w 6400800"/>
                <a:gd name="connsiteY4448" fmla="*/ 322421 h 514350"/>
                <a:gd name="connsiteX4449" fmla="*/ 4109561 w 6400800"/>
                <a:gd name="connsiteY4449" fmla="*/ 295751 h 514350"/>
                <a:gd name="connsiteX4450" fmla="*/ 4092416 w 6400800"/>
                <a:gd name="connsiteY4450" fmla="*/ 294799 h 514350"/>
                <a:gd name="connsiteX4451" fmla="*/ 4094321 w 6400800"/>
                <a:gd name="connsiteY4451" fmla="*/ 265271 h 514350"/>
                <a:gd name="connsiteX4452" fmla="*/ 4098131 w 6400800"/>
                <a:gd name="connsiteY4452" fmla="*/ 272891 h 514350"/>
                <a:gd name="connsiteX4453" fmla="*/ 4106704 w 6400800"/>
                <a:gd name="connsiteY4453" fmla="*/ 290989 h 514350"/>
                <a:gd name="connsiteX4454" fmla="*/ 4098131 w 6400800"/>
                <a:gd name="connsiteY4454" fmla="*/ 311944 h 514350"/>
                <a:gd name="connsiteX4455" fmla="*/ 4096226 w 6400800"/>
                <a:gd name="connsiteY4455" fmla="*/ 306229 h 514350"/>
                <a:gd name="connsiteX4456" fmla="*/ 4097179 w 6400800"/>
                <a:gd name="connsiteY4456" fmla="*/ 315754 h 514350"/>
                <a:gd name="connsiteX4457" fmla="*/ 4092416 w 6400800"/>
                <a:gd name="connsiteY4457" fmla="*/ 329089 h 514350"/>
                <a:gd name="connsiteX4458" fmla="*/ 4091464 w 6400800"/>
                <a:gd name="connsiteY4458" fmla="*/ 325279 h 514350"/>
                <a:gd name="connsiteX4459" fmla="*/ 4090511 w 6400800"/>
                <a:gd name="connsiteY4459" fmla="*/ 321469 h 514350"/>
                <a:gd name="connsiteX4460" fmla="*/ 4092416 w 6400800"/>
                <a:gd name="connsiteY4460" fmla="*/ 294799 h 514350"/>
                <a:gd name="connsiteX4461" fmla="*/ 4085749 w 6400800"/>
                <a:gd name="connsiteY4461" fmla="*/ 244316 h 514350"/>
                <a:gd name="connsiteX4462" fmla="*/ 4085749 w 6400800"/>
                <a:gd name="connsiteY4462" fmla="*/ 244316 h 514350"/>
                <a:gd name="connsiteX4463" fmla="*/ 4084796 w 6400800"/>
                <a:gd name="connsiteY4463" fmla="*/ 250031 h 514350"/>
                <a:gd name="connsiteX4464" fmla="*/ 4085749 w 6400800"/>
                <a:gd name="connsiteY4464" fmla="*/ 244316 h 514350"/>
                <a:gd name="connsiteX4465" fmla="*/ 4043839 w 6400800"/>
                <a:gd name="connsiteY4465" fmla="*/ 279559 h 514350"/>
                <a:gd name="connsiteX4466" fmla="*/ 4043839 w 6400800"/>
                <a:gd name="connsiteY4466" fmla="*/ 279559 h 514350"/>
                <a:gd name="connsiteX4467" fmla="*/ 4044791 w 6400800"/>
                <a:gd name="connsiteY4467" fmla="*/ 283369 h 514350"/>
                <a:gd name="connsiteX4468" fmla="*/ 4043839 w 6400800"/>
                <a:gd name="connsiteY4468" fmla="*/ 281464 h 514350"/>
                <a:gd name="connsiteX4469" fmla="*/ 4044791 w 6400800"/>
                <a:gd name="connsiteY4469" fmla="*/ 286226 h 514350"/>
                <a:gd name="connsiteX4470" fmla="*/ 4044791 w 6400800"/>
                <a:gd name="connsiteY4470" fmla="*/ 290036 h 514350"/>
                <a:gd name="connsiteX4471" fmla="*/ 4042886 w 6400800"/>
                <a:gd name="connsiteY4471" fmla="*/ 284321 h 514350"/>
                <a:gd name="connsiteX4472" fmla="*/ 4043839 w 6400800"/>
                <a:gd name="connsiteY4472" fmla="*/ 279559 h 514350"/>
                <a:gd name="connsiteX4473" fmla="*/ 4044791 w 6400800"/>
                <a:gd name="connsiteY4473" fmla="*/ 333851 h 514350"/>
                <a:gd name="connsiteX4474" fmla="*/ 4044791 w 6400800"/>
                <a:gd name="connsiteY4474" fmla="*/ 333851 h 514350"/>
                <a:gd name="connsiteX4475" fmla="*/ 4044791 w 6400800"/>
                <a:gd name="connsiteY4475" fmla="*/ 339566 h 514350"/>
                <a:gd name="connsiteX4476" fmla="*/ 4042886 w 6400800"/>
                <a:gd name="connsiteY4476" fmla="*/ 337661 h 514350"/>
                <a:gd name="connsiteX4477" fmla="*/ 4044791 w 6400800"/>
                <a:gd name="connsiteY4477" fmla="*/ 333851 h 514350"/>
                <a:gd name="connsiteX4478" fmla="*/ 4039076 w 6400800"/>
                <a:gd name="connsiteY4478" fmla="*/ 271939 h 514350"/>
                <a:gd name="connsiteX4479" fmla="*/ 4039076 w 6400800"/>
                <a:gd name="connsiteY4479" fmla="*/ 273844 h 514350"/>
                <a:gd name="connsiteX4480" fmla="*/ 4038124 w 6400800"/>
                <a:gd name="connsiteY4480" fmla="*/ 270034 h 514350"/>
                <a:gd name="connsiteX4481" fmla="*/ 4036219 w 6400800"/>
                <a:gd name="connsiteY4481" fmla="*/ 265271 h 514350"/>
                <a:gd name="connsiteX4482" fmla="*/ 4039076 w 6400800"/>
                <a:gd name="connsiteY4482" fmla="*/ 271939 h 514350"/>
                <a:gd name="connsiteX4483" fmla="*/ 4033361 w 6400800"/>
                <a:gd name="connsiteY4483" fmla="*/ 358616 h 514350"/>
                <a:gd name="connsiteX4484" fmla="*/ 4034314 w 6400800"/>
                <a:gd name="connsiteY4484" fmla="*/ 351949 h 514350"/>
                <a:gd name="connsiteX4485" fmla="*/ 4038124 w 6400800"/>
                <a:gd name="connsiteY4485" fmla="*/ 345281 h 514350"/>
                <a:gd name="connsiteX4486" fmla="*/ 4043839 w 6400800"/>
                <a:gd name="connsiteY4486" fmla="*/ 351949 h 514350"/>
                <a:gd name="connsiteX4487" fmla="*/ 4040981 w 6400800"/>
                <a:gd name="connsiteY4487" fmla="*/ 391954 h 514350"/>
                <a:gd name="connsiteX4488" fmla="*/ 4035266 w 6400800"/>
                <a:gd name="connsiteY4488" fmla="*/ 413861 h 514350"/>
                <a:gd name="connsiteX4489" fmla="*/ 4029551 w 6400800"/>
                <a:gd name="connsiteY4489" fmla="*/ 395764 h 514350"/>
                <a:gd name="connsiteX4490" fmla="*/ 4027646 w 6400800"/>
                <a:gd name="connsiteY4490" fmla="*/ 388144 h 514350"/>
                <a:gd name="connsiteX4491" fmla="*/ 4033361 w 6400800"/>
                <a:gd name="connsiteY4491" fmla="*/ 358616 h 514350"/>
                <a:gd name="connsiteX4492" fmla="*/ 4020026 w 6400800"/>
                <a:gd name="connsiteY4492" fmla="*/ 324326 h 514350"/>
                <a:gd name="connsiteX4493" fmla="*/ 4021931 w 6400800"/>
                <a:gd name="connsiteY4493" fmla="*/ 326231 h 514350"/>
                <a:gd name="connsiteX4494" fmla="*/ 4019074 w 6400800"/>
                <a:gd name="connsiteY4494" fmla="*/ 334804 h 514350"/>
                <a:gd name="connsiteX4495" fmla="*/ 4017169 w 6400800"/>
                <a:gd name="connsiteY4495" fmla="*/ 341471 h 514350"/>
                <a:gd name="connsiteX4496" fmla="*/ 4016216 w 6400800"/>
                <a:gd name="connsiteY4496" fmla="*/ 342424 h 514350"/>
                <a:gd name="connsiteX4497" fmla="*/ 4015264 w 6400800"/>
                <a:gd name="connsiteY4497" fmla="*/ 344329 h 514350"/>
                <a:gd name="connsiteX4498" fmla="*/ 4011454 w 6400800"/>
                <a:gd name="connsiteY4498" fmla="*/ 315754 h 514350"/>
                <a:gd name="connsiteX4499" fmla="*/ 4020026 w 6400800"/>
                <a:gd name="connsiteY4499" fmla="*/ 324326 h 514350"/>
                <a:gd name="connsiteX4500" fmla="*/ 3999071 w 6400800"/>
                <a:gd name="connsiteY4500" fmla="*/ 282416 h 514350"/>
                <a:gd name="connsiteX4501" fmla="*/ 3999071 w 6400800"/>
                <a:gd name="connsiteY4501" fmla="*/ 282416 h 514350"/>
                <a:gd name="connsiteX4502" fmla="*/ 4000024 w 6400800"/>
                <a:gd name="connsiteY4502" fmla="*/ 310991 h 514350"/>
                <a:gd name="connsiteX4503" fmla="*/ 4000024 w 6400800"/>
                <a:gd name="connsiteY4503" fmla="*/ 316706 h 514350"/>
                <a:gd name="connsiteX4504" fmla="*/ 3999071 w 6400800"/>
                <a:gd name="connsiteY4504" fmla="*/ 325279 h 514350"/>
                <a:gd name="connsiteX4505" fmla="*/ 3999071 w 6400800"/>
                <a:gd name="connsiteY4505" fmla="*/ 327184 h 514350"/>
                <a:gd name="connsiteX4506" fmla="*/ 3998119 w 6400800"/>
                <a:gd name="connsiteY4506" fmla="*/ 324326 h 514350"/>
                <a:gd name="connsiteX4507" fmla="*/ 3997166 w 6400800"/>
                <a:gd name="connsiteY4507" fmla="*/ 314801 h 514350"/>
                <a:gd name="connsiteX4508" fmla="*/ 3996214 w 6400800"/>
                <a:gd name="connsiteY4508" fmla="*/ 286226 h 514350"/>
                <a:gd name="connsiteX4509" fmla="*/ 3999071 w 6400800"/>
                <a:gd name="connsiteY4509" fmla="*/ 282416 h 514350"/>
                <a:gd name="connsiteX4510" fmla="*/ 3983831 w 6400800"/>
                <a:gd name="connsiteY4510" fmla="*/ 405289 h 514350"/>
                <a:gd name="connsiteX4511" fmla="*/ 3980021 w 6400800"/>
                <a:gd name="connsiteY4511" fmla="*/ 412909 h 514350"/>
                <a:gd name="connsiteX4512" fmla="*/ 3980021 w 6400800"/>
                <a:gd name="connsiteY4512" fmla="*/ 412909 h 514350"/>
                <a:gd name="connsiteX4513" fmla="*/ 3982879 w 6400800"/>
                <a:gd name="connsiteY4513" fmla="*/ 402431 h 514350"/>
                <a:gd name="connsiteX4514" fmla="*/ 3983831 w 6400800"/>
                <a:gd name="connsiteY4514" fmla="*/ 405289 h 514350"/>
                <a:gd name="connsiteX4515" fmla="*/ 3980974 w 6400800"/>
                <a:gd name="connsiteY4515" fmla="*/ 395764 h 514350"/>
                <a:gd name="connsiteX4516" fmla="*/ 3982879 w 6400800"/>
                <a:gd name="connsiteY4516" fmla="*/ 401479 h 514350"/>
                <a:gd name="connsiteX4517" fmla="*/ 3979069 w 6400800"/>
                <a:gd name="connsiteY4517" fmla="*/ 407194 h 514350"/>
                <a:gd name="connsiteX4518" fmla="*/ 3979069 w 6400800"/>
                <a:gd name="connsiteY4518" fmla="*/ 406241 h 514350"/>
                <a:gd name="connsiteX4519" fmla="*/ 3980974 w 6400800"/>
                <a:gd name="connsiteY4519" fmla="*/ 395764 h 514350"/>
                <a:gd name="connsiteX4520" fmla="*/ 3976211 w 6400800"/>
                <a:gd name="connsiteY4520" fmla="*/ 378619 h 514350"/>
                <a:gd name="connsiteX4521" fmla="*/ 3976211 w 6400800"/>
                <a:gd name="connsiteY4521" fmla="*/ 378619 h 514350"/>
                <a:gd name="connsiteX4522" fmla="*/ 3976211 w 6400800"/>
                <a:gd name="connsiteY4522" fmla="*/ 380524 h 514350"/>
                <a:gd name="connsiteX4523" fmla="*/ 3976211 w 6400800"/>
                <a:gd name="connsiteY4523" fmla="*/ 378619 h 514350"/>
                <a:gd name="connsiteX4524" fmla="*/ 3948589 w 6400800"/>
                <a:gd name="connsiteY4524" fmla="*/ 255746 h 514350"/>
                <a:gd name="connsiteX4525" fmla="*/ 3946684 w 6400800"/>
                <a:gd name="connsiteY4525" fmla="*/ 277654 h 514350"/>
                <a:gd name="connsiteX4526" fmla="*/ 3945731 w 6400800"/>
                <a:gd name="connsiteY4526" fmla="*/ 285274 h 514350"/>
                <a:gd name="connsiteX4527" fmla="*/ 3943826 w 6400800"/>
                <a:gd name="connsiteY4527" fmla="*/ 266224 h 514350"/>
                <a:gd name="connsiteX4528" fmla="*/ 3940016 w 6400800"/>
                <a:gd name="connsiteY4528" fmla="*/ 240506 h 514350"/>
                <a:gd name="connsiteX4529" fmla="*/ 3940016 w 6400800"/>
                <a:gd name="connsiteY4529" fmla="*/ 239554 h 514350"/>
                <a:gd name="connsiteX4530" fmla="*/ 3940016 w 6400800"/>
                <a:gd name="connsiteY4530" fmla="*/ 236696 h 514350"/>
                <a:gd name="connsiteX4531" fmla="*/ 3942874 w 6400800"/>
                <a:gd name="connsiteY4531" fmla="*/ 240506 h 514350"/>
                <a:gd name="connsiteX4532" fmla="*/ 3947636 w 6400800"/>
                <a:gd name="connsiteY4532" fmla="*/ 248126 h 514350"/>
                <a:gd name="connsiteX4533" fmla="*/ 3948589 w 6400800"/>
                <a:gd name="connsiteY4533" fmla="*/ 255746 h 514350"/>
                <a:gd name="connsiteX4534" fmla="*/ 3943826 w 6400800"/>
                <a:gd name="connsiteY4534" fmla="*/ 205264 h 514350"/>
                <a:gd name="connsiteX4535" fmla="*/ 3943826 w 6400800"/>
                <a:gd name="connsiteY4535" fmla="*/ 210979 h 514350"/>
                <a:gd name="connsiteX4536" fmla="*/ 3945731 w 6400800"/>
                <a:gd name="connsiteY4536" fmla="*/ 230981 h 514350"/>
                <a:gd name="connsiteX4537" fmla="*/ 3946684 w 6400800"/>
                <a:gd name="connsiteY4537" fmla="*/ 236696 h 514350"/>
                <a:gd name="connsiteX4538" fmla="*/ 3939064 w 6400800"/>
                <a:gd name="connsiteY4538" fmla="*/ 228124 h 514350"/>
                <a:gd name="connsiteX4539" fmla="*/ 3937159 w 6400800"/>
                <a:gd name="connsiteY4539" fmla="*/ 215741 h 514350"/>
                <a:gd name="connsiteX4540" fmla="*/ 3943826 w 6400800"/>
                <a:gd name="connsiteY4540" fmla="*/ 205264 h 514350"/>
                <a:gd name="connsiteX4541" fmla="*/ 3866674 w 6400800"/>
                <a:gd name="connsiteY4541" fmla="*/ 369094 h 514350"/>
                <a:gd name="connsiteX4542" fmla="*/ 3867626 w 6400800"/>
                <a:gd name="connsiteY4542" fmla="*/ 368141 h 514350"/>
                <a:gd name="connsiteX4543" fmla="*/ 3867626 w 6400800"/>
                <a:gd name="connsiteY4543" fmla="*/ 370999 h 514350"/>
                <a:gd name="connsiteX4544" fmla="*/ 3866674 w 6400800"/>
                <a:gd name="connsiteY4544" fmla="*/ 369094 h 514350"/>
                <a:gd name="connsiteX4545" fmla="*/ 3886676 w 6400800"/>
                <a:gd name="connsiteY4545" fmla="*/ 354806 h 514350"/>
                <a:gd name="connsiteX4546" fmla="*/ 3882866 w 6400800"/>
                <a:gd name="connsiteY4546" fmla="*/ 348139 h 514350"/>
                <a:gd name="connsiteX4547" fmla="*/ 3881914 w 6400800"/>
                <a:gd name="connsiteY4547" fmla="*/ 338614 h 514350"/>
                <a:gd name="connsiteX4548" fmla="*/ 3886676 w 6400800"/>
                <a:gd name="connsiteY4548" fmla="*/ 354806 h 514350"/>
                <a:gd name="connsiteX4549" fmla="*/ 3887629 w 6400800"/>
                <a:gd name="connsiteY4549" fmla="*/ 356711 h 514350"/>
                <a:gd name="connsiteX4550" fmla="*/ 3886676 w 6400800"/>
                <a:gd name="connsiteY4550" fmla="*/ 354806 h 514350"/>
                <a:gd name="connsiteX4551" fmla="*/ 3897154 w 6400800"/>
                <a:gd name="connsiteY4551" fmla="*/ 278606 h 514350"/>
                <a:gd name="connsiteX4552" fmla="*/ 3901916 w 6400800"/>
                <a:gd name="connsiteY4552" fmla="*/ 270986 h 514350"/>
                <a:gd name="connsiteX4553" fmla="*/ 3901916 w 6400800"/>
                <a:gd name="connsiteY4553" fmla="*/ 270986 h 514350"/>
                <a:gd name="connsiteX4554" fmla="*/ 3897154 w 6400800"/>
                <a:gd name="connsiteY4554" fmla="*/ 278606 h 514350"/>
                <a:gd name="connsiteX4555" fmla="*/ 3897154 w 6400800"/>
                <a:gd name="connsiteY4555" fmla="*/ 278606 h 514350"/>
                <a:gd name="connsiteX4556" fmla="*/ 3900011 w 6400800"/>
                <a:gd name="connsiteY4556" fmla="*/ 291941 h 514350"/>
                <a:gd name="connsiteX4557" fmla="*/ 3901916 w 6400800"/>
                <a:gd name="connsiteY4557" fmla="*/ 288131 h 514350"/>
                <a:gd name="connsiteX4558" fmla="*/ 3902869 w 6400800"/>
                <a:gd name="connsiteY4558" fmla="*/ 286226 h 514350"/>
                <a:gd name="connsiteX4559" fmla="*/ 3903821 w 6400800"/>
                <a:gd name="connsiteY4559" fmla="*/ 297656 h 514350"/>
                <a:gd name="connsiteX4560" fmla="*/ 3902869 w 6400800"/>
                <a:gd name="connsiteY4560" fmla="*/ 301466 h 514350"/>
                <a:gd name="connsiteX4561" fmla="*/ 3901916 w 6400800"/>
                <a:gd name="connsiteY4561" fmla="*/ 298609 h 514350"/>
                <a:gd name="connsiteX4562" fmla="*/ 3900011 w 6400800"/>
                <a:gd name="connsiteY4562" fmla="*/ 291941 h 514350"/>
                <a:gd name="connsiteX4563" fmla="*/ 3903821 w 6400800"/>
                <a:gd name="connsiteY4563" fmla="*/ 431006 h 514350"/>
                <a:gd name="connsiteX4564" fmla="*/ 3902869 w 6400800"/>
                <a:gd name="connsiteY4564" fmla="*/ 431959 h 514350"/>
                <a:gd name="connsiteX4565" fmla="*/ 3901916 w 6400800"/>
                <a:gd name="connsiteY4565" fmla="*/ 431959 h 514350"/>
                <a:gd name="connsiteX4566" fmla="*/ 3903821 w 6400800"/>
                <a:gd name="connsiteY4566" fmla="*/ 426244 h 514350"/>
                <a:gd name="connsiteX4567" fmla="*/ 3904774 w 6400800"/>
                <a:gd name="connsiteY4567" fmla="*/ 428149 h 514350"/>
                <a:gd name="connsiteX4568" fmla="*/ 3903821 w 6400800"/>
                <a:gd name="connsiteY4568" fmla="*/ 431006 h 514350"/>
                <a:gd name="connsiteX4569" fmla="*/ 3925729 w 6400800"/>
                <a:gd name="connsiteY4569" fmla="*/ 309086 h 514350"/>
                <a:gd name="connsiteX4570" fmla="*/ 3922871 w 6400800"/>
                <a:gd name="connsiteY4570" fmla="*/ 297656 h 514350"/>
                <a:gd name="connsiteX4571" fmla="*/ 3923824 w 6400800"/>
                <a:gd name="connsiteY4571" fmla="*/ 308134 h 514350"/>
                <a:gd name="connsiteX4572" fmla="*/ 3919061 w 6400800"/>
                <a:gd name="connsiteY4572" fmla="*/ 291941 h 514350"/>
                <a:gd name="connsiteX4573" fmla="*/ 3922871 w 6400800"/>
                <a:gd name="connsiteY4573" fmla="*/ 317659 h 514350"/>
                <a:gd name="connsiteX4574" fmla="*/ 3923824 w 6400800"/>
                <a:gd name="connsiteY4574" fmla="*/ 325279 h 514350"/>
                <a:gd name="connsiteX4575" fmla="*/ 3921919 w 6400800"/>
                <a:gd name="connsiteY4575" fmla="*/ 334804 h 514350"/>
                <a:gd name="connsiteX4576" fmla="*/ 3921919 w 6400800"/>
                <a:gd name="connsiteY4576" fmla="*/ 335756 h 514350"/>
                <a:gd name="connsiteX4577" fmla="*/ 3920966 w 6400800"/>
                <a:gd name="connsiteY4577" fmla="*/ 330041 h 514350"/>
                <a:gd name="connsiteX4578" fmla="*/ 3915251 w 6400800"/>
                <a:gd name="connsiteY4578" fmla="*/ 301466 h 514350"/>
                <a:gd name="connsiteX4579" fmla="*/ 3911441 w 6400800"/>
                <a:gd name="connsiteY4579" fmla="*/ 281464 h 514350"/>
                <a:gd name="connsiteX4580" fmla="*/ 3912394 w 6400800"/>
                <a:gd name="connsiteY4580" fmla="*/ 264319 h 514350"/>
                <a:gd name="connsiteX4581" fmla="*/ 3912394 w 6400800"/>
                <a:gd name="connsiteY4581" fmla="*/ 263366 h 514350"/>
                <a:gd name="connsiteX4582" fmla="*/ 3919061 w 6400800"/>
                <a:gd name="connsiteY4582" fmla="*/ 270986 h 514350"/>
                <a:gd name="connsiteX4583" fmla="*/ 3923824 w 6400800"/>
                <a:gd name="connsiteY4583" fmla="*/ 277654 h 514350"/>
                <a:gd name="connsiteX4584" fmla="*/ 3924776 w 6400800"/>
                <a:gd name="connsiteY4584" fmla="*/ 284321 h 514350"/>
                <a:gd name="connsiteX4585" fmla="*/ 3921919 w 6400800"/>
                <a:gd name="connsiteY4585" fmla="*/ 277654 h 514350"/>
                <a:gd name="connsiteX4586" fmla="*/ 3926681 w 6400800"/>
                <a:gd name="connsiteY4586" fmla="*/ 296704 h 514350"/>
                <a:gd name="connsiteX4587" fmla="*/ 3927634 w 6400800"/>
                <a:gd name="connsiteY4587" fmla="*/ 304324 h 514350"/>
                <a:gd name="connsiteX4588" fmla="*/ 3927634 w 6400800"/>
                <a:gd name="connsiteY4588" fmla="*/ 305276 h 514350"/>
                <a:gd name="connsiteX4589" fmla="*/ 3925729 w 6400800"/>
                <a:gd name="connsiteY4589" fmla="*/ 309086 h 514350"/>
                <a:gd name="connsiteX4590" fmla="*/ 3929539 w 6400800"/>
                <a:gd name="connsiteY4590" fmla="*/ 287179 h 514350"/>
                <a:gd name="connsiteX4591" fmla="*/ 3928586 w 6400800"/>
                <a:gd name="connsiteY4591" fmla="*/ 292894 h 514350"/>
                <a:gd name="connsiteX4592" fmla="*/ 3927634 w 6400800"/>
                <a:gd name="connsiteY4592" fmla="*/ 290036 h 514350"/>
                <a:gd name="connsiteX4593" fmla="*/ 3923824 w 6400800"/>
                <a:gd name="connsiteY4593" fmla="*/ 275749 h 514350"/>
                <a:gd name="connsiteX4594" fmla="*/ 3927634 w 6400800"/>
                <a:gd name="connsiteY4594" fmla="*/ 281464 h 514350"/>
                <a:gd name="connsiteX4595" fmla="*/ 3929539 w 6400800"/>
                <a:gd name="connsiteY4595" fmla="*/ 284321 h 514350"/>
                <a:gd name="connsiteX4596" fmla="*/ 3929539 w 6400800"/>
                <a:gd name="connsiteY4596" fmla="*/ 287179 h 514350"/>
                <a:gd name="connsiteX4597" fmla="*/ 3926681 w 6400800"/>
                <a:gd name="connsiteY4597" fmla="*/ 242411 h 514350"/>
                <a:gd name="connsiteX4598" fmla="*/ 3928586 w 6400800"/>
                <a:gd name="connsiteY4598" fmla="*/ 270986 h 514350"/>
                <a:gd name="connsiteX4599" fmla="*/ 3921919 w 6400800"/>
                <a:gd name="connsiteY4599" fmla="*/ 265271 h 514350"/>
                <a:gd name="connsiteX4600" fmla="*/ 3913346 w 6400800"/>
                <a:gd name="connsiteY4600" fmla="*/ 257651 h 514350"/>
                <a:gd name="connsiteX4601" fmla="*/ 3917156 w 6400800"/>
                <a:gd name="connsiteY4601" fmla="*/ 246221 h 514350"/>
                <a:gd name="connsiteX4602" fmla="*/ 3925729 w 6400800"/>
                <a:gd name="connsiteY4602" fmla="*/ 232886 h 514350"/>
                <a:gd name="connsiteX4603" fmla="*/ 3926681 w 6400800"/>
                <a:gd name="connsiteY4603" fmla="*/ 242411 h 514350"/>
                <a:gd name="connsiteX4604" fmla="*/ 3900964 w 6400800"/>
                <a:gd name="connsiteY4604" fmla="*/ 168116 h 514350"/>
                <a:gd name="connsiteX4605" fmla="*/ 3914299 w 6400800"/>
                <a:gd name="connsiteY4605" fmla="*/ 147161 h 514350"/>
                <a:gd name="connsiteX4606" fmla="*/ 3915251 w 6400800"/>
                <a:gd name="connsiteY4606" fmla="*/ 156686 h 514350"/>
                <a:gd name="connsiteX4607" fmla="*/ 3920966 w 6400800"/>
                <a:gd name="connsiteY4607" fmla="*/ 196691 h 514350"/>
                <a:gd name="connsiteX4608" fmla="*/ 3922871 w 6400800"/>
                <a:gd name="connsiteY4608" fmla="*/ 213836 h 514350"/>
                <a:gd name="connsiteX4609" fmla="*/ 3920014 w 6400800"/>
                <a:gd name="connsiteY4609" fmla="*/ 210979 h 514350"/>
                <a:gd name="connsiteX4610" fmla="*/ 3923824 w 6400800"/>
                <a:gd name="connsiteY4610" fmla="*/ 214789 h 514350"/>
                <a:gd name="connsiteX4611" fmla="*/ 3924776 w 6400800"/>
                <a:gd name="connsiteY4611" fmla="*/ 226219 h 514350"/>
                <a:gd name="connsiteX4612" fmla="*/ 3906679 w 6400800"/>
                <a:gd name="connsiteY4612" fmla="*/ 249079 h 514350"/>
                <a:gd name="connsiteX4613" fmla="*/ 3904774 w 6400800"/>
                <a:gd name="connsiteY4613" fmla="*/ 251936 h 514350"/>
                <a:gd name="connsiteX4614" fmla="*/ 3902869 w 6400800"/>
                <a:gd name="connsiteY4614" fmla="*/ 250984 h 514350"/>
                <a:gd name="connsiteX4615" fmla="*/ 3900964 w 6400800"/>
                <a:gd name="connsiteY4615" fmla="*/ 242411 h 514350"/>
                <a:gd name="connsiteX4616" fmla="*/ 3900964 w 6400800"/>
                <a:gd name="connsiteY4616" fmla="*/ 249079 h 514350"/>
                <a:gd name="connsiteX4617" fmla="*/ 3897154 w 6400800"/>
                <a:gd name="connsiteY4617" fmla="*/ 247174 h 514350"/>
                <a:gd name="connsiteX4618" fmla="*/ 3891439 w 6400800"/>
                <a:gd name="connsiteY4618" fmla="*/ 243364 h 514350"/>
                <a:gd name="connsiteX4619" fmla="*/ 3896201 w 6400800"/>
                <a:gd name="connsiteY4619" fmla="*/ 248126 h 514350"/>
                <a:gd name="connsiteX4620" fmla="*/ 3900964 w 6400800"/>
                <a:gd name="connsiteY4620" fmla="*/ 251936 h 514350"/>
                <a:gd name="connsiteX4621" fmla="*/ 3900964 w 6400800"/>
                <a:gd name="connsiteY4621" fmla="*/ 256699 h 514350"/>
                <a:gd name="connsiteX4622" fmla="*/ 3894296 w 6400800"/>
                <a:gd name="connsiteY4622" fmla="*/ 266224 h 514350"/>
                <a:gd name="connsiteX4623" fmla="*/ 3890486 w 6400800"/>
                <a:gd name="connsiteY4623" fmla="*/ 250984 h 514350"/>
                <a:gd name="connsiteX4624" fmla="*/ 3880009 w 6400800"/>
                <a:gd name="connsiteY4624" fmla="*/ 210026 h 514350"/>
                <a:gd name="connsiteX4625" fmla="*/ 3879056 w 6400800"/>
                <a:gd name="connsiteY4625" fmla="*/ 206216 h 514350"/>
                <a:gd name="connsiteX4626" fmla="*/ 3900964 w 6400800"/>
                <a:gd name="connsiteY4626" fmla="*/ 168116 h 514350"/>
                <a:gd name="connsiteX4627" fmla="*/ 3873341 w 6400800"/>
                <a:gd name="connsiteY4627" fmla="*/ 214789 h 514350"/>
                <a:gd name="connsiteX4628" fmla="*/ 3879056 w 6400800"/>
                <a:gd name="connsiteY4628" fmla="*/ 251936 h 514350"/>
                <a:gd name="connsiteX4629" fmla="*/ 3883819 w 6400800"/>
                <a:gd name="connsiteY4629" fmla="*/ 280511 h 514350"/>
                <a:gd name="connsiteX4630" fmla="*/ 3882866 w 6400800"/>
                <a:gd name="connsiteY4630" fmla="*/ 282416 h 514350"/>
                <a:gd name="connsiteX4631" fmla="*/ 3875246 w 6400800"/>
                <a:gd name="connsiteY4631" fmla="*/ 259556 h 514350"/>
                <a:gd name="connsiteX4632" fmla="*/ 3865721 w 6400800"/>
                <a:gd name="connsiteY4632" fmla="*/ 234791 h 514350"/>
                <a:gd name="connsiteX4633" fmla="*/ 3864769 w 6400800"/>
                <a:gd name="connsiteY4633" fmla="*/ 231934 h 514350"/>
                <a:gd name="connsiteX4634" fmla="*/ 3873341 w 6400800"/>
                <a:gd name="connsiteY4634" fmla="*/ 214789 h 514350"/>
                <a:gd name="connsiteX4635" fmla="*/ 3864769 w 6400800"/>
                <a:gd name="connsiteY4635" fmla="*/ 341471 h 514350"/>
                <a:gd name="connsiteX4636" fmla="*/ 3862864 w 6400800"/>
                <a:gd name="connsiteY4636" fmla="*/ 345281 h 514350"/>
                <a:gd name="connsiteX4637" fmla="*/ 3864769 w 6400800"/>
                <a:gd name="connsiteY4637" fmla="*/ 341471 h 514350"/>
                <a:gd name="connsiteX4638" fmla="*/ 3864769 w 6400800"/>
                <a:gd name="connsiteY4638" fmla="*/ 341471 h 514350"/>
                <a:gd name="connsiteX4639" fmla="*/ 3854291 w 6400800"/>
                <a:gd name="connsiteY4639" fmla="*/ 211931 h 514350"/>
                <a:gd name="connsiteX4640" fmla="*/ 3856196 w 6400800"/>
                <a:gd name="connsiteY4640" fmla="*/ 201454 h 514350"/>
                <a:gd name="connsiteX4641" fmla="*/ 3857149 w 6400800"/>
                <a:gd name="connsiteY4641" fmla="*/ 220504 h 514350"/>
                <a:gd name="connsiteX4642" fmla="*/ 3854291 w 6400800"/>
                <a:gd name="connsiteY4642" fmla="*/ 226219 h 514350"/>
                <a:gd name="connsiteX4643" fmla="*/ 3854291 w 6400800"/>
                <a:gd name="connsiteY4643" fmla="*/ 211931 h 514350"/>
                <a:gd name="connsiteX4644" fmla="*/ 3849529 w 6400800"/>
                <a:gd name="connsiteY4644" fmla="*/ 262414 h 514350"/>
                <a:gd name="connsiteX4645" fmla="*/ 3849529 w 6400800"/>
                <a:gd name="connsiteY4645" fmla="*/ 257651 h 514350"/>
                <a:gd name="connsiteX4646" fmla="*/ 3850481 w 6400800"/>
                <a:gd name="connsiteY4646" fmla="*/ 256699 h 514350"/>
                <a:gd name="connsiteX4647" fmla="*/ 3859054 w 6400800"/>
                <a:gd name="connsiteY4647" fmla="*/ 278606 h 514350"/>
                <a:gd name="connsiteX4648" fmla="*/ 3860006 w 6400800"/>
                <a:gd name="connsiteY4648" fmla="*/ 280511 h 514350"/>
                <a:gd name="connsiteX4649" fmla="*/ 3862864 w 6400800"/>
                <a:gd name="connsiteY4649" fmla="*/ 313849 h 514350"/>
                <a:gd name="connsiteX4650" fmla="*/ 3862864 w 6400800"/>
                <a:gd name="connsiteY4650" fmla="*/ 313849 h 514350"/>
                <a:gd name="connsiteX4651" fmla="*/ 3847624 w 6400800"/>
                <a:gd name="connsiteY4651" fmla="*/ 291941 h 514350"/>
                <a:gd name="connsiteX4652" fmla="*/ 3849529 w 6400800"/>
                <a:gd name="connsiteY4652" fmla="*/ 262414 h 514350"/>
                <a:gd name="connsiteX4653" fmla="*/ 3846671 w 6400800"/>
                <a:gd name="connsiteY4653" fmla="*/ 308134 h 514350"/>
                <a:gd name="connsiteX4654" fmla="*/ 3855244 w 6400800"/>
                <a:gd name="connsiteY4654" fmla="*/ 323374 h 514350"/>
                <a:gd name="connsiteX4655" fmla="*/ 3856196 w 6400800"/>
                <a:gd name="connsiteY4655" fmla="*/ 325279 h 514350"/>
                <a:gd name="connsiteX4656" fmla="*/ 3855244 w 6400800"/>
                <a:gd name="connsiteY4656" fmla="*/ 327184 h 514350"/>
                <a:gd name="connsiteX4657" fmla="*/ 3849529 w 6400800"/>
                <a:gd name="connsiteY4657" fmla="*/ 336709 h 514350"/>
                <a:gd name="connsiteX4658" fmla="*/ 3845719 w 6400800"/>
                <a:gd name="connsiteY4658" fmla="*/ 330041 h 514350"/>
                <a:gd name="connsiteX4659" fmla="*/ 3846671 w 6400800"/>
                <a:gd name="connsiteY4659" fmla="*/ 308134 h 514350"/>
                <a:gd name="connsiteX4660" fmla="*/ 3843814 w 6400800"/>
                <a:gd name="connsiteY4660" fmla="*/ 415766 h 514350"/>
                <a:gd name="connsiteX4661" fmla="*/ 3846671 w 6400800"/>
                <a:gd name="connsiteY4661" fmla="*/ 410051 h 514350"/>
                <a:gd name="connsiteX4662" fmla="*/ 3847624 w 6400800"/>
                <a:gd name="connsiteY4662" fmla="*/ 416719 h 514350"/>
                <a:gd name="connsiteX4663" fmla="*/ 3847624 w 6400800"/>
                <a:gd name="connsiteY4663" fmla="*/ 419576 h 514350"/>
                <a:gd name="connsiteX4664" fmla="*/ 3846671 w 6400800"/>
                <a:gd name="connsiteY4664" fmla="*/ 422434 h 514350"/>
                <a:gd name="connsiteX4665" fmla="*/ 3844766 w 6400800"/>
                <a:gd name="connsiteY4665" fmla="*/ 426244 h 514350"/>
                <a:gd name="connsiteX4666" fmla="*/ 3842861 w 6400800"/>
                <a:gd name="connsiteY4666" fmla="*/ 426244 h 514350"/>
                <a:gd name="connsiteX4667" fmla="*/ 3843814 w 6400800"/>
                <a:gd name="connsiteY4667" fmla="*/ 415766 h 514350"/>
                <a:gd name="connsiteX4668" fmla="*/ 3830479 w 6400800"/>
                <a:gd name="connsiteY4668" fmla="*/ 297656 h 514350"/>
                <a:gd name="connsiteX4669" fmla="*/ 3830479 w 6400800"/>
                <a:gd name="connsiteY4669" fmla="*/ 299561 h 514350"/>
                <a:gd name="connsiteX4670" fmla="*/ 3830479 w 6400800"/>
                <a:gd name="connsiteY4670" fmla="*/ 301466 h 514350"/>
                <a:gd name="connsiteX4671" fmla="*/ 3829526 w 6400800"/>
                <a:gd name="connsiteY4671" fmla="*/ 307181 h 514350"/>
                <a:gd name="connsiteX4672" fmla="*/ 3827621 w 6400800"/>
                <a:gd name="connsiteY4672" fmla="*/ 304324 h 514350"/>
                <a:gd name="connsiteX4673" fmla="*/ 3830479 w 6400800"/>
                <a:gd name="connsiteY4673" fmla="*/ 297656 h 514350"/>
                <a:gd name="connsiteX4674" fmla="*/ 3826669 w 6400800"/>
                <a:gd name="connsiteY4674" fmla="*/ 305276 h 514350"/>
                <a:gd name="connsiteX4675" fmla="*/ 3828574 w 6400800"/>
                <a:gd name="connsiteY4675" fmla="*/ 310039 h 514350"/>
                <a:gd name="connsiteX4676" fmla="*/ 3827621 w 6400800"/>
                <a:gd name="connsiteY4676" fmla="*/ 314801 h 514350"/>
                <a:gd name="connsiteX4677" fmla="*/ 3823811 w 6400800"/>
                <a:gd name="connsiteY4677" fmla="*/ 309086 h 514350"/>
                <a:gd name="connsiteX4678" fmla="*/ 3826669 w 6400800"/>
                <a:gd name="connsiteY4678" fmla="*/ 305276 h 514350"/>
                <a:gd name="connsiteX4679" fmla="*/ 3820001 w 6400800"/>
                <a:gd name="connsiteY4679" fmla="*/ 319564 h 514350"/>
                <a:gd name="connsiteX4680" fmla="*/ 3826669 w 6400800"/>
                <a:gd name="connsiteY4680" fmla="*/ 332899 h 514350"/>
                <a:gd name="connsiteX4681" fmla="*/ 3827621 w 6400800"/>
                <a:gd name="connsiteY4681" fmla="*/ 333851 h 514350"/>
                <a:gd name="connsiteX4682" fmla="*/ 3826669 w 6400800"/>
                <a:gd name="connsiteY4682" fmla="*/ 343376 h 514350"/>
                <a:gd name="connsiteX4683" fmla="*/ 3824764 w 6400800"/>
                <a:gd name="connsiteY4683" fmla="*/ 377666 h 514350"/>
                <a:gd name="connsiteX4684" fmla="*/ 3820954 w 6400800"/>
                <a:gd name="connsiteY4684" fmla="*/ 364331 h 514350"/>
                <a:gd name="connsiteX4685" fmla="*/ 3820001 w 6400800"/>
                <a:gd name="connsiteY4685" fmla="*/ 352901 h 514350"/>
                <a:gd name="connsiteX4686" fmla="*/ 3818096 w 6400800"/>
                <a:gd name="connsiteY4686" fmla="*/ 336709 h 514350"/>
                <a:gd name="connsiteX4687" fmla="*/ 3821906 w 6400800"/>
                <a:gd name="connsiteY4687" fmla="*/ 332899 h 514350"/>
                <a:gd name="connsiteX4688" fmla="*/ 3818096 w 6400800"/>
                <a:gd name="connsiteY4688" fmla="*/ 335756 h 514350"/>
                <a:gd name="connsiteX4689" fmla="*/ 3817144 w 6400800"/>
                <a:gd name="connsiteY4689" fmla="*/ 326231 h 514350"/>
                <a:gd name="connsiteX4690" fmla="*/ 3820001 w 6400800"/>
                <a:gd name="connsiteY4690" fmla="*/ 319564 h 514350"/>
                <a:gd name="connsiteX4691" fmla="*/ 3788569 w 6400800"/>
                <a:gd name="connsiteY4691" fmla="*/ 264319 h 514350"/>
                <a:gd name="connsiteX4692" fmla="*/ 3792379 w 6400800"/>
                <a:gd name="connsiteY4692" fmla="*/ 270986 h 514350"/>
                <a:gd name="connsiteX4693" fmla="*/ 3800951 w 6400800"/>
                <a:gd name="connsiteY4693" fmla="*/ 285274 h 514350"/>
                <a:gd name="connsiteX4694" fmla="*/ 3800951 w 6400800"/>
                <a:gd name="connsiteY4694" fmla="*/ 287179 h 514350"/>
                <a:gd name="connsiteX4695" fmla="*/ 3800951 w 6400800"/>
                <a:gd name="connsiteY4695" fmla="*/ 298609 h 514350"/>
                <a:gd name="connsiteX4696" fmla="*/ 3800951 w 6400800"/>
                <a:gd name="connsiteY4696" fmla="*/ 300514 h 514350"/>
                <a:gd name="connsiteX4697" fmla="*/ 3797141 w 6400800"/>
                <a:gd name="connsiteY4697" fmla="*/ 287179 h 514350"/>
                <a:gd name="connsiteX4698" fmla="*/ 3796189 w 6400800"/>
                <a:gd name="connsiteY4698" fmla="*/ 285274 h 514350"/>
                <a:gd name="connsiteX4699" fmla="*/ 3796189 w 6400800"/>
                <a:gd name="connsiteY4699" fmla="*/ 280511 h 514350"/>
                <a:gd name="connsiteX4700" fmla="*/ 3795236 w 6400800"/>
                <a:gd name="connsiteY4700" fmla="*/ 283369 h 514350"/>
                <a:gd name="connsiteX4701" fmla="*/ 3791426 w 6400800"/>
                <a:gd name="connsiteY4701" fmla="*/ 271939 h 514350"/>
                <a:gd name="connsiteX4702" fmla="*/ 3788569 w 6400800"/>
                <a:gd name="connsiteY4702" fmla="*/ 264319 h 514350"/>
                <a:gd name="connsiteX4703" fmla="*/ 3748564 w 6400800"/>
                <a:gd name="connsiteY4703" fmla="*/ 364331 h 514350"/>
                <a:gd name="connsiteX4704" fmla="*/ 3748564 w 6400800"/>
                <a:gd name="connsiteY4704" fmla="*/ 351949 h 514350"/>
                <a:gd name="connsiteX4705" fmla="*/ 3750469 w 6400800"/>
                <a:gd name="connsiteY4705" fmla="*/ 358616 h 514350"/>
                <a:gd name="connsiteX4706" fmla="*/ 3748564 w 6400800"/>
                <a:gd name="connsiteY4706" fmla="*/ 364331 h 514350"/>
                <a:gd name="connsiteX4707" fmla="*/ 3762851 w 6400800"/>
                <a:gd name="connsiteY4707" fmla="*/ 399574 h 514350"/>
                <a:gd name="connsiteX4708" fmla="*/ 3759994 w 6400800"/>
                <a:gd name="connsiteY4708" fmla="*/ 405289 h 514350"/>
                <a:gd name="connsiteX4709" fmla="*/ 3760946 w 6400800"/>
                <a:gd name="connsiteY4709" fmla="*/ 391954 h 514350"/>
                <a:gd name="connsiteX4710" fmla="*/ 3760946 w 6400800"/>
                <a:gd name="connsiteY4710" fmla="*/ 391001 h 514350"/>
                <a:gd name="connsiteX4711" fmla="*/ 3762851 w 6400800"/>
                <a:gd name="connsiteY4711" fmla="*/ 396716 h 514350"/>
                <a:gd name="connsiteX4712" fmla="*/ 3762851 w 6400800"/>
                <a:gd name="connsiteY4712" fmla="*/ 399574 h 514350"/>
                <a:gd name="connsiteX4713" fmla="*/ 3770471 w 6400800"/>
                <a:gd name="connsiteY4713" fmla="*/ 290036 h 514350"/>
                <a:gd name="connsiteX4714" fmla="*/ 3775234 w 6400800"/>
                <a:gd name="connsiteY4714" fmla="*/ 309086 h 514350"/>
                <a:gd name="connsiteX4715" fmla="*/ 3771424 w 6400800"/>
                <a:gd name="connsiteY4715" fmla="*/ 301466 h 514350"/>
                <a:gd name="connsiteX4716" fmla="*/ 3770471 w 6400800"/>
                <a:gd name="connsiteY4716" fmla="*/ 299561 h 514350"/>
                <a:gd name="connsiteX4717" fmla="*/ 3770471 w 6400800"/>
                <a:gd name="connsiteY4717" fmla="*/ 290989 h 514350"/>
                <a:gd name="connsiteX4718" fmla="*/ 3770471 w 6400800"/>
                <a:gd name="connsiteY4718" fmla="*/ 290036 h 514350"/>
                <a:gd name="connsiteX4719" fmla="*/ 3769519 w 6400800"/>
                <a:gd name="connsiteY4719" fmla="*/ 370046 h 514350"/>
                <a:gd name="connsiteX4720" fmla="*/ 3770471 w 6400800"/>
                <a:gd name="connsiteY4720" fmla="*/ 372904 h 514350"/>
                <a:gd name="connsiteX4721" fmla="*/ 3767614 w 6400800"/>
                <a:gd name="connsiteY4721" fmla="*/ 366236 h 514350"/>
                <a:gd name="connsiteX4722" fmla="*/ 3767614 w 6400800"/>
                <a:gd name="connsiteY4722" fmla="*/ 359569 h 514350"/>
                <a:gd name="connsiteX4723" fmla="*/ 3766661 w 6400800"/>
                <a:gd name="connsiteY4723" fmla="*/ 364331 h 514350"/>
                <a:gd name="connsiteX4724" fmla="*/ 3764756 w 6400800"/>
                <a:gd name="connsiteY4724" fmla="*/ 360521 h 514350"/>
                <a:gd name="connsiteX4725" fmla="*/ 3764756 w 6400800"/>
                <a:gd name="connsiteY4725" fmla="*/ 357664 h 514350"/>
                <a:gd name="connsiteX4726" fmla="*/ 3765709 w 6400800"/>
                <a:gd name="connsiteY4726" fmla="*/ 351949 h 514350"/>
                <a:gd name="connsiteX4727" fmla="*/ 3769519 w 6400800"/>
                <a:gd name="connsiteY4727" fmla="*/ 370046 h 514350"/>
                <a:gd name="connsiteX4728" fmla="*/ 3753326 w 6400800"/>
                <a:gd name="connsiteY4728" fmla="*/ 250031 h 514350"/>
                <a:gd name="connsiteX4729" fmla="*/ 3755231 w 6400800"/>
                <a:gd name="connsiteY4729" fmla="*/ 236696 h 514350"/>
                <a:gd name="connsiteX4730" fmla="*/ 3756184 w 6400800"/>
                <a:gd name="connsiteY4730" fmla="*/ 232886 h 514350"/>
                <a:gd name="connsiteX4731" fmla="*/ 3758089 w 6400800"/>
                <a:gd name="connsiteY4731" fmla="*/ 230029 h 514350"/>
                <a:gd name="connsiteX4732" fmla="*/ 3759994 w 6400800"/>
                <a:gd name="connsiteY4732" fmla="*/ 237649 h 514350"/>
                <a:gd name="connsiteX4733" fmla="*/ 3769519 w 6400800"/>
                <a:gd name="connsiteY4733" fmla="*/ 281464 h 514350"/>
                <a:gd name="connsiteX4734" fmla="*/ 3767614 w 6400800"/>
                <a:gd name="connsiteY4734" fmla="*/ 290036 h 514350"/>
                <a:gd name="connsiteX4735" fmla="*/ 3767614 w 6400800"/>
                <a:gd name="connsiteY4735" fmla="*/ 290989 h 514350"/>
                <a:gd name="connsiteX4736" fmla="*/ 3752374 w 6400800"/>
                <a:gd name="connsiteY4736" fmla="*/ 261461 h 514350"/>
                <a:gd name="connsiteX4737" fmla="*/ 3753326 w 6400800"/>
                <a:gd name="connsiteY4737" fmla="*/ 250031 h 514350"/>
                <a:gd name="connsiteX4738" fmla="*/ 3748564 w 6400800"/>
                <a:gd name="connsiteY4738" fmla="*/ 296704 h 514350"/>
                <a:gd name="connsiteX4739" fmla="*/ 3748564 w 6400800"/>
                <a:gd name="connsiteY4739" fmla="*/ 296704 h 514350"/>
                <a:gd name="connsiteX4740" fmla="*/ 3756184 w 6400800"/>
                <a:gd name="connsiteY4740" fmla="*/ 313849 h 514350"/>
                <a:gd name="connsiteX4741" fmla="*/ 3757136 w 6400800"/>
                <a:gd name="connsiteY4741" fmla="*/ 316706 h 514350"/>
                <a:gd name="connsiteX4742" fmla="*/ 3759041 w 6400800"/>
                <a:gd name="connsiteY4742" fmla="*/ 323374 h 514350"/>
                <a:gd name="connsiteX4743" fmla="*/ 3757136 w 6400800"/>
                <a:gd name="connsiteY4743" fmla="*/ 330041 h 514350"/>
                <a:gd name="connsiteX4744" fmla="*/ 3754279 w 6400800"/>
                <a:gd name="connsiteY4744" fmla="*/ 341471 h 514350"/>
                <a:gd name="connsiteX4745" fmla="*/ 3750469 w 6400800"/>
                <a:gd name="connsiteY4745" fmla="*/ 335756 h 514350"/>
                <a:gd name="connsiteX4746" fmla="*/ 3747611 w 6400800"/>
                <a:gd name="connsiteY4746" fmla="*/ 331946 h 514350"/>
                <a:gd name="connsiteX4747" fmla="*/ 3748564 w 6400800"/>
                <a:gd name="connsiteY4747" fmla="*/ 296704 h 514350"/>
                <a:gd name="connsiteX4748" fmla="*/ 3738086 w 6400800"/>
                <a:gd name="connsiteY4748" fmla="*/ 273844 h 514350"/>
                <a:gd name="connsiteX4749" fmla="*/ 3738086 w 6400800"/>
                <a:gd name="connsiteY4749" fmla="*/ 273844 h 514350"/>
                <a:gd name="connsiteX4750" fmla="*/ 3738086 w 6400800"/>
                <a:gd name="connsiteY4750" fmla="*/ 274796 h 514350"/>
                <a:gd name="connsiteX4751" fmla="*/ 3738086 w 6400800"/>
                <a:gd name="connsiteY4751" fmla="*/ 273844 h 514350"/>
                <a:gd name="connsiteX4752" fmla="*/ 3689509 w 6400800"/>
                <a:gd name="connsiteY4752" fmla="*/ 326231 h 514350"/>
                <a:gd name="connsiteX4753" fmla="*/ 3686651 w 6400800"/>
                <a:gd name="connsiteY4753" fmla="*/ 331946 h 514350"/>
                <a:gd name="connsiteX4754" fmla="*/ 3685699 w 6400800"/>
                <a:gd name="connsiteY4754" fmla="*/ 330994 h 514350"/>
                <a:gd name="connsiteX4755" fmla="*/ 3685699 w 6400800"/>
                <a:gd name="connsiteY4755" fmla="*/ 322421 h 514350"/>
                <a:gd name="connsiteX4756" fmla="*/ 3685699 w 6400800"/>
                <a:gd name="connsiteY4756" fmla="*/ 313849 h 514350"/>
                <a:gd name="connsiteX4757" fmla="*/ 3689509 w 6400800"/>
                <a:gd name="connsiteY4757" fmla="*/ 325279 h 514350"/>
                <a:gd name="connsiteX4758" fmla="*/ 3689509 w 6400800"/>
                <a:gd name="connsiteY4758" fmla="*/ 326231 h 514350"/>
                <a:gd name="connsiteX4759" fmla="*/ 3716179 w 6400800"/>
                <a:gd name="connsiteY4759" fmla="*/ 211931 h 514350"/>
                <a:gd name="connsiteX4760" fmla="*/ 3720941 w 6400800"/>
                <a:gd name="connsiteY4760" fmla="*/ 221456 h 514350"/>
                <a:gd name="connsiteX4761" fmla="*/ 3719036 w 6400800"/>
                <a:gd name="connsiteY4761" fmla="*/ 230029 h 514350"/>
                <a:gd name="connsiteX4762" fmla="*/ 3718084 w 6400800"/>
                <a:gd name="connsiteY4762" fmla="*/ 233839 h 514350"/>
                <a:gd name="connsiteX4763" fmla="*/ 3713321 w 6400800"/>
                <a:gd name="connsiteY4763" fmla="*/ 228124 h 514350"/>
                <a:gd name="connsiteX4764" fmla="*/ 3717131 w 6400800"/>
                <a:gd name="connsiteY4764" fmla="*/ 235744 h 514350"/>
                <a:gd name="connsiteX4765" fmla="*/ 3714274 w 6400800"/>
                <a:gd name="connsiteY4765" fmla="*/ 253841 h 514350"/>
                <a:gd name="connsiteX4766" fmla="*/ 3714274 w 6400800"/>
                <a:gd name="connsiteY4766" fmla="*/ 250984 h 514350"/>
                <a:gd name="connsiteX4767" fmla="*/ 3713321 w 6400800"/>
                <a:gd name="connsiteY4767" fmla="*/ 238601 h 514350"/>
                <a:gd name="connsiteX4768" fmla="*/ 3713321 w 6400800"/>
                <a:gd name="connsiteY4768" fmla="*/ 227171 h 514350"/>
                <a:gd name="connsiteX4769" fmla="*/ 3712369 w 6400800"/>
                <a:gd name="connsiteY4769" fmla="*/ 208121 h 514350"/>
                <a:gd name="connsiteX4770" fmla="*/ 3712369 w 6400800"/>
                <a:gd name="connsiteY4770" fmla="*/ 205264 h 514350"/>
                <a:gd name="connsiteX4771" fmla="*/ 3716179 w 6400800"/>
                <a:gd name="connsiteY4771" fmla="*/ 211931 h 514350"/>
                <a:gd name="connsiteX4772" fmla="*/ 3679984 w 6400800"/>
                <a:gd name="connsiteY4772" fmla="*/ 236696 h 514350"/>
                <a:gd name="connsiteX4773" fmla="*/ 3684746 w 6400800"/>
                <a:gd name="connsiteY4773" fmla="*/ 196691 h 514350"/>
                <a:gd name="connsiteX4774" fmla="*/ 3687604 w 6400800"/>
                <a:gd name="connsiteY4774" fmla="*/ 166211 h 514350"/>
                <a:gd name="connsiteX4775" fmla="*/ 3688556 w 6400800"/>
                <a:gd name="connsiteY4775" fmla="*/ 154781 h 514350"/>
                <a:gd name="connsiteX4776" fmla="*/ 3699034 w 6400800"/>
                <a:gd name="connsiteY4776" fmla="*/ 178594 h 514350"/>
                <a:gd name="connsiteX4777" fmla="*/ 3708559 w 6400800"/>
                <a:gd name="connsiteY4777" fmla="*/ 199549 h 514350"/>
                <a:gd name="connsiteX4778" fmla="*/ 3707606 w 6400800"/>
                <a:gd name="connsiteY4778" fmla="*/ 207169 h 514350"/>
                <a:gd name="connsiteX4779" fmla="*/ 3704749 w 6400800"/>
                <a:gd name="connsiteY4779" fmla="*/ 226219 h 514350"/>
                <a:gd name="connsiteX4780" fmla="*/ 3702844 w 6400800"/>
                <a:gd name="connsiteY4780" fmla="*/ 237649 h 514350"/>
                <a:gd name="connsiteX4781" fmla="*/ 3701891 w 6400800"/>
                <a:gd name="connsiteY4781" fmla="*/ 250984 h 514350"/>
                <a:gd name="connsiteX4782" fmla="*/ 3700939 w 6400800"/>
                <a:gd name="connsiteY4782" fmla="*/ 280511 h 514350"/>
                <a:gd name="connsiteX4783" fmla="*/ 3700939 w 6400800"/>
                <a:gd name="connsiteY4783" fmla="*/ 300514 h 514350"/>
                <a:gd name="connsiteX4784" fmla="*/ 3697129 w 6400800"/>
                <a:gd name="connsiteY4784" fmla="*/ 290036 h 514350"/>
                <a:gd name="connsiteX4785" fmla="*/ 3699034 w 6400800"/>
                <a:gd name="connsiteY4785" fmla="*/ 308134 h 514350"/>
                <a:gd name="connsiteX4786" fmla="*/ 3690461 w 6400800"/>
                <a:gd name="connsiteY4786" fmla="*/ 322421 h 514350"/>
                <a:gd name="connsiteX4787" fmla="*/ 3683794 w 6400800"/>
                <a:gd name="connsiteY4787" fmla="*/ 310991 h 514350"/>
                <a:gd name="connsiteX4788" fmla="*/ 3683794 w 6400800"/>
                <a:gd name="connsiteY4788" fmla="*/ 302419 h 514350"/>
                <a:gd name="connsiteX4789" fmla="*/ 3682841 w 6400800"/>
                <a:gd name="connsiteY4789" fmla="*/ 308134 h 514350"/>
                <a:gd name="connsiteX4790" fmla="*/ 3679031 w 6400800"/>
                <a:gd name="connsiteY4790" fmla="*/ 302419 h 514350"/>
                <a:gd name="connsiteX4791" fmla="*/ 3681889 w 6400800"/>
                <a:gd name="connsiteY4791" fmla="*/ 310991 h 514350"/>
                <a:gd name="connsiteX4792" fmla="*/ 3679984 w 6400800"/>
                <a:gd name="connsiteY4792" fmla="*/ 323374 h 514350"/>
                <a:gd name="connsiteX4793" fmla="*/ 3672364 w 6400800"/>
                <a:gd name="connsiteY4793" fmla="*/ 307181 h 514350"/>
                <a:gd name="connsiteX4794" fmla="*/ 3677126 w 6400800"/>
                <a:gd name="connsiteY4794" fmla="*/ 289084 h 514350"/>
                <a:gd name="connsiteX4795" fmla="*/ 3681889 w 6400800"/>
                <a:gd name="connsiteY4795" fmla="*/ 272891 h 514350"/>
                <a:gd name="connsiteX4796" fmla="*/ 3686651 w 6400800"/>
                <a:gd name="connsiteY4796" fmla="*/ 260509 h 514350"/>
                <a:gd name="connsiteX4797" fmla="*/ 3692366 w 6400800"/>
                <a:gd name="connsiteY4797" fmla="*/ 250031 h 514350"/>
                <a:gd name="connsiteX4798" fmla="*/ 3683794 w 6400800"/>
                <a:gd name="connsiteY4798" fmla="*/ 258604 h 514350"/>
                <a:gd name="connsiteX4799" fmla="*/ 3675221 w 6400800"/>
                <a:gd name="connsiteY4799" fmla="*/ 270034 h 514350"/>
                <a:gd name="connsiteX4800" fmla="*/ 3671411 w 6400800"/>
                <a:gd name="connsiteY4800" fmla="*/ 275749 h 514350"/>
                <a:gd name="connsiteX4801" fmla="*/ 3679984 w 6400800"/>
                <a:gd name="connsiteY4801" fmla="*/ 236696 h 514350"/>
                <a:gd name="connsiteX4802" fmla="*/ 3678079 w 6400800"/>
                <a:gd name="connsiteY4802" fmla="*/ 342424 h 514350"/>
                <a:gd name="connsiteX4803" fmla="*/ 3677126 w 6400800"/>
                <a:gd name="connsiteY4803" fmla="*/ 349091 h 514350"/>
                <a:gd name="connsiteX4804" fmla="*/ 3676174 w 6400800"/>
                <a:gd name="connsiteY4804" fmla="*/ 343376 h 514350"/>
                <a:gd name="connsiteX4805" fmla="*/ 3674269 w 6400800"/>
                <a:gd name="connsiteY4805" fmla="*/ 335756 h 514350"/>
                <a:gd name="connsiteX4806" fmla="*/ 3678079 w 6400800"/>
                <a:gd name="connsiteY4806" fmla="*/ 342424 h 514350"/>
                <a:gd name="connsiteX4807" fmla="*/ 3664744 w 6400800"/>
                <a:gd name="connsiteY4807" fmla="*/ 355759 h 514350"/>
                <a:gd name="connsiteX4808" fmla="*/ 3664744 w 6400800"/>
                <a:gd name="connsiteY4808" fmla="*/ 362426 h 514350"/>
                <a:gd name="connsiteX4809" fmla="*/ 3663791 w 6400800"/>
                <a:gd name="connsiteY4809" fmla="*/ 371951 h 514350"/>
                <a:gd name="connsiteX4810" fmla="*/ 3663791 w 6400800"/>
                <a:gd name="connsiteY4810" fmla="*/ 371951 h 514350"/>
                <a:gd name="connsiteX4811" fmla="*/ 3662839 w 6400800"/>
                <a:gd name="connsiteY4811" fmla="*/ 367189 h 514350"/>
                <a:gd name="connsiteX4812" fmla="*/ 3662839 w 6400800"/>
                <a:gd name="connsiteY4812" fmla="*/ 366236 h 514350"/>
                <a:gd name="connsiteX4813" fmla="*/ 3664744 w 6400800"/>
                <a:gd name="connsiteY4813" fmla="*/ 355759 h 514350"/>
                <a:gd name="connsiteX4814" fmla="*/ 3603784 w 6400800"/>
                <a:gd name="connsiteY4814" fmla="*/ 369094 h 514350"/>
                <a:gd name="connsiteX4815" fmla="*/ 3602831 w 6400800"/>
                <a:gd name="connsiteY4815" fmla="*/ 363379 h 514350"/>
                <a:gd name="connsiteX4816" fmla="*/ 3605689 w 6400800"/>
                <a:gd name="connsiteY4816" fmla="*/ 352901 h 514350"/>
                <a:gd name="connsiteX4817" fmla="*/ 3606641 w 6400800"/>
                <a:gd name="connsiteY4817" fmla="*/ 350044 h 514350"/>
                <a:gd name="connsiteX4818" fmla="*/ 3607594 w 6400800"/>
                <a:gd name="connsiteY4818" fmla="*/ 352901 h 514350"/>
                <a:gd name="connsiteX4819" fmla="*/ 3607594 w 6400800"/>
                <a:gd name="connsiteY4819" fmla="*/ 353854 h 514350"/>
                <a:gd name="connsiteX4820" fmla="*/ 3603784 w 6400800"/>
                <a:gd name="connsiteY4820" fmla="*/ 369094 h 514350"/>
                <a:gd name="connsiteX4821" fmla="*/ 3612356 w 6400800"/>
                <a:gd name="connsiteY4821" fmla="*/ 329089 h 514350"/>
                <a:gd name="connsiteX4822" fmla="*/ 3611404 w 6400800"/>
                <a:gd name="connsiteY4822" fmla="*/ 327184 h 514350"/>
                <a:gd name="connsiteX4823" fmla="*/ 3610451 w 6400800"/>
                <a:gd name="connsiteY4823" fmla="*/ 321469 h 514350"/>
                <a:gd name="connsiteX4824" fmla="*/ 3613309 w 6400800"/>
                <a:gd name="connsiteY4824" fmla="*/ 324326 h 514350"/>
                <a:gd name="connsiteX4825" fmla="*/ 3612356 w 6400800"/>
                <a:gd name="connsiteY4825" fmla="*/ 329089 h 514350"/>
                <a:gd name="connsiteX4826" fmla="*/ 3633311 w 6400800"/>
                <a:gd name="connsiteY4826" fmla="*/ 366236 h 514350"/>
                <a:gd name="connsiteX4827" fmla="*/ 3629501 w 6400800"/>
                <a:gd name="connsiteY4827" fmla="*/ 358616 h 514350"/>
                <a:gd name="connsiteX4828" fmla="*/ 3629501 w 6400800"/>
                <a:gd name="connsiteY4828" fmla="*/ 354806 h 514350"/>
                <a:gd name="connsiteX4829" fmla="*/ 3633311 w 6400800"/>
                <a:gd name="connsiteY4829" fmla="*/ 366236 h 514350"/>
                <a:gd name="connsiteX4830" fmla="*/ 3633311 w 6400800"/>
                <a:gd name="connsiteY4830" fmla="*/ 366236 h 514350"/>
                <a:gd name="connsiteX4831" fmla="*/ 3633311 w 6400800"/>
                <a:gd name="connsiteY4831" fmla="*/ 366236 h 514350"/>
                <a:gd name="connsiteX4832" fmla="*/ 3632359 w 6400800"/>
                <a:gd name="connsiteY4832" fmla="*/ 331946 h 514350"/>
                <a:gd name="connsiteX4833" fmla="*/ 3635216 w 6400800"/>
                <a:gd name="connsiteY4833" fmla="*/ 348139 h 514350"/>
                <a:gd name="connsiteX4834" fmla="*/ 3631406 w 6400800"/>
                <a:gd name="connsiteY4834" fmla="*/ 341471 h 514350"/>
                <a:gd name="connsiteX4835" fmla="*/ 3632359 w 6400800"/>
                <a:gd name="connsiteY4835" fmla="*/ 331946 h 514350"/>
                <a:gd name="connsiteX4836" fmla="*/ 3618071 w 6400800"/>
                <a:gd name="connsiteY4836" fmla="*/ 270034 h 514350"/>
                <a:gd name="connsiteX4837" fmla="*/ 3628549 w 6400800"/>
                <a:gd name="connsiteY4837" fmla="*/ 246221 h 514350"/>
                <a:gd name="connsiteX4838" fmla="*/ 3630454 w 6400800"/>
                <a:gd name="connsiteY4838" fmla="*/ 242411 h 514350"/>
                <a:gd name="connsiteX4839" fmla="*/ 3625691 w 6400800"/>
                <a:gd name="connsiteY4839" fmla="*/ 265271 h 514350"/>
                <a:gd name="connsiteX4840" fmla="*/ 3618071 w 6400800"/>
                <a:gd name="connsiteY4840" fmla="*/ 271939 h 514350"/>
                <a:gd name="connsiteX4841" fmla="*/ 3618071 w 6400800"/>
                <a:gd name="connsiteY4841" fmla="*/ 270034 h 514350"/>
                <a:gd name="connsiteX4842" fmla="*/ 3601879 w 6400800"/>
                <a:gd name="connsiteY4842" fmla="*/ 310039 h 514350"/>
                <a:gd name="connsiteX4843" fmla="*/ 3606641 w 6400800"/>
                <a:gd name="connsiteY4843" fmla="*/ 298609 h 514350"/>
                <a:gd name="connsiteX4844" fmla="*/ 3615214 w 6400800"/>
                <a:gd name="connsiteY4844" fmla="*/ 278606 h 514350"/>
                <a:gd name="connsiteX4845" fmla="*/ 3619976 w 6400800"/>
                <a:gd name="connsiteY4845" fmla="*/ 271939 h 514350"/>
                <a:gd name="connsiteX4846" fmla="*/ 3625691 w 6400800"/>
                <a:gd name="connsiteY4846" fmla="*/ 266224 h 514350"/>
                <a:gd name="connsiteX4847" fmla="*/ 3624739 w 6400800"/>
                <a:gd name="connsiteY4847" fmla="*/ 270986 h 514350"/>
                <a:gd name="connsiteX4848" fmla="*/ 3617119 w 6400800"/>
                <a:gd name="connsiteY4848" fmla="*/ 309086 h 514350"/>
                <a:gd name="connsiteX4849" fmla="*/ 3614261 w 6400800"/>
                <a:gd name="connsiteY4849" fmla="*/ 322421 h 514350"/>
                <a:gd name="connsiteX4850" fmla="*/ 3611404 w 6400800"/>
                <a:gd name="connsiteY4850" fmla="*/ 320516 h 514350"/>
                <a:gd name="connsiteX4851" fmla="*/ 3609499 w 6400800"/>
                <a:gd name="connsiteY4851" fmla="*/ 298609 h 514350"/>
                <a:gd name="connsiteX4852" fmla="*/ 3608546 w 6400800"/>
                <a:gd name="connsiteY4852" fmla="*/ 318611 h 514350"/>
                <a:gd name="connsiteX4853" fmla="*/ 3606641 w 6400800"/>
                <a:gd name="connsiteY4853" fmla="*/ 317659 h 514350"/>
                <a:gd name="connsiteX4854" fmla="*/ 3608546 w 6400800"/>
                <a:gd name="connsiteY4854" fmla="*/ 319564 h 514350"/>
                <a:gd name="connsiteX4855" fmla="*/ 3608546 w 6400800"/>
                <a:gd name="connsiteY4855" fmla="*/ 322421 h 514350"/>
                <a:gd name="connsiteX4856" fmla="*/ 3602831 w 6400800"/>
                <a:gd name="connsiteY4856" fmla="*/ 312896 h 514350"/>
                <a:gd name="connsiteX4857" fmla="*/ 3601879 w 6400800"/>
                <a:gd name="connsiteY4857" fmla="*/ 310039 h 514350"/>
                <a:gd name="connsiteX4858" fmla="*/ 3600926 w 6400800"/>
                <a:gd name="connsiteY4858" fmla="*/ 335756 h 514350"/>
                <a:gd name="connsiteX4859" fmla="*/ 3604736 w 6400800"/>
                <a:gd name="connsiteY4859" fmla="*/ 346234 h 514350"/>
                <a:gd name="connsiteX4860" fmla="*/ 3601879 w 6400800"/>
                <a:gd name="connsiteY4860" fmla="*/ 351949 h 514350"/>
                <a:gd name="connsiteX4861" fmla="*/ 3600926 w 6400800"/>
                <a:gd name="connsiteY4861" fmla="*/ 352901 h 514350"/>
                <a:gd name="connsiteX4862" fmla="*/ 3599974 w 6400800"/>
                <a:gd name="connsiteY4862" fmla="*/ 345281 h 514350"/>
                <a:gd name="connsiteX4863" fmla="*/ 3600926 w 6400800"/>
                <a:gd name="connsiteY4863" fmla="*/ 335756 h 514350"/>
                <a:gd name="connsiteX4864" fmla="*/ 3556159 w 6400800"/>
                <a:gd name="connsiteY4864" fmla="*/ 342424 h 514350"/>
                <a:gd name="connsiteX4865" fmla="*/ 3557111 w 6400800"/>
                <a:gd name="connsiteY4865" fmla="*/ 324326 h 514350"/>
                <a:gd name="connsiteX4866" fmla="*/ 3558064 w 6400800"/>
                <a:gd name="connsiteY4866" fmla="*/ 328136 h 514350"/>
                <a:gd name="connsiteX4867" fmla="*/ 3559016 w 6400800"/>
                <a:gd name="connsiteY4867" fmla="*/ 333851 h 514350"/>
                <a:gd name="connsiteX4868" fmla="*/ 3559016 w 6400800"/>
                <a:gd name="connsiteY4868" fmla="*/ 334804 h 514350"/>
                <a:gd name="connsiteX4869" fmla="*/ 3556159 w 6400800"/>
                <a:gd name="connsiteY4869" fmla="*/ 342424 h 514350"/>
                <a:gd name="connsiteX4870" fmla="*/ 3559969 w 6400800"/>
                <a:gd name="connsiteY4870" fmla="*/ 279559 h 514350"/>
                <a:gd name="connsiteX4871" fmla="*/ 3559016 w 6400800"/>
                <a:gd name="connsiteY4871" fmla="*/ 274796 h 514350"/>
                <a:gd name="connsiteX4872" fmla="*/ 3561874 w 6400800"/>
                <a:gd name="connsiteY4872" fmla="*/ 276701 h 514350"/>
                <a:gd name="connsiteX4873" fmla="*/ 3566636 w 6400800"/>
                <a:gd name="connsiteY4873" fmla="*/ 280511 h 514350"/>
                <a:gd name="connsiteX4874" fmla="*/ 3562826 w 6400800"/>
                <a:gd name="connsiteY4874" fmla="*/ 287179 h 514350"/>
                <a:gd name="connsiteX4875" fmla="*/ 3559969 w 6400800"/>
                <a:gd name="connsiteY4875" fmla="*/ 279559 h 514350"/>
                <a:gd name="connsiteX4876" fmla="*/ 3571399 w 6400800"/>
                <a:gd name="connsiteY4876" fmla="*/ 287179 h 514350"/>
                <a:gd name="connsiteX4877" fmla="*/ 3571399 w 6400800"/>
                <a:gd name="connsiteY4877" fmla="*/ 311944 h 514350"/>
                <a:gd name="connsiteX4878" fmla="*/ 3569494 w 6400800"/>
                <a:gd name="connsiteY4878" fmla="*/ 314801 h 514350"/>
                <a:gd name="connsiteX4879" fmla="*/ 3562826 w 6400800"/>
                <a:gd name="connsiteY4879" fmla="*/ 292894 h 514350"/>
                <a:gd name="connsiteX4880" fmla="*/ 3566636 w 6400800"/>
                <a:gd name="connsiteY4880" fmla="*/ 282416 h 514350"/>
                <a:gd name="connsiteX4881" fmla="*/ 3571399 w 6400800"/>
                <a:gd name="connsiteY4881" fmla="*/ 287179 h 514350"/>
                <a:gd name="connsiteX4882" fmla="*/ 3571399 w 6400800"/>
                <a:gd name="connsiteY4882" fmla="*/ 287179 h 514350"/>
                <a:gd name="connsiteX4883" fmla="*/ 3571399 w 6400800"/>
                <a:gd name="connsiteY4883" fmla="*/ 281464 h 514350"/>
                <a:gd name="connsiteX4884" fmla="*/ 3568541 w 6400800"/>
                <a:gd name="connsiteY4884" fmla="*/ 279559 h 514350"/>
                <a:gd name="connsiteX4885" fmla="*/ 3568541 w 6400800"/>
                <a:gd name="connsiteY4885" fmla="*/ 279559 h 514350"/>
                <a:gd name="connsiteX4886" fmla="*/ 3571399 w 6400800"/>
                <a:gd name="connsiteY4886" fmla="*/ 273844 h 514350"/>
                <a:gd name="connsiteX4887" fmla="*/ 3571399 w 6400800"/>
                <a:gd name="connsiteY4887" fmla="*/ 281464 h 514350"/>
                <a:gd name="connsiteX4888" fmla="*/ 3567589 w 6400800"/>
                <a:gd name="connsiteY4888" fmla="*/ 250031 h 514350"/>
                <a:gd name="connsiteX4889" fmla="*/ 3570446 w 6400800"/>
                <a:gd name="connsiteY4889" fmla="*/ 265271 h 514350"/>
                <a:gd name="connsiteX4890" fmla="*/ 3571399 w 6400800"/>
                <a:gd name="connsiteY4890" fmla="*/ 271939 h 514350"/>
                <a:gd name="connsiteX4891" fmla="*/ 3571399 w 6400800"/>
                <a:gd name="connsiteY4891" fmla="*/ 272891 h 514350"/>
                <a:gd name="connsiteX4892" fmla="*/ 3567589 w 6400800"/>
                <a:gd name="connsiteY4892" fmla="*/ 277654 h 514350"/>
                <a:gd name="connsiteX4893" fmla="*/ 3567589 w 6400800"/>
                <a:gd name="connsiteY4893" fmla="*/ 277654 h 514350"/>
                <a:gd name="connsiteX4894" fmla="*/ 3561874 w 6400800"/>
                <a:gd name="connsiteY4894" fmla="*/ 274796 h 514350"/>
                <a:gd name="connsiteX4895" fmla="*/ 3558064 w 6400800"/>
                <a:gd name="connsiteY4895" fmla="*/ 272891 h 514350"/>
                <a:gd name="connsiteX4896" fmla="*/ 3554254 w 6400800"/>
                <a:gd name="connsiteY4896" fmla="*/ 260509 h 514350"/>
                <a:gd name="connsiteX4897" fmla="*/ 3556159 w 6400800"/>
                <a:gd name="connsiteY4897" fmla="*/ 257651 h 514350"/>
                <a:gd name="connsiteX4898" fmla="*/ 3566636 w 6400800"/>
                <a:gd name="connsiteY4898" fmla="*/ 243364 h 514350"/>
                <a:gd name="connsiteX4899" fmla="*/ 3567589 w 6400800"/>
                <a:gd name="connsiteY4899" fmla="*/ 250031 h 514350"/>
                <a:gd name="connsiteX4900" fmla="*/ 3561874 w 6400800"/>
                <a:gd name="connsiteY4900" fmla="*/ 229076 h 514350"/>
                <a:gd name="connsiteX4901" fmla="*/ 3562826 w 6400800"/>
                <a:gd name="connsiteY4901" fmla="*/ 227171 h 514350"/>
                <a:gd name="connsiteX4902" fmla="*/ 3564731 w 6400800"/>
                <a:gd name="connsiteY4902" fmla="*/ 235744 h 514350"/>
                <a:gd name="connsiteX4903" fmla="*/ 3565684 w 6400800"/>
                <a:gd name="connsiteY4903" fmla="*/ 238601 h 514350"/>
                <a:gd name="connsiteX4904" fmla="*/ 3552349 w 6400800"/>
                <a:gd name="connsiteY4904" fmla="*/ 251936 h 514350"/>
                <a:gd name="connsiteX4905" fmla="*/ 3551396 w 6400800"/>
                <a:gd name="connsiteY4905" fmla="*/ 247174 h 514350"/>
                <a:gd name="connsiteX4906" fmla="*/ 3561874 w 6400800"/>
                <a:gd name="connsiteY4906" fmla="*/ 229076 h 514350"/>
                <a:gd name="connsiteX4907" fmla="*/ 3551396 w 6400800"/>
                <a:gd name="connsiteY4907" fmla="*/ 293846 h 514350"/>
                <a:gd name="connsiteX4908" fmla="*/ 3554254 w 6400800"/>
                <a:gd name="connsiteY4908" fmla="*/ 307181 h 514350"/>
                <a:gd name="connsiteX4909" fmla="*/ 3550444 w 6400800"/>
                <a:gd name="connsiteY4909" fmla="*/ 321469 h 514350"/>
                <a:gd name="connsiteX4910" fmla="*/ 3547586 w 6400800"/>
                <a:gd name="connsiteY4910" fmla="*/ 333851 h 514350"/>
                <a:gd name="connsiteX4911" fmla="*/ 3546634 w 6400800"/>
                <a:gd name="connsiteY4911" fmla="*/ 331946 h 514350"/>
                <a:gd name="connsiteX4912" fmla="*/ 3543776 w 6400800"/>
                <a:gd name="connsiteY4912" fmla="*/ 327184 h 514350"/>
                <a:gd name="connsiteX4913" fmla="*/ 3544729 w 6400800"/>
                <a:gd name="connsiteY4913" fmla="*/ 306229 h 514350"/>
                <a:gd name="connsiteX4914" fmla="*/ 3547586 w 6400800"/>
                <a:gd name="connsiteY4914" fmla="*/ 286226 h 514350"/>
                <a:gd name="connsiteX4915" fmla="*/ 3548539 w 6400800"/>
                <a:gd name="connsiteY4915" fmla="*/ 276701 h 514350"/>
                <a:gd name="connsiteX4916" fmla="*/ 3551396 w 6400800"/>
                <a:gd name="connsiteY4916" fmla="*/ 293846 h 514350"/>
                <a:gd name="connsiteX4917" fmla="*/ 3543776 w 6400800"/>
                <a:gd name="connsiteY4917" fmla="*/ 191929 h 514350"/>
                <a:gd name="connsiteX4918" fmla="*/ 3549491 w 6400800"/>
                <a:gd name="connsiteY4918" fmla="*/ 180499 h 514350"/>
                <a:gd name="connsiteX4919" fmla="*/ 3548539 w 6400800"/>
                <a:gd name="connsiteY4919" fmla="*/ 185261 h 514350"/>
                <a:gd name="connsiteX4920" fmla="*/ 3544729 w 6400800"/>
                <a:gd name="connsiteY4920" fmla="*/ 211931 h 514350"/>
                <a:gd name="connsiteX4921" fmla="*/ 3543776 w 6400800"/>
                <a:gd name="connsiteY4921" fmla="*/ 217646 h 514350"/>
                <a:gd name="connsiteX4922" fmla="*/ 3539014 w 6400800"/>
                <a:gd name="connsiteY4922" fmla="*/ 200501 h 514350"/>
                <a:gd name="connsiteX4923" fmla="*/ 3543776 w 6400800"/>
                <a:gd name="connsiteY4923" fmla="*/ 191929 h 514350"/>
                <a:gd name="connsiteX4924" fmla="*/ 3530441 w 6400800"/>
                <a:gd name="connsiteY4924" fmla="*/ 217646 h 514350"/>
                <a:gd name="connsiteX4925" fmla="*/ 3539014 w 6400800"/>
                <a:gd name="connsiteY4925" fmla="*/ 201454 h 514350"/>
                <a:gd name="connsiteX4926" fmla="*/ 3540919 w 6400800"/>
                <a:gd name="connsiteY4926" fmla="*/ 217646 h 514350"/>
                <a:gd name="connsiteX4927" fmla="*/ 3542824 w 6400800"/>
                <a:gd name="connsiteY4927" fmla="*/ 231934 h 514350"/>
                <a:gd name="connsiteX4928" fmla="*/ 3540919 w 6400800"/>
                <a:gd name="connsiteY4928" fmla="*/ 240506 h 514350"/>
                <a:gd name="connsiteX4929" fmla="*/ 3528536 w 6400800"/>
                <a:gd name="connsiteY4929" fmla="*/ 259556 h 514350"/>
                <a:gd name="connsiteX4930" fmla="*/ 3528536 w 6400800"/>
                <a:gd name="connsiteY4930" fmla="*/ 257651 h 514350"/>
                <a:gd name="connsiteX4931" fmla="*/ 3527584 w 6400800"/>
                <a:gd name="connsiteY4931" fmla="*/ 240506 h 514350"/>
                <a:gd name="connsiteX4932" fmla="*/ 3526631 w 6400800"/>
                <a:gd name="connsiteY4932" fmla="*/ 229076 h 514350"/>
                <a:gd name="connsiteX4933" fmla="*/ 3530441 w 6400800"/>
                <a:gd name="connsiteY4933" fmla="*/ 217646 h 514350"/>
                <a:gd name="connsiteX4934" fmla="*/ 3490436 w 6400800"/>
                <a:gd name="connsiteY4934" fmla="*/ 321469 h 514350"/>
                <a:gd name="connsiteX4935" fmla="*/ 3490436 w 6400800"/>
                <a:gd name="connsiteY4935" fmla="*/ 317659 h 514350"/>
                <a:gd name="connsiteX4936" fmla="*/ 3491389 w 6400800"/>
                <a:gd name="connsiteY4936" fmla="*/ 319564 h 514350"/>
                <a:gd name="connsiteX4937" fmla="*/ 3490436 w 6400800"/>
                <a:gd name="connsiteY4937" fmla="*/ 321469 h 514350"/>
                <a:gd name="connsiteX4938" fmla="*/ 3514249 w 6400800"/>
                <a:gd name="connsiteY4938" fmla="*/ 250984 h 514350"/>
                <a:gd name="connsiteX4939" fmla="*/ 3516154 w 6400800"/>
                <a:gd name="connsiteY4939" fmla="*/ 246221 h 514350"/>
                <a:gd name="connsiteX4940" fmla="*/ 3515201 w 6400800"/>
                <a:gd name="connsiteY4940" fmla="*/ 257651 h 514350"/>
                <a:gd name="connsiteX4941" fmla="*/ 3514249 w 6400800"/>
                <a:gd name="connsiteY4941" fmla="*/ 270986 h 514350"/>
                <a:gd name="connsiteX4942" fmla="*/ 3509486 w 6400800"/>
                <a:gd name="connsiteY4942" fmla="*/ 259556 h 514350"/>
                <a:gd name="connsiteX4943" fmla="*/ 3514249 w 6400800"/>
                <a:gd name="connsiteY4943" fmla="*/ 250984 h 514350"/>
                <a:gd name="connsiteX4944" fmla="*/ 3504724 w 6400800"/>
                <a:gd name="connsiteY4944" fmla="*/ 271939 h 514350"/>
                <a:gd name="connsiteX4945" fmla="*/ 3505676 w 6400800"/>
                <a:gd name="connsiteY4945" fmla="*/ 274796 h 514350"/>
                <a:gd name="connsiteX4946" fmla="*/ 3509486 w 6400800"/>
                <a:gd name="connsiteY4946" fmla="*/ 288131 h 514350"/>
                <a:gd name="connsiteX4947" fmla="*/ 3505676 w 6400800"/>
                <a:gd name="connsiteY4947" fmla="*/ 293846 h 514350"/>
                <a:gd name="connsiteX4948" fmla="*/ 3504724 w 6400800"/>
                <a:gd name="connsiteY4948" fmla="*/ 282416 h 514350"/>
                <a:gd name="connsiteX4949" fmla="*/ 3504724 w 6400800"/>
                <a:gd name="connsiteY4949" fmla="*/ 271939 h 514350"/>
                <a:gd name="connsiteX4950" fmla="*/ 3504724 w 6400800"/>
                <a:gd name="connsiteY4950" fmla="*/ 271939 h 514350"/>
                <a:gd name="connsiteX4951" fmla="*/ 3501866 w 6400800"/>
                <a:gd name="connsiteY4951" fmla="*/ 398621 h 514350"/>
                <a:gd name="connsiteX4952" fmla="*/ 3495199 w 6400800"/>
                <a:gd name="connsiteY4952" fmla="*/ 371951 h 514350"/>
                <a:gd name="connsiteX4953" fmla="*/ 3494246 w 6400800"/>
                <a:gd name="connsiteY4953" fmla="*/ 369094 h 514350"/>
                <a:gd name="connsiteX4954" fmla="*/ 3499961 w 6400800"/>
                <a:gd name="connsiteY4954" fmla="*/ 357664 h 514350"/>
                <a:gd name="connsiteX4955" fmla="*/ 3501866 w 6400800"/>
                <a:gd name="connsiteY4955" fmla="*/ 398621 h 514350"/>
                <a:gd name="connsiteX4956" fmla="*/ 3496151 w 6400800"/>
                <a:gd name="connsiteY4956" fmla="*/ 290036 h 514350"/>
                <a:gd name="connsiteX4957" fmla="*/ 3499009 w 6400800"/>
                <a:gd name="connsiteY4957" fmla="*/ 284321 h 514350"/>
                <a:gd name="connsiteX4958" fmla="*/ 3499009 w 6400800"/>
                <a:gd name="connsiteY4958" fmla="*/ 295751 h 514350"/>
                <a:gd name="connsiteX4959" fmla="*/ 3496151 w 6400800"/>
                <a:gd name="connsiteY4959" fmla="*/ 290036 h 514350"/>
                <a:gd name="connsiteX4960" fmla="*/ 3496151 w 6400800"/>
                <a:gd name="connsiteY4960" fmla="*/ 252889 h 514350"/>
                <a:gd name="connsiteX4961" fmla="*/ 3496151 w 6400800"/>
                <a:gd name="connsiteY4961" fmla="*/ 247174 h 514350"/>
                <a:gd name="connsiteX4962" fmla="*/ 3499009 w 6400800"/>
                <a:gd name="connsiteY4962" fmla="*/ 254794 h 514350"/>
                <a:gd name="connsiteX4963" fmla="*/ 3495199 w 6400800"/>
                <a:gd name="connsiteY4963" fmla="*/ 261461 h 514350"/>
                <a:gd name="connsiteX4964" fmla="*/ 3496151 w 6400800"/>
                <a:gd name="connsiteY4964" fmla="*/ 252889 h 514350"/>
                <a:gd name="connsiteX4965" fmla="*/ 3481864 w 6400800"/>
                <a:gd name="connsiteY4965" fmla="*/ 205264 h 514350"/>
                <a:gd name="connsiteX4966" fmla="*/ 3491389 w 6400800"/>
                <a:gd name="connsiteY4966" fmla="*/ 230029 h 514350"/>
                <a:gd name="connsiteX4967" fmla="*/ 3495199 w 6400800"/>
                <a:gd name="connsiteY4967" fmla="*/ 243364 h 514350"/>
                <a:gd name="connsiteX4968" fmla="*/ 3492341 w 6400800"/>
                <a:gd name="connsiteY4968" fmla="*/ 251936 h 514350"/>
                <a:gd name="connsiteX4969" fmla="*/ 3487579 w 6400800"/>
                <a:gd name="connsiteY4969" fmla="*/ 268129 h 514350"/>
                <a:gd name="connsiteX4970" fmla="*/ 3486626 w 6400800"/>
                <a:gd name="connsiteY4970" fmla="*/ 270034 h 514350"/>
                <a:gd name="connsiteX4971" fmla="*/ 3479959 w 6400800"/>
                <a:gd name="connsiteY4971" fmla="*/ 255746 h 514350"/>
                <a:gd name="connsiteX4972" fmla="*/ 3479959 w 6400800"/>
                <a:gd name="connsiteY4972" fmla="*/ 228124 h 514350"/>
                <a:gd name="connsiteX4973" fmla="*/ 3479959 w 6400800"/>
                <a:gd name="connsiteY4973" fmla="*/ 213836 h 514350"/>
                <a:gd name="connsiteX4974" fmla="*/ 3481864 w 6400800"/>
                <a:gd name="connsiteY4974" fmla="*/ 205264 h 514350"/>
                <a:gd name="connsiteX4975" fmla="*/ 3473291 w 6400800"/>
                <a:gd name="connsiteY4975" fmla="*/ 241459 h 514350"/>
                <a:gd name="connsiteX4976" fmla="*/ 3475196 w 6400800"/>
                <a:gd name="connsiteY4976" fmla="*/ 234791 h 514350"/>
                <a:gd name="connsiteX4977" fmla="*/ 3473291 w 6400800"/>
                <a:gd name="connsiteY4977" fmla="*/ 241459 h 514350"/>
                <a:gd name="connsiteX4978" fmla="*/ 3473291 w 6400800"/>
                <a:gd name="connsiteY4978" fmla="*/ 241459 h 514350"/>
                <a:gd name="connsiteX4979" fmla="*/ 3473291 w 6400800"/>
                <a:gd name="connsiteY4979" fmla="*/ 241459 h 514350"/>
                <a:gd name="connsiteX4980" fmla="*/ 3468529 w 6400800"/>
                <a:gd name="connsiteY4980" fmla="*/ 260509 h 514350"/>
                <a:gd name="connsiteX4981" fmla="*/ 3469481 w 6400800"/>
                <a:gd name="connsiteY4981" fmla="*/ 263366 h 514350"/>
                <a:gd name="connsiteX4982" fmla="*/ 3468529 w 6400800"/>
                <a:gd name="connsiteY4982" fmla="*/ 270986 h 514350"/>
                <a:gd name="connsiteX4983" fmla="*/ 3465671 w 6400800"/>
                <a:gd name="connsiteY4983" fmla="*/ 300514 h 514350"/>
                <a:gd name="connsiteX4984" fmla="*/ 3464719 w 6400800"/>
                <a:gd name="connsiteY4984" fmla="*/ 318611 h 514350"/>
                <a:gd name="connsiteX4985" fmla="*/ 3463766 w 6400800"/>
                <a:gd name="connsiteY4985" fmla="*/ 321469 h 514350"/>
                <a:gd name="connsiteX4986" fmla="*/ 3459956 w 6400800"/>
                <a:gd name="connsiteY4986" fmla="*/ 307181 h 514350"/>
                <a:gd name="connsiteX4987" fmla="*/ 3459956 w 6400800"/>
                <a:gd name="connsiteY4987" fmla="*/ 306229 h 514350"/>
                <a:gd name="connsiteX4988" fmla="*/ 3460909 w 6400800"/>
                <a:gd name="connsiteY4988" fmla="*/ 300514 h 514350"/>
                <a:gd name="connsiteX4989" fmla="*/ 3468529 w 6400800"/>
                <a:gd name="connsiteY4989" fmla="*/ 260509 h 514350"/>
                <a:gd name="connsiteX4990" fmla="*/ 3451384 w 6400800"/>
                <a:gd name="connsiteY4990" fmla="*/ 237649 h 514350"/>
                <a:gd name="connsiteX4991" fmla="*/ 3451384 w 6400800"/>
                <a:gd name="connsiteY4991" fmla="*/ 221456 h 514350"/>
                <a:gd name="connsiteX4992" fmla="*/ 3451384 w 6400800"/>
                <a:gd name="connsiteY4992" fmla="*/ 222409 h 514350"/>
                <a:gd name="connsiteX4993" fmla="*/ 3458051 w 6400800"/>
                <a:gd name="connsiteY4993" fmla="*/ 237649 h 514350"/>
                <a:gd name="connsiteX4994" fmla="*/ 3458051 w 6400800"/>
                <a:gd name="connsiteY4994" fmla="*/ 238601 h 514350"/>
                <a:gd name="connsiteX4995" fmla="*/ 3450431 w 6400800"/>
                <a:gd name="connsiteY4995" fmla="*/ 267176 h 514350"/>
                <a:gd name="connsiteX4996" fmla="*/ 3450431 w 6400800"/>
                <a:gd name="connsiteY4996" fmla="*/ 267176 h 514350"/>
                <a:gd name="connsiteX4997" fmla="*/ 3451384 w 6400800"/>
                <a:gd name="connsiteY4997" fmla="*/ 237649 h 514350"/>
                <a:gd name="connsiteX4998" fmla="*/ 3405664 w 6400800"/>
                <a:gd name="connsiteY4998" fmla="*/ 273844 h 514350"/>
                <a:gd name="connsiteX4999" fmla="*/ 3406616 w 6400800"/>
                <a:gd name="connsiteY4999" fmla="*/ 258604 h 514350"/>
                <a:gd name="connsiteX5000" fmla="*/ 3406616 w 6400800"/>
                <a:gd name="connsiteY5000" fmla="*/ 245269 h 514350"/>
                <a:gd name="connsiteX5001" fmla="*/ 3409474 w 6400800"/>
                <a:gd name="connsiteY5001" fmla="*/ 259556 h 514350"/>
                <a:gd name="connsiteX5002" fmla="*/ 3405664 w 6400800"/>
                <a:gd name="connsiteY5002" fmla="*/ 273844 h 514350"/>
                <a:gd name="connsiteX5003" fmla="*/ 3416141 w 6400800"/>
                <a:gd name="connsiteY5003" fmla="*/ 335756 h 514350"/>
                <a:gd name="connsiteX5004" fmla="*/ 3416141 w 6400800"/>
                <a:gd name="connsiteY5004" fmla="*/ 353854 h 514350"/>
                <a:gd name="connsiteX5005" fmla="*/ 3415189 w 6400800"/>
                <a:gd name="connsiteY5005" fmla="*/ 348139 h 514350"/>
                <a:gd name="connsiteX5006" fmla="*/ 3413284 w 6400800"/>
                <a:gd name="connsiteY5006" fmla="*/ 328136 h 514350"/>
                <a:gd name="connsiteX5007" fmla="*/ 3413284 w 6400800"/>
                <a:gd name="connsiteY5007" fmla="*/ 328136 h 514350"/>
                <a:gd name="connsiteX5008" fmla="*/ 3417094 w 6400800"/>
                <a:gd name="connsiteY5008" fmla="*/ 320516 h 514350"/>
                <a:gd name="connsiteX5009" fmla="*/ 3416141 w 6400800"/>
                <a:gd name="connsiteY5009" fmla="*/ 335756 h 514350"/>
                <a:gd name="connsiteX5010" fmla="*/ 3421856 w 6400800"/>
                <a:gd name="connsiteY5010" fmla="*/ 320516 h 514350"/>
                <a:gd name="connsiteX5011" fmla="*/ 3419951 w 6400800"/>
                <a:gd name="connsiteY5011" fmla="*/ 332899 h 514350"/>
                <a:gd name="connsiteX5012" fmla="*/ 3418046 w 6400800"/>
                <a:gd name="connsiteY5012" fmla="*/ 316706 h 514350"/>
                <a:gd name="connsiteX5013" fmla="*/ 3420904 w 6400800"/>
                <a:gd name="connsiteY5013" fmla="*/ 310991 h 514350"/>
                <a:gd name="connsiteX5014" fmla="*/ 3421856 w 6400800"/>
                <a:gd name="connsiteY5014" fmla="*/ 308134 h 514350"/>
                <a:gd name="connsiteX5015" fmla="*/ 3422809 w 6400800"/>
                <a:gd name="connsiteY5015" fmla="*/ 312896 h 514350"/>
                <a:gd name="connsiteX5016" fmla="*/ 3421856 w 6400800"/>
                <a:gd name="connsiteY5016" fmla="*/ 320516 h 514350"/>
                <a:gd name="connsiteX5017" fmla="*/ 3410426 w 6400800"/>
                <a:gd name="connsiteY5017" fmla="*/ 139541 h 514350"/>
                <a:gd name="connsiteX5018" fmla="*/ 3421856 w 6400800"/>
                <a:gd name="connsiteY5018" fmla="*/ 161449 h 514350"/>
                <a:gd name="connsiteX5019" fmla="*/ 3433286 w 6400800"/>
                <a:gd name="connsiteY5019" fmla="*/ 181451 h 514350"/>
                <a:gd name="connsiteX5020" fmla="*/ 3428524 w 6400800"/>
                <a:gd name="connsiteY5020" fmla="*/ 198596 h 514350"/>
                <a:gd name="connsiteX5021" fmla="*/ 3425666 w 6400800"/>
                <a:gd name="connsiteY5021" fmla="*/ 210026 h 514350"/>
                <a:gd name="connsiteX5022" fmla="*/ 3422809 w 6400800"/>
                <a:gd name="connsiteY5022" fmla="*/ 195739 h 514350"/>
                <a:gd name="connsiteX5023" fmla="*/ 3415189 w 6400800"/>
                <a:gd name="connsiteY5023" fmla="*/ 163354 h 514350"/>
                <a:gd name="connsiteX5024" fmla="*/ 3410426 w 6400800"/>
                <a:gd name="connsiteY5024" fmla="*/ 143351 h 514350"/>
                <a:gd name="connsiteX5025" fmla="*/ 3410426 w 6400800"/>
                <a:gd name="connsiteY5025" fmla="*/ 139541 h 514350"/>
                <a:gd name="connsiteX5026" fmla="*/ 3408521 w 6400800"/>
                <a:gd name="connsiteY5026" fmla="*/ 136684 h 514350"/>
                <a:gd name="connsiteX5027" fmla="*/ 3408521 w 6400800"/>
                <a:gd name="connsiteY5027" fmla="*/ 136684 h 514350"/>
                <a:gd name="connsiteX5028" fmla="*/ 3408521 w 6400800"/>
                <a:gd name="connsiteY5028" fmla="*/ 136684 h 514350"/>
                <a:gd name="connsiteX5029" fmla="*/ 3408521 w 6400800"/>
                <a:gd name="connsiteY5029" fmla="*/ 136684 h 514350"/>
                <a:gd name="connsiteX5030" fmla="*/ 3395186 w 6400800"/>
                <a:gd name="connsiteY5030" fmla="*/ 266224 h 514350"/>
                <a:gd name="connsiteX5031" fmla="*/ 3396139 w 6400800"/>
                <a:gd name="connsiteY5031" fmla="*/ 227171 h 514350"/>
                <a:gd name="connsiteX5032" fmla="*/ 3396139 w 6400800"/>
                <a:gd name="connsiteY5032" fmla="*/ 212884 h 514350"/>
                <a:gd name="connsiteX5033" fmla="*/ 3398996 w 6400800"/>
                <a:gd name="connsiteY5033" fmla="*/ 204311 h 514350"/>
                <a:gd name="connsiteX5034" fmla="*/ 3396139 w 6400800"/>
                <a:gd name="connsiteY5034" fmla="*/ 210026 h 514350"/>
                <a:gd name="connsiteX5035" fmla="*/ 3396139 w 6400800"/>
                <a:gd name="connsiteY5035" fmla="*/ 202406 h 514350"/>
                <a:gd name="connsiteX5036" fmla="*/ 3398044 w 6400800"/>
                <a:gd name="connsiteY5036" fmla="*/ 194786 h 514350"/>
                <a:gd name="connsiteX5037" fmla="*/ 3408521 w 6400800"/>
                <a:gd name="connsiteY5037" fmla="*/ 145256 h 514350"/>
                <a:gd name="connsiteX5038" fmla="*/ 3410426 w 6400800"/>
                <a:gd name="connsiteY5038" fmla="*/ 162401 h 514350"/>
                <a:gd name="connsiteX5039" fmla="*/ 3414236 w 6400800"/>
                <a:gd name="connsiteY5039" fmla="*/ 195739 h 514350"/>
                <a:gd name="connsiteX5040" fmla="*/ 3417094 w 6400800"/>
                <a:gd name="connsiteY5040" fmla="*/ 215741 h 514350"/>
                <a:gd name="connsiteX5041" fmla="*/ 3419951 w 6400800"/>
                <a:gd name="connsiteY5041" fmla="*/ 229076 h 514350"/>
                <a:gd name="connsiteX5042" fmla="*/ 3418046 w 6400800"/>
                <a:gd name="connsiteY5042" fmla="*/ 233839 h 514350"/>
                <a:gd name="connsiteX5043" fmla="*/ 3411379 w 6400800"/>
                <a:gd name="connsiteY5043" fmla="*/ 253841 h 514350"/>
                <a:gd name="connsiteX5044" fmla="*/ 3407569 w 6400800"/>
                <a:gd name="connsiteY5044" fmla="*/ 244316 h 514350"/>
                <a:gd name="connsiteX5045" fmla="*/ 3407569 w 6400800"/>
                <a:gd name="connsiteY5045" fmla="*/ 239554 h 514350"/>
                <a:gd name="connsiteX5046" fmla="*/ 3407569 w 6400800"/>
                <a:gd name="connsiteY5046" fmla="*/ 224314 h 514350"/>
                <a:gd name="connsiteX5047" fmla="*/ 3403759 w 6400800"/>
                <a:gd name="connsiteY5047" fmla="*/ 239554 h 514350"/>
                <a:gd name="connsiteX5048" fmla="*/ 3399949 w 6400800"/>
                <a:gd name="connsiteY5048" fmla="*/ 256699 h 514350"/>
                <a:gd name="connsiteX5049" fmla="*/ 3395186 w 6400800"/>
                <a:gd name="connsiteY5049" fmla="*/ 275749 h 514350"/>
                <a:gd name="connsiteX5050" fmla="*/ 3395186 w 6400800"/>
                <a:gd name="connsiteY5050" fmla="*/ 266224 h 514350"/>
                <a:gd name="connsiteX5051" fmla="*/ 3363754 w 6400800"/>
                <a:gd name="connsiteY5051" fmla="*/ 252889 h 514350"/>
                <a:gd name="connsiteX5052" fmla="*/ 3365659 w 6400800"/>
                <a:gd name="connsiteY5052" fmla="*/ 264319 h 514350"/>
                <a:gd name="connsiteX5053" fmla="*/ 3363754 w 6400800"/>
                <a:gd name="connsiteY5053" fmla="*/ 269081 h 514350"/>
                <a:gd name="connsiteX5054" fmla="*/ 3363754 w 6400800"/>
                <a:gd name="connsiteY5054" fmla="*/ 252889 h 514350"/>
                <a:gd name="connsiteX5055" fmla="*/ 3321844 w 6400800"/>
                <a:gd name="connsiteY5055" fmla="*/ 351949 h 514350"/>
                <a:gd name="connsiteX5056" fmla="*/ 3322796 w 6400800"/>
                <a:gd name="connsiteY5056" fmla="*/ 342424 h 514350"/>
                <a:gd name="connsiteX5057" fmla="*/ 3323749 w 6400800"/>
                <a:gd name="connsiteY5057" fmla="*/ 347186 h 514350"/>
                <a:gd name="connsiteX5058" fmla="*/ 3321844 w 6400800"/>
                <a:gd name="connsiteY5058" fmla="*/ 351949 h 514350"/>
                <a:gd name="connsiteX5059" fmla="*/ 3340894 w 6400800"/>
                <a:gd name="connsiteY5059" fmla="*/ 273844 h 514350"/>
                <a:gd name="connsiteX5060" fmla="*/ 3347561 w 6400800"/>
                <a:gd name="connsiteY5060" fmla="*/ 298609 h 514350"/>
                <a:gd name="connsiteX5061" fmla="*/ 3344704 w 6400800"/>
                <a:gd name="connsiteY5061" fmla="*/ 304324 h 514350"/>
                <a:gd name="connsiteX5062" fmla="*/ 3338989 w 6400800"/>
                <a:gd name="connsiteY5062" fmla="*/ 290989 h 514350"/>
                <a:gd name="connsiteX5063" fmla="*/ 3335179 w 6400800"/>
                <a:gd name="connsiteY5063" fmla="*/ 251936 h 514350"/>
                <a:gd name="connsiteX5064" fmla="*/ 3340894 w 6400800"/>
                <a:gd name="connsiteY5064" fmla="*/ 273844 h 514350"/>
                <a:gd name="connsiteX5065" fmla="*/ 3330416 w 6400800"/>
                <a:gd name="connsiteY5065" fmla="*/ 376714 h 514350"/>
                <a:gd name="connsiteX5066" fmla="*/ 3331369 w 6400800"/>
                <a:gd name="connsiteY5066" fmla="*/ 379571 h 514350"/>
                <a:gd name="connsiteX5067" fmla="*/ 3329464 w 6400800"/>
                <a:gd name="connsiteY5067" fmla="*/ 384334 h 514350"/>
                <a:gd name="connsiteX5068" fmla="*/ 3328511 w 6400800"/>
                <a:gd name="connsiteY5068" fmla="*/ 381476 h 514350"/>
                <a:gd name="connsiteX5069" fmla="*/ 3330416 w 6400800"/>
                <a:gd name="connsiteY5069" fmla="*/ 376714 h 514350"/>
                <a:gd name="connsiteX5070" fmla="*/ 3329464 w 6400800"/>
                <a:gd name="connsiteY5070" fmla="*/ 202406 h 514350"/>
                <a:gd name="connsiteX5071" fmla="*/ 3329464 w 6400800"/>
                <a:gd name="connsiteY5071" fmla="*/ 207169 h 514350"/>
                <a:gd name="connsiteX5072" fmla="*/ 3328511 w 6400800"/>
                <a:gd name="connsiteY5072" fmla="*/ 205264 h 514350"/>
                <a:gd name="connsiteX5073" fmla="*/ 3329464 w 6400800"/>
                <a:gd name="connsiteY5073" fmla="*/ 202406 h 514350"/>
                <a:gd name="connsiteX5074" fmla="*/ 3326606 w 6400800"/>
                <a:gd name="connsiteY5074" fmla="*/ 302419 h 514350"/>
                <a:gd name="connsiteX5075" fmla="*/ 3329464 w 6400800"/>
                <a:gd name="connsiteY5075" fmla="*/ 310039 h 514350"/>
                <a:gd name="connsiteX5076" fmla="*/ 3329464 w 6400800"/>
                <a:gd name="connsiteY5076" fmla="*/ 311944 h 514350"/>
                <a:gd name="connsiteX5077" fmla="*/ 3326606 w 6400800"/>
                <a:gd name="connsiteY5077" fmla="*/ 306229 h 514350"/>
                <a:gd name="connsiteX5078" fmla="*/ 3326606 w 6400800"/>
                <a:gd name="connsiteY5078" fmla="*/ 302419 h 514350"/>
                <a:gd name="connsiteX5079" fmla="*/ 3323749 w 6400800"/>
                <a:gd name="connsiteY5079" fmla="*/ 227171 h 514350"/>
                <a:gd name="connsiteX5080" fmla="*/ 3325654 w 6400800"/>
                <a:gd name="connsiteY5080" fmla="*/ 219551 h 514350"/>
                <a:gd name="connsiteX5081" fmla="*/ 3325654 w 6400800"/>
                <a:gd name="connsiteY5081" fmla="*/ 221456 h 514350"/>
                <a:gd name="connsiteX5082" fmla="*/ 3318034 w 6400800"/>
                <a:gd name="connsiteY5082" fmla="*/ 256699 h 514350"/>
                <a:gd name="connsiteX5083" fmla="*/ 3317081 w 6400800"/>
                <a:gd name="connsiteY5083" fmla="*/ 255746 h 514350"/>
                <a:gd name="connsiteX5084" fmla="*/ 3323749 w 6400800"/>
                <a:gd name="connsiteY5084" fmla="*/ 227171 h 514350"/>
                <a:gd name="connsiteX5085" fmla="*/ 3315176 w 6400800"/>
                <a:gd name="connsiteY5085" fmla="*/ 269081 h 514350"/>
                <a:gd name="connsiteX5086" fmla="*/ 3316129 w 6400800"/>
                <a:gd name="connsiteY5086" fmla="*/ 270986 h 514350"/>
                <a:gd name="connsiteX5087" fmla="*/ 3314224 w 6400800"/>
                <a:gd name="connsiteY5087" fmla="*/ 282416 h 514350"/>
                <a:gd name="connsiteX5088" fmla="*/ 3313271 w 6400800"/>
                <a:gd name="connsiteY5088" fmla="*/ 280511 h 514350"/>
                <a:gd name="connsiteX5089" fmla="*/ 3315176 w 6400800"/>
                <a:gd name="connsiteY5089" fmla="*/ 269081 h 514350"/>
                <a:gd name="connsiteX5090" fmla="*/ 3305651 w 6400800"/>
                <a:gd name="connsiteY5090" fmla="*/ 310991 h 514350"/>
                <a:gd name="connsiteX5091" fmla="*/ 3308509 w 6400800"/>
                <a:gd name="connsiteY5091" fmla="*/ 298609 h 514350"/>
                <a:gd name="connsiteX5092" fmla="*/ 3310414 w 6400800"/>
                <a:gd name="connsiteY5092" fmla="*/ 302419 h 514350"/>
                <a:gd name="connsiteX5093" fmla="*/ 3307556 w 6400800"/>
                <a:gd name="connsiteY5093" fmla="*/ 320516 h 514350"/>
                <a:gd name="connsiteX5094" fmla="*/ 3304699 w 6400800"/>
                <a:gd name="connsiteY5094" fmla="*/ 313849 h 514350"/>
                <a:gd name="connsiteX5095" fmla="*/ 3305651 w 6400800"/>
                <a:gd name="connsiteY5095" fmla="*/ 310991 h 514350"/>
                <a:gd name="connsiteX5096" fmla="*/ 3302794 w 6400800"/>
                <a:gd name="connsiteY5096" fmla="*/ 327184 h 514350"/>
                <a:gd name="connsiteX5097" fmla="*/ 3304699 w 6400800"/>
                <a:gd name="connsiteY5097" fmla="*/ 335756 h 514350"/>
                <a:gd name="connsiteX5098" fmla="*/ 3300889 w 6400800"/>
                <a:gd name="connsiteY5098" fmla="*/ 349091 h 514350"/>
                <a:gd name="connsiteX5099" fmla="*/ 3298984 w 6400800"/>
                <a:gd name="connsiteY5099" fmla="*/ 355759 h 514350"/>
                <a:gd name="connsiteX5100" fmla="*/ 3297079 w 6400800"/>
                <a:gd name="connsiteY5100" fmla="*/ 351949 h 514350"/>
                <a:gd name="connsiteX5101" fmla="*/ 3302794 w 6400800"/>
                <a:gd name="connsiteY5101" fmla="*/ 327184 h 514350"/>
                <a:gd name="connsiteX5102" fmla="*/ 3279934 w 6400800"/>
                <a:gd name="connsiteY5102" fmla="*/ 297656 h 514350"/>
                <a:gd name="connsiteX5103" fmla="*/ 3280886 w 6400800"/>
                <a:gd name="connsiteY5103" fmla="*/ 289084 h 514350"/>
                <a:gd name="connsiteX5104" fmla="*/ 3283744 w 6400800"/>
                <a:gd name="connsiteY5104" fmla="*/ 263366 h 514350"/>
                <a:gd name="connsiteX5105" fmla="*/ 3284696 w 6400800"/>
                <a:gd name="connsiteY5105" fmla="*/ 252889 h 514350"/>
                <a:gd name="connsiteX5106" fmla="*/ 3293269 w 6400800"/>
                <a:gd name="connsiteY5106" fmla="*/ 270034 h 514350"/>
                <a:gd name="connsiteX5107" fmla="*/ 3291364 w 6400800"/>
                <a:gd name="connsiteY5107" fmla="*/ 277654 h 514350"/>
                <a:gd name="connsiteX5108" fmla="*/ 3290411 w 6400800"/>
                <a:gd name="connsiteY5108" fmla="*/ 283369 h 514350"/>
                <a:gd name="connsiteX5109" fmla="*/ 3289459 w 6400800"/>
                <a:gd name="connsiteY5109" fmla="*/ 264319 h 514350"/>
                <a:gd name="connsiteX5110" fmla="*/ 3281839 w 6400800"/>
                <a:gd name="connsiteY5110" fmla="*/ 317659 h 514350"/>
                <a:gd name="connsiteX5111" fmla="*/ 3280886 w 6400800"/>
                <a:gd name="connsiteY5111" fmla="*/ 317659 h 514350"/>
                <a:gd name="connsiteX5112" fmla="*/ 3280886 w 6400800"/>
                <a:gd name="connsiteY5112" fmla="*/ 316706 h 514350"/>
                <a:gd name="connsiteX5113" fmla="*/ 3279934 w 6400800"/>
                <a:gd name="connsiteY5113" fmla="*/ 315754 h 514350"/>
                <a:gd name="connsiteX5114" fmla="*/ 3278981 w 6400800"/>
                <a:gd name="connsiteY5114" fmla="*/ 313849 h 514350"/>
                <a:gd name="connsiteX5115" fmla="*/ 3279934 w 6400800"/>
                <a:gd name="connsiteY5115" fmla="*/ 297656 h 514350"/>
                <a:gd name="connsiteX5116" fmla="*/ 3263741 w 6400800"/>
                <a:gd name="connsiteY5116" fmla="*/ 295751 h 514350"/>
                <a:gd name="connsiteX5117" fmla="*/ 3263741 w 6400800"/>
                <a:gd name="connsiteY5117" fmla="*/ 293846 h 514350"/>
                <a:gd name="connsiteX5118" fmla="*/ 3263741 w 6400800"/>
                <a:gd name="connsiteY5118" fmla="*/ 295751 h 514350"/>
                <a:gd name="connsiteX5119" fmla="*/ 3264694 w 6400800"/>
                <a:gd name="connsiteY5119" fmla="*/ 296704 h 514350"/>
                <a:gd name="connsiteX5120" fmla="*/ 3262789 w 6400800"/>
                <a:gd name="connsiteY5120" fmla="*/ 306229 h 514350"/>
                <a:gd name="connsiteX5121" fmla="*/ 3263741 w 6400800"/>
                <a:gd name="connsiteY5121" fmla="*/ 295751 h 514350"/>
                <a:gd name="connsiteX5122" fmla="*/ 3232309 w 6400800"/>
                <a:gd name="connsiteY5122" fmla="*/ 381476 h 514350"/>
                <a:gd name="connsiteX5123" fmla="*/ 3232309 w 6400800"/>
                <a:gd name="connsiteY5123" fmla="*/ 357664 h 514350"/>
                <a:gd name="connsiteX5124" fmla="*/ 3232309 w 6400800"/>
                <a:gd name="connsiteY5124" fmla="*/ 358616 h 514350"/>
                <a:gd name="connsiteX5125" fmla="*/ 3233261 w 6400800"/>
                <a:gd name="connsiteY5125" fmla="*/ 360521 h 514350"/>
                <a:gd name="connsiteX5126" fmla="*/ 3232309 w 6400800"/>
                <a:gd name="connsiteY5126" fmla="*/ 381476 h 514350"/>
                <a:gd name="connsiteX5127" fmla="*/ 3239929 w 6400800"/>
                <a:gd name="connsiteY5127" fmla="*/ 327184 h 514350"/>
                <a:gd name="connsiteX5128" fmla="*/ 3241834 w 6400800"/>
                <a:gd name="connsiteY5128" fmla="*/ 339566 h 514350"/>
                <a:gd name="connsiteX5129" fmla="*/ 3239929 w 6400800"/>
                <a:gd name="connsiteY5129" fmla="*/ 333851 h 514350"/>
                <a:gd name="connsiteX5130" fmla="*/ 3239929 w 6400800"/>
                <a:gd name="connsiteY5130" fmla="*/ 329089 h 514350"/>
                <a:gd name="connsiteX5131" fmla="*/ 3239929 w 6400800"/>
                <a:gd name="connsiteY5131" fmla="*/ 327184 h 514350"/>
                <a:gd name="connsiteX5132" fmla="*/ 3234214 w 6400800"/>
                <a:gd name="connsiteY5132" fmla="*/ 318611 h 514350"/>
                <a:gd name="connsiteX5133" fmla="*/ 3237071 w 6400800"/>
                <a:gd name="connsiteY5133" fmla="*/ 310039 h 514350"/>
                <a:gd name="connsiteX5134" fmla="*/ 3238024 w 6400800"/>
                <a:gd name="connsiteY5134" fmla="*/ 314801 h 514350"/>
                <a:gd name="connsiteX5135" fmla="*/ 3238024 w 6400800"/>
                <a:gd name="connsiteY5135" fmla="*/ 316706 h 514350"/>
                <a:gd name="connsiteX5136" fmla="*/ 3237071 w 6400800"/>
                <a:gd name="connsiteY5136" fmla="*/ 317659 h 514350"/>
                <a:gd name="connsiteX5137" fmla="*/ 3237071 w 6400800"/>
                <a:gd name="connsiteY5137" fmla="*/ 311944 h 514350"/>
                <a:gd name="connsiteX5138" fmla="*/ 3236119 w 6400800"/>
                <a:gd name="connsiteY5138" fmla="*/ 319564 h 514350"/>
                <a:gd name="connsiteX5139" fmla="*/ 3234214 w 6400800"/>
                <a:gd name="connsiteY5139" fmla="*/ 322421 h 514350"/>
                <a:gd name="connsiteX5140" fmla="*/ 3233261 w 6400800"/>
                <a:gd name="connsiteY5140" fmla="*/ 319564 h 514350"/>
                <a:gd name="connsiteX5141" fmla="*/ 3234214 w 6400800"/>
                <a:gd name="connsiteY5141" fmla="*/ 318611 h 514350"/>
                <a:gd name="connsiteX5142" fmla="*/ 3233261 w 6400800"/>
                <a:gd name="connsiteY5142" fmla="*/ 286226 h 514350"/>
                <a:gd name="connsiteX5143" fmla="*/ 3233261 w 6400800"/>
                <a:gd name="connsiteY5143" fmla="*/ 288131 h 514350"/>
                <a:gd name="connsiteX5144" fmla="*/ 3232309 w 6400800"/>
                <a:gd name="connsiteY5144" fmla="*/ 290036 h 514350"/>
                <a:gd name="connsiteX5145" fmla="*/ 3232309 w 6400800"/>
                <a:gd name="connsiteY5145" fmla="*/ 282416 h 514350"/>
                <a:gd name="connsiteX5146" fmla="*/ 3233261 w 6400800"/>
                <a:gd name="connsiteY5146" fmla="*/ 286226 h 514350"/>
                <a:gd name="connsiteX5147" fmla="*/ 3222784 w 6400800"/>
                <a:gd name="connsiteY5147" fmla="*/ 285274 h 514350"/>
                <a:gd name="connsiteX5148" fmla="*/ 3223736 w 6400800"/>
                <a:gd name="connsiteY5148" fmla="*/ 273844 h 514350"/>
                <a:gd name="connsiteX5149" fmla="*/ 3224689 w 6400800"/>
                <a:gd name="connsiteY5149" fmla="*/ 270034 h 514350"/>
                <a:gd name="connsiteX5150" fmla="*/ 3224689 w 6400800"/>
                <a:gd name="connsiteY5150" fmla="*/ 270986 h 514350"/>
                <a:gd name="connsiteX5151" fmla="*/ 3227546 w 6400800"/>
                <a:gd name="connsiteY5151" fmla="*/ 253841 h 514350"/>
                <a:gd name="connsiteX5152" fmla="*/ 3227546 w 6400800"/>
                <a:gd name="connsiteY5152" fmla="*/ 253841 h 514350"/>
                <a:gd name="connsiteX5153" fmla="*/ 3223736 w 6400800"/>
                <a:gd name="connsiteY5153" fmla="*/ 292894 h 514350"/>
                <a:gd name="connsiteX5154" fmla="*/ 3222784 w 6400800"/>
                <a:gd name="connsiteY5154" fmla="*/ 291941 h 514350"/>
                <a:gd name="connsiteX5155" fmla="*/ 3222784 w 6400800"/>
                <a:gd name="connsiteY5155" fmla="*/ 290989 h 514350"/>
                <a:gd name="connsiteX5156" fmla="*/ 3222784 w 6400800"/>
                <a:gd name="connsiteY5156" fmla="*/ 285274 h 514350"/>
                <a:gd name="connsiteX5157" fmla="*/ 3217069 w 6400800"/>
                <a:gd name="connsiteY5157" fmla="*/ 207169 h 514350"/>
                <a:gd name="connsiteX5158" fmla="*/ 3219926 w 6400800"/>
                <a:gd name="connsiteY5158" fmla="*/ 219551 h 514350"/>
                <a:gd name="connsiteX5159" fmla="*/ 3215164 w 6400800"/>
                <a:gd name="connsiteY5159" fmla="*/ 238601 h 514350"/>
                <a:gd name="connsiteX5160" fmla="*/ 3217069 w 6400800"/>
                <a:gd name="connsiteY5160" fmla="*/ 207169 h 514350"/>
                <a:gd name="connsiteX5161" fmla="*/ 3191351 w 6400800"/>
                <a:gd name="connsiteY5161" fmla="*/ 249079 h 514350"/>
                <a:gd name="connsiteX5162" fmla="*/ 3192304 w 6400800"/>
                <a:gd name="connsiteY5162" fmla="*/ 232886 h 514350"/>
                <a:gd name="connsiteX5163" fmla="*/ 3194209 w 6400800"/>
                <a:gd name="connsiteY5163" fmla="*/ 238601 h 514350"/>
                <a:gd name="connsiteX5164" fmla="*/ 3191351 w 6400800"/>
                <a:gd name="connsiteY5164" fmla="*/ 265271 h 514350"/>
                <a:gd name="connsiteX5165" fmla="*/ 3191351 w 6400800"/>
                <a:gd name="connsiteY5165" fmla="*/ 249079 h 514350"/>
                <a:gd name="connsiteX5166" fmla="*/ 3155156 w 6400800"/>
                <a:gd name="connsiteY5166" fmla="*/ 313849 h 514350"/>
                <a:gd name="connsiteX5167" fmla="*/ 3156109 w 6400800"/>
                <a:gd name="connsiteY5167" fmla="*/ 320516 h 514350"/>
                <a:gd name="connsiteX5168" fmla="*/ 3158014 w 6400800"/>
                <a:gd name="connsiteY5168" fmla="*/ 334804 h 514350"/>
                <a:gd name="connsiteX5169" fmla="*/ 3154204 w 6400800"/>
                <a:gd name="connsiteY5169" fmla="*/ 354806 h 514350"/>
                <a:gd name="connsiteX5170" fmla="*/ 3152299 w 6400800"/>
                <a:gd name="connsiteY5170" fmla="*/ 351949 h 514350"/>
                <a:gd name="connsiteX5171" fmla="*/ 3152299 w 6400800"/>
                <a:gd name="connsiteY5171" fmla="*/ 350044 h 514350"/>
                <a:gd name="connsiteX5172" fmla="*/ 3151346 w 6400800"/>
                <a:gd name="connsiteY5172" fmla="*/ 345281 h 514350"/>
                <a:gd name="connsiteX5173" fmla="*/ 3151346 w 6400800"/>
                <a:gd name="connsiteY5173" fmla="*/ 344329 h 514350"/>
                <a:gd name="connsiteX5174" fmla="*/ 3151346 w 6400800"/>
                <a:gd name="connsiteY5174" fmla="*/ 338614 h 514350"/>
                <a:gd name="connsiteX5175" fmla="*/ 3155156 w 6400800"/>
                <a:gd name="connsiteY5175" fmla="*/ 313849 h 514350"/>
                <a:gd name="connsiteX5176" fmla="*/ 3139916 w 6400800"/>
                <a:gd name="connsiteY5176" fmla="*/ 213836 h 514350"/>
                <a:gd name="connsiteX5177" fmla="*/ 3143726 w 6400800"/>
                <a:gd name="connsiteY5177" fmla="*/ 235744 h 514350"/>
                <a:gd name="connsiteX5178" fmla="*/ 3148489 w 6400800"/>
                <a:gd name="connsiteY5178" fmla="*/ 267176 h 514350"/>
                <a:gd name="connsiteX5179" fmla="*/ 3143726 w 6400800"/>
                <a:gd name="connsiteY5179" fmla="*/ 284321 h 514350"/>
                <a:gd name="connsiteX5180" fmla="*/ 3137059 w 6400800"/>
                <a:gd name="connsiteY5180" fmla="*/ 216694 h 514350"/>
                <a:gd name="connsiteX5181" fmla="*/ 3139916 w 6400800"/>
                <a:gd name="connsiteY5181" fmla="*/ 213836 h 514350"/>
                <a:gd name="connsiteX5182" fmla="*/ 3130391 w 6400800"/>
                <a:gd name="connsiteY5182" fmla="*/ 337661 h 514350"/>
                <a:gd name="connsiteX5183" fmla="*/ 3130391 w 6400800"/>
                <a:gd name="connsiteY5183" fmla="*/ 335756 h 514350"/>
                <a:gd name="connsiteX5184" fmla="*/ 3130391 w 6400800"/>
                <a:gd name="connsiteY5184" fmla="*/ 335756 h 514350"/>
                <a:gd name="connsiteX5185" fmla="*/ 3130391 w 6400800"/>
                <a:gd name="connsiteY5185" fmla="*/ 337661 h 514350"/>
                <a:gd name="connsiteX5186" fmla="*/ 3130391 w 6400800"/>
                <a:gd name="connsiteY5186" fmla="*/ 328136 h 514350"/>
                <a:gd name="connsiteX5187" fmla="*/ 3130391 w 6400800"/>
                <a:gd name="connsiteY5187" fmla="*/ 328136 h 514350"/>
                <a:gd name="connsiteX5188" fmla="*/ 3130391 w 6400800"/>
                <a:gd name="connsiteY5188" fmla="*/ 328136 h 514350"/>
                <a:gd name="connsiteX5189" fmla="*/ 3130391 w 6400800"/>
                <a:gd name="connsiteY5189" fmla="*/ 328136 h 514350"/>
                <a:gd name="connsiteX5190" fmla="*/ 3133249 w 6400800"/>
                <a:gd name="connsiteY5190" fmla="*/ 276701 h 514350"/>
                <a:gd name="connsiteX5191" fmla="*/ 3133249 w 6400800"/>
                <a:gd name="connsiteY5191" fmla="*/ 276701 h 514350"/>
                <a:gd name="connsiteX5192" fmla="*/ 3128486 w 6400800"/>
                <a:gd name="connsiteY5192" fmla="*/ 259556 h 514350"/>
                <a:gd name="connsiteX5193" fmla="*/ 3127534 w 6400800"/>
                <a:gd name="connsiteY5193" fmla="*/ 246221 h 514350"/>
                <a:gd name="connsiteX5194" fmla="*/ 3135154 w 6400800"/>
                <a:gd name="connsiteY5194" fmla="*/ 223361 h 514350"/>
                <a:gd name="connsiteX5195" fmla="*/ 3133249 w 6400800"/>
                <a:gd name="connsiteY5195" fmla="*/ 276701 h 514350"/>
                <a:gd name="connsiteX5196" fmla="*/ 3130391 w 6400800"/>
                <a:gd name="connsiteY5196" fmla="*/ 229076 h 514350"/>
                <a:gd name="connsiteX5197" fmla="*/ 3136106 w 6400800"/>
                <a:gd name="connsiteY5197" fmla="*/ 219551 h 514350"/>
                <a:gd name="connsiteX5198" fmla="*/ 3136106 w 6400800"/>
                <a:gd name="connsiteY5198" fmla="*/ 221456 h 514350"/>
                <a:gd name="connsiteX5199" fmla="*/ 3127534 w 6400800"/>
                <a:gd name="connsiteY5199" fmla="*/ 236696 h 514350"/>
                <a:gd name="connsiteX5200" fmla="*/ 3127534 w 6400800"/>
                <a:gd name="connsiteY5200" fmla="*/ 234791 h 514350"/>
                <a:gd name="connsiteX5201" fmla="*/ 3130391 w 6400800"/>
                <a:gd name="connsiteY5201" fmla="*/ 229076 h 514350"/>
                <a:gd name="connsiteX5202" fmla="*/ 3114199 w 6400800"/>
                <a:gd name="connsiteY5202" fmla="*/ 290036 h 514350"/>
                <a:gd name="connsiteX5203" fmla="*/ 3113246 w 6400800"/>
                <a:gd name="connsiteY5203" fmla="*/ 287179 h 514350"/>
                <a:gd name="connsiteX5204" fmla="*/ 3113246 w 6400800"/>
                <a:gd name="connsiteY5204" fmla="*/ 286226 h 514350"/>
                <a:gd name="connsiteX5205" fmla="*/ 3115151 w 6400800"/>
                <a:gd name="connsiteY5205" fmla="*/ 281464 h 514350"/>
                <a:gd name="connsiteX5206" fmla="*/ 3114199 w 6400800"/>
                <a:gd name="connsiteY5206" fmla="*/ 290036 h 514350"/>
                <a:gd name="connsiteX5207" fmla="*/ 3115151 w 6400800"/>
                <a:gd name="connsiteY5207" fmla="*/ 257651 h 514350"/>
                <a:gd name="connsiteX5208" fmla="*/ 3116104 w 6400800"/>
                <a:gd name="connsiteY5208" fmla="*/ 255746 h 514350"/>
                <a:gd name="connsiteX5209" fmla="*/ 3115151 w 6400800"/>
                <a:gd name="connsiteY5209" fmla="*/ 257651 h 514350"/>
                <a:gd name="connsiteX5210" fmla="*/ 3109436 w 6400800"/>
                <a:gd name="connsiteY5210" fmla="*/ 270034 h 514350"/>
                <a:gd name="connsiteX5211" fmla="*/ 3115151 w 6400800"/>
                <a:gd name="connsiteY5211" fmla="*/ 257651 h 514350"/>
                <a:gd name="connsiteX5212" fmla="*/ 3110389 w 6400800"/>
                <a:gd name="connsiteY5212" fmla="*/ 292894 h 514350"/>
                <a:gd name="connsiteX5213" fmla="*/ 3113246 w 6400800"/>
                <a:gd name="connsiteY5213" fmla="*/ 309086 h 514350"/>
                <a:gd name="connsiteX5214" fmla="*/ 3114199 w 6400800"/>
                <a:gd name="connsiteY5214" fmla="*/ 311944 h 514350"/>
                <a:gd name="connsiteX5215" fmla="*/ 3114199 w 6400800"/>
                <a:gd name="connsiteY5215" fmla="*/ 321469 h 514350"/>
                <a:gd name="connsiteX5216" fmla="*/ 3114199 w 6400800"/>
                <a:gd name="connsiteY5216" fmla="*/ 319564 h 514350"/>
                <a:gd name="connsiteX5217" fmla="*/ 3110389 w 6400800"/>
                <a:gd name="connsiteY5217" fmla="*/ 309086 h 514350"/>
                <a:gd name="connsiteX5218" fmla="*/ 3109436 w 6400800"/>
                <a:gd name="connsiteY5218" fmla="*/ 300514 h 514350"/>
                <a:gd name="connsiteX5219" fmla="*/ 3109436 w 6400800"/>
                <a:gd name="connsiteY5219" fmla="*/ 299561 h 514350"/>
                <a:gd name="connsiteX5220" fmla="*/ 3110389 w 6400800"/>
                <a:gd name="connsiteY5220" fmla="*/ 292894 h 514350"/>
                <a:gd name="connsiteX5221" fmla="*/ 3098006 w 6400800"/>
                <a:gd name="connsiteY5221" fmla="*/ 350996 h 514350"/>
                <a:gd name="connsiteX5222" fmla="*/ 3098006 w 6400800"/>
                <a:gd name="connsiteY5222" fmla="*/ 350996 h 514350"/>
                <a:gd name="connsiteX5223" fmla="*/ 3098006 w 6400800"/>
                <a:gd name="connsiteY5223" fmla="*/ 353854 h 514350"/>
                <a:gd name="connsiteX5224" fmla="*/ 3097054 w 6400800"/>
                <a:gd name="connsiteY5224" fmla="*/ 354806 h 514350"/>
                <a:gd name="connsiteX5225" fmla="*/ 3098006 w 6400800"/>
                <a:gd name="connsiteY5225" fmla="*/ 350996 h 514350"/>
                <a:gd name="connsiteX5226" fmla="*/ 3093244 w 6400800"/>
                <a:gd name="connsiteY5226" fmla="*/ 377666 h 514350"/>
                <a:gd name="connsiteX5227" fmla="*/ 3097054 w 6400800"/>
                <a:gd name="connsiteY5227" fmla="*/ 370046 h 514350"/>
                <a:gd name="connsiteX5228" fmla="*/ 3094196 w 6400800"/>
                <a:gd name="connsiteY5228" fmla="*/ 373856 h 514350"/>
                <a:gd name="connsiteX5229" fmla="*/ 3097054 w 6400800"/>
                <a:gd name="connsiteY5229" fmla="*/ 355759 h 514350"/>
                <a:gd name="connsiteX5230" fmla="*/ 3098006 w 6400800"/>
                <a:gd name="connsiteY5230" fmla="*/ 353854 h 514350"/>
                <a:gd name="connsiteX5231" fmla="*/ 3098006 w 6400800"/>
                <a:gd name="connsiteY5231" fmla="*/ 371951 h 514350"/>
                <a:gd name="connsiteX5232" fmla="*/ 3098006 w 6400800"/>
                <a:gd name="connsiteY5232" fmla="*/ 383381 h 514350"/>
                <a:gd name="connsiteX5233" fmla="*/ 3095149 w 6400800"/>
                <a:gd name="connsiteY5233" fmla="*/ 383381 h 514350"/>
                <a:gd name="connsiteX5234" fmla="*/ 3095149 w 6400800"/>
                <a:gd name="connsiteY5234" fmla="*/ 383381 h 514350"/>
                <a:gd name="connsiteX5235" fmla="*/ 3093244 w 6400800"/>
                <a:gd name="connsiteY5235" fmla="*/ 378619 h 514350"/>
                <a:gd name="connsiteX5236" fmla="*/ 3093244 w 6400800"/>
                <a:gd name="connsiteY5236" fmla="*/ 377666 h 514350"/>
                <a:gd name="connsiteX5237" fmla="*/ 3084671 w 6400800"/>
                <a:gd name="connsiteY5237" fmla="*/ 293846 h 514350"/>
                <a:gd name="connsiteX5238" fmla="*/ 3085624 w 6400800"/>
                <a:gd name="connsiteY5238" fmla="*/ 276701 h 514350"/>
                <a:gd name="connsiteX5239" fmla="*/ 3085624 w 6400800"/>
                <a:gd name="connsiteY5239" fmla="*/ 278606 h 514350"/>
                <a:gd name="connsiteX5240" fmla="*/ 3088481 w 6400800"/>
                <a:gd name="connsiteY5240" fmla="*/ 289084 h 514350"/>
                <a:gd name="connsiteX5241" fmla="*/ 3086576 w 6400800"/>
                <a:gd name="connsiteY5241" fmla="*/ 291941 h 514350"/>
                <a:gd name="connsiteX5242" fmla="*/ 3084671 w 6400800"/>
                <a:gd name="connsiteY5242" fmla="*/ 296704 h 514350"/>
                <a:gd name="connsiteX5243" fmla="*/ 3084671 w 6400800"/>
                <a:gd name="connsiteY5243" fmla="*/ 293846 h 514350"/>
                <a:gd name="connsiteX5244" fmla="*/ 3086576 w 6400800"/>
                <a:gd name="connsiteY5244" fmla="*/ 348139 h 514350"/>
                <a:gd name="connsiteX5245" fmla="*/ 3086576 w 6400800"/>
                <a:gd name="connsiteY5245" fmla="*/ 350044 h 514350"/>
                <a:gd name="connsiteX5246" fmla="*/ 3083719 w 6400800"/>
                <a:gd name="connsiteY5246" fmla="*/ 361474 h 514350"/>
                <a:gd name="connsiteX5247" fmla="*/ 3083719 w 6400800"/>
                <a:gd name="connsiteY5247" fmla="*/ 357664 h 514350"/>
                <a:gd name="connsiteX5248" fmla="*/ 3086576 w 6400800"/>
                <a:gd name="connsiteY5248" fmla="*/ 348139 h 514350"/>
                <a:gd name="connsiteX5249" fmla="*/ 3057049 w 6400800"/>
                <a:gd name="connsiteY5249" fmla="*/ 235744 h 514350"/>
                <a:gd name="connsiteX5250" fmla="*/ 3059906 w 6400800"/>
                <a:gd name="connsiteY5250" fmla="*/ 210979 h 514350"/>
                <a:gd name="connsiteX5251" fmla="*/ 3062764 w 6400800"/>
                <a:gd name="connsiteY5251" fmla="*/ 191929 h 514350"/>
                <a:gd name="connsiteX5252" fmla="*/ 3067526 w 6400800"/>
                <a:gd name="connsiteY5252" fmla="*/ 209074 h 514350"/>
                <a:gd name="connsiteX5253" fmla="*/ 3066574 w 6400800"/>
                <a:gd name="connsiteY5253" fmla="*/ 222409 h 514350"/>
                <a:gd name="connsiteX5254" fmla="*/ 3063716 w 6400800"/>
                <a:gd name="connsiteY5254" fmla="*/ 253841 h 514350"/>
                <a:gd name="connsiteX5255" fmla="*/ 3059906 w 6400800"/>
                <a:gd name="connsiteY5255" fmla="*/ 268129 h 514350"/>
                <a:gd name="connsiteX5256" fmla="*/ 3057049 w 6400800"/>
                <a:gd name="connsiteY5256" fmla="*/ 252889 h 514350"/>
                <a:gd name="connsiteX5257" fmla="*/ 3056096 w 6400800"/>
                <a:gd name="connsiteY5257" fmla="*/ 248126 h 514350"/>
                <a:gd name="connsiteX5258" fmla="*/ 3057049 w 6400800"/>
                <a:gd name="connsiteY5258" fmla="*/ 235744 h 514350"/>
                <a:gd name="connsiteX5259" fmla="*/ 3002756 w 6400800"/>
                <a:gd name="connsiteY5259" fmla="*/ 307181 h 514350"/>
                <a:gd name="connsiteX5260" fmla="*/ 3001804 w 6400800"/>
                <a:gd name="connsiteY5260" fmla="*/ 310039 h 514350"/>
                <a:gd name="connsiteX5261" fmla="*/ 3002756 w 6400800"/>
                <a:gd name="connsiteY5261" fmla="*/ 305276 h 514350"/>
                <a:gd name="connsiteX5262" fmla="*/ 3006566 w 6400800"/>
                <a:gd name="connsiteY5262" fmla="*/ 286226 h 514350"/>
                <a:gd name="connsiteX5263" fmla="*/ 3008471 w 6400800"/>
                <a:gd name="connsiteY5263" fmla="*/ 290036 h 514350"/>
                <a:gd name="connsiteX5264" fmla="*/ 3002756 w 6400800"/>
                <a:gd name="connsiteY5264" fmla="*/ 307181 h 514350"/>
                <a:gd name="connsiteX5265" fmla="*/ 3036094 w 6400800"/>
                <a:gd name="connsiteY5265" fmla="*/ 249079 h 514350"/>
                <a:gd name="connsiteX5266" fmla="*/ 3036094 w 6400800"/>
                <a:gd name="connsiteY5266" fmla="*/ 266224 h 514350"/>
                <a:gd name="connsiteX5267" fmla="*/ 3033236 w 6400800"/>
                <a:gd name="connsiteY5267" fmla="*/ 258604 h 514350"/>
                <a:gd name="connsiteX5268" fmla="*/ 3036094 w 6400800"/>
                <a:gd name="connsiteY5268" fmla="*/ 249079 h 514350"/>
                <a:gd name="connsiteX5269" fmla="*/ 3030379 w 6400800"/>
                <a:gd name="connsiteY5269" fmla="*/ 269081 h 514350"/>
                <a:gd name="connsiteX5270" fmla="*/ 3030379 w 6400800"/>
                <a:gd name="connsiteY5270" fmla="*/ 269081 h 514350"/>
                <a:gd name="connsiteX5271" fmla="*/ 3030379 w 6400800"/>
                <a:gd name="connsiteY5271" fmla="*/ 269081 h 514350"/>
                <a:gd name="connsiteX5272" fmla="*/ 3030379 w 6400800"/>
                <a:gd name="connsiteY5272" fmla="*/ 269081 h 514350"/>
                <a:gd name="connsiteX5273" fmla="*/ 3027521 w 6400800"/>
                <a:gd name="connsiteY5273" fmla="*/ 353854 h 514350"/>
                <a:gd name="connsiteX5274" fmla="*/ 3023711 w 6400800"/>
                <a:gd name="connsiteY5274" fmla="*/ 364331 h 514350"/>
                <a:gd name="connsiteX5275" fmla="*/ 3017996 w 6400800"/>
                <a:gd name="connsiteY5275" fmla="*/ 383381 h 514350"/>
                <a:gd name="connsiteX5276" fmla="*/ 3017044 w 6400800"/>
                <a:gd name="connsiteY5276" fmla="*/ 385286 h 514350"/>
                <a:gd name="connsiteX5277" fmla="*/ 3015139 w 6400800"/>
                <a:gd name="connsiteY5277" fmla="*/ 376714 h 514350"/>
                <a:gd name="connsiteX5278" fmla="*/ 3020854 w 6400800"/>
                <a:gd name="connsiteY5278" fmla="*/ 366236 h 514350"/>
                <a:gd name="connsiteX5279" fmla="*/ 3028474 w 6400800"/>
                <a:gd name="connsiteY5279" fmla="*/ 352901 h 514350"/>
                <a:gd name="connsiteX5280" fmla="*/ 3027521 w 6400800"/>
                <a:gd name="connsiteY5280" fmla="*/ 353854 h 514350"/>
                <a:gd name="connsiteX5281" fmla="*/ 3021806 w 6400800"/>
                <a:gd name="connsiteY5281" fmla="*/ 230029 h 514350"/>
                <a:gd name="connsiteX5282" fmla="*/ 3024664 w 6400800"/>
                <a:gd name="connsiteY5282" fmla="*/ 241459 h 514350"/>
                <a:gd name="connsiteX5283" fmla="*/ 3024664 w 6400800"/>
                <a:gd name="connsiteY5283" fmla="*/ 241459 h 514350"/>
                <a:gd name="connsiteX5284" fmla="*/ 3021806 w 6400800"/>
                <a:gd name="connsiteY5284" fmla="*/ 230029 h 514350"/>
                <a:gd name="connsiteX5285" fmla="*/ 3021806 w 6400800"/>
                <a:gd name="connsiteY5285" fmla="*/ 230029 h 514350"/>
                <a:gd name="connsiteX5286" fmla="*/ 3020854 w 6400800"/>
                <a:gd name="connsiteY5286" fmla="*/ 305276 h 514350"/>
                <a:gd name="connsiteX5287" fmla="*/ 3020854 w 6400800"/>
                <a:gd name="connsiteY5287" fmla="*/ 305276 h 514350"/>
                <a:gd name="connsiteX5288" fmla="*/ 3020854 w 6400800"/>
                <a:gd name="connsiteY5288" fmla="*/ 305276 h 514350"/>
                <a:gd name="connsiteX5289" fmla="*/ 3020854 w 6400800"/>
                <a:gd name="connsiteY5289" fmla="*/ 305276 h 514350"/>
                <a:gd name="connsiteX5290" fmla="*/ 3017996 w 6400800"/>
                <a:gd name="connsiteY5290" fmla="*/ 317659 h 514350"/>
                <a:gd name="connsiteX5291" fmla="*/ 3021806 w 6400800"/>
                <a:gd name="connsiteY5291" fmla="*/ 329089 h 514350"/>
                <a:gd name="connsiteX5292" fmla="*/ 3025616 w 6400800"/>
                <a:gd name="connsiteY5292" fmla="*/ 339566 h 514350"/>
                <a:gd name="connsiteX5293" fmla="*/ 3011329 w 6400800"/>
                <a:gd name="connsiteY5293" fmla="*/ 359569 h 514350"/>
                <a:gd name="connsiteX5294" fmla="*/ 3011329 w 6400800"/>
                <a:gd name="connsiteY5294" fmla="*/ 360521 h 514350"/>
                <a:gd name="connsiteX5295" fmla="*/ 3009424 w 6400800"/>
                <a:gd name="connsiteY5295" fmla="*/ 351949 h 514350"/>
                <a:gd name="connsiteX5296" fmla="*/ 3017996 w 6400800"/>
                <a:gd name="connsiteY5296" fmla="*/ 317659 h 514350"/>
                <a:gd name="connsiteX5297" fmla="*/ 3013234 w 6400800"/>
                <a:gd name="connsiteY5297" fmla="*/ 257651 h 514350"/>
                <a:gd name="connsiteX5298" fmla="*/ 3014186 w 6400800"/>
                <a:gd name="connsiteY5298" fmla="*/ 261461 h 514350"/>
                <a:gd name="connsiteX5299" fmla="*/ 3015139 w 6400800"/>
                <a:gd name="connsiteY5299" fmla="*/ 269081 h 514350"/>
                <a:gd name="connsiteX5300" fmla="*/ 3010376 w 6400800"/>
                <a:gd name="connsiteY5300" fmla="*/ 284321 h 514350"/>
                <a:gd name="connsiteX5301" fmla="*/ 3009424 w 6400800"/>
                <a:gd name="connsiteY5301" fmla="*/ 282416 h 514350"/>
                <a:gd name="connsiteX5302" fmla="*/ 3008471 w 6400800"/>
                <a:gd name="connsiteY5302" fmla="*/ 279559 h 514350"/>
                <a:gd name="connsiteX5303" fmla="*/ 3009424 w 6400800"/>
                <a:gd name="connsiteY5303" fmla="*/ 276701 h 514350"/>
                <a:gd name="connsiteX5304" fmla="*/ 3013234 w 6400800"/>
                <a:gd name="connsiteY5304" fmla="*/ 257651 h 514350"/>
                <a:gd name="connsiteX5305" fmla="*/ 3008471 w 6400800"/>
                <a:gd name="connsiteY5305" fmla="*/ 230029 h 514350"/>
                <a:gd name="connsiteX5306" fmla="*/ 3010376 w 6400800"/>
                <a:gd name="connsiteY5306" fmla="*/ 244316 h 514350"/>
                <a:gd name="connsiteX5307" fmla="*/ 3007519 w 6400800"/>
                <a:gd name="connsiteY5307" fmla="*/ 250984 h 514350"/>
                <a:gd name="connsiteX5308" fmla="*/ 3001804 w 6400800"/>
                <a:gd name="connsiteY5308" fmla="*/ 264319 h 514350"/>
                <a:gd name="connsiteX5309" fmla="*/ 3008471 w 6400800"/>
                <a:gd name="connsiteY5309" fmla="*/ 230029 h 514350"/>
                <a:gd name="connsiteX5310" fmla="*/ 3003709 w 6400800"/>
                <a:gd name="connsiteY5310" fmla="*/ 195739 h 514350"/>
                <a:gd name="connsiteX5311" fmla="*/ 3004661 w 6400800"/>
                <a:gd name="connsiteY5311" fmla="*/ 205264 h 514350"/>
                <a:gd name="connsiteX5312" fmla="*/ 2997994 w 6400800"/>
                <a:gd name="connsiteY5312" fmla="*/ 223361 h 514350"/>
                <a:gd name="connsiteX5313" fmla="*/ 2986564 w 6400800"/>
                <a:gd name="connsiteY5313" fmla="*/ 262414 h 514350"/>
                <a:gd name="connsiteX5314" fmla="*/ 2984659 w 6400800"/>
                <a:gd name="connsiteY5314" fmla="*/ 270986 h 514350"/>
                <a:gd name="connsiteX5315" fmla="*/ 2984659 w 6400800"/>
                <a:gd name="connsiteY5315" fmla="*/ 270986 h 514350"/>
                <a:gd name="connsiteX5316" fmla="*/ 3003709 w 6400800"/>
                <a:gd name="connsiteY5316" fmla="*/ 195739 h 514350"/>
                <a:gd name="connsiteX5317" fmla="*/ 2974181 w 6400800"/>
                <a:gd name="connsiteY5317" fmla="*/ 311944 h 514350"/>
                <a:gd name="connsiteX5318" fmla="*/ 2980849 w 6400800"/>
                <a:gd name="connsiteY5318" fmla="*/ 284321 h 514350"/>
                <a:gd name="connsiteX5319" fmla="*/ 2980849 w 6400800"/>
                <a:gd name="connsiteY5319" fmla="*/ 285274 h 514350"/>
                <a:gd name="connsiteX5320" fmla="*/ 2976086 w 6400800"/>
                <a:gd name="connsiteY5320" fmla="*/ 307181 h 514350"/>
                <a:gd name="connsiteX5321" fmla="*/ 2972276 w 6400800"/>
                <a:gd name="connsiteY5321" fmla="*/ 327184 h 514350"/>
                <a:gd name="connsiteX5322" fmla="*/ 2970371 w 6400800"/>
                <a:gd name="connsiteY5322" fmla="*/ 322421 h 514350"/>
                <a:gd name="connsiteX5323" fmla="*/ 2974181 w 6400800"/>
                <a:gd name="connsiteY5323" fmla="*/ 311944 h 514350"/>
                <a:gd name="connsiteX5324" fmla="*/ 2964656 w 6400800"/>
                <a:gd name="connsiteY5324" fmla="*/ 349091 h 514350"/>
                <a:gd name="connsiteX5325" fmla="*/ 2968466 w 6400800"/>
                <a:gd name="connsiteY5325" fmla="*/ 334804 h 514350"/>
                <a:gd name="connsiteX5326" fmla="*/ 2970371 w 6400800"/>
                <a:gd name="connsiteY5326" fmla="*/ 344329 h 514350"/>
                <a:gd name="connsiteX5327" fmla="*/ 2969419 w 6400800"/>
                <a:gd name="connsiteY5327" fmla="*/ 353854 h 514350"/>
                <a:gd name="connsiteX5328" fmla="*/ 2966561 w 6400800"/>
                <a:gd name="connsiteY5328" fmla="*/ 377666 h 514350"/>
                <a:gd name="connsiteX5329" fmla="*/ 2963704 w 6400800"/>
                <a:gd name="connsiteY5329" fmla="*/ 366236 h 514350"/>
                <a:gd name="connsiteX5330" fmla="*/ 2969419 w 6400800"/>
                <a:gd name="connsiteY5330" fmla="*/ 341471 h 514350"/>
                <a:gd name="connsiteX5331" fmla="*/ 2964656 w 6400800"/>
                <a:gd name="connsiteY5331" fmla="*/ 349091 h 514350"/>
                <a:gd name="connsiteX5332" fmla="*/ 2958941 w 6400800"/>
                <a:gd name="connsiteY5332" fmla="*/ 383381 h 514350"/>
                <a:gd name="connsiteX5333" fmla="*/ 2958941 w 6400800"/>
                <a:gd name="connsiteY5333" fmla="*/ 383381 h 514350"/>
                <a:gd name="connsiteX5334" fmla="*/ 2958941 w 6400800"/>
                <a:gd name="connsiteY5334" fmla="*/ 383381 h 514350"/>
                <a:gd name="connsiteX5335" fmla="*/ 2958941 w 6400800"/>
                <a:gd name="connsiteY5335" fmla="*/ 383381 h 514350"/>
                <a:gd name="connsiteX5336" fmla="*/ 2958941 w 6400800"/>
                <a:gd name="connsiteY5336" fmla="*/ 383381 h 514350"/>
                <a:gd name="connsiteX5337" fmla="*/ 2936081 w 6400800"/>
                <a:gd name="connsiteY5337" fmla="*/ 284321 h 514350"/>
                <a:gd name="connsiteX5338" fmla="*/ 2934176 w 6400800"/>
                <a:gd name="connsiteY5338" fmla="*/ 273844 h 514350"/>
                <a:gd name="connsiteX5339" fmla="*/ 2936081 w 6400800"/>
                <a:gd name="connsiteY5339" fmla="*/ 271939 h 514350"/>
                <a:gd name="connsiteX5340" fmla="*/ 2936081 w 6400800"/>
                <a:gd name="connsiteY5340" fmla="*/ 284321 h 514350"/>
                <a:gd name="connsiteX5341" fmla="*/ 2936081 w 6400800"/>
                <a:gd name="connsiteY5341" fmla="*/ 267176 h 514350"/>
                <a:gd name="connsiteX5342" fmla="*/ 2936081 w 6400800"/>
                <a:gd name="connsiteY5342" fmla="*/ 267176 h 514350"/>
                <a:gd name="connsiteX5343" fmla="*/ 2934176 w 6400800"/>
                <a:gd name="connsiteY5343" fmla="*/ 269081 h 514350"/>
                <a:gd name="connsiteX5344" fmla="*/ 2936081 w 6400800"/>
                <a:gd name="connsiteY5344" fmla="*/ 265271 h 514350"/>
                <a:gd name="connsiteX5345" fmla="*/ 2936081 w 6400800"/>
                <a:gd name="connsiteY5345" fmla="*/ 267176 h 514350"/>
                <a:gd name="connsiteX5346" fmla="*/ 2929414 w 6400800"/>
                <a:gd name="connsiteY5346" fmla="*/ 243364 h 514350"/>
                <a:gd name="connsiteX5347" fmla="*/ 2930366 w 6400800"/>
                <a:gd name="connsiteY5347" fmla="*/ 243364 h 514350"/>
                <a:gd name="connsiteX5348" fmla="*/ 2933224 w 6400800"/>
                <a:gd name="connsiteY5348" fmla="*/ 244316 h 514350"/>
                <a:gd name="connsiteX5349" fmla="*/ 2934176 w 6400800"/>
                <a:gd name="connsiteY5349" fmla="*/ 255746 h 514350"/>
                <a:gd name="connsiteX5350" fmla="*/ 2931319 w 6400800"/>
                <a:gd name="connsiteY5350" fmla="*/ 261461 h 514350"/>
                <a:gd name="connsiteX5351" fmla="*/ 2927509 w 6400800"/>
                <a:gd name="connsiteY5351" fmla="*/ 248126 h 514350"/>
                <a:gd name="connsiteX5352" fmla="*/ 2929414 w 6400800"/>
                <a:gd name="connsiteY5352" fmla="*/ 243364 h 514350"/>
                <a:gd name="connsiteX5353" fmla="*/ 2917984 w 6400800"/>
                <a:gd name="connsiteY5353" fmla="*/ 351949 h 514350"/>
                <a:gd name="connsiteX5354" fmla="*/ 2918936 w 6400800"/>
                <a:gd name="connsiteY5354" fmla="*/ 353854 h 514350"/>
                <a:gd name="connsiteX5355" fmla="*/ 2919889 w 6400800"/>
                <a:gd name="connsiteY5355" fmla="*/ 363379 h 514350"/>
                <a:gd name="connsiteX5356" fmla="*/ 2922746 w 6400800"/>
                <a:gd name="connsiteY5356" fmla="*/ 380524 h 514350"/>
                <a:gd name="connsiteX5357" fmla="*/ 2920841 w 6400800"/>
                <a:gd name="connsiteY5357" fmla="*/ 380524 h 514350"/>
                <a:gd name="connsiteX5358" fmla="*/ 2913221 w 6400800"/>
                <a:gd name="connsiteY5358" fmla="*/ 362426 h 514350"/>
                <a:gd name="connsiteX5359" fmla="*/ 2917984 w 6400800"/>
                <a:gd name="connsiteY5359" fmla="*/ 351949 h 514350"/>
                <a:gd name="connsiteX5360" fmla="*/ 2904649 w 6400800"/>
                <a:gd name="connsiteY5360" fmla="*/ 224314 h 514350"/>
                <a:gd name="connsiteX5361" fmla="*/ 2904649 w 6400800"/>
                <a:gd name="connsiteY5361" fmla="*/ 224314 h 514350"/>
                <a:gd name="connsiteX5362" fmla="*/ 2903696 w 6400800"/>
                <a:gd name="connsiteY5362" fmla="*/ 237649 h 514350"/>
                <a:gd name="connsiteX5363" fmla="*/ 2902744 w 6400800"/>
                <a:gd name="connsiteY5363" fmla="*/ 250031 h 514350"/>
                <a:gd name="connsiteX5364" fmla="*/ 2900839 w 6400800"/>
                <a:gd name="connsiteY5364" fmla="*/ 235744 h 514350"/>
                <a:gd name="connsiteX5365" fmla="*/ 2904649 w 6400800"/>
                <a:gd name="connsiteY5365" fmla="*/ 224314 h 514350"/>
                <a:gd name="connsiteX5366" fmla="*/ 2885599 w 6400800"/>
                <a:gd name="connsiteY5366" fmla="*/ 294799 h 514350"/>
                <a:gd name="connsiteX5367" fmla="*/ 2888456 w 6400800"/>
                <a:gd name="connsiteY5367" fmla="*/ 280511 h 514350"/>
                <a:gd name="connsiteX5368" fmla="*/ 2889409 w 6400800"/>
                <a:gd name="connsiteY5368" fmla="*/ 308134 h 514350"/>
                <a:gd name="connsiteX5369" fmla="*/ 2884646 w 6400800"/>
                <a:gd name="connsiteY5369" fmla="*/ 297656 h 514350"/>
                <a:gd name="connsiteX5370" fmla="*/ 2885599 w 6400800"/>
                <a:gd name="connsiteY5370" fmla="*/ 294799 h 514350"/>
                <a:gd name="connsiteX5371" fmla="*/ 2869406 w 6400800"/>
                <a:gd name="connsiteY5371" fmla="*/ 301466 h 514350"/>
                <a:gd name="connsiteX5372" fmla="*/ 2869406 w 6400800"/>
                <a:gd name="connsiteY5372" fmla="*/ 301466 h 514350"/>
                <a:gd name="connsiteX5373" fmla="*/ 2869406 w 6400800"/>
                <a:gd name="connsiteY5373" fmla="*/ 302419 h 514350"/>
                <a:gd name="connsiteX5374" fmla="*/ 2868454 w 6400800"/>
                <a:gd name="connsiteY5374" fmla="*/ 305276 h 514350"/>
                <a:gd name="connsiteX5375" fmla="*/ 2856071 w 6400800"/>
                <a:gd name="connsiteY5375" fmla="*/ 284321 h 514350"/>
                <a:gd name="connsiteX5376" fmla="*/ 2855119 w 6400800"/>
                <a:gd name="connsiteY5376" fmla="*/ 282416 h 514350"/>
                <a:gd name="connsiteX5377" fmla="*/ 2857976 w 6400800"/>
                <a:gd name="connsiteY5377" fmla="*/ 273844 h 514350"/>
                <a:gd name="connsiteX5378" fmla="*/ 2869406 w 6400800"/>
                <a:gd name="connsiteY5378" fmla="*/ 301466 h 514350"/>
                <a:gd name="connsiteX5379" fmla="*/ 2851309 w 6400800"/>
                <a:gd name="connsiteY5379" fmla="*/ 262414 h 514350"/>
                <a:gd name="connsiteX5380" fmla="*/ 2851309 w 6400800"/>
                <a:gd name="connsiteY5380" fmla="*/ 259556 h 514350"/>
                <a:gd name="connsiteX5381" fmla="*/ 2855119 w 6400800"/>
                <a:gd name="connsiteY5381" fmla="*/ 267176 h 514350"/>
                <a:gd name="connsiteX5382" fmla="*/ 2856071 w 6400800"/>
                <a:gd name="connsiteY5382" fmla="*/ 269081 h 514350"/>
                <a:gd name="connsiteX5383" fmla="*/ 2851309 w 6400800"/>
                <a:gd name="connsiteY5383" fmla="*/ 276701 h 514350"/>
                <a:gd name="connsiteX5384" fmla="*/ 2850356 w 6400800"/>
                <a:gd name="connsiteY5384" fmla="*/ 274796 h 514350"/>
                <a:gd name="connsiteX5385" fmla="*/ 2851309 w 6400800"/>
                <a:gd name="connsiteY5385" fmla="*/ 262414 h 514350"/>
                <a:gd name="connsiteX5386" fmla="*/ 2848451 w 6400800"/>
                <a:gd name="connsiteY5386" fmla="*/ 312896 h 514350"/>
                <a:gd name="connsiteX5387" fmla="*/ 2848451 w 6400800"/>
                <a:gd name="connsiteY5387" fmla="*/ 302419 h 514350"/>
                <a:gd name="connsiteX5388" fmla="*/ 2860834 w 6400800"/>
                <a:gd name="connsiteY5388" fmla="*/ 327184 h 514350"/>
                <a:gd name="connsiteX5389" fmla="*/ 2856071 w 6400800"/>
                <a:gd name="connsiteY5389" fmla="*/ 344329 h 514350"/>
                <a:gd name="connsiteX5390" fmla="*/ 2853214 w 6400800"/>
                <a:gd name="connsiteY5390" fmla="*/ 355759 h 514350"/>
                <a:gd name="connsiteX5391" fmla="*/ 2851309 w 6400800"/>
                <a:gd name="connsiteY5391" fmla="*/ 341471 h 514350"/>
                <a:gd name="connsiteX5392" fmla="*/ 2847499 w 6400800"/>
                <a:gd name="connsiteY5392" fmla="*/ 316706 h 514350"/>
                <a:gd name="connsiteX5393" fmla="*/ 2848451 w 6400800"/>
                <a:gd name="connsiteY5393" fmla="*/ 312896 h 514350"/>
                <a:gd name="connsiteX5394" fmla="*/ 2836069 w 6400800"/>
                <a:gd name="connsiteY5394" fmla="*/ 226219 h 514350"/>
                <a:gd name="connsiteX5395" fmla="*/ 2847499 w 6400800"/>
                <a:gd name="connsiteY5395" fmla="*/ 251936 h 514350"/>
                <a:gd name="connsiteX5396" fmla="*/ 2844641 w 6400800"/>
                <a:gd name="connsiteY5396" fmla="*/ 261461 h 514350"/>
                <a:gd name="connsiteX5397" fmla="*/ 2843689 w 6400800"/>
                <a:gd name="connsiteY5397" fmla="*/ 266224 h 514350"/>
                <a:gd name="connsiteX5398" fmla="*/ 2838926 w 6400800"/>
                <a:gd name="connsiteY5398" fmla="*/ 258604 h 514350"/>
                <a:gd name="connsiteX5399" fmla="*/ 2834164 w 6400800"/>
                <a:gd name="connsiteY5399" fmla="*/ 229076 h 514350"/>
                <a:gd name="connsiteX5400" fmla="*/ 2836069 w 6400800"/>
                <a:gd name="connsiteY5400" fmla="*/ 226219 h 514350"/>
                <a:gd name="connsiteX5401" fmla="*/ 2830354 w 6400800"/>
                <a:gd name="connsiteY5401" fmla="*/ 305276 h 514350"/>
                <a:gd name="connsiteX5402" fmla="*/ 2831306 w 6400800"/>
                <a:gd name="connsiteY5402" fmla="*/ 312896 h 514350"/>
                <a:gd name="connsiteX5403" fmla="*/ 2831306 w 6400800"/>
                <a:gd name="connsiteY5403" fmla="*/ 313849 h 514350"/>
                <a:gd name="connsiteX5404" fmla="*/ 2830354 w 6400800"/>
                <a:gd name="connsiteY5404" fmla="*/ 308134 h 514350"/>
                <a:gd name="connsiteX5405" fmla="*/ 2830354 w 6400800"/>
                <a:gd name="connsiteY5405" fmla="*/ 305276 h 514350"/>
                <a:gd name="connsiteX5406" fmla="*/ 2829401 w 6400800"/>
                <a:gd name="connsiteY5406" fmla="*/ 292894 h 514350"/>
                <a:gd name="connsiteX5407" fmla="*/ 2830354 w 6400800"/>
                <a:gd name="connsiteY5407" fmla="*/ 299561 h 514350"/>
                <a:gd name="connsiteX5408" fmla="*/ 2829401 w 6400800"/>
                <a:gd name="connsiteY5408" fmla="*/ 301466 h 514350"/>
                <a:gd name="connsiteX5409" fmla="*/ 2829401 w 6400800"/>
                <a:gd name="connsiteY5409" fmla="*/ 299561 h 514350"/>
                <a:gd name="connsiteX5410" fmla="*/ 2829401 w 6400800"/>
                <a:gd name="connsiteY5410" fmla="*/ 292894 h 514350"/>
                <a:gd name="connsiteX5411" fmla="*/ 2785586 w 6400800"/>
                <a:gd name="connsiteY5411" fmla="*/ 268129 h 514350"/>
                <a:gd name="connsiteX5412" fmla="*/ 2782729 w 6400800"/>
                <a:gd name="connsiteY5412" fmla="*/ 271939 h 514350"/>
                <a:gd name="connsiteX5413" fmla="*/ 2782729 w 6400800"/>
                <a:gd name="connsiteY5413" fmla="*/ 269081 h 514350"/>
                <a:gd name="connsiteX5414" fmla="*/ 2782729 w 6400800"/>
                <a:gd name="connsiteY5414" fmla="*/ 265271 h 514350"/>
                <a:gd name="connsiteX5415" fmla="*/ 2786539 w 6400800"/>
                <a:gd name="connsiteY5415" fmla="*/ 258604 h 514350"/>
                <a:gd name="connsiteX5416" fmla="*/ 2786539 w 6400800"/>
                <a:gd name="connsiteY5416" fmla="*/ 260509 h 514350"/>
                <a:gd name="connsiteX5417" fmla="*/ 2785586 w 6400800"/>
                <a:gd name="connsiteY5417" fmla="*/ 268129 h 514350"/>
                <a:gd name="connsiteX5418" fmla="*/ 2796064 w 6400800"/>
                <a:gd name="connsiteY5418" fmla="*/ 268129 h 514350"/>
                <a:gd name="connsiteX5419" fmla="*/ 2796064 w 6400800"/>
                <a:gd name="connsiteY5419" fmla="*/ 268129 h 514350"/>
                <a:gd name="connsiteX5420" fmla="*/ 2798921 w 6400800"/>
                <a:gd name="connsiteY5420" fmla="*/ 263366 h 514350"/>
                <a:gd name="connsiteX5421" fmla="*/ 2796064 w 6400800"/>
                <a:gd name="connsiteY5421" fmla="*/ 268129 h 514350"/>
                <a:gd name="connsiteX5422" fmla="*/ 2803684 w 6400800"/>
                <a:gd name="connsiteY5422" fmla="*/ 314801 h 514350"/>
                <a:gd name="connsiteX5423" fmla="*/ 2802731 w 6400800"/>
                <a:gd name="connsiteY5423" fmla="*/ 318611 h 514350"/>
                <a:gd name="connsiteX5424" fmla="*/ 2801779 w 6400800"/>
                <a:gd name="connsiteY5424" fmla="*/ 325279 h 514350"/>
                <a:gd name="connsiteX5425" fmla="*/ 2798921 w 6400800"/>
                <a:gd name="connsiteY5425" fmla="*/ 317659 h 514350"/>
                <a:gd name="connsiteX5426" fmla="*/ 2798921 w 6400800"/>
                <a:gd name="connsiteY5426" fmla="*/ 315754 h 514350"/>
                <a:gd name="connsiteX5427" fmla="*/ 2798921 w 6400800"/>
                <a:gd name="connsiteY5427" fmla="*/ 315754 h 514350"/>
                <a:gd name="connsiteX5428" fmla="*/ 2801779 w 6400800"/>
                <a:gd name="connsiteY5428" fmla="*/ 304324 h 514350"/>
                <a:gd name="connsiteX5429" fmla="*/ 2803684 w 6400800"/>
                <a:gd name="connsiteY5429" fmla="*/ 312896 h 514350"/>
                <a:gd name="connsiteX5430" fmla="*/ 2803684 w 6400800"/>
                <a:gd name="connsiteY5430" fmla="*/ 314801 h 514350"/>
                <a:gd name="connsiteX5431" fmla="*/ 2810351 w 6400800"/>
                <a:gd name="connsiteY5431" fmla="*/ 280511 h 514350"/>
                <a:gd name="connsiteX5432" fmla="*/ 2805589 w 6400800"/>
                <a:gd name="connsiteY5432" fmla="*/ 302419 h 514350"/>
                <a:gd name="connsiteX5433" fmla="*/ 2803684 w 6400800"/>
                <a:gd name="connsiteY5433" fmla="*/ 298609 h 514350"/>
                <a:gd name="connsiteX5434" fmla="*/ 2802731 w 6400800"/>
                <a:gd name="connsiteY5434" fmla="*/ 296704 h 514350"/>
                <a:gd name="connsiteX5435" fmla="*/ 2805589 w 6400800"/>
                <a:gd name="connsiteY5435" fmla="*/ 287179 h 514350"/>
                <a:gd name="connsiteX5436" fmla="*/ 2809399 w 6400800"/>
                <a:gd name="connsiteY5436" fmla="*/ 277654 h 514350"/>
                <a:gd name="connsiteX5437" fmla="*/ 2810351 w 6400800"/>
                <a:gd name="connsiteY5437" fmla="*/ 275749 h 514350"/>
                <a:gd name="connsiteX5438" fmla="*/ 2810351 w 6400800"/>
                <a:gd name="connsiteY5438" fmla="*/ 280511 h 514350"/>
                <a:gd name="connsiteX5439" fmla="*/ 2811304 w 6400800"/>
                <a:gd name="connsiteY5439" fmla="*/ 276701 h 514350"/>
                <a:gd name="connsiteX5440" fmla="*/ 2811304 w 6400800"/>
                <a:gd name="connsiteY5440" fmla="*/ 274796 h 514350"/>
                <a:gd name="connsiteX5441" fmla="*/ 2813209 w 6400800"/>
                <a:gd name="connsiteY5441" fmla="*/ 270986 h 514350"/>
                <a:gd name="connsiteX5442" fmla="*/ 2811304 w 6400800"/>
                <a:gd name="connsiteY5442" fmla="*/ 276701 h 514350"/>
                <a:gd name="connsiteX5443" fmla="*/ 2812256 w 6400800"/>
                <a:gd name="connsiteY5443" fmla="*/ 236696 h 514350"/>
                <a:gd name="connsiteX5444" fmla="*/ 2806541 w 6400800"/>
                <a:gd name="connsiteY5444" fmla="*/ 246221 h 514350"/>
                <a:gd name="connsiteX5445" fmla="*/ 2799874 w 6400800"/>
                <a:gd name="connsiteY5445" fmla="*/ 251936 h 514350"/>
                <a:gd name="connsiteX5446" fmla="*/ 2794159 w 6400800"/>
                <a:gd name="connsiteY5446" fmla="*/ 257651 h 514350"/>
                <a:gd name="connsiteX5447" fmla="*/ 2792254 w 6400800"/>
                <a:gd name="connsiteY5447" fmla="*/ 245269 h 514350"/>
                <a:gd name="connsiteX5448" fmla="*/ 2796064 w 6400800"/>
                <a:gd name="connsiteY5448" fmla="*/ 238601 h 514350"/>
                <a:gd name="connsiteX5449" fmla="*/ 2804636 w 6400800"/>
                <a:gd name="connsiteY5449" fmla="*/ 224314 h 514350"/>
                <a:gd name="connsiteX5450" fmla="*/ 2812256 w 6400800"/>
                <a:gd name="connsiteY5450" fmla="*/ 236696 h 514350"/>
                <a:gd name="connsiteX5451" fmla="*/ 2804636 w 6400800"/>
                <a:gd name="connsiteY5451" fmla="*/ 223361 h 514350"/>
                <a:gd name="connsiteX5452" fmla="*/ 2794159 w 6400800"/>
                <a:gd name="connsiteY5452" fmla="*/ 235744 h 514350"/>
                <a:gd name="connsiteX5453" fmla="*/ 2792254 w 6400800"/>
                <a:gd name="connsiteY5453" fmla="*/ 238601 h 514350"/>
                <a:gd name="connsiteX5454" fmla="*/ 2792254 w 6400800"/>
                <a:gd name="connsiteY5454" fmla="*/ 238601 h 514350"/>
                <a:gd name="connsiteX5455" fmla="*/ 2796064 w 6400800"/>
                <a:gd name="connsiteY5455" fmla="*/ 230981 h 514350"/>
                <a:gd name="connsiteX5456" fmla="*/ 2801779 w 6400800"/>
                <a:gd name="connsiteY5456" fmla="*/ 219551 h 514350"/>
                <a:gd name="connsiteX5457" fmla="*/ 2804636 w 6400800"/>
                <a:gd name="connsiteY5457" fmla="*/ 223361 h 514350"/>
                <a:gd name="connsiteX5458" fmla="*/ 2787491 w 6400800"/>
                <a:gd name="connsiteY5458" fmla="*/ 196691 h 514350"/>
                <a:gd name="connsiteX5459" fmla="*/ 2800826 w 6400800"/>
                <a:gd name="connsiteY5459" fmla="*/ 217646 h 514350"/>
                <a:gd name="connsiteX5460" fmla="*/ 2792254 w 6400800"/>
                <a:gd name="connsiteY5460" fmla="*/ 228124 h 514350"/>
                <a:gd name="connsiteX5461" fmla="*/ 2790349 w 6400800"/>
                <a:gd name="connsiteY5461" fmla="*/ 230981 h 514350"/>
                <a:gd name="connsiteX5462" fmla="*/ 2787491 w 6400800"/>
                <a:gd name="connsiteY5462" fmla="*/ 218599 h 514350"/>
                <a:gd name="connsiteX5463" fmla="*/ 2781776 w 6400800"/>
                <a:gd name="connsiteY5463" fmla="*/ 196691 h 514350"/>
                <a:gd name="connsiteX5464" fmla="*/ 2783681 w 6400800"/>
                <a:gd name="connsiteY5464" fmla="*/ 218599 h 514350"/>
                <a:gd name="connsiteX5465" fmla="*/ 2784634 w 6400800"/>
                <a:gd name="connsiteY5465" fmla="*/ 237649 h 514350"/>
                <a:gd name="connsiteX5466" fmla="*/ 2780824 w 6400800"/>
                <a:gd name="connsiteY5466" fmla="*/ 243364 h 514350"/>
                <a:gd name="connsiteX5467" fmla="*/ 2778919 w 6400800"/>
                <a:gd name="connsiteY5467" fmla="*/ 204311 h 514350"/>
                <a:gd name="connsiteX5468" fmla="*/ 2777966 w 6400800"/>
                <a:gd name="connsiteY5468" fmla="*/ 186214 h 514350"/>
                <a:gd name="connsiteX5469" fmla="*/ 2775109 w 6400800"/>
                <a:gd name="connsiteY5469" fmla="*/ 204311 h 514350"/>
                <a:gd name="connsiteX5470" fmla="*/ 2774156 w 6400800"/>
                <a:gd name="connsiteY5470" fmla="*/ 214789 h 514350"/>
                <a:gd name="connsiteX5471" fmla="*/ 2770346 w 6400800"/>
                <a:gd name="connsiteY5471" fmla="*/ 190976 h 514350"/>
                <a:gd name="connsiteX5472" fmla="*/ 2770346 w 6400800"/>
                <a:gd name="connsiteY5472" fmla="*/ 189071 h 514350"/>
                <a:gd name="connsiteX5473" fmla="*/ 2770346 w 6400800"/>
                <a:gd name="connsiteY5473" fmla="*/ 185261 h 514350"/>
                <a:gd name="connsiteX5474" fmla="*/ 2768441 w 6400800"/>
                <a:gd name="connsiteY5474" fmla="*/ 166211 h 514350"/>
                <a:gd name="connsiteX5475" fmla="*/ 2787491 w 6400800"/>
                <a:gd name="connsiteY5475" fmla="*/ 196691 h 514350"/>
                <a:gd name="connsiteX5476" fmla="*/ 2767489 w 6400800"/>
                <a:gd name="connsiteY5476" fmla="*/ 167164 h 514350"/>
                <a:gd name="connsiteX5477" fmla="*/ 2767489 w 6400800"/>
                <a:gd name="connsiteY5477" fmla="*/ 170974 h 514350"/>
                <a:gd name="connsiteX5478" fmla="*/ 2766536 w 6400800"/>
                <a:gd name="connsiteY5478" fmla="*/ 166211 h 514350"/>
                <a:gd name="connsiteX5479" fmla="*/ 2767489 w 6400800"/>
                <a:gd name="connsiteY5479" fmla="*/ 167164 h 514350"/>
                <a:gd name="connsiteX5480" fmla="*/ 2757964 w 6400800"/>
                <a:gd name="connsiteY5480" fmla="*/ 342424 h 514350"/>
                <a:gd name="connsiteX5481" fmla="*/ 2755106 w 6400800"/>
                <a:gd name="connsiteY5481" fmla="*/ 336709 h 514350"/>
                <a:gd name="connsiteX5482" fmla="*/ 2758916 w 6400800"/>
                <a:gd name="connsiteY5482" fmla="*/ 329089 h 514350"/>
                <a:gd name="connsiteX5483" fmla="*/ 2760821 w 6400800"/>
                <a:gd name="connsiteY5483" fmla="*/ 332899 h 514350"/>
                <a:gd name="connsiteX5484" fmla="*/ 2757964 w 6400800"/>
                <a:gd name="connsiteY5484" fmla="*/ 342424 h 514350"/>
                <a:gd name="connsiteX5485" fmla="*/ 2762726 w 6400800"/>
                <a:gd name="connsiteY5485" fmla="*/ 327184 h 514350"/>
                <a:gd name="connsiteX5486" fmla="*/ 2761774 w 6400800"/>
                <a:gd name="connsiteY5486" fmla="*/ 330994 h 514350"/>
                <a:gd name="connsiteX5487" fmla="*/ 2759869 w 6400800"/>
                <a:gd name="connsiteY5487" fmla="*/ 328136 h 514350"/>
                <a:gd name="connsiteX5488" fmla="*/ 2761774 w 6400800"/>
                <a:gd name="connsiteY5488" fmla="*/ 324326 h 514350"/>
                <a:gd name="connsiteX5489" fmla="*/ 2762726 w 6400800"/>
                <a:gd name="connsiteY5489" fmla="*/ 327184 h 514350"/>
                <a:gd name="connsiteX5490" fmla="*/ 2762726 w 6400800"/>
                <a:gd name="connsiteY5490" fmla="*/ 327184 h 514350"/>
                <a:gd name="connsiteX5491" fmla="*/ 2762726 w 6400800"/>
                <a:gd name="connsiteY5491" fmla="*/ 250031 h 514350"/>
                <a:gd name="connsiteX5492" fmla="*/ 2762726 w 6400800"/>
                <a:gd name="connsiteY5492" fmla="*/ 270034 h 514350"/>
                <a:gd name="connsiteX5493" fmla="*/ 2754154 w 6400800"/>
                <a:gd name="connsiteY5493" fmla="*/ 282416 h 514350"/>
                <a:gd name="connsiteX5494" fmla="*/ 2753201 w 6400800"/>
                <a:gd name="connsiteY5494" fmla="*/ 284321 h 514350"/>
                <a:gd name="connsiteX5495" fmla="*/ 2752249 w 6400800"/>
                <a:gd name="connsiteY5495" fmla="*/ 282416 h 514350"/>
                <a:gd name="connsiteX5496" fmla="*/ 2753201 w 6400800"/>
                <a:gd name="connsiteY5496" fmla="*/ 278606 h 514350"/>
                <a:gd name="connsiteX5497" fmla="*/ 2756059 w 6400800"/>
                <a:gd name="connsiteY5497" fmla="*/ 267176 h 514350"/>
                <a:gd name="connsiteX5498" fmla="*/ 2761774 w 6400800"/>
                <a:gd name="connsiteY5498" fmla="*/ 251936 h 514350"/>
                <a:gd name="connsiteX5499" fmla="*/ 2762726 w 6400800"/>
                <a:gd name="connsiteY5499" fmla="*/ 250031 h 514350"/>
                <a:gd name="connsiteX5500" fmla="*/ 2762726 w 6400800"/>
                <a:gd name="connsiteY5500" fmla="*/ 250031 h 514350"/>
                <a:gd name="connsiteX5501" fmla="*/ 2753201 w 6400800"/>
                <a:gd name="connsiteY5501" fmla="*/ 250031 h 514350"/>
                <a:gd name="connsiteX5502" fmla="*/ 2757011 w 6400800"/>
                <a:gd name="connsiteY5502" fmla="*/ 230981 h 514350"/>
                <a:gd name="connsiteX5503" fmla="*/ 2762726 w 6400800"/>
                <a:gd name="connsiteY5503" fmla="*/ 249079 h 514350"/>
                <a:gd name="connsiteX5504" fmla="*/ 2760821 w 6400800"/>
                <a:gd name="connsiteY5504" fmla="*/ 252889 h 514350"/>
                <a:gd name="connsiteX5505" fmla="*/ 2752249 w 6400800"/>
                <a:gd name="connsiteY5505" fmla="*/ 267176 h 514350"/>
                <a:gd name="connsiteX5506" fmla="*/ 2748439 w 6400800"/>
                <a:gd name="connsiteY5506" fmla="*/ 275749 h 514350"/>
                <a:gd name="connsiteX5507" fmla="*/ 2747486 w 6400800"/>
                <a:gd name="connsiteY5507" fmla="*/ 274796 h 514350"/>
                <a:gd name="connsiteX5508" fmla="*/ 2753201 w 6400800"/>
                <a:gd name="connsiteY5508" fmla="*/ 250031 h 514350"/>
                <a:gd name="connsiteX5509" fmla="*/ 2749391 w 6400800"/>
                <a:gd name="connsiteY5509" fmla="*/ 362426 h 514350"/>
                <a:gd name="connsiteX5510" fmla="*/ 2746534 w 6400800"/>
                <a:gd name="connsiteY5510" fmla="*/ 357664 h 514350"/>
                <a:gd name="connsiteX5511" fmla="*/ 2746534 w 6400800"/>
                <a:gd name="connsiteY5511" fmla="*/ 354806 h 514350"/>
                <a:gd name="connsiteX5512" fmla="*/ 2749391 w 6400800"/>
                <a:gd name="connsiteY5512" fmla="*/ 362426 h 514350"/>
                <a:gd name="connsiteX5513" fmla="*/ 2734151 w 6400800"/>
                <a:gd name="connsiteY5513" fmla="*/ 258604 h 514350"/>
                <a:gd name="connsiteX5514" fmla="*/ 2740819 w 6400800"/>
                <a:gd name="connsiteY5514" fmla="*/ 273844 h 514350"/>
                <a:gd name="connsiteX5515" fmla="*/ 2735104 w 6400800"/>
                <a:gd name="connsiteY5515" fmla="*/ 290036 h 514350"/>
                <a:gd name="connsiteX5516" fmla="*/ 2734151 w 6400800"/>
                <a:gd name="connsiteY5516" fmla="*/ 287179 h 514350"/>
                <a:gd name="connsiteX5517" fmla="*/ 2734151 w 6400800"/>
                <a:gd name="connsiteY5517" fmla="*/ 291941 h 514350"/>
                <a:gd name="connsiteX5518" fmla="*/ 2734151 w 6400800"/>
                <a:gd name="connsiteY5518" fmla="*/ 291941 h 514350"/>
                <a:gd name="connsiteX5519" fmla="*/ 2732246 w 6400800"/>
                <a:gd name="connsiteY5519" fmla="*/ 289084 h 514350"/>
                <a:gd name="connsiteX5520" fmla="*/ 2731294 w 6400800"/>
                <a:gd name="connsiteY5520" fmla="*/ 286226 h 514350"/>
                <a:gd name="connsiteX5521" fmla="*/ 2734151 w 6400800"/>
                <a:gd name="connsiteY5521" fmla="*/ 258604 h 514350"/>
                <a:gd name="connsiteX5522" fmla="*/ 2715101 w 6400800"/>
                <a:gd name="connsiteY5522" fmla="*/ 290989 h 514350"/>
                <a:gd name="connsiteX5523" fmla="*/ 2716054 w 6400800"/>
                <a:gd name="connsiteY5523" fmla="*/ 273844 h 514350"/>
                <a:gd name="connsiteX5524" fmla="*/ 2717959 w 6400800"/>
                <a:gd name="connsiteY5524" fmla="*/ 278606 h 514350"/>
                <a:gd name="connsiteX5525" fmla="*/ 2716054 w 6400800"/>
                <a:gd name="connsiteY5525" fmla="*/ 304324 h 514350"/>
                <a:gd name="connsiteX5526" fmla="*/ 2715101 w 6400800"/>
                <a:gd name="connsiteY5526" fmla="*/ 303371 h 514350"/>
                <a:gd name="connsiteX5527" fmla="*/ 2715101 w 6400800"/>
                <a:gd name="connsiteY5527" fmla="*/ 290989 h 514350"/>
                <a:gd name="connsiteX5528" fmla="*/ 2705576 w 6400800"/>
                <a:gd name="connsiteY5528" fmla="*/ 243364 h 514350"/>
                <a:gd name="connsiteX5529" fmla="*/ 2704624 w 6400800"/>
                <a:gd name="connsiteY5529" fmla="*/ 247174 h 514350"/>
                <a:gd name="connsiteX5530" fmla="*/ 2703671 w 6400800"/>
                <a:gd name="connsiteY5530" fmla="*/ 238601 h 514350"/>
                <a:gd name="connsiteX5531" fmla="*/ 2705576 w 6400800"/>
                <a:gd name="connsiteY5531" fmla="*/ 243364 h 514350"/>
                <a:gd name="connsiteX5532" fmla="*/ 2697956 w 6400800"/>
                <a:gd name="connsiteY5532" fmla="*/ 312896 h 514350"/>
                <a:gd name="connsiteX5533" fmla="*/ 2697956 w 6400800"/>
                <a:gd name="connsiteY5533" fmla="*/ 313849 h 514350"/>
                <a:gd name="connsiteX5534" fmla="*/ 2697956 w 6400800"/>
                <a:gd name="connsiteY5534" fmla="*/ 310991 h 514350"/>
                <a:gd name="connsiteX5535" fmla="*/ 2697956 w 6400800"/>
                <a:gd name="connsiteY5535" fmla="*/ 312896 h 514350"/>
                <a:gd name="connsiteX5536" fmla="*/ 2664619 w 6400800"/>
                <a:gd name="connsiteY5536" fmla="*/ 234791 h 514350"/>
                <a:gd name="connsiteX5537" fmla="*/ 2666524 w 6400800"/>
                <a:gd name="connsiteY5537" fmla="*/ 238601 h 514350"/>
                <a:gd name="connsiteX5538" fmla="*/ 2673191 w 6400800"/>
                <a:gd name="connsiteY5538" fmla="*/ 287179 h 514350"/>
                <a:gd name="connsiteX5539" fmla="*/ 2670334 w 6400800"/>
                <a:gd name="connsiteY5539" fmla="*/ 279559 h 514350"/>
                <a:gd name="connsiteX5540" fmla="*/ 2670334 w 6400800"/>
                <a:gd name="connsiteY5540" fmla="*/ 278606 h 514350"/>
                <a:gd name="connsiteX5541" fmla="*/ 2671286 w 6400800"/>
                <a:gd name="connsiteY5541" fmla="*/ 276701 h 514350"/>
                <a:gd name="connsiteX5542" fmla="*/ 2670334 w 6400800"/>
                <a:gd name="connsiteY5542" fmla="*/ 278606 h 514350"/>
                <a:gd name="connsiteX5543" fmla="*/ 2664619 w 6400800"/>
                <a:gd name="connsiteY5543" fmla="*/ 246221 h 514350"/>
                <a:gd name="connsiteX5544" fmla="*/ 2663666 w 6400800"/>
                <a:gd name="connsiteY5544" fmla="*/ 240506 h 514350"/>
                <a:gd name="connsiteX5545" fmla="*/ 2664619 w 6400800"/>
                <a:gd name="connsiteY5545" fmla="*/ 234791 h 514350"/>
                <a:gd name="connsiteX5546" fmla="*/ 2657951 w 6400800"/>
                <a:gd name="connsiteY5546" fmla="*/ 339566 h 514350"/>
                <a:gd name="connsiteX5547" fmla="*/ 2656046 w 6400800"/>
                <a:gd name="connsiteY5547" fmla="*/ 336709 h 514350"/>
                <a:gd name="connsiteX5548" fmla="*/ 2657951 w 6400800"/>
                <a:gd name="connsiteY5548" fmla="*/ 325279 h 514350"/>
                <a:gd name="connsiteX5549" fmla="*/ 2657951 w 6400800"/>
                <a:gd name="connsiteY5549" fmla="*/ 339566 h 514350"/>
                <a:gd name="connsiteX5550" fmla="*/ 2654141 w 6400800"/>
                <a:gd name="connsiteY5550" fmla="*/ 277654 h 514350"/>
                <a:gd name="connsiteX5551" fmla="*/ 2659856 w 6400800"/>
                <a:gd name="connsiteY5551" fmla="*/ 298609 h 514350"/>
                <a:gd name="connsiteX5552" fmla="*/ 2659856 w 6400800"/>
                <a:gd name="connsiteY5552" fmla="*/ 299561 h 514350"/>
                <a:gd name="connsiteX5553" fmla="*/ 2653189 w 6400800"/>
                <a:gd name="connsiteY5553" fmla="*/ 316706 h 514350"/>
                <a:gd name="connsiteX5554" fmla="*/ 2652236 w 6400800"/>
                <a:gd name="connsiteY5554" fmla="*/ 319564 h 514350"/>
                <a:gd name="connsiteX5555" fmla="*/ 2650331 w 6400800"/>
                <a:gd name="connsiteY5555" fmla="*/ 311944 h 514350"/>
                <a:gd name="connsiteX5556" fmla="*/ 2647474 w 6400800"/>
                <a:gd name="connsiteY5556" fmla="*/ 301466 h 514350"/>
                <a:gd name="connsiteX5557" fmla="*/ 2654141 w 6400800"/>
                <a:gd name="connsiteY5557" fmla="*/ 277654 h 514350"/>
                <a:gd name="connsiteX5558" fmla="*/ 2633186 w 6400800"/>
                <a:gd name="connsiteY5558" fmla="*/ 283369 h 514350"/>
                <a:gd name="connsiteX5559" fmla="*/ 2633186 w 6400800"/>
                <a:gd name="connsiteY5559" fmla="*/ 285274 h 514350"/>
                <a:gd name="connsiteX5560" fmla="*/ 2633186 w 6400800"/>
                <a:gd name="connsiteY5560" fmla="*/ 286226 h 514350"/>
                <a:gd name="connsiteX5561" fmla="*/ 2632234 w 6400800"/>
                <a:gd name="connsiteY5561" fmla="*/ 290036 h 514350"/>
                <a:gd name="connsiteX5562" fmla="*/ 2633186 w 6400800"/>
                <a:gd name="connsiteY5562" fmla="*/ 283369 h 514350"/>
                <a:gd name="connsiteX5563" fmla="*/ 2578894 w 6400800"/>
                <a:gd name="connsiteY5563" fmla="*/ 242411 h 514350"/>
                <a:gd name="connsiteX5564" fmla="*/ 2577941 w 6400800"/>
                <a:gd name="connsiteY5564" fmla="*/ 241459 h 514350"/>
                <a:gd name="connsiteX5565" fmla="*/ 2580799 w 6400800"/>
                <a:gd name="connsiteY5565" fmla="*/ 235744 h 514350"/>
                <a:gd name="connsiteX5566" fmla="*/ 2580799 w 6400800"/>
                <a:gd name="connsiteY5566" fmla="*/ 235744 h 514350"/>
                <a:gd name="connsiteX5567" fmla="*/ 2578894 w 6400800"/>
                <a:gd name="connsiteY5567" fmla="*/ 242411 h 514350"/>
                <a:gd name="connsiteX5568" fmla="*/ 2597944 w 6400800"/>
                <a:gd name="connsiteY5568" fmla="*/ 275749 h 514350"/>
                <a:gd name="connsiteX5569" fmla="*/ 2597944 w 6400800"/>
                <a:gd name="connsiteY5569" fmla="*/ 274796 h 514350"/>
                <a:gd name="connsiteX5570" fmla="*/ 2597944 w 6400800"/>
                <a:gd name="connsiteY5570" fmla="*/ 275749 h 514350"/>
                <a:gd name="connsiteX5571" fmla="*/ 2597944 w 6400800"/>
                <a:gd name="connsiteY5571" fmla="*/ 275749 h 514350"/>
                <a:gd name="connsiteX5572" fmla="*/ 2616041 w 6400800"/>
                <a:gd name="connsiteY5572" fmla="*/ 309086 h 514350"/>
                <a:gd name="connsiteX5573" fmla="*/ 2613184 w 6400800"/>
                <a:gd name="connsiteY5573" fmla="*/ 319564 h 514350"/>
                <a:gd name="connsiteX5574" fmla="*/ 2613184 w 6400800"/>
                <a:gd name="connsiteY5574" fmla="*/ 318611 h 514350"/>
                <a:gd name="connsiteX5575" fmla="*/ 2613184 w 6400800"/>
                <a:gd name="connsiteY5575" fmla="*/ 319564 h 514350"/>
                <a:gd name="connsiteX5576" fmla="*/ 2613184 w 6400800"/>
                <a:gd name="connsiteY5576" fmla="*/ 319564 h 514350"/>
                <a:gd name="connsiteX5577" fmla="*/ 2600801 w 6400800"/>
                <a:gd name="connsiteY5577" fmla="*/ 289084 h 514350"/>
                <a:gd name="connsiteX5578" fmla="*/ 2602706 w 6400800"/>
                <a:gd name="connsiteY5578" fmla="*/ 282416 h 514350"/>
                <a:gd name="connsiteX5579" fmla="*/ 2612231 w 6400800"/>
                <a:gd name="connsiteY5579" fmla="*/ 299561 h 514350"/>
                <a:gd name="connsiteX5580" fmla="*/ 2616041 w 6400800"/>
                <a:gd name="connsiteY5580" fmla="*/ 308134 h 514350"/>
                <a:gd name="connsiteX5581" fmla="*/ 2616041 w 6400800"/>
                <a:gd name="connsiteY5581" fmla="*/ 309086 h 514350"/>
                <a:gd name="connsiteX5582" fmla="*/ 2616041 w 6400800"/>
                <a:gd name="connsiteY5582" fmla="*/ 309086 h 514350"/>
                <a:gd name="connsiteX5583" fmla="*/ 2604611 w 6400800"/>
                <a:gd name="connsiteY5583" fmla="*/ 276701 h 514350"/>
                <a:gd name="connsiteX5584" fmla="*/ 2608421 w 6400800"/>
                <a:gd name="connsiteY5584" fmla="*/ 267176 h 514350"/>
                <a:gd name="connsiteX5585" fmla="*/ 2615089 w 6400800"/>
                <a:gd name="connsiteY5585" fmla="*/ 290036 h 514350"/>
                <a:gd name="connsiteX5586" fmla="*/ 2604611 w 6400800"/>
                <a:gd name="connsiteY5586" fmla="*/ 276701 h 514350"/>
                <a:gd name="connsiteX5587" fmla="*/ 2614136 w 6400800"/>
                <a:gd name="connsiteY5587" fmla="*/ 276701 h 514350"/>
                <a:gd name="connsiteX5588" fmla="*/ 2609374 w 6400800"/>
                <a:gd name="connsiteY5588" fmla="*/ 266224 h 514350"/>
                <a:gd name="connsiteX5589" fmla="*/ 2612231 w 6400800"/>
                <a:gd name="connsiteY5589" fmla="*/ 257651 h 514350"/>
                <a:gd name="connsiteX5590" fmla="*/ 2614136 w 6400800"/>
                <a:gd name="connsiteY5590" fmla="*/ 276701 h 514350"/>
                <a:gd name="connsiteX5591" fmla="*/ 2606516 w 6400800"/>
                <a:gd name="connsiteY5591" fmla="*/ 208121 h 514350"/>
                <a:gd name="connsiteX5592" fmla="*/ 2611279 w 6400800"/>
                <a:gd name="connsiteY5592" fmla="*/ 250984 h 514350"/>
                <a:gd name="connsiteX5593" fmla="*/ 2611279 w 6400800"/>
                <a:gd name="connsiteY5593" fmla="*/ 251936 h 514350"/>
                <a:gd name="connsiteX5594" fmla="*/ 2600801 w 6400800"/>
                <a:gd name="connsiteY5594" fmla="*/ 271939 h 514350"/>
                <a:gd name="connsiteX5595" fmla="*/ 2597944 w 6400800"/>
                <a:gd name="connsiteY5595" fmla="*/ 268129 h 514350"/>
                <a:gd name="connsiteX5596" fmla="*/ 2595086 w 6400800"/>
                <a:gd name="connsiteY5596" fmla="*/ 237649 h 514350"/>
                <a:gd name="connsiteX5597" fmla="*/ 2594134 w 6400800"/>
                <a:gd name="connsiteY5597" fmla="*/ 228124 h 514350"/>
                <a:gd name="connsiteX5598" fmla="*/ 2605564 w 6400800"/>
                <a:gd name="connsiteY5598" fmla="*/ 179546 h 514350"/>
                <a:gd name="connsiteX5599" fmla="*/ 2606516 w 6400800"/>
                <a:gd name="connsiteY5599" fmla="*/ 208121 h 514350"/>
                <a:gd name="connsiteX5600" fmla="*/ 2586514 w 6400800"/>
                <a:gd name="connsiteY5600" fmla="*/ 186214 h 514350"/>
                <a:gd name="connsiteX5601" fmla="*/ 2598896 w 6400800"/>
                <a:gd name="connsiteY5601" fmla="*/ 159544 h 514350"/>
                <a:gd name="connsiteX5602" fmla="*/ 2601754 w 6400800"/>
                <a:gd name="connsiteY5602" fmla="*/ 153829 h 514350"/>
                <a:gd name="connsiteX5603" fmla="*/ 2603659 w 6400800"/>
                <a:gd name="connsiteY5603" fmla="*/ 173831 h 514350"/>
                <a:gd name="connsiteX5604" fmla="*/ 2590324 w 6400800"/>
                <a:gd name="connsiteY5604" fmla="*/ 210979 h 514350"/>
                <a:gd name="connsiteX5605" fmla="*/ 2586514 w 6400800"/>
                <a:gd name="connsiteY5605" fmla="*/ 187166 h 514350"/>
                <a:gd name="connsiteX5606" fmla="*/ 2586514 w 6400800"/>
                <a:gd name="connsiteY5606" fmla="*/ 186214 h 514350"/>
                <a:gd name="connsiteX5607" fmla="*/ 2584609 w 6400800"/>
                <a:gd name="connsiteY5607" fmla="*/ 408146 h 514350"/>
                <a:gd name="connsiteX5608" fmla="*/ 2584609 w 6400800"/>
                <a:gd name="connsiteY5608" fmla="*/ 408146 h 514350"/>
                <a:gd name="connsiteX5609" fmla="*/ 2581751 w 6400800"/>
                <a:gd name="connsiteY5609" fmla="*/ 393859 h 514350"/>
                <a:gd name="connsiteX5610" fmla="*/ 2584609 w 6400800"/>
                <a:gd name="connsiteY5610" fmla="*/ 408146 h 514350"/>
                <a:gd name="connsiteX5611" fmla="*/ 2580799 w 6400800"/>
                <a:gd name="connsiteY5611" fmla="*/ 199549 h 514350"/>
                <a:gd name="connsiteX5612" fmla="*/ 2581751 w 6400800"/>
                <a:gd name="connsiteY5612" fmla="*/ 228124 h 514350"/>
                <a:gd name="connsiteX5613" fmla="*/ 2578894 w 6400800"/>
                <a:gd name="connsiteY5613" fmla="*/ 231934 h 514350"/>
                <a:gd name="connsiteX5614" fmla="*/ 2575084 w 6400800"/>
                <a:gd name="connsiteY5614" fmla="*/ 236696 h 514350"/>
                <a:gd name="connsiteX5615" fmla="*/ 2573179 w 6400800"/>
                <a:gd name="connsiteY5615" fmla="*/ 233839 h 514350"/>
                <a:gd name="connsiteX5616" fmla="*/ 2572226 w 6400800"/>
                <a:gd name="connsiteY5616" fmla="*/ 229076 h 514350"/>
                <a:gd name="connsiteX5617" fmla="*/ 2571274 w 6400800"/>
                <a:gd name="connsiteY5617" fmla="*/ 219551 h 514350"/>
                <a:gd name="connsiteX5618" fmla="*/ 2580799 w 6400800"/>
                <a:gd name="connsiteY5618" fmla="*/ 199549 h 514350"/>
                <a:gd name="connsiteX5619" fmla="*/ 2569369 w 6400800"/>
                <a:gd name="connsiteY5619" fmla="*/ 320516 h 514350"/>
                <a:gd name="connsiteX5620" fmla="*/ 2570321 w 6400800"/>
                <a:gd name="connsiteY5620" fmla="*/ 327184 h 514350"/>
                <a:gd name="connsiteX5621" fmla="*/ 2571274 w 6400800"/>
                <a:gd name="connsiteY5621" fmla="*/ 330041 h 514350"/>
                <a:gd name="connsiteX5622" fmla="*/ 2563654 w 6400800"/>
                <a:gd name="connsiteY5622" fmla="*/ 345281 h 514350"/>
                <a:gd name="connsiteX5623" fmla="*/ 2562701 w 6400800"/>
                <a:gd name="connsiteY5623" fmla="*/ 342424 h 514350"/>
                <a:gd name="connsiteX5624" fmla="*/ 2569369 w 6400800"/>
                <a:gd name="connsiteY5624" fmla="*/ 320516 h 514350"/>
                <a:gd name="connsiteX5625" fmla="*/ 2556034 w 6400800"/>
                <a:gd name="connsiteY5625" fmla="*/ 262414 h 514350"/>
                <a:gd name="connsiteX5626" fmla="*/ 2559844 w 6400800"/>
                <a:gd name="connsiteY5626" fmla="*/ 251936 h 514350"/>
                <a:gd name="connsiteX5627" fmla="*/ 2560796 w 6400800"/>
                <a:gd name="connsiteY5627" fmla="*/ 257651 h 514350"/>
                <a:gd name="connsiteX5628" fmla="*/ 2559844 w 6400800"/>
                <a:gd name="connsiteY5628" fmla="*/ 259556 h 514350"/>
                <a:gd name="connsiteX5629" fmla="*/ 2554129 w 6400800"/>
                <a:gd name="connsiteY5629" fmla="*/ 269081 h 514350"/>
                <a:gd name="connsiteX5630" fmla="*/ 2556034 w 6400800"/>
                <a:gd name="connsiteY5630" fmla="*/ 262414 h 514350"/>
                <a:gd name="connsiteX5631" fmla="*/ 2561749 w 6400800"/>
                <a:gd name="connsiteY5631" fmla="*/ 276701 h 514350"/>
                <a:gd name="connsiteX5632" fmla="*/ 2562701 w 6400800"/>
                <a:gd name="connsiteY5632" fmla="*/ 274796 h 514350"/>
                <a:gd name="connsiteX5633" fmla="*/ 2564606 w 6400800"/>
                <a:gd name="connsiteY5633" fmla="*/ 287179 h 514350"/>
                <a:gd name="connsiteX5634" fmla="*/ 2557939 w 6400800"/>
                <a:gd name="connsiteY5634" fmla="*/ 309086 h 514350"/>
                <a:gd name="connsiteX5635" fmla="*/ 2556034 w 6400800"/>
                <a:gd name="connsiteY5635" fmla="*/ 313849 h 514350"/>
                <a:gd name="connsiteX5636" fmla="*/ 2553176 w 6400800"/>
                <a:gd name="connsiteY5636" fmla="*/ 296704 h 514350"/>
                <a:gd name="connsiteX5637" fmla="*/ 2561749 w 6400800"/>
                <a:gd name="connsiteY5637" fmla="*/ 276701 h 514350"/>
                <a:gd name="connsiteX5638" fmla="*/ 2538889 w 6400800"/>
                <a:gd name="connsiteY5638" fmla="*/ 252889 h 514350"/>
                <a:gd name="connsiteX5639" fmla="*/ 2540794 w 6400800"/>
                <a:gd name="connsiteY5639" fmla="*/ 242411 h 514350"/>
                <a:gd name="connsiteX5640" fmla="*/ 2542699 w 6400800"/>
                <a:gd name="connsiteY5640" fmla="*/ 238601 h 514350"/>
                <a:gd name="connsiteX5641" fmla="*/ 2544604 w 6400800"/>
                <a:gd name="connsiteY5641" fmla="*/ 233839 h 514350"/>
                <a:gd name="connsiteX5642" fmla="*/ 2543651 w 6400800"/>
                <a:gd name="connsiteY5642" fmla="*/ 248126 h 514350"/>
                <a:gd name="connsiteX5643" fmla="*/ 2542699 w 6400800"/>
                <a:gd name="connsiteY5643" fmla="*/ 257651 h 514350"/>
                <a:gd name="connsiteX5644" fmla="*/ 2537936 w 6400800"/>
                <a:gd name="connsiteY5644" fmla="*/ 268129 h 514350"/>
                <a:gd name="connsiteX5645" fmla="*/ 2538889 w 6400800"/>
                <a:gd name="connsiteY5645" fmla="*/ 252889 h 514350"/>
                <a:gd name="connsiteX5646" fmla="*/ 2521744 w 6400800"/>
                <a:gd name="connsiteY5646" fmla="*/ 475774 h 514350"/>
                <a:gd name="connsiteX5647" fmla="*/ 2522696 w 6400800"/>
                <a:gd name="connsiteY5647" fmla="*/ 484346 h 514350"/>
                <a:gd name="connsiteX5648" fmla="*/ 2520791 w 6400800"/>
                <a:gd name="connsiteY5648" fmla="*/ 479584 h 514350"/>
                <a:gd name="connsiteX5649" fmla="*/ 2521744 w 6400800"/>
                <a:gd name="connsiteY5649" fmla="*/ 475774 h 514350"/>
                <a:gd name="connsiteX5650" fmla="*/ 2514124 w 6400800"/>
                <a:gd name="connsiteY5650" fmla="*/ 323374 h 514350"/>
                <a:gd name="connsiteX5651" fmla="*/ 2514124 w 6400800"/>
                <a:gd name="connsiteY5651" fmla="*/ 323374 h 514350"/>
                <a:gd name="connsiteX5652" fmla="*/ 2513171 w 6400800"/>
                <a:gd name="connsiteY5652" fmla="*/ 328136 h 514350"/>
                <a:gd name="connsiteX5653" fmla="*/ 2513171 w 6400800"/>
                <a:gd name="connsiteY5653" fmla="*/ 329089 h 514350"/>
                <a:gd name="connsiteX5654" fmla="*/ 2514124 w 6400800"/>
                <a:gd name="connsiteY5654" fmla="*/ 323374 h 514350"/>
                <a:gd name="connsiteX5655" fmla="*/ 2509361 w 6400800"/>
                <a:gd name="connsiteY5655" fmla="*/ 300514 h 514350"/>
                <a:gd name="connsiteX5656" fmla="*/ 2508409 w 6400800"/>
                <a:gd name="connsiteY5656" fmla="*/ 302419 h 514350"/>
                <a:gd name="connsiteX5657" fmla="*/ 2508409 w 6400800"/>
                <a:gd name="connsiteY5657" fmla="*/ 302419 h 514350"/>
                <a:gd name="connsiteX5658" fmla="*/ 2507456 w 6400800"/>
                <a:gd name="connsiteY5658" fmla="*/ 294799 h 514350"/>
                <a:gd name="connsiteX5659" fmla="*/ 2509361 w 6400800"/>
                <a:gd name="connsiteY5659" fmla="*/ 300514 h 514350"/>
                <a:gd name="connsiteX5660" fmla="*/ 2496979 w 6400800"/>
                <a:gd name="connsiteY5660" fmla="*/ 292894 h 514350"/>
                <a:gd name="connsiteX5661" fmla="*/ 2497931 w 6400800"/>
                <a:gd name="connsiteY5661" fmla="*/ 290036 h 514350"/>
                <a:gd name="connsiteX5662" fmla="*/ 2496979 w 6400800"/>
                <a:gd name="connsiteY5662" fmla="*/ 290989 h 514350"/>
                <a:gd name="connsiteX5663" fmla="*/ 2497931 w 6400800"/>
                <a:gd name="connsiteY5663" fmla="*/ 284321 h 514350"/>
                <a:gd name="connsiteX5664" fmla="*/ 2498884 w 6400800"/>
                <a:gd name="connsiteY5664" fmla="*/ 269081 h 514350"/>
                <a:gd name="connsiteX5665" fmla="*/ 2498884 w 6400800"/>
                <a:gd name="connsiteY5665" fmla="*/ 266224 h 514350"/>
                <a:gd name="connsiteX5666" fmla="*/ 2502694 w 6400800"/>
                <a:gd name="connsiteY5666" fmla="*/ 277654 h 514350"/>
                <a:gd name="connsiteX5667" fmla="*/ 2502694 w 6400800"/>
                <a:gd name="connsiteY5667" fmla="*/ 283369 h 514350"/>
                <a:gd name="connsiteX5668" fmla="*/ 2501741 w 6400800"/>
                <a:gd name="connsiteY5668" fmla="*/ 302419 h 514350"/>
                <a:gd name="connsiteX5669" fmla="*/ 2501741 w 6400800"/>
                <a:gd name="connsiteY5669" fmla="*/ 313849 h 514350"/>
                <a:gd name="connsiteX5670" fmla="*/ 2500789 w 6400800"/>
                <a:gd name="connsiteY5670" fmla="*/ 325279 h 514350"/>
                <a:gd name="connsiteX5671" fmla="*/ 2500789 w 6400800"/>
                <a:gd name="connsiteY5671" fmla="*/ 326231 h 514350"/>
                <a:gd name="connsiteX5672" fmla="*/ 2499836 w 6400800"/>
                <a:gd name="connsiteY5672" fmla="*/ 315754 h 514350"/>
                <a:gd name="connsiteX5673" fmla="*/ 2499836 w 6400800"/>
                <a:gd name="connsiteY5673" fmla="*/ 310039 h 514350"/>
                <a:gd name="connsiteX5674" fmla="*/ 2500789 w 6400800"/>
                <a:gd name="connsiteY5674" fmla="*/ 297656 h 514350"/>
                <a:gd name="connsiteX5675" fmla="*/ 2500789 w 6400800"/>
                <a:gd name="connsiteY5675" fmla="*/ 286226 h 514350"/>
                <a:gd name="connsiteX5676" fmla="*/ 2496979 w 6400800"/>
                <a:gd name="connsiteY5676" fmla="*/ 292894 h 514350"/>
                <a:gd name="connsiteX5677" fmla="*/ 2496979 w 6400800"/>
                <a:gd name="connsiteY5677" fmla="*/ 292894 h 514350"/>
                <a:gd name="connsiteX5678" fmla="*/ 2449354 w 6400800"/>
                <a:gd name="connsiteY5678" fmla="*/ 334804 h 514350"/>
                <a:gd name="connsiteX5679" fmla="*/ 2447449 w 6400800"/>
                <a:gd name="connsiteY5679" fmla="*/ 328136 h 514350"/>
                <a:gd name="connsiteX5680" fmla="*/ 2450306 w 6400800"/>
                <a:gd name="connsiteY5680" fmla="*/ 321469 h 514350"/>
                <a:gd name="connsiteX5681" fmla="*/ 2450306 w 6400800"/>
                <a:gd name="connsiteY5681" fmla="*/ 322421 h 514350"/>
                <a:gd name="connsiteX5682" fmla="*/ 2451259 w 6400800"/>
                <a:gd name="connsiteY5682" fmla="*/ 324326 h 514350"/>
                <a:gd name="connsiteX5683" fmla="*/ 2449354 w 6400800"/>
                <a:gd name="connsiteY5683" fmla="*/ 334804 h 514350"/>
                <a:gd name="connsiteX5684" fmla="*/ 2450306 w 6400800"/>
                <a:gd name="connsiteY5684" fmla="*/ 254794 h 514350"/>
                <a:gd name="connsiteX5685" fmla="*/ 2451259 w 6400800"/>
                <a:gd name="connsiteY5685" fmla="*/ 251936 h 514350"/>
                <a:gd name="connsiteX5686" fmla="*/ 2451259 w 6400800"/>
                <a:gd name="connsiteY5686" fmla="*/ 250984 h 514350"/>
                <a:gd name="connsiteX5687" fmla="*/ 2451259 w 6400800"/>
                <a:gd name="connsiteY5687" fmla="*/ 251936 h 514350"/>
                <a:gd name="connsiteX5688" fmla="*/ 2450306 w 6400800"/>
                <a:gd name="connsiteY5688" fmla="*/ 254794 h 514350"/>
                <a:gd name="connsiteX5689" fmla="*/ 2452211 w 6400800"/>
                <a:gd name="connsiteY5689" fmla="*/ 251936 h 514350"/>
                <a:gd name="connsiteX5690" fmla="*/ 2451259 w 6400800"/>
                <a:gd name="connsiteY5690" fmla="*/ 250984 h 514350"/>
                <a:gd name="connsiteX5691" fmla="*/ 2456021 w 6400800"/>
                <a:gd name="connsiteY5691" fmla="*/ 238601 h 514350"/>
                <a:gd name="connsiteX5692" fmla="*/ 2460784 w 6400800"/>
                <a:gd name="connsiteY5692" fmla="*/ 231934 h 514350"/>
                <a:gd name="connsiteX5693" fmla="*/ 2459831 w 6400800"/>
                <a:gd name="connsiteY5693" fmla="*/ 235744 h 514350"/>
                <a:gd name="connsiteX5694" fmla="*/ 2456021 w 6400800"/>
                <a:gd name="connsiteY5694" fmla="*/ 248126 h 514350"/>
                <a:gd name="connsiteX5695" fmla="*/ 2452211 w 6400800"/>
                <a:gd name="connsiteY5695" fmla="*/ 251936 h 514350"/>
                <a:gd name="connsiteX5696" fmla="*/ 2457926 w 6400800"/>
                <a:gd name="connsiteY5696" fmla="*/ 266224 h 514350"/>
                <a:gd name="connsiteX5697" fmla="*/ 2456974 w 6400800"/>
                <a:gd name="connsiteY5697" fmla="*/ 268129 h 514350"/>
                <a:gd name="connsiteX5698" fmla="*/ 2457926 w 6400800"/>
                <a:gd name="connsiteY5698" fmla="*/ 266224 h 514350"/>
                <a:gd name="connsiteX5699" fmla="*/ 2457926 w 6400800"/>
                <a:gd name="connsiteY5699" fmla="*/ 266224 h 514350"/>
                <a:gd name="connsiteX5700" fmla="*/ 2457926 w 6400800"/>
                <a:gd name="connsiteY5700" fmla="*/ 374809 h 514350"/>
                <a:gd name="connsiteX5701" fmla="*/ 2456021 w 6400800"/>
                <a:gd name="connsiteY5701" fmla="*/ 367189 h 514350"/>
                <a:gd name="connsiteX5702" fmla="*/ 2456021 w 6400800"/>
                <a:gd name="connsiteY5702" fmla="*/ 362426 h 514350"/>
                <a:gd name="connsiteX5703" fmla="*/ 2456021 w 6400800"/>
                <a:gd name="connsiteY5703" fmla="*/ 344329 h 514350"/>
                <a:gd name="connsiteX5704" fmla="*/ 2458879 w 6400800"/>
                <a:gd name="connsiteY5704" fmla="*/ 354806 h 514350"/>
                <a:gd name="connsiteX5705" fmla="*/ 2457926 w 6400800"/>
                <a:gd name="connsiteY5705" fmla="*/ 374809 h 514350"/>
                <a:gd name="connsiteX5706" fmla="*/ 2456974 w 6400800"/>
                <a:gd name="connsiteY5706" fmla="*/ 308134 h 514350"/>
                <a:gd name="connsiteX5707" fmla="*/ 2456974 w 6400800"/>
                <a:gd name="connsiteY5707" fmla="*/ 305276 h 514350"/>
                <a:gd name="connsiteX5708" fmla="*/ 2457926 w 6400800"/>
                <a:gd name="connsiteY5708" fmla="*/ 302419 h 514350"/>
                <a:gd name="connsiteX5709" fmla="*/ 2459831 w 6400800"/>
                <a:gd name="connsiteY5709" fmla="*/ 313849 h 514350"/>
                <a:gd name="connsiteX5710" fmla="*/ 2460784 w 6400800"/>
                <a:gd name="connsiteY5710" fmla="*/ 317659 h 514350"/>
                <a:gd name="connsiteX5711" fmla="*/ 2456974 w 6400800"/>
                <a:gd name="connsiteY5711" fmla="*/ 308134 h 514350"/>
                <a:gd name="connsiteX5712" fmla="*/ 2458879 w 6400800"/>
                <a:gd name="connsiteY5712" fmla="*/ 290036 h 514350"/>
                <a:gd name="connsiteX5713" fmla="*/ 2459831 w 6400800"/>
                <a:gd name="connsiteY5713" fmla="*/ 287179 h 514350"/>
                <a:gd name="connsiteX5714" fmla="*/ 2463641 w 6400800"/>
                <a:gd name="connsiteY5714" fmla="*/ 277654 h 514350"/>
                <a:gd name="connsiteX5715" fmla="*/ 2465546 w 6400800"/>
                <a:gd name="connsiteY5715" fmla="*/ 281464 h 514350"/>
                <a:gd name="connsiteX5716" fmla="*/ 2458879 w 6400800"/>
                <a:gd name="connsiteY5716" fmla="*/ 290036 h 514350"/>
                <a:gd name="connsiteX5717" fmla="*/ 2464594 w 6400800"/>
                <a:gd name="connsiteY5717" fmla="*/ 305276 h 514350"/>
                <a:gd name="connsiteX5718" fmla="*/ 2460784 w 6400800"/>
                <a:gd name="connsiteY5718" fmla="*/ 295751 h 514350"/>
                <a:gd name="connsiteX5719" fmla="*/ 2462689 w 6400800"/>
                <a:gd name="connsiteY5719" fmla="*/ 292894 h 514350"/>
                <a:gd name="connsiteX5720" fmla="*/ 2466499 w 6400800"/>
                <a:gd name="connsiteY5720" fmla="*/ 285274 h 514350"/>
                <a:gd name="connsiteX5721" fmla="*/ 2464594 w 6400800"/>
                <a:gd name="connsiteY5721" fmla="*/ 305276 h 514350"/>
                <a:gd name="connsiteX5722" fmla="*/ 2467451 w 6400800"/>
                <a:gd name="connsiteY5722" fmla="*/ 274796 h 514350"/>
                <a:gd name="connsiteX5723" fmla="*/ 2466499 w 6400800"/>
                <a:gd name="connsiteY5723" fmla="*/ 272891 h 514350"/>
                <a:gd name="connsiteX5724" fmla="*/ 2468404 w 6400800"/>
                <a:gd name="connsiteY5724" fmla="*/ 268129 h 514350"/>
                <a:gd name="connsiteX5725" fmla="*/ 2467451 w 6400800"/>
                <a:gd name="connsiteY5725" fmla="*/ 274796 h 514350"/>
                <a:gd name="connsiteX5726" fmla="*/ 2471261 w 6400800"/>
                <a:gd name="connsiteY5726" fmla="*/ 233839 h 514350"/>
                <a:gd name="connsiteX5727" fmla="*/ 2470309 w 6400800"/>
                <a:gd name="connsiteY5727" fmla="*/ 245269 h 514350"/>
                <a:gd name="connsiteX5728" fmla="*/ 2469356 w 6400800"/>
                <a:gd name="connsiteY5728" fmla="*/ 246221 h 514350"/>
                <a:gd name="connsiteX5729" fmla="*/ 2459831 w 6400800"/>
                <a:gd name="connsiteY5729" fmla="*/ 263366 h 514350"/>
                <a:gd name="connsiteX5730" fmla="*/ 2458879 w 6400800"/>
                <a:gd name="connsiteY5730" fmla="*/ 261461 h 514350"/>
                <a:gd name="connsiteX5731" fmla="*/ 2461736 w 6400800"/>
                <a:gd name="connsiteY5731" fmla="*/ 247174 h 514350"/>
                <a:gd name="connsiteX5732" fmla="*/ 2462689 w 6400800"/>
                <a:gd name="connsiteY5732" fmla="*/ 245269 h 514350"/>
                <a:gd name="connsiteX5733" fmla="*/ 2472214 w 6400800"/>
                <a:gd name="connsiteY5733" fmla="*/ 231934 h 514350"/>
                <a:gd name="connsiteX5734" fmla="*/ 2472214 w 6400800"/>
                <a:gd name="connsiteY5734" fmla="*/ 231934 h 514350"/>
                <a:gd name="connsiteX5735" fmla="*/ 2473166 w 6400800"/>
                <a:gd name="connsiteY5735" fmla="*/ 240506 h 514350"/>
                <a:gd name="connsiteX5736" fmla="*/ 2472214 w 6400800"/>
                <a:gd name="connsiteY5736" fmla="*/ 242411 h 514350"/>
                <a:gd name="connsiteX5737" fmla="*/ 2471261 w 6400800"/>
                <a:gd name="connsiteY5737" fmla="*/ 233839 h 514350"/>
                <a:gd name="connsiteX5738" fmla="*/ 2467451 w 6400800"/>
                <a:gd name="connsiteY5738" fmla="*/ 211931 h 514350"/>
                <a:gd name="connsiteX5739" fmla="*/ 2465546 w 6400800"/>
                <a:gd name="connsiteY5739" fmla="*/ 213836 h 514350"/>
                <a:gd name="connsiteX5740" fmla="*/ 2466499 w 6400800"/>
                <a:gd name="connsiteY5740" fmla="*/ 211931 h 514350"/>
                <a:gd name="connsiteX5741" fmla="*/ 2468404 w 6400800"/>
                <a:gd name="connsiteY5741" fmla="*/ 208121 h 514350"/>
                <a:gd name="connsiteX5742" fmla="*/ 2468404 w 6400800"/>
                <a:gd name="connsiteY5742" fmla="*/ 210979 h 514350"/>
                <a:gd name="connsiteX5743" fmla="*/ 2467451 w 6400800"/>
                <a:gd name="connsiteY5743" fmla="*/ 211931 h 514350"/>
                <a:gd name="connsiteX5744" fmla="*/ 2467451 w 6400800"/>
                <a:gd name="connsiteY5744" fmla="*/ 211931 h 514350"/>
                <a:gd name="connsiteX5745" fmla="*/ 2467451 w 6400800"/>
                <a:gd name="connsiteY5745" fmla="*/ 211931 h 514350"/>
                <a:gd name="connsiteX5746" fmla="*/ 2470309 w 6400800"/>
                <a:gd name="connsiteY5746" fmla="*/ 218599 h 514350"/>
                <a:gd name="connsiteX5747" fmla="*/ 2472214 w 6400800"/>
                <a:gd name="connsiteY5747" fmla="*/ 230029 h 514350"/>
                <a:gd name="connsiteX5748" fmla="*/ 2472214 w 6400800"/>
                <a:gd name="connsiteY5748" fmla="*/ 230029 h 514350"/>
                <a:gd name="connsiteX5749" fmla="*/ 2463641 w 6400800"/>
                <a:gd name="connsiteY5749" fmla="*/ 237649 h 514350"/>
                <a:gd name="connsiteX5750" fmla="*/ 2464594 w 6400800"/>
                <a:gd name="connsiteY5750" fmla="*/ 234791 h 514350"/>
                <a:gd name="connsiteX5751" fmla="*/ 2466499 w 6400800"/>
                <a:gd name="connsiteY5751" fmla="*/ 224314 h 514350"/>
                <a:gd name="connsiteX5752" fmla="*/ 2466499 w 6400800"/>
                <a:gd name="connsiteY5752" fmla="*/ 224314 h 514350"/>
                <a:gd name="connsiteX5753" fmla="*/ 2470309 w 6400800"/>
                <a:gd name="connsiteY5753" fmla="*/ 218599 h 514350"/>
                <a:gd name="connsiteX5754" fmla="*/ 2477929 w 6400800"/>
                <a:gd name="connsiteY5754" fmla="*/ 223361 h 514350"/>
                <a:gd name="connsiteX5755" fmla="*/ 2475071 w 6400800"/>
                <a:gd name="connsiteY5755" fmla="*/ 212884 h 514350"/>
                <a:gd name="connsiteX5756" fmla="*/ 2477929 w 6400800"/>
                <a:gd name="connsiteY5756" fmla="*/ 209074 h 514350"/>
                <a:gd name="connsiteX5757" fmla="*/ 2477929 w 6400800"/>
                <a:gd name="connsiteY5757" fmla="*/ 217646 h 514350"/>
                <a:gd name="connsiteX5758" fmla="*/ 2477929 w 6400800"/>
                <a:gd name="connsiteY5758" fmla="*/ 223361 h 514350"/>
                <a:gd name="connsiteX5759" fmla="*/ 2473166 w 6400800"/>
                <a:gd name="connsiteY5759" fmla="*/ 206216 h 514350"/>
                <a:gd name="connsiteX5760" fmla="*/ 2472214 w 6400800"/>
                <a:gd name="connsiteY5760" fmla="*/ 203359 h 514350"/>
                <a:gd name="connsiteX5761" fmla="*/ 2471261 w 6400800"/>
                <a:gd name="connsiteY5761" fmla="*/ 201454 h 514350"/>
                <a:gd name="connsiteX5762" fmla="*/ 2474119 w 6400800"/>
                <a:gd name="connsiteY5762" fmla="*/ 195739 h 514350"/>
                <a:gd name="connsiteX5763" fmla="*/ 2477929 w 6400800"/>
                <a:gd name="connsiteY5763" fmla="*/ 189071 h 514350"/>
                <a:gd name="connsiteX5764" fmla="*/ 2477929 w 6400800"/>
                <a:gd name="connsiteY5764" fmla="*/ 201454 h 514350"/>
                <a:gd name="connsiteX5765" fmla="*/ 2473166 w 6400800"/>
                <a:gd name="connsiteY5765" fmla="*/ 206216 h 514350"/>
                <a:gd name="connsiteX5766" fmla="*/ 2473166 w 6400800"/>
                <a:gd name="connsiteY5766" fmla="*/ 255746 h 514350"/>
                <a:gd name="connsiteX5767" fmla="*/ 2475071 w 6400800"/>
                <a:gd name="connsiteY5767" fmla="*/ 251936 h 514350"/>
                <a:gd name="connsiteX5768" fmla="*/ 2476976 w 6400800"/>
                <a:gd name="connsiteY5768" fmla="*/ 266224 h 514350"/>
                <a:gd name="connsiteX5769" fmla="*/ 2479834 w 6400800"/>
                <a:gd name="connsiteY5769" fmla="*/ 292894 h 514350"/>
                <a:gd name="connsiteX5770" fmla="*/ 2479834 w 6400800"/>
                <a:gd name="connsiteY5770" fmla="*/ 296704 h 514350"/>
                <a:gd name="connsiteX5771" fmla="*/ 2479834 w 6400800"/>
                <a:gd name="connsiteY5771" fmla="*/ 295751 h 514350"/>
                <a:gd name="connsiteX5772" fmla="*/ 2475071 w 6400800"/>
                <a:gd name="connsiteY5772" fmla="*/ 288131 h 514350"/>
                <a:gd name="connsiteX5773" fmla="*/ 2473166 w 6400800"/>
                <a:gd name="connsiteY5773" fmla="*/ 255746 h 514350"/>
                <a:gd name="connsiteX5774" fmla="*/ 2481739 w 6400800"/>
                <a:gd name="connsiteY5774" fmla="*/ 324326 h 514350"/>
                <a:gd name="connsiteX5775" fmla="*/ 2480786 w 6400800"/>
                <a:gd name="connsiteY5775" fmla="*/ 326231 h 514350"/>
                <a:gd name="connsiteX5776" fmla="*/ 2476024 w 6400800"/>
                <a:gd name="connsiteY5776" fmla="*/ 340519 h 514350"/>
                <a:gd name="connsiteX5777" fmla="*/ 2476024 w 6400800"/>
                <a:gd name="connsiteY5777" fmla="*/ 308134 h 514350"/>
                <a:gd name="connsiteX5778" fmla="*/ 2476024 w 6400800"/>
                <a:gd name="connsiteY5778" fmla="*/ 308134 h 514350"/>
                <a:gd name="connsiteX5779" fmla="*/ 2479834 w 6400800"/>
                <a:gd name="connsiteY5779" fmla="*/ 318611 h 514350"/>
                <a:gd name="connsiteX5780" fmla="*/ 2480786 w 6400800"/>
                <a:gd name="connsiteY5780" fmla="*/ 322421 h 514350"/>
                <a:gd name="connsiteX5781" fmla="*/ 2481739 w 6400800"/>
                <a:gd name="connsiteY5781" fmla="*/ 324326 h 514350"/>
                <a:gd name="connsiteX5782" fmla="*/ 2481739 w 6400800"/>
                <a:gd name="connsiteY5782" fmla="*/ 324326 h 514350"/>
                <a:gd name="connsiteX5783" fmla="*/ 2436971 w 6400800"/>
                <a:gd name="connsiteY5783" fmla="*/ 215741 h 514350"/>
                <a:gd name="connsiteX5784" fmla="*/ 2447449 w 6400800"/>
                <a:gd name="connsiteY5784" fmla="*/ 195739 h 514350"/>
                <a:gd name="connsiteX5785" fmla="*/ 2457926 w 6400800"/>
                <a:gd name="connsiteY5785" fmla="*/ 178594 h 514350"/>
                <a:gd name="connsiteX5786" fmla="*/ 2475071 w 6400800"/>
                <a:gd name="connsiteY5786" fmla="*/ 150971 h 514350"/>
                <a:gd name="connsiteX5787" fmla="*/ 2482691 w 6400800"/>
                <a:gd name="connsiteY5787" fmla="*/ 138589 h 514350"/>
                <a:gd name="connsiteX5788" fmla="*/ 2480786 w 6400800"/>
                <a:gd name="connsiteY5788" fmla="*/ 154781 h 514350"/>
                <a:gd name="connsiteX5789" fmla="*/ 2478881 w 6400800"/>
                <a:gd name="connsiteY5789" fmla="*/ 181451 h 514350"/>
                <a:gd name="connsiteX5790" fmla="*/ 2470309 w 6400800"/>
                <a:gd name="connsiteY5790" fmla="*/ 193834 h 514350"/>
                <a:gd name="connsiteX5791" fmla="*/ 2469356 w 6400800"/>
                <a:gd name="connsiteY5791" fmla="*/ 194786 h 514350"/>
                <a:gd name="connsiteX5792" fmla="*/ 2465546 w 6400800"/>
                <a:gd name="connsiteY5792" fmla="*/ 181451 h 514350"/>
                <a:gd name="connsiteX5793" fmla="*/ 2467451 w 6400800"/>
                <a:gd name="connsiteY5793" fmla="*/ 197644 h 514350"/>
                <a:gd name="connsiteX5794" fmla="*/ 2460784 w 6400800"/>
                <a:gd name="connsiteY5794" fmla="*/ 209074 h 514350"/>
                <a:gd name="connsiteX5795" fmla="*/ 2447449 w 6400800"/>
                <a:gd name="connsiteY5795" fmla="*/ 234791 h 514350"/>
                <a:gd name="connsiteX5796" fmla="*/ 2436971 w 6400800"/>
                <a:gd name="connsiteY5796" fmla="*/ 247174 h 514350"/>
                <a:gd name="connsiteX5797" fmla="*/ 2436019 w 6400800"/>
                <a:gd name="connsiteY5797" fmla="*/ 249079 h 514350"/>
                <a:gd name="connsiteX5798" fmla="*/ 2436019 w 6400800"/>
                <a:gd name="connsiteY5798" fmla="*/ 249079 h 514350"/>
                <a:gd name="connsiteX5799" fmla="*/ 2433161 w 6400800"/>
                <a:gd name="connsiteY5799" fmla="*/ 225266 h 514350"/>
                <a:gd name="connsiteX5800" fmla="*/ 2436971 w 6400800"/>
                <a:gd name="connsiteY5800" fmla="*/ 215741 h 514350"/>
                <a:gd name="connsiteX5801" fmla="*/ 2416016 w 6400800"/>
                <a:gd name="connsiteY5801" fmla="*/ 313849 h 514350"/>
                <a:gd name="connsiteX5802" fmla="*/ 2416016 w 6400800"/>
                <a:gd name="connsiteY5802" fmla="*/ 313849 h 514350"/>
                <a:gd name="connsiteX5803" fmla="*/ 2413159 w 6400800"/>
                <a:gd name="connsiteY5803" fmla="*/ 304324 h 514350"/>
                <a:gd name="connsiteX5804" fmla="*/ 2415064 w 6400800"/>
                <a:gd name="connsiteY5804" fmla="*/ 301466 h 514350"/>
                <a:gd name="connsiteX5805" fmla="*/ 2415064 w 6400800"/>
                <a:gd name="connsiteY5805" fmla="*/ 303371 h 514350"/>
                <a:gd name="connsiteX5806" fmla="*/ 2416016 w 6400800"/>
                <a:gd name="connsiteY5806" fmla="*/ 313849 h 514350"/>
                <a:gd name="connsiteX5807" fmla="*/ 2416016 w 6400800"/>
                <a:gd name="connsiteY5807" fmla="*/ 313849 h 514350"/>
                <a:gd name="connsiteX5808" fmla="*/ 2422684 w 6400800"/>
                <a:gd name="connsiteY5808" fmla="*/ 288131 h 514350"/>
                <a:gd name="connsiteX5809" fmla="*/ 2422684 w 6400800"/>
                <a:gd name="connsiteY5809" fmla="*/ 293846 h 514350"/>
                <a:gd name="connsiteX5810" fmla="*/ 2420779 w 6400800"/>
                <a:gd name="connsiteY5810" fmla="*/ 299561 h 514350"/>
                <a:gd name="connsiteX5811" fmla="*/ 2418874 w 6400800"/>
                <a:gd name="connsiteY5811" fmla="*/ 293846 h 514350"/>
                <a:gd name="connsiteX5812" fmla="*/ 2420779 w 6400800"/>
                <a:gd name="connsiteY5812" fmla="*/ 290989 h 514350"/>
                <a:gd name="connsiteX5813" fmla="*/ 2422684 w 6400800"/>
                <a:gd name="connsiteY5813" fmla="*/ 288131 h 514350"/>
                <a:gd name="connsiteX5814" fmla="*/ 2414111 w 6400800"/>
                <a:gd name="connsiteY5814" fmla="*/ 259556 h 514350"/>
                <a:gd name="connsiteX5815" fmla="*/ 2419826 w 6400800"/>
                <a:gd name="connsiteY5815" fmla="*/ 248126 h 514350"/>
                <a:gd name="connsiteX5816" fmla="*/ 2420779 w 6400800"/>
                <a:gd name="connsiteY5816" fmla="*/ 266224 h 514350"/>
                <a:gd name="connsiteX5817" fmla="*/ 2412206 w 6400800"/>
                <a:gd name="connsiteY5817" fmla="*/ 277654 h 514350"/>
                <a:gd name="connsiteX5818" fmla="*/ 2410301 w 6400800"/>
                <a:gd name="connsiteY5818" fmla="*/ 273844 h 514350"/>
                <a:gd name="connsiteX5819" fmla="*/ 2408396 w 6400800"/>
                <a:gd name="connsiteY5819" fmla="*/ 270986 h 514350"/>
                <a:gd name="connsiteX5820" fmla="*/ 2414111 w 6400800"/>
                <a:gd name="connsiteY5820" fmla="*/ 259556 h 514350"/>
                <a:gd name="connsiteX5821" fmla="*/ 2406491 w 6400800"/>
                <a:gd name="connsiteY5821" fmla="*/ 275749 h 514350"/>
                <a:gd name="connsiteX5822" fmla="*/ 2406491 w 6400800"/>
                <a:gd name="connsiteY5822" fmla="*/ 275749 h 514350"/>
                <a:gd name="connsiteX5823" fmla="*/ 2409349 w 6400800"/>
                <a:gd name="connsiteY5823" fmla="*/ 282416 h 514350"/>
                <a:gd name="connsiteX5824" fmla="*/ 2406491 w 6400800"/>
                <a:gd name="connsiteY5824" fmla="*/ 286226 h 514350"/>
                <a:gd name="connsiteX5825" fmla="*/ 2404586 w 6400800"/>
                <a:gd name="connsiteY5825" fmla="*/ 280511 h 514350"/>
                <a:gd name="connsiteX5826" fmla="*/ 2406491 w 6400800"/>
                <a:gd name="connsiteY5826" fmla="*/ 275749 h 514350"/>
                <a:gd name="connsiteX5827" fmla="*/ 2405539 w 6400800"/>
                <a:gd name="connsiteY5827" fmla="*/ 317659 h 514350"/>
                <a:gd name="connsiteX5828" fmla="*/ 2408396 w 6400800"/>
                <a:gd name="connsiteY5828" fmla="*/ 328136 h 514350"/>
                <a:gd name="connsiteX5829" fmla="*/ 2408396 w 6400800"/>
                <a:gd name="connsiteY5829" fmla="*/ 334804 h 514350"/>
                <a:gd name="connsiteX5830" fmla="*/ 2407444 w 6400800"/>
                <a:gd name="connsiteY5830" fmla="*/ 332899 h 514350"/>
                <a:gd name="connsiteX5831" fmla="*/ 2407444 w 6400800"/>
                <a:gd name="connsiteY5831" fmla="*/ 340519 h 514350"/>
                <a:gd name="connsiteX5832" fmla="*/ 2404586 w 6400800"/>
                <a:gd name="connsiteY5832" fmla="*/ 350996 h 514350"/>
                <a:gd name="connsiteX5833" fmla="*/ 2400776 w 6400800"/>
                <a:gd name="connsiteY5833" fmla="*/ 364331 h 514350"/>
                <a:gd name="connsiteX5834" fmla="*/ 2398871 w 6400800"/>
                <a:gd name="connsiteY5834" fmla="*/ 343376 h 514350"/>
                <a:gd name="connsiteX5835" fmla="*/ 2397919 w 6400800"/>
                <a:gd name="connsiteY5835" fmla="*/ 333851 h 514350"/>
                <a:gd name="connsiteX5836" fmla="*/ 2398871 w 6400800"/>
                <a:gd name="connsiteY5836" fmla="*/ 330994 h 514350"/>
                <a:gd name="connsiteX5837" fmla="*/ 2405539 w 6400800"/>
                <a:gd name="connsiteY5837" fmla="*/ 317659 h 514350"/>
                <a:gd name="connsiteX5838" fmla="*/ 2398871 w 6400800"/>
                <a:gd name="connsiteY5838" fmla="*/ 291941 h 514350"/>
                <a:gd name="connsiteX5839" fmla="*/ 2399824 w 6400800"/>
                <a:gd name="connsiteY5839" fmla="*/ 295751 h 514350"/>
                <a:gd name="connsiteX5840" fmla="*/ 2394109 w 6400800"/>
                <a:gd name="connsiteY5840" fmla="*/ 303371 h 514350"/>
                <a:gd name="connsiteX5841" fmla="*/ 2394109 w 6400800"/>
                <a:gd name="connsiteY5841" fmla="*/ 302419 h 514350"/>
                <a:gd name="connsiteX5842" fmla="*/ 2398871 w 6400800"/>
                <a:gd name="connsiteY5842" fmla="*/ 291941 h 514350"/>
                <a:gd name="connsiteX5843" fmla="*/ 2393156 w 6400800"/>
                <a:gd name="connsiteY5843" fmla="*/ 267176 h 514350"/>
                <a:gd name="connsiteX5844" fmla="*/ 2391251 w 6400800"/>
                <a:gd name="connsiteY5844" fmla="*/ 270034 h 514350"/>
                <a:gd name="connsiteX5845" fmla="*/ 2389346 w 6400800"/>
                <a:gd name="connsiteY5845" fmla="*/ 254794 h 514350"/>
                <a:gd name="connsiteX5846" fmla="*/ 2393156 w 6400800"/>
                <a:gd name="connsiteY5846" fmla="*/ 267176 h 514350"/>
                <a:gd name="connsiteX5847" fmla="*/ 2351246 w 6400800"/>
                <a:gd name="connsiteY5847" fmla="*/ 278606 h 514350"/>
                <a:gd name="connsiteX5848" fmla="*/ 2351246 w 6400800"/>
                <a:gd name="connsiteY5848" fmla="*/ 278606 h 514350"/>
                <a:gd name="connsiteX5849" fmla="*/ 2351246 w 6400800"/>
                <a:gd name="connsiteY5849" fmla="*/ 275749 h 514350"/>
                <a:gd name="connsiteX5850" fmla="*/ 2351246 w 6400800"/>
                <a:gd name="connsiteY5850" fmla="*/ 278606 h 514350"/>
                <a:gd name="connsiteX5851" fmla="*/ 2378869 w 6400800"/>
                <a:gd name="connsiteY5851" fmla="*/ 295751 h 514350"/>
                <a:gd name="connsiteX5852" fmla="*/ 2375059 w 6400800"/>
                <a:gd name="connsiteY5852" fmla="*/ 303371 h 514350"/>
                <a:gd name="connsiteX5853" fmla="*/ 2374106 w 6400800"/>
                <a:gd name="connsiteY5853" fmla="*/ 305276 h 514350"/>
                <a:gd name="connsiteX5854" fmla="*/ 2374106 w 6400800"/>
                <a:gd name="connsiteY5854" fmla="*/ 304324 h 514350"/>
                <a:gd name="connsiteX5855" fmla="*/ 2376011 w 6400800"/>
                <a:gd name="connsiteY5855" fmla="*/ 231934 h 514350"/>
                <a:gd name="connsiteX5856" fmla="*/ 2366486 w 6400800"/>
                <a:gd name="connsiteY5856" fmla="*/ 277654 h 514350"/>
                <a:gd name="connsiteX5857" fmla="*/ 2364581 w 6400800"/>
                <a:gd name="connsiteY5857" fmla="*/ 272891 h 514350"/>
                <a:gd name="connsiteX5858" fmla="*/ 2361724 w 6400800"/>
                <a:gd name="connsiteY5858" fmla="*/ 264319 h 514350"/>
                <a:gd name="connsiteX5859" fmla="*/ 2361724 w 6400800"/>
                <a:gd name="connsiteY5859" fmla="*/ 245269 h 514350"/>
                <a:gd name="connsiteX5860" fmla="*/ 2365534 w 6400800"/>
                <a:gd name="connsiteY5860" fmla="*/ 234791 h 514350"/>
                <a:gd name="connsiteX5861" fmla="*/ 2376011 w 6400800"/>
                <a:gd name="connsiteY5861" fmla="*/ 211931 h 514350"/>
                <a:gd name="connsiteX5862" fmla="*/ 2376011 w 6400800"/>
                <a:gd name="connsiteY5862" fmla="*/ 244316 h 514350"/>
                <a:gd name="connsiteX5863" fmla="*/ 2376964 w 6400800"/>
                <a:gd name="connsiteY5863" fmla="*/ 290989 h 514350"/>
                <a:gd name="connsiteX5864" fmla="*/ 2378869 w 6400800"/>
                <a:gd name="connsiteY5864" fmla="*/ 295751 h 514350"/>
                <a:gd name="connsiteX5865" fmla="*/ 2362676 w 6400800"/>
                <a:gd name="connsiteY5865" fmla="*/ 180499 h 514350"/>
                <a:gd name="connsiteX5866" fmla="*/ 2368391 w 6400800"/>
                <a:gd name="connsiteY5866" fmla="*/ 166211 h 514350"/>
                <a:gd name="connsiteX5867" fmla="*/ 2377916 w 6400800"/>
                <a:gd name="connsiteY5867" fmla="*/ 140494 h 514350"/>
                <a:gd name="connsiteX5868" fmla="*/ 2378869 w 6400800"/>
                <a:gd name="connsiteY5868" fmla="*/ 143351 h 514350"/>
                <a:gd name="connsiteX5869" fmla="*/ 2378869 w 6400800"/>
                <a:gd name="connsiteY5869" fmla="*/ 152876 h 514350"/>
                <a:gd name="connsiteX5870" fmla="*/ 2377916 w 6400800"/>
                <a:gd name="connsiteY5870" fmla="*/ 147161 h 514350"/>
                <a:gd name="connsiteX5871" fmla="*/ 2377916 w 6400800"/>
                <a:gd name="connsiteY5871" fmla="*/ 173831 h 514350"/>
                <a:gd name="connsiteX5872" fmla="*/ 2377916 w 6400800"/>
                <a:gd name="connsiteY5872" fmla="*/ 203359 h 514350"/>
                <a:gd name="connsiteX5873" fmla="*/ 2362676 w 6400800"/>
                <a:gd name="connsiteY5873" fmla="*/ 227171 h 514350"/>
                <a:gd name="connsiteX5874" fmla="*/ 2360771 w 6400800"/>
                <a:gd name="connsiteY5874" fmla="*/ 185261 h 514350"/>
                <a:gd name="connsiteX5875" fmla="*/ 2362676 w 6400800"/>
                <a:gd name="connsiteY5875" fmla="*/ 180499 h 514350"/>
                <a:gd name="connsiteX5876" fmla="*/ 2340769 w 6400800"/>
                <a:gd name="connsiteY5876" fmla="*/ 241459 h 514350"/>
                <a:gd name="connsiteX5877" fmla="*/ 2342674 w 6400800"/>
                <a:gd name="connsiteY5877" fmla="*/ 235744 h 514350"/>
                <a:gd name="connsiteX5878" fmla="*/ 2347436 w 6400800"/>
                <a:gd name="connsiteY5878" fmla="*/ 221456 h 514350"/>
                <a:gd name="connsiteX5879" fmla="*/ 2359819 w 6400800"/>
                <a:gd name="connsiteY5879" fmla="*/ 187166 h 514350"/>
                <a:gd name="connsiteX5880" fmla="*/ 2355056 w 6400800"/>
                <a:gd name="connsiteY5880" fmla="*/ 236696 h 514350"/>
                <a:gd name="connsiteX5881" fmla="*/ 2353151 w 6400800"/>
                <a:gd name="connsiteY5881" fmla="*/ 230029 h 514350"/>
                <a:gd name="connsiteX5882" fmla="*/ 2354104 w 6400800"/>
                <a:gd name="connsiteY5882" fmla="*/ 241459 h 514350"/>
                <a:gd name="connsiteX5883" fmla="*/ 2344579 w 6400800"/>
                <a:gd name="connsiteY5883" fmla="*/ 259556 h 514350"/>
                <a:gd name="connsiteX5884" fmla="*/ 2344579 w 6400800"/>
                <a:gd name="connsiteY5884" fmla="*/ 259556 h 514350"/>
                <a:gd name="connsiteX5885" fmla="*/ 2339816 w 6400800"/>
                <a:gd name="connsiteY5885" fmla="*/ 245269 h 514350"/>
                <a:gd name="connsiteX5886" fmla="*/ 2340769 w 6400800"/>
                <a:gd name="connsiteY5886" fmla="*/ 241459 h 514350"/>
                <a:gd name="connsiteX5887" fmla="*/ 2344579 w 6400800"/>
                <a:gd name="connsiteY5887" fmla="*/ 320516 h 514350"/>
                <a:gd name="connsiteX5888" fmla="*/ 2339816 w 6400800"/>
                <a:gd name="connsiteY5888" fmla="*/ 310991 h 514350"/>
                <a:gd name="connsiteX5889" fmla="*/ 2339816 w 6400800"/>
                <a:gd name="connsiteY5889" fmla="*/ 310039 h 514350"/>
                <a:gd name="connsiteX5890" fmla="*/ 2344579 w 6400800"/>
                <a:gd name="connsiteY5890" fmla="*/ 320516 h 514350"/>
                <a:gd name="connsiteX5891" fmla="*/ 2337911 w 6400800"/>
                <a:gd name="connsiteY5891" fmla="*/ 317659 h 514350"/>
                <a:gd name="connsiteX5892" fmla="*/ 2341721 w 6400800"/>
                <a:gd name="connsiteY5892" fmla="*/ 327184 h 514350"/>
                <a:gd name="connsiteX5893" fmla="*/ 2336959 w 6400800"/>
                <a:gd name="connsiteY5893" fmla="*/ 321469 h 514350"/>
                <a:gd name="connsiteX5894" fmla="*/ 2337911 w 6400800"/>
                <a:gd name="connsiteY5894" fmla="*/ 317659 h 514350"/>
                <a:gd name="connsiteX5895" fmla="*/ 2332196 w 6400800"/>
                <a:gd name="connsiteY5895" fmla="*/ 280511 h 514350"/>
                <a:gd name="connsiteX5896" fmla="*/ 2333149 w 6400800"/>
                <a:gd name="connsiteY5896" fmla="*/ 283369 h 514350"/>
                <a:gd name="connsiteX5897" fmla="*/ 2332196 w 6400800"/>
                <a:gd name="connsiteY5897" fmla="*/ 281464 h 514350"/>
                <a:gd name="connsiteX5898" fmla="*/ 2332196 w 6400800"/>
                <a:gd name="connsiteY5898" fmla="*/ 280511 h 514350"/>
                <a:gd name="connsiteX5899" fmla="*/ 2330291 w 6400800"/>
                <a:gd name="connsiteY5899" fmla="*/ 289084 h 514350"/>
                <a:gd name="connsiteX5900" fmla="*/ 2331244 w 6400800"/>
                <a:gd name="connsiteY5900" fmla="*/ 290989 h 514350"/>
                <a:gd name="connsiteX5901" fmla="*/ 2330291 w 6400800"/>
                <a:gd name="connsiteY5901" fmla="*/ 292894 h 514350"/>
                <a:gd name="connsiteX5902" fmla="*/ 2329339 w 6400800"/>
                <a:gd name="connsiteY5902" fmla="*/ 290989 h 514350"/>
                <a:gd name="connsiteX5903" fmla="*/ 2330291 w 6400800"/>
                <a:gd name="connsiteY5903" fmla="*/ 289084 h 514350"/>
                <a:gd name="connsiteX5904" fmla="*/ 2329339 w 6400800"/>
                <a:gd name="connsiteY5904" fmla="*/ 293846 h 514350"/>
                <a:gd name="connsiteX5905" fmla="*/ 2329339 w 6400800"/>
                <a:gd name="connsiteY5905" fmla="*/ 292894 h 514350"/>
                <a:gd name="connsiteX5906" fmla="*/ 2330291 w 6400800"/>
                <a:gd name="connsiteY5906" fmla="*/ 294799 h 514350"/>
                <a:gd name="connsiteX5907" fmla="*/ 2328386 w 6400800"/>
                <a:gd name="connsiteY5907" fmla="*/ 299561 h 514350"/>
                <a:gd name="connsiteX5908" fmla="*/ 2328386 w 6400800"/>
                <a:gd name="connsiteY5908" fmla="*/ 298609 h 514350"/>
                <a:gd name="connsiteX5909" fmla="*/ 2329339 w 6400800"/>
                <a:gd name="connsiteY5909" fmla="*/ 293846 h 514350"/>
                <a:gd name="connsiteX5910" fmla="*/ 2313146 w 6400800"/>
                <a:gd name="connsiteY5910" fmla="*/ 194786 h 514350"/>
                <a:gd name="connsiteX5911" fmla="*/ 2315051 w 6400800"/>
                <a:gd name="connsiteY5911" fmla="*/ 201454 h 514350"/>
                <a:gd name="connsiteX5912" fmla="*/ 2316004 w 6400800"/>
                <a:gd name="connsiteY5912" fmla="*/ 205264 h 514350"/>
                <a:gd name="connsiteX5913" fmla="*/ 2314099 w 6400800"/>
                <a:gd name="connsiteY5913" fmla="*/ 214789 h 514350"/>
                <a:gd name="connsiteX5914" fmla="*/ 2314099 w 6400800"/>
                <a:gd name="connsiteY5914" fmla="*/ 214789 h 514350"/>
                <a:gd name="connsiteX5915" fmla="*/ 2310289 w 6400800"/>
                <a:gd name="connsiteY5915" fmla="*/ 207169 h 514350"/>
                <a:gd name="connsiteX5916" fmla="*/ 2313146 w 6400800"/>
                <a:gd name="connsiteY5916" fmla="*/ 194786 h 514350"/>
                <a:gd name="connsiteX5917" fmla="*/ 2304574 w 6400800"/>
                <a:gd name="connsiteY5917" fmla="*/ 197644 h 514350"/>
                <a:gd name="connsiteX5918" fmla="*/ 2305526 w 6400800"/>
                <a:gd name="connsiteY5918" fmla="*/ 200501 h 514350"/>
                <a:gd name="connsiteX5919" fmla="*/ 2303621 w 6400800"/>
                <a:gd name="connsiteY5919" fmla="*/ 205264 h 514350"/>
                <a:gd name="connsiteX5920" fmla="*/ 2304574 w 6400800"/>
                <a:gd name="connsiteY5920" fmla="*/ 197644 h 514350"/>
                <a:gd name="connsiteX5921" fmla="*/ 2297906 w 6400800"/>
                <a:gd name="connsiteY5921" fmla="*/ 272891 h 514350"/>
                <a:gd name="connsiteX5922" fmla="*/ 2298859 w 6400800"/>
                <a:gd name="connsiteY5922" fmla="*/ 256699 h 514350"/>
                <a:gd name="connsiteX5923" fmla="*/ 2299811 w 6400800"/>
                <a:gd name="connsiteY5923" fmla="*/ 250984 h 514350"/>
                <a:gd name="connsiteX5924" fmla="*/ 2308384 w 6400800"/>
                <a:gd name="connsiteY5924" fmla="*/ 211931 h 514350"/>
                <a:gd name="connsiteX5925" fmla="*/ 2309336 w 6400800"/>
                <a:gd name="connsiteY5925" fmla="*/ 215741 h 514350"/>
                <a:gd name="connsiteX5926" fmla="*/ 2311241 w 6400800"/>
                <a:gd name="connsiteY5926" fmla="*/ 221456 h 514350"/>
                <a:gd name="connsiteX5927" fmla="*/ 2311241 w 6400800"/>
                <a:gd name="connsiteY5927" fmla="*/ 221456 h 514350"/>
                <a:gd name="connsiteX5928" fmla="*/ 2304574 w 6400800"/>
                <a:gd name="connsiteY5928" fmla="*/ 253841 h 514350"/>
                <a:gd name="connsiteX5929" fmla="*/ 2302669 w 6400800"/>
                <a:gd name="connsiteY5929" fmla="*/ 251936 h 514350"/>
                <a:gd name="connsiteX5930" fmla="*/ 2304574 w 6400800"/>
                <a:gd name="connsiteY5930" fmla="*/ 253841 h 514350"/>
                <a:gd name="connsiteX5931" fmla="*/ 2299811 w 6400800"/>
                <a:gd name="connsiteY5931" fmla="*/ 274796 h 514350"/>
                <a:gd name="connsiteX5932" fmla="*/ 2294096 w 6400800"/>
                <a:gd name="connsiteY5932" fmla="*/ 300514 h 514350"/>
                <a:gd name="connsiteX5933" fmla="*/ 2297906 w 6400800"/>
                <a:gd name="connsiteY5933" fmla="*/ 272891 h 514350"/>
                <a:gd name="connsiteX5934" fmla="*/ 2271236 w 6400800"/>
                <a:gd name="connsiteY5934" fmla="*/ 369094 h 514350"/>
                <a:gd name="connsiteX5935" fmla="*/ 2270284 w 6400800"/>
                <a:gd name="connsiteY5935" fmla="*/ 376714 h 514350"/>
                <a:gd name="connsiteX5936" fmla="*/ 2270284 w 6400800"/>
                <a:gd name="connsiteY5936" fmla="*/ 376714 h 514350"/>
                <a:gd name="connsiteX5937" fmla="*/ 2270284 w 6400800"/>
                <a:gd name="connsiteY5937" fmla="*/ 372904 h 514350"/>
                <a:gd name="connsiteX5938" fmla="*/ 2271236 w 6400800"/>
                <a:gd name="connsiteY5938" fmla="*/ 369094 h 514350"/>
                <a:gd name="connsiteX5939" fmla="*/ 2252186 w 6400800"/>
                <a:gd name="connsiteY5939" fmla="*/ 297656 h 514350"/>
                <a:gd name="connsiteX5940" fmla="*/ 2251234 w 6400800"/>
                <a:gd name="connsiteY5940" fmla="*/ 311944 h 514350"/>
                <a:gd name="connsiteX5941" fmla="*/ 2250281 w 6400800"/>
                <a:gd name="connsiteY5941" fmla="*/ 308134 h 514350"/>
                <a:gd name="connsiteX5942" fmla="*/ 2252186 w 6400800"/>
                <a:gd name="connsiteY5942" fmla="*/ 297656 h 514350"/>
                <a:gd name="connsiteX5943" fmla="*/ 2215991 w 6400800"/>
                <a:gd name="connsiteY5943" fmla="*/ 252889 h 514350"/>
                <a:gd name="connsiteX5944" fmla="*/ 2215991 w 6400800"/>
                <a:gd name="connsiteY5944" fmla="*/ 256699 h 514350"/>
                <a:gd name="connsiteX5945" fmla="*/ 2215991 w 6400800"/>
                <a:gd name="connsiteY5945" fmla="*/ 256699 h 514350"/>
                <a:gd name="connsiteX5946" fmla="*/ 2215991 w 6400800"/>
                <a:gd name="connsiteY5946" fmla="*/ 252889 h 514350"/>
                <a:gd name="connsiteX5947" fmla="*/ 2211229 w 6400800"/>
                <a:gd name="connsiteY5947" fmla="*/ 281464 h 514350"/>
                <a:gd name="connsiteX5948" fmla="*/ 2214086 w 6400800"/>
                <a:gd name="connsiteY5948" fmla="*/ 260509 h 514350"/>
                <a:gd name="connsiteX5949" fmla="*/ 2215039 w 6400800"/>
                <a:gd name="connsiteY5949" fmla="*/ 261461 h 514350"/>
                <a:gd name="connsiteX5950" fmla="*/ 2215039 w 6400800"/>
                <a:gd name="connsiteY5950" fmla="*/ 267176 h 514350"/>
                <a:gd name="connsiteX5951" fmla="*/ 2212181 w 6400800"/>
                <a:gd name="connsiteY5951" fmla="*/ 299561 h 514350"/>
                <a:gd name="connsiteX5952" fmla="*/ 2206466 w 6400800"/>
                <a:gd name="connsiteY5952" fmla="*/ 309086 h 514350"/>
                <a:gd name="connsiteX5953" fmla="*/ 2211229 w 6400800"/>
                <a:gd name="connsiteY5953" fmla="*/ 281464 h 514350"/>
                <a:gd name="connsiteX5954" fmla="*/ 2205514 w 6400800"/>
                <a:gd name="connsiteY5954" fmla="*/ 337661 h 514350"/>
                <a:gd name="connsiteX5955" fmla="*/ 2204561 w 6400800"/>
                <a:gd name="connsiteY5955" fmla="*/ 339566 h 514350"/>
                <a:gd name="connsiteX5956" fmla="*/ 2204561 w 6400800"/>
                <a:gd name="connsiteY5956" fmla="*/ 340519 h 514350"/>
                <a:gd name="connsiteX5957" fmla="*/ 2205514 w 6400800"/>
                <a:gd name="connsiteY5957" fmla="*/ 337661 h 514350"/>
                <a:gd name="connsiteX5958" fmla="*/ 2183606 w 6400800"/>
                <a:gd name="connsiteY5958" fmla="*/ 336709 h 514350"/>
                <a:gd name="connsiteX5959" fmla="*/ 2185511 w 6400800"/>
                <a:gd name="connsiteY5959" fmla="*/ 345281 h 514350"/>
                <a:gd name="connsiteX5960" fmla="*/ 2184559 w 6400800"/>
                <a:gd name="connsiteY5960" fmla="*/ 350044 h 514350"/>
                <a:gd name="connsiteX5961" fmla="*/ 2183606 w 6400800"/>
                <a:gd name="connsiteY5961" fmla="*/ 340519 h 514350"/>
                <a:gd name="connsiteX5962" fmla="*/ 2183606 w 6400800"/>
                <a:gd name="connsiteY5962" fmla="*/ 337661 h 514350"/>
                <a:gd name="connsiteX5963" fmla="*/ 2183606 w 6400800"/>
                <a:gd name="connsiteY5963" fmla="*/ 336709 h 514350"/>
                <a:gd name="connsiteX5964" fmla="*/ 2178844 w 6400800"/>
                <a:gd name="connsiteY5964" fmla="*/ 345281 h 514350"/>
                <a:gd name="connsiteX5965" fmla="*/ 2178844 w 6400800"/>
                <a:gd name="connsiteY5965" fmla="*/ 357664 h 514350"/>
                <a:gd name="connsiteX5966" fmla="*/ 2175986 w 6400800"/>
                <a:gd name="connsiteY5966" fmla="*/ 350996 h 514350"/>
                <a:gd name="connsiteX5967" fmla="*/ 2178844 w 6400800"/>
                <a:gd name="connsiteY5967" fmla="*/ 345281 h 514350"/>
                <a:gd name="connsiteX5968" fmla="*/ 2150269 w 6400800"/>
                <a:gd name="connsiteY5968" fmla="*/ 278606 h 514350"/>
                <a:gd name="connsiteX5969" fmla="*/ 2162651 w 6400800"/>
                <a:gd name="connsiteY5969" fmla="*/ 232886 h 514350"/>
                <a:gd name="connsiteX5970" fmla="*/ 2161699 w 6400800"/>
                <a:gd name="connsiteY5970" fmla="*/ 235744 h 514350"/>
                <a:gd name="connsiteX5971" fmla="*/ 2157889 w 6400800"/>
                <a:gd name="connsiteY5971" fmla="*/ 253841 h 514350"/>
                <a:gd name="connsiteX5972" fmla="*/ 2154079 w 6400800"/>
                <a:gd name="connsiteY5972" fmla="*/ 274796 h 514350"/>
                <a:gd name="connsiteX5973" fmla="*/ 2151221 w 6400800"/>
                <a:gd name="connsiteY5973" fmla="*/ 293846 h 514350"/>
                <a:gd name="connsiteX5974" fmla="*/ 2148364 w 6400800"/>
                <a:gd name="connsiteY5974" fmla="*/ 288131 h 514350"/>
                <a:gd name="connsiteX5975" fmla="*/ 2150269 w 6400800"/>
                <a:gd name="connsiteY5975" fmla="*/ 296704 h 514350"/>
                <a:gd name="connsiteX5976" fmla="*/ 2147411 w 6400800"/>
                <a:gd name="connsiteY5976" fmla="*/ 314801 h 514350"/>
                <a:gd name="connsiteX5977" fmla="*/ 2140744 w 6400800"/>
                <a:gd name="connsiteY5977" fmla="*/ 305276 h 514350"/>
                <a:gd name="connsiteX5978" fmla="*/ 2150269 w 6400800"/>
                <a:gd name="connsiteY5978" fmla="*/ 278606 h 514350"/>
                <a:gd name="connsiteX5979" fmla="*/ 2142649 w 6400800"/>
                <a:gd name="connsiteY5979" fmla="*/ 305276 h 514350"/>
                <a:gd name="connsiteX5980" fmla="*/ 2148364 w 6400800"/>
                <a:gd name="connsiteY5980" fmla="*/ 319564 h 514350"/>
                <a:gd name="connsiteX5981" fmla="*/ 2148364 w 6400800"/>
                <a:gd name="connsiteY5981" fmla="*/ 320516 h 514350"/>
                <a:gd name="connsiteX5982" fmla="*/ 2148364 w 6400800"/>
                <a:gd name="connsiteY5982" fmla="*/ 321469 h 514350"/>
                <a:gd name="connsiteX5983" fmla="*/ 2145506 w 6400800"/>
                <a:gd name="connsiteY5983" fmla="*/ 343376 h 514350"/>
                <a:gd name="connsiteX5984" fmla="*/ 2139791 w 6400800"/>
                <a:gd name="connsiteY5984" fmla="*/ 324326 h 514350"/>
                <a:gd name="connsiteX5985" fmla="*/ 2138839 w 6400800"/>
                <a:gd name="connsiteY5985" fmla="*/ 320516 h 514350"/>
                <a:gd name="connsiteX5986" fmla="*/ 2142649 w 6400800"/>
                <a:gd name="connsiteY5986" fmla="*/ 305276 h 514350"/>
                <a:gd name="connsiteX5987" fmla="*/ 2058829 w 6400800"/>
                <a:gd name="connsiteY5987" fmla="*/ 353854 h 514350"/>
                <a:gd name="connsiteX5988" fmla="*/ 2056924 w 6400800"/>
                <a:gd name="connsiteY5988" fmla="*/ 366236 h 514350"/>
                <a:gd name="connsiteX5989" fmla="*/ 2055971 w 6400800"/>
                <a:gd name="connsiteY5989" fmla="*/ 361474 h 514350"/>
                <a:gd name="connsiteX5990" fmla="*/ 2054066 w 6400800"/>
                <a:gd name="connsiteY5990" fmla="*/ 352901 h 514350"/>
                <a:gd name="connsiteX5991" fmla="*/ 2054066 w 6400800"/>
                <a:gd name="connsiteY5991" fmla="*/ 351949 h 514350"/>
                <a:gd name="connsiteX5992" fmla="*/ 2059781 w 6400800"/>
                <a:gd name="connsiteY5992" fmla="*/ 338614 h 514350"/>
                <a:gd name="connsiteX5993" fmla="*/ 2060734 w 6400800"/>
                <a:gd name="connsiteY5993" fmla="*/ 343376 h 514350"/>
                <a:gd name="connsiteX5994" fmla="*/ 2058829 w 6400800"/>
                <a:gd name="connsiteY5994" fmla="*/ 353854 h 514350"/>
                <a:gd name="connsiteX5995" fmla="*/ 2081689 w 6400800"/>
                <a:gd name="connsiteY5995" fmla="*/ 350044 h 514350"/>
                <a:gd name="connsiteX5996" fmla="*/ 2079784 w 6400800"/>
                <a:gd name="connsiteY5996" fmla="*/ 354806 h 514350"/>
                <a:gd name="connsiteX5997" fmla="*/ 2077879 w 6400800"/>
                <a:gd name="connsiteY5997" fmla="*/ 347186 h 514350"/>
                <a:gd name="connsiteX5998" fmla="*/ 2077879 w 6400800"/>
                <a:gd name="connsiteY5998" fmla="*/ 344329 h 514350"/>
                <a:gd name="connsiteX5999" fmla="*/ 2080736 w 6400800"/>
                <a:gd name="connsiteY5999" fmla="*/ 348139 h 514350"/>
                <a:gd name="connsiteX6000" fmla="*/ 2081689 w 6400800"/>
                <a:gd name="connsiteY6000" fmla="*/ 350044 h 514350"/>
                <a:gd name="connsiteX6001" fmla="*/ 2081689 w 6400800"/>
                <a:gd name="connsiteY6001" fmla="*/ 350044 h 514350"/>
                <a:gd name="connsiteX6002" fmla="*/ 2081689 w 6400800"/>
                <a:gd name="connsiteY6002" fmla="*/ 339566 h 514350"/>
                <a:gd name="connsiteX6003" fmla="*/ 2081689 w 6400800"/>
                <a:gd name="connsiteY6003" fmla="*/ 341471 h 514350"/>
                <a:gd name="connsiteX6004" fmla="*/ 2078831 w 6400800"/>
                <a:gd name="connsiteY6004" fmla="*/ 337661 h 514350"/>
                <a:gd name="connsiteX6005" fmla="*/ 2079784 w 6400800"/>
                <a:gd name="connsiteY6005" fmla="*/ 330041 h 514350"/>
                <a:gd name="connsiteX6006" fmla="*/ 2081689 w 6400800"/>
                <a:gd name="connsiteY6006" fmla="*/ 339566 h 514350"/>
                <a:gd name="connsiteX6007" fmla="*/ 2081689 w 6400800"/>
                <a:gd name="connsiteY6007" fmla="*/ 339566 h 514350"/>
                <a:gd name="connsiteX6008" fmla="*/ 2085499 w 6400800"/>
                <a:gd name="connsiteY6008" fmla="*/ 290036 h 514350"/>
                <a:gd name="connsiteX6009" fmla="*/ 2084546 w 6400800"/>
                <a:gd name="connsiteY6009" fmla="*/ 307181 h 514350"/>
                <a:gd name="connsiteX6010" fmla="*/ 2083594 w 6400800"/>
                <a:gd name="connsiteY6010" fmla="*/ 303371 h 514350"/>
                <a:gd name="connsiteX6011" fmla="*/ 2086451 w 6400800"/>
                <a:gd name="connsiteY6011" fmla="*/ 273844 h 514350"/>
                <a:gd name="connsiteX6012" fmla="*/ 2087404 w 6400800"/>
                <a:gd name="connsiteY6012" fmla="*/ 267176 h 514350"/>
                <a:gd name="connsiteX6013" fmla="*/ 2085499 w 6400800"/>
                <a:gd name="connsiteY6013" fmla="*/ 290036 h 514350"/>
                <a:gd name="connsiteX6014" fmla="*/ 2089309 w 6400800"/>
                <a:gd name="connsiteY6014" fmla="*/ 180499 h 514350"/>
                <a:gd name="connsiteX6015" fmla="*/ 2089309 w 6400800"/>
                <a:gd name="connsiteY6015" fmla="*/ 200501 h 514350"/>
                <a:gd name="connsiteX6016" fmla="*/ 2086451 w 6400800"/>
                <a:gd name="connsiteY6016" fmla="*/ 192881 h 514350"/>
                <a:gd name="connsiteX6017" fmla="*/ 2089309 w 6400800"/>
                <a:gd name="connsiteY6017" fmla="*/ 180499 h 514350"/>
                <a:gd name="connsiteX6018" fmla="*/ 2072164 w 6400800"/>
                <a:gd name="connsiteY6018" fmla="*/ 241459 h 514350"/>
                <a:gd name="connsiteX6019" fmla="*/ 2086451 w 6400800"/>
                <a:gd name="connsiteY6019" fmla="*/ 193834 h 514350"/>
                <a:gd name="connsiteX6020" fmla="*/ 2090261 w 6400800"/>
                <a:gd name="connsiteY6020" fmla="*/ 207169 h 514350"/>
                <a:gd name="connsiteX6021" fmla="*/ 2090261 w 6400800"/>
                <a:gd name="connsiteY6021" fmla="*/ 208121 h 514350"/>
                <a:gd name="connsiteX6022" fmla="*/ 2075974 w 6400800"/>
                <a:gd name="connsiteY6022" fmla="*/ 271939 h 514350"/>
                <a:gd name="connsiteX6023" fmla="*/ 2074069 w 6400800"/>
                <a:gd name="connsiteY6023" fmla="*/ 282416 h 514350"/>
                <a:gd name="connsiteX6024" fmla="*/ 2068354 w 6400800"/>
                <a:gd name="connsiteY6024" fmla="*/ 271939 h 514350"/>
                <a:gd name="connsiteX6025" fmla="*/ 2065496 w 6400800"/>
                <a:gd name="connsiteY6025" fmla="*/ 266224 h 514350"/>
                <a:gd name="connsiteX6026" fmla="*/ 2072164 w 6400800"/>
                <a:gd name="connsiteY6026" fmla="*/ 241459 h 514350"/>
                <a:gd name="connsiteX6027" fmla="*/ 2062639 w 6400800"/>
                <a:gd name="connsiteY6027" fmla="*/ 270034 h 514350"/>
                <a:gd name="connsiteX6028" fmla="*/ 2063591 w 6400800"/>
                <a:gd name="connsiteY6028" fmla="*/ 272891 h 514350"/>
                <a:gd name="connsiteX6029" fmla="*/ 2069306 w 6400800"/>
                <a:gd name="connsiteY6029" fmla="*/ 292894 h 514350"/>
                <a:gd name="connsiteX6030" fmla="*/ 2070259 w 6400800"/>
                <a:gd name="connsiteY6030" fmla="*/ 294799 h 514350"/>
                <a:gd name="connsiteX6031" fmla="*/ 2067401 w 6400800"/>
                <a:gd name="connsiteY6031" fmla="*/ 310039 h 514350"/>
                <a:gd name="connsiteX6032" fmla="*/ 2065496 w 6400800"/>
                <a:gd name="connsiteY6032" fmla="*/ 303371 h 514350"/>
                <a:gd name="connsiteX6033" fmla="*/ 2058829 w 6400800"/>
                <a:gd name="connsiteY6033" fmla="*/ 284321 h 514350"/>
                <a:gd name="connsiteX6034" fmla="*/ 2062639 w 6400800"/>
                <a:gd name="connsiteY6034" fmla="*/ 270034 h 514350"/>
                <a:gd name="connsiteX6035" fmla="*/ 2053114 w 6400800"/>
                <a:gd name="connsiteY6035" fmla="*/ 301466 h 514350"/>
                <a:gd name="connsiteX6036" fmla="*/ 2054066 w 6400800"/>
                <a:gd name="connsiteY6036" fmla="*/ 306229 h 514350"/>
                <a:gd name="connsiteX6037" fmla="*/ 2056924 w 6400800"/>
                <a:gd name="connsiteY6037" fmla="*/ 320516 h 514350"/>
                <a:gd name="connsiteX6038" fmla="*/ 2055971 w 6400800"/>
                <a:gd name="connsiteY6038" fmla="*/ 320516 h 514350"/>
                <a:gd name="connsiteX6039" fmla="*/ 2049304 w 6400800"/>
                <a:gd name="connsiteY6039" fmla="*/ 317659 h 514350"/>
                <a:gd name="connsiteX6040" fmla="*/ 2055971 w 6400800"/>
                <a:gd name="connsiteY6040" fmla="*/ 321469 h 514350"/>
                <a:gd name="connsiteX6041" fmla="*/ 2057876 w 6400800"/>
                <a:gd name="connsiteY6041" fmla="*/ 322421 h 514350"/>
                <a:gd name="connsiteX6042" fmla="*/ 2059781 w 6400800"/>
                <a:gd name="connsiteY6042" fmla="*/ 332899 h 514350"/>
                <a:gd name="connsiteX6043" fmla="*/ 2053114 w 6400800"/>
                <a:gd name="connsiteY6043" fmla="*/ 342424 h 514350"/>
                <a:gd name="connsiteX6044" fmla="*/ 2049304 w 6400800"/>
                <a:gd name="connsiteY6044" fmla="*/ 321469 h 514350"/>
                <a:gd name="connsiteX6045" fmla="*/ 2049304 w 6400800"/>
                <a:gd name="connsiteY6045" fmla="*/ 315754 h 514350"/>
                <a:gd name="connsiteX6046" fmla="*/ 2053114 w 6400800"/>
                <a:gd name="connsiteY6046" fmla="*/ 301466 h 514350"/>
                <a:gd name="connsiteX6047" fmla="*/ 2044541 w 6400800"/>
                <a:gd name="connsiteY6047" fmla="*/ 260509 h 514350"/>
                <a:gd name="connsiteX6048" fmla="*/ 2044541 w 6400800"/>
                <a:gd name="connsiteY6048" fmla="*/ 260509 h 514350"/>
                <a:gd name="connsiteX6049" fmla="*/ 2044541 w 6400800"/>
                <a:gd name="connsiteY6049" fmla="*/ 259556 h 514350"/>
                <a:gd name="connsiteX6050" fmla="*/ 2044541 w 6400800"/>
                <a:gd name="connsiteY6050" fmla="*/ 260509 h 514350"/>
                <a:gd name="connsiteX6051" fmla="*/ 2019776 w 6400800"/>
                <a:gd name="connsiteY6051" fmla="*/ 188119 h 514350"/>
                <a:gd name="connsiteX6052" fmla="*/ 2019776 w 6400800"/>
                <a:gd name="connsiteY6052" fmla="*/ 185261 h 514350"/>
                <a:gd name="connsiteX6053" fmla="*/ 2020729 w 6400800"/>
                <a:gd name="connsiteY6053" fmla="*/ 177641 h 514350"/>
                <a:gd name="connsiteX6054" fmla="*/ 2020729 w 6400800"/>
                <a:gd name="connsiteY6054" fmla="*/ 189071 h 514350"/>
                <a:gd name="connsiteX6055" fmla="*/ 2021681 w 6400800"/>
                <a:gd name="connsiteY6055" fmla="*/ 220504 h 514350"/>
                <a:gd name="connsiteX6056" fmla="*/ 2023586 w 6400800"/>
                <a:gd name="connsiteY6056" fmla="*/ 244316 h 514350"/>
                <a:gd name="connsiteX6057" fmla="*/ 2022634 w 6400800"/>
                <a:gd name="connsiteY6057" fmla="*/ 247174 h 514350"/>
                <a:gd name="connsiteX6058" fmla="*/ 2016919 w 6400800"/>
                <a:gd name="connsiteY6058" fmla="*/ 222409 h 514350"/>
                <a:gd name="connsiteX6059" fmla="*/ 2019776 w 6400800"/>
                <a:gd name="connsiteY6059" fmla="*/ 188119 h 514350"/>
                <a:gd name="connsiteX6060" fmla="*/ 1999774 w 6400800"/>
                <a:gd name="connsiteY6060" fmla="*/ 298609 h 514350"/>
                <a:gd name="connsiteX6061" fmla="*/ 1999774 w 6400800"/>
                <a:gd name="connsiteY6061" fmla="*/ 304324 h 514350"/>
                <a:gd name="connsiteX6062" fmla="*/ 1997869 w 6400800"/>
                <a:gd name="connsiteY6062" fmla="*/ 310039 h 514350"/>
                <a:gd name="connsiteX6063" fmla="*/ 1999774 w 6400800"/>
                <a:gd name="connsiteY6063" fmla="*/ 298609 h 514350"/>
                <a:gd name="connsiteX6064" fmla="*/ 1992154 w 6400800"/>
                <a:gd name="connsiteY6064" fmla="*/ 349091 h 514350"/>
                <a:gd name="connsiteX6065" fmla="*/ 1992154 w 6400800"/>
                <a:gd name="connsiteY6065" fmla="*/ 359569 h 514350"/>
                <a:gd name="connsiteX6066" fmla="*/ 1992154 w 6400800"/>
                <a:gd name="connsiteY6066" fmla="*/ 369094 h 514350"/>
                <a:gd name="connsiteX6067" fmla="*/ 1988344 w 6400800"/>
                <a:gd name="connsiteY6067" fmla="*/ 373856 h 514350"/>
                <a:gd name="connsiteX6068" fmla="*/ 1992154 w 6400800"/>
                <a:gd name="connsiteY6068" fmla="*/ 349091 h 514350"/>
                <a:gd name="connsiteX6069" fmla="*/ 1987391 w 6400800"/>
                <a:gd name="connsiteY6069" fmla="*/ 381476 h 514350"/>
                <a:gd name="connsiteX6070" fmla="*/ 1987391 w 6400800"/>
                <a:gd name="connsiteY6070" fmla="*/ 381476 h 514350"/>
                <a:gd name="connsiteX6071" fmla="*/ 1992154 w 6400800"/>
                <a:gd name="connsiteY6071" fmla="*/ 372904 h 514350"/>
                <a:gd name="connsiteX6072" fmla="*/ 1992154 w 6400800"/>
                <a:gd name="connsiteY6072" fmla="*/ 379571 h 514350"/>
                <a:gd name="connsiteX6073" fmla="*/ 1991201 w 6400800"/>
                <a:gd name="connsiteY6073" fmla="*/ 386239 h 514350"/>
                <a:gd name="connsiteX6074" fmla="*/ 1988344 w 6400800"/>
                <a:gd name="connsiteY6074" fmla="*/ 400526 h 514350"/>
                <a:gd name="connsiteX6075" fmla="*/ 1988344 w 6400800"/>
                <a:gd name="connsiteY6075" fmla="*/ 399574 h 514350"/>
                <a:gd name="connsiteX6076" fmla="*/ 1985486 w 6400800"/>
                <a:gd name="connsiteY6076" fmla="*/ 392906 h 514350"/>
                <a:gd name="connsiteX6077" fmla="*/ 1987391 w 6400800"/>
                <a:gd name="connsiteY6077" fmla="*/ 381476 h 514350"/>
                <a:gd name="connsiteX6078" fmla="*/ 1968341 w 6400800"/>
                <a:gd name="connsiteY6078" fmla="*/ 290989 h 514350"/>
                <a:gd name="connsiteX6079" fmla="*/ 1967389 w 6400800"/>
                <a:gd name="connsiteY6079" fmla="*/ 297656 h 514350"/>
                <a:gd name="connsiteX6080" fmla="*/ 1966436 w 6400800"/>
                <a:gd name="connsiteY6080" fmla="*/ 305276 h 514350"/>
                <a:gd name="connsiteX6081" fmla="*/ 1965484 w 6400800"/>
                <a:gd name="connsiteY6081" fmla="*/ 318611 h 514350"/>
                <a:gd name="connsiteX6082" fmla="*/ 1964531 w 6400800"/>
                <a:gd name="connsiteY6082" fmla="*/ 304324 h 514350"/>
                <a:gd name="connsiteX6083" fmla="*/ 1964531 w 6400800"/>
                <a:gd name="connsiteY6083" fmla="*/ 300514 h 514350"/>
                <a:gd name="connsiteX6084" fmla="*/ 1968341 w 6400800"/>
                <a:gd name="connsiteY6084" fmla="*/ 290989 h 514350"/>
                <a:gd name="connsiteX6085" fmla="*/ 1937861 w 6400800"/>
                <a:gd name="connsiteY6085" fmla="*/ 310039 h 514350"/>
                <a:gd name="connsiteX6086" fmla="*/ 1937861 w 6400800"/>
                <a:gd name="connsiteY6086" fmla="*/ 302419 h 514350"/>
                <a:gd name="connsiteX6087" fmla="*/ 1937861 w 6400800"/>
                <a:gd name="connsiteY6087" fmla="*/ 295751 h 514350"/>
                <a:gd name="connsiteX6088" fmla="*/ 1938814 w 6400800"/>
                <a:gd name="connsiteY6088" fmla="*/ 306229 h 514350"/>
                <a:gd name="connsiteX6089" fmla="*/ 1937861 w 6400800"/>
                <a:gd name="connsiteY6089" fmla="*/ 310039 h 514350"/>
                <a:gd name="connsiteX6090" fmla="*/ 1938814 w 6400800"/>
                <a:gd name="connsiteY6090" fmla="*/ 272891 h 514350"/>
                <a:gd name="connsiteX6091" fmla="*/ 1936909 w 6400800"/>
                <a:gd name="connsiteY6091" fmla="*/ 266224 h 514350"/>
                <a:gd name="connsiteX6092" fmla="*/ 1936909 w 6400800"/>
                <a:gd name="connsiteY6092" fmla="*/ 261461 h 514350"/>
                <a:gd name="connsiteX6093" fmla="*/ 1936909 w 6400800"/>
                <a:gd name="connsiteY6093" fmla="*/ 246221 h 514350"/>
                <a:gd name="connsiteX6094" fmla="*/ 1938814 w 6400800"/>
                <a:gd name="connsiteY6094" fmla="*/ 272891 h 514350"/>
                <a:gd name="connsiteX6095" fmla="*/ 1900714 w 6400800"/>
                <a:gd name="connsiteY6095" fmla="*/ 338614 h 514350"/>
                <a:gd name="connsiteX6096" fmla="*/ 1900714 w 6400800"/>
                <a:gd name="connsiteY6096" fmla="*/ 333851 h 514350"/>
                <a:gd name="connsiteX6097" fmla="*/ 1902619 w 6400800"/>
                <a:gd name="connsiteY6097" fmla="*/ 329089 h 514350"/>
                <a:gd name="connsiteX6098" fmla="*/ 1904524 w 6400800"/>
                <a:gd name="connsiteY6098" fmla="*/ 325279 h 514350"/>
                <a:gd name="connsiteX6099" fmla="*/ 1900714 w 6400800"/>
                <a:gd name="connsiteY6099" fmla="*/ 338614 h 514350"/>
                <a:gd name="connsiteX6100" fmla="*/ 1915954 w 6400800"/>
                <a:gd name="connsiteY6100" fmla="*/ 436721 h 514350"/>
                <a:gd name="connsiteX6101" fmla="*/ 1915954 w 6400800"/>
                <a:gd name="connsiteY6101" fmla="*/ 433864 h 514350"/>
                <a:gd name="connsiteX6102" fmla="*/ 1916906 w 6400800"/>
                <a:gd name="connsiteY6102" fmla="*/ 434816 h 514350"/>
                <a:gd name="connsiteX6103" fmla="*/ 1915954 w 6400800"/>
                <a:gd name="connsiteY6103" fmla="*/ 436721 h 514350"/>
                <a:gd name="connsiteX6104" fmla="*/ 1920716 w 6400800"/>
                <a:gd name="connsiteY6104" fmla="*/ 401479 h 514350"/>
                <a:gd name="connsiteX6105" fmla="*/ 1919764 w 6400800"/>
                <a:gd name="connsiteY6105" fmla="*/ 407194 h 514350"/>
                <a:gd name="connsiteX6106" fmla="*/ 1917859 w 6400800"/>
                <a:gd name="connsiteY6106" fmla="*/ 404336 h 514350"/>
                <a:gd name="connsiteX6107" fmla="*/ 1919764 w 6400800"/>
                <a:gd name="connsiteY6107" fmla="*/ 398621 h 514350"/>
                <a:gd name="connsiteX6108" fmla="*/ 1920716 w 6400800"/>
                <a:gd name="connsiteY6108" fmla="*/ 401479 h 514350"/>
                <a:gd name="connsiteX6109" fmla="*/ 1917859 w 6400800"/>
                <a:gd name="connsiteY6109" fmla="*/ 331946 h 514350"/>
                <a:gd name="connsiteX6110" fmla="*/ 1919764 w 6400800"/>
                <a:gd name="connsiteY6110" fmla="*/ 337661 h 514350"/>
                <a:gd name="connsiteX6111" fmla="*/ 1919764 w 6400800"/>
                <a:gd name="connsiteY6111" fmla="*/ 337661 h 514350"/>
                <a:gd name="connsiteX6112" fmla="*/ 1918811 w 6400800"/>
                <a:gd name="connsiteY6112" fmla="*/ 338614 h 514350"/>
                <a:gd name="connsiteX6113" fmla="*/ 1916906 w 6400800"/>
                <a:gd name="connsiteY6113" fmla="*/ 342424 h 514350"/>
                <a:gd name="connsiteX6114" fmla="*/ 1916906 w 6400800"/>
                <a:gd name="connsiteY6114" fmla="*/ 341471 h 514350"/>
                <a:gd name="connsiteX6115" fmla="*/ 1915954 w 6400800"/>
                <a:gd name="connsiteY6115" fmla="*/ 344329 h 514350"/>
                <a:gd name="connsiteX6116" fmla="*/ 1915001 w 6400800"/>
                <a:gd name="connsiteY6116" fmla="*/ 345281 h 514350"/>
                <a:gd name="connsiteX6117" fmla="*/ 1917859 w 6400800"/>
                <a:gd name="connsiteY6117" fmla="*/ 331946 h 514350"/>
                <a:gd name="connsiteX6118" fmla="*/ 1919764 w 6400800"/>
                <a:gd name="connsiteY6118" fmla="*/ 360521 h 514350"/>
                <a:gd name="connsiteX6119" fmla="*/ 1919764 w 6400800"/>
                <a:gd name="connsiteY6119" fmla="*/ 364331 h 514350"/>
                <a:gd name="connsiteX6120" fmla="*/ 1915001 w 6400800"/>
                <a:gd name="connsiteY6120" fmla="*/ 373856 h 514350"/>
                <a:gd name="connsiteX6121" fmla="*/ 1908334 w 6400800"/>
                <a:gd name="connsiteY6121" fmla="*/ 388144 h 514350"/>
                <a:gd name="connsiteX6122" fmla="*/ 1907381 w 6400800"/>
                <a:gd name="connsiteY6122" fmla="*/ 387191 h 514350"/>
                <a:gd name="connsiteX6123" fmla="*/ 1907381 w 6400800"/>
                <a:gd name="connsiteY6123" fmla="*/ 385286 h 514350"/>
                <a:gd name="connsiteX6124" fmla="*/ 1910239 w 6400800"/>
                <a:gd name="connsiteY6124" fmla="*/ 380524 h 514350"/>
                <a:gd name="connsiteX6125" fmla="*/ 1919764 w 6400800"/>
                <a:gd name="connsiteY6125" fmla="*/ 360521 h 514350"/>
                <a:gd name="connsiteX6126" fmla="*/ 1910239 w 6400800"/>
                <a:gd name="connsiteY6126" fmla="*/ 299561 h 514350"/>
                <a:gd name="connsiteX6127" fmla="*/ 1908334 w 6400800"/>
                <a:gd name="connsiteY6127" fmla="*/ 305276 h 514350"/>
                <a:gd name="connsiteX6128" fmla="*/ 1908334 w 6400800"/>
                <a:gd name="connsiteY6128" fmla="*/ 305276 h 514350"/>
                <a:gd name="connsiteX6129" fmla="*/ 1910239 w 6400800"/>
                <a:gd name="connsiteY6129" fmla="*/ 299561 h 514350"/>
                <a:gd name="connsiteX6130" fmla="*/ 1906429 w 6400800"/>
                <a:gd name="connsiteY6130" fmla="*/ 313849 h 514350"/>
                <a:gd name="connsiteX6131" fmla="*/ 1908334 w 6400800"/>
                <a:gd name="connsiteY6131" fmla="*/ 309086 h 514350"/>
                <a:gd name="connsiteX6132" fmla="*/ 1908334 w 6400800"/>
                <a:gd name="connsiteY6132" fmla="*/ 310039 h 514350"/>
                <a:gd name="connsiteX6133" fmla="*/ 1906429 w 6400800"/>
                <a:gd name="connsiteY6133" fmla="*/ 315754 h 514350"/>
                <a:gd name="connsiteX6134" fmla="*/ 1905476 w 6400800"/>
                <a:gd name="connsiteY6134" fmla="*/ 316706 h 514350"/>
                <a:gd name="connsiteX6135" fmla="*/ 1906429 w 6400800"/>
                <a:gd name="connsiteY6135" fmla="*/ 313849 h 514350"/>
                <a:gd name="connsiteX6136" fmla="*/ 1893094 w 6400800"/>
                <a:gd name="connsiteY6136" fmla="*/ 259556 h 514350"/>
                <a:gd name="connsiteX6137" fmla="*/ 1894046 w 6400800"/>
                <a:gd name="connsiteY6137" fmla="*/ 256699 h 514350"/>
                <a:gd name="connsiteX6138" fmla="*/ 1894999 w 6400800"/>
                <a:gd name="connsiteY6138" fmla="*/ 256699 h 514350"/>
                <a:gd name="connsiteX6139" fmla="*/ 1899761 w 6400800"/>
                <a:gd name="connsiteY6139" fmla="*/ 260509 h 514350"/>
                <a:gd name="connsiteX6140" fmla="*/ 1904524 w 6400800"/>
                <a:gd name="connsiteY6140" fmla="*/ 275749 h 514350"/>
                <a:gd name="connsiteX6141" fmla="*/ 1895951 w 6400800"/>
                <a:gd name="connsiteY6141" fmla="*/ 297656 h 514350"/>
                <a:gd name="connsiteX6142" fmla="*/ 1894046 w 6400800"/>
                <a:gd name="connsiteY6142" fmla="*/ 281464 h 514350"/>
                <a:gd name="connsiteX6143" fmla="*/ 1892141 w 6400800"/>
                <a:gd name="connsiteY6143" fmla="*/ 270034 h 514350"/>
                <a:gd name="connsiteX6144" fmla="*/ 1893094 w 6400800"/>
                <a:gd name="connsiteY6144" fmla="*/ 272891 h 514350"/>
                <a:gd name="connsiteX6145" fmla="*/ 1893094 w 6400800"/>
                <a:gd name="connsiteY6145" fmla="*/ 259556 h 514350"/>
                <a:gd name="connsiteX6146" fmla="*/ 1841659 w 6400800"/>
                <a:gd name="connsiteY6146" fmla="*/ 297656 h 514350"/>
                <a:gd name="connsiteX6147" fmla="*/ 1840706 w 6400800"/>
                <a:gd name="connsiteY6147" fmla="*/ 313849 h 514350"/>
                <a:gd name="connsiteX6148" fmla="*/ 1838801 w 6400800"/>
                <a:gd name="connsiteY6148" fmla="*/ 294799 h 514350"/>
                <a:gd name="connsiteX6149" fmla="*/ 1838801 w 6400800"/>
                <a:gd name="connsiteY6149" fmla="*/ 290989 h 514350"/>
                <a:gd name="connsiteX6150" fmla="*/ 1841659 w 6400800"/>
                <a:gd name="connsiteY6150" fmla="*/ 297656 h 514350"/>
                <a:gd name="connsiteX6151" fmla="*/ 1822609 w 6400800"/>
                <a:gd name="connsiteY6151" fmla="*/ 363379 h 514350"/>
                <a:gd name="connsiteX6152" fmla="*/ 1826419 w 6400800"/>
                <a:gd name="connsiteY6152" fmla="*/ 353854 h 514350"/>
                <a:gd name="connsiteX6153" fmla="*/ 1827371 w 6400800"/>
                <a:gd name="connsiteY6153" fmla="*/ 364331 h 514350"/>
                <a:gd name="connsiteX6154" fmla="*/ 1823561 w 6400800"/>
                <a:gd name="connsiteY6154" fmla="*/ 368141 h 514350"/>
                <a:gd name="connsiteX6155" fmla="*/ 1822609 w 6400800"/>
                <a:gd name="connsiteY6155" fmla="*/ 363379 h 514350"/>
                <a:gd name="connsiteX6156" fmla="*/ 1828324 w 6400800"/>
                <a:gd name="connsiteY6156" fmla="*/ 403384 h 514350"/>
                <a:gd name="connsiteX6157" fmla="*/ 1827371 w 6400800"/>
                <a:gd name="connsiteY6157" fmla="*/ 400526 h 514350"/>
                <a:gd name="connsiteX6158" fmla="*/ 1825466 w 6400800"/>
                <a:gd name="connsiteY6158" fmla="*/ 381476 h 514350"/>
                <a:gd name="connsiteX6159" fmla="*/ 1828324 w 6400800"/>
                <a:gd name="connsiteY6159" fmla="*/ 377666 h 514350"/>
                <a:gd name="connsiteX6160" fmla="*/ 1829276 w 6400800"/>
                <a:gd name="connsiteY6160" fmla="*/ 399574 h 514350"/>
                <a:gd name="connsiteX6161" fmla="*/ 1828324 w 6400800"/>
                <a:gd name="connsiteY6161" fmla="*/ 403384 h 514350"/>
                <a:gd name="connsiteX6162" fmla="*/ 1833086 w 6400800"/>
                <a:gd name="connsiteY6162" fmla="*/ 339566 h 514350"/>
                <a:gd name="connsiteX6163" fmla="*/ 1833086 w 6400800"/>
                <a:gd name="connsiteY6163" fmla="*/ 339566 h 514350"/>
                <a:gd name="connsiteX6164" fmla="*/ 1833086 w 6400800"/>
                <a:gd name="connsiteY6164" fmla="*/ 340519 h 514350"/>
                <a:gd name="connsiteX6165" fmla="*/ 1833086 w 6400800"/>
                <a:gd name="connsiteY6165" fmla="*/ 339566 h 514350"/>
                <a:gd name="connsiteX6166" fmla="*/ 1824514 w 6400800"/>
                <a:gd name="connsiteY6166" fmla="*/ 272891 h 514350"/>
                <a:gd name="connsiteX6167" fmla="*/ 1824514 w 6400800"/>
                <a:gd name="connsiteY6167" fmla="*/ 263366 h 514350"/>
                <a:gd name="connsiteX6168" fmla="*/ 1835944 w 6400800"/>
                <a:gd name="connsiteY6168" fmla="*/ 285274 h 514350"/>
                <a:gd name="connsiteX6169" fmla="*/ 1834991 w 6400800"/>
                <a:gd name="connsiteY6169" fmla="*/ 294799 h 514350"/>
                <a:gd name="connsiteX6170" fmla="*/ 1834039 w 6400800"/>
                <a:gd name="connsiteY6170" fmla="*/ 320516 h 514350"/>
                <a:gd name="connsiteX6171" fmla="*/ 1834039 w 6400800"/>
                <a:gd name="connsiteY6171" fmla="*/ 330994 h 514350"/>
                <a:gd name="connsiteX6172" fmla="*/ 1833086 w 6400800"/>
                <a:gd name="connsiteY6172" fmla="*/ 331946 h 514350"/>
                <a:gd name="connsiteX6173" fmla="*/ 1832134 w 6400800"/>
                <a:gd name="connsiteY6173" fmla="*/ 332899 h 514350"/>
                <a:gd name="connsiteX6174" fmla="*/ 1827371 w 6400800"/>
                <a:gd name="connsiteY6174" fmla="*/ 316706 h 514350"/>
                <a:gd name="connsiteX6175" fmla="*/ 1822609 w 6400800"/>
                <a:gd name="connsiteY6175" fmla="*/ 303371 h 514350"/>
                <a:gd name="connsiteX6176" fmla="*/ 1824514 w 6400800"/>
                <a:gd name="connsiteY6176" fmla="*/ 272891 h 514350"/>
                <a:gd name="connsiteX6177" fmla="*/ 1822609 w 6400800"/>
                <a:gd name="connsiteY6177" fmla="*/ 309086 h 514350"/>
                <a:gd name="connsiteX6178" fmla="*/ 1823561 w 6400800"/>
                <a:gd name="connsiteY6178" fmla="*/ 317659 h 514350"/>
                <a:gd name="connsiteX6179" fmla="*/ 1825466 w 6400800"/>
                <a:gd name="connsiteY6179" fmla="*/ 338614 h 514350"/>
                <a:gd name="connsiteX6180" fmla="*/ 1825466 w 6400800"/>
                <a:gd name="connsiteY6180" fmla="*/ 340519 h 514350"/>
                <a:gd name="connsiteX6181" fmla="*/ 1820704 w 6400800"/>
                <a:gd name="connsiteY6181" fmla="*/ 348139 h 514350"/>
                <a:gd name="connsiteX6182" fmla="*/ 1820704 w 6400800"/>
                <a:gd name="connsiteY6182" fmla="*/ 332899 h 514350"/>
                <a:gd name="connsiteX6183" fmla="*/ 1820704 w 6400800"/>
                <a:gd name="connsiteY6183" fmla="*/ 331946 h 514350"/>
                <a:gd name="connsiteX6184" fmla="*/ 1822609 w 6400800"/>
                <a:gd name="connsiteY6184" fmla="*/ 309086 h 514350"/>
                <a:gd name="connsiteX6185" fmla="*/ 1763554 w 6400800"/>
                <a:gd name="connsiteY6185" fmla="*/ 411956 h 514350"/>
                <a:gd name="connsiteX6186" fmla="*/ 1762601 w 6400800"/>
                <a:gd name="connsiteY6186" fmla="*/ 406241 h 514350"/>
                <a:gd name="connsiteX6187" fmla="*/ 1761649 w 6400800"/>
                <a:gd name="connsiteY6187" fmla="*/ 397669 h 514350"/>
                <a:gd name="connsiteX6188" fmla="*/ 1761649 w 6400800"/>
                <a:gd name="connsiteY6188" fmla="*/ 397669 h 514350"/>
                <a:gd name="connsiteX6189" fmla="*/ 1764506 w 6400800"/>
                <a:gd name="connsiteY6189" fmla="*/ 400526 h 514350"/>
                <a:gd name="connsiteX6190" fmla="*/ 1763554 w 6400800"/>
                <a:gd name="connsiteY6190" fmla="*/ 411956 h 514350"/>
                <a:gd name="connsiteX6191" fmla="*/ 1766411 w 6400800"/>
                <a:gd name="connsiteY6191" fmla="*/ 379571 h 514350"/>
                <a:gd name="connsiteX6192" fmla="*/ 1766411 w 6400800"/>
                <a:gd name="connsiteY6192" fmla="*/ 379571 h 514350"/>
                <a:gd name="connsiteX6193" fmla="*/ 1766411 w 6400800"/>
                <a:gd name="connsiteY6193" fmla="*/ 377666 h 514350"/>
                <a:gd name="connsiteX6194" fmla="*/ 1766411 w 6400800"/>
                <a:gd name="connsiteY6194" fmla="*/ 379571 h 514350"/>
                <a:gd name="connsiteX6195" fmla="*/ 1792129 w 6400800"/>
                <a:gd name="connsiteY6195" fmla="*/ 251936 h 514350"/>
                <a:gd name="connsiteX6196" fmla="*/ 1802606 w 6400800"/>
                <a:gd name="connsiteY6196" fmla="*/ 219551 h 514350"/>
                <a:gd name="connsiteX6197" fmla="*/ 1802606 w 6400800"/>
                <a:gd name="connsiteY6197" fmla="*/ 219551 h 514350"/>
                <a:gd name="connsiteX6198" fmla="*/ 1801654 w 6400800"/>
                <a:gd name="connsiteY6198" fmla="*/ 274796 h 514350"/>
                <a:gd name="connsiteX6199" fmla="*/ 1800701 w 6400800"/>
                <a:gd name="connsiteY6199" fmla="*/ 327184 h 514350"/>
                <a:gd name="connsiteX6200" fmla="*/ 1794034 w 6400800"/>
                <a:gd name="connsiteY6200" fmla="*/ 310991 h 514350"/>
                <a:gd name="connsiteX6201" fmla="*/ 1788319 w 6400800"/>
                <a:gd name="connsiteY6201" fmla="*/ 294799 h 514350"/>
                <a:gd name="connsiteX6202" fmla="*/ 1787366 w 6400800"/>
                <a:gd name="connsiteY6202" fmla="*/ 292894 h 514350"/>
                <a:gd name="connsiteX6203" fmla="*/ 1786414 w 6400800"/>
                <a:gd name="connsiteY6203" fmla="*/ 287179 h 514350"/>
                <a:gd name="connsiteX6204" fmla="*/ 1788319 w 6400800"/>
                <a:gd name="connsiteY6204" fmla="*/ 279559 h 514350"/>
                <a:gd name="connsiteX6205" fmla="*/ 1787366 w 6400800"/>
                <a:gd name="connsiteY6205" fmla="*/ 275749 h 514350"/>
                <a:gd name="connsiteX6206" fmla="*/ 1785461 w 6400800"/>
                <a:gd name="connsiteY6206" fmla="*/ 274796 h 514350"/>
                <a:gd name="connsiteX6207" fmla="*/ 1785461 w 6400800"/>
                <a:gd name="connsiteY6207" fmla="*/ 274796 h 514350"/>
                <a:gd name="connsiteX6208" fmla="*/ 1792129 w 6400800"/>
                <a:gd name="connsiteY6208" fmla="*/ 251936 h 514350"/>
                <a:gd name="connsiteX6209" fmla="*/ 1785461 w 6400800"/>
                <a:gd name="connsiteY6209" fmla="*/ 276701 h 514350"/>
                <a:gd name="connsiteX6210" fmla="*/ 1786414 w 6400800"/>
                <a:gd name="connsiteY6210" fmla="*/ 278606 h 514350"/>
                <a:gd name="connsiteX6211" fmla="*/ 1786414 w 6400800"/>
                <a:gd name="connsiteY6211" fmla="*/ 282416 h 514350"/>
                <a:gd name="connsiteX6212" fmla="*/ 1785461 w 6400800"/>
                <a:gd name="connsiteY6212" fmla="*/ 276701 h 514350"/>
                <a:gd name="connsiteX6213" fmla="*/ 1785461 w 6400800"/>
                <a:gd name="connsiteY6213" fmla="*/ 276701 h 514350"/>
                <a:gd name="connsiteX6214" fmla="*/ 1776889 w 6400800"/>
                <a:gd name="connsiteY6214" fmla="*/ 330994 h 514350"/>
                <a:gd name="connsiteX6215" fmla="*/ 1785461 w 6400800"/>
                <a:gd name="connsiteY6215" fmla="*/ 376714 h 514350"/>
                <a:gd name="connsiteX6216" fmla="*/ 1786414 w 6400800"/>
                <a:gd name="connsiteY6216" fmla="*/ 385286 h 514350"/>
                <a:gd name="connsiteX6217" fmla="*/ 1784509 w 6400800"/>
                <a:gd name="connsiteY6217" fmla="*/ 382429 h 514350"/>
                <a:gd name="connsiteX6218" fmla="*/ 1785461 w 6400800"/>
                <a:gd name="connsiteY6218" fmla="*/ 374809 h 514350"/>
                <a:gd name="connsiteX6219" fmla="*/ 1783556 w 6400800"/>
                <a:gd name="connsiteY6219" fmla="*/ 380524 h 514350"/>
                <a:gd name="connsiteX6220" fmla="*/ 1776889 w 6400800"/>
                <a:gd name="connsiteY6220" fmla="*/ 370999 h 514350"/>
                <a:gd name="connsiteX6221" fmla="*/ 1776889 w 6400800"/>
                <a:gd name="connsiteY6221" fmla="*/ 337661 h 514350"/>
                <a:gd name="connsiteX6222" fmla="*/ 1776889 w 6400800"/>
                <a:gd name="connsiteY6222" fmla="*/ 330994 h 514350"/>
                <a:gd name="connsiteX6223" fmla="*/ 1755934 w 6400800"/>
                <a:gd name="connsiteY6223" fmla="*/ 211931 h 514350"/>
                <a:gd name="connsiteX6224" fmla="*/ 1761649 w 6400800"/>
                <a:gd name="connsiteY6224" fmla="*/ 233839 h 514350"/>
                <a:gd name="connsiteX6225" fmla="*/ 1762601 w 6400800"/>
                <a:gd name="connsiteY6225" fmla="*/ 238601 h 514350"/>
                <a:gd name="connsiteX6226" fmla="*/ 1760696 w 6400800"/>
                <a:gd name="connsiteY6226" fmla="*/ 234791 h 514350"/>
                <a:gd name="connsiteX6227" fmla="*/ 1759744 w 6400800"/>
                <a:gd name="connsiteY6227" fmla="*/ 230981 h 514350"/>
                <a:gd name="connsiteX6228" fmla="*/ 1759744 w 6400800"/>
                <a:gd name="connsiteY6228" fmla="*/ 232886 h 514350"/>
                <a:gd name="connsiteX6229" fmla="*/ 1756886 w 6400800"/>
                <a:gd name="connsiteY6229" fmla="*/ 227171 h 514350"/>
                <a:gd name="connsiteX6230" fmla="*/ 1754981 w 6400800"/>
                <a:gd name="connsiteY6230" fmla="*/ 223361 h 514350"/>
                <a:gd name="connsiteX6231" fmla="*/ 1755934 w 6400800"/>
                <a:gd name="connsiteY6231" fmla="*/ 211931 h 514350"/>
                <a:gd name="connsiteX6232" fmla="*/ 1754981 w 6400800"/>
                <a:gd name="connsiteY6232" fmla="*/ 232886 h 514350"/>
                <a:gd name="connsiteX6233" fmla="*/ 1755934 w 6400800"/>
                <a:gd name="connsiteY6233" fmla="*/ 235744 h 514350"/>
                <a:gd name="connsiteX6234" fmla="*/ 1754981 w 6400800"/>
                <a:gd name="connsiteY6234" fmla="*/ 240506 h 514350"/>
                <a:gd name="connsiteX6235" fmla="*/ 1754981 w 6400800"/>
                <a:gd name="connsiteY6235" fmla="*/ 232886 h 514350"/>
                <a:gd name="connsiteX6236" fmla="*/ 1754029 w 6400800"/>
                <a:gd name="connsiteY6236" fmla="*/ 281464 h 514350"/>
                <a:gd name="connsiteX6237" fmla="*/ 1754981 w 6400800"/>
                <a:gd name="connsiteY6237" fmla="*/ 252889 h 514350"/>
                <a:gd name="connsiteX6238" fmla="*/ 1756886 w 6400800"/>
                <a:gd name="connsiteY6238" fmla="*/ 236696 h 514350"/>
                <a:gd name="connsiteX6239" fmla="*/ 1763554 w 6400800"/>
                <a:gd name="connsiteY6239" fmla="*/ 256699 h 514350"/>
                <a:gd name="connsiteX6240" fmla="*/ 1768316 w 6400800"/>
                <a:gd name="connsiteY6240" fmla="*/ 286226 h 514350"/>
                <a:gd name="connsiteX6241" fmla="*/ 1754981 w 6400800"/>
                <a:gd name="connsiteY6241" fmla="*/ 322421 h 514350"/>
                <a:gd name="connsiteX6242" fmla="*/ 1754029 w 6400800"/>
                <a:gd name="connsiteY6242" fmla="*/ 317659 h 514350"/>
                <a:gd name="connsiteX6243" fmla="*/ 1754029 w 6400800"/>
                <a:gd name="connsiteY6243" fmla="*/ 316706 h 514350"/>
                <a:gd name="connsiteX6244" fmla="*/ 1754029 w 6400800"/>
                <a:gd name="connsiteY6244" fmla="*/ 281464 h 514350"/>
                <a:gd name="connsiteX6245" fmla="*/ 1687354 w 6400800"/>
                <a:gd name="connsiteY6245" fmla="*/ 295751 h 514350"/>
                <a:gd name="connsiteX6246" fmla="*/ 1685449 w 6400800"/>
                <a:gd name="connsiteY6246" fmla="*/ 314801 h 514350"/>
                <a:gd name="connsiteX6247" fmla="*/ 1684496 w 6400800"/>
                <a:gd name="connsiteY6247" fmla="*/ 325279 h 514350"/>
                <a:gd name="connsiteX6248" fmla="*/ 1681639 w 6400800"/>
                <a:gd name="connsiteY6248" fmla="*/ 311944 h 514350"/>
                <a:gd name="connsiteX6249" fmla="*/ 1681639 w 6400800"/>
                <a:gd name="connsiteY6249" fmla="*/ 309086 h 514350"/>
                <a:gd name="connsiteX6250" fmla="*/ 1681639 w 6400800"/>
                <a:gd name="connsiteY6250" fmla="*/ 310039 h 514350"/>
                <a:gd name="connsiteX6251" fmla="*/ 1680686 w 6400800"/>
                <a:gd name="connsiteY6251" fmla="*/ 306229 h 514350"/>
                <a:gd name="connsiteX6252" fmla="*/ 1681639 w 6400800"/>
                <a:gd name="connsiteY6252" fmla="*/ 303371 h 514350"/>
                <a:gd name="connsiteX6253" fmla="*/ 1684496 w 6400800"/>
                <a:gd name="connsiteY6253" fmla="*/ 295751 h 514350"/>
                <a:gd name="connsiteX6254" fmla="*/ 1689259 w 6400800"/>
                <a:gd name="connsiteY6254" fmla="*/ 282416 h 514350"/>
                <a:gd name="connsiteX6255" fmla="*/ 1687354 w 6400800"/>
                <a:gd name="connsiteY6255" fmla="*/ 295751 h 514350"/>
                <a:gd name="connsiteX6256" fmla="*/ 1678781 w 6400800"/>
                <a:gd name="connsiteY6256" fmla="*/ 276701 h 514350"/>
                <a:gd name="connsiteX6257" fmla="*/ 1684496 w 6400800"/>
                <a:gd name="connsiteY6257" fmla="*/ 245269 h 514350"/>
                <a:gd name="connsiteX6258" fmla="*/ 1686401 w 6400800"/>
                <a:gd name="connsiteY6258" fmla="*/ 259556 h 514350"/>
                <a:gd name="connsiteX6259" fmla="*/ 1686401 w 6400800"/>
                <a:gd name="connsiteY6259" fmla="*/ 268129 h 514350"/>
                <a:gd name="connsiteX6260" fmla="*/ 1686401 w 6400800"/>
                <a:gd name="connsiteY6260" fmla="*/ 270986 h 514350"/>
                <a:gd name="connsiteX6261" fmla="*/ 1675924 w 6400800"/>
                <a:gd name="connsiteY6261" fmla="*/ 292894 h 514350"/>
                <a:gd name="connsiteX6262" fmla="*/ 1675924 w 6400800"/>
                <a:gd name="connsiteY6262" fmla="*/ 291941 h 514350"/>
                <a:gd name="connsiteX6263" fmla="*/ 1678781 w 6400800"/>
                <a:gd name="connsiteY6263" fmla="*/ 278606 h 514350"/>
                <a:gd name="connsiteX6264" fmla="*/ 1679734 w 6400800"/>
                <a:gd name="connsiteY6264" fmla="*/ 275749 h 514350"/>
                <a:gd name="connsiteX6265" fmla="*/ 1678781 w 6400800"/>
                <a:gd name="connsiteY6265" fmla="*/ 276701 h 514350"/>
                <a:gd name="connsiteX6266" fmla="*/ 1677829 w 6400800"/>
                <a:gd name="connsiteY6266" fmla="*/ 199549 h 514350"/>
                <a:gd name="connsiteX6267" fmla="*/ 1678781 w 6400800"/>
                <a:gd name="connsiteY6267" fmla="*/ 204311 h 514350"/>
                <a:gd name="connsiteX6268" fmla="*/ 1676876 w 6400800"/>
                <a:gd name="connsiteY6268" fmla="*/ 213836 h 514350"/>
                <a:gd name="connsiteX6269" fmla="*/ 1677829 w 6400800"/>
                <a:gd name="connsiteY6269" fmla="*/ 199549 h 514350"/>
                <a:gd name="connsiteX6270" fmla="*/ 1640681 w 6400800"/>
                <a:gd name="connsiteY6270" fmla="*/ 226219 h 514350"/>
                <a:gd name="connsiteX6271" fmla="*/ 1649254 w 6400800"/>
                <a:gd name="connsiteY6271" fmla="*/ 254794 h 514350"/>
                <a:gd name="connsiteX6272" fmla="*/ 1654016 w 6400800"/>
                <a:gd name="connsiteY6272" fmla="*/ 274796 h 514350"/>
                <a:gd name="connsiteX6273" fmla="*/ 1653064 w 6400800"/>
                <a:gd name="connsiteY6273" fmla="*/ 281464 h 514350"/>
                <a:gd name="connsiteX6274" fmla="*/ 1652111 w 6400800"/>
                <a:gd name="connsiteY6274" fmla="*/ 279559 h 514350"/>
                <a:gd name="connsiteX6275" fmla="*/ 1652111 w 6400800"/>
                <a:gd name="connsiteY6275" fmla="*/ 282416 h 514350"/>
                <a:gd name="connsiteX6276" fmla="*/ 1649254 w 6400800"/>
                <a:gd name="connsiteY6276" fmla="*/ 300514 h 514350"/>
                <a:gd name="connsiteX6277" fmla="*/ 1641634 w 6400800"/>
                <a:gd name="connsiteY6277" fmla="*/ 281464 h 514350"/>
                <a:gd name="connsiteX6278" fmla="*/ 1643539 w 6400800"/>
                <a:gd name="connsiteY6278" fmla="*/ 279559 h 514350"/>
                <a:gd name="connsiteX6279" fmla="*/ 1647349 w 6400800"/>
                <a:gd name="connsiteY6279" fmla="*/ 277654 h 514350"/>
                <a:gd name="connsiteX6280" fmla="*/ 1654016 w 6400800"/>
                <a:gd name="connsiteY6280" fmla="*/ 273844 h 514350"/>
                <a:gd name="connsiteX6281" fmla="*/ 1647349 w 6400800"/>
                <a:gd name="connsiteY6281" fmla="*/ 276701 h 514350"/>
                <a:gd name="connsiteX6282" fmla="*/ 1643539 w 6400800"/>
                <a:gd name="connsiteY6282" fmla="*/ 278606 h 514350"/>
                <a:gd name="connsiteX6283" fmla="*/ 1642586 w 6400800"/>
                <a:gd name="connsiteY6283" fmla="*/ 279559 h 514350"/>
                <a:gd name="connsiteX6284" fmla="*/ 1642586 w 6400800"/>
                <a:gd name="connsiteY6284" fmla="*/ 255746 h 514350"/>
                <a:gd name="connsiteX6285" fmla="*/ 1640681 w 6400800"/>
                <a:gd name="connsiteY6285" fmla="*/ 226219 h 514350"/>
                <a:gd name="connsiteX6286" fmla="*/ 1640681 w 6400800"/>
                <a:gd name="connsiteY6286" fmla="*/ 226219 h 514350"/>
                <a:gd name="connsiteX6287" fmla="*/ 1620679 w 6400800"/>
                <a:gd name="connsiteY6287" fmla="*/ 348139 h 514350"/>
                <a:gd name="connsiteX6288" fmla="*/ 1620679 w 6400800"/>
                <a:gd name="connsiteY6288" fmla="*/ 351949 h 514350"/>
                <a:gd name="connsiteX6289" fmla="*/ 1620679 w 6400800"/>
                <a:gd name="connsiteY6289" fmla="*/ 353854 h 514350"/>
                <a:gd name="connsiteX6290" fmla="*/ 1618774 w 6400800"/>
                <a:gd name="connsiteY6290" fmla="*/ 356711 h 514350"/>
                <a:gd name="connsiteX6291" fmla="*/ 1620679 w 6400800"/>
                <a:gd name="connsiteY6291" fmla="*/ 348139 h 514350"/>
                <a:gd name="connsiteX6292" fmla="*/ 1618774 w 6400800"/>
                <a:gd name="connsiteY6292" fmla="*/ 311944 h 514350"/>
                <a:gd name="connsiteX6293" fmla="*/ 1616869 w 6400800"/>
                <a:gd name="connsiteY6293" fmla="*/ 315754 h 514350"/>
                <a:gd name="connsiteX6294" fmla="*/ 1605439 w 6400800"/>
                <a:gd name="connsiteY6294" fmla="*/ 343376 h 514350"/>
                <a:gd name="connsiteX6295" fmla="*/ 1602581 w 6400800"/>
                <a:gd name="connsiteY6295" fmla="*/ 350996 h 514350"/>
                <a:gd name="connsiteX6296" fmla="*/ 1602581 w 6400800"/>
                <a:gd name="connsiteY6296" fmla="*/ 342424 h 514350"/>
                <a:gd name="connsiteX6297" fmla="*/ 1613059 w 6400800"/>
                <a:gd name="connsiteY6297" fmla="*/ 321469 h 514350"/>
                <a:gd name="connsiteX6298" fmla="*/ 1619726 w 6400800"/>
                <a:gd name="connsiteY6298" fmla="*/ 310039 h 514350"/>
                <a:gd name="connsiteX6299" fmla="*/ 1618774 w 6400800"/>
                <a:gd name="connsiteY6299" fmla="*/ 311944 h 514350"/>
                <a:gd name="connsiteX6300" fmla="*/ 1610201 w 6400800"/>
                <a:gd name="connsiteY6300" fmla="*/ 269081 h 514350"/>
                <a:gd name="connsiteX6301" fmla="*/ 1614011 w 6400800"/>
                <a:gd name="connsiteY6301" fmla="*/ 258604 h 514350"/>
                <a:gd name="connsiteX6302" fmla="*/ 1616869 w 6400800"/>
                <a:gd name="connsiteY6302" fmla="*/ 252889 h 514350"/>
                <a:gd name="connsiteX6303" fmla="*/ 1617821 w 6400800"/>
                <a:gd name="connsiteY6303" fmla="*/ 292894 h 514350"/>
                <a:gd name="connsiteX6304" fmla="*/ 1617821 w 6400800"/>
                <a:gd name="connsiteY6304" fmla="*/ 293846 h 514350"/>
                <a:gd name="connsiteX6305" fmla="*/ 1614011 w 6400800"/>
                <a:gd name="connsiteY6305" fmla="*/ 289084 h 514350"/>
                <a:gd name="connsiteX6306" fmla="*/ 1606391 w 6400800"/>
                <a:gd name="connsiteY6306" fmla="*/ 277654 h 514350"/>
                <a:gd name="connsiteX6307" fmla="*/ 1610201 w 6400800"/>
                <a:gd name="connsiteY6307" fmla="*/ 269081 h 514350"/>
                <a:gd name="connsiteX6308" fmla="*/ 1600676 w 6400800"/>
                <a:gd name="connsiteY6308" fmla="*/ 297656 h 514350"/>
                <a:gd name="connsiteX6309" fmla="*/ 1606391 w 6400800"/>
                <a:gd name="connsiteY6309" fmla="*/ 279559 h 514350"/>
                <a:gd name="connsiteX6310" fmla="*/ 1611154 w 6400800"/>
                <a:gd name="connsiteY6310" fmla="*/ 290989 h 514350"/>
                <a:gd name="connsiteX6311" fmla="*/ 1616869 w 6400800"/>
                <a:gd name="connsiteY6311" fmla="*/ 303371 h 514350"/>
                <a:gd name="connsiteX6312" fmla="*/ 1606391 w 6400800"/>
                <a:gd name="connsiteY6312" fmla="*/ 317659 h 514350"/>
                <a:gd name="connsiteX6313" fmla="*/ 1601629 w 6400800"/>
                <a:gd name="connsiteY6313" fmla="*/ 325279 h 514350"/>
                <a:gd name="connsiteX6314" fmla="*/ 1600676 w 6400800"/>
                <a:gd name="connsiteY6314" fmla="*/ 319564 h 514350"/>
                <a:gd name="connsiteX6315" fmla="*/ 1599724 w 6400800"/>
                <a:gd name="connsiteY6315" fmla="*/ 305276 h 514350"/>
                <a:gd name="connsiteX6316" fmla="*/ 1600676 w 6400800"/>
                <a:gd name="connsiteY6316" fmla="*/ 297656 h 514350"/>
                <a:gd name="connsiteX6317" fmla="*/ 1567339 w 6400800"/>
                <a:gd name="connsiteY6317" fmla="*/ 315754 h 514350"/>
                <a:gd name="connsiteX6318" fmla="*/ 1568291 w 6400800"/>
                <a:gd name="connsiteY6318" fmla="*/ 330041 h 514350"/>
                <a:gd name="connsiteX6319" fmla="*/ 1566386 w 6400800"/>
                <a:gd name="connsiteY6319" fmla="*/ 320516 h 514350"/>
                <a:gd name="connsiteX6320" fmla="*/ 1567339 w 6400800"/>
                <a:gd name="connsiteY6320" fmla="*/ 315754 h 514350"/>
                <a:gd name="connsiteX6321" fmla="*/ 1547336 w 6400800"/>
                <a:gd name="connsiteY6321" fmla="*/ 265271 h 514350"/>
                <a:gd name="connsiteX6322" fmla="*/ 1546384 w 6400800"/>
                <a:gd name="connsiteY6322" fmla="*/ 275749 h 514350"/>
                <a:gd name="connsiteX6323" fmla="*/ 1545431 w 6400800"/>
                <a:gd name="connsiteY6323" fmla="*/ 272891 h 514350"/>
                <a:gd name="connsiteX6324" fmla="*/ 1547336 w 6400800"/>
                <a:gd name="connsiteY6324" fmla="*/ 265271 h 514350"/>
                <a:gd name="connsiteX6325" fmla="*/ 1541621 w 6400800"/>
                <a:gd name="connsiteY6325" fmla="*/ 286226 h 514350"/>
                <a:gd name="connsiteX6326" fmla="*/ 1543526 w 6400800"/>
                <a:gd name="connsiteY6326" fmla="*/ 293846 h 514350"/>
                <a:gd name="connsiteX6327" fmla="*/ 1542574 w 6400800"/>
                <a:gd name="connsiteY6327" fmla="*/ 301466 h 514350"/>
                <a:gd name="connsiteX6328" fmla="*/ 1539716 w 6400800"/>
                <a:gd name="connsiteY6328" fmla="*/ 291941 h 514350"/>
                <a:gd name="connsiteX6329" fmla="*/ 1541621 w 6400800"/>
                <a:gd name="connsiteY6329" fmla="*/ 286226 h 514350"/>
                <a:gd name="connsiteX6330" fmla="*/ 1537811 w 6400800"/>
                <a:gd name="connsiteY6330" fmla="*/ 271939 h 514350"/>
                <a:gd name="connsiteX6331" fmla="*/ 1538764 w 6400800"/>
                <a:gd name="connsiteY6331" fmla="*/ 276701 h 514350"/>
                <a:gd name="connsiteX6332" fmla="*/ 1536859 w 6400800"/>
                <a:gd name="connsiteY6332" fmla="*/ 280511 h 514350"/>
                <a:gd name="connsiteX6333" fmla="*/ 1537811 w 6400800"/>
                <a:gd name="connsiteY6333" fmla="*/ 271939 h 514350"/>
                <a:gd name="connsiteX6334" fmla="*/ 1533049 w 6400800"/>
                <a:gd name="connsiteY6334" fmla="*/ 338614 h 514350"/>
                <a:gd name="connsiteX6335" fmla="*/ 1533049 w 6400800"/>
                <a:gd name="connsiteY6335" fmla="*/ 335756 h 514350"/>
                <a:gd name="connsiteX6336" fmla="*/ 1535906 w 6400800"/>
                <a:gd name="connsiteY6336" fmla="*/ 350044 h 514350"/>
                <a:gd name="connsiteX6337" fmla="*/ 1536859 w 6400800"/>
                <a:gd name="connsiteY6337" fmla="*/ 357664 h 514350"/>
                <a:gd name="connsiteX6338" fmla="*/ 1536859 w 6400800"/>
                <a:gd name="connsiteY6338" fmla="*/ 362426 h 514350"/>
                <a:gd name="connsiteX6339" fmla="*/ 1536859 w 6400800"/>
                <a:gd name="connsiteY6339" fmla="*/ 362426 h 514350"/>
                <a:gd name="connsiteX6340" fmla="*/ 1532096 w 6400800"/>
                <a:gd name="connsiteY6340" fmla="*/ 346234 h 514350"/>
                <a:gd name="connsiteX6341" fmla="*/ 1533049 w 6400800"/>
                <a:gd name="connsiteY6341" fmla="*/ 338614 h 514350"/>
                <a:gd name="connsiteX6342" fmla="*/ 1519714 w 6400800"/>
                <a:gd name="connsiteY6342" fmla="*/ 270986 h 514350"/>
                <a:gd name="connsiteX6343" fmla="*/ 1525429 w 6400800"/>
                <a:gd name="connsiteY6343" fmla="*/ 297656 h 514350"/>
                <a:gd name="connsiteX6344" fmla="*/ 1524476 w 6400800"/>
                <a:gd name="connsiteY6344" fmla="*/ 301466 h 514350"/>
                <a:gd name="connsiteX6345" fmla="*/ 1521619 w 6400800"/>
                <a:gd name="connsiteY6345" fmla="*/ 315754 h 514350"/>
                <a:gd name="connsiteX6346" fmla="*/ 1519714 w 6400800"/>
                <a:gd name="connsiteY6346" fmla="*/ 310991 h 514350"/>
                <a:gd name="connsiteX6347" fmla="*/ 1517809 w 6400800"/>
                <a:gd name="connsiteY6347" fmla="*/ 268129 h 514350"/>
                <a:gd name="connsiteX6348" fmla="*/ 1519714 w 6400800"/>
                <a:gd name="connsiteY6348" fmla="*/ 270986 h 514350"/>
                <a:gd name="connsiteX6349" fmla="*/ 1503521 w 6400800"/>
                <a:gd name="connsiteY6349" fmla="*/ 302419 h 514350"/>
                <a:gd name="connsiteX6350" fmla="*/ 1502569 w 6400800"/>
                <a:gd name="connsiteY6350" fmla="*/ 313849 h 514350"/>
                <a:gd name="connsiteX6351" fmla="*/ 1502569 w 6400800"/>
                <a:gd name="connsiteY6351" fmla="*/ 330041 h 514350"/>
                <a:gd name="connsiteX6352" fmla="*/ 1501616 w 6400800"/>
                <a:gd name="connsiteY6352" fmla="*/ 329089 h 514350"/>
                <a:gd name="connsiteX6353" fmla="*/ 1497806 w 6400800"/>
                <a:gd name="connsiteY6353" fmla="*/ 311944 h 514350"/>
                <a:gd name="connsiteX6354" fmla="*/ 1503521 w 6400800"/>
                <a:gd name="connsiteY6354" fmla="*/ 302419 h 514350"/>
                <a:gd name="connsiteX6355" fmla="*/ 1477804 w 6400800"/>
                <a:gd name="connsiteY6355" fmla="*/ 272891 h 514350"/>
                <a:gd name="connsiteX6356" fmla="*/ 1477804 w 6400800"/>
                <a:gd name="connsiteY6356" fmla="*/ 272891 h 514350"/>
                <a:gd name="connsiteX6357" fmla="*/ 1477804 w 6400800"/>
                <a:gd name="connsiteY6357" fmla="*/ 282416 h 514350"/>
                <a:gd name="connsiteX6358" fmla="*/ 1476851 w 6400800"/>
                <a:gd name="connsiteY6358" fmla="*/ 294799 h 514350"/>
                <a:gd name="connsiteX6359" fmla="*/ 1475899 w 6400800"/>
                <a:gd name="connsiteY6359" fmla="*/ 295751 h 514350"/>
                <a:gd name="connsiteX6360" fmla="*/ 1474946 w 6400800"/>
                <a:gd name="connsiteY6360" fmla="*/ 282416 h 514350"/>
                <a:gd name="connsiteX6361" fmla="*/ 1477804 w 6400800"/>
                <a:gd name="connsiteY6361" fmla="*/ 272891 h 514350"/>
                <a:gd name="connsiteX6362" fmla="*/ 1461611 w 6400800"/>
                <a:gd name="connsiteY6362" fmla="*/ 326231 h 514350"/>
                <a:gd name="connsiteX6363" fmla="*/ 1461611 w 6400800"/>
                <a:gd name="connsiteY6363" fmla="*/ 328136 h 514350"/>
                <a:gd name="connsiteX6364" fmla="*/ 1460659 w 6400800"/>
                <a:gd name="connsiteY6364" fmla="*/ 330041 h 514350"/>
                <a:gd name="connsiteX6365" fmla="*/ 1460659 w 6400800"/>
                <a:gd name="connsiteY6365" fmla="*/ 329089 h 514350"/>
                <a:gd name="connsiteX6366" fmla="*/ 1461611 w 6400800"/>
                <a:gd name="connsiteY6366" fmla="*/ 326231 h 514350"/>
                <a:gd name="connsiteX6367" fmla="*/ 1457801 w 6400800"/>
                <a:gd name="connsiteY6367" fmla="*/ 309086 h 514350"/>
                <a:gd name="connsiteX6368" fmla="*/ 1457801 w 6400800"/>
                <a:gd name="connsiteY6368" fmla="*/ 309086 h 514350"/>
                <a:gd name="connsiteX6369" fmla="*/ 1455896 w 6400800"/>
                <a:gd name="connsiteY6369" fmla="*/ 302419 h 514350"/>
                <a:gd name="connsiteX6370" fmla="*/ 1457801 w 6400800"/>
                <a:gd name="connsiteY6370" fmla="*/ 309086 h 514350"/>
                <a:gd name="connsiteX6371" fmla="*/ 1442561 w 6400800"/>
                <a:gd name="connsiteY6371" fmla="*/ 328136 h 514350"/>
                <a:gd name="connsiteX6372" fmla="*/ 1442561 w 6400800"/>
                <a:gd name="connsiteY6372" fmla="*/ 318611 h 514350"/>
                <a:gd name="connsiteX6373" fmla="*/ 1444466 w 6400800"/>
                <a:gd name="connsiteY6373" fmla="*/ 333851 h 514350"/>
                <a:gd name="connsiteX6374" fmla="*/ 1442561 w 6400800"/>
                <a:gd name="connsiteY6374" fmla="*/ 330041 h 514350"/>
                <a:gd name="connsiteX6375" fmla="*/ 1442561 w 6400800"/>
                <a:gd name="connsiteY6375" fmla="*/ 328136 h 514350"/>
                <a:gd name="connsiteX6376" fmla="*/ 1415891 w 6400800"/>
                <a:gd name="connsiteY6376" fmla="*/ 281464 h 514350"/>
                <a:gd name="connsiteX6377" fmla="*/ 1415891 w 6400800"/>
                <a:gd name="connsiteY6377" fmla="*/ 289084 h 514350"/>
                <a:gd name="connsiteX6378" fmla="*/ 1415891 w 6400800"/>
                <a:gd name="connsiteY6378" fmla="*/ 289084 h 514350"/>
                <a:gd name="connsiteX6379" fmla="*/ 1413034 w 6400800"/>
                <a:gd name="connsiteY6379" fmla="*/ 286226 h 514350"/>
                <a:gd name="connsiteX6380" fmla="*/ 1415891 w 6400800"/>
                <a:gd name="connsiteY6380" fmla="*/ 281464 h 514350"/>
                <a:gd name="connsiteX6381" fmla="*/ 1412081 w 6400800"/>
                <a:gd name="connsiteY6381" fmla="*/ 290036 h 514350"/>
                <a:gd name="connsiteX6382" fmla="*/ 1413986 w 6400800"/>
                <a:gd name="connsiteY6382" fmla="*/ 292894 h 514350"/>
                <a:gd name="connsiteX6383" fmla="*/ 1415891 w 6400800"/>
                <a:gd name="connsiteY6383" fmla="*/ 295751 h 514350"/>
                <a:gd name="connsiteX6384" fmla="*/ 1415891 w 6400800"/>
                <a:gd name="connsiteY6384" fmla="*/ 300514 h 514350"/>
                <a:gd name="connsiteX6385" fmla="*/ 1412081 w 6400800"/>
                <a:gd name="connsiteY6385" fmla="*/ 290036 h 514350"/>
                <a:gd name="connsiteX6386" fmla="*/ 1412081 w 6400800"/>
                <a:gd name="connsiteY6386" fmla="*/ 290036 h 514350"/>
                <a:gd name="connsiteX6387" fmla="*/ 1383506 w 6400800"/>
                <a:gd name="connsiteY6387" fmla="*/ 364331 h 514350"/>
                <a:gd name="connsiteX6388" fmla="*/ 1382554 w 6400800"/>
                <a:gd name="connsiteY6388" fmla="*/ 358616 h 514350"/>
                <a:gd name="connsiteX6389" fmla="*/ 1382554 w 6400800"/>
                <a:gd name="connsiteY6389" fmla="*/ 357664 h 514350"/>
                <a:gd name="connsiteX6390" fmla="*/ 1383506 w 6400800"/>
                <a:gd name="connsiteY6390" fmla="*/ 362426 h 514350"/>
                <a:gd name="connsiteX6391" fmla="*/ 1383506 w 6400800"/>
                <a:gd name="connsiteY6391" fmla="*/ 364331 h 514350"/>
                <a:gd name="connsiteX6392" fmla="*/ 1386364 w 6400800"/>
                <a:gd name="connsiteY6392" fmla="*/ 298609 h 514350"/>
                <a:gd name="connsiteX6393" fmla="*/ 1386364 w 6400800"/>
                <a:gd name="connsiteY6393" fmla="*/ 298609 h 514350"/>
                <a:gd name="connsiteX6394" fmla="*/ 1384459 w 6400800"/>
                <a:gd name="connsiteY6394" fmla="*/ 293846 h 514350"/>
                <a:gd name="connsiteX6395" fmla="*/ 1386364 w 6400800"/>
                <a:gd name="connsiteY6395" fmla="*/ 290989 h 514350"/>
                <a:gd name="connsiteX6396" fmla="*/ 1391126 w 6400800"/>
                <a:gd name="connsiteY6396" fmla="*/ 286226 h 514350"/>
                <a:gd name="connsiteX6397" fmla="*/ 1386364 w 6400800"/>
                <a:gd name="connsiteY6397" fmla="*/ 298609 h 514350"/>
                <a:gd name="connsiteX6398" fmla="*/ 1383506 w 6400800"/>
                <a:gd name="connsiteY6398" fmla="*/ 287179 h 514350"/>
                <a:gd name="connsiteX6399" fmla="*/ 1382554 w 6400800"/>
                <a:gd name="connsiteY6399" fmla="*/ 288131 h 514350"/>
                <a:gd name="connsiteX6400" fmla="*/ 1376839 w 6400800"/>
                <a:gd name="connsiteY6400" fmla="*/ 274796 h 514350"/>
                <a:gd name="connsiteX6401" fmla="*/ 1384459 w 6400800"/>
                <a:gd name="connsiteY6401" fmla="*/ 242411 h 514350"/>
                <a:gd name="connsiteX6402" fmla="*/ 1390174 w 6400800"/>
                <a:gd name="connsiteY6402" fmla="*/ 281464 h 514350"/>
                <a:gd name="connsiteX6403" fmla="*/ 1383506 w 6400800"/>
                <a:gd name="connsiteY6403" fmla="*/ 287179 h 514350"/>
                <a:gd name="connsiteX6404" fmla="*/ 1391126 w 6400800"/>
                <a:gd name="connsiteY6404" fmla="*/ 310991 h 514350"/>
                <a:gd name="connsiteX6405" fmla="*/ 1393031 w 6400800"/>
                <a:gd name="connsiteY6405" fmla="*/ 299561 h 514350"/>
                <a:gd name="connsiteX6406" fmla="*/ 1393031 w 6400800"/>
                <a:gd name="connsiteY6406" fmla="*/ 298609 h 514350"/>
                <a:gd name="connsiteX6407" fmla="*/ 1393984 w 6400800"/>
                <a:gd name="connsiteY6407" fmla="*/ 305276 h 514350"/>
                <a:gd name="connsiteX6408" fmla="*/ 1391126 w 6400800"/>
                <a:gd name="connsiteY6408" fmla="*/ 310991 h 514350"/>
                <a:gd name="connsiteX6409" fmla="*/ 1397794 w 6400800"/>
                <a:gd name="connsiteY6409" fmla="*/ 278606 h 514350"/>
                <a:gd name="connsiteX6410" fmla="*/ 1397794 w 6400800"/>
                <a:gd name="connsiteY6410" fmla="*/ 278606 h 514350"/>
                <a:gd name="connsiteX6411" fmla="*/ 1397794 w 6400800"/>
                <a:gd name="connsiteY6411" fmla="*/ 279559 h 514350"/>
                <a:gd name="connsiteX6412" fmla="*/ 1397794 w 6400800"/>
                <a:gd name="connsiteY6412" fmla="*/ 278606 h 514350"/>
                <a:gd name="connsiteX6413" fmla="*/ 1397794 w 6400800"/>
                <a:gd name="connsiteY6413" fmla="*/ 278606 h 514350"/>
                <a:gd name="connsiteX6414" fmla="*/ 1397794 w 6400800"/>
                <a:gd name="connsiteY6414" fmla="*/ 322421 h 514350"/>
                <a:gd name="connsiteX6415" fmla="*/ 1399699 w 6400800"/>
                <a:gd name="connsiteY6415" fmla="*/ 331946 h 514350"/>
                <a:gd name="connsiteX6416" fmla="*/ 1399699 w 6400800"/>
                <a:gd name="connsiteY6416" fmla="*/ 333851 h 514350"/>
                <a:gd name="connsiteX6417" fmla="*/ 1396841 w 6400800"/>
                <a:gd name="connsiteY6417" fmla="*/ 326231 h 514350"/>
                <a:gd name="connsiteX6418" fmla="*/ 1397794 w 6400800"/>
                <a:gd name="connsiteY6418" fmla="*/ 322421 h 514350"/>
                <a:gd name="connsiteX6419" fmla="*/ 1387316 w 6400800"/>
                <a:gd name="connsiteY6419" fmla="*/ 231934 h 514350"/>
                <a:gd name="connsiteX6420" fmla="*/ 1395889 w 6400800"/>
                <a:gd name="connsiteY6420" fmla="*/ 270986 h 514350"/>
                <a:gd name="connsiteX6421" fmla="*/ 1394936 w 6400800"/>
                <a:gd name="connsiteY6421" fmla="*/ 272891 h 514350"/>
                <a:gd name="connsiteX6422" fmla="*/ 1384459 w 6400800"/>
                <a:gd name="connsiteY6422" fmla="*/ 240506 h 514350"/>
                <a:gd name="connsiteX6423" fmla="*/ 1387316 w 6400800"/>
                <a:gd name="connsiteY6423" fmla="*/ 231934 h 514350"/>
                <a:gd name="connsiteX6424" fmla="*/ 1380649 w 6400800"/>
                <a:gd name="connsiteY6424" fmla="*/ 232886 h 514350"/>
                <a:gd name="connsiteX6425" fmla="*/ 1386364 w 6400800"/>
                <a:gd name="connsiteY6425" fmla="*/ 225266 h 514350"/>
                <a:gd name="connsiteX6426" fmla="*/ 1386364 w 6400800"/>
                <a:gd name="connsiteY6426" fmla="*/ 225266 h 514350"/>
                <a:gd name="connsiteX6427" fmla="*/ 1372076 w 6400800"/>
                <a:gd name="connsiteY6427" fmla="*/ 262414 h 514350"/>
                <a:gd name="connsiteX6428" fmla="*/ 1370171 w 6400800"/>
                <a:gd name="connsiteY6428" fmla="*/ 257651 h 514350"/>
                <a:gd name="connsiteX6429" fmla="*/ 1369219 w 6400800"/>
                <a:gd name="connsiteY6429" fmla="*/ 253841 h 514350"/>
                <a:gd name="connsiteX6430" fmla="*/ 1380649 w 6400800"/>
                <a:gd name="connsiteY6430" fmla="*/ 232886 h 514350"/>
                <a:gd name="connsiteX6431" fmla="*/ 1356836 w 6400800"/>
                <a:gd name="connsiteY6431" fmla="*/ 300514 h 514350"/>
                <a:gd name="connsiteX6432" fmla="*/ 1356836 w 6400800"/>
                <a:gd name="connsiteY6432" fmla="*/ 302419 h 514350"/>
                <a:gd name="connsiteX6433" fmla="*/ 1355884 w 6400800"/>
                <a:gd name="connsiteY6433" fmla="*/ 304324 h 514350"/>
                <a:gd name="connsiteX6434" fmla="*/ 1355884 w 6400800"/>
                <a:gd name="connsiteY6434" fmla="*/ 299561 h 514350"/>
                <a:gd name="connsiteX6435" fmla="*/ 1356836 w 6400800"/>
                <a:gd name="connsiteY6435" fmla="*/ 300514 h 514350"/>
                <a:gd name="connsiteX6436" fmla="*/ 1339691 w 6400800"/>
                <a:gd name="connsiteY6436" fmla="*/ 325279 h 514350"/>
                <a:gd name="connsiteX6437" fmla="*/ 1339691 w 6400800"/>
                <a:gd name="connsiteY6437" fmla="*/ 324326 h 514350"/>
                <a:gd name="connsiteX6438" fmla="*/ 1341596 w 6400800"/>
                <a:gd name="connsiteY6438" fmla="*/ 317659 h 514350"/>
                <a:gd name="connsiteX6439" fmla="*/ 1341596 w 6400800"/>
                <a:gd name="connsiteY6439" fmla="*/ 317659 h 514350"/>
                <a:gd name="connsiteX6440" fmla="*/ 1341596 w 6400800"/>
                <a:gd name="connsiteY6440" fmla="*/ 330994 h 514350"/>
                <a:gd name="connsiteX6441" fmla="*/ 1339691 w 6400800"/>
                <a:gd name="connsiteY6441" fmla="*/ 325279 h 514350"/>
                <a:gd name="connsiteX6442" fmla="*/ 1340644 w 6400800"/>
                <a:gd name="connsiteY6442" fmla="*/ 226219 h 514350"/>
                <a:gd name="connsiteX6443" fmla="*/ 1340644 w 6400800"/>
                <a:gd name="connsiteY6443" fmla="*/ 226219 h 514350"/>
                <a:gd name="connsiteX6444" fmla="*/ 1344454 w 6400800"/>
                <a:gd name="connsiteY6444" fmla="*/ 237649 h 514350"/>
                <a:gd name="connsiteX6445" fmla="*/ 1344454 w 6400800"/>
                <a:gd name="connsiteY6445" fmla="*/ 242411 h 514350"/>
                <a:gd name="connsiteX6446" fmla="*/ 1343501 w 6400800"/>
                <a:gd name="connsiteY6446" fmla="*/ 264319 h 514350"/>
                <a:gd name="connsiteX6447" fmla="*/ 1343501 w 6400800"/>
                <a:gd name="connsiteY6447" fmla="*/ 272891 h 514350"/>
                <a:gd name="connsiteX6448" fmla="*/ 1339691 w 6400800"/>
                <a:gd name="connsiteY6448" fmla="*/ 269081 h 514350"/>
                <a:gd name="connsiteX6449" fmla="*/ 1340644 w 6400800"/>
                <a:gd name="connsiteY6449" fmla="*/ 226219 h 514350"/>
                <a:gd name="connsiteX6450" fmla="*/ 1337786 w 6400800"/>
                <a:gd name="connsiteY6450" fmla="*/ 295751 h 514350"/>
                <a:gd name="connsiteX6451" fmla="*/ 1338739 w 6400800"/>
                <a:gd name="connsiteY6451" fmla="*/ 271939 h 514350"/>
                <a:gd name="connsiteX6452" fmla="*/ 1342549 w 6400800"/>
                <a:gd name="connsiteY6452" fmla="*/ 276701 h 514350"/>
                <a:gd name="connsiteX6453" fmla="*/ 1342549 w 6400800"/>
                <a:gd name="connsiteY6453" fmla="*/ 276701 h 514350"/>
                <a:gd name="connsiteX6454" fmla="*/ 1342549 w 6400800"/>
                <a:gd name="connsiteY6454" fmla="*/ 286226 h 514350"/>
                <a:gd name="connsiteX6455" fmla="*/ 1337786 w 6400800"/>
                <a:gd name="connsiteY6455" fmla="*/ 295751 h 514350"/>
                <a:gd name="connsiteX6456" fmla="*/ 1337786 w 6400800"/>
                <a:gd name="connsiteY6456" fmla="*/ 296704 h 514350"/>
                <a:gd name="connsiteX6457" fmla="*/ 1337786 w 6400800"/>
                <a:gd name="connsiteY6457" fmla="*/ 295751 h 514350"/>
                <a:gd name="connsiteX6458" fmla="*/ 1314926 w 6400800"/>
                <a:gd name="connsiteY6458" fmla="*/ 320516 h 514350"/>
                <a:gd name="connsiteX6459" fmla="*/ 1314926 w 6400800"/>
                <a:gd name="connsiteY6459" fmla="*/ 320516 h 514350"/>
                <a:gd name="connsiteX6460" fmla="*/ 1314926 w 6400800"/>
                <a:gd name="connsiteY6460" fmla="*/ 320516 h 514350"/>
                <a:gd name="connsiteX6461" fmla="*/ 1314926 w 6400800"/>
                <a:gd name="connsiteY6461" fmla="*/ 320516 h 514350"/>
                <a:gd name="connsiteX6462" fmla="*/ 1311116 w 6400800"/>
                <a:gd name="connsiteY6462" fmla="*/ 312896 h 514350"/>
                <a:gd name="connsiteX6463" fmla="*/ 1311116 w 6400800"/>
                <a:gd name="connsiteY6463" fmla="*/ 312896 h 514350"/>
                <a:gd name="connsiteX6464" fmla="*/ 1311116 w 6400800"/>
                <a:gd name="connsiteY6464" fmla="*/ 314801 h 514350"/>
                <a:gd name="connsiteX6465" fmla="*/ 1311116 w 6400800"/>
                <a:gd name="connsiteY6465" fmla="*/ 314801 h 514350"/>
                <a:gd name="connsiteX6466" fmla="*/ 1311116 w 6400800"/>
                <a:gd name="connsiteY6466" fmla="*/ 312896 h 514350"/>
                <a:gd name="connsiteX6467" fmla="*/ 1242536 w 6400800"/>
                <a:gd name="connsiteY6467" fmla="*/ 344329 h 514350"/>
                <a:gd name="connsiteX6468" fmla="*/ 1238726 w 6400800"/>
                <a:gd name="connsiteY6468" fmla="*/ 336709 h 514350"/>
                <a:gd name="connsiteX6469" fmla="*/ 1238726 w 6400800"/>
                <a:gd name="connsiteY6469" fmla="*/ 310991 h 514350"/>
                <a:gd name="connsiteX6470" fmla="*/ 1238726 w 6400800"/>
                <a:gd name="connsiteY6470" fmla="*/ 307181 h 514350"/>
                <a:gd name="connsiteX6471" fmla="*/ 1244441 w 6400800"/>
                <a:gd name="connsiteY6471" fmla="*/ 339566 h 514350"/>
                <a:gd name="connsiteX6472" fmla="*/ 1244441 w 6400800"/>
                <a:gd name="connsiteY6472" fmla="*/ 340519 h 514350"/>
                <a:gd name="connsiteX6473" fmla="*/ 1242536 w 6400800"/>
                <a:gd name="connsiteY6473" fmla="*/ 344329 h 514350"/>
                <a:gd name="connsiteX6474" fmla="*/ 1279684 w 6400800"/>
                <a:gd name="connsiteY6474" fmla="*/ 290989 h 514350"/>
                <a:gd name="connsiteX6475" fmla="*/ 1279684 w 6400800"/>
                <a:gd name="connsiteY6475" fmla="*/ 284321 h 514350"/>
                <a:gd name="connsiteX6476" fmla="*/ 1281589 w 6400800"/>
                <a:gd name="connsiteY6476" fmla="*/ 287179 h 514350"/>
                <a:gd name="connsiteX6477" fmla="*/ 1279684 w 6400800"/>
                <a:gd name="connsiteY6477" fmla="*/ 290989 h 514350"/>
                <a:gd name="connsiteX6478" fmla="*/ 1298734 w 6400800"/>
                <a:gd name="connsiteY6478" fmla="*/ 332899 h 514350"/>
                <a:gd name="connsiteX6479" fmla="*/ 1298734 w 6400800"/>
                <a:gd name="connsiteY6479" fmla="*/ 332899 h 514350"/>
                <a:gd name="connsiteX6480" fmla="*/ 1298734 w 6400800"/>
                <a:gd name="connsiteY6480" fmla="*/ 330994 h 514350"/>
                <a:gd name="connsiteX6481" fmla="*/ 1298734 w 6400800"/>
                <a:gd name="connsiteY6481" fmla="*/ 332899 h 514350"/>
                <a:gd name="connsiteX6482" fmla="*/ 1295876 w 6400800"/>
                <a:gd name="connsiteY6482" fmla="*/ 278606 h 514350"/>
                <a:gd name="connsiteX6483" fmla="*/ 1305401 w 6400800"/>
                <a:gd name="connsiteY6483" fmla="*/ 299561 h 514350"/>
                <a:gd name="connsiteX6484" fmla="*/ 1305401 w 6400800"/>
                <a:gd name="connsiteY6484" fmla="*/ 300514 h 514350"/>
                <a:gd name="connsiteX6485" fmla="*/ 1304449 w 6400800"/>
                <a:gd name="connsiteY6485" fmla="*/ 303371 h 514350"/>
                <a:gd name="connsiteX6486" fmla="*/ 1300639 w 6400800"/>
                <a:gd name="connsiteY6486" fmla="*/ 295751 h 514350"/>
                <a:gd name="connsiteX6487" fmla="*/ 1293971 w 6400800"/>
                <a:gd name="connsiteY6487" fmla="*/ 284321 h 514350"/>
                <a:gd name="connsiteX6488" fmla="*/ 1295876 w 6400800"/>
                <a:gd name="connsiteY6488" fmla="*/ 278606 h 514350"/>
                <a:gd name="connsiteX6489" fmla="*/ 1299686 w 6400800"/>
                <a:gd name="connsiteY6489" fmla="*/ 328136 h 514350"/>
                <a:gd name="connsiteX6490" fmla="*/ 1299686 w 6400800"/>
                <a:gd name="connsiteY6490" fmla="*/ 330041 h 514350"/>
                <a:gd name="connsiteX6491" fmla="*/ 1298734 w 6400800"/>
                <a:gd name="connsiteY6491" fmla="*/ 331946 h 514350"/>
                <a:gd name="connsiteX6492" fmla="*/ 1293019 w 6400800"/>
                <a:gd name="connsiteY6492" fmla="*/ 324326 h 514350"/>
                <a:gd name="connsiteX6493" fmla="*/ 1289209 w 6400800"/>
                <a:gd name="connsiteY6493" fmla="*/ 318611 h 514350"/>
                <a:gd name="connsiteX6494" fmla="*/ 1289209 w 6400800"/>
                <a:gd name="connsiteY6494" fmla="*/ 318611 h 514350"/>
                <a:gd name="connsiteX6495" fmla="*/ 1289209 w 6400800"/>
                <a:gd name="connsiteY6495" fmla="*/ 309086 h 514350"/>
                <a:gd name="connsiteX6496" fmla="*/ 1290161 w 6400800"/>
                <a:gd name="connsiteY6496" fmla="*/ 305276 h 514350"/>
                <a:gd name="connsiteX6497" fmla="*/ 1299686 w 6400800"/>
                <a:gd name="connsiteY6497" fmla="*/ 328136 h 514350"/>
                <a:gd name="connsiteX6498" fmla="*/ 1289209 w 6400800"/>
                <a:gd name="connsiteY6498" fmla="*/ 263366 h 514350"/>
                <a:gd name="connsiteX6499" fmla="*/ 1287304 w 6400800"/>
                <a:gd name="connsiteY6499" fmla="*/ 268129 h 514350"/>
                <a:gd name="connsiteX6500" fmla="*/ 1287304 w 6400800"/>
                <a:gd name="connsiteY6500" fmla="*/ 259556 h 514350"/>
                <a:gd name="connsiteX6501" fmla="*/ 1289209 w 6400800"/>
                <a:gd name="connsiteY6501" fmla="*/ 263366 h 514350"/>
                <a:gd name="connsiteX6502" fmla="*/ 1276826 w 6400800"/>
                <a:gd name="connsiteY6502" fmla="*/ 238601 h 514350"/>
                <a:gd name="connsiteX6503" fmla="*/ 1278731 w 6400800"/>
                <a:gd name="connsiteY6503" fmla="*/ 242411 h 514350"/>
                <a:gd name="connsiteX6504" fmla="*/ 1286351 w 6400800"/>
                <a:gd name="connsiteY6504" fmla="*/ 257651 h 514350"/>
                <a:gd name="connsiteX6505" fmla="*/ 1285399 w 6400800"/>
                <a:gd name="connsiteY6505" fmla="*/ 267176 h 514350"/>
                <a:gd name="connsiteX6506" fmla="*/ 1277779 w 6400800"/>
                <a:gd name="connsiteY6506" fmla="*/ 255746 h 514350"/>
                <a:gd name="connsiteX6507" fmla="*/ 1276826 w 6400800"/>
                <a:gd name="connsiteY6507" fmla="*/ 242411 h 514350"/>
                <a:gd name="connsiteX6508" fmla="*/ 1276826 w 6400800"/>
                <a:gd name="connsiteY6508" fmla="*/ 238601 h 514350"/>
                <a:gd name="connsiteX6509" fmla="*/ 1273016 w 6400800"/>
                <a:gd name="connsiteY6509" fmla="*/ 271939 h 514350"/>
                <a:gd name="connsiteX6510" fmla="*/ 1273969 w 6400800"/>
                <a:gd name="connsiteY6510" fmla="*/ 272891 h 514350"/>
                <a:gd name="connsiteX6511" fmla="*/ 1273016 w 6400800"/>
                <a:gd name="connsiteY6511" fmla="*/ 291941 h 514350"/>
                <a:gd name="connsiteX6512" fmla="*/ 1271111 w 6400800"/>
                <a:gd name="connsiteY6512" fmla="*/ 288131 h 514350"/>
                <a:gd name="connsiteX6513" fmla="*/ 1273016 w 6400800"/>
                <a:gd name="connsiteY6513" fmla="*/ 271939 h 514350"/>
                <a:gd name="connsiteX6514" fmla="*/ 1240631 w 6400800"/>
                <a:gd name="connsiteY6514" fmla="*/ 229076 h 514350"/>
                <a:gd name="connsiteX6515" fmla="*/ 1244441 w 6400800"/>
                <a:gd name="connsiteY6515" fmla="*/ 220504 h 514350"/>
                <a:gd name="connsiteX6516" fmla="*/ 1253966 w 6400800"/>
                <a:gd name="connsiteY6516" fmla="*/ 237649 h 514350"/>
                <a:gd name="connsiteX6517" fmla="*/ 1264444 w 6400800"/>
                <a:gd name="connsiteY6517" fmla="*/ 257651 h 514350"/>
                <a:gd name="connsiteX6518" fmla="*/ 1268254 w 6400800"/>
                <a:gd name="connsiteY6518" fmla="*/ 264319 h 514350"/>
                <a:gd name="connsiteX6519" fmla="*/ 1262539 w 6400800"/>
                <a:gd name="connsiteY6519" fmla="*/ 286226 h 514350"/>
                <a:gd name="connsiteX6520" fmla="*/ 1254919 w 6400800"/>
                <a:gd name="connsiteY6520" fmla="*/ 277654 h 514350"/>
                <a:gd name="connsiteX6521" fmla="*/ 1241584 w 6400800"/>
                <a:gd name="connsiteY6521" fmla="*/ 251936 h 514350"/>
                <a:gd name="connsiteX6522" fmla="*/ 1235869 w 6400800"/>
                <a:gd name="connsiteY6522" fmla="*/ 243364 h 514350"/>
                <a:gd name="connsiteX6523" fmla="*/ 1235869 w 6400800"/>
                <a:gd name="connsiteY6523" fmla="*/ 242411 h 514350"/>
                <a:gd name="connsiteX6524" fmla="*/ 1240631 w 6400800"/>
                <a:gd name="connsiteY6524" fmla="*/ 229076 h 514350"/>
                <a:gd name="connsiteX6525" fmla="*/ 1228249 w 6400800"/>
                <a:gd name="connsiteY6525" fmla="*/ 304324 h 514350"/>
                <a:gd name="connsiteX6526" fmla="*/ 1227296 w 6400800"/>
                <a:gd name="connsiteY6526" fmla="*/ 288131 h 514350"/>
                <a:gd name="connsiteX6527" fmla="*/ 1227296 w 6400800"/>
                <a:gd name="connsiteY6527" fmla="*/ 281464 h 514350"/>
                <a:gd name="connsiteX6528" fmla="*/ 1228249 w 6400800"/>
                <a:gd name="connsiteY6528" fmla="*/ 279559 h 514350"/>
                <a:gd name="connsiteX6529" fmla="*/ 1228249 w 6400800"/>
                <a:gd name="connsiteY6529" fmla="*/ 278606 h 514350"/>
                <a:gd name="connsiteX6530" fmla="*/ 1229201 w 6400800"/>
                <a:gd name="connsiteY6530" fmla="*/ 279559 h 514350"/>
                <a:gd name="connsiteX6531" fmla="*/ 1231106 w 6400800"/>
                <a:gd name="connsiteY6531" fmla="*/ 284321 h 514350"/>
                <a:gd name="connsiteX6532" fmla="*/ 1228249 w 6400800"/>
                <a:gd name="connsiteY6532" fmla="*/ 304324 h 514350"/>
                <a:gd name="connsiteX6533" fmla="*/ 1232059 w 6400800"/>
                <a:gd name="connsiteY6533" fmla="*/ 280511 h 514350"/>
                <a:gd name="connsiteX6534" fmla="*/ 1232059 w 6400800"/>
                <a:gd name="connsiteY6534" fmla="*/ 278606 h 514350"/>
                <a:gd name="connsiteX6535" fmla="*/ 1230154 w 6400800"/>
                <a:gd name="connsiteY6535" fmla="*/ 275749 h 514350"/>
                <a:gd name="connsiteX6536" fmla="*/ 1227296 w 6400800"/>
                <a:gd name="connsiteY6536" fmla="*/ 275749 h 514350"/>
                <a:gd name="connsiteX6537" fmla="*/ 1226344 w 6400800"/>
                <a:gd name="connsiteY6537" fmla="*/ 275749 h 514350"/>
                <a:gd name="connsiteX6538" fmla="*/ 1226344 w 6400800"/>
                <a:gd name="connsiteY6538" fmla="*/ 269081 h 514350"/>
                <a:gd name="connsiteX6539" fmla="*/ 1230154 w 6400800"/>
                <a:gd name="connsiteY6539" fmla="*/ 272891 h 514350"/>
                <a:gd name="connsiteX6540" fmla="*/ 1233011 w 6400800"/>
                <a:gd name="connsiteY6540" fmla="*/ 276701 h 514350"/>
                <a:gd name="connsiteX6541" fmla="*/ 1232059 w 6400800"/>
                <a:gd name="connsiteY6541" fmla="*/ 280511 h 514350"/>
                <a:gd name="connsiteX6542" fmla="*/ 1230154 w 6400800"/>
                <a:gd name="connsiteY6542" fmla="*/ 221456 h 514350"/>
                <a:gd name="connsiteX6543" fmla="*/ 1233964 w 6400800"/>
                <a:gd name="connsiteY6543" fmla="*/ 233839 h 514350"/>
                <a:gd name="connsiteX6544" fmla="*/ 1233964 w 6400800"/>
                <a:gd name="connsiteY6544" fmla="*/ 233839 h 514350"/>
                <a:gd name="connsiteX6545" fmla="*/ 1233011 w 6400800"/>
                <a:gd name="connsiteY6545" fmla="*/ 230029 h 514350"/>
                <a:gd name="connsiteX6546" fmla="*/ 1230154 w 6400800"/>
                <a:gd name="connsiteY6546" fmla="*/ 221456 h 514350"/>
                <a:gd name="connsiteX6547" fmla="*/ 1230154 w 6400800"/>
                <a:gd name="connsiteY6547" fmla="*/ 221456 h 514350"/>
                <a:gd name="connsiteX6548" fmla="*/ 1229201 w 6400800"/>
                <a:gd name="connsiteY6548" fmla="*/ 257651 h 514350"/>
                <a:gd name="connsiteX6549" fmla="*/ 1229201 w 6400800"/>
                <a:gd name="connsiteY6549" fmla="*/ 257651 h 514350"/>
                <a:gd name="connsiteX6550" fmla="*/ 1230154 w 6400800"/>
                <a:gd name="connsiteY6550" fmla="*/ 259556 h 514350"/>
                <a:gd name="connsiteX6551" fmla="*/ 1230154 w 6400800"/>
                <a:gd name="connsiteY6551" fmla="*/ 262414 h 514350"/>
                <a:gd name="connsiteX6552" fmla="*/ 1232059 w 6400800"/>
                <a:gd name="connsiteY6552" fmla="*/ 274796 h 514350"/>
                <a:gd name="connsiteX6553" fmla="*/ 1232059 w 6400800"/>
                <a:gd name="connsiteY6553" fmla="*/ 274796 h 514350"/>
                <a:gd name="connsiteX6554" fmla="*/ 1229201 w 6400800"/>
                <a:gd name="connsiteY6554" fmla="*/ 272891 h 514350"/>
                <a:gd name="connsiteX6555" fmla="*/ 1225391 w 6400800"/>
                <a:gd name="connsiteY6555" fmla="*/ 269081 h 514350"/>
                <a:gd name="connsiteX6556" fmla="*/ 1225391 w 6400800"/>
                <a:gd name="connsiteY6556" fmla="*/ 265271 h 514350"/>
                <a:gd name="connsiteX6557" fmla="*/ 1229201 w 6400800"/>
                <a:gd name="connsiteY6557" fmla="*/ 257651 h 514350"/>
                <a:gd name="connsiteX6558" fmla="*/ 1226344 w 6400800"/>
                <a:gd name="connsiteY6558" fmla="*/ 235744 h 514350"/>
                <a:gd name="connsiteX6559" fmla="*/ 1228249 w 6400800"/>
                <a:gd name="connsiteY6559" fmla="*/ 244316 h 514350"/>
                <a:gd name="connsiteX6560" fmla="*/ 1227296 w 6400800"/>
                <a:gd name="connsiteY6560" fmla="*/ 246221 h 514350"/>
                <a:gd name="connsiteX6561" fmla="*/ 1225391 w 6400800"/>
                <a:gd name="connsiteY6561" fmla="*/ 244316 h 514350"/>
                <a:gd name="connsiteX6562" fmla="*/ 1225391 w 6400800"/>
                <a:gd name="connsiteY6562" fmla="*/ 231934 h 514350"/>
                <a:gd name="connsiteX6563" fmla="*/ 1226344 w 6400800"/>
                <a:gd name="connsiteY6563" fmla="*/ 235744 h 514350"/>
                <a:gd name="connsiteX6564" fmla="*/ 1197769 w 6400800"/>
                <a:gd name="connsiteY6564" fmla="*/ 293846 h 514350"/>
                <a:gd name="connsiteX6565" fmla="*/ 1198721 w 6400800"/>
                <a:gd name="connsiteY6565" fmla="*/ 290036 h 514350"/>
                <a:gd name="connsiteX6566" fmla="*/ 1198721 w 6400800"/>
                <a:gd name="connsiteY6566" fmla="*/ 291941 h 514350"/>
                <a:gd name="connsiteX6567" fmla="*/ 1199674 w 6400800"/>
                <a:gd name="connsiteY6567" fmla="*/ 299561 h 514350"/>
                <a:gd name="connsiteX6568" fmla="*/ 1196816 w 6400800"/>
                <a:gd name="connsiteY6568" fmla="*/ 307181 h 514350"/>
                <a:gd name="connsiteX6569" fmla="*/ 1194911 w 6400800"/>
                <a:gd name="connsiteY6569" fmla="*/ 299561 h 514350"/>
                <a:gd name="connsiteX6570" fmla="*/ 1197769 w 6400800"/>
                <a:gd name="connsiteY6570" fmla="*/ 293846 h 514350"/>
                <a:gd name="connsiteX6571" fmla="*/ 1196816 w 6400800"/>
                <a:gd name="connsiteY6571" fmla="*/ 459581 h 514350"/>
                <a:gd name="connsiteX6572" fmla="*/ 1196816 w 6400800"/>
                <a:gd name="connsiteY6572" fmla="*/ 459581 h 514350"/>
                <a:gd name="connsiteX6573" fmla="*/ 1195864 w 6400800"/>
                <a:gd name="connsiteY6573" fmla="*/ 455771 h 514350"/>
                <a:gd name="connsiteX6574" fmla="*/ 1196816 w 6400800"/>
                <a:gd name="connsiteY6574" fmla="*/ 459581 h 514350"/>
                <a:gd name="connsiteX6575" fmla="*/ 1190149 w 6400800"/>
                <a:gd name="connsiteY6575" fmla="*/ 324326 h 514350"/>
                <a:gd name="connsiteX6576" fmla="*/ 1190149 w 6400800"/>
                <a:gd name="connsiteY6576" fmla="*/ 324326 h 514350"/>
                <a:gd name="connsiteX6577" fmla="*/ 1189196 w 6400800"/>
                <a:gd name="connsiteY6577" fmla="*/ 320516 h 514350"/>
                <a:gd name="connsiteX6578" fmla="*/ 1190149 w 6400800"/>
                <a:gd name="connsiteY6578" fmla="*/ 324326 h 514350"/>
                <a:gd name="connsiteX6579" fmla="*/ 1170146 w 6400800"/>
                <a:gd name="connsiteY6579" fmla="*/ 270986 h 514350"/>
                <a:gd name="connsiteX6580" fmla="*/ 1170146 w 6400800"/>
                <a:gd name="connsiteY6580" fmla="*/ 268129 h 514350"/>
                <a:gd name="connsiteX6581" fmla="*/ 1170146 w 6400800"/>
                <a:gd name="connsiteY6581" fmla="*/ 264319 h 514350"/>
                <a:gd name="connsiteX6582" fmla="*/ 1172051 w 6400800"/>
                <a:gd name="connsiteY6582" fmla="*/ 235744 h 514350"/>
                <a:gd name="connsiteX6583" fmla="*/ 1174909 w 6400800"/>
                <a:gd name="connsiteY6583" fmla="*/ 245269 h 514350"/>
                <a:gd name="connsiteX6584" fmla="*/ 1176814 w 6400800"/>
                <a:gd name="connsiteY6584" fmla="*/ 260509 h 514350"/>
                <a:gd name="connsiteX6585" fmla="*/ 1177766 w 6400800"/>
                <a:gd name="connsiteY6585" fmla="*/ 285274 h 514350"/>
                <a:gd name="connsiteX6586" fmla="*/ 1177766 w 6400800"/>
                <a:gd name="connsiteY6586" fmla="*/ 308134 h 514350"/>
                <a:gd name="connsiteX6587" fmla="*/ 1176814 w 6400800"/>
                <a:gd name="connsiteY6587" fmla="*/ 305276 h 514350"/>
                <a:gd name="connsiteX6588" fmla="*/ 1168241 w 6400800"/>
                <a:gd name="connsiteY6588" fmla="*/ 287179 h 514350"/>
                <a:gd name="connsiteX6589" fmla="*/ 1170146 w 6400800"/>
                <a:gd name="connsiteY6589" fmla="*/ 270986 h 514350"/>
                <a:gd name="connsiteX6590" fmla="*/ 1170146 w 6400800"/>
                <a:gd name="connsiteY6590" fmla="*/ 309086 h 514350"/>
                <a:gd name="connsiteX6591" fmla="*/ 1173956 w 6400800"/>
                <a:gd name="connsiteY6591" fmla="*/ 321469 h 514350"/>
                <a:gd name="connsiteX6592" fmla="*/ 1172051 w 6400800"/>
                <a:gd name="connsiteY6592" fmla="*/ 327184 h 514350"/>
                <a:gd name="connsiteX6593" fmla="*/ 1170146 w 6400800"/>
                <a:gd name="connsiteY6593" fmla="*/ 322421 h 514350"/>
                <a:gd name="connsiteX6594" fmla="*/ 1170146 w 6400800"/>
                <a:gd name="connsiteY6594" fmla="*/ 318611 h 514350"/>
                <a:gd name="connsiteX6595" fmla="*/ 1168241 w 6400800"/>
                <a:gd name="connsiteY6595" fmla="*/ 303371 h 514350"/>
                <a:gd name="connsiteX6596" fmla="*/ 1170146 w 6400800"/>
                <a:gd name="connsiteY6596" fmla="*/ 309086 h 514350"/>
                <a:gd name="connsiteX6597" fmla="*/ 1164431 w 6400800"/>
                <a:gd name="connsiteY6597" fmla="*/ 236696 h 514350"/>
                <a:gd name="connsiteX6598" fmla="*/ 1161574 w 6400800"/>
                <a:gd name="connsiteY6598" fmla="*/ 253841 h 514350"/>
                <a:gd name="connsiteX6599" fmla="*/ 1161574 w 6400800"/>
                <a:gd name="connsiteY6599" fmla="*/ 251936 h 514350"/>
                <a:gd name="connsiteX6600" fmla="*/ 1161574 w 6400800"/>
                <a:gd name="connsiteY6600" fmla="*/ 250984 h 514350"/>
                <a:gd name="connsiteX6601" fmla="*/ 1164431 w 6400800"/>
                <a:gd name="connsiteY6601" fmla="*/ 236696 h 514350"/>
                <a:gd name="connsiteX6602" fmla="*/ 1140619 w 6400800"/>
                <a:gd name="connsiteY6602" fmla="*/ 290036 h 514350"/>
                <a:gd name="connsiteX6603" fmla="*/ 1139666 w 6400800"/>
                <a:gd name="connsiteY6603" fmla="*/ 291941 h 514350"/>
                <a:gd name="connsiteX6604" fmla="*/ 1137761 w 6400800"/>
                <a:gd name="connsiteY6604" fmla="*/ 283369 h 514350"/>
                <a:gd name="connsiteX6605" fmla="*/ 1140619 w 6400800"/>
                <a:gd name="connsiteY6605" fmla="*/ 290036 h 514350"/>
                <a:gd name="connsiteX6606" fmla="*/ 1114901 w 6400800"/>
                <a:gd name="connsiteY6606" fmla="*/ 339566 h 514350"/>
                <a:gd name="connsiteX6607" fmla="*/ 1117759 w 6400800"/>
                <a:gd name="connsiteY6607" fmla="*/ 315754 h 514350"/>
                <a:gd name="connsiteX6608" fmla="*/ 1119664 w 6400800"/>
                <a:gd name="connsiteY6608" fmla="*/ 325279 h 514350"/>
                <a:gd name="connsiteX6609" fmla="*/ 1121569 w 6400800"/>
                <a:gd name="connsiteY6609" fmla="*/ 334804 h 514350"/>
                <a:gd name="connsiteX6610" fmla="*/ 1120616 w 6400800"/>
                <a:gd name="connsiteY6610" fmla="*/ 341471 h 514350"/>
                <a:gd name="connsiteX6611" fmla="*/ 1120616 w 6400800"/>
                <a:gd name="connsiteY6611" fmla="*/ 342424 h 514350"/>
                <a:gd name="connsiteX6612" fmla="*/ 1118711 w 6400800"/>
                <a:gd name="connsiteY6612" fmla="*/ 348139 h 514350"/>
                <a:gd name="connsiteX6613" fmla="*/ 1114901 w 6400800"/>
                <a:gd name="connsiteY6613" fmla="*/ 341471 h 514350"/>
                <a:gd name="connsiteX6614" fmla="*/ 1114901 w 6400800"/>
                <a:gd name="connsiteY6614" fmla="*/ 339566 h 514350"/>
                <a:gd name="connsiteX6615" fmla="*/ 1111091 w 6400800"/>
                <a:gd name="connsiteY6615" fmla="*/ 219551 h 514350"/>
                <a:gd name="connsiteX6616" fmla="*/ 1112044 w 6400800"/>
                <a:gd name="connsiteY6616" fmla="*/ 222409 h 514350"/>
                <a:gd name="connsiteX6617" fmla="*/ 1112996 w 6400800"/>
                <a:gd name="connsiteY6617" fmla="*/ 230029 h 514350"/>
                <a:gd name="connsiteX6618" fmla="*/ 1112996 w 6400800"/>
                <a:gd name="connsiteY6618" fmla="*/ 230029 h 514350"/>
                <a:gd name="connsiteX6619" fmla="*/ 1111091 w 6400800"/>
                <a:gd name="connsiteY6619" fmla="*/ 219551 h 514350"/>
                <a:gd name="connsiteX6620" fmla="*/ 1111091 w 6400800"/>
                <a:gd name="connsiteY6620" fmla="*/ 219551 h 514350"/>
                <a:gd name="connsiteX6621" fmla="*/ 1110139 w 6400800"/>
                <a:gd name="connsiteY6621" fmla="*/ 217646 h 514350"/>
                <a:gd name="connsiteX6622" fmla="*/ 1110139 w 6400800"/>
                <a:gd name="connsiteY6622" fmla="*/ 217646 h 514350"/>
                <a:gd name="connsiteX6623" fmla="*/ 1109186 w 6400800"/>
                <a:gd name="connsiteY6623" fmla="*/ 215741 h 514350"/>
                <a:gd name="connsiteX6624" fmla="*/ 1110139 w 6400800"/>
                <a:gd name="connsiteY6624" fmla="*/ 217646 h 514350"/>
                <a:gd name="connsiteX6625" fmla="*/ 1101566 w 6400800"/>
                <a:gd name="connsiteY6625" fmla="*/ 236696 h 514350"/>
                <a:gd name="connsiteX6626" fmla="*/ 1111091 w 6400800"/>
                <a:gd name="connsiteY6626" fmla="*/ 278606 h 514350"/>
                <a:gd name="connsiteX6627" fmla="*/ 1109186 w 6400800"/>
                <a:gd name="connsiteY6627" fmla="*/ 293846 h 514350"/>
                <a:gd name="connsiteX6628" fmla="*/ 1106329 w 6400800"/>
                <a:gd name="connsiteY6628" fmla="*/ 309086 h 514350"/>
                <a:gd name="connsiteX6629" fmla="*/ 1106329 w 6400800"/>
                <a:gd name="connsiteY6629" fmla="*/ 308134 h 514350"/>
                <a:gd name="connsiteX6630" fmla="*/ 1105376 w 6400800"/>
                <a:gd name="connsiteY6630" fmla="*/ 295751 h 514350"/>
                <a:gd name="connsiteX6631" fmla="*/ 1105376 w 6400800"/>
                <a:gd name="connsiteY6631" fmla="*/ 300514 h 514350"/>
                <a:gd name="connsiteX6632" fmla="*/ 1099661 w 6400800"/>
                <a:gd name="connsiteY6632" fmla="*/ 272891 h 514350"/>
                <a:gd name="connsiteX6633" fmla="*/ 1094899 w 6400800"/>
                <a:gd name="connsiteY6633" fmla="*/ 249079 h 514350"/>
                <a:gd name="connsiteX6634" fmla="*/ 1101566 w 6400800"/>
                <a:gd name="connsiteY6634" fmla="*/ 236696 h 514350"/>
                <a:gd name="connsiteX6635" fmla="*/ 1027271 w 6400800"/>
                <a:gd name="connsiteY6635" fmla="*/ 325279 h 514350"/>
                <a:gd name="connsiteX6636" fmla="*/ 1030129 w 6400800"/>
                <a:gd name="connsiteY6636" fmla="*/ 310991 h 514350"/>
                <a:gd name="connsiteX6637" fmla="*/ 1034891 w 6400800"/>
                <a:gd name="connsiteY6637" fmla="*/ 297656 h 514350"/>
                <a:gd name="connsiteX6638" fmla="*/ 1039654 w 6400800"/>
                <a:gd name="connsiteY6638" fmla="*/ 288131 h 514350"/>
                <a:gd name="connsiteX6639" fmla="*/ 1042511 w 6400800"/>
                <a:gd name="connsiteY6639" fmla="*/ 299561 h 514350"/>
                <a:gd name="connsiteX6640" fmla="*/ 1039654 w 6400800"/>
                <a:gd name="connsiteY6640" fmla="*/ 305276 h 514350"/>
                <a:gd name="connsiteX6641" fmla="*/ 1028224 w 6400800"/>
                <a:gd name="connsiteY6641" fmla="*/ 330994 h 514350"/>
                <a:gd name="connsiteX6642" fmla="*/ 1027271 w 6400800"/>
                <a:gd name="connsiteY6642" fmla="*/ 325279 h 514350"/>
                <a:gd name="connsiteX6643" fmla="*/ 1040606 w 6400800"/>
                <a:gd name="connsiteY6643" fmla="*/ 374809 h 514350"/>
                <a:gd name="connsiteX6644" fmla="*/ 1039654 w 6400800"/>
                <a:gd name="connsiteY6644" fmla="*/ 370999 h 514350"/>
                <a:gd name="connsiteX6645" fmla="*/ 1045369 w 6400800"/>
                <a:gd name="connsiteY6645" fmla="*/ 355759 h 514350"/>
                <a:gd name="connsiteX6646" fmla="*/ 1047274 w 6400800"/>
                <a:gd name="connsiteY6646" fmla="*/ 364331 h 514350"/>
                <a:gd name="connsiteX6647" fmla="*/ 1048226 w 6400800"/>
                <a:gd name="connsiteY6647" fmla="*/ 386239 h 514350"/>
                <a:gd name="connsiteX6648" fmla="*/ 1044416 w 6400800"/>
                <a:gd name="connsiteY6648" fmla="*/ 384334 h 514350"/>
                <a:gd name="connsiteX6649" fmla="*/ 1040606 w 6400800"/>
                <a:gd name="connsiteY6649" fmla="*/ 374809 h 514350"/>
                <a:gd name="connsiteX6650" fmla="*/ 1046321 w 6400800"/>
                <a:gd name="connsiteY6650" fmla="*/ 389096 h 514350"/>
                <a:gd name="connsiteX6651" fmla="*/ 1048226 w 6400800"/>
                <a:gd name="connsiteY6651" fmla="*/ 391001 h 514350"/>
                <a:gd name="connsiteX6652" fmla="*/ 1048226 w 6400800"/>
                <a:gd name="connsiteY6652" fmla="*/ 392906 h 514350"/>
                <a:gd name="connsiteX6653" fmla="*/ 1046321 w 6400800"/>
                <a:gd name="connsiteY6653" fmla="*/ 389096 h 514350"/>
                <a:gd name="connsiteX6654" fmla="*/ 1056799 w 6400800"/>
                <a:gd name="connsiteY6654" fmla="*/ 292894 h 514350"/>
                <a:gd name="connsiteX6655" fmla="*/ 1061561 w 6400800"/>
                <a:gd name="connsiteY6655" fmla="*/ 282416 h 514350"/>
                <a:gd name="connsiteX6656" fmla="*/ 1066324 w 6400800"/>
                <a:gd name="connsiteY6656" fmla="*/ 271939 h 514350"/>
                <a:gd name="connsiteX6657" fmla="*/ 1066324 w 6400800"/>
                <a:gd name="connsiteY6657" fmla="*/ 273844 h 514350"/>
                <a:gd name="connsiteX6658" fmla="*/ 1067276 w 6400800"/>
                <a:gd name="connsiteY6658" fmla="*/ 278606 h 514350"/>
                <a:gd name="connsiteX6659" fmla="*/ 1063466 w 6400800"/>
                <a:gd name="connsiteY6659" fmla="*/ 285274 h 514350"/>
                <a:gd name="connsiteX6660" fmla="*/ 1057751 w 6400800"/>
                <a:gd name="connsiteY6660" fmla="*/ 295751 h 514350"/>
                <a:gd name="connsiteX6661" fmla="*/ 1056799 w 6400800"/>
                <a:gd name="connsiteY6661" fmla="*/ 292894 h 514350"/>
                <a:gd name="connsiteX6662" fmla="*/ 1059656 w 6400800"/>
                <a:gd name="connsiteY6662" fmla="*/ 360521 h 514350"/>
                <a:gd name="connsiteX6663" fmla="*/ 1059656 w 6400800"/>
                <a:gd name="connsiteY6663" fmla="*/ 360521 h 514350"/>
                <a:gd name="connsiteX6664" fmla="*/ 1059656 w 6400800"/>
                <a:gd name="connsiteY6664" fmla="*/ 360521 h 514350"/>
                <a:gd name="connsiteX6665" fmla="*/ 1059656 w 6400800"/>
                <a:gd name="connsiteY6665" fmla="*/ 360521 h 514350"/>
                <a:gd name="connsiteX6666" fmla="*/ 1064419 w 6400800"/>
                <a:gd name="connsiteY6666" fmla="*/ 383381 h 514350"/>
                <a:gd name="connsiteX6667" fmla="*/ 1062514 w 6400800"/>
                <a:gd name="connsiteY6667" fmla="*/ 379571 h 514350"/>
                <a:gd name="connsiteX6668" fmla="*/ 1063466 w 6400800"/>
                <a:gd name="connsiteY6668" fmla="*/ 374809 h 514350"/>
                <a:gd name="connsiteX6669" fmla="*/ 1064419 w 6400800"/>
                <a:gd name="connsiteY6669" fmla="*/ 378619 h 514350"/>
                <a:gd name="connsiteX6670" fmla="*/ 1064419 w 6400800"/>
                <a:gd name="connsiteY6670" fmla="*/ 380524 h 514350"/>
                <a:gd name="connsiteX6671" fmla="*/ 1065371 w 6400800"/>
                <a:gd name="connsiteY6671" fmla="*/ 386239 h 514350"/>
                <a:gd name="connsiteX6672" fmla="*/ 1064419 w 6400800"/>
                <a:gd name="connsiteY6672" fmla="*/ 383381 h 514350"/>
                <a:gd name="connsiteX6673" fmla="*/ 1069181 w 6400800"/>
                <a:gd name="connsiteY6673" fmla="*/ 330994 h 514350"/>
                <a:gd name="connsiteX6674" fmla="*/ 1063466 w 6400800"/>
                <a:gd name="connsiteY6674" fmla="*/ 312896 h 514350"/>
                <a:gd name="connsiteX6675" fmla="*/ 1069181 w 6400800"/>
                <a:gd name="connsiteY6675" fmla="*/ 300514 h 514350"/>
                <a:gd name="connsiteX6676" fmla="*/ 1070134 w 6400800"/>
                <a:gd name="connsiteY6676" fmla="*/ 326231 h 514350"/>
                <a:gd name="connsiteX6677" fmla="*/ 1069181 w 6400800"/>
                <a:gd name="connsiteY6677" fmla="*/ 330994 h 514350"/>
                <a:gd name="connsiteX6678" fmla="*/ 1077754 w 6400800"/>
                <a:gd name="connsiteY6678" fmla="*/ 262414 h 514350"/>
                <a:gd name="connsiteX6679" fmla="*/ 1075849 w 6400800"/>
                <a:gd name="connsiteY6679" fmla="*/ 264319 h 514350"/>
                <a:gd name="connsiteX6680" fmla="*/ 1073944 w 6400800"/>
                <a:gd name="connsiteY6680" fmla="*/ 256699 h 514350"/>
                <a:gd name="connsiteX6681" fmla="*/ 1074896 w 6400800"/>
                <a:gd name="connsiteY6681" fmla="*/ 256699 h 514350"/>
                <a:gd name="connsiteX6682" fmla="*/ 1075849 w 6400800"/>
                <a:gd name="connsiteY6682" fmla="*/ 256699 h 514350"/>
                <a:gd name="connsiteX6683" fmla="*/ 1077754 w 6400800"/>
                <a:gd name="connsiteY6683" fmla="*/ 262414 h 514350"/>
                <a:gd name="connsiteX6684" fmla="*/ 1045369 w 6400800"/>
                <a:gd name="connsiteY6684" fmla="*/ 175736 h 514350"/>
                <a:gd name="connsiteX6685" fmla="*/ 1054894 w 6400800"/>
                <a:gd name="connsiteY6685" fmla="*/ 153829 h 514350"/>
                <a:gd name="connsiteX6686" fmla="*/ 1055846 w 6400800"/>
                <a:gd name="connsiteY6686" fmla="*/ 155734 h 514350"/>
                <a:gd name="connsiteX6687" fmla="*/ 1059656 w 6400800"/>
                <a:gd name="connsiteY6687" fmla="*/ 171926 h 514350"/>
                <a:gd name="connsiteX6688" fmla="*/ 1064419 w 6400800"/>
                <a:gd name="connsiteY6688" fmla="*/ 193834 h 514350"/>
                <a:gd name="connsiteX6689" fmla="*/ 1069181 w 6400800"/>
                <a:gd name="connsiteY6689" fmla="*/ 215741 h 514350"/>
                <a:gd name="connsiteX6690" fmla="*/ 1076801 w 6400800"/>
                <a:gd name="connsiteY6690" fmla="*/ 253841 h 514350"/>
                <a:gd name="connsiteX6691" fmla="*/ 1074896 w 6400800"/>
                <a:gd name="connsiteY6691" fmla="*/ 252889 h 514350"/>
                <a:gd name="connsiteX6692" fmla="*/ 1067276 w 6400800"/>
                <a:gd name="connsiteY6692" fmla="*/ 216694 h 514350"/>
                <a:gd name="connsiteX6693" fmla="*/ 1068229 w 6400800"/>
                <a:gd name="connsiteY6693" fmla="*/ 257651 h 514350"/>
                <a:gd name="connsiteX6694" fmla="*/ 1067276 w 6400800"/>
                <a:gd name="connsiteY6694" fmla="*/ 259556 h 514350"/>
                <a:gd name="connsiteX6695" fmla="*/ 1065371 w 6400800"/>
                <a:gd name="connsiteY6695" fmla="*/ 252889 h 514350"/>
                <a:gd name="connsiteX6696" fmla="*/ 1066324 w 6400800"/>
                <a:gd name="connsiteY6696" fmla="*/ 261461 h 514350"/>
                <a:gd name="connsiteX6697" fmla="*/ 1055846 w 6400800"/>
                <a:gd name="connsiteY6697" fmla="*/ 278606 h 514350"/>
                <a:gd name="connsiteX6698" fmla="*/ 1054894 w 6400800"/>
                <a:gd name="connsiteY6698" fmla="*/ 280511 h 514350"/>
                <a:gd name="connsiteX6699" fmla="*/ 1053941 w 6400800"/>
                <a:gd name="connsiteY6699" fmla="*/ 277654 h 514350"/>
                <a:gd name="connsiteX6700" fmla="*/ 1043464 w 6400800"/>
                <a:gd name="connsiteY6700" fmla="*/ 245269 h 514350"/>
                <a:gd name="connsiteX6701" fmla="*/ 1035844 w 6400800"/>
                <a:gd name="connsiteY6701" fmla="*/ 220504 h 514350"/>
                <a:gd name="connsiteX6702" fmla="*/ 1032034 w 6400800"/>
                <a:gd name="connsiteY6702" fmla="*/ 209074 h 514350"/>
                <a:gd name="connsiteX6703" fmla="*/ 1045369 w 6400800"/>
                <a:gd name="connsiteY6703" fmla="*/ 175736 h 514350"/>
                <a:gd name="connsiteX6704" fmla="*/ 1019651 w 6400800"/>
                <a:gd name="connsiteY6704" fmla="*/ 267176 h 514350"/>
                <a:gd name="connsiteX6705" fmla="*/ 1023461 w 6400800"/>
                <a:gd name="connsiteY6705" fmla="*/ 221456 h 514350"/>
                <a:gd name="connsiteX6706" fmla="*/ 1024414 w 6400800"/>
                <a:gd name="connsiteY6706" fmla="*/ 218599 h 514350"/>
                <a:gd name="connsiteX6707" fmla="*/ 1032034 w 6400800"/>
                <a:gd name="connsiteY6707" fmla="*/ 253841 h 514350"/>
                <a:gd name="connsiteX6708" fmla="*/ 1038701 w 6400800"/>
                <a:gd name="connsiteY6708" fmla="*/ 283369 h 514350"/>
                <a:gd name="connsiteX6709" fmla="*/ 1037749 w 6400800"/>
                <a:gd name="connsiteY6709" fmla="*/ 284321 h 514350"/>
                <a:gd name="connsiteX6710" fmla="*/ 1031081 w 6400800"/>
                <a:gd name="connsiteY6710" fmla="*/ 294799 h 514350"/>
                <a:gd name="connsiteX6711" fmla="*/ 1025366 w 6400800"/>
                <a:gd name="connsiteY6711" fmla="*/ 306229 h 514350"/>
                <a:gd name="connsiteX6712" fmla="*/ 1023461 w 6400800"/>
                <a:gd name="connsiteY6712" fmla="*/ 284321 h 514350"/>
                <a:gd name="connsiteX6713" fmla="*/ 1022509 w 6400800"/>
                <a:gd name="connsiteY6713" fmla="*/ 269081 h 514350"/>
                <a:gd name="connsiteX6714" fmla="*/ 1019651 w 6400800"/>
                <a:gd name="connsiteY6714" fmla="*/ 284321 h 514350"/>
                <a:gd name="connsiteX6715" fmla="*/ 1015841 w 6400800"/>
                <a:gd name="connsiteY6715" fmla="*/ 314801 h 514350"/>
                <a:gd name="connsiteX6716" fmla="*/ 1015841 w 6400800"/>
                <a:gd name="connsiteY6716" fmla="*/ 315754 h 514350"/>
                <a:gd name="connsiteX6717" fmla="*/ 1015841 w 6400800"/>
                <a:gd name="connsiteY6717" fmla="*/ 315754 h 514350"/>
                <a:gd name="connsiteX6718" fmla="*/ 1022509 w 6400800"/>
                <a:gd name="connsiteY6718" fmla="*/ 251936 h 514350"/>
                <a:gd name="connsiteX6719" fmla="*/ 1019651 w 6400800"/>
                <a:gd name="connsiteY6719" fmla="*/ 267176 h 514350"/>
                <a:gd name="connsiteX6720" fmla="*/ 1011079 w 6400800"/>
                <a:gd name="connsiteY6720" fmla="*/ 364331 h 514350"/>
                <a:gd name="connsiteX6721" fmla="*/ 1012031 w 6400800"/>
                <a:gd name="connsiteY6721" fmla="*/ 355759 h 514350"/>
                <a:gd name="connsiteX6722" fmla="*/ 1013936 w 6400800"/>
                <a:gd name="connsiteY6722" fmla="*/ 342424 h 514350"/>
                <a:gd name="connsiteX6723" fmla="*/ 1013936 w 6400800"/>
                <a:gd name="connsiteY6723" fmla="*/ 342424 h 514350"/>
                <a:gd name="connsiteX6724" fmla="*/ 1012031 w 6400800"/>
                <a:gd name="connsiteY6724" fmla="*/ 364331 h 514350"/>
                <a:gd name="connsiteX6725" fmla="*/ 1011079 w 6400800"/>
                <a:gd name="connsiteY6725" fmla="*/ 366236 h 514350"/>
                <a:gd name="connsiteX6726" fmla="*/ 1011079 w 6400800"/>
                <a:gd name="connsiteY6726" fmla="*/ 366236 h 514350"/>
                <a:gd name="connsiteX6727" fmla="*/ 1011079 w 6400800"/>
                <a:gd name="connsiteY6727" fmla="*/ 364331 h 514350"/>
                <a:gd name="connsiteX6728" fmla="*/ 1004411 w 6400800"/>
                <a:gd name="connsiteY6728" fmla="*/ 257651 h 514350"/>
                <a:gd name="connsiteX6729" fmla="*/ 1001554 w 6400800"/>
                <a:gd name="connsiteY6729" fmla="*/ 281464 h 514350"/>
                <a:gd name="connsiteX6730" fmla="*/ 996791 w 6400800"/>
                <a:gd name="connsiteY6730" fmla="*/ 271939 h 514350"/>
                <a:gd name="connsiteX6731" fmla="*/ 1004411 w 6400800"/>
                <a:gd name="connsiteY6731" fmla="*/ 257651 h 514350"/>
                <a:gd name="connsiteX6732" fmla="*/ 991076 w 6400800"/>
                <a:gd name="connsiteY6732" fmla="*/ 283369 h 514350"/>
                <a:gd name="connsiteX6733" fmla="*/ 995839 w 6400800"/>
                <a:gd name="connsiteY6733" fmla="*/ 273844 h 514350"/>
                <a:gd name="connsiteX6734" fmla="*/ 999649 w 6400800"/>
                <a:gd name="connsiteY6734" fmla="*/ 291941 h 514350"/>
                <a:gd name="connsiteX6735" fmla="*/ 995839 w 6400800"/>
                <a:gd name="connsiteY6735" fmla="*/ 326231 h 514350"/>
                <a:gd name="connsiteX6736" fmla="*/ 993934 w 6400800"/>
                <a:gd name="connsiteY6736" fmla="*/ 330994 h 514350"/>
                <a:gd name="connsiteX6737" fmla="*/ 992981 w 6400800"/>
                <a:gd name="connsiteY6737" fmla="*/ 320516 h 514350"/>
                <a:gd name="connsiteX6738" fmla="*/ 991076 w 6400800"/>
                <a:gd name="connsiteY6738" fmla="*/ 338614 h 514350"/>
                <a:gd name="connsiteX6739" fmla="*/ 990124 w 6400800"/>
                <a:gd name="connsiteY6739" fmla="*/ 341471 h 514350"/>
                <a:gd name="connsiteX6740" fmla="*/ 981551 w 6400800"/>
                <a:gd name="connsiteY6740" fmla="*/ 365284 h 514350"/>
                <a:gd name="connsiteX6741" fmla="*/ 980599 w 6400800"/>
                <a:gd name="connsiteY6741" fmla="*/ 363379 h 514350"/>
                <a:gd name="connsiteX6742" fmla="*/ 977741 w 6400800"/>
                <a:gd name="connsiteY6742" fmla="*/ 331946 h 514350"/>
                <a:gd name="connsiteX6743" fmla="*/ 975836 w 6400800"/>
                <a:gd name="connsiteY6743" fmla="*/ 311944 h 514350"/>
                <a:gd name="connsiteX6744" fmla="*/ 991076 w 6400800"/>
                <a:gd name="connsiteY6744" fmla="*/ 283369 h 514350"/>
                <a:gd name="connsiteX6745" fmla="*/ 960596 w 6400800"/>
                <a:gd name="connsiteY6745" fmla="*/ 298609 h 514350"/>
                <a:gd name="connsiteX6746" fmla="*/ 968216 w 6400800"/>
                <a:gd name="connsiteY6746" fmla="*/ 280511 h 514350"/>
                <a:gd name="connsiteX6747" fmla="*/ 967264 w 6400800"/>
                <a:gd name="connsiteY6747" fmla="*/ 294799 h 514350"/>
                <a:gd name="connsiteX6748" fmla="*/ 961549 w 6400800"/>
                <a:gd name="connsiteY6748" fmla="*/ 304324 h 514350"/>
                <a:gd name="connsiteX6749" fmla="*/ 961549 w 6400800"/>
                <a:gd name="connsiteY6749" fmla="*/ 303371 h 514350"/>
                <a:gd name="connsiteX6750" fmla="*/ 960596 w 6400800"/>
                <a:gd name="connsiteY6750" fmla="*/ 301466 h 514350"/>
                <a:gd name="connsiteX6751" fmla="*/ 960596 w 6400800"/>
                <a:gd name="connsiteY6751" fmla="*/ 298609 h 514350"/>
                <a:gd name="connsiteX6752" fmla="*/ 939641 w 6400800"/>
                <a:gd name="connsiteY6752" fmla="*/ 258604 h 514350"/>
                <a:gd name="connsiteX6753" fmla="*/ 939641 w 6400800"/>
                <a:gd name="connsiteY6753" fmla="*/ 258604 h 514350"/>
                <a:gd name="connsiteX6754" fmla="*/ 943451 w 6400800"/>
                <a:gd name="connsiteY6754" fmla="*/ 246221 h 514350"/>
                <a:gd name="connsiteX6755" fmla="*/ 943451 w 6400800"/>
                <a:gd name="connsiteY6755" fmla="*/ 251936 h 514350"/>
                <a:gd name="connsiteX6756" fmla="*/ 939641 w 6400800"/>
                <a:gd name="connsiteY6756" fmla="*/ 258604 h 514350"/>
                <a:gd name="connsiteX6757" fmla="*/ 939641 w 6400800"/>
                <a:gd name="connsiteY6757" fmla="*/ 258604 h 514350"/>
                <a:gd name="connsiteX6758" fmla="*/ 944404 w 6400800"/>
                <a:gd name="connsiteY6758" fmla="*/ 280511 h 514350"/>
                <a:gd name="connsiteX6759" fmla="*/ 943451 w 6400800"/>
                <a:gd name="connsiteY6759" fmla="*/ 273844 h 514350"/>
                <a:gd name="connsiteX6760" fmla="*/ 944404 w 6400800"/>
                <a:gd name="connsiteY6760" fmla="*/ 270986 h 514350"/>
                <a:gd name="connsiteX6761" fmla="*/ 944404 w 6400800"/>
                <a:gd name="connsiteY6761" fmla="*/ 271939 h 514350"/>
                <a:gd name="connsiteX6762" fmla="*/ 944404 w 6400800"/>
                <a:gd name="connsiteY6762" fmla="*/ 275749 h 514350"/>
                <a:gd name="connsiteX6763" fmla="*/ 944404 w 6400800"/>
                <a:gd name="connsiteY6763" fmla="*/ 280511 h 514350"/>
                <a:gd name="connsiteX6764" fmla="*/ 944404 w 6400800"/>
                <a:gd name="connsiteY6764" fmla="*/ 270986 h 514350"/>
                <a:gd name="connsiteX6765" fmla="*/ 944404 w 6400800"/>
                <a:gd name="connsiteY6765" fmla="*/ 270986 h 514350"/>
                <a:gd name="connsiteX6766" fmla="*/ 944404 w 6400800"/>
                <a:gd name="connsiteY6766" fmla="*/ 270986 h 514350"/>
                <a:gd name="connsiteX6767" fmla="*/ 944404 w 6400800"/>
                <a:gd name="connsiteY6767" fmla="*/ 270986 h 514350"/>
                <a:gd name="connsiteX6768" fmla="*/ 933926 w 6400800"/>
                <a:gd name="connsiteY6768" fmla="*/ 227171 h 514350"/>
                <a:gd name="connsiteX6769" fmla="*/ 958691 w 6400800"/>
                <a:gd name="connsiteY6769" fmla="*/ 138589 h 514350"/>
                <a:gd name="connsiteX6770" fmla="*/ 958691 w 6400800"/>
                <a:gd name="connsiteY6770" fmla="*/ 146209 h 514350"/>
                <a:gd name="connsiteX6771" fmla="*/ 953929 w 6400800"/>
                <a:gd name="connsiteY6771" fmla="*/ 203359 h 514350"/>
                <a:gd name="connsiteX6772" fmla="*/ 950119 w 6400800"/>
                <a:gd name="connsiteY6772" fmla="*/ 242411 h 514350"/>
                <a:gd name="connsiteX6773" fmla="*/ 948214 w 6400800"/>
                <a:gd name="connsiteY6773" fmla="*/ 246221 h 514350"/>
                <a:gd name="connsiteX6774" fmla="*/ 947261 w 6400800"/>
                <a:gd name="connsiteY6774" fmla="*/ 240506 h 514350"/>
                <a:gd name="connsiteX6775" fmla="*/ 949166 w 6400800"/>
                <a:gd name="connsiteY6775" fmla="*/ 233839 h 514350"/>
                <a:gd name="connsiteX6776" fmla="*/ 946309 w 6400800"/>
                <a:gd name="connsiteY6776" fmla="*/ 238601 h 514350"/>
                <a:gd name="connsiteX6777" fmla="*/ 944404 w 6400800"/>
                <a:gd name="connsiteY6777" fmla="*/ 230029 h 514350"/>
                <a:gd name="connsiteX6778" fmla="*/ 944404 w 6400800"/>
                <a:gd name="connsiteY6778" fmla="*/ 241459 h 514350"/>
                <a:gd name="connsiteX6779" fmla="*/ 939641 w 6400800"/>
                <a:gd name="connsiteY6779" fmla="*/ 251936 h 514350"/>
                <a:gd name="connsiteX6780" fmla="*/ 938689 w 6400800"/>
                <a:gd name="connsiteY6780" fmla="*/ 248126 h 514350"/>
                <a:gd name="connsiteX6781" fmla="*/ 936784 w 6400800"/>
                <a:gd name="connsiteY6781" fmla="*/ 241459 h 514350"/>
                <a:gd name="connsiteX6782" fmla="*/ 943451 w 6400800"/>
                <a:gd name="connsiteY6782" fmla="*/ 217646 h 514350"/>
                <a:gd name="connsiteX6783" fmla="*/ 934879 w 6400800"/>
                <a:gd name="connsiteY6783" fmla="*/ 235744 h 514350"/>
                <a:gd name="connsiteX6784" fmla="*/ 932974 w 6400800"/>
                <a:gd name="connsiteY6784" fmla="*/ 230029 h 514350"/>
                <a:gd name="connsiteX6785" fmla="*/ 933926 w 6400800"/>
                <a:gd name="connsiteY6785" fmla="*/ 227171 h 514350"/>
                <a:gd name="connsiteX6786" fmla="*/ 921544 w 6400800"/>
                <a:gd name="connsiteY6786" fmla="*/ 452914 h 514350"/>
                <a:gd name="connsiteX6787" fmla="*/ 920591 w 6400800"/>
                <a:gd name="connsiteY6787" fmla="*/ 451961 h 514350"/>
                <a:gd name="connsiteX6788" fmla="*/ 919639 w 6400800"/>
                <a:gd name="connsiteY6788" fmla="*/ 438626 h 514350"/>
                <a:gd name="connsiteX6789" fmla="*/ 921544 w 6400800"/>
                <a:gd name="connsiteY6789" fmla="*/ 452914 h 514350"/>
                <a:gd name="connsiteX6790" fmla="*/ 912019 w 6400800"/>
                <a:gd name="connsiteY6790" fmla="*/ 210979 h 514350"/>
                <a:gd name="connsiteX6791" fmla="*/ 915829 w 6400800"/>
                <a:gd name="connsiteY6791" fmla="*/ 227171 h 514350"/>
                <a:gd name="connsiteX6792" fmla="*/ 914876 w 6400800"/>
                <a:gd name="connsiteY6792" fmla="*/ 230029 h 514350"/>
                <a:gd name="connsiteX6793" fmla="*/ 912971 w 6400800"/>
                <a:gd name="connsiteY6793" fmla="*/ 236696 h 514350"/>
                <a:gd name="connsiteX6794" fmla="*/ 912019 w 6400800"/>
                <a:gd name="connsiteY6794" fmla="*/ 232886 h 514350"/>
                <a:gd name="connsiteX6795" fmla="*/ 912019 w 6400800"/>
                <a:gd name="connsiteY6795" fmla="*/ 228124 h 514350"/>
                <a:gd name="connsiteX6796" fmla="*/ 911066 w 6400800"/>
                <a:gd name="connsiteY6796" fmla="*/ 210979 h 514350"/>
                <a:gd name="connsiteX6797" fmla="*/ 911066 w 6400800"/>
                <a:gd name="connsiteY6797" fmla="*/ 204311 h 514350"/>
                <a:gd name="connsiteX6798" fmla="*/ 912019 w 6400800"/>
                <a:gd name="connsiteY6798" fmla="*/ 210979 h 514350"/>
                <a:gd name="connsiteX6799" fmla="*/ 833914 w 6400800"/>
                <a:gd name="connsiteY6799" fmla="*/ 333851 h 514350"/>
                <a:gd name="connsiteX6800" fmla="*/ 834866 w 6400800"/>
                <a:gd name="connsiteY6800" fmla="*/ 331946 h 514350"/>
                <a:gd name="connsiteX6801" fmla="*/ 834866 w 6400800"/>
                <a:gd name="connsiteY6801" fmla="*/ 337661 h 514350"/>
                <a:gd name="connsiteX6802" fmla="*/ 833914 w 6400800"/>
                <a:gd name="connsiteY6802" fmla="*/ 333851 h 514350"/>
                <a:gd name="connsiteX6803" fmla="*/ 847249 w 6400800"/>
                <a:gd name="connsiteY6803" fmla="*/ 304324 h 514350"/>
                <a:gd name="connsiteX6804" fmla="*/ 846296 w 6400800"/>
                <a:gd name="connsiteY6804" fmla="*/ 301466 h 514350"/>
                <a:gd name="connsiteX6805" fmla="*/ 846296 w 6400800"/>
                <a:gd name="connsiteY6805" fmla="*/ 299561 h 514350"/>
                <a:gd name="connsiteX6806" fmla="*/ 851059 w 6400800"/>
                <a:gd name="connsiteY6806" fmla="*/ 286226 h 514350"/>
                <a:gd name="connsiteX6807" fmla="*/ 847249 w 6400800"/>
                <a:gd name="connsiteY6807" fmla="*/ 304324 h 514350"/>
                <a:gd name="connsiteX6808" fmla="*/ 880586 w 6400800"/>
                <a:gd name="connsiteY6808" fmla="*/ 300514 h 514350"/>
                <a:gd name="connsiteX6809" fmla="*/ 876776 w 6400800"/>
                <a:gd name="connsiteY6809" fmla="*/ 319564 h 514350"/>
                <a:gd name="connsiteX6810" fmla="*/ 872966 w 6400800"/>
                <a:gd name="connsiteY6810" fmla="*/ 343376 h 514350"/>
                <a:gd name="connsiteX6811" fmla="*/ 869156 w 6400800"/>
                <a:gd name="connsiteY6811" fmla="*/ 350996 h 514350"/>
                <a:gd name="connsiteX6812" fmla="*/ 868204 w 6400800"/>
                <a:gd name="connsiteY6812" fmla="*/ 349091 h 514350"/>
                <a:gd name="connsiteX6813" fmla="*/ 867251 w 6400800"/>
                <a:gd name="connsiteY6813" fmla="*/ 348139 h 514350"/>
                <a:gd name="connsiteX6814" fmla="*/ 867251 w 6400800"/>
                <a:gd name="connsiteY6814" fmla="*/ 335756 h 514350"/>
                <a:gd name="connsiteX6815" fmla="*/ 866299 w 6400800"/>
                <a:gd name="connsiteY6815" fmla="*/ 301466 h 514350"/>
                <a:gd name="connsiteX6816" fmla="*/ 863441 w 6400800"/>
                <a:gd name="connsiteY6816" fmla="*/ 272891 h 514350"/>
                <a:gd name="connsiteX6817" fmla="*/ 861536 w 6400800"/>
                <a:gd name="connsiteY6817" fmla="*/ 257651 h 514350"/>
                <a:gd name="connsiteX6818" fmla="*/ 862489 w 6400800"/>
                <a:gd name="connsiteY6818" fmla="*/ 255746 h 514350"/>
                <a:gd name="connsiteX6819" fmla="*/ 862489 w 6400800"/>
                <a:gd name="connsiteY6819" fmla="*/ 255746 h 514350"/>
                <a:gd name="connsiteX6820" fmla="*/ 876776 w 6400800"/>
                <a:gd name="connsiteY6820" fmla="*/ 286226 h 514350"/>
                <a:gd name="connsiteX6821" fmla="*/ 881539 w 6400800"/>
                <a:gd name="connsiteY6821" fmla="*/ 296704 h 514350"/>
                <a:gd name="connsiteX6822" fmla="*/ 880586 w 6400800"/>
                <a:gd name="connsiteY6822" fmla="*/ 300514 h 514350"/>
                <a:gd name="connsiteX6823" fmla="*/ 885349 w 6400800"/>
                <a:gd name="connsiteY6823" fmla="*/ 318611 h 514350"/>
                <a:gd name="connsiteX6824" fmla="*/ 884396 w 6400800"/>
                <a:gd name="connsiteY6824" fmla="*/ 319564 h 514350"/>
                <a:gd name="connsiteX6825" fmla="*/ 883444 w 6400800"/>
                <a:gd name="connsiteY6825" fmla="*/ 320516 h 514350"/>
                <a:gd name="connsiteX6826" fmla="*/ 884396 w 6400800"/>
                <a:gd name="connsiteY6826" fmla="*/ 303371 h 514350"/>
                <a:gd name="connsiteX6827" fmla="*/ 887254 w 6400800"/>
                <a:gd name="connsiteY6827" fmla="*/ 310039 h 514350"/>
                <a:gd name="connsiteX6828" fmla="*/ 885349 w 6400800"/>
                <a:gd name="connsiteY6828" fmla="*/ 318611 h 514350"/>
                <a:gd name="connsiteX6829" fmla="*/ 900589 w 6400800"/>
                <a:gd name="connsiteY6829" fmla="*/ 246221 h 514350"/>
                <a:gd name="connsiteX6830" fmla="*/ 900589 w 6400800"/>
                <a:gd name="connsiteY6830" fmla="*/ 246221 h 514350"/>
                <a:gd name="connsiteX6831" fmla="*/ 898684 w 6400800"/>
                <a:gd name="connsiteY6831" fmla="*/ 234791 h 514350"/>
                <a:gd name="connsiteX6832" fmla="*/ 897731 w 6400800"/>
                <a:gd name="connsiteY6832" fmla="*/ 252889 h 514350"/>
                <a:gd name="connsiteX6833" fmla="*/ 897731 w 6400800"/>
                <a:gd name="connsiteY6833" fmla="*/ 253841 h 514350"/>
                <a:gd name="connsiteX6834" fmla="*/ 894874 w 6400800"/>
                <a:gd name="connsiteY6834" fmla="*/ 250031 h 514350"/>
                <a:gd name="connsiteX6835" fmla="*/ 897731 w 6400800"/>
                <a:gd name="connsiteY6835" fmla="*/ 254794 h 514350"/>
                <a:gd name="connsiteX6836" fmla="*/ 897731 w 6400800"/>
                <a:gd name="connsiteY6836" fmla="*/ 257651 h 514350"/>
                <a:gd name="connsiteX6837" fmla="*/ 896779 w 6400800"/>
                <a:gd name="connsiteY6837" fmla="*/ 264319 h 514350"/>
                <a:gd name="connsiteX6838" fmla="*/ 896779 w 6400800"/>
                <a:gd name="connsiteY6838" fmla="*/ 264319 h 514350"/>
                <a:gd name="connsiteX6839" fmla="*/ 896779 w 6400800"/>
                <a:gd name="connsiteY6839" fmla="*/ 264319 h 514350"/>
                <a:gd name="connsiteX6840" fmla="*/ 896779 w 6400800"/>
                <a:gd name="connsiteY6840" fmla="*/ 265271 h 514350"/>
                <a:gd name="connsiteX6841" fmla="*/ 896779 w 6400800"/>
                <a:gd name="connsiteY6841" fmla="*/ 270986 h 514350"/>
                <a:gd name="connsiteX6842" fmla="*/ 896779 w 6400800"/>
                <a:gd name="connsiteY6842" fmla="*/ 272891 h 514350"/>
                <a:gd name="connsiteX6843" fmla="*/ 895826 w 6400800"/>
                <a:gd name="connsiteY6843" fmla="*/ 285274 h 514350"/>
                <a:gd name="connsiteX6844" fmla="*/ 895826 w 6400800"/>
                <a:gd name="connsiteY6844" fmla="*/ 287179 h 514350"/>
                <a:gd name="connsiteX6845" fmla="*/ 891064 w 6400800"/>
                <a:gd name="connsiteY6845" fmla="*/ 279559 h 514350"/>
                <a:gd name="connsiteX6846" fmla="*/ 873919 w 6400800"/>
                <a:gd name="connsiteY6846" fmla="*/ 250984 h 514350"/>
                <a:gd name="connsiteX6847" fmla="*/ 869156 w 6400800"/>
                <a:gd name="connsiteY6847" fmla="*/ 243364 h 514350"/>
                <a:gd name="connsiteX6848" fmla="*/ 869156 w 6400800"/>
                <a:gd name="connsiteY6848" fmla="*/ 242411 h 514350"/>
                <a:gd name="connsiteX6849" fmla="*/ 878681 w 6400800"/>
                <a:gd name="connsiteY6849" fmla="*/ 215741 h 514350"/>
                <a:gd name="connsiteX6850" fmla="*/ 887254 w 6400800"/>
                <a:gd name="connsiteY6850" fmla="*/ 200501 h 514350"/>
                <a:gd name="connsiteX6851" fmla="*/ 895826 w 6400800"/>
                <a:gd name="connsiteY6851" fmla="*/ 223361 h 514350"/>
                <a:gd name="connsiteX6852" fmla="*/ 901541 w 6400800"/>
                <a:gd name="connsiteY6852" fmla="*/ 240506 h 514350"/>
                <a:gd name="connsiteX6853" fmla="*/ 900589 w 6400800"/>
                <a:gd name="connsiteY6853" fmla="*/ 246221 h 514350"/>
                <a:gd name="connsiteX6854" fmla="*/ 891064 w 6400800"/>
                <a:gd name="connsiteY6854" fmla="*/ 190976 h 514350"/>
                <a:gd name="connsiteX6855" fmla="*/ 892969 w 6400800"/>
                <a:gd name="connsiteY6855" fmla="*/ 187166 h 514350"/>
                <a:gd name="connsiteX6856" fmla="*/ 896779 w 6400800"/>
                <a:gd name="connsiteY6856" fmla="*/ 202406 h 514350"/>
                <a:gd name="connsiteX6857" fmla="*/ 891064 w 6400800"/>
                <a:gd name="connsiteY6857" fmla="*/ 190976 h 514350"/>
                <a:gd name="connsiteX6858" fmla="*/ 904399 w 6400800"/>
                <a:gd name="connsiteY6858" fmla="*/ 181451 h 514350"/>
                <a:gd name="connsiteX6859" fmla="*/ 904399 w 6400800"/>
                <a:gd name="connsiteY6859" fmla="*/ 183356 h 514350"/>
                <a:gd name="connsiteX6860" fmla="*/ 903446 w 6400800"/>
                <a:gd name="connsiteY6860" fmla="*/ 210979 h 514350"/>
                <a:gd name="connsiteX6861" fmla="*/ 903446 w 6400800"/>
                <a:gd name="connsiteY6861" fmla="*/ 210026 h 514350"/>
                <a:gd name="connsiteX6862" fmla="*/ 894874 w 6400800"/>
                <a:gd name="connsiteY6862" fmla="*/ 188119 h 514350"/>
                <a:gd name="connsiteX6863" fmla="*/ 903446 w 6400800"/>
                <a:gd name="connsiteY6863" fmla="*/ 173831 h 514350"/>
                <a:gd name="connsiteX6864" fmla="*/ 904399 w 6400800"/>
                <a:gd name="connsiteY6864" fmla="*/ 181451 h 514350"/>
                <a:gd name="connsiteX6865" fmla="*/ 888206 w 6400800"/>
                <a:gd name="connsiteY6865" fmla="*/ 137636 h 514350"/>
                <a:gd name="connsiteX6866" fmla="*/ 890111 w 6400800"/>
                <a:gd name="connsiteY6866" fmla="*/ 132874 h 514350"/>
                <a:gd name="connsiteX6867" fmla="*/ 898684 w 6400800"/>
                <a:gd name="connsiteY6867" fmla="*/ 161449 h 514350"/>
                <a:gd name="connsiteX6868" fmla="*/ 893921 w 6400800"/>
                <a:gd name="connsiteY6868" fmla="*/ 168116 h 514350"/>
                <a:gd name="connsiteX6869" fmla="*/ 885349 w 6400800"/>
                <a:gd name="connsiteY6869" fmla="*/ 180499 h 514350"/>
                <a:gd name="connsiteX6870" fmla="*/ 874871 w 6400800"/>
                <a:gd name="connsiteY6870" fmla="*/ 163354 h 514350"/>
                <a:gd name="connsiteX6871" fmla="*/ 888206 w 6400800"/>
                <a:gd name="connsiteY6871" fmla="*/ 137636 h 514350"/>
                <a:gd name="connsiteX6872" fmla="*/ 872966 w 6400800"/>
                <a:gd name="connsiteY6872" fmla="*/ 169069 h 514350"/>
                <a:gd name="connsiteX6873" fmla="*/ 881539 w 6400800"/>
                <a:gd name="connsiteY6873" fmla="*/ 188119 h 514350"/>
                <a:gd name="connsiteX6874" fmla="*/ 878681 w 6400800"/>
                <a:gd name="connsiteY6874" fmla="*/ 191929 h 514350"/>
                <a:gd name="connsiteX6875" fmla="*/ 856774 w 6400800"/>
                <a:gd name="connsiteY6875" fmla="*/ 226219 h 514350"/>
                <a:gd name="connsiteX6876" fmla="*/ 851059 w 6400800"/>
                <a:gd name="connsiteY6876" fmla="*/ 217646 h 514350"/>
                <a:gd name="connsiteX6877" fmla="*/ 872966 w 6400800"/>
                <a:gd name="connsiteY6877" fmla="*/ 169069 h 514350"/>
                <a:gd name="connsiteX6878" fmla="*/ 847249 w 6400800"/>
                <a:gd name="connsiteY6878" fmla="*/ 225266 h 514350"/>
                <a:gd name="connsiteX6879" fmla="*/ 848201 w 6400800"/>
                <a:gd name="connsiteY6879" fmla="*/ 223361 h 514350"/>
                <a:gd name="connsiteX6880" fmla="*/ 852011 w 6400800"/>
                <a:gd name="connsiteY6880" fmla="*/ 232886 h 514350"/>
                <a:gd name="connsiteX6881" fmla="*/ 845344 w 6400800"/>
                <a:gd name="connsiteY6881" fmla="*/ 243364 h 514350"/>
                <a:gd name="connsiteX6882" fmla="*/ 837724 w 6400800"/>
                <a:gd name="connsiteY6882" fmla="*/ 256699 h 514350"/>
                <a:gd name="connsiteX6883" fmla="*/ 836771 w 6400800"/>
                <a:gd name="connsiteY6883" fmla="*/ 250984 h 514350"/>
                <a:gd name="connsiteX6884" fmla="*/ 847249 w 6400800"/>
                <a:gd name="connsiteY6884" fmla="*/ 225266 h 514350"/>
                <a:gd name="connsiteX6885" fmla="*/ 835819 w 6400800"/>
                <a:gd name="connsiteY6885" fmla="*/ 195739 h 514350"/>
                <a:gd name="connsiteX6886" fmla="*/ 835819 w 6400800"/>
                <a:gd name="connsiteY6886" fmla="*/ 195739 h 514350"/>
                <a:gd name="connsiteX6887" fmla="*/ 840581 w 6400800"/>
                <a:gd name="connsiteY6887" fmla="*/ 206216 h 514350"/>
                <a:gd name="connsiteX6888" fmla="*/ 833914 w 6400800"/>
                <a:gd name="connsiteY6888" fmla="*/ 219551 h 514350"/>
                <a:gd name="connsiteX6889" fmla="*/ 832961 w 6400800"/>
                <a:gd name="connsiteY6889" fmla="*/ 221456 h 514350"/>
                <a:gd name="connsiteX6890" fmla="*/ 835819 w 6400800"/>
                <a:gd name="connsiteY6890" fmla="*/ 195739 h 514350"/>
                <a:gd name="connsiteX6891" fmla="*/ 826294 w 6400800"/>
                <a:gd name="connsiteY6891" fmla="*/ 274796 h 514350"/>
                <a:gd name="connsiteX6892" fmla="*/ 828199 w 6400800"/>
                <a:gd name="connsiteY6892" fmla="*/ 270986 h 514350"/>
                <a:gd name="connsiteX6893" fmla="*/ 828199 w 6400800"/>
                <a:gd name="connsiteY6893" fmla="*/ 272891 h 514350"/>
                <a:gd name="connsiteX6894" fmla="*/ 826294 w 6400800"/>
                <a:gd name="connsiteY6894" fmla="*/ 276701 h 514350"/>
                <a:gd name="connsiteX6895" fmla="*/ 826294 w 6400800"/>
                <a:gd name="connsiteY6895" fmla="*/ 274796 h 514350"/>
                <a:gd name="connsiteX6896" fmla="*/ 812006 w 6400800"/>
                <a:gd name="connsiteY6896" fmla="*/ 448151 h 514350"/>
                <a:gd name="connsiteX6897" fmla="*/ 812006 w 6400800"/>
                <a:gd name="connsiteY6897" fmla="*/ 448151 h 514350"/>
                <a:gd name="connsiteX6898" fmla="*/ 812006 w 6400800"/>
                <a:gd name="connsiteY6898" fmla="*/ 448151 h 514350"/>
                <a:gd name="connsiteX6899" fmla="*/ 812006 w 6400800"/>
                <a:gd name="connsiteY6899" fmla="*/ 448151 h 514350"/>
                <a:gd name="connsiteX6900" fmla="*/ 785336 w 6400800"/>
                <a:gd name="connsiteY6900" fmla="*/ 330041 h 514350"/>
                <a:gd name="connsiteX6901" fmla="*/ 782479 w 6400800"/>
                <a:gd name="connsiteY6901" fmla="*/ 325279 h 514350"/>
                <a:gd name="connsiteX6902" fmla="*/ 782479 w 6400800"/>
                <a:gd name="connsiteY6902" fmla="*/ 315754 h 514350"/>
                <a:gd name="connsiteX6903" fmla="*/ 786289 w 6400800"/>
                <a:gd name="connsiteY6903" fmla="*/ 326231 h 514350"/>
                <a:gd name="connsiteX6904" fmla="*/ 785336 w 6400800"/>
                <a:gd name="connsiteY6904" fmla="*/ 330041 h 514350"/>
                <a:gd name="connsiteX6905" fmla="*/ 797719 w 6400800"/>
                <a:gd name="connsiteY6905" fmla="*/ 271939 h 514350"/>
                <a:gd name="connsiteX6906" fmla="*/ 803434 w 6400800"/>
                <a:gd name="connsiteY6906" fmla="*/ 286226 h 514350"/>
                <a:gd name="connsiteX6907" fmla="*/ 802481 w 6400800"/>
                <a:gd name="connsiteY6907" fmla="*/ 288131 h 514350"/>
                <a:gd name="connsiteX6908" fmla="*/ 792956 w 6400800"/>
                <a:gd name="connsiteY6908" fmla="*/ 310039 h 514350"/>
                <a:gd name="connsiteX6909" fmla="*/ 792956 w 6400800"/>
                <a:gd name="connsiteY6909" fmla="*/ 309086 h 514350"/>
                <a:gd name="connsiteX6910" fmla="*/ 787241 w 6400800"/>
                <a:gd name="connsiteY6910" fmla="*/ 296704 h 514350"/>
                <a:gd name="connsiteX6911" fmla="*/ 795814 w 6400800"/>
                <a:gd name="connsiteY6911" fmla="*/ 266224 h 514350"/>
                <a:gd name="connsiteX6912" fmla="*/ 797719 w 6400800"/>
                <a:gd name="connsiteY6912" fmla="*/ 271939 h 514350"/>
                <a:gd name="connsiteX6913" fmla="*/ 790099 w 6400800"/>
                <a:gd name="connsiteY6913" fmla="*/ 253841 h 514350"/>
                <a:gd name="connsiteX6914" fmla="*/ 793909 w 6400800"/>
                <a:gd name="connsiteY6914" fmla="*/ 261461 h 514350"/>
                <a:gd name="connsiteX6915" fmla="*/ 793909 w 6400800"/>
                <a:gd name="connsiteY6915" fmla="*/ 262414 h 514350"/>
                <a:gd name="connsiteX6916" fmla="*/ 784384 w 6400800"/>
                <a:gd name="connsiteY6916" fmla="*/ 286226 h 514350"/>
                <a:gd name="connsiteX6917" fmla="*/ 785336 w 6400800"/>
                <a:gd name="connsiteY6917" fmla="*/ 273844 h 514350"/>
                <a:gd name="connsiteX6918" fmla="*/ 790099 w 6400800"/>
                <a:gd name="connsiteY6918" fmla="*/ 253841 h 514350"/>
                <a:gd name="connsiteX6919" fmla="*/ 773906 w 6400800"/>
                <a:gd name="connsiteY6919" fmla="*/ 236696 h 514350"/>
                <a:gd name="connsiteX6920" fmla="*/ 776764 w 6400800"/>
                <a:gd name="connsiteY6920" fmla="*/ 213836 h 514350"/>
                <a:gd name="connsiteX6921" fmla="*/ 783431 w 6400800"/>
                <a:gd name="connsiteY6921" fmla="*/ 229076 h 514350"/>
                <a:gd name="connsiteX6922" fmla="*/ 780574 w 6400800"/>
                <a:gd name="connsiteY6922" fmla="*/ 235744 h 514350"/>
                <a:gd name="connsiteX6923" fmla="*/ 777716 w 6400800"/>
                <a:gd name="connsiteY6923" fmla="*/ 231934 h 514350"/>
                <a:gd name="connsiteX6924" fmla="*/ 780574 w 6400800"/>
                <a:gd name="connsiteY6924" fmla="*/ 236696 h 514350"/>
                <a:gd name="connsiteX6925" fmla="*/ 773906 w 6400800"/>
                <a:gd name="connsiteY6925" fmla="*/ 255746 h 514350"/>
                <a:gd name="connsiteX6926" fmla="*/ 773906 w 6400800"/>
                <a:gd name="connsiteY6926" fmla="*/ 236696 h 514350"/>
                <a:gd name="connsiteX6927" fmla="*/ 724376 w 6400800"/>
                <a:gd name="connsiteY6927" fmla="*/ 219551 h 514350"/>
                <a:gd name="connsiteX6928" fmla="*/ 726281 w 6400800"/>
                <a:gd name="connsiteY6928" fmla="*/ 203359 h 514350"/>
                <a:gd name="connsiteX6929" fmla="*/ 726281 w 6400800"/>
                <a:gd name="connsiteY6929" fmla="*/ 229076 h 514350"/>
                <a:gd name="connsiteX6930" fmla="*/ 723424 w 6400800"/>
                <a:gd name="connsiteY6930" fmla="*/ 223361 h 514350"/>
                <a:gd name="connsiteX6931" fmla="*/ 724376 w 6400800"/>
                <a:gd name="connsiteY6931" fmla="*/ 219551 h 514350"/>
                <a:gd name="connsiteX6932" fmla="*/ 723424 w 6400800"/>
                <a:gd name="connsiteY6932" fmla="*/ 224314 h 514350"/>
                <a:gd name="connsiteX6933" fmla="*/ 724376 w 6400800"/>
                <a:gd name="connsiteY6933" fmla="*/ 235744 h 514350"/>
                <a:gd name="connsiteX6934" fmla="*/ 726281 w 6400800"/>
                <a:gd name="connsiteY6934" fmla="*/ 250984 h 514350"/>
                <a:gd name="connsiteX6935" fmla="*/ 726281 w 6400800"/>
                <a:gd name="connsiteY6935" fmla="*/ 251936 h 514350"/>
                <a:gd name="connsiteX6936" fmla="*/ 727234 w 6400800"/>
                <a:gd name="connsiteY6936" fmla="*/ 276701 h 514350"/>
                <a:gd name="connsiteX6937" fmla="*/ 727234 w 6400800"/>
                <a:gd name="connsiteY6937" fmla="*/ 288131 h 514350"/>
                <a:gd name="connsiteX6938" fmla="*/ 725329 w 6400800"/>
                <a:gd name="connsiteY6938" fmla="*/ 284321 h 514350"/>
                <a:gd name="connsiteX6939" fmla="*/ 717709 w 6400800"/>
                <a:gd name="connsiteY6939" fmla="*/ 260509 h 514350"/>
                <a:gd name="connsiteX6940" fmla="*/ 723424 w 6400800"/>
                <a:gd name="connsiteY6940" fmla="*/ 224314 h 514350"/>
                <a:gd name="connsiteX6941" fmla="*/ 710089 w 6400800"/>
                <a:gd name="connsiteY6941" fmla="*/ 308134 h 514350"/>
                <a:gd name="connsiteX6942" fmla="*/ 711041 w 6400800"/>
                <a:gd name="connsiteY6942" fmla="*/ 320516 h 514350"/>
                <a:gd name="connsiteX6943" fmla="*/ 717709 w 6400800"/>
                <a:gd name="connsiteY6943" fmla="*/ 373856 h 514350"/>
                <a:gd name="connsiteX6944" fmla="*/ 711041 w 6400800"/>
                <a:gd name="connsiteY6944" fmla="*/ 389096 h 514350"/>
                <a:gd name="connsiteX6945" fmla="*/ 709136 w 6400800"/>
                <a:gd name="connsiteY6945" fmla="*/ 383381 h 514350"/>
                <a:gd name="connsiteX6946" fmla="*/ 711041 w 6400800"/>
                <a:gd name="connsiteY6946" fmla="*/ 372904 h 514350"/>
                <a:gd name="connsiteX6947" fmla="*/ 713899 w 6400800"/>
                <a:gd name="connsiteY6947" fmla="*/ 352901 h 514350"/>
                <a:gd name="connsiteX6948" fmla="*/ 707231 w 6400800"/>
                <a:gd name="connsiteY6948" fmla="*/ 372904 h 514350"/>
                <a:gd name="connsiteX6949" fmla="*/ 706279 w 6400800"/>
                <a:gd name="connsiteY6949" fmla="*/ 374809 h 514350"/>
                <a:gd name="connsiteX6950" fmla="*/ 701516 w 6400800"/>
                <a:gd name="connsiteY6950" fmla="*/ 357664 h 514350"/>
                <a:gd name="connsiteX6951" fmla="*/ 701516 w 6400800"/>
                <a:gd name="connsiteY6951" fmla="*/ 357664 h 514350"/>
                <a:gd name="connsiteX6952" fmla="*/ 710089 w 6400800"/>
                <a:gd name="connsiteY6952" fmla="*/ 308134 h 514350"/>
                <a:gd name="connsiteX6953" fmla="*/ 676751 w 6400800"/>
                <a:gd name="connsiteY6953" fmla="*/ 253841 h 514350"/>
                <a:gd name="connsiteX6954" fmla="*/ 676751 w 6400800"/>
                <a:gd name="connsiteY6954" fmla="*/ 246221 h 514350"/>
                <a:gd name="connsiteX6955" fmla="*/ 679609 w 6400800"/>
                <a:gd name="connsiteY6955" fmla="*/ 220504 h 514350"/>
                <a:gd name="connsiteX6956" fmla="*/ 682466 w 6400800"/>
                <a:gd name="connsiteY6956" fmla="*/ 181451 h 514350"/>
                <a:gd name="connsiteX6957" fmla="*/ 682466 w 6400800"/>
                <a:gd name="connsiteY6957" fmla="*/ 178594 h 514350"/>
                <a:gd name="connsiteX6958" fmla="*/ 696754 w 6400800"/>
                <a:gd name="connsiteY6958" fmla="*/ 231934 h 514350"/>
                <a:gd name="connsiteX6959" fmla="*/ 705326 w 6400800"/>
                <a:gd name="connsiteY6959" fmla="*/ 267176 h 514350"/>
                <a:gd name="connsiteX6960" fmla="*/ 703421 w 6400800"/>
                <a:gd name="connsiteY6960" fmla="*/ 273844 h 514350"/>
                <a:gd name="connsiteX6961" fmla="*/ 694849 w 6400800"/>
                <a:gd name="connsiteY6961" fmla="*/ 307181 h 514350"/>
                <a:gd name="connsiteX6962" fmla="*/ 692944 w 6400800"/>
                <a:gd name="connsiteY6962" fmla="*/ 313849 h 514350"/>
                <a:gd name="connsiteX6963" fmla="*/ 690086 w 6400800"/>
                <a:gd name="connsiteY6963" fmla="*/ 322421 h 514350"/>
                <a:gd name="connsiteX6964" fmla="*/ 673894 w 6400800"/>
                <a:gd name="connsiteY6964" fmla="*/ 274796 h 514350"/>
                <a:gd name="connsiteX6965" fmla="*/ 676751 w 6400800"/>
                <a:gd name="connsiteY6965" fmla="*/ 253841 h 514350"/>
                <a:gd name="connsiteX6966" fmla="*/ 668179 w 6400800"/>
                <a:gd name="connsiteY6966" fmla="*/ 331946 h 514350"/>
                <a:gd name="connsiteX6967" fmla="*/ 668179 w 6400800"/>
                <a:gd name="connsiteY6967" fmla="*/ 330041 h 514350"/>
                <a:gd name="connsiteX6968" fmla="*/ 669131 w 6400800"/>
                <a:gd name="connsiteY6968" fmla="*/ 334804 h 514350"/>
                <a:gd name="connsiteX6969" fmla="*/ 671989 w 6400800"/>
                <a:gd name="connsiteY6969" fmla="*/ 346234 h 514350"/>
                <a:gd name="connsiteX6970" fmla="*/ 674846 w 6400800"/>
                <a:gd name="connsiteY6970" fmla="*/ 359569 h 514350"/>
                <a:gd name="connsiteX6971" fmla="*/ 676751 w 6400800"/>
                <a:gd name="connsiteY6971" fmla="*/ 370999 h 514350"/>
                <a:gd name="connsiteX6972" fmla="*/ 675799 w 6400800"/>
                <a:gd name="connsiteY6972" fmla="*/ 373856 h 514350"/>
                <a:gd name="connsiteX6973" fmla="*/ 674846 w 6400800"/>
                <a:gd name="connsiteY6973" fmla="*/ 377666 h 514350"/>
                <a:gd name="connsiteX6974" fmla="*/ 670084 w 6400800"/>
                <a:gd name="connsiteY6974" fmla="*/ 368141 h 514350"/>
                <a:gd name="connsiteX6975" fmla="*/ 664369 w 6400800"/>
                <a:gd name="connsiteY6975" fmla="*/ 358616 h 514350"/>
                <a:gd name="connsiteX6976" fmla="*/ 668179 w 6400800"/>
                <a:gd name="connsiteY6976" fmla="*/ 331946 h 514350"/>
                <a:gd name="connsiteX6977" fmla="*/ 656749 w 6400800"/>
                <a:gd name="connsiteY6977" fmla="*/ 266224 h 514350"/>
                <a:gd name="connsiteX6978" fmla="*/ 656749 w 6400800"/>
                <a:gd name="connsiteY6978" fmla="*/ 267176 h 514350"/>
                <a:gd name="connsiteX6979" fmla="*/ 656749 w 6400800"/>
                <a:gd name="connsiteY6979" fmla="*/ 269081 h 514350"/>
                <a:gd name="connsiteX6980" fmla="*/ 656749 w 6400800"/>
                <a:gd name="connsiteY6980" fmla="*/ 266224 h 514350"/>
                <a:gd name="connsiteX6981" fmla="*/ 608171 w 6400800"/>
                <a:gd name="connsiteY6981" fmla="*/ 318611 h 514350"/>
                <a:gd name="connsiteX6982" fmla="*/ 611981 w 6400800"/>
                <a:gd name="connsiteY6982" fmla="*/ 279559 h 514350"/>
                <a:gd name="connsiteX6983" fmla="*/ 613886 w 6400800"/>
                <a:gd name="connsiteY6983" fmla="*/ 288131 h 514350"/>
                <a:gd name="connsiteX6984" fmla="*/ 615791 w 6400800"/>
                <a:gd name="connsiteY6984" fmla="*/ 327184 h 514350"/>
                <a:gd name="connsiteX6985" fmla="*/ 615791 w 6400800"/>
                <a:gd name="connsiteY6985" fmla="*/ 331946 h 514350"/>
                <a:gd name="connsiteX6986" fmla="*/ 615791 w 6400800"/>
                <a:gd name="connsiteY6986" fmla="*/ 337661 h 514350"/>
                <a:gd name="connsiteX6987" fmla="*/ 613886 w 6400800"/>
                <a:gd name="connsiteY6987" fmla="*/ 333851 h 514350"/>
                <a:gd name="connsiteX6988" fmla="*/ 607219 w 6400800"/>
                <a:gd name="connsiteY6988" fmla="*/ 321469 h 514350"/>
                <a:gd name="connsiteX6989" fmla="*/ 608171 w 6400800"/>
                <a:gd name="connsiteY6989" fmla="*/ 318611 h 514350"/>
                <a:gd name="connsiteX6990" fmla="*/ 606266 w 6400800"/>
                <a:gd name="connsiteY6990" fmla="*/ 341471 h 514350"/>
                <a:gd name="connsiteX6991" fmla="*/ 615791 w 6400800"/>
                <a:gd name="connsiteY6991" fmla="*/ 364331 h 514350"/>
                <a:gd name="connsiteX6992" fmla="*/ 615791 w 6400800"/>
                <a:gd name="connsiteY6992" fmla="*/ 365284 h 514350"/>
                <a:gd name="connsiteX6993" fmla="*/ 611029 w 6400800"/>
                <a:gd name="connsiteY6993" fmla="*/ 375761 h 514350"/>
                <a:gd name="connsiteX6994" fmla="*/ 608171 w 6400800"/>
                <a:gd name="connsiteY6994" fmla="*/ 363379 h 514350"/>
                <a:gd name="connsiteX6995" fmla="*/ 605314 w 6400800"/>
                <a:gd name="connsiteY6995" fmla="*/ 350996 h 514350"/>
                <a:gd name="connsiteX6996" fmla="*/ 606266 w 6400800"/>
                <a:gd name="connsiteY6996" fmla="*/ 341471 h 514350"/>
                <a:gd name="connsiteX6997" fmla="*/ 606266 w 6400800"/>
                <a:gd name="connsiteY6997" fmla="*/ 424339 h 514350"/>
                <a:gd name="connsiteX6998" fmla="*/ 609124 w 6400800"/>
                <a:gd name="connsiteY6998" fmla="*/ 433864 h 514350"/>
                <a:gd name="connsiteX6999" fmla="*/ 607219 w 6400800"/>
                <a:gd name="connsiteY6999" fmla="*/ 436721 h 514350"/>
                <a:gd name="connsiteX7000" fmla="*/ 601504 w 6400800"/>
                <a:gd name="connsiteY7000" fmla="*/ 435769 h 514350"/>
                <a:gd name="connsiteX7001" fmla="*/ 606266 w 6400800"/>
                <a:gd name="connsiteY7001" fmla="*/ 424339 h 514350"/>
                <a:gd name="connsiteX7002" fmla="*/ 599599 w 6400800"/>
                <a:gd name="connsiteY7002" fmla="*/ 401479 h 514350"/>
                <a:gd name="connsiteX7003" fmla="*/ 599599 w 6400800"/>
                <a:gd name="connsiteY7003" fmla="*/ 401479 h 514350"/>
                <a:gd name="connsiteX7004" fmla="*/ 599599 w 6400800"/>
                <a:gd name="connsiteY7004" fmla="*/ 403384 h 514350"/>
                <a:gd name="connsiteX7005" fmla="*/ 599599 w 6400800"/>
                <a:gd name="connsiteY7005" fmla="*/ 401479 h 514350"/>
                <a:gd name="connsiteX7006" fmla="*/ 587216 w 6400800"/>
                <a:gd name="connsiteY7006" fmla="*/ 300514 h 514350"/>
                <a:gd name="connsiteX7007" fmla="*/ 591979 w 6400800"/>
                <a:gd name="connsiteY7007" fmla="*/ 310039 h 514350"/>
                <a:gd name="connsiteX7008" fmla="*/ 591026 w 6400800"/>
                <a:gd name="connsiteY7008" fmla="*/ 316706 h 514350"/>
                <a:gd name="connsiteX7009" fmla="*/ 591026 w 6400800"/>
                <a:gd name="connsiteY7009" fmla="*/ 316706 h 514350"/>
                <a:gd name="connsiteX7010" fmla="*/ 590074 w 6400800"/>
                <a:gd name="connsiteY7010" fmla="*/ 319564 h 514350"/>
                <a:gd name="connsiteX7011" fmla="*/ 587216 w 6400800"/>
                <a:gd name="connsiteY7011" fmla="*/ 311944 h 514350"/>
                <a:gd name="connsiteX7012" fmla="*/ 586264 w 6400800"/>
                <a:gd name="connsiteY7012" fmla="*/ 299561 h 514350"/>
                <a:gd name="connsiteX7013" fmla="*/ 587216 w 6400800"/>
                <a:gd name="connsiteY7013" fmla="*/ 300514 h 514350"/>
                <a:gd name="connsiteX7014" fmla="*/ 553879 w 6400800"/>
                <a:gd name="connsiteY7014" fmla="*/ 257651 h 514350"/>
                <a:gd name="connsiteX7015" fmla="*/ 555784 w 6400800"/>
                <a:gd name="connsiteY7015" fmla="*/ 233839 h 514350"/>
                <a:gd name="connsiteX7016" fmla="*/ 558641 w 6400800"/>
                <a:gd name="connsiteY7016" fmla="*/ 249079 h 514350"/>
                <a:gd name="connsiteX7017" fmla="*/ 556736 w 6400800"/>
                <a:gd name="connsiteY7017" fmla="*/ 247174 h 514350"/>
                <a:gd name="connsiteX7018" fmla="*/ 558641 w 6400800"/>
                <a:gd name="connsiteY7018" fmla="*/ 250984 h 514350"/>
                <a:gd name="connsiteX7019" fmla="*/ 570071 w 6400800"/>
                <a:gd name="connsiteY7019" fmla="*/ 297656 h 514350"/>
                <a:gd name="connsiteX7020" fmla="*/ 571976 w 6400800"/>
                <a:gd name="connsiteY7020" fmla="*/ 303371 h 514350"/>
                <a:gd name="connsiteX7021" fmla="*/ 569119 w 6400800"/>
                <a:gd name="connsiteY7021" fmla="*/ 312896 h 514350"/>
                <a:gd name="connsiteX7022" fmla="*/ 564356 w 6400800"/>
                <a:gd name="connsiteY7022" fmla="*/ 295751 h 514350"/>
                <a:gd name="connsiteX7023" fmla="*/ 553879 w 6400800"/>
                <a:gd name="connsiteY7023" fmla="*/ 266224 h 514350"/>
                <a:gd name="connsiteX7024" fmla="*/ 553879 w 6400800"/>
                <a:gd name="connsiteY7024" fmla="*/ 257651 h 514350"/>
                <a:gd name="connsiteX7025" fmla="*/ 551974 w 6400800"/>
                <a:gd name="connsiteY7025" fmla="*/ 295751 h 514350"/>
                <a:gd name="connsiteX7026" fmla="*/ 551974 w 6400800"/>
                <a:gd name="connsiteY7026" fmla="*/ 295751 h 514350"/>
                <a:gd name="connsiteX7027" fmla="*/ 552926 w 6400800"/>
                <a:gd name="connsiteY7027" fmla="*/ 298609 h 514350"/>
                <a:gd name="connsiteX7028" fmla="*/ 556736 w 6400800"/>
                <a:gd name="connsiteY7028" fmla="*/ 317659 h 514350"/>
                <a:gd name="connsiteX7029" fmla="*/ 557689 w 6400800"/>
                <a:gd name="connsiteY7029" fmla="*/ 321469 h 514350"/>
                <a:gd name="connsiteX7030" fmla="*/ 557689 w 6400800"/>
                <a:gd name="connsiteY7030" fmla="*/ 322421 h 514350"/>
                <a:gd name="connsiteX7031" fmla="*/ 557689 w 6400800"/>
                <a:gd name="connsiteY7031" fmla="*/ 326231 h 514350"/>
                <a:gd name="connsiteX7032" fmla="*/ 552926 w 6400800"/>
                <a:gd name="connsiteY7032" fmla="*/ 306229 h 514350"/>
                <a:gd name="connsiteX7033" fmla="*/ 551974 w 6400800"/>
                <a:gd name="connsiteY7033" fmla="*/ 295751 h 514350"/>
                <a:gd name="connsiteX7034" fmla="*/ 529114 w 6400800"/>
                <a:gd name="connsiteY7034" fmla="*/ 290036 h 514350"/>
                <a:gd name="connsiteX7035" fmla="*/ 529114 w 6400800"/>
                <a:gd name="connsiteY7035" fmla="*/ 290036 h 514350"/>
                <a:gd name="connsiteX7036" fmla="*/ 529114 w 6400800"/>
                <a:gd name="connsiteY7036" fmla="*/ 290036 h 514350"/>
                <a:gd name="connsiteX7037" fmla="*/ 529114 w 6400800"/>
                <a:gd name="connsiteY7037" fmla="*/ 290036 h 514350"/>
                <a:gd name="connsiteX7038" fmla="*/ 522446 w 6400800"/>
                <a:gd name="connsiteY7038" fmla="*/ 336709 h 514350"/>
                <a:gd name="connsiteX7039" fmla="*/ 523399 w 6400800"/>
                <a:gd name="connsiteY7039" fmla="*/ 329089 h 514350"/>
                <a:gd name="connsiteX7040" fmla="*/ 526256 w 6400800"/>
                <a:gd name="connsiteY7040" fmla="*/ 336709 h 514350"/>
                <a:gd name="connsiteX7041" fmla="*/ 531019 w 6400800"/>
                <a:gd name="connsiteY7041" fmla="*/ 350996 h 514350"/>
                <a:gd name="connsiteX7042" fmla="*/ 531971 w 6400800"/>
                <a:gd name="connsiteY7042" fmla="*/ 374809 h 514350"/>
                <a:gd name="connsiteX7043" fmla="*/ 533876 w 6400800"/>
                <a:gd name="connsiteY7043" fmla="*/ 403384 h 514350"/>
                <a:gd name="connsiteX7044" fmla="*/ 528161 w 6400800"/>
                <a:gd name="connsiteY7044" fmla="*/ 394811 h 514350"/>
                <a:gd name="connsiteX7045" fmla="*/ 532924 w 6400800"/>
                <a:gd name="connsiteY7045" fmla="*/ 410051 h 514350"/>
                <a:gd name="connsiteX7046" fmla="*/ 534829 w 6400800"/>
                <a:gd name="connsiteY7046" fmla="*/ 417671 h 514350"/>
                <a:gd name="connsiteX7047" fmla="*/ 535781 w 6400800"/>
                <a:gd name="connsiteY7047" fmla="*/ 430054 h 514350"/>
                <a:gd name="connsiteX7048" fmla="*/ 523399 w 6400800"/>
                <a:gd name="connsiteY7048" fmla="*/ 428149 h 514350"/>
                <a:gd name="connsiteX7049" fmla="*/ 522446 w 6400800"/>
                <a:gd name="connsiteY7049" fmla="*/ 427196 h 514350"/>
                <a:gd name="connsiteX7050" fmla="*/ 522446 w 6400800"/>
                <a:gd name="connsiteY7050" fmla="*/ 423386 h 514350"/>
                <a:gd name="connsiteX7051" fmla="*/ 527209 w 6400800"/>
                <a:gd name="connsiteY7051" fmla="*/ 410051 h 514350"/>
                <a:gd name="connsiteX7052" fmla="*/ 522446 w 6400800"/>
                <a:gd name="connsiteY7052" fmla="*/ 418624 h 514350"/>
                <a:gd name="connsiteX7053" fmla="*/ 521494 w 6400800"/>
                <a:gd name="connsiteY7053" fmla="*/ 405289 h 514350"/>
                <a:gd name="connsiteX7054" fmla="*/ 517684 w 6400800"/>
                <a:gd name="connsiteY7054" fmla="*/ 369094 h 514350"/>
                <a:gd name="connsiteX7055" fmla="*/ 522446 w 6400800"/>
                <a:gd name="connsiteY7055" fmla="*/ 336709 h 514350"/>
                <a:gd name="connsiteX7056" fmla="*/ 512921 w 6400800"/>
                <a:gd name="connsiteY7056" fmla="*/ 271939 h 514350"/>
                <a:gd name="connsiteX7057" fmla="*/ 509111 w 6400800"/>
                <a:gd name="connsiteY7057" fmla="*/ 287179 h 514350"/>
                <a:gd name="connsiteX7058" fmla="*/ 509111 w 6400800"/>
                <a:gd name="connsiteY7058" fmla="*/ 288131 h 514350"/>
                <a:gd name="connsiteX7059" fmla="*/ 507206 w 6400800"/>
                <a:gd name="connsiteY7059" fmla="*/ 275749 h 514350"/>
                <a:gd name="connsiteX7060" fmla="*/ 508159 w 6400800"/>
                <a:gd name="connsiteY7060" fmla="*/ 262414 h 514350"/>
                <a:gd name="connsiteX7061" fmla="*/ 509111 w 6400800"/>
                <a:gd name="connsiteY7061" fmla="*/ 262414 h 514350"/>
                <a:gd name="connsiteX7062" fmla="*/ 512921 w 6400800"/>
                <a:gd name="connsiteY7062" fmla="*/ 271939 h 514350"/>
                <a:gd name="connsiteX7063" fmla="*/ 497681 w 6400800"/>
                <a:gd name="connsiteY7063" fmla="*/ 207169 h 514350"/>
                <a:gd name="connsiteX7064" fmla="*/ 506254 w 6400800"/>
                <a:gd name="connsiteY7064" fmla="*/ 245269 h 514350"/>
                <a:gd name="connsiteX7065" fmla="*/ 509111 w 6400800"/>
                <a:gd name="connsiteY7065" fmla="*/ 256699 h 514350"/>
                <a:gd name="connsiteX7066" fmla="*/ 506254 w 6400800"/>
                <a:gd name="connsiteY7066" fmla="*/ 256699 h 514350"/>
                <a:gd name="connsiteX7067" fmla="*/ 505301 w 6400800"/>
                <a:gd name="connsiteY7067" fmla="*/ 256699 h 514350"/>
                <a:gd name="connsiteX7068" fmla="*/ 505301 w 6400800"/>
                <a:gd name="connsiteY7068" fmla="*/ 256699 h 514350"/>
                <a:gd name="connsiteX7069" fmla="*/ 497681 w 6400800"/>
                <a:gd name="connsiteY7069" fmla="*/ 207169 h 514350"/>
                <a:gd name="connsiteX7070" fmla="*/ 497681 w 6400800"/>
                <a:gd name="connsiteY7070" fmla="*/ 207169 h 514350"/>
                <a:gd name="connsiteX7071" fmla="*/ 487204 w 6400800"/>
                <a:gd name="connsiteY7071" fmla="*/ 419576 h 514350"/>
                <a:gd name="connsiteX7072" fmla="*/ 486251 w 6400800"/>
                <a:gd name="connsiteY7072" fmla="*/ 422434 h 514350"/>
                <a:gd name="connsiteX7073" fmla="*/ 483394 w 6400800"/>
                <a:gd name="connsiteY7073" fmla="*/ 422434 h 514350"/>
                <a:gd name="connsiteX7074" fmla="*/ 483394 w 6400800"/>
                <a:gd name="connsiteY7074" fmla="*/ 418624 h 514350"/>
                <a:gd name="connsiteX7075" fmla="*/ 481489 w 6400800"/>
                <a:gd name="connsiteY7075" fmla="*/ 401479 h 514350"/>
                <a:gd name="connsiteX7076" fmla="*/ 487204 w 6400800"/>
                <a:gd name="connsiteY7076" fmla="*/ 419576 h 514350"/>
                <a:gd name="connsiteX7077" fmla="*/ 437674 w 6400800"/>
                <a:gd name="connsiteY7077" fmla="*/ 390049 h 514350"/>
                <a:gd name="connsiteX7078" fmla="*/ 437674 w 6400800"/>
                <a:gd name="connsiteY7078" fmla="*/ 390049 h 514350"/>
                <a:gd name="connsiteX7079" fmla="*/ 437674 w 6400800"/>
                <a:gd name="connsiteY7079" fmla="*/ 388144 h 514350"/>
                <a:gd name="connsiteX7080" fmla="*/ 437674 w 6400800"/>
                <a:gd name="connsiteY7080" fmla="*/ 388144 h 514350"/>
                <a:gd name="connsiteX7081" fmla="*/ 437674 w 6400800"/>
                <a:gd name="connsiteY7081" fmla="*/ 390049 h 514350"/>
                <a:gd name="connsiteX7082" fmla="*/ 437674 w 6400800"/>
                <a:gd name="connsiteY7082" fmla="*/ 390049 h 514350"/>
                <a:gd name="connsiteX7083" fmla="*/ 448151 w 6400800"/>
                <a:gd name="connsiteY7083" fmla="*/ 362426 h 514350"/>
                <a:gd name="connsiteX7084" fmla="*/ 446246 w 6400800"/>
                <a:gd name="connsiteY7084" fmla="*/ 356711 h 514350"/>
                <a:gd name="connsiteX7085" fmla="*/ 449104 w 6400800"/>
                <a:gd name="connsiteY7085" fmla="*/ 347186 h 514350"/>
                <a:gd name="connsiteX7086" fmla="*/ 448151 w 6400800"/>
                <a:gd name="connsiteY7086" fmla="*/ 362426 h 514350"/>
                <a:gd name="connsiteX7087" fmla="*/ 436721 w 6400800"/>
                <a:gd name="connsiteY7087" fmla="*/ 227171 h 514350"/>
                <a:gd name="connsiteX7088" fmla="*/ 440531 w 6400800"/>
                <a:gd name="connsiteY7088" fmla="*/ 246221 h 514350"/>
                <a:gd name="connsiteX7089" fmla="*/ 434816 w 6400800"/>
                <a:gd name="connsiteY7089" fmla="*/ 234791 h 514350"/>
                <a:gd name="connsiteX7090" fmla="*/ 436721 w 6400800"/>
                <a:gd name="connsiteY7090" fmla="*/ 227171 h 514350"/>
                <a:gd name="connsiteX7091" fmla="*/ 428149 w 6400800"/>
                <a:gd name="connsiteY7091" fmla="*/ 280511 h 514350"/>
                <a:gd name="connsiteX7092" fmla="*/ 431959 w 6400800"/>
                <a:gd name="connsiteY7092" fmla="*/ 253841 h 514350"/>
                <a:gd name="connsiteX7093" fmla="*/ 432911 w 6400800"/>
                <a:gd name="connsiteY7093" fmla="*/ 258604 h 514350"/>
                <a:gd name="connsiteX7094" fmla="*/ 438626 w 6400800"/>
                <a:gd name="connsiteY7094" fmla="*/ 284321 h 514350"/>
                <a:gd name="connsiteX7095" fmla="*/ 439579 w 6400800"/>
                <a:gd name="connsiteY7095" fmla="*/ 290036 h 514350"/>
                <a:gd name="connsiteX7096" fmla="*/ 432911 w 6400800"/>
                <a:gd name="connsiteY7096" fmla="*/ 281464 h 514350"/>
                <a:gd name="connsiteX7097" fmla="*/ 439579 w 6400800"/>
                <a:gd name="connsiteY7097" fmla="*/ 295751 h 514350"/>
                <a:gd name="connsiteX7098" fmla="*/ 441484 w 6400800"/>
                <a:gd name="connsiteY7098" fmla="*/ 299561 h 514350"/>
                <a:gd name="connsiteX7099" fmla="*/ 443389 w 6400800"/>
                <a:gd name="connsiteY7099" fmla="*/ 312896 h 514350"/>
                <a:gd name="connsiteX7100" fmla="*/ 446246 w 6400800"/>
                <a:gd name="connsiteY7100" fmla="*/ 328136 h 514350"/>
                <a:gd name="connsiteX7101" fmla="*/ 447199 w 6400800"/>
                <a:gd name="connsiteY7101" fmla="*/ 335756 h 514350"/>
                <a:gd name="connsiteX7102" fmla="*/ 445294 w 6400800"/>
                <a:gd name="connsiteY7102" fmla="*/ 341471 h 514350"/>
                <a:gd name="connsiteX7103" fmla="*/ 442436 w 6400800"/>
                <a:gd name="connsiteY7103" fmla="*/ 349091 h 514350"/>
                <a:gd name="connsiteX7104" fmla="*/ 434816 w 6400800"/>
                <a:gd name="connsiteY7104" fmla="*/ 331946 h 514350"/>
                <a:gd name="connsiteX7105" fmla="*/ 434816 w 6400800"/>
                <a:gd name="connsiteY7105" fmla="*/ 317659 h 514350"/>
                <a:gd name="connsiteX7106" fmla="*/ 432911 w 6400800"/>
                <a:gd name="connsiteY7106" fmla="*/ 328136 h 514350"/>
                <a:gd name="connsiteX7107" fmla="*/ 423386 w 6400800"/>
                <a:gd name="connsiteY7107" fmla="*/ 303371 h 514350"/>
                <a:gd name="connsiteX7108" fmla="*/ 428149 w 6400800"/>
                <a:gd name="connsiteY7108" fmla="*/ 280511 h 514350"/>
                <a:gd name="connsiteX7109" fmla="*/ 418624 w 6400800"/>
                <a:gd name="connsiteY7109" fmla="*/ 345281 h 514350"/>
                <a:gd name="connsiteX7110" fmla="*/ 422434 w 6400800"/>
                <a:gd name="connsiteY7110" fmla="*/ 322421 h 514350"/>
                <a:gd name="connsiteX7111" fmla="*/ 427196 w 6400800"/>
                <a:gd name="connsiteY7111" fmla="*/ 339566 h 514350"/>
                <a:gd name="connsiteX7112" fmla="*/ 430054 w 6400800"/>
                <a:gd name="connsiteY7112" fmla="*/ 350996 h 514350"/>
                <a:gd name="connsiteX7113" fmla="*/ 428149 w 6400800"/>
                <a:gd name="connsiteY7113" fmla="*/ 362426 h 514350"/>
                <a:gd name="connsiteX7114" fmla="*/ 426244 w 6400800"/>
                <a:gd name="connsiteY7114" fmla="*/ 356711 h 514350"/>
                <a:gd name="connsiteX7115" fmla="*/ 420529 w 6400800"/>
                <a:gd name="connsiteY7115" fmla="*/ 344329 h 514350"/>
                <a:gd name="connsiteX7116" fmla="*/ 422434 w 6400800"/>
                <a:gd name="connsiteY7116" fmla="*/ 357664 h 514350"/>
                <a:gd name="connsiteX7117" fmla="*/ 424339 w 6400800"/>
                <a:gd name="connsiteY7117" fmla="*/ 372904 h 514350"/>
                <a:gd name="connsiteX7118" fmla="*/ 425291 w 6400800"/>
                <a:gd name="connsiteY7118" fmla="*/ 377666 h 514350"/>
                <a:gd name="connsiteX7119" fmla="*/ 424339 w 6400800"/>
                <a:gd name="connsiteY7119" fmla="*/ 375761 h 514350"/>
                <a:gd name="connsiteX7120" fmla="*/ 424339 w 6400800"/>
                <a:gd name="connsiteY7120" fmla="*/ 374809 h 514350"/>
                <a:gd name="connsiteX7121" fmla="*/ 418624 w 6400800"/>
                <a:gd name="connsiteY7121" fmla="*/ 351949 h 514350"/>
                <a:gd name="connsiteX7122" fmla="*/ 418624 w 6400800"/>
                <a:gd name="connsiteY7122" fmla="*/ 345281 h 514350"/>
                <a:gd name="connsiteX7123" fmla="*/ 406241 w 6400800"/>
                <a:gd name="connsiteY7123" fmla="*/ 261461 h 514350"/>
                <a:gd name="connsiteX7124" fmla="*/ 411956 w 6400800"/>
                <a:gd name="connsiteY7124" fmla="*/ 285274 h 514350"/>
                <a:gd name="connsiteX7125" fmla="*/ 407194 w 6400800"/>
                <a:gd name="connsiteY7125" fmla="*/ 310039 h 514350"/>
                <a:gd name="connsiteX7126" fmla="*/ 405289 w 6400800"/>
                <a:gd name="connsiteY7126" fmla="*/ 302419 h 514350"/>
                <a:gd name="connsiteX7127" fmla="*/ 406241 w 6400800"/>
                <a:gd name="connsiteY7127" fmla="*/ 261461 h 514350"/>
                <a:gd name="connsiteX7128" fmla="*/ 382429 w 6400800"/>
                <a:gd name="connsiteY7128" fmla="*/ 290036 h 514350"/>
                <a:gd name="connsiteX7129" fmla="*/ 381476 w 6400800"/>
                <a:gd name="connsiteY7129" fmla="*/ 293846 h 514350"/>
                <a:gd name="connsiteX7130" fmla="*/ 381476 w 6400800"/>
                <a:gd name="connsiteY7130" fmla="*/ 285274 h 514350"/>
                <a:gd name="connsiteX7131" fmla="*/ 382429 w 6400800"/>
                <a:gd name="connsiteY7131" fmla="*/ 290036 h 514350"/>
                <a:gd name="connsiteX7132" fmla="*/ 361474 w 6400800"/>
                <a:gd name="connsiteY7132" fmla="*/ 394811 h 514350"/>
                <a:gd name="connsiteX7133" fmla="*/ 361474 w 6400800"/>
                <a:gd name="connsiteY7133" fmla="*/ 404336 h 514350"/>
                <a:gd name="connsiteX7134" fmla="*/ 361474 w 6400800"/>
                <a:gd name="connsiteY7134" fmla="*/ 407194 h 514350"/>
                <a:gd name="connsiteX7135" fmla="*/ 354806 w 6400800"/>
                <a:gd name="connsiteY7135" fmla="*/ 383381 h 514350"/>
                <a:gd name="connsiteX7136" fmla="*/ 354806 w 6400800"/>
                <a:gd name="connsiteY7136" fmla="*/ 382429 h 514350"/>
                <a:gd name="connsiteX7137" fmla="*/ 352901 w 6400800"/>
                <a:gd name="connsiteY7137" fmla="*/ 373856 h 514350"/>
                <a:gd name="connsiteX7138" fmla="*/ 361474 w 6400800"/>
                <a:gd name="connsiteY7138" fmla="*/ 394811 h 514350"/>
                <a:gd name="connsiteX7139" fmla="*/ 347186 w 6400800"/>
                <a:gd name="connsiteY7139" fmla="*/ 307181 h 514350"/>
                <a:gd name="connsiteX7140" fmla="*/ 349091 w 6400800"/>
                <a:gd name="connsiteY7140" fmla="*/ 311944 h 514350"/>
                <a:gd name="connsiteX7141" fmla="*/ 347186 w 6400800"/>
                <a:gd name="connsiteY7141" fmla="*/ 309086 h 514350"/>
                <a:gd name="connsiteX7142" fmla="*/ 347186 w 6400800"/>
                <a:gd name="connsiteY7142" fmla="*/ 307181 h 514350"/>
                <a:gd name="connsiteX7143" fmla="*/ 347186 w 6400800"/>
                <a:gd name="connsiteY7143" fmla="*/ 429101 h 514350"/>
                <a:gd name="connsiteX7144" fmla="*/ 348139 w 6400800"/>
                <a:gd name="connsiteY7144" fmla="*/ 432911 h 514350"/>
                <a:gd name="connsiteX7145" fmla="*/ 346234 w 6400800"/>
                <a:gd name="connsiteY7145" fmla="*/ 432911 h 514350"/>
                <a:gd name="connsiteX7146" fmla="*/ 347186 w 6400800"/>
                <a:gd name="connsiteY7146" fmla="*/ 429101 h 514350"/>
                <a:gd name="connsiteX7147" fmla="*/ 310991 w 6400800"/>
                <a:gd name="connsiteY7147" fmla="*/ 439579 h 514350"/>
                <a:gd name="connsiteX7148" fmla="*/ 311944 w 6400800"/>
                <a:gd name="connsiteY7148" fmla="*/ 424339 h 514350"/>
                <a:gd name="connsiteX7149" fmla="*/ 317659 w 6400800"/>
                <a:gd name="connsiteY7149" fmla="*/ 438626 h 514350"/>
                <a:gd name="connsiteX7150" fmla="*/ 310991 w 6400800"/>
                <a:gd name="connsiteY7150" fmla="*/ 439579 h 514350"/>
                <a:gd name="connsiteX7151" fmla="*/ 302419 w 6400800"/>
                <a:gd name="connsiteY7151" fmla="*/ 230981 h 514350"/>
                <a:gd name="connsiteX7152" fmla="*/ 304324 w 6400800"/>
                <a:gd name="connsiteY7152" fmla="*/ 237649 h 514350"/>
                <a:gd name="connsiteX7153" fmla="*/ 307181 w 6400800"/>
                <a:gd name="connsiteY7153" fmla="*/ 252889 h 514350"/>
                <a:gd name="connsiteX7154" fmla="*/ 300514 w 6400800"/>
                <a:gd name="connsiteY7154" fmla="*/ 244316 h 514350"/>
                <a:gd name="connsiteX7155" fmla="*/ 302419 w 6400800"/>
                <a:gd name="connsiteY7155" fmla="*/ 230981 h 514350"/>
                <a:gd name="connsiteX7156" fmla="*/ 295751 w 6400800"/>
                <a:gd name="connsiteY7156" fmla="*/ 269081 h 514350"/>
                <a:gd name="connsiteX7157" fmla="*/ 297656 w 6400800"/>
                <a:gd name="connsiteY7157" fmla="*/ 262414 h 514350"/>
                <a:gd name="connsiteX7158" fmla="*/ 295751 w 6400800"/>
                <a:gd name="connsiteY7158" fmla="*/ 265271 h 514350"/>
                <a:gd name="connsiteX7159" fmla="*/ 297656 w 6400800"/>
                <a:gd name="connsiteY7159" fmla="*/ 251936 h 514350"/>
                <a:gd name="connsiteX7160" fmla="*/ 299561 w 6400800"/>
                <a:gd name="connsiteY7160" fmla="*/ 243364 h 514350"/>
                <a:gd name="connsiteX7161" fmla="*/ 301466 w 6400800"/>
                <a:gd name="connsiteY7161" fmla="*/ 247174 h 514350"/>
                <a:gd name="connsiteX7162" fmla="*/ 310039 w 6400800"/>
                <a:gd name="connsiteY7162" fmla="*/ 270986 h 514350"/>
                <a:gd name="connsiteX7163" fmla="*/ 319564 w 6400800"/>
                <a:gd name="connsiteY7163" fmla="*/ 312896 h 514350"/>
                <a:gd name="connsiteX7164" fmla="*/ 330041 w 6400800"/>
                <a:gd name="connsiteY7164" fmla="*/ 358616 h 514350"/>
                <a:gd name="connsiteX7165" fmla="*/ 330041 w 6400800"/>
                <a:gd name="connsiteY7165" fmla="*/ 362426 h 514350"/>
                <a:gd name="connsiteX7166" fmla="*/ 327184 w 6400800"/>
                <a:gd name="connsiteY7166" fmla="*/ 404336 h 514350"/>
                <a:gd name="connsiteX7167" fmla="*/ 327184 w 6400800"/>
                <a:gd name="connsiteY7167" fmla="*/ 404336 h 514350"/>
                <a:gd name="connsiteX7168" fmla="*/ 321469 w 6400800"/>
                <a:gd name="connsiteY7168" fmla="*/ 392906 h 514350"/>
                <a:gd name="connsiteX7169" fmla="*/ 310991 w 6400800"/>
                <a:gd name="connsiteY7169" fmla="*/ 362426 h 514350"/>
                <a:gd name="connsiteX7170" fmla="*/ 296704 w 6400800"/>
                <a:gd name="connsiteY7170" fmla="*/ 318611 h 514350"/>
                <a:gd name="connsiteX7171" fmla="*/ 291941 w 6400800"/>
                <a:gd name="connsiteY7171" fmla="*/ 302419 h 514350"/>
                <a:gd name="connsiteX7172" fmla="*/ 295751 w 6400800"/>
                <a:gd name="connsiteY7172" fmla="*/ 269081 h 514350"/>
                <a:gd name="connsiteX7173" fmla="*/ 283369 w 6400800"/>
                <a:gd name="connsiteY7173" fmla="*/ 378619 h 514350"/>
                <a:gd name="connsiteX7174" fmla="*/ 284321 w 6400800"/>
                <a:gd name="connsiteY7174" fmla="*/ 365284 h 514350"/>
                <a:gd name="connsiteX7175" fmla="*/ 285274 w 6400800"/>
                <a:gd name="connsiteY7175" fmla="*/ 363379 h 514350"/>
                <a:gd name="connsiteX7176" fmla="*/ 295751 w 6400800"/>
                <a:gd name="connsiteY7176" fmla="*/ 387191 h 514350"/>
                <a:gd name="connsiteX7177" fmla="*/ 302419 w 6400800"/>
                <a:gd name="connsiteY7177" fmla="*/ 400526 h 514350"/>
                <a:gd name="connsiteX7178" fmla="*/ 303371 w 6400800"/>
                <a:gd name="connsiteY7178" fmla="*/ 404336 h 514350"/>
                <a:gd name="connsiteX7179" fmla="*/ 301466 w 6400800"/>
                <a:gd name="connsiteY7179" fmla="*/ 412909 h 514350"/>
                <a:gd name="connsiteX7180" fmla="*/ 295751 w 6400800"/>
                <a:gd name="connsiteY7180" fmla="*/ 442436 h 514350"/>
                <a:gd name="connsiteX7181" fmla="*/ 283369 w 6400800"/>
                <a:gd name="connsiteY7181" fmla="*/ 444341 h 514350"/>
                <a:gd name="connsiteX7182" fmla="*/ 281464 w 6400800"/>
                <a:gd name="connsiteY7182" fmla="*/ 435769 h 514350"/>
                <a:gd name="connsiteX7183" fmla="*/ 281464 w 6400800"/>
                <a:gd name="connsiteY7183" fmla="*/ 407194 h 514350"/>
                <a:gd name="connsiteX7184" fmla="*/ 283369 w 6400800"/>
                <a:gd name="connsiteY7184" fmla="*/ 378619 h 514350"/>
                <a:gd name="connsiteX7185" fmla="*/ 237649 w 6400800"/>
                <a:gd name="connsiteY7185" fmla="*/ 415766 h 514350"/>
                <a:gd name="connsiteX7186" fmla="*/ 228124 w 6400800"/>
                <a:gd name="connsiteY7186" fmla="*/ 395764 h 514350"/>
                <a:gd name="connsiteX7187" fmla="*/ 229076 w 6400800"/>
                <a:gd name="connsiteY7187" fmla="*/ 383381 h 514350"/>
                <a:gd name="connsiteX7188" fmla="*/ 239554 w 6400800"/>
                <a:gd name="connsiteY7188" fmla="*/ 406241 h 514350"/>
                <a:gd name="connsiteX7189" fmla="*/ 237649 w 6400800"/>
                <a:gd name="connsiteY7189" fmla="*/ 415766 h 514350"/>
                <a:gd name="connsiteX7190" fmla="*/ 247174 w 6400800"/>
                <a:gd name="connsiteY7190" fmla="*/ 431006 h 514350"/>
                <a:gd name="connsiteX7191" fmla="*/ 248126 w 6400800"/>
                <a:gd name="connsiteY7191" fmla="*/ 425291 h 514350"/>
                <a:gd name="connsiteX7192" fmla="*/ 248126 w 6400800"/>
                <a:gd name="connsiteY7192" fmla="*/ 425291 h 514350"/>
                <a:gd name="connsiteX7193" fmla="*/ 247174 w 6400800"/>
                <a:gd name="connsiteY7193" fmla="*/ 431006 h 514350"/>
                <a:gd name="connsiteX7194" fmla="*/ 264319 w 6400800"/>
                <a:gd name="connsiteY7194" fmla="*/ 204311 h 514350"/>
                <a:gd name="connsiteX7195" fmla="*/ 270986 w 6400800"/>
                <a:gd name="connsiteY7195" fmla="*/ 185261 h 514350"/>
                <a:gd name="connsiteX7196" fmla="*/ 267176 w 6400800"/>
                <a:gd name="connsiteY7196" fmla="*/ 214789 h 514350"/>
                <a:gd name="connsiteX7197" fmla="*/ 266224 w 6400800"/>
                <a:gd name="connsiteY7197" fmla="*/ 210026 h 514350"/>
                <a:gd name="connsiteX7198" fmla="*/ 264319 w 6400800"/>
                <a:gd name="connsiteY7198" fmla="*/ 204311 h 514350"/>
                <a:gd name="connsiteX7199" fmla="*/ 264319 w 6400800"/>
                <a:gd name="connsiteY7199" fmla="*/ 204311 h 514350"/>
                <a:gd name="connsiteX7200" fmla="*/ 254794 w 6400800"/>
                <a:gd name="connsiteY7200" fmla="*/ 235744 h 514350"/>
                <a:gd name="connsiteX7201" fmla="*/ 258604 w 6400800"/>
                <a:gd name="connsiteY7201" fmla="*/ 220504 h 514350"/>
                <a:gd name="connsiteX7202" fmla="*/ 261461 w 6400800"/>
                <a:gd name="connsiteY7202" fmla="*/ 242411 h 514350"/>
                <a:gd name="connsiteX7203" fmla="*/ 262414 w 6400800"/>
                <a:gd name="connsiteY7203" fmla="*/ 245269 h 514350"/>
                <a:gd name="connsiteX7204" fmla="*/ 260509 w 6400800"/>
                <a:gd name="connsiteY7204" fmla="*/ 270034 h 514350"/>
                <a:gd name="connsiteX7205" fmla="*/ 257651 w 6400800"/>
                <a:gd name="connsiteY7205" fmla="*/ 264319 h 514350"/>
                <a:gd name="connsiteX7206" fmla="*/ 250984 w 6400800"/>
                <a:gd name="connsiteY7206" fmla="*/ 249079 h 514350"/>
                <a:gd name="connsiteX7207" fmla="*/ 254794 w 6400800"/>
                <a:gd name="connsiteY7207" fmla="*/ 235744 h 514350"/>
                <a:gd name="connsiteX7208" fmla="*/ 245269 w 6400800"/>
                <a:gd name="connsiteY7208" fmla="*/ 276701 h 514350"/>
                <a:gd name="connsiteX7209" fmla="*/ 249079 w 6400800"/>
                <a:gd name="connsiteY7209" fmla="*/ 260509 h 514350"/>
                <a:gd name="connsiteX7210" fmla="*/ 250984 w 6400800"/>
                <a:gd name="connsiteY7210" fmla="*/ 268129 h 514350"/>
                <a:gd name="connsiteX7211" fmla="*/ 258604 w 6400800"/>
                <a:gd name="connsiteY7211" fmla="*/ 292894 h 514350"/>
                <a:gd name="connsiteX7212" fmla="*/ 259556 w 6400800"/>
                <a:gd name="connsiteY7212" fmla="*/ 294799 h 514350"/>
                <a:gd name="connsiteX7213" fmla="*/ 259556 w 6400800"/>
                <a:gd name="connsiteY7213" fmla="*/ 297656 h 514350"/>
                <a:gd name="connsiteX7214" fmla="*/ 257651 w 6400800"/>
                <a:gd name="connsiteY7214" fmla="*/ 333851 h 514350"/>
                <a:gd name="connsiteX7215" fmla="*/ 250984 w 6400800"/>
                <a:gd name="connsiteY7215" fmla="*/ 309086 h 514350"/>
                <a:gd name="connsiteX7216" fmla="*/ 253841 w 6400800"/>
                <a:gd name="connsiteY7216" fmla="*/ 301466 h 514350"/>
                <a:gd name="connsiteX7217" fmla="*/ 250984 w 6400800"/>
                <a:gd name="connsiteY7217" fmla="*/ 307181 h 514350"/>
                <a:gd name="connsiteX7218" fmla="*/ 244316 w 6400800"/>
                <a:gd name="connsiteY7218" fmla="*/ 284321 h 514350"/>
                <a:gd name="connsiteX7219" fmla="*/ 245269 w 6400800"/>
                <a:gd name="connsiteY7219" fmla="*/ 276701 h 514350"/>
                <a:gd name="connsiteX7220" fmla="*/ 236696 w 6400800"/>
                <a:gd name="connsiteY7220" fmla="*/ 325279 h 514350"/>
                <a:gd name="connsiteX7221" fmla="*/ 237649 w 6400800"/>
                <a:gd name="connsiteY7221" fmla="*/ 322421 h 514350"/>
                <a:gd name="connsiteX7222" fmla="*/ 238601 w 6400800"/>
                <a:gd name="connsiteY7222" fmla="*/ 329089 h 514350"/>
                <a:gd name="connsiteX7223" fmla="*/ 235744 w 6400800"/>
                <a:gd name="connsiteY7223" fmla="*/ 335756 h 514350"/>
                <a:gd name="connsiteX7224" fmla="*/ 236696 w 6400800"/>
                <a:gd name="connsiteY7224" fmla="*/ 325279 h 514350"/>
                <a:gd name="connsiteX7225" fmla="*/ 234791 w 6400800"/>
                <a:gd name="connsiteY7225" fmla="*/ 353854 h 514350"/>
                <a:gd name="connsiteX7226" fmla="*/ 240506 w 6400800"/>
                <a:gd name="connsiteY7226" fmla="*/ 337661 h 514350"/>
                <a:gd name="connsiteX7227" fmla="*/ 241459 w 6400800"/>
                <a:gd name="connsiteY7227" fmla="*/ 342424 h 514350"/>
                <a:gd name="connsiteX7228" fmla="*/ 248126 w 6400800"/>
                <a:gd name="connsiteY7228" fmla="*/ 372904 h 514350"/>
                <a:gd name="connsiteX7229" fmla="*/ 247174 w 6400800"/>
                <a:gd name="connsiteY7229" fmla="*/ 378619 h 514350"/>
                <a:gd name="connsiteX7230" fmla="*/ 242411 w 6400800"/>
                <a:gd name="connsiteY7230" fmla="*/ 369094 h 514350"/>
                <a:gd name="connsiteX7231" fmla="*/ 234791 w 6400800"/>
                <a:gd name="connsiteY7231" fmla="*/ 353854 h 514350"/>
                <a:gd name="connsiteX7232" fmla="*/ 234791 w 6400800"/>
                <a:gd name="connsiteY7232" fmla="*/ 353854 h 514350"/>
                <a:gd name="connsiteX7233" fmla="*/ 222409 w 6400800"/>
                <a:gd name="connsiteY7233" fmla="*/ 297656 h 514350"/>
                <a:gd name="connsiteX7234" fmla="*/ 227171 w 6400800"/>
                <a:gd name="connsiteY7234" fmla="*/ 278606 h 514350"/>
                <a:gd name="connsiteX7235" fmla="*/ 228124 w 6400800"/>
                <a:gd name="connsiteY7235" fmla="*/ 284321 h 514350"/>
                <a:gd name="connsiteX7236" fmla="*/ 230029 w 6400800"/>
                <a:gd name="connsiteY7236" fmla="*/ 290989 h 514350"/>
                <a:gd name="connsiteX7237" fmla="*/ 222409 w 6400800"/>
                <a:gd name="connsiteY7237" fmla="*/ 324326 h 514350"/>
                <a:gd name="connsiteX7238" fmla="*/ 221456 w 6400800"/>
                <a:gd name="connsiteY7238" fmla="*/ 330041 h 514350"/>
                <a:gd name="connsiteX7239" fmla="*/ 220504 w 6400800"/>
                <a:gd name="connsiteY7239" fmla="*/ 329089 h 514350"/>
                <a:gd name="connsiteX7240" fmla="*/ 218599 w 6400800"/>
                <a:gd name="connsiteY7240" fmla="*/ 312896 h 514350"/>
                <a:gd name="connsiteX7241" fmla="*/ 222409 w 6400800"/>
                <a:gd name="connsiteY7241" fmla="*/ 297656 h 514350"/>
                <a:gd name="connsiteX7242" fmla="*/ 169069 w 6400800"/>
                <a:gd name="connsiteY7242" fmla="*/ 411956 h 514350"/>
                <a:gd name="connsiteX7243" fmla="*/ 169069 w 6400800"/>
                <a:gd name="connsiteY7243" fmla="*/ 412909 h 514350"/>
                <a:gd name="connsiteX7244" fmla="*/ 165259 w 6400800"/>
                <a:gd name="connsiteY7244" fmla="*/ 396716 h 514350"/>
                <a:gd name="connsiteX7245" fmla="*/ 164306 w 6400800"/>
                <a:gd name="connsiteY7245" fmla="*/ 375761 h 514350"/>
                <a:gd name="connsiteX7246" fmla="*/ 161449 w 6400800"/>
                <a:gd name="connsiteY7246" fmla="*/ 345281 h 514350"/>
                <a:gd name="connsiteX7247" fmla="*/ 158591 w 6400800"/>
                <a:gd name="connsiteY7247" fmla="*/ 321469 h 514350"/>
                <a:gd name="connsiteX7248" fmla="*/ 159544 w 6400800"/>
                <a:gd name="connsiteY7248" fmla="*/ 323374 h 514350"/>
                <a:gd name="connsiteX7249" fmla="*/ 162401 w 6400800"/>
                <a:gd name="connsiteY7249" fmla="*/ 328136 h 514350"/>
                <a:gd name="connsiteX7250" fmla="*/ 167164 w 6400800"/>
                <a:gd name="connsiteY7250" fmla="*/ 376714 h 514350"/>
                <a:gd name="connsiteX7251" fmla="*/ 170021 w 6400800"/>
                <a:gd name="connsiteY7251" fmla="*/ 402431 h 514350"/>
                <a:gd name="connsiteX7252" fmla="*/ 169069 w 6400800"/>
                <a:gd name="connsiteY7252" fmla="*/ 411956 h 514350"/>
                <a:gd name="connsiteX7253" fmla="*/ 209074 w 6400800"/>
                <a:gd name="connsiteY7253" fmla="*/ 350044 h 514350"/>
                <a:gd name="connsiteX7254" fmla="*/ 209074 w 6400800"/>
                <a:gd name="connsiteY7254" fmla="*/ 359569 h 514350"/>
                <a:gd name="connsiteX7255" fmla="*/ 207169 w 6400800"/>
                <a:gd name="connsiteY7255" fmla="*/ 356711 h 514350"/>
                <a:gd name="connsiteX7256" fmla="*/ 209074 w 6400800"/>
                <a:gd name="connsiteY7256" fmla="*/ 350044 h 514350"/>
                <a:gd name="connsiteX7257" fmla="*/ 170974 w 6400800"/>
                <a:gd name="connsiteY7257" fmla="*/ 259556 h 514350"/>
                <a:gd name="connsiteX7258" fmla="*/ 178594 w 6400800"/>
                <a:gd name="connsiteY7258" fmla="*/ 274796 h 514350"/>
                <a:gd name="connsiteX7259" fmla="*/ 187166 w 6400800"/>
                <a:gd name="connsiteY7259" fmla="*/ 291941 h 514350"/>
                <a:gd name="connsiteX7260" fmla="*/ 205264 w 6400800"/>
                <a:gd name="connsiteY7260" fmla="*/ 330041 h 514350"/>
                <a:gd name="connsiteX7261" fmla="*/ 200501 w 6400800"/>
                <a:gd name="connsiteY7261" fmla="*/ 343376 h 514350"/>
                <a:gd name="connsiteX7262" fmla="*/ 199549 w 6400800"/>
                <a:gd name="connsiteY7262" fmla="*/ 342424 h 514350"/>
                <a:gd name="connsiteX7263" fmla="*/ 180499 w 6400800"/>
                <a:gd name="connsiteY7263" fmla="*/ 310039 h 514350"/>
                <a:gd name="connsiteX7264" fmla="*/ 176689 w 6400800"/>
                <a:gd name="connsiteY7264" fmla="*/ 296704 h 514350"/>
                <a:gd name="connsiteX7265" fmla="*/ 176689 w 6400800"/>
                <a:gd name="connsiteY7265" fmla="*/ 305276 h 514350"/>
                <a:gd name="connsiteX7266" fmla="*/ 172879 w 6400800"/>
                <a:gd name="connsiteY7266" fmla="*/ 299561 h 514350"/>
                <a:gd name="connsiteX7267" fmla="*/ 171926 w 6400800"/>
                <a:gd name="connsiteY7267" fmla="*/ 298609 h 514350"/>
                <a:gd name="connsiteX7268" fmla="*/ 168116 w 6400800"/>
                <a:gd name="connsiteY7268" fmla="*/ 279559 h 514350"/>
                <a:gd name="connsiteX7269" fmla="*/ 158591 w 6400800"/>
                <a:gd name="connsiteY7269" fmla="*/ 235744 h 514350"/>
                <a:gd name="connsiteX7270" fmla="*/ 170974 w 6400800"/>
                <a:gd name="connsiteY7270" fmla="*/ 259556 h 514350"/>
                <a:gd name="connsiteX7271" fmla="*/ 161449 w 6400800"/>
                <a:gd name="connsiteY7271" fmla="*/ 307181 h 514350"/>
                <a:gd name="connsiteX7272" fmla="*/ 156686 w 6400800"/>
                <a:gd name="connsiteY7272" fmla="*/ 301466 h 514350"/>
                <a:gd name="connsiteX7273" fmla="*/ 155734 w 6400800"/>
                <a:gd name="connsiteY7273" fmla="*/ 297656 h 514350"/>
                <a:gd name="connsiteX7274" fmla="*/ 161449 w 6400800"/>
                <a:gd name="connsiteY7274" fmla="*/ 307181 h 514350"/>
                <a:gd name="connsiteX7275" fmla="*/ 130969 w 6400800"/>
                <a:gd name="connsiteY7275" fmla="*/ 280511 h 514350"/>
                <a:gd name="connsiteX7276" fmla="*/ 133826 w 6400800"/>
                <a:gd name="connsiteY7276" fmla="*/ 284321 h 514350"/>
                <a:gd name="connsiteX7277" fmla="*/ 145256 w 6400800"/>
                <a:gd name="connsiteY7277" fmla="*/ 301466 h 514350"/>
                <a:gd name="connsiteX7278" fmla="*/ 150971 w 6400800"/>
                <a:gd name="connsiteY7278" fmla="*/ 310039 h 514350"/>
                <a:gd name="connsiteX7279" fmla="*/ 150019 w 6400800"/>
                <a:gd name="connsiteY7279" fmla="*/ 341471 h 514350"/>
                <a:gd name="connsiteX7280" fmla="*/ 149066 w 6400800"/>
                <a:gd name="connsiteY7280" fmla="*/ 339566 h 514350"/>
                <a:gd name="connsiteX7281" fmla="*/ 145256 w 6400800"/>
                <a:gd name="connsiteY7281" fmla="*/ 328136 h 514350"/>
                <a:gd name="connsiteX7282" fmla="*/ 140494 w 6400800"/>
                <a:gd name="connsiteY7282" fmla="*/ 317659 h 514350"/>
                <a:gd name="connsiteX7283" fmla="*/ 132874 w 6400800"/>
                <a:gd name="connsiteY7283" fmla="*/ 301466 h 514350"/>
                <a:gd name="connsiteX7284" fmla="*/ 127159 w 6400800"/>
                <a:gd name="connsiteY7284" fmla="*/ 290989 h 514350"/>
                <a:gd name="connsiteX7285" fmla="*/ 130969 w 6400800"/>
                <a:gd name="connsiteY7285" fmla="*/ 280511 h 514350"/>
                <a:gd name="connsiteX7286" fmla="*/ 121444 w 6400800"/>
                <a:gd name="connsiteY7286" fmla="*/ 318611 h 514350"/>
                <a:gd name="connsiteX7287" fmla="*/ 127159 w 6400800"/>
                <a:gd name="connsiteY7287" fmla="*/ 294799 h 514350"/>
                <a:gd name="connsiteX7288" fmla="*/ 127159 w 6400800"/>
                <a:gd name="connsiteY7288" fmla="*/ 293846 h 514350"/>
                <a:gd name="connsiteX7289" fmla="*/ 129064 w 6400800"/>
                <a:gd name="connsiteY7289" fmla="*/ 303371 h 514350"/>
                <a:gd name="connsiteX7290" fmla="*/ 133826 w 6400800"/>
                <a:gd name="connsiteY7290" fmla="*/ 320516 h 514350"/>
                <a:gd name="connsiteX7291" fmla="*/ 138589 w 6400800"/>
                <a:gd name="connsiteY7291" fmla="*/ 342424 h 514350"/>
                <a:gd name="connsiteX7292" fmla="*/ 143351 w 6400800"/>
                <a:gd name="connsiteY7292" fmla="*/ 369094 h 514350"/>
                <a:gd name="connsiteX7293" fmla="*/ 148114 w 6400800"/>
                <a:gd name="connsiteY7293" fmla="*/ 398621 h 514350"/>
                <a:gd name="connsiteX7294" fmla="*/ 149066 w 6400800"/>
                <a:gd name="connsiteY7294" fmla="*/ 403384 h 514350"/>
                <a:gd name="connsiteX7295" fmla="*/ 149066 w 6400800"/>
                <a:gd name="connsiteY7295" fmla="*/ 411004 h 514350"/>
                <a:gd name="connsiteX7296" fmla="*/ 149066 w 6400800"/>
                <a:gd name="connsiteY7296" fmla="*/ 416719 h 514350"/>
                <a:gd name="connsiteX7297" fmla="*/ 138589 w 6400800"/>
                <a:gd name="connsiteY7297" fmla="*/ 388144 h 514350"/>
                <a:gd name="connsiteX7298" fmla="*/ 129064 w 6400800"/>
                <a:gd name="connsiteY7298" fmla="*/ 363379 h 514350"/>
                <a:gd name="connsiteX7299" fmla="*/ 131921 w 6400800"/>
                <a:gd name="connsiteY7299" fmla="*/ 358616 h 514350"/>
                <a:gd name="connsiteX7300" fmla="*/ 129064 w 6400800"/>
                <a:gd name="connsiteY7300" fmla="*/ 361474 h 514350"/>
                <a:gd name="connsiteX7301" fmla="*/ 124301 w 6400800"/>
                <a:gd name="connsiteY7301" fmla="*/ 350044 h 514350"/>
                <a:gd name="connsiteX7302" fmla="*/ 125254 w 6400800"/>
                <a:gd name="connsiteY7302" fmla="*/ 344329 h 514350"/>
                <a:gd name="connsiteX7303" fmla="*/ 129064 w 6400800"/>
                <a:gd name="connsiteY7303" fmla="*/ 328136 h 514350"/>
                <a:gd name="connsiteX7304" fmla="*/ 121444 w 6400800"/>
                <a:gd name="connsiteY7304" fmla="*/ 343376 h 514350"/>
                <a:gd name="connsiteX7305" fmla="*/ 121444 w 6400800"/>
                <a:gd name="connsiteY7305" fmla="*/ 343376 h 514350"/>
                <a:gd name="connsiteX7306" fmla="*/ 120491 w 6400800"/>
                <a:gd name="connsiteY7306" fmla="*/ 341471 h 514350"/>
                <a:gd name="connsiteX7307" fmla="*/ 117634 w 6400800"/>
                <a:gd name="connsiteY7307" fmla="*/ 334804 h 514350"/>
                <a:gd name="connsiteX7308" fmla="*/ 121444 w 6400800"/>
                <a:gd name="connsiteY7308" fmla="*/ 318611 h 514350"/>
                <a:gd name="connsiteX7309" fmla="*/ 116681 w 6400800"/>
                <a:gd name="connsiteY7309" fmla="*/ 393859 h 514350"/>
                <a:gd name="connsiteX7310" fmla="*/ 127159 w 6400800"/>
                <a:gd name="connsiteY7310" fmla="*/ 419576 h 514350"/>
                <a:gd name="connsiteX7311" fmla="*/ 113824 w 6400800"/>
                <a:gd name="connsiteY7311" fmla="*/ 414814 h 514350"/>
                <a:gd name="connsiteX7312" fmla="*/ 116681 w 6400800"/>
                <a:gd name="connsiteY7312" fmla="*/ 393859 h 514350"/>
                <a:gd name="connsiteX7313" fmla="*/ 91916 w 6400800"/>
                <a:gd name="connsiteY7313" fmla="*/ 341471 h 514350"/>
                <a:gd name="connsiteX7314" fmla="*/ 92869 w 6400800"/>
                <a:gd name="connsiteY7314" fmla="*/ 335756 h 514350"/>
                <a:gd name="connsiteX7315" fmla="*/ 94774 w 6400800"/>
                <a:gd name="connsiteY7315" fmla="*/ 340519 h 514350"/>
                <a:gd name="connsiteX7316" fmla="*/ 102394 w 6400800"/>
                <a:gd name="connsiteY7316" fmla="*/ 358616 h 514350"/>
                <a:gd name="connsiteX7317" fmla="*/ 96679 w 6400800"/>
                <a:gd name="connsiteY7317" fmla="*/ 384334 h 514350"/>
                <a:gd name="connsiteX7318" fmla="*/ 94774 w 6400800"/>
                <a:gd name="connsiteY7318" fmla="*/ 399574 h 514350"/>
                <a:gd name="connsiteX7319" fmla="*/ 93821 w 6400800"/>
                <a:gd name="connsiteY7319" fmla="*/ 400526 h 514350"/>
                <a:gd name="connsiteX7320" fmla="*/ 90964 w 6400800"/>
                <a:gd name="connsiteY7320" fmla="*/ 404336 h 514350"/>
                <a:gd name="connsiteX7321" fmla="*/ 88106 w 6400800"/>
                <a:gd name="connsiteY7321" fmla="*/ 382429 h 514350"/>
                <a:gd name="connsiteX7322" fmla="*/ 85249 w 6400800"/>
                <a:gd name="connsiteY7322" fmla="*/ 365284 h 514350"/>
                <a:gd name="connsiteX7323" fmla="*/ 91916 w 6400800"/>
                <a:gd name="connsiteY7323" fmla="*/ 341471 h 514350"/>
                <a:gd name="connsiteX7324" fmla="*/ 72866 w 6400800"/>
                <a:gd name="connsiteY7324" fmla="*/ 407194 h 514350"/>
                <a:gd name="connsiteX7325" fmla="*/ 72866 w 6400800"/>
                <a:gd name="connsiteY7325" fmla="*/ 409099 h 514350"/>
                <a:gd name="connsiteX7326" fmla="*/ 71914 w 6400800"/>
                <a:gd name="connsiteY7326" fmla="*/ 409099 h 514350"/>
                <a:gd name="connsiteX7327" fmla="*/ 72866 w 6400800"/>
                <a:gd name="connsiteY7327" fmla="*/ 407194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Lst>
              <a:rect l="l" t="t" r="r" b="b"/>
              <a:pathLst>
                <a:path w="6400800" h="514350">
                  <a:moveTo>
                    <a:pt x="7144" y="511016"/>
                  </a:moveTo>
                  <a:lnTo>
                    <a:pt x="6354604" y="511016"/>
                  </a:lnTo>
                  <a:lnTo>
                    <a:pt x="6354604" y="409099"/>
                  </a:lnTo>
                  <a:cubicBezTo>
                    <a:pt x="6346031" y="411004"/>
                    <a:pt x="6337459" y="413861"/>
                    <a:pt x="6327934" y="415766"/>
                  </a:cubicBezTo>
                  <a:cubicBezTo>
                    <a:pt x="6327934" y="411956"/>
                    <a:pt x="6327934" y="408146"/>
                    <a:pt x="6327934" y="404336"/>
                  </a:cubicBezTo>
                  <a:cubicBezTo>
                    <a:pt x="6328887" y="396716"/>
                    <a:pt x="6327934" y="389096"/>
                    <a:pt x="6328887" y="383381"/>
                  </a:cubicBezTo>
                  <a:cubicBezTo>
                    <a:pt x="6329839" y="371951"/>
                    <a:pt x="6329839" y="365284"/>
                    <a:pt x="6329839" y="365284"/>
                  </a:cubicBezTo>
                  <a:cubicBezTo>
                    <a:pt x="6329839" y="365284"/>
                    <a:pt x="6327934" y="371951"/>
                    <a:pt x="6324124" y="383381"/>
                  </a:cubicBezTo>
                  <a:cubicBezTo>
                    <a:pt x="6322219" y="389096"/>
                    <a:pt x="6321267" y="395764"/>
                    <a:pt x="6319362" y="404336"/>
                  </a:cubicBezTo>
                  <a:cubicBezTo>
                    <a:pt x="6318409" y="409099"/>
                    <a:pt x="6317456" y="413861"/>
                    <a:pt x="6316504" y="419576"/>
                  </a:cubicBezTo>
                  <a:cubicBezTo>
                    <a:pt x="6311742" y="420529"/>
                    <a:pt x="6306979" y="421481"/>
                    <a:pt x="6303169" y="423386"/>
                  </a:cubicBezTo>
                  <a:cubicBezTo>
                    <a:pt x="6303169" y="416719"/>
                    <a:pt x="6303169" y="411004"/>
                    <a:pt x="6304121" y="405289"/>
                  </a:cubicBezTo>
                  <a:cubicBezTo>
                    <a:pt x="6308884" y="390049"/>
                    <a:pt x="6314599" y="373856"/>
                    <a:pt x="6319362" y="358616"/>
                  </a:cubicBezTo>
                  <a:cubicBezTo>
                    <a:pt x="6320314" y="355759"/>
                    <a:pt x="6321267" y="352901"/>
                    <a:pt x="6322219" y="349091"/>
                  </a:cubicBezTo>
                  <a:cubicBezTo>
                    <a:pt x="6326029" y="336709"/>
                    <a:pt x="6330792" y="325279"/>
                    <a:pt x="6334601" y="312896"/>
                  </a:cubicBezTo>
                  <a:cubicBezTo>
                    <a:pt x="6340317" y="297656"/>
                    <a:pt x="6345079" y="283369"/>
                    <a:pt x="6349842" y="269081"/>
                  </a:cubicBezTo>
                  <a:cubicBezTo>
                    <a:pt x="6354604" y="254794"/>
                    <a:pt x="6359367" y="240506"/>
                    <a:pt x="6363176" y="228124"/>
                  </a:cubicBezTo>
                  <a:cubicBezTo>
                    <a:pt x="6367939" y="214789"/>
                    <a:pt x="6371749" y="202406"/>
                    <a:pt x="6375559" y="190976"/>
                  </a:cubicBezTo>
                  <a:cubicBezTo>
                    <a:pt x="6383179" y="168116"/>
                    <a:pt x="6388894" y="149066"/>
                    <a:pt x="6393656" y="134779"/>
                  </a:cubicBezTo>
                  <a:cubicBezTo>
                    <a:pt x="6397467" y="121444"/>
                    <a:pt x="6400324" y="113824"/>
                    <a:pt x="6400324" y="113824"/>
                  </a:cubicBezTo>
                  <a:cubicBezTo>
                    <a:pt x="6400324" y="113824"/>
                    <a:pt x="6396514" y="121444"/>
                    <a:pt x="6389846" y="133826"/>
                  </a:cubicBezTo>
                  <a:cubicBezTo>
                    <a:pt x="6386989" y="139541"/>
                    <a:pt x="6384131" y="146209"/>
                    <a:pt x="6380321" y="153829"/>
                  </a:cubicBezTo>
                  <a:cubicBezTo>
                    <a:pt x="6385084" y="136684"/>
                    <a:pt x="6389846" y="121444"/>
                    <a:pt x="6392704" y="110966"/>
                  </a:cubicBezTo>
                  <a:cubicBezTo>
                    <a:pt x="6396514" y="95726"/>
                    <a:pt x="6399371" y="87154"/>
                    <a:pt x="6399371" y="87154"/>
                  </a:cubicBezTo>
                  <a:cubicBezTo>
                    <a:pt x="6399371" y="87154"/>
                    <a:pt x="6395562" y="95726"/>
                    <a:pt x="6388894" y="109061"/>
                  </a:cubicBezTo>
                  <a:cubicBezTo>
                    <a:pt x="6386037" y="115729"/>
                    <a:pt x="6382226" y="125254"/>
                    <a:pt x="6377464" y="134779"/>
                  </a:cubicBezTo>
                  <a:cubicBezTo>
                    <a:pt x="6372701" y="144304"/>
                    <a:pt x="6367939" y="155734"/>
                    <a:pt x="6364129" y="168116"/>
                  </a:cubicBezTo>
                  <a:cubicBezTo>
                    <a:pt x="6354604" y="192881"/>
                    <a:pt x="6343174" y="222409"/>
                    <a:pt x="6332696" y="253841"/>
                  </a:cubicBezTo>
                  <a:cubicBezTo>
                    <a:pt x="6326981" y="270034"/>
                    <a:pt x="6321267" y="286226"/>
                    <a:pt x="6316504" y="302419"/>
                  </a:cubicBezTo>
                  <a:cubicBezTo>
                    <a:pt x="6315551" y="304324"/>
                    <a:pt x="6315551" y="306229"/>
                    <a:pt x="6314599" y="308134"/>
                  </a:cubicBezTo>
                  <a:cubicBezTo>
                    <a:pt x="6315551" y="300514"/>
                    <a:pt x="6316504" y="293846"/>
                    <a:pt x="6317456" y="287179"/>
                  </a:cubicBezTo>
                  <a:cubicBezTo>
                    <a:pt x="6318409" y="279559"/>
                    <a:pt x="6319362" y="272891"/>
                    <a:pt x="6319362" y="267176"/>
                  </a:cubicBezTo>
                  <a:cubicBezTo>
                    <a:pt x="6320314" y="256699"/>
                    <a:pt x="6320314" y="250031"/>
                    <a:pt x="6320314" y="250031"/>
                  </a:cubicBezTo>
                  <a:cubicBezTo>
                    <a:pt x="6320314" y="250031"/>
                    <a:pt x="6318409" y="255746"/>
                    <a:pt x="6314599" y="266224"/>
                  </a:cubicBezTo>
                  <a:cubicBezTo>
                    <a:pt x="6311742" y="276701"/>
                    <a:pt x="6306979" y="291941"/>
                    <a:pt x="6302217" y="310039"/>
                  </a:cubicBezTo>
                  <a:cubicBezTo>
                    <a:pt x="6299359" y="318611"/>
                    <a:pt x="6296501" y="329089"/>
                    <a:pt x="6293644" y="339566"/>
                  </a:cubicBezTo>
                  <a:cubicBezTo>
                    <a:pt x="6291739" y="347186"/>
                    <a:pt x="6288881" y="354806"/>
                    <a:pt x="6286976" y="362426"/>
                  </a:cubicBezTo>
                  <a:cubicBezTo>
                    <a:pt x="6286024" y="352901"/>
                    <a:pt x="6285071" y="343376"/>
                    <a:pt x="6284119" y="335756"/>
                  </a:cubicBezTo>
                  <a:cubicBezTo>
                    <a:pt x="6286024" y="330041"/>
                    <a:pt x="6286976" y="324326"/>
                    <a:pt x="6288881" y="318611"/>
                  </a:cubicBezTo>
                  <a:cubicBezTo>
                    <a:pt x="6293644" y="303371"/>
                    <a:pt x="6298406" y="289084"/>
                    <a:pt x="6302217" y="274796"/>
                  </a:cubicBezTo>
                  <a:cubicBezTo>
                    <a:pt x="6304121" y="268129"/>
                    <a:pt x="6306026" y="261461"/>
                    <a:pt x="6307931" y="255746"/>
                  </a:cubicBezTo>
                  <a:cubicBezTo>
                    <a:pt x="6309837" y="250031"/>
                    <a:pt x="6311742" y="244316"/>
                    <a:pt x="6313646" y="238601"/>
                  </a:cubicBezTo>
                  <a:cubicBezTo>
                    <a:pt x="6317456" y="228124"/>
                    <a:pt x="6320314" y="218599"/>
                    <a:pt x="6323171" y="210026"/>
                  </a:cubicBezTo>
                  <a:cubicBezTo>
                    <a:pt x="6327934" y="193834"/>
                    <a:pt x="6330792" y="185261"/>
                    <a:pt x="6330792" y="185261"/>
                  </a:cubicBezTo>
                  <a:cubicBezTo>
                    <a:pt x="6330792" y="185261"/>
                    <a:pt x="6326981" y="193834"/>
                    <a:pt x="6319362" y="208121"/>
                  </a:cubicBezTo>
                  <a:cubicBezTo>
                    <a:pt x="6315551" y="215741"/>
                    <a:pt x="6311742" y="224314"/>
                    <a:pt x="6306026" y="234791"/>
                  </a:cubicBezTo>
                  <a:cubicBezTo>
                    <a:pt x="6303169" y="239554"/>
                    <a:pt x="6301264" y="245269"/>
                    <a:pt x="6298406" y="250984"/>
                  </a:cubicBezTo>
                  <a:cubicBezTo>
                    <a:pt x="6295549" y="256699"/>
                    <a:pt x="6293644" y="263366"/>
                    <a:pt x="6290787" y="270034"/>
                  </a:cubicBezTo>
                  <a:cubicBezTo>
                    <a:pt x="6286976" y="279559"/>
                    <a:pt x="6282214" y="290036"/>
                    <a:pt x="6278404" y="301466"/>
                  </a:cubicBezTo>
                  <a:cubicBezTo>
                    <a:pt x="6277451" y="295751"/>
                    <a:pt x="6277451" y="292894"/>
                    <a:pt x="6277451" y="292894"/>
                  </a:cubicBezTo>
                  <a:cubicBezTo>
                    <a:pt x="6277451" y="292894"/>
                    <a:pt x="6277451" y="297656"/>
                    <a:pt x="6276499" y="306229"/>
                  </a:cubicBezTo>
                  <a:cubicBezTo>
                    <a:pt x="6275546" y="308134"/>
                    <a:pt x="6274594" y="310991"/>
                    <a:pt x="6273642" y="312896"/>
                  </a:cubicBezTo>
                  <a:cubicBezTo>
                    <a:pt x="6272689" y="315754"/>
                    <a:pt x="6271737" y="319564"/>
                    <a:pt x="6269831" y="322421"/>
                  </a:cubicBezTo>
                  <a:cubicBezTo>
                    <a:pt x="6270784" y="314801"/>
                    <a:pt x="6272689" y="308134"/>
                    <a:pt x="6273642" y="300514"/>
                  </a:cubicBezTo>
                  <a:cubicBezTo>
                    <a:pt x="6277451" y="283369"/>
                    <a:pt x="6280309" y="267176"/>
                    <a:pt x="6283167" y="252889"/>
                  </a:cubicBezTo>
                  <a:cubicBezTo>
                    <a:pt x="6285071" y="245269"/>
                    <a:pt x="6286024" y="238601"/>
                    <a:pt x="6287929" y="231934"/>
                  </a:cubicBezTo>
                  <a:cubicBezTo>
                    <a:pt x="6289834" y="225266"/>
                    <a:pt x="6290787" y="218599"/>
                    <a:pt x="6292692" y="212884"/>
                  </a:cubicBezTo>
                  <a:cubicBezTo>
                    <a:pt x="6295549" y="200501"/>
                    <a:pt x="6298406" y="190024"/>
                    <a:pt x="6300312" y="181451"/>
                  </a:cubicBezTo>
                  <a:cubicBezTo>
                    <a:pt x="6304121" y="164306"/>
                    <a:pt x="6306026" y="153829"/>
                    <a:pt x="6306026" y="153829"/>
                  </a:cubicBezTo>
                  <a:cubicBezTo>
                    <a:pt x="6306026" y="153829"/>
                    <a:pt x="6302217" y="163354"/>
                    <a:pt x="6296501" y="180499"/>
                  </a:cubicBezTo>
                  <a:cubicBezTo>
                    <a:pt x="6293644" y="189071"/>
                    <a:pt x="6289834" y="199549"/>
                    <a:pt x="6286024" y="210979"/>
                  </a:cubicBezTo>
                  <a:cubicBezTo>
                    <a:pt x="6284119" y="216694"/>
                    <a:pt x="6282214" y="223361"/>
                    <a:pt x="6279356" y="230029"/>
                  </a:cubicBezTo>
                  <a:cubicBezTo>
                    <a:pt x="6277451" y="236696"/>
                    <a:pt x="6275546" y="243364"/>
                    <a:pt x="6273642" y="250984"/>
                  </a:cubicBezTo>
                  <a:cubicBezTo>
                    <a:pt x="6269831" y="265271"/>
                    <a:pt x="6265069" y="281464"/>
                    <a:pt x="6260306" y="298609"/>
                  </a:cubicBezTo>
                  <a:cubicBezTo>
                    <a:pt x="6255544" y="315754"/>
                    <a:pt x="6251734" y="333851"/>
                    <a:pt x="6246971" y="351949"/>
                  </a:cubicBezTo>
                  <a:cubicBezTo>
                    <a:pt x="6244114" y="366236"/>
                    <a:pt x="6240304" y="381476"/>
                    <a:pt x="6236494" y="396716"/>
                  </a:cubicBezTo>
                  <a:cubicBezTo>
                    <a:pt x="6236494" y="395764"/>
                    <a:pt x="6235542" y="395764"/>
                    <a:pt x="6235542" y="394811"/>
                  </a:cubicBezTo>
                  <a:cubicBezTo>
                    <a:pt x="6235542" y="379571"/>
                    <a:pt x="6234589" y="370046"/>
                    <a:pt x="6234589" y="370046"/>
                  </a:cubicBezTo>
                  <a:cubicBezTo>
                    <a:pt x="6234589" y="370046"/>
                    <a:pt x="6233637" y="376714"/>
                    <a:pt x="6230779" y="389096"/>
                  </a:cubicBezTo>
                  <a:cubicBezTo>
                    <a:pt x="6229826" y="387191"/>
                    <a:pt x="6228874" y="386239"/>
                    <a:pt x="6227921" y="384334"/>
                  </a:cubicBezTo>
                  <a:cubicBezTo>
                    <a:pt x="6224112" y="378619"/>
                    <a:pt x="6220301" y="372904"/>
                    <a:pt x="6216492" y="367189"/>
                  </a:cubicBezTo>
                  <a:cubicBezTo>
                    <a:pt x="6218396" y="360521"/>
                    <a:pt x="6220301" y="354806"/>
                    <a:pt x="6223159" y="348139"/>
                  </a:cubicBezTo>
                  <a:cubicBezTo>
                    <a:pt x="6227921" y="334804"/>
                    <a:pt x="6232684" y="322421"/>
                    <a:pt x="6236494" y="310991"/>
                  </a:cubicBezTo>
                  <a:cubicBezTo>
                    <a:pt x="6240304" y="299561"/>
                    <a:pt x="6244114" y="289084"/>
                    <a:pt x="6247924" y="279559"/>
                  </a:cubicBezTo>
                  <a:cubicBezTo>
                    <a:pt x="6251734" y="270034"/>
                    <a:pt x="6254592" y="262414"/>
                    <a:pt x="6256496" y="254794"/>
                  </a:cubicBezTo>
                  <a:cubicBezTo>
                    <a:pt x="6261259" y="241459"/>
                    <a:pt x="6264117" y="233839"/>
                    <a:pt x="6264117" y="233839"/>
                  </a:cubicBezTo>
                  <a:cubicBezTo>
                    <a:pt x="6264117" y="233839"/>
                    <a:pt x="6260306" y="241459"/>
                    <a:pt x="6252687" y="253841"/>
                  </a:cubicBezTo>
                  <a:cubicBezTo>
                    <a:pt x="6248876" y="260509"/>
                    <a:pt x="6245067" y="268129"/>
                    <a:pt x="6240304" y="276701"/>
                  </a:cubicBezTo>
                  <a:cubicBezTo>
                    <a:pt x="6235542" y="285274"/>
                    <a:pt x="6230779" y="295751"/>
                    <a:pt x="6225064" y="307181"/>
                  </a:cubicBezTo>
                  <a:cubicBezTo>
                    <a:pt x="6220301" y="318611"/>
                    <a:pt x="6214587" y="330994"/>
                    <a:pt x="6208871" y="343376"/>
                  </a:cubicBezTo>
                  <a:cubicBezTo>
                    <a:pt x="6207919" y="346234"/>
                    <a:pt x="6206014" y="349091"/>
                    <a:pt x="6205062" y="351949"/>
                  </a:cubicBezTo>
                  <a:cubicBezTo>
                    <a:pt x="6205062" y="351949"/>
                    <a:pt x="6204109" y="350996"/>
                    <a:pt x="6204109" y="350996"/>
                  </a:cubicBezTo>
                  <a:cubicBezTo>
                    <a:pt x="6206967" y="340519"/>
                    <a:pt x="6208871" y="330041"/>
                    <a:pt x="6210776" y="320516"/>
                  </a:cubicBezTo>
                  <a:cubicBezTo>
                    <a:pt x="6214587" y="298609"/>
                    <a:pt x="6219349" y="280511"/>
                    <a:pt x="6222206" y="268129"/>
                  </a:cubicBezTo>
                  <a:cubicBezTo>
                    <a:pt x="6225064" y="255746"/>
                    <a:pt x="6226017" y="248126"/>
                    <a:pt x="6226017" y="248126"/>
                  </a:cubicBezTo>
                  <a:cubicBezTo>
                    <a:pt x="6226017" y="248126"/>
                    <a:pt x="6223159" y="254794"/>
                    <a:pt x="6218396" y="267176"/>
                  </a:cubicBezTo>
                  <a:cubicBezTo>
                    <a:pt x="6216492" y="272891"/>
                    <a:pt x="6213634" y="280511"/>
                    <a:pt x="6209824" y="289084"/>
                  </a:cubicBezTo>
                  <a:cubicBezTo>
                    <a:pt x="6206967" y="297656"/>
                    <a:pt x="6203156" y="307181"/>
                    <a:pt x="6199346" y="317659"/>
                  </a:cubicBezTo>
                  <a:cubicBezTo>
                    <a:pt x="6197442" y="323374"/>
                    <a:pt x="6195537" y="330041"/>
                    <a:pt x="6193631" y="335756"/>
                  </a:cubicBezTo>
                  <a:cubicBezTo>
                    <a:pt x="6190774" y="330994"/>
                    <a:pt x="6186964" y="326231"/>
                    <a:pt x="6184106" y="322421"/>
                  </a:cubicBezTo>
                  <a:cubicBezTo>
                    <a:pt x="6183154" y="321469"/>
                    <a:pt x="6182201" y="320516"/>
                    <a:pt x="6181249" y="318611"/>
                  </a:cubicBezTo>
                  <a:cubicBezTo>
                    <a:pt x="6182201" y="312896"/>
                    <a:pt x="6183154" y="307181"/>
                    <a:pt x="6184106" y="302419"/>
                  </a:cubicBezTo>
                  <a:cubicBezTo>
                    <a:pt x="6186012" y="291941"/>
                    <a:pt x="6186964" y="282416"/>
                    <a:pt x="6189821" y="274796"/>
                  </a:cubicBezTo>
                  <a:cubicBezTo>
                    <a:pt x="6193631" y="259556"/>
                    <a:pt x="6195537" y="250984"/>
                    <a:pt x="6195537" y="250984"/>
                  </a:cubicBezTo>
                  <a:cubicBezTo>
                    <a:pt x="6195537" y="250984"/>
                    <a:pt x="6191726" y="259556"/>
                    <a:pt x="6186012" y="273844"/>
                  </a:cubicBezTo>
                  <a:cubicBezTo>
                    <a:pt x="6183154" y="280511"/>
                    <a:pt x="6180296" y="290036"/>
                    <a:pt x="6176487" y="300514"/>
                  </a:cubicBezTo>
                  <a:cubicBezTo>
                    <a:pt x="6175534" y="303371"/>
                    <a:pt x="6174581" y="306229"/>
                    <a:pt x="6173629" y="309086"/>
                  </a:cubicBezTo>
                  <a:cubicBezTo>
                    <a:pt x="6173629" y="309086"/>
                    <a:pt x="6172676" y="308134"/>
                    <a:pt x="6172676" y="308134"/>
                  </a:cubicBezTo>
                  <a:cubicBezTo>
                    <a:pt x="6173629" y="303371"/>
                    <a:pt x="6174581" y="298609"/>
                    <a:pt x="6174581" y="294799"/>
                  </a:cubicBezTo>
                  <a:cubicBezTo>
                    <a:pt x="6176487" y="283369"/>
                    <a:pt x="6178392" y="272891"/>
                    <a:pt x="6180296" y="263366"/>
                  </a:cubicBezTo>
                  <a:cubicBezTo>
                    <a:pt x="6182201" y="253841"/>
                    <a:pt x="6184106" y="244316"/>
                    <a:pt x="6185059" y="236696"/>
                  </a:cubicBezTo>
                  <a:cubicBezTo>
                    <a:pt x="6186964" y="229076"/>
                    <a:pt x="6187917" y="221456"/>
                    <a:pt x="6188869" y="215741"/>
                  </a:cubicBezTo>
                  <a:cubicBezTo>
                    <a:pt x="6190774" y="204311"/>
                    <a:pt x="6192679" y="197644"/>
                    <a:pt x="6192679" y="197644"/>
                  </a:cubicBezTo>
                  <a:cubicBezTo>
                    <a:pt x="6192679" y="197644"/>
                    <a:pt x="6189821" y="203359"/>
                    <a:pt x="6185059" y="214789"/>
                  </a:cubicBezTo>
                  <a:cubicBezTo>
                    <a:pt x="6180296" y="225266"/>
                    <a:pt x="6174581" y="241459"/>
                    <a:pt x="6168867" y="260509"/>
                  </a:cubicBezTo>
                  <a:cubicBezTo>
                    <a:pt x="6166962" y="267176"/>
                    <a:pt x="6165056" y="273844"/>
                    <a:pt x="6163151" y="280511"/>
                  </a:cubicBezTo>
                  <a:cubicBezTo>
                    <a:pt x="6161246" y="270034"/>
                    <a:pt x="6160294" y="261461"/>
                    <a:pt x="6159342" y="253841"/>
                  </a:cubicBezTo>
                  <a:cubicBezTo>
                    <a:pt x="6156484" y="235744"/>
                    <a:pt x="6154579" y="225266"/>
                    <a:pt x="6154579" y="225266"/>
                  </a:cubicBezTo>
                  <a:cubicBezTo>
                    <a:pt x="6154579" y="225266"/>
                    <a:pt x="6155531" y="248126"/>
                    <a:pt x="6156484" y="285274"/>
                  </a:cubicBezTo>
                  <a:cubicBezTo>
                    <a:pt x="6151721" y="278606"/>
                    <a:pt x="6146959" y="272891"/>
                    <a:pt x="6143149" y="268129"/>
                  </a:cubicBezTo>
                  <a:cubicBezTo>
                    <a:pt x="6143149" y="268129"/>
                    <a:pt x="6143149" y="267176"/>
                    <a:pt x="6143149" y="267176"/>
                  </a:cubicBezTo>
                  <a:cubicBezTo>
                    <a:pt x="6144101" y="263366"/>
                    <a:pt x="6145054" y="259556"/>
                    <a:pt x="6146006" y="256699"/>
                  </a:cubicBezTo>
                  <a:cubicBezTo>
                    <a:pt x="6156484" y="210026"/>
                    <a:pt x="6161246" y="178594"/>
                    <a:pt x="6161246" y="178594"/>
                  </a:cubicBezTo>
                  <a:cubicBezTo>
                    <a:pt x="6161246" y="178594"/>
                    <a:pt x="6158389" y="186214"/>
                    <a:pt x="6152674" y="200501"/>
                  </a:cubicBezTo>
                  <a:cubicBezTo>
                    <a:pt x="6152674" y="199549"/>
                    <a:pt x="6152674" y="198596"/>
                    <a:pt x="6152674" y="197644"/>
                  </a:cubicBezTo>
                  <a:cubicBezTo>
                    <a:pt x="6154579" y="188119"/>
                    <a:pt x="6155531" y="179546"/>
                    <a:pt x="6156484" y="172879"/>
                  </a:cubicBezTo>
                  <a:cubicBezTo>
                    <a:pt x="6158389" y="158591"/>
                    <a:pt x="6160294" y="150971"/>
                    <a:pt x="6160294" y="150971"/>
                  </a:cubicBezTo>
                  <a:cubicBezTo>
                    <a:pt x="6160294" y="150971"/>
                    <a:pt x="6157437" y="158591"/>
                    <a:pt x="6152674" y="171926"/>
                  </a:cubicBezTo>
                  <a:cubicBezTo>
                    <a:pt x="6150769" y="178594"/>
                    <a:pt x="6147912" y="187166"/>
                    <a:pt x="6145054" y="196691"/>
                  </a:cubicBezTo>
                  <a:cubicBezTo>
                    <a:pt x="6143149" y="204311"/>
                    <a:pt x="6140292" y="211931"/>
                    <a:pt x="6138387" y="220504"/>
                  </a:cubicBezTo>
                  <a:cubicBezTo>
                    <a:pt x="6136481" y="209074"/>
                    <a:pt x="6135529" y="202406"/>
                    <a:pt x="6135529" y="202406"/>
                  </a:cubicBezTo>
                  <a:cubicBezTo>
                    <a:pt x="6135529" y="202406"/>
                    <a:pt x="6135529" y="209074"/>
                    <a:pt x="6134576" y="221456"/>
                  </a:cubicBezTo>
                  <a:cubicBezTo>
                    <a:pt x="6134576" y="227171"/>
                    <a:pt x="6132671" y="234791"/>
                    <a:pt x="6132671" y="242411"/>
                  </a:cubicBezTo>
                  <a:cubicBezTo>
                    <a:pt x="6132671" y="244316"/>
                    <a:pt x="6131719" y="246221"/>
                    <a:pt x="6131719" y="249079"/>
                  </a:cubicBezTo>
                  <a:cubicBezTo>
                    <a:pt x="6131719" y="250984"/>
                    <a:pt x="6130767" y="251936"/>
                    <a:pt x="6130767" y="253841"/>
                  </a:cubicBezTo>
                  <a:cubicBezTo>
                    <a:pt x="6129814" y="252889"/>
                    <a:pt x="6129814" y="251936"/>
                    <a:pt x="6129814" y="251936"/>
                  </a:cubicBezTo>
                  <a:cubicBezTo>
                    <a:pt x="6129814" y="251936"/>
                    <a:pt x="6129814" y="252889"/>
                    <a:pt x="6130767" y="254794"/>
                  </a:cubicBezTo>
                  <a:cubicBezTo>
                    <a:pt x="6130767" y="256699"/>
                    <a:pt x="6129814" y="258604"/>
                    <a:pt x="6129814" y="261461"/>
                  </a:cubicBezTo>
                  <a:cubicBezTo>
                    <a:pt x="6129814" y="250031"/>
                    <a:pt x="6129814" y="243364"/>
                    <a:pt x="6129814" y="243364"/>
                  </a:cubicBezTo>
                  <a:cubicBezTo>
                    <a:pt x="6129814" y="243364"/>
                    <a:pt x="6127909" y="254794"/>
                    <a:pt x="6126004" y="274796"/>
                  </a:cubicBezTo>
                  <a:cubicBezTo>
                    <a:pt x="6126004" y="276701"/>
                    <a:pt x="6126004" y="279559"/>
                    <a:pt x="6125051" y="281464"/>
                  </a:cubicBezTo>
                  <a:cubicBezTo>
                    <a:pt x="6124099" y="275749"/>
                    <a:pt x="6123146" y="270986"/>
                    <a:pt x="6122194" y="267176"/>
                  </a:cubicBezTo>
                  <a:cubicBezTo>
                    <a:pt x="6119337" y="251936"/>
                    <a:pt x="6117431" y="243364"/>
                    <a:pt x="6117431" y="243364"/>
                  </a:cubicBezTo>
                  <a:cubicBezTo>
                    <a:pt x="6117431" y="243364"/>
                    <a:pt x="6117431" y="251936"/>
                    <a:pt x="6118384" y="267176"/>
                  </a:cubicBezTo>
                  <a:cubicBezTo>
                    <a:pt x="6118384" y="275749"/>
                    <a:pt x="6119337" y="287179"/>
                    <a:pt x="6119337" y="300514"/>
                  </a:cubicBezTo>
                  <a:cubicBezTo>
                    <a:pt x="6117431" y="306229"/>
                    <a:pt x="6115526" y="311944"/>
                    <a:pt x="6114574" y="317659"/>
                  </a:cubicBezTo>
                  <a:cubicBezTo>
                    <a:pt x="6114574" y="313849"/>
                    <a:pt x="6114574" y="310991"/>
                    <a:pt x="6114574" y="307181"/>
                  </a:cubicBezTo>
                  <a:cubicBezTo>
                    <a:pt x="6113621" y="299561"/>
                    <a:pt x="6113621" y="292894"/>
                    <a:pt x="6112669" y="286226"/>
                  </a:cubicBezTo>
                  <a:cubicBezTo>
                    <a:pt x="6111717" y="279559"/>
                    <a:pt x="6110764" y="274796"/>
                    <a:pt x="6109812" y="270986"/>
                  </a:cubicBezTo>
                  <a:cubicBezTo>
                    <a:pt x="6106954" y="262414"/>
                    <a:pt x="6105049" y="258604"/>
                    <a:pt x="6105049" y="258604"/>
                  </a:cubicBezTo>
                  <a:cubicBezTo>
                    <a:pt x="6105049" y="258604"/>
                    <a:pt x="6105049" y="263366"/>
                    <a:pt x="6106001" y="272891"/>
                  </a:cubicBezTo>
                  <a:cubicBezTo>
                    <a:pt x="6106001" y="275749"/>
                    <a:pt x="6106001" y="278606"/>
                    <a:pt x="6106001" y="282416"/>
                  </a:cubicBezTo>
                  <a:cubicBezTo>
                    <a:pt x="6105049" y="279559"/>
                    <a:pt x="6105049" y="276701"/>
                    <a:pt x="6104096" y="273844"/>
                  </a:cubicBezTo>
                  <a:cubicBezTo>
                    <a:pt x="6103144" y="271939"/>
                    <a:pt x="6103144" y="270034"/>
                    <a:pt x="6102192" y="268129"/>
                  </a:cubicBezTo>
                  <a:cubicBezTo>
                    <a:pt x="6102192" y="263366"/>
                    <a:pt x="6101239" y="258604"/>
                    <a:pt x="6101239" y="253841"/>
                  </a:cubicBezTo>
                  <a:cubicBezTo>
                    <a:pt x="6102192" y="251936"/>
                    <a:pt x="6102192" y="249079"/>
                    <a:pt x="6103144" y="247174"/>
                  </a:cubicBezTo>
                  <a:cubicBezTo>
                    <a:pt x="6105049" y="238601"/>
                    <a:pt x="6106954" y="230981"/>
                    <a:pt x="6107906" y="225266"/>
                  </a:cubicBezTo>
                  <a:cubicBezTo>
                    <a:pt x="6110764" y="212884"/>
                    <a:pt x="6111717" y="205264"/>
                    <a:pt x="6111717" y="205264"/>
                  </a:cubicBezTo>
                  <a:cubicBezTo>
                    <a:pt x="6111717" y="205264"/>
                    <a:pt x="6108859" y="211931"/>
                    <a:pt x="6104096" y="223361"/>
                  </a:cubicBezTo>
                  <a:cubicBezTo>
                    <a:pt x="6103144" y="227171"/>
                    <a:pt x="6101239" y="230981"/>
                    <a:pt x="6099334" y="234791"/>
                  </a:cubicBezTo>
                  <a:cubicBezTo>
                    <a:pt x="6098381" y="220504"/>
                    <a:pt x="6097429" y="210026"/>
                    <a:pt x="6096476" y="206216"/>
                  </a:cubicBezTo>
                  <a:cubicBezTo>
                    <a:pt x="6096476" y="204311"/>
                    <a:pt x="6097429" y="201454"/>
                    <a:pt x="6097429" y="199549"/>
                  </a:cubicBezTo>
                  <a:cubicBezTo>
                    <a:pt x="6099334" y="191929"/>
                    <a:pt x="6100287" y="184309"/>
                    <a:pt x="6101239" y="177641"/>
                  </a:cubicBezTo>
                  <a:cubicBezTo>
                    <a:pt x="6102192" y="170974"/>
                    <a:pt x="6103144" y="163354"/>
                    <a:pt x="6104096" y="157639"/>
                  </a:cubicBezTo>
                  <a:cubicBezTo>
                    <a:pt x="6106001" y="145256"/>
                    <a:pt x="6106954" y="133826"/>
                    <a:pt x="6107906" y="124301"/>
                  </a:cubicBezTo>
                  <a:cubicBezTo>
                    <a:pt x="6109812" y="106204"/>
                    <a:pt x="6110764" y="95726"/>
                    <a:pt x="6110764" y="95726"/>
                  </a:cubicBezTo>
                  <a:cubicBezTo>
                    <a:pt x="6110764" y="95726"/>
                    <a:pt x="6107906" y="106204"/>
                    <a:pt x="6104096" y="124301"/>
                  </a:cubicBezTo>
                  <a:cubicBezTo>
                    <a:pt x="6102192" y="132874"/>
                    <a:pt x="6099334" y="144304"/>
                    <a:pt x="6096476" y="156686"/>
                  </a:cubicBezTo>
                  <a:cubicBezTo>
                    <a:pt x="6095524" y="163354"/>
                    <a:pt x="6093619" y="170021"/>
                    <a:pt x="6091714" y="176689"/>
                  </a:cubicBezTo>
                  <a:cubicBezTo>
                    <a:pt x="6089809" y="183356"/>
                    <a:pt x="6087904" y="190976"/>
                    <a:pt x="6085999" y="198596"/>
                  </a:cubicBezTo>
                  <a:cubicBezTo>
                    <a:pt x="6085046" y="203359"/>
                    <a:pt x="6083142" y="209074"/>
                    <a:pt x="6081237" y="214789"/>
                  </a:cubicBezTo>
                  <a:cubicBezTo>
                    <a:pt x="6077426" y="206216"/>
                    <a:pt x="6074569" y="201454"/>
                    <a:pt x="6074569" y="201454"/>
                  </a:cubicBezTo>
                  <a:cubicBezTo>
                    <a:pt x="6074569" y="201454"/>
                    <a:pt x="6076474" y="208121"/>
                    <a:pt x="6079331" y="219551"/>
                  </a:cubicBezTo>
                  <a:cubicBezTo>
                    <a:pt x="6078379" y="222409"/>
                    <a:pt x="6076474" y="225266"/>
                    <a:pt x="6073617" y="230029"/>
                  </a:cubicBezTo>
                  <a:cubicBezTo>
                    <a:pt x="6072664" y="231934"/>
                    <a:pt x="6071712" y="234791"/>
                    <a:pt x="6069806" y="237649"/>
                  </a:cubicBezTo>
                  <a:cubicBezTo>
                    <a:pt x="6069806" y="233839"/>
                    <a:pt x="6069806" y="230981"/>
                    <a:pt x="6069806" y="228124"/>
                  </a:cubicBezTo>
                  <a:cubicBezTo>
                    <a:pt x="6069806" y="213836"/>
                    <a:pt x="6069806" y="205264"/>
                    <a:pt x="6069806" y="205264"/>
                  </a:cubicBezTo>
                  <a:cubicBezTo>
                    <a:pt x="6069806" y="205264"/>
                    <a:pt x="6067901" y="213836"/>
                    <a:pt x="6065996" y="228124"/>
                  </a:cubicBezTo>
                  <a:cubicBezTo>
                    <a:pt x="6065044" y="235744"/>
                    <a:pt x="6063139" y="243364"/>
                    <a:pt x="6061234" y="253841"/>
                  </a:cubicBezTo>
                  <a:cubicBezTo>
                    <a:pt x="6060281" y="256699"/>
                    <a:pt x="6060281" y="259556"/>
                    <a:pt x="6059329" y="263366"/>
                  </a:cubicBezTo>
                  <a:cubicBezTo>
                    <a:pt x="6058376" y="265271"/>
                    <a:pt x="6058376" y="267176"/>
                    <a:pt x="6057424" y="268129"/>
                  </a:cubicBezTo>
                  <a:cubicBezTo>
                    <a:pt x="6054567" y="275749"/>
                    <a:pt x="6051709" y="285274"/>
                    <a:pt x="6048851" y="294799"/>
                  </a:cubicBezTo>
                  <a:cubicBezTo>
                    <a:pt x="6045994" y="304324"/>
                    <a:pt x="6044089" y="313849"/>
                    <a:pt x="6041231" y="324326"/>
                  </a:cubicBezTo>
                  <a:cubicBezTo>
                    <a:pt x="6041231" y="324326"/>
                    <a:pt x="6041231" y="325279"/>
                    <a:pt x="6041231" y="325279"/>
                  </a:cubicBezTo>
                  <a:cubicBezTo>
                    <a:pt x="6038374" y="318611"/>
                    <a:pt x="6036469" y="311944"/>
                    <a:pt x="6033612" y="306229"/>
                  </a:cubicBezTo>
                  <a:cubicBezTo>
                    <a:pt x="6032659" y="303371"/>
                    <a:pt x="6030754" y="299561"/>
                    <a:pt x="6029801" y="296704"/>
                  </a:cubicBezTo>
                  <a:cubicBezTo>
                    <a:pt x="6029801" y="296704"/>
                    <a:pt x="6029801" y="295751"/>
                    <a:pt x="6029801" y="295751"/>
                  </a:cubicBezTo>
                  <a:cubicBezTo>
                    <a:pt x="6030754" y="290036"/>
                    <a:pt x="6031706" y="285274"/>
                    <a:pt x="6031706" y="281464"/>
                  </a:cubicBezTo>
                  <a:cubicBezTo>
                    <a:pt x="6032659" y="272891"/>
                    <a:pt x="6033612" y="269081"/>
                    <a:pt x="6033612" y="269081"/>
                  </a:cubicBezTo>
                  <a:cubicBezTo>
                    <a:pt x="6033612" y="269081"/>
                    <a:pt x="6031706" y="272891"/>
                    <a:pt x="6027896" y="280511"/>
                  </a:cubicBezTo>
                  <a:cubicBezTo>
                    <a:pt x="6026944" y="282416"/>
                    <a:pt x="6025992" y="284321"/>
                    <a:pt x="6025039" y="286226"/>
                  </a:cubicBezTo>
                  <a:cubicBezTo>
                    <a:pt x="6023134" y="281464"/>
                    <a:pt x="6021229" y="276701"/>
                    <a:pt x="6020276" y="272891"/>
                  </a:cubicBezTo>
                  <a:cubicBezTo>
                    <a:pt x="6013609" y="254794"/>
                    <a:pt x="6008846" y="244316"/>
                    <a:pt x="6008846" y="244316"/>
                  </a:cubicBezTo>
                  <a:cubicBezTo>
                    <a:pt x="6008846" y="244316"/>
                    <a:pt x="6011704" y="254794"/>
                    <a:pt x="6016467" y="273844"/>
                  </a:cubicBezTo>
                  <a:cubicBezTo>
                    <a:pt x="6018371" y="279559"/>
                    <a:pt x="6020276" y="286226"/>
                    <a:pt x="6022181" y="293846"/>
                  </a:cubicBezTo>
                  <a:cubicBezTo>
                    <a:pt x="6021229" y="296704"/>
                    <a:pt x="6020276" y="299561"/>
                    <a:pt x="6019324" y="302419"/>
                  </a:cubicBezTo>
                  <a:cubicBezTo>
                    <a:pt x="6018371" y="305276"/>
                    <a:pt x="6017419" y="309086"/>
                    <a:pt x="6016467" y="311944"/>
                  </a:cubicBezTo>
                  <a:cubicBezTo>
                    <a:pt x="6014562" y="318611"/>
                    <a:pt x="6012656" y="326231"/>
                    <a:pt x="6010751" y="333851"/>
                  </a:cubicBezTo>
                  <a:cubicBezTo>
                    <a:pt x="6010751" y="333851"/>
                    <a:pt x="6010751" y="334804"/>
                    <a:pt x="6010751" y="334804"/>
                  </a:cubicBezTo>
                  <a:cubicBezTo>
                    <a:pt x="6007894" y="330041"/>
                    <a:pt x="6005989" y="325279"/>
                    <a:pt x="6003131" y="320516"/>
                  </a:cubicBezTo>
                  <a:cubicBezTo>
                    <a:pt x="6001226" y="316706"/>
                    <a:pt x="5999321" y="312896"/>
                    <a:pt x="5996464" y="308134"/>
                  </a:cubicBezTo>
                  <a:cubicBezTo>
                    <a:pt x="5997417" y="306229"/>
                    <a:pt x="5998369" y="304324"/>
                    <a:pt x="5999321" y="302419"/>
                  </a:cubicBezTo>
                  <a:cubicBezTo>
                    <a:pt x="6002179" y="294799"/>
                    <a:pt x="6005037" y="289084"/>
                    <a:pt x="6007894" y="283369"/>
                  </a:cubicBezTo>
                  <a:cubicBezTo>
                    <a:pt x="6012656" y="272891"/>
                    <a:pt x="6014562" y="267176"/>
                    <a:pt x="6014562" y="267176"/>
                  </a:cubicBezTo>
                  <a:cubicBezTo>
                    <a:pt x="6014562" y="267176"/>
                    <a:pt x="6010751" y="272891"/>
                    <a:pt x="6004084" y="281464"/>
                  </a:cubicBezTo>
                  <a:cubicBezTo>
                    <a:pt x="6001226" y="286226"/>
                    <a:pt x="5997417" y="291941"/>
                    <a:pt x="5993606" y="297656"/>
                  </a:cubicBezTo>
                  <a:cubicBezTo>
                    <a:pt x="5992654" y="289084"/>
                    <a:pt x="5990749" y="281464"/>
                    <a:pt x="5989796" y="273844"/>
                  </a:cubicBezTo>
                  <a:cubicBezTo>
                    <a:pt x="5990749" y="266224"/>
                    <a:pt x="5990749" y="258604"/>
                    <a:pt x="5991701" y="250984"/>
                  </a:cubicBezTo>
                  <a:cubicBezTo>
                    <a:pt x="5992654" y="235744"/>
                    <a:pt x="5995512" y="223361"/>
                    <a:pt x="5997417" y="212884"/>
                  </a:cubicBezTo>
                  <a:cubicBezTo>
                    <a:pt x="6001226" y="191929"/>
                    <a:pt x="6003131" y="179546"/>
                    <a:pt x="6003131" y="179546"/>
                  </a:cubicBezTo>
                  <a:cubicBezTo>
                    <a:pt x="6003131" y="179546"/>
                    <a:pt x="5999321" y="190976"/>
                    <a:pt x="5993606" y="211931"/>
                  </a:cubicBezTo>
                  <a:cubicBezTo>
                    <a:pt x="5990749" y="222409"/>
                    <a:pt x="5986939" y="233839"/>
                    <a:pt x="5985034" y="248126"/>
                  </a:cubicBezTo>
                  <a:cubicBezTo>
                    <a:pt x="5981224" y="233839"/>
                    <a:pt x="5978367" y="219551"/>
                    <a:pt x="5974556" y="206216"/>
                  </a:cubicBezTo>
                  <a:cubicBezTo>
                    <a:pt x="5974556" y="206216"/>
                    <a:pt x="5974556" y="206216"/>
                    <a:pt x="5974556" y="206216"/>
                  </a:cubicBezTo>
                  <a:cubicBezTo>
                    <a:pt x="5975509" y="195739"/>
                    <a:pt x="5976462" y="186214"/>
                    <a:pt x="5977414" y="178594"/>
                  </a:cubicBezTo>
                  <a:cubicBezTo>
                    <a:pt x="5978367" y="163354"/>
                    <a:pt x="5979319" y="153829"/>
                    <a:pt x="5979319" y="153829"/>
                  </a:cubicBezTo>
                  <a:cubicBezTo>
                    <a:pt x="5979319" y="153829"/>
                    <a:pt x="5977414" y="162401"/>
                    <a:pt x="5973604" y="177641"/>
                  </a:cubicBezTo>
                  <a:cubicBezTo>
                    <a:pt x="5972651" y="181451"/>
                    <a:pt x="5971699" y="186214"/>
                    <a:pt x="5969794" y="191929"/>
                  </a:cubicBezTo>
                  <a:cubicBezTo>
                    <a:pt x="5965984" y="180499"/>
                    <a:pt x="5963126" y="170021"/>
                    <a:pt x="5959317" y="160496"/>
                  </a:cubicBezTo>
                  <a:cubicBezTo>
                    <a:pt x="5954554" y="148114"/>
                    <a:pt x="5950744" y="137636"/>
                    <a:pt x="5946934" y="130016"/>
                  </a:cubicBezTo>
                  <a:cubicBezTo>
                    <a:pt x="5939314" y="112871"/>
                    <a:pt x="5934551" y="104299"/>
                    <a:pt x="5934551" y="104299"/>
                  </a:cubicBezTo>
                  <a:cubicBezTo>
                    <a:pt x="5934551" y="104299"/>
                    <a:pt x="5937409" y="113824"/>
                    <a:pt x="5943124" y="131921"/>
                  </a:cubicBezTo>
                  <a:cubicBezTo>
                    <a:pt x="5945981" y="140494"/>
                    <a:pt x="5948839" y="150971"/>
                    <a:pt x="5951696" y="163354"/>
                  </a:cubicBezTo>
                  <a:cubicBezTo>
                    <a:pt x="5955506" y="175736"/>
                    <a:pt x="5957412" y="189071"/>
                    <a:pt x="5961221" y="204311"/>
                  </a:cubicBezTo>
                  <a:cubicBezTo>
                    <a:pt x="5962174" y="208121"/>
                    <a:pt x="5963126" y="212884"/>
                    <a:pt x="5964079" y="216694"/>
                  </a:cubicBezTo>
                  <a:cubicBezTo>
                    <a:pt x="5964079" y="218599"/>
                    <a:pt x="5963126" y="220504"/>
                    <a:pt x="5962174" y="222409"/>
                  </a:cubicBezTo>
                  <a:cubicBezTo>
                    <a:pt x="5961221" y="226219"/>
                    <a:pt x="5959317" y="230981"/>
                    <a:pt x="5958364" y="235744"/>
                  </a:cubicBezTo>
                  <a:cubicBezTo>
                    <a:pt x="5957412" y="234791"/>
                    <a:pt x="5957412" y="233839"/>
                    <a:pt x="5956459" y="232886"/>
                  </a:cubicBezTo>
                  <a:cubicBezTo>
                    <a:pt x="5956459" y="231934"/>
                    <a:pt x="5956459" y="231934"/>
                    <a:pt x="5956459" y="231934"/>
                  </a:cubicBezTo>
                  <a:cubicBezTo>
                    <a:pt x="5956459" y="231934"/>
                    <a:pt x="5956459" y="231934"/>
                    <a:pt x="5956459" y="232886"/>
                  </a:cubicBezTo>
                  <a:cubicBezTo>
                    <a:pt x="5948839" y="219551"/>
                    <a:pt x="5943124" y="208121"/>
                    <a:pt x="5938362" y="199549"/>
                  </a:cubicBezTo>
                  <a:cubicBezTo>
                    <a:pt x="5931694" y="187166"/>
                    <a:pt x="5927884" y="180499"/>
                    <a:pt x="5927884" y="180499"/>
                  </a:cubicBezTo>
                  <a:cubicBezTo>
                    <a:pt x="5927884" y="180499"/>
                    <a:pt x="5937409" y="209074"/>
                    <a:pt x="5953601" y="250984"/>
                  </a:cubicBezTo>
                  <a:cubicBezTo>
                    <a:pt x="5953601" y="252889"/>
                    <a:pt x="5952649" y="253841"/>
                    <a:pt x="5952649" y="255746"/>
                  </a:cubicBezTo>
                  <a:cubicBezTo>
                    <a:pt x="5949792" y="264319"/>
                    <a:pt x="5947887" y="272891"/>
                    <a:pt x="5945029" y="282416"/>
                  </a:cubicBezTo>
                  <a:cubicBezTo>
                    <a:pt x="5945029" y="283369"/>
                    <a:pt x="5944076" y="284321"/>
                    <a:pt x="5944076" y="285274"/>
                  </a:cubicBezTo>
                  <a:cubicBezTo>
                    <a:pt x="5943124" y="280511"/>
                    <a:pt x="5941219" y="275749"/>
                    <a:pt x="5940267" y="271939"/>
                  </a:cubicBezTo>
                  <a:cubicBezTo>
                    <a:pt x="5936456" y="259556"/>
                    <a:pt x="5932646" y="247174"/>
                    <a:pt x="5928837" y="237649"/>
                  </a:cubicBezTo>
                  <a:cubicBezTo>
                    <a:pt x="5925979" y="230981"/>
                    <a:pt x="5924074" y="225266"/>
                    <a:pt x="5922169" y="220504"/>
                  </a:cubicBezTo>
                  <a:cubicBezTo>
                    <a:pt x="5923121" y="217646"/>
                    <a:pt x="5923121" y="216694"/>
                    <a:pt x="5923121" y="216694"/>
                  </a:cubicBezTo>
                  <a:cubicBezTo>
                    <a:pt x="5923121" y="216694"/>
                    <a:pt x="5922169" y="217646"/>
                    <a:pt x="5921217" y="219551"/>
                  </a:cubicBezTo>
                  <a:cubicBezTo>
                    <a:pt x="5920264" y="216694"/>
                    <a:pt x="5919312" y="213836"/>
                    <a:pt x="5917406" y="211931"/>
                  </a:cubicBezTo>
                  <a:cubicBezTo>
                    <a:pt x="5913596" y="204311"/>
                    <a:pt x="5910739" y="198596"/>
                    <a:pt x="5908834" y="194786"/>
                  </a:cubicBezTo>
                  <a:cubicBezTo>
                    <a:pt x="5908834" y="190976"/>
                    <a:pt x="5907881" y="187166"/>
                    <a:pt x="5907881" y="183356"/>
                  </a:cubicBezTo>
                  <a:cubicBezTo>
                    <a:pt x="5905976" y="168116"/>
                    <a:pt x="5905024" y="159544"/>
                    <a:pt x="5905024" y="159544"/>
                  </a:cubicBezTo>
                  <a:cubicBezTo>
                    <a:pt x="5905024" y="159544"/>
                    <a:pt x="5904071" y="168116"/>
                    <a:pt x="5904071" y="184309"/>
                  </a:cubicBezTo>
                  <a:cubicBezTo>
                    <a:pt x="5904071" y="191929"/>
                    <a:pt x="5903119" y="201454"/>
                    <a:pt x="5903119" y="211931"/>
                  </a:cubicBezTo>
                  <a:cubicBezTo>
                    <a:pt x="5903119" y="217646"/>
                    <a:pt x="5903119" y="223361"/>
                    <a:pt x="5902167" y="229076"/>
                  </a:cubicBezTo>
                  <a:cubicBezTo>
                    <a:pt x="5902167" y="234791"/>
                    <a:pt x="5902167" y="241459"/>
                    <a:pt x="5902167" y="248126"/>
                  </a:cubicBezTo>
                  <a:cubicBezTo>
                    <a:pt x="5902167" y="254794"/>
                    <a:pt x="5902167" y="262414"/>
                    <a:pt x="5903119" y="270034"/>
                  </a:cubicBezTo>
                  <a:cubicBezTo>
                    <a:pt x="5902167" y="274796"/>
                    <a:pt x="5901214" y="279559"/>
                    <a:pt x="5900262" y="285274"/>
                  </a:cubicBezTo>
                  <a:cubicBezTo>
                    <a:pt x="5900262" y="284321"/>
                    <a:pt x="5900262" y="283369"/>
                    <a:pt x="5899309" y="282416"/>
                  </a:cubicBezTo>
                  <a:cubicBezTo>
                    <a:pt x="5897404" y="274796"/>
                    <a:pt x="5896451" y="268129"/>
                    <a:pt x="5895499" y="263366"/>
                  </a:cubicBezTo>
                  <a:cubicBezTo>
                    <a:pt x="5893594" y="255746"/>
                    <a:pt x="5892642" y="250031"/>
                    <a:pt x="5891689" y="248126"/>
                  </a:cubicBezTo>
                  <a:cubicBezTo>
                    <a:pt x="5891689" y="246221"/>
                    <a:pt x="5891689" y="245269"/>
                    <a:pt x="5891689" y="245269"/>
                  </a:cubicBezTo>
                  <a:cubicBezTo>
                    <a:pt x="5891689" y="245269"/>
                    <a:pt x="5891689" y="246221"/>
                    <a:pt x="5890737" y="247174"/>
                  </a:cubicBezTo>
                  <a:cubicBezTo>
                    <a:pt x="5890737" y="247174"/>
                    <a:pt x="5890737" y="247174"/>
                    <a:pt x="5890737" y="247174"/>
                  </a:cubicBezTo>
                  <a:cubicBezTo>
                    <a:pt x="5890737" y="247174"/>
                    <a:pt x="5890737" y="247174"/>
                    <a:pt x="5890737" y="248126"/>
                  </a:cubicBezTo>
                  <a:cubicBezTo>
                    <a:pt x="5889784" y="251936"/>
                    <a:pt x="5885974" y="261461"/>
                    <a:pt x="5881212" y="275749"/>
                  </a:cubicBezTo>
                  <a:cubicBezTo>
                    <a:pt x="5880259" y="270986"/>
                    <a:pt x="5879306" y="266224"/>
                    <a:pt x="5878354" y="262414"/>
                  </a:cubicBezTo>
                  <a:cubicBezTo>
                    <a:pt x="5875496" y="248126"/>
                    <a:pt x="5874544" y="240506"/>
                    <a:pt x="5874544" y="240506"/>
                  </a:cubicBezTo>
                  <a:cubicBezTo>
                    <a:pt x="5874544" y="240506"/>
                    <a:pt x="5874544" y="248126"/>
                    <a:pt x="5874544" y="262414"/>
                  </a:cubicBezTo>
                  <a:cubicBezTo>
                    <a:pt x="5874544" y="270034"/>
                    <a:pt x="5875496" y="279559"/>
                    <a:pt x="5875496" y="290989"/>
                  </a:cubicBezTo>
                  <a:cubicBezTo>
                    <a:pt x="5874544" y="293846"/>
                    <a:pt x="5873592" y="295751"/>
                    <a:pt x="5873592" y="298609"/>
                  </a:cubicBezTo>
                  <a:cubicBezTo>
                    <a:pt x="5872639" y="290036"/>
                    <a:pt x="5872639" y="280511"/>
                    <a:pt x="5870734" y="271939"/>
                  </a:cubicBezTo>
                  <a:cubicBezTo>
                    <a:pt x="5869781" y="278606"/>
                    <a:pt x="5868829" y="286226"/>
                    <a:pt x="5867876" y="292894"/>
                  </a:cubicBezTo>
                  <a:cubicBezTo>
                    <a:pt x="5867876" y="285274"/>
                    <a:pt x="5867876" y="276701"/>
                    <a:pt x="5866924" y="269081"/>
                  </a:cubicBezTo>
                  <a:cubicBezTo>
                    <a:pt x="5866924" y="260509"/>
                    <a:pt x="5865971" y="251936"/>
                    <a:pt x="5865971" y="243364"/>
                  </a:cubicBezTo>
                  <a:cubicBezTo>
                    <a:pt x="5870734" y="231934"/>
                    <a:pt x="5873592" y="225266"/>
                    <a:pt x="5873592" y="225266"/>
                  </a:cubicBezTo>
                  <a:cubicBezTo>
                    <a:pt x="5873592" y="225266"/>
                    <a:pt x="5870734" y="230029"/>
                    <a:pt x="5865971" y="237649"/>
                  </a:cubicBezTo>
                  <a:cubicBezTo>
                    <a:pt x="5865971" y="234791"/>
                    <a:pt x="5865971" y="232886"/>
                    <a:pt x="5865971" y="230029"/>
                  </a:cubicBezTo>
                  <a:cubicBezTo>
                    <a:pt x="5865971" y="217646"/>
                    <a:pt x="5865019" y="205264"/>
                    <a:pt x="5865019" y="194786"/>
                  </a:cubicBezTo>
                  <a:cubicBezTo>
                    <a:pt x="5864067" y="172879"/>
                    <a:pt x="5863114" y="154781"/>
                    <a:pt x="5863114" y="141446"/>
                  </a:cubicBezTo>
                  <a:cubicBezTo>
                    <a:pt x="5862162" y="128111"/>
                    <a:pt x="5862162" y="121444"/>
                    <a:pt x="5862162" y="121444"/>
                  </a:cubicBezTo>
                  <a:cubicBezTo>
                    <a:pt x="5862162" y="121444"/>
                    <a:pt x="5861209" y="129064"/>
                    <a:pt x="5859304" y="141446"/>
                  </a:cubicBezTo>
                  <a:cubicBezTo>
                    <a:pt x="5858351" y="147161"/>
                    <a:pt x="5857399" y="153829"/>
                    <a:pt x="5856446" y="161449"/>
                  </a:cubicBezTo>
                  <a:cubicBezTo>
                    <a:pt x="5855494" y="145256"/>
                    <a:pt x="5854542" y="130969"/>
                    <a:pt x="5853589" y="120491"/>
                  </a:cubicBezTo>
                  <a:cubicBezTo>
                    <a:pt x="5852637" y="106204"/>
                    <a:pt x="5851684" y="98584"/>
                    <a:pt x="5851684" y="98584"/>
                  </a:cubicBezTo>
                  <a:cubicBezTo>
                    <a:pt x="5851684" y="98584"/>
                    <a:pt x="5850731" y="106204"/>
                    <a:pt x="5849779" y="120491"/>
                  </a:cubicBezTo>
                  <a:cubicBezTo>
                    <a:pt x="5848826" y="127159"/>
                    <a:pt x="5848826" y="135731"/>
                    <a:pt x="5847874" y="146209"/>
                  </a:cubicBezTo>
                  <a:cubicBezTo>
                    <a:pt x="5846921" y="155734"/>
                    <a:pt x="5846921" y="167164"/>
                    <a:pt x="5846921" y="179546"/>
                  </a:cubicBezTo>
                  <a:cubicBezTo>
                    <a:pt x="5845969" y="203359"/>
                    <a:pt x="5845969" y="231934"/>
                    <a:pt x="5846921" y="262414"/>
                  </a:cubicBezTo>
                  <a:cubicBezTo>
                    <a:pt x="5846921" y="264319"/>
                    <a:pt x="5846921" y="267176"/>
                    <a:pt x="5846921" y="269081"/>
                  </a:cubicBezTo>
                  <a:cubicBezTo>
                    <a:pt x="5845969" y="270986"/>
                    <a:pt x="5844064" y="272891"/>
                    <a:pt x="5843112" y="274796"/>
                  </a:cubicBezTo>
                  <a:cubicBezTo>
                    <a:pt x="5842159" y="270034"/>
                    <a:pt x="5841206" y="265271"/>
                    <a:pt x="5840254" y="261461"/>
                  </a:cubicBezTo>
                  <a:cubicBezTo>
                    <a:pt x="5840254" y="254794"/>
                    <a:pt x="5840254" y="248126"/>
                    <a:pt x="5841206" y="242411"/>
                  </a:cubicBezTo>
                  <a:cubicBezTo>
                    <a:pt x="5841206" y="230029"/>
                    <a:pt x="5841206" y="223361"/>
                    <a:pt x="5841206" y="223361"/>
                  </a:cubicBezTo>
                  <a:cubicBezTo>
                    <a:pt x="5841206" y="223361"/>
                    <a:pt x="5839301" y="230029"/>
                    <a:pt x="5837396" y="242411"/>
                  </a:cubicBezTo>
                  <a:cubicBezTo>
                    <a:pt x="5837396" y="243364"/>
                    <a:pt x="5837396" y="244316"/>
                    <a:pt x="5836444" y="245269"/>
                  </a:cubicBezTo>
                  <a:cubicBezTo>
                    <a:pt x="5833587" y="233839"/>
                    <a:pt x="5831681" y="224314"/>
                    <a:pt x="5829776" y="215741"/>
                  </a:cubicBezTo>
                  <a:cubicBezTo>
                    <a:pt x="5825967" y="198596"/>
                    <a:pt x="5824062" y="189071"/>
                    <a:pt x="5824062" y="189071"/>
                  </a:cubicBezTo>
                  <a:cubicBezTo>
                    <a:pt x="5824062" y="189071"/>
                    <a:pt x="5825014" y="198596"/>
                    <a:pt x="5825967" y="215741"/>
                  </a:cubicBezTo>
                  <a:cubicBezTo>
                    <a:pt x="5826919" y="224314"/>
                    <a:pt x="5827871" y="234791"/>
                    <a:pt x="5828824" y="246221"/>
                  </a:cubicBezTo>
                  <a:cubicBezTo>
                    <a:pt x="5829776" y="252889"/>
                    <a:pt x="5830729" y="260509"/>
                    <a:pt x="5831681" y="268129"/>
                  </a:cubicBezTo>
                  <a:cubicBezTo>
                    <a:pt x="5830729" y="270034"/>
                    <a:pt x="5828824" y="272891"/>
                    <a:pt x="5826919" y="276701"/>
                  </a:cubicBezTo>
                  <a:cubicBezTo>
                    <a:pt x="5826919" y="274796"/>
                    <a:pt x="5825967" y="272891"/>
                    <a:pt x="5825967" y="270986"/>
                  </a:cubicBezTo>
                  <a:cubicBezTo>
                    <a:pt x="5825014" y="263366"/>
                    <a:pt x="5823109" y="255746"/>
                    <a:pt x="5822156" y="250031"/>
                  </a:cubicBezTo>
                  <a:cubicBezTo>
                    <a:pt x="5820251" y="238601"/>
                    <a:pt x="5818346" y="231934"/>
                    <a:pt x="5818346" y="231934"/>
                  </a:cubicBezTo>
                  <a:cubicBezTo>
                    <a:pt x="5818346" y="231934"/>
                    <a:pt x="5818346" y="238601"/>
                    <a:pt x="5818346" y="250031"/>
                  </a:cubicBezTo>
                  <a:cubicBezTo>
                    <a:pt x="5818346" y="255746"/>
                    <a:pt x="5818346" y="262414"/>
                    <a:pt x="5818346" y="270986"/>
                  </a:cubicBezTo>
                  <a:cubicBezTo>
                    <a:pt x="5816442" y="267176"/>
                    <a:pt x="5814537" y="264319"/>
                    <a:pt x="5812631" y="262414"/>
                  </a:cubicBezTo>
                  <a:lnTo>
                    <a:pt x="5812631" y="246221"/>
                  </a:lnTo>
                  <a:lnTo>
                    <a:pt x="5814537" y="220504"/>
                  </a:lnTo>
                  <a:cubicBezTo>
                    <a:pt x="5815489" y="220504"/>
                    <a:pt x="5815489" y="220504"/>
                    <a:pt x="5816442" y="221456"/>
                  </a:cubicBezTo>
                  <a:cubicBezTo>
                    <a:pt x="5817394" y="222409"/>
                    <a:pt x="5818346" y="222409"/>
                    <a:pt x="5819299" y="224314"/>
                  </a:cubicBezTo>
                  <a:cubicBezTo>
                    <a:pt x="5821204" y="226219"/>
                    <a:pt x="5821204" y="229076"/>
                    <a:pt x="5822156" y="231934"/>
                  </a:cubicBezTo>
                  <a:cubicBezTo>
                    <a:pt x="5822156" y="229076"/>
                    <a:pt x="5822156" y="226219"/>
                    <a:pt x="5821204" y="223361"/>
                  </a:cubicBezTo>
                  <a:cubicBezTo>
                    <a:pt x="5820251" y="222409"/>
                    <a:pt x="5819299" y="220504"/>
                    <a:pt x="5818346" y="219551"/>
                  </a:cubicBezTo>
                  <a:cubicBezTo>
                    <a:pt x="5817394" y="218599"/>
                    <a:pt x="5815489" y="217646"/>
                    <a:pt x="5813584" y="217646"/>
                  </a:cubicBezTo>
                  <a:lnTo>
                    <a:pt x="5811679" y="217646"/>
                  </a:lnTo>
                  <a:lnTo>
                    <a:pt x="5811679" y="219551"/>
                  </a:lnTo>
                  <a:cubicBezTo>
                    <a:pt x="5809774" y="228124"/>
                    <a:pt x="5806917" y="237649"/>
                    <a:pt x="5805012" y="246221"/>
                  </a:cubicBezTo>
                  <a:cubicBezTo>
                    <a:pt x="5804059" y="250031"/>
                    <a:pt x="5804059" y="252889"/>
                    <a:pt x="5803106" y="256699"/>
                  </a:cubicBezTo>
                  <a:cubicBezTo>
                    <a:pt x="5801201" y="258604"/>
                    <a:pt x="5799296" y="261461"/>
                    <a:pt x="5796439" y="264319"/>
                  </a:cubicBezTo>
                  <a:cubicBezTo>
                    <a:pt x="5796439" y="259556"/>
                    <a:pt x="5795487" y="256699"/>
                    <a:pt x="5795487" y="253841"/>
                  </a:cubicBezTo>
                  <a:cubicBezTo>
                    <a:pt x="5794534" y="250031"/>
                    <a:pt x="5794534" y="248126"/>
                    <a:pt x="5794534" y="248126"/>
                  </a:cubicBezTo>
                  <a:cubicBezTo>
                    <a:pt x="5794534" y="248126"/>
                    <a:pt x="5794534" y="250031"/>
                    <a:pt x="5794534" y="253841"/>
                  </a:cubicBezTo>
                  <a:cubicBezTo>
                    <a:pt x="5794534" y="257651"/>
                    <a:pt x="5794534" y="262414"/>
                    <a:pt x="5793581" y="268129"/>
                  </a:cubicBezTo>
                  <a:cubicBezTo>
                    <a:pt x="5792629" y="269081"/>
                    <a:pt x="5792629" y="269081"/>
                    <a:pt x="5791676" y="270034"/>
                  </a:cubicBezTo>
                  <a:cubicBezTo>
                    <a:pt x="5791676" y="270034"/>
                    <a:pt x="5791676" y="270034"/>
                    <a:pt x="5791676" y="270034"/>
                  </a:cubicBezTo>
                  <a:lnTo>
                    <a:pt x="5787867" y="239554"/>
                  </a:lnTo>
                  <a:cubicBezTo>
                    <a:pt x="5791676" y="229076"/>
                    <a:pt x="5793581" y="224314"/>
                    <a:pt x="5793581" y="224314"/>
                  </a:cubicBezTo>
                  <a:cubicBezTo>
                    <a:pt x="5793581" y="224314"/>
                    <a:pt x="5791676" y="228124"/>
                    <a:pt x="5786914" y="234791"/>
                  </a:cubicBezTo>
                  <a:lnTo>
                    <a:pt x="5785009" y="205264"/>
                  </a:lnTo>
                  <a:cubicBezTo>
                    <a:pt x="5788819" y="197644"/>
                    <a:pt x="5791676" y="190024"/>
                    <a:pt x="5795487" y="183356"/>
                  </a:cubicBezTo>
                  <a:cubicBezTo>
                    <a:pt x="5795487" y="183356"/>
                    <a:pt x="5795487" y="184309"/>
                    <a:pt x="5795487" y="184309"/>
                  </a:cubicBezTo>
                  <a:cubicBezTo>
                    <a:pt x="5795487" y="184309"/>
                    <a:pt x="5795487" y="183356"/>
                    <a:pt x="5795487" y="183356"/>
                  </a:cubicBezTo>
                  <a:cubicBezTo>
                    <a:pt x="5796439" y="181451"/>
                    <a:pt x="5797392" y="179546"/>
                    <a:pt x="5797392" y="178594"/>
                  </a:cubicBezTo>
                  <a:cubicBezTo>
                    <a:pt x="5803106" y="165259"/>
                    <a:pt x="5808821" y="153829"/>
                    <a:pt x="5812631" y="145256"/>
                  </a:cubicBezTo>
                  <a:cubicBezTo>
                    <a:pt x="5821204" y="126206"/>
                    <a:pt x="5825967" y="115729"/>
                    <a:pt x="5825967" y="115729"/>
                  </a:cubicBezTo>
                  <a:cubicBezTo>
                    <a:pt x="5825967" y="115729"/>
                    <a:pt x="5820251" y="125254"/>
                    <a:pt x="5809774" y="143351"/>
                  </a:cubicBezTo>
                  <a:cubicBezTo>
                    <a:pt x="5805012" y="151924"/>
                    <a:pt x="5798344" y="162401"/>
                    <a:pt x="5791676" y="173831"/>
                  </a:cubicBezTo>
                  <a:cubicBezTo>
                    <a:pt x="5790724" y="172879"/>
                    <a:pt x="5789771" y="171926"/>
                    <a:pt x="5788819" y="170974"/>
                  </a:cubicBezTo>
                  <a:cubicBezTo>
                    <a:pt x="5786914" y="170021"/>
                    <a:pt x="5785009" y="169069"/>
                    <a:pt x="5783104" y="169069"/>
                  </a:cubicBezTo>
                  <a:lnTo>
                    <a:pt x="5781199" y="169069"/>
                  </a:lnTo>
                  <a:lnTo>
                    <a:pt x="5781199" y="170974"/>
                  </a:lnTo>
                  <a:lnTo>
                    <a:pt x="5777389" y="197644"/>
                  </a:lnTo>
                  <a:cubicBezTo>
                    <a:pt x="5774531" y="204311"/>
                    <a:pt x="5770721" y="210026"/>
                    <a:pt x="5766912" y="217646"/>
                  </a:cubicBezTo>
                  <a:cubicBezTo>
                    <a:pt x="5762149" y="226219"/>
                    <a:pt x="5757387" y="234791"/>
                    <a:pt x="5752624" y="244316"/>
                  </a:cubicBezTo>
                  <a:cubicBezTo>
                    <a:pt x="5752624" y="240506"/>
                    <a:pt x="5751671" y="236696"/>
                    <a:pt x="5751671" y="233839"/>
                  </a:cubicBezTo>
                  <a:cubicBezTo>
                    <a:pt x="5750719" y="228124"/>
                    <a:pt x="5749767" y="222409"/>
                    <a:pt x="5749767" y="216694"/>
                  </a:cubicBezTo>
                  <a:cubicBezTo>
                    <a:pt x="5754529" y="199549"/>
                    <a:pt x="5757387" y="190024"/>
                    <a:pt x="5757387" y="190024"/>
                  </a:cubicBezTo>
                  <a:cubicBezTo>
                    <a:pt x="5757387" y="190024"/>
                    <a:pt x="5754529" y="197644"/>
                    <a:pt x="5749767" y="210979"/>
                  </a:cubicBezTo>
                  <a:cubicBezTo>
                    <a:pt x="5749767" y="209074"/>
                    <a:pt x="5748814" y="206216"/>
                    <a:pt x="5748814" y="204311"/>
                  </a:cubicBezTo>
                  <a:cubicBezTo>
                    <a:pt x="5746909" y="188119"/>
                    <a:pt x="5745004" y="178594"/>
                    <a:pt x="5745004" y="178594"/>
                  </a:cubicBezTo>
                  <a:cubicBezTo>
                    <a:pt x="5745004" y="178594"/>
                    <a:pt x="5745004" y="188119"/>
                    <a:pt x="5745004" y="204311"/>
                  </a:cubicBezTo>
                  <a:cubicBezTo>
                    <a:pt x="5745004" y="210026"/>
                    <a:pt x="5745004" y="215741"/>
                    <a:pt x="5745004" y="222409"/>
                  </a:cubicBezTo>
                  <a:cubicBezTo>
                    <a:pt x="5745004" y="223361"/>
                    <a:pt x="5744051" y="224314"/>
                    <a:pt x="5744051" y="225266"/>
                  </a:cubicBezTo>
                  <a:cubicBezTo>
                    <a:pt x="5740242" y="234791"/>
                    <a:pt x="5736431" y="247174"/>
                    <a:pt x="5731669" y="259556"/>
                  </a:cubicBezTo>
                  <a:cubicBezTo>
                    <a:pt x="5731669" y="259556"/>
                    <a:pt x="5731669" y="258604"/>
                    <a:pt x="5731669" y="258604"/>
                  </a:cubicBezTo>
                  <a:cubicBezTo>
                    <a:pt x="5733574" y="245269"/>
                    <a:pt x="5734526" y="238601"/>
                    <a:pt x="5734526" y="238601"/>
                  </a:cubicBezTo>
                  <a:cubicBezTo>
                    <a:pt x="5734526" y="238601"/>
                    <a:pt x="5732621" y="246221"/>
                    <a:pt x="5727859" y="258604"/>
                  </a:cubicBezTo>
                  <a:cubicBezTo>
                    <a:pt x="5726906" y="260509"/>
                    <a:pt x="5726906" y="262414"/>
                    <a:pt x="5725954" y="264319"/>
                  </a:cubicBezTo>
                  <a:cubicBezTo>
                    <a:pt x="5725954" y="264319"/>
                    <a:pt x="5725954" y="263366"/>
                    <a:pt x="5725954" y="263366"/>
                  </a:cubicBezTo>
                  <a:cubicBezTo>
                    <a:pt x="5725954" y="263366"/>
                    <a:pt x="5725954" y="262414"/>
                    <a:pt x="5725954" y="262414"/>
                  </a:cubicBezTo>
                  <a:cubicBezTo>
                    <a:pt x="5725954" y="260509"/>
                    <a:pt x="5726906" y="258604"/>
                    <a:pt x="5726906" y="256699"/>
                  </a:cubicBezTo>
                  <a:cubicBezTo>
                    <a:pt x="5727859" y="251936"/>
                    <a:pt x="5728812" y="247174"/>
                    <a:pt x="5729764" y="242411"/>
                  </a:cubicBezTo>
                  <a:cubicBezTo>
                    <a:pt x="5730717" y="237649"/>
                    <a:pt x="5731669" y="233839"/>
                    <a:pt x="5732621" y="230029"/>
                  </a:cubicBezTo>
                  <a:cubicBezTo>
                    <a:pt x="5734526" y="222409"/>
                    <a:pt x="5736431" y="215741"/>
                    <a:pt x="5737384" y="210026"/>
                  </a:cubicBezTo>
                  <a:cubicBezTo>
                    <a:pt x="5740242" y="198596"/>
                    <a:pt x="5741194" y="191929"/>
                    <a:pt x="5741194" y="191929"/>
                  </a:cubicBezTo>
                  <a:cubicBezTo>
                    <a:pt x="5741194" y="191929"/>
                    <a:pt x="5740242" y="193834"/>
                    <a:pt x="5739289" y="196691"/>
                  </a:cubicBezTo>
                  <a:cubicBezTo>
                    <a:pt x="5740242" y="192881"/>
                    <a:pt x="5740242" y="190024"/>
                    <a:pt x="5740242" y="190024"/>
                  </a:cubicBezTo>
                  <a:cubicBezTo>
                    <a:pt x="5740242" y="190024"/>
                    <a:pt x="5737384" y="197644"/>
                    <a:pt x="5731669" y="211931"/>
                  </a:cubicBezTo>
                  <a:cubicBezTo>
                    <a:pt x="5730717" y="215741"/>
                    <a:pt x="5728812" y="219551"/>
                    <a:pt x="5726906" y="224314"/>
                  </a:cubicBezTo>
                  <a:cubicBezTo>
                    <a:pt x="5725954" y="225266"/>
                    <a:pt x="5725954" y="227171"/>
                    <a:pt x="5725001" y="228124"/>
                  </a:cubicBezTo>
                  <a:cubicBezTo>
                    <a:pt x="5723096" y="231934"/>
                    <a:pt x="5722144" y="235744"/>
                    <a:pt x="5720239" y="240506"/>
                  </a:cubicBezTo>
                  <a:cubicBezTo>
                    <a:pt x="5719287" y="243364"/>
                    <a:pt x="5718334" y="246221"/>
                    <a:pt x="5717381" y="250031"/>
                  </a:cubicBezTo>
                  <a:cubicBezTo>
                    <a:pt x="5716429" y="251936"/>
                    <a:pt x="5716429" y="252889"/>
                    <a:pt x="5715476" y="254794"/>
                  </a:cubicBezTo>
                  <a:cubicBezTo>
                    <a:pt x="5713571" y="260509"/>
                    <a:pt x="5711667" y="266224"/>
                    <a:pt x="5709762" y="272891"/>
                  </a:cubicBezTo>
                  <a:cubicBezTo>
                    <a:pt x="5707856" y="278606"/>
                    <a:pt x="5705951" y="284321"/>
                    <a:pt x="5704046" y="290989"/>
                  </a:cubicBezTo>
                  <a:cubicBezTo>
                    <a:pt x="5701189" y="285274"/>
                    <a:pt x="5699284" y="280511"/>
                    <a:pt x="5696426" y="275749"/>
                  </a:cubicBezTo>
                  <a:cubicBezTo>
                    <a:pt x="5695474" y="271939"/>
                    <a:pt x="5695474" y="269081"/>
                    <a:pt x="5695474" y="269081"/>
                  </a:cubicBezTo>
                  <a:cubicBezTo>
                    <a:pt x="5695474" y="269081"/>
                    <a:pt x="5695474" y="270034"/>
                    <a:pt x="5695474" y="272891"/>
                  </a:cubicBezTo>
                  <a:cubicBezTo>
                    <a:pt x="5692617" y="268129"/>
                    <a:pt x="5690712" y="263366"/>
                    <a:pt x="5688806" y="259556"/>
                  </a:cubicBezTo>
                  <a:cubicBezTo>
                    <a:pt x="5683092" y="249079"/>
                    <a:pt x="5680234" y="243364"/>
                    <a:pt x="5680234" y="243364"/>
                  </a:cubicBezTo>
                  <a:cubicBezTo>
                    <a:pt x="5680234" y="243364"/>
                    <a:pt x="5682139" y="250031"/>
                    <a:pt x="5684996" y="260509"/>
                  </a:cubicBezTo>
                  <a:cubicBezTo>
                    <a:pt x="5687854" y="269081"/>
                    <a:pt x="5690712" y="279559"/>
                    <a:pt x="5694521" y="292894"/>
                  </a:cubicBezTo>
                  <a:cubicBezTo>
                    <a:pt x="5694521" y="297656"/>
                    <a:pt x="5694521" y="302419"/>
                    <a:pt x="5694521" y="309086"/>
                  </a:cubicBezTo>
                  <a:cubicBezTo>
                    <a:pt x="5694521" y="313849"/>
                    <a:pt x="5694521" y="318611"/>
                    <a:pt x="5694521" y="323374"/>
                  </a:cubicBezTo>
                  <a:cubicBezTo>
                    <a:pt x="5693569" y="326231"/>
                    <a:pt x="5692617" y="329089"/>
                    <a:pt x="5691664" y="331946"/>
                  </a:cubicBezTo>
                  <a:cubicBezTo>
                    <a:pt x="5690712" y="330994"/>
                    <a:pt x="5690712" y="330041"/>
                    <a:pt x="5689759" y="329089"/>
                  </a:cubicBezTo>
                  <a:lnTo>
                    <a:pt x="5689759" y="320516"/>
                  </a:lnTo>
                  <a:cubicBezTo>
                    <a:pt x="5688806" y="309086"/>
                    <a:pt x="5688806" y="297656"/>
                    <a:pt x="5687854" y="286226"/>
                  </a:cubicBezTo>
                  <a:cubicBezTo>
                    <a:pt x="5686901" y="297656"/>
                    <a:pt x="5685949" y="308134"/>
                    <a:pt x="5684996" y="319564"/>
                  </a:cubicBezTo>
                  <a:cubicBezTo>
                    <a:pt x="5684044" y="317659"/>
                    <a:pt x="5683092" y="315754"/>
                    <a:pt x="5681187" y="312896"/>
                  </a:cubicBezTo>
                  <a:cubicBezTo>
                    <a:pt x="5679281" y="299561"/>
                    <a:pt x="5677376" y="286226"/>
                    <a:pt x="5675471" y="273844"/>
                  </a:cubicBezTo>
                  <a:cubicBezTo>
                    <a:pt x="5674519" y="267176"/>
                    <a:pt x="5673567" y="260509"/>
                    <a:pt x="5672614" y="253841"/>
                  </a:cubicBezTo>
                  <a:cubicBezTo>
                    <a:pt x="5671662" y="247174"/>
                    <a:pt x="5671662" y="241459"/>
                    <a:pt x="5670709" y="235744"/>
                  </a:cubicBezTo>
                  <a:cubicBezTo>
                    <a:pt x="5669756" y="224314"/>
                    <a:pt x="5668804" y="214789"/>
                    <a:pt x="5667851" y="207169"/>
                  </a:cubicBezTo>
                  <a:cubicBezTo>
                    <a:pt x="5666899" y="198596"/>
                    <a:pt x="5665946" y="192881"/>
                    <a:pt x="5665946" y="188119"/>
                  </a:cubicBezTo>
                  <a:cubicBezTo>
                    <a:pt x="5666899" y="185261"/>
                    <a:pt x="5666899" y="183356"/>
                    <a:pt x="5666899" y="183356"/>
                  </a:cubicBezTo>
                  <a:cubicBezTo>
                    <a:pt x="5666899" y="183356"/>
                    <a:pt x="5665946" y="184309"/>
                    <a:pt x="5665946" y="186214"/>
                  </a:cubicBezTo>
                  <a:cubicBezTo>
                    <a:pt x="5665946" y="183356"/>
                    <a:pt x="5664994" y="181451"/>
                    <a:pt x="5664994" y="181451"/>
                  </a:cubicBezTo>
                  <a:cubicBezTo>
                    <a:pt x="5664994" y="181451"/>
                    <a:pt x="5664994" y="184309"/>
                    <a:pt x="5664994" y="188119"/>
                  </a:cubicBezTo>
                  <a:cubicBezTo>
                    <a:pt x="5663089" y="192881"/>
                    <a:pt x="5659279" y="201454"/>
                    <a:pt x="5654517" y="211931"/>
                  </a:cubicBezTo>
                  <a:cubicBezTo>
                    <a:pt x="5654517" y="210026"/>
                    <a:pt x="5654517" y="207169"/>
                    <a:pt x="5653564" y="205264"/>
                  </a:cubicBezTo>
                  <a:cubicBezTo>
                    <a:pt x="5652612" y="199549"/>
                    <a:pt x="5652612" y="193834"/>
                    <a:pt x="5652612" y="189071"/>
                  </a:cubicBezTo>
                  <a:cubicBezTo>
                    <a:pt x="5655469" y="183356"/>
                    <a:pt x="5657374" y="179546"/>
                    <a:pt x="5657374" y="179546"/>
                  </a:cubicBezTo>
                  <a:cubicBezTo>
                    <a:pt x="5657374" y="179546"/>
                    <a:pt x="5655469" y="182404"/>
                    <a:pt x="5652612" y="187166"/>
                  </a:cubicBezTo>
                  <a:cubicBezTo>
                    <a:pt x="5652612" y="186214"/>
                    <a:pt x="5652612" y="186214"/>
                    <a:pt x="5652612" y="185261"/>
                  </a:cubicBezTo>
                  <a:cubicBezTo>
                    <a:pt x="5651659" y="173831"/>
                    <a:pt x="5651659" y="167164"/>
                    <a:pt x="5651659" y="167164"/>
                  </a:cubicBezTo>
                  <a:cubicBezTo>
                    <a:pt x="5651659" y="167164"/>
                    <a:pt x="5650706" y="171926"/>
                    <a:pt x="5649754" y="179546"/>
                  </a:cubicBezTo>
                  <a:cubicBezTo>
                    <a:pt x="5649754" y="179546"/>
                    <a:pt x="5649754" y="178594"/>
                    <a:pt x="5649754" y="178594"/>
                  </a:cubicBezTo>
                  <a:cubicBezTo>
                    <a:pt x="5648801" y="171926"/>
                    <a:pt x="5648801" y="166211"/>
                    <a:pt x="5647849" y="159544"/>
                  </a:cubicBezTo>
                  <a:cubicBezTo>
                    <a:pt x="5647849" y="153829"/>
                    <a:pt x="5646896" y="148114"/>
                    <a:pt x="5646896" y="142399"/>
                  </a:cubicBezTo>
                  <a:cubicBezTo>
                    <a:pt x="5645944" y="131921"/>
                    <a:pt x="5644992" y="122396"/>
                    <a:pt x="5645944" y="114776"/>
                  </a:cubicBezTo>
                  <a:cubicBezTo>
                    <a:pt x="5645944" y="99536"/>
                    <a:pt x="5644992" y="90011"/>
                    <a:pt x="5644992" y="90011"/>
                  </a:cubicBezTo>
                  <a:cubicBezTo>
                    <a:pt x="5644992" y="90011"/>
                    <a:pt x="5644039" y="98584"/>
                    <a:pt x="5641181" y="113824"/>
                  </a:cubicBezTo>
                  <a:cubicBezTo>
                    <a:pt x="5640229" y="121444"/>
                    <a:pt x="5639276" y="130969"/>
                    <a:pt x="5639276" y="141446"/>
                  </a:cubicBezTo>
                  <a:cubicBezTo>
                    <a:pt x="5639276" y="147161"/>
                    <a:pt x="5638324" y="152876"/>
                    <a:pt x="5638324" y="158591"/>
                  </a:cubicBezTo>
                  <a:cubicBezTo>
                    <a:pt x="5638324" y="164306"/>
                    <a:pt x="5638324" y="170974"/>
                    <a:pt x="5638324" y="177641"/>
                  </a:cubicBezTo>
                  <a:cubicBezTo>
                    <a:pt x="5638324" y="186214"/>
                    <a:pt x="5638324" y="195739"/>
                    <a:pt x="5639276" y="205264"/>
                  </a:cubicBezTo>
                  <a:cubicBezTo>
                    <a:pt x="5638324" y="206216"/>
                    <a:pt x="5638324" y="207169"/>
                    <a:pt x="5637371" y="208121"/>
                  </a:cubicBezTo>
                  <a:cubicBezTo>
                    <a:pt x="5637371" y="208121"/>
                    <a:pt x="5636419" y="209074"/>
                    <a:pt x="5636419" y="209074"/>
                  </a:cubicBezTo>
                  <a:cubicBezTo>
                    <a:pt x="5636419" y="208121"/>
                    <a:pt x="5636419" y="208121"/>
                    <a:pt x="5636419" y="208121"/>
                  </a:cubicBezTo>
                  <a:cubicBezTo>
                    <a:pt x="5636419" y="208121"/>
                    <a:pt x="5636419" y="208121"/>
                    <a:pt x="5636419" y="209074"/>
                  </a:cubicBezTo>
                  <a:cubicBezTo>
                    <a:pt x="5635467" y="210979"/>
                    <a:pt x="5633562" y="212884"/>
                    <a:pt x="5631656" y="215741"/>
                  </a:cubicBezTo>
                  <a:cubicBezTo>
                    <a:pt x="5628799" y="201454"/>
                    <a:pt x="5626894" y="192881"/>
                    <a:pt x="5626894" y="192881"/>
                  </a:cubicBezTo>
                  <a:cubicBezTo>
                    <a:pt x="5626894" y="192881"/>
                    <a:pt x="5626894" y="204311"/>
                    <a:pt x="5626894" y="222409"/>
                  </a:cubicBezTo>
                  <a:cubicBezTo>
                    <a:pt x="5626894" y="222409"/>
                    <a:pt x="5626894" y="222409"/>
                    <a:pt x="5626894" y="223361"/>
                  </a:cubicBezTo>
                  <a:cubicBezTo>
                    <a:pt x="5624037" y="219551"/>
                    <a:pt x="5621179" y="215741"/>
                    <a:pt x="5618321" y="211931"/>
                  </a:cubicBezTo>
                  <a:cubicBezTo>
                    <a:pt x="5608796" y="199549"/>
                    <a:pt x="5601176" y="189071"/>
                    <a:pt x="5593556" y="181451"/>
                  </a:cubicBezTo>
                  <a:cubicBezTo>
                    <a:pt x="5579269" y="165259"/>
                    <a:pt x="5570696" y="155734"/>
                    <a:pt x="5570696" y="155734"/>
                  </a:cubicBezTo>
                  <a:cubicBezTo>
                    <a:pt x="5570696" y="155734"/>
                    <a:pt x="5577364" y="166211"/>
                    <a:pt x="5590699" y="184309"/>
                  </a:cubicBezTo>
                  <a:cubicBezTo>
                    <a:pt x="5597367" y="192881"/>
                    <a:pt x="5604034" y="204311"/>
                    <a:pt x="5612606" y="217646"/>
                  </a:cubicBezTo>
                  <a:cubicBezTo>
                    <a:pt x="5613559" y="219551"/>
                    <a:pt x="5614512" y="221456"/>
                    <a:pt x="5616417" y="223361"/>
                  </a:cubicBezTo>
                  <a:cubicBezTo>
                    <a:pt x="5617369" y="226219"/>
                    <a:pt x="5618321" y="230029"/>
                    <a:pt x="5620226" y="233839"/>
                  </a:cubicBezTo>
                  <a:cubicBezTo>
                    <a:pt x="5620226" y="233839"/>
                    <a:pt x="5620226" y="233839"/>
                    <a:pt x="5620226" y="234791"/>
                  </a:cubicBezTo>
                  <a:cubicBezTo>
                    <a:pt x="5619274" y="236696"/>
                    <a:pt x="5618321" y="238601"/>
                    <a:pt x="5616417" y="241459"/>
                  </a:cubicBezTo>
                  <a:cubicBezTo>
                    <a:pt x="5616417" y="241459"/>
                    <a:pt x="5616417" y="240506"/>
                    <a:pt x="5616417" y="240506"/>
                  </a:cubicBezTo>
                  <a:cubicBezTo>
                    <a:pt x="5616417" y="240506"/>
                    <a:pt x="5616417" y="240506"/>
                    <a:pt x="5616417" y="241459"/>
                  </a:cubicBezTo>
                  <a:cubicBezTo>
                    <a:pt x="5615464" y="242411"/>
                    <a:pt x="5614512" y="244316"/>
                    <a:pt x="5614512" y="245269"/>
                  </a:cubicBezTo>
                  <a:cubicBezTo>
                    <a:pt x="5608796" y="255746"/>
                    <a:pt x="5602129" y="267176"/>
                    <a:pt x="5594509" y="280511"/>
                  </a:cubicBezTo>
                  <a:cubicBezTo>
                    <a:pt x="5594509" y="278606"/>
                    <a:pt x="5594509" y="277654"/>
                    <a:pt x="5594509" y="275749"/>
                  </a:cubicBezTo>
                  <a:cubicBezTo>
                    <a:pt x="5594509" y="272891"/>
                    <a:pt x="5594509" y="270986"/>
                    <a:pt x="5594509" y="268129"/>
                  </a:cubicBezTo>
                  <a:cubicBezTo>
                    <a:pt x="5595462" y="260509"/>
                    <a:pt x="5596414" y="256699"/>
                    <a:pt x="5596414" y="256699"/>
                  </a:cubicBezTo>
                  <a:cubicBezTo>
                    <a:pt x="5596414" y="256699"/>
                    <a:pt x="5595462" y="258604"/>
                    <a:pt x="5594509" y="263366"/>
                  </a:cubicBezTo>
                  <a:cubicBezTo>
                    <a:pt x="5594509" y="263366"/>
                    <a:pt x="5594509" y="262414"/>
                    <a:pt x="5594509" y="262414"/>
                  </a:cubicBezTo>
                  <a:cubicBezTo>
                    <a:pt x="5593556" y="257651"/>
                    <a:pt x="5593556" y="253841"/>
                    <a:pt x="5592604" y="250031"/>
                  </a:cubicBezTo>
                  <a:cubicBezTo>
                    <a:pt x="5591651" y="243364"/>
                    <a:pt x="5590699" y="238601"/>
                    <a:pt x="5590699" y="232886"/>
                  </a:cubicBezTo>
                  <a:cubicBezTo>
                    <a:pt x="5594509" y="223361"/>
                    <a:pt x="5596414" y="217646"/>
                    <a:pt x="5596414" y="217646"/>
                  </a:cubicBezTo>
                  <a:cubicBezTo>
                    <a:pt x="5596414" y="217646"/>
                    <a:pt x="5593556" y="221456"/>
                    <a:pt x="5589746" y="230029"/>
                  </a:cubicBezTo>
                  <a:cubicBezTo>
                    <a:pt x="5589746" y="230029"/>
                    <a:pt x="5589746" y="230029"/>
                    <a:pt x="5589746" y="230029"/>
                  </a:cubicBezTo>
                  <a:cubicBezTo>
                    <a:pt x="5587842" y="218599"/>
                    <a:pt x="5586889" y="211931"/>
                    <a:pt x="5586889" y="211931"/>
                  </a:cubicBezTo>
                  <a:cubicBezTo>
                    <a:pt x="5586889" y="211931"/>
                    <a:pt x="5585937" y="218599"/>
                    <a:pt x="5585937" y="230029"/>
                  </a:cubicBezTo>
                  <a:cubicBezTo>
                    <a:pt x="5585937" y="230029"/>
                    <a:pt x="5585937" y="230981"/>
                    <a:pt x="5585937" y="230981"/>
                  </a:cubicBezTo>
                  <a:cubicBezTo>
                    <a:pt x="5584984" y="225266"/>
                    <a:pt x="5584031" y="219551"/>
                    <a:pt x="5583079" y="213836"/>
                  </a:cubicBezTo>
                  <a:cubicBezTo>
                    <a:pt x="5583079" y="223361"/>
                    <a:pt x="5583079" y="232886"/>
                    <a:pt x="5583079" y="242411"/>
                  </a:cubicBezTo>
                  <a:cubicBezTo>
                    <a:pt x="5582126" y="243364"/>
                    <a:pt x="5582126" y="245269"/>
                    <a:pt x="5581174" y="246221"/>
                  </a:cubicBezTo>
                  <a:cubicBezTo>
                    <a:pt x="5580221" y="247174"/>
                    <a:pt x="5579269" y="249079"/>
                    <a:pt x="5579269" y="250031"/>
                  </a:cubicBezTo>
                  <a:cubicBezTo>
                    <a:pt x="5576412" y="235744"/>
                    <a:pt x="5574506" y="221456"/>
                    <a:pt x="5571649" y="209074"/>
                  </a:cubicBezTo>
                  <a:cubicBezTo>
                    <a:pt x="5570696" y="202406"/>
                    <a:pt x="5568792" y="194786"/>
                    <a:pt x="5567839" y="189071"/>
                  </a:cubicBezTo>
                  <a:cubicBezTo>
                    <a:pt x="5565934" y="182404"/>
                    <a:pt x="5564981" y="176689"/>
                    <a:pt x="5563076" y="170974"/>
                  </a:cubicBezTo>
                  <a:cubicBezTo>
                    <a:pt x="5560219" y="159544"/>
                    <a:pt x="5557362" y="150019"/>
                    <a:pt x="5555456" y="141446"/>
                  </a:cubicBezTo>
                  <a:cubicBezTo>
                    <a:pt x="5550694" y="125254"/>
                    <a:pt x="5548789" y="115729"/>
                    <a:pt x="5548789" y="115729"/>
                  </a:cubicBezTo>
                  <a:cubicBezTo>
                    <a:pt x="5548789" y="115729"/>
                    <a:pt x="5549742" y="125254"/>
                    <a:pt x="5551646" y="142399"/>
                  </a:cubicBezTo>
                  <a:cubicBezTo>
                    <a:pt x="5552599" y="150971"/>
                    <a:pt x="5554504" y="160496"/>
                    <a:pt x="5555456" y="172879"/>
                  </a:cubicBezTo>
                  <a:cubicBezTo>
                    <a:pt x="5556409" y="178594"/>
                    <a:pt x="5557362" y="185261"/>
                    <a:pt x="5558314" y="190976"/>
                  </a:cubicBezTo>
                  <a:cubicBezTo>
                    <a:pt x="5559267" y="197644"/>
                    <a:pt x="5559267" y="204311"/>
                    <a:pt x="5560219" y="211931"/>
                  </a:cubicBezTo>
                  <a:cubicBezTo>
                    <a:pt x="5561171" y="226219"/>
                    <a:pt x="5563076" y="241459"/>
                    <a:pt x="5564981" y="257651"/>
                  </a:cubicBezTo>
                  <a:cubicBezTo>
                    <a:pt x="5565934" y="263366"/>
                    <a:pt x="5565934" y="269081"/>
                    <a:pt x="5565934" y="274796"/>
                  </a:cubicBezTo>
                  <a:cubicBezTo>
                    <a:pt x="5564981" y="275749"/>
                    <a:pt x="5564981" y="277654"/>
                    <a:pt x="5564029" y="278606"/>
                  </a:cubicBezTo>
                  <a:cubicBezTo>
                    <a:pt x="5563076" y="280511"/>
                    <a:pt x="5562124" y="282416"/>
                    <a:pt x="5561171" y="284321"/>
                  </a:cubicBezTo>
                  <a:cubicBezTo>
                    <a:pt x="5557362" y="277654"/>
                    <a:pt x="5553551" y="270034"/>
                    <a:pt x="5549742" y="264319"/>
                  </a:cubicBezTo>
                  <a:cubicBezTo>
                    <a:pt x="5549742" y="263366"/>
                    <a:pt x="5548789" y="262414"/>
                    <a:pt x="5548789" y="261461"/>
                  </a:cubicBezTo>
                  <a:cubicBezTo>
                    <a:pt x="5546884" y="255746"/>
                    <a:pt x="5545931" y="250984"/>
                    <a:pt x="5544026" y="247174"/>
                  </a:cubicBezTo>
                  <a:cubicBezTo>
                    <a:pt x="5545931" y="234791"/>
                    <a:pt x="5547837" y="228124"/>
                    <a:pt x="5547837" y="228124"/>
                  </a:cubicBezTo>
                  <a:cubicBezTo>
                    <a:pt x="5547837" y="228124"/>
                    <a:pt x="5545931" y="232886"/>
                    <a:pt x="5542121" y="241459"/>
                  </a:cubicBezTo>
                  <a:cubicBezTo>
                    <a:pt x="5542121" y="240506"/>
                    <a:pt x="5541169" y="239554"/>
                    <a:pt x="5541169" y="238601"/>
                  </a:cubicBezTo>
                  <a:cubicBezTo>
                    <a:pt x="5540217" y="235744"/>
                    <a:pt x="5539264" y="232886"/>
                    <a:pt x="5538312" y="230029"/>
                  </a:cubicBezTo>
                  <a:cubicBezTo>
                    <a:pt x="5546884" y="192881"/>
                    <a:pt x="5551646" y="167164"/>
                    <a:pt x="5551646" y="167164"/>
                  </a:cubicBezTo>
                  <a:cubicBezTo>
                    <a:pt x="5551646" y="167164"/>
                    <a:pt x="5542121" y="190024"/>
                    <a:pt x="5528787" y="225266"/>
                  </a:cubicBezTo>
                  <a:cubicBezTo>
                    <a:pt x="5526881" y="221456"/>
                    <a:pt x="5524976" y="219551"/>
                    <a:pt x="5524976" y="217646"/>
                  </a:cubicBezTo>
                  <a:cubicBezTo>
                    <a:pt x="5524024" y="213836"/>
                    <a:pt x="5524024" y="210026"/>
                    <a:pt x="5524024" y="207169"/>
                  </a:cubicBezTo>
                  <a:cubicBezTo>
                    <a:pt x="5522119" y="192881"/>
                    <a:pt x="5521167" y="185261"/>
                    <a:pt x="5521167" y="185261"/>
                  </a:cubicBezTo>
                  <a:cubicBezTo>
                    <a:pt x="5521167" y="185261"/>
                    <a:pt x="5521167" y="192881"/>
                    <a:pt x="5520214" y="207169"/>
                  </a:cubicBezTo>
                  <a:cubicBezTo>
                    <a:pt x="5520214" y="213836"/>
                    <a:pt x="5520214" y="222409"/>
                    <a:pt x="5520214" y="232886"/>
                  </a:cubicBezTo>
                  <a:cubicBezTo>
                    <a:pt x="5520214" y="237649"/>
                    <a:pt x="5520214" y="243364"/>
                    <a:pt x="5520214" y="248126"/>
                  </a:cubicBezTo>
                  <a:cubicBezTo>
                    <a:pt x="5520214" y="249079"/>
                    <a:pt x="5520214" y="250031"/>
                    <a:pt x="5520214" y="250984"/>
                  </a:cubicBezTo>
                  <a:cubicBezTo>
                    <a:pt x="5515451" y="264319"/>
                    <a:pt x="5510689" y="277654"/>
                    <a:pt x="5505926" y="291941"/>
                  </a:cubicBezTo>
                  <a:cubicBezTo>
                    <a:pt x="5504974" y="294799"/>
                    <a:pt x="5504021" y="297656"/>
                    <a:pt x="5503069" y="300514"/>
                  </a:cubicBezTo>
                  <a:cubicBezTo>
                    <a:pt x="5501164" y="297656"/>
                    <a:pt x="5500212" y="293846"/>
                    <a:pt x="5498306" y="290989"/>
                  </a:cubicBezTo>
                  <a:cubicBezTo>
                    <a:pt x="5498306" y="289084"/>
                    <a:pt x="5498306" y="287179"/>
                    <a:pt x="5498306" y="285274"/>
                  </a:cubicBezTo>
                  <a:cubicBezTo>
                    <a:pt x="5499259" y="274796"/>
                    <a:pt x="5499259" y="269081"/>
                    <a:pt x="5499259" y="269081"/>
                  </a:cubicBezTo>
                  <a:cubicBezTo>
                    <a:pt x="5499259" y="269081"/>
                    <a:pt x="5497354" y="274796"/>
                    <a:pt x="5494496" y="284321"/>
                  </a:cubicBezTo>
                  <a:cubicBezTo>
                    <a:pt x="5489734" y="273844"/>
                    <a:pt x="5484971" y="265271"/>
                    <a:pt x="5481162" y="257651"/>
                  </a:cubicBezTo>
                  <a:cubicBezTo>
                    <a:pt x="5482114" y="255746"/>
                    <a:pt x="5482114" y="253841"/>
                    <a:pt x="5483067" y="251936"/>
                  </a:cubicBezTo>
                  <a:cubicBezTo>
                    <a:pt x="5486876" y="241459"/>
                    <a:pt x="5489734" y="231934"/>
                    <a:pt x="5492592" y="224314"/>
                  </a:cubicBezTo>
                  <a:cubicBezTo>
                    <a:pt x="5497354" y="209074"/>
                    <a:pt x="5500212" y="200501"/>
                    <a:pt x="5500212" y="200501"/>
                  </a:cubicBezTo>
                  <a:cubicBezTo>
                    <a:pt x="5500212" y="200501"/>
                    <a:pt x="5498306" y="205264"/>
                    <a:pt x="5493544" y="212884"/>
                  </a:cubicBezTo>
                  <a:cubicBezTo>
                    <a:pt x="5496401" y="203359"/>
                    <a:pt x="5500212" y="194786"/>
                    <a:pt x="5502117" y="188119"/>
                  </a:cubicBezTo>
                  <a:cubicBezTo>
                    <a:pt x="5507831" y="170974"/>
                    <a:pt x="5511642" y="160496"/>
                    <a:pt x="5511642" y="160496"/>
                  </a:cubicBezTo>
                  <a:cubicBezTo>
                    <a:pt x="5511642" y="160496"/>
                    <a:pt x="5506879" y="170021"/>
                    <a:pt x="5498306" y="186214"/>
                  </a:cubicBezTo>
                  <a:cubicBezTo>
                    <a:pt x="5494496" y="194786"/>
                    <a:pt x="5489734" y="204311"/>
                    <a:pt x="5484019" y="215741"/>
                  </a:cubicBezTo>
                  <a:cubicBezTo>
                    <a:pt x="5481162" y="221456"/>
                    <a:pt x="5478304" y="227171"/>
                    <a:pt x="5475446" y="233839"/>
                  </a:cubicBezTo>
                  <a:cubicBezTo>
                    <a:pt x="5474494" y="236696"/>
                    <a:pt x="5473542" y="238601"/>
                    <a:pt x="5472589" y="241459"/>
                  </a:cubicBezTo>
                  <a:cubicBezTo>
                    <a:pt x="5465921" y="228124"/>
                    <a:pt x="5461159" y="221456"/>
                    <a:pt x="5461159" y="221456"/>
                  </a:cubicBezTo>
                  <a:cubicBezTo>
                    <a:pt x="5461159" y="221456"/>
                    <a:pt x="5464017" y="231934"/>
                    <a:pt x="5469731" y="248126"/>
                  </a:cubicBezTo>
                  <a:cubicBezTo>
                    <a:pt x="5468779" y="250031"/>
                    <a:pt x="5467826" y="252889"/>
                    <a:pt x="5466874" y="254794"/>
                  </a:cubicBezTo>
                  <a:cubicBezTo>
                    <a:pt x="5466874" y="255746"/>
                    <a:pt x="5465921" y="256699"/>
                    <a:pt x="5465921" y="257651"/>
                  </a:cubicBezTo>
                  <a:cubicBezTo>
                    <a:pt x="5465921" y="257651"/>
                    <a:pt x="5464969" y="256699"/>
                    <a:pt x="5464969" y="256699"/>
                  </a:cubicBezTo>
                  <a:cubicBezTo>
                    <a:pt x="5461159" y="252889"/>
                    <a:pt x="5458301" y="249079"/>
                    <a:pt x="5455444" y="246221"/>
                  </a:cubicBezTo>
                  <a:cubicBezTo>
                    <a:pt x="5454492" y="240506"/>
                    <a:pt x="5453539" y="234791"/>
                    <a:pt x="5452587" y="230029"/>
                  </a:cubicBezTo>
                  <a:cubicBezTo>
                    <a:pt x="5451634" y="224314"/>
                    <a:pt x="5449729" y="219551"/>
                    <a:pt x="5448776" y="214789"/>
                  </a:cubicBezTo>
                  <a:cubicBezTo>
                    <a:pt x="5445919" y="205264"/>
                    <a:pt x="5444014" y="196691"/>
                    <a:pt x="5442109" y="190024"/>
                  </a:cubicBezTo>
                  <a:cubicBezTo>
                    <a:pt x="5442109" y="190024"/>
                    <a:pt x="5442109" y="190024"/>
                    <a:pt x="5442109" y="190024"/>
                  </a:cubicBezTo>
                  <a:cubicBezTo>
                    <a:pt x="5442109" y="184309"/>
                    <a:pt x="5442109" y="180499"/>
                    <a:pt x="5442109" y="180499"/>
                  </a:cubicBezTo>
                  <a:cubicBezTo>
                    <a:pt x="5442109" y="180499"/>
                    <a:pt x="5442109" y="182404"/>
                    <a:pt x="5441156" y="186214"/>
                  </a:cubicBezTo>
                  <a:cubicBezTo>
                    <a:pt x="5438299" y="174784"/>
                    <a:pt x="5436394" y="169069"/>
                    <a:pt x="5436394" y="169069"/>
                  </a:cubicBezTo>
                  <a:cubicBezTo>
                    <a:pt x="5436394" y="169069"/>
                    <a:pt x="5437346" y="176689"/>
                    <a:pt x="5438299" y="190976"/>
                  </a:cubicBezTo>
                  <a:cubicBezTo>
                    <a:pt x="5438299" y="192881"/>
                    <a:pt x="5438299" y="193834"/>
                    <a:pt x="5439251" y="195739"/>
                  </a:cubicBezTo>
                  <a:cubicBezTo>
                    <a:pt x="5437346" y="203359"/>
                    <a:pt x="5435442" y="212884"/>
                    <a:pt x="5433537" y="225266"/>
                  </a:cubicBezTo>
                  <a:cubicBezTo>
                    <a:pt x="5430679" y="223361"/>
                    <a:pt x="5429726" y="221456"/>
                    <a:pt x="5429726" y="221456"/>
                  </a:cubicBezTo>
                  <a:cubicBezTo>
                    <a:pt x="5429726" y="221456"/>
                    <a:pt x="5430679" y="223361"/>
                    <a:pt x="5433537" y="225266"/>
                  </a:cubicBezTo>
                  <a:cubicBezTo>
                    <a:pt x="5432584" y="230029"/>
                    <a:pt x="5431631" y="235744"/>
                    <a:pt x="5430679" y="240506"/>
                  </a:cubicBezTo>
                  <a:cubicBezTo>
                    <a:pt x="5429726" y="232886"/>
                    <a:pt x="5428774" y="228124"/>
                    <a:pt x="5428774" y="228124"/>
                  </a:cubicBezTo>
                  <a:cubicBezTo>
                    <a:pt x="5428774" y="228124"/>
                    <a:pt x="5428774" y="232886"/>
                    <a:pt x="5428774" y="242411"/>
                  </a:cubicBezTo>
                  <a:cubicBezTo>
                    <a:pt x="5426869" y="234791"/>
                    <a:pt x="5425917" y="228124"/>
                    <a:pt x="5424012" y="222409"/>
                  </a:cubicBezTo>
                  <a:cubicBezTo>
                    <a:pt x="5421154" y="208121"/>
                    <a:pt x="5419249" y="200501"/>
                    <a:pt x="5419249" y="200501"/>
                  </a:cubicBezTo>
                  <a:cubicBezTo>
                    <a:pt x="5419249" y="200501"/>
                    <a:pt x="5419249" y="209074"/>
                    <a:pt x="5420201" y="223361"/>
                  </a:cubicBezTo>
                  <a:cubicBezTo>
                    <a:pt x="5421154" y="235744"/>
                    <a:pt x="5422106" y="253841"/>
                    <a:pt x="5424964" y="274796"/>
                  </a:cubicBezTo>
                  <a:cubicBezTo>
                    <a:pt x="5424012" y="282416"/>
                    <a:pt x="5422106" y="290989"/>
                    <a:pt x="5420201" y="299561"/>
                  </a:cubicBezTo>
                  <a:cubicBezTo>
                    <a:pt x="5419249" y="301466"/>
                    <a:pt x="5419249" y="303371"/>
                    <a:pt x="5418296" y="305276"/>
                  </a:cubicBezTo>
                  <a:cubicBezTo>
                    <a:pt x="5417344" y="302419"/>
                    <a:pt x="5416392" y="300514"/>
                    <a:pt x="5415439" y="298609"/>
                  </a:cubicBezTo>
                  <a:cubicBezTo>
                    <a:pt x="5416392" y="294799"/>
                    <a:pt x="5417344" y="291941"/>
                    <a:pt x="5417344" y="291941"/>
                  </a:cubicBezTo>
                  <a:cubicBezTo>
                    <a:pt x="5417344" y="291941"/>
                    <a:pt x="5416392" y="293846"/>
                    <a:pt x="5414487" y="296704"/>
                  </a:cubicBezTo>
                  <a:cubicBezTo>
                    <a:pt x="5414487" y="296704"/>
                    <a:pt x="5414487" y="295751"/>
                    <a:pt x="5414487" y="295751"/>
                  </a:cubicBezTo>
                  <a:cubicBezTo>
                    <a:pt x="5413534" y="292894"/>
                    <a:pt x="5412581" y="290036"/>
                    <a:pt x="5411629" y="287179"/>
                  </a:cubicBezTo>
                  <a:cubicBezTo>
                    <a:pt x="5413534" y="274796"/>
                    <a:pt x="5414487" y="268129"/>
                    <a:pt x="5414487" y="268129"/>
                  </a:cubicBezTo>
                  <a:cubicBezTo>
                    <a:pt x="5414487" y="268129"/>
                    <a:pt x="5412581" y="272891"/>
                    <a:pt x="5409724" y="282416"/>
                  </a:cubicBezTo>
                  <a:cubicBezTo>
                    <a:pt x="5407819" y="276701"/>
                    <a:pt x="5405914" y="271939"/>
                    <a:pt x="5404009" y="267176"/>
                  </a:cubicBezTo>
                  <a:cubicBezTo>
                    <a:pt x="5402104" y="262414"/>
                    <a:pt x="5401151" y="258604"/>
                    <a:pt x="5399246" y="253841"/>
                  </a:cubicBezTo>
                  <a:cubicBezTo>
                    <a:pt x="5400199" y="240506"/>
                    <a:pt x="5400199" y="232886"/>
                    <a:pt x="5400199" y="232886"/>
                  </a:cubicBezTo>
                  <a:cubicBezTo>
                    <a:pt x="5400199" y="232886"/>
                    <a:pt x="5399246" y="237649"/>
                    <a:pt x="5396389" y="247174"/>
                  </a:cubicBezTo>
                  <a:cubicBezTo>
                    <a:pt x="5396389" y="246221"/>
                    <a:pt x="5395437" y="245269"/>
                    <a:pt x="5395437" y="244316"/>
                  </a:cubicBezTo>
                  <a:cubicBezTo>
                    <a:pt x="5390674" y="231934"/>
                    <a:pt x="5387817" y="224314"/>
                    <a:pt x="5387817" y="224314"/>
                  </a:cubicBezTo>
                  <a:cubicBezTo>
                    <a:pt x="5387817" y="224314"/>
                    <a:pt x="5388769" y="231934"/>
                    <a:pt x="5391626" y="245269"/>
                  </a:cubicBezTo>
                  <a:cubicBezTo>
                    <a:pt x="5392579" y="249079"/>
                    <a:pt x="5393531" y="252889"/>
                    <a:pt x="5394484" y="257651"/>
                  </a:cubicBezTo>
                  <a:cubicBezTo>
                    <a:pt x="5391626" y="269081"/>
                    <a:pt x="5388769" y="283369"/>
                    <a:pt x="5384959" y="300514"/>
                  </a:cubicBezTo>
                  <a:cubicBezTo>
                    <a:pt x="5384959" y="299561"/>
                    <a:pt x="5384959" y="298609"/>
                    <a:pt x="5384006" y="297656"/>
                  </a:cubicBezTo>
                  <a:cubicBezTo>
                    <a:pt x="5383054" y="288131"/>
                    <a:pt x="5382101" y="283369"/>
                    <a:pt x="5382101" y="283369"/>
                  </a:cubicBezTo>
                  <a:cubicBezTo>
                    <a:pt x="5382101" y="283369"/>
                    <a:pt x="5382101" y="284321"/>
                    <a:pt x="5382101" y="287179"/>
                  </a:cubicBezTo>
                  <a:cubicBezTo>
                    <a:pt x="5381149" y="283369"/>
                    <a:pt x="5380196" y="280511"/>
                    <a:pt x="5380196" y="276701"/>
                  </a:cubicBezTo>
                  <a:cubicBezTo>
                    <a:pt x="5380196" y="275749"/>
                    <a:pt x="5379244" y="273844"/>
                    <a:pt x="5379244" y="272891"/>
                  </a:cubicBezTo>
                  <a:cubicBezTo>
                    <a:pt x="5380196" y="270986"/>
                    <a:pt x="5380196" y="269081"/>
                    <a:pt x="5380196" y="269081"/>
                  </a:cubicBezTo>
                  <a:cubicBezTo>
                    <a:pt x="5380196" y="269081"/>
                    <a:pt x="5380196" y="270034"/>
                    <a:pt x="5379244" y="271939"/>
                  </a:cubicBezTo>
                  <a:cubicBezTo>
                    <a:pt x="5376387" y="260509"/>
                    <a:pt x="5374481" y="250984"/>
                    <a:pt x="5372576" y="241459"/>
                  </a:cubicBezTo>
                  <a:cubicBezTo>
                    <a:pt x="5372576" y="238601"/>
                    <a:pt x="5372576" y="235744"/>
                    <a:pt x="5373529" y="232886"/>
                  </a:cubicBezTo>
                  <a:cubicBezTo>
                    <a:pt x="5374481" y="217646"/>
                    <a:pt x="5376387" y="203359"/>
                    <a:pt x="5378292" y="190024"/>
                  </a:cubicBezTo>
                  <a:cubicBezTo>
                    <a:pt x="5379244" y="176689"/>
                    <a:pt x="5382101" y="165259"/>
                    <a:pt x="5384006" y="153829"/>
                  </a:cubicBezTo>
                  <a:cubicBezTo>
                    <a:pt x="5384959" y="148114"/>
                    <a:pt x="5385912" y="143351"/>
                    <a:pt x="5386864" y="138589"/>
                  </a:cubicBezTo>
                  <a:cubicBezTo>
                    <a:pt x="5387817" y="133826"/>
                    <a:pt x="5388769" y="130016"/>
                    <a:pt x="5389721" y="126206"/>
                  </a:cubicBezTo>
                  <a:cubicBezTo>
                    <a:pt x="5392579" y="110966"/>
                    <a:pt x="5394484" y="102394"/>
                    <a:pt x="5394484" y="102394"/>
                  </a:cubicBezTo>
                  <a:cubicBezTo>
                    <a:pt x="5394484" y="102394"/>
                    <a:pt x="5391626" y="110966"/>
                    <a:pt x="5385912" y="125254"/>
                  </a:cubicBezTo>
                  <a:cubicBezTo>
                    <a:pt x="5384959" y="129064"/>
                    <a:pt x="5383054" y="132874"/>
                    <a:pt x="5381149" y="137636"/>
                  </a:cubicBezTo>
                  <a:cubicBezTo>
                    <a:pt x="5379244" y="142399"/>
                    <a:pt x="5378292" y="147161"/>
                    <a:pt x="5376387" y="151924"/>
                  </a:cubicBezTo>
                  <a:cubicBezTo>
                    <a:pt x="5373529" y="162401"/>
                    <a:pt x="5369719" y="174784"/>
                    <a:pt x="5366862" y="188119"/>
                  </a:cubicBezTo>
                  <a:cubicBezTo>
                    <a:pt x="5365909" y="193834"/>
                    <a:pt x="5364004" y="199549"/>
                    <a:pt x="5363051" y="205264"/>
                  </a:cubicBezTo>
                  <a:cubicBezTo>
                    <a:pt x="5361146" y="199549"/>
                    <a:pt x="5360194" y="196691"/>
                    <a:pt x="5360194" y="196691"/>
                  </a:cubicBezTo>
                  <a:cubicBezTo>
                    <a:pt x="5360194" y="196691"/>
                    <a:pt x="5361146" y="201454"/>
                    <a:pt x="5361146" y="210979"/>
                  </a:cubicBezTo>
                  <a:cubicBezTo>
                    <a:pt x="5360194" y="217646"/>
                    <a:pt x="5358289" y="224314"/>
                    <a:pt x="5357337" y="230981"/>
                  </a:cubicBezTo>
                  <a:cubicBezTo>
                    <a:pt x="5356384" y="235744"/>
                    <a:pt x="5355431" y="240506"/>
                    <a:pt x="5355431" y="245269"/>
                  </a:cubicBezTo>
                  <a:cubicBezTo>
                    <a:pt x="5355431" y="241459"/>
                    <a:pt x="5354479" y="238601"/>
                    <a:pt x="5354479" y="235744"/>
                  </a:cubicBezTo>
                  <a:cubicBezTo>
                    <a:pt x="5354479" y="233839"/>
                    <a:pt x="5354479" y="231934"/>
                    <a:pt x="5354479" y="230029"/>
                  </a:cubicBezTo>
                  <a:cubicBezTo>
                    <a:pt x="5355431" y="217646"/>
                    <a:pt x="5355431" y="210979"/>
                    <a:pt x="5355431" y="210979"/>
                  </a:cubicBezTo>
                  <a:cubicBezTo>
                    <a:pt x="5355431" y="210979"/>
                    <a:pt x="5354479" y="214789"/>
                    <a:pt x="5352574" y="222409"/>
                  </a:cubicBezTo>
                  <a:cubicBezTo>
                    <a:pt x="5350669" y="210026"/>
                    <a:pt x="5348764" y="199549"/>
                    <a:pt x="5347812" y="190024"/>
                  </a:cubicBezTo>
                  <a:cubicBezTo>
                    <a:pt x="5347812" y="186214"/>
                    <a:pt x="5347812" y="182404"/>
                    <a:pt x="5347812" y="179546"/>
                  </a:cubicBezTo>
                  <a:cubicBezTo>
                    <a:pt x="5347812" y="167164"/>
                    <a:pt x="5347812" y="160496"/>
                    <a:pt x="5347812" y="160496"/>
                  </a:cubicBezTo>
                  <a:cubicBezTo>
                    <a:pt x="5347812" y="160496"/>
                    <a:pt x="5346859" y="165259"/>
                    <a:pt x="5344954" y="173831"/>
                  </a:cubicBezTo>
                  <a:cubicBezTo>
                    <a:pt x="5342096" y="158591"/>
                    <a:pt x="5341144" y="150019"/>
                    <a:pt x="5341144" y="150019"/>
                  </a:cubicBezTo>
                  <a:cubicBezTo>
                    <a:pt x="5341144" y="150019"/>
                    <a:pt x="5341144" y="160496"/>
                    <a:pt x="5342096" y="177641"/>
                  </a:cubicBezTo>
                  <a:cubicBezTo>
                    <a:pt x="5342096" y="180499"/>
                    <a:pt x="5342096" y="184309"/>
                    <a:pt x="5342096" y="187166"/>
                  </a:cubicBezTo>
                  <a:cubicBezTo>
                    <a:pt x="5341144" y="190976"/>
                    <a:pt x="5341144" y="195739"/>
                    <a:pt x="5340192" y="200501"/>
                  </a:cubicBezTo>
                  <a:cubicBezTo>
                    <a:pt x="5339239" y="209074"/>
                    <a:pt x="5337334" y="218599"/>
                    <a:pt x="5337334" y="229076"/>
                  </a:cubicBezTo>
                  <a:cubicBezTo>
                    <a:pt x="5337334" y="239554"/>
                    <a:pt x="5336381" y="250984"/>
                    <a:pt x="5336381" y="263366"/>
                  </a:cubicBezTo>
                  <a:cubicBezTo>
                    <a:pt x="5336381" y="269081"/>
                    <a:pt x="5336381" y="275749"/>
                    <a:pt x="5336381" y="282416"/>
                  </a:cubicBezTo>
                  <a:cubicBezTo>
                    <a:pt x="5336381" y="282416"/>
                    <a:pt x="5336381" y="282416"/>
                    <a:pt x="5336381" y="282416"/>
                  </a:cubicBezTo>
                  <a:cubicBezTo>
                    <a:pt x="5335429" y="286226"/>
                    <a:pt x="5334476" y="290036"/>
                    <a:pt x="5333524" y="293846"/>
                  </a:cubicBezTo>
                  <a:cubicBezTo>
                    <a:pt x="5333524" y="292894"/>
                    <a:pt x="5332571" y="291941"/>
                    <a:pt x="5332571" y="291941"/>
                  </a:cubicBezTo>
                  <a:cubicBezTo>
                    <a:pt x="5330667" y="287179"/>
                    <a:pt x="5329714" y="282416"/>
                    <a:pt x="5327809" y="278606"/>
                  </a:cubicBezTo>
                  <a:cubicBezTo>
                    <a:pt x="5323999" y="269081"/>
                    <a:pt x="5321142" y="259556"/>
                    <a:pt x="5319237" y="252889"/>
                  </a:cubicBezTo>
                  <a:cubicBezTo>
                    <a:pt x="5313521" y="238601"/>
                    <a:pt x="5310664" y="230029"/>
                    <a:pt x="5310664" y="230029"/>
                  </a:cubicBezTo>
                  <a:cubicBezTo>
                    <a:pt x="5310664" y="230029"/>
                    <a:pt x="5312569" y="238601"/>
                    <a:pt x="5315426" y="253841"/>
                  </a:cubicBezTo>
                  <a:cubicBezTo>
                    <a:pt x="5316379" y="257651"/>
                    <a:pt x="5317331" y="262414"/>
                    <a:pt x="5318284" y="267176"/>
                  </a:cubicBezTo>
                  <a:cubicBezTo>
                    <a:pt x="5316379" y="264319"/>
                    <a:pt x="5315426" y="263366"/>
                    <a:pt x="5315426" y="263366"/>
                  </a:cubicBezTo>
                  <a:cubicBezTo>
                    <a:pt x="5315426" y="263366"/>
                    <a:pt x="5317331" y="268129"/>
                    <a:pt x="5320189" y="276701"/>
                  </a:cubicBezTo>
                  <a:cubicBezTo>
                    <a:pt x="5320189" y="278606"/>
                    <a:pt x="5321142" y="279559"/>
                    <a:pt x="5321142" y="281464"/>
                  </a:cubicBezTo>
                  <a:cubicBezTo>
                    <a:pt x="5322094" y="286226"/>
                    <a:pt x="5323046" y="291941"/>
                    <a:pt x="5324951" y="297656"/>
                  </a:cubicBezTo>
                  <a:cubicBezTo>
                    <a:pt x="5325904" y="300514"/>
                    <a:pt x="5326856" y="303371"/>
                    <a:pt x="5326856" y="306229"/>
                  </a:cubicBezTo>
                  <a:cubicBezTo>
                    <a:pt x="5323999" y="310991"/>
                    <a:pt x="5320189" y="316706"/>
                    <a:pt x="5316379" y="322421"/>
                  </a:cubicBezTo>
                  <a:cubicBezTo>
                    <a:pt x="5313521" y="327184"/>
                    <a:pt x="5309712" y="332899"/>
                    <a:pt x="5306854" y="338614"/>
                  </a:cubicBezTo>
                  <a:cubicBezTo>
                    <a:pt x="5303996" y="343376"/>
                    <a:pt x="5301139" y="349091"/>
                    <a:pt x="5298281" y="354806"/>
                  </a:cubicBezTo>
                  <a:cubicBezTo>
                    <a:pt x="5298281" y="350996"/>
                    <a:pt x="5298281" y="347186"/>
                    <a:pt x="5298281" y="344329"/>
                  </a:cubicBezTo>
                  <a:cubicBezTo>
                    <a:pt x="5299234" y="334804"/>
                    <a:pt x="5300187" y="326231"/>
                    <a:pt x="5301139" y="318611"/>
                  </a:cubicBezTo>
                  <a:cubicBezTo>
                    <a:pt x="5303044" y="308134"/>
                    <a:pt x="5303996" y="299561"/>
                    <a:pt x="5305901" y="291941"/>
                  </a:cubicBezTo>
                  <a:cubicBezTo>
                    <a:pt x="5309712" y="276701"/>
                    <a:pt x="5311617" y="269081"/>
                    <a:pt x="5311617" y="269081"/>
                  </a:cubicBezTo>
                  <a:cubicBezTo>
                    <a:pt x="5311617" y="269081"/>
                    <a:pt x="5307806" y="276701"/>
                    <a:pt x="5302092" y="290989"/>
                  </a:cubicBezTo>
                  <a:cubicBezTo>
                    <a:pt x="5301139" y="293846"/>
                    <a:pt x="5300187" y="295751"/>
                    <a:pt x="5299234" y="298609"/>
                  </a:cubicBezTo>
                  <a:cubicBezTo>
                    <a:pt x="5299234" y="276701"/>
                    <a:pt x="5299234" y="263366"/>
                    <a:pt x="5299234" y="263366"/>
                  </a:cubicBezTo>
                  <a:cubicBezTo>
                    <a:pt x="5299234" y="263366"/>
                    <a:pt x="5295424" y="284321"/>
                    <a:pt x="5290662" y="317659"/>
                  </a:cubicBezTo>
                  <a:cubicBezTo>
                    <a:pt x="5290662" y="315754"/>
                    <a:pt x="5289709" y="314801"/>
                    <a:pt x="5289709" y="312896"/>
                  </a:cubicBezTo>
                  <a:cubicBezTo>
                    <a:pt x="5287804" y="306229"/>
                    <a:pt x="5286851" y="300514"/>
                    <a:pt x="5284946" y="295751"/>
                  </a:cubicBezTo>
                  <a:cubicBezTo>
                    <a:pt x="5284946" y="295751"/>
                    <a:pt x="5284946" y="295751"/>
                    <a:pt x="5284946" y="295751"/>
                  </a:cubicBezTo>
                  <a:cubicBezTo>
                    <a:pt x="5284946" y="295751"/>
                    <a:pt x="5284946" y="295751"/>
                    <a:pt x="5284946" y="295751"/>
                  </a:cubicBezTo>
                  <a:cubicBezTo>
                    <a:pt x="5283994" y="291941"/>
                    <a:pt x="5283042" y="288131"/>
                    <a:pt x="5282089" y="284321"/>
                  </a:cubicBezTo>
                  <a:cubicBezTo>
                    <a:pt x="5282089" y="283369"/>
                    <a:pt x="5282089" y="283369"/>
                    <a:pt x="5281137" y="282416"/>
                  </a:cubicBezTo>
                  <a:cubicBezTo>
                    <a:pt x="5285899" y="264319"/>
                    <a:pt x="5288756" y="252889"/>
                    <a:pt x="5288756" y="252889"/>
                  </a:cubicBezTo>
                  <a:cubicBezTo>
                    <a:pt x="5288756" y="252889"/>
                    <a:pt x="5284946" y="260509"/>
                    <a:pt x="5279231" y="273844"/>
                  </a:cubicBezTo>
                  <a:cubicBezTo>
                    <a:pt x="5278279" y="269081"/>
                    <a:pt x="5276374" y="265271"/>
                    <a:pt x="5275421" y="262414"/>
                  </a:cubicBezTo>
                  <a:cubicBezTo>
                    <a:pt x="5270659" y="250031"/>
                    <a:pt x="5268754" y="243364"/>
                    <a:pt x="5268754" y="243364"/>
                  </a:cubicBezTo>
                  <a:cubicBezTo>
                    <a:pt x="5268754" y="243364"/>
                    <a:pt x="5269706" y="250031"/>
                    <a:pt x="5271612" y="262414"/>
                  </a:cubicBezTo>
                  <a:cubicBezTo>
                    <a:pt x="5272564" y="268129"/>
                    <a:pt x="5273517" y="275749"/>
                    <a:pt x="5274469" y="283369"/>
                  </a:cubicBezTo>
                  <a:cubicBezTo>
                    <a:pt x="5270659" y="290989"/>
                    <a:pt x="5266849" y="300514"/>
                    <a:pt x="5263039" y="310039"/>
                  </a:cubicBezTo>
                  <a:cubicBezTo>
                    <a:pt x="5263039" y="305276"/>
                    <a:pt x="5263039" y="302419"/>
                    <a:pt x="5263039" y="302419"/>
                  </a:cubicBezTo>
                  <a:cubicBezTo>
                    <a:pt x="5263039" y="302419"/>
                    <a:pt x="5262087" y="305276"/>
                    <a:pt x="5260181" y="310039"/>
                  </a:cubicBezTo>
                  <a:cubicBezTo>
                    <a:pt x="5260181" y="310039"/>
                    <a:pt x="5260181" y="309086"/>
                    <a:pt x="5260181" y="309086"/>
                  </a:cubicBezTo>
                  <a:cubicBezTo>
                    <a:pt x="5260181" y="306229"/>
                    <a:pt x="5260181" y="303371"/>
                    <a:pt x="5261134" y="301466"/>
                  </a:cubicBezTo>
                  <a:cubicBezTo>
                    <a:pt x="5261134" y="294799"/>
                    <a:pt x="5262087" y="289084"/>
                    <a:pt x="5262087" y="284321"/>
                  </a:cubicBezTo>
                  <a:cubicBezTo>
                    <a:pt x="5263039" y="274796"/>
                    <a:pt x="5263039" y="269081"/>
                    <a:pt x="5263039" y="269081"/>
                  </a:cubicBezTo>
                  <a:cubicBezTo>
                    <a:pt x="5263039" y="269081"/>
                    <a:pt x="5261134" y="273844"/>
                    <a:pt x="5258276" y="283369"/>
                  </a:cubicBezTo>
                  <a:cubicBezTo>
                    <a:pt x="5258276" y="284321"/>
                    <a:pt x="5257324" y="286226"/>
                    <a:pt x="5257324" y="287179"/>
                  </a:cubicBezTo>
                  <a:cubicBezTo>
                    <a:pt x="5256371" y="282416"/>
                    <a:pt x="5256371" y="277654"/>
                    <a:pt x="5255419" y="273844"/>
                  </a:cubicBezTo>
                  <a:cubicBezTo>
                    <a:pt x="5255419" y="272891"/>
                    <a:pt x="5255419" y="271939"/>
                    <a:pt x="5255419" y="271939"/>
                  </a:cubicBezTo>
                  <a:cubicBezTo>
                    <a:pt x="5255419" y="271939"/>
                    <a:pt x="5255419" y="271939"/>
                    <a:pt x="5255419" y="270986"/>
                  </a:cubicBezTo>
                  <a:cubicBezTo>
                    <a:pt x="5256371" y="268129"/>
                    <a:pt x="5256371" y="266224"/>
                    <a:pt x="5256371" y="266224"/>
                  </a:cubicBezTo>
                  <a:cubicBezTo>
                    <a:pt x="5256371" y="266224"/>
                    <a:pt x="5256371" y="267176"/>
                    <a:pt x="5255419" y="268129"/>
                  </a:cubicBezTo>
                  <a:cubicBezTo>
                    <a:pt x="5256371" y="255746"/>
                    <a:pt x="5257324" y="244316"/>
                    <a:pt x="5258276" y="232886"/>
                  </a:cubicBezTo>
                  <a:cubicBezTo>
                    <a:pt x="5262087" y="188119"/>
                    <a:pt x="5263039" y="158591"/>
                    <a:pt x="5263039" y="158591"/>
                  </a:cubicBezTo>
                  <a:cubicBezTo>
                    <a:pt x="5263039" y="158591"/>
                    <a:pt x="5258276" y="175736"/>
                    <a:pt x="5252562" y="204311"/>
                  </a:cubicBezTo>
                  <a:cubicBezTo>
                    <a:pt x="5253514" y="193834"/>
                    <a:pt x="5254467" y="183356"/>
                    <a:pt x="5255419" y="173831"/>
                  </a:cubicBezTo>
                  <a:cubicBezTo>
                    <a:pt x="5256371" y="160496"/>
                    <a:pt x="5257324" y="150019"/>
                    <a:pt x="5258276" y="140494"/>
                  </a:cubicBezTo>
                  <a:cubicBezTo>
                    <a:pt x="5260181" y="121444"/>
                    <a:pt x="5260181" y="110966"/>
                    <a:pt x="5260181" y="110966"/>
                  </a:cubicBezTo>
                  <a:cubicBezTo>
                    <a:pt x="5260181" y="110966"/>
                    <a:pt x="5257324" y="121444"/>
                    <a:pt x="5254467" y="139541"/>
                  </a:cubicBezTo>
                  <a:cubicBezTo>
                    <a:pt x="5252562" y="149066"/>
                    <a:pt x="5250656" y="159544"/>
                    <a:pt x="5247799" y="172879"/>
                  </a:cubicBezTo>
                  <a:cubicBezTo>
                    <a:pt x="5246846" y="179546"/>
                    <a:pt x="5244942" y="186214"/>
                    <a:pt x="5243989" y="192881"/>
                  </a:cubicBezTo>
                  <a:cubicBezTo>
                    <a:pt x="5243989" y="195739"/>
                    <a:pt x="5243037" y="198596"/>
                    <a:pt x="5243037" y="201454"/>
                  </a:cubicBezTo>
                  <a:cubicBezTo>
                    <a:pt x="5242084" y="197644"/>
                    <a:pt x="5241131" y="194786"/>
                    <a:pt x="5241131" y="194786"/>
                  </a:cubicBezTo>
                  <a:cubicBezTo>
                    <a:pt x="5241131" y="194786"/>
                    <a:pt x="5241131" y="199549"/>
                    <a:pt x="5241131" y="209074"/>
                  </a:cubicBezTo>
                  <a:cubicBezTo>
                    <a:pt x="5241131" y="210979"/>
                    <a:pt x="5240179" y="213836"/>
                    <a:pt x="5240179" y="215741"/>
                  </a:cubicBezTo>
                  <a:cubicBezTo>
                    <a:pt x="5239226" y="225266"/>
                    <a:pt x="5237321" y="235744"/>
                    <a:pt x="5235417" y="246221"/>
                  </a:cubicBezTo>
                  <a:cubicBezTo>
                    <a:pt x="5234464" y="248126"/>
                    <a:pt x="5232559" y="250984"/>
                    <a:pt x="5230654" y="252889"/>
                  </a:cubicBezTo>
                  <a:cubicBezTo>
                    <a:pt x="5227796" y="256699"/>
                    <a:pt x="5225892" y="261461"/>
                    <a:pt x="5222081" y="266224"/>
                  </a:cubicBezTo>
                  <a:cubicBezTo>
                    <a:pt x="5220176" y="270034"/>
                    <a:pt x="5217319" y="274796"/>
                    <a:pt x="5215414" y="279559"/>
                  </a:cubicBezTo>
                  <a:cubicBezTo>
                    <a:pt x="5215414" y="279559"/>
                    <a:pt x="5215414" y="279559"/>
                    <a:pt x="5215414" y="278606"/>
                  </a:cubicBezTo>
                  <a:cubicBezTo>
                    <a:pt x="5216367" y="276701"/>
                    <a:pt x="5216367" y="275749"/>
                    <a:pt x="5216367" y="275749"/>
                  </a:cubicBezTo>
                  <a:cubicBezTo>
                    <a:pt x="5216367" y="275749"/>
                    <a:pt x="5216367" y="276701"/>
                    <a:pt x="5215414" y="277654"/>
                  </a:cubicBezTo>
                  <a:cubicBezTo>
                    <a:pt x="5213509" y="267176"/>
                    <a:pt x="5212556" y="257651"/>
                    <a:pt x="5211604" y="249079"/>
                  </a:cubicBezTo>
                  <a:cubicBezTo>
                    <a:pt x="5210651" y="239554"/>
                    <a:pt x="5209699" y="230981"/>
                    <a:pt x="5208746" y="224314"/>
                  </a:cubicBezTo>
                  <a:cubicBezTo>
                    <a:pt x="5206842" y="210979"/>
                    <a:pt x="5205889" y="202406"/>
                    <a:pt x="5205889" y="202406"/>
                  </a:cubicBezTo>
                  <a:cubicBezTo>
                    <a:pt x="5205889" y="202406"/>
                    <a:pt x="5205889" y="210026"/>
                    <a:pt x="5204937" y="224314"/>
                  </a:cubicBezTo>
                  <a:cubicBezTo>
                    <a:pt x="5204937" y="230981"/>
                    <a:pt x="5204937" y="239554"/>
                    <a:pt x="5204937" y="249079"/>
                  </a:cubicBezTo>
                  <a:cubicBezTo>
                    <a:pt x="5204937" y="253841"/>
                    <a:pt x="5204937" y="258604"/>
                    <a:pt x="5204937" y="264319"/>
                  </a:cubicBezTo>
                  <a:cubicBezTo>
                    <a:pt x="5204937" y="270034"/>
                    <a:pt x="5204937" y="275749"/>
                    <a:pt x="5205889" y="281464"/>
                  </a:cubicBezTo>
                  <a:cubicBezTo>
                    <a:pt x="5205889" y="284321"/>
                    <a:pt x="5205889" y="286226"/>
                    <a:pt x="5205889" y="289084"/>
                  </a:cubicBezTo>
                  <a:cubicBezTo>
                    <a:pt x="5204937" y="287179"/>
                    <a:pt x="5203984" y="286226"/>
                    <a:pt x="5203984" y="286226"/>
                  </a:cubicBezTo>
                  <a:cubicBezTo>
                    <a:pt x="5203984" y="286226"/>
                    <a:pt x="5204937" y="288131"/>
                    <a:pt x="5205889" y="290989"/>
                  </a:cubicBezTo>
                  <a:cubicBezTo>
                    <a:pt x="5205889" y="290989"/>
                    <a:pt x="5205889" y="290989"/>
                    <a:pt x="5205889" y="291941"/>
                  </a:cubicBezTo>
                  <a:cubicBezTo>
                    <a:pt x="5204937" y="290036"/>
                    <a:pt x="5203984" y="289084"/>
                    <a:pt x="5203984" y="287179"/>
                  </a:cubicBezTo>
                  <a:cubicBezTo>
                    <a:pt x="5203984" y="287179"/>
                    <a:pt x="5203984" y="287179"/>
                    <a:pt x="5203984" y="287179"/>
                  </a:cubicBezTo>
                  <a:cubicBezTo>
                    <a:pt x="5203984" y="287179"/>
                    <a:pt x="5203984" y="287179"/>
                    <a:pt x="5203984" y="287179"/>
                  </a:cubicBezTo>
                  <a:cubicBezTo>
                    <a:pt x="5201126" y="281464"/>
                    <a:pt x="5199221" y="278606"/>
                    <a:pt x="5199221" y="278606"/>
                  </a:cubicBezTo>
                  <a:cubicBezTo>
                    <a:pt x="5199221" y="278606"/>
                    <a:pt x="5200174" y="283369"/>
                    <a:pt x="5202079" y="290989"/>
                  </a:cubicBezTo>
                  <a:cubicBezTo>
                    <a:pt x="5201126" y="292894"/>
                    <a:pt x="5200174" y="295751"/>
                    <a:pt x="5198269" y="300514"/>
                  </a:cubicBezTo>
                  <a:cubicBezTo>
                    <a:pt x="5197317" y="298609"/>
                    <a:pt x="5196364" y="297656"/>
                    <a:pt x="5195412" y="295751"/>
                  </a:cubicBezTo>
                  <a:cubicBezTo>
                    <a:pt x="5193506" y="284321"/>
                    <a:pt x="5192554" y="273844"/>
                    <a:pt x="5191601" y="263366"/>
                  </a:cubicBezTo>
                  <a:cubicBezTo>
                    <a:pt x="5187792" y="232886"/>
                    <a:pt x="5185887" y="208121"/>
                    <a:pt x="5184934" y="190024"/>
                  </a:cubicBezTo>
                  <a:cubicBezTo>
                    <a:pt x="5183981" y="181451"/>
                    <a:pt x="5183981" y="173831"/>
                    <a:pt x="5183981" y="169069"/>
                  </a:cubicBezTo>
                  <a:cubicBezTo>
                    <a:pt x="5183981" y="164306"/>
                    <a:pt x="5183981" y="161449"/>
                    <a:pt x="5183981" y="161449"/>
                  </a:cubicBezTo>
                  <a:cubicBezTo>
                    <a:pt x="5183981" y="161449"/>
                    <a:pt x="5183981" y="164306"/>
                    <a:pt x="5183029" y="169069"/>
                  </a:cubicBezTo>
                  <a:cubicBezTo>
                    <a:pt x="5182076" y="173831"/>
                    <a:pt x="5182076" y="180499"/>
                    <a:pt x="5181124" y="190024"/>
                  </a:cubicBezTo>
                  <a:cubicBezTo>
                    <a:pt x="5181124" y="196691"/>
                    <a:pt x="5180171" y="204311"/>
                    <a:pt x="5180171" y="211931"/>
                  </a:cubicBezTo>
                  <a:cubicBezTo>
                    <a:pt x="5179219" y="212884"/>
                    <a:pt x="5178267" y="213836"/>
                    <a:pt x="5177314" y="215741"/>
                  </a:cubicBezTo>
                  <a:cubicBezTo>
                    <a:pt x="5174456" y="219551"/>
                    <a:pt x="5170646" y="224314"/>
                    <a:pt x="5165884" y="231934"/>
                  </a:cubicBezTo>
                  <a:cubicBezTo>
                    <a:pt x="5164931" y="232886"/>
                    <a:pt x="5163979" y="234791"/>
                    <a:pt x="5163979" y="235744"/>
                  </a:cubicBezTo>
                  <a:cubicBezTo>
                    <a:pt x="5163026" y="233839"/>
                    <a:pt x="5162074" y="231934"/>
                    <a:pt x="5161121" y="230029"/>
                  </a:cubicBezTo>
                  <a:cubicBezTo>
                    <a:pt x="5161121" y="230029"/>
                    <a:pt x="5161121" y="229076"/>
                    <a:pt x="5161121" y="229076"/>
                  </a:cubicBezTo>
                  <a:cubicBezTo>
                    <a:pt x="5162074" y="222409"/>
                    <a:pt x="5162074" y="217646"/>
                    <a:pt x="5163026" y="213836"/>
                  </a:cubicBezTo>
                  <a:cubicBezTo>
                    <a:pt x="5163979" y="210026"/>
                    <a:pt x="5163979" y="208121"/>
                    <a:pt x="5163979" y="208121"/>
                  </a:cubicBezTo>
                  <a:cubicBezTo>
                    <a:pt x="5163979" y="208121"/>
                    <a:pt x="5161121" y="213836"/>
                    <a:pt x="5158264" y="224314"/>
                  </a:cubicBezTo>
                  <a:cubicBezTo>
                    <a:pt x="5157312" y="222409"/>
                    <a:pt x="5156359" y="221456"/>
                    <a:pt x="5156359" y="220504"/>
                  </a:cubicBezTo>
                  <a:cubicBezTo>
                    <a:pt x="5152549" y="213836"/>
                    <a:pt x="5149692" y="208121"/>
                    <a:pt x="5147787" y="205264"/>
                  </a:cubicBezTo>
                  <a:cubicBezTo>
                    <a:pt x="5146834" y="195739"/>
                    <a:pt x="5145881" y="186214"/>
                    <a:pt x="5144929" y="178594"/>
                  </a:cubicBezTo>
                  <a:cubicBezTo>
                    <a:pt x="5143024" y="159544"/>
                    <a:pt x="5141119" y="149066"/>
                    <a:pt x="5141119" y="149066"/>
                  </a:cubicBezTo>
                  <a:cubicBezTo>
                    <a:pt x="5141119" y="149066"/>
                    <a:pt x="5141119" y="159544"/>
                    <a:pt x="5141119" y="178594"/>
                  </a:cubicBezTo>
                  <a:cubicBezTo>
                    <a:pt x="5141119" y="197644"/>
                    <a:pt x="5141119" y="224314"/>
                    <a:pt x="5141119" y="255746"/>
                  </a:cubicBezTo>
                  <a:cubicBezTo>
                    <a:pt x="5141119" y="256699"/>
                    <a:pt x="5141119" y="257651"/>
                    <a:pt x="5141119" y="258604"/>
                  </a:cubicBezTo>
                  <a:cubicBezTo>
                    <a:pt x="5140167" y="259556"/>
                    <a:pt x="5140167" y="259556"/>
                    <a:pt x="5139214" y="260509"/>
                  </a:cubicBezTo>
                  <a:cubicBezTo>
                    <a:pt x="5138262" y="261461"/>
                    <a:pt x="5136356" y="263366"/>
                    <a:pt x="5134451" y="265271"/>
                  </a:cubicBezTo>
                  <a:cubicBezTo>
                    <a:pt x="5131594" y="216694"/>
                    <a:pt x="5128737" y="184309"/>
                    <a:pt x="5128737" y="184309"/>
                  </a:cubicBezTo>
                  <a:cubicBezTo>
                    <a:pt x="5128737" y="184309"/>
                    <a:pt x="5126831" y="204311"/>
                    <a:pt x="5124926" y="236696"/>
                  </a:cubicBezTo>
                  <a:cubicBezTo>
                    <a:pt x="5121117" y="225266"/>
                    <a:pt x="5119212" y="219551"/>
                    <a:pt x="5119212" y="219551"/>
                  </a:cubicBezTo>
                  <a:cubicBezTo>
                    <a:pt x="5119212" y="219551"/>
                    <a:pt x="5121117" y="230029"/>
                    <a:pt x="5123974" y="249079"/>
                  </a:cubicBezTo>
                  <a:cubicBezTo>
                    <a:pt x="5123974" y="251936"/>
                    <a:pt x="5123974" y="255746"/>
                    <a:pt x="5123021" y="258604"/>
                  </a:cubicBezTo>
                  <a:cubicBezTo>
                    <a:pt x="5122069" y="263366"/>
                    <a:pt x="5121117" y="270034"/>
                    <a:pt x="5120164" y="279559"/>
                  </a:cubicBezTo>
                  <a:cubicBezTo>
                    <a:pt x="5119212" y="281464"/>
                    <a:pt x="5117306" y="283369"/>
                    <a:pt x="5116354" y="285274"/>
                  </a:cubicBezTo>
                  <a:cubicBezTo>
                    <a:pt x="5113496" y="289084"/>
                    <a:pt x="5109687" y="293846"/>
                    <a:pt x="5106829" y="298609"/>
                  </a:cubicBezTo>
                  <a:cubicBezTo>
                    <a:pt x="5105876" y="299561"/>
                    <a:pt x="5104924" y="301466"/>
                    <a:pt x="5103971" y="303371"/>
                  </a:cubicBezTo>
                  <a:cubicBezTo>
                    <a:pt x="5097304" y="287179"/>
                    <a:pt x="5090637" y="272891"/>
                    <a:pt x="5085874" y="261461"/>
                  </a:cubicBezTo>
                  <a:cubicBezTo>
                    <a:pt x="5085874" y="261461"/>
                    <a:pt x="5085874" y="261461"/>
                    <a:pt x="5086826" y="261461"/>
                  </a:cubicBezTo>
                  <a:cubicBezTo>
                    <a:pt x="5089684" y="260509"/>
                    <a:pt x="5091589" y="260509"/>
                    <a:pt x="5091589" y="260509"/>
                  </a:cubicBezTo>
                  <a:cubicBezTo>
                    <a:pt x="5091589" y="260509"/>
                    <a:pt x="5089684" y="260509"/>
                    <a:pt x="5086826" y="260509"/>
                  </a:cubicBezTo>
                  <a:cubicBezTo>
                    <a:pt x="5086826" y="260509"/>
                    <a:pt x="5085874" y="260509"/>
                    <a:pt x="5085874" y="260509"/>
                  </a:cubicBezTo>
                  <a:cubicBezTo>
                    <a:pt x="5078254" y="243364"/>
                    <a:pt x="5073492" y="232886"/>
                    <a:pt x="5071587" y="230029"/>
                  </a:cubicBezTo>
                  <a:cubicBezTo>
                    <a:pt x="5071587" y="225266"/>
                    <a:pt x="5071587" y="222409"/>
                    <a:pt x="5071587" y="222409"/>
                  </a:cubicBezTo>
                  <a:cubicBezTo>
                    <a:pt x="5071587" y="222409"/>
                    <a:pt x="5070634" y="224314"/>
                    <a:pt x="5069681" y="227171"/>
                  </a:cubicBezTo>
                  <a:cubicBezTo>
                    <a:pt x="5066824" y="214789"/>
                    <a:pt x="5063967" y="203359"/>
                    <a:pt x="5062062" y="192881"/>
                  </a:cubicBezTo>
                  <a:cubicBezTo>
                    <a:pt x="5061109" y="186214"/>
                    <a:pt x="5059204" y="180499"/>
                    <a:pt x="5058251" y="174784"/>
                  </a:cubicBezTo>
                  <a:cubicBezTo>
                    <a:pt x="5057299" y="169069"/>
                    <a:pt x="5056346" y="164306"/>
                    <a:pt x="5055394" y="159544"/>
                  </a:cubicBezTo>
                  <a:cubicBezTo>
                    <a:pt x="5051584" y="140494"/>
                    <a:pt x="5049679" y="130016"/>
                    <a:pt x="5049679" y="130016"/>
                  </a:cubicBezTo>
                  <a:cubicBezTo>
                    <a:pt x="5049679" y="130016"/>
                    <a:pt x="5050631" y="140494"/>
                    <a:pt x="5050631" y="159544"/>
                  </a:cubicBezTo>
                  <a:cubicBezTo>
                    <a:pt x="5050631" y="164306"/>
                    <a:pt x="5051584" y="169069"/>
                    <a:pt x="5051584" y="174784"/>
                  </a:cubicBezTo>
                  <a:cubicBezTo>
                    <a:pt x="5052537" y="180499"/>
                    <a:pt x="5052537" y="186214"/>
                    <a:pt x="5053489" y="192881"/>
                  </a:cubicBezTo>
                  <a:cubicBezTo>
                    <a:pt x="5055394" y="206216"/>
                    <a:pt x="5056346" y="220504"/>
                    <a:pt x="5059204" y="236696"/>
                  </a:cubicBezTo>
                  <a:cubicBezTo>
                    <a:pt x="5060156" y="240506"/>
                    <a:pt x="5061109" y="245269"/>
                    <a:pt x="5061109" y="249079"/>
                  </a:cubicBezTo>
                  <a:cubicBezTo>
                    <a:pt x="5059204" y="254794"/>
                    <a:pt x="5057299" y="262414"/>
                    <a:pt x="5055394" y="270034"/>
                  </a:cubicBezTo>
                  <a:cubicBezTo>
                    <a:pt x="5054442" y="270986"/>
                    <a:pt x="5053489" y="270986"/>
                    <a:pt x="5052537" y="271939"/>
                  </a:cubicBezTo>
                  <a:cubicBezTo>
                    <a:pt x="5052537" y="271939"/>
                    <a:pt x="5052537" y="271939"/>
                    <a:pt x="5052537" y="271939"/>
                  </a:cubicBezTo>
                  <a:cubicBezTo>
                    <a:pt x="5051584" y="269081"/>
                    <a:pt x="5051584" y="267176"/>
                    <a:pt x="5051584" y="267176"/>
                  </a:cubicBezTo>
                  <a:cubicBezTo>
                    <a:pt x="5051584" y="267176"/>
                    <a:pt x="5051584" y="268129"/>
                    <a:pt x="5051584" y="269081"/>
                  </a:cubicBezTo>
                  <a:cubicBezTo>
                    <a:pt x="5050631" y="266224"/>
                    <a:pt x="5049679" y="264319"/>
                    <a:pt x="5048726" y="261461"/>
                  </a:cubicBezTo>
                  <a:cubicBezTo>
                    <a:pt x="5048726" y="261461"/>
                    <a:pt x="5048726" y="261461"/>
                    <a:pt x="5048726" y="261461"/>
                  </a:cubicBezTo>
                  <a:cubicBezTo>
                    <a:pt x="5049679" y="255746"/>
                    <a:pt x="5050631" y="252889"/>
                    <a:pt x="5050631" y="252889"/>
                  </a:cubicBezTo>
                  <a:cubicBezTo>
                    <a:pt x="5050631" y="252889"/>
                    <a:pt x="5049679" y="254794"/>
                    <a:pt x="5047774" y="259556"/>
                  </a:cubicBezTo>
                  <a:cubicBezTo>
                    <a:pt x="5043964" y="250984"/>
                    <a:pt x="5041106" y="243364"/>
                    <a:pt x="5039201" y="236696"/>
                  </a:cubicBezTo>
                  <a:cubicBezTo>
                    <a:pt x="5034439" y="222409"/>
                    <a:pt x="5031581" y="214789"/>
                    <a:pt x="5031581" y="214789"/>
                  </a:cubicBezTo>
                  <a:cubicBezTo>
                    <a:pt x="5031581" y="214789"/>
                    <a:pt x="5033487" y="223361"/>
                    <a:pt x="5035392" y="237649"/>
                  </a:cubicBezTo>
                  <a:cubicBezTo>
                    <a:pt x="5036344" y="243364"/>
                    <a:pt x="5037296" y="249079"/>
                    <a:pt x="5039201" y="256699"/>
                  </a:cubicBezTo>
                  <a:cubicBezTo>
                    <a:pt x="5038249" y="258604"/>
                    <a:pt x="5036344" y="261461"/>
                    <a:pt x="5034439" y="265271"/>
                  </a:cubicBezTo>
                  <a:cubicBezTo>
                    <a:pt x="5034439" y="264319"/>
                    <a:pt x="5034439" y="263366"/>
                    <a:pt x="5034439" y="262414"/>
                  </a:cubicBezTo>
                  <a:cubicBezTo>
                    <a:pt x="5033487" y="253841"/>
                    <a:pt x="5031581" y="247174"/>
                    <a:pt x="5030629" y="241459"/>
                  </a:cubicBezTo>
                  <a:cubicBezTo>
                    <a:pt x="5028724" y="230029"/>
                    <a:pt x="5026819" y="223361"/>
                    <a:pt x="5026819" y="223361"/>
                  </a:cubicBezTo>
                  <a:cubicBezTo>
                    <a:pt x="5026819" y="223361"/>
                    <a:pt x="5026819" y="230029"/>
                    <a:pt x="5025867" y="242411"/>
                  </a:cubicBezTo>
                  <a:cubicBezTo>
                    <a:pt x="5025867" y="248126"/>
                    <a:pt x="5025867" y="255746"/>
                    <a:pt x="5025867" y="263366"/>
                  </a:cubicBezTo>
                  <a:cubicBezTo>
                    <a:pt x="5025867" y="267176"/>
                    <a:pt x="5025867" y="271939"/>
                    <a:pt x="5025867" y="276701"/>
                  </a:cubicBezTo>
                  <a:cubicBezTo>
                    <a:pt x="5025867" y="277654"/>
                    <a:pt x="5025867" y="279559"/>
                    <a:pt x="5025867" y="281464"/>
                  </a:cubicBezTo>
                  <a:cubicBezTo>
                    <a:pt x="5020151" y="274796"/>
                    <a:pt x="5015389" y="268129"/>
                    <a:pt x="5010626" y="263366"/>
                  </a:cubicBezTo>
                  <a:cubicBezTo>
                    <a:pt x="5003006" y="255746"/>
                    <a:pt x="4998244" y="250984"/>
                    <a:pt x="4995387" y="248126"/>
                  </a:cubicBezTo>
                  <a:cubicBezTo>
                    <a:pt x="4996339" y="245269"/>
                    <a:pt x="4997292" y="243364"/>
                    <a:pt x="4997292" y="243364"/>
                  </a:cubicBezTo>
                  <a:cubicBezTo>
                    <a:pt x="4997292" y="243364"/>
                    <a:pt x="4996339" y="245269"/>
                    <a:pt x="4994434" y="248126"/>
                  </a:cubicBezTo>
                  <a:cubicBezTo>
                    <a:pt x="4993481" y="247174"/>
                    <a:pt x="4992529" y="246221"/>
                    <a:pt x="4992529" y="246221"/>
                  </a:cubicBezTo>
                  <a:cubicBezTo>
                    <a:pt x="4994434" y="211931"/>
                    <a:pt x="4994434" y="190024"/>
                    <a:pt x="4994434" y="190024"/>
                  </a:cubicBezTo>
                  <a:cubicBezTo>
                    <a:pt x="4994434" y="190024"/>
                    <a:pt x="4988719" y="210026"/>
                    <a:pt x="4983004" y="240506"/>
                  </a:cubicBezTo>
                  <a:cubicBezTo>
                    <a:pt x="4982051" y="239554"/>
                    <a:pt x="4981099" y="238601"/>
                    <a:pt x="4981099" y="238601"/>
                  </a:cubicBezTo>
                  <a:cubicBezTo>
                    <a:pt x="4967764" y="226219"/>
                    <a:pt x="4959192" y="219551"/>
                    <a:pt x="4959192" y="219551"/>
                  </a:cubicBezTo>
                  <a:cubicBezTo>
                    <a:pt x="4959192" y="219551"/>
                    <a:pt x="4965859" y="227171"/>
                    <a:pt x="4978242" y="241459"/>
                  </a:cubicBezTo>
                  <a:cubicBezTo>
                    <a:pt x="4979194" y="243364"/>
                    <a:pt x="4981099" y="244316"/>
                    <a:pt x="4982051" y="246221"/>
                  </a:cubicBezTo>
                  <a:cubicBezTo>
                    <a:pt x="4982051" y="247174"/>
                    <a:pt x="4982051" y="248126"/>
                    <a:pt x="4982051" y="248126"/>
                  </a:cubicBezTo>
                  <a:cubicBezTo>
                    <a:pt x="4980146" y="257651"/>
                    <a:pt x="4978242" y="268129"/>
                    <a:pt x="4976337" y="279559"/>
                  </a:cubicBezTo>
                  <a:cubicBezTo>
                    <a:pt x="4974431" y="283369"/>
                    <a:pt x="4971574" y="287179"/>
                    <a:pt x="4969669" y="290989"/>
                  </a:cubicBezTo>
                  <a:cubicBezTo>
                    <a:pt x="4965859" y="281464"/>
                    <a:pt x="4963001" y="272891"/>
                    <a:pt x="4960144" y="265271"/>
                  </a:cubicBezTo>
                  <a:cubicBezTo>
                    <a:pt x="4960144" y="265271"/>
                    <a:pt x="4960144" y="264319"/>
                    <a:pt x="4960144" y="264319"/>
                  </a:cubicBezTo>
                  <a:cubicBezTo>
                    <a:pt x="4960144" y="253841"/>
                    <a:pt x="4960144" y="245269"/>
                    <a:pt x="4959192" y="237649"/>
                  </a:cubicBezTo>
                  <a:cubicBezTo>
                    <a:pt x="4958239" y="223361"/>
                    <a:pt x="4958239" y="215741"/>
                    <a:pt x="4958239" y="214789"/>
                  </a:cubicBezTo>
                  <a:cubicBezTo>
                    <a:pt x="4963001" y="194786"/>
                    <a:pt x="4965859" y="177641"/>
                    <a:pt x="4968717" y="164306"/>
                  </a:cubicBezTo>
                  <a:cubicBezTo>
                    <a:pt x="4972526" y="145256"/>
                    <a:pt x="4974431" y="134779"/>
                    <a:pt x="4974431" y="134779"/>
                  </a:cubicBezTo>
                  <a:cubicBezTo>
                    <a:pt x="4974431" y="134779"/>
                    <a:pt x="4970621" y="145256"/>
                    <a:pt x="4964906" y="163354"/>
                  </a:cubicBezTo>
                  <a:cubicBezTo>
                    <a:pt x="4962049" y="171926"/>
                    <a:pt x="4959192" y="181451"/>
                    <a:pt x="4955381" y="191929"/>
                  </a:cubicBezTo>
                  <a:cubicBezTo>
                    <a:pt x="4955381" y="182404"/>
                    <a:pt x="4955381" y="176689"/>
                    <a:pt x="4955381" y="176689"/>
                  </a:cubicBezTo>
                  <a:cubicBezTo>
                    <a:pt x="4955381" y="176689"/>
                    <a:pt x="4954429" y="186214"/>
                    <a:pt x="4952524" y="202406"/>
                  </a:cubicBezTo>
                  <a:cubicBezTo>
                    <a:pt x="4952524" y="202406"/>
                    <a:pt x="4952524" y="203359"/>
                    <a:pt x="4952524" y="203359"/>
                  </a:cubicBezTo>
                  <a:cubicBezTo>
                    <a:pt x="4949667" y="210979"/>
                    <a:pt x="4947762" y="218599"/>
                    <a:pt x="4944904" y="227171"/>
                  </a:cubicBezTo>
                  <a:cubicBezTo>
                    <a:pt x="4944904" y="227171"/>
                    <a:pt x="4944904" y="226219"/>
                    <a:pt x="4944904" y="226219"/>
                  </a:cubicBezTo>
                  <a:cubicBezTo>
                    <a:pt x="4939189" y="209074"/>
                    <a:pt x="4936331" y="199549"/>
                    <a:pt x="4936331" y="199549"/>
                  </a:cubicBezTo>
                  <a:cubicBezTo>
                    <a:pt x="4936331" y="199549"/>
                    <a:pt x="4938237" y="213836"/>
                    <a:pt x="4942046" y="236696"/>
                  </a:cubicBezTo>
                  <a:cubicBezTo>
                    <a:pt x="4942046" y="237649"/>
                    <a:pt x="4941094" y="238601"/>
                    <a:pt x="4941094" y="239554"/>
                  </a:cubicBezTo>
                  <a:cubicBezTo>
                    <a:pt x="4935379" y="255746"/>
                    <a:pt x="4929664" y="273844"/>
                    <a:pt x="4922996" y="292894"/>
                  </a:cubicBezTo>
                  <a:cubicBezTo>
                    <a:pt x="4922996" y="291941"/>
                    <a:pt x="4922996" y="290036"/>
                    <a:pt x="4922996" y="289084"/>
                  </a:cubicBezTo>
                  <a:cubicBezTo>
                    <a:pt x="4921092" y="275749"/>
                    <a:pt x="4920139" y="269081"/>
                    <a:pt x="4920139" y="269081"/>
                  </a:cubicBezTo>
                  <a:cubicBezTo>
                    <a:pt x="4920139" y="269081"/>
                    <a:pt x="4919187" y="276701"/>
                    <a:pt x="4919187" y="290036"/>
                  </a:cubicBezTo>
                  <a:cubicBezTo>
                    <a:pt x="4919187" y="291941"/>
                    <a:pt x="4919187" y="293846"/>
                    <a:pt x="4919187" y="296704"/>
                  </a:cubicBezTo>
                  <a:cubicBezTo>
                    <a:pt x="4918234" y="293846"/>
                    <a:pt x="4918234" y="290989"/>
                    <a:pt x="4917281" y="289084"/>
                  </a:cubicBezTo>
                  <a:cubicBezTo>
                    <a:pt x="4915376" y="279559"/>
                    <a:pt x="4913471" y="271939"/>
                    <a:pt x="4911567" y="266224"/>
                  </a:cubicBezTo>
                  <a:cubicBezTo>
                    <a:pt x="4907756" y="253841"/>
                    <a:pt x="4904899" y="246221"/>
                    <a:pt x="4904899" y="246221"/>
                  </a:cubicBezTo>
                  <a:cubicBezTo>
                    <a:pt x="4904899" y="246221"/>
                    <a:pt x="4905851" y="253841"/>
                    <a:pt x="4907756" y="267176"/>
                  </a:cubicBezTo>
                  <a:cubicBezTo>
                    <a:pt x="4908709" y="273844"/>
                    <a:pt x="4908709" y="281464"/>
                    <a:pt x="4909662" y="290989"/>
                  </a:cubicBezTo>
                  <a:cubicBezTo>
                    <a:pt x="4910614" y="299561"/>
                    <a:pt x="4910614" y="310039"/>
                    <a:pt x="4911567" y="321469"/>
                  </a:cubicBezTo>
                  <a:cubicBezTo>
                    <a:pt x="4910614" y="323374"/>
                    <a:pt x="4909662" y="325279"/>
                    <a:pt x="4908709" y="327184"/>
                  </a:cubicBezTo>
                  <a:cubicBezTo>
                    <a:pt x="4906804" y="322421"/>
                    <a:pt x="4903946" y="317659"/>
                    <a:pt x="4902042" y="313849"/>
                  </a:cubicBezTo>
                  <a:cubicBezTo>
                    <a:pt x="4899184" y="308134"/>
                    <a:pt x="4896326" y="302419"/>
                    <a:pt x="4894421" y="298609"/>
                  </a:cubicBezTo>
                  <a:cubicBezTo>
                    <a:pt x="4893469" y="290036"/>
                    <a:pt x="4892517" y="285274"/>
                    <a:pt x="4892517" y="285274"/>
                  </a:cubicBezTo>
                  <a:cubicBezTo>
                    <a:pt x="4892517" y="285274"/>
                    <a:pt x="4892517" y="288131"/>
                    <a:pt x="4891564" y="293846"/>
                  </a:cubicBezTo>
                  <a:cubicBezTo>
                    <a:pt x="4889659" y="290989"/>
                    <a:pt x="4888706" y="289084"/>
                    <a:pt x="4888706" y="289084"/>
                  </a:cubicBezTo>
                  <a:cubicBezTo>
                    <a:pt x="4888706" y="289084"/>
                    <a:pt x="4889659" y="291941"/>
                    <a:pt x="4891564" y="295751"/>
                  </a:cubicBezTo>
                  <a:cubicBezTo>
                    <a:pt x="4890612" y="306229"/>
                    <a:pt x="4888706" y="324326"/>
                    <a:pt x="4887754" y="348139"/>
                  </a:cubicBezTo>
                  <a:cubicBezTo>
                    <a:pt x="4887754" y="350996"/>
                    <a:pt x="4887754" y="354806"/>
                    <a:pt x="4887754" y="357664"/>
                  </a:cubicBezTo>
                  <a:cubicBezTo>
                    <a:pt x="4885849" y="354806"/>
                    <a:pt x="4883944" y="352901"/>
                    <a:pt x="4882991" y="350996"/>
                  </a:cubicBezTo>
                  <a:cubicBezTo>
                    <a:pt x="4882991" y="347186"/>
                    <a:pt x="4882039" y="343376"/>
                    <a:pt x="4882039" y="338614"/>
                  </a:cubicBezTo>
                  <a:cubicBezTo>
                    <a:pt x="4882039" y="338614"/>
                    <a:pt x="4882039" y="337661"/>
                    <a:pt x="4882039" y="337661"/>
                  </a:cubicBezTo>
                  <a:cubicBezTo>
                    <a:pt x="4882991" y="333851"/>
                    <a:pt x="4882991" y="330041"/>
                    <a:pt x="4883944" y="327184"/>
                  </a:cubicBezTo>
                  <a:cubicBezTo>
                    <a:pt x="4884896" y="324326"/>
                    <a:pt x="4884896" y="321469"/>
                    <a:pt x="4885849" y="319564"/>
                  </a:cubicBezTo>
                  <a:cubicBezTo>
                    <a:pt x="4886801" y="315754"/>
                    <a:pt x="4887754" y="312896"/>
                    <a:pt x="4887754" y="312896"/>
                  </a:cubicBezTo>
                  <a:cubicBezTo>
                    <a:pt x="4887754" y="312896"/>
                    <a:pt x="4886801" y="314801"/>
                    <a:pt x="4884896" y="318611"/>
                  </a:cubicBezTo>
                  <a:cubicBezTo>
                    <a:pt x="4883944" y="320516"/>
                    <a:pt x="4882991" y="323374"/>
                    <a:pt x="4882039" y="326231"/>
                  </a:cubicBezTo>
                  <a:cubicBezTo>
                    <a:pt x="4882039" y="327184"/>
                    <a:pt x="4882039" y="327184"/>
                    <a:pt x="4882039" y="328136"/>
                  </a:cubicBezTo>
                  <a:cubicBezTo>
                    <a:pt x="4882039" y="327184"/>
                    <a:pt x="4882039" y="326231"/>
                    <a:pt x="4882039" y="326231"/>
                  </a:cubicBezTo>
                  <a:cubicBezTo>
                    <a:pt x="4880134" y="312896"/>
                    <a:pt x="4878229" y="300514"/>
                    <a:pt x="4877276" y="288131"/>
                  </a:cubicBezTo>
                  <a:cubicBezTo>
                    <a:pt x="4876324" y="279559"/>
                    <a:pt x="4874419" y="270986"/>
                    <a:pt x="4873466" y="263366"/>
                  </a:cubicBezTo>
                  <a:cubicBezTo>
                    <a:pt x="4875372" y="253841"/>
                    <a:pt x="4876324" y="245269"/>
                    <a:pt x="4878229" y="238601"/>
                  </a:cubicBezTo>
                  <a:cubicBezTo>
                    <a:pt x="4881087" y="221456"/>
                    <a:pt x="4882039" y="211931"/>
                    <a:pt x="4882039" y="211931"/>
                  </a:cubicBezTo>
                  <a:cubicBezTo>
                    <a:pt x="4882039" y="211931"/>
                    <a:pt x="4879181" y="221456"/>
                    <a:pt x="4874419" y="237649"/>
                  </a:cubicBezTo>
                  <a:cubicBezTo>
                    <a:pt x="4873466" y="241459"/>
                    <a:pt x="4872514" y="245269"/>
                    <a:pt x="4870609" y="249079"/>
                  </a:cubicBezTo>
                  <a:cubicBezTo>
                    <a:pt x="4869656" y="242411"/>
                    <a:pt x="4867751" y="236696"/>
                    <a:pt x="4866799" y="231934"/>
                  </a:cubicBezTo>
                  <a:cubicBezTo>
                    <a:pt x="4863941" y="218599"/>
                    <a:pt x="4862037" y="210979"/>
                    <a:pt x="4862037" y="210979"/>
                  </a:cubicBezTo>
                  <a:cubicBezTo>
                    <a:pt x="4862037" y="210979"/>
                    <a:pt x="4862037" y="218599"/>
                    <a:pt x="4862989" y="232886"/>
                  </a:cubicBezTo>
                  <a:cubicBezTo>
                    <a:pt x="4862989" y="237649"/>
                    <a:pt x="4863941" y="242411"/>
                    <a:pt x="4863941" y="248126"/>
                  </a:cubicBezTo>
                  <a:cubicBezTo>
                    <a:pt x="4863941" y="250984"/>
                    <a:pt x="4863941" y="255746"/>
                    <a:pt x="4863941" y="261461"/>
                  </a:cubicBezTo>
                  <a:cubicBezTo>
                    <a:pt x="4862989" y="262414"/>
                    <a:pt x="4862037" y="263366"/>
                    <a:pt x="4860131" y="264319"/>
                  </a:cubicBezTo>
                  <a:cubicBezTo>
                    <a:pt x="4856322" y="268129"/>
                    <a:pt x="4850606" y="272891"/>
                    <a:pt x="4843939" y="281464"/>
                  </a:cubicBezTo>
                  <a:cubicBezTo>
                    <a:pt x="4842987" y="277654"/>
                    <a:pt x="4842034" y="273844"/>
                    <a:pt x="4841081" y="270986"/>
                  </a:cubicBezTo>
                  <a:cubicBezTo>
                    <a:pt x="4842034" y="268129"/>
                    <a:pt x="4842987" y="266224"/>
                    <a:pt x="4842987" y="266224"/>
                  </a:cubicBezTo>
                  <a:cubicBezTo>
                    <a:pt x="4842987" y="266224"/>
                    <a:pt x="4842034" y="267176"/>
                    <a:pt x="4841081" y="269081"/>
                  </a:cubicBezTo>
                  <a:cubicBezTo>
                    <a:pt x="4840129" y="265271"/>
                    <a:pt x="4840129" y="262414"/>
                    <a:pt x="4840129" y="262414"/>
                  </a:cubicBezTo>
                  <a:cubicBezTo>
                    <a:pt x="4840129" y="262414"/>
                    <a:pt x="4840129" y="265271"/>
                    <a:pt x="4840129" y="270034"/>
                  </a:cubicBezTo>
                  <a:cubicBezTo>
                    <a:pt x="4838224" y="271939"/>
                    <a:pt x="4836319" y="274796"/>
                    <a:pt x="4833462" y="278606"/>
                  </a:cubicBezTo>
                  <a:cubicBezTo>
                    <a:pt x="4830604" y="283369"/>
                    <a:pt x="4826794" y="288131"/>
                    <a:pt x="4822984" y="294799"/>
                  </a:cubicBezTo>
                  <a:cubicBezTo>
                    <a:pt x="4821079" y="297656"/>
                    <a:pt x="4819174" y="301466"/>
                    <a:pt x="4816316" y="304324"/>
                  </a:cubicBezTo>
                  <a:cubicBezTo>
                    <a:pt x="4814412" y="308134"/>
                    <a:pt x="4812506" y="311944"/>
                    <a:pt x="4809649" y="315754"/>
                  </a:cubicBezTo>
                  <a:cubicBezTo>
                    <a:pt x="4809649" y="316706"/>
                    <a:pt x="4808697" y="317659"/>
                    <a:pt x="4807744" y="318611"/>
                  </a:cubicBezTo>
                  <a:cubicBezTo>
                    <a:pt x="4807744" y="309086"/>
                    <a:pt x="4807744" y="304324"/>
                    <a:pt x="4807744" y="304324"/>
                  </a:cubicBezTo>
                  <a:cubicBezTo>
                    <a:pt x="4807744" y="304324"/>
                    <a:pt x="4805839" y="312896"/>
                    <a:pt x="4803934" y="327184"/>
                  </a:cubicBezTo>
                  <a:cubicBezTo>
                    <a:pt x="4801076" y="331946"/>
                    <a:pt x="4798219" y="336709"/>
                    <a:pt x="4795362" y="342424"/>
                  </a:cubicBezTo>
                  <a:cubicBezTo>
                    <a:pt x="4795362" y="335756"/>
                    <a:pt x="4795362" y="330041"/>
                    <a:pt x="4795362" y="324326"/>
                  </a:cubicBezTo>
                  <a:cubicBezTo>
                    <a:pt x="4795362" y="319564"/>
                    <a:pt x="4795362" y="315754"/>
                    <a:pt x="4795362" y="311944"/>
                  </a:cubicBezTo>
                  <a:cubicBezTo>
                    <a:pt x="4796314" y="308134"/>
                    <a:pt x="4796314" y="305276"/>
                    <a:pt x="4796314" y="302419"/>
                  </a:cubicBezTo>
                  <a:cubicBezTo>
                    <a:pt x="4796314" y="300514"/>
                    <a:pt x="4796314" y="299561"/>
                    <a:pt x="4797266" y="297656"/>
                  </a:cubicBezTo>
                  <a:cubicBezTo>
                    <a:pt x="4799172" y="286226"/>
                    <a:pt x="4802029" y="274796"/>
                    <a:pt x="4803934" y="264319"/>
                  </a:cubicBezTo>
                  <a:cubicBezTo>
                    <a:pt x="4811554" y="221456"/>
                    <a:pt x="4815364" y="192881"/>
                    <a:pt x="4815364" y="192881"/>
                  </a:cubicBezTo>
                  <a:cubicBezTo>
                    <a:pt x="4815364" y="192881"/>
                    <a:pt x="4804887" y="220504"/>
                    <a:pt x="4792504" y="262414"/>
                  </a:cubicBezTo>
                  <a:cubicBezTo>
                    <a:pt x="4791551" y="264319"/>
                    <a:pt x="4791551" y="266224"/>
                    <a:pt x="4790599" y="268129"/>
                  </a:cubicBezTo>
                  <a:cubicBezTo>
                    <a:pt x="4788694" y="256699"/>
                    <a:pt x="4788694" y="250031"/>
                    <a:pt x="4788694" y="250031"/>
                  </a:cubicBezTo>
                  <a:cubicBezTo>
                    <a:pt x="4788694" y="250031"/>
                    <a:pt x="4788694" y="257651"/>
                    <a:pt x="4787741" y="270986"/>
                  </a:cubicBezTo>
                  <a:cubicBezTo>
                    <a:pt x="4787741" y="273844"/>
                    <a:pt x="4787741" y="277654"/>
                    <a:pt x="4787741" y="281464"/>
                  </a:cubicBezTo>
                  <a:cubicBezTo>
                    <a:pt x="4785837" y="287179"/>
                    <a:pt x="4783931" y="292894"/>
                    <a:pt x="4782979" y="299561"/>
                  </a:cubicBezTo>
                  <a:cubicBezTo>
                    <a:pt x="4782979" y="297656"/>
                    <a:pt x="4782979" y="295751"/>
                    <a:pt x="4782979" y="293846"/>
                  </a:cubicBezTo>
                  <a:cubicBezTo>
                    <a:pt x="4783931" y="282416"/>
                    <a:pt x="4783931" y="271939"/>
                    <a:pt x="4784884" y="263366"/>
                  </a:cubicBezTo>
                  <a:cubicBezTo>
                    <a:pt x="4785837" y="253841"/>
                    <a:pt x="4785837" y="246221"/>
                    <a:pt x="4786789" y="239554"/>
                  </a:cubicBezTo>
                  <a:cubicBezTo>
                    <a:pt x="4788694" y="226219"/>
                    <a:pt x="4789647" y="218599"/>
                    <a:pt x="4789647" y="218599"/>
                  </a:cubicBezTo>
                  <a:cubicBezTo>
                    <a:pt x="4789647" y="218599"/>
                    <a:pt x="4787741" y="226219"/>
                    <a:pt x="4782979" y="238601"/>
                  </a:cubicBezTo>
                  <a:cubicBezTo>
                    <a:pt x="4781074" y="245269"/>
                    <a:pt x="4779169" y="252889"/>
                    <a:pt x="4777264" y="262414"/>
                  </a:cubicBezTo>
                  <a:cubicBezTo>
                    <a:pt x="4776312" y="264319"/>
                    <a:pt x="4776312" y="266224"/>
                    <a:pt x="4776312" y="269081"/>
                  </a:cubicBezTo>
                  <a:cubicBezTo>
                    <a:pt x="4774406" y="257651"/>
                    <a:pt x="4773454" y="251936"/>
                    <a:pt x="4773454" y="251936"/>
                  </a:cubicBezTo>
                  <a:cubicBezTo>
                    <a:pt x="4773454" y="251936"/>
                    <a:pt x="4773454" y="264319"/>
                    <a:pt x="4773454" y="284321"/>
                  </a:cubicBezTo>
                  <a:cubicBezTo>
                    <a:pt x="4772501" y="287179"/>
                    <a:pt x="4772501" y="290989"/>
                    <a:pt x="4771549" y="293846"/>
                  </a:cubicBezTo>
                  <a:cubicBezTo>
                    <a:pt x="4771549" y="294799"/>
                    <a:pt x="4771549" y="294799"/>
                    <a:pt x="4771549" y="295751"/>
                  </a:cubicBezTo>
                  <a:cubicBezTo>
                    <a:pt x="4769644" y="273844"/>
                    <a:pt x="4767739" y="260509"/>
                    <a:pt x="4767739" y="260509"/>
                  </a:cubicBezTo>
                  <a:cubicBezTo>
                    <a:pt x="4767739" y="260509"/>
                    <a:pt x="4765834" y="274796"/>
                    <a:pt x="4764881" y="297656"/>
                  </a:cubicBezTo>
                  <a:cubicBezTo>
                    <a:pt x="4762024" y="290036"/>
                    <a:pt x="4758214" y="283369"/>
                    <a:pt x="4755356" y="276701"/>
                  </a:cubicBezTo>
                  <a:cubicBezTo>
                    <a:pt x="4753451" y="273844"/>
                    <a:pt x="4752499" y="271939"/>
                    <a:pt x="4750594" y="270034"/>
                  </a:cubicBezTo>
                  <a:cubicBezTo>
                    <a:pt x="4753451" y="260509"/>
                    <a:pt x="4755356" y="251936"/>
                    <a:pt x="4758214" y="243364"/>
                  </a:cubicBezTo>
                  <a:cubicBezTo>
                    <a:pt x="4767739" y="209074"/>
                    <a:pt x="4774406" y="180499"/>
                    <a:pt x="4780122" y="161449"/>
                  </a:cubicBezTo>
                  <a:cubicBezTo>
                    <a:pt x="4784884" y="141446"/>
                    <a:pt x="4787741" y="130016"/>
                    <a:pt x="4787741" y="130016"/>
                  </a:cubicBezTo>
                  <a:cubicBezTo>
                    <a:pt x="4787741" y="130016"/>
                    <a:pt x="4782979" y="140494"/>
                    <a:pt x="4776312" y="160496"/>
                  </a:cubicBezTo>
                  <a:cubicBezTo>
                    <a:pt x="4769644" y="179546"/>
                    <a:pt x="4759166" y="207169"/>
                    <a:pt x="4747737" y="240506"/>
                  </a:cubicBezTo>
                  <a:cubicBezTo>
                    <a:pt x="4745831" y="246221"/>
                    <a:pt x="4743926" y="251936"/>
                    <a:pt x="4742022" y="257651"/>
                  </a:cubicBezTo>
                  <a:cubicBezTo>
                    <a:pt x="4742022" y="257651"/>
                    <a:pt x="4742022" y="257651"/>
                    <a:pt x="4742022" y="257651"/>
                  </a:cubicBezTo>
                  <a:cubicBezTo>
                    <a:pt x="4737259" y="251936"/>
                    <a:pt x="4732497" y="248126"/>
                    <a:pt x="4727734" y="244316"/>
                  </a:cubicBezTo>
                  <a:cubicBezTo>
                    <a:pt x="4725829" y="242411"/>
                    <a:pt x="4722972" y="241459"/>
                    <a:pt x="4721066" y="240506"/>
                  </a:cubicBezTo>
                  <a:cubicBezTo>
                    <a:pt x="4719162" y="239554"/>
                    <a:pt x="4717256" y="238601"/>
                    <a:pt x="4716304" y="238601"/>
                  </a:cubicBezTo>
                  <a:cubicBezTo>
                    <a:pt x="4713447" y="237649"/>
                    <a:pt x="4712494" y="237649"/>
                    <a:pt x="4712494" y="237649"/>
                  </a:cubicBezTo>
                  <a:cubicBezTo>
                    <a:pt x="4712494" y="237649"/>
                    <a:pt x="4713447" y="238601"/>
                    <a:pt x="4716304" y="239554"/>
                  </a:cubicBezTo>
                  <a:cubicBezTo>
                    <a:pt x="4719162" y="240506"/>
                    <a:pt x="4722019" y="243364"/>
                    <a:pt x="4725829" y="246221"/>
                  </a:cubicBezTo>
                  <a:cubicBezTo>
                    <a:pt x="4729639" y="250031"/>
                    <a:pt x="4733449" y="254794"/>
                    <a:pt x="4736306" y="260509"/>
                  </a:cubicBezTo>
                  <a:cubicBezTo>
                    <a:pt x="4737259" y="262414"/>
                    <a:pt x="4738212" y="264319"/>
                    <a:pt x="4739164" y="266224"/>
                  </a:cubicBezTo>
                  <a:cubicBezTo>
                    <a:pt x="4736306" y="274796"/>
                    <a:pt x="4732497" y="284321"/>
                    <a:pt x="4729639" y="293846"/>
                  </a:cubicBezTo>
                  <a:cubicBezTo>
                    <a:pt x="4729639" y="294799"/>
                    <a:pt x="4729639" y="294799"/>
                    <a:pt x="4728687" y="295751"/>
                  </a:cubicBezTo>
                  <a:cubicBezTo>
                    <a:pt x="4728687" y="295751"/>
                    <a:pt x="4728687" y="295751"/>
                    <a:pt x="4728687" y="294799"/>
                  </a:cubicBezTo>
                  <a:cubicBezTo>
                    <a:pt x="4728687" y="291941"/>
                    <a:pt x="4728687" y="290989"/>
                    <a:pt x="4728687" y="290989"/>
                  </a:cubicBezTo>
                  <a:cubicBezTo>
                    <a:pt x="4728687" y="290989"/>
                    <a:pt x="4728687" y="291941"/>
                    <a:pt x="4727734" y="293846"/>
                  </a:cubicBezTo>
                  <a:cubicBezTo>
                    <a:pt x="4723924" y="285274"/>
                    <a:pt x="4720114" y="277654"/>
                    <a:pt x="4717256" y="270986"/>
                  </a:cubicBezTo>
                  <a:cubicBezTo>
                    <a:pt x="4716304" y="269081"/>
                    <a:pt x="4715351" y="267176"/>
                    <a:pt x="4714399" y="265271"/>
                  </a:cubicBezTo>
                  <a:cubicBezTo>
                    <a:pt x="4715351" y="257651"/>
                    <a:pt x="4716304" y="252889"/>
                    <a:pt x="4716304" y="252889"/>
                  </a:cubicBezTo>
                  <a:cubicBezTo>
                    <a:pt x="4716304" y="252889"/>
                    <a:pt x="4715351" y="256699"/>
                    <a:pt x="4713447" y="262414"/>
                  </a:cubicBezTo>
                  <a:cubicBezTo>
                    <a:pt x="4708684" y="252889"/>
                    <a:pt x="4706779" y="248126"/>
                    <a:pt x="4706779" y="248126"/>
                  </a:cubicBezTo>
                  <a:cubicBezTo>
                    <a:pt x="4706779" y="248126"/>
                    <a:pt x="4708684" y="254794"/>
                    <a:pt x="4712494" y="267176"/>
                  </a:cubicBezTo>
                  <a:cubicBezTo>
                    <a:pt x="4711541" y="270034"/>
                    <a:pt x="4710589" y="273844"/>
                    <a:pt x="4708684" y="277654"/>
                  </a:cubicBezTo>
                  <a:cubicBezTo>
                    <a:pt x="4700112" y="251936"/>
                    <a:pt x="4694397" y="236696"/>
                    <a:pt x="4694397" y="236696"/>
                  </a:cubicBezTo>
                  <a:cubicBezTo>
                    <a:pt x="4694397" y="236696"/>
                    <a:pt x="4697254" y="258604"/>
                    <a:pt x="4702969" y="293846"/>
                  </a:cubicBezTo>
                  <a:cubicBezTo>
                    <a:pt x="4700112" y="304324"/>
                    <a:pt x="4696301" y="317659"/>
                    <a:pt x="4691539" y="331946"/>
                  </a:cubicBezTo>
                  <a:cubicBezTo>
                    <a:pt x="4691539" y="330994"/>
                    <a:pt x="4690587" y="330041"/>
                    <a:pt x="4690587" y="329089"/>
                  </a:cubicBezTo>
                  <a:cubicBezTo>
                    <a:pt x="4685824" y="319564"/>
                    <a:pt x="4682966" y="313849"/>
                    <a:pt x="4682966" y="313849"/>
                  </a:cubicBezTo>
                  <a:cubicBezTo>
                    <a:pt x="4682966" y="313849"/>
                    <a:pt x="4683919" y="316706"/>
                    <a:pt x="4684872" y="322421"/>
                  </a:cubicBezTo>
                  <a:cubicBezTo>
                    <a:pt x="4684872" y="322421"/>
                    <a:pt x="4684872" y="322421"/>
                    <a:pt x="4684872" y="322421"/>
                  </a:cubicBezTo>
                  <a:cubicBezTo>
                    <a:pt x="4676299" y="310991"/>
                    <a:pt x="4671537" y="304324"/>
                    <a:pt x="4671537" y="304324"/>
                  </a:cubicBezTo>
                  <a:cubicBezTo>
                    <a:pt x="4671537" y="304324"/>
                    <a:pt x="4675347" y="311944"/>
                    <a:pt x="4682014" y="324326"/>
                  </a:cubicBezTo>
                  <a:cubicBezTo>
                    <a:pt x="4683919" y="328136"/>
                    <a:pt x="4686776" y="332899"/>
                    <a:pt x="4688681" y="337661"/>
                  </a:cubicBezTo>
                  <a:cubicBezTo>
                    <a:pt x="4688681" y="338614"/>
                    <a:pt x="4688681" y="339566"/>
                    <a:pt x="4689634" y="340519"/>
                  </a:cubicBezTo>
                  <a:cubicBezTo>
                    <a:pt x="4687729" y="349091"/>
                    <a:pt x="4684872" y="356711"/>
                    <a:pt x="4682966" y="366236"/>
                  </a:cubicBezTo>
                  <a:cubicBezTo>
                    <a:pt x="4681062" y="364331"/>
                    <a:pt x="4680109" y="361474"/>
                    <a:pt x="4678204" y="359569"/>
                  </a:cubicBezTo>
                  <a:cubicBezTo>
                    <a:pt x="4675347" y="355759"/>
                    <a:pt x="4671537" y="351949"/>
                    <a:pt x="4669631" y="349091"/>
                  </a:cubicBezTo>
                  <a:cubicBezTo>
                    <a:pt x="4669631" y="349091"/>
                    <a:pt x="4669631" y="349091"/>
                    <a:pt x="4668679" y="348139"/>
                  </a:cubicBezTo>
                  <a:cubicBezTo>
                    <a:pt x="4669631" y="341471"/>
                    <a:pt x="4669631" y="335756"/>
                    <a:pt x="4669631" y="330994"/>
                  </a:cubicBezTo>
                  <a:cubicBezTo>
                    <a:pt x="4670584" y="318611"/>
                    <a:pt x="4669631" y="310991"/>
                    <a:pt x="4669631" y="310991"/>
                  </a:cubicBezTo>
                  <a:cubicBezTo>
                    <a:pt x="4669631" y="310991"/>
                    <a:pt x="4669631" y="311944"/>
                    <a:pt x="4669631" y="313849"/>
                  </a:cubicBezTo>
                  <a:cubicBezTo>
                    <a:pt x="4669631" y="310039"/>
                    <a:pt x="4670584" y="305276"/>
                    <a:pt x="4670584" y="301466"/>
                  </a:cubicBezTo>
                  <a:cubicBezTo>
                    <a:pt x="4670584" y="296704"/>
                    <a:pt x="4670584" y="291941"/>
                    <a:pt x="4670584" y="287179"/>
                  </a:cubicBezTo>
                  <a:cubicBezTo>
                    <a:pt x="4672489" y="282416"/>
                    <a:pt x="4673441" y="278606"/>
                    <a:pt x="4675347" y="274796"/>
                  </a:cubicBezTo>
                  <a:cubicBezTo>
                    <a:pt x="4683919" y="259556"/>
                    <a:pt x="4689634" y="250984"/>
                    <a:pt x="4689634" y="250984"/>
                  </a:cubicBezTo>
                  <a:cubicBezTo>
                    <a:pt x="4689634" y="250984"/>
                    <a:pt x="4686776" y="254794"/>
                    <a:pt x="4681062" y="262414"/>
                  </a:cubicBezTo>
                  <a:cubicBezTo>
                    <a:pt x="4684872" y="252889"/>
                    <a:pt x="4686776" y="248126"/>
                    <a:pt x="4686776" y="248126"/>
                  </a:cubicBezTo>
                  <a:cubicBezTo>
                    <a:pt x="4686776" y="248126"/>
                    <a:pt x="4682966" y="254794"/>
                    <a:pt x="4675347" y="265271"/>
                  </a:cubicBezTo>
                  <a:cubicBezTo>
                    <a:pt x="4673441" y="267176"/>
                    <a:pt x="4672489" y="270034"/>
                    <a:pt x="4670584" y="272891"/>
                  </a:cubicBezTo>
                  <a:cubicBezTo>
                    <a:pt x="4670584" y="270986"/>
                    <a:pt x="4670584" y="270034"/>
                    <a:pt x="4670584" y="268129"/>
                  </a:cubicBezTo>
                  <a:cubicBezTo>
                    <a:pt x="4669631" y="261461"/>
                    <a:pt x="4669631" y="255746"/>
                    <a:pt x="4668679" y="250984"/>
                  </a:cubicBezTo>
                  <a:cubicBezTo>
                    <a:pt x="4668679" y="250031"/>
                    <a:pt x="4668679" y="248126"/>
                    <a:pt x="4669631" y="247174"/>
                  </a:cubicBezTo>
                  <a:cubicBezTo>
                    <a:pt x="4671537" y="230981"/>
                    <a:pt x="4671537" y="222409"/>
                    <a:pt x="4671537" y="222409"/>
                  </a:cubicBezTo>
                  <a:cubicBezTo>
                    <a:pt x="4671537" y="222409"/>
                    <a:pt x="4671537" y="224314"/>
                    <a:pt x="4670584" y="229076"/>
                  </a:cubicBezTo>
                  <a:cubicBezTo>
                    <a:pt x="4669631" y="231934"/>
                    <a:pt x="4668679" y="236696"/>
                    <a:pt x="4666774" y="242411"/>
                  </a:cubicBezTo>
                  <a:cubicBezTo>
                    <a:pt x="4666774" y="242411"/>
                    <a:pt x="4666774" y="242411"/>
                    <a:pt x="4666774" y="241459"/>
                  </a:cubicBezTo>
                  <a:cubicBezTo>
                    <a:pt x="4666774" y="241459"/>
                    <a:pt x="4666774" y="241459"/>
                    <a:pt x="4666774" y="241459"/>
                  </a:cubicBezTo>
                  <a:cubicBezTo>
                    <a:pt x="4666774" y="241459"/>
                    <a:pt x="4666774" y="241459"/>
                    <a:pt x="4666774" y="241459"/>
                  </a:cubicBezTo>
                  <a:cubicBezTo>
                    <a:pt x="4665822" y="235744"/>
                    <a:pt x="4663916" y="230981"/>
                    <a:pt x="4662012" y="228124"/>
                  </a:cubicBezTo>
                  <a:cubicBezTo>
                    <a:pt x="4661059" y="224314"/>
                    <a:pt x="4660106" y="222409"/>
                    <a:pt x="4660106" y="222409"/>
                  </a:cubicBezTo>
                  <a:cubicBezTo>
                    <a:pt x="4660106" y="222409"/>
                    <a:pt x="4660106" y="224314"/>
                    <a:pt x="4661059" y="228124"/>
                  </a:cubicBezTo>
                  <a:cubicBezTo>
                    <a:pt x="4662012" y="231934"/>
                    <a:pt x="4662964" y="237649"/>
                    <a:pt x="4662964" y="244316"/>
                  </a:cubicBezTo>
                  <a:cubicBezTo>
                    <a:pt x="4662964" y="245269"/>
                    <a:pt x="4662964" y="245269"/>
                    <a:pt x="4662964" y="246221"/>
                  </a:cubicBezTo>
                  <a:cubicBezTo>
                    <a:pt x="4662964" y="246221"/>
                    <a:pt x="4662964" y="246221"/>
                    <a:pt x="4662964" y="246221"/>
                  </a:cubicBezTo>
                  <a:cubicBezTo>
                    <a:pt x="4660106" y="250031"/>
                    <a:pt x="4657249" y="254794"/>
                    <a:pt x="4654391" y="262414"/>
                  </a:cubicBezTo>
                  <a:cubicBezTo>
                    <a:pt x="4653439" y="265271"/>
                    <a:pt x="4652487" y="268129"/>
                    <a:pt x="4650581" y="271939"/>
                  </a:cubicBezTo>
                  <a:cubicBezTo>
                    <a:pt x="4649629" y="267176"/>
                    <a:pt x="4647724" y="264319"/>
                    <a:pt x="4646772" y="261461"/>
                  </a:cubicBezTo>
                  <a:cubicBezTo>
                    <a:pt x="4646772" y="260509"/>
                    <a:pt x="4645819" y="259556"/>
                    <a:pt x="4645819" y="259556"/>
                  </a:cubicBezTo>
                  <a:cubicBezTo>
                    <a:pt x="4645819" y="257651"/>
                    <a:pt x="4646772" y="255746"/>
                    <a:pt x="4646772" y="253841"/>
                  </a:cubicBezTo>
                  <a:cubicBezTo>
                    <a:pt x="4648676" y="243364"/>
                    <a:pt x="4650581" y="234791"/>
                    <a:pt x="4653439" y="227171"/>
                  </a:cubicBezTo>
                  <a:cubicBezTo>
                    <a:pt x="4657249" y="212884"/>
                    <a:pt x="4660106" y="204311"/>
                    <a:pt x="4660106" y="204311"/>
                  </a:cubicBezTo>
                  <a:cubicBezTo>
                    <a:pt x="4660106" y="204311"/>
                    <a:pt x="4656297" y="211931"/>
                    <a:pt x="4650581" y="226219"/>
                  </a:cubicBezTo>
                  <a:cubicBezTo>
                    <a:pt x="4647724" y="232886"/>
                    <a:pt x="4643914" y="241459"/>
                    <a:pt x="4641056" y="251936"/>
                  </a:cubicBezTo>
                  <a:cubicBezTo>
                    <a:pt x="4639151" y="256699"/>
                    <a:pt x="4637247" y="261461"/>
                    <a:pt x="4636294" y="267176"/>
                  </a:cubicBezTo>
                  <a:cubicBezTo>
                    <a:pt x="4636294" y="264319"/>
                    <a:pt x="4636294" y="261461"/>
                    <a:pt x="4636294" y="259556"/>
                  </a:cubicBezTo>
                  <a:cubicBezTo>
                    <a:pt x="4636294" y="251936"/>
                    <a:pt x="4637247" y="246221"/>
                    <a:pt x="4638199" y="242411"/>
                  </a:cubicBezTo>
                  <a:cubicBezTo>
                    <a:pt x="4639151" y="238601"/>
                    <a:pt x="4639151" y="235744"/>
                    <a:pt x="4639151" y="235744"/>
                  </a:cubicBezTo>
                  <a:cubicBezTo>
                    <a:pt x="4639151" y="235744"/>
                    <a:pt x="4638199" y="237649"/>
                    <a:pt x="4637247" y="241459"/>
                  </a:cubicBezTo>
                  <a:cubicBezTo>
                    <a:pt x="4636294" y="245269"/>
                    <a:pt x="4633437" y="250984"/>
                    <a:pt x="4632484" y="258604"/>
                  </a:cubicBezTo>
                  <a:cubicBezTo>
                    <a:pt x="4632484" y="258604"/>
                    <a:pt x="4632484" y="258604"/>
                    <a:pt x="4632484" y="258604"/>
                  </a:cubicBezTo>
                  <a:cubicBezTo>
                    <a:pt x="4631531" y="255746"/>
                    <a:pt x="4631531" y="254794"/>
                    <a:pt x="4631531" y="254794"/>
                  </a:cubicBezTo>
                  <a:cubicBezTo>
                    <a:pt x="4631531" y="254794"/>
                    <a:pt x="4631531" y="256699"/>
                    <a:pt x="4632484" y="259556"/>
                  </a:cubicBezTo>
                  <a:cubicBezTo>
                    <a:pt x="4630579" y="267176"/>
                    <a:pt x="4629626" y="275749"/>
                    <a:pt x="4628674" y="285274"/>
                  </a:cubicBezTo>
                  <a:cubicBezTo>
                    <a:pt x="4628674" y="288131"/>
                    <a:pt x="4628674" y="290989"/>
                    <a:pt x="4628674" y="293846"/>
                  </a:cubicBezTo>
                  <a:cubicBezTo>
                    <a:pt x="4627722" y="296704"/>
                    <a:pt x="4626769" y="300514"/>
                    <a:pt x="4625816" y="303371"/>
                  </a:cubicBezTo>
                  <a:cubicBezTo>
                    <a:pt x="4619149" y="298609"/>
                    <a:pt x="4614387" y="295751"/>
                    <a:pt x="4610576" y="293846"/>
                  </a:cubicBezTo>
                  <a:cubicBezTo>
                    <a:pt x="4606766" y="291941"/>
                    <a:pt x="4604862" y="290989"/>
                    <a:pt x="4604862" y="290989"/>
                  </a:cubicBezTo>
                  <a:cubicBezTo>
                    <a:pt x="4604862" y="290989"/>
                    <a:pt x="4606766" y="291941"/>
                    <a:pt x="4610576" y="294799"/>
                  </a:cubicBezTo>
                  <a:cubicBezTo>
                    <a:pt x="4614387" y="296704"/>
                    <a:pt x="4619149" y="301466"/>
                    <a:pt x="4624864" y="307181"/>
                  </a:cubicBezTo>
                  <a:cubicBezTo>
                    <a:pt x="4624864" y="307181"/>
                    <a:pt x="4624864" y="307181"/>
                    <a:pt x="4625816" y="308134"/>
                  </a:cubicBezTo>
                  <a:cubicBezTo>
                    <a:pt x="4624864" y="313849"/>
                    <a:pt x="4622959" y="319564"/>
                    <a:pt x="4622006" y="325279"/>
                  </a:cubicBezTo>
                  <a:cubicBezTo>
                    <a:pt x="4621054" y="330994"/>
                    <a:pt x="4620101" y="337661"/>
                    <a:pt x="4619149" y="343376"/>
                  </a:cubicBezTo>
                  <a:cubicBezTo>
                    <a:pt x="4615339" y="330041"/>
                    <a:pt x="4611529" y="317659"/>
                    <a:pt x="4607719" y="306229"/>
                  </a:cubicBezTo>
                  <a:cubicBezTo>
                    <a:pt x="4605814" y="300514"/>
                    <a:pt x="4604862" y="295751"/>
                    <a:pt x="4602956" y="290989"/>
                  </a:cubicBezTo>
                  <a:cubicBezTo>
                    <a:pt x="4602004" y="282416"/>
                    <a:pt x="4601051" y="274796"/>
                    <a:pt x="4601051" y="269081"/>
                  </a:cubicBezTo>
                  <a:cubicBezTo>
                    <a:pt x="4599147" y="255746"/>
                    <a:pt x="4599147" y="248126"/>
                    <a:pt x="4599147" y="248126"/>
                  </a:cubicBezTo>
                  <a:cubicBezTo>
                    <a:pt x="4599147" y="248126"/>
                    <a:pt x="4598194" y="255746"/>
                    <a:pt x="4597241" y="269081"/>
                  </a:cubicBezTo>
                  <a:cubicBezTo>
                    <a:pt x="4597241" y="270034"/>
                    <a:pt x="4597241" y="270986"/>
                    <a:pt x="4597241" y="271939"/>
                  </a:cubicBezTo>
                  <a:cubicBezTo>
                    <a:pt x="4594384" y="263366"/>
                    <a:pt x="4591526" y="255746"/>
                    <a:pt x="4589622" y="250031"/>
                  </a:cubicBezTo>
                  <a:cubicBezTo>
                    <a:pt x="4589622" y="247174"/>
                    <a:pt x="4589622" y="244316"/>
                    <a:pt x="4589622" y="240506"/>
                  </a:cubicBezTo>
                  <a:cubicBezTo>
                    <a:pt x="4590574" y="225266"/>
                    <a:pt x="4590574" y="210979"/>
                    <a:pt x="4590574" y="197644"/>
                  </a:cubicBezTo>
                  <a:cubicBezTo>
                    <a:pt x="4591526" y="144304"/>
                    <a:pt x="4590574" y="109061"/>
                    <a:pt x="4590574" y="109061"/>
                  </a:cubicBezTo>
                  <a:cubicBezTo>
                    <a:pt x="4590574" y="109061"/>
                    <a:pt x="4584859" y="144304"/>
                    <a:pt x="4579144" y="197644"/>
                  </a:cubicBezTo>
                  <a:cubicBezTo>
                    <a:pt x="4578191" y="210979"/>
                    <a:pt x="4576287" y="225266"/>
                    <a:pt x="4574381" y="240506"/>
                  </a:cubicBezTo>
                  <a:cubicBezTo>
                    <a:pt x="4573429" y="245269"/>
                    <a:pt x="4573429" y="250984"/>
                    <a:pt x="4573429" y="256699"/>
                  </a:cubicBezTo>
                  <a:cubicBezTo>
                    <a:pt x="4573429" y="256699"/>
                    <a:pt x="4572476" y="257651"/>
                    <a:pt x="4572476" y="257651"/>
                  </a:cubicBezTo>
                  <a:cubicBezTo>
                    <a:pt x="4569619" y="259556"/>
                    <a:pt x="4566762" y="262414"/>
                    <a:pt x="4563904" y="265271"/>
                  </a:cubicBezTo>
                  <a:cubicBezTo>
                    <a:pt x="4563904" y="265271"/>
                    <a:pt x="4563904" y="264319"/>
                    <a:pt x="4563904" y="264319"/>
                  </a:cubicBezTo>
                  <a:cubicBezTo>
                    <a:pt x="4561999" y="261461"/>
                    <a:pt x="4560094" y="258604"/>
                    <a:pt x="4559141" y="255746"/>
                  </a:cubicBezTo>
                  <a:cubicBezTo>
                    <a:pt x="4559141" y="253841"/>
                    <a:pt x="4560094" y="250984"/>
                    <a:pt x="4560094" y="249079"/>
                  </a:cubicBezTo>
                  <a:cubicBezTo>
                    <a:pt x="4570572" y="195739"/>
                    <a:pt x="4576287" y="159544"/>
                    <a:pt x="4576287" y="159544"/>
                  </a:cubicBezTo>
                  <a:cubicBezTo>
                    <a:pt x="4576287" y="159544"/>
                    <a:pt x="4564856" y="192881"/>
                    <a:pt x="4550569" y="243364"/>
                  </a:cubicBezTo>
                  <a:cubicBezTo>
                    <a:pt x="4550569" y="243364"/>
                    <a:pt x="4550569" y="243364"/>
                    <a:pt x="4550569" y="243364"/>
                  </a:cubicBezTo>
                  <a:cubicBezTo>
                    <a:pt x="4550569" y="243364"/>
                    <a:pt x="4550569" y="243364"/>
                    <a:pt x="4550569" y="243364"/>
                  </a:cubicBezTo>
                  <a:cubicBezTo>
                    <a:pt x="4550569" y="244316"/>
                    <a:pt x="4549616" y="245269"/>
                    <a:pt x="4549616" y="246221"/>
                  </a:cubicBezTo>
                  <a:cubicBezTo>
                    <a:pt x="4549616" y="247174"/>
                    <a:pt x="4549616" y="248126"/>
                    <a:pt x="4548664" y="248126"/>
                  </a:cubicBezTo>
                  <a:cubicBezTo>
                    <a:pt x="4548664" y="248126"/>
                    <a:pt x="4548664" y="248126"/>
                    <a:pt x="4548664" y="248126"/>
                  </a:cubicBezTo>
                  <a:cubicBezTo>
                    <a:pt x="4548664" y="248126"/>
                    <a:pt x="4548664" y="248126"/>
                    <a:pt x="4548664" y="248126"/>
                  </a:cubicBezTo>
                  <a:cubicBezTo>
                    <a:pt x="4544854" y="261461"/>
                    <a:pt x="4540091" y="276701"/>
                    <a:pt x="4536281" y="292894"/>
                  </a:cubicBezTo>
                  <a:cubicBezTo>
                    <a:pt x="4534376" y="261461"/>
                    <a:pt x="4531519" y="241459"/>
                    <a:pt x="4531519" y="241459"/>
                  </a:cubicBezTo>
                  <a:cubicBezTo>
                    <a:pt x="4531519" y="241459"/>
                    <a:pt x="4527709" y="266224"/>
                    <a:pt x="4525804" y="303371"/>
                  </a:cubicBezTo>
                  <a:cubicBezTo>
                    <a:pt x="4525804" y="305276"/>
                    <a:pt x="4525804" y="307181"/>
                    <a:pt x="4525804" y="309086"/>
                  </a:cubicBezTo>
                  <a:cubicBezTo>
                    <a:pt x="4524851" y="308134"/>
                    <a:pt x="4524851" y="308134"/>
                    <a:pt x="4524851" y="308134"/>
                  </a:cubicBezTo>
                  <a:cubicBezTo>
                    <a:pt x="4524851" y="308134"/>
                    <a:pt x="4524851" y="309086"/>
                    <a:pt x="4525804" y="310039"/>
                  </a:cubicBezTo>
                  <a:cubicBezTo>
                    <a:pt x="4524851" y="317659"/>
                    <a:pt x="4524851" y="325279"/>
                    <a:pt x="4523899" y="333851"/>
                  </a:cubicBezTo>
                  <a:cubicBezTo>
                    <a:pt x="4523899" y="334804"/>
                    <a:pt x="4523899" y="336709"/>
                    <a:pt x="4523899" y="337661"/>
                  </a:cubicBezTo>
                  <a:cubicBezTo>
                    <a:pt x="4523899" y="338614"/>
                    <a:pt x="4523899" y="338614"/>
                    <a:pt x="4522947" y="339566"/>
                  </a:cubicBezTo>
                  <a:cubicBezTo>
                    <a:pt x="4521041" y="333851"/>
                    <a:pt x="4519137" y="328136"/>
                    <a:pt x="4517231" y="322421"/>
                  </a:cubicBezTo>
                  <a:cubicBezTo>
                    <a:pt x="4516279" y="314801"/>
                    <a:pt x="4515326" y="307181"/>
                    <a:pt x="4514374" y="301466"/>
                  </a:cubicBezTo>
                  <a:cubicBezTo>
                    <a:pt x="4515326" y="299561"/>
                    <a:pt x="4516279" y="298609"/>
                    <a:pt x="4517231" y="297656"/>
                  </a:cubicBezTo>
                  <a:cubicBezTo>
                    <a:pt x="4520089" y="293846"/>
                    <a:pt x="4521041" y="291941"/>
                    <a:pt x="4521041" y="291941"/>
                  </a:cubicBezTo>
                  <a:cubicBezTo>
                    <a:pt x="4521041" y="291941"/>
                    <a:pt x="4519137" y="293846"/>
                    <a:pt x="4516279" y="297656"/>
                  </a:cubicBezTo>
                  <a:cubicBezTo>
                    <a:pt x="4515326" y="298609"/>
                    <a:pt x="4515326" y="299561"/>
                    <a:pt x="4514374" y="300514"/>
                  </a:cubicBezTo>
                  <a:cubicBezTo>
                    <a:pt x="4514374" y="299561"/>
                    <a:pt x="4514374" y="299561"/>
                    <a:pt x="4514374" y="298609"/>
                  </a:cubicBezTo>
                  <a:cubicBezTo>
                    <a:pt x="4515326" y="296704"/>
                    <a:pt x="4516279" y="294799"/>
                    <a:pt x="4517231" y="293846"/>
                  </a:cubicBezTo>
                  <a:cubicBezTo>
                    <a:pt x="4519137" y="290036"/>
                    <a:pt x="4520089" y="288131"/>
                    <a:pt x="4520089" y="288131"/>
                  </a:cubicBezTo>
                  <a:cubicBezTo>
                    <a:pt x="4520089" y="288131"/>
                    <a:pt x="4519137" y="290036"/>
                    <a:pt x="4516279" y="292894"/>
                  </a:cubicBezTo>
                  <a:cubicBezTo>
                    <a:pt x="4515326" y="293846"/>
                    <a:pt x="4515326" y="294799"/>
                    <a:pt x="4514374" y="295751"/>
                  </a:cubicBezTo>
                  <a:cubicBezTo>
                    <a:pt x="4513422" y="290036"/>
                    <a:pt x="4512469" y="285274"/>
                    <a:pt x="4512469" y="281464"/>
                  </a:cubicBezTo>
                  <a:cubicBezTo>
                    <a:pt x="4511516" y="272891"/>
                    <a:pt x="4511516" y="268129"/>
                    <a:pt x="4511516" y="268129"/>
                  </a:cubicBezTo>
                  <a:cubicBezTo>
                    <a:pt x="4511516" y="268129"/>
                    <a:pt x="4511516" y="270034"/>
                    <a:pt x="4510564" y="272891"/>
                  </a:cubicBezTo>
                  <a:cubicBezTo>
                    <a:pt x="4508659" y="259556"/>
                    <a:pt x="4506754" y="250984"/>
                    <a:pt x="4506754" y="250984"/>
                  </a:cubicBezTo>
                  <a:cubicBezTo>
                    <a:pt x="4506754" y="250984"/>
                    <a:pt x="4506754" y="267176"/>
                    <a:pt x="4506754" y="292894"/>
                  </a:cubicBezTo>
                  <a:cubicBezTo>
                    <a:pt x="4504849" y="289084"/>
                    <a:pt x="4502944" y="285274"/>
                    <a:pt x="4501991" y="282416"/>
                  </a:cubicBezTo>
                  <a:cubicBezTo>
                    <a:pt x="4499134" y="276701"/>
                    <a:pt x="4496276" y="271939"/>
                    <a:pt x="4494372" y="267176"/>
                  </a:cubicBezTo>
                  <a:cubicBezTo>
                    <a:pt x="4491514" y="262414"/>
                    <a:pt x="4489609" y="258604"/>
                    <a:pt x="4486751" y="254794"/>
                  </a:cubicBezTo>
                  <a:cubicBezTo>
                    <a:pt x="4483894" y="250984"/>
                    <a:pt x="4481989" y="248126"/>
                    <a:pt x="4480084" y="245269"/>
                  </a:cubicBezTo>
                  <a:cubicBezTo>
                    <a:pt x="4478179" y="242411"/>
                    <a:pt x="4476274" y="240506"/>
                    <a:pt x="4474369" y="238601"/>
                  </a:cubicBezTo>
                  <a:cubicBezTo>
                    <a:pt x="4471512" y="235744"/>
                    <a:pt x="4470559" y="233839"/>
                    <a:pt x="4469606" y="233839"/>
                  </a:cubicBezTo>
                  <a:cubicBezTo>
                    <a:pt x="4470559" y="230981"/>
                    <a:pt x="4471512" y="228124"/>
                    <a:pt x="4471512" y="225266"/>
                  </a:cubicBezTo>
                  <a:cubicBezTo>
                    <a:pt x="4474369" y="214789"/>
                    <a:pt x="4476274" y="206216"/>
                    <a:pt x="4477226" y="198596"/>
                  </a:cubicBezTo>
                  <a:cubicBezTo>
                    <a:pt x="4480084" y="184309"/>
                    <a:pt x="4481037" y="175736"/>
                    <a:pt x="4481037" y="175736"/>
                  </a:cubicBezTo>
                  <a:cubicBezTo>
                    <a:pt x="4481037" y="175736"/>
                    <a:pt x="4478179" y="183356"/>
                    <a:pt x="4473416" y="197644"/>
                  </a:cubicBezTo>
                  <a:cubicBezTo>
                    <a:pt x="4471512" y="204311"/>
                    <a:pt x="4467701" y="212884"/>
                    <a:pt x="4463891" y="222409"/>
                  </a:cubicBezTo>
                  <a:cubicBezTo>
                    <a:pt x="4461034" y="229076"/>
                    <a:pt x="4458176" y="236696"/>
                    <a:pt x="4455319" y="244316"/>
                  </a:cubicBezTo>
                  <a:cubicBezTo>
                    <a:pt x="4454366" y="240506"/>
                    <a:pt x="4453414" y="237649"/>
                    <a:pt x="4453414" y="237649"/>
                  </a:cubicBezTo>
                  <a:cubicBezTo>
                    <a:pt x="4453414" y="237649"/>
                    <a:pt x="4453414" y="240506"/>
                    <a:pt x="4454366" y="247174"/>
                  </a:cubicBezTo>
                  <a:cubicBezTo>
                    <a:pt x="4453414" y="249079"/>
                    <a:pt x="4452462" y="251936"/>
                    <a:pt x="4451509" y="253841"/>
                  </a:cubicBezTo>
                  <a:cubicBezTo>
                    <a:pt x="4446747" y="265271"/>
                    <a:pt x="4441984" y="276701"/>
                    <a:pt x="4436269" y="289084"/>
                  </a:cubicBezTo>
                  <a:cubicBezTo>
                    <a:pt x="4436269" y="288131"/>
                    <a:pt x="4435316" y="288131"/>
                    <a:pt x="4435316" y="287179"/>
                  </a:cubicBezTo>
                  <a:cubicBezTo>
                    <a:pt x="4436269" y="283369"/>
                    <a:pt x="4437222" y="278606"/>
                    <a:pt x="4438174" y="274796"/>
                  </a:cubicBezTo>
                  <a:cubicBezTo>
                    <a:pt x="4440079" y="265271"/>
                    <a:pt x="4441984" y="255746"/>
                    <a:pt x="4444841" y="247174"/>
                  </a:cubicBezTo>
                  <a:cubicBezTo>
                    <a:pt x="4449604" y="229076"/>
                    <a:pt x="4452462" y="211931"/>
                    <a:pt x="4454366" y="195739"/>
                  </a:cubicBezTo>
                  <a:cubicBezTo>
                    <a:pt x="4457224" y="179546"/>
                    <a:pt x="4459129" y="165259"/>
                    <a:pt x="4460081" y="151924"/>
                  </a:cubicBezTo>
                  <a:cubicBezTo>
                    <a:pt x="4461034" y="145256"/>
                    <a:pt x="4461987" y="139541"/>
                    <a:pt x="4461987" y="133826"/>
                  </a:cubicBezTo>
                  <a:cubicBezTo>
                    <a:pt x="4461987" y="128111"/>
                    <a:pt x="4462939" y="123349"/>
                    <a:pt x="4462939" y="118586"/>
                  </a:cubicBezTo>
                  <a:cubicBezTo>
                    <a:pt x="4463891" y="99536"/>
                    <a:pt x="4463891" y="89059"/>
                    <a:pt x="4463891" y="89059"/>
                  </a:cubicBezTo>
                  <a:cubicBezTo>
                    <a:pt x="4463891" y="89059"/>
                    <a:pt x="4461987" y="99536"/>
                    <a:pt x="4458176" y="118586"/>
                  </a:cubicBezTo>
                  <a:cubicBezTo>
                    <a:pt x="4457224" y="123349"/>
                    <a:pt x="4456272" y="128111"/>
                    <a:pt x="4455319" y="133826"/>
                  </a:cubicBezTo>
                  <a:cubicBezTo>
                    <a:pt x="4454366" y="139541"/>
                    <a:pt x="4452462" y="145256"/>
                    <a:pt x="4451509" y="151924"/>
                  </a:cubicBezTo>
                  <a:cubicBezTo>
                    <a:pt x="4448651" y="164306"/>
                    <a:pt x="4445794" y="178594"/>
                    <a:pt x="4441984" y="194786"/>
                  </a:cubicBezTo>
                  <a:cubicBezTo>
                    <a:pt x="4438174" y="210026"/>
                    <a:pt x="4434364" y="227171"/>
                    <a:pt x="4428649" y="245269"/>
                  </a:cubicBezTo>
                  <a:cubicBezTo>
                    <a:pt x="4426744" y="252889"/>
                    <a:pt x="4423887" y="261461"/>
                    <a:pt x="4421981" y="269081"/>
                  </a:cubicBezTo>
                  <a:cubicBezTo>
                    <a:pt x="4419124" y="265271"/>
                    <a:pt x="4417219" y="261461"/>
                    <a:pt x="4414362" y="258604"/>
                  </a:cubicBezTo>
                  <a:cubicBezTo>
                    <a:pt x="4406741" y="247174"/>
                    <a:pt x="4400074" y="237649"/>
                    <a:pt x="4394359" y="230029"/>
                  </a:cubicBezTo>
                  <a:cubicBezTo>
                    <a:pt x="4391501" y="227171"/>
                    <a:pt x="4389597" y="224314"/>
                    <a:pt x="4387691" y="221456"/>
                  </a:cubicBezTo>
                  <a:cubicBezTo>
                    <a:pt x="4392454" y="195739"/>
                    <a:pt x="4395312" y="180499"/>
                    <a:pt x="4395312" y="180499"/>
                  </a:cubicBezTo>
                  <a:cubicBezTo>
                    <a:pt x="4395312" y="180499"/>
                    <a:pt x="4390549" y="193834"/>
                    <a:pt x="4382929" y="215741"/>
                  </a:cubicBezTo>
                  <a:cubicBezTo>
                    <a:pt x="4378166" y="209074"/>
                    <a:pt x="4375309" y="206216"/>
                    <a:pt x="4375309" y="206216"/>
                  </a:cubicBezTo>
                  <a:cubicBezTo>
                    <a:pt x="4375309" y="206216"/>
                    <a:pt x="4378166" y="210979"/>
                    <a:pt x="4381976" y="218599"/>
                  </a:cubicBezTo>
                  <a:cubicBezTo>
                    <a:pt x="4378166" y="230029"/>
                    <a:pt x="4374356" y="244316"/>
                    <a:pt x="4369594" y="259556"/>
                  </a:cubicBezTo>
                  <a:cubicBezTo>
                    <a:pt x="4368641" y="248126"/>
                    <a:pt x="4368641" y="241459"/>
                    <a:pt x="4368641" y="241459"/>
                  </a:cubicBezTo>
                  <a:cubicBezTo>
                    <a:pt x="4368641" y="241459"/>
                    <a:pt x="4367689" y="249079"/>
                    <a:pt x="4366737" y="263366"/>
                  </a:cubicBezTo>
                  <a:cubicBezTo>
                    <a:pt x="4366737" y="267176"/>
                    <a:pt x="4365784" y="270986"/>
                    <a:pt x="4365784" y="274796"/>
                  </a:cubicBezTo>
                  <a:cubicBezTo>
                    <a:pt x="4364831" y="277654"/>
                    <a:pt x="4363879" y="281464"/>
                    <a:pt x="4362926" y="285274"/>
                  </a:cubicBezTo>
                  <a:cubicBezTo>
                    <a:pt x="4362926" y="284321"/>
                    <a:pt x="4362926" y="283369"/>
                    <a:pt x="4362926" y="282416"/>
                  </a:cubicBezTo>
                  <a:cubicBezTo>
                    <a:pt x="4361974" y="269081"/>
                    <a:pt x="4361022" y="261461"/>
                    <a:pt x="4361022" y="261461"/>
                  </a:cubicBezTo>
                  <a:cubicBezTo>
                    <a:pt x="4361022" y="261461"/>
                    <a:pt x="4360069" y="269081"/>
                    <a:pt x="4359116" y="283369"/>
                  </a:cubicBezTo>
                  <a:cubicBezTo>
                    <a:pt x="4359116" y="285274"/>
                    <a:pt x="4359116" y="288131"/>
                    <a:pt x="4359116" y="290989"/>
                  </a:cubicBezTo>
                  <a:cubicBezTo>
                    <a:pt x="4358164" y="291941"/>
                    <a:pt x="4358164" y="293846"/>
                    <a:pt x="4357212" y="295751"/>
                  </a:cubicBezTo>
                  <a:cubicBezTo>
                    <a:pt x="4355306" y="291941"/>
                    <a:pt x="4353401" y="288131"/>
                    <a:pt x="4351497" y="284321"/>
                  </a:cubicBezTo>
                  <a:cubicBezTo>
                    <a:pt x="4351497" y="274796"/>
                    <a:pt x="4351497" y="266224"/>
                    <a:pt x="4351497" y="257651"/>
                  </a:cubicBezTo>
                  <a:cubicBezTo>
                    <a:pt x="4351497" y="250984"/>
                    <a:pt x="4351497" y="245269"/>
                    <a:pt x="4351497" y="238601"/>
                  </a:cubicBezTo>
                  <a:cubicBezTo>
                    <a:pt x="4351497" y="232886"/>
                    <a:pt x="4350544" y="227171"/>
                    <a:pt x="4349591" y="221456"/>
                  </a:cubicBezTo>
                  <a:cubicBezTo>
                    <a:pt x="4348639" y="210979"/>
                    <a:pt x="4346734" y="201454"/>
                    <a:pt x="4345781" y="194786"/>
                  </a:cubicBezTo>
                  <a:cubicBezTo>
                    <a:pt x="4343876" y="179546"/>
                    <a:pt x="4342924" y="170974"/>
                    <a:pt x="4342924" y="170974"/>
                  </a:cubicBezTo>
                  <a:cubicBezTo>
                    <a:pt x="4342924" y="170974"/>
                    <a:pt x="4342924" y="179546"/>
                    <a:pt x="4341972" y="194786"/>
                  </a:cubicBezTo>
                  <a:cubicBezTo>
                    <a:pt x="4341972" y="201454"/>
                    <a:pt x="4341972" y="209074"/>
                    <a:pt x="4341972" y="217646"/>
                  </a:cubicBezTo>
                  <a:cubicBezTo>
                    <a:pt x="4341019" y="210026"/>
                    <a:pt x="4340066" y="205264"/>
                    <a:pt x="4340066" y="205264"/>
                  </a:cubicBezTo>
                  <a:cubicBezTo>
                    <a:pt x="4340066" y="205264"/>
                    <a:pt x="4340066" y="212884"/>
                    <a:pt x="4339114" y="226219"/>
                  </a:cubicBezTo>
                  <a:cubicBezTo>
                    <a:pt x="4339114" y="232886"/>
                    <a:pt x="4339114" y="240506"/>
                    <a:pt x="4338162" y="250031"/>
                  </a:cubicBezTo>
                  <a:cubicBezTo>
                    <a:pt x="4338162" y="250984"/>
                    <a:pt x="4338162" y="251936"/>
                    <a:pt x="4338162" y="252889"/>
                  </a:cubicBezTo>
                  <a:cubicBezTo>
                    <a:pt x="4338162" y="251936"/>
                    <a:pt x="4337209" y="250984"/>
                    <a:pt x="4337209" y="250984"/>
                  </a:cubicBezTo>
                  <a:cubicBezTo>
                    <a:pt x="4330541" y="231934"/>
                    <a:pt x="4324826" y="213836"/>
                    <a:pt x="4318159" y="196691"/>
                  </a:cubicBezTo>
                  <a:cubicBezTo>
                    <a:pt x="4306729" y="163354"/>
                    <a:pt x="4296251" y="135731"/>
                    <a:pt x="4289584" y="116681"/>
                  </a:cubicBezTo>
                  <a:cubicBezTo>
                    <a:pt x="4282916" y="97631"/>
                    <a:pt x="4278154" y="86201"/>
                    <a:pt x="4278154" y="86201"/>
                  </a:cubicBezTo>
                  <a:cubicBezTo>
                    <a:pt x="4278154" y="86201"/>
                    <a:pt x="4281012" y="97631"/>
                    <a:pt x="4285774" y="117634"/>
                  </a:cubicBezTo>
                  <a:cubicBezTo>
                    <a:pt x="4291489" y="137636"/>
                    <a:pt x="4298156" y="166211"/>
                    <a:pt x="4307681" y="199549"/>
                  </a:cubicBezTo>
                  <a:cubicBezTo>
                    <a:pt x="4315301" y="228124"/>
                    <a:pt x="4324826" y="261461"/>
                    <a:pt x="4334351" y="295751"/>
                  </a:cubicBezTo>
                  <a:cubicBezTo>
                    <a:pt x="4334351" y="295751"/>
                    <a:pt x="4334351" y="296704"/>
                    <a:pt x="4334351" y="296704"/>
                  </a:cubicBezTo>
                  <a:cubicBezTo>
                    <a:pt x="4334351" y="295751"/>
                    <a:pt x="4334351" y="294799"/>
                    <a:pt x="4334351" y="294799"/>
                  </a:cubicBezTo>
                  <a:cubicBezTo>
                    <a:pt x="4334351" y="294799"/>
                    <a:pt x="4334351" y="296704"/>
                    <a:pt x="4334351" y="301466"/>
                  </a:cubicBezTo>
                  <a:cubicBezTo>
                    <a:pt x="4334351" y="306229"/>
                    <a:pt x="4333399" y="310991"/>
                    <a:pt x="4333399" y="315754"/>
                  </a:cubicBezTo>
                  <a:cubicBezTo>
                    <a:pt x="4332447" y="325279"/>
                    <a:pt x="4331494" y="334804"/>
                    <a:pt x="4329589" y="344329"/>
                  </a:cubicBezTo>
                  <a:cubicBezTo>
                    <a:pt x="4329589" y="344329"/>
                    <a:pt x="4328637" y="343376"/>
                    <a:pt x="4328637" y="343376"/>
                  </a:cubicBezTo>
                  <a:cubicBezTo>
                    <a:pt x="4327684" y="342424"/>
                    <a:pt x="4327684" y="341471"/>
                    <a:pt x="4326731" y="340519"/>
                  </a:cubicBezTo>
                  <a:cubicBezTo>
                    <a:pt x="4326731" y="338614"/>
                    <a:pt x="4325779" y="335756"/>
                    <a:pt x="4325779" y="333851"/>
                  </a:cubicBezTo>
                  <a:cubicBezTo>
                    <a:pt x="4321969" y="309086"/>
                    <a:pt x="4318159" y="286226"/>
                    <a:pt x="4315301" y="267176"/>
                  </a:cubicBezTo>
                  <a:cubicBezTo>
                    <a:pt x="4308634" y="228124"/>
                    <a:pt x="4301966" y="202406"/>
                    <a:pt x="4301966" y="202406"/>
                  </a:cubicBezTo>
                  <a:cubicBezTo>
                    <a:pt x="4301966" y="202406"/>
                    <a:pt x="4301966" y="229076"/>
                    <a:pt x="4303872" y="268129"/>
                  </a:cubicBezTo>
                  <a:cubicBezTo>
                    <a:pt x="4303872" y="270034"/>
                    <a:pt x="4303872" y="271939"/>
                    <a:pt x="4303872" y="274796"/>
                  </a:cubicBezTo>
                  <a:cubicBezTo>
                    <a:pt x="4302919" y="279559"/>
                    <a:pt x="4302919" y="284321"/>
                    <a:pt x="4301966" y="290036"/>
                  </a:cubicBezTo>
                  <a:cubicBezTo>
                    <a:pt x="4301966" y="292894"/>
                    <a:pt x="4301014" y="296704"/>
                    <a:pt x="4300062" y="300514"/>
                  </a:cubicBezTo>
                  <a:cubicBezTo>
                    <a:pt x="4296251" y="295751"/>
                    <a:pt x="4292441" y="290989"/>
                    <a:pt x="4288631" y="286226"/>
                  </a:cubicBezTo>
                  <a:cubicBezTo>
                    <a:pt x="4292441" y="292894"/>
                    <a:pt x="4295299" y="298609"/>
                    <a:pt x="4299109" y="305276"/>
                  </a:cubicBezTo>
                  <a:cubicBezTo>
                    <a:pt x="4298156" y="310991"/>
                    <a:pt x="4297204" y="316706"/>
                    <a:pt x="4296251" y="323374"/>
                  </a:cubicBezTo>
                  <a:cubicBezTo>
                    <a:pt x="4295299" y="330041"/>
                    <a:pt x="4293394" y="337661"/>
                    <a:pt x="4292441" y="346234"/>
                  </a:cubicBezTo>
                  <a:cubicBezTo>
                    <a:pt x="4291489" y="345281"/>
                    <a:pt x="4291489" y="344329"/>
                    <a:pt x="4290537" y="343376"/>
                  </a:cubicBezTo>
                  <a:cubicBezTo>
                    <a:pt x="4289584" y="330994"/>
                    <a:pt x="4289584" y="319564"/>
                    <a:pt x="4288631" y="308134"/>
                  </a:cubicBezTo>
                  <a:cubicBezTo>
                    <a:pt x="4285774" y="262414"/>
                    <a:pt x="4281964" y="231934"/>
                    <a:pt x="4281964" y="231934"/>
                  </a:cubicBezTo>
                  <a:cubicBezTo>
                    <a:pt x="4281964" y="231934"/>
                    <a:pt x="4279106" y="262414"/>
                    <a:pt x="4277201" y="309086"/>
                  </a:cubicBezTo>
                  <a:cubicBezTo>
                    <a:pt x="4277201" y="311944"/>
                    <a:pt x="4277201" y="315754"/>
                    <a:pt x="4277201" y="318611"/>
                  </a:cubicBezTo>
                  <a:cubicBezTo>
                    <a:pt x="4276249" y="315754"/>
                    <a:pt x="4274344" y="312896"/>
                    <a:pt x="4273391" y="310039"/>
                  </a:cubicBezTo>
                  <a:cubicBezTo>
                    <a:pt x="4273391" y="308134"/>
                    <a:pt x="4272439" y="305276"/>
                    <a:pt x="4272439" y="303371"/>
                  </a:cubicBezTo>
                  <a:cubicBezTo>
                    <a:pt x="4271487" y="292894"/>
                    <a:pt x="4271487" y="283369"/>
                    <a:pt x="4270534" y="273844"/>
                  </a:cubicBezTo>
                  <a:cubicBezTo>
                    <a:pt x="4270534" y="269081"/>
                    <a:pt x="4269581" y="265271"/>
                    <a:pt x="4269581" y="260509"/>
                  </a:cubicBezTo>
                  <a:cubicBezTo>
                    <a:pt x="4269581" y="258604"/>
                    <a:pt x="4269581" y="257651"/>
                    <a:pt x="4269581" y="255746"/>
                  </a:cubicBezTo>
                  <a:cubicBezTo>
                    <a:pt x="4269581" y="248126"/>
                    <a:pt x="4270534" y="241459"/>
                    <a:pt x="4270534" y="234791"/>
                  </a:cubicBezTo>
                  <a:cubicBezTo>
                    <a:pt x="4273391" y="187166"/>
                    <a:pt x="4273391" y="155734"/>
                    <a:pt x="4273391" y="155734"/>
                  </a:cubicBezTo>
                  <a:cubicBezTo>
                    <a:pt x="4273391" y="155734"/>
                    <a:pt x="4265772" y="187166"/>
                    <a:pt x="4259104" y="233839"/>
                  </a:cubicBezTo>
                  <a:cubicBezTo>
                    <a:pt x="4257199" y="245269"/>
                    <a:pt x="4255294" y="258604"/>
                    <a:pt x="4253389" y="271939"/>
                  </a:cubicBezTo>
                  <a:cubicBezTo>
                    <a:pt x="4253389" y="270986"/>
                    <a:pt x="4252437" y="270986"/>
                    <a:pt x="4252437" y="270034"/>
                  </a:cubicBezTo>
                  <a:cubicBezTo>
                    <a:pt x="4252437" y="267176"/>
                    <a:pt x="4253389" y="264319"/>
                    <a:pt x="4253389" y="262414"/>
                  </a:cubicBezTo>
                  <a:cubicBezTo>
                    <a:pt x="4255294" y="248126"/>
                    <a:pt x="4255294" y="240506"/>
                    <a:pt x="4255294" y="240506"/>
                  </a:cubicBezTo>
                  <a:cubicBezTo>
                    <a:pt x="4255294" y="240506"/>
                    <a:pt x="4253389" y="248126"/>
                    <a:pt x="4249579" y="262414"/>
                  </a:cubicBezTo>
                  <a:cubicBezTo>
                    <a:pt x="4249579" y="263366"/>
                    <a:pt x="4249579" y="264319"/>
                    <a:pt x="4248626" y="264319"/>
                  </a:cubicBezTo>
                  <a:cubicBezTo>
                    <a:pt x="4247674" y="263366"/>
                    <a:pt x="4247674" y="262414"/>
                    <a:pt x="4246722" y="261461"/>
                  </a:cubicBezTo>
                  <a:cubicBezTo>
                    <a:pt x="4245769" y="260509"/>
                    <a:pt x="4244816" y="259556"/>
                    <a:pt x="4244816" y="257651"/>
                  </a:cubicBezTo>
                  <a:cubicBezTo>
                    <a:pt x="4244816" y="253841"/>
                    <a:pt x="4244816" y="251936"/>
                    <a:pt x="4244816" y="251936"/>
                  </a:cubicBezTo>
                  <a:cubicBezTo>
                    <a:pt x="4244816" y="251936"/>
                    <a:pt x="4244816" y="253841"/>
                    <a:pt x="4243864" y="256699"/>
                  </a:cubicBezTo>
                  <a:cubicBezTo>
                    <a:pt x="4242912" y="254794"/>
                    <a:pt x="4241959" y="252889"/>
                    <a:pt x="4240054" y="251936"/>
                  </a:cubicBezTo>
                  <a:cubicBezTo>
                    <a:pt x="4236244" y="246221"/>
                    <a:pt x="4232434" y="240506"/>
                    <a:pt x="4229576" y="235744"/>
                  </a:cubicBezTo>
                  <a:cubicBezTo>
                    <a:pt x="4223862" y="227171"/>
                    <a:pt x="4220051" y="222409"/>
                    <a:pt x="4220051" y="222409"/>
                  </a:cubicBezTo>
                  <a:cubicBezTo>
                    <a:pt x="4220051" y="222409"/>
                    <a:pt x="4221956" y="228124"/>
                    <a:pt x="4226719" y="237649"/>
                  </a:cubicBezTo>
                  <a:cubicBezTo>
                    <a:pt x="4228624" y="242411"/>
                    <a:pt x="4231481" y="248126"/>
                    <a:pt x="4234339" y="254794"/>
                  </a:cubicBezTo>
                  <a:cubicBezTo>
                    <a:pt x="4235291" y="255746"/>
                    <a:pt x="4235291" y="257651"/>
                    <a:pt x="4236244" y="258604"/>
                  </a:cubicBezTo>
                  <a:cubicBezTo>
                    <a:pt x="4234339" y="256699"/>
                    <a:pt x="4233387" y="253841"/>
                    <a:pt x="4231481" y="251936"/>
                  </a:cubicBezTo>
                  <a:cubicBezTo>
                    <a:pt x="4227672" y="246221"/>
                    <a:pt x="4223862" y="242411"/>
                    <a:pt x="4220051" y="237649"/>
                  </a:cubicBezTo>
                  <a:cubicBezTo>
                    <a:pt x="4213384" y="229076"/>
                    <a:pt x="4206716" y="223361"/>
                    <a:pt x="4202906" y="219551"/>
                  </a:cubicBezTo>
                  <a:cubicBezTo>
                    <a:pt x="4199097" y="215741"/>
                    <a:pt x="4196239" y="213836"/>
                    <a:pt x="4196239" y="213836"/>
                  </a:cubicBezTo>
                  <a:cubicBezTo>
                    <a:pt x="4196239" y="213836"/>
                    <a:pt x="4198144" y="216694"/>
                    <a:pt x="4201954" y="220504"/>
                  </a:cubicBezTo>
                  <a:cubicBezTo>
                    <a:pt x="4205764" y="225266"/>
                    <a:pt x="4211479" y="230981"/>
                    <a:pt x="4216241" y="240506"/>
                  </a:cubicBezTo>
                  <a:cubicBezTo>
                    <a:pt x="4219099" y="245269"/>
                    <a:pt x="4222909" y="250031"/>
                    <a:pt x="4225766" y="255746"/>
                  </a:cubicBezTo>
                  <a:cubicBezTo>
                    <a:pt x="4228624" y="261461"/>
                    <a:pt x="4232434" y="267176"/>
                    <a:pt x="4235291" y="273844"/>
                  </a:cubicBezTo>
                  <a:cubicBezTo>
                    <a:pt x="4235291" y="273844"/>
                    <a:pt x="4235291" y="273844"/>
                    <a:pt x="4235291" y="274796"/>
                  </a:cubicBezTo>
                  <a:cubicBezTo>
                    <a:pt x="4235291" y="276701"/>
                    <a:pt x="4235291" y="279559"/>
                    <a:pt x="4235291" y="282416"/>
                  </a:cubicBezTo>
                  <a:cubicBezTo>
                    <a:pt x="4235291" y="282416"/>
                    <a:pt x="4234339" y="281464"/>
                    <a:pt x="4234339" y="281464"/>
                  </a:cubicBezTo>
                  <a:cubicBezTo>
                    <a:pt x="4231481" y="277654"/>
                    <a:pt x="4229576" y="276701"/>
                    <a:pt x="4229576" y="276701"/>
                  </a:cubicBezTo>
                  <a:cubicBezTo>
                    <a:pt x="4229576" y="276701"/>
                    <a:pt x="4231481" y="278606"/>
                    <a:pt x="4233387" y="282416"/>
                  </a:cubicBezTo>
                  <a:cubicBezTo>
                    <a:pt x="4233387" y="283369"/>
                    <a:pt x="4234339" y="283369"/>
                    <a:pt x="4235291" y="284321"/>
                  </a:cubicBezTo>
                  <a:cubicBezTo>
                    <a:pt x="4235291" y="284321"/>
                    <a:pt x="4235291" y="284321"/>
                    <a:pt x="4235291" y="285274"/>
                  </a:cubicBezTo>
                  <a:cubicBezTo>
                    <a:pt x="4233387" y="292894"/>
                    <a:pt x="4231481" y="301466"/>
                    <a:pt x="4229576" y="310039"/>
                  </a:cubicBezTo>
                  <a:cubicBezTo>
                    <a:pt x="4225766" y="301466"/>
                    <a:pt x="4222909" y="295751"/>
                    <a:pt x="4222909" y="295751"/>
                  </a:cubicBezTo>
                  <a:cubicBezTo>
                    <a:pt x="4222909" y="295751"/>
                    <a:pt x="4224814" y="303371"/>
                    <a:pt x="4228624" y="316706"/>
                  </a:cubicBezTo>
                  <a:cubicBezTo>
                    <a:pt x="4227672" y="319564"/>
                    <a:pt x="4227672" y="323374"/>
                    <a:pt x="4226719" y="327184"/>
                  </a:cubicBezTo>
                  <a:cubicBezTo>
                    <a:pt x="4225766" y="331946"/>
                    <a:pt x="4224814" y="336709"/>
                    <a:pt x="4223862" y="341471"/>
                  </a:cubicBezTo>
                  <a:cubicBezTo>
                    <a:pt x="4223862" y="338614"/>
                    <a:pt x="4222909" y="336709"/>
                    <a:pt x="4222909" y="334804"/>
                  </a:cubicBezTo>
                  <a:cubicBezTo>
                    <a:pt x="4221004" y="320516"/>
                    <a:pt x="4219099" y="311944"/>
                    <a:pt x="4219099" y="311944"/>
                  </a:cubicBezTo>
                  <a:cubicBezTo>
                    <a:pt x="4219099" y="311944"/>
                    <a:pt x="4219099" y="319564"/>
                    <a:pt x="4219099" y="331946"/>
                  </a:cubicBezTo>
                  <a:cubicBezTo>
                    <a:pt x="4218147" y="329089"/>
                    <a:pt x="4218147" y="326231"/>
                    <a:pt x="4217194" y="322421"/>
                  </a:cubicBezTo>
                  <a:cubicBezTo>
                    <a:pt x="4206716" y="272891"/>
                    <a:pt x="4198144" y="240506"/>
                    <a:pt x="4198144" y="240506"/>
                  </a:cubicBezTo>
                  <a:cubicBezTo>
                    <a:pt x="4198144" y="240506"/>
                    <a:pt x="4200049" y="273844"/>
                    <a:pt x="4205764" y="323374"/>
                  </a:cubicBezTo>
                  <a:cubicBezTo>
                    <a:pt x="4206716" y="335756"/>
                    <a:pt x="4208622" y="350044"/>
                    <a:pt x="4210526" y="364331"/>
                  </a:cubicBezTo>
                  <a:cubicBezTo>
                    <a:pt x="4210526" y="364331"/>
                    <a:pt x="4210526" y="363379"/>
                    <a:pt x="4210526" y="363379"/>
                  </a:cubicBezTo>
                  <a:cubicBezTo>
                    <a:pt x="4209574" y="357664"/>
                    <a:pt x="4207669" y="353854"/>
                    <a:pt x="4206716" y="350044"/>
                  </a:cubicBezTo>
                  <a:cubicBezTo>
                    <a:pt x="4204812" y="342424"/>
                    <a:pt x="4202906" y="338614"/>
                    <a:pt x="4202906" y="338614"/>
                  </a:cubicBezTo>
                  <a:cubicBezTo>
                    <a:pt x="4202906" y="338614"/>
                    <a:pt x="4202906" y="343376"/>
                    <a:pt x="4202906" y="350996"/>
                  </a:cubicBezTo>
                  <a:cubicBezTo>
                    <a:pt x="4202906" y="354806"/>
                    <a:pt x="4202906" y="359569"/>
                    <a:pt x="4202906" y="365284"/>
                  </a:cubicBezTo>
                  <a:cubicBezTo>
                    <a:pt x="4202906" y="368141"/>
                    <a:pt x="4202906" y="370999"/>
                    <a:pt x="4202906" y="373856"/>
                  </a:cubicBezTo>
                  <a:cubicBezTo>
                    <a:pt x="4202906" y="375761"/>
                    <a:pt x="4202906" y="377666"/>
                    <a:pt x="4202906" y="380524"/>
                  </a:cubicBezTo>
                  <a:cubicBezTo>
                    <a:pt x="4202906" y="379571"/>
                    <a:pt x="4202906" y="379571"/>
                    <a:pt x="4201954" y="378619"/>
                  </a:cubicBezTo>
                  <a:cubicBezTo>
                    <a:pt x="4201954" y="372904"/>
                    <a:pt x="4201001" y="367189"/>
                    <a:pt x="4201001" y="361474"/>
                  </a:cubicBezTo>
                  <a:cubicBezTo>
                    <a:pt x="4199097" y="318611"/>
                    <a:pt x="4196239" y="290989"/>
                    <a:pt x="4196239" y="290989"/>
                  </a:cubicBezTo>
                  <a:cubicBezTo>
                    <a:pt x="4196239" y="290989"/>
                    <a:pt x="4193381" y="310991"/>
                    <a:pt x="4191476" y="343376"/>
                  </a:cubicBezTo>
                  <a:cubicBezTo>
                    <a:pt x="4190524" y="340519"/>
                    <a:pt x="4189571" y="338614"/>
                    <a:pt x="4188619" y="335756"/>
                  </a:cubicBezTo>
                  <a:cubicBezTo>
                    <a:pt x="4185761" y="329089"/>
                    <a:pt x="4183856" y="323374"/>
                    <a:pt x="4181951" y="319564"/>
                  </a:cubicBezTo>
                  <a:cubicBezTo>
                    <a:pt x="4181951" y="318611"/>
                    <a:pt x="4180999" y="317659"/>
                    <a:pt x="4180999" y="316706"/>
                  </a:cubicBezTo>
                  <a:cubicBezTo>
                    <a:pt x="4180999" y="291941"/>
                    <a:pt x="4180999" y="271939"/>
                    <a:pt x="4180999" y="256699"/>
                  </a:cubicBezTo>
                  <a:cubicBezTo>
                    <a:pt x="4180999" y="239554"/>
                    <a:pt x="4180999" y="230029"/>
                    <a:pt x="4180999" y="230029"/>
                  </a:cubicBezTo>
                  <a:cubicBezTo>
                    <a:pt x="4180999" y="230029"/>
                    <a:pt x="4180046" y="239554"/>
                    <a:pt x="4177189" y="256699"/>
                  </a:cubicBezTo>
                  <a:cubicBezTo>
                    <a:pt x="4177189" y="260509"/>
                    <a:pt x="4176236" y="265271"/>
                    <a:pt x="4175284" y="270034"/>
                  </a:cubicBezTo>
                  <a:cubicBezTo>
                    <a:pt x="4175284" y="263366"/>
                    <a:pt x="4174331" y="257651"/>
                    <a:pt x="4174331" y="251936"/>
                  </a:cubicBezTo>
                  <a:cubicBezTo>
                    <a:pt x="4172426" y="207169"/>
                    <a:pt x="4168616" y="176689"/>
                    <a:pt x="4168616" y="176689"/>
                  </a:cubicBezTo>
                  <a:cubicBezTo>
                    <a:pt x="4168616" y="176689"/>
                    <a:pt x="4164806" y="207169"/>
                    <a:pt x="4162901" y="251936"/>
                  </a:cubicBezTo>
                  <a:cubicBezTo>
                    <a:pt x="4161949" y="263366"/>
                    <a:pt x="4161949" y="274796"/>
                    <a:pt x="4160996" y="287179"/>
                  </a:cubicBezTo>
                  <a:cubicBezTo>
                    <a:pt x="4158139" y="292894"/>
                    <a:pt x="4156234" y="298609"/>
                    <a:pt x="4154329" y="303371"/>
                  </a:cubicBezTo>
                  <a:cubicBezTo>
                    <a:pt x="4151471" y="295751"/>
                    <a:pt x="4149566" y="288131"/>
                    <a:pt x="4146709" y="280511"/>
                  </a:cubicBezTo>
                  <a:cubicBezTo>
                    <a:pt x="4144804" y="267176"/>
                    <a:pt x="4141946" y="255746"/>
                    <a:pt x="4140041" y="246221"/>
                  </a:cubicBezTo>
                  <a:cubicBezTo>
                    <a:pt x="4137184" y="231934"/>
                    <a:pt x="4133374" y="224314"/>
                    <a:pt x="4133374" y="224314"/>
                  </a:cubicBezTo>
                  <a:cubicBezTo>
                    <a:pt x="4133374" y="224314"/>
                    <a:pt x="4134326" y="226219"/>
                    <a:pt x="4134326" y="230029"/>
                  </a:cubicBezTo>
                  <a:cubicBezTo>
                    <a:pt x="4135279" y="233839"/>
                    <a:pt x="4135279" y="239554"/>
                    <a:pt x="4136231" y="247174"/>
                  </a:cubicBezTo>
                  <a:cubicBezTo>
                    <a:pt x="4136231" y="248126"/>
                    <a:pt x="4136231" y="249079"/>
                    <a:pt x="4136231" y="250031"/>
                  </a:cubicBezTo>
                  <a:cubicBezTo>
                    <a:pt x="4130516" y="230981"/>
                    <a:pt x="4123849" y="213836"/>
                    <a:pt x="4118134" y="197644"/>
                  </a:cubicBezTo>
                  <a:cubicBezTo>
                    <a:pt x="4108609" y="166211"/>
                    <a:pt x="4100036" y="139541"/>
                    <a:pt x="4093369" y="121444"/>
                  </a:cubicBezTo>
                  <a:cubicBezTo>
                    <a:pt x="4087654" y="103346"/>
                    <a:pt x="4083844" y="92869"/>
                    <a:pt x="4083844" y="92869"/>
                  </a:cubicBezTo>
                  <a:cubicBezTo>
                    <a:pt x="4083844" y="92869"/>
                    <a:pt x="4085749" y="103346"/>
                    <a:pt x="4089559" y="122396"/>
                  </a:cubicBezTo>
                  <a:cubicBezTo>
                    <a:pt x="4093369" y="141446"/>
                    <a:pt x="4099084" y="168116"/>
                    <a:pt x="4106704" y="200501"/>
                  </a:cubicBezTo>
                  <a:cubicBezTo>
                    <a:pt x="4110514" y="215741"/>
                    <a:pt x="4115276" y="231934"/>
                    <a:pt x="4119086" y="248126"/>
                  </a:cubicBezTo>
                  <a:cubicBezTo>
                    <a:pt x="4118134" y="251936"/>
                    <a:pt x="4118134" y="256699"/>
                    <a:pt x="4117181" y="262414"/>
                  </a:cubicBezTo>
                  <a:cubicBezTo>
                    <a:pt x="4116229" y="270034"/>
                    <a:pt x="4115276" y="279559"/>
                    <a:pt x="4114324" y="290036"/>
                  </a:cubicBezTo>
                  <a:cubicBezTo>
                    <a:pt x="4113371" y="288131"/>
                    <a:pt x="4111466" y="286226"/>
                    <a:pt x="4110514" y="284321"/>
                  </a:cubicBezTo>
                  <a:cubicBezTo>
                    <a:pt x="4113371" y="274796"/>
                    <a:pt x="4114324" y="269081"/>
                    <a:pt x="4114324" y="269081"/>
                  </a:cubicBezTo>
                  <a:cubicBezTo>
                    <a:pt x="4114324" y="269081"/>
                    <a:pt x="4112419" y="273844"/>
                    <a:pt x="4108609" y="282416"/>
                  </a:cubicBezTo>
                  <a:cubicBezTo>
                    <a:pt x="4106704" y="279559"/>
                    <a:pt x="4104799" y="276701"/>
                    <a:pt x="4102894" y="273844"/>
                  </a:cubicBezTo>
                  <a:cubicBezTo>
                    <a:pt x="4100989" y="270034"/>
                    <a:pt x="4098131" y="266224"/>
                    <a:pt x="4096226" y="263366"/>
                  </a:cubicBezTo>
                  <a:cubicBezTo>
                    <a:pt x="4097179" y="262414"/>
                    <a:pt x="4097179" y="262414"/>
                    <a:pt x="4097179" y="262414"/>
                  </a:cubicBezTo>
                  <a:cubicBezTo>
                    <a:pt x="4097179" y="262414"/>
                    <a:pt x="4097179" y="262414"/>
                    <a:pt x="4096226" y="263366"/>
                  </a:cubicBezTo>
                  <a:cubicBezTo>
                    <a:pt x="4094321" y="259556"/>
                    <a:pt x="4092416" y="256699"/>
                    <a:pt x="4090511" y="253841"/>
                  </a:cubicBezTo>
                  <a:cubicBezTo>
                    <a:pt x="4090511" y="253841"/>
                    <a:pt x="4090511" y="252889"/>
                    <a:pt x="4090511" y="252889"/>
                  </a:cubicBezTo>
                  <a:cubicBezTo>
                    <a:pt x="4090511" y="248126"/>
                    <a:pt x="4090511" y="243364"/>
                    <a:pt x="4090511" y="238601"/>
                  </a:cubicBezTo>
                  <a:cubicBezTo>
                    <a:pt x="4090511" y="230029"/>
                    <a:pt x="4090511" y="222409"/>
                    <a:pt x="4090511" y="215741"/>
                  </a:cubicBezTo>
                  <a:cubicBezTo>
                    <a:pt x="4090511" y="203359"/>
                    <a:pt x="4089559" y="195739"/>
                    <a:pt x="4089559" y="195739"/>
                  </a:cubicBezTo>
                  <a:cubicBezTo>
                    <a:pt x="4089559" y="195739"/>
                    <a:pt x="4088606" y="202406"/>
                    <a:pt x="4086701" y="214789"/>
                  </a:cubicBezTo>
                  <a:cubicBezTo>
                    <a:pt x="4085749" y="221456"/>
                    <a:pt x="4084796" y="228124"/>
                    <a:pt x="4083844" y="236696"/>
                  </a:cubicBezTo>
                  <a:cubicBezTo>
                    <a:pt x="4083844" y="237649"/>
                    <a:pt x="4083844" y="238601"/>
                    <a:pt x="4083844" y="239554"/>
                  </a:cubicBezTo>
                  <a:cubicBezTo>
                    <a:pt x="4082891" y="238601"/>
                    <a:pt x="4082891" y="237649"/>
                    <a:pt x="4081939" y="236696"/>
                  </a:cubicBezTo>
                  <a:cubicBezTo>
                    <a:pt x="4081939" y="235744"/>
                    <a:pt x="4081939" y="235744"/>
                    <a:pt x="4081939" y="234791"/>
                  </a:cubicBezTo>
                  <a:cubicBezTo>
                    <a:pt x="4081939" y="225266"/>
                    <a:pt x="4081939" y="216694"/>
                    <a:pt x="4081939" y="210026"/>
                  </a:cubicBezTo>
                  <a:cubicBezTo>
                    <a:pt x="4081939" y="195739"/>
                    <a:pt x="4081939" y="188119"/>
                    <a:pt x="4081939" y="188119"/>
                  </a:cubicBezTo>
                  <a:cubicBezTo>
                    <a:pt x="4081939" y="188119"/>
                    <a:pt x="4080034" y="195739"/>
                    <a:pt x="4078129" y="210026"/>
                  </a:cubicBezTo>
                  <a:cubicBezTo>
                    <a:pt x="4077176" y="214789"/>
                    <a:pt x="4076224" y="220504"/>
                    <a:pt x="4075271" y="227171"/>
                  </a:cubicBezTo>
                  <a:cubicBezTo>
                    <a:pt x="4065746" y="210979"/>
                    <a:pt x="4059079" y="202406"/>
                    <a:pt x="4059079" y="202406"/>
                  </a:cubicBezTo>
                  <a:cubicBezTo>
                    <a:pt x="4059079" y="202406"/>
                    <a:pt x="4063841" y="214789"/>
                    <a:pt x="4073366" y="236696"/>
                  </a:cubicBezTo>
                  <a:cubicBezTo>
                    <a:pt x="4072414" y="241459"/>
                    <a:pt x="4071461" y="246221"/>
                    <a:pt x="4071461" y="250984"/>
                  </a:cubicBezTo>
                  <a:cubicBezTo>
                    <a:pt x="4070509" y="256699"/>
                    <a:pt x="4069556" y="261461"/>
                    <a:pt x="4067651" y="268129"/>
                  </a:cubicBezTo>
                  <a:cubicBezTo>
                    <a:pt x="4066699" y="271939"/>
                    <a:pt x="4065746" y="275749"/>
                    <a:pt x="4064794" y="279559"/>
                  </a:cubicBezTo>
                  <a:cubicBezTo>
                    <a:pt x="4063841" y="270986"/>
                    <a:pt x="4062889" y="262414"/>
                    <a:pt x="4061936" y="253841"/>
                  </a:cubicBezTo>
                  <a:cubicBezTo>
                    <a:pt x="4059079" y="237649"/>
                    <a:pt x="4057174" y="221456"/>
                    <a:pt x="4054316" y="207169"/>
                  </a:cubicBezTo>
                  <a:cubicBezTo>
                    <a:pt x="4053364" y="199549"/>
                    <a:pt x="4052411" y="192881"/>
                    <a:pt x="4050506" y="186214"/>
                  </a:cubicBezTo>
                  <a:cubicBezTo>
                    <a:pt x="4049554" y="179546"/>
                    <a:pt x="4047649" y="173831"/>
                    <a:pt x="4046696" y="168116"/>
                  </a:cubicBezTo>
                  <a:cubicBezTo>
                    <a:pt x="4043839" y="156686"/>
                    <a:pt x="4041934" y="146209"/>
                    <a:pt x="4040029" y="137636"/>
                  </a:cubicBezTo>
                  <a:cubicBezTo>
                    <a:pt x="4036219" y="121444"/>
                    <a:pt x="4034314" y="111919"/>
                    <a:pt x="4034314" y="111919"/>
                  </a:cubicBezTo>
                  <a:cubicBezTo>
                    <a:pt x="4034314" y="111919"/>
                    <a:pt x="4035266" y="121444"/>
                    <a:pt x="4036219" y="138589"/>
                  </a:cubicBezTo>
                  <a:cubicBezTo>
                    <a:pt x="4037171" y="147161"/>
                    <a:pt x="4038124" y="157639"/>
                    <a:pt x="4039076" y="169069"/>
                  </a:cubicBezTo>
                  <a:cubicBezTo>
                    <a:pt x="4040029" y="180499"/>
                    <a:pt x="4040981" y="193834"/>
                    <a:pt x="4042886" y="208121"/>
                  </a:cubicBezTo>
                  <a:cubicBezTo>
                    <a:pt x="4043839" y="217646"/>
                    <a:pt x="4044791" y="228124"/>
                    <a:pt x="4044791" y="238601"/>
                  </a:cubicBezTo>
                  <a:cubicBezTo>
                    <a:pt x="4037171" y="196691"/>
                    <a:pt x="4031456" y="170021"/>
                    <a:pt x="4031456" y="170021"/>
                  </a:cubicBezTo>
                  <a:cubicBezTo>
                    <a:pt x="4031456" y="170021"/>
                    <a:pt x="4032409" y="203359"/>
                    <a:pt x="4036219" y="252889"/>
                  </a:cubicBezTo>
                  <a:cubicBezTo>
                    <a:pt x="4036219" y="256699"/>
                    <a:pt x="4037171" y="260509"/>
                    <a:pt x="4037171" y="264319"/>
                  </a:cubicBezTo>
                  <a:cubicBezTo>
                    <a:pt x="4036219" y="266224"/>
                    <a:pt x="4036219" y="269081"/>
                    <a:pt x="4035266" y="271939"/>
                  </a:cubicBezTo>
                  <a:cubicBezTo>
                    <a:pt x="4033361" y="270034"/>
                    <a:pt x="4031456" y="268129"/>
                    <a:pt x="4030504" y="266224"/>
                  </a:cubicBezTo>
                  <a:cubicBezTo>
                    <a:pt x="4027646" y="263366"/>
                    <a:pt x="4025741" y="260509"/>
                    <a:pt x="4023836" y="258604"/>
                  </a:cubicBezTo>
                  <a:cubicBezTo>
                    <a:pt x="4018121" y="247174"/>
                    <a:pt x="4013359" y="237649"/>
                    <a:pt x="4009549" y="229076"/>
                  </a:cubicBezTo>
                  <a:cubicBezTo>
                    <a:pt x="4000976" y="212884"/>
                    <a:pt x="3996214" y="203359"/>
                    <a:pt x="3996214" y="203359"/>
                  </a:cubicBezTo>
                  <a:cubicBezTo>
                    <a:pt x="3996214" y="203359"/>
                    <a:pt x="4000024" y="212884"/>
                    <a:pt x="4005739" y="230981"/>
                  </a:cubicBezTo>
                  <a:cubicBezTo>
                    <a:pt x="4008596" y="237649"/>
                    <a:pt x="4011454" y="246221"/>
                    <a:pt x="4014311" y="255746"/>
                  </a:cubicBezTo>
                  <a:cubicBezTo>
                    <a:pt x="4010501" y="248126"/>
                    <a:pt x="4007644" y="243364"/>
                    <a:pt x="4007644" y="243364"/>
                  </a:cubicBezTo>
                  <a:cubicBezTo>
                    <a:pt x="4007644" y="243364"/>
                    <a:pt x="4010501" y="251936"/>
                    <a:pt x="4015264" y="267176"/>
                  </a:cubicBezTo>
                  <a:cubicBezTo>
                    <a:pt x="4018121" y="274796"/>
                    <a:pt x="4020979" y="284321"/>
                    <a:pt x="4024789" y="294799"/>
                  </a:cubicBezTo>
                  <a:cubicBezTo>
                    <a:pt x="4025741" y="296704"/>
                    <a:pt x="4026694" y="299561"/>
                    <a:pt x="4026694" y="301466"/>
                  </a:cubicBezTo>
                  <a:cubicBezTo>
                    <a:pt x="4023836" y="310039"/>
                    <a:pt x="4020026" y="319564"/>
                    <a:pt x="4017169" y="329089"/>
                  </a:cubicBezTo>
                  <a:cubicBezTo>
                    <a:pt x="4017169" y="329089"/>
                    <a:pt x="4016216" y="328136"/>
                    <a:pt x="4016216" y="328136"/>
                  </a:cubicBezTo>
                  <a:cubicBezTo>
                    <a:pt x="4011454" y="325279"/>
                    <a:pt x="4008596" y="322421"/>
                    <a:pt x="4005739" y="320516"/>
                  </a:cubicBezTo>
                  <a:cubicBezTo>
                    <a:pt x="4005739" y="319564"/>
                    <a:pt x="4005739" y="318611"/>
                    <a:pt x="4005739" y="318611"/>
                  </a:cubicBezTo>
                  <a:cubicBezTo>
                    <a:pt x="4005739" y="315754"/>
                    <a:pt x="4004786" y="313849"/>
                    <a:pt x="4004786" y="310991"/>
                  </a:cubicBezTo>
                  <a:cubicBezTo>
                    <a:pt x="4004786" y="285274"/>
                    <a:pt x="4002881" y="269081"/>
                    <a:pt x="4002881" y="269081"/>
                  </a:cubicBezTo>
                  <a:cubicBezTo>
                    <a:pt x="4002881" y="269081"/>
                    <a:pt x="4001929" y="274796"/>
                    <a:pt x="4000024" y="284321"/>
                  </a:cubicBezTo>
                  <a:cubicBezTo>
                    <a:pt x="3996214" y="261461"/>
                    <a:pt x="3993356" y="248126"/>
                    <a:pt x="3993356" y="248126"/>
                  </a:cubicBezTo>
                  <a:cubicBezTo>
                    <a:pt x="3993356" y="248126"/>
                    <a:pt x="3993356" y="262414"/>
                    <a:pt x="3993356" y="286226"/>
                  </a:cubicBezTo>
                  <a:cubicBezTo>
                    <a:pt x="3993356" y="286226"/>
                    <a:pt x="3992404" y="286226"/>
                    <a:pt x="3992404" y="286226"/>
                  </a:cubicBezTo>
                  <a:cubicBezTo>
                    <a:pt x="3991451" y="286226"/>
                    <a:pt x="3990499" y="287179"/>
                    <a:pt x="3990499" y="287179"/>
                  </a:cubicBezTo>
                  <a:cubicBezTo>
                    <a:pt x="3988594" y="289084"/>
                    <a:pt x="3986689" y="290989"/>
                    <a:pt x="3985736" y="292894"/>
                  </a:cubicBezTo>
                  <a:lnTo>
                    <a:pt x="3985736" y="292894"/>
                  </a:lnTo>
                  <a:lnTo>
                    <a:pt x="3985736" y="293846"/>
                  </a:lnTo>
                  <a:cubicBezTo>
                    <a:pt x="3984784" y="300514"/>
                    <a:pt x="3983831" y="307181"/>
                    <a:pt x="3983831" y="313849"/>
                  </a:cubicBezTo>
                  <a:cubicBezTo>
                    <a:pt x="3981926" y="310039"/>
                    <a:pt x="3980021" y="307181"/>
                    <a:pt x="3978116" y="303371"/>
                  </a:cubicBezTo>
                  <a:cubicBezTo>
                    <a:pt x="3983831" y="284321"/>
                    <a:pt x="3987641" y="272891"/>
                    <a:pt x="3987641" y="272891"/>
                  </a:cubicBezTo>
                  <a:cubicBezTo>
                    <a:pt x="3987641" y="272891"/>
                    <a:pt x="3982879" y="282416"/>
                    <a:pt x="3976211" y="298609"/>
                  </a:cubicBezTo>
                  <a:cubicBezTo>
                    <a:pt x="3975259" y="296704"/>
                    <a:pt x="3974306" y="295751"/>
                    <a:pt x="3973354" y="293846"/>
                  </a:cubicBezTo>
                  <a:cubicBezTo>
                    <a:pt x="3973354" y="291941"/>
                    <a:pt x="3973354" y="290036"/>
                    <a:pt x="3973354" y="288131"/>
                  </a:cubicBezTo>
                  <a:cubicBezTo>
                    <a:pt x="3973354" y="288131"/>
                    <a:pt x="3973354" y="288131"/>
                    <a:pt x="3973354" y="287179"/>
                  </a:cubicBezTo>
                  <a:cubicBezTo>
                    <a:pt x="3975259" y="283369"/>
                    <a:pt x="3976211" y="280511"/>
                    <a:pt x="3977164" y="278606"/>
                  </a:cubicBezTo>
                  <a:cubicBezTo>
                    <a:pt x="3979069" y="273844"/>
                    <a:pt x="3980974" y="270986"/>
                    <a:pt x="3980974" y="270986"/>
                  </a:cubicBezTo>
                  <a:cubicBezTo>
                    <a:pt x="3980974" y="270986"/>
                    <a:pt x="3979069" y="272891"/>
                    <a:pt x="3976211" y="277654"/>
                  </a:cubicBezTo>
                  <a:cubicBezTo>
                    <a:pt x="3975259" y="278606"/>
                    <a:pt x="3974306" y="280511"/>
                    <a:pt x="3973354" y="282416"/>
                  </a:cubicBezTo>
                  <a:cubicBezTo>
                    <a:pt x="3973354" y="271939"/>
                    <a:pt x="3974306" y="262414"/>
                    <a:pt x="3974306" y="254794"/>
                  </a:cubicBezTo>
                  <a:cubicBezTo>
                    <a:pt x="3975259" y="238601"/>
                    <a:pt x="3975259" y="230029"/>
                    <a:pt x="3975259" y="230029"/>
                  </a:cubicBezTo>
                  <a:cubicBezTo>
                    <a:pt x="3975259" y="230029"/>
                    <a:pt x="3973354" y="238601"/>
                    <a:pt x="3970496" y="254794"/>
                  </a:cubicBezTo>
                  <a:cubicBezTo>
                    <a:pt x="3969544" y="262414"/>
                    <a:pt x="3967639" y="271939"/>
                    <a:pt x="3965734" y="281464"/>
                  </a:cubicBezTo>
                  <a:cubicBezTo>
                    <a:pt x="3964781" y="278606"/>
                    <a:pt x="3962876" y="276701"/>
                    <a:pt x="3961924" y="274796"/>
                  </a:cubicBezTo>
                  <a:cubicBezTo>
                    <a:pt x="3961924" y="272891"/>
                    <a:pt x="3962876" y="270986"/>
                    <a:pt x="3962876" y="269081"/>
                  </a:cubicBezTo>
                  <a:cubicBezTo>
                    <a:pt x="3965734" y="253841"/>
                    <a:pt x="3966686" y="245269"/>
                    <a:pt x="3966686" y="245269"/>
                  </a:cubicBezTo>
                  <a:cubicBezTo>
                    <a:pt x="3966686" y="245269"/>
                    <a:pt x="3963829" y="253841"/>
                    <a:pt x="3959066" y="268129"/>
                  </a:cubicBezTo>
                  <a:cubicBezTo>
                    <a:pt x="3959066" y="268129"/>
                    <a:pt x="3959066" y="269081"/>
                    <a:pt x="3959066" y="269081"/>
                  </a:cubicBezTo>
                  <a:cubicBezTo>
                    <a:pt x="3959066" y="268129"/>
                    <a:pt x="3958114" y="267176"/>
                    <a:pt x="3958114" y="267176"/>
                  </a:cubicBezTo>
                  <a:cubicBezTo>
                    <a:pt x="3958114" y="267176"/>
                    <a:pt x="3958114" y="268129"/>
                    <a:pt x="3958114" y="269081"/>
                  </a:cubicBezTo>
                  <a:cubicBezTo>
                    <a:pt x="3957161" y="267176"/>
                    <a:pt x="3956209" y="266224"/>
                    <a:pt x="3955256" y="264319"/>
                  </a:cubicBezTo>
                  <a:cubicBezTo>
                    <a:pt x="3955256" y="258604"/>
                    <a:pt x="3955256" y="252889"/>
                    <a:pt x="3954304" y="247174"/>
                  </a:cubicBezTo>
                  <a:cubicBezTo>
                    <a:pt x="3954304" y="235744"/>
                    <a:pt x="3952399" y="224314"/>
                    <a:pt x="3951446" y="214789"/>
                  </a:cubicBezTo>
                  <a:cubicBezTo>
                    <a:pt x="3950494" y="205264"/>
                    <a:pt x="3949541" y="196691"/>
                    <a:pt x="3947636" y="190024"/>
                  </a:cubicBezTo>
                  <a:cubicBezTo>
                    <a:pt x="3944779" y="176689"/>
                    <a:pt x="3943826" y="169069"/>
                    <a:pt x="3943826" y="169069"/>
                  </a:cubicBezTo>
                  <a:cubicBezTo>
                    <a:pt x="3943826" y="169069"/>
                    <a:pt x="3943826" y="176689"/>
                    <a:pt x="3943826" y="190024"/>
                  </a:cubicBezTo>
                  <a:cubicBezTo>
                    <a:pt x="3943826" y="196691"/>
                    <a:pt x="3943826" y="205264"/>
                    <a:pt x="3943826" y="214789"/>
                  </a:cubicBezTo>
                  <a:cubicBezTo>
                    <a:pt x="3943826" y="218599"/>
                    <a:pt x="3943826" y="222409"/>
                    <a:pt x="3943826" y="225266"/>
                  </a:cubicBezTo>
                  <a:cubicBezTo>
                    <a:pt x="3942874" y="221456"/>
                    <a:pt x="3941921" y="218599"/>
                    <a:pt x="3940969" y="215741"/>
                  </a:cubicBezTo>
                  <a:cubicBezTo>
                    <a:pt x="3940016" y="212884"/>
                    <a:pt x="3939064" y="210026"/>
                    <a:pt x="3939064" y="207169"/>
                  </a:cubicBezTo>
                  <a:cubicBezTo>
                    <a:pt x="3940016" y="206216"/>
                    <a:pt x="3940016" y="205264"/>
                    <a:pt x="3940016" y="205264"/>
                  </a:cubicBezTo>
                  <a:cubicBezTo>
                    <a:pt x="3940016" y="205264"/>
                    <a:pt x="3940016" y="206216"/>
                    <a:pt x="3939064" y="206216"/>
                  </a:cubicBezTo>
                  <a:cubicBezTo>
                    <a:pt x="3937159" y="201454"/>
                    <a:pt x="3936206" y="197644"/>
                    <a:pt x="3936206" y="197644"/>
                  </a:cubicBezTo>
                  <a:cubicBezTo>
                    <a:pt x="3936206" y="197644"/>
                    <a:pt x="3936206" y="201454"/>
                    <a:pt x="3937159" y="208121"/>
                  </a:cubicBezTo>
                  <a:cubicBezTo>
                    <a:pt x="3935254" y="210026"/>
                    <a:pt x="3932396" y="212884"/>
                    <a:pt x="3929539" y="216694"/>
                  </a:cubicBezTo>
                  <a:cubicBezTo>
                    <a:pt x="3928586" y="210026"/>
                    <a:pt x="3926681" y="204311"/>
                    <a:pt x="3925729" y="197644"/>
                  </a:cubicBezTo>
                  <a:cubicBezTo>
                    <a:pt x="3922871" y="183356"/>
                    <a:pt x="3919061" y="170021"/>
                    <a:pt x="3916204" y="158591"/>
                  </a:cubicBezTo>
                  <a:cubicBezTo>
                    <a:pt x="3915251" y="153829"/>
                    <a:pt x="3913346" y="148114"/>
                    <a:pt x="3912394" y="144304"/>
                  </a:cubicBezTo>
                  <a:cubicBezTo>
                    <a:pt x="3913346" y="142399"/>
                    <a:pt x="3914299" y="141446"/>
                    <a:pt x="3915251" y="139541"/>
                  </a:cubicBezTo>
                  <a:cubicBezTo>
                    <a:pt x="3927634" y="121444"/>
                    <a:pt x="3935254" y="110966"/>
                    <a:pt x="3935254" y="110966"/>
                  </a:cubicBezTo>
                  <a:cubicBezTo>
                    <a:pt x="3935254" y="110966"/>
                    <a:pt x="3926681" y="120491"/>
                    <a:pt x="3912394" y="136684"/>
                  </a:cubicBezTo>
                  <a:cubicBezTo>
                    <a:pt x="3911441" y="137636"/>
                    <a:pt x="3911441" y="138589"/>
                    <a:pt x="3910489" y="138589"/>
                  </a:cubicBezTo>
                  <a:cubicBezTo>
                    <a:pt x="3909536" y="134779"/>
                    <a:pt x="3908584" y="131921"/>
                    <a:pt x="3906679" y="128111"/>
                  </a:cubicBezTo>
                  <a:cubicBezTo>
                    <a:pt x="3900964" y="111919"/>
                    <a:pt x="3898106" y="102394"/>
                    <a:pt x="3898106" y="102394"/>
                  </a:cubicBezTo>
                  <a:cubicBezTo>
                    <a:pt x="3898106" y="102394"/>
                    <a:pt x="3900011" y="111919"/>
                    <a:pt x="3902869" y="129064"/>
                  </a:cubicBezTo>
                  <a:cubicBezTo>
                    <a:pt x="3903821" y="132874"/>
                    <a:pt x="3904774" y="137636"/>
                    <a:pt x="3905726" y="143351"/>
                  </a:cubicBezTo>
                  <a:cubicBezTo>
                    <a:pt x="3905726" y="143351"/>
                    <a:pt x="3905726" y="143351"/>
                    <a:pt x="3905726" y="143351"/>
                  </a:cubicBezTo>
                  <a:cubicBezTo>
                    <a:pt x="3900011" y="150019"/>
                    <a:pt x="3894296" y="158591"/>
                    <a:pt x="3887629" y="167164"/>
                  </a:cubicBezTo>
                  <a:cubicBezTo>
                    <a:pt x="3880961" y="175736"/>
                    <a:pt x="3874294" y="185261"/>
                    <a:pt x="3866674" y="195739"/>
                  </a:cubicBezTo>
                  <a:cubicBezTo>
                    <a:pt x="3864769" y="190976"/>
                    <a:pt x="3863816" y="186214"/>
                    <a:pt x="3862864" y="182404"/>
                  </a:cubicBezTo>
                  <a:cubicBezTo>
                    <a:pt x="3857149" y="165259"/>
                    <a:pt x="3854291" y="155734"/>
                    <a:pt x="3854291" y="155734"/>
                  </a:cubicBezTo>
                  <a:cubicBezTo>
                    <a:pt x="3854291" y="155734"/>
                    <a:pt x="3856196" y="166211"/>
                    <a:pt x="3859054" y="183356"/>
                  </a:cubicBezTo>
                  <a:cubicBezTo>
                    <a:pt x="3860006" y="189071"/>
                    <a:pt x="3861911" y="195739"/>
                    <a:pt x="3862864" y="202406"/>
                  </a:cubicBezTo>
                  <a:cubicBezTo>
                    <a:pt x="3860959" y="204311"/>
                    <a:pt x="3860006" y="207169"/>
                    <a:pt x="3858101" y="209074"/>
                  </a:cubicBezTo>
                  <a:cubicBezTo>
                    <a:pt x="3856196" y="211931"/>
                    <a:pt x="3855244" y="213836"/>
                    <a:pt x="3853339" y="216694"/>
                  </a:cubicBezTo>
                  <a:cubicBezTo>
                    <a:pt x="3851434" y="208121"/>
                    <a:pt x="3850481" y="200501"/>
                    <a:pt x="3849529" y="195739"/>
                  </a:cubicBezTo>
                  <a:cubicBezTo>
                    <a:pt x="3850481" y="189071"/>
                    <a:pt x="3851434" y="183356"/>
                    <a:pt x="3852386" y="178594"/>
                  </a:cubicBezTo>
                  <a:cubicBezTo>
                    <a:pt x="3854291" y="166211"/>
                    <a:pt x="3855244" y="158591"/>
                    <a:pt x="3855244" y="158591"/>
                  </a:cubicBezTo>
                  <a:cubicBezTo>
                    <a:pt x="3855244" y="158591"/>
                    <a:pt x="3853339" y="165259"/>
                    <a:pt x="3848576" y="177641"/>
                  </a:cubicBezTo>
                  <a:cubicBezTo>
                    <a:pt x="3846671" y="184309"/>
                    <a:pt x="3844766" y="190976"/>
                    <a:pt x="3841909" y="199549"/>
                  </a:cubicBezTo>
                  <a:cubicBezTo>
                    <a:pt x="3840956" y="204311"/>
                    <a:pt x="3839051" y="208121"/>
                    <a:pt x="3838099" y="212884"/>
                  </a:cubicBezTo>
                  <a:cubicBezTo>
                    <a:pt x="3837146" y="216694"/>
                    <a:pt x="3836194" y="221456"/>
                    <a:pt x="3835241" y="225266"/>
                  </a:cubicBezTo>
                  <a:cubicBezTo>
                    <a:pt x="3835241" y="224314"/>
                    <a:pt x="3834289" y="223361"/>
                    <a:pt x="3834289" y="222409"/>
                  </a:cubicBezTo>
                  <a:cubicBezTo>
                    <a:pt x="3831431" y="217646"/>
                    <a:pt x="3828574" y="212884"/>
                    <a:pt x="3825716" y="209074"/>
                  </a:cubicBezTo>
                  <a:cubicBezTo>
                    <a:pt x="3815239" y="193834"/>
                    <a:pt x="3809524" y="184309"/>
                    <a:pt x="3809524" y="184309"/>
                  </a:cubicBezTo>
                  <a:cubicBezTo>
                    <a:pt x="3809524" y="184309"/>
                    <a:pt x="3814286" y="193834"/>
                    <a:pt x="3821906" y="210979"/>
                  </a:cubicBezTo>
                  <a:cubicBezTo>
                    <a:pt x="3823811" y="214789"/>
                    <a:pt x="3825716" y="219551"/>
                    <a:pt x="3828574" y="224314"/>
                  </a:cubicBezTo>
                  <a:cubicBezTo>
                    <a:pt x="3829526" y="227171"/>
                    <a:pt x="3831431" y="230981"/>
                    <a:pt x="3832384" y="234791"/>
                  </a:cubicBezTo>
                  <a:cubicBezTo>
                    <a:pt x="3831431" y="241459"/>
                    <a:pt x="3829526" y="248126"/>
                    <a:pt x="3828574" y="254794"/>
                  </a:cubicBezTo>
                  <a:cubicBezTo>
                    <a:pt x="3827621" y="256699"/>
                    <a:pt x="3826669" y="257651"/>
                    <a:pt x="3825716" y="259556"/>
                  </a:cubicBezTo>
                  <a:cubicBezTo>
                    <a:pt x="3823811" y="262414"/>
                    <a:pt x="3821906" y="266224"/>
                    <a:pt x="3820954" y="269081"/>
                  </a:cubicBezTo>
                  <a:cubicBezTo>
                    <a:pt x="3820954" y="268129"/>
                    <a:pt x="3820001" y="268129"/>
                    <a:pt x="3820001" y="267176"/>
                  </a:cubicBezTo>
                  <a:cubicBezTo>
                    <a:pt x="3810476" y="255746"/>
                    <a:pt x="3804761" y="249079"/>
                    <a:pt x="3804761" y="249079"/>
                  </a:cubicBezTo>
                  <a:cubicBezTo>
                    <a:pt x="3804761" y="249079"/>
                    <a:pt x="3809524" y="256699"/>
                    <a:pt x="3817144" y="270034"/>
                  </a:cubicBezTo>
                  <a:cubicBezTo>
                    <a:pt x="3818096" y="270986"/>
                    <a:pt x="3818096" y="271939"/>
                    <a:pt x="3819049" y="272891"/>
                  </a:cubicBezTo>
                  <a:cubicBezTo>
                    <a:pt x="3815239" y="280511"/>
                    <a:pt x="3811429" y="287179"/>
                    <a:pt x="3806666" y="294799"/>
                  </a:cubicBezTo>
                  <a:cubicBezTo>
                    <a:pt x="3806666" y="294799"/>
                    <a:pt x="3806666" y="294799"/>
                    <a:pt x="3806666" y="294799"/>
                  </a:cubicBezTo>
                  <a:cubicBezTo>
                    <a:pt x="3805714" y="293846"/>
                    <a:pt x="3804761" y="291941"/>
                    <a:pt x="3803809" y="290989"/>
                  </a:cubicBezTo>
                  <a:cubicBezTo>
                    <a:pt x="3803809" y="290036"/>
                    <a:pt x="3803809" y="289084"/>
                    <a:pt x="3802856" y="287179"/>
                  </a:cubicBezTo>
                  <a:cubicBezTo>
                    <a:pt x="3801904" y="283369"/>
                    <a:pt x="3800951" y="280511"/>
                    <a:pt x="3799999" y="276701"/>
                  </a:cubicBezTo>
                  <a:cubicBezTo>
                    <a:pt x="3798094" y="270034"/>
                    <a:pt x="3796189" y="265271"/>
                    <a:pt x="3795236" y="260509"/>
                  </a:cubicBezTo>
                  <a:cubicBezTo>
                    <a:pt x="3792379" y="250984"/>
                    <a:pt x="3790474" y="246221"/>
                    <a:pt x="3790474" y="246221"/>
                  </a:cubicBezTo>
                  <a:cubicBezTo>
                    <a:pt x="3790474" y="246221"/>
                    <a:pt x="3790474" y="251936"/>
                    <a:pt x="3791426" y="260509"/>
                  </a:cubicBezTo>
                  <a:cubicBezTo>
                    <a:pt x="3791426" y="264319"/>
                    <a:pt x="3792379" y="269081"/>
                    <a:pt x="3792379" y="273844"/>
                  </a:cubicBezTo>
                  <a:cubicBezTo>
                    <a:pt x="3790474" y="271939"/>
                    <a:pt x="3789521" y="270034"/>
                    <a:pt x="3787616" y="268129"/>
                  </a:cubicBezTo>
                  <a:cubicBezTo>
                    <a:pt x="3783806" y="263366"/>
                    <a:pt x="3779996" y="259556"/>
                    <a:pt x="3777139" y="255746"/>
                  </a:cubicBezTo>
                  <a:cubicBezTo>
                    <a:pt x="3776186" y="251936"/>
                    <a:pt x="3774281" y="249079"/>
                    <a:pt x="3773329" y="246221"/>
                  </a:cubicBezTo>
                  <a:cubicBezTo>
                    <a:pt x="3767614" y="231934"/>
                    <a:pt x="3764756" y="224314"/>
                    <a:pt x="3764756" y="224314"/>
                  </a:cubicBezTo>
                  <a:cubicBezTo>
                    <a:pt x="3764756" y="224314"/>
                    <a:pt x="3766661" y="232886"/>
                    <a:pt x="3769519" y="247174"/>
                  </a:cubicBezTo>
                  <a:cubicBezTo>
                    <a:pt x="3771424" y="254794"/>
                    <a:pt x="3773329" y="263366"/>
                    <a:pt x="3776186" y="273844"/>
                  </a:cubicBezTo>
                  <a:cubicBezTo>
                    <a:pt x="3778091" y="281464"/>
                    <a:pt x="3779996" y="290989"/>
                    <a:pt x="3781901" y="299561"/>
                  </a:cubicBezTo>
                  <a:cubicBezTo>
                    <a:pt x="3775234" y="275749"/>
                    <a:pt x="3767614" y="253841"/>
                    <a:pt x="3760946" y="234791"/>
                  </a:cubicBezTo>
                  <a:cubicBezTo>
                    <a:pt x="3759041" y="229076"/>
                    <a:pt x="3757136" y="224314"/>
                    <a:pt x="3755231" y="218599"/>
                  </a:cubicBezTo>
                  <a:cubicBezTo>
                    <a:pt x="3758089" y="214789"/>
                    <a:pt x="3759041" y="211931"/>
                    <a:pt x="3759041" y="211931"/>
                  </a:cubicBezTo>
                  <a:cubicBezTo>
                    <a:pt x="3759041" y="211931"/>
                    <a:pt x="3757136" y="213836"/>
                    <a:pt x="3754279" y="217646"/>
                  </a:cubicBezTo>
                  <a:cubicBezTo>
                    <a:pt x="3753326" y="213836"/>
                    <a:pt x="3752374" y="210979"/>
                    <a:pt x="3750469" y="208121"/>
                  </a:cubicBezTo>
                  <a:cubicBezTo>
                    <a:pt x="3752374" y="201454"/>
                    <a:pt x="3752374" y="197644"/>
                    <a:pt x="3752374" y="197644"/>
                  </a:cubicBezTo>
                  <a:cubicBezTo>
                    <a:pt x="3752374" y="197644"/>
                    <a:pt x="3751421" y="200501"/>
                    <a:pt x="3748564" y="205264"/>
                  </a:cubicBezTo>
                  <a:cubicBezTo>
                    <a:pt x="3739991" y="181451"/>
                    <a:pt x="3734276" y="167164"/>
                    <a:pt x="3734276" y="167164"/>
                  </a:cubicBezTo>
                  <a:cubicBezTo>
                    <a:pt x="3734276" y="167164"/>
                    <a:pt x="3737134" y="186214"/>
                    <a:pt x="3742849" y="217646"/>
                  </a:cubicBezTo>
                  <a:cubicBezTo>
                    <a:pt x="3740944" y="222409"/>
                    <a:pt x="3738086" y="229076"/>
                    <a:pt x="3736181" y="236696"/>
                  </a:cubicBezTo>
                  <a:cubicBezTo>
                    <a:pt x="3736181" y="237649"/>
                    <a:pt x="3736181" y="237649"/>
                    <a:pt x="3735229" y="238601"/>
                  </a:cubicBezTo>
                  <a:cubicBezTo>
                    <a:pt x="3733324" y="240506"/>
                    <a:pt x="3731419" y="243364"/>
                    <a:pt x="3730466" y="245269"/>
                  </a:cubicBezTo>
                  <a:cubicBezTo>
                    <a:pt x="3728561" y="242411"/>
                    <a:pt x="3727609" y="239554"/>
                    <a:pt x="3726656" y="236696"/>
                  </a:cubicBezTo>
                  <a:cubicBezTo>
                    <a:pt x="3726656" y="235744"/>
                    <a:pt x="3726656" y="234791"/>
                    <a:pt x="3726656" y="232886"/>
                  </a:cubicBezTo>
                  <a:cubicBezTo>
                    <a:pt x="3726656" y="221456"/>
                    <a:pt x="3725704" y="214789"/>
                    <a:pt x="3725704" y="214789"/>
                  </a:cubicBezTo>
                  <a:cubicBezTo>
                    <a:pt x="3725704" y="214789"/>
                    <a:pt x="3724751" y="220504"/>
                    <a:pt x="3722846" y="230029"/>
                  </a:cubicBezTo>
                  <a:cubicBezTo>
                    <a:pt x="3722846" y="230029"/>
                    <a:pt x="3722846" y="229076"/>
                    <a:pt x="3721894" y="229076"/>
                  </a:cubicBezTo>
                  <a:cubicBezTo>
                    <a:pt x="3721894" y="229076"/>
                    <a:pt x="3721894" y="229076"/>
                    <a:pt x="3721894" y="229076"/>
                  </a:cubicBezTo>
                  <a:cubicBezTo>
                    <a:pt x="3723799" y="215741"/>
                    <a:pt x="3724751" y="203359"/>
                    <a:pt x="3725704" y="190976"/>
                  </a:cubicBezTo>
                  <a:cubicBezTo>
                    <a:pt x="3726656" y="184309"/>
                    <a:pt x="3726656" y="178594"/>
                    <a:pt x="3727609" y="172879"/>
                  </a:cubicBezTo>
                  <a:cubicBezTo>
                    <a:pt x="3728561" y="167164"/>
                    <a:pt x="3729514" y="161449"/>
                    <a:pt x="3730466" y="155734"/>
                  </a:cubicBezTo>
                  <a:cubicBezTo>
                    <a:pt x="3732371" y="145256"/>
                    <a:pt x="3733324" y="135731"/>
                    <a:pt x="3734276" y="128111"/>
                  </a:cubicBezTo>
                  <a:cubicBezTo>
                    <a:pt x="3736181" y="112871"/>
                    <a:pt x="3737134" y="104299"/>
                    <a:pt x="3737134" y="104299"/>
                  </a:cubicBezTo>
                  <a:cubicBezTo>
                    <a:pt x="3737134" y="104299"/>
                    <a:pt x="3734276" y="112871"/>
                    <a:pt x="3730466" y="127159"/>
                  </a:cubicBezTo>
                  <a:cubicBezTo>
                    <a:pt x="3728561" y="134779"/>
                    <a:pt x="3725704" y="143351"/>
                    <a:pt x="3722846" y="153829"/>
                  </a:cubicBezTo>
                  <a:cubicBezTo>
                    <a:pt x="3720941" y="158591"/>
                    <a:pt x="3719989" y="164306"/>
                    <a:pt x="3718084" y="170021"/>
                  </a:cubicBezTo>
                  <a:cubicBezTo>
                    <a:pt x="3717131" y="175736"/>
                    <a:pt x="3715226" y="182404"/>
                    <a:pt x="3714274" y="188119"/>
                  </a:cubicBezTo>
                  <a:cubicBezTo>
                    <a:pt x="3713321" y="194786"/>
                    <a:pt x="3711416" y="201454"/>
                    <a:pt x="3710464" y="208121"/>
                  </a:cubicBezTo>
                  <a:cubicBezTo>
                    <a:pt x="3710464" y="208121"/>
                    <a:pt x="3710464" y="208121"/>
                    <a:pt x="3710464" y="207169"/>
                  </a:cubicBezTo>
                  <a:cubicBezTo>
                    <a:pt x="3702844" y="194786"/>
                    <a:pt x="3697129" y="184309"/>
                    <a:pt x="3691414" y="174784"/>
                  </a:cubicBezTo>
                  <a:cubicBezTo>
                    <a:pt x="3684746" y="164306"/>
                    <a:pt x="3679984" y="155734"/>
                    <a:pt x="3677126" y="150971"/>
                  </a:cubicBezTo>
                  <a:cubicBezTo>
                    <a:pt x="3678079" y="142399"/>
                    <a:pt x="3678079" y="137636"/>
                    <a:pt x="3678079" y="137636"/>
                  </a:cubicBezTo>
                  <a:cubicBezTo>
                    <a:pt x="3678079" y="137636"/>
                    <a:pt x="3677126" y="141446"/>
                    <a:pt x="3675221" y="149066"/>
                  </a:cubicBezTo>
                  <a:cubicBezTo>
                    <a:pt x="3674269" y="148114"/>
                    <a:pt x="3674269" y="147161"/>
                    <a:pt x="3674269" y="147161"/>
                  </a:cubicBezTo>
                  <a:cubicBezTo>
                    <a:pt x="3674269" y="147161"/>
                    <a:pt x="3674269" y="148114"/>
                    <a:pt x="3675221" y="150019"/>
                  </a:cubicBezTo>
                  <a:cubicBezTo>
                    <a:pt x="3674269" y="153829"/>
                    <a:pt x="3673316" y="158591"/>
                    <a:pt x="3672364" y="164306"/>
                  </a:cubicBezTo>
                  <a:cubicBezTo>
                    <a:pt x="3670459" y="172879"/>
                    <a:pt x="3668554" y="182404"/>
                    <a:pt x="3665696" y="194786"/>
                  </a:cubicBezTo>
                  <a:cubicBezTo>
                    <a:pt x="3664744" y="199549"/>
                    <a:pt x="3663791" y="204311"/>
                    <a:pt x="3662839" y="209074"/>
                  </a:cubicBezTo>
                  <a:cubicBezTo>
                    <a:pt x="3662839" y="209074"/>
                    <a:pt x="3662839" y="210026"/>
                    <a:pt x="3661886" y="210026"/>
                  </a:cubicBezTo>
                  <a:cubicBezTo>
                    <a:pt x="3660934" y="211931"/>
                    <a:pt x="3659029" y="214789"/>
                    <a:pt x="3658076" y="216694"/>
                  </a:cubicBezTo>
                  <a:cubicBezTo>
                    <a:pt x="3659029" y="190976"/>
                    <a:pt x="3658076" y="174784"/>
                    <a:pt x="3658076" y="174784"/>
                  </a:cubicBezTo>
                  <a:cubicBezTo>
                    <a:pt x="3658076" y="174784"/>
                    <a:pt x="3652361" y="200501"/>
                    <a:pt x="3645694" y="239554"/>
                  </a:cubicBezTo>
                  <a:cubicBezTo>
                    <a:pt x="3645694" y="241459"/>
                    <a:pt x="3644741" y="244316"/>
                    <a:pt x="3644741" y="246221"/>
                  </a:cubicBezTo>
                  <a:cubicBezTo>
                    <a:pt x="3644741" y="247174"/>
                    <a:pt x="3643789" y="248126"/>
                    <a:pt x="3643789" y="249079"/>
                  </a:cubicBezTo>
                  <a:cubicBezTo>
                    <a:pt x="3642836" y="251936"/>
                    <a:pt x="3641884" y="255746"/>
                    <a:pt x="3640931" y="259556"/>
                  </a:cubicBezTo>
                  <a:cubicBezTo>
                    <a:pt x="3636169" y="249079"/>
                    <a:pt x="3633311" y="243364"/>
                    <a:pt x="3633311" y="243364"/>
                  </a:cubicBezTo>
                  <a:cubicBezTo>
                    <a:pt x="3633311" y="243364"/>
                    <a:pt x="3635216" y="250984"/>
                    <a:pt x="3639979" y="265271"/>
                  </a:cubicBezTo>
                  <a:cubicBezTo>
                    <a:pt x="3639026" y="268129"/>
                    <a:pt x="3638074" y="271939"/>
                    <a:pt x="3637121" y="275749"/>
                  </a:cubicBezTo>
                  <a:cubicBezTo>
                    <a:pt x="3631406" y="266224"/>
                    <a:pt x="3627596" y="261461"/>
                    <a:pt x="3627596" y="261461"/>
                  </a:cubicBezTo>
                  <a:cubicBezTo>
                    <a:pt x="3627596" y="261461"/>
                    <a:pt x="3630454" y="268129"/>
                    <a:pt x="3635216" y="280511"/>
                  </a:cubicBezTo>
                  <a:cubicBezTo>
                    <a:pt x="3635216" y="280511"/>
                    <a:pt x="3635216" y="280511"/>
                    <a:pt x="3635216" y="281464"/>
                  </a:cubicBezTo>
                  <a:cubicBezTo>
                    <a:pt x="3633311" y="290036"/>
                    <a:pt x="3631406" y="299561"/>
                    <a:pt x="3630454" y="309086"/>
                  </a:cubicBezTo>
                  <a:cubicBezTo>
                    <a:pt x="3629501" y="316706"/>
                    <a:pt x="3628549" y="324326"/>
                    <a:pt x="3627596" y="332899"/>
                  </a:cubicBezTo>
                  <a:cubicBezTo>
                    <a:pt x="3624739" y="325279"/>
                    <a:pt x="3622834" y="318611"/>
                    <a:pt x="3620929" y="312896"/>
                  </a:cubicBezTo>
                  <a:cubicBezTo>
                    <a:pt x="3620929" y="310991"/>
                    <a:pt x="3620929" y="309086"/>
                    <a:pt x="3620929" y="309086"/>
                  </a:cubicBezTo>
                  <a:cubicBezTo>
                    <a:pt x="3620929" y="309086"/>
                    <a:pt x="3620929" y="310039"/>
                    <a:pt x="3619976" y="310991"/>
                  </a:cubicBezTo>
                  <a:cubicBezTo>
                    <a:pt x="3619976" y="310039"/>
                    <a:pt x="3619024" y="309086"/>
                    <a:pt x="3619024" y="308134"/>
                  </a:cubicBezTo>
                  <a:cubicBezTo>
                    <a:pt x="3620929" y="295751"/>
                    <a:pt x="3621881" y="284321"/>
                    <a:pt x="3622834" y="272891"/>
                  </a:cubicBezTo>
                  <a:cubicBezTo>
                    <a:pt x="3624739" y="252889"/>
                    <a:pt x="3625691" y="234791"/>
                    <a:pt x="3626644" y="221456"/>
                  </a:cubicBezTo>
                  <a:cubicBezTo>
                    <a:pt x="3629501" y="215741"/>
                    <a:pt x="3630454" y="211931"/>
                    <a:pt x="3630454" y="211931"/>
                  </a:cubicBezTo>
                  <a:cubicBezTo>
                    <a:pt x="3630454" y="211931"/>
                    <a:pt x="3629501" y="213836"/>
                    <a:pt x="3626644" y="216694"/>
                  </a:cubicBezTo>
                  <a:cubicBezTo>
                    <a:pt x="3626644" y="215741"/>
                    <a:pt x="3626644" y="214789"/>
                    <a:pt x="3626644" y="214789"/>
                  </a:cubicBezTo>
                  <a:cubicBezTo>
                    <a:pt x="3626644" y="200501"/>
                    <a:pt x="3626644" y="192881"/>
                    <a:pt x="3626644" y="192881"/>
                  </a:cubicBezTo>
                  <a:cubicBezTo>
                    <a:pt x="3626644" y="192881"/>
                    <a:pt x="3624739" y="200501"/>
                    <a:pt x="3622834" y="214789"/>
                  </a:cubicBezTo>
                  <a:cubicBezTo>
                    <a:pt x="3621881" y="217646"/>
                    <a:pt x="3621881" y="221456"/>
                    <a:pt x="3620929" y="226219"/>
                  </a:cubicBezTo>
                  <a:cubicBezTo>
                    <a:pt x="3620929" y="226219"/>
                    <a:pt x="3620929" y="226219"/>
                    <a:pt x="3620929" y="227171"/>
                  </a:cubicBezTo>
                  <a:cubicBezTo>
                    <a:pt x="3618071" y="231934"/>
                    <a:pt x="3614261" y="237649"/>
                    <a:pt x="3609499" y="243364"/>
                  </a:cubicBezTo>
                  <a:cubicBezTo>
                    <a:pt x="3607594" y="246221"/>
                    <a:pt x="3605689" y="249079"/>
                    <a:pt x="3603784" y="251936"/>
                  </a:cubicBezTo>
                  <a:cubicBezTo>
                    <a:pt x="3607594" y="242411"/>
                    <a:pt x="3610451" y="233839"/>
                    <a:pt x="3613309" y="225266"/>
                  </a:cubicBezTo>
                  <a:cubicBezTo>
                    <a:pt x="3615214" y="219551"/>
                    <a:pt x="3617119" y="213836"/>
                    <a:pt x="3619024" y="208121"/>
                  </a:cubicBezTo>
                  <a:cubicBezTo>
                    <a:pt x="3620929" y="202406"/>
                    <a:pt x="3622834" y="197644"/>
                    <a:pt x="3624739" y="192881"/>
                  </a:cubicBezTo>
                  <a:cubicBezTo>
                    <a:pt x="3628549" y="183356"/>
                    <a:pt x="3631406" y="174784"/>
                    <a:pt x="3634264" y="168116"/>
                  </a:cubicBezTo>
                  <a:cubicBezTo>
                    <a:pt x="3639026" y="153829"/>
                    <a:pt x="3642836" y="146209"/>
                    <a:pt x="3642836" y="146209"/>
                  </a:cubicBezTo>
                  <a:cubicBezTo>
                    <a:pt x="3642836" y="146209"/>
                    <a:pt x="3639026" y="153829"/>
                    <a:pt x="3631406" y="166211"/>
                  </a:cubicBezTo>
                  <a:cubicBezTo>
                    <a:pt x="3627596" y="172879"/>
                    <a:pt x="3623786" y="180499"/>
                    <a:pt x="3618071" y="189071"/>
                  </a:cubicBezTo>
                  <a:cubicBezTo>
                    <a:pt x="3615214" y="193834"/>
                    <a:pt x="3613309" y="198596"/>
                    <a:pt x="3610451" y="203359"/>
                  </a:cubicBezTo>
                  <a:cubicBezTo>
                    <a:pt x="3607594" y="209074"/>
                    <a:pt x="3605689" y="213836"/>
                    <a:pt x="3602831" y="219551"/>
                  </a:cubicBezTo>
                  <a:cubicBezTo>
                    <a:pt x="3598069" y="229076"/>
                    <a:pt x="3593306" y="238601"/>
                    <a:pt x="3588544" y="250031"/>
                  </a:cubicBezTo>
                  <a:cubicBezTo>
                    <a:pt x="3588544" y="245269"/>
                    <a:pt x="3588544" y="242411"/>
                    <a:pt x="3588544" y="242411"/>
                  </a:cubicBezTo>
                  <a:cubicBezTo>
                    <a:pt x="3588544" y="242411"/>
                    <a:pt x="3587591" y="248126"/>
                    <a:pt x="3585686" y="256699"/>
                  </a:cubicBezTo>
                  <a:cubicBezTo>
                    <a:pt x="3585686" y="256699"/>
                    <a:pt x="3585686" y="256699"/>
                    <a:pt x="3585686" y="257651"/>
                  </a:cubicBezTo>
                  <a:cubicBezTo>
                    <a:pt x="3583781" y="261461"/>
                    <a:pt x="3581876" y="266224"/>
                    <a:pt x="3579971" y="270986"/>
                  </a:cubicBezTo>
                  <a:cubicBezTo>
                    <a:pt x="3578066" y="274796"/>
                    <a:pt x="3576161" y="278606"/>
                    <a:pt x="3573304" y="282416"/>
                  </a:cubicBezTo>
                  <a:cubicBezTo>
                    <a:pt x="3571399" y="275749"/>
                    <a:pt x="3569494" y="269081"/>
                    <a:pt x="3568541" y="263366"/>
                  </a:cubicBezTo>
                  <a:cubicBezTo>
                    <a:pt x="3566636" y="257651"/>
                    <a:pt x="3565684" y="252889"/>
                    <a:pt x="3564731" y="248126"/>
                  </a:cubicBezTo>
                  <a:cubicBezTo>
                    <a:pt x="3564731" y="248126"/>
                    <a:pt x="3564731" y="248126"/>
                    <a:pt x="3564731" y="248126"/>
                  </a:cubicBezTo>
                  <a:cubicBezTo>
                    <a:pt x="3563779" y="244316"/>
                    <a:pt x="3563779" y="241459"/>
                    <a:pt x="3562826" y="237649"/>
                  </a:cubicBezTo>
                  <a:cubicBezTo>
                    <a:pt x="3562826" y="236696"/>
                    <a:pt x="3562826" y="235744"/>
                    <a:pt x="3561874" y="233839"/>
                  </a:cubicBezTo>
                  <a:cubicBezTo>
                    <a:pt x="3564731" y="230029"/>
                    <a:pt x="3566636" y="227171"/>
                    <a:pt x="3566636" y="227171"/>
                  </a:cubicBezTo>
                  <a:cubicBezTo>
                    <a:pt x="3566636" y="227171"/>
                    <a:pt x="3564731" y="229076"/>
                    <a:pt x="3561874" y="230981"/>
                  </a:cubicBezTo>
                  <a:cubicBezTo>
                    <a:pt x="3559969" y="222409"/>
                    <a:pt x="3559016" y="218599"/>
                    <a:pt x="3559016" y="218599"/>
                  </a:cubicBezTo>
                  <a:cubicBezTo>
                    <a:pt x="3559016" y="218599"/>
                    <a:pt x="3559016" y="223361"/>
                    <a:pt x="3559016" y="231934"/>
                  </a:cubicBezTo>
                  <a:cubicBezTo>
                    <a:pt x="3557111" y="228124"/>
                    <a:pt x="3556159" y="224314"/>
                    <a:pt x="3554254" y="220504"/>
                  </a:cubicBezTo>
                  <a:cubicBezTo>
                    <a:pt x="3559969" y="211931"/>
                    <a:pt x="3564731" y="204311"/>
                    <a:pt x="3569494" y="197644"/>
                  </a:cubicBezTo>
                  <a:cubicBezTo>
                    <a:pt x="3576161" y="189071"/>
                    <a:pt x="3580924" y="180499"/>
                    <a:pt x="3585686" y="174784"/>
                  </a:cubicBezTo>
                  <a:cubicBezTo>
                    <a:pt x="3595211" y="162401"/>
                    <a:pt x="3600926" y="154781"/>
                    <a:pt x="3600926" y="154781"/>
                  </a:cubicBezTo>
                  <a:cubicBezTo>
                    <a:pt x="3600926" y="154781"/>
                    <a:pt x="3594259" y="160496"/>
                    <a:pt x="3582829" y="171926"/>
                  </a:cubicBezTo>
                  <a:cubicBezTo>
                    <a:pt x="3577114" y="176689"/>
                    <a:pt x="3570446" y="184309"/>
                    <a:pt x="3562826" y="192881"/>
                  </a:cubicBezTo>
                  <a:cubicBezTo>
                    <a:pt x="3558064" y="197644"/>
                    <a:pt x="3553301" y="203359"/>
                    <a:pt x="3549491" y="209074"/>
                  </a:cubicBezTo>
                  <a:cubicBezTo>
                    <a:pt x="3545681" y="199549"/>
                    <a:pt x="3542824" y="193834"/>
                    <a:pt x="3542824" y="193834"/>
                  </a:cubicBezTo>
                  <a:cubicBezTo>
                    <a:pt x="3542824" y="193834"/>
                    <a:pt x="3543776" y="200501"/>
                    <a:pt x="3546634" y="212884"/>
                  </a:cubicBezTo>
                  <a:cubicBezTo>
                    <a:pt x="3544729" y="215741"/>
                    <a:pt x="3541871" y="218599"/>
                    <a:pt x="3539966" y="222409"/>
                  </a:cubicBezTo>
                  <a:cubicBezTo>
                    <a:pt x="3539966" y="222409"/>
                    <a:pt x="3539014" y="223361"/>
                    <a:pt x="3539014" y="223361"/>
                  </a:cubicBezTo>
                  <a:cubicBezTo>
                    <a:pt x="3539014" y="219551"/>
                    <a:pt x="3539014" y="214789"/>
                    <a:pt x="3539014" y="210979"/>
                  </a:cubicBezTo>
                  <a:cubicBezTo>
                    <a:pt x="3539014" y="200501"/>
                    <a:pt x="3539014" y="191929"/>
                    <a:pt x="3539014" y="184309"/>
                  </a:cubicBezTo>
                  <a:cubicBezTo>
                    <a:pt x="3539014" y="180499"/>
                    <a:pt x="3539014" y="176689"/>
                    <a:pt x="3539014" y="173831"/>
                  </a:cubicBezTo>
                  <a:cubicBezTo>
                    <a:pt x="3539966" y="170974"/>
                    <a:pt x="3540919" y="170021"/>
                    <a:pt x="3540919" y="170021"/>
                  </a:cubicBezTo>
                  <a:cubicBezTo>
                    <a:pt x="3540919" y="170021"/>
                    <a:pt x="3539966" y="170974"/>
                    <a:pt x="3539014" y="172879"/>
                  </a:cubicBezTo>
                  <a:cubicBezTo>
                    <a:pt x="3539014" y="166211"/>
                    <a:pt x="3539014" y="162401"/>
                    <a:pt x="3539014" y="162401"/>
                  </a:cubicBezTo>
                  <a:cubicBezTo>
                    <a:pt x="3539014" y="162401"/>
                    <a:pt x="3538061" y="167164"/>
                    <a:pt x="3537109" y="176689"/>
                  </a:cubicBezTo>
                  <a:cubicBezTo>
                    <a:pt x="3535204" y="180499"/>
                    <a:pt x="3531394" y="184309"/>
                    <a:pt x="3527584" y="190976"/>
                  </a:cubicBezTo>
                  <a:cubicBezTo>
                    <a:pt x="3522821" y="197644"/>
                    <a:pt x="3518059" y="205264"/>
                    <a:pt x="3511391" y="214789"/>
                  </a:cubicBezTo>
                  <a:cubicBezTo>
                    <a:pt x="3511391" y="214789"/>
                    <a:pt x="3511391" y="215741"/>
                    <a:pt x="3510439" y="215741"/>
                  </a:cubicBezTo>
                  <a:cubicBezTo>
                    <a:pt x="3509486" y="210026"/>
                    <a:pt x="3509486" y="205264"/>
                    <a:pt x="3508534" y="201454"/>
                  </a:cubicBezTo>
                  <a:cubicBezTo>
                    <a:pt x="3506629" y="188119"/>
                    <a:pt x="3505676" y="180499"/>
                    <a:pt x="3505676" y="180499"/>
                  </a:cubicBezTo>
                  <a:cubicBezTo>
                    <a:pt x="3505676" y="180499"/>
                    <a:pt x="3505676" y="188119"/>
                    <a:pt x="3504724" y="202406"/>
                  </a:cubicBezTo>
                  <a:cubicBezTo>
                    <a:pt x="3504724" y="209074"/>
                    <a:pt x="3504724" y="216694"/>
                    <a:pt x="3503771" y="226219"/>
                  </a:cubicBezTo>
                  <a:cubicBezTo>
                    <a:pt x="3502819" y="228124"/>
                    <a:pt x="3501866" y="229076"/>
                    <a:pt x="3500914" y="230981"/>
                  </a:cubicBezTo>
                  <a:cubicBezTo>
                    <a:pt x="3498056" y="235744"/>
                    <a:pt x="3495199" y="241459"/>
                    <a:pt x="3491389" y="247174"/>
                  </a:cubicBezTo>
                  <a:cubicBezTo>
                    <a:pt x="3488531" y="241459"/>
                    <a:pt x="3486626" y="235744"/>
                    <a:pt x="3483769" y="230029"/>
                  </a:cubicBezTo>
                  <a:cubicBezTo>
                    <a:pt x="3479006" y="218599"/>
                    <a:pt x="3474244" y="209074"/>
                    <a:pt x="3469481" y="200501"/>
                  </a:cubicBezTo>
                  <a:cubicBezTo>
                    <a:pt x="3470434" y="197644"/>
                    <a:pt x="3471386" y="193834"/>
                    <a:pt x="3471386" y="190976"/>
                  </a:cubicBezTo>
                  <a:cubicBezTo>
                    <a:pt x="3473291" y="182404"/>
                    <a:pt x="3475196" y="174784"/>
                    <a:pt x="3477101" y="167164"/>
                  </a:cubicBezTo>
                  <a:cubicBezTo>
                    <a:pt x="3479006" y="159544"/>
                    <a:pt x="3480911" y="152876"/>
                    <a:pt x="3482816" y="146209"/>
                  </a:cubicBezTo>
                  <a:cubicBezTo>
                    <a:pt x="3486626" y="132874"/>
                    <a:pt x="3489484" y="121444"/>
                    <a:pt x="3492341" y="111919"/>
                  </a:cubicBezTo>
                  <a:cubicBezTo>
                    <a:pt x="3497104" y="92869"/>
                    <a:pt x="3499961" y="82391"/>
                    <a:pt x="3499961" y="82391"/>
                  </a:cubicBezTo>
                  <a:cubicBezTo>
                    <a:pt x="3499961" y="82391"/>
                    <a:pt x="3496151" y="92869"/>
                    <a:pt x="3488531" y="110966"/>
                  </a:cubicBezTo>
                  <a:cubicBezTo>
                    <a:pt x="3484721" y="120491"/>
                    <a:pt x="3480911" y="130969"/>
                    <a:pt x="3476149" y="144304"/>
                  </a:cubicBezTo>
                  <a:cubicBezTo>
                    <a:pt x="3473291" y="150971"/>
                    <a:pt x="3471386" y="157639"/>
                    <a:pt x="3468529" y="164306"/>
                  </a:cubicBezTo>
                  <a:cubicBezTo>
                    <a:pt x="3466624" y="170974"/>
                    <a:pt x="3464719" y="177641"/>
                    <a:pt x="3461861" y="185261"/>
                  </a:cubicBezTo>
                  <a:cubicBezTo>
                    <a:pt x="3456146" y="173831"/>
                    <a:pt x="3452336" y="168116"/>
                    <a:pt x="3452336" y="168116"/>
                  </a:cubicBezTo>
                  <a:cubicBezTo>
                    <a:pt x="3452336" y="168116"/>
                    <a:pt x="3455194" y="175736"/>
                    <a:pt x="3460909" y="189071"/>
                  </a:cubicBezTo>
                  <a:cubicBezTo>
                    <a:pt x="3457099" y="200501"/>
                    <a:pt x="3454241" y="211931"/>
                    <a:pt x="3450431" y="225266"/>
                  </a:cubicBezTo>
                  <a:cubicBezTo>
                    <a:pt x="3447574" y="220504"/>
                    <a:pt x="3444716" y="214789"/>
                    <a:pt x="3441859" y="210026"/>
                  </a:cubicBezTo>
                  <a:cubicBezTo>
                    <a:pt x="3441859" y="209074"/>
                    <a:pt x="3441859" y="208121"/>
                    <a:pt x="3442811" y="208121"/>
                  </a:cubicBezTo>
                  <a:cubicBezTo>
                    <a:pt x="3444716" y="197644"/>
                    <a:pt x="3445669" y="190976"/>
                    <a:pt x="3445669" y="190976"/>
                  </a:cubicBezTo>
                  <a:cubicBezTo>
                    <a:pt x="3445669" y="190976"/>
                    <a:pt x="3442811" y="196691"/>
                    <a:pt x="3439001" y="205264"/>
                  </a:cubicBezTo>
                  <a:cubicBezTo>
                    <a:pt x="3439001" y="205264"/>
                    <a:pt x="3439001" y="205264"/>
                    <a:pt x="3439001" y="205264"/>
                  </a:cubicBezTo>
                  <a:cubicBezTo>
                    <a:pt x="3439001" y="190976"/>
                    <a:pt x="3439001" y="177641"/>
                    <a:pt x="3438049" y="165259"/>
                  </a:cubicBezTo>
                  <a:cubicBezTo>
                    <a:pt x="3438049" y="153829"/>
                    <a:pt x="3437096" y="144304"/>
                    <a:pt x="3437096" y="135731"/>
                  </a:cubicBezTo>
                  <a:cubicBezTo>
                    <a:pt x="3436144" y="127159"/>
                    <a:pt x="3436144" y="119539"/>
                    <a:pt x="3435191" y="112871"/>
                  </a:cubicBezTo>
                  <a:cubicBezTo>
                    <a:pt x="3434239" y="100489"/>
                    <a:pt x="3433286" y="92869"/>
                    <a:pt x="3433286" y="92869"/>
                  </a:cubicBezTo>
                  <a:cubicBezTo>
                    <a:pt x="3433286" y="92869"/>
                    <a:pt x="3432334" y="100489"/>
                    <a:pt x="3431381" y="112871"/>
                  </a:cubicBezTo>
                  <a:cubicBezTo>
                    <a:pt x="3430429" y="122396"/>
                    <a:pt x="3429476" y="134779"/>
                    <a:pt x="3428524" y="149066"/>
                  </a:cubicBezTo>
                  <a:cubicBezTo>
                    <a:pt x="3428524" y="149066"/>
                    <a:pt x="3428524" y="150019"/>
                    <a:pt x="3428524" y="150019"/>
                  </a:cubicBezTo>
                  <a:cubicBezTo>
                    <a:pt x="3427571" y="143351"/>
                    <a:pt x="3426619" y="137636"/>
                    <a:pt x="3426619" y="131921"/>
                  </a:cubicBezTo>
                  <a:cubicBezTo>
                    <a:pt x="3424714" y="120491"/>
                    <a:pt x="3423761" y="113824"/>
                    <a:pt x="3423761" y="113824"/>
                  </a:cubicBezTo>
                  <a:cubicBezTo>
                    <a:pt x="3423761" y="113824"/>
                    <a:pt x="3422809" y="120491"/>
                    <a:pt x="3422809" y="131921"/>
                  </a:cubicBezTo>
                  <a:cubicBezTo>
                    <a:pt x="3422809" y="142399"/>
                    <a:pt x="3421856" y="157639"/>
                    <a:pt x="3420904" y="174784"/>
                  </a:cubicBezTo>
                  <a:cubicBezTo>
                    <a:pt x="3418046" y="170021"/>
                    <a:pt x="3415189" y="166211"/>
                    <a:pt x="3412331" y="162401"/>
                  </a:cubicBezTo>
                  <a:cubicBezTo>
                    <a:pt x="3405664" y="152876"/>
                    <a:pt x="3400901" y="146209"/>
                    <a:pt x="3398044" y="141446"/>
                  </a:cubicBezTo>
                  <a:cubicBezTo>
                    <a:pt x="3398996" y="135731"/>
                    <a:pt x="3400901" y="129064"/>
                    <a:pt x="3401854" y="123349"/>
                  </a:cubicBezTo>
                  <a:cubicBezTo>
                    <a:pt x="3399949" y="128111"/>
                    <a:pt x="3398044" y="133826"/>
                    <a:pt x="3396139" y="139541"/>
                  </a:cubicBezTo>
                  <a:cubicBezTo>
                    <a:pt x="3393281" y="135731"/>
                    <a:pt x="3391376" y="132874"/>
                    <a:pt x="3391376" y="132874"/>
                  </a:cubicBezTo>
                  <a:cubicBezTo>
                    <a:pt x="3391376" y="132874"/>
                    <a:pt x="3392329" y="134779"/>
                    <a:pt x="3395186" y="139541"/>
                  </a:cubicBezTo>
                  <a:cubicBezTo>
                    <a:pt x="3395186" y="140494"/>
                    <a:pt x="3395186" y="140494"/>
                    <a:pt x="3395186" y="141446"/>
                  </a:cubicBezTo>
                  <a:cubicBezTo>
                    <a:pt x="3391376" y="153829"/>
                    <a:pt x="3386614" y="166211"/>
                    <a:pt x="3382804" y="177641"/>
                  </a:cubicBezTo>
                  <a:cubicBezTo>
                    <a:pt x="3382804" y="175736"/>
                    <a:pt x="3382804" y="174784"/>
                    <a:pt x="3382804" y="172879"/>
                  </a:cubicBezTo>
                  <a:cubicBezTo>
                    <a:pt x="3381851" y="158591"/>
                    <a:pt x="3381851" y="150971"/>
                    <a:pt x="3381851" y="150971"/>
                  </a:cubicBezTo>
                  <a:cubicBezTo>
                    <a:pt x="3381851" y="150971"/>
                    <a:pt x="3380899" y="158591"/>
                    <a:pt x="3378994" y="172879"/>
                  </a:cubicBezTo>
                  <a:cubicBezTo>
                    <a:pt x="3378041" y="179546"/>
                    <a:pt x="3377089" y="188119"/>
                    <a:pt x="3376136" y="197644"/>
                  </a:cubicBezTo>
                  <a:cubicBezTo>
                    <a:pt x="3372326" y="210026"/>
                    <a:pt x="3368516" y="222409"/>
                    <a:pt x="3365659" y="234791"/>
                  </a:cubicBezTo>
                  <a:cubicBezTo>
                    <a:pt x="3363754" y="240506"/>
                    <a:pt x="3361849" y="247174"/>
                    <a:pt x="3358991" y="253841"/>
                  </a:cubicBezTo>
                  <a:cubicBezTo>
                    <a:pt x="3358991" y="254794"/>
                    <a:pt x="3358039" y="256699"/>
                    <a:pt x="3358039" y="257651"/>
                  </a:cubicBezTo>
                  <a:cubicBezTo>
                    <a:pt x="3355181" y="250984"/>
                    <a:pt x="3353276" y="244316"/>
                    <a:pt x="3351371" y="239554"/>
                  </a:cubicBezTo>
                  <a:cubicBezTo>
                    <a:pt x="3351371" y="238601"/>
                    <a:pt x="3351371" y="237649"/>
                    <a:pt x="3351371" y="237649"/>
                  </a:cubicBezTo>
                  <a:cubicBezTo>
                    <a:pt x="3351371" y="237649"/>
                    <a:pt x="3351371" y="237649"/>
                    <a:pt x="3351371" y="238601"/>
                  </a:cubicBezTo>
                  <a:cubicBezTo>
                    <a:pt x="3347561" y="228124"/>
                    <a:pt x="3344704" y="221456"/>
                    <a:pt x="3344704" y="221456"/>
                  </a:cubicBezTo>
                  <a:cubicBezTo>
                    <a:pt x="3344704" y="221456"/>
                    <a:pt x="3346609" y="230981"/>
                    <a:pt x="3349466" y="248126"/>
                  </a:cubicBezTo>
                  <a:cubicBezTo>
                    <a:pt x="3348514" y="252889"/>
                    <a:pt x="3348514" y="258604"/>
                    <a:pt x="3347561" y="265271"/>
                  </a:cubicBezTo>
                  <a:cubicBezTo>
                    <a:pt x="3346609" y="270986"/>
                    <a:pt x="3346609" y="276701"/>
                    <a:pt x="3345656" y="283369"/>
                  </a:cubicBezTo>
                  <a:cubicBezTo>
                    <a:pt x="3344704" y="284321"/>
                    <a:pt x="3344704" y="285274"/>
                    <a:pt x="3343751" y="287179"/>
                  </a:cubicBezTo>
                  <a:cubicBezTo>
                    <a:pt x="3341846" y="283369"/>
                    <a:pt x="3340894" y="278606"/>
                    <a:pt x="3339941" y="274796"/>
                  </a:cubicBezTo>
                  <a:cubicBezTo>
                    <a:pt x="3335179" y="259556"/>
                    <a:pt x="3329464" y="245269"/>
                    <a:pt x="3325654" y="231934"/>
                  </a:cubicBezTo>
                  <a:cubicBezTo>
                    <a:pt x="3326606" y="227171"/>
                    <a:pt x="3327559" y="221456"/>
                    <a:pt x="3328511" y="216694"/>
                  </a:cubicBezTo>
                  <a:cubicBezTo>
                    <a:pt x="3332321" y="199549"/>
                    <a:pt x="3334226" y="184309"/>
                    <a:pt x="3338036" y="170974"/>
                  </a:cubicBezTo>
                  <a:cubicBezTo>
                    <a:pt x="3340894" y="157639"/>
                    <a:pt x="3343751" y="145256"/>
                    <a:pt x="3346609" y="136684"/>
                  </a:cubicBezTo>
                  <a:cubicBezTo>
                    <a:pt x="3352324" y="117634"/>
                    <a:pt x="3355181" y="106204"/>
                    <a:pt x="3355181" y="106204"/>
                  </a:cubicBezTo>
                  <a:cubicBezTo>
                    <a:pt x="3355181" y="106204"/>
                    <a:pt x="3350419" y="116681"/>
                    <a:pt x="3342799" y="134779"/>
                  </a:cubicBezTo>
                  <a:cubicBezTo>
                    <a:pt x="3338989" y="144304"/>
                    <a:pt x="3335179" y="155734"/>
                    <a:pt x="3330416" y="169069"/>
                  </a:cubicBezTo>
                  <a:cubicBezTo>
                    <a:pt x="3325654" y="180499"/>
                    <a:pt x="3322796" y="193834"/>
                    <a:pt x="3318986" y="208121"/>
                  </a:cubicBezTo>
                  <a:cubicBezTo>
                    <a:pt x="3318986" y="206216"/>
                    <a:pt x="3318986" y="205264"/>
                    <a:pt x="3318986" y="203359"/>
                  </a:cubicBezTo>
                  <a:cubicBezTo>
                    <a:pt x="3319939" y="200501"/>
                    <a:pt x="3319939" y="198596"/>
                    <a:pt x="3320891" y="195739"/>
                  </a:cubicBezTo>
                  <a:cubicBezTo>
                    <a:pt x="3323749" y="185261"/>
                    <a:pt x="3325654" y="176689"/>
                    <a:pt x="3327559" y="170021"/>
                  </a:cubicBezTo>
                  <a:cubicBezTo>
                    <a:pt x="3330416" y="155734"/>
                    <a:pt x="3332321" y="147161"/>
                    <a:pt x="3332321" y="147161"/>
                  </a:cubicBezTo>
                  <a:cubicBezTo>
                    <a:pt x="3332321" y="147161"/>
                    <a:pt x="3329464" y="154781"/>
                    <a:pt x="3323749" y="169069"/>
                  </a:cubicBezTo>
                  <a:cubicBezTo>
                    <a:pt x="3323749" y="170021"/>
                    <a:pt x="3322796" y="170974"/>
                    <a:pt x="3322796" y="171926"/>
                  </a:cubicBezTo>
                  <a:cubicBezTo>
                    <a:pt x="3322796" y="170021"/>
                    <a:pt x="3323749" y="167164"/>
                    <a:pt x="3323749" y="165259"/>
                  </a:cubicBezTo>
                  <a:cubicBezTo>
                    <a:pt x="3325654" y="158591"/>
                    <a:pt x="3326606" y="152876"/>
                    <a:pt x="3328511" y="147161"/>
                  </a:cubicBezTo>
                  <a:cubicBezTo>
                    <a:pt x="3331369" y="135731"/>
                    <a:pt x="3334226" y="125254"/>
                    <a:pt x="3336131" y="116681"/>
                  </a:cubicBezTo>
                  <a:cubicBezTo>
                    <a:pt x="3339941" y="99536"/>
                    <a:pt x="3341846" y="90011"/>
                    <a:pt x="3341846" y="90011"/>
                  </a:cubicBezTo>
                  <a:cubicBezTo>
                    <a:pt x="3341846" y="90011"/>
                    <a:pt x="3338036" y="99536"/>
                    <a:pt x="3332321" y="114776"/>
                  </a:cubicBezTo>
                  <a:cubicBezTo>
                    <a:pt x="3329464" y="122396"/>
                    <a:pt x="3325654" y="132874"/>
                    <a:pt x="3321844" y="143351"/>
                  </a:cubicBezTo>
                  <a:cubicBezTo>
                    <a:pt x="3319939" y="149066"/>
                    <a:pt x="3318034" y="154781"/>
                    <a:pt x="3315176" y="161449"/>
                  </a:cubicBezTo>
                  <a:cubicBezTo>
                    <a:pt x="3313271" y="168116"/>
                    <a:pt x="3311366" y="174784"/>
                    <a:pt x="3308509" y="181451"/>
                  </a:cubicBezTo>
                  <a:cubicBezTo>
                    <a:pt x="3308509" y="181451"/>
                    <a:pt x="3308509" y="181451"/>
                    <a:pt x="3308509" y="181451"/>
                  </a:cubicBezTo>
                  <a:cubicBezTo>
                    <a:pt x="3307556" y="179546"/>
                    <a:pt x="3307556" y="178594"/>
                    <a:pt x="3306604" y="176689"/>
                  </a:cubicBezTo>
                  <a:cubicBezTo>
                    <a:pt x="3298031" y="153829"/>
                    <a:pt x="3292316" y="140494"/>
                    <a:pt x="3292316" y="140494"/>
                  </a:cubicBezTo>
                  <a:cubicBezTo>
                    <a:pt x="3292316" y="140494"/>
                    <a:pt x="3297079" y="158591"/>
                    <a:pt x="3305651" y="189071"/>
                  </a:cubicBezTo>
                  <a:cubicBezTo>
                    <a:pt x="3301841" y="201454"/>
                    <a:pt x="3298031" y="213836"/>
                    <a:pt x="3294221" y="227171"/>
                  </a:cubicBezTo>
                  <a:cubicBezTo>
                    <a:pt x="3294221" y="228124"/>
                    <a:pt x="3293269" y="230029"/>
                    <a:pt x="3293269" y="230981"/>
                  </a:cubicBezTo>
                  <a:cubicBezTo>
                    <a:pt x="3293269" y="230029"/>
                    <a:pt x="3292316" y="230029"/>
                    <a:pt x="3292316" y="229076"/>
                  </a:cubicBezTo>
                  <a:cubicBezTo>
                    <a:pt x="3282791" y="209074"/>
                    <a:pt x="3277076" y="197644"/>
                    <a:pt x="3277076" y="197644"/>
                  </a:cubicBezTo>
                  <a:cubicBezTo>
                    <a:pt x="3277076" y="197644"/>
                    <a:pt x="3282791" y="211931"/>
                    <a:pt x="3291364" y="237649"/>
                  </a:cubicBezTo>
                  <a:cubicBezTo>
                    <a:pt x="3289459" y="244316"/>
                    <a:pt x="3287554" y="250984"/>
                    <a:pt x="3285649" y="257651"/>
                  </a:cubicBezTo>
                  <a:cubicBezTo>
                    <a:pt x="3282791" y="253841"/>
                    <a:pt x="3279934" y="249079"/>
                    <a:pt x="3277076" y="246221"/>
                  </a:cubicBezTo>
                  <a:cubicBezTo>
                    <a:pt x="3276124" y="245269"/>
                    <a:pt x="3275171" y="243364"/>
                    <a:pt x="3274219" y="242411"/>
                  </a:cubicBezTo>
                  <a:cubicBezTo>
                    <a:pt x="3276124" y="215741"/>
                    <a:pt x="3277076" y="199549"/>
                    <a:pt x="3277076" y="199549"/>
                  </a:cubicBezTo>
                  <a:cubicBezTo>
                    <a:pt x="3277076" y="199549"/>
                    <a:pt x="3275171" y="206216"/>
                    <a:pt x="3272314" y="217646"/>
                  </a:cubicBezTo>
                  <a:cubicBezTo>
                    <a:pt x="3271361" y="222409"/>
                    <a:pt x="3269456" y="228124"/>
                    <a:pt x="3268504" y="234791"/>
                  </a:cubicBezTo>
                  <a:cubicBezTo>
                    <a:pt x="3265646" y="230029"/>
                    <a:pt x="3261836" y="226219"/>
                    <a:pt x="3258979" y="223361"/>
                  </a:cubicBezTo>
                  <a:cubicBezTo>
                    <a:pt x="3247549" y="210979"/>
                    <a:pt x="3241834" y="203359"/>
                    <a:pt x="3241834" y="203359"/>
                  </a:cubicBezTo>
                  <a:cubicBezTo>
                    <a:pt x="3241834" y="203359"/>
                    <a:pt x="3247549" y="211931"/>
                    <a:pt x="3256121" y="226219"/>
                  </a:cubicBezTo>
                  <a:cubicBezTo>
                    <a:pt x="3259931" y="230981"/>
                    <a:pt x="3262789" y="236696"/>
                    <a:pt x="3266599" y="243364"/>
                  </a:cubicBezTo>
                  <a:cubicBezTo>
                    <a:pt x="3264694" y="250031"/>
                    <a:pt x="3262789" y="256699"/>
                    <a:pt x="3260884" y="265271"/>
                  </a:cubicBezTo>
                  <a:cubicBezTo>
                    <a:pt x="3258979" y="271939"/>
                    <a:pt x="3257074" y="279559"/>
                    <a:pt x="3256121" y="288131"/>
                  </a:cubicBezTo>
                  <a:cubicBezTo>
                    <a:pt x="3256121" y="287179"/>
                    <a:pt x="3256121" y="287179"/>
                    <a:pt x="3256121" y="287179"/>
                  </a:cubicBezTo>
                  <a:cubicBezTo>
                    <a:pt x="3256121" y="287179"/>
                    <a:pt x="3256121" y="288131"/>
                    <a:pt x="3256121" y="289084"/>
                  </a:cubicBezTo>
                  <a:cubicBezTo>
                    <a:pt x="3256121" y="290989"/>
                    <a:pt x="3255169" y="291941"/>
                    <a:pt x="3255169" y="293846"/>
                  </a:cubicBezTo>
                  <a:cubicBezTo>
                    <a:pt x="3254216" y="292894"/>
                    <a:pt x="3254216" y="291941"/>
                    <a:pt x="3253264" y="290036"/>
                  </a:cubicBezTo>
                  <a:cubicBezTo>
                    <a:pt x="3253264" y="284321"/>
                    <a:pt x="3254216" y="280511"/>
                    <a:pt x="3254216" y="280511"/>
                  </a:cubicBezTo>
                  <a:cubicBezTo>
                    <a:pt x="3254216" y="280511"/>
                    <a:pt x="3253264" y="282416"/>
                    <a:pt x="3252311" y="287179"/>
                  </a:cubicBezTo>
                  <a:cubicBezTo>
                    <a:pt x="3248501" y="280511"/>
                    <a:pt x="3246596" y="276701"/>
                    <a:pt x="3246596" y="276701"/>
                  </a:cubicBezTo>
                  <a:cubicBezTo>
                    <a:pt x="3246596" y="276701"/>
                    <a:pt x="3248501" y="281464"/>
                    <a:pt x="3251359" y="290989"/>
                  </a:cubicBezTo>
                  <a:cubicBezTo>
                    <a:pt x="3250406" y="292894"/>
                    <a:pt x="3250406" y="295751"/>
                    <a:pt x="3249454" y="298609"/>
                  </a:cubicBezTo>
                  <a:cubicBezTo>
                    <a:pt x="3248501" y="300514"/>
                    <a:pt x="3248501" y="302419"/>
                    <a:pt x="3247549" y="304324"/>
                  </a:cubicBezTo>
                  <a:cubicBezTo>
                    <a:pt x="3247549" y="302419"/>
                    <a:pt x="3246596" y="301466"/>
                    <a:pt x="3246596" y="301466"/>
                  </a:cubicBezTo>
                  <a:cubicBezTo>
                    <a:pt x="3246596" y="301466"/>
                    <a:pt x="3246596" y="303371"/>
                    <a:pt x="3246596" y="306229"/>
                  </a:cubicBezTo>
                  <a:cubicBezTo>
                    <a:pt x="3245644" y="310039"/>
                    <a:pt x="3244691" y="313849"/>
                    <a:pt x="3243739" y="317659"/>
                  </a:cubicBezTo>
                  <a:cubicBezTo>
                    <a:pt x="3242786" y="312896"/>
                    <a:pt x="3240881" y="308134"/>
                    <a:pt x="3239929" y="304324"/>
                  </a:cubicBezTo>
                  <a:cubicBezTo>
                    <a:pt x="3241834" y="299561"/>
                    <a:pt x="3242786" y="296704"/>
                    <a:pt x="3242786" y="296704"/>
                  </a:cubicBezTo>
                  <a:cubicBezTo>
                    <a:pt x="3242786" y="296704"/>
                    <a:pt x="3241834" y="298609"/>
                    <a:pt x="3238976" y="302419"/>
                  </a:cubicBezTo>
                  <a:cubicBezTo>
                    <a:pt x="3238024" y="299561"/>
                    <a:pt x="3237071" y="296704"/>
                    <a:pt x="3236119" y="293846"/>
                  </a:cubicBezTo>
                  <a:cubicBezTo>
                    <a:pt x="3236119" y="292894"/>
                    <a:pt x="3235166" y="291941"/>
                    <a:pt x="3235166" y="290036"/>
                  </a:cubicBezTo>
                  <a:cubicBezTo>
                    <a:pt x="3238024" y="284321"/>
                    <a:pt x="3239929" y="278606"/>
                    <a:pt x="3241834" y="273844"/>
                  </a:cubicBezTo>
                  <a:cubicBezTo>
                    <a:pt x="3244691" y="267176"/>
                    <a:pt x="3247549" y="261461"/>
                    <a:pt x="3249454" y="256699"/>
                  </a:cubicBezTo>
                  <a:cubicBezTo>
                    <a:pt x="3254216" y="247174"/>
                    <a:pt x="3256121" y="242411"/>
                    <a:pt x="3256121" y="242411"/>
                  </a:cubicBezTo>
                  <a:cubicBezTo>
                    <a:pt x="3256121" y="242411"/>
                    <a:pt x="3252311" y="247174"/>
                    <a:pt x="3245644" y="254794"/>
                  </a:cubicBezTo>
                  <a:cubicBezTo>
                    <a:pt x="3242786" y="258604"/>
                    <a:pt x="3238976" y="263366"/>
                    <a:pt x="3235166" y="270034"/>
                  </a:cubicBezTo>
                  <a:cubicBezTo>
                    <a:pt x="3233261" y="271939"/>
                    <a:pt x="3232309" y="274796"/>
                    <a:pt x="3230404" y="276701"/>
                  </a:cubicBezTo>
                  <a:cubicBezTo>
                    <a:pt x="3230404" y="275749"/>
                    <a:pt x="3229451" y="273844"/>
                    <a:pt x="3229451" y="272891"/>
                  </a:cubicBezTo>
                  <a:cubicBezTo>
                    <a:pt x="3227546" y="266224"/>
                    <a:pt x="3224689" y="260509"/>
                    <a:pt x="3222784" y="253841"/>
                  </a:cubicBezTo>
                  <a:cubicBezTo>
                    <a:pt x="3220879" y="250031"/>
                    <a:pt x="3219926" y="245269"/>
                    <a:pt x="3218021" y="241459"/>
                  </a:cubicBezTo>
                  <a:cubicBezTo>
                    <a:pt x="3218021" y="239554"/>
                    <a:pt x="3218021" y="238601"/>
                    <a:pt x="3218021" y="236696"/>
                  </a:cubicBezTo>
                  <a:cubicBezTo>
                    <a:pt x="3219926" y="226219"/>
                    <a:pt x="3221831" y="215741"/>
                    <a:pt x="3222784" y="206216"/>
                  </a:cubicBezTo>
                  <a:cubicBezTo>
                    <a:pt x="3225641" y="191929"/>
                    <a:pt x="3227546" y="178594"/>
                    <a:pt x="3229451" y="166211"/>
                  </a:cubicBezTo>
                  <a:cubicBezTo>
                    <a:pt x="3231356" y="154781"/>
                    <a:pt x="3233261" y="144304"/>
                    <a:pt x="3235166" y="135731"/>
                  </a:cubicBezTo>
                  <a:cubicBezTo>
                    <a:pt x="3238024" y="118586"/>
                    <a:pt x="3239929" y="109061"/>
                    <a:pt x="3239929" y="109061"/>
                  </a:cubicBezTo>
                  <a:cubicBezTo>
                    <a:pt x="3239929" y="109061"/>
                    <a:pt x="3237071" y="118586"/>
                    <a:pt x="3231356" y="134779"/>
                  </a:cubicBezTo>
                  <a:cubicBezTo>
                    <a:pt x="3226594" y="150971"/>
                    <a:pt x="3218974" y="175736"/>
                    <a:pt x="3212306" y="204311"/>
                  </a:cubicBezTo>
                  <a:cubicBezTo>
                    <a:pt x="3211354" y="208121"/>
                    <a:pt x="3210401" y="211931"/>
                    <a:pt x="3209449" y="215741"/>
                  </a:cubicBezTo>
                  <a:cubicBezTo>
                    <a:pt x="3207544" y="210979"/>
                    <a:pt x="3206591" y="207169"/>
                    <a:pt x="3204686" y="204311"/>
                  </a:cubicBezTo>
                  <a:cubicBezTo>
                    <a:pt x="3204686" y="186214"/>
                    <a:pt x="3203734" y="175736"/>
                    <a:pt x="3203734" y="175736"/>
                  </a:cubicBezTo>
                  <a:cubicBezTo>
                    <a:pt x="3203734" y="175736"/>
                    <a:pt x="3202781" y="187166"/>
                    <a:pt x="3200876" y="206216"/>
                  </a:cubicBezTo>
                  <a:cubicBezTo>
                    <a:pt x="3199924" y="215741"/>
                    <a:pt x="3198019" y="227171"/>
                    <a:pt x="3196114" y="240506"/>
                  </a:cubicBezTo>
                  <a:cubicBezTo>
                    <a:pt x="3196114" y="241459"/>
                    <a:pt x="3196114" y="242411"/>
                    <a:pt x="3195161" y="243364"/>
                  </a:cubicBezTo>
                  <a:cubicBezTo>
                    <a:pt x="3195161" y="234791"/>
                    <a:pt x="3196114" y="226219"/>
                    <a:pt x="3196114" y="217646"/>
                  </a:cubicBezTo>
                  <a:cubicBezTo>
                    <a:pt x="3197066" y="204311"/>
                    <a:pt x="3197066" y="191929"/>
                    <a:pt x="3198019" y="180499"/>
                  </a:cubicBezTo>
                  <a:cubicBezTo>
                    <a:pt x="3198971" y="169069"/>
                    <a:pt x="3198971" y="159544"/>
                    <a:pt x="3199924" y="151924"/>
                  </a:cubicBezTo>
                  <a:cubicBezTo>
                    <a:pt x="3200876" y="135731"/>
                    <a:pt x="3200876" y="127159"/>
                    <a:pt x="3200876" y="127159"/>
                  </a:cubicBezTo>
                  <a:cubicBezTo>
                    <a:pt x="3200876" y="127159"/>
                    <a:pt x="3198971" y="135731"/>
                    <a:pt x="3195161" y="151924"/>
                  </a:cubicBezTo>
                  <a:cubicBezTo>
                    <a:pt x="3192304" y="168116"/>
                    <a:pt x="3187541" y="190976"/>
                    <a:pt x="3184684" y="217646"/>
                  </a:cubicBezTo>
                  <a:cubicBezTo>
                    <a:pt x="3183731" y="223361"/>
                    <a:pt x="3182779" y="230029"/>
                    <a:pt x="3181826" y="235744"/>
                  </a:cubicBezTo>
                  <a:cubicBezTo>
                    <a:pt x="3180874" y="233839"/>
                    <a:pt x="3179921" y="232886"/>
                    <a:pt x="3179921" y="231934"/>
                  </a:cubicBezTo>
                  <a:cubicBezTo>
                    <a:pt x="3179921" y="227171"/>
                    <a:pt x="3179921" y="224314"/>
                    <a:pt x="3179921" y="224314"/>
                  </a:cubicBezTo>
                  <a:cubicBezTo>
                    <a:pt x="3179921" y="224314"/>
                    <a:pt x="3179921" y="226219"/>
                    <a:pt x="3178969" y="230029"/>
                  </a:cubicBezTo>
                  <a:cubicBezTo>
                    <a:pt x="3178016" y="228124"/>
                    <a:pt x="3177064" y="227171"/>
                    <a:pt x="3177064" y="227171"/>
                  </a:cubicBezTo>
                  <a:cubicBezTo>
                    <a:pt x="3177064" y="227171"/>
                    <a:pt x="3178016" y="229076"/>
                    <a:pt x="3178016" y="231934"/>
                  </a:cubicBezTo>
                  <a:cubicBezTo>
                    <a:pt x="3177064" y="236696"/>
                    <a:pt x="3176111" y="243364"/>
                    <a:pt x="3174206" y="250984"/>
                  </a:cubicBezTo>
                  <a:cubicBezTo>
                    <a:pt x="3173254" y="258604"/>
                    <a:pt x="3171349" y="267176"/>
                    <a:pt x="3170396" y="277654"/>
                  </a:cubicBezTo>
                  <a:cubicBezTo>
                    <a:pt x="3170396" y="276701"/>
                    <a:pt x="3170396" y="276701"/>
                    <a:pt x="3169444" y="275749"/>
                  </a:cubicBezTo>
                  <a:cubicBezTo>
                    <a:pt x="3168491" y="254794"/>
                    <a:pt x="3165634" y="234791"/>
                    <a:pt x="3163729" y="215741"/>
                  </a:cubicBezTo>
                  <a:cubicBezTo>
                    <a:pt x="3163729" y="212884"/>
                    <a:pt x="3162776" y="210026"/>
                    <a:pt x="3162776" y="207169"/>
                  </a:cubicBezTo>
                  <a:cubicBezTo>
                    <a:pt x="3162776" y="206216"/>
                    <a:pt x="3163729" y="204311"/>
                    <a:pt x="3163729" y="203359"/>
                  </a:cubicBezTo>
                  <a:cubicBezTo>
                    <a:pt x="3169444" y="174784"/>
                    <a:pt x="3172301" y="150019"/>
                    <a:pt x="3174206" y="132874"/>
                  </a:cubicBezTo>
                  <a:cubicBezTo>
                    <a:pt x="3176111" y="115729"/>
                    <a:pt x="3178016" y="106204"/>
                    <a:pt x="3178016" y="106204"/>
                  </a:cubicBezTo>
                  <a:cubicBezTo>
                    <a:pt x="3178016" y="106204"/>
                    <a:pt x="3175159" y="115729"/>
                    <a:pt x="3170396" y="131921"/>
                  </a:cubicBezTo>
                  <a:cubicBezTo>
                    <a:pt x="3167539" y="143351"/>
                    <a:pt x="3162776" y="159544"/>
                    <a:pt x="3158014" y="177641"/>
                  </a:cubicBezTo>
                  <a:cubicBezTo>
                    <a:pt x="3157061" y="171926"/>
                    <a:pt x="3156109" y="165259"/>
                    <a:pt x="3154204" y="159544"/>
                  </a:cubicBezTo>
                  <a:cubicBezTo>
                    <a:pt x="3152299" y="150971"/>
                    <a:pt x="3150394" y="142399"/>
                    <a:pt x="3149441" y="134779"/>
                  </a:cubicBezTo>
                  <a:cubicBezTo>
                    <a:pt x="3147536" y="127159"/>
                    <a:pt x="3145631" y="119539"/>
                    <a:pt x="3143726" y="112871"/>
                  </a:cubicBezTo>
                  <a:cubicBezTo>
                    <a:pt x="3139916" y="99536"/>
                    <a:pt x="3137059" y="87154"/>
                    <a:pt x="3133249" y="77629"/>
                  </a:cubicBezTo>
                  <a:cubicBezTo>
                    <a:pt x="3126581" y="58579"/>
                    <a:pt x="3122771" y="47149"/>
                    <a:pt x="3122771" y="47149"/>
                  </a:cubicBezTo>
                  <a:cubicBezTo>
                    <a:pt x="3122771" y="47149"/>
                    <a:pt x="3125629" y="58579"/>
                    <a:pt x="3129439" y="78581"/>
                  </a:cubicBezTo>
                  <a:cubicBezTo>
                    <a:pt x="3132296" y="88106"/>
                    <a:pt x="3134201" y="100489"/>
                    <a:pt x="3136106" y="114776"/>
                  </a:cubicBezTo>
                  <a:cubicBezTo>
                    <a:pt x="3137059" y="121444"/>
                    <a:pt x="3138964" y="129064"/>
                    <a:pt x="3139916" y="136684"/>
                  </a:cubicBezTo>
                  <a:cubicBezTo>
                    <a:pt x="3140869" y="144304"/>
                    <a:pt x="3141821" y="152876"/>
                    <a:pt x="3142774" y="161449"/>
                  </a:cubicBezTo>
                  <a:cubicBezTo>
                    <a:pt x="3145631" y="177641"/>
                    <a:pt x="3146584" y="195739"/>
                    <a:pt x="3147536" y="213836"/>
                  </a:cubicBezTo>
                  <a:cubicBezTo>
                    <a:pt x="3147536" y="214789"/>
                    <a:pt x="3146584" y="215741"/>
                    <a:pt x="3146584" y="217646"/>
                  </a:cubicBezTo>
                  <a:cubicBezTo>
                    <a:pt x="3145631" y="214789"/>
                    <a:pt x="3144679" y="211931"/>
                    <a:pt x="3143726" y="210026"/>
                  </a:cubicBezTo>
                  <a:cubicBezTo>
                    <a:pt x="3141821" y="205264"/>
                    <a:pt x="3139916" y="201454"/>
                    <a:pt x="3138964" y="196691"/>
                  </a:cubicBezTo>
                  <a:cubicBezTo>
                    <a:pt x="3137059" y="190024"/>
                    <a:pt x="3136106" y="184309"/>
                    <a:pt x="3134201" y="179546"/>
                  </a:cubicBezTo>
                  <a:cubicBezTo>
                    <a:pt x="3129439" y="164306"/>
                    <a:pt x="3126581" y="155734"/>
                    <a:pt x="3126581" y="155734"/>
                  </a:cubicBezTo>
                  <a:cubicBezTo>
                    <a:pt x="3126581" y="155734"/>
                    <a:pt x="3127534" y="161449"/>
                    <a:pt x="3129439" y="172879"/>
                  </a:cubicBezTo>
                  <a:cubicBezTo>
                    <a:pt x="3125629" y="164306"/>
                    <a:pt x="3121819" y="155734"/>
                    <a:pt x="3118961" y="150019"/>
                  </a:cubicBezTo>
                  <a:cubicBezTo>
                    <a:pt x="3116104" y="144304"/>
                    <a:pt x="3114199" y="139541"/>
                    <a:pt x="3112294" y="136684"/>
                  </a:cubicBezTo>
                  <a:cubicBezTo>
                    <a:pt x="3108484" y="128111"/>
                    <a:pt x="3105626" y="120491"/>
                    <a:pt x="3102769" y="113824"/>
                  </a:cubicBezTo>
                  <a:cubicBezTo>
                    <a:pt x="3095149" y="96679"/>
                    <a:pt x="3090386" y="87154"/>
                    <a:pt x="3090386" y="87154"/>
                  </a:cubicBezTo>
                  <a:cubicBezTo>
                    <a:pt x="3090386" y="87154"/>
                    <a:pt x="3093244" y="97631"/>
                    <a:pt x="3099911" y="114776"/>
                  </a:cubicBezTo>
                  <a:cubicBezTo>
                    <a:pt x="3102769" y="123349"/>
                    <a:pt x="3105626" y="133826"/>
                    <a:pt x="3109436" y="146209"/>
                  </a:cubicBezTo>
                  <a:cubicBezTo>
                    <a:pt x="3111341" y="152876"/>
                    <a:pt x="3113246" y="159544"/>
                    <a:pt x="3115151" y="167164"/>
                  </a:cubicBezTo>
                  <a:cubicBezTo>
                    <a:pt x="3111341" y="159544"/>
                    <a:pt x="3109436" y="155734"/>
                    <a:pt x="3109436" y="155734"/>
                  </a:cubicBezTo>
                  <a:cubicBezTo>
                    <a:pt x="3109436" y="155734"/>
                    <a:pt x="3111341" y="163354"/>
                    <a:pt x="3116104" y="176689"/>
                  </a:cubicBezTo>
                  <a:cubicBezTo>
                    <a:pt x="3118009" y="181451"/>
                    <a:pt x="3119914" y="188119"/>
                    <a:pt x="3121819" y="194786"/>
                  </a:cubicBezTo>
                  <a:cubicBezTo>
                    <a:pt x="3122771" y="200501"/>
                    <a:pt x="3124676" y="207169"/>
                    <a:pt x="3125629" y="213836"/>
                  </a:cubicBezTo>
                  <a:cubicBezTo>
                    <a:pt x="3124676" y="214789"/>
                    <a:pt x="3124676" y="215741"/>
                    <a:pt x="3123724" y="215741"/>
                  </a:cubicBezTo>
                  <a:cubicBezTo>
                    <a:pt x="3123724" y="212884"/>
                    <a:pt x="3122771" y="210979"/>
                    <a:pt x="3122771" y="210979"/>
                  </a:cubicBezTo>
                  <a:cubicBezTo>
                    <a:pt x="3122771" y="210979"/>
                    <a:pt x="3122771" y="212884"/>
                    <a:pt x="3122771" y="216694"/>
                  </a:cubicBezTo>
                  <a:cubicBezTo>
                    <a:pt x="3119914" y="219551"/>
                    <a:pt x="3117056" y="223361"/>
                    <a:pt x="3113246" y="228124"/>
                  </a:cubicBezTo>
                  <a:cubicBezTo>
                    <a:pt x="3113246" y="228124"/>
                    <a:pt x="3113246" y="228124"/>
                    <a:pt x="3113246" y="228124"/>
                  </a:cubicBezTo>
                  <a:cubicBezTo>
                    <a:pt x="3112294" y="213836"/>
                    <a:pt x="3111341" y="201454"/>
                    <a:pt x="3110389" y="191929"/>
                  </a:cubicBezTo>
                  <a:cubicBezTo>
                    <a:pt x="3109436" y="178594"/>
                    <a:pt x="3108484" y="171926"/>
                    <a:pt x="3108484" y="171926"/>
                  </a:cubicBezTo>
                  <a:cubicBezTo>
                    <a:pt x="3108484" y="171926"/>
                    <a:pt x="3107531" y="179546"/>
                    <a:pt x="3106579" y="192881"/>
                  </a:cubicBezTo>
                  <a:cubicBezTo>
                    <a:pt x="3105626" y="202406"/>
                    <a:pt x="3105626" y="213836"/>
                    <a:pt x="3104674" y="228124"/>
                  </a:cubicBezTo>
                  <a:cubicBezTo>
                    <a:pt x="3104674" y="228124"/>
                    <a:pt x="3104674" y="227171"/>
                    <a:pt x="3104674" y="227171"/>
                  </a:cubicBezTo>
                  <a:cubicBezTo>
                    <a:pt x="3099911" y="214789"/>
                    <a:pt x="3097054" y="208121"/>
                    <a:pt x="3097054" y="208121"/>
                  </a:cubicBezTo>
                  <a:cubicBezTo>
                    <a:pt x="3097054" y="208121"/>
                    <a:pt x="3098006" y="215741"/>
                    <a:pt x="3100864" y="228124"/>
                  </a:cubicBezTo>
                  <a:cubicBezTo>
                    <a:pt x="3101816" y="232886"/>
                    <a:pt x="3102769" y="238601"/>
                    <a:pt x="3103721" y="244316"/>
                  </a:cubicBezTo>
                  <a:cubicBezTo>
                    <a:pt x="3100864" y="248126"/>
                    <a:pt x="3098959" y="251936"/>
                    <a:pt x="3096101" y="255746"/>
                  </a:cubicBezTo>
                  <a:cubicBezTo>
                    <a:pt x="3093244" y="260509"/>
                    <a:pt x="3090386" y="264319"/>
                    <a:pt x="3087529" y="270034"/>
                  </a:cubicBezTo>
                  <a:cubicBezTo>
                    <a:pt x="3085624" y="263366"/>
                    <a:pt x="3083719" y="257651"/>
                    <a:pt x="3082766" y="252889"/>
                  </a:cubicBezTo>
                  <a:cubicBezTo>
                    <a:pt x="3078956" y="241459"/>
                    <a:pt x="3077051" y="233839"/>
                    <a:pt x="3077051" y="233839"/>
                  </a:cubicBezTo>
                  <a:cubicBezTo>
                    <a:pt x="3077051" y="233839"/>
                    <a:pt x="3078004" y="240506"/>
                    <a:pt x="3078956" y="252889"/>
                  </a:cubicBezTo>
                  <a:cubicBezTo>
                    <a:pt x="3078956" y="256699"/>
                    <a:pt x="3079909" y="260509"/>
                    <a:pt x="3079909" y="264319"/>
                  </a:cubicBezTo>
                  <a:cubicBezTo>
                    <a:pt x="3078956" y="261461"/>
                    <a:pt x="3078004" y="258604"/>
                    <a:pt x="3077051" y="255746"/>
                  </a:cubicBezTo>
                  <a:cubicBezTo>
                    <a:pt x="3076099" y="252889"/>
                    <a:pt x="3075146" y="250984"/>
                    <a:pt x="3074194" y="248126"/>
                  </a:cubicBezTo>
                  <a:cubicBezTo>
                    <a:pt x="3074194" y="246221"/>
                    <a:pt x="3074194" y="244316"/>
                    <a:pt x="3074194" y="242411"/>
                  </a:cubicBezTo>
                  <a:cubicBezTo>
                    <a:pt x="3074194" y="237649"/>
                    <a:pt x="3075146" y="232886"/>
                    <a:pt x="3075146" y="229076"/>
                  </a:cubicBezTo>
                  <a:cubicBezTo>
                    <a:pt x="3076099" y="226219"/>
                    <a:pt x="3077051" y="223361"/>
                    <a:pt x="3077051" y="220504"/>
                  </a:cubicBezTo>
                  <a:cubicBezTo>
                    <a:pt x="3080861" y="208121"/>
                    <a:pt x="3082766" y="197644"/>
                    <a:pt x="3086576" y="189071"/>
                  </a:cubicBezTo>
                  <a:cubicBezTo>
                    <a:pt x="3092291" y="171926"/>
                    <a:pt x="3096101" y="161449"/>
                    <a:pt x="3096101" y="161449"/>
                  </a:cubicBezTo>
                  <a:cubicBezTo>
                    <a:pt x="3096101" y="161449"/>
                    <a:pt x="3091339" y="170974"/>
                    <a:pt x="3083719" y="188119"/>
                  </a:cubicBezTo>
                  <a:cubicBezTo>
                    <a:pt x="3079909" y="196691"/>
                    <a:pt x="3076099" y="207169"/>
                    <a:pt x="3071336" y="218599"/>
                  </a:cubicBezTo>
                  <a:cubicBezTo>
                    <a:pt x="3070384" y="220504"/>
                    <a:pt x="3069431" y="222409"/>
                    <a:pt x="3068479" y="224314"/>
                  </a:cubicBezTo>
                  <a:cubicBezTo>
                    <a:pt x="3068479" y="221456"/>
                    <a:pt x="3068479" y="218599"/>
                    <a:pt x="3068479" y="216694"/>
                  </a:cubicBezTo>
                  <a:cubicBezTo>
                    <a:pt x="3068479" y="213836"/>
                    <a:pt x="3069431" y="211931"/>
                    <a:pt x="3069431" y="209074"/>
                  </a:cubicBezTo>
                  <a:cubicBezTo>
                    <a:pt x="3070384" y="198596"/>
                    <a:pt x="3071336" y="189071"/>
                    <a:pt x="3072289" y="181451"/>
                  </a:cubicBezTo>
                  <a:cubicBezTo>
                    <a:pt x="3073241" y="166211"/>
                    <a:pt x="3073241" y="157639"/>
                    <a:pt x="3073241" y="157639"/>
                  </a:cubicBezTo>
                  <a:cubicBezTo>
                    <a:pt x="3073241" y="157639"/>
                    <a:pt x="3071336" y="166211"/>
                    <a:pt x="3067526" y="180499"/>
                  </a:cubicBezTo>
                  <a:cubicBezTo>
                    <a:pt x="3067526" y="181451"/>
                    <a:pt x="3067526" y="182404"/>
                    <a:pt x="3066574" y="183356"/>
                  </a:cubicBezTo>
                  <a:cubicBezTo>
                    <a:pt x="3065621" y="169069"/>
                    <a:pt x="3065621" y="157639"/>
                    <a:pt x="3064669" y="148114"/>
                  </a:cubicBezTo>
                  <a:cubicBezTo>
                    <a:pt x="3064669" y="146209"/>
                    <a:pt x="3064669" y="145256"/>
                    <a:pt x="3064669" y="145256"/>
                  </a:cubicBezTo>
                  <a:cubicBezTo>
                    <a:pt x="3064669" y="145256"/>
                    <a:pt x="3064669" y="145256"/>
                    <a:pt x="3064669" y="146209"/>
                  </a:cubicBezTo>
                  <a:cubicBezTo>
                    <a:pt x="3063716" y="136684"/>
                    <a:pt x="3063716" y="131921"/>
                    <a:pt x="3063716" y="131921"/>
                  </a:cubicBezTo>
                  <a:cubicBezTo>
                    <a:pt x="3063716" y="131921"/>
                    <a:pt x="3061811" y="148114"/>
                    <a:pt x="3058954" y="174784"/>
                  </a:cubicBezTo>
                  <a:cubicBezTo>
                    <a:pt x="3058001" y="179546"/>
                    <a:pt x="3057049" y="185261"/>
                    <a:pt x="3056096" y="190976"/>
                  </a:cubicBezTo>
                  <a:cubicBezTo>
                    <a:pt x="3055144" y="193834"/>
                    <a:pt x="3055144" y="197644"/>
                    <a:pt x="3054191" y="201454"/>
                  </a:cubicBezTo>
                  <a:cubicBezTo>
                    <a:pt x="3052286" y="196691"/>
                    <a:pt x="3050381" y="192881"/>
                    <a:pt x="3049429" y="189071"/>
                  </a:cubicBezTo>
                  <a:cubicBezTo>
                    <a:pt x="3049429" y="189071"/>
                    <a:pt x="3049429" y="189071"/>
                    <a:pt x="3049429" y="188119"/>
                  </a:cubicBezTo>
                  <a:cubicBezTo>
                    <a:pt x="3052286" y="174784"/>
                    <a:pt x="3053239" y="162401"/>
                    <a:pt x="3056096" y="151924"/>
                  </a:cubicBezTo>
                  <a:cubicBezTo>
                    <a:pt x="3060859" y="131921"/>
                    <a:pt x="3062764" y="120491"/>
                    <a:pt x="3062764" y="120491"/>
                  </a:cubicBezTo>
                  <a:cubicBezTo>
                    <a:pt x="3062764" y="120491"/>
                    <a:pt x="3058954" y="130969"/>
                    <a:pt x="3052286" y="150971"/>
                  </a:cubicBezTo>
                  <a:cubicBezTo>
                    <a:pt x="3048476" y="160496"/>
                    <a:pt x="3045619" y="172879"/>
                    <a:pt x="3041809" y="186214"/>
                  </a:cubicBezTo>
                  <a:cubicBezTo>
                    <a:pt x="3039904" y="192881"/>
                    <a:pt x="3037999" y="200501"/>
                    <a:pt x="3036094" y="208121"/>
                  </a:cubicBezTo>
                  <a:cubicBezTo>
                    <a:pt x="3035141" y="210979"/>
                    <a:pt x="3035141" y="213836"/>
                    <a:pt x="3034189" y="215741"/>
                  </a:cubicBezTo>
                  <a:cubicBezTo>
                    <a:pt x="3033236" y="211931"/>
                    <a:pt x="3032284" y="209074"/>
                    <a:pt x="3032284" y="205264"/>
                  </a:cubicBezTo>
                  <a:cubicBezTo>
                    <a:pt x="3038951" y="181451"/>
                    <a:pt x="3044666" y="162401"/>
                    <a:pt x="3048476" y="148114"/>
                  </a:cubicBezTo>
                  <a:cubicBezTo>
                    <a:pt x="3053239" y="131921"/>
                    <a:pt x="3057049" y="123349"/>
                    <a:pt x="3057049" y="123349"/>
                  </a:cubicBezTo>
                  <a:cubicBezTo>
                    <a:pt x="3057049" y="123349"/>
                    <a:pt x="3056096" y="125254"/>
                    <a:pt x="3054191" y="129064"/>
                  </a:cubicBezTo>
                  <a:cubicBezTo>
                    <a:pt x="3052286" y="132874"/>
                    <a:pt x="3049429" y="138589"/>
                    <a:pt x="3045619" y="146209"/>
                  </a:cubicBezTo>
                  <a:cubicBezTo>
                    <a:pt x="3040856" y="155734"/>
                    <a:pt x="3035141" y="169069"/>
                    <a:pt x="3029426" y="184309"/>
                  </a:cubicBezTo>
                  <a:cubicBezTo>
                    <a:pt x="3029426" y="177641"/>
                    <a:pt x="3028474" y="171926"/>
                    <a:pt x="3029426" y="167164"/>
                  </a:cubicBezTo>
                  <a:cubicBezTo>
                    <a:pt x="3030379" y="150019"/>
                    <a:pt x="3030379" y="140494"/>
                    <a:pt x="3030379" y="140494"/>
                  </a:cubicBezTo>
                  <a:cubicBezTo>
                    <a:pt x="3030379" y="140494"/>
                    <a:pt x="3028474" y="150019"/>
                    <a:pt x="3025616" y="166211"/>
                  </a:cubicBezTo>
                  <a:cubicBezTo>
                    <a:pt x="3023711" y="174784"/>
                    <a:pt x="3023711" y="184309"/>
                    <a:pt x="3022759" y="196691"/>
                  </a:cubicBezTo>
                  <a:cubicBezTo>
                    <a:pt x="3022759" y="198596"/>
                    <a:pt x="3022759" y="200501"/>
                    <a:pt x="3022759" y="202406"/>
                  </a:cubicBezTo>
                  <a:cubicBezTo>
                    <a:pt x="3021806" y="205264"/>
                    <a:pt x="3020854" y="208121"/>
                    <a:pt x="3019901" y="210979"/>
                  </a:cubicBezTo>
                  <a:cubicBezTo>
                    <a:pt x="3017044" y="218599"/>
                    <a:pt x="3014186" y="226219"/>
                    <a:pt x="3011329" y="234791"/>
                  </a:cubicBezTo>
                  <a:cubicBezTo>
                    <a:pt x="3009424" y="230981"/>
                    <a:pt x="3008471" y="228124"/>
                    <a:pt x="3007519" y="226219"/>
                  </a:cubicBezTo>
                  <a:cubicBezTo>
                    <a:pt x="3009424" y="219551"/>
                    <a:pt x="3011329" y="215741"/>
                    <a:pt x="3011329" y="215741"/>
                  </a:cubicBezTo>
                  <a:cubicBezTo>
                    <a:pt x="3011329" y="215741"/>
                    <a:pt x="3009424" y="218599"/>
                    <a:pt x="3006566" y="222409"/>
                  </a:cubicBezTo>
                  <a:cubicBezTo>
                    <a:pt x="3004661" y="215741"/>
                    <a:pt x="3003709" y="209074"/>
                    <a:pt x="3001804" y="202406"/>
                  </a:cubicBezTo>
                  <a:cubicBezTo>
                    <a:pt x="3001804" y="200501"/>
                    <a:pt x="3000851" y="199549"/>
                    <a:pt x="3000851" y="197644"/>
                  </a:cubicBezTo>
                  <a:cubicBezTo>
                    <a:pt x="3001804" y="194786"/>
                    <a:pt x="3002756" y="191929"/>
                    <a:pt x="3003709" y="189071"/>
                  </a:cubicBezTo>
                  <a:cubicBezTo>
                    <a:pt x="3006566" y="179546"/>
                    <a:pt x="3008471" y="170974"/>
                    <a:pt x="3011329" y="164306"/>
                  </a:cubicBezTo>
                  <a:cubicBezTo>
                    <a:pt x="3016091" y="150971"/>
                    <a:pt x="3018949" y="142399"/>
                    <a:pt x="3018949" y="142399"/>
                  </a:cubicBezTo>
                  <a:cubicBezTo>
                    <a:pt x="3018949" y="142399"/>
                    <a:pt x="3015139" y="150019"/>
                    <a:pt x="3007519" y="162401"/>
                  </a:cubicBezTo>
                  <a:cubicBezTo>
                    <a:pt x="3004661" y="168116"/>
                    <a:pt x="3001804" y="174784"/>
                    <a:pt x="2997994" y="182404"/>
                  </a:cubicBezTo>
                  <a:cubicBezTo>
                    <a:pt x="2997041" y="177641"/>
                    <a:pt x="2996089" y="172879"/>
                    <a:pt x="2995136" y="169069"/>
                  </a:cubicBezTo>
                  <a:cubicBezTo>
                    <a:pt x="3002756" y="140494"/>
                    <a:pt x="3009424" y="117634"/>
                    <a:pt x="3014186" y="100489"/>
                  </a:cubicBezTo>
                  <a:cubicBezTo>
                    <a:pt x="3017044" y="90011"/>
                    <a:pt x="3019901" y="82391"/>
                    <a:pt x="3021806" y="76676"/>
                  </a:cubicBezTo>
                  <a:cubicBezTo>
                    <a:pt x="3023711" y="70961"/>
                    <a:pt x="3024664" y="68104"/>
                    <a:pt x="3024664" y="68104"/>
                  </a:cubicBezTo>
                  <a:cubicBezTo>
                    <a:pt x="3024664" y="68104"/>
                    <a:pt x="3023711" y="70961"/>
                    <a:pt x="3020854" y="75724"/>
                  </a:cubicBezTo>
                  <a:cubicBezTo>
                    <a:pt x="3017996" y="80486"/>
                    <a:pt x="3015139" y="88106"/>
                    <a:pt x="3010376" y="98584"/>
                  </a:cubicBezTo>
                  <a:cubicBezTo>
                    <a:pt x="3006566" y="108109"/>
                    <a:pt x="3001804" y="120491"/>
                    <a:pt x="2996089" y="134779"/>
                  </a:cubicBezTo>
                  <a:cubicBezTo>
                    <a:pt x="2994184" y="139541"/>
                    <a:pt x="2993231" y="143351"/>
                    <a:pt x="2991326" y="148114"/>
                  </a:cubicBezTo>
                  <a:cubicBezTo>
                    <a:pt x="2989421" y="138589"/>
                    <a:pt x="2988469" y="130016"/>
                    <a:pt x="2987516" y="122396"/>
                  </a:cubicBezTo>
                  <a:cubicBezTo>
                    <a:pt x="2985611" y="103346"/>
                    <a:pt x="2984659" y="91916"/>
                    <a:pt x="2984659" y="91916"/>
                  </a:cubicBezTo>
                  <a:cubicBezTo>
                    <a:pt x="2984659" y="91916"/>
                    <a:pt x="2984659" y="103346"/>
                    <a:pt x="2983706" y="122396"/>
                  </a:cubicBezTo>
                  <a:cubicBezTo>
                    <a:pt x="2983706" y="131921"/>
                    <a:pt x="2984659" y="144304"/>
                    <a:pt x="2985611" y="157639"/>
                  </a:cubicBezTo>
                  <a:cubicBezTo>
                    <a:pt x="2985611" y="159544"/>
                    <a:pt x="2985611" y="161449"/>
                    <a:pt x="2985611" y="163354"/>
                  </a:cubicBezTo>
                  <a:cubicBezTo>
                    <a:pt x="2983706" y="169069"/>
                    <a:pt x="2981801" y="175736"/>
                    <a:pt x="2978944" y="182404"/>
                  </a:cubicBezTo>
                  <a:cubicBezTo>
                    <a:pt x="2973229" y="199549"/>
                    <a:pt x="2967514" y="218599"/>
                    <a:pt x="2960846" y="238601"/>
                  </a:cubicBezTo>
                  <a:cubicBezTo>
                    <a:pt x="2959894" y="236696"/>
                    <a:pt x="2959894" y="234791"/>
                    <a:pt x="2959894" y="234791"/>
                  </a:cubicBezTo>
                  <a:cubicBezTo>
                    <a:pt x="2959894" y="234791"/>
                    <a:pt x="2959894" y="236696"/>
                    <a:pt x="2960846" y="239554"/>
                  </a:cubicBezTo>
                  <a:cubicBezTo>
                    <a:pt x="2957036" y="250984"/>
                    <a:pt x="2954179" y="262414"/>
                    <a:pt x="2950369" y="274796"/>
                  </a:cubicBezTo>
                  <a:cubicBezTo>
                    <a:pt x="2951321" y="268129"/>
                    <a:pt x="2952274" y="264319"/>
                    <a:pt x="2952274" y="264319"/>
                  </a:cubicBezTo>
                  <a:cubicBezTo>
                    <a:pt x="2952274" y="264319"/>
                    <a:pt x="2949416" y="271939"/>
                    <a:pt x="2944654" y="284321"/>
                  </a:cubicBezTo>
                  <a:cubicBezTo>
                    <a:pt x="2944654" y="284321"/>
                    <a:pt x="2944654" y="283369"/>
                    <a:pt x="2944654" y="283369"/>
                  </a:cubicBezTo>
                  <a:cubicBezTo>
                    <a:pt x="2944654" y="281464"/>
                    <a:pt x="2944654" y="279559"/>
                    <a:pt x="2945606" y="277654"/>
                  </a:cubicBezTo>
                  <a:cubicBezTo>
                    <a:pt x="2947511" y="263366"/>
                    <a:pt x="2948464" y="250984"/>
                    <a:pt x="2949416" y="238601"/>
                  </a:cubicBezTo>
                  <a:cubicBezTo>
                    <a:pt x="2950369" y="232886"/>
                    <a:pt x="2950369" y="226219"/>
                    <a:pt x="2951321" y="221456"/>
                  </a:cubicBezTo>
                  <a:cubicBezTo>
                    <a:pt x="2952274" y="215741"/>
                    <a:pt x="2953226" y="210979"/>
                    <a:pt x="2953226" y="205264"/>
                  </a:cubicBezTo>
                  <a:cubicBezTo>
                    <a:pt x="2954179" y="195739"/>
                    <a:pt x="2955131" y="186214"/>
                    <a:pt x="2956084" y="179546"/>
                  </a:cubicBezTo>
                  <a:cubicBezTo>
                    <a:pt x="2957989" y="165259"/>
                    <a:pt x="2958941" y="156686"/>
                    <a:pt x="2958941" y="156686"/>
                  </a:cubicBezTo>
                  <a:cubicBezTo>
                    <a:pt x="2958941" y="156686"/>
                    <a:pt x="2957036" y="164306"/>
                    <a:pt x="2952274" y="178594"/>
                  </a:cubicBezTo>
                  <a:cubicBezTo>
                    <a:pt x="2950369" y="185261"/>
                    <a:pt x="2948464" y="193834"/>
                    <a:pt x="2945606" y="203359"/>
                  </a:cubicBezTo>
                  <a:cubicBezTo>
                    <a:pt x="2944654" y="208121"/>
                    <a:pt x="2942749" y="212884"/>
                    <a:pt x="2941796" y="218599"/>
                  </a:cubicBezTo>
                  <a:cubicBezTo>
                    <a:pt x="2940844" y="224314"/>
                    <a:pt x="2939891" y="230029"/>
                    <a:pt x="2937986" y="235744"/>
                  </a:cubicBezTo>
                  <a:cubicBezTo>
                    <a:pt x="2936081" y="246221"/>
                    <a:pt x="2933224" y="257651"/>
                    <a:pt x="2931319" y="270034"/>
                  </a:cubicBezTo>
                  <a:cubicBezTo>
                    <a:pt x="2930366" y="266224"/>
                    <a:pt x="2930366" y="263366"/>
                    <a:pt x="2929414" y="260509"/>
                  </a:cubicBezTo>
                  <a:cubicBezTo>
                    <a:pt x="2929414" y="258604"/>
                    <a:pt x="2928461" y="257651"/>
                    <a:pt x="2928461" y="256699"/>
                  </a:cubicBezTo>
                  <a:cubicBezTo>
                    <a:pt x="2930366" y="253841"/>
                    <a:pt x="2931319" y="251936"/>
                    <a:pt x="2931319" y="251936"/>
                  </a:cubicBezTo>
                  <a:cubicBezTo>
                    <a:pt x="2931319" y="251936"/>
                    <a:pt x="2930366" y="252889"/>
                    <a:pt x="2927509" y="254794"/>
                  </a:cubicBezTo>
                  <a:cubicBezTo>
                    <a:pt x="2926556" y="251936"/>
                    <a:pt x="2925604" y="249079"/>
                    <a:pt x="2925604" y="247174"/>
                  </a:cubicBezTo>
                  <a:cubicBezTo>
                    <a:pt x="2929414" y="237649"/>
                    <a:pt x="2931319" y="231934"/>
                    <a:pt x="2931319" y="231934"/>
                  </a:cubicBezTo>
                  <a:cubicBezTo>
                    <a:pt x="2931319" y="231934"/>
                    <a:pt x="2928461" y="235744"/>
                    <a:pt x="2924651" y="243364"/>
                  </a:cubicBezTo>
                  <a:cubicBezTo>
                    <a:pt x="2923699" y="241459"/>
                    <a:pt x="2923699" y="239554"/>
                    <a:pt x="2922746" y="237649"/>
                  </a:cubicBezTo>
                  <a:lnTo>
                    <a:pt x="2922746" y="236696"/>
                  </a:lnTo>
                  <a:lnTo>
                    <a:pt x="2921794" y="236696"/>
                  </a:lnTo>
                  <a:cubicBezTo>
                    <a:pt x="2919889" y="236696"/>
                    <a:pt x="2917984" y="236696"/>
                    <a:pt x="2916079" y="236696"/>
                  </a:cubicBezTo>
                  <a:lnTo>
                    <a:pt x="2916079" y="236696"/>
                  </a:lnTo>
                  <a:cubicBezTo>
                    <a:pt x="2928461" y="200501"/>
                    <a:pt x="2935129" y="176689"/>
                    <a:pt x="2935129" y="176689"/>
                  </a:cubicBezTo>
                  <a:cubicBezTo>
                    <a:pt x="2935129" y="176689"/>
                    <a:pt x="2924651" y="196691"/>
                    <a:pt x="2909411" y="230029"/>
                  </a:cubicBezTo>
                  <a:cubicBezTo>
                    <a:pt x="2907506" y="222409"/>
                    <a:pt x="2904649" y="216694"/>
                    <a:pt x="2902744" y="211931"/>
                  </a:cubicBezTo>
                  <a:cubicBezTo>
                    <a:pt x="2901791" y="206216"/>
                    <a:pt x="2900839" y="201454"/>
                    <a:pt x="2900839" y="195739"/>
                  </a:cubicBezTo>
                  <a:cubicBezTo>
                    <a:pt x="2899886" y="188119"/>
                    <a:pt x="2898934" y="180499"/>
                    <a:pt x="2897981" y="173831"/>
                  </a:cubicBezTo>
                  <a:cubicBezTo>
                    <a:pt x="2897029" y="167164"/>
                    <a:pt x="2897029" y="160496"/>
                    <a:pt x="2896076" y="153829"/>
                  </a:cubicBezTo>
                  <a:cubicBezTo>
                    <a:pt x="2895124" y="141446"/>
                    <a:pt x="2894171" y="130969"/>
                    <a:pt x="2893219" y="121444"/>
                  </a:cubicBezTo>
                  <a:cubicBezTo>
                    <a:pt x="2891314" y="103346"/>
                    <a:pt x="2890361" y="93821"/>
                    <a:pt x="2890361" y="93821"/>
                  </a:cubicBezTo>
                  <a:cubicBezTo>
                    <a:pt x="2890361" y="93821"/>
                    <a:pt x="2890361" y="104299"/>
                    <a:pt x="2889409" y="121444"/>
                  </a:cubicBezTo>
                  <a:cubicBezTo>
                    <a:pt x="2889409" y="130016"/>
                    <a:pt x="2889409" y="141446"/>
                    <a:pt x="2889409" y="153829"/>
                  </a:cubicBezTo>
                  <a:cubicBezTo>
                    <a:pt x="2889409" y="160496"/>
                    <a:pt x="2889409" y="166211"/>
                    <a:pt x="2889409" y="173831"/>
                  </a:cubicBezTo>
                  <a:cubicBezTo>
                    <a:pt x="2889409" y="180499"/>
                    <a:pt x="2890361" y="188119"/>
                    <a:pt x="2890361" y="195739"/>
                  </a:cubicBezTo>
                  <a:cubicBezTo>
                    <a:pt x="2890361" y="200501"/>
                    <a:pt x="2891314" y="206216"/>
                    <a:pt x="2891314" y="211931"/>
                  </a:cubicBezTo>
                  <a:cubicBezTo>
                    <a:pt x="2890361" y="213836"/>
                    <a:pt x="2889409" y="215741"/>
                    <a:pt x="2887504" y="217646"/>
                  </a:cubicBezTo>
                  <a:cubicBezTo>
                    <a:pt x="2886551" y="218599"/>
                    <a:pt x="2885599" y="220504"/>
                    <a:pt x="2885599" y="221456"/>
                  </a:cubicBezTo>
                  <a:cubicBezTo>
                    <a:pt x="2883694" y="212884"/>
                    <a:pt x="2882741" y="204311"/>
                    <a:pt x="2880836" y="195739"/>
                  </a:cubicBezTo>
                  <a:cubicBezTo>
                    <a:pt x="2878931" y="185261"/>
                    <a:pt x="2877026" y="174784"/>
                    <a:pt x="2874169" y="166211"/>
                  </a:cubicBezTo>
                  <a:cubicBezTo>
                    <a:pt x="2872264" y="157639"/>
                    <a:pt x="2870359" y="150019"/>
                    <a:pt x="2867501" y="144304"/>
                  </a:cubicBezTo>
                  <a:cubicBezTo>
                    <a:pt x="2863691" y="131921"/>
                    <a:pt x="2860834" y="125254"/>
                    <a:pt x="2860834" y="125254"/>
                  </a:cubicBezTo>
                  <a:cubicBezTo>
                    <a:pt x="2860834" y="125254"/>
                    <a:pt x="2861786" y="132874"/>
                    <a:pt x="2863691" y="145256"/>
                  </a:cubicBezTo>
                  <a:cubicBezTo>
                    <a:pt x="2864644" y="151924"/>
                    <a:pt x="2865596" y="159544"/>
                    <a:pt x="2866549" y="168116"/>
                  </a:cubicBezTo>
                  <a:cubicBezTo>
                    <a:pt x="2867501" y="176689"/>
                    <a:pt x="2868454" y="187166"/>
                    <a:pt x="2869406" y="197644"/>
                  </a:cubicBezTo>
                  <a:cubicBezTo>
                    <a:pt x="2870359" y="208121"/>
                    <a:pt x="2871311" y="220504"/>
                    <a:pt x="2872264" y="232886"/>
                  </a:cubicBezTo>
                  <a:cubicBezTo>
                    <a:pt x="2872264" y="237649"/>
                    <a:pt x="2873216" y="242411"/>
                    <a:pt x="2873216" y="247174"/>
                  </a:cubicBezTo>
                  <a:cubicBezTo>
                    <a:pt x="2870359" y="253841"/>
                    <a:pt x="2867501" y="262414"/>
                    <a:pt x="2864644" y="270034"/>
                  </a:cubicBezTo>
                  <a:cubicBezTo>
                    <a:pt x="2863691" y="270986"/>
                    <a:pt x="2863691" y="272891"/>
                    <a:pt x="2863691" y="274796"/>
                  </a:cubicBezTo>
                  <a:cubicBezTo>
                    <a:pt x="2860834" y="269081"/>
                    <a:pt x="2857976" y="263366"/>
                    <a:pt x="2855119" y="257651"/>
                  </a:cubicBezTo>
                  <a:cubicBezTo>
                    <a:pt x="2850356" y="248126"/>
                    <a:pt x="2845594" y="239554"/>
                    <a:pt x="2841784" y="230029"/>
                  </a:cubicBezTo>
                  <a:cubicBezTo>
                    <a:pt x="2855119" y="229076"/>
                    <a:pt x="2855119" y="226219"/>
                    <a:pt x="2855119" y="226219"/>
                  </a:cubicBezTo>
                  <a:cubicBezTo>
                    <a:pt x="2855119" y="226219"/>
                    <a:pt x="2854166" y="228124"/>
                    <a:pt x="2853214" y="231934"/>
                  </a:cubicBezTo>
                  <a:cubicBezTo>
                    <a:pt x="2849404" y="224314"/>
                    <a:pt x="2844641" y="215741"/>
                    <a:pt x="2840831" y="209074"/>
                  </a:cubicBezTo>
                  <a:cubicBezTo>
                    <a:pt x="2857024" y="174784"/>
                    <a:pt x="2866549" y="150971"/>
                    <a:pt x="2866549" y="150971"/>
                  </a:cubicBezTo>
                  <a:cubicBezTo>
                    <a:pt x="2866549" y="150971"/>
                    <a:pt x="2853214" y="169069"/>
                    <a:pt x="2835116" y="198596"/>
                  </a:cubicBezTo>
                  <a:cubicBezTo>
                    <a:pt x="2833211" y="194786"/>
                    <a:pt x="2831306" y="191929"/>
                    <a:pt x="2829401" y="188119"/>
                  </a:cubicBezTo>
                  <a:cubicBezTo>
                    <a:pt x="2826544" y="170021"/>
                    <a:pt x="2823686" y="151924"/>
                    <a:pt x="2820829" y="132874"/>
                  </a:cubicBezTo>
                  <a:cubicBezTo>
                    <a:pt x="2820829" y="146209"/>
                    <a:pt x="2820829" y="160496"/>
                    <a:pt x="2821781" y="173831"/>
                  </a:cubicBezTo>
                  <a:cubicBezTo>
                    <a:pt x="2817019" y="166211"/>
                    <a:pt x="2812256" y="158591"/>
                    <a:pt x="2807494" y="151924"/>
                  </a:cubicBezTo>
                  <a:cubicBezTo>
                    <a:pt x="2797969" y="137636"/>
                    <a:pt x="2790349" y="125254"/>
                    <a:pt x="2782729" y="115729"/>
                  </a:cubicBezTo>
                  <a:cubicBezTo>
                    <a:pt x="2768441" y="95726"/>
                    <a:pt x="2759869" y="85249"/>
                    <a:pt x="2759869" y="85249"/>
                  </a:cubicBezTo>
                  <a:cubicBezTo>
                    <a:pt x="2759869" y="85249"/>
                    <a:pt x="2766536" y="97631"/>
                    <a:pt x="2778919" y="118586"/>
                  </a:cubicBezTo>
                  <a:cubicBezTo>
                    <a:pt x="2785586" y="129064"/>
                    <a:pt x="2792254" y="142399"/>
                    <a:pt x="2799874" y="156686"/>
                  </a:cubicBezTo>
                  <a:cubicBezTo>
                    <a:pt x="2803684" y="164306"/>
                    <a:pt x="2808446" y="171926"/>
                    <a:pt x="2812256" y="180499"/>
                  </a:cubicBezTo>
                  <a:cubicBezTo>
                    <a:pt x="2815114" y="186214"/>
                    <a:pt x="2817971" y="191929"/>
                    <a:pt x="2820829" y="197644"/>
                  </a:cubicBezTo>
                  <a:cubicBezTo>
                    <a:pt x="2820829" y="199549"/>
                    <a:pt x="2820829" y="202406"/>
                    <a:pt x="2820829" y="204311"/>
                  </a:cubicBezTo>
                  <a:cubicBezTo>
                    <a:pt x="2820829" y="209074"/>
                    <a:pt x="2821781" y="213836"/>
                    <a:pt x="2821781" y="218599"/>
                  </a:cubicBezTo>
                  <a:cubicBezTo>
                    <a:pt x="2819876" y="221456"/>
                    <a:pt x="2818924" y="224314"/>
                    <a:pt x="2817019" y="227171"/>
                  </a:cubicBezTo>
                  <a:cubicBezTo>
                    <a:pt x="2813209" y="222409"/>
                    <a:pt x="2810351" y="216694"/>
                    <a:pt x="2806541" y="211931"/>
                  </a:cubicBezTo>
                  <a:cubicBezTo>
                    <a:pt x="2806541" y="210979"/>
                    <a:pt x="2805589" y="210979"/>
                    <a:pt x="2805589" y="210026"/>
                  </a:cubicBezTo>
                  <a:cubicBezTo>
                    <a:pt x="2806541" y="209074"/>
                    <a:pt x="2806541" y="208121"/>
                    <a:pt x="2806541" y="208121"/>
                  </a:cubicBezTo>
                  <a:cubicBezTo>
                    <a:pt x="2806541" y="208121"/>
                    <a:pt x="2806541" y="208121"/>
                    <a:pt x="2805589" y="209074"/>
                  </a:cubicBezTo>
                  <a:cubicBezTo>
                    <a:pt x="2800826" y="202406"/>
                    <a:pt x="2796064" y="196691"/>
                    <a:pt x="2792254" y="191929"/>
                  </a:cubicBezTo>
                  <a:cubicBezTo>
                    <a:pt x="2782729" y="179546"/>
                    <a:pt x="2775109" y="169069"/>
                    <a:pt x="2767489" y="161449"/>
                  </a:cubicBezTo>
                  <a:cubicBezTo>
                    <a:pt x="2766536" y="160496"/>
                    <a:pt x="2766536" y="159544"/>
                    <a:pt x="2765584" y="158591"/>
                  </a:cubicBezTo>
                  <a:cubicBezTo>
                    <a:pt x="2765584" y="157639"/>
                    <a:pt x="2765584" y="156686"/>
                    <a:pt x="2765584" y="155734"/>
                  </a:cubicBezTo>
                  <a:cubicBezTo>
                    <a:pt x="2764631" y="145256"/>
                    <a:pt x="2762726" y="135731"/>
                    <a:pt x="2762726" y="128111"/>
                  </a:cubicBezTo>
                  <a:cubicBezTo>
                    <a:pt x="2760821" y="112871"/>
                    <a:pt x="2759869" y="103346"/>
                    <a:pt x="2759869" y="103346"/>
                  </a:cubicBezTo>
                  <a:cubicBezTo>
                    <a:pt x="2759869" y="103346"/>
                    <a:pt x="2759869" y="111919"/>
                    <a:pt x="2758916" y="128111"/>
                  </a:cubicBezTo>
                  <a:cubicBezTo>
                    <a:pt x="2758916" y="134779"/>
                    <a:pt x="2758916" y="141446"/>
                    <a:pt x="2758916" y="150019"/>
                  </a:cubicBezTo>
                  <a:cubicBezTo>
                    <a:pt x="2750344" y="140494"/>
                    <a:pt x="2745581" y="135731"/>
                    <a:pt x="2745581" y="135731"/>
                  </a:cubicBezTo>
                  <a:cubicBezTo>
                    <a:pt x="2745581" y="135731"/>
                    <a:pt x="2750344" y="142399"/>
                    <a:pt x="2758916" y="153829"/>
                  </a:cubicBezTo>
                  <a:cubicBezTo>
                    <a:pt x="2758916" y="154781"/>
                    <a:pt x="2758916" y="155734"/>
                    <a:pt x="2758916" y="155734"/>
                  </a:cubicBezTo>
                  <a:cubicBezTo>
                    <a:pt x="2758916" y="161449"/>
                    <a:pt x="2758916" y="167164"/>
                    <a:pt x="2758916" y="172879"/>
                  </a:cubicBezTo>
                  <a:cubicBezTo>
                    <a:pt x="2758916" y="178594"/>
                    <a:pt x="2759869" y="185261"/>
                    <a:pt x="2759869" y="191929"/>
                  </a:cubicBezTo>
                  <a:cubicBezTo>
                    <a:pt x="2759869" y="200501"/>
                    <a:pt x="2760821" y="210026"/>
                    <a:pt x="2761774" y="219551"/>
                  </a:cubicBezTo>
                  <a:cubicBezTo>
                    <a:pt x="2761774" y="218599"/>
                    <a:pt x="2760821" y="217646"/>
                    <a:pt x="2760821" y="217646"/>
                  </a:cubicBezTo>
                  <a:cubicBezTo>
                    <a:pt x="2760821" y="216694"/>
                    <a:pt x="2760821" y="216694"/>
                    <a:pt x="2760821" y="216694"/>
                  </a:cubicBezTo>
                  <a:cubicBezTo>
                    <a:pt x="2760821" y="216694"/>
                    <a:pt x="2760821" y="216694"/>
                    <a:pt x="2760821" y="217646"/>
                  </a:cubicBezTo>
                  <a:cubicBezTo>
                    <a:pt x="2749391" y="189071"/>
                    <a:pt x="2741771" y="172879"/>
                    <a:pt x="2741771" y="172879"/>
                  </a:cubicBezTo>
                  <a:cubicBezTo>
                    <a:pt x="2741771" y="172879"/>
                    <a:pt x="2747486" y="193834"/>
                    <a:pt x="2757011" y="228124"/>
                  </a:cubicBezTo>
                  <a:cubicBezTo>
                    <a:pt x="2754154" y="236696"/>
                    <a:pt x="2749391" y="250984"/>
                    <a:pt x="2743676" y="268129"/>
                  </a:cubicBezTo>
                  <a:cubicBezTo>
                    <a:pt x="2740819" y="262414"/>
                    <a:pt x="2737961" y="258604"/>
                    <a:pt x="2736056" y="254794"/>
                  </a:cubicBezTo>
                  <a:cubicBezTo>
                    <a:pt x="2737009" y="241459"/>
                    <a:pt x="2737009" y="232886"/>
                    <a:pt x="2737009" y="232886"/>
                  </a:cubicBezTo>
                  <a:cubicBezTo>
                    <a:pt x="2737009" y="232886"/>
                    <a:pt x="2735104" y="238601"/>
                    <a:pt x="2732246" y="249079"/>
                  </a:cubicBezTo>
                  <a:cubicBezTo>
                    <a:pt x="2731294" y="247174"/>
                    <a:pt x="2730341" y="246221"/>
                    <a:pt x="2730341" y="246221"/>
                  </a:cubicBezTo>
                  <a:cubicBezTo>
                    <a:pt x="2730341" y="246221"/>
                    <a:pt x="2730341" y="247174"/>
                    <a:pt x="2731294" y="250031"/>
                  </a:cubicBezTo>
                  <a:cubicBezTo>
                    <a:pt x="2730341" y="252889"/>
                    <a:pt x="2730341" y="254794"/>
                    <a:pt x="2729389" y="258604"/>
                  </a:cubicBezTo>
                  <a:lnTo>
                    <a:pt x="2729389" y="247174"/>
                  </a:lnTo>
                  <a:lnTo>
                    <a:pt x="2731294" y="218599"/>
                  </a:lnTo>
                  <a:cubicBezTo>
                    <a:pt x="2732246" y="218599"/>
                    <a:pt x="2732246" y="218599"/>
                    <a:pt x="2733199" y="219551"/>
                  </a:cubicBezTo>
                  <a:cubicBezTo>
                    <a:pt x="2734151" y="220504"/>
                    <a:pt x="2735104" y="221456"/>
                    <a:pt x="2736056" y="222409"/>
                  </a:cubicBezTo>
                  <a:cubicBezTo>
                    <a:pt x="2737961" y="224314"/>
                    <a:pt x="2737961" y="228124"/>
                    <a:pt x="2738914" y="230981"/>
                  </a:cubicBezTo>
                  <a:cubicBezTo>
                    <a:pt x="2738914" y="228124"/>
                    <a:pt x="2738914" y="225266"/>
                    <a:pt x="2737961" y="222409"/>
                  </a:cubicBezTo>
                  <a:cubicBezTo>
                    <a:pt x="2737009" y="220504"/>
                    <a:pt x="2736056" y="219551"/>
                    <a:pt x="2735104" y="218599"/>
                  </a:cubicBezTo>
                  <a:cubicBezTo>
                    <a:pt x="2734151" y="217646"/>
                    <a:pt x="2732246" y="216694"/>
                    <a:pt x="2730341" y="216694"/>
                  </a:cubicBezTo>
                  <a:lnTo>
                    <a:pt x="2728436" y="216694"/>
                  </a:lnTo>
                  <a:lnTo>
                    <a:pt x="2728436" y="218599"/>
                  </a:lnTo>
                  <a:cubicBezTo>
                    <a:pt x="2726531" y="228124"/>
                    <a:pt x="2723674" y="238601"/>
                    <a:pt x="2721769" y="248126"/>
                  </a:cubicBezTo>
                  <a:cubicBezTo>
                    <a:pt x="2720816" y="251936"/>
                    <a:pt x="2720816" y="256699"/>
                    <a:pt x="2719864" y="260509"/>
                  </a:cubicBezTo>
                  <a:cubicBezTo>
                    <a:pt x="2718911" y="258604"/>
                    <a:pt x="2717959" y="256699"/>
                    <a:pt x="2717006" y="254794"/>
                  </a:cubicBezTo>
                  <a:cubicBezTo>
                    <a:pt x="2717006" y="254794"/>
                    <a:pt x="2717006" y="253841"/>
                    <a:pt x="2717006" y="253841"/>
                  </a:cubicBezTo>
                  <a:cubicBezTo>
                    <a:pt x="2717959" y="244316"/>
                    <a:pt x="2718911" y="238601"/>
                    <a:pt x="2718911" y="238601"/>
                  </a:cubicBezTo>
                  <a:cubicBezTo>
                    <a:pt x="2718911" y="238601"/>
                    <a:pt x="2717959" y="241459"/>
                    <a:pt x="2716054" y="247174"/>
                  </a:cubicBezTo>
                  <a:cubicBezTo>
                    <a:pt x="2717006" y="204311"/>
                    <a:pt x="2716054" y="176689"/>
                    <a:pt x="2716054" y="176689"/>
                  </a:cubicBezTo>
                  <a:cubicBezTo>
                    <a:pt x="2716054" y="176689"/>
                    <a:pt x="2715101" y="185261"/>
                    <a:pt x="2713196" y="198596"/>
                  </a:cubicBezTo>
                  <a:cubicBezTo>
                    <a:pt x="2712244" y="207169"/>
                    <a:pt x="2710339" y="217646"/>
                    <a:pt x="2709386" y="230029"/>
                  </a:cubicBezTo>
                  <a:cubicBezTo>
                    <a:pt x="2707481" y="226219"/>
                    <a:pt x="2706529" y="221456"/>
                    <a:pt x="2704624" y="218599"/>
                  </a:cubicBezTo>
                  <a:lnTo>
                    <a:pt x="2703671" y="199549"/>
                  </a:lnTo>
                  <a:lnTo>
                    <a:pt x="2703671" y="163354"/>
                  </a:lnTo>
                  <a:cubicBezTo>
                    <a:pt x="2704624" y="163354"/>
                    <a:pt x="2705576" y="163354"/>
                    <a:pt x="2706529" y="164306"/>
                  </a:cubicBezTo>
                  <a:cubicBezTo>
                    <a:pt x="2708434" y="165259"/>
                    <a:pt x="2709386" y="166211"/>
                    <a:pt x="2710339" y="167164"/>
                  </a:cubicBezTo>
                  <a:cubicBezTo>
                    <a:pt x="2712244" y="170021"/>
                    <a:pt x="2713196" y="173831"/>
                    <a:pt x="2714149" y="176689"/>
                  </a:cubicBezTo>
                  <a:cubicBezTo>
                    <a:pt x="2714149" y="172879"/>
                    <a:pt x="2713196" y="169069"/>
                    <a:pt x="2712244" y="166211"/>
                  </a:cubicBezTo>
                  <a:cubicBezTo>
                    <a:pt x="2711291" y="164306"/>
                    <a:pt x="2710339" y="163354"/>
                    <a:pt x="2708434" y="161449"/>
                  </a:cubicBezTo>
                  <a:cubicBezTo>
                    <a:pt x="2706529" y="160496"/>
                    <a:pt x="2704624" y="159544"/>
                    <a:pt x="2702719" y="159544"/>
                  </a:cubicBezTo>
                  <a:lnTo>
                    <a:pt x="2700814" y="159544"/>
                  </a:lnTo>
                  <a:lnTo>
                    <a:pt x="2700814" y="161449"/>
                  </a:lnTo>
                  <a:lnTo>
                    <a:pt x="2697004" y="193834"/>
                  </a:lnTo>
                  <a:cubicBezTo>
                    <a:pt x="2694146" y="186214"/>
                    <a:pt x="2693194" y="181451"/>
                    <a:pt x="2693194" y="181451"/>
                  </a:cubicBezTo>
                  <a:cubicBezTo>
                    <a:pt x="2693194" y="181451"/>
                    <a:pt x="2694146" y="187166"/>
                    <a:pt x="2697004" y="198596"/>
                  </a:cubicBezTo>
                  <a:lnTo>
                    <a:pt x="2697004" y="198596"/>
                  </a:lnTo>
                  <a:cubicBezTo>
                    <a:pt x="2696051" y="210979"/>
                    <a:pt x="2696051" y="224314"/>
                    <a:pt x="2696051" y="236696"/>
                  </a:cubicBezTo>
                  <a:cubicBezTo>
                    <a:pt x="2696051" y="245269"/>
                    <a:pt x="2696051" y="253841"/>
                    <a:pt x="2697004" y="262414"/>
                  </a:cubicBezTo>
                  <a:cubicBezTo>
                    <a:pt x="2697004" y="262414"/>
                    <a:pt x="2697004" y="263366"/>
                    <a:pt x="2697004" y="263366"/>
                  </a:cubicBezTo>
                  <a:cubicBezTo>
                    <a:pt x="2697004" y="264319"/>
                    <a:pt x="2696051" y="265271"/>
                    <a:pt x="2696051" y="265271"/>
                  </a:cubicBezTo>
                  <a:cubicBezTo>
                    <a:pt x="2695099" y="264319"/>
                    <a:pt x="2694146" y="262414"/>
                    <a:pt x="2694146" y="261461"/>
                  </a:cubicBezTo>
                  <a:cubicBezTo>
                    <a:pt x="2691289" y="255746"/>
                    <a:pt x="2688431" y="250984"/>
                    <a:pt x="2685574" y="246221"/>
                  </a:cubicBezTo>
                  <a:cubicBezTo>
                    <a:pt x="2682716" y="233839"/>
                    <a:pt x="2680811" y="221456"/>
                    <a:pt x="2677954" y="210979"/>
                  </a:cubicBezTo>
                  <a:cubicBezTo>
                    <a:pt x="2677001" y="207169"/>
                    <a:pt x="2677001" y="204311"/>
                    <a:pt x="2676049" y="200501"/>
                  </a:cubicBezTo>
                  <a:cubicBezTo>
                    <a:pt x="2677954" y="190976"/>
                    <a:pt x="2679859" y="182404"/>
                    <a:pt x="2681764" y="173831"/>
                  </a:cubicBezTo>
                  <a:cubicBezTo>
                    <a:pt x="2683669" y="162401"/>
                    <a:pt x="2685574" y="152876"/>
                    <a:pt x="2687479" y="144304"/>
                  </a:cubicBezTo>
                  <a:cubicBezTo>
                    <a:pt x="2690336" y="128111"/>
                    <a:pt x="2691289" y="118586"/>
                    <a:pt x="2691289" y="118586"/>
                  </a:cubicBezTo>
                  <a:cubicBezTo>
                    <a:pt x="2691289" y="118586"/>
                    <a:pt x="2688431" y="128111"/>
                    <a:pt x="2683669" y="143351"/>
                  </a:cubicBezTo>
                  <a:cubicBezTo>
                    <a:pt x="2681764" y="149066"/>
                    <a:pt x="2679859" y="155734"/>
                    <a:pt x="2677954" y="162401"/>
                  </a:cubicBezTo>
                  <a:cubicBezTo>
                    <a:pt x="2677001" y="166211"/>
                    <a:pt x="2675096" y="170974"/>
                    <a:pt x="2673191" y="176689"/>
                  </a:cubicBezTo>
                  <a:cubicBezTo>
                    <a:pt x="2673191" y="176689"/>
                    <a:pt x="2673191" y="177641"/>
                    <a:pt x="2673191" y="177641"/>
                  </a:cubicBezTo>
                  <a:cubicBezTo>
                    <a:pt x="2673191" y="176689"/>
                    <a:pt x="2672239" y="174784"/>
                    <a:pt x="2672239" y="173831"/>
                  </a:cubicBezTo>
                  <a:cubicBezTo>
                    <a:pt x="2670334" y="163354"/>
                    <a:pt x="2668429" y="153829"/>
                    <a:pt x="2666524" y="146209"/>
                  </a:cubicBezTo>
                  <a:cubicBezTo>
                    <a:pt x="2663666" y="130969"/>
                    <a:pt x="2661761" y="121444"/>
                    <a:pt x="2661761" y="121444"/>
                  </a:cubicBezTo>
                  <a:cubicBezTo>
                    <a:pt x="2661761" y="121444"/>
                    <a:pt x="2661761" y="130016"/>
                    <a:pt x="2662714" y="146209"/>
                  </a:cubicBezTo>
                  <a:cubicBezTo>
                    <a:pt x="2663666" y="158591"/>
                    <a:pt x="2664619" y="176689"/>
                    <a:pt x="2666524" y="196691"/>
                  </a:cubicBezTo>
                  <a:cubicBezTo>
                    <a:pt x="2666524" y="197644"/>
                    <a:pt x="2665571" y="199549"/>
                    <a:pt x="2665571" y="200501"/>
                  </a:cubicBezTo>
                  <a:cubicBezTo>
                    <a:pt x="2665571" y="201454"/>
                    <a:pt x="2664619" y="203359"/>
                    <a:pt x="2664619" y="204311"/>
                  </a:cubicBezTo>
                  <a:cubicBezTo>
                    <a:pt x="2658904" y="192881"/>
                    <a:pt x="2653189" y="183356"/>
                    <a:pt x="2649379" y="174784"/>
                  </a:cubicBezTo>
                  <a:cubicBezTo>
                    <a:pt x="2639854" y="152876"/>
                    <a:pt x="2634139" y="141446"/>
                    <a:pt x="2634139" y="141446"/>
                  </a:cubicBezTo>
                  <a:cubicBezTo>
                    <a:pt x="2634139" y="141446"/>
                    <a:pt x="2637949" y="153829"/>
                    <a:pt x="2646521" y="176689"/>
                  </a:cubicBezTo>
                  <a:cubicBezTo>
                    <a:pt x="2650331" y="187166"/>
                    <a:pt x="2656046" y="199549"/>
                    <a:pt x="2661761" y="214789"/>
                  </a:cubicBezTo>
                  <a:cubicBezTo>
                    <a:pt x="2661761" y="215741"/>
                    <a:pt x="2661761" y="215741"/>
                    <a:pt x="2660809" y="216694"/>
                  </a:cubicBezTo>
                  <a:cubicBezTo>
                    <a:pt x="2656999" y="210026"/>
                    <a:pt x="2655094" y="204311"/>
                    <a:pt x="2652236" y="201454"/>
                  </a:cubicBezTo>
                  <a:cubicBezTo>
                    <a:pt x="2649379" y="197644"/>
                    <a:pt x="2648426" y="196691"/>
                    <a:pt x="2648426" y="196691"/>
                  </a:cubicBezTo>
                  <a:cubicBezTo>
                    <a:pt x="2648426" y="196691"/>
                    <a:pt x="2649379" y="198596"/>
                    <a:pt x="2651284" y="202406"/>
                  </a:cubicBezTo>
                  <a:cubicBezTo>
                    <a:pt x="2654141" y="206216"/>
                    <a:pt x="2655094" y="211931"/>
                    <a:pt x="2657951" y="218599"/>
                  </a:cubicBezTo>
                  <a:cubicBezTo>
                    <a:pt x="2657951" y="220504"/>
                    <a:pt x="2658904" y="222409"/>
                    <a:pt x="2658904" y="223361"/>
                  </a:cubicBezTo>
                  <a:cubicBezTo>
                    <a:pt x="2658904" y="224314"/>
                    <a:pt x="2657951" y="225266"/>
                    <a:pt x="2657951" y="226219"/>
                  </a:cubicBezTo>
                  <a:cubicBezTo>
                    <a:pt x="2654141" y="214789"/>
                    <a:pt x="2650331" y="203359"/>
                    <a:pt x="2647474" y="193834"/>
                  </a:cubicBezTo>
                  <a:cubicBezTo>
                    <a:pt x="2644616" y="184309"/>
                    <a:pt x="2640806" y="175736"/>
                    <a:pt x="2638901" y="169069"/>
                  </a:cubicBezTo>
                  <a:cubicBezTo>
                    <a:pt x="2634139" y="154781"/>
                    <a:pt x="2631281" y="147161"/>
                    <a:pt x="2631281" y="147161"/>
                  </a:cubicBezTo>
                  <a:cubicBezTo>
                    <a:pt x="2631281" y="147161"/>
                    <a:pt x="2632234" y="155734"/>
                    <a:pt x="2635091" y="170021"/>
                  </a:cubicBezTo>
                  <a:cubicBezTo>
                    <a:pt x="2637949" y="184309"/>
                    <a:pt x="2641759" y="205264"/>
                    <a:pt x="2647474" y="230029"/>
                  </a:cubicBezTo>
                  <a:cubicBezTo>
                    <a:pt x="2648426" y="235744"/>
                    <a:pt x="2650331" y="241459"/>
                    <a:pt x="2651284" y="247174"/>
                  </a:cubicBezTo>
                  <a:cubicBezTo>
                    <a:pt x="2648426" y="255746"/>
                    <a:pt x="2645569" y="264319"/>
                    <a:pt x="2642711" y="273844"/>
                  </a:cubicBezTo>
                  <a:cubicBezTo>
                    <a:pt x="2641759" y="272891"/>
                    <a:pt x="2641759" y="271939"/>
                    <a:pt x="2640806" y="270034"/>
                  </a:cubicBezTo>
                  <a:cubicBezTo>
                    <a:pt x="2640806" y="269081"/>
                    <a:pt x="2639854" y="269081"/>
                    <a:pt x="2639854" y="268129"/>
                  </a:cubicBezTo>
                  <a:cubicBezTo>
                    <a:pt x="2642711" y="238601"/>
                    <a:pt x="2643664" y="220504"/>
                    <a:pt x="2643664" y="220504"/>
                  </a:cubicBezTo>
                  <a:cubicBezTo>
                    <a:pt x="2643664" y="220504"/>
                    <a:pt x="2640806" y="230029"/>
                    <a:pt x="2636996" y="247174"/>
                  </a:cubicBezTo>
                  <a:cubicBezTo>
                    <a:pt x="2636996" y="220504"/>
                    <a:pt x="2636044" y="204311"/>
                    <a:pt x="2636044" y="204311"/>
                  </a:cubicBezTo>
                  <a:cubicBezTo>
                    <a:pt x="2636044" y="204311"/>
                    <a:pt x="2633186" y="217646"/>
                    <a:pt x="2630329" y="240506"/>
                  </a:cubicBezTo>
                  <a:cubicBezTo>
                    <a:pt x="2628424" y="228124"/>
                    <a:pt x="2625566" y="216694"/>
                    <a:pt x="2623661" y="206216"/>
                  </a:cubicBezTo>
                  <a:cubicBezTo>
                    <a:pt x="2618899" y="182404"/>
                    <a:pt x="2614136" y="162401"/>
                    <a:pt x="2610326" y="147161"/>
                  </a:cubicBezTo>
                  <a:cubicBezTo>
                    <a:pt x="2613184" y="141446"/>
                    <a:pt x="2615089" y="137636"/>
                    <a:pt x="2615089" y="137636"/>
                  </a:cubicBezTo>
                  <a:cubicBezTo>
                    <a:pt x="2615089" y="137636"/>
                    <a:pt x="2613184" y="140494"/>
                    <a:pt x="2610326" y="145256"/>
                  </a:cubicBezTo>
                  <a:cubicBezTo>
                    <a:pt x="2610326" y="144304"/>
                    <a:pt x="2610326" y="144304"/>
                    <a:pt x="2609374" y="143351"/>
                  </a:cubicBezTo>
                  <a:cubicBezTo>
                    <a:pt x="2605564" y="128111"/>
                    <a:pt x="2603659" y="119539"/>
                    <a:pt x="2603659" y="119539"/>
                  </a:cubicBezTo>
                  <a:cubicBezTo>
                    <a:pt x="2603659" y="119539"/>
                    <a:pt x="2604611" y="128111"/>
                    <a:pt x="2605564" y="144304"/>
                  </a:cubicBezTo>
                  <a:cubicBezTo>
                    <a:pt x="2605564" y="146209"/>
                    <a:pt x="2605564" y="149066"/>
                    <a:pt x="2606516" y="150971"/>
                  </a:cubicBezTo>
                  <a:cubicBezTo>
                    <a:pt x="2604611" y="153829"/>
                    <a:pt x="2602706" y="155734"/>
                    <a:pt x="2600801" y="158591"/>
                  </a:cubicBezTo>
                  <a:cubicBezTo>
                    <a:pt x="2596991" y="163354"/>
                    <a:pt x="2594134" y="169069"/>
                    <a:pt x="2589371" y="175736"/>
                  </a:cubicBezTo>
                  <a:cubicBezTo>
                    <a:pt x="2589371" y="174784"/>
                    <a:pt x="2589371" y="172879"/>
                    <a:pt x="2588419" y="171926"/>
                  </a:cubicBezTo>
                  <a:cubicBezTo>
                    <a:pt x="2585561" y="155734"/>
                    <a:pt x="2583656" y="147161"/>
                    <a:pt x="2583656" y="147161"/>
                  </a:cubicBezTo>
                  <a:cubicBezTo>
                    <a:pt x="2583656" y="147161"/>
                    <a:pt x="2583656" y="156686"/>
                    <a:pt x="2584609" y="171926"/>
                  </a:cubicBezTo>
                  <a:cubicBezTo>
                    <a:pt x="2584609" y="174784"/>
                    <a:pt x="2584609" y="178594"/>
                    <a:pt x="2585561" y="182404"/>
                  </a:cubicBezTo>
                  <a:cubicBezTo>
                    <a:pt x="2585561" y="182404"/>
                    <a:pt x="2585561" y="182404"/>
                    <a:pt x="2585561" y="182404"/>
                  </a:cubicBezTo>
                  <a:cubicBezTo>
                    <a:pt x="2582704" y="187166"/>
                    <a:pt x="2579846" y="192881"/>
                    <a:pt x="2576036" y="198596"/>
                  </a:cubicBezTo>
                  <a:cubicBezTo>
                    <a:pt x="2575084" y="190976"/>
                    <a:pt x="2575084" y="183356"/>
                    <a:pt x="2574131" y="177641"/>
                  </a:cubicBezTo>
                  <a:cubicBezTo>
                    <a:pt x="2573179" y="165259"/>
                    <a:pt x="2573179" y="157639"/>
                    <a:pt x="2573179" y="157639"/>
                  </a:cubicBezTo>
                  <a:cubicBezTo>
                    <a:pt x="2573179" y="157639"/>
                    <a:pt x="2572226" y="162401"/>
                    <a:pt x="2571274" y="170974"/>
                  </a:cubicBezTo>
                  <a:cubicBezTo>
                    <a:pt x="2571274" y="170974"/>
                    <a:pt x="2571274" y="170021"/>
                    <a:pt x="2571274" y="170021"/>
                  </a:cubicBezTo>
                  <a:cubicBezTo>
                    <a:pt x="2570321" y="162401"/>
                    <a:pt x="2570321" y="155734"/>
                    <a:pt x="2569369" y="149066"/>
                  </a:cubicBezTo>
                  <a:cubicBezTo>
                    <a:pt x="2569369" y="142399"/>
                    <a:pt x="2568416" y="135731"/>
                    <a:pt x="2568416" y="130016"/>
                  </a:cubicBezTo>
                  <a:cubicBezTo>
                    <a:pt x="2567464" y="118586"/>
                    <a:pt x="2566511" y="108109"/>
                    <a:pt x="2567464" y="99536"/>
                  </a:cubicBezTo>
                  <a:cubicBezTo>
                    <a:pt x="2567464" y="82391"/>
                    <a:pt x="2566511" y="72866"/>
                    <a:pt x="2566511" y="72866"/>
                  </a:cubicBezTo>
                  <a:cubicBezTo>
                    <a:pt x="2566511" y="72866"/>
                    <a:pt x="2565559" y="82391"/>
                    <a:pt x="2562701" y="99536"/>
                  </a:cubicBezTo>
                  <a:cubicBezTo>
                    <a:pt x="2561749" y="108109"/>
                    <a:pt x="2560796" y="118586"/>
                    <a:pt x="2560796" y="130016"/>
                  </a:cubicBezTo>
                  <a:cubicBezTo>
                    <a:pt x="2560796" y="135731"/>
                    <a:pt x="2559844" y="142399"/>
                    <a:pt x="2559844" y="149066"/>
                  </a:cubicBezTo>
                  <a:cubicBezTo>
                    <a:pt x="2559844" y="155734"/>
                    <a:pt x="2559844" y="162401"/>
                    <a:pt x="2559844" y="170021"/>
                  </a:cubicBezTo>
                  <a:cubicBezTo>
                    <a:pt x="2559844" y="178594"/>
                    <a:pt x="2559844" y="187166"/>
                    <a:pt x="2560796" y="195739"/>
                  </a:cubicBezTo>
                  <a:cubicBezTo>
                    <a:pt x="2559844" y="192881"/>
                    <a:pt x="2558891" y="191929"/>
                    <a:pt x="2558891" y="191929"/>
                  </a:cubicBezTo>
                  <a:cubicBezTo>
                    <a:pt x="2558891" y="191929"/>
                    <a:pt x="2559844" y="194786"/>
                    <a:pt x="2561749" y="200501"/>
                  </a:cubicBezTo>
                  <a:cubicBezTo>
                    <a:pt x="2561749" y="206216"/>
                    <a:pt x="2562701" y="211931"/>
                    <a:pt x="2562701" y="217646"/>
                  </a:cubicBezTo>
                  <a:cubicBezTo>
                    <a:pt x="2562701" y="219551"/>
                    <a:pt x="2562701" y="221456"/>
                    <a:pt x="2562701" y="223361"/>
                  </a:cubicBezTo>
                  <a:cubicBezTo>
                    <a:pt x="2558891" y="230981"/>
                    <a:pt x="2555081" y="238601"/>
                    <a:pt x="2551271" y="247174"/>
                  </a:cubicBezTo>
                  <a:cubicBezTo>
                    <a:pt x="2550319" y="239554"/>
                    <a:pt x="2550319" y="233839"/>
                    <a:pt x="2549366" y="230029"/>
                  </a:cubicBezTo>
                  <a:cubicBezTo>
                    <a:pt x="2553176" y="219551"/>
                    <a:pt x="2555081" y="212884"/>
                    <a:pt x="2555081" y="212884"/>
                  </a:cubicBezTo>
                  <a:cubicBezTo>
                    <a:pt x="2555081" y="212884"/>
                    <a:pt x="2552224" y="218599"/>
                    <a:pt x="2546509" y="228124"/>
                  </a:cubicBezTo>
                  <a:cubicBezTo>
                    <a:pt x="2546509" y="226219"/>
                    <a:pt x="2547461" y="224314"/>
                    <a:pt x="2547461" y="222409"/>
                  </a:cubicBezTo>
                  <a:cubicBezTo>
                    <a:pt x="2551271" y="206216"/>
                    <a:pt x="2553176" y="196691"/>
                    <a:pt x="2553176" y="196691"/>
                  </a:cubicBezTo>
                  <a:cubicBezTo>
                    <a:pt x="2553176" y="196691"/>
                    <a:pt x="2549366" y="205264"/>
                    <a:pt x="2543651" y="221456"/>
                  </a:cubicBezTo>
                  <a:cubicBezTo>
                    <a:pt x="2541746" y="228124"/>
                    <a:pt x="2538889" y="236696"/>
                    <a:pt x="2536984" y="246221"/>
                  </a:cubicBezTo>
                  <a:cubicBezTo>
                    <a:pt x="2536984" y="245269"/>
                    <a:pt x="2536984" y="245269"/>
                    <a:pt x="2536984" y="244316"/>
                  </a:cubicBezTo>
                  <a:cubicBezTo>
                    <a:pt x="2535079" y="230029"/>
                    <a:pt x="2534126" y="221456"/>
                    <a:pt x="2534126" y="221456"/>
                  </a:cubicBezTo>
                  <a:cubicBezTo>
                    <a:pt x="2534126" y="221456"/>
                    <a:pt x="2534126" y="230029"/>
                    <a:pt x="2533174" y="244316"/>
                  </a:cubicBezTo>
                  <a:cubicBezTo>
                    <a:pt x="2533174" y="246221"/>
                    <a:pt x="2533174" y="249079"/>
                    <a:pt x="2533174" y="250984"/>
                  </a:cubicBezTo>
                  <a:cubicBezTo>
                    <a:pt x="2533174" y="249079"/>
                    <a:pt x="2532221" y="247174"/>
                    <a:pt x="2532221" y="245269"/>
                  </a:cubicBezTo>
                  <a:cubicBezTo>
                    <a:pt x="2529364" y="233839"/>
                    <a:pt x="2527459" y="223361"/>
                    <a:pt x="2524601" y="213836"/>
                  </a:cubicBezTo>
                  <a:cubicBezTo>
                    <a:pt x="2521744" y="204311"/>
                    <a:pt x="2519839" y="196691"/>
                    <a:pt x="2517934" y="190024"/>
                  </a:cubicBezTo>
                  <a:cubicBezTo>
                    <a:pt x="2513171" y="176689"/>
                    <a:pt x="2511266" y="169069"/>
                    <a:pt x="2511266" y="169069"/>
                  </a:cubicBezTo>
                  <a:cubicBezTo>
                    <a:pt x="2511266" y="169069"/>
                    <a:pt x="2512219" y="176689"/>
                    <a:pt x="2514124" y="190976"/>
                  </a:cubicBezTo>
                  <a:cubicBezTo>
                    <a:pt x="2515076" y="197644"/>
                    <a:pt x="2516029" y="206216"/>
                    <a:pt x="2516981" y="215741"/>
                  </a:cubicBezTo>
                  <a:cubicBezTo>
                    <a:pt x="2517934" y="225266"/>
                    <a:pt x="2518886" y="235744"/>
                    <a:pt x="2520791" y="248126"/>
                  </a:cubicBezTo>
                  <a:cubicBezTo>
                    <a:pt x="2521744" y="257651"/>
                    <a:pt x="2522696" y="267176"/>
                    <a:pt x="2523649" y="277654"/>
                  </a:cubicBezTo>
                  <a:cubicBezTo>
                    <a:pt x="2522696" y="279559"/>
                    <a:pt x="2521744" y="281464"/>
                    <a:pt x="2521744" y="282416"/>
                  </a:cubicBezTo>
                  <a:cubicBezTo>
                    <a:pt x="2519839" y="274796"/>
                    <a:pt x="2517934" y="269081"/>
                    <a:pt x="2516981" y="263366"/>
                  </a:cubicBezTo>
                  <a:cubicBezTo>
                    <a:pt x="2513171" y="250031"/>
                    <a:pt x="2511266" y="243364"/>
                    <a:pt x="2511266" y="243364"/>
                  </a:cubicBezTo>
                  <a:cubicBezTo>
                    <a:pt x="2511266" y="243364"/>
                    <a:pt x="2512219" y="250984"/>
                    <a:pt x="2513171" y="264319"/>
                  </a:cubicBezTo>
                  <a:cubicBezTo>
                    <a:pt x="2513171" y="268129"/>
                    <a:pt x="2514124" y="272891"/>
                    <a:pt x="2514124" y="277654"/>
                  </a:cubicBezTo>
                  <a:cubicBezTo>
                    <a:pt x="2510314" y="269081"/>
                    <a:pt x="2507456" y="262414"/>
                    <a:pt x="2504599" y="256699"/>
                  </a:cubicBezTo>
                  <a:cubicBezTo>
                    <a:pt x="2504599" y="254794"/>
                    <a:pt x="2504599" y="253841"/>
                    <a:pt x="2504599" y="253841"/>
                  </a:cubicBezTo>
                  <a:cubicBezTo>
                    <a:pt x="2504599" y="253841"/>
                    <a:pt x="2504599" y="254794"/>
                    <a:pt x="2503646" y="255746"/>
                  </a:cubicBezTo>
                  <a:cubicBezTo>
                    <a:pt x="2499836" y="248126"/>
                    <a:pt x="2497931" y="243364"/>
                    <a:pt x="2497931" y="243364"/>
                  </a:cubicBezTo>
                  <a:cubicBezTo>
                    <a:pt x="2497931" y="243364"/>
                    <a:pt x="2499836" y="249079"/>
                    <a:pt x="2502694" y="259556"/>
                  </a:cubicBezTo>
                  <a:cubicBezTo>
                    <a:pt x="2501741" y="261461"/>
                    <a:pt x="2500789" y="264319"/>
                    <a:pt x="2499836" y="267176"/>
                  </a:cubicBezTo>
                  <a:cubicBezTo>
                    <a:pt x="2499836" y="268129"/>
                    <a:pt x="2498884" y="269081"/>
                    <a:pt x="2498884" y="270034"/>
                  </a:cubicBezTo>
                  <a:cubicBezTo>
                    <a:pt x="2496979" y="253841"/>
                    <a:pt x="2496026" y="237649"/>
                    <a:pt x="2494121" y="223361"/>
                  </a:cubicBezTo>
                  <a:cubicBezTo>
                    <a:pt x="2495074" y="222409"/>
                    <a:pt x="2495074" y="221456"/>
                    <a:pt x="2496026" y="220504"/>
                  </a:cubicBezTo>
                  <a:cubicBezTo>
                    <a:pt x="2500789" y="212884"/>
                    <a:pt x="2504599" y="207169"/>
                    <a:pt x="2506504" y="203359"/>
                  </a:cubicBezTo>
                  <a:cubicBezTo>
                    <a:pt x="2509361" y="199549"/>
                    <a:pt x="2510314" y="197644"/>
                    <a:pt x="2510314" y="197644"/>
                  </a:cubicBezTo>
                  <a:cubicBezTo>
                    <a:pt x="2510314" y="197644"/>
                    <a:pt x="2508409" y="199549"/>
                    <a:pt x="2505551" y="203359"/>
                  </a:cubicBezTo>
                  <a:cubicBezTo>
                    <a:pt x="2502694" y="206216"/>
                    <a:pt x="2497931" y="210979"/>
                    <a:pt x="2493169" y="217646"/>
                  </a:cubicBezTo>
                  <a:cubicBezTo>
                    <a:pt x="2493169" y="217646"/>
                    <a:pt x="2493169" y="216694"/>
                    <a:pt x="2493169" y="216694"/>
                  </a:cubicBezTo>
                  <a:cubicBezTo>
                    <a:pt x="2492216" y="210026"/>
                    <a:pt x="2492216" y="203359"/>
                    <a:pt x="2491264" y="196691"/>
                  </a:cubicBezTo>
                  <a:cubicBezTo>
                    <a:pt x="2497931" y="188119"/>
                    <a:pt x="2501741" y="183356"/>
                    <a:pt x="2501741" y="183356"/>
                  </a:cubicBezTo>
                  <a:cubicBezTo>
                    <a:pt x="2501741" y="183356"/>
                    <a:pt x="2497931" y="187166"/>
                    <a:pt x="2490311" y="192881"/>
                  </a:cubicBezTo>
                  <a:cubicBezTo>
                    <a:pt x="2489359" y="187166"/>
                    <a:pt x="2489359" y="181451"/>
                    <a:pt x="2489359" y="176689"/>
                  </a:cubicBezTo>
                  <a:cubicBezTo>
                    <a:pt x="2492216" y="171926"/>
                    <a:pt x="2495074" y="168116"/>
                    <a:pt x="2497931" y="165259"/>
                  </a:cubicBezTo>
                  <a:cubicBezTo>
                    <a:pt x="2500789" y="161449"/>
                    <a:pt x="2502694" y="159544"/>
                    <a:pt x="2502694" y="159544"/>
                  </a:cubicBezTo>
                  <a:cubicBezTo>
                    <a:pt x="2502694" y="159544"/>
                    <a:pt x="2500789" y="161449"/>
                    <a:pt x="2496979" y="164306"/>
                  </a:cubicBezTo>
                  <a:cubicBezTo>
                    <a:pt x="2495074" y="166211"/>
                    <a:pt x="2492216" y="169069"/>
                    <a:pt x="2489359" y="171926"/>
                  </a:cubicBezTo>
                  <a:cubicBezTo>
                    <a:pt x="2489359" y="165259"/>
                    <a:pt x="2488406" y="158591"/>
                    <a:pt x="2488406" y="153829"/>
                  </a:cubicBezTo>
                  <a:cubicBezTo>
                    <a:pt x="2488406" y="146209"/>
                    <a:pt x="2487454" y="139541"/>
                    <a:pt x="2487454" y="135731"/>
                  </a:cubicBezTo>
                  <a:cubicBezTo>
                    <a:pt x="2491264" y="129064"/>
                    <a:pt x="2494121" y="125254"/>
                    <a:pt x="2494121" y="125254"/>
                  </a:cubicBezTo>
                  <a:cubicBezTo>
                    <a:pt x="2494121" y="125254"/>
                    <a:pt x="2492216" y="128111"/>
                    <a:pt x="2487454" y="132874"/>
                  </a:cubicBezTo>
                  <a:cubicBezTo>
                    <a:pt x="2487454" y="130969"/>
                    <a:pt x="2487454" y="129064"/>
                    <a:pt x="2487454" y="129064"/>
                  </a:cubicBezTo>
                  <a:cubicBezTo>
                    <a:pt x="2487454" y="129064"/>
                    <a:pt x="2487454" y="130969"/>
                    <a:pt x="2486501" y="132874"/>
                  </a:cubicBezTo>
                  <a:cubicBezTo>
                    <a:pt x="2483644" y="136684"/>
                    <a:pt x="2479834" y="140494"/>
                    <a:pt x="2475071" y="146209"/>
                  </a:cubicBezTo>
                  <a:cubicBezTo>
                    <a:pt x="2469356" y="152876"/>
                    <a:pt x="2462689" y="161449"/>
                    <a:pt x="2455069" y="171926"/>
                  </a:cubicBezTo>
                  <a:cubicBezTo>
                    <a:pt x="2451259" y="176689"/>
                    <a:pt x="2447449" y="182404"/>
                    <a:pt x="2442686" y="188119"/>
                  </a:cubicBezTo>
                  <a:cubicBezTo>
                    <a:pt x="2439829" y="192881"/>
                    <a:pt x="2436019" y="197644"/>
                    <a:pt x="2433161" y="203359"/>
                  </a:cubicBezTo>
                  <a:cubicBezTo>
                    <a:pt x="2433161" y="199549"/>
                    <a:pt x="2432209" y="195739"/>
                    <a:pt x="2432209" y="191929"/>
                  </a:cubicBezTo>
                  <a:cubicBezTo>
                    <a:pt x="2428399" y="158591"/>
                    <a:pt x="2426494" y="130969"/>
                    <a:pt x="2425541" y="110966"/>
                  </a:cubicBezTo>
                  <a:cubicBezTo>
                    <a:pt x="2425541" y="101441"/>
                    <a:pt x="2424589" y="93821"/>
                    <a:pt x="2424589" y="88106"/>
                  </a:cubicBezTo>
                  <a:cubicBezTo>
                    <a:pt x="2424589" y="82391"/>
                    <a:pt x="2424589" y="80486"/>
                    <a:pt x="2424589" y="80486"/>
                  </a:cubicBezTo>
                  <a:cubicBezTo>
                    <a:pt x="2424589" y="80486"/>
                    <a:pt x="2424589" y="83344"/>
                    <a:pt x="2423636" y="88106"/>
                  </a:cubicBezTo>
                  <a:cubicBezTo>
                    <a:pt x="2422684" y="92869"/>
                    <a:pt x="2422684" y="101441"/>
                    <a:pt x="2421731" y="110966"/>
                  </a:cubicBezTo>
                  <a:cubicBezTo>
                    <a:pt x="2420779" y="120491"/>
                    <a:pt x="2420779" y="132874"/>
                    <a:pt x="2420779" y="146209"/>
                  </a:cubicBezTo>
                  <a:cubicBezTo>
                    <a:pt x="2420779" y="159544"/>
                    <a:pt x="2420779" y="175736"/>
                    <a:pt x="2421731" y="191929"/>
                  </a:cubicBezTo>
                  <a:cubicBezTo>
                    <a:pt x="2421731" y="200501"/>
                    <a:pt x="2422684" y="210026"/>
                    <a:pt x="2422684" y="220504"/>
                  </a:cubicBezTo>
                  <a:cubicBezTo>
                    <a:pt x="2416969" y="230029"/>
                    <a:pt x="2411254" y="239554"/>
                    <a:pt x="2405539" y="250031"/>
                  </a:cubicBezTo>
                  <a:cubicBezTo>
                    <a:pt x="2404586" y="251936"/>
                    <a:pt x="2403634" y="254794"/>
                    <a:pt x="2401729" y="256699"/>
                  </a:cubicBezTo>
                  <a:cubicBezTo>
                    <a:pt x="2401729" y="256699"/>
                    <a:pt x="2400776" y="255746"/>
                    <a:pt x="2400776" y="255746"/>
                  </a:cubicBezTo>
                  <a:cubicBezTo>
                    <a:pt x="2397919" y="247174"/>
                    <a:pt x="2395061" y="239554"/>
                    <a:pt x="2392204" y="233839"/>
                  </a:cubicBezTo>
                  <a:cubicBezTo>
                    <a:pt x="2389346" y="208121"/>
                    <a:pt x="2386489" y="186214"/>
                    <a:pt x="2385536" y="170974"/>
                  </a:cubicBezTo>
                  <a:cubicBezTo>
                    <a:pt x="2384584" y="162401"/>
                    <a:pt x="2383631" y="155734"/>
                    <a:pt x="2382679" y="150971"/>
                  </a:cubicBezTo>
                  <a:cubicBezTo>
                    <a:pt x="2383631" y="147161"/>
                    <a:pt x="2384584" y="144304"/>
                    <a:pt x="2384584" y="140494"/>
                  </a:cubicBezTo>
                  <a:cubicBezTo>
                    <a:pt x="2384584" y="138589"/>
                    <a:pt x="2383631" y="137636"/>
                    <a:pt x="2382679" y="135731"/>
                  </a:cubicBezTo>
                  <a:cubicBezTo>
                    <a:pt x="2385536" y="129064"/>
                    <a:pt x="2388394" y="121444"/>
                    <a:pt x="2390299" y="114776"/>
                  </a:cubicBezTo>
                  <a:cubicBezTo>
                    <a:pt x="2413159" y="53816"/>
                    <a:pt x="2427446" y="12859"/>
                    <a:pt x="2427446" y="12859"/>
                  </a:cubicBezTo>
                  <a:cubicBezTo>
                    <a:pt x="2427446" y="12859"/>
                    <a:pt x="2407444" y="50959"/>
                    <a:pt x="2380774" y="110014"/>
                  </a:cubicBezTo>
                  <a:cubicBezTo>
                    <a:pt x="2374106" y="124301"/>
                    <a:pt x="2366486" y="140494"/>
                    <a:pt x="2358866" y="157639"/>
                  </a:cubicBezTo>
                  <a:cubicBezTo>
                    <a:pt x="2357914" y="160496"/>
                    <a:pt x="2356009" y="163354"/>
                    <a:pt x="2355056" y="166211"/>
                  </a:cubicBezTo>
                  <a:cubicBezTo>
                    <a:pt x="2356009" y="162401"/>
                    <a:pt x="2356961" y="158591"/>
                    <a:pt x="2357914" y="155734"/>
                  </a:cubicBezTo>
                  <a:cubicBezTo>
                    <a:pt x="2360771" y="141446"/>
                    <a:pt x="2362676" y="132874"/>
                    <a:pt x="2362676" y="132874"/>
                  </a:cubicBezTo>
                  <a:cubicBezTo>
                    <a:pt x="2362676" y="132874"/>
                    <a:pt x="2359819" y="140494"/>
                    <a:pt x="2354104" y="154781"/>
                  </a:cubicBezTo>
                  <a:cubicBezTo>
                    <a:pt x="2351246" y="161449"/>
                    <a:pt x="2348389" y="170021"/>
                    <a:pt x="2344579" y="179546"/>
                  </a:cubicBezTo>
                  <a:cubicBezTo>
                    <a:pt x="2340769" y="189071"/>
                    <a:pt x="2336959" y="200501"/>
                    <a:pt x="2334101" y="211931"/>
                  </a:cubicBezTo>
                  <a:cubicBezTo>
                    <a:pt x="2334101" y="211931"/>
                    <a:pt x="2334101" y="211931"/>
                    <a:pt x="2334101" y="211931"/>
                  </a:cubicBezTo>
                  <a:cubicBezTo>
                    <a:pt x="2336006" y="197644"/>
                    <a:pt x="2338864" y="184309"/>
                    <a:pt x="2340769" y="171926"/>
                  </a:cubicBezTo>
                  <a:cubicBezTo>
                    <a:pt x="2343626" y="156686"/>
                    <a:pt x="2344579" y="143351"/>
                    <a:pt x="2347436" y="130969"/>
                  </a:cubicBezTo>
                  <a:cubicBezTo>
                    <a:pt x="2350294" y="118586"/>
                    <a:pt x="2352199" y="108109"/>
                    <a:pt x="2354104" y="99536"/>
                  </a:cubicBezTo>
                  <a:cubicBezTo>
                    <a:pt x="2357914" y="82391"/>
                    <a:pt x="2358866" y="71914"/>
                    <a:pt x="2358866" y="71914"/>
                  </a:cubicBezTo>
                  <a:cubicBezTo>
                    <a:pt x="2358866" y="71914"/>
                    <a:pt x="2355056" y="81439"/>
                    <a:pt x="2350294" y="98584"/>
                  </a:cubicBezTo>
                  <a:cubicBezTo>
                    <a:pt x="2347436" y="107156"/>
                    <a:pt x="2344579" y="117634"/>
                    <a:pt x="2340769" y="129064"/>
                  </a:cubicBezTo>
                  <a:cubicBezTo>
                    <a:pt x="2336959" y="140494"/>
                    <a:pt x="2333149" y="154781"/>
                    <a:pt x="2330291" y="170021"/>
                  </a:cubicBezTo>
                  <a:cubicBezTo>
                    <a:pt x="2328386" y="177641"/>
                    <a:pt x="2326481" y="185261"/>
                    <a:pt x="2324576" y="193834"/>
                  </a:cubicBezTo>
                  <a:cubicBezTo>
                    <a:pt x="2323624" y="190976"/>
                    <a:pt x="2321719" y="188119"/>
                    <a:pt x="2320766" y="185261"/>
                  </a:cubicBezTo>
                  <a:cubicBezTo>
                    <a:pt x="2324576" y="168116"/>
                    <a:pt x="2326481" y="157639"/>
                    <a:pt x="2326481" y="157639"/>
                  </a:cubicBezTo>
                  <a:cubicBezTo>
                    <a:pt x="2326481" y="157639"/>
                    <a:pt x="2323624" y="165259"/>
                    <a:pt x="2318861" y="179546"/>
                  </a:cubicBezTo>
                  <a:cubicBezTo>
                    <a:pt x="2316004" y="173831"/>
                    <a:pt x="2315051" y="170974"/>
                    <a:pt x="2315051" y="170974"/>
                  </a:cubicBezTo>
                  <a:cubicBezTo>
                    <a:pt x="2315051" y="170974"/>
                    <a:pt x="2316004" y="174784"/>
                    <a:pt x="2317909" y="181451"/>
                  </a:cubicBezTo>
                  <a:cubicBezTo>
                    <a:pt x="2316956" y="185261"/>
                    <a:pt x="2315051" y="189071"/>
                    <a:pt x="2313146" y="193834"/>
                  </a:cubicBezTo>
                  <a:cubicBezTo>
                    <a:pt x="2312194" y="192881"/>
                    <a:pt x="2312194" y="191929"/>
                    <a:pt x="2311241" y="190976"/>
                  </a:cubicBezTo>
                  <a:cubicBezTo>
                    <a:pt x="2314099" y="161449"/>
                    <a:pt x="2314099" y="141446"/>
                    <a:pt x="2314099" y="141446"/>
                  </a:cubicBezTo>
                  <a:cubicBezTo>
                    <a:pt x="2314099" y="141446"/>
                    <a:pt x="2306479" y="165259"/>
                    <a:pt x="2298859" y="202406"/>
                  </a:cubicBezTo>
                  <a:cubicBezTo>
                    <a:pt x="2296954" y="211931"/>
                    <a:pt x="2294096" y="221456"/>
                    <a:pt x="2292191" y="231934"/>
                  </a:cubicBezTo>
                  <a:cubicBezTo>
                    <a:pt x="2291239" y="237649"/>
                    <a:pt x="2290286" y="244316"/>
                    <a:pt x="2289334" y="250031"/>
                  </a:cubicBezTo>
                  <a:cubicBezTo>
                    <a:pt x="2288381" y="252889"/>
                    <a:pt x="2287429" y="255746"/>
                    <a:pt x="2285524" y="259556"/>
                  </a:cubicBezTo>
                  <a:cubicBezTo>
                    <a:pt x="2282666" y="267176"/>
                    <a:pt x="2279809" y="276701"/>
                    <a:pt x="2275999" y="287179"/>
                  </a:cubicBezTo>
                  <a:cubicBezTo>
                    <a:pt x="2275999" y="287179"/>
                    <a:pt x="2275999" y="288131"/>
                    <a:pt x="2275999" y="288131"/>
                  </a:cubicBezTo>
                  <a:cubicBezTo>
                    <a:pt x="2275999" y="286226"/>
                    <a:pt x="2275999" y="284321"/>
                    <a:pt x="2275999" y="282416"/>
                  </a:cubicBezTo>
                  <a:cubicBezTo>
                    <a:pt x="2276951" y="271939"/>
                    <a:pt x="2276951" y="265271"/>
                    <a:pt x="2276951" y="265271"/>
                  </a:cubicBezTo>
                  <a:cubicBezTo>
                    <a:pt x="2276951" y="265271"/>
                    <a:pt x="2275046" y="270986"/>
                    <a:pt x="2272189" y="281464"/>
                  </a:cubicBezTo>
                  <a:cubicBezTo>
                    <a:pt x="2271236" y="284321"/>
                    <a:pt x="2270284" y="287179"/>
                    <a:pt x="2269331" y="290989"/>
                  </a:cubicBezTo>
                  <a:cubicBezTo>
                    <a:pt x="2269331" y="290989"/>
                    <a:pt x="2269331" y="290989"/>
                    <a:pt x="2269331" y="290989"/>
                  </a:cubicBezTo>
                  <a:cubicBezTo>
                    <a:pt x="2269331" y="280511"/>
                    <a:pt x="2268379" y="270034"/>
                    <a:pt x="2269331" y="261461"/>
                  </a:cubicBezTo>
                  <a:cubicBezTo>
                    <a:pt x="2270284" y="252889"/>
                    <a:pt x="2269331" y="245269"/>
                    <a:pt x="2270284" y="238601"/>
                  </a:cubicBezTo>
                  <a:cubicBezTo>
                    <a:pt x="2271236" y="232886"/>
                    <a:pt x="2271236" y="228124"/>
                    <a:pt x="2272189" y="225266"/>
                  </a:cubicBezTo>
                  <a:cubicBezTo>
                    <a:pt x="2275046" y="215741"/>
                    <a:pt x="2275999" y="210979"/>
                    <a:pt x="2275999" y="210979"/>
                  </a:cubicBezTo>
                  <a:cubicBezTo>
                    <a:pt x="2275999" y="210979"/>
                    <a:pt x="2272189" y="218599"/>
                    <a:pt x="2266474" y="232886"/>
                  </a:cubicBezTo>
                  <a:cubicBezTo>
                    <a:pt x="2267426" y="230029"/>
                    <a:pt x="2267426" y="228124"/>
                    <a:pt x="2267426" y="228124"/>
                  </a:cubicBezTo>
                  <a:cubicBezTo>
                    <a:pt x="2267426" y="228124"/>
                    <a:pt x="2265521" y="230981"/>
                    <a:pt x="2263616" y="235744"/>
                  </a:cubicBezTo>
                  <a:cubicBezTo>
                    <a:pt x="2264569" y="226219"/>
                    <a:pt x="2265521" y="220504"/>
                    <a:pt x="2265521" y="220504"/>
                  </a:cubicBezTo>
                  <a:cubicBezTo>
                    <a:pt x="2265521" y="220504"/>
                    <a:pt x="2262664" y="230029"/>
                    <a:pt x="2256949" y="247174"/>
                  </a:cubicBezTo>
                  <a:cubicBezTo>
                    <a:pt x="2255044" y="250984"/>
                    <a:pt x="2253139" y="253841"/>
                    <a:pt x="2252186" y="258604"/>
                  </a:cubicBezTo>
                  <a:cubicBezTo>
                    <a:pt x="2251234" y="259556"/>
                    <a:pt x="2251234" y="260509"/>
                    <a:pt x="2250281" y="262414"/>
                  </a:cubicBezTo>
                  <a:cubicBezTo>
                    <a:pt x="2252186" y="255746"/>
                    <a:pt x="2253139" y="249079"/>
                    <a:pt x="2255044" y="243364"/>
                  </a:cubicBezTo>
                  <a:cubicBezTo>
                    <a:pt x="2260759" y="216694"/>
                    <a:pt x="2264569" y="194786"/>
                    <a:pt x="2267426" y="178594"/>
                  </a:cubicBezTo>
                  <a:cubicBezTo>
                    <a:pt x="2269331" y="163354"/>
                    <a:pt x="2270284" y="153829"/>
                    <a:pt x="2270284" y="153829"/>
                  </a:cubicBezTo>
                  <a:cubicBezTo>
                    <a:pt x="2270284" y="153829"/>
                    <a:pt x="2267426" y="162401"/>
                    <a:pt x="2262664" y="177641"/>
                  </a:cubicBezTo>
                  <a:cubicBezTo>
                    <a:pt x="2260759" y="185261"/>
                    <a:pt x="2257901" y="194786"/>
                    <a:pt x="2254091" y="205264"/>
                  </a:cubicBezTo>
                  <a:cubicBezTo>
                    <a:pt x="2251234" y="212884"/>
                    <a:pt x="2249329" y="221456"/>
                    <a:pt x="2246471" y="230981"/>
                  </a:cubicBezTo>
                  <a:cubicBezTo>
                    <a:pt x="2244566" y="234791"/>
                    <a:pt x="2243614" y="239554"/>
                    <a:pt x="2241709" y="244316"/>
                  </a:cubicBezTo>
                  <a:cubicBezTo>
                    <a:pt x="2240756" y="240506"/>
                    <a:pt x="2239804" y="236696"/>
                    <a:pt x="2239804" y="233839"/>
                  </a:cubicBezTo>
                  <a:cubicBezTo>
                    <a:pt x="2235994" y="215741"/>
                    <a:pt x="2233136" y="205264"/>
                    <a:pt x="2233136" y="205264"/>
                  </a:cubicBezTo>
                  <a:cubicBezTo>
                    <a:pt x="2233136" y="205264"/>
                    <a:pt x="2235041" y="224314"/>
                    <a:pt x="2237899" y="255746"/>
                  </a:cubicBezTo>
                  <a:cubicBezTo>
                    <a:pt x="2236946" y="259556"/>
                    <a:pt x="2235041" y="264319"/>
                    <a:pt x="2234089" y="269081"/>
                  </a:cubicBezTo>
                  <a:cubicBezTo>
                    <a:pt x="2234089" y="269081"/>
                    <a:pt x="2233136" y="270034"/>
                    <a:pt x="2233136" y="270034"/>
                  </a:cubicBezTo>
                  <a:cubicBezTo>
                    <a:pt x="2233136" y="268129"/>
                    <a:pt x="2233136" y="265271"/>
                    <a:pt x="2233136" y="263366"/>
                  </a:cubicBezTo>
                  <a:cubicBezTo>
                    <a:pt x="2233136" y="253841"/>
                    <a:pt x="2232184" y="244316"/>
                    <a:pt x="2231231" y="234791"/>
                  </a:cubicBezTo>
                  <a:cubicBezTo>
                    <a:pt x="2230279" y="225266"/>
                    <a:pt x="2229326" y="216694"/>
                    <a:pt x="2228374" y="207169"/>
                  </a:cubicBezTo>
                  <a:cubicBezTo>
                    <a:pt x="2229326" y="198596"/>
                    <a:pt x="2230279" y="193834"/>
                    <a:pt x="2230279" y="193834"/>
                  </a:cubicBezTo>
                  <a:cubicBezTo>
                    <a:pt x="2230279" y="193834"/>
                    <a:pt x="2229326" y="197644"/>
                    <a:pt x="2226469" y="204311"/>
                  </a:cubicBezTo>
                  <a:cubicBezTo>
                    <a:pt x="2225516" y="202406"/>
                    <a:pt x="2224564" y="201454"/>
                    <a:pt x="2222659" y="200501"/>
                  </a:cubicBezTo>
                  <a:cubicBezTo>
                    <a:pt x="2221706" y="200501"/>
                    <a:pt x="2221706" y="199549"/>
                    <a:pt x="2220754" y="199549"/>
                  </a:cubicBezTo>
                  <a:cubicBezTo>
                    <a:pt x="2219801" y="199549"/>
                    <a:pt x="2218849" y="199549"/>
                    <a:pt x="2217896" y="199549"/>
                  </a:cubicBezTo>
                  <a:cubicBezTo>
                    <a:pt x="2215991" y="200501"/>
                    <a:pt x="2215991" y="201454"/>
                    <a:pt x="2215039" y="202406"/>
                  </a:cubicBezTo>
                  <a:cubicBezTo>
                    <a:pt x="2213134" y="206216"/>
                    <a:pt x="2213134" y="210979"/>
                    <a:pt x="2213134" y="214789"/>
                  </a:cubicBezTo>
                  <a:cubicBezTo>
                    <a:pt x="2214086" y="210979"/>
                    <a:pt x="2215039" y="206216"/>
                    <a:pt x="2217896" y="203359"/>
                  </a:cubicBezTo>
                  <a:cubicBezTo>
                    <a:pt x="2218849" y="202406"/>
                    <a:pt x="2218849" y="201454"/>
                    <a:pt x="2219801" y="201454"/>
                  </a:cubicBezTo>
                  <a:cubicBezTo>
                    <a:pt x="2219801" y="201454"/>
                    <a:pt x="2220754" y="201454"/>
                    <a:pt x="2220754" y="202406"/>
                  </a:cubicBezTo>
                  <a:cubicBezTo>
                    <a:pt x="2221706" y="203359"/>
                    <a:pt x="2222659" y="205264"/>
                    <a:pt x="2223611" y="207169"/>
                  </a:cubicBezTo>
                  <a:lnTo>
                    <a:pt x="2223611" y="215741"/>
                  </a:lnTo>
                  <a:cubicBezTo>
                    <a:pt x="2223611" y="215741"/>
                    <a:pt x="2223611" y="215741"/>
                    <a:pt x="2223611" y="215741"/>
                  </a:cubicBezTo>
                  <a:cubicBezTo>
                    <a:pt x="2221706" y="222409"/>
                    <a:pt x="2218849" y="230981"/>
                    <a:pt x="2215991" y="241459"/>
                  </a:cubicBezTo>
                  <a:cubicBezTo>
                    <a:pt x="2213134" y="250984"/>
                    <a:pt x="2209324" y="262414"/>
                    <a:pt x="2206466" y="274796"/>
                  </a:cubicBezTo>
                  <a:cubicBezTo>
                    <a:pt x="2203609" y="287179"/>
                    <a:pt x="2199799" y="299561"/>
                    <a:pt x="2196941" y="313849"/>
                  </a:cubicBezTo>
                  <a:cubicBezTo>
                    <a:pt x="2195989" y="308134"/>
                    <a:pt x="2195989" y="305276"/>
                    <a:pt x="2195989" y="305276"/>
                  </a:cubicBezTo>
                  <a:cubicBezTo>
                    <a:pt x="2195989" y="305276"/>
                    <a:pt x="2195989" y="310039"/>
                    <a:pt x="2195036" y="317659"/>
                  </a:cubicBezTo>
                  <a:cubicBezTo>
                    <a:pt x="2194084" y="315754"/>
                    <a:pt x="2193131" y="314801"/>
                    <a:pt x="2193131" y="314801"/>
                  </a:cubicBezTo>
                  <a:cubicBezTo>
                    <a:pt x="2193131" y="314801"/>
                    <a:pt x="2194084" y="315754"/>
                    <a:pt x="2195036" y="318611"/>
                  </a:cubicBezTo>
                  <a:cubicBezTo>
                    <a:pt x="2195036" y="320516"/>
                    <a:pt x="2195036" y="321469"/>
                    <a:pt x="2195036" y="323374"/>
                  </a:cubicBezTo>
                  <a:cubicBezTo>
                    <a:pt x="2194084" y="327184"/>
                    <a:pt x="2193131" y="330994"/>
                    <a:pt x="2192179" y="334804"/>
                  </a:cubicBezTo>
                  <a:cubicBezTo>
                    <a:pt x="2191226" y="332899"/>
                    <a:pt x="2191226" y="331946"/>
                    <a:pt x="2190274" y="330994"/>
                  </a:cubicBezTo>
                  <a:cubicBezTo>
                    <a:pt x="2190274" y="330041"/>
                    <a:pt x="2191226" y="330041"/>
                    <a:pt x="2191226" y="330041"/>
                  </a:cubicBezTo>
                  <a:cubicBezTo>
                    <a:pt x="2191226" y="330041"/>
                    <a:pt x="2191226" y="330041"/>
                    <a:pt x="2190274" y="330994"/>
                  </a:cubicBezTo>
                  <a:cubicBezTo>
                    <a:pt x="2189321" y="328136"/>
                    <a:pt x="2188369" y="326231"/>
                    <a:pt x="2188369" y="326231"/>
                  </a:cubicBezTo>
                  <a:cubicBezTo>
                    <a:pt x="2188369" y="326231"/>
                    <a:pt x="2188369" y="328136"/>
                    <a:pt x="2189321" y="331946"/>
                  </a:cubicBezTo>
                  <a:cubicBezTo>
                    <a:pt x="2189321" y="331946"/>
                    <a:pt x="2188369" y="332899"/>
                    <a:pt x="2188369" y="332899"/>
                  </a:cubicBezTo>
                  <a:cubicBezTo>
                    <a:pt x="2186464" y="321469"/>
                    <a:pt x="2185511" y="315754"/>
                    <a:pt x="2185511" y="315754"/>
                  </a:cubicBezTo>
                  <a:cubicBezTo>
                    <a:pt x="2185511" y="315754"/>
                    <a:pt x="2185511" y="323374"/>
                    <a:pt x="2184559" y="336709"/>
                  </a:cubicBezTo>
                  <a:cubicBezTo>
                    <a:pt x="2184559" y="336709"/>
                    <a:pt x="2184559" y="336709"/>
                    <a:pt x="2184559" y="337661"/>
                  </a:cubicBezTo>
                  <a:cubicBezTo>
                    <a:pt x="2183606" y="339566"/>
                    <a:pt x="2181701" y="341471"/>
                    <a:pt x="2179796" y="343376"/>
                  </a:cubicBezTo>
                  <a:cubicBezTo>
                    <a:pt x="2179796" y="342424"/>
                    <a:pt x="2178844" y="341471"/>
                    <a:pt x="2178844" y="340519"/>
                  </a:cubicBezTo>
                  <a:cubicBezTo>
                    <a:pt x="2183606" y="320516"/>
                    <a:pt x="2188369" y="301466"/>
                    <a:pt x="2192179" y="283369"/>
                  </a:cubicBezTo>
                  <a:cubicBezTo>
                    <a:pt x="2205514" y="228124"/>
                    <a:pt x="2212181" y="190024"/>
                    <a:pt x="2212181" y="190024"/>
                  </a:cubicBezTo>
                  <a:cubicBezTo>
                    <a:pt x="2212181" y="190024"/>
                    <a:pt x="2199799" y="222409"/>
                    <a:pt x="2183606" y="272891"/>
                  </a:cubicBezTo>
                  <a:cubicBezTo>
                    <a:pt x="2184559" y="266224"/>
                    <a:pt x="2186464" y="259556"/>
                    <a:pt x="2187416" y="253841"/>
                  </a:cubicBezTo>
                  <a:cubicBezTo>
                    <a:pt x="2189321" y="246221"/>
                    <a:pt x="2190274" y="239554"/>
                    <a:pt x="2192179" y="231934"/>
                  </a:cubicBezTo>
                  <a:cubicBezTo>
                    <a:pt x="2194084" y="224314"/>
                    <a:pt x="2195989" y="216694"/>
                    <a:pt x="2196941" y="210026"/>
                  </a:cubicBezTo>
                  <a:cubicBezTo>
                    <a:pt x="2197894" y="204311"/>
                    <a:pt x="2199799" y="198596"/>
                    <a:pt x="2200751" y="193834"/>
                  </a:cubicBezTo>
                  <a:cubicBezTo>
                    <a:pt x="2201704" y="189071"/>
                    <a:pt x="2203609" y="184309"/>
                    <a:pt x="2204561" y="179546"/>
                  </a:cubicBezTo>
                  <a:cubicBezTo>
                    <a:pt x="2207419" y="170021"/>
                    <a:pt x="2209324" y="162401"/>
                    <a:pt x="2211229" y="155734"/>
                  </a:cubicBezTo>
                  <a:cubicBezTo>
                    <a:pt x="2215039" y="142399"/>
                    <a:pt x="2217896" y="134779"/>
                    <a:pt x="2217896" y="134779"/>
                  </a:cubicBezTo>
                  <a:cubicBezTo>
                    <a:pt x="2217896" y="134779"/>
                    <a:pt x="2215039" y="139541"/>
                    <a:pt x="2211229" y="148114"/>
                  </a:cubicBezTo>
                  <a:cubicBezTo>
                    <a:pt x="2211229" y="148114"/>
                    <a:pt x="2211229" y="147161"/>
                    <a:pt x="2211229" y="147161"/>
                  </a:cubicBezTo>
                  <a:cubicBezTo>
                    <a:pt x="2213134" y="139541"/>
                    <a:pt x="2215039" y="131921"/>
                    <a:pt x="2216944" y="125254"/>
                  </a:cubicBezTo>
                  <a:cubicBezTo>
                    <a:pt x="2218849" y="118586"/>
                    <a:pt x="2220754" y="111919"/>
                    <a:pt x="2222659" y="105251"/>
                  </a:cubicBezTo>
                  <a:cubicBezTo>
                    <a:pt x="2226469" y="92869"/>
                    <a:pt x="2229326" y="81439"/>
                    <a:pt x="2233136" y="72866"/>
                  </a:cubicBezTo>
                  <a:cubicBezTo>
                    <a:pt x="2238851" y="54769"/>
                    <a:pt x="2242661" y="45244"/>
                    <a:pt x="2242661" y="45244"/>
                  </a:cubicBezTo>
                  <a:cubicBezTo>
                    <a:pt x="2242661" y="45244"/>
                    <a:pt x="2237899" y="54769"/>
                    <a:pt x="2229326" y="71914"/>
                  </a:cubicBezTo>
                  <a:cubicBezTo>
                    <a:pt x="2224564" y="80486"/>
                    <a:pt x="2220754" y="90964"/>
                    <a:pt x="2215991" y="103346"/>
                  </a:cubicBezTo>
                  <a:cubicBezTo>
                    <a:pt x="2213134" y="109061"/>
                    <a:pt x="2211229" y="115729"/>
                    <a:pt x="2208371" y="122396"/>
                  </a:cubicBezTo>
                  <a:cubicBezTo>
                    <a:pt x="2205514" y="129064"/>
                    <a:pt x="2203609" y="136684"/>
                    <a:pt x="2200751" y="144304"/>
                  </a:cubicBezTo>
                  <a:cubicBezTo>
                    <a:pt x="2195036" y="159544"/>
                    <a:pt x="2190274" y="176689"/>
                    <a:pt x="2184559" y="193834"/>
                  </a:cubicBezTo>
                  <a:cubicBezTo>
                    <a:pt x="2181701" y="204311"/>
                    <a:pt x="2177891" y="215741"/>
                    <a:pt x="2175034" y="228124"/>
                  </a:cubicBezTo>
                  <a:cubicBezTo>
                    <a:pt x="2175986" y="218599"/>
                    <a:pt x="2176939" y="210026"/>
                    <a:pt x="2177891" y="203359"/>
                  </a:cubicBezTo>
                  <a:cubicBezTo>
                    <a:pt x="2178844" y="198596"/>
                    <a:pt x="2178844" y="193834"/>
                    <a:pt x="2178844" y="190024"/>
                  </a:cubicBezTo>
                  <a:cubicBezTo>
                    <a:pt x="2179796" y="186214"/>
                    <a:pt x="2180749" y="184309"/>
                    <a:pt x="2180749" y="184309"/>
                  </a:cubicBezTo>
                  <a:cubicBezTo>
                    <a:pt x="2180749" y="184309"/>
                    <a:pt x="2179796" y="185261"/>
                    <a:pt x="2179796" y="187166"/>
                  </a:cubicBezTo>
                  <a:cubicBezTo>
                    <a:pt x="2180749" y="180499"/>
                    <a:pt x="2180749" y="176689"/>
                    <a:pt x="2180749" y="176689"/>
                  </a:cubicBezTo>
                  <a:cubicBezTo>
                    <a:pt x="2180749" y="176689"/>
                    <a:pt x="2178844" y="183356"/>
                    <a:pt x="2175986" y="194786"/>
                  </a:cubicBezTo>
                  <a:cubicBezTo>
                    <a:pt x="2174081" y="198596"/>
                    <a:pt x="2172176" y="202406"/>
                    <a:pt x="2170271" y="208121"/>
                  </a:cubicBezTo>
                  <a:cubicBezTo>
                    <a:pt x="2163604" y="223361"/>
                    <a:pt x="2155031" y="245269"/>
                    <a:pt x="2144554" y="271939"/>
                  </a:cubicBezTo>
                  <a:cubicBezTo>
                    <a:pt x="2141696" y="279559"/>
                    <a:pt x="2137886" y="288131"/>
                    <a:pt x="2135029" y="296704"/>
                  </a:cubicBezTo>
                  <a:cubicBezTo>
                    <a:pt x="2135029" y="296704"/>
                    <a:pt x="2135029" y="296704"/>
                    <a:pt x="2135029" y="295751"/>
                  </a:cubicBezTo>
                  <a:cubicBezTo>
                    <a:pt x="2133124" y="290989"/>
                    <a:pt x="2131219" y="286226"/>
                    <a:pt x="2129314" y="282416"/>
                  </a:cubicBezTo>
                  <a:cubicBezTo>
                    <a:pt x="2133124" y="261461"/>
                    <a:pt x="2135981" y="244316"/>
                    <a:pt x="2137886" y="231934"/>
                  </a:cubicBezTo>
                  <a:cubicBezTo>
                    <a:pt x="2139791" y="217646"/>
                    <a:pt x="2141696" y="210026"/>
                    <a:pt x="2141696" y="210026"/>
                  </a:cubicBezTo>
                  <a:cubicBezTo>
                    <a:pt x="2141696" y="210026"/>
                    <a:pt x="2138839" y="217646"/>
                    <a:pt x="2134076" y="230981"/>
                  </a:cubicBezTo>
                  <a:cubicBezTo>
                    <a:pt x="2131219" y="239554"/>
                    <a:pt x="2127409" y="250984"/>
                    <a:pt x="2123599" y="263366"/>
                  </a:cubicBezTo>
                  <a:cubicBezTo>
                    <a:pt x="2123599" y="260509"/>
                    <a:pt x="2122646" y="257651"/>
                    <a:pt x="2122646" y="253841"/>
                  </a:cubicBezTo>
                  <a:cubicBezTo>
                    <a:pt x="2120741" y="238601"/>
                    <a:pt x="2118836" y="225266"/>
                    <a:pt x="2117884" y="211931"/>
                  </a:cubicBezTo>
                  <a:cubicBezTo>
                    <a:pt x="2115979" y="198596"/>
                    <a:pt x="2114074" y="187166"/>
                    <a:pt x="2112169" y="176689"/>
                  </a:cubicBezTo>
                  <a:cubicBezTo>
                    <a:pt x="2110264" y="166211"/>
                    <a:pt x="2108359" y="157639"/>
                    <a:pt x="2107406" y="150019"/>
                  </a:cubicBezTo>
                  <a:cubicBezTo>
                    <a:pt x="2104549" y="134779"/>
                    <a:pt x="2102644" y="127159"/>
                    <a:pt x="2102644" y="127159"/>
                  </a:cubicBezTo>
                  <a:cubicBezTo>
                    <a:pt x="2102644" y="127159"/>
                    <a:pt x="2102644" y="135731"/>
                    <a:pt x="2103596" y="150971"/>
                  </a:cubicBezTo>
                  <a:cubicBezTo>
                    <a:pt x="2103596" y="155734"/>
                    <a:pt x="2104549" y="161449"/>
                    <a:pt x="2104549" y="168116"/>
                  </a:cubicBezTo>
                  <a:cubicBezTo>
                    <a:pt x="2104549" y="171926"/>
                    <a:pt x="2104549" y="176689"/>
                    <a:pt x="2104549" y="183356"/>
                  </a:cubicBezTo>
                  <a:cubicBezTo>
                    <a:pt x="2104549" y="190024"/>
                    <a:pt x="2105501" y="197644"/>
                    <a:pt x="2105501" y="207169"/>
                  </a:cubicBezTo>
                  <a:cubicBezTo>
                    <a:pt x="2105501" y="212884"/>
                    <a:pt x="2106454" y="218599"/>
                    <a:pt x="2106454" y="225266"/>
                  </a:cubicBezTo>
                  <a:cubicBezTo>
                    <a:pt x="2105501" y="224314"/>
                    <a:pt x="2105501" y="222409"/>
                    <a:pt x="2104549" y="221456"/>
                  </a:cubicBezTo>
                  <a:cubicBezTo>
                    <a:pt x="2104549" y="221456"/>
                    <a:pt x="2104549" y="221456"/>
                    <a:pt x="2104549" y="221456"/>
                  </a:cubicBezTo>
                  <a:lnTo>
                    <a:pt x="2104549" y="221456"/>
                  </a:lnTo>
                  <a:cubicBezTo>
                    <a:pt x="2103596" y="219551"/>
                    <a:pt x="2102644" y="217646"/>
                    <a:pt x="2102644" y="215741"/>
                  </a:cubicBezTo>
                  <a:cubicBezTo>
                    <a:pt x="2102644" y="211931"/>
                    <a:pt x="2101691" y="208121"/>
                    <a:pt x="2101691" y="205264"/>
                  </a:cubicBezTo>
                  <a:cubicBezTo>
                    <a:pt x="2100739" y="193834"/>
                    <a:pt x="2099786" y="184309"/>
                    <a:pt x="2098834" y="176689"/>
                  </a:cubicBezTo>
                  <a:cubicBezTo>
                    <a:pt x="2098834" y="173831"/>
                    <a:pt x="2097881" y="170974"/>
                    <a:pt x="2097881" y="168116"/>
                  </a:cubicBezTo>
                  <a:cubicBezTo>
                    <a:pt x="2100739" y="155734"/>
                    <a:pt x="2102644" y="149066"/>
                    <a:pt x="2102644" y="149066"/>
                  </a:cubicBezTo>
                  <a:cubicBezTo>
                    <a:pt x="2102644" y="149066"/>
                    <a:pt x="2100739" y="153829"/>
                    <a:pt x="2096929" y="162401"/>
                  </a:cubicBezTo>
                  <a:cubicBezTo>
                    <a:pt x="2095976" y="155734"/>
                    <a:pt x="2095024" y="151924"/>
                    <a:pt x="2095024" y="151924"/>
                  </a:cubicBezTo>
                  <a:cubicBezTo>
                    <a:pt x="2095024" y="151924"/>
                    <a:pt x="2095024" y="157639"/>
                    <a:pt x="2095024" y="167164"/>
                  </a:cubicBezTo>
                  <a:cubicBezTo>
                    <a:pt x="2088356" y="182404"/>
                    <a:pt x="2078831" y="206216"/>
                    <a:pt x="2066449" y="235744"/>
                  </a:cubicBezTo>
                  <a:cubicBezTo>
                    <a:pt x="2063591" y="243364"/>
                    <a:pt x="2060734" y="250984"/>
                    <a:pt x="2056924" y="259556"/>
                  </a:cubicBezTo>
                  <a:cubicBezTo>
                    <a:pt x="2061686" y="234791"/>
                    <a:pt x="2063591" y="219551"/>
                    <a:pt x="2063591" y="219551"/>
                  </a:cubicBezTo>
                  <a:cubicBezTo>
                    <a:pt x="2063591" y="219551"/>
                    <a:pt x="2058829" y="231934"/>
                    <a:pt x="2052161" y="252889"/>
                  </a:cubicBezTo>
                  <a:cubicBezTo>
                    <a:pt x="2051209" y="250984"/>
                    <a:pt x="2050256" y="249079"/>
                    <a:pt x="2050256" y="248126"/>
                  </a:cubicBezTo>
                  <a:cubicBezTo>
                    <a:pt x="2050256" y="238601"/>
                    <a:pt x="2050256" y="233839"/>
                    <a:pt x="2050256" y="233839"/>
                  </a:cubicBezTo>
                  <a:cubicBezTo>
                    <a:pt x="2050256" y="233839"/>
                    <a:pt x="2049304" y="237649"/>
                    <a:pt x="2048351" y="244316"/>
                  </a:cubicBezTo>
                  <a:cubicBezTo>
                    <a:pt x="2047399" y="241459"/>
                    <a:pt x="2046446" y="240506"/>
                    <a:pt x="2046446" y="240506"/>
                  </a:cubicBezTo>
                  <a:cubicBezTo>
                    <a:pt x="2046446" y="240506"/>
                    <a:pt x="2047399" y="242411"/>
                    <a:pt x="2047399" y="247174"/>
                  </a:cubicBezTo>
                  <a:cubicBezTo>
                    <a:pt x="2046446" y="251936"/>
                    <a:pt x="2045494" y="258604"/>
                    <a:pt x="2044541" y="266224"/>
                  </a:cubicBezTo>
                  <a:cubicBezTo>
                    <a:pt x="2044541" y="264319"/>
                    <a:pt x="2043589" y="261461"/>
                    <a:pt x="2043589" y="259556"/>
                  </a:cubicBezTo>
                  <a:cubicBezTo>
                    <a:pt x="2042636" y="255746"/>
                    <a:pt x="2042636" y="252889"/>
                    <a:pt x="2041684" y="249079"/>
                  </a:cubicBezTo>
                  <a:cubicBezTo>
                    <a:pt x="2046446" y="210026"/>
                    <a:pt x="2048351" y="184309"/>
                    <a:pt x="2048351" y="184309"/>
                  </a:cubicBezTo>
                  <a:cubicBezTo>
                    <a:pt x="2048351" y="184309"/>
                    <a:pt x="2044541" y="196691"/>
                    <a:pt x="2039779" y="216694"/>
                  </a:cubicBezTo>
                  <a:cubicBezTo>
                    <a:pt x="2038826" y="218599"/>
                    <a:pt x="2037874" y="220504"/>
                    <a:pt x="2036921" y="223361"/>
                  </a:cubicBezTo>
                  <a:cubicBezTo>
                    <a:pt x="2036921" y="221456"/>
                    <a:pt x="2035969" y="220504"/>
                    <a:pt x="2035969" y="218599"/>
                  </a:cubicBezTo>
                  <a:cubicBezTo>
                    <a:pt x="2034064" y="206216"/>
                    <a:pt x="2032159" y="195739"/>
                    <a:pt x="2031206" y="187166"/>
                  </a:cubicBezTo>
                  <a:cubicBezTo>
                    <a:pt x="2030254" y="179546"/>
                    <a:pt x="2029301" y="173831"/>
                    <a:pt x="2028349" y="169069"/>
                  </a:cubicBezTo>
                  <a:cubicBezTo>
                    <a:pt x="2030254" y="154781"/>
                    <a:pt x="2031206" y="147161"/>
                    <a:pt x="2031206" y="147161"/>
                  </a:cubicBezTo>
                  <a:cubicBezTo>
                    <a:pt x="2031206" y="147161"/>
                    <a:pt x="2030254" y="150971"/>
                    <a:pt x="2028349" y="157639"/>
                  </a:cubicBezTo>
                  <a:cubicBezTo>
                    <a:pt x="2029301" y="145256"/>
                    <a:pt x="2030254" y="138589"/>
                    <a:pt x="2030254" y="138589"/>
                  </a:cubicBezTo>
                  <a:cubicBezTo>
                    <a:pt x="2030254" y="138589"/>
                    <a:pt x="2028349" y="146209"/>
                    <a:pt x="2023586" y="160496"/>
                  </a:cubicBezTo>
                  <a:cubicBezTo>
                    <a:pt x="2021681" y="167164"/>
                    <a:pt x="2019776" y="176689"/>
                    <a:pt x="2017871" y="186214"/>
                  </a:cubicBezTo>
                  <a:cubicBezTo>
                    <a:pt x="2017871" y="188119"/>
                    <a:pt x="2016919" y="190024"/>
                    <a:pt x="2016919" y="191929"/>
                  </a:cubicBezTo>
                  <a:cubicBezTo>
                    <a:pt x="2016919" y="191929"/>
                    <a:pt x="2016919" y="190976"/>
                    <a:pt x="2016919" y="190976"/>
                  </a:cubicBezTo>
                  <a:cubicBezTo>
                    <a:pt x="2018824" y="170021"/>
                    <a:pt x="2019776" y="158591"/>
                    <a:pt x="2019776" y="158591"/>
                  </a:cubicBezTo>
                  <a:cubicBezTo>
                    <a:pt x="2019776" y="158591"/>
                    <a:pt x="2017871" y="166211"/>
                    <a:pt x="2015014" y="178594"/>
                  </a:cubicBezTo>
                  <a:cubicBezTo>
                    <a:pt x="2015014" y="176689"/>
                    <a:pt x="2014061" y="174784"/>
                    <a:pt x="2014061" y="174784"/>
                  </a:cubicBezTo>
                  <a:cubicBezTo>
                    <a:pt x="2014061" y="174784"/>
                    <a:pt x="2014061" y="175736"/>
                    <a:pt x="2014061" y="177641"/>
                  </a:cubicBezTo>
                  <a:cubicBezTo>
                    <a:pt x="2013109" y="172879"/>
                    <a:pt x="2012156" y="168116"/>
                    <a:pt x="2011204" y="163354"/>
                  </a:cubicBezTo>
                  <a:cubicBezTo>
                    <a:pt x="2008346" y="148114"/>
                    <a:pt x="2006441" y="135731"/>
                    <a:pt x="2003584" y="125254"/>
                  </a:cubicBezTo>
                  <a:cubicBezTo>
                    <a:pt x="1999774" y="104299"/>
                    <a:pt x="1996916" y="91916"/>
                    <a:pt x="1996916" y="91916"/>
                  </a:cubicBezTo>
                  <a:cubicBezTo>
                    <a:pt x="1996916" y="91916"/>
                    <a:pt x="1997869" y="104299"/>
                    <a:pt x="1999774" y="125254"/>
                  </a:cubicBezTo>
                  <a:cubicBezTo>
                    <a:pt x="2000726" y="135731"/>
                    <a:pt x="2001679" y="149066"/>
                    <a:pt x="2003584" y="164306"/>
                  </a:cubicBezTo>
                  <a:cubicBezTo>
                    <a:pt x="2004536" y="175736"/>
                    <a:pt x="2006441" y="189071"/>
                    <a:pt x="2008346" y="203359"/>
                  </a:cubicBezTo>
                  <a:cubicBezTo>
                    <a:pt x="2005489" y="213836"/>
                    <a:pt x="2002631" y="227171"/>
                    <a:pt x="1999774" y="240506"/>
                  </a:cubicBezTo>
                  <a:cubicBezTo>
                    <a:pt x="1995011" y="262414"/>
                    <a:pt x="1990249" y="288131"/>
                    <a:pt x="1984534" y="314801"/>
                  </a:cubicBezTo>
                  <a:cubicBezTo>
                    <a:pt x="1984534" y="303371"/>
                    <a:pt x="1984534" y="292894"/>
                    <a:pt x="1984534" y="283369"/>
                  </a:cubicBezTo>
                  <a:cubicBezTo>
                    <a:pt x="1984534" y="277654"/>
                    <a:pt x="1984534" y="271939"/>
                    <a:pt x="1984534" y="267176"/>
                  </a:cubicBezTo>
                  <a:cubicBezTo>
                    <a:pt x="1985486" y="265271"/>
                    <a:pt x="1986439" y="263366"/>
                    <a:pt x="1986439" y="263366"/>
                  </a:cubicBezTo>
                  <a:cubicBezTo>
                    <a:pt x="1986439" y="263366"/>
                    <a:pt x="1985486" y="264319"/>
                    <a:pt x="1984534" y="265271"/>
                  </a:cubicBezTo>
                  <a:cubicBezTo>
                    <a:pt x="1984534" y="257651"/>
                    <a:pt x="1984534" y="250031"/>
                    <a:pt x="1985486" y="243364"/>
                  </a:cubicBezTo>
                  <a:cubicBezTo>
                    <a:pt x="1986439" y="231934"/>
                    <a:pt x="1986439" y="221456"/>
                    <a:pt x="1987391" y="212884"/>
                  </a:cubicBezTo>
                  <a:cubicBezTo>
                    <a:pt x="1988344" y="195739"/>
                    <a:pt x="1989296" y="186214"/>
                    <a:pt x="1989296" y="186214"/>
                  </a:cubicBezTo>
                  <a:cubicBezTo>
                    <a:pt x="1989296" y="186214"/>
                    <a:pt x="1987391" y="195739"/>
                    <a:pt x="1983581" y="211931"/>
                  </a:cubicBezTo>
                  <a:cubicBezTo>
                    <a:pt x="1981676" y="220504"/>
                    <a:pt x="1979771" y="230029"/>
                    <a:pt x="1978819" y="242411"/>
                  </a:cubicBezTo>
                  <a:cubicBezTo>
                    <a:pt x="1976914" y="253841"/>
                    <a:pt x="1975961" y="267176"/>
                    <a:pt x="1974056" y="281464"/>
                  </a:cubicBezTo>
                  <a:cubicBezTo>
                    <a:pt x="1974056" y="281464"/>
                    <a:pt x="1973104" y="282416"/>
                    <a:pt x="1973104" y="282416"/>
                  </a:cubicBezTo>
                  <a:cubicBezTo>
                    <a:pt x="1971199" y="284321"/>
                    <a:pt x="1970246" y="286226"/>
                    <a:pt x="1968341" y="289084"/>
                  </a:cubicBezTo>
                  <a:cubicBezTo>
                    <a:pt x="1968341" y="287179"/>
                    <a:pt x="1968341" y="285274"/>
                    <a:pt x="1968341" y="283369"/>
                  </a:cubicBezTo>
                  <a:cubicBezTo>
                    <a:pt x="1971199" y="277654"/>
                    <a:pt x="1973104" y="274796"/>
                    <a:pt x="1973104" y="274796"/>
                  </a:cubicBezTo>
                  <a:cubicBezTo>
                    <a:pt x="1973104" y="274796"/>
                    <a:pt x="1971199" y="276701"/>
                    <a:pt x="1968341" y="280511"/>
                  </a:cubicBezTo>
                  <a:cubicBezTo>
                    <a:pt x="1970246" y="255746"/>
                    <a:pt x="1972151" y="235744"/>
                    <a:pt x="1973104" y="224314"/>
                  </a:cubicBezTo>
                  <a:cubicBezTo>
                    <a:pt x="1975961" y="201454"/>
                    <a:pt x="1976914" y="187166"/>
                    <a:pt x="1976914" y="187166"/>
                  </a:cubicBezTo>
                  <a:cubicBezTo>
                    <a:pt x="1976914" y="187166"/>
                    <a:pt x="1973104" y="198596"/>
                    <a:pt x="1967389" y="218599"/>
                  </a:cubicBezTo>
                  <a:cubicBezTo>
                    <a:pt x="1967389" y="217646"/>
                    <a:pt x="1967389" y="216694"/>
                    <a:pt x="1967389" y="216694"/>
                  </a:cubicBezTo>
                  <a:cubicBezTo>
                    <a:pt x="1967389" y="216694"/>
                    <a:pt x="1967389" y="217646"/>
                    <a:pt x="1966436" y="220504"/>
                  </a:cubicBezTo>
                  <a:cubicBezTo>
                    <a:pt x="1963579" y="229076"/>
                    <a:pt x="1960721" y="238601"/>
                    <a:pt x="1957864" y="250031"/>
                  </a:cubicBezTo>
                  <a:cubicBezTo>
                    <a:pt x="1955959" y="256699"/>
                    <a:pt x="1954054" y="264319"/>
                    <a:pt x="1952149" y="271939"/>
                  </a:cubicBezTo>
                  <a:cubicBezTo>
                    <a:pt x="1947386" y="250031"/>
                    <a:pt x="1944529" y="232886"/>
                    <a:pt x="1941671" y="221456"/>
                  </a:cubicBezTo>
                  <a:cubicBezTo>
                    <a:pt x="1941671" y="218599"/>
                    <a:pt x="1942624" y="215741"/>
                    <a:pt x="1942624" y="213836"/>
                  </a:cubicBezTo>
                  <a:cubicBezTo>
                    <a:pt x="1946434" y="203359"/>
                    <a:pt x="1949291" y="193834"/>
                    <a:pt x="1952149" y="186214"/>
                  </a:cubicBezTo>
                  <a:cubicBezTo>
                    <a:pt x="1958816" y="168116"/>
                    <a:pt x="1962626" y="157639"/>
                    <a:pt x="1962626" y="157639"/>
                  </a:cubicBezTo>
                  <a:cubicBezTo>
                    <a:pt x="1962626" y="157639"/>
                    <a:pt x="1957864" y="167164"/>
                    <a:pt x="1948339" y="185261"/>
                  </a:cubicBezTo>
                  <a:cubicBezTo>
                    <a:pt x="1947386" y="187166"/>
                    <a:pt x="1946434" y="189071"/>
                    <a:pt x="1945481" y="190976"/>
                  </a:cubicBezTo>
                  <a:cubicBezTo>
                    <a:pt x="1945481" y="190024"/>
                    <a:pt x="1945481" y="189071"/>
                    <a:pt x="1945481" y="189071"/>
                  </a:cubicBezTo>
                  <a:cubicBezTo>
                    <a:pt x="1945481" y="189071"/>
                    <a:pt x="1945481" y="190024"/>
                    <a:pt x="1944529" y="192881"/>
                  </a:cubicBezTo>
                  <a:cubicBezTo>
                    <a:pt x="1942624" y="196691"/>
                    <a:pt x="1940719" y="201454"/>
                    <a:pt x="1938814" y="205264"/>
                  </a:cubicBezTo>
                  <a:cubicBezTo>
                    <a:pt x="1936909" y="170021"/>
                    <a:pt x="1935004" y="148114"/>
                    <a:pt x="1935004" y="148114"/>
                  </a:cubicBezTo>
                  <a:cubicBezTo>
                    <a:pt x="1935004" y="148114"/>
                    <a:pt x="1931194" y="178594"/>
                    <a:pt x="1928336" y="224314"/>
                  </a:cubicBezTo>
                  <a:cubicBezTo>
                    <a:pt x="1928336" y="225266"/>
                    <a:pt x="1928336" y="227171"/>
                    <a:pt x="1928336" y="229076"/>
                  </a:cubicBezTo>
                  <a:cubicBezTo>
                    <a:pt x="1927384" y="231934"/>
                    <a:pt x="1925479" y="234791"/>
                    <a:pt x="1924526" y="236696"/>
                  </a:cubicBezTo>
                  <a:cubicBezTo>
                    <a:pt x="1921669" y="243364"/>
                    <a:pt x="1918811" y="250984"/>
                    <a:pt x="1915001" y="258604"/>
                  </a:cubicBezTo>
                  <a:cubicBezTo>
                    <a:pt x="1914049" y="261461"/>
                    <a:pt x="1912144" y="265271"/>
                    <a:pt x="1911191" y="268129"/>
                  </a:cubicBezTo>
                  <a:cubicBezTo>
                    <a:pt x="1910239" y="265271"/>
                    <a:pt x="1908334" y="262414"/>
                    <a:pt x="1907381" y="259556"/>
                  </a:cubicBezTo>
                  <a:lnTo>
                    <a:pt x="1907381" y="258604"/>
                  </a:lnTo>
                  <a:lnTo>
                    <a:pt x="1907381" y="258604"/>
                  </a:lnTo>
                  <a:cubicBezTo>
                    <a:pt x="1905476" y="256699"/>
                    <a:pt x="1903571" y="254794"/>
                    <a:pt x="1900714" y="253841"/>
                  </a:cubicBezTo>
                  <a:cubicBezTo>
                    <a:pt x="1899761" y="253841"/>
                    <a:pt x="1898809" y="252889"/>
                    <a:pt x="1897856" y="252889"/>
                  </a:cubicBezTo>
                  <a:cubicBezTo>
                    <a:pt x="1897856" y="252889"/>
                    <a:pt x="1896904" y="252889"/>
                    <a:pt x="1896904" y="252889"/>
                  </a:cubicBezTo>
                  <a:cubicBezTo>
                    <a:pt x="1896904" y="251936"/>
                    <a:pt x="1896904" y="251936"/>
                    <a:pt x="1896904" y="250984"/>
                  </a:cubicBezTo>
                  <a:cubicBezTo>
                    <a:pt x="1896904" y="249079"/>
                    <a:pt x="1897856" y="247174"/>
                    <a:pt x="1897856" y="246221"/>
                  </a:cubicBezTo>
                  <a:cubicBezTo>
                    <a:pt x="1899761" y="240506"/>
                    <a:pt x="1900714" y="234791"/>
                    <a:pt x="1902619" y="230029"/>
                  </a:cubicBezTo>
                  <a:cubicBezTo>
                    <a:pt x="1903571" y="228124"/>
                    <a:pt x="1903571" y="226219"/>
                    <a:pt x="1903571" y="226219"/>
                  </a:cubicBezTo>
                  <a:cubicBezTo>
                    <a:pt x="1903571" y="226219"/>
                    <a:pt x="1903571" y="226219"/>
                    <a:pt x="1902619" y="227171"/>
                  </a:cubicBezTo>
                  <a:cubicBezTo>
                    <a:pt x="1903571" y="222409"/>
                    <a:pt x="1905476" y="218599"/>
                    <a:pt x="1906429" y="214789"/>
                  </a:cubicBezTo>
                  <a:cubicBezTo>
                    <a:pt x="1909286" y="205264"/>
                    <a:pt x="1912144" y="196691"/>
                    <a:pt x="1915001" y="190976"/>
                  </a:cubicBezTo>
                  <a:cubicBezTo>
                    <a:pt x="1919764" y="177641"/>
                    <a:pt x="1922621" y="170021"/>
                    <a:pt x="1922621" y="170021"/>
                  </a:cubicBezTo>
                  <a:cubicBezTo>
                    <a:pt x="1922621" y="170021"/>
                    <a:pt x="1918811" y="176689"/>
                    <a:pt x="1911191" y="189071"/>
                  </a:cubicBezTo>
                  <a:cubicBezTo>
                    <a:pt x="1907381" y="194786"/>
                    <a:pt x="1903571" y="203359"/>
                    <a:pt x="1899761" y="211931"/>
                  </a:cubicBezTo>
                  <a:cubicBezTo>
                    <a:pt x="1897856" y="216694"/>
                    <a:pt x="1894999" y="221456"/>
                    <a:pt x="1893094" y="226219"/>
                  </a:cubicBezTo>
                  <a:cubicBezTo>
                    <a:pt x="1892141" y="229076"/>
                    <a:pt x="1890236" y="231934"/>
                    <a:pt x="1889284" y="235744"/>
                  </a:cubicBezTo>
                  <a:cubicBezTo>
                    <a:pt x="1889284" y="234791"/>
                    <a:pt x="1889284" y="233839"/>
                    <a:pt x="1888331" y="232886"/>
                  </a:cubicBezTo>
                  <a:cubicBezTo>
                    <a:pt x="1888331" y="227171"/>
                    <a:pt x="1888331" y="221456"/>
                    <a:pt x="1889284" y="216694"/>
                  </a:cubicBezTo>
                  <a:cubicBezTo>
                    <a:pt x="1889284" y="210979"/>
                    <a:pt x="1890236" y="205264"/>
                    <a:pt x="1891189" y="200501"/>
                  </a:cubicBezTo>
                  <a:cubicBezTo>
                    <a:pt x="1892141" y="195739"/>
                    <a:pt x="1893094" y="190976"/>
                    <a:pt x="1894046" y="187166"/>
                  </a:cubicBezTo>
                  <a:cubicBezTo>
                    <a:pt x="1895951" y="179546"/>
                    <a:pt x="1897856" y="172879"/>
                    <a:pt x="1899761" y="169069"/>
                  </a:cubicBezTo>
                  <a:cubicBezTo>
                    <a:pt x="1901666" y="165259"/>
                    <a:pt x="1902619" y="162401"/>
                    <a:pt x="1902619" y="162401"/>
                  </a:cubicBezTo>
                  <a:cubicBezTo>
                    <a:pt x="1902619" y="162401"/>
                    <a:pt x="1901666" y="164306"/>
                    <a:pt x="1898809" y="168116"/>
                  </a:cubicBezTo>
                  <a:cubicBezTo>
                    <a:pt x="1895951" y="171926"/>
                    <a:pt x="1893094" y="177641"/>
                    <a:pt x="1890236" y="186214"/>
                  </a:cubicBezTo>
                  <a:cubicBezTo>
                    <a:pt x="1889284" y="190024"/>
                    <a:pt x="1887379" y="194786"/>
                    <a:pt x="1885474" y="199549"/>
                  </a:cubicBezTo>
                  <a:cubicBezTo>
                    <a:pt x="1884521" y="204311"/>
                    <a:pt x="1883569" y="209074"/>
                    <a:pt x="1882616" y="213836"/>
                  </a:cubicBezTo>
                  <a:cubicBezTo>
                    <a:pt x="1882616" y="211931"/>
                    <a:pt x="1882616" y="210026"/>
                    <a:pt x="1882616" y="210026"/>
                  </a:cubicBezTo>
                  <a:cubicBezTo>
                    <a:pt x="1882616" y="210026"/>
                    <a:pt x="1880711" y="216694"/>
                    <a:pt x="1878806" y="228124"/>
                  </a:cubicBezTo>
                  <a:cubicBezTo>
                    <a:pt x="1877854" y="232886"/>
                    <a:pt x="1876901" y="237649"/>
                    <a:pt x="1874996" y="243364"/>
                  </a:cubicBezTo>
                  <a:cubicBezTo>
                    <a:pt x="1874996" y="239554"/>
                    <a:pt x="1874996" y="237649"/>
                    <a:pt x="1874996" y="237649"/>
                  </a:cubicBezTo>
                  <a:cubicBezTo>
                    <a:pt x="1874996" y="237649"/>
                    <a:pt x="1874044" y="244316"/>
                    <a:pt x="1872139" y="255746"/>
                  </a:cubicBezTo>
                  <a:cubicBezTo>
                    <a:pt x="1871186" y="260509"/>
                    <a:pt x="1870234" y="266224"/>
                    <a:pt x="1868329" y="270986"/>
                  </a:cubicBezTo>
                  <a:cubicBezTo>
                    <a:pt x="1868329" y="267176"/>
                    <a:pt x="1869281" y="263366"/>
                    <a:pt x="1869281" y="259556"/>
                  </a:cubicBezTo>
                  <a:cubicBezTo>
                    <a:pt x="1871186" y="243364"/>
                    <a:pt x="1873091" y="228124"/>
                    <a:pt x="1874996" y="213836"/>
                  </a:cubicBezTo>
                  <a:cubicBezTo>
                    <a:pt x="1875949" y="207169"/>
                    <a:pt x="1876901" y="200501"/>
                    <a:pt x="1877854" y="193834"/>
                  </a:cubicBezTo>
                  <a:cubicBezTo>
                    <a:pt x="1878806" y="187166"/>
                    <a:pt x="1880711" y="181451"/>
                    <a:pt x="1881664" y="175736"/>
                  </a:cubicBezTo>
                  <a:cubicBezTo>
                    <a:pt x="1883569" y="164306"/>
                    <a:pt x="1885474" y="154781"/>
                    <a:pt x="1888331" y="146209"/>
                  </a:cubicBezTo>
                  <a:cubicBezTo>
                    <a:pt x="1892141" y="130016"/>
                    <a:pt x="1894999" y="120491"/>
                    <a:pt x="1894999" y="120491"/>
                  </a:cubicBezTo>
                  <a:cubicBezTo>
                    <a:pt x="1894999" y="120491"/>
                    <a:pt x="1891189" y="129064"/>
                    <a:pt x="1885474" y="144304"/>
                  </a:cubicBezTo>
                  <a:cubicBezTo>
                    <a:pt x="1882616" y="151924"/>
                    <a:pt x="1878806" y="161449"/>
                    <a:pt x="1875949" y="172879"/>
                  </a:cubicBezTo>
                  <a:cubicBezTo>
                    <a:pt x="1874044" y="178594"/>
                    <a:pt x="1872139" y="184309"/>
                    <a:pt x="1870234" y="190976"/>
                  </a:cubicBezTo>
                  <a:cubicBezTo>
                    <a:pt x="1868329" y="197644"/>
                    <a:pt x="1867376" y="204311"/>
                    <a:pt x="1865471" y="210979"/>
                  </a:cubicBezTo>
                  <a:cubicBezTo>
                    <a:pt x="1863566" y="219551"/>
                    <a:pt x="1860709" y="229076"/>
                    <a:pt x="1858804" y="238601"/>
                  </a:cubicBezTo>
                  <a:cubicBezTo>
                    <a:pt x="1858804" y="221456"/>
                    <a:pt x="1857851" y="206216"/>
                    <a:pt x="1856899" y="194786"/>
                  </a:cubicBezTo>
                  <a:cubicBezTo>
                    <a:pt x="1855946" y="181451"/>
                    <a:pt x="1854994" y="172879"/>
                    <a:pt x="1854994" y="172879"/>
                  </a:cubicBezTo>
                  <a:cubicBezTo>
                    <a:pt x="1854994" y="172879"/>
                    <a:pt x="1854041" y="180499"/>
                    <a:pt x="1853089" y="194786"/>
                  </a:cubicBezTo>
                  <a:cubicBezTo>
                    <a:pt x="1852136" y="208121"/>
                    <a:pt x="1850231" y="228124"/>
                    <a:pt x="1848326" y="250984"/>
                  </a:cubicBezTo>
                  <a:cubicBezTo>
                    <a:pt x="1847374" y="260509"/>
                    <a:pt x="1846421" y="271939"/>
                    <a:pt x="1845469" y="282416"/>
                  </a:cubicBezTo>
                  <a:cubicBezTo>
                    <a:pt x="1843564" y="279559"/>
                    <a:pt x="1841659" y="276701"/>
                    <a:pt x="1839754" y="273844"/>
                  </a:cubicBezTo>
                  <a:cubicBezTo>
                    <a:pt x="1839754" y="270986"/>
                    <a:pt x="1838801" y="269081"/>
                    <a:pt x="1838801" y="269081"/>
                  </a:cubicBezTo>
                  <a:cubicBezTo>
                    <a:pt x="1838801" y="269081"/>
                    <a:pt x="1838801" y="270034"/>
                    <a:pt x="1838801" y="272891"/>
                  </a:cubicBezTo>
                  <a:cubicBezTo>
                    <a:pt x="1834039" y="266224"/>
                    <a:pt x="1830229" y="260509"/>
                    <a:pt x="1827371" y="256699"/>
                  </a:cubicBezTo>
                  <a:cubicBezTo>
                    <a:pt x="1829276" y="216694"/>
                    <a:pt x="1828324" y="190976"/>
                    <a:pt x="1828324" y="190976"/>
                  </a:cubicBezTo>
                  <a:cubicBezTo>
                    <a:pt x="1828324" y="190976"/>
                    <a:pt x="1826419" y="202406"/>
                    <a:pt x="1822609" y="222409"/>
                  </a:cubicBezTo>
                  <a:cubicBezTo>
                    <a:pt x="1822609" y="219551"/>
                    <a:pt x="1822609" y="217646"/>
                    <a:pt x="1822609" y="214789"/>
                  </a:cubicBezTo>
                  <a:cubicBezTo>
                    <a:pt x="1822609" y="196691"/>
                    <a:pt x="1821656" y="178594"/>
                    <a:pt x="1822609" y="161449"/>
                  </a:cubicBezTo>
                  <a:cubicBezTo>
                    <a:pt x="1823561" y="144304"/>
                    <a:pt x="1823561" y="129064"/>
                    <a:pt x="1823561" y="113824"/>
                  </a:cubicBezTo>
                  <a:cubicBezTo>
                    <a:pt x="1824514" y="54769"/>
                    <a:pt x="1823561" y="15716"/>
                    <a:pt x="1823561" y="15716"/>
                  </a:cubicBezTo>
                  <a:cubicBezTo>
                    <a:pt x="1823561" y="15716"/>
                    <a:pt x="1817846" y="54769"/>
                    <a:pt x="1812131" y="112871"/>
                  </a:cubicBezTo>
                  <a:cubicBezTo>
                    <a:pt x="1811179" y="127159"/>
                    <a:pt x="1809274" y="143351"/>
                    <a:pt x="1807369" y="160496"/>
                  </a:cubicBezTo>
                  <a:cubicBezTo>
                    <a:pt x="1805464" y="175736"/>
                    <a:pt x="1805464" y="191929"/>
                    <a:pt x="1805464" y="209074"/>
                  </a:cubicBezTo>
                  <a:cubicBezTo>
                    <a:pt x="1803559" y="210026"/>
                    <a:pt x="1802606" y="210979"/>
                    <a:pt x="1801654" y="211931"/>
                  </a:cubicBezTo>
                  <a:lnTo>
                    <a:pt x="1801654" y="211931"/>
                  </a:lnTo>
                  <a:lnTo>
                    <a:pt x="1801654" y="212884"/>
                  </a:lnTo>
                  <a:cubicBezTo>
                    <a:pt x="1797844" y="221456"/>
                    <a:pt x="1794034" y="229076"/>
                    <a:pt x="1790224" y="237649"/>
                  </a:cubicBezTo>
                  <a:cubicBezTo>
                    <a:pt x="1790224" y="217646"/>
                    <a:pt x="1790224" y="207169"/>
                    <a:pt x="1790224" y="207169"/>
                  </a:cubicBezTo>
                  <a:cubicBezTo>
                    <a:pt x="1790224" y="207169"/>
                    <a:pt x="1788319" y="218599"/>
                    <a:pt x="1786414" y="239554"/>
                  </a:cubicBezTo>
                  <a:cubicBezTo>
                    <a:pt x="1786414" y="243364"/>
                    <a:pt x="1785461" y="246221"/>
                    <a:pt x="1784509" y="250984"/>
                  </a:cubicBezTo>
                  <a:cubicBezTo>
                    <a:pt x="1784509" y="251936"/>
                    <a:pt x="1784509" y="251936"/>
                    <a:pt x="1783556" y="252889"/>
                  </a:cubicBezTo>
                  <a:cubicBezTo>
                    <a:pt x="1779746" y="236696"/>
                    <a:pt x="1776889" y="226219"/>
                    <a:pt x="1776889" y="226219"/>
                  </a:cubicBezTo>
                  <a:cubicBezTo>
                    <a:pt x="1776889" y="226219"/>
                    <a:pt x="1776889" y="236696"/>
                    <a:pt x="1777841" y="253841"/>
                  </a:cubicBezTo>
                  <a:cubicBezTo>
                    <a:pt x="1774031" y="244316"/>
                    <a:pt x="1771174" y="236696"/>
                    <a:pt x="1768316" y="230029"/>
                  </a:cubicBezTo>
                  <a:cubicBezTo>
                    <a:pt x="1763554" y="219551"/>
                    <a:pt x="1760696" y="211931"/>
                    <a:pt x="1759744" y="209074"/>
                  </a:cubicBezTo>
                  <a:cubicBezTo>
                    <a:pt x="1759744" y="209074"/>
                    <a:pt x="1759744" y="208121"/>
                    <a:pt x="1759744" y="208121"/>
                  </a:cubicBezTo>
                  <a:cubicBezTo>
                    <a:pt x="1761649" y="202406"/>
                    <a:pt x="1761649" y="198596"/>
                    <a:pt x="1761649" y="198596"/>
                  </a:cubicBezTo>
                  <a:cubicBezTo>
                    <a:pt x="1761649" y="198596"/>
                    <a:pt x="1760696" y="200501"/>
                    <a:pt x="1759744" y="203359"/>
                  </a:cubicBezTo>
                  <a:cubicBezTo>
                    <a:pt x="1759744" y="200501"/>
                    <a:pt x="1759744" y="197644"/>
                    <a:pt x="1759744" y="195739"/>
                  </a:cubicBezTo>
                  <a:cubicBezTo>
                    <a:pt x="1760696" y="187166"/>
                    <a:pt x="1760696" y="178594"/>
                    <a:pt x="1761649" y="171926"/>
                  </a:cubicBezTo>
                  <a:cubicBezTo>
                    <a:pt x="1762601" y="158591"/>
                    <a:pt x="1762601" y="151924"/>
                    <a:pt x="1762601" y="151924"/>
                  </a:cubicBezTo>
                  <a:cubicBezTo>
                    <a:pt x="1762601" y="151924"/>
                    <a:pt x="1760696" y="159544"/>
                    <a:pt x="1756886" y="171926"/>
                  </a:cubicBezTo>
                  <a:cubicBezTo>
                    <a:pt x="1754981" y="180499"/>
                    <a:pt x="1752124" y="191929"/>
                    <a:pt x="1749266" y="205264"/>
                  </a:cubicBezTo>
                  <a:cubicBezTo>
                    <a:pt x="1746409" y="200501"/>
                    <a:pt x="1745456" y="197644"/>
                    <a:pt x="1745456" y="197644"/>
                  </a:cubicBezTo>
                  <a:cubicBezTo>
                    <a:pt x="1745456" y="197644"/>
                    <a:pt x="1746409" y="201454"/>
                    <a:pt x="1749266" y="208121"/>
                  </a:cubicBezTo>
                  <a:cubicBezTo>
                    <a:pt x="1748314" y="213836"/>
                    <a:pt x="1747361" y="219551"/>
                    <a:pt x="1746409" y="225266"/>
                  </a:cubicBezTo>
                  <a:cubicBezTo>
                    <a:pt x="1746409" y="226219"/>
                    <a:pt x="1746409" y="227171"/>
                    <a:pt x="1746409" y="228124"/>
                  </a:cubicBezTo>
                  <a:cubicBezTo>
                    <a:pt x="1741646" y="193834"/>
                    <a:pt x="1737836" y="171926"/>
                    <a:pt x="1737836" y="171926"/>
                  </a:cubicBezTo>
                  <a:cubicBezTo>
                    <a:pt x="1737836" y="171926"/>
                    <a:pt x="1736884" y="204311"/>
                    <a:pt x="1738789" y="252889"/>
                  </a:cubicBezTo>
                  <a:cubicBezTo>
                    <a:pt x="1737836" y="253841"/>
                    <a:pt x="1737836" y="255746"/>
                    <a:pt x="1736884" y="256699"/>
                  </a:cubicBezTo>
                  <a:cubicBezTo>
                    <a:pt x="1735931" y="253841"/>
                    <a:pt x="1735931" y="252889"/>
                    <a:pt x="1735931" y="252889"/>
                  </a:cubicBezTo>
                  <a:cubicBezTo>
                    <a:pt x="1735931" y="252889"/>
                    <a:pt x="1735931" y="254794"/>
                    <a:pt x="1735931" y="257651"/>
                  </a:cubicBezTo>
                  <a:cubicBezTo>
                    <a:pt x="1734979" y="259556"/>
                    <a:pt x="1734026" y="261461"/>
                    <a:pt x="1733074" y="264319"/>
                  </a:cubicBezTo>
                  <a:cubicBezTo>
                    <a:pt x="1731169" y="270034"/>
                    <a:pt x="1729264" y="276701"/>
                    <a:pt x="1727359" y="283369"/>
                  </a:cubicBezTo>
                  <a:cubicBezTo>
                    <a:pt x="1725454" y="288131"/>
                    <a:pt x="1723549" y="293846"/>
                    <a:pt x="1722596" y="299561"/>
                  </a:cubicBezTo>
                  <a:cubicBezTo>
                    <a:pt x="1720691" y="278606"/>
                    <a:pt x="1718786" y="267176"/>
                    <a:pt x="1718786" y="267176"/>
                  </a:cubicBezTo>
                  <a:cubicBezTo>
                    <a:pt x="1718786" y="267176"/>
                    <a:pt x="1717834" y="286226"/>
                    <a:pt x="1716881" y="317659"/>
                  </a:cubicBezTo>
                  <a:cubicBezTo>
                    <a:pt x="1716881" y="317659"/>
                    <a:pt x="1716881" y="318611"/>
                    <a:pt x="1716881" y="318611"/>
                  </a:cubicBezTo>
                  <a:cubicBezTo>
                    <a:pt x="1715929" y="317659"/>
                    <a:pt x="1715929" y="316706"/>
                    <a:pt x="1714976" y="316706"/>
                  </a:cubicBezTo>
                  <a:cubicBezTo>
                    <a:pt x="1712119" y="307181"/>
                    <a:pt x="1710214" y="297656"/>
                    <a:pt x="1707356" y="288131"/>
                  </a:cubicBezTo>
                  <a:cubicBezTo>
                    <a:pt x="1708309" y="270034"/>
                    <a:pt x="1709261" y="252889"/>
                    <a:pt x="1709261" y="237649"/>
                  </a:cubicBezTo>
                  <a:cubicBezTo>
                    <a:pt x="1711166" y="192881"/>
                    <a:pt x="1710214" y="163354"/>
                    <a:pt x="1710214" y="163354"/>
                  </a:cubicBezTo>
                  <a:cubicBezTo>
                    <a:pt x="1710214" y="163354"/>
                    <a:pt x="1705451" y="189071"/>
                    <a:pt x="1698784" y="229076"/>
                  </a:cubicBezTo>
                  <a:cubicBezTo>
                    <a:pt x="1696879" y="219551"/>
                    <a:pt x="1695926" y="210979"/>
                    <a:pt x="1694021" y="203359"/>
                  </a:cubicBezTo>
                  <a:cubicBezTo>
                    <a:pt x="1695926" y="191929"/>
                    <a:pt x="1697831" y="180499"/>
                    <a:pt x="1699736" y="170021"/>
                  </a:cubicBezTo>
                  <a:cubicBezTo>
                    <a:pt x="1702594" y="151924"/>
                    <a:pt x="1705451" y="134779"/>
                    <a:pt x="1706404" y="119539"/>
                  </a:cubicBezTo>
                  <a:cubicBezTo>
                    <a:pt x="1708309" y="104299"/>
                    <a:pt x="1709261" y="91916"/>
                    <a:pt x="1710214" y="80486"/>
                  </a:cubicBezTo>
                  <a:cubicBezTo>
                    <a:pt x="1712119" y="59531"/>
                    <a:pt x="1713071" y="47149"/>
                    <a:pt x="1713071" y="47149"/>
                  </a:cubicBezTo>
                  <a:cubicBezTo>
                    <a:pt x="1713071" y="47149"/>
                    <a:pt x="1710214" y="59531"/>
                    <a:pt x="1706404" y="80486"/>
                  </a:cubicBezTo>
                  <a:cubicBezTo>
                    <a:pt x="1704499" y="90964"/>
                    <a:pt x="1701641" y="104299"/>
                    <a:pt x="1698784" y="118586"/>
                  </a:cubicBezTo>
                  <a:cubicBezTo>
                    <a:pt x="1695926" y="133826"/>
                    <a:pt x="1692116" y="150019"/>
                    <a:pt x="1688306" y="168116"/>
                  </a:cubicBezTo>
                  <a:cubicBezTo>
                    <a:pt x="1688306" y="169069"/>
                    <a:pt x="1687354" y="170974"/>
                    <a:pt x="1687354" y="171926"/>
                  </a:cubicBezTo>
                  <a:cubicBezTo>
                    <a:pt x="1685449" y="164306"/>
                    <a:pt x="1684496" y="160496"/>
                    <a:pt x="1684496" y="160496"/>
                  </a:cubicBezTo>
                  <a:cubicBezTo>
                    <a:pt x="1684496" y="160496"/>
                    <a:pt x="1684496" y="167164"/>
                    <a:pt x="1685449" y="179546"/>
                  </a:cubicBezTo>
                  <a:cubicBezTo>
                    <a:pt x="1684496" y="185261"/>
                    <a:pt x="1682591" y="191929"/>
                    <a:pt x="1681639" y="197644"/>
                  </a:cubicBezTo>
                  <a:cubicBezTo>
                    <a:pt x="1680686" y="195739"/>
                    <a:pt x="1680686" y="194786"/>
                    <a:pt x="1680686" y="192881"/>
                  </a:cubicBezTo>
                  <a:cubicBezTo>
                    <a:pt x="1681639" y="186214"/>
                    <a:pt x="1681639" y="180499"/>
                    <a:pt x="1681639" y="174784"/>
                  </a:cubicBezTo>
                  <a:cubicBezTo>
                    <a:pt x="1681639" y="162401"/>
                    <a:pt x="1682591" y="151924"/>
                    <a:pt x="1682591" y="143351"/>
                  </a:cubicBezTo>
                  <a:cubicBezTo>
                    <a:pt x="1682591" y="126206"/>
                    <a:pt x="1683544" y="115729"/>
                    <a:pt x="1683544" y="115729"/>
                  </a:cubicBezTo>
                  <a:cubicBezTo>
                    <a:pt x="1683544" y="115729"/>
                    <a:pt x="1681639" y="125254"/>
                    <a:pt x="1678781" y="143351"/>
                  </a:cubicBezTo>
                  <a:cubicBezTo>
                    <a:pt x="1677829" y="151924"/>
                    <a:pt x="1675924" y="162401"/>
                    <a:pt x="1674019" y="174784"/>
                  </a:cubicBezTo>
                  <a:cubicBezTo>
                    <a:pt x="1672114" y="187166"/>
                    <a:pt x="1669256" y="200501"/>
                    <a:pt x="1666399" y="215741"/>
                  </a:cubicBezTo>
                  <a:cubicBezTo>
                    <a:pt x="1665446" y="220504"/>
                    <a:pt x="1664494" y="226219"/>
                    <a:pt x="1663541" y="231934"/>
                  </a:cubicBezTo>
                  <a:cubicBezTo>
                    <a:pt x="1662589" y="228124"/>
                    <a:pt x="1661636" y="225266"/>
                    <a:pt x="1661636" y="225266"/>
                  </a:cubicBezTo>
                  <a:cubicBezTo>
                    <a:pt x="1661636" y="225266"/>
                    <a:pt x="1661636" y="229076"/>
                    <a:pt x="1662589" y="236696"/>
                  </a:cubicBezTo>
                  <a:cubicBezTo>
                    <a:pt x="1661636" y="242411"/>
                    <a:pt x="1660684" y="248126"/>
                    <a:pt x="1659731" y="253841"/>
                  </a:cubicBezTo>
                  <a:cubicBezTo>
                    <a:pt x="1659731" y="252889"/>
                    <a:pt x="1658779" y="251936"/>
                    <a:pt x="1658779" y="251936"/>
                  </a:cubicBezTo>
                  <a:cubicBezTo>
                    <a:pt x="1654969" y="240506"/>
                    <a:pt x="1650206" y="230981"/>
                    <a:pt x="1646396" y="223361"/>
                  </a:cubicBezTo>
                  <a:cubicBezTo>
                    <a:pt x="1645444" y="220504"/>
                    <a:pt x="1643539" y="218599"/>
                    <a:pt x="1642586" y="215741"/>
                  </a:cubicBezTo>
                  <a:cubicBezTo>
                    <a:pt x="1642586" y="210979"/>
                    <a:pt x="1642586" y="207169"/>
                    <a:pt x="1642586" y="202406"/>
                  </a:cubicBezTo>
                  <a:cubicBezTo>
                    <a:pt x="1641634" y="186214"/>
                    <a:pt x="1641634" y="170021"/>
                    <a:pt x="1640681" y="154781"/>
                  </a:cubicBezTo>
                  <a:cubicBezTo>
                    <a:pt x="1639729" y="139541"/>
                    <a:pt x="1637824" y="125254"/>
                    <a:pt x="1635919" y="111919"/>
                  </a:cubicBezTo>
                  <a:cubicBezTo>
                    <a:pt x="1630204" y="58579"/>
                    <a:pt x="1624489" y="23336"/>
                    <a:pt x="1624489" y="23336"/>
                  </a:cubicBezTo>
                  <a:cubicBezTo>
                    <a:pt x="1624489" y="23336"/>
                    <a:pt x="1623536" y="58579"/>
                    <a:pt x="1624489" y="111919"/>
                  </a:cubicBezTo>
                  <a:cubicBezTo>
                    <a:pt x="1624489" y="125254"/>
                    <a:pt x="1624489" y="139541"/>
                    <a:pt x="1625441" y="154781"/>
                  </a:cubicBezTo>
                  <a:cubicBezTo>
                    <a:pt x="1626394" y="170021"/>
                    <a:pt x="1624489" y="186214"/>
                    <a:pt x="1625441" y="202406"/>
                  </a:cubicBezTo>
                  <a:cubicBezTo>
                    <a:pt x="1625441" y="210026"/>
                    <a:pt x="1625441" y="217646"/>
                    <a:pt x="1625441" y="225266"/>
                  </a:cubicBezTo>
                  <a:cubicBezTo>
                    <a:pt x="1625441" y="227171"/>
                    <a:pt x="1625441" y="229076"/>
                    <a:pt x="1625441" y="230981"/>
                  </a:cubicBezTo>
                  <a:cubicBezTo>
                    <a:pt x="1624489" y="230029"/>
                    <a:pt x="1624489" y="228124"/>
                    <a:pt x="1623536" y="227171"/>
                  </a:cubicBezTo>
                  <a:cubicBezTo>
                    <a:pt x="1620679" y="211931"/>
                    <a:pt x="1619726" y="203359"/>
                    <a:pt x="1619726" y="203359"/>
                  </a:cubicBezTo>
                  <a:cubicBezTo>
                    <a:pt x="1619726" y="203359"/>
                    <a:pt x="1619726" y="208121"/>
                    <a:pt x="1619726" y="217646"/>
                  </a:cubicBezTo>
                  <a:cubicBezTo>
                    <a:pt x="1613059" y="201454"/>
                    <a:pt x="1608296" y="190976"/>
                    <a:pt x="1608296" y="190976"/>
                  </a:cubicBezTo>
                  <a:cubicBezTo>
                    <a:pt x="1608296" y="190976"/>
                    <a:pt x="1612106" y="207169"/>
                    <a:pt x="1619726" y="233839"/>
                  </a:cubicBezTo>
                  <a:cubicBezTo>
                    <a:pt x="1619726" y="236696"/>
                    <a:pt x="1619726" y="239554"/>
                    <a:pt x="1619726" y="242411"/>
                  </a:cubicBezTo>
                  <a:cubicBezTo>
                    <a:pt x="1615916" y="236696"/>
                    <a:pt x="1613059" y="233839"/>
                    <a:pt x="1613059" y="233839"/>
                  </a:cubicBezTo>
                  <a:cubicBezTo>
                    <a:pt x="1613059" y="233839"/>
                    <a:pt x="1614964" y="238601"/>
                    <a:pt x="1619726" y="247174"/>
                  </a:cubicBezTo>
                  <a:cubicBezTo>
                    <a:pt x="1616869" y="250984"/>
                    <a:pt x="1614011" y="256699"/>
                    <a:pt x="1610201" y="264319"/>
                  </a:cubicBezTo>
                  <a:cubicBezTo>
                    <a:pt x="1609249" y="266224"/>
                    <a:pt x="1608296" y="268129"/>
                    <a:pt x="1607344" y="270034"/>
                  </a:cubicBezTo>
                  <a:cubicBezTo>
                    <a:pt x="1607344" y="269081"/>
                    <a:pt x="1606391" y="269081"/>
                    <a:pt x="1606391" y="269081"/>
                  </a:cubicBezTo>
                  <a:cubicBezTo>
                    <a:pt x="1606391" y="269081"/>
                    <a:pt x="1606391" y="269081"/>
                    <a:pt x="1607344" y="270034"/>
                  </a:cubicBezTo>
                  <a:cubicBezTo>
                    <a:pt x="1605439" y="273844"/>
                    <a:pt x="1603534" y="277654"/>
                    <a:pt x="1601629" y="282416"/>
                  </a:cubicBezTo>
                  <a:cubicBezTo>
                    <a:pt x="1601629" y="277654"/>
                    <a:pt x="1600676" y="273844"/>
                    <a:pt x="1600676" y="269081"/>
                  </a:cubicBezTo>
                  <a:cubicBezTo>
                    <a:pt x="1598771" y="243364"/>
                    <a:pt x="1596866" y="221456"/>
                    <a:pt x="1595914" y="207169"/>
                  </a:cubicBezTo>
                  <a:cubicBezTo>
                    <a:pt x="1594961" y="191929"/>
                    <a:pt x="1594009" y="183356"/>
                    <a:pt x="1594009" y="183356"/>
                  </a:cubicBezTo>
                  <a:cubicBezTo>
                    <a:pt x="1594009" y="183356"/>
                    <a:pt x="1593056" y="191929"/>
                    <a:pt x="1592104" y="207169"/>
                  </a:cubicBezTo>
                  <a:cubicBezTo>
                    <a:pt x="1592104" y="212884"/>
                    <a:pt x="1591151" y="219551"/>
                    <a:pt x="1591151" y="227171"/>
                  </a:cubicBezTo>
                  <a:cubicBezTo>
                    <a:pt x="1589246" y="216694"/>
                    <a:pt x="1586389" y="207169"/>
                    <a:pt x="1583531" y="197644"/>
                  </a:cubicBezTo>
                  <a:cubicBezTo>
                    <a:pt x="1581626" y="190976"/>
                    <a:pt x="1579721" y="185261"/>
                    <a:pt x="1578769" y="179546"/>
                  </a:cubicBezTo>
                  <a:cubicBezTo>
                    <a:pt x="1576864" y="173831"/>
                    <a:pt x="1574959" y="168116"/>
                    <a:pt x="1573054" y="163354"/>
                  </a:cubicBezTo>
                  <a:cubicBezTo>
                    <a:pt x="1569244" y="152876"/>
                    <a:pt x="1566386" y="144304"/>
                    <a:pt x="1563529" y="137636"/>
                  </a:cubicBezTo>
                  <a:cubicBezTo>
                    <a:pt x="1556861" y="123349"/>
                    <a:pt x="1554004" y="115729"/>
                    <a:pt x="1554004" y="115729"/>
                  </a:cubicBezTo>
                  <a:cubicBezTo>
                    <a:pt x="1554004" y="115729"/>
                    <a:pt x="1555909" y="124301"/>
                    <a:pt x="1560671" y="138589"/>
                  </a:cubicBezTo>
                  <a:cubicBezTo>
                    <a:pt x="1562576" y="146209"/>
                    <a:pt x="1564481" y="154781"/>
                    <a:pt x="1567339" y="165259"/>
                  </a:cubicBezTo>
                  <a:cubicBezTo>
                    <a:pt x="1568291" y="170021"/>
                    <a:pt x="1569244" y="175736"/>
                    <a:pt x="1571149" y="181451"/>
                  </a:cubicBezTo>
                  <a:cubicBezTo>
                    <a:pt x="1572101" y="187166"/>
                    <a:pt x="1573054" y="192881"/>
                    <a:pt x="1574006" y="199549"/>
                  </a:cubicBezTo>
                  <a:cubicBezTo>
                    <a:pt x="1576864" y="211931"/>
                    <a:pt x="1577816" y="226219"/>
                    <a:pt x="1579721" y="240506"/>
                  </a:cubicBezTo>
                  <a:cubicBezTo>
                    <a:pt x="1581626" y="253841"/>
                    <a:pt x="1582579" y="269081"/>
                    <a:pt x="1584484" y="283369"/>
                  </a:cubicBezTo>
                  <a:cubicBezTo>
                    <a:pt x="1581626" y="274796"/>
                    <a:pt x="1579721" y="266224"/>
                    <a:pt x="1576864" y="258604"/>
                  </a:cubicBezTo>
                  <a:cubicBezTo>
                    <a:pt x="1575911" y="255746"/>
                    <a:pt x="1574959" y="252889"/>
                    <a:pt x="1573054" y="249079"/>
                  </a:cubicBezTo>
                  <a:cubicBezTo>
                    <a:pt x="1573054" y="249079"/>
                    <a:pt x="1573054" y="248126"/>
                    <a:pt x="1573054" y="247174"/>
                  </a:cubicBezTo>
                  <a:cubicBezTo>
                    <a:pt x="1573054" y="243364"/>
                    <a:pt x="1573054" y="238601"/>
                    <a:pt x="1572101" y="234791"/>
                  </a:cubicBezTo>
                  <a:cubicBezTo>
                    <a:pt x="1571149" y="221456"/>
                    <a:pt x="1569244" y="209074"/>
                    <a:pt x="1567339" y="198596"/>
                  </a:cubicBezTo>
                  <a:cubicBezTo>
                    <a:pt x="1566386" y="192881"/>
                    <a:pt x="1564481" y="188119"/>
                    <a:pt x="1563529" y="184309"/>
                  </a:cubicBezTo>
                  <a:cubicBezTo>
                    <a:pt x="1561624" y="179546"/>
                    <a:pt x="1560671" y="175736"/>
                    <a:pt x="1558766" y="171926"/>
                  </a:cubicBezTo>
                  <a:cubicBezTo>
                    <a:pt x="1555909" y="164306"/>
                    <a:pt x="1553051" y="159544"/>
                    <a:pt x="1550194" y="155734"/>
                  </a:cubicBezTo>
                  <a:cubicBezTo>
                    <a:pt x="1548289" y="151924"/>
                    <a:pt x="1546384" y="150019"/>
                    <a:pt x="1546384" y="150019"/>
                  </a:cubicBezTo>
                  <a:cubicBezTo>
                    <a:pt x="1546384" y="150019"/>
                    <a:pt x="1547336" y="151924"/>
                    <a:pt x="1549241" y="155734"/>
                  </a:cubicBezTo>
                  <a:cubicBezTo>
                    <a:pt x="1551146" y="159544"/>
                    <a:pt x="1553051" y="165259"/>
                    <a:pt x="1554956" y="171926"/>
                  </a:cubicBezTo>
                  <a:cubicBezTo>
                    <a:pt x="1555909" y="175736"/>
                    <a:pt x="1556861" y="179546"/>
                    <a:pt x="1557814" y="184309"/>
                  </a:cubicBezTo>
                  <a:cubicBezTo>
                    <a:pt x="1557814" y="189071"/>
                    <a:pt x="1558766" y="193834"/>
                    <a:pt x="1559719" y="198596"/>
                  </a:cubicBezTo>
                  <a:cubicBezTo>
                    <a:pt x="1559719" y="203359"/>
                    <a:pt x="1560671" y="208121"/>
                    <a:pt x="1560671" y="213836"/>
                  </a:cubicBezTo>
                  <a:cubicBezTo>
                    <a:pt x="1560671" y="214789"/>
                    <a:pt x="1560671" y="215741"/>
                    <a:pt x="1559719" y="216694"/>
                  </a:cubicBezTo>
                  <a:cubicBezTo>
                    <a:pt x="1558766" y="213836"/>
                    <a:pt x="1556861" y="210979"/>
                    <a:pt x="1555909" y="208121"/>
                  </a:cubicBezTo>
                  <a:cubicBezTo>
                    <a:pt x="1554004" y="203359"/>
                    <a:pt x="1551146" y="199549"/>
                    <a:pt x="1549241" y="194786"/>
                  </a:cubicBezTo>
                  <a:cubicBezTo>
                    <a:pt x="1545431" y="186214"/>
                    <a:pt x="1541621" y="179546"/>
                    <a:pt x="1537811" y="173831"/>
                  </a:cubicBezTo>
                  <a:cubicBezTo>
                    <a:pt x="1530191" y="162401"/>
                    <a:pt x="1526381" y="156686"/>
                    <a:pt x="1526381" y="156686"/>
                  </a:cubicBezTo>
                  <a:cubicBezTo>
                    <a:pt x="1526381" y="156686"/>
                    <a:pt x="1529239" y="163354"/>
                    <a:pt x="1534001" y="175736"/>
                  </a:cubicBezTo>
                  <a:cubicBezTo>
                    <a:pt x="1536859" y="181451"/>
                    <a:pt x="1539716" y="189071"/>
                    <a:pt x="1542574" y="197644"/>
                  </a:cubicBezTo>
                  <a:cubicBezTo>
                    <a:pt x="1543526" y="201454"/>
                    <a:pt x="1545431" y="205264"/>
                    <a:pt x="1546384" y="209074"/>
                  </a:cubicBezTo>
                  <a:cubicBezTo>
                    <a:pt x="1546384" y="208121"/>
                    <a:pt x="1545431" y="208121"/>
                    <a:pt x="1545431" y="208121"/>
                  </a:cubicBezTo>
                  <a:cubicBezTo>
                    <a:pt x="1545431" y="208121"/>
                    <a:pt x="1546384" y="209074"/>
                    <a:pt x="1546384" y="210979"/>
                  </a:cubicBezTo>
                  <a:cubicBezTo>
                    <a:pt x="1548289" y="215741"/>
                    <a:pt x="1549241" y="220504"/>
                    <a:pt x="1551146" y="226219"/>
                  </a:cubicBezTo>
                  <a:cubicBezTo>
                    <a:pt x="1552099" y="228124"/>
                    <a:pt x="1552099" y="229076"/>
                    <a:pt x="1552099" y="230981"/>
                  </a:cubicBezTo>
                  <a:cubicBezTo>
                    <a:pt x="1552099" y="232886"/>
                    <a:pt x="1553051" y="233839"/>
                    <a:pt x="1553051" y="235744"/>
                  </a:cubicBezTo>
                  <a:cubicBezTo>
                    <a:pt x="1553051" y="237649"/>
                    <a:pt x="1553051" y="239554"/>
                    <a:pt x="1554004" y="241459"/>
                  </a:cubicBezTo>
                  <a:cubicBezTo>
                    <a:pt x="1554004" y="242411"/>
                    <a:pt x="1554004" y="243364"/>
                    <a:pt x="1554004" y="244316"/>
                  </a:cubicBezTo>
                  <a:cubicBezTo>
                    <a:pt x="1554004" y="246221"/>
                    <a:pt x="1553051" y="248126"/>
                    <a:pt x="1553051" y="250031"/>
                  </a:cubicBezTo>
                  <a:cubicBezTo>
                    <a:pt x="1551146" y="253841"/>
                    <a:pt x="1549241" y="257651"/>
                    <a:pt x="1547336" y="263366"/>
                  </a:cubicBezTo>
                  <a:cubicBezTo>
                    <a:pt x="1545431" y="258604"/>
                    <a:pt x="1543526" y="254794"/>
                    <a:pt x="1542574" y="251936"/>
                  </a:cubicBezTo>
                  <a:cubicBezTo>
                    <a:pt x="1542574" y="249079"/>
                    <a:pt x="1542574" y="245269"/>
                    <a:pt x="1542574" y="243364"/>
                  </a:cubicBezTo>
                  <a:cubicBezTo>
                    <a:pt x="1542574" y="230029"/>
                    <a:pt x="1542574" y="222409"/>
                    <a:pt x="1542574" y="222409"/>
                  </a:cubicBezTo>
                  <a:cubicBezTo>
                    <a:pt x="1542574" y="222409"/>
                    <a:pt x="1541621" y="230029"/>
                    <a:pt x="1538764" y="243364"/>
                  </a:cubicBezTo>
                  <a:cubicBezTo>
                    <a:pt x="1538764" y="243364"/>
                    <a:pt x="1538764" y="243364"/>
                    <a:pt x="1538764" y="243364"/>
                  </a:cubicBezTo>
                  <a:cubicBezTo>
                    <a:pt x="1534001" y="232886"/>
                    <a:pt x="1531144" y="226219"/>
                    <a:pt x="1531144" y="226219"/>
                  </a:cubicBezTo>
                  <a:cubicBezTo>
                    <a:pt x="1531144" y="226219"/>
                    <a:pt x="1533049" y="234791"/>
                    <a:pt x="1537811" y="250031"/>
                  </a:cubicBezTo>
                  <a:cubicBezTo>
                    <a:pt x="1537811" y="252889"/>
                    <a:pt x="1536859" y="255746"/>
                    <a:pt x="1536859" y="258604"/>
                  </a:cubicBezTo>
                  <a:cubicBezTo>
                    <a:pt x="1534954" y="251936"/>
                    <a:pt x="1533049" y="245269"/>
                    <a:pt x="1531144" y="239554"/>
                  </a:cubicBezTo>
                  <a:cubicBezTo>
                    <a:pt x="1529239" y="232886"/>
                    <a:pt x="1527334" y="227171"/>
                    <a:pt x="1525429" y="220504"/>
                  </a:cubicBezTo>
                  <a:cubicBezTo>
                    <a:pt x="1524476" y="217646"/>
                    <a:pt x="1523524" y="214789"/>
                    <a:pt x="1521619" y="211931"/>
                  </a:cubicBezTo>
                  <a:cubicBezTo>
                    <a:pt x="1518761" y="173831"/>
                    <a:pt x="1515904" y="150019"/>
                    <a:pt x="1515904" y="150019"/>
                  </a:cubicBezTo>
                  <a:cubicBezTo>
                    <a:pt x="1515904" y="150019"/>
                    <a:pt x="1514951" y="166211"/>
                    <a:pt x="1513046" y="192881"/>
                  </a:cubicBezTo>
                  <a:cubicBezTo>
                    <a:pt x="1510189" y="187166"/>
                    <a:pt x="1508284" y="182404"/>
                    <a:pt x="1506379" y="177641"/>
                  </a:cubicBezTo>
                  <a:cubicBezTo>
                    <a:pt x="1499711" y="163354"/>
                    <a:pt x="1495901" y="154781"/>
                    <a:pt x="1495901" y="154781"/>
                  </a:cubicBezTo>
                  <a:cubicBezTo>
                    <a:pt x="1495901" y="154781"/>
                    <a:pt x="1497806" y="163354"/>
                    <a:pt x="1502569" y="178594"/>
                  </a:cubicBezTo>
                  <a:cubicBezTo>
                    <a:pt x="1503521" y="182404"/>
                    <a:pt x="1504474" y="186214"/>
                    <a:pt x="1505426" y="190024"/>
                  </a:cubicBezTo>
                  <a:cubicBezTo>
                    <a:pt x="1505426" y="189071"/>
                    <a:pt x="1504474" y="189071"/>
                    <a:pt x="1504474" y="189071"/>
                  </a:cubicBezTo>
                  <a:cubicBezTo>
                    <a:pt x="1504474" y="189071"/>
                    <a:pt x="1506379" y="196691"/>
                    <a:pt x="1510189" y="210026"/>
                  </a:cubicBezTo>
                  <a:cubicBezTo>
                    <a:pt x="1510189" y="210979"/>
                    <a:pt x="1511141" y="212884"/>
                    <a:pt x="1511141" y="213836"/>
                  </a:cubicBezTo>
                  <a:cubicBezTo>
                    <a:pt x="1511141" y="220504"/>
                    <a:pt x="1510189" y="227171"/>
                    <a:pt x="1510189" y="233839"/>
                  </a:cubicBezTo>
                  <a:cubicBezTo>
                    <a:pt x="1510189" y="241459"/>
                    <a:pt x="1509236" y="250031"/>
                    <a:pt x="1509236" y="258604"/>
                  </a:cubicBezTo>
                  <a:cubicBezTo>
                    <a:pt x="1503521" y="241459"/>
                    <a:pt x="1498759" y="230981"/>
                    <a:pt x="1498759" y="230981"/>
                  </a:cubicBezTo>
                  <a:cubicBezTo>
                    <a:pt x="1498759" y="230981"/>
                    <a:pt x="1501616" y="248126"/>
                    <a:pt x="1508284" y="275749"/>
                  </a:cubicBezTo>
                  <a:cubicBezTo>
                    <a:pt x="1508284" y="279559"/>
                    <a:pt x="1508284" y="283369"/>
                    <a:pt x="1507331" y="288131"/>
                  </a:cubicBezTo>
                  <a:cubicBezTo>
                    <a:pt x="1506379" y="290036"/>
                    <a:pt x="1505426" y="290989"/>
                    <a:pt x="1504474" y="292894"/>
                  </a:cubicBezTo>
                  <a:cubicBezTo>
                    <a:pt x="1503521" y="294799"/>
                    <a:pt x="1501616" y="296704"/>
                    <a:pt x="1500664" y="298609"/>
                  </a:cubicBezTo>
                  <a:cubicBezTo>
                    <a:pt x="1497806" y="287179"/>
                    <a:pt x="1495901" y="275749"/>
                    <a:pt x="1493044" y="266224"/>
                  </a:cubicBezTo>
                  <a:cubicBezTo>
                    <a:pt x="1495901" y="253841"/>
                    <a:pt x="1497806" y="246221"/>
                    <a:pt x="1497806" y="246221"/>
                  </a:cubicBezTo>
                  <a:cubicBezTo>
                    <a:pt x="1497806" y="246221"/>
                    <a:pt x="1495901" y="251936"/>
                    <a:pt x="1491139" y="260509"/>
                  </a:cubicBezTo>
                  <a:cubicBezTo>
                    <a:pt x="1491139" y="260509"/>
                    <a:pt x="1491139" y="259556"/>
                    <a:pt x="1491139" y="259556"/>
                  </a:cubicBezTo>
                  <a:cubicBezTo>
                    <a:pt x="1491139" y="253841"/>
                    <a:pt x="1490186" y="249079"/>
                    <a:pt x="1490186" y="244316"/>
                  </a:cubicBezTo>
                  <a:cubicBezTo>
                    <a:pt x="1490186" y="242411"/>
                    <a:pt x="1490186" y="240506"/>
                    <a:pt x="1489234" y="238601"/>
                  </a:cubicBezTo>
                  <a:cubicBezTo>
                    <a:pt x="1489234" y="237649"/>
                    <a:pt x="1489234" y="237649"/>
                    <a:pt x="1489234" y="237649"/>
                  </a:cubicBezTo>
                  <a:cubicBezTo>
                    <a:pt x="1489234" y="237649"/>
                    <a:pt x="1489234" y="237649"/>
                    <a:pt x="1489234" y="238601"/>
                  </a:cubicBezTo>
                  <a:cubicBezTo>
                    <a:pt x="1488281" y="230981"/>
                    <a:pt x="1488281" y="225266"/>
                    <a:pt x="1486376" y="219551"/>
                  </a:cubicBezTo>
                  <a:cubicBezTo>
                    <a:pt x="1483519" y="206216"/>
                    <a:pt x="1482566" y="198596"/>
                    <a:pt x="1482566" y="198596"/>
                  </a:cubicBezTo>
                  <a:cubicBezTo>
                    <a:pt x="1482566" y="198596"/>
                    <a:pt x="1482566" y="206216"/>
                    <a:pt x="1482566" y="220504"/>
                  </a:cubicBezTo>
                  <a:cubicBezTo>
                    <a:pt x="1482566" y="222409"/>
                    <a:pt x="1482566" y="225266"/>
                    <a:pt x="1482566" y="228124"/>
                  </a:cubicBezTo>
                  <a:cubicBezTo>
                    <a:pt x="1476851" y="206216"/>
                    <a:pt x="1473041" y="193834"/>
                    <a:pt x="1473041" y="193834"/>
                  </a:cubicBezTo>
                  <a:cubicBezTo>
                    <a:pt x="1473041" y="193834"/>
                    <a:pt x="1474946" y="220504"/>
                    <a:pt x="1479709" y="259556"/>
                  </a:cubicBezTo>
                  <a:cubicBezTo>
                    <a:pt x="1479709" y="260509"/>
                    <a:pt x="1478756" y="261461"/>
                    <a:pt x="1478756" y="262414"/>
                  </a:cubicBezTo>
                  <a:cubicBezTo>
                    <a:pt x="1477804" y="263366"/>
                    <a:pt x="1477804" y="265271"/>
                    <a:pt x="1476851" y="266224"/>
                  </a:cubicBezTo>
                  <a:cubicBezTo>
                    <a:pt x="1476851" y="263366"/>
                    <a:pt x="1475899" y="260509"/>
                    <a:pt x="1475899" y="257651"/>
                  </a:cubicBezTo>
                  <a:cubicBezTo>
                    <a:pt x="1473994" y="244316"/>
                    <a:pt x="1473041" y="232886"/>
                    <a:pt x="1471136" y="221456"/>
                  </a:cubicBezTo>
                  <a:cubicBezTo>
                    <a:pt x="1469231" y="210979"/>
                    <a:pt x="1468279" y="201454"/>
                    <a:pt x="1466374" y="193834"/>
                  </a:cubicBezTo>
                  <a:cubicBezTo>
                    <a:pt x="1462564" y="178594"/>
                    <a:pt x="1460659" y="170021"/>
                    <a:pt x="1460659" y="170021"/>
                  </a:cubicBezTo>
                  <a:cubicBezTo>
                    <a:pt x="1460659" y="170021"/>
                    <a:pt x="1461611" y="178594"/>
                    <a:pt x="1462564" y="193834"/>
                  </a:cubicBezTo>
                  <a:cubicBezTo>
                    <a:pt x="1463516" y="201454"/>
                    <a:pt x="1463516" y="210979"/>
                    <a:pt x="1464469" y="221456"/>
                  </a:cubicBezTo>
                  <a:cubicBezTo>
                    <a:pt x="1465421" y="231934"/>
                    <a:pt x="1465421" y="244316"/>
                    <a:pt x="1465421" y="257651"/>
                  </a:cubicBezTo>
                  <a:cubicBezTo>
                    <a:pt x="1465421" y="263366"/>
                    <a:pt x="1465421" y="269081"/>
                    <a:pt x="1465421" y="275749"/>
                  </a:cubicBezTo>
                  <a:cubicBezTo>
                    <a:pt x="1462564" y="265271"/>
                    <a:pt x="1458754" y="254794"/>
                    <a:pt x="1455896" y="246221"/>
                  </a:cubicBezTo>
                  <a:cubicBezTo>
                    <a:pt x="1453039" y="235744"/>
                    <a:pt x="1450181" y="226219"/>
                    <a:pt x="1447324" y="218599"/>
                  </a:cubicBezTo>
                  <a:cubicBezTo>
                    <a:pt x="1442561" y="203359"/>
                    <a:pt x="1439704" y="194786"/>
                    <a:pt x="1439704" y="194786"/>
                  </a:cubicBezTo>
                  <a:cubicBezTo>
                    <a:pt x="1439704" y="194786"/>
                    <a:pt x="1440656" y="202406"/>
                    <a:pt x="1442561" y="215741"/>
                  </a:cubicBezTo>
                  <a:cubicBezTo>
                    <a:pt x="1439704" y="203359"/>
                    <a:pt x="1437799" y="193834"/>
                    <a:pt x="1435894" y="185261"/>
                  </a:cubicBezTo>
                  <a:cubicBezTo>
                    <a:pt x="1435894" y="169069"/>
                    <a:pt x="1435894" y="159544"/>
                    <a:pt x="1435894" y="159544"/>
                  </a:cubicBezTo>
                  <a:cubicBezTo>
                    <a:pt x="1435894" y="159544"/>
                    <a:pt x="1434941" y="164306"/>
                    <a:pt x="1433036" y="173831"/>
                  </a:cubicBezTo>
                  <a:cubicBezTo>
                    <a:pt x="1431131" y="165259"/>
                    <a:pt x="1430179" y="160496"/>
                    <a:pt x="1430179" y="160496"/>
                  </a:cubicBezTo>
                  <a:cubicBezTo>
                    <a:pt x="1430179" y="160496"/>
                    <a:pt x="1430179" y="162401"/>
                    <a:pt x="1430179" y="166211"/>
                  </a:cubicBezTo>
                  <a:cubicBezTo>
                    <a:pt x="1428274" y="158591"/>
                    <a:pt x="1427321" y="151924"/>
                    <a:pt x="1425416" y="147161"/>
                  </a:cubicBezTo>
                  <a:cubicBezTo>
                    <a:pt x="1421606" y="134779"/>
                    <a:pt x="1418749" y="127159"/>
                    <a:pt x="1418749" y="127159"/>
                  </a:cubicBezTo>
                  <a:cubicBezTo>
                    <a:pt x="1418749" y="127159"/>
                    <a:pt x="1419701" y="134779"/>
                    <a:pt x="1421606" y="148114"/>
                  </a:cubicBezTo>
                  <a:cubicBezTo>
                    <a:pt x="1422559" y="154781"/>
                    <a:pt x="1423511" y="162401"/>
                    <a:pt x="1423511" y="171926"/>
                  </a:cubicBezTo>
                  <a:cubicBezTo>
                    <a:pt x="1424464" y="181451"/>
                    <a:pt x="1424464" y="190976"/>
                    <a:pt x="1425416" y="202406"/>
                  </a:cubicBezTo>
                  <a:cubicBezTo>
                    <a:pt x="1425416" y="208121"/>
                    <a:pt x="1426369" y="212884"/>
                    <a:pt x="1426369" y="218599"/>
                  </a:cubicBezTo>
                  <a:cubicBezTo>
                    <a:pt x="1425416" y="224314"/>
                    <a:pt x="1424464" y="230029"/>
                    <a:pt x="1424464" y="235744"/>
                  </a:cubicBezTo>
                  <a:cubicBezTo>
                    <a:pt x="1423511" y="231934"/>
                    <a:pt x="1422559" y="229076"/>
                    <a:pt x="1421606" y="226219"/>
                  </a:cubicBezTo>
                  <a:cubicBezTo>
                    <a:pt x="1419701" y="219551"/>
                    <a:pt x="1416844" y="214789"/>
                    <a:pt x="1415891" y="210026"/>
                  </a:cubicBezTo>
                  <a:cubicBezTo>
                    <a:pt x="1412081" y="201454"/>
                    <a:pt x="1410176" y="195739"/>
                    <a:pt x="1410176" y="195739"/>
                  </a:cubicBezTo>
                  <a:cubicBezTo>
                    <a:pt x="1410176" y="195739"/>
                    <a:pt x="1411129" y="201454"/>
                    <a:pt x="1412081" y="210979"/>
                  </a:cubicBezTo>
                  <a:cubicBezTo>
                    <a:pt x="1413034" y="215741"/>
                    <a:pt x="1413986" y="221456"/>
                    <a:pt x="1414939" y="228124"/>
                  </a:cubicBezTo>
                  <a:cubicBezTo>
                    <a:pt x="1415891" y="234791"/>
                    <a:pt x="1416844" y="241459"/>
                    <a:pt x="1416844" y="250031"/>
                  </a:cubicBezTo>
                  <a:cubicBezTo>
                    <a:pt x="1416844" y="255746"/>
                    <a:pt x="1417796" y="261461"/>
                    <a:pt x="1418749" y="268129"/>
                  </a:cubicBezTo>
                  <a:cubicBezTo>
                    <a:pt x="1416844" y="270986"/>
                    <a:pt x="1414939" y="273844"/>
                    <a:pt x="1413034" y="277654"/>
                  </a:cubicBezTo>
                  <a:cubicBezTo>
                    <a:pt x="1412081" y="275749"/>
                    <a:pt x="1412081" y="273844"/>
                    <a:pt x="1411129" y="271939"/>
                  </a:cubicBezTo>
                  <a:cubicBezTo>
                    <a:pt x="1406366" y="237649"/>
                    <a:pt x="1401604" y="215741"/>
                    <a:pt x="1401604" y="215741"/>
                  </a:cubicBezTo>
                  <a:cubicBezTo>
                    <a:pt x="1401604" y="215741"/>
                    <a:pt x="1401604" y="226219"/>
                    <a:pt x="1400651" y="243364"/>
                  </a:cubicBezTo>
                  <a:cubicBezTo>
                    <a:pt x="1397794" y="233839"/>
                    <a:pt x="1394936" y="226219"/>
                    <a:pt x="1392079" y="219551"/>
                  </a:cubicBezTo>
                  <a:cubicBezTo>
                    <a:pt x="1392079" y="217646"/>
                    <a:pt x="1393031" y="215741"/>
                    <a:pt x="1393031" y="213836"/>
                  </a:cubicBezTo>
                  <a:cubicBezTo>
                    <a:pt x="1393984" y="212884"/>
                    <a:pt x="1394936" y="211931"/>
                    <a:pt x="1395889" y="210979"/>
                  </a:cubicBezTo>
                  <a:cubicBezTo>
                    <a:pt x="1399699" y="207169"/>
                    <a:pt x="1400651" y="205264"/>
                    <a:pt x="1400651" y="205264"/>
                  </a:cubicBezTo>
                  <a:cubicBezTo>
                    <a:pt x="1400651" y="205264"/>
                    <a:pt x="1398746" y="207169"/>
                    <a:pt x="1394936" y="210026"/>
                  </a:cubicBezTo>
                  <a:cubicBezTo>
                    <a:pt x="1394936" y="210026"/>
                    <a:pt x="1393984" y="210979"/>
                    <a:pt x="1393031" y="210979"/>
                  </a:cubicBezTo>
                  <a:cubicBezTo>
                    <a:pt x="1393984" y="205264"/>
                    <a:pt x="1394936" y="202406"/>
                    <a:pt x="1394936" y="202406"/>
                  </a:cubicBezTo>
                  <a:cubicBezTo>
                    <a:pt x="1394936" y="202406"/>
                    <a:pt x="1393031" y="206216"/>
                    <a:pt x="1391126" y="212884"/>
                  </a:cubicBezTo>
                  <a:cubicBezTo>
                    <a:pt x="1391126" y="212884"/>
                    <a:pt x="1390174" y="213836"/>
                    <a:pt x="1390174" y="213836"/>
                  </a:cubicBezTo>
                  <a:cubicBezTo>
                    <a:pt x="1386364" y="204311"/>
                    <a:pt x="1384459" y="199549"/>
                    <a:pt x="1384459" y="199549"/>
                  </a:cubicBezTo>
                  <a:cubicBezTo>
                    <a:pt x="1384459" y="199549"/>
                    <a:pt x="1385411" y="205264"/>
                    <a:pt x="1387316" y="215741"/>
                  </a:cubicBezTo>
                  <a:cubicBezTo>
                    <a:pt x="1384459" y="218599"/>
                    <a:pt x="1382554" y="220504"/>
                    <a:pt x="1378744" y="224314"/>
                  </a:cubicBezTo>
                  <a:cubicBezTo>
                    <a:pt x="1374934" y="229076"/>
                    <a:pt x="1371124" y="233839"/>
                    <a:pt x="1367314" y="240506"/>
                  </a:cubicBezTo>
                  <a:cubicBezTo>
                    <a:pt x="1363504" y="230029"/>
                    <a:pt x="1358741" y="219551"/>
                    <a:pt x="1354931" y="209074"/>
                  </a:cubicBezTo>
                  <a:cubicBezTo>
                    <a:pt x="1354931" y="199549"/>
                    <a:pt x="1354931" y="191929"/>
                    <a:pt x="1354931" y="185261"/>
                  </a:cubicBezTo>
                  <a:cubicBezTo>
                    <a:pt x="1354931" y="167164"/>
                    <a:pt x="1354931" y="157639"/>
                    <a:pt x="1354931" y="157639"/>
                  </a:cubicBezTo>
                  <a:cubicBezTo>
                    <a:pt x="1354931" y="157639"/>
                    <a:pt x="1353026" y="168116"/>
                    <a:pt x="1351121" y="185261"/>
                  </a:cubicBezTo>
                  <a:cubicBezTo>
                    <a:pt x="1350169" y="189071"/>
                    <a:pt x="1350169" y="192881"/>
                    <a:pt x="1349216" y="197644"/>
                  </a:cubicBezTo>
                  <a:cubicBezTo>
                    <a:pt x="1347311" y="193834"/>
                    <a:pt x="1345406" y="190024"/>
                    <a:pt x="1343501" y="186214"/>
                  </a:cubicBezTo>
                  <a:cubicBezTo>
                    <a:pt x="1343501" y="181451"/>
                    <a:pt x="1344454" y="175736"/>
                    <a:pt x="1344454" y="171926"/>
                  </a:cubicBezTo>
                  <a:cubicBezTo>
                    <a:pt x="1344454" y="166211"/>
                    <a:pt x="1344454" y="161449"/>
                    <a:pt x="1344454" y="157639"/>
                  </a:cubicBezTo>
                  <a:cubicBezTo>
                    <a:pt x="1344454" y="151924"/>
                    <a:pt x="1345406" y="147161"/>
                    <a:pt x="1345406" y="142399"/>
                  </a:cubicBezTo>
                  <a:cubicBezTo>
                    <a:pt x="1346359" y="129064"/>
                    <a:pt x="1346359" y="120491"/>
                    <a:pt x="1346359" y="120491"/>
                  </a:cubicBezTo>
                  <a:cubicBezTo>
                    <a:pt x="1346359" y="120491"/>
                    <a:pt x="1344454" y="128111"/>
                    <a:pt x="1341596" y="141446"/>
                  </a:cubicBezTo>
                  <a:cubicBezTo>
                    <a:pt x="1340644" y="148114"/>
                    <a:pt x="1338739" y="156686"/>
                    <a:pt x="1336834" y="166211"/>
                  </a:cubicBezTo>
                  <a:cubicBezTo>
                    <a:pt x="1336834" y="167164"/>
                    <a:pt x="1336834" y="168116"/>
                    <a:pt x="1335881" y="169069"/>
                  </a:cubicBezTo>
                  <a:cubicBezTo>
                    <a:pt x="1333024" y="162401"/>
                    <a:pt x="1330166" y="156686"/>
                    <a:pt x="1327309" y="150971"/>
                  </a:cubicBezTo>
                  <a:cubicBezTo>
                    <a:pt x="1299686" y="91916"/>
                    <a:pt x="1280636" y="53816"/>
                    <a:pt x="1280636" y="53816"/>
                  </a:cubicBezTo>
                  <a:cubicBezTo>
                    <a:pt x="1280636" y="53816"/>
                    <a:pt x="1293971" y="94774"/>
                    <a:pt x="1317784" y="155734"/>
                  </a:cubicBezTo>
                  <a:cubicBezTo>
                    <a:pt x="1322546" y="168116"/>
                    <a:pt x="1327309" y="180499"/>
                    <a:pt x="1332071" y="193834"/>
                  </a:cubicBezTo>
                  <a:cubicBezTo>
                    <a:pt x="1332071" y="195739"/>
                    <a:pt x="1332071" y="196691"/>
                    <a:pt x="1331119" y="197644"/>
                  </a:cubicBezTo>
                  <a:cubicBezTo>
                    <a:pt x="1329214" y="209074"/>
                    <a:pt x="1327309" y="222409"/>
                    <a:pt x="1326356" y="235744"/>
                  </a:cubicBezTo>
                  <a:cubicBezTo>
                    <a:pt x="1324451" y="249079"/>
                    <a:pt x="1323499" y="263366"/>
                    <a:pt x="1321594" y="277654"/>
                  </a:cubicBezTo>
                  <a:cubicBezTo>
                    <a:pt x="1321594" y="283369"/>
                    <a:pt x="1320641" y="288131"/>
                    <a:pt x="1319689" y="293846"/>
                  </a:cubicBezTo>
                  <a:cubicBezTo>
                    <a:pt x="1318736" y="292894"/>
                    <a:pt x="1318736" y="291941"/>
                    <a:pt x="1317784" y="290989"/>
                  </a:cubicBezTo>
                  <a:cubicBezTo>
                    <a:pt x="1317784" y="289084"/>
                    <a:pt x="1317784" y="289084"/>
                    <a:pt x="1317784" y="289084"/>
                  </a:cubicBezTo>
                  <a:cubicBezTo>
                    <a:pt x="1317784" y="289084"/>
                    <a:pt x="1317784" y="290036"/>
                    <a:pt x="1316831" y="290989"/>
                  </a:cubicBezTo>
                  <a:cubicBezTo>
                    <a:pt x="1316831" y="290036"/>
                    <a:pt x="1315879" y="289084"/>
                    <a:pt x="1315879" y="288131"/>
                  </a:cubicBezTo>
                  <a:cubicBezTo>
                    <a:pt x="1314926" y="287179"/>
                    <a:pt x="1314926" y="286226"/>
                    <a:pt x="1313974" y="285274"/>
                  </a:cubicBezTo>
                  <a:cubicBezTo>
                    <a:pt x="1315879" y="259556"/>
                    <a:pt x="1316831" y="244316"/>
                    <a:pt x="1316831" y="244316"/>
                  </a:cubicBezTo>
                  <a:cubicBezTo>
                    <a:pt x="1316831" y="244316"/>
                    <a:pt x="1313974" y="256699"/>
                    <a:pt x="1309211" y="277654"/>
                  </a:cubicBezTo>
                  <a:cubicBezTo>
                    <a:pt x="1305401" y="271939"/>
                    <a:pt x="1302544" y="266224"/>
                    <a:pt x="1298734" y="260509"/>
                  </a:cubicBezTo>
                  <a:cubicBezTo>
                    <a:pt x="1304449" y="235744"/>
                    <a:pt x="1310164" y="213836"/>
                    <a:pt x="1313974" y="199549"/>
                  </a:cubicBezTo>
                  <a:cubicBezTo>
                    <a:pt x="1317784" y="182404"/>
                    <a:pt x="1319689" y="172879"/>
                    <a:pt x="1319689" y="172879"/>
                  </a:cubicBezTo>
                  <a:cubicBezTo>
                    <a:pt x="1319689" y="172879"/>
                    <a:pt x="1307306" y="202406"/>
                    <a:pt x="1291114" y="249079"/>
                  </a:cubicBezTo>
                  <a:cubicBezTo>
                    <a:pt x="1287304" y="243364"/>
                    <a:pt x="1284446" y="238601"/>
                    <a:pt x="1281589" y="234791"/>
                  </a:cubicBezTo>
                  <a:cubicBezTo>
                    <a:pt x="1273016" y="222409"/>
                    <a:pt x="1267301" y="215741"/>
                    <a:pt x="1267301" y="215741"/>
                  </a:cubicBezTo>
                  <a:cubicBezTo>
                    <a:pt x="1267301" y="215741"/>
                    <a:pt x="1270159" y="222409"/>
                    <a:pt x="1275874" y="232886"/>
                  </a:cubicBezTo>
                  <a:cubicBezTo>
                    <a:pt x="1274921" y="234791"/>
                    <a:pt x="1273969" y="238601"/>
                    <a:pt x="1272064" y="243364"/>
                  </a:cubicBezTo>
                  <a:cubicBezTo>
                    <a:pt x="1268254" y="237649"/>
                    <a:pt x="1264444" y="231934"/>
                    <a:pt x="1261586" y="227171"/>
                  </a:cubicBezTo>
                  <a:cubicBezTo>
                    <a:pt x="1257776" y="221456"/>
                    <a:pt x="1253014" y="215741"/>
                    <a:pt x="1249204" y="210979"/>
                  </a:cubicBezTo>
                  <a:cubicBezTo>
                    <a:pt x="1248251" y="210026"/>
                    <a:pt x="1248251" y="209074"/>
                    <a:pt x="1247299" y="208121"/>
                  </a:cubicBezTo>
                  <a:cubicBezTo>
                    <a:pt x="1250156" y="203359"/>
                    <a:pt x="1251109" y="199549"/>
                    <a:pt x="1251109" y="199549"/>
                  </a:cubicBezTo>
                  <a:cubicBezTo>
                    <a:pt x="1251109" y="199549"/>
                    <a:pt x="1249204" y="202406"/>
                    <a:pt x="1246346" y="206216"/>
                  </a:cubicBezTo>
                  <a:cubicBezTo>
                    <a:pt x="1239679" y="197644"/>
                    <a:pt x="1233964" y="190024"/>
                    <a:pt x="1229201" y="184309"/>
                  </a:cubicBezTo>
                  <a:cubicBezTo>
                    <a:pt x="1217771" y="170974"/>
                    <a:pt x="1211104" y="162401"/>
                    <a:pt x="1211104" y="162401"/>
                  </a:cubicBezTo>
                  <a:cubicBezTo>
                    <a:pt x="1211104" y="162401"/>
                    <a:pt x="1216819" y="170974"/>
                    <a:pt x="1226344" y="186214"/>
                  </a:cubicBezTo>
                  <a:cubicBezTo>
                    <a:pt x="1231106" y="192881"/>
                    <a:pt x="1235869" y="202406"/>
                    <a:pt x="1242536" y="211931"/>
                  </a:cubicBezTo>
                  <a:cubicBezTo>
                    <a:pt x="1240631" y="214789"/>
                    <a:pt x="1238726" y="217646"/>
                    <a:pt x="1236821" y="220504"/>
                  </a:cubicBezTo>
                  <a:cubicBezTo>
                    <a:pt x="1235869" y="222409"/>
                    <a:pt x="1234916" y="224314"/>
                    <a:pt x="1233011" y="226219"/>
                  </a:cubicBezTo>
                  <a:cubicBezTo>
                    <a:pt x="1233011" y="221456"/>
                    <a:pt x="1232059" y="217646"/>
                    <a:pt x="1231106" y="212884"/>
                  </a:cubicBezTo>
                  <a:cubicBezTo>
                    <a:pt x="1231106" y="211931"/>
                    <a:pt x="1230154" y="210026"/>
                    <a:pt x="1228249" y="209074"/>
                  </a:cubicBezTo>
                  <a:cubicBezTo>
                    <a:pt x="1228249" y="209074"/>
                    <a:pt x="1227296" y="209074"/>
                    <a:pt x="1226344" y="209074"/>
                  </a:cubicBezTo>
                  <a:cubicBezTo>
                    <a:pt x="1225391" y="206216"/>
                    <a:pt x="1224439" y="202406"/>
                    <a:pt x="1223486" y="199549"/>
                  </a:cubicBezTo>
                  <a:cubicBezTo>
                    <a:pt x="1218724" y="187166"/>
                    <a:pt x="1215866" y="179546"/>
                    <a:pt x="1215866" y="179546"/>
                  </a:cubicBezTo>
                  <a:cubicBezTo>
                    <a:pt x="1215866" y="179546"/>
                    <a:pt x="1216819" y="187166"/>
                    <a:pt x="1219676" y="200501"/>
                  </a:cubicBezTo>
                  <a:cubicBezTo>
                    <a:pt x="1220629" y="204311"/>
                    <a:pt x="1220629" y="208121"/>
                    <a:pt x="1221581" y="211931"/>
                  </a:cubicBezTo>
                  <a:cubicBezTo>
                    <a:pt x="1221581" y="212884"/>
                    <a:pt x="1220629" y="212884"/>
                    <a:pt x="1220629" y="213836"/>
                  </a:cubicBezTo>
                  <a:cubicBezTo>
                    <a:pt x="1214914" y="208121"/>
                    <a:pt x="1211104" y="203359"/>
                    <a:pt x="1207294" y="200501"/>
                  </a:cubicBezTo>
                  <a:cubicBezTo>
                    <a:pt x="1203484" y="197644"/>
                    <a:pt x="1201579" y="195739"/>
                    <a:pt x="1201579" y="195739"/>
                  </a:cubicBezTo>
                  <a:cubicBezTo>
                    <a:pt x="1201579" y="195739"/>
                    <a:pt x="1203484" y="197644"/>
                    <a:pt x="1206341" y="201454"/>
                  </a:cubicBezTo>
                  <a:cubicBezTo>
                    <a:pt x="1209199" y="205264"/>
                    <a:pt x="1213009" y="210979"/>
                    <a:pt x="1217771" y="217646"/>
                  </a:cubicBezTo>
                  <a:lnTo>
                    <a:pt x="1217771" y="217646"/>
                  </a:lnTo>
                  <a:cubicBezTo>
                    <a:pt x="1216819" y="222409"/>
                    <a:pt x="1216819" y="227171"/>
                    <a:pt x="1216819" y="231934"/>
                  </a:cubicBezTo>
                  <a:cubicBezTo>
                    <a:pt x="1207294" y="223361"/>
                    <a:pt x="1202531" y="219551"/>
                    <a:pt x="1202531" y="219551"/>
                  </a:cubicBezTo>
                  <a:cubicBezTo>
                    <a:pt x="1202531" y="219551"/>
                    <a:pt x="1207294" y="226219"/>
                    <a:pt x="1215866" y="236696"/>
                  </a:cubicBezTo>
                  <a:cubicBezTo>
                    <a:pt x="1215866" y="240506"/>
                    <a:pt x="1214914" y="245269"/>
                    <a:pt x="1214914" y="249079"/>
                  </a:cubicBezTo>
                  <a:cubicBezTo>
                    <a:pt x="1214914" y="250984"/>
                    <a:pt x="1214914" y="252889"/>
                    <a:pt x="1214914" y="255746"/>
                  </a:cubicBezTo>
                  <a:cubicBezTo>
                    <a:pt x="1214914" y="253841"/>
                    <a:pt x="1213961" y="252889"/>
                    <a:pt x="1213961" y="250984"/>
                  </a:cubicBezTo>
                  <a:cubicBezTo>
                    <a:pt x="1213961" y="250984"/>
                    <a:pt x="1213961" y="250031"/>
                    <a:pt x="1213961" y="250031"/>
                  </a:cubicBezTo>
                  <a:cubicBezTo>
                    <a:pt x="1213961" y="249079"/>
                    <a:pt x="1214914" y="249079"/>
                    <a:pt x="1214914" y="249079"/>
                  </a:cubicBezTo>
                  <a:cubicBezTo>
                    <a:pt x="1214914" y="249079"/>
                    <a:pt x="1214914" y="249079"/>
                    <a:pt x="1213961" y="250031"/>
                  </a:cubicBezTo>
                  <a:cubicBezTo>
                    <a:pt x="1212056" y="242411"/>
                    <a:pt x="1209199" y="235744"/>
                    <a:pt x="1207294" y="229076"/>
                  </a:cubicBezTo>
                  <a:cubicBezTo>
                    <a:pt x="1204436" y="222409"/>
                    <a:pt x="1202531" y="216694"/>
                    <a:pt x="1200626" y="212884"/>
                  </a:cubicBezTo>
                  <a:cubicBezTo>
                    <a:pt x="1195864" y="204311"/>
                    <a:pt x="1193959" y="198596"/>
                    <a:pt x="1193959" y="198596"/>
                  </a:cubicBezTo>
                  <a:cubicBezTo>
                    <a:pt x="1193959" y="198596"/>
                    <a:pt x="1194911" y="204311"/>
                    <a:pt x="1196816" y="213836"/>
                  </a:cubicBezTo>
                  <a:cubicBezTo>
                    <a:pt x="1197769" y="218599"/>
                    <a:pt x="1198721" y="224314"/>
                    <a:pt x="1200626" y="230981"/>
                  </a:cubicBezTo>
                  <a:cubicBezTo>
                    <a:pt x="1201579" y="237649"/>
                    <a:pt x="1202531" y="245269"/>
                    <a:pt x="1204436" y="252889"/>
                  </a:cubicBezTo>
                  <a:cubicBezTo>
                    <a:pt x="1204436" y="254794"/>
                    <a:pt x="1205389" y="256699"/>
                    <a:pt x="1205389" y="258604"/>
                  </a:cubicBezTo>
                  <a:cubicBezTo>
                    <a:pt x="1202531" y="251936"/>
                    <a:pt x="1199674" y="245269"/>
                    <a:pt x="1196816" y="239554"/>
                  </a:cubicBezTo>
                  <a:cubicBezTo>
                    <a:pt x="1193959" y="233839"/>
                    <a:pt x="1191101" y="229076"/>
                    <a:pt x="1189196" y="224314"/>
                  </a:cubicBezTo>
                  <a:cubicBezTo>
                    <a:pt x="1184434" y="216694"/>
                    <a:pt x="1181576" y="211931"/>
                    <a:pt x="1181576" y="211931"/>
                  </a:cubicBezTo>
                  <a:cubicBezTo>
                    <a:pt x="1181576" y="211931"/>
                    <a:pt x="1183481" y="216694"/>
                    <a:pt x="1185386" y="225266"/>
                  </a:cubicBezTo>
                  <a:cubicBezTo>
                    <a:pt x="1187291" y="230029"/>
                    <a:pt x="1188244" y="234791"/>
                    <a:pt x="1190149" y="241459"/>
                  </a:cubicBezTo>
                  <a:cubicBezTo>
                    <a:pt x="1192054" y="247174"/>
                    <a:pt x="1193006" y="254794"/>
                    <a:pt x="1194911" y="262414"/>
                  </a:cubicBezTo>
                  <a:cubicBezTo>
                    <a:pt x="1195864" y="267176"/>
                    <a:pt x="1196816" y="271939"/>
                    <a:pt x="1197769" y="276701"/>
                  </a:cubicBezTo>
                  <a:cubicBezTo>
                    <a:pt x="1196816" y="279559"/>
                    <a:pt x="1194911" y="281464"/>
                    <a:pt x="1193959" y="284321"/>
                  </a:cubicBezTo>
                  <a:cubicBezTo>
                    <a:pt x="1193959" y="284321"/>
                    <a:pt x="1193959" y="283369"/>
                    <a:pt x="1193959" y="283369"/>
                  </a:cubicBezTo>
                  <a:cubicBezTo>
                    <a:pt x="1193959" y="282416"/>
                    <a:pt x="1193006" y="280511"/>
                    <a:pt x="1193006" y="279559"/>
                  </a:cubicBezTo>
                  <a:cubicBezTo>
                    <a:pt x="1193959" y="277654"/>
                    <a:pt x="1193959" y="276701"/>
                    <a:pt x="1193959" y="276701"/>
                  </a:cubicBezTo>
                  <a:cubicBezTo>
                    <a:pt x="1193959" y="276701"/>
                    <a:pt x="1193959" y="277654"/>
                    <a:pt x="1193006" y="278606"/>
                  </a:cubicBezTo>
                  <a:cubicBezTo>
                    <a:pt x="1190149" y="268129"/>
                    <a:pt x="1187291" y="258604"/>
                    <a:pt x="1184434" y="250984"/>
                  </a:cubicBezTo>
                  <a:cubicBezTo>
                    <a:pt x="1179671" y="239554"/>
                    <a:pt x="1176814" y="231934"/>
                    <a:pt x="1174909" y="227171"/>
                  </a:cubicBezTo>
                  <a:cubicBezTo>
                    <a:pt x="1174909" y="226219"/>
                    <a:pt x="1174909" y="224314"/>
                    <a:pt x="1174909" y="223361"/>
                  </a:cubicBezTo>
                  <a:cubicBezTo>
                    <a:pt x="1174909" y="212884"/>
                    <a:pt x="1175861" y="204311"/>
                    <a:pt x="1175861" y="196691"/>
                  </a:cubicBezTo>
                  <a:cubicBezTo>
                    <a:pt x="1175861" y="182404"/>
                    <a:pt x="1174909" y="173831"/>
                    <a:pt x="1174909" y="173831"/>
                  </a:cubicBezTo>
                  <a:cubicBezTo>
                    <a:pt x="1174909" y="173831"/>
                    <a:pt x="1173956" y="182404"/>
                    <a:pt x="1172051" y="196691"/>
                  </a:cubicBezTo>
                  <a:cubicBezTo>
                    <a:pt x="1171099" y="204311"/>
                    <a:pt x="1169194" y="212884"/>
                    <a:pt x="1168241" y="223361"/>
                  </a:cubicBezTo>
                  <a:cubicBezTo>
                    <a:pt x="1168241" y="224314"/>
                    <a:pt x="1168241" y="225266"/>
                    <a:pt x="1168241" y="226219"/>
                  </a:cubicBezTo>
                  <a:cubicBezTo>
                    <a:pt x="1167289" y="229076"/>
                    <a:pt x="1165384" y="232886"/>
                    <a:pt x="1162526" y="238601"/>
                  </a:cubicBezTo>
                  <a:cubicBezTo>
                    <a:pt x="1161574" y="230981"/>
                    <a:pt x="1160621" y="223361"/>
                    <a:pt x="1158716" y="215741"/>
                  </a:cubicBezTo>
                  <a:cubicBezTo>
                    <a:pt x="1156811" y="206216"/>
                    <a:pt x="1153954" y="197644"/>
                    <a:pt x="1152049" y="189071"/>
                  </a:cubicBezTo>
                  <a:cubicBezTo>
                    <a:pt x="1143476" y="155734"/>
                    <a:pt x="1136809" y="133826"/>
                    <a:pt x="1136809" y="133826"/>
                  </a:cubicBezTo>
                  <a:cubicBezTo>
                    <a:pt x="1136809" y="133826"/>
                    <a:pt x="1137761" y="156686"/>
                    <a:pt x="1140619" y="190024"/>
                  </a:cubicBezTo>
                  <a:cubicBezTo>
                    <a:pt x="1141571" y="198596"/>
                    <a:pt x="1142524" y="208121"/>
                    <a:pt x="1143476" y="217646"/>
                  </a:cubicBezTo>
                  <a:cubicBezTo>
                    <a:pt x="1144429" y="227171"/>
                    <a:pt x="1144429" y="237649"/>
                    <a:pt x="1146334" y="248126"/>
                  </a:cubicBezTo>
                  <a:cubicBezTo>
                    <a:pt x="1146334" y="252889"/>
                    <a:pt x="1147286" y="256699"/>
                    <a:pt x="1147286" y="261461"/>
                  </a:cubicBezTo>
                  <a:cubicBezTo>
                    <a:pt x="1147286" y="261461"/>
                    <a:pt x="1147286" y="261461"/>
                    <a:pt x="1147286" y="261461"/>
                  </a:cubicBezTo>
                  <a:cubicBezTo>
                    <a:pt x="1147286" y="259556"/>
                    <a:pt x="1147286" y="258604"/>
                    <a:pt x="1147286" y="258604"/>
                  </a:cubicBezTo>
                  <a:cubicBezTo>
                    <a:pt x="1147286" y="258604"/>
                    <a:pt x="1147286" y="259556"/>
                    <a:pt x="1147286" y="260509"/>
                  </a:cubicBezTo>
                  <a:cubicBezTo>
                    <a:pt x="1146334" y="257651"/>
                    <a:pt x="1144429" y="254794"/>
                    <a:pt x="1143476" y="251936"/>
                  </a:cubicBezTo>
                  <a:cubicBezTo>
                    <a:pt x="1142524" y="250984"/>
                    <a:pt x="1142524" y="250031"/>
                    <a:pt x="1141571" y="249079"/>
                  </a:cubicBezTo>
                  <a:cubicBezTo>
                    <a:pt x="1141571" y="242411"/>
                    <a:pt x="1141571" y="237649"/>
                    <a:pt x="1141571" y="237649"/>
                  </a:cubicBezTo>
                  <a:cubicBezTo>
                    <a:pt x="1141571" y="237649"/>
                    <a:pt x="1140619" y="240506"/>
                    <a:pt x="1139666" y="246221"/>
                  </a:cubicBezTo>
                  <a:cubicBezTo>
                    <a:pt x="1136809" y="241459"/>
                    <a:pt x="1134904" y="236696"/>
                    <a:pt x="1132046" y="231934"/>
                  </a:cubicBezTo>
                  <a:cubicBezTo>
                    <a:pt x="1132046" y="231934"/>
                    <a:pt x="1132046" y="230981"/>
                    <a:pt x="1132046" y="230981"/>
                  </a:cubicBezTo>
                  <a:cubicBezTo>
                    <a:pt x="1128236" y="211931"/>
                    <a:pt x="1124426" y="193834"/>
                    <a:pt x="1120616" y="177641"/>
                  </a:cubicBezTo>
                  <a:cubicBezTo>
                    <a:pt x="1116806" y="161449"/>
                    <a:pt x="1113949" y="146209"/>
                    <a:pt x="1110139" y="132874"/>
                  </a:cubicBezTo>
                  <a:cubicBezTo>
                    <a:pt x="1106329" y="119539"/>
                    <a:pt x="1103471" y="108109"/>
                    <a:pt x="1100614" y="98584"/>
                  </a:cubicBezTo>
                  <a:cubicBezTo>
                    <a:pt x="1094899" y="79534"/>
                    <a:pt x="1092041" y="69056"/>
                    <a:pt x="1092041" y="69056"/>
                  </a:cubicBezTo>
                  <a:cubicBezTo>
                    <a:pt x="1092041" y="69056"/>
                    <a:pt x="1093946" y="80486"/>
                    <a:pt x="1096804" y="99536"/>
                  </a:cubicBezTo>
                  <a:cubicBezTo>
                    <a:pt x="1098709" y="109061"/>
                    <a:pt x="1100614" y="121444"/>
                    <a:pt x="1103471" y="134779"/>
                  </a:cubicBezTo>
                  <a:cubicBezTo>
                    <a:pt x="1106329" y="148114"/>
                    <a:pt x="1108234" y="163354"/>
                    <a:pt x="1110139" y="180499"/>
                  </a:cubicBezTo>
                  <a:cubicBezTo>
                    <a:pt x="1111091" y="186214"/>
                    <a:pt x="1112044" y="192881"/>
                    <a:pt x="1112996" y="199549"/>
                  </a:cubicBezTo>
                  <a:cubicBezTo>
                    <a:pt x="1112044" y="197644"/>
                    <a:pt x="1111091" y="196691"/>
                    <a:pt x="1110139" y="194786"/>
                  </a:cubicBezTo>
                  <a:cubicBezTo>
                    <a:pt x="1109186" y="192881"/>
                    <a:pt x="1107281" y="190976"/>
                    <a:pt x="1106329" y="190024"/>
                  </a:cubicBezTo>
                  <a:cubicBezTo>
                    <a:pt x="1106329" y="189071"/>
                    <a:pt x="1106329" y="189071"/>
                    <a:pt x="1105376" y="188119"/>
                  </a:cubicBezTo>
                  <a:cubicBezTo>
                    <a:pt x="1101566" y="177641"/>
                    <a:pt x="1098709" y="168116"/>
                    <a:pt x="1095851" y="160496"/>
                  </a:cubicBezTo>
                  <a:cubicBezTo>
                    <a:pt x="1090136" y="145256"/>
                    <a:pt x="1087279" y="136684"/>
                    <a:pt x="1087279" y="136684"/>
                  </a:cubicBezTo>
                  <a:cubicBezTo>
                    <a:pt x="1087279" y="136684"/>
                    <a:pt x="1089184" y="145256"/>
                    <a:pt x="1092041" y="161449"/>
                  </a:cubicBezTo>
                  <a:cubicBezTo>
                    <a:pt x="1093946" y="169069"/>
                    <a:pt x="1095851" y="178594"/>
                    <a:pt x="1098709" y="190024"/>
                  </a:cubicBezTo>
                  <a:cubicBezTo>
                    <a:pt x="1100614" y="197644"/>
                    <a:pt x="1102519" y="207169"/>
                    <a:pt x="1103471" y="215741"/>
                  </a:cubicBezTo>
                  <a:cubicBezTo>
                    <a:pt x="1099661" y="206216"/>
                    <a:pt x="1097756" y="200501"/>
                    <a:pt x="1097756" y="200501"/>
                  </a:cubicBezTo>
                  <a:cubicBezTo>
                    <a:pt x="1097756" y="200501"/>
                    <a:pt x="1099661" y="209074"/>
                    <a:pt x="1102519" y="224314"/>
                  </a:cubicBezTo>
                  <a:cubicBezTo>
                    <a:pt x="1100614" y="227171"/>
                    <a:pt x="1097756" y="230981"/>
                    <a:pt x="1094899" y="233839"/>
                  </a:cubicBezTo>
                  <a:cubicBezTo>
                    <a:pt x="1092994" y="225266"/>
                    <a:pt x="1091089" y="216694"/>
                    <a:pt x="1089184" y="209074"/>
                  </a:cubicBezTo>
                  <a:cubicBezTo>
                    <a:pt x="1086326" y="182404"/>
                    <a:pt x="1084421" y="166211"/>
                    <a:pt x="1084421" y="166211"/>
                  </a:cubicBezTo>
                  <a:cubicBezTo>
                    <a:pt x="1084421" y="166211"/>
                    <a:pt x="1084421" y="172879"/>
                    <a:pt x="1083469" y="184309"/>
                  </a:cubicBezTo>
                  <a:cubicBezTo>
                    <a:pt x="1080611" y="171926"/>
                    <a:pt x="1077754" y="160496"/>
                    <a:pt x="1073944" y="149066"/>
                  </a:cubicBezTo>
                  <a:cubicBezTo>
                    <a:pt x="1071086" y="140494"/>
                    <a:pt x="1069181" y="131921"/>
                    <a:pt x="1066324" y="123349"/>
                  </a:cubicBezTo>
                  <a:cubicBezTo>
                    <a:pt x="1072991" y="105251"/>
                    <a:pt x="1075849" y="94774"/>
                    <a:pt x="1075849" y="94774"/>
                  </a:cubicBezTo>
                  <a:cubicBezTo>
                    <a:pt x="1075849" y="94774"/>
                    <a:pt x="1072039" y="103346"/>
                    <a:pt x="1064419" y="119539"/>
                  </a:cubicBezTo>
                  <a:cubicBezTo>
                    <a:pt x="1062514" y="112871"/>
                    <a:pt x="1059656" y="106204"/>
                    <a:pt x="1057751" y="100489"/>
                  </a:cubicBezTo>
                  <a:cubicBezTo>
                    <a:pt x="1054894" y="92869"/>
                    <a:pt x="1052036" y="85249"/>
                    <a:pt x="1050131" y="78581"/>
                  </a:cubicBezTo>
                  <a:cubicBezTo>
                    <a:pt x="1047274" y="71914"/>
                    <a:pt x="1044416" y="65246"/>
                    <a:pt x="1042511" y="59531"/>
                  </a:cubicBezTo>
                  <a:cubicBezTo>
                    <a:pt x="1037749" y="47149"/>
                    <a:pt x="1032986" y="36671"/>
                    <a:pt x="1029176" y="28099"/>
                  </a:cubicBezTo>
                  <a:cubicBezTo>
                    <a:pt x="1017746" y="16669"/>
                    <a:pt x="1012984" y="7144"/>
                    <a:pt x="1012984" y="7144"/>
                  </a:cubicBezTo>
                  <a:cubicBezTo>
                    <a:pt x="1012984" y="7144"/>
                    <a:pt x="1016794" y="17621"/>
                    <a:pt x="1022509" y="34766"/>
                  </a:cubicBezTo>
                  <a:cubicBezTo>
                    <a:pt x="1025366" y="43339"/>
                    <a:pt x="1029176" y="54769"/>
                    <a:pt x="1032986" y="67151"/>
                  </a:cubicBezTo>
                  <a:cubicBezTo>
                    <a:pt x="1034891" y="73819"/>
                    <a:pt x="1036796" y="79534"/>
                    <a:pt x="1038701" y="87154"/>
                  </a:cubicBezTo>
                  <a:cubicBezTo>
                    <a:pt x="1040606" y="93821"/>
                    <a:pt x="1042511" y="101441"/>
                    <a:pt x="1044416" y="109061"/>
                  </a:cubicBezTo>
                  <a:cubicBezTo>
                    <a:pt x="1044416" y="109061"/>
                    <a:pt x="1044416" y="110014"/>
                    <a:pt x="1044416" y="110014"/>
                  </a:cubicBezTo>
                  <a:cubicBezTo>
                    <a:pt x="1039654" y="101441"/>
                    <a:pt x="1037749" y="96679"/>
                    <a:pt x="1037749" y="96679"/>
                  </a:cubicBezTo>
                  <a:cubicBezTo>
                    <a:pt x="1037749" y="96679"/>
                    <a:pt x="1039654" y="104299"/>
                    <a:pt x="1044416" y="117634"/>
                  </a:cubicBezTo>
                  <a:cubicBezTo>
                    <a:pt x="1046321" y="124301"/>
                    <a:pt x="1049179" y="131921"/>
                    <a:pt x="1051084" y="141446"/>
                  </a:cubicBezTo>
                  <a:cubicBezTo>
                    <a:pt x="1051084" y="143351"/>
                    <a:pt x="1052036" y="144304"/>
                    <a:pt x="1052036" y="146209"/>
                  </a:cubicBezTo>
                  <a:cubicBezTo>
                    <a:pt x="1048226" y="153829"/>
                    <a:pt x="1043464" y="163354"/>
                    <a:pt x="1037749" y="172879"/>
                  </a:cubicBezTo>
                  <a:cubicBezTo>
                    <a:pt x="1033939" y="180499"/>
                    <a:pt x="1029176" y="188119"/>
                    <a:pt x="1024414" y="195739"/>
                  </a:cubicBezTo>
                  <a:cubicBezTo>
                    <a:pt x="1024414" y="194786"/>
                    <a:pt x="1023461" y="193834"/>
                    <a:pt x="1023461" y="192881"/>
                  </a:cubicBezTo>
                  <a:cubicBezTo>
                    <a:pt x="1023461" y="190024"/>
                    <a:pt x="1023461" y="187166"/>
                    <a:pt x="1023461" y="184309"/>
                  </a:cubicBezTo>
                  <a:cubicBezTo>
                    <a:pt x="1024414" y="169069"/>
                    <a:pt x="1024414" y="154781"/>
                    <a:pt x="1024414" y="142399"/>
                  </a:cubicBezTo>
                  <a:cubicBezTo>
                    <a:pt x="1024414" y="130016"/>
                    <a:pt x="1024414" y="119539"/>
                    <a:pt x="1023461" y="110014"/>
                  </a:cubicBezTo>
                  <a:cubicBezTo>
                    <a:pt x="1023461" y="101441"/>
                    <a:pt x="1022509" y="93821"/>
                    <a:pt x="1021556" y="89059"/>
                  </a:cubicBezTo>
                  <a:cubicBezTo>
                    <a:pt x="1020604" y="84296"/>
                    <a:pt x="1020604" y="81439"/>
                    <a:pt x="1020604" y="81439"/>
                  </a:cubicBezTo>
                  <a:cubicBezTo>
                    <a:pt x="1020604" y="81439"/>
                    <a:pt x="1020604" y="84296"/>
                    <a:pt x="1020604" y="89059"/>
                  </a:cubicBezTo>
                  <a:cubicBezTo>
                    <a:pt x="1020604" y="93821"/>
                    <a:pt x="1019651" y="100489"/>
                    <a:pt x="1019651" y="110014"/>
                  </a:cubicBezTo>
                  <a:cubicBezTo>
                    <a:pt x="1018699" y="124301"/>
                    <a:pt x="1016794" y="142399"/>
                    <a:pt x="1014889" y="165259"/>
                  </a:cubicBezTo>
                  <a:cubicBezTo>
                    <a:pt x="1013936" y="162401"/>
                    <a:pt x="1013936" y="161449"/>
                    <a:pt x="1013936" y="161449"/>
                  </a:cubicBezTo>
                  <a:cubicBezTo>
                    <a:pt x="1013936" y="161449"/>
                    <a:pt x="1013936" y="163354"/>
                    <a:pt x="1014889" y="168116"/>
                  </a:cubicBezTo>
                  <a:cubicBezTo>
                    <a:pt x="1013936" y="172879"/>
                    <a:pt x="1013936" y="178594"/>
                    <a:pt x="1012984" y="183356"/>
                  </a:cubicBezTo>
                  <a:cubicBezTo>
                    <a:pt x="1011079" y="196691"/>
                    <a:pt x="1009174" y="210026"/>
                    <a:pt x="1007269" y="224314"/>
                  </a:cubicBezTo>
                  <a:cubicBezTo>
                    <a:pt x="996791" y="242411"/>
                    <a:pt x="984409" y="262414"/>
                    <a:pt x="972026" y="283369"/>
                  </a:cubicBezTo>
                  <a:cubicBezTo>
                    <a:pt x="972026" y="277654"/>
                    <a:pt x="971074" y="273844"/>
                    <a:pt x="971074" y="269081"/>
                  </a:cubicBezTo>
                  <a:cubicBezTo>
                    <a:pt x="972979" y="263366"/>
                    <a:pt x="975836" y="256699"/>
                    <a:pt x="977741" y="251936"/>
                  </a:cubicBezTo>
                  <a:cubicBezTo>
                    <a:pt x="983456" y="235744"/>
                    <a:pt x="989171" y="220504"/>
                    <a:pt x="992981" y="206216"/>
                  </a:cubicBezTo>
                  <a:cubicBezTo>
                    <a:pt x="996791" y="192881"/>
                    <a:pt x="1000601" y="180499"/>
                    <a:pt x="1002506" y="170974"/>
                  </a:cubicBezTo>
                  <a:cubicBezTo>
                    <a:pt x="1007269" y="150971"/>
                    <a:pt x="1009174" y="139541"/>
                    <a:pt x="1009174" y="139541"/>
                  </a:cubicBezTo>
                  <a:cubicBezTo>
                    <a:pt x="1009174" y="139541"/>
                    <a:pt x="1005364" y="150971"/>
                    <a:pt x="998696" y="170021"/>
                  </a:cubicBezTo>
                  <a:cubicBezTo>
                    <a:pt x="995839" y="179546"/>
                    <a:pt x="990124" y="190976"/>
                    <a:pt x="985361" y="204311"/>
                  </a:cubicBezTo>
                  <a:cubicBezTo>
                    <a:pt x="980599" y="217646"/>
                    <a:pt x="972979" y="231934"/>
                    <a:pt x="966311" y="248126"/>
                  </a:cubicBezTo>
                  <a:cubicBezTo>
                    <a:pt x="964406" y="251936"/>
                    <a:pt x="962501" y="255746"/>
                    <a:pt x="960596" y="260509"/>
                  </a:cubicBezTo>
                  <a:cubicBezTo>
                    <a:pt x="961549" y="248126"/>
                    <a:pt x="961549" y="236696"/>
                    <a:pt x="961549" y="225266"/>
                  </a:cubicBezTo>
                  <a:cubicBezTo>
                    <a:pt x="966311" y="212884"/>
                    <a:pt x="969169" y="206216"/>
                    <a:pt x="969169" y="206216"/>
                  </a:cubicBezTo>
                  <a:cubicBezTo>
                    <a:pt x="969169" y="206216"/>
                    <a:pt x="966311" y="210979"/>
                    <a:pt x="961549" y="218599"/>
                  </a:cubicBezTo>
                  <a:cubicBezTo>
                    <a:pt x="961549" y="213836"/>
                    <a:pt x="961549" y="210026"/>
                    <a:pt x="961549" y="206216"/>
                  </a:cubicBezTo>
                  <a:cubicBezTo>
                    <a:pt x="961549" y="182404"/>
                    <a:pt x="960596" y="162401"/>
                    <a:pt x="958691" y="149066"/>
                  </a:cubicBezTo>
                  <a:cubicBezTo>
                    <a:pt x="957739" y="143351"/>
                    <a:pt x="957739" y="138589"/>
                    <a:pt x="956786" y="134779"/>
                  </a:cubicBezTo>
                  <a:cubicBezTo>
                    <a:pt x="956786" y="132874"/>
                    <a:pt x="957739" y="131921"/>
                    <a:pt x="957739" y="131921"/>
                  </a:cubicBezTo>
                  <a:cubicBezTo>
                    <a:pt x="957739" y="131921"/>
                    <a:pt x="957739" y="132874"/>
                    <a:pt x="956786" y="133826"/>
                  </a:cubicBezTo>
                  <a:cubicBezTo>
                    <a:pt x="956786" y="133826"/>
                    <a:pt x="956786" y="132874"/>
                    <a:pt x="956786" y="132874"/>
                  </a:cubicBezTo>
                  <a:cubicBezTo>
                    <a:pt x="955834" y="129064"/>
                    <a:pt x="955834" y="127159"/>
                    <a:pt x="955834" y="127159"/>
                  </a:cubicBezTo>
                  <a:cubicBezTo>
                    <a:pt x="955834" y="127159"/>
                    <a:pt x="955834" y="130969"/>
                    <a:pt x="955834" y="136684"/>
                  </a:cubicBezTo>
                  <a:cubicBezTo>
                    <a:pt x="951071" y="147161"/>
                    <a:pt x="940594" y="171926"/>
                    <a:pt x="927259" y="206216"/>
                  </a:cubicBezTo>
                  <a:cubicBezTo>
                    <a:pt x="927259" y="206216"/>
                    <a:pt x="927259" y="205264"/>
                    <a:pt x="927259" y="205264"/>
                  </a:cubicBezTo>
                  <a:cubicBezTo>
                    <a:pt x="928211" y="196691"/>
                    <a:pt x="929164" y="189071"/>
                    <a:pt x="930116" y="183356"/>
                  </a:cubicBezTo>
                  <a:cubicBezTo>
                    <a:pt x="932021" y="170974"/>
                    <a:pt x="932974" y="164306"/>
                    <a:pt x="932974" y="164306"/>
                  </a:cubicBezTo>
                  <a:cubicBezTo>
                    <a:pt x="932974" y="164306"/>
                    <a:pt x="930116" y="170974"/>
                    <a:pt x="926306" y="183356"/>
                  </a:cubicBezTo>
                  <a:cubicBezTo>
                    <a:pt x="924401" y="189071"/>
                    <a:pt x="922496" y="195739"/>
                    <a:pt x="920591" y="203359"/>
                  </a:cubicBezTo>
                  <a:cubicBezTo>
                    <a:pt x="916781" y="192881"/>
                    <a:pt x="913924" y="182404"/>
                    <a:pt x="910114" y="171926"/>
                  </a:cubicBezTo>
                  <a:cubicBezTo>
                    <a:pt x="909161" y="169069"/>
                    <a:pt x="908209" y="167164"/>
                    <a:pt x="907256" y="164306"/>
                  </a:cubicBezTo>
                  <a:cubicBezTo>
                    <a:pt x="909161" y="161449"/>
                    <a:pt x="910114" y="159544"/>
                    <a:pt x="912019" y="157639"/>
                  </a:cubicBezTo>
                  <a:cubicBezTo>
                    <a:pt x="920591" y="145256"/>
                    <a:pt x="927259" y="133826"/>
                    <a:pt x="933926" y="124301"/>
                  </a:cubicBezTo>
                  <a:cubicBezTo>
                    <a:pt x="946309" y="106204"/>
                    <a:pt x="953929" y="95726"/>
                    <a:pt x="953929" y="95726"/>
                  </a:cubicBezTo>
                  <a:cubicBezTo>
                    <a:pt x="953929" y="95726"/>
                    <a:pt x="945356" y="105251"/>
                    <a:pt x="931069" y="121444"/>
                  </a:cubicBezTo>
                  <a:cubicBezTo>
                    <a:pt x="923449" y="129064"/>
                    <a:pt x="915829" y="140494"/>
                    <a:pt x="906304" y="151924"/>
                  </a:cubicBezTo>
                  <a:cubicBezTo>
                    <a:pt x="905351" y="152876"/>
                    <a:pt x="904399" y="153829"/>
                    <a:pt x="904399" y="154781"/>
                  </a:cubicBezTo>
                  <a:cubicBezTo>
                    <a:pt x="901541" y="147161"/>
                    <a:pt x="898684" y="139541"/>
                    <a:pt x="894874" y="131921"/>
                  </a:cubicBezTo>
                  <a:lnTo>
                    <a:pt x="892016" y="126206"/>
                  </a:lnTo>
                  <a:cubicBezTo>
                    <a:pt x="893921" y="122396"/>
                    <a:pt x="895826" y="118586"/>
                    <a:pt x="897731" y="115729"/>
                  </a:cubicBezTo>
                  <a:cubicBezTo>
                    <a:pt x="905351" y="100489"/>
                    <a:pt x="912019" y="87154"/>
                    <a:pt x="918686" y="77629"/>
                  </a:cubicBezTo>
                  <a:cubicBezTo>
                    <a:pt x="931069" y="56674"/>
                    <a:pt x="937736" y="44291"/>
                    <a:pt x="937736" y="44291"/>
                  </a:cubicBezTo>
                  <a:cubicBezTo>
                    <a:pt x="937736" y="44291"/>
                    <a:pt x="929164" y="55721"/>
                    <a:pt x="914876" y="74771"/>
                  </a:cubicBezTo>
                  <a:cubicBezTo>
                    <a:pt x="907256" y="84296"/>
                    <a:pt x="899636" y="96679"/>
                    <a:pt x="890111" y="110966"/>
                  </a:cubicBezTo>
                  <a:cubicBezTo>
                    <a:pt x="889159" y="112871"/>
                    <a:pt x="887254" y="114776"/>
                    <a:pt x="886301" y="116681"/>
                  </a:cubicBezTo>
                  <a:lnTo>
                    <a:pt x="874871" y="92869"/>
                  </a:lnTo>
                  <a:lnTo>
                    <a:pt x="873919" y="90964"/>
                  </a:lnTo>
                  <a:lnTo>
                    <a:pt x="872966" y="91916"/>
                  </a:lnTo>
                  <a:cubicBezTo>
                    <a:pt x="871061" y="92869"/>
                    <a:pt x="869156" y="93821"/>
                    <a:pt x="868204" y="95726"/>
                  </a:cubicBezTo>
                  <a:cubicBezTo>
                    <a:pt x="867251" y="97631"/>
                    <a:pt x="866299" y="99536"/>
                    <a:pt x="866299" y="101441"/>
                  </a:cubicBezTo>
                  <a:cubicBezTo>
                    <a:pt x="866299" y="105251"/>
                    <a:pt x="867251" y="110014"/>
                    <a:pt x="868204" y="113824"/>
                  </a:cubicBezTo>
                  <a:cubicBezTo>
                    <a:pt x="867251" y="110014"/>
                    <a:pt x="867251" y="106204"/>
                    <a:pt x="868204" y="102394"/>
                  </a:cubicBezTo>
                  <a:cubicBezTo>
                    <a:pt x="868204" y="100489"/>
                    <a:pt x="869156" y="99536"/>
                    <a:pt x="870109" y="97631"/>
                  </a:cubicBezTo>
                  <a:cubicBezTo>
                    <a:pt x="871061" y="96679"/>
                    <a:pt x="872014" y="96679"/>
                    <a:pt x="872966" y="95726"/>
                  </a:cubicBezTo>
                  <a:lnTo>
                    <a:pt x="882491" y="122396"/>
                  </a:lnTo>
                  <a:cubicBezTo>
                    <a:pt x="880586" y="126206"/>
                    <a:pt x="877729" y="129064"/>
                    <a:pt x="875824" y="132874"/>
                  </a:cubicBezTo>
                  <a:cubicBezTo>
                    <a:pt x="871061" y="141446"/>
                    <a:pt x="866299" y="150019"/>
                    <a:pt x="860584" y="159544"/>
                  </a:cubicBezTo>
                  <a:cubicBezTo>
                    <a:pt x="852964" y="172879"/>
                    <a:pt x="845344" y="188119"/>
                    <a:pt x="837724" y="203359"/>
                  </a:cubicBezTo>
                  <a:cubicBezTo>
                    <a:pt x="834866" y="198596"/>
                    <a:pt x="832961" y="195739"/>
                    <a:pt x="832009" y="194786"/>
                  </a:cubicBezTo>
                  <a:cubicBezTo>
                    <a:pt x="834866" y="170974"/>
                    <a:pt x="836771" y="151924"/>
                    <a:pt x="838676" y="137636"/>
                  </a:cubicBezTo>
                  <a:cubicBezTo>
                    <a:pt x="839629" y="123349"/>
                    <a:pt x="840581" y="115729"/>
                    <a:pt x="840581" y="115729"/>
                  </a:cubicBezTo>
                  <a:cubicBezTo>
                    <a:pt x="840581" y="115729"/>
                    <a:pt x="838676" y="123349"/>
                    <a:pt x="834866" y="137636"/>
                  </a:cubicBezTo>
                  <a:cubicBezTo>
                    <a:pt x="831056" y="151924"/>
                    <a:pt x="826294" y="170974"/>
                    <a:pt x="820579" y="194786"/>
                  </a:cubicBezTo>
                  <a:cubicBezTo>
                    <a:pt x="819626" y="197644"/>
                    <a:pt x="819626" y="200501"/>
                    <a:pt x="818674" y="204311"/>
                  </a:cubicBezTo>
                  <a:cubicBezTo>
                    <a:pt x="817721" y="202406"/>
                    <a:pt x="816769" y="199549"/>
                    <a:pt x="815816" y="197644"/>
                  </a:cubicBezTo>
                  <a:cubicBezTo>
                    <a:pt x="810101" y="183356"/>
                    <a:pt x="807244" y="174784"/>
                    <a:pt x="807244" y="174784"/>
                  </a:cubicBezTo>
                  <a:cubicBezTo>
                    <a:pt x="807244" y="174784"/>
                    <a:pt x="809149" y="183356"/>
                    <a:pt x="812006" y="198596"/>
                  </a:cubicBezTo>
                  <a:cubicBezTo>
                    <a:pt x="812959" y="202406"/>
                    <a:pt x="813911" y="206216"/>
                    <a:pt x="814864" y="210979"/>
                  </a:cubicBezTo>
                  <a:cubicBezTo>
                    <a:pt x="814864" y="212884"/>
                    <a:pt x="815816" y="214789"/>
                    <a:pt x="815816" y="216694"/>
                  </a:cubicBezTo>
                  <a:cubicBezTo>
                    <a:pt x="813911" y="224314"/>
                    <a:pt x="812959" y="231934"/>
                    <a:pt x="811054" y="239554"/>
                  </a:cubicBezTo>
                  <a:cubicBezTo>
                    <a:pt x="809149" y="226219"/>
                    <a:pt x="808196" y="219551"/>
                    <a:pt x="808196" y="219551"/>
                  </a:cubicBezTo>
                  <a:cubicBezTo>
                    <a:pt x="808196" y="219551"/>
                    <a:pt x="807244" y="236696"/>
                    <a:pt x="807244" y="264319"/>
                  </a:cubicBezTo>
                  <a:cubicBezTo>
                    <a:pt x="807244" y="265271"/>
                    <a:pt x="807244" y="265271"/>
                    <a:pt x="807244" y="266224"/>
                  </a:cubicBezTo>
                  <a:cubicBezTo>
                    <a:pt x="804386" y="259556"/>
                    <a:pt x="801529" y="252889"/>
                    <a:pt x="798671" y="246221"/>
                  </a:cubicBezTo>
                  <a:cubicBezTo>
                    <a:pt x="799624" y="241459"/>
                    <a:pt x="800576" y="239554"/>
                    <a:pt x="800576" y="239554"/>
                  </a:cubicBezTo>
                  <a:cubicBezTo>
                    <a:pt x="800576" y="239554"/>
                    <a:pt x="799624" y="241459"/>
                    <a:pt x="797719" y="245269"/>
                  </a:cubicBezTo>
                  <a:cubicBezTo>
                    <a:pt x="797719" y="244316"/>
                    <a:pt x="796766" y="243364"/>
                    <a:pt x="796766" y="242411"/>
                  </a:cubicBezTo>
                  <a:cubicBezTo>
                    <a:pt x="795814" y="239554"/>
                    <a:pt x="793909" y="236696"/>
                    <a:pt x="792956" y="233839"/>
                  </a:cubicBezTo>
                  <a:cubicBezTo>
                    <a:pt x="794861" y="229076"/>
                    <a:pt x="795814" y="223361"/>
                    <a:pt x="796766" y="218599"/>
                  </a:cubicBezTo>
                  <a:cubicBezTo>
                    <a:pt x="802481" y="196691"/>
                    <a:pt x="806291" y="177641"/>
                    <a:pt x="809149" y="164306"/>
                  </a:cubicBezTo>
                  <a:cubicBezTo>
                    <a:pt x="811054" y="150971"/>
                    <a:pt x="812959" y="143351"/>
                    <a:pt x="812959" y="143351"/>
                  </a:cubicBezTo>
                  <a:cubicBezTo>
                    <a:pt x="812959" y="143351"/>
                    <a:pt x="810101" y="150971"/>
                    <a:pt x="805339" y="163354"/>
                  </a:cubicBezTo>
                  <a:cubicBezTo>
                    <a:pt x="803434" y="170021"/>
                    <a:pt x="800576" y="177641"/>
                    <a:pt x="796766" y="186214"/>
                  </a:cubicBezTo>
                  <a:cubicBezTo>
                    <a:pt x="793909" y="194786"/>
                    <a:pt x="790099" y="205264"/>
                    <a:pt x="785336" y="215741"/>
                  </a:cubicBezTo>
                  <a:cubicBezTo>
                    <a:pt x="785336" y="216694"/>
                    <a:pt x="784384" y="217646"/>
                    <a:pt x="784384" y="218599"/>
                  </a:cubicBezTo>
                  <a:cubicBezTo>
                    <a:pt x="781526" y="213836"/>
                    <a:pt x="779621" y="209074"/>
                    <a:pt x="776764" y="205264"/>
                  </a:cubicBezTo>
                  <a:cubicBezTo>
                    <a:pt x="775811" y="204311"/>
                    <a:pt x="775811" y="203359"/>
                    <a:pt x="774859" y="202406"/>
                  </a:cubicBezTo>
                  <a:cubicBezTo>
                    <a:pt x="774859" y="202406"/>
                    <a:pt x="774859" y="202406"/>
                    <a:pt x="774859" y="201454"/>
                  </a:cubicBezTo>
                  <a:cubicBezTo>
                    <a:pt x="777716" y="176689"/>
                    <a:pt x="779621" y="156686"/>
                    <a:pt x="780574" y="142399"/>
                  </a:cubicBezTo>
                  <a:cubicBezTo>
                    <a:pt x="781526" y="128111"/>
                    <a:pt x="781526" y="119539"/>
                    <a:pt x="781526" y="119539"/>
                  </a:cubicBezTo>
                  <a:cubicBezTo>
                    <a:pt x="781526" y="119539"/>
                    <a:pt x="779621" y="127159"/>
                    <a:pt x="776764" y="141446"/>
                  </a:cubicBezTo>
                  <a:cubicBezTo>
                    <a:pt x="775811" y="148114"/>
                    <a:pt x="772954" y="156686"/>
                    <a:pt x="771049" y="167164"/>
                  </a:cubicBezTo>
                  <a:cubicBezTo>
                    <a:pt x="769144" y="173831"/>
                    <a:pt x="768191" y="181451"/>
                    <a:pt x="766286" y="189071"/>
                  </a:cubicBezTo>
                  <a:cubicBezTo>
                    <a:pt x="763429" y="185261"/>
                    <a:pt x="760571" y="181451"/>
                    <a:pt x="758666" y="178594"/>
                  </a:cubicBezTo>
                  <a:cubicBezTo>
                    <a:pt x="753904" y="171926"/>
                    <a:pt x="748189" y="166211"/>
                    <a:pt x="745331" y="163354"/>
                  </a:cubicBezTo>
                  <a:cubicBezTo>
                    <a:pt x="742474" y="159544"/>
                    <a:pt x="740569" y="157639"/>
                    <a:pt x="740569" y="157639"/>
                  </a:cubicBezTo>
                  <a:cubicBezTo>
                    <a:pt x="740569" y="157639"/>
                    <a:pt x="741521" y="159544"/>
                    <a:pt x="744379" y="163354"/>
                  </a:cubicBezTo>
                  <a:cubicBezTo>
                    <a:pt x="747236" y="167164"/>
                    <a:pt x="751046" y="172879"/>
                    <a:pt x="754856" y="180499"/>
                  </a:cubicBezTo>
                  <a:cubicBezTo>
                    <a:pt x="757714" y="185261"/>
                    <a:pt x="760571" y="190976"/>
                    <a:pt x="763429" y="196691"/>
                  </a:cubicBezTo>
                  <a:cubicBezTo>
                    <a:pt x="763429" y="197644"/>
                    <a:pt x="763429" y="198596"/>
                    <a:pt x="762476" y="199549"/>
                  </a:cubicBezTo>
                  <a:cubicBezTo>
                    <a:pt x="759619" y="211931"/>
                    <a:pt x="756761" y="224314"/>
                    <a:pt x="753904" y="238601"/>
                  </a:cubicBezTo>
                  <a:cubicBezTo>
                    <a:pt x="749141" y="230029"/>
                    <a:pt x="747236" y="224314"/>
                    <a:pt x="747236" y="224314"/>
                  </a:cubicBezTo>
                  <a:cubicBezTo>
                    <a:pt x="747236" y="224314"/>
                    <a:pt x="749141" y="230981"/>
                    <a:pt x="752951" y="241459"/>
                  </a:cubicBezTo>
                  <a:cubicBezTo>
                    <a:pt x="751999" y="242411"/>
                    <a:pt x="751999" y="242411"/>
                    <a:pt x="751046" y="243364"/>
                  </a:cubicBezTo>
                  <a:cubicBezTo>
                    <a:pt x="749141" y="246221"/>
                    <a:pt x="749141" y="250031"/>
                    <a:pt x="749141" y="252889"/>
                  </a:cubicBezTo>
                  <a:cubicBezTo>
                    <a:pt x="750094" y="250031"/>
                    <a:pt x="751046" y="246221"/>
                    <a:pt x="752951" y="244316"/>
                  </a:cubicBezTo>
                  <a:cubicBezTo>
                    <a:pt x="752951" y="244316"/>
                    <a:pt x="752951" y="244316"/>
                    <a:pt x="752951" y="244316"/>
                  </a:cubicBezTo>
                  <a:cubicBezTo>
                    <a:pt x="750094" y="256699"/>
                    <a:pt x="747236" y="269081"/>
                    <a:pt x="744379" y="282416"/>
                  </a:cubicBezTo>
                  <a:cubicBezTo>
                    <a:pt x="743426" y="287179"/>
                    <a:pt x="742474" y="291941"/>
                    <a:pt x="741521" y="296704"/>
                  </a:cubicBezTo>
                  <a:cubicBezTo>
                    <a:pt x="740569" y="299561"/>
                    <a:pt x="739616" y="302419"/>
                    <a:pt x="738664" y="306229"/>
                  </a:cubicBezTo>
                  <a:cubicBezTo>
                    <a:pt x="738664" y="306229"/>
                    <a:pt x="738664" y="306229"/>
                    <a:pt x="738664" y="306229"/>
                  </a:cubicBezTo>
                  <a:cubicBezTo>
                    <a:pt x="738664" y="302419"/>
                    <a:pt x="737711" y="297656"/>
                    <a:pt x="737711" y="293846"/>
                  </a:cubicBezTo>
                  <a:cubicBezTo>
                    <a:pt x="736759" y="285274"/>
                    <a:pt x="735806" y="277654"/>
                    <a:pt x="733901" y="270034"/>
                  </a:cubicBezTo>
                  <a:cubicBezTo>
                    <a:pt x="732949" y="266224"/>
                    <a:pt x="731996" y="263366"/>
                    <a:pt x="731996" y="259556"/>
                  </a:cubicBezTo>
                  <a:cubicBezTo>
                    <a:pt x="731996" y="258604"/>
                    <a:pt x="731996" y="258604"/>
                    <a:pt x="731044" y="257651"/>
                  </a:cubicBezTo>
                  <a:cubicBezTo>
                    <a:pt x="729139" y="238601"/>
                    <a:pt x="727234" y="223361"/>
                    <a:pt x="725329" y="210979"/>
                  </a:cubicBezTo>
                  <a:cubicBezTo>
                    <a:pt x="723424" y="195739"/>
                    <a:pt x="722471" y="186214"/>
                    <a:pt x="722471" y="186214"/>
                  </a:cubicBezTo>
                  <a:cubicBezTo>
                    <a:pt x="722471" y="186214"/>
                    <a:pt x="722471" y="190976"/>
                    <a:pt x="722471" y="199549"/>
                  </a:cubicBezTo>
                  <a:cubicBezTo>
                    <a:pt x="720566" y="204311"/>
                    <a:pt x="715804" y="220504"/>
                    <a:pt x="709136" y="243364"/>
                  </a:cubicBezTo>
                  <a:cubicBezTo>
                    <a:pt x="707231" y="238601"/>
                    <a:pt x="706279" y="233839"/>
                    <a:pt x="704374" y="229076"/>
                  </a:cubicBezTo>
                  <a:cubicBezTo>
                    <a:pt x="698659" y="211931"/>
                    <a:pt x="692944" y="195739"/>
                    <a:pt x="687229" y="181451"/>
                  </a:cubicBezTo>
                  <a:cubicBezTo>
                    <a:pt x="684371" y="174784"/>
                    <a:pt x="682466" y="168116"/>
                    <a:pt x="679609" y="161449"/>
                  </a:cubicBezTo>
                  <a:cubicBezTo>
                    <a:pt x="679609" y="156686"/>
                    <a:pt x="679609" y="151924"/>
                    <a:pt x="679609" y="148114"/>
                  </a:cubicBezTo>
                  <a:cubicBezTo>
                    <a:pt x="679609" y="138589"/>
                    <a:pt x="679609" y="130016"/>
                    <a:pt x="679609" y="122396"/>
                  </a:cubicBezTo>
                  <a:cubicBezTo>
                    <a:pt x="679609" y="108109"/>
                    <a:pt x="678656" y="100489"/>
                    <a:pt x="678656" y="100489"/>
                  </a:cubicBezTo>
                  <a:cubicBezTo>
                    <a:pt x="678656" y="100489"/>
                    <a:pt x="677704" y="108109"/>
                    <a:pt x="675799" y="122396"/>
                  </a:cubicBezTo>
                  <a:cubicBezTo>
                    <a:pt x="674846" y="128111"/>
                    <a:pt x="673894" y="135731"/>
                    <a:pt x="672941" y="144304"/>
                  </a:cubicBezTo>
                  <a:cubicBezTo>
                    <a:pt x="669131" y="134779"/>
                    <a:pt x="665321" y="127159"/>
                    <a:pt x="663416" y="122396"/>
                  </a:cubicBezTo>
                  <a:cubicBezTo>
                    <a:pt x="660559" y="117634"/>
                    <a:pt x="659606" y="114776"/>
                    <a:pt x="659606" y="114776"/>
                  </a:cubicBezTo>
                  <a:cubicBezTo>
                    <a:pt x="659606" y="114776"/>
                    <a:pt x="660559" y="117634"/>
                    <a:pt x="662464" y="123349"/>
                  </a:cubicBezTo>
                  <a:cubicBezTo>
                    <a:pt x="664369" y="129064"/>
                    <a:pt x="667226" y="136684"/>
                    <a:pt x="670084" y="147161"/>
                  </a:cubicBezTo>
                  <a:cubicBezTo>
                    <a:pt x="671036" y="149066"/>
                    <a:pt x="671036" y="151924"/>
                    <a:pt x="671989" y="153829"/>
                  </a:cubicBezTo>
                  <a:cubicBezTo>
                    <a:pt x="671989" y="157639"/>
                    <a:pt x="671036" y="160496"/>
                    <a:pt x="671036" y="164306"/>
                  </a:cubicBezTo>
                  <a:cubicBezTo>
                    <a:pt x="670084" y="170021"/>
                    <a:pt x="669131" y="175736"/>
                    <a:pt x="668179" y="181451"/>
                  </a:cubicBezTo>
                  <a:cubicBezTo>
                    <a:pt x="666274" y="193834"/>
                    <a:pt x="664369" y="206216"/>
                    <a:pt x="662464" y="219551"/>
                  </a:cubicBezTo>
                  <a:cubicBezTo>
                    <a:pt x="661511" y="226219"/>
                    <a:pt x="660559" y="232886"/>
                    <a:pt x="658654" y="239554"/>
                  </a:cubicBezTo>
                  <a:cubicBezTo>
                    <a:pt x="657701" y="236696"/>
                    <a:pt x="656749" y="233839"/>
                    <a:pt x="655796" y="231934"/>
                  </a:cubicBezTo>
                  <a:cubicBezTo>
                    <a:pt x="656749" y="218599"/>
                    <a:pt x="657701" y="210026"/>
                    <a:pt x="657701" y="210026"/>
                  </a:cubicBezTo>
                  <a:cubicBezTo>
                    <a:pt x="657701" y="210026"/>
                    <a:pt x="655796" y="215741"/>
                    <a:pt x="653891" y="226219"/>
                  </a:cubicBezTo>
                  <a:cubicBezTo>
                    <a:pt x="648176" y="212884"/>
                    <a:pt x="643414" y="201454"/>
                    <a:pt x="638651" y="191929"/>
                  </a:cubicBezTo>
                  <a:cubicBezTo>
                    <a:pt x="634841" y="184309"/>
                    <a:pt x="631984" y="178594"/>
                    <a:pt x="630079" y="174784"/>
                  </a:cubicBezTo>
                  <a:cubicBezTo>
                    <a:pt x="628174" y="170974"/>
                    <a:pt x="627221" y="169069"/>
                    <a:pt x="627221" y="169069"/>
                  </a:cubicBezTo>
                  <a:cubicBezTo>
                    <a:pt x="627221" y="169069"/>
                    <a:pt x="630079" y="178594"/>
                    <a:pt x="635794" y="193834"/>
                  </a:cubicBezTo>
                  <a:cubicBezTo>
                    <a:pt x="639604" y="205264"/>
                    <a:pt x="644366" y="221456"/>
                    <a:pt x="649129" y="240506"/>
                  </a:cubicBezTo>
                  <a:cubicBezTo>
                    <a:pt x="649129" y="241459"/>
                    <a:pt x="649129" y="242411"/>
                    <a:pt x="650081" y="244316"/>
                  </a:cubicBezTo>
                  <a:cubicBezTo>
                    <a:pt x="649129" y="250031"/>
                    <a:pt x="648176" y="255746"/>
                    <a:pt x="647224" y="262414"/>
                  </a:cubicBezTo>
                  <a:cubicBezTo>
                    <a:pt x="646271" y="268129"/>
                    <a:pt x="645319" y="273844"/>
                    <a:pt x="644366" y="279559"/>
                  </a:cubicBezTo>
                  <a:cubicBezTo>
                    <a:pt x="643414" y="285274"/>
                    <a:pt x="643414" y="291941"/>
                    <a:pt x="642461" y="298609"/>
                  </a:cubicBezTo>
                  <a:cubicBezTo>
                    <a:pt x="642461" y="298609"/>
                    <a:pt x="642461" y="298609"/>
                    <a:pt x="642461" y="298609"/>
                  </a:cubicBezTo>
                  <a:cubicBezTo>
                    <a:pt x="642461" y="296704"/>
                    <a:pt x="642461" y="294799"/>
                    <a:pt x="642461" y="294799"/>
                  </a:cubicBezTo>
                  <a:cubicBezTo>
                    <a:pt x="642461" y="294799"/>
                    <a:pt x="642461" y="302419"/>
                    <a:pt x="641509" y="315754"/>
                  </a:cubicBezTo>
                  <a:cubicBezTo>
                    <a:pt x="641509" y="316706"/>
                    <a:pt x="641509" y="316706"/>
                    <a:pt x="641509" y="317659"/>
                  </a:cubicBezTo>
                  <a:cubicBezTo>
                    <a:pt x="640556" y="314801"/>
                    <a:pt x="639604" y="311944"/>
                    <a:pt x="639604" y="309086"/>
                  </a:cubicBezTo>
                  <a:cubicBezTo>
                    <a:pt x="640556" y="306229"/>
                    <a:pt x="640556" y="304324"/>
                    <a:pt x="640556" y="304324"/>
                  </a:cubicBezTo>
                  <a:cubicBezTo>
                    <a:pt x="640556" y="304324"/>
                    <a:pt x="639604" y="305276"/>
                    <a:pt x="638651" y="307181"/>
                  </a:cubicBezTo>
                  <a:cubicBezTo>
                    <a:pt x="636746" y="299561"/>
                    <a:pt x="634841" y="291941"/>
                    <a:pt x="632936" y="284321"/>
                  </a:cubicBezTo>
                  <a:cubicBezTo>
                    <a:pt x="630079" y="271939"/>
                    <a:pt x="626269" y="260509"/>
                    <a:pt x="624364" y="250031"/>
                  </a:cubicBezTo>
                  <a:cubicBezTo>
                    <a:pt x="622459" y="239554"/>
                    <a:pt x="619601" y="230981"/>
                    <a:pt x="617696" y="223361"/>
                  </a:cubicBezTo>
                  <a:cubicBezTo>
                    <a:pt x="616744" y="218599"/>
                    <a:pt x="615791" y="214789"/>
                    <a:pt x="614839" y="210979"/>
                  </a:cubicBezTo>
                  <a:cubicBezTo>
                    <a:pt x="615791" y="204311"/>
                    <a:pt x="615791" y="197644"/>
                    <a:pt x="615791" y="190024"/>
                  </a:cubicBezTo>
                  <a:cubicBezTo>
                    <a:pt x="616744" y="169069"/>
                    <a:pt x="617696" y="148114"/>
                    <a:pt x="617696" y="126206"/>
                  </a:cubicBezTo>
                  <a:cubicBezTo>
                    <a:pt x="613886" y="146209"/>
                    <a:pt x="610076" y="166211"/>
                    <a:pt x="607219" y="187166"/>
                  </a:cubicBezTo>
                  <a:cubicBezTo>
                    <a:pt x="607219" y="186214"/>
                    <a:pt x="607219" y="185261"/>
                    <a:pt x="606266" y="184309"/>
                  </a:cubicBezTo>
                  <a:cubicBezTo>
                    <a:pt x="606266" y="186214"/>
                    <a:pt x="606266" y="188119"/>
                    <a:pt x="606266" y="189071"/>
                  </a:cubicBezTo>
                  <a:cubicBezTo>
                    <a:pt x="604361" y="197644"/>
                    <a:pt x="603409" y="207169"/>
                    <a:pt x="601504" y="215741"/>
                  </a:cubicBezTo>
                  <a:cubicBezTo>
                    <a:pt x="600551" y="213836"/>
                    <a:pt x="600551" y="211931"/>
                    <a:pt x="599599" y="210979"/>
                  </a:cubicBezTo>
                  <a:cubicBezTo>
                    <a:pt x="593884" y="198596"/>
                    <a:pt x="591026" y="191929"/>
                    <a:pt x="591026" y="191929"/>
                  </a:cubicBezTo>
                  <a:cubicBezTo>
                    <a:pt x="591026" y="191929"/>
                    <a:pt x="592931" y="199549"/>
                    <a:pt x="595789" y="212884"/>
                  </a:cubicBezTo>
                  <a:cubicBezTo>
                    <a:pt x="596741" y="217646"/>
                    <a:pt x="597694" y="223361"/>
                    <a:pt x="599599" y="230029"/>
                  </a:cubicBezTo>
                  <a:cubicBezTo>
                    <a:pt x="598646" y="237649"/>
                    <a:pt x="596741" y="244316"/>
                    <a:pt x="595789" y="251936"/>
                  </a:cubicBezTo>
                  <a:cubicBezTo>
                    <a:pt x="592931" y="266224"/>
                    <a:pt x="591026" y="280511"/>
                    <a:pt x="589121" y="294799"/>
                  </a:cubicBezTo>
                  <a:cubicBezTo>
                    <a:pt x="586264" y="290989"/>
                    <a:pt x="584359" y="288131"/>
                    <a:pt x="582454" y="284321"/>
                  </a:cubicBezTo>
                  <a:cubicBezTo>
                    <a:pt x="583406" y="277654"/>
                    <a:pt x="584359" y="270986"/>
                    <a:pt x="585311" y="265271"/>
                  </a:cubicBezTo>
                  <a:cubicBezTo>
                    <a:pt x="586264" y="256699"/>
                    <a:pt x="587216" y="250031"/>
                    <a:pt x="588169" y="244316"/>
                  </a:cubicBezTo>
                  <a:cubicBezTo>
                    <a:pt x="590074" y="232886"/>
                    <a:pt x="591026" y="225266"/>
                    <a:pt x="591026" y="225266"/>
                  </a:cubicBezTo>
                  <a:cubicBezTo>
                    <a:pt x="591026" y="225266"/>
                    <a:pt x="588169" y="231934"/>
                    <a:pt x="584359" y="243364"/>
                  </a:cubicBezTo>
                  <a:cubicBezTo>
                    <a:pt x="583406" y="247174"/>
                    <a:pt x="581501" y="252889"/>
                    <a:pt x="579596" y="258604"/>
                  </a:cubicBezTo>
                  <a:cubicBezTo>
                    <a:pt x="578644" y="248126"/>
                    <a:pt x="578644" y="239554"/>
                    <a:pt x="577691" y="231934"/>
                  </a:cubicBezTo>
                  <a:cubicBezTo>
                    <a:pt x="576739" y="218599"/>
                    <a:pt x="575786" y="210979"/>
                    <a:pt x="575786" y="210979"/>
                  </a:cubicBezTo>
                  <a:cubicBezTo>
                    <a:pt x="575786" y="210979"/>
                    <a:pt x="574834" y="218599"/>
                    <a:pt x="573881" y="230981"/>
                  </a:cubicBezTo>
                  <a:cubicBezTo>
                    <a:pt x="572929" y="240506"/>
                    <a:pt x="571976" y="252889"/>
                    <a:pt x="571024" y="267176"/>
                  </a:cubicBezTo>
                  <a:cubicBezTo>
                    <a:pt x="571024" y="267176"/>
                    <a:pt x="571024" y="267176"/>
                    <a:pt x="571024" y="267176"/>
                  </a:cubicBezTo>
                  <a:cubicBezTo>
                    <a:pt x="570071" y="265271"/>
                    <a:pt x="568166" y="264319"/>
                    <a:pt x="567214" y="262414"/>
                  </a:cubicBezTo>
                  <a:cubicBezTo>
                    <a:pt x="561499" y="245269"/>
                    <a:pt x="556736" y="230981"/>
                    <a:pt x="552926" y="219551"/>
                  </a:cubicBezTo>
                  <a:cubicBezTo>
                    <a:pt x="552926" y="219551"/>
                    <a:pt x="552926" y="218599"/>
                    <a:pt x="552926" y="218599"/>
                  </a:cubicBezTo>
                  <a:cubicBezTo>
                    <a:pt x="553879" y="208121"/>
                    <a:pt x="554831" y="198596"/>
                    <a:pt x="555784" y="189071"/>
                  </a:cubicBezTo>
                  <a:cubicBezTo>
                    <a:pt x="556736" y="179546"/>
                    <a:pt x="557689" y="170021"/>
                    <a:pt x="558641" y="162401"/>
                  </a:cubicBezTo>
                  <a:cubicBezTo>
                    <a:pt x="559594" y="154781"/>
                    <a:pt x="560546" y="147161"/>
                    <a:pt x="561499" y="141446"/>
                  </a:cubicBezTo>
                  <a:cubicBezTo>
                    <a:pt x="563404" y="130016"/>
                    <a:pt x="564356" y="123349"/>
                    <a:pt x="564356" y="123349"/>
                  </a:cubicBezTo>
                  <a:cubicBezTo>
                    <a:pt x="564356" y="123349"/>
                    <a:pt x="561499" y="130016"/>
                    <a:pt x="557689" y="140494"/>
                  </a:cubicBezTo>
                  <a:cubicBezTo>
                    <a:pt x="555784" y="146209"/>
                    <a:pt x="553879" y="152876"/>
                    <a:pt x="551021" y="160496"/>
                  </a:cubicBezTo>
                  <a:cubicBezTo>
                    <a:pt x="548164" y="168116"/>
                    <a:pt x="546259" y="177641"/>
                    <a:pt x="544354" y="187166"/>
                  </a:cubicBezTo>
                  <a:cubicBezTo>
                    <a:pt x="542449" y="196691"/>
                    <a:pt x="540544" y="207169"/>
                    <a:pt x="537686" y="218599"/>
                  </a:cubicBezTo>
                  <a:cubicBezTo>
                    <a:pt x="536734" y="222409"/>
                    <a:pt x="536734" y="227171"/>
                    <a:pt x="535781" y="231934"/>
                  </a:cubicBezTo>
                  <a:cubicBezTo>
                    <a:pt x="535781" y="228124"/>
                    <a:pt x="534829" y="224314"/>
                    <a:pt x="534829" y="220504"/>
                  </a:cubicBezTo>
                  <a:cubicBezTo>
                    <a:pt x="534829" y="214789"/>
                    <a:pt x="533876" y="210026"/>
                    <a:pt x="532924" y="205264"/>
                  </a:cubicBezTo>
                  <a:cubicBezTo>
                    <a:pt x="532924" y="198596"/>
                    <a:pt x="533876" y="192881"/>
                    <a:pt x="533876" y="186214"/>
                  </a:cubicBezTo>
                  <a:cubicBezTo>
                    <a:pt x="533876" y="179546"/>
                    <a:pt x="534829" y="172879"/>
                    <a:pt x="534829" y="166211"/>
                  </a:cubicBezTo>
                  <a:cubicBezTo>
                    <a:pt x="534829" y="159544"/>
                    <a:pt x="534829" y="153829"/>
                    <a:pt x="534829" y="148114"/>
                  </a:cubicBezTo>
                  <a:cubicBezTo>
                    <a:pt x="534829" y="136684"/>
                    <a:pt x="534829" y="127159"/>
                    <a:pt x="534829" y="118586"/>
                  </a:cubicBezTo>
                  <a:cubicBezTo>
                    <a:pt x="534829" y="102394"/>
                    <a:pt x="533876" y="92869"/>
                    <a:pt x="533876" y="92869"/>
                  </a:cubicBezTo>
                  <a:cubicBezTo>
                    <a:pt x="533876" y="92869"/>
                    <a:pt x="532924" y="102394"/>
                    <a:pt x="531019" y="118586"/>
                  </a:cubicBezTo>
                  <a:cubicBezTo>
                    <a:pt x="530066" y="126206"/>
                    <a:pt x="529114" y="136684"/>
                    <a:pt x="528161" y="147161"/>
                  </a:cubicBezTo>
                  <a:cubicBezTo>
                    <a:pt x="527209" y="152876"/>
                    <a:pt x="527209" y="158591"/>
                    <a:pt x="526256" y="165259"/>
                  </a:cubicBezTo>
                  <a:cubicBezTo>
                    <a:pt x="525304" y="171926"/>
                    <a:pt x="524351" y="177641"/>
                    <a:pt x="523399" y="185261"/>
                  </a:cubicBezTo>
                  <a:cubicBezTo>
                    <a:pt x="522446" y="189071"/>
                    <a:pt x="522446" y="192881"/>
                    <a:pt x="521494" y="197644"/>
                  </a:cubicBezTo>
                  <a:cubicBezTo>
                    <a:pt x="518636" y="187166"/>
                    <a:pt x="516731" y="177641"/>
                    <a:pt x="513874" y="170021"/>
                  </a:cubicBezTo>
                  <a:cubicBezTo>
                    <a:pt x="509111" y="153829"/>
                    <a:pt x="506254" y="144304"/>
                    <a:pt x="506254" y="144304"/>
                  </a:cubicBezTo>
                  <a:cubicBezTo>
                    <a:pt x="506254" y="144304"/>
                    <a:pt x="507206" y="153829"/>
                    <a:pt x="510064" y="170974"/>
                  </a:cubicBezTo>
                  <a:cubicBezTo>
                    <a:pt x="511969" y="184309"/>
                    <a:pt x="513874" y="201454"/>
                    <a:pt x="517684" y="222409"/>
                  </a:cubicBezTo>
                  <a:cubicBezTo>
                    <a:pt x="517684" y="225266"/>
                    <a:pt x="516731" y="227171"/>
                    <a:pt x="516731" y="230029"/>
                  </a:cubicBezTo>
                  <a:cubicBezTo>
                    <a:pt x="515779" y="237649"/>
                    <a:pt x="514826" y="244316"/>
                    <a:pt x="512921" y="251936"/>
                  </a:cubicBezTo>
                  <a:cubicBezTo>
                    <a:pt x="499586" y="210026"/>
                    <a:pt x="490061" y="181451"/>
                    <a:pt x="487204" y="172879"/>
                  </a:cubicBezTo>
                  <a:cubicBezTo>
                    <a:pt x="486251" y="167164"/>
                    <a:pt x="485299" y="164306"/>
                    <a:pt x="485299" y="164306"/>
                  </a:cubicBezTo>
                  <a:cubicBezTo>
                    <a:pt x="485299" y="164306"/>
                    <a:pt x="486251" y="173831"/>
                    <a:pt x="486251" y="189071"/>
                  </a:cubicBezTo>
                  <a:cubicBezTo>
                    <a:pt x="487204" y="196691"/>
                    <a:pt x="487204" y="207169"/>
                    <a:pt x="488156" y="217646"/>
                  </a:cubicBezTo>
                  <a:cubicBezTo>
                    <a:pt x="488156" y="224314"/>
                    <a:pt x="489109" y="230981"/>
                    <a:pt x="489109" y="238601"/>
                  </a:cubicBezTo>
                  <a:cubicBezTo>
                    <a:pt x="488156" y="232886"/>
                    <a:pt x="487204" y="228124"/>
                    <a:pt x="486251" y="223361"/>
                  </a:cubicBezTo>
                  <a:cubicBezTo>
                    <a:pt x="485299" y="217646"/>
                    <a:pt x="484346" y="212884"/>
                    <a:pt x="482441" y="207169"/>
                  </a:cubicBezTo>
                  <a:cubicBezTo>
                    <a:pt x="480536" y="202406"/>
                    <a:pt x="479584" y="197644"/>
                    <a:pt x="478631" y="192881"/>
                  </a:cubicBezTo>
                  <a:cubicBezTo>
                    <a:pt x="475774" y="184309"/>
                    <a:pt x="473869" y="176689"/>
                    <a:pt x="471964" y="170021"/>
                  </a:cubicBezTo>
                  <a:cubicBezTo>
                    <a:pt x="468154" y="157639"/>
                    <a:pt x="465296" y="150019"/>
                    <a:pt x="465296" y="150019"/>
                  </a:cubicBezTo>
                  <a:cubicBezTo>
                    <a:pt x="465296" y="150019"/>
                    <a:pt x="466249" y="157639"/>
                    <a:pt x="468154" y="170021"/>
                  </a:cubicBezTo>
                  <a:cubicBezTo>
                    <a:pt x="469106" y="176689"/>
                    <a:pt x="470059" y="184309"/>
                    <a:pt x="471011" y="193834"/>
                  </a:cubicBezTo>
                  <a:cubicBezTo>
                    <a:pt x="471964" y="198596"/>
                    <a:pt x="471964" y="203359"/>
                    <a:pt x="472916" y="208121"/>
                  </a:cubicBezTo>
                  <a:cubicBezTo>
                    <a:pt x="473869" y="212884"/>
                    <a:pt x="473869" y="218599"/>
                    <a:pt x="474821" y="224314"/>
                  </a:cubicBezTo>
                  <a:cubicBezTo>
                    <a:pt x="475774" y="233839"/>
                    <a:pt x="476726" y="244316"/>
                    <a:pt x="478631" y="255746"/>
                  </a:cubicBezTo>
                  <a:cubicBezTo>
                    <a:pt x="477679" y="250031"/>
                    <a:pt x="475774" y="245269"/>
                    <a:pt x="474821" y="240506"/>
                  </a:cubicBezTo>
                  <a:cubicBezTo>
                    <a:pt x="467201" y="211931"/>
                    <a:pt x="460534" y="188119"/>
                    <a:pt x="455771" y="170974"/>
                  </a:cubicBezTo>
                  <a:cubicBezTo>
                    <a:pt x="450056" y="154781"/>
                    <a:pt x="447199" y="145256"/>
                    <a:pt x="447199" y="145256"/>
                  </a:cubicBezTo>
                  <a:cubicBezTo>
                    <a:pt x="447199" y="145256"/>
                    <a:pt x="449104" y="154781"/>
                    <a:pt x="451961" y="171926"/>
                  </a:cubicBezTo>
                  <a:cubicBezTo>
                    <a:pt x="453866" y="180499"/>
                    <a:pt x="454819" y="190976"/>
                    <a:pt x="457676" y="202406"/>
                  </a:cubicBezTo>
                  <a:cubicBezTo>
                    <a:pt x="459581" y="213836"/>
                    <a:pt x="462439" y="227171"/>
                    <a:pt x="464344" y="242411"/>
                  </a:cubicBezTo>
                  <a:cubicBezTo>
                    <a:pt x="466249" y="254794"/>
                    <a:pt x="469106" y="268129"/>
                    <a:pt x="471011" y="282416"/>
                  </a:cubicBezTo>
                  <a:cubicBezTo>
                    <a:pt x="469106" y="278606"/>
                    <a:pt x="468154" y="275749"/>
                    <a:pt x="467201" y="272891"/>
                  </a:cubicBezTo>
                  <a:cubicBezTo>
                    <a:pt x="462439" y="262414"/>
                    <a:pt x="459581" y="255746"/>
                    <a:pt x="459581" y="255746"/>
                  </a:cubicBezTo>
                  <a:cubicBezTo>
                    <a:pt x="459581" y="255746"/>
                    <a:pt x="460534" y="262414"/>
                    <a:pt x="463391" y="273844"/>
                  </a:cubicBezTo>
                  <a:cubicBezTo>
                    <a:pt x="464344" y="279559"/>
                    <a:pt x="466249" y="286226"/>
                    <a:pt x="468154" y="293846"/>
                  </a:cubicBezTo>
                  <a:cubicBezTo>
                    <a:pt x="469106" y="297656"/>
                    <a:pt x="470059" y="302419"/>
                    <a:pt x="471011" y="306229"/>
                  </a:cubicBezTo>
                  <a:cubicBezTo>
                    <a:pt x="471964" y="310991"/>
                    <a:pt x="472916" y="315754"/>
                    <a:pt x="473869" y="320516"/>
                  </a:cubicBezTo>
                  <a:cubicBezTo>
                    <a:pt x="475774" y="330041"/>
                    <a:pt x="477679" y="340519"/>
                    <a:pt x="479584" y="351949"/>
                  </a:cubicBezTo>
                  <a:cubicBezTo>
                    <a:pt x="479584" y="352901"/>
                    <a:pt x="479584" y="352901"/>
                    <a:pt x="479584" y="353854"/>
                  </a:cubicBezTo>
                  <a:cubicBezTo>
                    <a:pt x="479584" y="353854"/>
                    <a:pt x="479584" y="352901"/>
                    <a:pt x="478631" y="351949"/>
                  </a:cubicBezTo>
                  <a:cubicBezTo>
                    <a:pt x="476726" y="347186"/>
                    <a:pt x="473869" y="343376"/>
                    <a:pt x="471964" y="338614"/>
                  </a:cubicBezTo>
                  <a:cubicBezTo>
                    <a:pt x="471011" y="333851"/>
                    <a:pt x="471011" y="329089"/>
                    <a:pt x="470059" y="324326"/>
                  </a:cubicBezTo>
                  <a:cubicBezTo>
                    <a:pt x="468154" y="309086"/>
                    <a:pt x="465296" y="294799"/>
                    <a:pt x="462439" y="280511"/>
                  </a:cubicBezTo>
                  <a:cubicBezTo>
                    <a:pt x="459581" y="266224"/>
                    <a:pt x="455771" y="252889"/>
                    <a:pt x="452914" y="240506"/>
                  </a:cubicBezTo>
                  <a:cubicBezTo>
                    <a:pt x="449104" y="228124"/>
                    <a:pt x="445294" y="215741"/>
                    <a:pt x="441484" y="205264"/>
                  </a:cubicBezTo>
                  <a:cubicBezTo>
                    <a:pt x="440531" y="201454"/>
                    <a:pt x="438626" y="198596"/>
                    <a:pt x="437674" y="194786"/>
                  </a:cubicBezTo>
                  <a:cubicBezTo>
                    <a:pt x="438626" y="185261"/>
                    <a:pt x="439579" y="175736"/>
                    <a:pt x="440531" y="167164"/>
                  </a:cubicBezTo>
                  <a:cubicBezTo>
                    <a:pt x="441484" y="151924"/>
                    <a:pt x="442436" y="139541"/>
                    <a:pt x="442436" y="128111"/>
                  </a:cubicBezTo>
                  <a:cubicBezTo>
                    <a:pt x="442436" y="106204"/>
                    <a:pt x="441484" y="94774"/>
                    <a:pt x="441484" y="94774"/>
                  </a:cubicBezTo>
                  <a:cubicBezTo>
                    <a:pt x="441484" y="94774"/>
                    <a:pt x="440531" y="107156"/>
                    <a:pt x="438626" y="128111"/>
                  </a:cubicBezTo>
                  <a:cubicBezTo>
                    <a:pt x="437674" y="138589"/>
                    <a:pt x="435769" y="151924"/>
                    <a:pt x="433864" y="166211"/>
                  </a:cubicBezTo>
                  <a:cubicBezTo>
                    <a:pt x="432911" y="170021"/>
                    <a:pt x="432911" y="173831"/>
                    <a:pt x="431959" y="178594"/>
                  </a:cubicBezTo>
                  <a:cubicBezTo>
                    <a:pt x="431959" y="177641"/>
                    <a:pt x="431006" y="176689"/>
                    <a:pt x="431006" y="175736"/>
                  </a:cubicBezTo>
                  <a:cubicBezTo>
                    <a:pt x="427196" y="167164"/>
                    <a:pt x="423386" y="159544"/>
                    <a:pt x="419576" y="153829"/>
                  </a:cubicBezTo>
                  <a:cubicBezTo>
                    <a:pt x="412909" y="142399"/>
                    <a:pt x="408146" y="135731"/>
                    <a:pt x="408146" y="135731"/>
                  </a:cubicBezTo>
                  <a:cubicBezTo>
                    <a:pt x="408146" y="135731"/>
                    <a:pt x="411004" y="143351"/>
                    <a:pt x="415766" y="155734"/>
                  </a:cubicBezTo>
                  <a:cubicBezTo>
                    <a:pt x="418624" y="161449"/>
                    <a:pt x="420529" y="170021"/>
                    <a:pt x="423386" y="178594"/>
                  </a:cubicBezTo>
                  <a:cubicBezTo>
                    <a:pt x="425291" y="184309"/>
                    <a:pt x="427196" y="190024"/>
                    <a:pt x="428149" y="195739"/>
                  </a:cubicBezTo>
                  <a:cubicBezTo>
                    <a:pt x="427196" y="201454"/>
                    <a:pt x="425291" y="208121"/>
                    <a:pt x="424339" y="214789"/>
                  </a:cubicBezTo>
                  <a:cubicBezTo>
                    <a:pt x="424339" y="214789"/>
                    <a:pt x="424339" y="214789"/>
                    <a:pt x="424339" y="214789"/>
                  </a:cubicBezTo>
                  <a:cubicBezTo>
                    <a:pt x="418624" y="206216"/>
                    <a:pt x="415766" y="202406"/>
                    <a:pt x="415766" y="202406"/>
                  </a:cubicBezTo>
                  <a:cubicBezTo>
                    <a:pt x="415766" y="202406"/>
                    <a:pt x="417671" y="208121"/>
                    <a:pt x="421481" y="216694"/>
                  </a:cubicBezTo>
                  <a:cubicBezTo>
                    <a:pt x="422434" y="218599"/>
                    <a:pt x="423386" y="220504"/>
                    <a:pt x="423386" y="223361"/>
                  </a:cubicBezTo>
                  <a:cubicBezTo>
                    <a:pt x="420529" y="238601"/>
                    <a:pt x="416719" y="255746"/>
                    <a:pt x="412909" y="272891"/>
                  </a:cubicBezTo>
                  <a:cubicBezTo>
                    <a:pt x="410051" y="264319"/>
                    <a:pt x="407194" y="257651"/>
                    <a:pt x="405289" y="253841"/>
                  </a:cubicBezTo>
                  <a:cubicBezTo>
                    <a:pt x="405289" y="253841"/>
                    <a:pt x="405289" y="253841"/>
                    <a:pt x="405289" y="253841"/>
                  </a:cubicBezTo>
                  <a:cubicBezTo>
                    <a:pt x="405289" y="237649"/>
                    <a:pt x="405289" y="223361"/>
                    <a:pt x="404336" y="210026"/>
                  </a:cubicBezTo>
                  <a:cubicBezTo>
                    <a:pt x="403384" y="196691"/>
                    <a:pt x="403384" y="185261"/>
                    <a:pt x="401479" y="176689"/>
                  </a:cubicBezTo>
                  <a:cubicBezTo>
                    <a:pt x="398621" y="158591"/>
                    <a:pt x="396716" y="148114"/>
                    <a:pt x="396716" y="148114"/>
                  </a:cubicBezTo>
                  <a:cubicBezTo>
                    <a:pt x="396716" y="148114"/>
                    <a:pt x="396716" y="158591"/>
                    <a:pt x="397669" y="177641"/>
                  </a:cubicBezTo>
                  <a:cubicBezTo>
                    <a:pt x="397669" y="186214"/>
                    <a:pt x="397669" y="195739"/>
                    <a:pt x="396716" y="206216"/>
                  </a:cubicBezTo>
                  <a:cubicBezTo>
                    <a:pt x="394811" y="214789"/>
                    <a:pt x="391954" y="228124"/>
                    <a:pt x="389096" y="244316"/>
                  </a:cubicBezTo>
                  <a:cubicBezTo>
                    <a:pt x="386239" y="235744"/>
                    <a:pt x="384334" y="227171"/>
                    <a:pt x="381476" y="219551"/>
                  </a:cubicBezTo>
                  <a:cubicBezTo>
                    <a:pt x="379571" y="212884"/>
                    <a:pt x="377666" y="205264"/>
                    <a:pt x="374809" y="199549"/>
                  </a:cubicBezTo>
                  <a:cubicBezTo>
                    <a:pt x="373856" y="197644"/>
                    <a:pt x="373856" y="196691"/>
                    <a:pt x="372904" y="194786"/>
                  </a:cubicBezTo>
                  <a:cubicBezTo>
                    <a:pt x="372904" y="193834"/>
                    <a:pt x="372904" y="192881"/>
                    <a:pt x="372904" y="190976"/>
                  </a:cubicBezTo>
                  <a:cubicBezTo>
                    <a:pt x="371951" y="186214"/>
                    <a:pt x="370999" y="181451"/>
                    <a:pt x="370046" y="177641"/>
                  </a:cubicBezTo>
                  <a:cubicBezTo>
                    <a:pt x="368141" y="169069"/>
                    <a:pt x="367189" y="162401"/>
                    <a:pt x="366236" y="155734"/>
                  </a:cubicBezTo>
                  <a:cubicBezTo>
                    <a:pt x="365284" y="152876"/>
                    <a:pt x="365284" y="150019"/>
                    <a:pt x="364331" y="148114"/>
                  </a:cubicBezTo>
                  <a:cubicBezTo>
                    <a:pt x="363379" y="140494"/>
                    <a:pt x="363379" y="135731"/>
                    <a:pt x="363379" y="135731"/>
                  </a:cubicBezTo>
                  <a:cubicBezTo>
                    <a:pt x="363379" y="135731"/>
                    <a:pt x="363379" y="137636"/>
                    <a:pt x="363379" y="140494"/>
                  </a:cubicBezTo>
                  <a:cubicBezTo>
                    <a:pt x="362426" y="138589"/>
                    <a:pt x="362426" y="136684"/>
                    <a:pt x="362426" y="136684"/>
                  </a:cubicBezTo>
                  <a:cubicBezTo>
                    <a:pt x="362426" y="136684"/>
                    <a:pt x="362426" y="142399"/>
                    <a:pt x="362426" y="151924"/>
                  </a:cubicBezTo>
                  <a:cubicBezTo>
                    <a:pt x="362426" y="154781"/>
                    <a:pt x="362426" y="158591"/>
                    <a:pt x="361474" y="163354"/>
                  </a:cubicBezTo>
                  <a:cubicBezTo>
                    <a:pt x="359569" y="159544"/>
                    <a:pt x="358616" y="155734"/>
                    <a:pt x="357664" y="151924"/>
                  </a:cubicBezTo>
                  <a:cubicBezTo>
                    <a:pt x="350996" y="135731"/>
                    <a:pt x="348139" y="127159"/>
                    <a:pt x="348139" y="127159"/>
                  </a:cubicBezTo>
                  <a:cubicBezTo>
                    <a:pt x="348139" y="127159"/>
                    <a:pt x="350044" y="136684"/>
                    <a:pt x="353854" y="153829"/>
                  </a:cubicBezTo>
                  <a:cubicBezTo>
                    <a:pt x="355759" y="162401"/>
                    <a:pt x="358616" y="171926"/>
                    <a:pt x="361474" y="183356"/>
                  </a:cubicBezTo>
                  <a:cubicBezTo>
                    <a:pt x="361474" y="186214"/>
                    <a:pt x="361474" y="189071"/>
                    <a:pt x="361474" y="192881"/>
                  </a:cubicBezTo>
                  <a:cubicBezTo>
                    <a:pt x="359569" y="187166"/>
                    <a:pt x="357664" y="184309"/>
                    <a:pt x="357664" y="184309"/>
                  </a:cubicBezTo>
                  <a:cubicBezTo>
                    <a:pt x="357664" y="184309"/>
                    <a:pt x="358616" y="189071"/>
                    <a:pt x="360521" y="198596"/>
                  </a:cubicBezTo>
                  <a:cubicBezTo>
                    <a:pt x="360521" y="205264"/>
                    <a:pt x="360521" y="212884"/>
                    <a:pt x="359569" y="221456"/>
                  </a:cubicBezTo>
                  <a:cubicBezTo>
                    <a:pt x="357664" y="216694"/>
                    <a:pt x="356711" y="211931"/>
                    <a:pt x="355759" y="208121"/>
                  </a:cubicBezTo>
                  <a:cubicBezTo>
                    <a:pt x="352901" y="199549"/>
                    <a:pt x="350996" y="193834"/>
                    <a:pt x="350996" y="193834"/>
                  </a:cubicBezTo>
                  <a:cubicBezTo>
                    <a:pt x="350996" y="193834"/>
                    <a:pt x="350996" y="199549"/>
                    <a:pt x="351949" y="208121"/>
                  </a:cubicBezTo>
                  <a:cubicBezTo>
                    <a:pt x="351949" y="212884"/>
                    <a:pt x="352901" y="218599"/>
                    <a:pt x="352901" y="224314"/>
                  </a:cubicBezTo>
                  <a:cubicBezTo>
                    <a:pt x="353854" y="230981"/>
                    <a:pt x="353854" y="237649"/>
                    <a:pt x="353854" y="246221"/>
                  </a:cubicBezTo>
                  <a:cubicBezTo>
                    <a:pt x="353854" y="253841"/>
                    <a:pt x="354806" y="262414"/>
                    <a:pt x="354806" y="270986"/>
                  </a:cubicBezTo>
                  <a:cubicBezTo>
                    <a:pt x="355759" y="279559"/>
                    <a:pt x="355759" y="289084"/>
                    <a:pt x="355759" y="299561"/>
                  </a:cubicBezTo>
                  <a:cubicBezTo>
                    <a:pt x="355759" y="305276"/>
                    <a:pt x="356711" y="310991"/>
                    <a:pt x="356711" y="316706"/>
                  </a:cubicBezTo>
                  <a:cubicBezTo>
                    <a:pt x="352901" y="310039"/>
                    <a:pt x="349091" y="303371"/>
                    <a:pt x="346234" y="298609"/>
                  </a:cubicBezTo>
                  <a:cubicBezTo>
                    <a:pt x="346234" y="297656"/>
                    <a:pt x="345281" y="297656"/>
                    <a:pt x="345281" y="296704"/>
                  </a:cubicBezTo>
                  <a:cubicBezTo>
                    <a:pt x="345281" y="294799"/>
                    <a:pt x="345281" y="293846"/>
                    <a:pt x="345281" y="291941"/>
                  </a:cubicBezTo>
                  <a:cubicBezTo>
                    <a:pt x="346234" y="282416"/>
                    <a:pt x="347186" y="274796"/>
                    <a:pt x="348139" y="267176"/>
                  </a:cubicBezTo>
                  <a:cubicBezTo>
                    <a:pt x="349091" y="253841"/>
                    <a:pt x="350044" y="246221"/>
                    <a:pt x="350044" y="246221"/>
                  </a:cubicBezTo>
                  <a:cubicBezTo>
                    <a:pt x="350044" y="246221"/>
                    <a:pt x="348139" y="253841"/>
                    <a:pt x="344329" y="267176"/>
                  </a:cubicBezTo>
                  <a:cubicBezTo>
                    <a:pt x="342424" y="272891"/>
                    <a:pt x="341471" y="279559"/>
                    <a:pt x="339566" y="287179"/>
                  </a:cubicBezTo>
                  <a:cubicBezTo>
                    <a:pt x="339566" y="287179"/>
                    <a:pt x="339566" y="287179"/>
                    <a:pt x="339566" y="287179"/>
                  </a:cubicBezTo>
                  <a:cubicBezTo>
                    <a:pt x="339566" y="287179"/>
                    <a:pt x="339566" y="287179"/>
                    <a:pt x="339566" y="288131"/>
                  </a:cubicBezTo>
                  <a:cubicBezTo>
                    <a:pt x="339566" y="289084"/>
                    <a:pt x="338614" y="290036"/>
                    <a:pt x="338614" y="291941"/>
                  </a:cubicBezTo>
                  <a:cubicBezTo>
                    <a:pt x="338614" y="293846"/>
                    <a:pt x="337661" y="295751"/>
                    <a:pt x="337661" y="297656"/>
                  </a:cubicBezTo>
                  <a:cubicBezTo>
                    <a:pt x="332899" y="290036"/>
                    <a:pt x="328136" y="283369"/>
                    <a:pt x="324326" y="277654"/>
                  </a:cubicBezTo>
                  <a:cubicBezTo>
                    <a:pt x="320516" y="263366"/>
                    <a:pt x="315754" y="249079"/>
                    <a:pt x="310991" y="233839"/>
                  </a:cubicBezTo>
                  <a:cubicBezTo>
                    <a:pt x="308134" y="226219"/>
                    <a:pt x="306229" y="219551"/>
                    <a:pt x="303371" y="211931"/>
                  </a:cubicBezTo>
                  <a:cubicBezTo>
                    <a:pt x="304324" y="206216"/>
                    <a:pt x="305276" y="201454"/>
                    <a:pt x="306229" y="196691"/>
                  </a:cubicBezTo>
                  <a:cubicBezTo>
                    <a:pt x="310039" y="179546"/>
                    <a:pt x="312896" y="164306"/>
                    <a:pt x="316706" y="150971"/>
                  </a:cubicBezTo>
                  <a:cubicBezTo>
                    <a:pt x="320516" y="137636"/>
                    <a:pt x="322421" y="125254"/>
                    <a:pt x="326231" y="115729"/>
                  </a:cubicBezTo>
                  <a:cubicBezTo>
                    <a:pt x="331946" y="96679"/>
                    <a:pt x="335756" y="85249"/>
                    <a:pt x="335756" y="85249"/>
                  </a:cubicBezTo>
                  <a:cubicBezTo>
                    <a:pt x="335756" y="85249"/>
                    <a:pt x="330994" y="95726"/>
                    <a:pt x="323374" y="113824"/>
                  </a:cubicBezTo>
                  <a:cubicBezTo>
                    <a:pt x="319564" y="123349"/>
                    <a:pt x="315754" y="134779"/>
                    <a:pt x="310991" y="148114"/>
                  </a:cubicBezTo>
                  <a:cubicBezTo>
                    <a:pt x="309086" y="154781"/>
                    <a:pt x="306229" y="161449"/>
                    <a:pt x="303371" y="169069"/>
                  </a:cubicBezTo>
                  <a:cubicBezTo>
                    <a:pt x="301466" y="175736"/>
                    <a:pt x="299561" y="183356"/>
                    <a:pt x="297656" y="190024"/>
                  </a:cubicBezTo>
                  <a:cubicBezTo>
                    <a:pt x="293846" y="179546"/>
                    <a:pt x="290989" y="170021"/>
                    <a:pt x="287179" y="159544"/>
                  </a:cubicBezTo>
                  <a:cubicBezTo>
                    <a:pt x="290036" y="172879"/>
                    <a:pt x="291941" y="185261"/>
                    <a:pt x="294799" y="198596"/>
                  </a:cubicBezTo>
                  <a:cubicBezTo>
                    <a:pt x="290989" y="213836"/>
                    <a:pt x="287179" y="230029"/>
                    <a:pt x="283369" y="247174"/>
                  </a:cubicBezTo>
                  <a:cubicBezTo>
                    <a:pt x="282416" y="252889"/>
                    <a:pt x="281464" y="258604"/>
                    <a:pt x="279559" y="264319"/>
                  </a:cubicBezTo>
                  <a:cubicBezTo>
                    <a:pt x="278606" y="260509"/>
                    <a:pt x="277654" y="257651"/>
                    <a:pt x="276701" y="253841"/>
                  </a:cubicBezTo>
                  <a:cubicBezTo>
                    <a:pt x="276701" y="245269"/>
                    <a:pt x="277654" y="235744"/>
                    <a:pt x="278606" y="227171"/>
                  </a:cubicBezTo>
                  <a:cubicBezTo>
                    <a:pt x="280511" y="205264"/>
                    <a:pt x="281464" y="185261"/>
                    <a:pt x="284321" y="166211"/>
                  </a:cubicBezTo>
                  <a:cubicBezTo>
                    <a:pt x="285274" y="156686"/>
                    <a:pt x="286226" y="148114"/>
                    <a:pt x="287179" y="139541"/>
                  </a:cubicBezTo>
                  <a:cubicBezTo>
                    <a:pt x="288131" y="130969"/>
                    <a:pt x="290036" y="123349"/>
                    <a:pt x="290989" y="115729"/>
                  </a:cubicBezTo>
                  <a:cubicBezTo>
                    <a:pt x="293846" y="100489"/>
                    <a:pt x="294799" y="87154"/>
                    <a:pt x="297656" y="76676"/>
                  </a:cubicBezTo>
                  <a:cubicBezTo>
                    <a:pt x="302419" y="54769"/>
                    <a:pt x="304324" y="42386"/>
                    <a:pt x="304324" y="42386"/>
                  </a:cubicBezTo>
                  <a:cubicBezTo>
                    <a:pt x="304324" y="42386"/>
                    <a:pt x="300514" y="54769"/>
                    <a:pt x="293846" y="75724"/>
                  </a:cubicBezTo>
                  <a:cubicBezTo>
                    <a:pt x="290036" y="86201"/>
                    <a:pt x="287179" y="99536"/>
                    <a:pt x="283369" y="114776"/>
                  </a:cubicBezTo>
                  <a:cubicBezTo>
                    <a:pt x="281464" y="122396"/>
                    <a:pt x="279559" y="130016"/>
                    <a:pt x="277654" y="138589"/>
                  </a:cubicBezTo>
                  <a:cubicBezTo>
                    <a:pt x="275749" y="147161"/>
                    <a:pt x="274796" y="156686"/>
                    <a:pt x="272891" y="165259"/>
                  </a:cubicBezTo>
                  <a:cubicBezTo>
                    <a:pt x="271939" y="170021"/>
                    <a:pt x="270986" y="173831"/>
                    <a:pt x="270034" y="178594"/>
                  </a:cubicBezTo>
                  <a:cubicBezTo>
                    <a:pt x="268129" y="182404"/>
                    <a:pt x="265271" y="188119"/>
                    <a:pt x="261461" y="196691"/>
                  </a:cubicBezTo>
                  <a:cubicBezTo>
                    <a:pt x="260509" y="191929"/>
                    <a:pt x="258604" y="187166"/>
                    <a:pt x="258604" y="183356"/>
                  </a:cubicBezTo>
                  <a:cubicBezTo>
                    <a:pt x="255746" y="170021"/>
                    <a:pt x="253841" y="161449"/>
                    <a:pt x="253841" y="161449"/>
                  </a:cubicBezTo>
                  <a:cubicBezTo>
                    <a:pt x="253841" y="161449"/>
                    <a:pt x="253841" y="169069"/>
                    <a:pt x="254794" y="183356"/>
                  </a:cubicBezTo>
                  <a:cubicBezTo>
                    <a:pt x="254794" y="190024"/>
                    <a:pt x="255746" y="197644"/>
                    <a:pt x="256699" y="207169"/>
                  </a:cubicBezTo>
                  <a:cubicBezTo>
                    <a:pt x="253841" y="213836"/>
                    <a:pt x="250984" y="222409"/>
                    <a:pt x="247174" y="231934"/>
                  </a:cubicBezTo>
                  <a:cubicBezTo>
                    <a:pt x="246221" y="232886"/>
                    <a:pt x="246221" y="234791"/>
                    <a:pt x="245269" y="236696"/>
                  </a:cubicBezTo>
                  <a:cubicBezTo>
                    <a:pt x="243364" y="231934"/>
                    <a:pt x="242411" y="230029"/>
                    <a:pt x="242411" y="230029"/>
                  </a:cubicBezTo>
                  <a:cubicBezTo>
                    <a:pt x="242411" y="230029"/>
                    <a:pt x="243364" y="233839"/>
                    <a:pt x="244316" y="240506"/>
                  </a:cubicBezTo>
                  <a:cubicBezTo>
                    <a:pt x="241459" y="247174"/>
                    <a:pt x="239554" y="254794"/>
                    <a:pt x="236696" y="262414"/>
                  </a:cubicBezTo>
                  <a:cubicBezTo>
                    <a:pt x="232886" y="250031"/>
                    <a:pt x="229076" y="238601"/>
                    <a:pt x="226219" y="227171"/>
                  </a:cubicBezTo>
                  <a:cubicBezTo>
                    <a:pt x="223361" y="219551"/>
                    <a:pt x="221456" y="210979"/>
                    <a:pt x="218599" y="204311"/>
                  </a:cubicBezTo>
                  <a:cubicBezTo>
                    <a:pt x="215741" y="196691"/>
                    <a:pt x="213836" y="190024"/>
                    <a:pt x="210979" y="184309"/>
                  </a:cubicBezTo>
                  <a:cubicBezTo>
                    <a:pt x="206216" y="171926"/>
                    <a:pt x="202406" y="160496"/>
                    <a:pt x="198596" y="150971"/>
                  </a:cubicBezTo>
                  <a:cubicBezTo>
                    <a:pt x="191929" y="132874"/>
                    <a:pt x="187166" y="122396"/>
                    <a:pt x="187166" y="122396"/>
                  </a:cubicBezTo>
                  <a:cubicBezTo>
                    <a:pt x="187166" y="122396"/>
                    <a:pt x="190024" y="132874"/>
                    <a:pt x="194786" y="151924"/>
                  </a:cubicBezTo>
                  <a:cubicBezTo>
                    <a:pt x="197644" y="161449"/>
                    <a:pt x="200501" y="172879"/>
                    <a:pt x="204311" y="186214"/>
                  </a:cubicBezTo>
                  <a:cubicBezTo>
                    <a:pt x="206216" y="192881"/>
                    <a:pt x="208121" y="199549"/>
                    <a:pt x="210026" y="207169"/>
                  </a:cubicBezTo>
                  <a:cubicBezTo>
                    <a:pt x="211931" y="214789"/>
                    <a:pt x="213836" y="222409"/>
                    <a:pt x="215741" y="230981"/>
                  </a:cubicBezTo>
                  <a:cubicBezTo>
                    <a:pt x="218599" y="245269"/>
                    <a:pt x="222409" y="260509"/>
                    <a:pt x="226219" y="275749"/>
                  </a:cubicBezTo>
                  <a:cubicBezTo>
                    <a:pt x="224314" y="280511"/>
                    <a:pt x="221456" y="287179"/>
                    <a:pt x="218599" y="295751"/>
                  </a:cubicBezTo>
                  <a:cubicBezTo>
                    <a:pt x="218599" y="296704"/>
                    <a:pt x="217646" y="297656"/>
                    <a:pt x="217646" y="298609"/>
                  </a:cubicBezTo>
                  <a:cubicBezTo>
                    <a:pt x="216694" y="286226"/>
                    <a:pt x="215741" y="274796"/>
                    <a:pt x="214789" y="266224"/>
                  </a:cubicBezTo>
                  <a:cubicBezTo>
                    <a:pt x="213836" y="250984"/>
                    <a:pt x="212884" y="241459"/>
                    <a:pt x="212884" y="241459"/>
                  </a:cubicBezTo>
                  <a:cubicBezTo>
                    <a:pt x="212884" y="241459"/>
                    <a:pt x="211931" y="250031"/>
                    <a:pt x="210979" y="266224"/>
                  </a:cubicBezTo>
                  <a:cubicBezTo>
                    <a:pt x="210026" y="277654"/>
                    <a:pt x="210026" y="291941"/>
                    <a:pt x="209074" y="309086"/>
                  </a:cubicBezTo>
                  <a:cubicBezTo>
                    <a:pt x="204311" y="301466"/>
                    <a:pt x="200501" y="293846"/>
                    <a:pt x="196691" y="287179"/>
                  </a:cubicBezTo>
                  <a:cubicBezTo>
                    <a:pt x="192881" y="281464"/>
                    <a:pt x="190024" y="275749"/>
                    <a:pt x="187166" y="270034"/>
                  </a:cubicBezTo>
                  <a:cubicBezTo>
                    <a:pt x="183356" y="265271"/>
                    <a:pt x="180499" y="260509"/>
                    <a:pt x="177641" y="255746"/>
                  </a:cubicBezTo>
                  <a:cubicBezTo>
                    <a:pt x="171926" y="246221"/>
                    <a:pt x="166211" y="238601"/>
                    <a:pt x="161449" y="231934"/>
                  </a:cubicBezTo>
                  <a:cubicBezTo>
                    <a:pt x="159544" y="230029"/>
                    <a:pt x="158591" y="227171"/>
                    <a:pt x="156686" y="225266"/>
                  </a:cubicBezTo>
                  <a:cubicBezTo>
                    <a:pt x="154781" y="214789"/>
                    <a:pt x="152876" y="209074"/>
                    <a:pt x="152876" y="209074"/>
                  </a:cubicBezTo>
                  <a:cubicBezTo>
                    <a:pt x="152876" y="209074"/>
                    <a:pt x="152876" y="212884"/>
                    <a:pt x="152876" y="219551"/>
                  </a:cubicBezTo>
                  <a:cubicBezTo>
                    <a:pt x="149066" y="213836"/>
                    <a:pt x="146209" y="210979"/>
                    <a:pt x="146209" y="210979"/>
                  </a:cubicBezTo>
                  <a:cubicBezTo>
                    <a:pt x="146209" y="210979"/>
                    <a:pt x="148114" y="215741"/>
                    <a:pt x="152876" y="224314"/>
                  </a:cubicBezTo>
                  <a:cubicBezTo>
                    <a:pt x="153829" y="235744"/>
                    <a:pt x="154781" y="253841"/>
                    <a:pt x="156686" y="275749"/>
                  </a:cubicBezTo>
                  <a:cubicBezTo>
                    <a:pt x="153829" y="271939"/>
                    <a:pt x="150971" y="267176"/>
                    <a:pt x="148114" y="263366"/>
                  </a:cubicBezTo>
                  <a:cubicBezTo>
                    <a:pt x="139541" y="252889"/>
                    <a:pt x="131921" y="242411"/>
                    <a:pt x="124301" y="233839"/>
                  </a:cubicBezTo>
                  <a:cubicBezTo>
                    <a:pt x="116681" y="225266"/>
                    <a:pt x="110966" y="217646"/>
                    <a:pt x="104299" y="212884"/>
                  </a:cubicBezTo>
                  <a:cubicBezTo>
                    <a:pt x="94774" y="203359"/>
                    <a:pt x="88106" y="197644"/>
                    <a:pt x="88106" y="197644"/>
                  </a:cubicBezTo>
                  <a:cubicBezTo>
                    <a:pt x="88106" y="197644"/>
                    <a:pt x="93821" y="205264"/>
                    <a:pt x="103346" y="217646"/>
                  </a:cubicBezTo>
                  <a:cubicBezTo>
                    <a:pt x="108109" y="223361"/>
                    <a:pt x="113824" y="231934"/>
                    <a:pt x="119539" y="240506"/>
                  </a:cubicBezTo>
                  <a:cubicBezTo>
                    <a:pt x="126206" y="249079"/>
                    <a:pt x="131921" y="260509"/>
                    <a:pt x="139541" y="271939"/>
                  </a:cubicBezTo>
                  <a:cubicBezTo>
                    <a:pt x="143351" y="278606"/>
                    <a:pt x="148114" y="285274"/>
                    <a:pt x="151924" y="292894"/>
                  </a:cubicBezTo>
                  <a:cubicBezTo>
                    <a:pt x="151924" y="294799"/>
                    <a:pt x="151924" y="295751"/>
                    <a:pt x="151924" y="297656"/>
                  </a:cubicBezTo>
                  <a:cubicBezTo>
                    <a:pt x="151924" y="297656"/>
                    <a:pt x="150971" y="296704"/>
                    <a:pt x="150971" y="296704"/>
                  </a:cubicBezTo>
                  <a:cubicBezTo>
                    <a:pt x="145256" y="290989"/>
                    <a:pt x="140494" y="285274"/>
                    <a:pt x="136684" y="282416"/>
                  </a:cubicBezTo>
                  <a:cubicBezTo>
                    <a:pt x="134779" y="280511"/>
                    <a:pt x="133826" y="279559"/>
                    <a:pt x="131921" y="278606"/>
                  </a:cubicBezTo>
                  <a:cubicBezTo>
                    <a:pt x="132874" y="275749"/>
                    <a:pt x="132874" y="274796"/>
                    <a:pt x="132874" y="274796"/>
                  </a:cubicBezTo>
                  <a:cubicBezTo>
                    <a:pt x="132874" y="274796"/>
                    <a:pt x="131921" y="275749"/>
                    <a:pt x="130969" y="278606"/>
                  </a:cubicBezTo>
                  <a:cubicBezTo>
                    <a:pt x="125254" y="273844"/>
                    <a:pt x="122396" y="270986"/>
                    <a:pt x="122396" y="270986"/>
                  </a:cubicBezTo>
                  <a:cubicBezTo>
                    <a:pt x="122396" y="270986"/>
                    <a:pt x="125254" y="274796"/>
                    <a:pt x="130016" y="280511"/>
                  </a:cubicBezTo>
                  <a:cubicBezTo>
                    <a:pt x="128111" y="283369"/>
                    <a:pt x="126206" y="288131"/>
                    <a:pt x="123349" y="293846"/>
                  </a:cubicBezTo>
                  <a:cubicBezTo>
                    <a:pt x="120491" y="299561"/>
                    <a:pt x="117634" y="308134"/>
                    <a:pt x="114776" y="316706"/>
                  </a:cubicBezTo>
                  <a:cubicBezTo>
                    <a:pt x="113824" y="318611"/>
                    <a:pt x="113824" y="319564"/>
                    <a:pt x="112871" y="321469"/>
                  </a:cubicBezTo>
                  <a:cubicBezTo>
                    <a:pt x="110014" y="313849"/>
                    <a:pt x="107156" y="306229"/>
                    <a:pt x="103346" y="299561"/>
                  </a:cubicBezTo>
                  <a:cubicBezTo>
                    <a:pt x="97631" y="286226"/>
                    <a:pt x="91916" y="273844"/>
                    <a:pt x="86201" y="262414"/>
                  </a:cubicBezTo>
                  <a:cubicBezTo>
                    <a:pt x="83344" y="255746"/>
                    <a:pt x="80486" y="250984"/>
                    <a:pt x="78581" y="245269"/>
                  </a:cubicBezTo>
                  <a:cubicBezTo>
                    <a:pt x="75724" y="240506"/>
                    <a:pt x="72866" y="235744"/>
                    <a:pt x="70961" y="230981"/>
                  </a:cubicBezTo>
                  <a:cubicBezTo>
                    <a:pt x="66199" y="222409"/>
                    <a:pt x="61436" y="213836"/>
                    <a:pt x="57626" y="208121"/>
                  </a:cubicBezTo>
                  <a:cubicBezTo>
                    <a:pt x="50006" y="195739"/>
                    <a:pt x="46196" y="188119"/>
                    <a:pt x="46196" y="188119"/>
                  </a:cubicBezTo>
                  <a:cubicBezTo>
                    <a:pt x="46196" y="188119"/>
                    <a:pt x="49054" y="195739"/>
                    <a:pt x="54769" y="210026"/>
                  </a:cubicBezTo>
                  <a:cubicBezTo>
                    <a:pt x="57626" y="216694"/>
                    <a:pt x="60484" y="225266"/>
                    <a:pt x="64294" y="234791"/>
                  </a:cubicBezTo>
                  <a:cubicBezTo>
                    <a:pt x="66199" y="239554"/>
                    <a:pt x="68104" y="244316"/>
                    <a:pt x="70009" y="250031"/>
                  </a:cubicBezTo>
                  <a:cubicBezTo>
                    <a:pt x="71914" y="254794"/>
                    <a:pt x="73819" y="260509"/>
                    <a:pt x="75724" y="266224"/>
                  </a:cubicBezTo>
                  <a:cubicBezTo>
                    <a:pt x="78581" y="274796"/>
                    <a:pt x="82391" y="283369"/>
                    <a:pt x="85249" y="292894"/>
                  </a:cubicBezTo>
                  <a:cubicBezTo>
                    <a:pt x="83344" y="290036"/>
                    <a:pt x="81439" y="286226"/>
                    <a:pt x="79534" y="284321"/>
                  </a:cubicBezTo>
                  <a:cubicBezTo>
                    <a:pt x="74771" y="277654"/>
                    <a:pt x="71914" y="271939"/>
                    <a:pt x="68104" y="268129"/>
                  </a:cubicBezTo>
                  <a:cubicBezTo>
                    <a:pt x="61436" y="258604"/>
                    <a:pt x="57626" y="253841"/>
                    <a:pt x="57626" y="253841"/>
                  </a:cubicBezTo>
                  <a:cubicBezTo>
                    <a:pt x="57626" y="253841"/>
                    <a:pt x="59531" y="259556"/>
                    <a:pt x="64294" y="270034"/>
                  </a:cubicBezTo>
                  <a:cubicBezTo>
                    <a:pt x="66199" y="274796"/>
                    <a:pt x="69056" y="281464"/>
                    <a:pt x="71914" y="288131"/>
                  </a:cubicBezTo>
                  <a:cubicBezTo>
                    <a:pt x="76676" y="295751"/>
                    <a:pt x="79534" y="303371"/>
                    <a:pt x="83344" y="311944"/>
                  </a:cubicBezTo>
                  <a:cubicBezTo>
                    <a:pt x="86201" y="317659"/>
                    <a:pt x="88106" y="324326"/>
                    <a:pt x="90964" y="330994"/>
                  </a:cubicBezTo>
                  <a:cubicBezTo>
                    <a:pt x="90011" y="333851"/>
                    <a:pt x="89059" y="336709"/>
                    <a:pt x="87154" y="339566"/>
                  </a:cubicBezTo>
                  <a:cubicBezTo>
                    <a:pt x="85249" y="343376"/>
                    <a:pt x="83344" y="348139"/>
                    <a:pt x="81439" y="352901"/>
                  </a:cubicBezTo>
                  <a:cubicBezTo>
                    <a:pt x="80486" y="348139"/>
                    <a:pt x="79534" y="343376"/>
                    <a:pt x="78581" y="339566"/>
                  </a:cubicBezTo>
                  <a:cubicBezTo>
                    <a:pt x="75724" y="326231"/>
                    <a:pt x="72866" y="312896"/>
                    <a:pt x="70009" y="301466"/>
                  </a:cubicBezTo>
                  <a:cubicBezTo>
                    <a:pt x="67151" y="290036"/>
                    <a:pt x="64294" y="278606"/>
                    <a:pt x="61436" y="269081"/>
                  </a:cubicBezTo>
                  <a:cubicBezTo>
                    <a:pt x="58579" y="259556"/>
                    <a:pt x="56674" y="250984"/>
                    <a:pt x="53816" y="244316"/>
                  </a:cubicBezTo>
                  <a:cubicBezTo>
                    <a:pt x="49054" y="230981"/>
                    <a:pt x="46196" y="223361"/>
                    <a:pt x="46196" y="223361"/>
                  </a:cubicBezTo>
                  <a:cubicBezTo>
                    <a:pt x="46196" y="223361"/>
                    <a:pt x="47149" y="230981"/>
                    <a:pt x="50006" y="245269"/>
                  </a:cubicBezTo>
                  <a:cubicBezTo>
                    <a:pt x="50959" y="251936"/>
                    <a:pt x="51911" y="260509"/>
                    <a:pt x="53816" y="270034"/>
                  </a:cubicBezTo>
                  <a:cubicBezTo>
                    <a:pt x="55721" y="279559"/>
                    <a:pt x="56674" y="290989"/>
                    <a:pt x="58579" y="302419"/>
                  </a:cubicBezTo>
                  <a:cubicBezTo>
                    <a:pt x="60484" y="314801"/>
                    <a:pt x="61436" y="327184"/>
                    <a:pt x="64294" y="340519"/>
                  </a:cubicBezTo>
                  <a:cubicBezTo>
                    <a:pt x="66199" y="353854"/>
                    <a:pt x="67151" y="367189"/>
                    <a:pt x="69056" y="381476"/>
                  </a:cubicBezTo>
                  <a:cubicBezTo>
                    <a:pt x="68104" y="382429"/>
                    <a:pt x="68104" y="383381"/>
                    <a:pt x="67151" y="385286"/>
                  </a:cubicBezTo>
                  <a:cubicBezTo>
                    <a:pt x="64294" y="391954"/>
                    <a:pt x="62389" y="398621"/>
                    <a:pt x="60484" y="405289"/>
                  </a:cubicBezTo>
                  <a:cubicBezTo>
                    <a:pt x="60484" y="406241"/>
                    <a:pt x="60484" y="406241"/>
                    <a:pt x="59531" y="407194"/>
                  </a:cubicBezTo>
                  <a:cubicBezTo>
                    <a:pt x="58579" y="407194"/>
                    <a:pt x="57626" y="407194"/>
                    <a:pt x="56674" y="407194"/>
                  </a:cubicBezTo>
                  <a:cubicBezTo>
                    <a:pt x="55721" y="404336"/>
                    <a:pt x="55721" y="402431"/>
                    <a:pt x="54769" y="399574"/>
                  </a:cubicBezTo>
                  <a:cubicBezTo>
                    <a:pt x="51911" y="387191"/>
                    <a:pt x="49054" y="375761"/>
                    <a:pt x="46196" y="364331"/>
                  </a:cubicBezTo>
                  <a:cubicBezTo>
                    <a:pt x="43339" y="352901"/>
                    <a:pt x="40481" y="342424"/>
                    <a:pt x="37624" y="332899"/>
                  </a:cubicBezTo>
                  <a:cubicBezTo>
                    <a:pt x="31909" y="313849"/>
                    <a:pt x="26194" y="297656"/>
                    <a:pt x="21431" y="287179"/>
                  </a:cubicBezTo>
                  <a:cubicBezTo>
                    <a:pt x="16669" y="276701"/>
                    <a:pt x="13811" y="270034"/>
                    <a:pt x="13811" y="270034"/>
                  </a:cubicBezTo>
                  <a:cubicBezTo>
                    <a:pt x="13811" y="270034"/>
                    <a:pt x="14764" y="276701"/>
                    <a:pt x="17621" y="288131"/>
                  </a:cubicBezTo>
                  <a:cubicBezTo>
                    <a:pt x="18574" y="293846"/>
                    <a:pt x="20479" y="300514"/>
                    <a:pt x="21431" y="309086"/>
                  </a:cubicBezTo>
                  <a:cubicBezTo>
                    <a:pt x="23336" y="316706"/>
                    <a:pt x="24289" y="326231"/>
                    <a:pt x="26194" y="335756"/>
                  </a:cubicBezTo>
                  <a:cubicBezTo>
                    <a:pt x="28099" y="345281"/>
                    <a:pt x="30004" y="355759"/>
                    <a:pt x="31909" y="367189"/>
                  </a:cubicBezTo>
                  <a:cubicBezTo>
                    <a:pt x="35719" y="378619"/>
                    <a:pt x="37624" y="390049"/>
                    <a:pt x="39529" y="402431"/>
                  </a:cubicBezTo>
                  <a:cubicBezTo>
                    <a:pt x="39529" y="403384"/>
                    <a:pt x="39529" y="403384"/>
                    <a:pt x="39529" y="404336"/>
                  </a:cubicBezTo>
                  <a:cubicBezTo>
                    <a:pt x="29051" y="402431"/>
                    <a:pt x="18574" y="401479"/>
                    <a:pt x="7144" y="399574"/>
                  </a:cubicBezTo>
                  <a:lnTo>
                    <a:pt x="7144" y="511016"/>
                  </a:lnTo>
                  <a:close/>
                  <a:moveTo>
                    <a:pt x="6277451" y="364331"/>
                  </a:moveTo>
                  <a:cubicBezTo>
                    <a:pt x="6278404" y="362426"/>
                    <a:pt x="6278404" y="359569"/>
                    <a:pt x="6279356" y="357664"/>
                  </a:cubicBezTo>
                  <a:cubicBezTo>
                    <a:pt x="6279356" y="358616"/>
                    <a:pt x="6279356" y="360521"/>
                    <a:pt x="6279356" y="361474"/>
                  </a:cubicBezTo>
                  <a:cubicBezTo>
                    <a:pt x="6278404" y="370999"/>
                    <a:pt x="6278404" y="384334"/>
                    <a:pt x="6277451" y="399574"/>
                  </a:cubicBezTo>
                  <a:cubicBezTo>
                    <a:pt x="6274594" y="409099"/>
                    <a:pt x="6270784" y="419576"/>
                    <a:pt x="6267926" y="430054"/>
                  </a:cubicBezTo>
                  <a:cubicBezTo>
                    <a:pt x="6266974" y="430054"/>
                    <a:pt x="6266974" y="430054"/>
                    <a:pt x="6266021" y="430054"/>
                  </a:cubicBezTo>
                  <a:cubicBezTo>
                    <a:pt x="6264117" y="427196"/>
                    <a:pt x="6262212" y="424339"/>
                    <a:pt x="6260306" y="421481"/>
                  </a:cubicBezTo>
                  <a:cubicBezTo>
                    <a:pt x="6266021" y="402431"/>
                    <a:pt x="6271737" y="383381"/>
                    <a:pt x="6277451" y="364331"/>
                  </a:cubicBezTo>
                  <a:close/>
                  <a:moveTo>
                    <a:pt x="6211729" y="425291"/>
                  </a:moveTo>
                  <a:cubicBezTo>
                    <a:pt x="6211729" y="415766"/>
                    <a:pt x="6212681" y="406241"/>
                    <a:pt x="6212681" y="398621"/>
                  </a:cubicBezTo>
                  <a:cubicBezTo>
                    <a:pt x="6212681" y="395764"/>
                    <a:pt x="6212681" y="392906"/>
                    <a:pt x="6213634" y="390049"/>
                  </a:cubicBezTo>
                  <a:cubicBezTo>
                    <a:pt x="6214587" y="391001"/>
                    <a:pt x="6215539" y="392906"/>
                    <a:pt x="6216492" y="393859"/>
                  </a:cubicBezTo>
                  <a:cubicBezTo>
                    <a:pt x="6220301" y="398621"/>
                    <a:pt x="6224112" y="403384"/>
                    <a:pt x="6227921" y="408146"/>
                  </a:cubicBezTo>
                  <a:cubicBezTo>
                    <a:pt x="6226969" y="410051"/>
                    <a:pt x="6226017" y="411956"/>
                    <a:pt x="6225064" y="412909"/>
                  </a:cubicBezTo>
                  <a:cubicBezTo>
                    <a:pt x="6224112" y="414814"/>
                    <a:pt x="6222206" y="417671"/>
                    <a:pt x="6221254" y="420529"/>
                  </a:cubicBezTo>
                  <a:cubicBezTo>
                    <a:pt x="6220301" y="423386"/>
                    <a:pt x="6219349" y="426244"/>
                    <a:pt x="6218396" y="429101"/>
                  </a:cubicBezTo>
                  <a:cubicBezTo>
                    <a:pt x="6218396" y="430054"/>
                    <a:pt x="6218396" y="430054"/>
                    <a:pt x="6217444" y="431006"/>
                  </a:cubicBezTo>
                  <a:cubicBezTo>
                    <a:pt x="6217444" y="430054"/>
                    <a:pt x="6217444" y="429101"/>
                    <a:pt x="6217444" y="429101"/>
                  </a:cubicBezTo>
                  <a:cubicBezTo>
                    <a:pt x="6216492" y="419576"/>
                    <a:pt x="6215539" y="413861"/>
                    <a:pt x="6215539" y="413861"/>
                  </a:cubicBezTo>
                  <a:cubicBezTo>
                    <a:pt x="6215539" y="413861"/>
                    <a:pt x="6214587" y="419576"/>
                    <a:pt x="6213634" y="429101"/>
                  </a:cubicBezTo>
                  <a:cubicBezTo>
                    <a:pt x="6213634" y="432911"/>
                    <a:pt x="6212681" y="436721"/>
                    <a:pt x="6211729" y="441484"/>
                  </a:cubicBezTo>
                  <a:cubicBezTo>
                    <a:pt x="6211729" y="435769"/>
                    <a:pt x="6211729" y="430054"/>
                    <a:pt x="6211729" y="425291"/>
                  </a:cubicBezTo>
                  <a:close/>
                  <a:moveTo>
                    <a:pt x="6183154" y="343376"/>
                  </a:moveTo>
                  <a:cubicBezTo>
                    <a:pt x="6185059" y="346234"/>
                    <a:pt x="6186012" y="348139"/>
                    <a:pt x="6187917" y="350996"/>
                  </a:cubicBezTo>
                  <a:cubicBezTo>
                    <a:pt x="6188869" y="352901"/>
                    <a:pt x="6190774" y="354806"/>
                    <a:pt x="6191726" y="356711"/>
                  </a:cubicBezTo>
                  <a:cubicBezTo>
                    <a:pt x="6188869" y="366236"/>
                    <a:pt x="6186012" y="376714"/>
                    <a:pt x="6183154" y="388144"/>
                  </a:cubicBezTo>
                  <a:cubicBezTo>
                    <a:pt x="6183154" y="389096"/>
                    <a:pt x="6182201" y="391001"/>
                    <a:pt x="6182201" y="391954"/>
                  </a:cubicBezTo>
                  <a:cubicBezTo>
                    <a:pt x="6182201" y="386239"/>
                    <a:pt x="6181249" y="381476"/>
                    <a:pt x="6181249" y="375761"/>
                  </a:cubicBezTo>
                  <a:cubicBezTo>
                    <a:pt x="6181249" y="374809"/>
                    <a:pt x="6181249" y="373856"/>
                    <a:pt x="6181249" y="372904"/>
                  </a:cubicBezTo>
                  <a:cubicBezTo>
                    <a:pt x="6181249" y="362426"/>
                    <a:pt x="6182201" y="352901"/>
                    <a:pt x="6183154" y="343376"/>
                  </a:cubicBezTo>
                  <a:close/>
                  <a:moveTo>
                    <a:pt x="6144101" y="308134"/>
                  </a:moveTo>
                  <a:cubicBezTo>
                    <a:pt x="6145054" y="297656"/>
                    <a:pt x="6146959" y="287179"/>
                    <a:pt x="6147912" y="276701"/>
                  </a:cubicBezTo>
                  <a:cubicBezTo>
                    <a:pt x="6149817" y="280511"/>
                    <a:pt x="6151721" y="284321"/>
                    <a:pt x="6153626" y="289084"/>
                  </a:cubicBezTo>
                  <a:cubicBezTo>
                    <a:pt x="6156484" y="293846"/>
                    <a:pt x="6158389" y="299561"/>
                    <a:pt x="6161246" y="305276"/>
                  </a:cubicBezTo>
                  <a:cubicBezTo>
                    <a:pt x="6160294" y="308134"/>
                    <a:pt x="6159342" y="313849"/>
                    <a:pt x="6157437" y="319564"/>
                  </a:cubicBezTo>
                  <a:cubicBezTo>
                    <a:pt x="6155531" y="325279"/>
                    <a:pt x="6154579" y="332899"/>
                    <a:pt x="6152674" y="342424"/>
                  </a:cubicBezTo>
                  <a:cubicBezTo>
                    <a:pt x="6151721" y="347186"/>
                    <a:pt x="6150769" y="351949"/>
                    <a:pt x="6150769" y="356711"/>
                  </a:cubicBezTo>
                  <a:cubicBezTo>
                    <a:pt x="6150769" y="358616"/>
                    <a:pt x="6149817" y="359569"/>
                    <a:pt x="6149817" y="360521"/>
                  </a:cubicBezTo>
                  <a:cubicBezTo>
                    <a:pt x="6149817" y="362426"/>
                    <a:pt x="6148864" y="363379"/>
                    <a:pt x="6148864" y="365284"/>
                  </a:cubicBezTo>
                  <a:cubicBezTo>
                    <a:pt x="6146959" y="362426"/>
                    <a:pt x="6146006" y="360521"/>
                    <a:pt x="6146006" y="360521"/>
                  </a:cubicBezTo>
                  <a:cubicBezTo>
                    <a:pt x="6146006" y="360521"/>
                    <a:pt x="6146959" y="363379"/>
                    <a:pt x="6147912" y="368141"/>
                  </a:cubicBezTo>
                  <a:cubicBezTo>
                    <a:pt x="6146959" y="374809"/>
                    <a:pt x="6146006" y="382429"/>
                    <a:pt x="6145054" y="389096"/>
                  </a:cubicBezTo>
                  <a:cubicBezTo>
                    <a:pt x="6145054" y="388144"/>
                    <a:pt x="6144101" y="387191"/>
                    <a:pt x="6144101" y="386239"/>
                  </a:cubicBezTo>
                  <a:cubicBezTo>
                    <a:pt x="6144101" y="385286"/>
                    <a:pt x="6143149" y="385286"/>
                    <a:pt x="6143149" y="384334"/>
                  </a:cubicBezTo>
                  <a:cubicBezTo>
                    <a:pt x="6143149" y="379571"/>
                    <a:pt x="6142196" y="373856"/>
                    <a:pt x="6142196" y="369094"/>
                  </a:cubicBezTo>
                  <a:cubicBezTo>
                    <a:pt x="6141244" y="360521"/>
                    <a:pt x="6140292" y="351949"/>
                    <a:pt x="6139339" y="343376"/>
                  </a:cubicBezTo>
                  <a:cubicBezTo>
                    <a:pt x="6142196" y="331946"/>
                    <a:pt x="6143149" y="319564"/>
                    <a:pt x="6144101" y="308134"/>
                  </a:cubicBezTo>
                  <a:close/>
                  <a:moveTo>
                    <a:pt x="6095524" y="384334"/>
                  </a:moveTo>
                  <a:cubicBezTo>
                    <a:pt x="6093619" y="393859"/>
                    <a:pt x="6090762" y="403384"/>
                    <a:pt x="6088856" y="412909"/>
                  </a:cubicBezTo>
                  <a:cubicBezTo>
                    <a:pt x="6086951" y="420529"/>
                    <a:pt x="6085046" y="428149"/>
                    <a:pt x="6083142" y="435769"/>
                  </a:cubicBezTo>
                  <a:cubicBezTo>
                    <a:pt x="6081237" y="428149"/>
                    <a:pt x="6079331" y="419576"/>
                    <a:pt x="6076474" y="411956"/>
                  </a:cubicBezTo>
                  <a:cubicBezTo>
                    <a:pt x="6077426" y="405289"/>
                    <a:pt x="6078379" y="397669"/>
                    <a:pt x="6079331" y="391001"/>
                  </a:cubicBezTo>
                  <a:cubicBezTo>
                    <a:pt x="6080284" y="383381"/>
                    <a:pt x="6082189" y="375761"/>
                    <a:pt x="6084094" y="368141"/>
                  </a:cubicBezTo>
                  <a:lnTo>
                    <a:pt x="6088856" y="347186"/>
                  </a:lnTo>
                  <a:cubicBezTo>
                    <a:pt x="6089809" y="347186"/>
                    <a:pt x="6090762" y="347186"/>
                    <a:pt x="6091714" y="348139"/>
                  </a:cubicBezTo>
                  <a:cubicBezTo>
                    <a:pt x="6093619" y="349091"/>
                    <a:pt x="6094571" y="350044"/>
                    <a:pt x="6095524" y="350996"/>
                  </a:cubicBezTo>
                  <a:cubicBezTo>
                    <a:pt x="6098381" y="352901"/>
                    <a:pt x="6099334" y="356711"/>
                    <a:pt x="6100287" y="359569"/>
                  </a:cubicBezTo>
                  <a:cubicBezTo>
                    <a:pt x="6099334" y="367189"/>
                    <a:pt x="6097429" y="375761"/>
                    <a:pt x="6095524" y="384334"/>
                  </a:cubicBezTo>
                  <a:close/>
                  <a:moveTo>
                    <a:pt x="6102192" y="206216"/>
                  </a:moveTo>
                  <a:cubicBezTo>
                    <a:pt x="6102192" y="211931"/>
                    <a:pt x="6102192" y="222409"/>
                    <a:pt x="6101239" y="235744"/>
                  </a:cubicBezTo>
                  <a:cubicBezTo>
                    <a:pt x="6101239" y="237649"/>
                    <a:pt x="6101239" y="239554"/>
                    <a:pt x="6101239" y="241459"/>
                  </a:cubicBezTo>
                  <a:cubicBezTo>
                    <a:pt x="6101239" y="241459"/>
                    <a:pt x="6101239" y="242411"/>
                    <a:pt x="6101239" y="242411"/>
                  </a:cubicBezTo>
                  <a:cubicBezTo>
                    <a:pt x="6101239" y="242411"/>
                    <a:pt x="6101239" y="242411"/>
                    <a:pt x="6101239" y="242411"/>
                  </a:cubicBezTo>
                  <a:cubicBezTo>
                    <a:pt x="6101239" y="241459"/>
                    <a:pt x="6100287" y="240506"/>
                    <a:pt x="6100287" y="239554"/>
                  </a:cubicBezTo>
                  <a:cubicBezTo>
                    <a:pt x="6099334" y="236696"/>
                    <a:pt x="6098381" y="233839"/>
                    <a:pt x="6097429" y="230981"/>
                  </a:cubicBezTo>
                  <a:cubicBezTo>
                    <a:pt x="6099334" y="222409"/>
                    <a:pt x="6100287" y="213836"/>
                    <a:pt x="6102192" y="206216"/>
                  </a:cubicBezTo>
                  <a:close/>
                  <a:moveTo>
                    <a:pt x="6100287" y="284321"/>
                  </a:moveTo>
                  <a:cubicBezTo>
                    <a:pt x="6099334" y="282416"/>
                    <a:pt x="6099334" y="281464"/>
                    <a:pt x="6098381" y="279559"/>
                  </a:cubicBezTo>
                  <a:cubicBezTo>
                    <a:pt x="6098381" y="278606"/>
                    <a:pt x="6099334" y="277654"/>
                    <a:pt x="6099334" y="277654"/>
                  </a:cubicBezTo>
                  <a:cubicBezTo>
                    <a:pt x="6099334" y="279559"/>
                    <a:pt x="6099334" y="281464"/>
                    <a:pt x="6100287" y="284321"/>
                  </a:cubicBezTo>
                  <a:close/>
                  <a:moveTo>
                    <a:pt x="6093619" y="247174"/>
                  </a:moveTo>
                  <a:cubicBezTo>
                    <a:pt x="6094571" y="250031"/>
                    <a:pt x="6094571" y="252889"/>
                    <a:pt x="6095524" y="255746"/>
                  </a:cubicBezTo>
                  <a:cubicBezTo>
                    <a:pt x="6094571" y="258604"/>
                    <a:pt x="6092667" y="261461"/>
                    <a:pt x="6091714" y="264319"/>
                  </a:cubicBezTo>
                  <a:cubicBezTo>
                    <a:pt x="6091714" y="263366"/>
                    <a:pt x="6090762" y="262414"/>
                    <a:pt x="6090762" y="262414"/>
                  </a:cubicBezTo>
                  <a:cubicBezTo>
                    <a:pt x="6091714" y="257651"/>
                    <a:pt x="6092667" y="251936"/>
                    <a:pt x="6093619" y="247174"/>
                  </a:cubicBezTo>
                  <a:close/>
                  <a:moveTo>
                    <a:pt x="6088856" y="269081"/>
                  </a:moveTo>
                  <a:cubicBezTo>
                    <a:pt x="6088856" y="269081"/>
                    <a:pt x="6088856" y="270034"/>
                    <a:pt x="6088856" y="270034"/>
                  </a:cubicBezTo>
                  <a:cubicBezTo>
                    <a:pt x="6088856" y="270034"/>
                    <a:pt x="6088856" y="270034"/>
                    <a:pt x="6088856" y="270034"/>
                  </a:cubicBezTo>
                  <a:cubicBezTo>
                    <a:pt x="6088856" y="270986"/>
                    <a:pt x="6087904" y="271939"/>
                    <a:pt x="6087904" y="272891"/>
                  </a:cubicBezTo>
                  <a:cubicBezTo>
                    <a:pt x="6088856" y="270986"/>
                    <a:pt x="6088856" y="270034"/>
                    <a:pt x="6088856" y="269081"/>
                  </a:cubicBezTo>
                  <a:close/>
                  <a:moveTo>
                    <a:pt x="6067901" y="369094"/>
                  </a:moveTo>
                  <a:cubicBezTo>
                    <a:pt x="6072664" y="358616"/>
                    <a:pt x="6076474" y="349091"/>
                    <a:pt x="6080284" y="339566"/>
                  </a:cubicBezTo>
                  <a:cubicBezTo>
                    <a:pt x="6082189" y="334804"/>
                    <a:pt x="6084094" y="330041"/>
                    <a:pt x="6085046" y="326231"/>
                  </a:cubicBezTo>
                  <a:cubicBezTo>
                    <a:pt x="6085999" y="321469"/>
                    <a:pt x="6087904" y="317659"/>
                    <a:pt x="6088856" y="313849"/>
                  </a:cubicBezTo>
                  <a:cubicBezTo>
                    <a:pt x="6090762" y="306229"/>
                    <a:pt x="6092667" y="299561"/>
                    <a:pt x="6093619" y="293846"/>
                  </a:cubicBezTo>
                  <a:cubicBezTo>
                    <a:pt x="6093619" y="293846"/>
                    <a:pt x="6093619" y="293846"/>
                    <a:pt x="6093619" y="293846"/>
                  </a:cubicBezTo>
                  <a:cubicBezTo>
                    <a:pt x="6094571" y="299561"/>
                    <a:pt x="6095524" y="305276"/>
                    <a:pt x="6096476" y="310991"/>
                  </a:cubicBezTo>
                  <a:cubicBezTo>
                    <a:pt x="6098381" y="319564"/>
                    <a:pt x="6098381" y="329089"/>
                    <a:pt x="6100287" y="339566"/>
                  </a:cubicBezTo>
                  <a:cubicBezTo>
                    <a:pt x="6100287" y="345281"/>
                    <a:pt x="6101239" y="350044"/>
                    <a:pt x="6101239" y="355759"/>
                  </a:cubicBezTo>
                  <a:cubicBezTo>
                    <a:pt x="6101239" y="355759"/>
                    <a:pt x="6101239" y="355759"/>
                    <a:pt x="6101239" y="355759"/>
                  </a:cubicBezTo>
                  <a:cubicBezTo>
                    <a:pt x="6101239" y="356711"/>
                    <a:pt x="6100287" y="358616"/>
                    <a:pt x="6100287" y="359569"/>
                  </a:cubicBezTo>
                  <a:cubicBezTo>
                    <a:pt x="6100287" y="355759"/>
                    <a:pt x="6099334" y="352901"/>
                    <a:pt x="6097429" y="350044"/>
                  </a:cubicBezTo>
                  <a:cubicBezTo>
                    <a:pt x="6096476" y="348139"/>
                    <a:pt x="6094571" y="347186"/>
                    <a:pt x="6093619" y="345281"/>
                  </a:cubicBezTo>
                  <a:cubicBezTo>
                    <a:pt x="6091714" y="344329"/>
                    <a:pt x="6089809" y="343376"/>
                    <a:pt x="6087904" y="342424"/>
                  </a:cubicBezTo>
                  <a:lnTo>
                    <a:pt x="6085999" y="341471"/>
                  </a:lnTo>
                  <a:lnTo>
                    <a:pt x="6085046" y="343376"/>
                  </a:lnTo>
                  <a:cubicBezTo>
                    <a:pt x="6082189" y="350996"/>
                    <a:pt x="6079331" y="357664"/>
                    <a:pt x="6076474" y="365284"/>
                  </a:cubicBezTo>
                  <a:cubicBezTo>
                    <a:pt x="6074569" y="371951"/>
                    <a:pt x="6071712" y="377666"/>
                    <a:pt x="6069806" y="384334"/>
                  </a:cubicBezTo>
                  <a:cubicBezTo>
                    <a:pt x="6068854" y="380524"/>
                    <a:pt x="6067901" y="376714"/>
                    <a:pt x="6065996" y="372904"/>
                  </a:cubicBezTo>
                  <a:cubicBezTo>
                    <a:pt x="6066949" y="371951"/>
                    <a:pt x="6067901" y="370999"/>
                    <a:pt x="6067901" y="369094"/>
                  </a:cubicBezTo>
                  <a:close/>
                  <a:moveTo>
                    <a:pt x="6035517" y="310039"/>
                  </a:moveTo>
                  <a:cubicBezTo>
                    <a:pt x="6035517" y="309086"/>
                    <a:pt x="6035517" y="309086"/>
                    <a:pt x="6035517" y="308134"/>
                  </a:cubicBezTo>
                  <a:cubicBezTo>
                    <a:pt x="6036469" y="312896"/>
                    <a:pt x="6038374" y="318611"/>
                    <a:pt x="6040279" y="324326"/>
                  </a:cubicBezTo>
                  <a:cubicBezTo>
                    <a:pt x="6041231" y="329089"/>
                    <a:pt x="6042184" y="333851"/>
                    <a:pt x="6044089" y="338614"/>
                  </a:cubicBezTo>
                  <a:cubicBezTo>
                    <a:pt x="6042184" y="344329"/>
                    <a:pt x="6040279" y="350044"/>
                    <a:pt x="6038374" y="355759"/>
                  </a:cubicBezTo>
                  <a:cubicBezTo>
                    <a:pt x="6036469" y="345281"/>
                    <a:pt x="6035517" y="336709"/>
                    <a:pt x="6033612" y="330041"/>
                  </a:cubicBezTo>
                  <a:cubicBezTo>
                    <a:pt x="6034564" y="323374"/>
                    <a:pt x="6034564" y="315754"/>
                    <a:pt x="6035517" y="310039"/>
                  </a:cubicBezTo>
                  <a:close/>
                  <a:moveTo>
                    <a:pt x="6012656" y="361474"/>
                  </a:moveTo>
                  <a:cubicBezTo>
                    <a:pt x="6012656" y="362426"/>
                    <a:pt x="6012656" y="363379"/>
                    <a:pt x="6012656" y="363379"/>
                  </a:cubicBezTo>
                  <a:cubicBezTo>
                    <a:pt x="6012656" y="362426"/>
                    <a:pt x="6012656" y="361474"/>
                    <a:pt x="6012656" y="359569"/>
                  </a:cubicBezTo>
                  <a:cubicBezTo>
                    <a:pt x="6012656" y="360521"/>
                    <a:pt x="6012656" y="360521"/>
                    <a:pt x="6012656" y="361474"/>
                  </a:cubicBezTo>
                  <a:close/>
                  <a:moveTo>
                    <a:pt x="6007894" y="351949"/>
                  </a:moveTo>
                  <a:cubicBezTo>
                    <a:pt x="6007894" y="351949"/>
                    <a:pt x="6007894" y="352901"/>
                    <a:pt x="6007894" y="352901"/>
                  </a:cubicBezTo>
                  <a:cubicBezTo>
                    <a:pt x="6007894" y="351949"/>
                    <a:pt x="6007894" y="351949"/>
                    <a:pt x="6007894" y="351949"/>
                  </a:cubicBezTo>
                  <a:cubicBezTo>
                    <a:pt x="6007894" y="350996"/>
                    <a:pt x="6007894" y="351949"/>
                    <a:pt x="6007894" y="351949"/>
                  </a:cubicBezTo>
                  <a:close/>
                  <a:moveTo>
                    <a:pt x="5976462" y="410051"/>
                  </a:moveTo>
                  <a:cubicBezTo>
                    <a:pt x="5975509" y="407194"/>
                    <a:pt x="5974556" y="404336"/>
                    <a:pt x="5973604" y="402431"/>
                  </a:cubicBezTo>
                  <a:cubicBezTo>
                    <a:pt x="5973604" y="401479"/>
                    <a:pt x="5972651" y="399574"/>
                    <a:pt x="5972651" y="398621"/>
                  </a:cubicBezTo>
                  <a:cubicBezTo>
                    <a:pt x="5972651" y="395764"/>
                    <a:pt x="5971699" y="392906"/>
                    <a:pt x="5971699" y="391001"/>
                  </a:cubicBezTo>
                  <a:cubicBezTo>
                    <a:pt x="5972651" y="389096"/>
                    <a:pt x="5972651" y="387191"/>
                    <a:pt x="5973604" y="386239"/>
                  </a:cubicBezTo>
                  <a:cubicBezTo>
                    <a:pt x="5975509" y="382429"/>
                    <a:pt x="5976462" y="378619"/>
                    <a:pt x="5977414" y="374809"/>
                  </a:cubicBezTo>
                  <a:cubicBezTo>
                    <a:pt x="5977414" y="385286"/>
                    <a:pt x="5976462" y="397669"/>
                    <a:pt x="5976462" y="410051"/>
                  </a:cubicBezTo>
                  <a:close/>
                  <a:moveTo>
                    <a:pt x="5976462" y="239554"/>
                  </a:moveTo>
                  <a:cubicBezTo>
                    <a:pt x="5977414" y="243364"/>
                    <a:pt x="5977414" y="246221"/>
                    <a:pt x="5978367" y="250031"/>
                  </a:cubicBezTo>
                  <a:cubicBezTo>
                    <a:pt x="5978367" y="251936"/>
                    <a:pt x="5979319" y="254794"/>
                    <a:pt x="5979319" y="256699"/>
                  </a:cubicBezTo>
                  <a:cubicBezTo>
                    <a:pt x="5977414" y="253841"/>
                    <a:pt x="5976462" y="250984"/>
                    <a:pt x="5974556" y="248126"/>
                  </a:cubicBezTo>
                  <a:cubicBezTo>
                    <a:pt x="5975509" y="245269"/>
                    <a:pt x="5975509" y="242411"/>
                    <a:pt x="5976462" y="239554"/>
                  </a:cubicBezTo>
                  <a:close/>
                  <a:moveTo>
                    <a:pt x="5965984" y="291941"/>
                  </a:moveTo>
                  <a:cubicBezTo>
                    <a:pt x="5965984" y="290036"/>
                    <a:pt x="5966937" y="288131"/>
                    <a:pt x="5966937" y="286226"/>
                  </a:cubicBezTo>
                  <a:cubicBezTo>
                    <a:pt x="5966937" y="285274"/>
                    <a:pt x="5967889" y="283369"/>
                    <a:pt x="5967889" y="282416"/>
                  </a:cubicBezTo>
                  <a:cubicBezTo>
                    <a:pt x="5968842" y="277654"/>
                    <a:pt x="5969794" y="273844"/>
                    <a:pt x="5970746" y="269081"/>
                  </a:cubicBezTo>
                  <a:cubicBezTo>
                    <a:pt x="5974556" y="278606"/>
                    <a:pt x="5979319" y="289084"/>
                    <a:pt x="5983129" y="298609"/>
                  </a:cubicBezTo>
                  <a:cubicBezTo>
                    <a:pt x="5982176" y="309086"/>
                    <a:pt x="5981224" y="319564"/>
                    <a:pt x="5980271" y="330994"/>
                  </a:cubicBezTo>
                  <a:cubicBezTo>
                    <a:pt x="5980271" y="330994"/>
                    <a:pt x="5980271" y="331946"/>
                    <a:pt x="5979319" y="331946"/>
                  </a:cubicBezTo>
                  <a:cubicBezTo>
                    <a:pt x="5977414" y="329089"/>
                    <a:pt x="5976462" y="328136"/>
                    <a:pt x="5976462" y="328136"/>
                  </a:cubicBezTo>
                  <a:cubicBezTo>
                    <a:pt x="5976462" y="328136"/>
                    <a:pt x="5977414" y="330041"/>
                    <a:pt x="5979319" y="332899"/>
                  </a:cubicBezTo>
                  <a:cubicBezTo>
                    <a:pt x="5977414" y="336709"/>
                    <a:pt x="5974556" y="341471"/>
                    <a:pt x="5972651" y="346234"/>
                  </a:cubicBezTo>
                  <a:cubicBezTo>
                    <a:pt x="5970746" y="349091"/>
                    <a:pt x="5969794" y="352901"/>
                    <a:pt x="5967889" y="355759"/>
                  </a:cubicBezTo>
                  <a:cubicBezTo>
                    <a:pt x="5967889" y="355759"/>
                    <a:pt x="5967889" y="355759"/>
                    <a:pt x="5967889" y="355759"/>
                  </a:cubicBezTo>
                  <a:cubicBezTo>
                    <a:pt x="5967889" y="353854"/>
                    <a:pt x="5967889" y="352901"/>
                    <a:pt x="5966937" y="351949"/>
                  </a:cubicBezTo>
                  <a:cubicBezTo>
                    <a:pt x="5965984" y="346234"/>
                    <a:pt x="5965984" y="339566"/>
                    <a:pt x="5965031" y="333851"/>
                  </a:cubicBezTo>
                  <a:cubicBezTo>
                    <a:pt x="5964079" y="321469"/>
                    <a:pt x="5964079" y="310039"/>
                    <a:pt x="5963126" y="299561"/>
                  </a:cubicBezTo>
                  <a:cubicBezTo>
                    <a:pt x="5964079" y="296704"/>
                    <a:pt x="5965031" y="294799"/>
                    <a:pt x="5965984" y="291941"/>
                  </a:cubicBezTo>
                  <a:close/>
                  <a:moveTo>
                    <a:pt x="5952649" y="385286"/>
                  </a:moveTo>
                  <a:cubicBezTo>
                    <a:pt x="5952649" y="385286"/>
                    <a:pt x="5952649" y="385286"/>
                    <a:pt x="5952649" y="385286"/>
                  </a:cubicBezTo>
                  <a:cubicBezTo>
                    <a:pt x="5952649" y="385286"/>
                    <a:pt x="5952649" y="385286"/>
                    <a:pt x="5952649" y="385286"/>
                  </a:cubicBezTo>
                  <a:cubicBezTo>
                    <a:pt x="5952649" y="385286"/>
                    <a:pt x="5952649" y="385286"/>
                    <a:pt x="5952649" y="385286"/>
                  </a:cubicBezTo>
                  <a:close/>
                  <a:moveTo>
                    <a:pt x="5934551" y="339566"/>
                  </a:moveTo>
                  <a:cubicBezTo>
                    <a:pt x="5934551" y="337661"/>
                    <a:pt x="5933599" y="334804"/>
                    <a:pt x="5933599" y="332899"/>
                  </a:cubicBezTo>
                  <a:cubicBezTo>
                    <a:pt x="5933599" y="331946"/>
                    <a:pt x="5933599" y="331946"/>
                    <a:pt x="5933599" y="330994"/>
                  </a:cubicBezTo>
                  <a:cubicBezTo>
                    <a:pt x="5934551" y="332899"/>
                    <a:pt x="5934551" y="334804"/>
                    <a:pt x="5935504" y="336709"/>
                  </a:cubicBezTo>
                  <a:cubicBezTo>
                    <a:pt x="5935504" y="337661"/>
                    <a:pt x="5934551" y="338614"/>
                    <a:pt x="5934551" y="339566"/>
                  </a:cubicBezTo>
                  <a:close/>
                  <a:moveTo>
                    <a:pt x="5948839" y="371951"/>
                  </a:moveTo>
                  <a:cubicBezTo>
                    <a:pt x="5947887" y="374809"/>
                    <a:pt x="5946934" y="378619"/>
                    <a:pt x="5945981" y="382429"/>
                  </a:cubicBezTo>
                  <a:cubicBezTo>
                    <a:pt x="5945029" y="386239"/>
                    <a:pt x="5944076" y="389096"/>
                    <a:pt x="5943124" y="392906"/>
                  </a:cubicBezTo>
                  <a:cubicBezTo>
                    <a:pt x="5943124" y="387191"/>
                    <a:pt x="5943124" y="382429"/>
                    <a:pt x="5943124" y="378619"/>
                  </a:cubicBezTo>
                  <a:cubicBezTo>
                    <a:pt x="5943124" y="378619"/>
                    <a:pt x="5943124" y="378619"/>
                    <a:pt x="5943124" y="378619"/>
                  </a:cubicBezTo>
                  <a:cubicBezTo>
                    <a:pt x="5945029" y="373856"/>
                    <a:pt x="5945981" y="370046"/>
                    <a:pt x="5946934" y="365284"/>
                  </a:cubicBezTo>
                  <a:cubicBezTo>
                    <a:pt x="5946934" y="367189"/>
                    <a:pt x="5947887" y="370046"/>
                    <a:pt x="5948839" y="371951"/>
                  </a:cubicBezTo>
                  <a:close/>
                  <a:moveTo>
                    <a:pt x="5930742" y="234791"/>
                  </a:moveTo>
                  <a:cubicBezTo>
                    <a:pt x="5933599" y="245269"/>
                    <a:pt x="5935504" y="256699"/>
                    <a:pt x="5938362" y="269081"/>
                  </a:cubicBezTo>
                  <a:cubicBezTo>
                    <a:pt x="5941219" y="280511"/>
                    <a:pt x="5942171" y="293846"/>
                    <a:pt x="5945029" y="307181"/>
                  </a:cubicBezTo>
                  <a:cubicBezTo>
                    <a:pt x="5943124" y="312896"/>
                    <a:pt x="5941219" y="317659"/>
                    <a:pt x="5940267" y="323374"/>
                  </a:cubicBezTo>
                  <a:cubicBezTo>
                    <a:pt x="5940267" y="323374"/>
                    <a:pt x="5940267" y="324326"/>
                    <a:pt x="5940267" y="324326"/>
                  </a:cubicBezTo>
                  <a:cubicBezTo>
                    <a:pt x="5937409" y="318611"/>
                    <a:pt x="5934551" y="312896"/>
                    <a:pt x="5931694" y="307181"/>
                  </a:cubicBezTo>
                  <a:cubicBezTo>
                    <a:pt x="5930742" y="299561"/>
                    <a:pt x="5929789" y="291941"/>
                    <a:pt x="5928837" y="284321"/>
                  </a:cubicBezTo>
                  <a:cubicBezTo>
                    <a:pt x="5927884" y="277654"/>
                    <a:pt x="5927884" y="271939"/>
                    <a:pt x="5926931" y="266224"/>
                  </a:cubicBezTo>
                  <a:cubicBezTo>
                    <a:pt x="5928837" y="261461"/>
                    <a:pt x="5929789" y="259556"/>
                    <a:pt x="5929789" y="259556"/>
                  </a:cubicBezTo>
                  <a:cubicBezTo>
                    <a:pt x="5929789" y="259556"/>
                    <a:pt x="5928837" y="261461"/>
                    <a:pt x="5926931" y="264319"/>
                  </a:cubicBezTo>
                  <a:cubicBezTo>
                    <a:pt x="5925979" y="257651"/>
                    <a:pt x="5925026" y="251936"/>
                    <a:pt x="5925026" y="245269"/>
                  </a:cubicBezTo>
                  <a:cubicBezTo>
                    <a:pt x="5925979" y="241459"/>
                    <a:pt x="5926931" y="237649"/>
                    <a:pt x="5926931" y="233839"/>
                  </a:cubicBezTo>
                  <a:cubicBezTo>
                    <a:pt x="5927884" y="230981"/>
                    <a:pt x="5927884" y="228124"/>
                    <a:pt x="5928837" y="226219"/>
                  </a:cubicBezTo>
                  <a:cubicBezTo>
                    <a:pt x="5928837" y="229076"/>
                    <a:pt x="5929789" y="231934"/>
                    <a:pt x="5930742" y="234791"/>
                  </a:cubicBezTo>
                  <a:close/>
                  <a:moveTo>
                    <a:pt x="5923121" y="209074"/>
                  </a:moveTo>
                  <a:cubicBezTo>
                    <a:pt x="5924074" y="212884"/>
                    <a:pt x="5925979" y="217646"/>
                    <a:pt x="5926931" y="222409"/>
                  </a:cubicBezTo>
                  <a:cubicBezTo>
                    <a:pt x="5925026" y="225266"/>
                    <a:pt x="5924074" y="229076"/>
                    <a:pt x="5922169" y="232886"/>
                  </a:cubicBezTo>
                  <a:cubicBezTo>
                    <a:pt x="5921217" y="223361"/>
                    <a:pt x="5920264" y="214789"/>
                    <a:pt x="5919312" y="206216"/>
                  </a:cubicBezTo>
                  <a:cubicBezTo>
                    <a:pt x="5919312" y="201454"/>
                    <a:pt x="5918359" y="197644"/>
                    <a:pt x="5918359" y="193834"/>
                  </a:cubicBezTo>
                  <a:cubicBezTo>
                    <a:pt x="5920264" y="197644"/>
                    <a:pt x="5921217" y="202406"/>
                    <a:pt x="5923121" y="209074"/>
                  </a:cubicBezTo>
                  <a:close/>
                  <a:moveTo>
                    <a:pt x="5901214" y="244316"/>
                  </a:moveTo>
                  <a:cubicBezTo>
                    <a:pt x="5901214" y="247174"/>
                    <a:pt x="5901214" y="251936"/>
                    <a:pt x="5901214" y="258604"/>
                  </a:cubicBezTo>
                  <a:cubicBezTo>
                    <a:pt x="5901214" y="264319"/>
                    <a:pt x="5901214" y="270986"/>
                    <a:pt x="5902167" y="278606"/>
                  </a:cubicBezTo>
                  <a:cubicBezTo>
                    <a:pt x="5902167" y="286226"/>
                    <a:pt x="5903119" y="293846"/>
                    <a:pt x="5904071" y="302419"/>
                  </a:cubicBezTo>
                  <a:cubicBezTo>
                    <a:pt x="5903119" y="304324"/>
                    <a:pt x="5901214" y="307181"/>
                    <a:pt x="5900262" y="310039"/>
                  </a:cubicBezTo>
                  <a:cubicBezTo>
                    <a:pt x="5898356" y="300514"/>
                    <a:pt x="5896451" y="291941"/>
                    <a:pt x="5895499" y="284321"/>
                  </a:cubicBezTo>
                  <a:cubicBezTo>
                    <a:pt x="5897404" y="264319"/>
                    <a:pt x="5900262" y="250984"/>
                    <a:pt x="5901214" y="244316"/>
                  </a:cubicBezTo>
                  <a:close/>
                  <a:moveTo>
                    <a:pt x="5903119" y="324326"/>
                  </a:moveTo>
                  <a:cubicBezTo>
                    <a:pt x="5903119" y="325279"/>
                    <a:pt x="5903119" y="327184"/>
                    <a:pt x="5903119" y="328136"/>
                  </a:cubicBezTo>
                  <a:cubicBezTo>
                    <a:pt x="5903119" y="327184"/>
                    <a:pt x="5903119" y="326231"/>
                    <a:pt x="5902167" y="325279"/>
                  </a:cubicBezTo>
                  <a:cubicBezTo>
                    <a:pt x="5903119" y="325279"/>
                    <a:pt x="5903119" y="324326"/>
                    <a:pt x="5903119" y="324326"/>
                  </a:cubicBezTo>
                  <a:close/>
                  <a:moveTo>
                    <a:pt x="5892642" y="348139"/>
                  </a:moveTo>
                  <a:cubicBezTo>
                    <a:pt x="5892642" y="350044"/>
                    <a:pt x="5892642" y="350996"/>
                    <a:pt x="5893594" y="352901"/>
                  </a:cubicBezTo>
                  <a:cubicBezTo>
                    <a:pt x="5893594" y="353854"/>
                    <a:pt x="5893594" y="354806"/>
                    <a:pt x="5893594" y="355759"/>
                  </a:cubicBezTo>
                  <a:cubicBezTo>
                    <a:pt x="5892642" y="353854"/>
                    <a:pt x="5892642" y="351949"/>
                    <a:pt x="5891689" y="350996"/>
                  </a:cubicBezTo>
                  <a:cubicBezTo>
                    <a:pt x="5892642" y="350044"/>
                    <a:pt x="5892642" y="349091"/>
                    <a:pt x="5892642" y="348139"/>
                  </a:cubicBezTo>
                  <a:close/>
                  <a:moveTo>
                    <a:pt x="5893594" y="373856"/>
                  </a:moveTo>
                  <a:cubicBezTo>
                    <a:pt x="5895499" y="379571"/>
                    <a:pt x="5897404" y="385286"/>
                    <a:pt x="5898356" y="391954"/>
                  </a:cubicBezTo>
                  <a:cubicBezTo>
                    <a:pt x="5899309" y="396716"/>
                    <a:pt x="5901214" y="402431"/>
                    <a:pt x="5902167" y="408146"/>
                  </a:cubicBezTo>
                  <a:cubicBezTo>
                    <a:pt x="5903119" y="411004"/>
                    <a:pt x="5903119" y="414814"/>
                    <a:pt x="5904071" y="417671"/>
                  </a:cubicBezTo>
                  <a:cubicBezTo>
                    <a:pt x="5904071" y="417671"/>
                    <a:pt x="5904071" y="417671"/>
                    <a:pt x="5904071" y="417671"/>
                  </a:cubicBezTo>
                  <a:cubicBezTo>
                    <a:pt x="5899309" y="407194"/>
                    <a:pt x="5895499" y="397669"/>
                    <a:pt x="5890737" y="387191"/>
                  </a:cubicBezTo>
                  <a:cubicBezTo>
                    <a:pt x="5889784" y="386239"/>
                    <a:pt x="5889784" y="385286"/>
                    <a:pt x="5888831" y="383381"/>
                  </a:cubicBezTo>
                  <a:lnTo>
                    <a:pt x="5887879" y="357664"/>
                  </a:lnTo>
                  <a:cubicBezTo>
                    <a:pt x="5887879" y="357664"/>
                    <a:pt x="5887879" y="356711"/>
                    <a:pt x="5888831" y="356711"/>
                  </a:cubicBezTo>
                  <a:cubicBezTo>
                    <a:pt x="5889784" y="363379"/>
                    <a:pt x="5891689" y="368141"/>
                    <a:pt x="5893594" y="373856"/>
                  </a:cubicBezTo>
                  <a:close/>
                  <a:moveTo>
                    <a:pt x="5886926" y="321469"/>
                  </a:moveTo>
                  <a:cubicBezTo>
                    <a:pt x="5887879" y="317659"/>
                    <a:pt x="5887879" y="314801"/>
                    <a:pt x="5888831" y="311944"/>
                  </a:cubicBezTo>
                  <a:cubicBezTo>
                    <a:pt x="5888831" y="312896"/>
                    <a:pt x="5888831" y="313849"/>
                    <a:pt x="5888831" y="314801"/>
                  </a:cubicBezTo>
                  <a:cubicBezTo>
                    <a:pt x="5888831" y="318611"/>
                    <a:pt x="5889784" y="322421"/>
                    <a:pt x="5889784" y="326231"/>
                  </a:cubicBezTo>
                  <a:cubicBezTo>
                    <a:pt x="5888831" y="328136"/>
                    <a:pt x="5887879" y="330041"/>
                    <a:pt x="5885974" y="332899"/>
                  </a:cubicBezTo>
                  <a:cubicBezTo>
                    <a:pt x="5885974" y="330041"/>
                    <a:pt x="5885974" y="327184"/>
                    <a:pt x="5885974" y="325279"/>
                  </a:cubicBezTo>
                  <a:cubicBezTo>
                    <a:pt x="5885974" y="323374"/>
                    <a:pt x="5886926" y="322421"/>
                    <a:pt x="5886926" y="321469"/>
                  </a:cubicBezTo>
                  <a:close/>
                  <a:moveTo>
                    <a:pt x="5858351" y="279559"/>
                  </a:moveTo>
                  <a:cubicBezTo>
                    <a:pt x="5858351" y="281464"/>
                    <a:pt x="5858351" y="282416"/>
                    <a:pt x="5858351" y="284321"/>
                  </a:cubicBezTo>
                  <a:cubicBezTo>
                    <a:pt x="5858351" y="284321"/>
                    <a:pt x="5858351" y="285274"/>
                    <a:pt x="5858351" y="285274"/>
                  </a:cubicBezTo>
                  <a:cubicBezTo>
                    <a:pt x="5858351" y="284321"/>
                    <a:pt x="5857399" y="283369"/>
                    <a:pt x="5857399" y="281464"/>
                  </a:cubicBezTo>
                  <a:cubicBezTo>
                    <a:pt x="5857399" y="281464"/>
                    <a:pt x="5857399" y="280511"/>
                    <a:pt x="5858351" y="279559"/>
                  </a:cubicBezTo>
                  <a:close/>
                  <a:moveTo>
                    <a:pt x="5841206" y="264319"/>
                  </a:moveTo>
                  <a:cubicBezTo>
                    <a:pt x="5841206" y="266224"/>
                    <a:pt x="5840254" y="268129"/>
                    <a:pt x="5840254" y="270034"/>
                  </a:cubicBezTo>
                  <a:cubicBezTo>
                    <a:pt x="5840254" y="272891"/>
                    <a:pt x="5839301" y="274796"/>
                    <a:pt x="5839301" y="277654"/>
                  </a:cubicBezTo>
                  <a:cubicBezTo>
                    <a:pt x="5839301" y="275749"/>
                    <a:pt x="5838349" y="273844"/>
                    <a:pt x="5838349" y="271939"/>
                  </a:cubicBezTo>
                  <a:cubicBezTo>
                    <a:pt x="5840254" y="269081"/>
                    <a:pt x="5840254" y="267176"/>
                    <a:pt x="5841206" y="264319"/>
                  </a:cubicBezTo>
                  <a:close/>
                  <a:moveTo>
                    <a:pt x="5828824" y="305276"/>
                  </a:moveTo>
                  <a:cubicBezTo>
                    <a:pt x="5827871" y="306229"/>
                    <a:pt x="5827871" y="307181"/>
                    <a:pt x="5826919" y="308134"/>
                  </a:cubicBezTo>
                  <a:cubicBezTo>
                    <a:pt x="5826919" y="307181"/>
                    <a:pt x="5826919" y="307181"/>
                    <a:pt x="5826919" y="306229"/>
                  </a:cubicBezTo>
                  <a:cubicBezTo>
                    <a:pt x="5827871" y="304324"/>
                    <a:pt x="5828824" y="301466"/>
                    <a:pt x="5829776" y="299561"/>
                  </a:cubicBezTo>
                  <a:cubicBezTo>
                    <a:pt x="5828824" y="302419"/>
                    <a:pt x="5828824" y="303371"/>
                    <a:pt x="5828824" y="305276"/>
                  </a:cubicBezTo>
                  <a:close/>
                  <a:moveTo>
                    <a:pt x="5823109" y="259556"/>
                  </a:moveTo>
                  <a:cubicBezTo>
                    <a:pt x="5824062" y="262414"/>
                    <a:pt x="5825967" y="266224"/>
                    <a:pt x="5827871" y="270986"/>
                  </a:cubicBezTo>
                  <a:cubicBezTo>
                    <a:pt x="5827871" y="271939"/>
                    <a:pt x="5828824" y="272891"/>
                    <a:pt x="5828824" y="273844"/>
                  </a:cubicBezTo>
                  <a:cubicBezTo>
                    <a:pt x="5828824" y="277654"/>
                    <a:pt x="5828824" y="281464"/>
                    <a:pt x="5828824" y="286226"/>
                  </a:cubicBezTo>
                  <a:cubicBezTo>
                    <a:pt x="5826919" y="289084"/>
                    <a:pt x="5825967" y="291941"/>
                    <a:pt x="5824062" y="295751"/>
                  </a:cubicBezTo>
                  <a:lnTo>
                    <a:pt x="5824062" y="294799"/>
                  </a:lnTo>
                  <a:lnTo>
                    <a:pt x="5823109" y="267176"/>
                  </a:lnTo>
                  <a:lnTo>
                    <a:pt x="5823109" y="259556"/>
                  </a:lnTo>
                  <a:close/>
                  <a:moveTo>
                    <a:pt x="5813584" y="252889"/>
                  </a:moveTo>
                  <a:cubicBezTo>
                    <a:pt x="5813584" y="254794"/>
                    <a:pt x="5812631" y="256699"/>
                    <a:pt x="5812631" y="258604"/>
                  </a:cubicBezTo>
                  <a:cubicBezTo>
                    <a:pt x="5811679" y="256699"/>
                    <a:pt x="5811679" y="255746"/>
                    <a:pt x="5811679" y="255746"/>
                  </a:cubicBezTo>
                  <a:cubicBezTo>
                    <a:pt x="5811679" y="255746"/>
                    <a:pt x="5811679" y="258604"/>
                    <a:pt x="5811679" y="262414"/>
                  </a:cubicBezTo>
                  <a:cubicBezTo>
                    <a:pt x="5811679" y="264319"/>
                    <a:pt x="5810726" y="265271"/>
                    <a:pt x="5810726" y="267176"/>
                  </a:cubicBezTo>
                  <a:cubicBezTo>
                    <a:pt x="5809774" y="276701"/>
                    <a:pt x="5808821" y="285274"/>
                    <a:pt x="5808821" y="294799"/>
                  </a:cubicBezTo>
                  <a:lnTo>
                    <a:pt x="5808821" y="304324"/>
                  </a:lnTo>
                  <a:lnTo>
                    <a:pt x="5807869" y="300514"/>
                  </a:lnTo>
                  <a:cubicBezTo>
                    <a:pt x="5808821" y="286226"/>
                    <a:pt x="5807869" y="273844"/>
                    <a:pt x="5806917" y="264319"/>
                  </a:cubicBezTo>
                  <a:cubicBezTo>
                    <a:pt x="5806917" y="263366"/>
                    <a:pt x="5806917" y="263366"/>
                    <a:pt x="5806917" y="262414"/>
                  </a:cubicBezTo>
                  <a:cubicBezTo>
                    <a:pt x="5809774" y="258604"/>
                    <a:pt x="5812631" y="254794"/>
                    <a:pt x="5813584" y="252889"/>
                  </a:cubicBezTo>
                  <a:close/>
                  <a:moveTo>
                    <a:pt x="5804059" y="268129"/>
                  </a:moveTo>
                  <a:cubicBezTo>
                    <a:pt x="5804059" y="268129"/>
                    <a:pt x="5804059" y="269081"/>
                    <a:pt x="5804059" y="269081"/>
                  </a:cubicBezTo>
                  <a:lnTo>
                    <a:pt x="5804059" y="268129"/>
                  </a:lnTo>
                  <a:cubicBezTo>
                    <a:pt x="5804059" y="268129"/>
                    <a:pt x="5804059" y="268129"/>
                    <a:pt x="5804059" y="268129"/>
                  </a:cubicBezTo>
                  <a:close/>
                  <a:moveTo>
                    <a:pt x="5799296" y="164306"/>
                  </a:moveTo>
                  <a:cubicBezTo>
                    <a:pt x="5800249" y="165259"/>
                    <a:pt x="5801201" y="165259"/>
                    <a:pt x="5802154" y="166211"/>
                  </a:cubicBezTo>
                  <a:cubicBezTo>
                    <a:pt x="5800249" y="170021"/>
                    <a:pt x="5798344" y="172879"/>
                    <a:pt x="5796439" y="176689"/>
                  </a:cubicBezTo>
                  <a:lnTo>
                    <a:pt x="5796439" y="163354"/>
                  </a:lnTo>
                  <a:cubicBezTo>
                    <a:pt x="5797392" y="163354"/>
                    <a:pt x="5798344" y="163354"/>
                    <a:pt x="5799296" y="164306"/>
                  </a:cubicBezTo>
                  <a:close/>
                  <a:moveTo>
                    <a:pt x="5770721" y="386239"/>
                  </a:moveTo>
                  <a:cubicBezTo>
                    <a:pt x="5770721" y="385286"/>
                    <a:pt x="5770721" y="384334"/>
                    <a:pt x="5770721" y="383381"/>
                  </a:cubicBezTo>
                  <a:cubicBezTo>
                    <a:pt x="5770721" y="383381"/>
                    <a:pt x="5770721" y="382429"/>
                    <a:pt x="5770721" y="382429"/>
                  </a:cubicBezTo>
                  <a:cubicBezTo>
                    <a:pt x="5770721" y="384334"/>
                    <a:pt x="5770721" y="385286"/>
                    <a:pt x="5771674" y="387191"/>
                  </a:cubicBezTo>
                  <a:cubicBezTo>
                    <a:pt x="5771674" y="386239"/>
                    <a:pt x="5771674" y="386239"/>
                    <a:pt x="5770721" y="386239"/>
                  </a:cubicBezTo>
                  <a:close/>
                  <a:moveTo>
                    <a:pt x="5782151" y="253841"/>
                  </a:moveTo>
                  <a:cubicBezTo>
                    <a:pt x="5781199" y="254794"/>
                    <a:pt x="5781199" y="256699"/>
                    <a:pt x="5780246" y="258604"/>
                  </a:cubicBezTo>
                  <a:cubicBezTo>
                    <a:pt x="5779294" y="261461"/>
                    <a:pt x="5778342" y="264319"/>
                    <a:pt x="5777389" y="267176"/>
                  </a:cubicBezTo>
                  <a:cubicBezTo>
                    <a:pt x="5776437" y="270034"/>
                    <a:pt x="5775484" y="272891"/>
                    <a:pt x="5773579" y="275749"/>
                  </a:cubicBezTo>
                  <a:cubicBezTo>
                    <a:pt x="5773579" y="274796"/>
                    <a:pt x="5772626" y="274796"/>
                    <a:pt x="5772626" y="273844"/>
                  </a:cubicBezTo>
                  <a:cubicBezTo>
                    <a:pt x="5772626" y="273844"/>
                    <a:pt x="5772626" y="272891"/>
                    <a:pt x="5771674" y="272891"/>
                  </a:cubicBezTo>
                  <a:cubicBezTo>
                    <a:pt x="5777389" y="256699"/>
                    <a:pt x="5781199" y="246221"/>
                    <a:pt x="5783104" y="241459"/>
                  </a:cubicBezTo>
                  <a:cubicBezTo>
                    <a:pt x="5783104" y="245269"/>
                    <a:pt x="5783104" y="250031"/>
                    <a:pt x="5782151" y="253841"/>
                  </a:cubicBezTo>
                  <a:close/>
                  <a:moveTo>
                    <a:pt x="5785962" y="221456"/>
                  </a:moveTo>
                  <a:cubicBezTo>
                    <a:pt x="5785009" y="227171"/>
                    <a:pt x="5785009" y="232886"/>
                    <a:pt x="5784056" y="239554"/>
                  </a:cubicBezTo>
                  <a:cubicBezTo>
                    <a:pt x="5784056" y="239554"/>
                    <a:pt x="5784056" y="240506"/>
                    <a:pt x="5784056" y="240506"/>
                  </a:cubicBezTo>
                  <a:cubicBezTo>
                    <a:pt x="5782151" y="244316"/>
                    <a:pt x="5777389" y="253841"/>
                    <a:pt x="5770721" y="267176"/>
                  </a:cubicBezTo>
                  <a:cubicBezTo>
                    <a:pt x="5770721" y="265271"/>
                    <a:pt x="5769769" y="263366"/>
                    <a:pt x="5769769" y="261461"/>
                  </a:cubicBezTo>
                  <a:cubicBezTo>
                    <a:pt x="5769769" y="260509"/>
                    <a:pt x="5769769" y="259556"/>
                    <a:pt x="5769769" y="258604"/>
                  </a:cubicBezTo>
                  <a:cubicBezTo>
                    <a:pt x="5775484" y="246221"/>
                    <a:pt x="5781199" y="233839"/>
                    <a:pt x="5785962" y="221456"/>
                  </a:cubicBezTo>
                  <a:close/>
                  <a:moveTo>
                    <a:pt x="5754529" y="333851"/>
                  </a:moveTo>
                  <a:cubicBezTo>
                    <a:pt x="5751671" y="338614"/>
                    <a:pt x="5749767" y="343376"/>
                    <a:pt x="5746909" y="348139"/>
                  </a:cubicBezTo>
                  <a:cubicBezTo>
                    <a:pt x="5746909" y="347186"/>
                    <a:pt x="5745956" y="347186"/>
                    <a:pt x="5745956" y="346234"/>
                  </a:cubicBezTo>
                  <a:cubicBezTo>
                    <a:pt x="5748814" y="337661"/>
                    <a:pt x="5751671" y="330041"/>
                    <a:pt x="5754529" y="322421"/>
                  </a:cubicBezTo>
                  <a:cubicBezTo>
                    <a:pt x="5754529" y="325279"/>
                    <a:pt x="5754529" y="329089"/>
                    <a:pt x="5754529" y="333851"/>
                  </a:cubicBezTo>
                  <a:cubicBezTo>
                    <a:pt x="5754529" y="333851"/>
                    <a:pt x="5754529" y="333851"/>
                    <a:pt x="5754529" y="333851"/>
                  </a:cubicBezTo>
                  <a:close/>
                  <a:moveTo>
                    <a:pt x="5762149" y="302419"/>
                  </a:moveTo>
                  <a:cubicBezTo>
                    <a:pt x="5762149" y="303371"/>
                    <a:pt x="5762149" y="303371"/>
                    <a:pt x="5762149" y="302419"/>
                  </a:cubicBezTo>
                  <a:cubicBezTo>
                    <a:pt x="5762149" y="303371"/>
                    <a:pt x="5761196" y="303371"/>
                    <a:pt x="5762149" y="302419"/>
                  </a:cubicBezTo>
                  <a:cubicBezTo>
                    <a:pt x="5761196" y="303371"/>
                    <a:pt x="5761196" y="303371"/>
                    <a:pt x="5762149" y="302419"/>
                  </a:cubicBezTo>
                  <a:close/>
                  <a:moveTo>
                    <a:pt x="5761196" y="304324"/>
                  </a:moveTo>
                  <a:cubicBezTo>
                    <a:pt x="5761196" y="304324"/>
                    <a:pt x="5761196" y="305276"/>
                    <a:pt x="5762149" y="305276"/>
                  </a:cubicBezTo>
                  <a:cubicBezTo>
                    <a:pt x="5762149" y="306229"/>
                    <a:pt x="5762149" y="307181"/>
                    <a:pt x="5762149" y="308134"/>
                  </a:cubicBezTo>
                  <a:cubicBezTo>
                    <a:pt x="5762149" y="309086"/>
                    <a:pt x="5762149" y="309086"/>
                    <a:pt x="5762149" y="310039"/>
                  </a:cubicBezTo>
                  <a:cubicBezTo>
                    <a:pt x="5761196" y="313849"/>
                    <a:pt x="5760244" y="316706"/>
                    <a:pt x="5759292" y="320516"/>
                  </a:cubicBezTo>
                  <a:cubicBezTo>
                    <a:pt x="5758339" y="323374"/>
                    <a:pt x="5758339" y="325279"/>
                    <a:pt x="5757387" y="328136"/>
                  </a:cubicBezTo>
                  <a:cubicBezTo>
                    <a:pt x="5756434" y="324326"/>
                    <a:pt x="5755481" y="321469"/>
                    <a:pt x="5755481" y="320516"/>
                  </a:cubicBezTo>
                  <a:cubicBezTo>
                    <a:pt x="5757387" y="314801"/>
                    <a:pt x="5759292" y="309086"/>
                    <a:pt x="5761196" y="304324"/>
                  </a:cubicBezTo>
                  <a:close/>
                  <a:moveTo>
                    <a:pt x="5760244" y="289084"/>
                  </a:moveTo>
                  <a:cubicBezTo>
                    <a:pt x="5760244" y="290036"/>
                    <a:pt x="5759292" y="290036"/>
                    <a:pt x="5759292" y="290989"/>
                  </a:cubicBezTo>
                  <a:cubicBezTo>
                    <a:pt x="5757387" y="293846"/>
                    <a:pt x="5754529" y="297656"/>
                    <a:pt x="5751671" y="301466"/>
                  </a:cubicBezTo>
                  <a:cubicBezTo>
                    <a:pt x="5750719" y="302419"/>
                    <a:pt x="5749767" y="304324"/>
                    <a:pt x="5748814" y="305276"/>
                  </a:cubicBezTo>
                  <a:cubicBezTo>
                    <a:pt x="5752624" y="296704"/>
                    <a:pt x="5755481" y="288131"/>
                    <a:pt x="5759292" y="280511"/>
                  </a:cubicBezTo>
                  <a:cubicBezTo>
                    <a:pt x="5760244" y="284321"/>
                    <a:pt x="5760244" y="286226"/>
                    <a:pt x="5760244" y="289084"/>
                  </a:cubicBezTo>
                  <a:close/>
                  <a:moveTo>
                    <a:pt x="5756434" y="227171"/>
                  </a:moveTo>
                  <a:cubicBezTo>
                    <a:pt x="5756434" y="231934"/>
                    <a:pt x="5756434" y="237649"/>
                    <a:pt x="5756434" y="243364"/>
                  </a:cubicBezTo>
                  <a:cubicBezTo>
                    <a:pt x="5756434" y="246221"/>
                    <a:pt x="5756434" y="248126"/>
                    <a:pt x="5757387" y="250984"/>
                  </a:cubicBezTo>
                  <a:cubicBezTo>
                    <a:pt x="5756434" y="253841"/>
                    <a:pt x="5754529" y="256699"/>
                    <a:pt x="5753576" y="259556"/>
                  </a:cubicBezTo>
                  <a:cubicBezTo>
                    <a:pt x="5749767" y="268129"/>
                    <a:pt x="5745004" y="276701"/>
                    <a:pt x="5741194" y="285274"/>
                  </a:cubicBezTo>
                  <a:cubicBezTo>
                    <a:pt x="5746909" y="262414"/>
                    <a:pt x="5752624" y="243364"/>
                    <a:pt x="5756434" y="227171"/>
                  </a:cubicBezTo>
                  <a:close/>
                  <a:moveTo>
                    <a:pt x="5676424" y="184309"/>
                  </a:moveTo>
                  <a:cubicBezTo>
                    <a:pt x="5676424" y="188119"/>
                    <a:pt x="5676424" y="192881"/>
                    <a:pt x="5676424" y="198596"/>
                  </a:cubicBezTo>
                  <a:cubicBezTo>
                    <a:pt x="5676424" y="206216"/>
                    <a:pt x="5676424" y="216694"/>
                    <a:pt x="5676424" y="228124"/>
                  </a:cubicBezTo>
                  <a:cubicBezTo>
                    <a:pt x="5676424" y="233839"/>
                    <a:pt x="5676424" y="239554"/>
                    <a:pt x="5676424" y="246221"/>
                  </a:cubicBezTo>
                  <a:cubicBezTo>
                    <a:pt x="5676424" y="252889"/>
                    <a:pt x="5677376" y="259556"/>
                    <a:pt x="5677376" y="266224"/>
                  </a:cubicBezTo>
                  <a:cubicBezTo>
                    <a:pt x="5677376" y="270034"/>
                    <a:pt x="5677376" y="273844"/>
                    <a:pt x="5678329" y="276701"/>
                  </a:cubicBezTo>
                  <a:cubicBezTo>
                    <a:pt x="5678329" y="276701"/>
                    <a:pt x="5678329" y="276701"/>
                    <a:pt x="5678329" y="276701"/>
                  </a:cubicBezTo>
                  <a:cubicBezTo>
                    <a:pt x="5677376" y="270986"/>
                    <a:pt x="5676424" y="265271"/>
                    <a:pt x="5675471" y="259556"/>
                  </a:cubicBezTo>
                  <a:cubicBezTo>
                    <a:pt x="5674519" y="253841"/>
                    <a:pt x="5673567" y="248126"/>
                    <a:pt x="5672614" y="242411"/>
                  </a:cubicBezTo>
                  <a:cubicBezTo>
                    <a:pt x="5671662" y="235744"/>
                    <a:pt x="5670709" y="229076"/>
                    <a:pt x="5669756" y="223361"/>
                  </a:cubicBezTo>
                  <a:cubicBezTo>
                    <a:pt x="5669756" y="221456"/>
                    <a:pt x="5668804" y="218599"/>
                    <a:pt x="5668804" y="216694"/>
                  </a:cubicBezTo>
                  <a:cubicBezTo>
                    <a:pt x="5671662" y="202406"/>
                    <a:pt x="5674519" y="190976"/>
                    <a:pt x="5676424" y="184309"/>
                  </a:cubicBezTo>
                  <a:close/>
                  <a:moveTo>
                    <a:pt x="5652612" y="263366"/>
                  </a:moveTo>
                  <a:cubicBezTo>
                    <a:pt x="5652612" y="262414"/>
                    <a:pt x="5652612" y="262414"/>
                    <a:pt x="5653564" y="261461"/>
                  </a:cubicBezTo>
                  <a:cubicBezTo>
                    <a:pt x="5654517" y="262414"/>
                    <a:pt x="5654517" y="263366"/>
                    <a:pt x="5655469" y="264319"/>
                  </a:cubicBezTo>
                  <a:cubicBezTo>
                    <a:pt x="5655469" y="265271"/>
                    <a:pt x="5655469" y="266224"/>
                    <a:pt x="5655469" y="268129"/>
                  </a:cubicBezTo>
                  <a:cubicBezTo>
                    <a:pt x="5656421" y="273844"/>
                    <a:pt x="5656421" y="279559"/>
                    <a:pt x="5657374" y="286226"/>
                  </a:cubicBezTo>
                  <a:cubicBezTo>
                    <a:pt x="5655469" y="280511"/>
                    <a:pt x="5654517" y="274796"/>
                    <a:pt x="5652612" y="269081"/>
                  </a:cubicBezTo>
                  <a:cubicBezTo>
                    <a:pt x="5652612" y="268129"/>
                    <a:pt x="5652612" y="268129"/>
                    <a:pt x="5651659" y="267176"/>
                  </a:cubicBezTo>
                  <a:cubicBezTo>
                    <a:pt x="5652612" y="265271"/>
                    <a:pt x="5652612" y="264319"/>
                    <a:pt x="5652612" y="263366"/>
                  </a:cubicBezTo>
                  <a:close/>
                  <a:moveTo>
                    <a:pt x="5650706" y="205264"/>
                  </a:moveTo>
                  <a:cubicBezTo>
                    <a:pt x="5650706" y="208121"/>
                    <a:pt x="5650706" y="210979"/>
                    <a:pt x="5651659" y="212884"/>
                  </a:cubicBezTo>
                  <a:cubicBezTo>
                    <a:pt x="5650706" y="210979"/>
                    <a:pt x="5649754" y="209074"/>
                    <a:pt x="5649754" y="207169"/>
                  </a:cubicBezTo>
                  <a:cubicBezTo>
                    <a:pt x="5649754" y="206216"/>
                    <a:pt x="5649754" y="205264"/>
                    <a:pt x="5650706" y="205264"/>
                  </a:cubicBezTo>
                  <a:close/>
                  <a:moveTo>
                    <a:pt x="5647849" y="209074"/>
                  </a:moveTo>
                  <a:cubicBezTo>
                    <a:pt x="5647849" y="211931"/>
                    <a:pt x="5648801" y="215741"/>
                    <a:pt x="5649754" y="219551"/>
                  </a:cubicBezTo>
                  <a:cubicBezTo>
                    <a:pt x="5650706" y="224314"/>
                    <a:pt x="5650706" y="230029"/>
                    <a:pt x="5651659" y="235744"/>
                  </a:cubicBezTo>
                  <a:cubicBezTo>
                    <a:pt x="5651659" y="235744"/>
                    <a:pt x="5651659" y="235744"/>
                    <a:pt x="5651659" y="236696"/>
                  </a:cubicBezTo>
                  <a:cubicBezTo>
                    <a:pt x="5649754" y="233839"/>
                    <a:pt x="5647849" y="230981"/>
                    <a:pt x="5645944" y="228124"/>
                  </a:cubicBezTo>
                  <a:cubicBezTo>
                    <a:pt x="5644992" y="224314"/>
                    <a:pt x="5644992" y="220504"/>
                    <a:pt x="5644039" y="216694"/>
                  </a:cubicBezTo>
                  <a:cubicBezTo>
                    <a:pt x="5644992" y="213836"/>
                    <a:pt x="5646896" y="211931"/>
                    <a:pt x="5647849" y="209074"/>
                  </a:cubicBezTo>
                  <a:close/>
                  <a:moveTo>
                    <a:pt x="5642134" y="370046"/>
                  </a:moveTo>
                  <a:cubicBezTo>
                    <a:pt x="5642134" y="372904"/>
                    <a:pt x="5643087" y="374809"/>
                    <a:pt x="5643087" y="377666"/>
                  </a:cubicBezTo>
                  <a:cubicBezTo>
                    <a:pt x="5642134" y="379571"/>
                    <a:pt x="5642134" y="382429"/>
                    <a:pt x="5641181" y="385286"/>
                  </a:cubicBezTo>
                  <a:cubicBezTo>
                    <a:pt x="5641181" y="379571"/>
                    <a:pt x="5641181" y="374809"/>
                    <a:pt x="5642134" y="370046"/>
                  </a:cubicBezTo>
                  <a:close/>
                  <a:moveTo>
                    <a:pt x="5624037" y="272891"/>
                  </a:moveTo>
                  <a:cubicBezTo>
                    <a:pt x="5624989" y="268129"/>
                    <a:pt x="5624989" y="263366"/>
                    <a:pt x="5625942" y="258604"/>
                  </a:cubicBezTo>
                  <a:cubicBezTo>
                    <a:pt x="5625942" y="256699"/>
                    <a:pt x="5625942" y="255746"/>
                    <a:pt x="5625942" y="254794"/>
                  </a:cubicBezTo>
                  <a:cubicBezTo>
                    <a:pt x="5627846" y="250031"/>
                    <a:pt x="5629751" y="245269"/>
                    <a:pt x="5632609" y="241459"/>
                  </a:cubicBezTo>
                  <a:cubicBezTo>
                    <a:pt x="5633562" y="239554"/>
                    <a:pt x="5634514" y="238601"/>
                    <a:pt x="5634514" y="236696"/>
                  </a:cubicBezTo>
                  <a:cubicBezTo>
                    <a:pt x="5635467" y="239554"/>
                    <a:pt x="5636419" y="242411"/>
                    <a:pt x="5637371" y="245269"/>
                  </a:cubicBezTo>
                  <a:cubicBezTo>
                    <a:pt x="5638324" y="249079"/>
                    <a:pt x="5639276" y="253841"/>
                    <a:pt x="5640229" y="259556"/>
                  </a:cubicBezTo>
                  <a:cubicBezTo>
                    <a:pt x="5640229" y="261461"/>
                    <a:pt x="5640229" y="264319"/>
                    <a:pt x="5640229" y="266224"/>
                  </a:cubicBezTo>
                  <a:cubicBezTo>
                    <a:pt x="5637371" y="272891"/>
                    <a:pt x="5634514" y="280511"/>
                    <a:pt x="5631656" y="288131"/>
                  </a:cubicBezTo>
                  <a:cubicBezTo>
                    <a:pt x="5628799" y="284321"/>
                    <a:pt x="5626894" y="280511"/>
                    <a:pt x="5624037" y="277654"/>
                  </a:cubicBezTo>
                  <a:cubicBezTo>
                    <a:pt x="5623084" y="275749"/>
                    <a:pt x="5624037" y="273844"/>
                    <a:pt x="5624037" y="272891"/>
                  </a:cubicBezTo>
                  <a:close/>
                  <a:moveTo>
                    <a:pt x="5623084" y="289084"/>
                  </a:moveTo>
                  <a:cubicBezTo>
                    <a:pt x="5623084" y="288131"/>
                    <a:pt x="5623084" y="288131"/>
                    <a:pt x="5623084" y="287179"/>
                  </a:cubicBezTo>
                  <a:cubicBezTo>
                    <a:pt x="5624037" y="288131"/>
                    <a:pt x="5624037" y="290036"/>
                    <a:pt x="5624989" y="290989"/>
                  </a:cubicBezTo>
                  <a:cubicBezTo>
                    <a:pt x="5625942" y="292894"/>
                    <a:pt x="5626894" y="295751"/>
                    <a:pt x="5626894" y="298609"/>
                  </a:cubicBezTo>
                  <a:cubicBezTo>
                    <a:pt x="5626894" y="299561"/>
                    <a:pt x="5626894" y="299561"/>
                    <a:pt x="5625942" y="300514"/>
                  </a:cubicBezTo>
                  <a:cubicBezTo>
                    <a:pt x="5625942" y="300514"/>
                    <a:pt x="5625942" y="300514"/>
                    <a:pt x="5625942" y="300514"/>
                  </a:cubicBezTo>
                  <a:cubicBezTo>
                    <a:pt x="5624989" y="298609"/>
                    <a:pt x="5624037" y="297656"/>
                    <a:pt x="5622131" y="295751"/>
                  </a:cubicBezTo>
                  <a:cubicBezTo>
                    <a:pt x="5622131" y="293846"/>
                    <a:pt x="5622131" y="290989"/>
                    <a:pt x="5623084" y="289084"/>
                  </a:cubicBezTo>
                  <a:close/>
                  <a:moveTo>
                    <a:pt x="5621179" y="310991"/>
                  </a:moveTo>
                  <a:cubicBezTo>
                    <a:pt x="5621179" y="310991"/>
                    <a:pt x="5621179" y="310991"/>
                    <a:pt x="5621179" y="310991"/>
                  </a:cubicBezTo>
                  <a:cubicBezTo>
                    <a:pt x="5621179" y="310991"/>
                    <a:pt x="5621179" y="310991"/>
                    <a:pt x="5621179" y="310991"/>
                  </a:cubicBezTo>
                  <a:cubicBezTo>
                    <a:pt x="5621179" y="310991"/>
                    <a:pt x="5621179" y="310991"/>
                    <a:pt x="5621179" y="310991"/>
                  </a:cubicBezTo>
                  <a:close/>
                  <a:moveTo>
                    <a:pt x="5618321" y="270034"/>
                  </a:moveTo>
                  <a:cubicBezTo>
                    <a:pt x="5618321" y="270034"/>
                    <a:pt x="5618321" y="270986"/>
                    <a:pt x="5618321" y="270034"/>
                  </a:cubicBezTo>
                  <a:cubicBezTo>
                    <a:pt x="5618321" y="270986"/>
                    <a:pt x="5618321" y="270986"/>
                    <a:pt x="5618321" y="270034"/>
                  </a:cubicBezTo>
                  <a:cubicBezTo>
                    <a:pt x="5618321" y="270986"/>
                    <a:pt x="5618321" y="270034"/>
                    <a:pt x="5618321" y="270034"/>
                  </a:cubicBezTo>
                  <a:close/>
                  <a:moveTo>
                    <a:pt x="5617369" y="272891"/>
                  </a:moveTo>
                  <a:cubicBezTo>
                    <a:pt x="5617369" y="272891"/>
                    <a:pt x="5617369" y="273844"/>
                    <a:pt x="5618321" y="273844"/>
                  </a:cubicBezTo>
                  <a:cubicBezTo>
                    <a:pt x="5617369" y="277654"/>
                    <a:pt x="5617369" y="282416"/>
                    <a:pt x="5616417" y="286226"/>
                  </a:cubicBezTo>
                  <a:cubicBezTo>
                    <a:pt x="5615464" y="285274"/>
                    <a:pt x="5614512" y="283369"/>
                    <a:pt x="5613559" y="282416"/>
                  </a:cubicBezTo>
                  <a:cubicBezTo>
                    <a:pt x="5614512" y="279559"/>
                    <a:pt x="5615464" y="276701"/>
                    <a:pt x="5617369" y="272891"/>
                  </a:cubicBezTo>
                  <a:close/>
                  <a:moveTo>
                    <a:pt x="5608796" y="290989"/>
                  </a:moveTo>
                  <a:cubicBezTo>
                    <a:pt x="5608796" y="290989"/>
                    <a:pt x="5609749" y="290989"/>
                    <a:pt x="5608796" y="290989"/>
                  </a:cubicBezTo>
                  <a:cubicBezTo>
                    <a:pt x="5609749" y="291941"/>
                    <a:pt x="5610701" y="293846"/>
                    <a:pt x="5611654" y="294799"/>
                  </a:cubicBezTo>
                  <a:cubicBezTo>
                    <a:pt x="5612606" y="295751"/>
                    <a:pt x="5612606" y="296704"/>
                    <a:pt x="5613559" y="297656"/>
                  </a:cubicBezTo>
                  <a:cubicBezTo>
                    <a:pt x="5612606" y="302419"/>
                    <a:pt x="5612606" y="306229"/>
                    <a:pt x="5611654" y="310991"/>
                  </a:cubicBezTo>
                  <a:cubicBezTo>
                    <a:pt x="5610701" y="305276"/>
                    <a:pt x="5609749" y="298609"/>
                    <a:pt x="5608796" y="292894"/>
                  </a:cubicBezTo>
                  <a:cubicBezTo>
                    <a:pt x="5608796" y="291941"/>
                    <a:pt x="5608796" y="291941"/>
                    <a:pt x="5608796" y="290989"/>
                  </a:cubicBezTo>
                  <a:close/>
                  <a:moveTo>
                    <a:pt x="5594509" y="241459"/>
                  </a:moveTo>
                  <a:cubicBezTo>
                    <a:pt x="5594509" y="247174"/>
                    <a:pt x="5594509" y="252889"/>
                    <a:pt x="5595462" y="258604"/>
                  </a:cubicBezTo>
                  <a:cubicBezTo>
                    <a:pt x="5595462" y="258604"/>
                    <a:pt x="5595462" y="259556"/>
                    <a:pt x="5595462" y="259556"/>
                  </a:cubicBezTo>
                  <a:cubicBezTo>
                    <a:pt x="5595462" y="260509"/>
                    <a:pt x="5595462" y="260509"/>
                    <a:pt x="5595462" y="261461"/>
                  </a:cubicBezTo>
                  <a:cubicBezTo>
                    <a:pt x="5594509" y="260509"/>
                    <a:pt x="5594509" y="260509"/>
                    <a:pt x="5593556" y="259556"/>
                  </a:cubicBezTo>
                  <a:cubicBezTo>
                    <a:pt x="5593556" y="256699"/>
                    <a:pt x="5592604" y="252889"/>
                    <a:pt x="5592604" y="250031"/>
                  </a:cubicBezTo>
                  <a:cubicBezTo>
                    <a:pt x="5591651" y="246221"/>
                    <a:pt x="5593556" y="244316"/>
                    <a:pt x="5594509" y="241459"/>
                  </a:cubicBezTo>
                  <a:close/>
                  <a:moveTo>
                    <a:pt x="5578317" y="284321"/>
                  </a:moveTo>
                  <a:cubicBezTo>
                    <a:pt x="5578317" y="285274"/>
                    <a:pt x="5578317" y="285274"/>
                    <a:pt x="5578317" y="286226"/>
                  </a:cubicBezTo>
                  <a:cubicBezTo>
                    <a:pt x="5578317" y="286226"/>
                    <a:pt x="5578317" y="285274"/>
                    <a:pt x="5577364" y="285274"/>
                  </a:cubicBezTo>
                  <a:cubicBezTo>
                    <a:pt x="5578317" y="284321"/>
                    <a:pt x="5578317" y="284321"/>
                    <a:pt x="5578317" y="284321"/>
                  </a:cubicBezTo>
                  <a:close/>
                  <a:moveTo>
                    <a:pt x="5573554" y="299561"/>
                  </a:moveTo>
                  <a:cubicBezTo>
                    <a:pt x="5574506" y="301466"/>
                    <a:pt x="5575459" y="303371"/>
                    <a:pt x="5576412" y="305276"/>
                  </a:cubicBezTo>
                  <a:cubicBezTo>
                    <a:pt x="5576412" y="306229"/>
                    <a:pt x="5577364" y="306229"/>
                    <a:pt x="5577364" y="307181"/>
                  </a:cubicBezTo>
                  <a:cubicBezTo>
                    <a:pt x="5577364" y="311944"/>
                    <a:pt x="5576412" y="317659"/>
                    <a:pt x="5576412" y="325279"/>
                  </a:cubicBezTo>
                  <a:cubicBezTo>
                    <a:pt x="5576412" y="326231"/>
                    <a:pt x="5576412" y="327184"/>
                    <a:pt x="5576412" y="328136"/>
                  </a:cubicBezTo>
                  <a:cubicBezTo>
                    <a:pt x="5576412" y="325279"/>
                    <a:pt x="5575459" y="322421"/>
                    <a:pt x="5575459" y="319564"/>
                  </a:cubicBezTo>
                  <a:cubicBezTo>
                    <a:pt x="5574506" y="313849"/>
                    <a:pt x="5573554" y="309086"/>
                    <a:pt x="5573554" y="303371"/>
                  </a:cubicBezTo>
                  <a:cubicBezTo>
                    <a:pt x="5572601" y="301466"/>
                    <a:pt x="5573554" y="300514"/>
                    <a:pt x="5573554" y="299561"/>
                  </a:cubicBezTo>
                  <a:close/>
                  <a:moveTo>
                    <a:pt x="5550694" y="308134"/>
                  </a:moveTo>
                  <a:cubicBezTo>
                    <a:pt x="5550694" y="305276"/>
                    <a:pt x="5549742" y="303371"/>
                    <a:pt x="5549742" y="301466"/>
                  </a:cubicBezTo>
                  <a:cubicBezTo>
                    <a:pt x="5550694" y="299561"/>
                    <a:pt x="5550694" y="296704"/>
                    <a:pt x="5551646" y="294799"/>
                  </a:cubicBezTo>
                  <a:cubicBezTo>
                    <a:pt x="5551646" y="293846"/>
                    <a:pt x="5552599" y="292894"/>
                    <a:pt x="5552599" y="291941"/>
                  </a:cubicBezTo>
                  <a:cubicBezTo>
                    <a:pt x="5553551" y="294799"/>
                    <a:pt x="5553551" y="298609"/>
                    <a:pt x="5554504" y="302419"/>
                  </a:cubicBezTo>
                  <a:cubicBezTo>
                    <a:pt x="5553551" y="303371"/>
                    <a:pt x="5553551" y="304324"/>
                    <a:pt x="5552599" y="306229"/>
                  </a:cubicBezTo>
                  <a:cubicBezTo>
                    <a:pt x="5551646" y="306229"/>
                    <a:pt x="5551646" y="307181"/>
                    <a:pt x="5550694" y="308134"/>
                  </a:cubicBezTo>
                  <a:close/>
                  <a:moveTo>
                    <a:pt x="5557362" y="313849"/>
                  </a:moveTo>
                  <a:cubicBezTo>
                    <a:pt x="5557362" y="313849"/>
                    <a:pt x="5557362" y="314801"/>
                    <a:pt x="5557362" y="313849"/>
                  </a:cubicBezTo>
                  <a:cubicBezTo>
                    <a:pt x="5556409" y="315754"/>
                    <a:pt x="5554504" y="317659"/>
                    <a:pt x="5553551" y="318611"/>
                  </a:cubicBezTo>
                  <a:cubicBezTo>
                    <a:pt x="5554504" y="315754"/>
                    <a:pt x="5555456" y="312896"/>
                    <a:pt x="5556409" y="310039"/>
                  </a:cubicBezTo>
                  <a:cubicBezTo>
                    <a:pt x="5556409" y="311944"/>
                    <a:pt x="5557362" y="312896"/>
                    <a:pt x="5557362" y="313849"/>
                  </a:cubicBezTo>
                  <a:cubicBezTo>
                    <a:pt x="5557362" y="313849"/>
                    <a:pt x="5557362" y="313849"/>
                    <a:pt x="5557362" y="313849"/>
                  </a:cubicBezTo>
                  <a:close/>
                  <a:moveTo>
                    <a:pt x="5561171" y="359569"/>
                  </a:moveTo>
                  <a:cubicBezTo>
                    <a:pt x="5561171" y="360521"/>
                    <a:pt x="5561171" y="360521"/>
                    <a:pt x="5561171" y="361474"/>
                  </a:cubicBezTo>
                  <a:cubicBezTo>
                    <a:pt x="5561171" y="361474"/>
                    <a:pt x="5560219" y="360521"/>
                    <a:pt x="5560219" y="360521"/>
                  </a:cubicBezTo>
                  <a:cubicBezTo>
                    <a:pt x="5559267" y="357664"/>
                    <a:pt x="5559267" y="353854"/>
                    <a:pt x="5558314" y="350996"/>
                  </a:cubicBezTo>
                  <a:cubicBezTo>
                    <a:pt x="5559267" y="348139"/>
                    <a:pt x="5560219" y="345281"/>
                    <a:pt x="5560219" y="342424"/>
                  </a:cubicBezTo>
                  <a:cubicBezTo>
                    <a:pt x="5561171" y="348139"/>
                    <a:pt x="5561171" y="353854"/>
                    <a:pt x="5561171" y="359569"/>
                  </a:cubicBezTo>
                  <a:close/>
                  <a:moveTo>
                    <a:pt x="5559267" y="303371"/>
                  </a:moveTo>
                  <a:cubicBezTo>
                    <a:pt x="5559267" y="303371"/>
                    <a:pt x="5559267" y="304324"/>
                    <a:pt x="5559267" y="303371"/>
                  </a:cubicBezTo>
                  <a:cubicBezTo>
                    <a:pt x="5559267" y="304324"/>
                    <a:pt x="5559267" y="304324"/>
                    <a:pt x="5559267" y="303371"/>
                  </a:cubicBezTo>
                  <a:cubicBezTo>
                    <a:pt x="5559267" y="303371"/>
                    <a:pt x="5559267" y="303371"/>
                    <a:pt x="5559267" y="303371"/>
                  </a:cubicBezTo>
                  <a:close/>
                  <a:moveTo>
                    <a:pt x="5557362" y="277654"/>
                  </a:moveTo>
                  <a:cubicBezTo>
                    <a:pt x="5557362" y="279559"/>
                    <a:pt x="5557362" y="281464"/>
                    <a:pt x="5558314" y="283369"/>
                  </a:cubicBezTo>
                  <a:cubicBezTo>
                    <a:pt x="5558314" y="287179"/>
                    <a:pt x="5559267" y="290989"/>
                    <a:pt x="5559267" y="293846"/>
                  </a:cubicBezTo>
                  <a:cubicBezTo>
                    <a:pt x="5558314" y="294799"/>
                    <a:pt x="5558314" y="295751"/>
                    <a:pt x="5557362" y="296704"/>
                  </a:cubicBezTo>
                  <a:cubicBezTo>
                    <a:pt x="5556409" y="292894"/>
                    <a:pt x="5555456" y="290036"/>
                    <a:pt x="5554504" y="287179"/>
                  </a:cubicBezTo>
                  <a:cubicBezTo>
                    <a:pt x="5554504" y="284321"/>
                    <a:pt x="5556409" y="281464"/>
                    <a:pt x="5557362" y="277654"/>
                  </a:cubicBezTo>
                  <a:close/>
                  <a:moveTo>
                    <a:pt x="5553551" y="252889"/>
                  </a:moveTo>
                  <a:cubicBezTo>
                    <a:pt x="5553551" y="252889"/>
                    <a:pt x="5553551" y="252889"/>
                    <a:pt x="5553551" y="252889"/>
                  </a:cubicBezTo>
                  <a:cubicBezTo>
                    <a:pt x="5553551" y="253841"/>
                    <a:pt x="5553551" y="253841"/>
                    <a:pt x="5553551" y="253841"/>
                  </a:cubicBezTo>
                  <a:cubicBezTo>
                    <a:pt x="5554504" y="258604"/>
                    <a:pt x="5554504" y="263366"/>
                    <a:pt x="5555456" y="268129"/>
                  </a:cubicBezTo>
                  <a:cubicBezTo>
                    <a:pt x="5555456" y="269081"/>
                    <a:pt x="5555456" y="270034"/>
                    <a:pt x="5555456" y="270986"/>
                  </a:cubicBezTo>
                  <a:cubicBezTo>
                    <a:pt x="5554504" y="272891"/>
                    <a:pt x="5553551" y="273844"/>
                    <a:pt x="5552599" y="275749"/>
                  </a:cubicBezTo>
                  <a:cubicBezTo>
                    <a:pt x="5551646" y="276701"/>
                    <a:pt x="5550694" y="278606"/>
                    <a:pt x="5549742" y="280511"/>
                  </a:cubicBezTo>
                  <a:cubicBezTo>
                    <a:pt x="5549742" y="280511"/>
                    <a:pt x="5549742" y="280511"/>
                    <a:pt x="5549742" y="280511"/>
                  </a:cubicBezTo>
                  <a:cubicBezTo>
                    <a:pt x="5549742" y="280511"/>
                    <a:pt x="5549742" y="280511"/>
                    <a:pt x="5549742" y="280511"/>
                  </a:cubicBezTo>
                  <a:cubicBezTo>
                    <a:pt x="5548789" y="282416"/>
                    <a:pt x="5547837" y="284321"/>
                    <a:pt x="5545931" y="286226"/>
                  </a:cubicBezTo>
                  <a:cubicBezTo>
                    <a:pt x="5545931" y="284321"/>
                    <a:pt x="5544979" y="282416"/>
                    <a:pt x="5544979" y="281464"/>
                  </a:cubicBezTo>
                  <a:cubicBezTo>
                    <a:pt x="5545931" y="279559"/>
                    <a:pt x="5545931" y="277654"/>
                    <a:pt x="5546884" y="275749"/>
                  </a:cubicBezTo>
                  <a:cubicBezTo>
                    <a:pt x="5547837" y="270986"/>
                    <a:pt x="5548789" y="266224"/>
                    <a:pt x="5549742" y="261461"/>
                  </a:cubicBezTo>
                  <a:cubicBezTo>
                    <a:pt x="5552599" y="258604"/>
                    <a:pt x="5553551" y="255746"/>
                    <a:pt x="5553551" y="252889"/>
                  </a:cubicBezTo>
                  <a:close/>
                  <a:moveTo>
                    <a:pt x="5548789" y="226219"/>
                  </a:moveTo>
                  <a:cubicBezTo>
                    <a:pt x="5548789" y="227171"/>
                    <a:pt x="5549742" y="229076"/>
                    <a:pt x="5549742" y="230029"/>
                  </a:cubicBezTo>
                  <a:cubicBezTo>
                    <a:pt x="5549742" y="231934"/>
                    <a:pt x="5550694" y="232886"/>
                    <a:pt x="5550694" y="234791"/>
                  </a:cubicBezTo>
                  <a:cubicBezTo>
                    <a:pt x="5549742" y="232886"/>
                    <a:pt x="5548789" y="230981"/>
                    <a:pt x="5547837" y="230029"/>
                  </a:cubicBezTo>
                  <a:cubicBezTo>
                    <a:pt x="5548789" y="229076"/>
                    <a:pt x="5548789" y="227171"/>
                    <a:pt x="5548789" y="226219"/>
                  </a:cubicBezTo>
                  <a:close/>
                  <a:moveTo>
                    <a:pt x="5546884" y="235744"/>
                  </a:moveTo>
                  <a:cubicBezTo>
                    <a:pt x="5547837" y="238601"/>
                    <a:pt x="5548789" y="241459"/>
                    <a:pt x="5550694" y="244316"/>
                  </a:cubicBezTo>
                  <a:cubicBezTo>
                    <a:pt x="5548789" y="249079"/>
                    <a:pt x="5546884" y="253841"/>
                    <a:pt x="5544979" y="259556"/>
                  </a:cubicBezTo>
                  <a:cubicBezTo>
                    <a:pt x="5544979" y="260509"/>
                    <a:pt x="5544026" y="261461"/>
                    <a:pt x="5544026" y="262414"/>
                  </a:cubicBezTo>
                  <a:cubicBezTo>
                    <a:pt x="5544026" y="260509"/>
                    <a:pt x="5543074" y="258604"/>
                    <a:pt x="5543074" y="257651"/>
                  </a:cubicBezTo>
                  <a:cubicBezTo>
                    <a:pt x="5543074" y="256699"/>
                    <a:pt x="5543074" y="255746"/>
                    <a:pt x="5542121" y="254794"/>
                  </a:cubicBezTo>
                  <a:cubicBezTo>
                    <a:pt x="5544026" y="248126"/>
                    <a:pt x="5545931" y="241459"/>
                    <a:pt x="5546884" y="235744"/>
                  </a:cubicBezTo>
                  <a:close/>
                  <a:moveTo>
                    <a:pt x="5540217" y="218599"/>
                  </a:moveTo>
                  <a:cubicBezTo>
                    <a:pt x="5540217" y="219551"/>
                    <a:pt x="5540217" y="219551"/>
                    <a:pt x="5539264" y="220504"/>
                  </a:cubicBezTo>
                  <a:cubicBezTo>
                    <a:pt x="5539264" y="221456"/>
                    <a:pt x="5538312" y="222409"/>
                    <a:pt x="5538312" y="223361"/>
                  </a:cubicBezTo>
                  <a:cubicBezTo>
                    <a:pt x="5537359" y="218599"/>
                    <a:pt x="5537359" y="214789"/>
                    <a:pt x="5536406" y="210026"/>
                  </a:cubicBezTo>
                  <a:cubicBezTo>
                    <a:pt x="5537359" y="211931"/>
                    <a:pt x="5538312" y="214789"/>
                    <a:pt x="5540217" y="218599"/>
                  </a:cubicBezTo>
                  <a:close/>
                  <a:moveTo>
                    <a:pt x="5507831" y="312896"/>
                  </a:moveTo>
                  <a:cubicBezTo>
                    <a:pt x="5507831" y="313849"/>
                    <a:pt x="5507831" y="313849"/>
                    <a:pt x="5507831" y="312896"/>
                  </a:cubicBezTo>
                  <a:cubicBezTo>
                    <a:pt x="5507831" y="313849"/>
                    <a:pt x="5507831" y="313849"/>
                    <a:pt x="5507831" y="313849"/>
                  </a:cubicBezTo>
                  <a:cubicBezTo>
                    <a:pt x="5507831" y="313849"/>
                    <a:pt x="5507831" y="313849"/>
                    <a:pt x="5507831" y="312896"/>
                  </a:cubicBezTo>
                  <a:close/>
                  <a:moveTo>
                    <a:pt x="5481162" y="326231"/>
                  </a:moveTo>
                  <a:cubicBezTo>
                    <a:pt x="5481162" y="327184"/>
                    <a:pt x="5480209" y="329089"/>
                    <a:pt x="5480209" y="330994"/>
                  </a:cubicBezTo>
                  <a:cubicBezTo>
                    <a:pt x="5480209" y="329089"/>
                    <a:pt x="5480209" y="326231"/>
                    <a:pt x="5479256" y="324326"/>
                  </a:cubicBezTo>
                  <a:cubicBezTo>
                    <a:pt x="5479256" y="323374"/>
                    <a:pt x="5479256" y="323374"/>
                    <a:pt x="5479256" y="322421"/>
                  </a:cubicBezTo>
                  <a:cubicBezTo>
                    <a:pt x="5479256" y="318611"/>
                    <a:pt x="5478304" y="315754"/>
                    <a:pt x="5478304" y="311944"/>
                  </a:cubicBezTo>
                  <a:cubicBezTo>
                    <a:pt x="5479256" y="315754"/>
                    <a:pt x="5480209" y="320516"/>
                    <a:pt x="5482114" y="325279"/>
                  </a:cubicBezTo>
                  <a:cubicBezTo>
                    <a:pt x="5481162" y="325279"/>
                    <a:pt x="5481162" y="325279"/>
                    <a:pt x="5481162" y="326231"/>
                  </a:cubicBezTo>
                  <a:close/>
                  <a:moveTo>
                    <a:pt x="5493544" y="339566"/>
                  </a:moveTo>
                  <a:cubicBezTo>
                    <a:pt x="5493544" y="339566"/>
                    <a:pt x="5493544" y="339566"/>
                    <a:pt x="5493544" y="339566"/>
                  </a:cubicBezTo>
                  <a:cubicBezTo>
                    <a:pt x="5493544" y="339566"/>
                    <a:pt x="5493544" y="339566"/>
                    <a:pt x="5493544" y="339566"/>
                  </a:cubicBezTo>
                  <a:cubicBezTo>
                    <a:pt x="5493544" y="339566"/>
                    <a:pt x="5493544" y="339566"/>
                    <a:pt x="5493544" y="339566"/>
                  </a:cubicBezTo>
                  <a:close/>
                  <a:moveTo>
                    <a:pt x="5488781" y="261461"/>
                  </a:moveTo>
                  <a:cubicBezTo>
                    <a:pt x="5488781" y="261461"/>
                    <a:pt x="5488781" y="261461"/>
                    <a:pt x="5488781" y="261461"/>
                  </a:cubicBezTo>
                  <a:cubicBezTo>
                    <a:pt x="5489734" y="263366"/>
                    <a:pt x="5489734" y="265271"/>
                    <a:pt x="5490687" y="267176"/>
                  </a:cubicBezTo>
                  <a:cubicBezTo>
                    <a:pt x="5489734" y="266224"/>
                    <a:pt x="5488781" y="265271"/>
                    <a:pt x="5487829" y="264319"/>
                  </a:cubicBezTo>
                  <a:cubicBezTo>
                    <a:pt x="5487829" y="263366"/>
                    <a:pt x="5487829" y="262414"/>
                    <a:pt x="5488781" y="261461"/>
                  </a:cubicBezTo>
                  <a:close/>
                  <a:moveTo>
                    <a:pt x="5483067" y="280511"/>
                  </a:moveTo>
                  <a:cubicBezTo>
                    <a:pt x="5484019" y="277654"/>
                    <a:pt x="5484971" y="275749"/>
                    <a:pt x="5484971" y="272891"/>
                  </a:cubicBezTo>
                  <a:cubicBezTo>
                    <a:pt x="5488781" y="278606"/>
                    <a:pt x="5492592" y="285274"/>
                    <a:pt x="5496401" y="291941"/>
                  </a:cubicBezTo>
                  <a:cubicBezTo>
                    <a:pt x="5497354" y="293846"/>
                    <a:pt x="5498306" y="295751"/>
                    <a:pt x="5500212" y="297656"/>
                  </a:cubicBezTo>
                  <a:cubicBezTo>
                    <a:pt x="5499259" y="300514"/>
                    <a:pt x="5498306" y="303371"/>
                    <a:pt x="5497354" y="307181"/>
                  </a:cubicBezTo>
                  <a:cubicBezTo>
                    <a:pt x="5497354" y="308134"/>
                    <a:pt x="5497354" y="310039"/>
                    <a:pt x="5496401" y="310991"/>
                  </a:cubicBezTo>
                  <a:cubicBezTo>
                    <a:pt x="5494496" y="309086"/>
                    <a:pt x="5493544" y="307181"/>
                    <a:pt x="5493544" y="307181"/>
                  </a:cubicBezTo>
                  <a:cubicBezTo>
                    <a:pt x="5493544" y="307181"/>
                    <a:pt x="5494496" y="309086"/>
                    <a:pt x="5495449" y="311944"/>
                  </a:cubicBezTo>
                  <a:cubicBezTo>
                    <a:pt x="5495449" y="314801"/>
                    <a:pt x="5494496" y="316706"/>
                    <a:pt x="5494496" y="319564"/>
                  </a:cubicBezTo>
                  <a:cubicBezTo>
                    <a:pt x="5493544" y="323374"/>
                    <a:pt x="5493544" y="326231"/>
                    <a:pt x="5492592" y="330041"/>
                  </a:cubicBezTo>
                  <a:cubicBezTo>
                    <a:pt x="5491639" y="330994"/>
                    <a:pt x="5490687" y="331946"/>
                    <a:pt x="5488781" y="333851"/>
                  </a:cubicBezTo>
                  <a:cubicBezTo>
                    <a:pt x="5487829" y="330994"/>
                    <a:pt x="5486876" y="329089"/>
                    <a:pt x="5485924" y="327184"/>
                  </a:cubicBezTo>
                  <a:cubicBezTo>
                    <a:pt x="5485924" y="321469"/>
                    <a:pt x="5486876" y="316706"/>
                    <a:pt x="5487829" y="312896"/>
                  </a:cubicBezTo>
                  <a:cubicBezTo>
                    <a:pt x="5488781" y="304324"/>
                    <a:pt x="5489734" y="299561"/>
                    <a:pt x="5489734" y="299561"/>
                  </a:cubicBezTo>
                  <a:cubicBezTo>
                    <a:pt x="5489734" y="299561"/>
                    <a:pt x="5487829" y="304324"/>
                    <a:pt x="5484019" y="311944"/>
                  </a:cubicBezTo>
                  <a:cubicBezTo>
                    <a:pt x="5484019" y="312896"/>
                    <a:pt x="5484019" y="312896"/>
                    <a:pt x="5483067" y="313849"/>
                  </a:cubicBezTo>
                  <a:cubicBezTo>
                    <a:pt x="5483067" y="313849"/>
                    <a:pt x="5483067" y="312896"/>
                    <a:pt x="5483067" y="312896"/>
                  </a:cubicBezTo>
                  <a:cubicBezTo>
                    <a:pt x="5480209" y="300514"/>
                    <a:pt x="5478304" y="292894"/>
                    <a:pt x="5478304" y="292894"/>
                  </a:cubicBezTo>
                  <a:cubicBezTo>
                    <a:pt x="5478304" y="292894"/>
                    <a:pt x="5478304" y="298609"/>
                    <a:pt x="5479256" y="309086"/>
                  </a:cubicBezTo>
                  <a:cubicBezTo>
                    <a:pt x="5479256" y="309086"/>
                    <a:pt x="5479256" y="308134"/>
                    <a:pt x="5479256" y="308134"/>
                  </a:cubicBezTo>
                  <a:cubicBezTo>
                    <a:pt x="5478304" y="305276"/>
                    <a:pt x="5477351" y="303371"/>
                    <a:pt x="5476399" y="300514"/>
                  </a:cubicBezTo>
                  <a:cubicBezTo>
                    <a:pt x="5479256" y="293846"/>
                    <a:pt x="5481162" y="287179"/>
                    <a:pt x="5483067" y="280511"/>
                  </a:cubicBezTo>
                  <a:close/>
                  <a:moveTo>
                    <a:pt x="5472589" y="254794"/>
                  </a:moveTo>
                  <a:cubicBezTo>
                    <a:pt x="5473542" y="255746"/>
                    <a:pt x="5474494" y="256699"/>
                    <a:pt x="5475446" y="258604"/>
                  </a:cubicBezTo>
                  <a:cubicBezTo>
                    <a:pt x="5474494" y="261461"/>
                    <a:pt x="5472589" y="265271"/>
                    <a:pt x="5471637" y="268129"/>
                  </a:cubicBezTo>
                  <a:cubicBezTo>
                    <a:pt x="5470684" y="261461"/>
                    <a:pt x="5469731" y="255746"/>
                    <a:pt x="5468779" y="249079"/>
                  </a:cubicBezTo>
                  <a:cubicBezTo>
                    <a:pt x="5469731" y="250984"/>
                    <a:pt x="5471637" y="252889"/>
                    <a:pt x="5472589" y="254794"/>
                  </a:cubicBezTo>
                  <a:close/>
                  <a:moveTo>
                    <a:pt x="5452587" y="208121"/>
                  </a:moveTo>
                  <a:cubicBezTo>
                    <a:pt x="5452587" y="209074"/>
                    <a:pt x="5452587" y="210026"/>
                    <a:pt x="5452587" y="210026"/>
                  </a:cubicBezTo>
                  <a:cubicBezTo>
                    <a:pt x="5453539" y="214789"/>
                    <a:pt x="5454492" y="220504"/>
                    <a:pt x="5454492" y="225266"/>
                  </a:cubicBezTo>
                  <a:cubicBezTo>
                    <a:pt x="5454492" y="226219"/>
                    <a:pt x="5454492" y="227171"/>
                    <a:pt x="5454492" y="228124"/>
                  </a:cubicBezTo>
                  <a:cubicBezTo>
                    <a:pt x="5453539" y="227171"/>
                    <a:pt x="5451634" y="226219"/>
                    <a:pt x="5450681" y="225266"/>
                  </a:cubicBezTo>
                  <a:cubicBezTo>
                    <a:pt x="5451634" y="219551"/>
                    <a:pt x="5452587" y="212884"/>
                    <a:pt x="5452587" y="208121"/>
                  </a:cubicBezTo>
                  <a:close/>
                  <a:moveTo>
                    <a:pt x="5449729" y="250031"/>
                  </a:moveTo>
                  <a:cubicBezTo>
                    <a:pt x="5450681" y="242411"/>
                    <a:pt x="5450681" y="234791"/>
                    <a:pt x="5451634" y="228124"/>
                  </a:cubicBezTo>
                  <a:cubicBezTo>
                    <a:pt x="5452587" y="229076"/>
                    <a:pt x="5452587" y="229076"/>
                    <a:pt x="5453539" y="230029"/>
                  </a:cubicBezTo>
                  <a:cubicBezTo>
                    <a:pt x="5454492" y="230981"/>
                    <a:pt x="5455444" y="231934"/>
                    <a:pt x="5455444" y="232886"/>
                  </a:cubicBezTo>
                  <a:cubicBezTo>
                    <a:pt x="5455444" y="236696"/>
                    <a:pt x="5456396" y="239554"/>
                    <a:pt x="5456396" y="243364"/>
                  </a:cubicBezTo>
                  <a:cubicBezTo>
                    <a:pt x="5457349" y="255746"/>
                    <a:pt x="5458301" y="268129"/>
                    <a:pt x="5459254" y="282416"/>
                  </a:cubicBezTo>
                  <a:cubicBezTo>
                    <a:pt x="5460206" y="288131"/>
                    <a:pt x="5460206" y="293846"/>
                    <a:pt x="5460206" y="299561"/>
                  </a:cubicBezTo>
                  <a:cubicBezTo>
                    <a:pt x="5458301" y="304324"/>
                    <a:pt x="5457349" y="309086"/>
                    <a:pt x="5455444" y="313849"/>
                  </a:cubicBezTo>
                  <a:cubicBezTo>
                    <a:pt x="5452587" y="302419"/>
                    <a:pt x="5450681" y="290989"/>
                    <a:pt x="5447824" y="280511"/>
                  </a:cubicBezTo>
                  <a:cubicBezTo>
                    <a:pt x="5447824" y="279559"/>
                    <a:pt x="5447824" y="277654"/>
                    <a:pt x="5446871" y="276701"/>
                  </a:cubicBezTo>
                  <a:cubicBezTo>
                    <a:pt x="5448776" y="267176"/>
                    <a:pt x="5448776" y="257651"/>
                    <a:pt x="5449729" y="250031"/>
                  </a:cubicBezTo>
                  <a:close/>
                  <a:moveTo>
                    <a:pt x="5443062" y="327184"/>
                  </a:moveTo>
                  <a:cubicBezTo>
                    <a:pt x="5444014" y="332899"/>
                    <a:pt x="5444967" y="338614"/>
                    <a:pt x="5445919" y="343376"/>
                  </a:cubicBezTo>
                  <a:cubicBezTo>
                    <a:pt x="5444967" y="340519"/>
                    <a:pt x="5444014" y="337661"/>
                    <a:pt x="5443062" y="334804"/>
                  </a:cubicBezTo>
                  <a:cubicBezTo>
                    <a:pt x="5442109" y="332899"/>
                    <a:pt x="5443062" y="330041"/>
                    <a:pt x="5443062" y="327184"/>
                  </a:cubicBezTo>
                  <a:close/>
                  <a:moveTo>
                    <a:pt x="5417344" y="318611"/>
                  </a:moveTo>
                  <a:cubicBezTo>
                    <a:pt x="5418296" y="316706"/>
                    <a:pt x="5418296" y="314801"/>
                    <a:pt x="5419249" y="312896"/>
                  </a:cubicBezTo>
                  <a:cubicBezTo>
                    <a:pt x="5420201" y="315754"/>
                    <a:pt x="5421154" y="318611"/>
                    <a:pt x="5421154" y="320516"/>
                  </a:cubicBezTo>
                  <a:cubicBezTo>
                    <a:pt x="5421154" y="320516"/>
                    <a:pt x="5421154" y="321469"/>
                    <a:pt x="5421154" y="321469"/>
                  </a:cubicBezTo>
                  <a:cubicBezTo>
                    <a:pt x="5421154" y="320516"/>
                    <a:pt x="5421154" y="320516"/>
                    <a:pt x="5421154" y="320516"/>
                  </a:cubicBezTo>
                  <a:cubicBezTo>
                    <a:pt x="5421154" y="320516"/>
                    <a:pt x="5421154" y="321469"/>
                    <a:pt x="5421154" y="322421"/>
                  </a:cubicBezTo>
                  <a:cubicBezTo>
                    <a:pt x="5420201" y="325279"/>
                    <a:pt x="5419249" y="329089"/>
                    <a:pt x="5418296" y="331946"/>
                  </a:cubicBezTo>
                  <a:cubicBezTo>
                    <a:pt x="5417344" y="330994"/>
                    <a:pt x="5417344" y="330041"/>
                    <a:pt x="5417344" y="329089"/>
                  </a:cubicBezTo>
                  <a:cubicBezTo>
                    <a:pt x="5417344" y="326231"/>
                    <a:pt x="5417344" y="322421"/>
                    <a:pt x="5417344" y="318611"/>
                  </a:cubicBezTo>
                  <a:close/>
                  <a:moveTo>
                    <a:pt x="5416392" y="334804"/>
                  </a:moveTo>
                  <a:cubicBezTo>
                    <a:pt x="5416392" y="335756"/>
                    <a:pt x="5416392" y="335756"/>
                    <a:pt x="5417344" y="335756"/>
                  </a:cubicBezTo>
                  <a:cubicBezTo>
                    <a:pt x="5417344" y="336709"/>
                    <a:pt x="5416392" y="337661"/>
                    <a:pt x="5416392" y="337661"/>
                  </a:cubicBezTo>
                  <a:cubicBezTo>
                    <a:pt x="5416392" y="336709"/>
                    <a:pt x="5416392" y="335756"/>
                    <a:pt x="5416392" y="334804"/>
                  </a:cubicBezTo>
                  <a:close/>
                  <a:moveTo>
                    <a:pt x="5405914" y="325279"/>
                  </a:moveTo>
                  <a:cubicBezTo>
                    <a:pt x="5406867" y="302419"/>
                    <a:pt x="5407819" y="284321"/>
                    <a:pt x="5407819" y="271939"/>
                  </a:cubicBezTo>
                  <a:cubicBezTo>
                    <a:pt x="5407819" y="270034"/>
                    <a:pt x="5407819" y="269081"/>
                    <a:pt x="5407819" y="267176"/>
                  </a:cubicBezTo>
                  <a:cubicBezTo>
                    <a:pt x="5409724" y="274796"/>
                    <a:pt x="5411629" y="283369"/>
                    <a:pt x="5414487" y="292894"/>
                  </a:cubicBezTo>
                  <a:cubicBezTo>
                    <a:pt x="5414487" y="292894"/>
                    <a:pt x="5414487" y="292894"/>
                    <a:pt x="5414487" y="293846"/>
                  </a:cubicBezTo>
                  <a:cubicBezTo>
                    <a:pt x="5413534" y="296704"/>
                    <a:pt x="5412581" y="299561"/>
                    <a:pt x="5411629" y="303371"/>
                  </a:cubicBezTo>
                  <a:cubicBezTo>
                    <a:pt x="5408771" y="311944"/>
                    <a:pt x="5406867" y="321469"/>
                    <a:pt x="5404962" y="331946"/>
                  </a:cubicBezTo>
                  <a:cubicBezTo>
                    <a:pt x="5404962" y="331946"/>
                    <a:pt x="5404962" y="332899"/>
                    <a:pt x="5404962" y="332899"/>
                  </a:cubicBezTo>
                  <a:cubicBezTo>
                    <a:pt x="5404962" y="330994"/>
                    <a:pt x="5404962" y="328136"/>
                    <a:pt x="5405914" y="325279"/>
                  </a:cubicBezTo>
                  <a:close/>
                  <a:moveTo>
                    <a:pt x="5384006" y="310991"/>
                  </a:moveTo>
                  <a:cubicBezTo>
                    <a:pt x="5384959" y="318611"/>
                    <a:pt x="5385912" y="326231"/>
                    <a:pt x="5386864" y="334804"/>
                  </a:cubicBezTo>
                  <a:cubicBezTo>
                    <a:pt x="5385912" y="336709"/>
                    <a:pt x="5385912" y="339566"/>
                    <a:pt x="5384959" y="341471"/>
                  </a:cubicBezTo>
                  <a:cubicBezTo>
                    <a:pt x="5384006" y="335756"/>
                    <a:pt x="5383054" y="330041"/>
                    <a:pt x="5382101" y="325279"/>
                  </a:cubicBezTo>
                  <a:cubicBezTo>
                    <a:pt x="5381149" y="317659"/>
                    <a:pt x="5380196" y="310991"/>
                    <a:pt x="5378292" y="305276"/>
                  </a:cubicBezTo>
                  <a:cubicBezTo>
                    <a:pt x="5379244" y="301466"/>
                    <a:pt x="5380196" y="298609"/>
                    <a:pt x="5381149" y="294799"/>
                  </a:cubicBezTo>
                  <a:cubicBezTo>
                    <a:pt x="5382101" y="299561"/>
                    <a:pt x="5383054" y="305276"/>
                    <a:pt x="5384006" y="310991"/>
                  </a:cubicBezTo>
                  <a:close/>
                  <a:moveTo>
                    <a:pt x="5379244" y="274796"/>
                  </a:moveTo>
                  <a:cubicBezTo>
                    <a:pt x="5379244" y="273844"/>
                    <a:pt x="5379244" y="272891"/>
                    <a:pt x="5379244" y="271939"/>
                  </a:cubicBezTo>
                  <a:cubicBezTo>
                    <a:pt x="5379244" y="275749"/>
                    <a:pt x="5380196" y="280511"/>
                    <a:pt x="5381149" y="284321"/>
                  </a:cubicBezTo>
                  <a:cubicBezTo>
                    <a:pt x="5381149" y="284321"/>
                    <a:pt x="5381149" y="285274"/>
                    <a:pt x="5380196" y="285274"/>
                  </a:cubicBezTo>
                  <a:cubicBezTo>
                    <a:pt x="5379244" y="287179"/>
                    <a:pt x="5379244" y="288131"/>
                    <a:pt x="5378292" y="290036"/>
                  </a:cubicBezTo>
                  <a:cubicBezTo>
                    <a:pt x="5378292" y="285274"/>
                    <a:pt x="5378292" y="280511"/>
                    <a:pt x="5379244" y="274796"/>
                  </a:cubicBezTo>
                  <a:close/>
                  <a:moveTo>
                    <a:pt x="5332571" y="321469"/>
                  </a:moveTo>
                  <a:cubicBezTo>
                    <a:pt x="5334476" y="316706"/>
                    <a:pt x="5336381" y="312896"/>
                    <a:pt x="5338287" y="309086"/>
                  </a:cubicBezTo>
                  <a:cubicBezTo>
                    <a:pt x="5338287" y="309086"/>
                    <a:pt x="5338287" y="310039"/>
                    <a:pt x="5338287" y="310039"/>
                  </a:cubicBezTo>
                  <a:cubicBezTo>
                    <a:pt x="5334476" y="323374"/>
                    <a:pt x="5330667" y="337661"/>
                    <a:pt x="5326856" y="351949"/>
                  </a:cubicBezTo>
                  <a:cubicBezTo>
                    <a:pt x="5325904" y="345281"/>
                    <a:pt x="5324951" y="340519"/>
                    <a:pt x="5323999" y="336709"/>
                  </a:cubicBezTo>
                  <a:cubicBezTo>
                    <a:pt x="5327809" y="330994"/>
                    <a:pt x="5330667" y="326231"/>
                    <a:pt x="5332571" y="321469"/>
                  </a:cubicBezTo>
                  <a:close/>
                  <a:moveTo>
                    <a:pt x="5319237" y="350996"/>
                  </a:moveTo>
                  <a:cubicBezTo>
                    <a:pt x="5320189" y="348139"/>
                    <a:pt x="5322094" y="345281"/>
                    <a:pt x="5323046" y="342424"/>
                  </a:cubicBezTo>
                  <a:cubicBezTo>
                    <a:pt x="5323046" y="350044"/>
                    <a:pt x="5322094" y="359569"/>
                    <a:pt x="5322094" y="371951"/>
                  </a:cubicBezTo>
                  <a:cubicBezTo>
                    <a:pt x="5321142" y="368141"/>
                    <a:pt x="5320189" y="365284"/>
                    <a:pt x="5319237" y="362426"/>
                  </a:cubicBezTo>
                  <a:cubicBezTo>
                    <a:pt x="5319237" y="357664"/>
                    <a:pt x="5319237" y="353854"/>
                    <a:pt x="5319237" y="350996"/>
                  </a:cubicBezTo>
                  <a:close/>
                  <a:moveTo>
                    <a:pt x="5316379" y="392906"/>
                  </a:moveTo>
                  <a:cubicBezTo>
                    <a:pt x="5316379" y="389096"/>
                    <a:pt x="5317331" y="386239"/>
                    <a:pt x="5317331" y="382429"/>
                  </a:cubicBezTo>
                  <a:cubicBezTo>
                    <a:pt x="5317331" y="384334"/>
                    <a:pt x="5318284" y="387191"/>
                    <a:pt x="5318284" y="390049"/>
                  </a:cubicBezTo>
                  <a:cubicBezTo>
                    <a:pt x="5317331" y="392906"/>
                    <a:pt x="5316379" y="395764"/>
                    <a:pt x="5315426" y="399574"/>
                  </a:cubicBezTo>
                  <a:cubicBezTo>
                    <a:pt x="5316379" y="396716"/>
                    <a:pt x="5316379" y="394811"/>
                    <a:pt x="5316379" y="392906"/>
                  </a:cubicBezTo>
                  <a:close/>
                  <a:moveTo>
                    <a:pt x="5285899" y="293846"/>
                  </a:moveTo>
                  <a:cubicBezTo>
                    <a:pt x="5285899" y="295751"/>
                    <a:pt x="5285899" y="296704"/>
                    <a:pt x="5286851" y="298609"/>
                  </a:cubicBezTo>
                  <a:cubicBezTo>
                    <a:pt x="5285899" y="299561"/>
                    <a:pt x="5284946" y="300514"/>
                    <a:pt x="5283994" y="302419"/>
                  </a:cubicBezTo>
                  <a:cubicBezTo>
                    <a:pt x="5284946" y="299561"/>
                    <a:pt x="5285899" y="296704"/>
                    <a:pt x="5285899" y="293846"/>
                  </a:cubicBezTo>
                  <a:close/>
                  <a:moveTo>
                    <a:pt x="5279231" y="319564"/>
                  </a:moveTo>
                  <a:cubicBezTo>
                    <a:pt x="5280184" y="316706"/>
                    <a:pt x="5281137" y="313849"/>
                    <a:pt x="5282089" y="311944"/>
                  </a:cubicBezTo>
                  <a:cubicBezTo>
                    <a:pt x="5283994" y="308134"/>
                    <a:pt x="5285899" y="305276"/>
                    <a:pt x="5287804" y="302419"/>
                  </a:cubicBezTo>
                  <a:cubicBezTo>
                    <a:pt x="5287804" y="304324"/>
                    <a:pt x="5288756" y="307181"/>
                    <a:pt x="5288756" y="309086"/>
                  </a:cubicBezTo>
                  <a:cubicBezTo>
                    <a:pt x="5289709" y="318611"/>
                    <a:pt x="5290662" y="329089"/>
                    <a:pt x="5292567" y="340519"/>
                  </a:cubicBezTo>
                  <a:cubicBezTo>
                    <a:pt x="5290662" y="347186"/>
                    <a:pt x="5288756" y="354806"/>
                    <a:pt x="5287804" y="363379"/>
                  </a:cubicBezTo>
                  <a:cubicBezTo>
                    <a:pt x="5287804" y="359569"/>
                    <a:pt x="5287804" y="354806"/>
                    <a:pt x="5287804" y="351949"/>
                  </a:cubicBezTo>
                  <a:cubicBezTo>
                    <a:pt x="5287804" y="341471"/>
                    <a:pt x="5287804" y="335756"/>
                    <a:pt x="5287804" y="335756"/>
                  </a:cubicBezTo>
                  <a:cubicBezTo>
                    <a:pt x="5287804" y="335756"/>
                    <a:pt x="5286851" y="341471"/>
                    <a:pt x="5283994" y="350996"/>
                  </a:cubicBezTo>
                  <a:cubicBezTo>
                    <a:pt x="5283042" y="355759"/>
                    <a:pt x="5282089" y="362426"/>
                    <a:pt x="5280184" y="369094"/>
                  </a:cubicBezTo>
                  <a:cubicBezTo>
                    <a:pt x="5280184" y="369094"/>
                    <a:pt x="5280184" y="369094"/>
                    <a:pt x="5280184" y="370046"/>
                  </a:cubicBezTo>
                  <a:cubicBezTo>
                    <a:pt x="5279231" y="363379"/>
                    <a:pt x="5278279" y="356711"/>
                    <a:pt x="5277326" y="350044"/>
                  </a:cubicBezTo>
                  <a:cubicBezTo>
                    <a:pt x="5276374" y="345281"/>
                    <a:pt x="5276374" y="340519"/>
                    <a:pt x="5275421" y="335756"/>
                  </a:cubicBezTo>
                  <a:cubicBezTo>
                    <a:pt x="5275421" y="330041"/>
                    <a:pt x="5277326" y="324326"/>
                    <a:pt x="5279231" y="319564"/>
                  </a:cubicBezTo>
                  <a:close/>
                  <a:moveTo>
                    <a:pt x="5236369" y="318611"/>
                  </a:moveTo>
                  <a:cubicBezTo>
                    <a:pt x="5236369" y="319564"/>
                    <a:pt x="5235417" y="319564"/>
                    <a:pt x="5235417" y="320516"/>
                  </a:cubicBezTo>
                  <a:cubicBezTo>
                    <a:pt x="5233512" y="317659"/>
                    <a:pt x="5232559" y="314801"/>
                    <a:pt x="5230654" y="311944"/>
                  </a:cubicBezTo>
                  <a:cubicBezTo>
                    <a:pt x="5230654" y="311944"/>
                    <a:pt x="5230654" y="310991"/>
                    <a:pt x="5230654" y="310991"/>
                  </a:cubicBezTo>
                  <a:cubicBezTo>
                    <a:pt x="5233512" y="305276"/>
                    <a:pt x="5236369" y="300514"/>
                    <a:pt x="5239226" y="295751"/>
                  </a:cubicBezTo>
                  <a:cubicBezTo>
                    <a:pt x="5238274" y="303371"/>
                    <a:pt x="5237321" y="310991"/>
                    <a:pt x="5236369" y="318611"/>
                  </a:cubicBezTo>
                  <a:close/>
                  <a:moveTo>
                    <a:pt x="5230654" y="281464"/>
                  </a:moveTo>
                  <a:cubicBezTo>
                    <a:pt x="5233512" y="275749"/>
                    <a:pt x="5235417" y="270034"/>
                    <a:pt x="5237321" y="265271"/>
                  </a:cubicBezTo>
                  <a:cubicBezTo>
                    <a:pt x="5239226" y="260509"/>
                    <a:pt x="5242084" y="255746"/>
                    <a:pt x="5243989" y="251936"/>
                  </a:cubicBezTo>
                  <a:cubicBezTo>
                    <a:pt x="5243037" y="255746"/>
                    <a:pt x="5243037" y="259556"/>
                    <a:pt x="5242084" y="264319"/>
                  </a:cubicBezTo>
                  <a:cubicBezTo>
                    <a:pt x="5241131" y="270034"/>
                    <a:pt x="5240179" y="276701"/>
                    <a:pt x="5240179" y="283369"/>
                  </a:cubicBezTo>
                  <a:cubicBezTo>
                    <a:pt x="5236369" y="288131"/>
                    <a:pt x="5232559" y="293846"/>
                    <a:pt x="5228749" y="299561"/>
                  </a:cubicBezTo>
                  <a:cubicBezTo>
                    <a:pt x="5228749" y="296704"/>
                    <a:pt x="5227796" y="292894"/>
                    <a:pt x="5227796" y="290036"/>
                  </a:cubicBezTo>
                  <a:cubicBezTo>
                    <a:pt x="5227796" y="286226"/>
                    <a:pt x="5228749" y="284321"/>
                    <a:pt x="5230654" y="281464"/>
                  </a:cubicBezTo>
                  <a:close/>
                  <a:moveTo>
                    <a:pt x="5211604" y="344329"/>
                  </a:moveTo>
                  <a:cubicBezTo>
                    <a:pt x="5212556" y="343376"/>
                    <a:pt x="5212556" y="342424"/>
                    <a:pt x="5213509" y="341471"/>
                  </a:cubicBezTo>
                  <a:cubicBezTo>
                    <a:pt x="5213509" y="341471"/>
                    <a:pt x="5213509" y="341471"/>
                    <a:pt x="5213509" y="341471"/>
                  </a:cubicBezTo>
                  <a:cubicBezTo>
                    <a:pt x="5213509" y="341471"/>
                    <a:pt x="5213509" y="342424"/>
                    <a:pt x="5213509" y="342424"/>
                  </a:cubicBezTo>
                  <a:cubicBezTo>
                    <a:pt x="5212556" y="343376"/>
                    <a:pt x="5212556" y="344329"/>
                    <a:pt x="5211604" y="344329"/>
                  </a:cubicBezTo>
                  <a:cubicBezTo>
                    <a:pt x="5211604" y="345281"/>
                    <a:pt x="5211604" y="345281"/>
                    <a:pt x="5211604" y="344329"/>
                  </a:cubicBezTo>
                  <a:close/>
                  <a:moveTo>
                    <a:pt x="5214462" y="343376"/>
                  </a:moveTo>
                  <a:cubicBezTo>
                    <a:pt x="5215414" y="345281"/>
                    <a:pt x="5216367" y="346234"/>
                    <a:pt x="5216367" y="348139"/>
                  </a:cubicBezTo>
                  <a:cubicBezTo>
                    <a:pt x="5215414" y="350044"/>
                    <a:pt x="5214462" y="350996"/>
                    <a:pt x="5213509" y="352901"/>
                  </a:cubicBezTo>
                  <a:cubicBezTo>
                    <a:pt x="5213509" y="351949"/>
                    <a:pt x="5212556" y="351949"/>
                    <a:pt x="5212556" y="350996"/>
                  </a:cubicBezTo>
                  <a:cubicBezTo>
                    <a:pt x="5212556" y="350044"/>
                    <a:pt x="5212556" y="350044"/>
                    <a:pt x="5212556" y="349091"/>
                  </a:cubicBezTo>
                  <a:cubicBezTo>
                    <a:pt x="5212556" y="347186"/>
                    <a:pt x="5213509" y="345281"/>
                    <a:pt x="5214462" y="343376"/>
                  </a:cubicBezTo>
                  <a:cubicBezTo>
                    <a:pt x="5213509" y="343376"/>
                    <a:pt x="5213509" y="343376"/>
                    <a:pt x="5214462" y="343376"/>
                  </a:cubicBezTo>
                  <a:close/>
                  <a:moveTo>
                    <a:pt x="5211604" y="290989"/>
                  </a:moveTo>
                  <a:cubicBezTo>
                    <a:pt x="5211604" y="290989"/>
                    <a:pt x="5211604" y="291941"/>
                    <a:pt x="5211604" y="290989"/>
                  </a:cubicBezTo>
                  <a:cubicBezTo>
                    <a:pt x="5212556" y="292894"/>
                    <a:pt x="5212556" y="294799"/>
                    <a:pt x="5213509" y="296704"/>
                  </a:cubicBezTo>
                  <a:cubicBezTo>
                    <a:pt x="5212556" y="298609"/>
                    <a:pt x="5211604" y="300514"/>
                    <a:pt x="5210651" y="302419"/>
                  </a:cubicBezTo>
                  <a:cubicBezTo>
                    <a:pt x="5211604" y="297656"/>
                    <a:pt x="5211604" y="293846"/>
                    <a:pt x="5211604" y="290989"/>
                  </a:cubicBezTo>
                  <a:close/>
                  <a:moveTo>
                    <a:pt x="5189696" y="260509"/>
                  </a:moveTo>
                  <a:cubicBezTo>
                    <a:pt x="5189696" y="261461"/>
                    <a:pt x="5189696" y="263366"/>
                    <a:pt x="5189696" y="264319"/>
                  </a:cubicBezTo>
                  <a:cubicBezTo>
                    <a:pt x="5188744" y="262414"/>
                    <a:pt x="5187792" y="260509"/>
                    <a:pt x="5186839" y="258604"/>
                  </a:cubicBezTo>
                  <a:cubicBezTo>
                    <a:pt x="5186839" y="258604"/>
                    <a:pt x="5186839" y="257651"/>
                    <a:pt x="5187792" y="257651"/>
                  </a:cubicBezTo>
                  <a:cubicBezTo>
                    <a:pt x="5188744" y="255746"/>
                    <a:pt x="5189696" y="254794"/>
                    <a:pt x="5189696" y="253841"/>
                  </a:cubicBezTo>
                  <a:cubicBezTo>
                    <a:pt x="5189696" y="255746"/>
                    <a:pt x="5189696" y="258604"/>
                    <a:pt x="5189696" y="260509"/>
                  </a:cubicBezTo>
                  <a:close/>
                  <a:moveTo>
                    <a:pt x="5178267" y="230981"/>
                  </a:moveTo>
                  <a:cubicBezTo>
                    <a:pt x="5181124" y="223361"/>
                    <a:pt x="5184934" y="217646"/>
                    <a:pt x="5186839" y="213836"/>
                  </a:cubicBezTo>
                  <a:cubicBezTo>
                    <a:pt x="5187792" y="212884"/>
                    <a:pt x="5187792" y="210979"/>
                    <a:pt x="5188744" y="210026"/>
                  </a:cubicBezTo>
                  <a:cubicBezTo>
                    <a:pt x="5188744" y="212884"/>
                    <a:pt x="5188744" y="215741"/>
                    <a:pt x="5188744" y="219551"/>
                  </a:cubicBezTo>
                  <a:cubicBezTo>
                    <a:pt x="5188744" y="230029"/>
                    <a:pt x="5188744" y="241459"/>
                    <a:pt x="5188744" y="254794"/>
                  </a:cubicBezTo>
                  <a:cubicBezTo>
                    <a:pt x="5187792" y="255746"/>
                    <a:pt x="5186839" y="256699"/>
                    <a:pt x="5185887" y="258604"/>
                  </a:cubicBezTo>
                  <a:cubicBezTo>
                    <a:pt x="5185887" y="258604"/>
                    <a:pt x="5185887" y="258604"/>
                    <a:pt x="5185887" y="258604"/>
                  </a:cubicBezTo>
                  <a:cubicBezTo>
                    <a:pt x="5183029" y="252889"/>
                    <a:pt x="5180171" y="248126"/>
                    <a:pt x="5178267" y="243364"/>
                  </a:cubicBezTo>
                  <a:cubicBezTo>
                    <a:pt x="5177314" y="241459"/>
                    <a:pt x="5176362" y="240506"/>
                    <a:pt x="5175409" y="238601"/>
                  </a:cubicBezTo>
                  <a:cubicBezTo>
                    <a:pt x="5176362" y="234791"/>
                    <a:pt x="5177314" y="232886"/>
                    <a:pt x="5178267" y="230981"/>
                  </a:cubicBezTo>
                  <a:close/>
                  <a:moveTo>
                    <a:pt x="5168742" y="238601"/>
                  </a:moveTo>
                  <a:cubicBezTo>
                    <a:pt x="5168742" y="239554"/>
                    <a:pt x="5168742" y="239554"/>
                    <a:pt x="5168742" y="238601"/>
                  </a:cubicBezTo>
                  <a:cubicBezTo>
                    <a:pt x="5168742" y="239554"/>
                    <a:pt x="5168742" y="239554"/>
                    <a:pt x="5168742" y="238601"/>
                  </a:cubicBezTo>
                  <a:cubicBezTo>
                    <a:pt x="5168742" y="239554"/>
                    <a:pt x="5168742" y="239554"/>
                    <a:pt x="5168742" y="238601"/>
                  </a:cubicBezTo>
                  <a:close/>
                  <a:moveTo>
                    <a:pt x="5166837" y="280511"/>
                  </a:moveTo>
                  <a:cubicBezTo>
                    <a:pt x="5166837" y="272891"/>
                    <a:pt x="5167789" y="266224"/>
                    <a:pt x="5167789" y="259556"/>
                  </a:cubicBezTo>
                  <a:cubicBezTo>
                    <a:pt x="5167789" y="259556"/>
                    <a:pt x="5167789" y="259556"/>
                    <a:pt x="5167789" y="259556"/>
                  </a:cubicBezTo>
                  <a:cubicBezTo>
                    <a:pt x="5168742" y="255746"/>
                    <a:pt x="5170646" y="251936"/>
                    <a:pt x="5171599" y="248126"/>
                  </a:cubicBezTo>
                  <a:cubicBezTo>
                    <a:pt x="5173504" y="252889"/>
                    <a:pt x="5175409" y="257651"/>
                    <a:pt x="5177314" y="263366"/>
                  </a:cubicBezTo>
                  <a:cubicBezTo>
                    <a:pt x="5178267" y="264319"/>
                    <a:pt x="5178267" y="266224"/>
                    <a:pt x="5179219" y="267176"/>
                  </a:cubicBezTo>
                  <a:cubicBezTo>
                    <a:pt x="5178267" y="268129"/>
                    <a:pt x="5177314" y="270034"/>
                    <a:pt x="5176362" y="271939"/>
                  </a:cubicBezTo>
                  <a:cubicBezTo>
                    <a:pt x="5173504" y="275749"/>
                    <a:pt x="5170646" y="281464"/>
                    <a:pt x="5166837" y="287179"/>
                  </a:cubicBezTo>
                  <a:cubicBezTo>
                    <a:pt x="5166837" y="283369"/>
                    <a:pt x="5166837" y="281464"/>
                    <a:pt x="5166837" y="280511"/>
                  </a:cubicBezTo>
                  <a:close/>
                  <a:moveTo>
                    <a:pt x="5166837" y="307181"/>
                  </a:moveTo>
                  <a:cubicBezTo>
                    <a:pt x="5167789" y="303371"/>
                    <a:pt x="5168742" y="299561"/>
                    <a:pt x="5170646" y="296704"/>
                  </a:cubicBezTo>
                  <a:cubicBezTo>
                    <a:pt x="5170646" y="295751"/>
                    <a:pt x="5171599" y="294799"/>
                    <a:pt x="5171599" y="293846"/>
                  </a:cubicBezTo>
                  <a:cubicBezTo>
                    <a:pt x="5173504" y="291941"/>
                    <a:pt x="5175409" y="290036"/>
                    <a:pt x="5176362" y="289084"/>
                  </a:cubicBezTo>
                  <a:cubicBezTo>
                    <a:pt x="5179219" y="286226"/>
                    <a:pt x="5181124" y="284321"/>
                    <a:pt x="5181124" y="284321"/>
                  </a:cubicBezTo>
                  <a:cubicBezTo>
                    <a:pt x="5181124" y="284321"/>
                    <a:pt x="5179219" y="285274"/>
                    <a:pt x="5175409" y="288131"/>
                  </a:cubicBezTo>
                  <a:cubicBezTo>
                    <a:pt x="5174456" y="289084"/>
                    <a:pt x="5173504" y="289084"/>
                    <a:pt x="5172551" y="290036"/>
                  </a:cubicBezTo>
                  <a:cubicBezTo>
                    <a:pt x="5175409" y="283369"/>
                    <a:pt x="5177314" y="277654"/>
                    <a:pt x="5179219" y="272891"/>
                  </a:cubicBezTo>
                  <a:cubicBezTo>
                    <a:pt x="5179219" y="271939"/>
                    <a:pt x="5180171" y="270986"/>
                    <a:pt x="5180171" y="270034"/>
                  </a:cubicBezTo>
                  <a:cubicBezTo>
                    <a:pt x="5182076" y="273844"/>
                    <a:pt x="5183029" y="276701"/>
                    <a:pt x="5184934" y="280511"/>
                  </a:cubicBezTo>
                  <a:cubicBezTo>
                    <a:pt x="5186839" y="284321"/>
                    <a:pt x="5188744" y="289084"/>
                    <a:pt x="5190649" y="292894"/>
                  </a:cubicBezTo>
                  <a:cubicBezTo>
                    <a:pt x="5190649" y="294799"/>
                    <a:pt x="5190649" y="296704"/>
                    <a:pt x="5190649" y="298609"/>
                  </a:cubicBezTo>
                  <a:cubicBezTo>
                    <a:pt x="5191601" y="308134"/>
                    <a:pt x="5191601" y="318611"/>
                    <a:pt x="5192554" y="330041"/>
                  </a:cubicBezTo>
                  <a:cubicBezTo>
                    <a:pt x="5192554" y="331946"/>
                    <a:pt x="5192554" y="333851"/>
                    <a:pt x="5192554" y="335756"/>
                  </a:cubicBezTo>
                  <a:cubicBezTo>
                    <a:pt x="5192554" y="335756"/>
                    <a:pt x="5192554" y="336709"/>
                    <a:pt x="5192554" y="336709"/>
                  </a:cubicBezTo>
                  <a:cubicBezTo>
                    <a:pt x="5192554" y="337661"/>
                    <a:pt x="5191601" y="337661"/>
                    <a:pt x="5191601" y="338614"/>
                  </a:cubicBezTo>
                  <a:cubicBezTo>
                    <a:pt x="5190649" y="341471"/>
                    <a:pt x="5188744" y="345281"/>
                    <a:pt x="5187792" y="348139"/>
                  </a:cubicBezTo>
                  <a:cubicBezTo>
                    <a:pt x="5185887" y="324326"/>
                    <a:pt x="5183981" y="309086"/>
                    <a:pt x="5183981" y="309086"/>
                  </a:cubicBezTo>
                  <a:cubicBezTo>
                    <a:pt x="5183981" y="309086"/>
                    <a:pt x="5180171" y="324326"/>
                    <a:pt x="5177314" y="348139"/>
                  </a:cubicBezTo>
                  <a:cubicBezTo>
                    <a:pt x="5177314" y="350044"/>
                    <a:pt x="5176362" y="352901"/>
                    <a:pt x="5176362" y="354806"/>
                  </a:cubicBezTo>
                  <a:cubicBezTo>
                    <a:pt x="5175409" y="352901"/>
                    <a:pt x="5174456" y="350996"/>
                    <a:pt x="5174456" y="349091"/>
                  </a:cubicBezTo>
                  <a:cubicBezTo>
                    <a:pt x="5173504" y="346234"/>
                    <a:pt x="5172551" y="344329"/>
                    <a:pt x="5171599" y="341471"/>
                  </a:cubicBezTo>
                  <a:cubicBezTo>
                    <a:pt x="5172551" y="336709"/>
                    <a:pt x="5173504" y="332899"/>
                    <a:pt x="5173504" y="328136"/>
                  </a:cubicBezTo>
                  <a:cubicBezTo>
                    <a:pt x="5172551" y="331946"/>
                    <a:pt x="5171599" y="334804"/>
                    <a:pt x="5169694" y="338614"/>
                  </a:cubicBezTo>
                  <a:cubicBezTo>
                    <a:pt x="5168742" y="337661"/>
                    <a:pt x="5168742" y="335756"/>
                    <a:pt x="5167789" y="334804"/>
                  </a:cubicBezTo>
                  <a:cubicBezTo>
                    <a:pt x="5166837" y="327184"/>
                    <a:pt x="5166837" y="320516"/>
                    <a:pt x="5165884" y="312896"/>
                  </a:cubicBezTo>
                  <a:cubicBezTo>
                    <a:pt x="5166837" y="310991"/>
                    <a:pt x="5166837" y="309086"/>
                    <a:pt x="5166837" y="307181"/>
                  </a:cubicBezTo>
                  <a:close/>
                  <a:moveTo>
                    <a:pt x="5161121" y="218599"/>
                  </a:moveTo>
                  <a:cubicBezTo>
                    <a:pt x="5162074" y="221456"/>
                    <a:pt x="5163979" y="225266"/>
                    <a:pt x="5164931" y="229076"/>
                  </a:cubicBezTo>
                  <a:cubicBezTo>
                    <a:pt x="5163979" y="234791"/>
                    <a:pt x="5162074" y="240506"/>
                    <a:pt x="5161121" y="248126"/>
                  </a:cubicBezTo>
                  <a:cubicBezTo>
                    <a:pt x="5160169" y="232886"/>
                    <a:pt x="5158264" y="218599"/>
                    <a:pt x="5157312" y="206216"/>
                  </a:cubicBezTo>
                  <a:cubicBezTo>
                    <a:pt x="5158264" y="209074"/>
                    <a:pt x="5159217" y="213836"/>
                    <a:pt x="5161121" y="218599"/>
                  </a:cubicBezTo>
                  <a:close/>
                  <a:moveTo>
                    <a:pt x="5148739" y="256699"/>
                  </a:moveTo>
                  <a:cubicBezTo>
                    <a:pt x="5148739" y="255746"/>
                    <a:pt x="5149692" y="255746"/>
                    <a:pt x="5149692" y="255746"/>
                  </a:cubicBezTo>
                  <a:cubicBezTo>
                    <a:pt x="5149692" y="264319"/>
                    <a:pt x="5149692" y="273844"/>
                    <a:pt x="5149692" y="283369"/>
                  </a:cubicBezTo>
                  <a:cubicBezTo>
                    <a:pt x="5149692" y="283369"/>
                    <a:pt x="5149692" y="284321"/>
                    <a:pt x="5149692" y="284321"/>
                  </a:cubicBezTo>
                  <a:cubicBezTo>
                    <a:pt x="5147787" y="276701"/>
                    <a:pt x="5144929" y="270034"/>
                    <a:pt x="5143024" y="263366"/>
                  </a:cubicBezTo>
                  <a:cubicBezTo>
                    <a:pt x="5145881" y="261461"/>
                    <a:pt x="5147787" y="258604"/>
                    <a:pt x="5148739" y="256699"/>
                  </a:cubicBezTo>
                  <a:close/>
                  <a:moveTo>
                    <a:pt x="5087779" y="317659"/>
                  </a:moveTo>
                  <a:cubicBezTo>
                    <a:pt x="5087779" y="316706"/>
                    <a:pt x="5087779" y="316706"/>
                    <a:pt x="5087779" y="315754"/>
                  </a:cubicBezTo>
                  <a:cubicBezTo>
                    <a:pt x="5087779" y="316706"/>
                    <a:pt x="5087779" y="316706"/>
                    <a:pt x="5087779" y="317659"/>
                  </a:cubicBezTo>
                  <a:cubicBezTo>
                    <a:pt x="5087779" y="317659"/>
                    <a:pt x="5087779" y="317659"/>
                    <a:pt x="5087779" y="317659"/>
                  </a:cubicBezTo>
                  <a:close/>
                  <a:moveTo>
                    <a:pt x="5122069" y="298609"/>
                  </a:moveTo>
                  <a:cubicBezTo>
                    <a:pt x="5123974" y="294799"/>
                    <a:pt x="5126831" y="290989"/>
                    <a:pt x="5128737" y="287179"/>
                  </a:cubicBezTo>
                  <a:cubicBezTo>
                    <a:pt x="5127784" y="298609"/>
                    <a:pt x="5125879" y="311944"/>
                    <a:pt x="5124926" y="327184"/>
                  </a:cubicBezTo>
                  <a:cubicBezTo>
                    <a:pt x="5123974" y="324326"/>
                    <a:pt x="5122069" y="321469"/>
                    <a:pt x="5121117" y="318611"/>
                  </a:cubicBezTo>
                  <a:cubicBezTo>
                    <a:pt x="5119212" y="314801"/>
                    <a:pt x="5118259" y="311944"/>
                    <a:pt x="5117306" y="308134"/>
                  </a:cubicBezTo>
                  <a:cubicBezTo>
                    <a:pt x="5118259" y="304324"/>
                    <a:pt x="5120164" y="301466"/>
                    <a:pt x="5122069" y="298609"/>
                  </a:cubicBezTo>
                  <a:close/>
                  <a:moveTo>
                    <a:pt x="5110639" y="321469"/>
                  </a:moveTo>
                  <a:cubicBezTo>
                    <a:pt x="5110639" y="321469"/>
                    <a:pt x="5110639" y="321469"/>
                    <a:pt x="5110639" y="321469"/>
                  </a:cubicBezTo>
                  <a:cubicBezTo>
                    <a:pt x="5113496" y="329089"/>
                    <a:pt x="5115401" y="336709"/>
                    <a:pt x="5118259" y="344329"/>
                  </a:cubicBezTo>
                  <a:cubicBezTo>
                    <a:pt x="5117306" y="345281"/>
                    <a:pt x="5117306" y="346234"/>
                    <a:pt x="5116354" y="347186"/>
                  </a:cubicBezTo>
                  <a:cubicBezTo>
                    <a:pt x="5115401" y="348139"/>
                    <a:pt x="5115401" y="349091"/>
                    <a:pt x="5114449" y="349091"/>
                  </a:cubicBezTo>
                  <a:cubicBezTo>
                    <a:pt x="5113496" y="344329"/>
                    <a:pt x="5111592" y="339566"/>
                    <a:pt x="5110639" y="335756"/>
                  </a:cubicBezTo>
                  <a:cubicBezTo>
                    <a:pt x="5109687" y="332899"/>
                    <a:pt x="5108734" y="330041"/>
                    <a:pt x="5107781" y="327184"/>
                  </a:cubicBezTo>
                  <a:cubicBezTo>
                    <a:pt x="5108734" y="325279"/>
                    <a:pt x="5109687" y="323374"/>
                    <a:pt x="5110639" y="321469"/>
                  </a:cubicBezTo>
                  <a:close/>
                  <a:moveTo>
                    <a:pt x="5105876" y="308134"/>
                  </a:moveTo>
                  <a:cubicBezTo>
                    <a:pt x="5104924" y="309086"/>
                    <a:pt x="5103971" y="310991"/>
                    <a:pt x="5103019" y="311944"/>
                  </a:cubicBezTo>
                  <a:cubicBezTo>
                    <a:pt x="5102067" y="310039"/>
                    <a:pt x="5102067" y="308134"/>
                    <a:pt x="5101114" y="306229"/>
                  </a:cubicBezTo>
                  <a:cubicBezTo>
                    <a:pt x="5101114" y="305276"/>
                    <a:pt x="5101114" y="304324"/>
                    <a:pt x="5101114" y="304324"/>
                  </a:cubicBezTo>
                  <a:cubicBezTo>
                    <a:pt x="5101114" y="304324"/>
                    <a:pt x="5101114" y="304324"/>
                    <a:pt x="5101114" y="305276"/>
                  </a:cubicBezTo>
                  <a:cubicBezTo>
                    <a:pt x="5099209" y="299561"/>
                    <a:pt x="5098256" y="293846"/>
                    <a:pt x="5096351" y="288131"/>
                  </a:cubicBezTo>
                  <a:cubicBezTo>
                    <a:pt x="5096351" y="285274"/>
                    <a:pt x="5097304" y="282416"/>
                    <a:pt x="5097304" y="281464"/>
                  </a:cubicBezTo>
                  <a:cubicBezTo>
                    <a:pt x="5100162" y="290989"/>
                    <a:pt x="5103019" y="299561"/>
                    <a:pt x="5105876" y="308134"/>
                  </a:cubicBezTo>
                  <a:close/>
                  <a:moveTo>
                    <a:pt x="5097304" y="282416"/>
                  </a:moveTo>
                  <a:cubicBezTo>
                    <a:pt x="5097304" y="283369"/>
                    <a:pt x="5096351" y="284321"/>
                    <a:pt x="5095399" y="286226"/>
                  </a:cubicBezTo>
                  <a:cubicBezTo>
                    <a:pt x="5094446" y="284321"/>
                    <a:pt x="5094446" y="281464"/>
                    <a:pt x="5093494" y="279559"/>
                  </a:cubicBezTo>
                  <a:cubicBezTo>
                    <a:pt x="5091589" y="271939"/>
                    <a:pt x="5089684" y="265271"/>
                    <a:pt x="5087779" y="258604"/>
                  </a:cubicBezTo>
                  <a:cubicBezTo>
                    <a:pt x="5087779" y="258604"/>
                    <a:pt x="5088731" y="257651"/>
                    <a:pt x="5089684" y="257651"/>
                  </a:cubicBezTo>
                  <a:cubicBezTo>
                    <a:pt x="5092542" y="265271"/>
                    <a:pt x="5094446" y="273844"/>
                    <a:pt x="5097304" y="282416"/>
                  </a:cubicBezTo>
                  <a:close/>
                  <a:moveTo>
                    <a:pt x="5080159" y="224314"/>
                  </a:moveTo>
                  <a:cubicBezTo>
                    <a:pt x="5081112" y="228124"/>
                    <a:pt x="5083969" y="238601"/>
                    <a:pt x="5089684" y="254794"/>
                  </a:cubicBezTo>
                  <a:cubicBezTo>
                    <a:pt x="5089684" y="254794"/>
                    <a:pt x="5088731" y="254794"/>
                    <a:pt x="5087779" y="254794"/>
                  </a:cubicBezTo>
                  <a:cubicBezTo>
                    <a:pt x="5085874" y="245269"/>
                    <a:pt x="5083017" y="236696"/>
                    <a:pt x="5081112" y="228124"/>
                  </a:cubicBezTo>
                  <a:cubicBezTo>
                    <a:pt x="5081112" y="228124"/>
                    <a:pt x="5080159" y="227171"/>
                    <a:pt x="5080159" y="224314"/>
                  </a:cubicBezTo>
                  <a:cubicBezTo>
                    <a:pt x="5080159" y="225266"/>
                    <a:pt x="5080159" y="225266"/>
                    <a:pt x="5080159" y="224314"/>
                  </a:cubicBezTo>
                  <a:close/>
                  <a:moveTo>
                    <a:pt x="5076349" y="272891"/>
                  </a:moveTo>
                  <a:cubicBezTo>
                    <a:pt x="5076349" y="270986"/>
                    <a:pt x="5076349" y="270034"/>
                    <a:pt x="5076349" y="268129"/>
                  </a:cubicBezTo>
                  <a:cubicBezTo>
                    <a:pt x="5077301" y="272891"/>
                    <a:pt x="5078254" y="277654"/>
                    <a:pt x="5079206" y="283369"/>
                  </a:cubicBezTo>
                  <a:cubicBezTo>
                    <a:pt x="5080159" y="289084"/>
                    <a:pt x="5082064" y="295751"/>
                    <a:pt x="5083017" y="301466"/>
                  </a:cubicBezTo>
                  <a:cubicBezTo>
                    <a:pt x="5083017" y="302419"/>
                    <a:pt x="5083017" y="303371"/>
                    <a:pt x="5083017" y="304324"/>
                  </a:cubicBezTo>
                  <a:cubicBezTo>
                    <a:pt x="5083017" y="306229"/>
                    <a:pt x="5082064" y="309086"/>
                    <a:pt x="5082064" y="311944"/>
                  </a:cubicBezTo>
                  <a:cubicBezTo>
                    <a:pt x="5079206" y="305276"/>
                    <a:pt x="5076349" y="298609"/>
                    <a:pt x="5073492" y="292894"/>
                  </a:cubicBezTo>
                  <a:cubicBezTo>
                    <a:pt x="5074444" y="285274"/>
                    <a:pt x="5075396" y="278606"/>
                    <a:pt x="5076349" y="272891"/>
                  </a:cubicBezTo>
                  <a:close/>
                  <a:moveTo>
                    <a:pt x="5066824" y="377666"/>
                  </a:moveTo>
                  <a:cubicBezTo>
                    <a:pt x="5066824" y="378619"/>
                    <a:pt x="5066824" y="379571"/>
                    <a:pt x="5066824" y="380524"/>
                  </a:cubicBezTo>
                  <a:cubicBezTo>
                    <a:pt x="5066824" y="381476"/>
                    <a:pt x="5066824" y="382429"/>
                    <a:pt x="5066824" y="383381"/>
                  </a:cubicBezTo>
                  <a:cubicBezTo>
                    <a:pt x="5066824" y="383381"/>
                    <a:pt x="5066824" y="384334"/>
                    <a:pt x="5065871" y="384334"/>
                  </a:cubicBezTo>
                  <a:cubicBezTo>
                    <a:pt x="5065871" y="383381"/>
                    <a:pt x="5064919" y="382429"/>
                    <a:pt x="5064919" y="381476"/>
                  </a:cubicBezTo>
                  <a:cubicBezTo>
                    <a:pt x="5065871" y="380524"/>
                    <a:pt x="5065871" y="379571"/>
                    <a:pt x="5066824" y="377666"/>
                  </a:cubicBezTo>
                  <a:close/>
                  <a:moveTo>
                    <a:pt x="5057299" y="303371"/>
                  </a:moveTo>
                  <a:cubicBezTo>
                    <a:pt x="5055394" y="300514"/>
                    <a:pt x="5053489" y="297656"/>
                    <a:pt x="5051584" y="294799"/>
                  </a:cubicBezTo>
                  <a:cubicBezTo>
                    <a:pt x="5051584" y="293846"/>
                    <a:pt x="5051584" y="291941"/>
                    <a:pt x="5052537" y="290989"/>
                  </a:cubicBezTo>
                  <a:cubicBezTo>
                    <a:pt x="5053489" y="290036"/>
                    <a:pt x="5054442" y="288131"/>
                    <a:pt x="5055394" y="287179"/>
                  </a:cubicBezTo>
                  <a:cubicBezTo>
                    <a:pt x="5056346" y="291941"/>
                    <a:pt x="5056346" y="297656"/>
                    <a:pt x="5057299" y="303371"/>
                  </a:cubicBezTo>
                  <a:close/>
                  <a:moveTo>
                    <a:pt x="5050631" y="252889"/>
                  </a:moveTo>
                  <a:cubicBezTo>
                    <a:pt x="5051584" y="254794"/>
                    <a:pt x="5051584" y="256699"/>
                    <a:pt x="5052537" y="258604"/>
                  </a:cubicBezTo>
                  <a:cubicBezTo>
                    <a:pt x="5052537" y="259556"/>
                    <a:pt x="5052537" y="260509"/>
                    <a:pt x="5053489" y="260509"/>
                  </a:cubicBezTo>
                  <a:cubicBezTo>
                    <a:pt x="5053489" y="262414"/>
                    <a:pt x="5053489" y="265271"/>
                    <a:pt x="5054442" y="268129"/>
                  </a:cubicBezTo>
                  <a:cubicBezTo>
                    <a:pt x="5053489" y="270034"/>
                    <a:pt x="5053489" y="271939"/>
                    <a:pt x="5052537" y="273844"/>
                  </a:cubicBezTo>
                  <a:cubicBezTo>
                    <a:pt x="5052537" y="274796"/>
                    <a:pt x="5051584" y="275749"/>
                    <a:pt x="5051584" y="276701"/>
                  </a:cubicBezTo>
                  <a:cubicBezTo>
                    <a:pt x="5050631" y="277654"/>
                    <a:pt x="5049679" y="278606"/>
                    <a:pt x="5048726" y="279559"/>
                  </a:cubicBezTo>
                  <a:cubicBezTo>
                    <a:pt x="5048726" y="279559"/>
                    <a:pt x="5048726" y="278606"/>
                    <a:pt x="5048726" y="278606"/>
                  </a:cubicBezTo>
                  <a:cubicBezTo>
                    <a:pt x="5048726" y="277654"/>
                    <a:pt x="5048726" y="275749"/>
                    <a:pt x="5048726" y="274796"/>
                  </a:cubicBezTo>
                  <a:cubicBezTo>
                    <a:pt x="5048726" y="271939"/>
                    <a:pt x="5048726" y="270034"/>
                    <a:pt x="5049679" y="268129"/>
                  </a:cubicBezTo>
                  <a:cubicBezTo>
                    <a:pt x="5049679" y="264319"/>
                    <a:pt x="5050631" y="262414"/>
                    <a:pt x="5050631" y="262414"/>
                  </a:cubicBezTo>
                  <a:cubicBezTo>
                    <a:pt x="5050631" y="262414"/>
                    <a:pt x="5049679" y="264319"/>
                    <a:pt x="5048726" y="268129"/>
                  </a:cubicBezTo>
                  <a:cubicBezTo>
                    <a:pt x="5048726" y="268129"/>
                    <a:pt x="5048726" y="269081"/>
                    <a:pt x="5048726" y="269081"/>
                  </a:cubicBezTo>
                  <a:cubicBezTo>
                    <a:pt x="5048726" y="268129"/>
                    <a:pt x="5048726" y="267176"/>
                    <a:pt x="5048726" y="266224"/>
                  </a:cubicBezTo>
                  <a:cubicBezTo>
                    <a:pt x="5048726" y="260509"/>
                    <a:pt x="5049679" y="256699"/>
                    <a:pt x="5050631" y="252889"/>
                  </a:cubicBezTo>
                  <a:close/>
                  <a:moveTo>
                    <a:pt x="5020151" y="390049"/>
                  </a:moveTo>
                  <a:cubicBezTo>
                    <a:pt x="5018246" y="385286"/>
                    <a:pt x="5016342" y="380524"/>
                    <a:pt x="5014437" y="376714"/>
                  </a:cubicBezTo>
                  <a:cubicBezTo>
                    <a:pt x="5014437" y="376714"/>
                    <a:pt x="5014437" y="375761"/>
                    <a:pt x="5014437" y="375761"/>
                  </a:cubicBezTo>
                  <a:cubicBezTo>
                    <a:pt x="5017294" y="365284"/>
                    <a:pt x="5020151" y="355759"/>
                    <a:pt x="5022056" y="347186"/>
                  </a:cubicBezTo>
                  <a:cubicBezTo>
                    <a:pt x="5022056" y="347186"/>
                    <a:pt x="5022056" y="348139"/>
                    <a:pt x="5022056" y="348139"/>
                  </a:cubicBezTo>
                  <a:cubicBezTo>
                    <a:pt x="5022056" y="352901"/>
                    <a:pt x="5022056" y="357664"/>
                    <a:pt x="5022056" y="363379"/>
                  </a:cubicBezTo>
                  <a:cubicBezTo>
                    <a:pt x="5022056" y="368141"/>
                    <a:pt x="5023009" y="373856"/>
                    <a:pt x="5023009" y="379571"/>
                  </a:cubicBezTo>
                  <a:cubicBezTo>
                    <a:pt x="5023009" y="381476"/>
                    <a:pt x="5023009" y="384334"/>
                    <a:pt x="5023962" y="386239"/>
                  </a:cubicBezTo>
                  <a:cubicBezTo>
                    <a:pt x="5023009" y="386239"/>
                    <a:pt x="5022056" y="388144"/>
                    <a:pt x="5020151" y="390049"/>
                  </a:cubicBezTo>
                  <a:close/>
                  <a:moveTo>
                    <a:pt x="5024914" y="400526"/>
                  </a:moveTo>
                  <a:cubicBezTo>
                    <a:pt x="5024914" y="400526"/>
                    <a:pt x="5024914" y="400526"/>
                    <a:pt x="5024914" y="400526"/>
                  </a:cubicBezTo>
                  <a:cubicBezTo>
                    <a:pt x="5024914" y="400526"/>
                    <a:pt x="5024914" y="400526"/>
                    <a:pt x="5024914" y="400526"/>
                  </a:cubicBezTo>
                  <a:cubicBezTo>
                    <a:pt x="5024914" y="400526"/>
                    <a:pt x="5024914" y="400526"/>
                    <a:pt x="5024914" y="400526"/>
                  </a:cubicBezTo>
                  <a:close/>
                  <a:moveTo>
                    <a:pt x="5035392" y="314801"/>
                  </a:moveTo>
                  <a:cubicBezTo>
                    <a:pt x="5035392" y="315754"/>
                    <a:pt x="5035392" y="316706"/>
                    <a:pt x="5035392" y="317659"/>
                  </a:cubicBezTo>
                  <a:cubicBezTo>
                    <a:pt x="5034439" y="329089"/>
                    <a:pt x="5032534" y="341471"/>
                    <a:pt x="5031581" y="353854"/>
                  </a:cubicBezTo>
                  <a:cubicBezTo>
                    <a:pt x="5031581" y="353854"/>
                    <a:pt x="5031581" y="353854"/>
                    <a:pt x="5031581" y="353854"/>
                  </a:cubicBezTo>
                  <a:cubicBezTo>
                    <a:pt x="5031581" y="353854"/>
                    <a:pt x="5031581" y="354806"/>
                    <a:pt x="5031581" y="354806"/>
                  </a:cubicBezTo>
                  <a:cubicBezTo>
                    <a:pt x="5031581" y="351949"/>
                    <a:pt x="5030629" y="349091"/>
                    <a:pt x="5030629" y="347186"/>
                  </a:cubicBezTo>
                  <a:cubicBezTo>
                    <a:pt x="5029676" y="340519"/>
                    <a:pt x="5028724" y="334804"/>
                    <a:pt x="5027771" y="329089"/>
                  </a:cubicBezTo>
                  <a:cubicBezTo>
                    <a:pt x="5027771" y="328136"/>
                    <a:pt x="5028724" y="326231"/>
                    <a:pt x="5028724" y="325279"/>
                  </a:cubicBezTo>
                  <a:cubicBezTo>
                    <a:pt x="5029676" y="323374"/>
                    <a:pt x="5030629" y="321469"/>
                    <a:pt x="5032534" y="319564"/>
                  </a:cubicBezTo>
                  <a:cubicBezTo>
                    <a:pt x="5033487" y="317659"/>
                    <a:pt x="5034439" y="315754"/>
                    <a:pt x="5035392" y="314801"/>
                  </a:cubicBezTo>
                  <a:close/>
                  <a:moveTo>
                    <a:pt x="5006817" y="242411"/>
                  </a:moveTo>
                  <a:cubicBezTo>
                    <a:pt x="5009674" y="246221"/>
                    <a:pt x="5013484" y="251936"/>
                    <a:pt x="5019199" y="259556"/>
                  </a:cubicBezTo>
                  <a:cubicBezTo>
                    <a:pt x="5022056" y="262414"/>
                    <a:pt x="5023962" y="266224"/>
                    <a:pt x="5025867" y="270034"/>
                  </a:cubicBezTo>
                  <a:cubicBezTo>
                    <a:pt x="5023962" y="268129"/>
                    <a:pt x="5022056" y="265271"/>
                    <a:pt x="5021104" y="263366"/>
                  </a:cubicBezTo>
                  <a:cubicBezTo>
                    <a:pt x="5019199" y="260509"/>
                    <a:pt x="5016342" y="258604"/>
                    <a:pt x="5014437" y="255746"/>
                  </a:cubicBezTo>
                  <a:cubicBezTo>
                    <a:pt x="5011579" y="251936"/>
                    <a:pt x="5007769" y="249079"/>
                    <a:pt x="5004912" y="245269"/>
                  </a:cubicBezTo>
                  <a:cubicBezTo>
                    <a:pt x="5006817" y="244316"/>
                    <a:pt x="5006817" y="243364"/>
                    <a:pt x="5006817" y="242411"/>
                  </a:cubicBezTo>
                  <a:close/>
                  <a:moveTo>
                    <a:pt x="5004912" y="242411"/>
                  </a:moveTo>
                  <a:cubicBezTo>
                    <a:pt x="5004912" y="241459"/>
                    <a:pt x="5004912" y="240506"/>
                    <a:pt x="5004912" y="238601"/>
                  </a:cubicBezTo>
                  <a:cubicBezTo>
                    <a:pt x="5004912" y="238601"/>
                    <a:pt x="5005864" y="239554"/>
                    <a:pt x="5006817" y="241459"/>
                  </a:cubicBezTo>
                  <a:cubicBezTo>
                    <a:pt x="5005864" y="242411"/>
                    <a:pt x="5005864" y="243364"/>
                    <a:pt x="5004912" y="244316"/>
                  </a:cubicBezTo>
                  <a:cubicBezTo>
                    <a:pt x="5004912" y="244316"/>
                    <a:pt x="5004912" y="244316"/>
                    <a:pt x="5004912" y="243364"/>
                  </a:cubicBezTo>
                  <a:cubicBezTo>
                    <a:pt x="5003959" y="243364"/>
                    <a:pt x="5003959" y="242411"/>
                    <a:pt x="5004912" y="242411"/>
                  </a:cubicBezTo>
                  <a:close/>
                  <a:moveTo>
                    <a:pt x="4999196" y="303371"/>
                  </a:moveTo>
                  <a:cubicBezTo>
                    <a:pt x="5001101" y="285274"/>
                    <a:pt x="5002054" y="268129"/>
                    <a:pt x="5003006" y="252889"/>
                  </a:cubicBezTo>
                  <a:cubicBezTo>
                    <a:pt x="5004912" y="255746"/>
                    <a:pt x="5006817" y="257651"/>
                    <a:pt x="5008721" y="260509"/>
                  </a:cubicBezTo>
                  <a:cubicBezTo>
                    <a:pt x="5010626" y="263366"/>
                    <a:pt x="5012531" y="266224"/>
                    <a:pt x="5014437" y="268129"/>
                  </a:cubicBezTo>
                  <a:cubicBezTo>
                    <a:pt x="5016342" y="270986"/>
                    <a:pt x="5018246" y="273844"/>
                    <a:pt x="5020151" y="276701"/>
                  </a:cubicBezTo>
                  <a:cubicBezTo>
                    <a:pt x="5023009" y="281464"/>
                    <a:pt x="5026819" y="287179"/>
                    <a:pt x="5029676" y="292894"/>
                  </a:cubicBezTo>
                  <a:cubicBezTo>
                    <a:pt x="5029676" y="292894"/>
                    <a:pt x="5029676" y="293846"/>
                    <a:pt x="5029676" y="293846"/>
                  </a:cubicBezTo>
                  <a:cubicBezTo>
                    <a:pt x="5028724" y="296704"/>
                    <a:pt x="5026819" y="299561"/>
                    <a:pt x="5025867" y="302419"/>
                  </a:cubicBezTo>
                  <a:cubicBezTo>
                    <a:pt x="5024914" y="303371"/>
                    <a:pt x="5023962" y="304324"/>
                    <a:pt x="5023009" y="305276"/>
                  </a:cubicBezTo>
                  <a:cubicBezTo>
                    <a:pt x="5023009" y="302419"/>
                    <a:pt x="5022056" y="301466"/>
                    <a:pt x="5022056" y="301466"/>
                  </a:cubicBezTo>
                  <a:cubicBezTo>
                    <a:pt x="5022056" y="301466"/>
                    <a:pt x="5022056" y="303371"/>
                    <a:pt x="5022056" y="306229"/>
                  </a:cubicBezTo>
                  <a:cubicBezTo>
                    <a:pt x="5021104" y="307181"/>
                    <a:pt x="5020151" y="308134"/>
                    <a:pt x="5019199" y="309086"/>
                  </a:cubicBezTo>
                  <a:cubicBezTo>
                    <a:pt x="5017294" y="311944"/>
                    <a:pt x="5014437" y="314801"/>
                    <a:pt x="5012531" y="318611"/>
                  </a:cubicBezTo>
                  <a:cubicBezTo>
                    <a:pt x="5012531" y="316706"/>
                    <a:pt x="5013484" y="313849"/>
                    <a:pt x="5013484" y="311944"/>
                  </a:cubicBezTo>
                  <a:cubicBezTo>
                    <a:pt x="5014437" y="305276"/>
                    <a:pt x="5015389" y="299561"/>
                    <a:pt x="5017294" y="294799"/>
                  </a:cubicBezTo>
                  <a:cubicBezTo>
                    <a:pt x="5019199" y="285274"/>
                    <a:pt x="5020151" y="279559"/>
                    <a:pt x="5020151" y="279559"/>
                  </a:cubicBezTo>
                  <a:cubicBezTo>
                    <a:pt x="5020151" y="279559"/>
                    <a:pt x="5017294" y="284321"/>
                    <a:pt x="5013484" y="293846"/>
                  </a:cubicBezTo>
                  <a:cubicBezTo>
                    <a:pt x="5011579" y="298609"/>
                    <a:pt x="5008721" y="304324"/>
                    <a:pt x="5006817" y="310039"/>
                  </a:cubicBezTo>
                  <a:cubicBezTo>
                    <a:pt x="5003959" y="316706"/>
                    <a:pt x="5002054" y="324326"/>
                    <a:pt x="4999196" y="331946"/>
                  </a:cubicBezTo>
                  <a:cubicBezTo>
                    <a:pt x="4999196" y="331946"/>
                    <a:pt x="4999196" y="332899"/>
                    <a:pt x="4999196" y="332899"/>
                  </a:cubicBezTo>
                  <a:cubicBezTo>
                    <a:pt x="4998244" y="330994"/>
                    <a:pt x="4997292" y="329089"/>
                    <a:pt x="4997292" y="327184"/>
                  </a:cubicBezTo>
                  <a:cubicBezTo>
                    <a:pt x="4998244" y="320516"/>
                    <a:pt x="4998244" y="311944"/>
                    <a:pt x="4999196" y="303371"/>
                  </a:cubicBezTo>
                  <a:close/>
                  <a:moveTo>
                    <a:pt x="4968717" y="208121"/>
                  </a:moveTo>
                  <a:cubicBezTo>
                    <a:pt x="4968717" y="209074"/>
                    <a:pt x="4968717" y="210026"/>
                    <a:pt x="4967764" y="212884"/>
                  </a:cubicBezTo>
                  <a:cubicBezTo>
                    <a:pt x="4967764" y="213836"/>
                    <a:pt x="4966812" y="215741"/>
                    <a:pt x="4966812" y="217646"/>
                  </a:cubicBezTo>
                  <a:cubicBezTo>
                    <a:pt x="4966812" y="216694"/>
                    <a:pt x="4966812" y="216694"/>
                    <a:pt x="4966812" y="215741"/>
                  </a:cubicBezTo>
                  <a:cubicBezTo>
                    <a:pt x="4967764" y="213836"/>
                    <a:pt x="4968717" y="210979"/>
                    <a:pt x="4968717" y="208121"/>
                  </a:cubicBezTo>
                  <a:close/>
                  <a:moveTo>
                    <a:pt x="4960144" y="364331"/>
                  </a:moveTo>
                  <a:cubicBezTo>
                    <a:pt x="4960144" y="370046"/>
                    <a:pt x="4961096" y="375761"/>
                    <a:pt x="4961096" y="381476"/>
                  </a:cubicBezTo>
                  <a:cubicBezTo>
                    <a:pt x="4960144" y="384334"/>
                    <a:pt x="4959192" y="388144"/>
                    <a:pt x="4958239" y="391001"/>
                  </a:cubicBezTo>
                  <a:cubicBezTo>
                    <a:pt x="4958239" y="389096"/>
                    <a:pt x="4957287" y="387191"/>
                    <a:pt x="4957287" y="386239"/>
                  </a:cubicBezTo>
                  <a:cubicBezTo>
                    <a:pt x="4957287" y="384334"/>
                    <a:pt x="4957287" y="382429"/>
                    <a:pt x="4957287" y="380524"/>
                  </a:cubicBezTo>
                  <a:cubicBezTo>
                    <a:pt x="4957287" y="371951"/>
                    <a:pt x="4957287" y="363379"/>
                    <a:pt x="4956334" y="356711"/>
                  </a:cubicBezTo>
                  <a:cubicBezTo>
                    <a:pt x="4956334" y="354806"/>
                    <a:pt x="4956334" y="353854"/>
                    <a:pt x="4956334" y="351949"/>
                  </a:cubicBezTo>
                  <a:cubicBezTo>
                    <a:pt x="4957287" y="350996"/>
                    <a:pt x="4958239" y="349091"/>
                    <a:pt x="4958239" y="348139"/>
                  </a:cubicBezTo>
                  <a:cubicBezTo>
                    <a:pt x="4959192" y="352901"/>
                    <a:pt x="4959192" y="358616"/>
                    <a:pt x="4960144" y="364331"/>
                  </a:cubicBezTo>
                  <a:close/>
                  <a:moveTo>
                    <a:pt x="4957287" y="256699"/>
                  </a:moveTo>
                  <a:cubicBezTo>
                    <a:pt x="4957287" y="257651"/>
                    <a:pt x="4957287" y="258604"/>
                    <a:pt x="4957287" y="258604"/>
                  </a:cubicBezTo>
                  <a:cubicBezTo>
                    <a:pt x="4957287" y="258604"/>
                    <a:pt x="4957287" y="259556"/>
                    <a:pt x="4957287" y="259556"/>
                  </a:cubicBezTo>
                  <a:cubicBezTo>
                    <a:pt x="4956334" y="262414"/>
                    <a:pt x="4956334" y="264319"/>
                    <a:pt x="4955381" y="267176"/>
                  </a:cubicBezTo>
                  <a:cubicBezTo>
                    <a:pt x="4955381" y="266224"/>
                    <a:pt x="4954429" y="266224"/>
                    <a:pt x="4954429" y="265271"/>
                  </a:cubicBezTo>
                  <a:cubicBezTo>
                    <a:pt x="4955381" y="263366"/>
                    <a:pt x="4956334" y="259556"/>
                    <a:pt x="4957287" y="256699"/>
                  </a:cubicBezTo>
                  <a:close/>
                  <a:moveTo>
                    <a:pt x="4954429" y="268129"/>
                  </a:moveTo>
                  <a:cubicBezTo>
                    <a:pt x="4954429" y="269081"/>
                    <a:pt x="4955381" y="270034"/>
                    <a:pt x="4955381" y="270986"/>
                  </a:cubicBezTo>
                  <a:cubicBezTo>
                    <a:pt x="4954429" y="276701"/>
                    <a:pt x="4952524" y="283369"/>
                    <a:pt x="4951571" y="290036"/>
                  </a:cubicBezTo>
                  <a:cubicBezTo>
                    <a:pt x="4949667" y="298609"/>
                    <a:pt x="4947762" y="307181"/>
                    <a:pt x="4944904" y="316706"/>
                  </a:cubicBezTo>
                  <a:cubicBezTo>
                    <a:pt x="4943951" y="312896"/>
                    <a:pt x="4943951" y="310991"/>
                    <a:pt x="4943951" y="310991"/>
                  </a:cubicBezTo>
                  <a:cubicBezTo>
                    <a:pt x="4943951" y="310991"/>
                    <a:pt x="4943951" y="314801"/>
                    <a:pt x="4943951" y="320516"/>
                  </a:cubicBezTo>
                  <a:cubicBezTo>
                    <a:pt x="4942999" y="326231"/>
                    <a:pt x="4941094" y="330994"/>
                    <a:pt x="4940142" y="336709"/>
                  </a:cubicBezTo>
                  <a:cubicBezTo>
                    <a:pt x="4940142" y="336709"/>
                    <a:pt x="4940142" y="335756"/>
                    <a:pt x="4940142" y="335756"/>
                  </a:cubicBezTo>
                  <a:cubicBezTo>
                    <a:pt x="4939189" y="331946"/>
                    <a:pt x="4939189" y="329089"/>
                    <a:pt x="4938237" y="325279"/>
                  </a:cubicBezTo>
                  <a:cubicBezTo>
                    <a:pt x="4943951" y="306229"/>
                    <a:pt x="4949667" y="286226"/>
                    <a:pt x="4954429" y="268129"/>
                  </a:cubicBezTo>
                  <a:close/>
                  <a:moveTo>
                    <a:pt x="4922044" y="378619"/>
                  </a:moveTo>
                  <a:cubicBezTo>
                    <a:pt x="4922044" y="378619"/>
                    <a:pt x="4922044" y="378619"/>
                    <a:pt x="4922044" y="378619"/>
                  </a:cubicBezTo>
                  <a:cubicBezTo>
                    <a:pt x="4922044" y="379571"/>
                    <a:pt x="4922044" y="379571"/>
                    <a:pt x="4922044" y="378619"/>
                  </a:cubicBezTo>
                  <a:cubicBezTo>
                    <a:pt x="4922044" y="379571"/>
                    <a:pt x="4922044" y="378619"/>
                    <a:pt x="4922044" y="378619"/>
                  </a:cubicBezTo>
                  <a:close/>
                  <a:moveTo>
                    <a:pt x="4908709" y="307181"/>
                  </a:moveTo>
                  <a:cubicBezTo>
                    <a:pt x="4910614" y="312896"/>
                    <a:pt x="4912519" y="318611"/>
                    <a:pt x="4915376" y="326231"/>
                  </a:cubicBezTo>
                  <a:cubicBezTo>
                    <a:pt x="4913471" y="330041"/>
                    <a:pt x="4911567" y="334804"/>
                    <a:pt x="4909662" y="338614"/>
                  </a:cubicBezTo>
                  <a:cubicBezTo>
                    <a:pt x="4908709" y="327184"/>
                    <a:pt x="4907756" y="316706"/>
                    <a:pt x="4906804" y="308134"/>
                  </a:cubicBezTo>
                  <a:cubicBezTo>
                    <a:pt x="4906804" y="306229"/>
                    <a:pt x="4906804" y="305276"/>
                    <a:pt x="4906804" y="305276"/>
                  </a:cubicBezTo>
                  <a:cubicBezTo>
                    <a:pt x="4906804" y="305276"/>
                    <a:pt x="4906804" y="306229"/>
                    <a:pt x="4905851" y="307181"/>
                  </a:cubicBezTo>
                  <a:cubicBezTo>
                    <a:pt x="4905851" y="303371"/>
                    <a:pt x="4904899" y="300514"/>
                    <a:pt x="4904899" y="297656"/>
                  </a:cubicBezTo>
                  <a:cubicBezTo>
                    <a:pt x="4906804" y="300514"/>
                    <a:pt x="4907756" y="303371"/>
                    <a:pt x="4908709" y="307181"/>
                  </a:cubicBezTo>
                  <a:close/>
                  <a:moveTo>
                    <a:pt x="4897279" y="351949"/>
                  </a:moveTo>
                  <a:cubicBezTo>
                    <a:pt x="4897279" y="356711"/>
                    <a:pt x="4897279" y="360521"/>
                    <a:pt x="4896326" y="365284"/>
                  </a:cubicBezTo>
                  <a:cubicBezTo>
                    <a:pt x="4896326" y="366236"/>
                    <a:pt x="4895374" y="367189"/>
                    <a:pt x="4895374" y="368141"/>
                  </a:cubicBezTo>
                  <a:cubicBezTo>
                    <a:pt x="4895374" y="365284"/>
                    <a:pt x="4894421" y="361474"/>
                    <a:pt x="4894421" y="357664"/>
                  </a:cubicBezTo>
                  <a:cubicBezTo>
                    <a:pt x="4893469" y="351949"/>
                    <a:pt x="4893469" y="347186"/>
                    <a:pt x="4892517" y="341471"/>
                  </a:cubicBezTo>
                  <a:cubicBezTo>
                    <a:pt x="4894421" y="345281"/>
                    <a:pt x="4895374" y="348139"/>
                    <a:pt x="4897279" y="351949"/>
                  </a:cubicBezTo>
                  <a:close/>
                  <a:moveTo>
                    <a:pt x="4822984" y="387191"/>
                  </a:moveTo>
                  <a:cubicBezTo>
                    <a:pt x="4822984" y="386239"/>
                    <a:pt x="4822984" y="386239"/>
                    <a:pt x="4822984" y="385286"/>
                  </a:cubicBezTo>
                  <a:cubicBezTo>
                    <a:pt x="4822984" y="386239"/>
                    <a:pt x="4822984" y="387191"/>
                    <a:pt x="4822984" y="387191"/>
                  </a:cubicBezTo>
                  <a:cubicBezTo>
                    <a:pt x="4822984" y="387191"/>
                    <a:pt x="4822984" y="387191"/>
                    <a:pt x="4822984" y="387191"/>
                  </a:cubicBezTo>
                  <a:close/>
                  <a:moveTo>
                    <a:pt x="4842987" y="338614"/>
                  </a:moveTo>
                  <a:cubicBezTo>
                    <a:pt x="4842987" y="344329"/>
                    <a:pt x="4842987" y="350044"/>
                    <a:pt x="4842987" y="356711"/>
                  </a:cubicBezTo>
                  <a:cubicBezTo>
                    <a:pt x="4842987" y="357664"/>
                    <a:pt x="4842987" y="359569"/>
                    <a:pt x="4842987" y="360521"/>
                  </a:cubicBezTo>
                  <a:cubicBezTo>
                    <a:pt x="4842034" y="366236"/>
                    <a:pt x="4841081" y="373856"/>
                    <a:pt x="4840129" y="382429"/>
                  </a:cubicBezTo>
                  <a:cubicBezTo>
                    <a:pt x="4839176" y="385286"/>
                    <a:pt x="4839176" y="387191"/>
                    <a:pt x="4838224" y="390049"/>
                  </a:cubicBezTo>
                  <a:cubicBezTo>
                    <a:pt x="4834414" y="389096"/>
                    <a:pt x="4830604" y="388144"/>
                    <a:pt x="4826794" y="387191"/>
                  </a:cubicBezTo>
                  <a:cubicBezTo>
                    <a:pt x="4825841" y="384334"/>
                    <a:pt x="4824889" y="381476"/>
                    <a:pt x="4824889" y="379571"/>
                  </a:cubicBezTo>
                  <a:cubicBezTo>
                    <a:pt x="4825841" y="376714"/>
                    <a:pt x="4826794" y="373856"/>
                    <a:pt x="4827747" y="370999"/>
                  </a:cubicBezTo>
                  <a:cubicBezTo>
                    <a:pt x="4830604" y="361474"/>
                    <a:pt x="4834414" y="352901"/>
                    <a:pt x="4838224" y="346234"/>
                  </a:cubicBezTo>
                  <a:cubicBezTo>
                    <a:pt x="4840129" y="342424"/>
                    <a:pt x="4842034" y="339566"/>
                    <a:pt x="4843939" y="336709"/>
                  </a:cubicBezTo>
                  <a:cubicBezTo>
                    <a:pt x="4842987" y="337661"/>
                    <a:pt x="4842987" y="338614"/>
                    <a:pt x="4842987" y="338614"/>
                  </a:cubicBezTo>
                  <a:cubicBezTo>
                    <a:pt x="4842987" y="338614"/>
                    <a:pt x="4842987" y="338614"/>
                    <a:pt x="4842987" y="338614"/>
                  </a:cubicBezTo>
                  <a:close/>
                  <a:moveTo>
                    <a:pt x="4843939" y="329089"/>
                  </a:moveTo>
                  <a:cubicBezTo>
                    <a:pt x="4843939" y="329089"/>
                    <a:pt x="4843939" y="329089"/>
                    <a:pt x="4843939" y="329089"/>
                  </a:cubicBezTo>
                  <a:cubicBezTo>
                    <a:pt x="4841081" y="324326"/>
                    <a:pt x="4838224" y="320516"/>
                    <a:pt x="4836319" y="318611"/>
                  </a:cubicBezTo>
                  <a:cubicBezTo>
                    <a:pt x="4836319" y="318611"/>
                    <a:pt x="4836319" y="318611"/>
                    <a:pt x="4836319" y="318611"/>
                  </a:cubicBezTo>
                  <a:cubicBezTo>
                    <a:pt x="4837272" y="316706"/>
                    <a:pt x="4838224" y="315754"/>
                    <a:pt x="4839176" y="314801"/>
                  </a:cubicBezTo>
                  <a:cubicBezTo>
                    <a:pt x="4840129" y="316706"/>
                    <a:pt x="4841081" y="319564"/>
                    <a:pt x="4842987" y="321469"/>
                  </a:cubicBezTo>
                  <a:cubicBezTo>
                    <a:pt x="4842987" y="322421"/>
                    <a:pt x="4843939" y="323374"/>
                    <a:pt x="4843939" y="323374"/>
                  </a:cubicBezTo>
                  <a:cubicBezTo>
                    <a:pt x="4843939" y="325279"/>
                    <a:pt x="4843939" y="327184"/>
                    <a:pt x="4843939" y="329089"/>
                  </a:cubicBezTo>
                  <a:close/>
                  <a:moveTo>
                    <a:pt x="4845844" y="296704"/>
                  </a:moveTo>
                  <a:cubicBezTo>
                    <a:pt x="4845844" y="302419"/>
                    <a:pt x="4844891" y="309086"/>
                    <a:pt x="4844891" y="316706"/>
                  </a:cubicBezTo>
                  <a:cubicBezTo>
                    <a:pt x="4842987" y="314801"/>
                    <a:pt x="4842034" y="311944"/>
                    <a:pt x="4840129" y="310039"/>
                  </a:cubicBezTo>
                  <a:cubicBezTo>
                    <a:pt x="4839176" y="309086"/>
                    <a:pt x="4838224" y="307181"/>
                    <a:pt x="4837272" y="306229"/>
                  </a:cubicBezTo>
                  <a:cubicBezTo>
                    <a:pt x="4840129" y="300514"/>
                    <a:pt x="4842987" y="295751"/>
                    <a:pt x="4845844" y="290989"/>
                  </a:cubicBezTo>
                  <a:cubicBezTo>
                    <a:pt x="4846797" y="290036"/>
                    <a:pt x="4846797" y="289084"/>
                    <a:pt x="4847749" y="288131"/>
                  </a:cubicBezTo>
                  <a:cubicBezTo>
                    <a:pt x="4846797" y="290989"/>
                    <a:pt x="4845844" y="293846"/>
                    <a:pt x="4845844" y="296704"/>
                  </a:cubicBezTo>
                  <a:close/>
                  <a:moveTo>
                    <a:pt x="4869656" y="325279"/>
                  </a:moveTo>
                  <a:cubicBezTo>
                    <a:pt x="4869656" y="326231"/>
                    <a:pt x="4869656" y="326231"/>
                    <a:pt x="4869656" y="327184"/>
                  </a:cubicBezTo>
                  <a:cubicBezTo>
                    <a:pt x="4869656" y="327184"/>
                    <a:pt x="4869656" y="326231"/>
                    <a:pt x="4869656" y="325279"/>
                  </a:cubicBezTo>
                  <a:cubicBezTo>
                    <a:pt x="4869656" y="323374"/>
                    <a:pt x="4869656" y="320516"/>
                    <a:pt x="4869656" y="318611"/>
                  </a:cubicBezTo>
                  <a:cubicBezTo>
                    <a:pt x="4869656" y="320516"/>
                    <a:pt x="4869656" y="323374"/>
                    <a:pt x="4869656" y="325279"/>
                  </a:cubicBezTo>
                  <a:close/>
                  <a:moveTo>
                    <a:pt x="4854416" y="276701"/>
                  </a:moveTo>
                  <a:cubicBezTo>
                    <a:pt x="4860131" y="267176"/>
                    <a:pt x="4865847" y="261461"/>
                    <a:pt x="4868704" y="256699"/>
                  </a:cubicBezTo>
                  <a:cubicBezTo>
                    <a:pt x="4869656" y="255746"/>
                    <a:pt x="4870609" y="253841"/>
                    <a:pt x="4871562" y="252889"/>
                  </a:cubicBezTo>
                  <a:cubicBezTo>
                    <a:pt x="4871562" y="254794"/>
                    <a:pt x="4871562" y="257651"/>
                    <a:pt x="4871562" y="259556"/>
                  </a:cubicBezTo>
                  <a:cubicBezTo>
                    <a:pt x="4868704" y="270986"/>
                    <a:pt x="4864894" y="283369"/>
                    <a:pt x="4861084" y="296704"/>
                  </a:cubicBezTo>
                  <a:cubicBezTo>
                    <a:pt x="4861084" y="297656"/>
                    <a:pt x="4860131" y="299561"/>
                    <a:pt x="4860131" y="300514"/>
                  </a:cubicBezTo>
                  <a:cubicBezTo>
                    <a:pt x="4857274" y="291941"/>
                    <a:pt x="4855369" y="284321"/>
                    <a:pt x="4853464" y="278606"/>
                  </a:cubicBezTo>
                  <a:cubicBezTo>
                    <a:pt x="4854416" y="277654"/>
                    <a:pt x="4854416" y="277654"/>
                    <a:pt x="4854416" y="276701"/>
                  </a:cubicBezTo>
                  <a:cubicBezTo>
                    <a:pt x="4854416" y="276701"/>
                    <a:pt x="4854416" y="276701"/>
                    <a:pt x="4854416" y="276701"/>
                  </a:cubicBezTo>
                  <a:close/>
                  <a:moveTo>
                    <a:pt x="4850606" y="281464"/>
                  </a:moveTo>
                  <a:cubicBezTo>
                    <a:pt x="4852512" y="290989"/>
                    <a:pt x="4854416" y="303371"/>
                    <a:pt x="4857274" y="316706"/>
                  </a:cubicBezTo>
                  <a:cubicBezTo>
                    <a:pt x="4856322" y="321469"/>
                    <a:pt x="4855369" y="325279"/>
                    <a:pt x="4854416" y="330041"/>
                  </a:cubicBezTo>
                  <a:cubicBezTo>
                    <a:pt x="4853464" y="329089"/>
                    <a:pt x="4852512" y="327184"/>
                    <a:pt x="4852512" y="326231"/>
                  </a:cubicBezTo>
                  <a:cubicBezTo>
                    <a:pt x="4852512" y="325279"/>
                    <a:pt x="4852512" y="323374"/>
                    <a:pt x="4852512" y="322421"/>
                  </a:cubicBezTo>
                  <a:cubicBezTo>
                    <a:pt x="4851559" y="311944"/>
                    <a:pt x="4851559" y="303371"/>
                    <a:pt x="4850606" y="295751"/>
                  </a:cubicBezTo>
                  <a:cubicBezTo>
                    <a:pt x="4850606" y="290989"/>
                    <a:pt x="4849654" y="287179"/>
                    <a:pt x="4849654" y="284321"/>
                  </a:cubicBezTo>
                  <a:cubicBezTo>
                    <a:pt x="4849654" y="283369"/>
                    <a:pt x="4849654" y="282416"/>
                    <a:pt x="4850606" y="281464"/>
                  </a:cubicBezTo>
                  <a:close/>
                  <a:moveTo>
                    <a:pt x="4838224" y="290036"/>
                  </a:moveTo>
                  <a:cubicBezTo>
                    <a:pt x="4841081" y="283369"/>
                    <a:pt x="4843939" y="277654"/>
                    <a:pt x="4845844" y="272891"/>
                  </a:cubicBezTo>
                  <a:cubicBezTo>
                    <a:pt x="4846797" y="270034"/>
                    <a:pt x="4847749" y="267176"/>
                    <a:pt x="4848701" y="265271"/>
                  </a:cubicBezTo>
                  <a:cubicBezTo>
                    <a:pt x="4848701" y="268129"/>
                    <a:pt x="4849654" y="271939"/>
                    <a:pt x="4849654" y="275749"/>
                  </a:cubicBezTo>
                  <a:cubicBezTo>
                    <a:pt x="4848701" y="276701"/>
                    <a:pt x="4848701" y="277654"/>
                    <a:pt x="4847749" y="277654"/>
                  </a:cubicBezTo>
                  <a:cubicBezTo>
                    <a:pt x="4847749" y="274796"/>
                    <a:pt x="4847749" y="273844"/>
                    <a:pt x="4847749" y="273844"/>
                  </a:cubicBezTo>
                  <a:cubicBezTo>
                    <a:pt x="4847749" y="273844"/>
                    <a:pt x="4847749" y="275749"/>
                    <a:pt x="4847749" y="278606"/>
                  </a:cubicBezTo>
                  <a:cubicBezTo>
                    <a:pt x="4845844" y="281464"/>
                    <a:pt x="4842987" y="284321"/>
                    <a:pt x="4841081" y="288131"/>
                  </a:cubicBezTo>
                  <a:cubicBezTo>
                    <a:pt x="4840129" y="290036"/>
                    <a:pt x="4838224" y="291941"/>
                    <a:pt x="4836319" y="294799"/>
                  </a:cubicBezTo>
                  <a:cubicBezTo>
                    <a:pt x="4836319" y="292894"/>
                    <a:pt x="4837272" y="291941"/>
                    <a:pt x="4838224" y="290036"/>
                  </a:cubicBezTo>
                  <a:close/>
                  <a:moveTo>
                    <a:pt x="4835366" y="309086"/>
                  </a:moveTo>
                  <a:cubicBezTo>
                    <a:pt x="4835366" y="309086"/>
                    <a:pt x="4835366" y="308134"/>
                    <a:pt x="4836319" y="308134"/>
                  </a:cubicBezTo>
                  <a:cubicBezTo>
                    <a:pt x="4837272" y="309086"/>
                    <a:pt x="4837272" y="310039"/>
                    <a:pt x="4838224" y="311944"/>
                  </a:cubicBezTo>
                  <a:cubicBezTo>
                    <a:pt x="4838224" y="312896"/>
                    <a:pt x="4839176" y="312896"/>
                    <a:pt x="4839176" y="313849"/>
                  </a:cubicBezTo>
                  <a:cubicBezTo>
                    <a:pt x="4838224" y="314801"/>
                    <a:pt x="4837272" y="315754"/>
                    <a:pt x="4835366" y="317659"/>
                  </a:cubicBezTo>
                  <a:cubicBezTo>
                    <a:pt x="4835366" y="317659"/>
                    <a:pt x="4835366" y="317659"/>
                    <a:pt x="4835366" y="317659"/>
                  </a:cubicBezTo>
                  <a:cubicBezTo>
                    <a:pt x="4835366" y="317659"/>
                    <a:pt x="4834414" y="316706"/>
                    <a:pt x="4834414" y="316706"/>
                  </a:cubicBezTo>
                  <a:cubicBezTo>
                    <a:pt x="4833462" y="315754"/>
                    <a:pt x="4833462" y="315754"/>
                    <a:pt x="4832509" y="314801"/>
                  </a:cubicBezTo>
                  <a:cubicBezTo>
                    <a:pt x="4833462" y="312896"/>
                    <a:pt x="4834414" y="310991"/>
                    <a:pt x="4835366" y="309086"/>
                  </a:cubicBezTo>
                  <a:close/>
                  <a:moveTo>
                    <a:pt x="4830604" y="319564"/>
                  </a:moveTo>
                  <a:cubicBezTo>
                    <a:pt x="4831556" y="317659"/>
                    <a:pt x="4831556" y="316706"/>
                    <a:pt x="4832509" y="314801"/>
                  </a:cubicBezTo>
                  <a:cubicBezTo>
                    <a:pt x="4832509" y="315754"/>
                    <a:pt x="4833462" y="315754"/>
                    <a:pt x="4833462" y="316706"/>
                  </a:cubicBezTo>
                  <a:cubicBezTo>
                    <a:pt x="4833462" y="317659"/>
                    <a:pt x="4834414" y="317659"/>
                    <a:pt x="4834414" y="318611"/>
                  </a:cubicBezTo>
                  <a:cubicBezTo>
                    <a:pt x="4832509" y="320516"/>
                    <a:pt x="4830604" y="322421"/>
                    <a:pt x="4828699" y="324326"/>
                  </a:cubicBezTo>
                  <a:cubicBezTo>
                    <a:pt x="4829651" y="322421"/>
                    <a:pt x="4829651" y="320516"/>
                    <a:pt x="4830604" y="319564"/>
                  </a:cubicBezTo>
                  <a:close/>
                  <a:moveTo>
                    <a:pt x="4817269" y="364331"/>
                  </a:moveTo>
                  <a:cubicBezTo>
                    <a:pt x="4817269" y="361474"/>
                    <a:pt x="4817269" y="359569"/>
                    <a:pt x="4817269" y="356711"/>
                  </a:cubicBezTo>
                  <a:cubicBezTo>
                    <a:pt x="4820126" y="349091"/>
                    <a:pt x="4822984" y="342424"/>
                    <a:pt x="4824889" y="335756"/>
                  </a:cubicBezTo>
                  <a:cubicBezTo>
                    <a:pt x="4824889" y="335756"/>
                    <a:pt x="4825841" y="334804"/>
                    <a:pt x="4825841" y="334804"/>
                  </a:cubicBezTo>
                  <a:cubicBezTo>
                    <a:pt x="4829651" y="328136"/>
                    <a:pt x="4833462" y="323374"/>
                    <a:pt x="4835366" y="319564"/>
                  </a:cubicBezTo>
                  <a:cubicBezTo>
                    <a:pt x="4835366" y="320516"/>
                    <a:pt x="4836319" y="321469"/>
                    <a:pt x="4837272" y="322421"/>
                  </a:cubicBezTo>
                  <a:cubicBezTo>
                    <a:pt x="4838224" y="324326"/>
                    <a:pt x="4839176" y="327184"/>
                    <a:pt x="4841081" y="330994"/>
                  </a:cubicBezTo>
                  <a:cubicBezTo>
                    <a:pt x="4842034" y="332899"/>
                    <a:pt x="4842034" y="333851"/>
                    <a:pt x="4842987" y="335756"/>
                  </a:cubicBezTo>
                  <a:cubicBezTo>
                    <a:pt x="4840129" y="338614"/>
                    <a:pt x="4838224" y="341471"/>
                    <a:pt x="4835366" y="345281"/>
                  </a:cubicBezTo>
                  <a:cubicBezTo>
                    <a:pt x="4831556" y="350996"/>
                    <a:pt x="4826794" y="357664"/>
                    <a:pt x="4822984" y="366236"/>
                  </a:cubicBezTo>
                  <a:cubicBezTo>
                    <a:pt x="4822031" y="367189"/>
                    <a:pt x="4821079" y="368141"/>
                    <a:pt x="4820126" y="369094"/>
                  </a:cubicBezTo>
                  <a:cubicBezTo>
                    <a:pt x="4819174" y="370046"/>
                    <a:pt x="4818222" y="370999"/>
                    <a:pt x="4817269" y="371951"/>
                  </a:cubicBezTo>
                  <a:cubicBezTo>
                    <a:pt x="4816316" y="369094"/>
                    <a:pt x="4817269" y="366236"/>
                    <a:pt x="4817269" y="364331"/>
                  </a:cubicBezTo>
                  <a:close/>
                  <a:moveTo>
                    <a:pt x="4816316" y="376714"/>
                  </a:moveTo>
                  <a:cubicBezTo>
                    <a:pt x="4817269" y="373856"/>
                    <a:pt x="4819174" y="370999"/>
                    <a:pt x="4820126" y="370046"/>
                  </a:cubicBezTo>
                  <a:cubicBezTo>
                    <a:pt x="4820126" y="370046"/>
                    <a:pt x="4820126" y="370046"/>
                    <a:pt x="4820126" y="370046"/>
                  </a:cubicBezTo>
                  <a:cubicBezTo>
                    <a:pt x="4820126" y="370046"/>
                    <a:pt x="4820126" y="370046"/>
                    <a:pt x="4820126" y="370046"/>
                  </a:cubicBezTo>
                  <a:cubicBezTo>
                    <a:pt x="4819174" y="372904"/>
                    <a:pt x="4817269" y="375761"/>
                    <a:pt x="4816316" y="378619"/>
                  </a:cubicBezTo>
                  <a:cubicBezTo>
                    <a:pt x="4816316" y="376714"/>
                    <a:pt x="4816316" y="376714"/>
                    <a:pt x="4816316" y="376714"/>
                  </a:cubicBezTo>
                  <a:close/>
                  <a:moveTo>
                    <a:pt x="4762024" y="305276"/>
                  </a:moveTo>
                  <a:cubicBezTo>
                    <a:pt x="4762024" y="306229"/>
                    <a:pt x="4762976" y="312896"/>
                    <a:pt x="4763929" y="322421"/>
                  </a:cubicBezTo>
                  <a:cubicBezTo>
                    <a:pt x="4762024" y="317659"/>
                    <a:pt x="4761072" y="313849"/>
                    <a:pt x="4760119" y="309086"/>
                  </a:cubicBezTo>
                  <a:cubicBezTo>
                    <a:pt x="4761072" y="306229"/>
                    <a:pt x="4761072" y="303371"/>
                    <a:pt x="4762024" y="300514"/>
                  </a:cubicBezTo>
                  <a:cubicBezTo>
                    <a:pt x="4762024" y="302419"/>
                    <a:pt x="4762024" y="303371"/>
                    <a:pt x="4762024" y="305276"/>
                  </a:cubicBezTo>
                  <a:close/>
                  <a:moveTo>
                    <a:pt x="4755356" y="279559"/>
                  </a:moveTo>
                  <a:cubicBezTo>
                    <a:pt x="4757262" y="284321"/>
                    <a:pt x="4758214" y="289084"/>
                    <a:pt x="4760119" y="294799"/>
                  </a:cubicBezTo>
                  <a:cubicBezTo>
                    <a:pt x="4760119" y="295751"/>
                    <a:pt x="4760119" y="296704"/>
                    <a:pt x="4761072" y="297656"/>
                  </a:cubicBezTo>
                  <a:cubicBezTo>
                    <a:pt x="4760119" y="299561"/>
                    <a:pt x="4759166" y="301466"/>
                    <a:pt x="4758214" y="304324"/>
                  </a:cubicBezTo>
                  <a:cubicBezTo>
                    <a:pt x="4757262" y="300514"/>
                    <a:pt x="4755356" y="296704"/>
                    <a:pt x="4754404" y="292894"/>
                  </a:cubicBezTo>
                  <a:cubicBezTo>
                    <a:pt x="4754404" y="288131"/>
                    <a:pt x="4754404" y="284321"/>
                    <a:pt x="4755356" y="279559"/>
                  </a:cubicBezTo>
                  <a:close/>
                  <a:moveTo>
                    <a:pt x="4759166" y="342424"/>
                  </a:moveTo>
                  <a:cubicBezTo>
                    <a:pt x="4757262" y="338614"/>
                    <a:pt x="4756309" y="335756"/>
                    <a:pt x="4755356" y="331946"/>
                  </a:cubicBezTo>
                  <a:cubicBezTo>
                    <a:pt x="4755356" y="330041"/>
                    <a:pt x="4756309" y="328136"/>
                    <a:pt x="4756309" y="326231"/>
                  </a:cubicBezTo>
                  <a:cubicBezTo>
                    <a:pt x="4757262" y="330994"/>
                    <a:pt x="4758214" y="336709"/>
                    <a:pt x="4759166" y="342424"/>
                  </a:cubicBezTo>
                  <a:close/>
                  <a:moveTo>
                    <a:pt x="4753451" y="312896"/>
                  </a:moveTo>
                  <a:cubicBezTo>
                    <a:pt x="4753451" y="313849"/>
                    <a:pt x="4753451" y="314801"/>
                    <a:pt x="4754404" y="315754"/>
                  </a:cubicBezTo>
                  <a:cubicBezTo>
                    <a:pt x="4754404" y="316706"/>
                    <a:pt x="4754404" y="316706"/>
                    <a:pt x="4753451" y="317659"/>
                  </a:cubicBezTo>
                  <a:cubicBezTo>
                    <a:pt x="4753451" y="315754"/>
                    <a:pt x="4753451" y="313849"/>
                    <a:pt x="4753451" y="312896"/>
                  </a:cubicBezTo>
                  <a:close/>
                  <a:moveTo>
                    <a:pt x="4755356" y="373856"/>
                  </a:moveTo>
                  <a:cubicBezTo>
                    <a:pt x="4755356" y="374809"/>
                    <a:pt x="4755356" y="374809"/>
                    <a:pt x="4756309" y="375761"/>
                  </a:cubicBezTo>
                  <a:cubicBezTo>
                    <a:pt x="4755356" y="376714"/>
                    <a:pt x="4755356" y="378619"/>
                    <a:pt x="4754404" y="379571"/>
                  </a:cubicBezTo>
                  <a:cubicBezTo>
                    <a:pt x="4753451" y="379571"/>
                    <a:pt x="4753451" y="379571"/>
                    <a:pt x="4752499" y="379571"/>
                  </a:cubicBezTo>
                  <a:cubicBezTo>
                    <a:pt x="4753451" y="377666"/>
                    <a:pt x="4754404" y="375761"/>
                    <a:pt x="4755356" y="373856"/>
                  </a:cubicBezTo>
                  <a:close/>
                  <a:moveTo>
                    <a:pt x="4748689" y="291941"/>
                  </a:moveTo>
                  <a:cubicBezTo>
                    <a:pt x="4747737" y="295751"/>
                    <a:pt x="4747737" y="299561"/>
                    <a:pt x="4746784" y="303371"/>
                  </a:cubicBezTo>
                  <a:cubicBezTo>
                    <a:pt x="4746784" y="303371"/>
                    <a:pt x="4746784" y="303371"/>
                    <a:pt x="4746784" y="303371"/>
                  </a:cubicBezTo>
                  <a:cubicBezTo>
                    <a:pt x="4746784" y="302419"/>
                    <a:pt x="4746784" y="300514"/>
                    <a:pt x="4746784" y="299561"/>
                  </a:cubicBezTo>
                  <a:cubicBezTo>
                    <a:pt x="4746784" y="296704"/>
                    <a:pt x="4747737" y="293846"/>
                    <a:pt x="4748689" y="291941"/>
                  </a:cubicBezTo>
                  <a:close/>
                  <a:moveTo>
                    <a:pt x="4738212" y="327184"/>
                  </a:moveTo>
                  <a:cubicBezTo>
                    <a:pt x="4738212" y="331946"/>
                    <a:pt x="4737259" y="335756"/>
                    <a:pt x="4737259" y="341471"/>
                  </a:cubicBezTo>
                  <a:cubicBezTo>
                    <a:pt x="4737259" y="339566"/>
                    <a:pt x="4736306" y="338614"/>
                    <a:pt x="4736306" y="336709"/>
                  </a:cubicBezTo>
                  <a:cubicBezTo>
                    <a:pt x="4737259" y="332899"/>
                    <a:pt x="4737259" y="330041"/>
                    <a:pt x="4738212" y="327184"/>
                  </a:cubicBezTo>
                  <a:close/>
                  <a:moveTo>
                    <a:pt x="4720114" y="261461"/>
                  </a:moveTo>
                  <a:cubicBezTo>
                    <a:pt x="4720114" y="261461"/>
                    <a:pt x="4720114" y="261461"/>
                    <a:pt x="4720114" y="261461"/>
                  </a:cubicBezTo>
                  <a:cubicBezTo>
                    <a:pt x="4722972" y="270034"/>
                    <a:pt x="4725829" y="279559"/>
                    <a:pt x="4729639" y="290989"/>
                  </a:cubicBezTo>
                  <a:cubicBezTo>
                    <a:pt x="4730591" y="292894"/>
                    <a:pt x="4730591" y="294799"/>
                    <a:pt x="4731544" y="296704"/>
                  </a:cubicBezTo>
                  <a:cubicBezTo>
                    <a:pt x="4730591" y="300514"/>
                    <a:pt x="4728687" y="304324"/>
                    <a:pt x="4727734" y="308134"/>
                  </a:cubicBezTo>
                  <a:cubicBezTo>
                    <a:pt x="4726781" y="304324"/>
                    <a:pt x="4724876" y="299561"/>
                    <a:pt x="4723924" y="295751"/>
                  </a:cubicBezTo>
                  <a:cubicBezTo>
                    <a:pt x="4722019" y="289084"/>
                    <a:pt x="4720114" y="282416"/>
                    <a:pt x="4718209" y="276701"/>
                  </a:cubicBezTo>
                  <a:cubicBezTo>
                    <a:pt x="4718209" y="270034"/>
                    <a:pt x="4719162" y="265271"/>
                    <a:pt x="4720114" y="261461"/>
                  </a:cubicBezTo>
                  <a:close/>
                  <a:moveTo>
                    <a:pt x="4709637" y="324326"/>
                  </a:moveTo>
                  <a:cubicBezTo>
                    <a:pt x="4711541" y="315754"/>
                    <a:pt x="4712494" y="308134"/>
                    <a:pt x="4713447" y="301466"/>
                  </a:cubicBezTo>
                  <a:cubicBezTo>
                    <a:pt x="4715351" y="310991"/>
                    <a:pt x="4717256" y="321469"/>
                    <a:pt x="4719162" y="331946"/>
                  </a:cubicBezTo>
                  <a:cubicBezTo>
                    <a:pt x="4718209" y="335756"/>
                    <a:pt x="4716304" y="339566"/>
                    <a:pt x="4715351" y="343376"/>
                  </a:cubicBezTo>
                  <a:cubicBezTo>
                    <a:pt x="4715351" y="343376"/>
                    <a:pt x="4715351" y="343376"/>
                    <a:pt x="4715351" y="343376"/>
                  </a:cubicBezTo>
                  <a:cubicBezTo>
                    <a:pt x="4712494" y="339566"/>
                    <a:pt x="4709637" y="335756"/>
                    <a:pt x="4707731" y="332899"/>
                  </a:cubicBezTo>
                  <a:cubicBezTo>
                    <a:pt x="4708684" y="330041"/>
                    <a:pt x="4708684" y="327184"/>
                    <a:pt x="4709637" y="324326"/>
                  </a:cubicBezTo>
                  <a:close/>
                  <a:moveTo>
                    <a:pt x="4703922" y="355759"/>
                  </a:moveTo>
                  <a:cubicBezTo>
                    <a:pt x="4704874" y="357664"/>
                    <a:pt x="4704874" y="358616"/>
                    <a:pt x="4705826" y="360521"/>
                  </a:cubicBezTo>
                  <a:cubicBezTo>
                    <a:pt x="4706779" y="363379"/>
                    <a:pt x="4707731" y="366236"/>
                    <a:pt x="4708684" y="369094"/>
                  </a:cubicBezTo>
                  <a:cubicBezTo>
                    <a:pt x="4707731" y="371951"/>
                    <a:pt x="4705826" y="374809"/>
                    <a:pt x="4704874" y="377666"/>
                  </a:cubicBezTo>
                  <a:cubicBezTo>
                    <a:pt x="4704874" y="377666"/>
                    <a:pt x="4704874" y="376714"/>
                    <a:pt x="4704874" y="376714"/>
                  </a:cubicBezTo>
                  <a:cubicBezTo>
                    <a:pt x="4703922" y="374809"/>
                    <a:pt x="4702969" y="373856"/>
                    <a:pt x="4702016" y="371951"/>
                  </a:cubicBezTo>
                  <a:cubicBezTo>
                    <a:pt x="4702016" y="366236"/>
                    <a:pt x="4702969" y="361474"/>
                    <a:pt x="4703922" y="355759"/>
                  </a:cubicBezTo>
                  <a:close/>
                  <a:moveTo>
                    <a:pt x="4682966" y="380524"/>
                  </a:moveTo>
                  <a:cubicBezTo>
                    <a:pt x="4682014" y="384334"/>
                    <a:pt x="4681062" y="388144"/>
                    <a:pt x="4680109" y="392906"/>
                  </a:cubicBezTo>
                  <a:cubicBezTo>
                    <a:pt x="4679156" y="392906"/>
                    <a:pt x="4677251" y="393859"/>
                    <a:pt x="4676299" y="393859"/>
                  </a:cubicBezTo>
                  <a:cubicBezTo>
                    <a:pt x="4676299" y="391954"/>
                    <a:pt x="4675347" y="390049"/>
                    <a:pt x="4675347" y="388144"/>
                  </a:cubicBezTo>
                  <a:cubicBezTo>
                    <a:pt x="4678204" y="384334"/>
                    <a:pt x="4681062" y="381476"/>
                    <a:pt x="4682966" y="378619"/>
                  </a:cubicBezTo>
                  <a:cubicBezTo>
                    <a:pt x="4682014" y="379571"/>
                    <a:pt x="4682966" y="380524"/>
                    <a:pt x="4682966" y="380524"/>
                  </a:cubicBezTo>
                  <a:close/>
                  <a:moveTo>
                    <a:pt x="4672489" y="361474"/>
                  </a:moveTo>
                  <a:cubicBezTo>
                    <a:pt x="4674394" y="365284"/>
                    <a:pt x="4677251" y="370046"/>
                    <a:pt x="4679156" y="373856"/>
                  </a:cubicBezTo>
                  <a:cubicBezTo>
                    <a:pt x="4677251" y="375761"/>
                    <a:pt x="4674394" y="377666"/>
                    <a:pt x="4672489" y="379571"/>
                  </a:cubicBezTo>
                  <a:cubicBezTo>
                    <a:pt x="4672489" y="378619"/>
                    <a:pt x="4672489" y="377666"/>
                    <a:pt x="4671537" y="376714"/>
                  </a:cubicBezTo>
                  <a:cubicBezTo>
                    <a:pt x="4671537" y="374809"/>
                    <a:pt x="4670584" y="372904"/>
                    <a:pt x="4670584" y="370999"/>
                  </a:cubicBezTo>
                  <a:cubicBezTo>
                    <a:pt x="4671537" y="368141"/>
                    <a:pt x="4671537" y="364331"/>
                    <a:pt x="4672489" y="361474"/>
                  </a:cubicBezTo>
                  <a:close/>
                  <a:moveTo>
                    <a:pt x="4661059" y="265271"/>
                  </a:moveTo>
                  <a:cubicBezTo>
                    <a:pt x="4662012" y="260509"/>
                    <a:pt x="4662964" y="256699"/>
                    <a:pt x="4663916" y="252889"/>
                  </a:cubicBezTo>
                  <a:cubicBezTo>
                    <a:pt x="4665822" y="246221"/>
                    <a:pt x="4667726" y="241459"/>
                    <a:pt x="4669631" y="237649"/>
                  </a:cubicBezTo>
                  <a:cubicBezTo>
                    <a:pt x="4669631" y="239554"/>
                    <a:pt x="4669631" y="240506"/>
                    <a:pt x="4669631" y="242411"/>
                  </a:cubicBezTo>
                  <a:cubicBezTo>
                    <a:pt x="4667726" y="250031"/>
                    <a:pt x="4664869" y="259556"/>
                    <a:pt x="4661059" y="269081"/>
                  </a:cubicBezTo>
                  <a:cubicBezTo>
                    <a:pt x="4661059" y="268129"/>
                    <a:pt x="4661059" y="266224"/>
                    <a:pt x="4661059" y="265271"/>
                  </a:cubicBezTo>
                  <a:close/>
                  <a:moveTo>
                    <a:pt x="4645819" y="278606"/>
                  </a:moveTo>
                  <a:cubicBezTo>
                    <a:pt x="4646772" y="271939"/>
                    <a:pt x="4647724" y="266224"/>
                    <a:pt x="4648676" y="260509"/>
                  </a:cubicBezTo>
                  <a:cubicBezTo>
                    <a:pt x="4649629" y="257651"/>
                    <a:pt x="4649629" y="253841"/>
                    <a:pt x="4650581" y="250984"/>
                  </a:cubicBezTo>
                  <a:cubicBezTo>
                    <a:pt x="4650581" y="250984"/>
                    <a:pt x="4650581" y="251936"/>
                    <a:pt x="4650581" y="251936"/>
                  </a:cubicBezTo>
                  <a:cubicBezTo>
                    <a:pt x="4651534" y="254794"/>
                    <a:pt x="4652487" y="259556"/>
                    <a:pt x="4652487" y="265271"/>
                  </a:cubicBezTo>
                  <a:cubicBezTo>
                    <a:pt x="4652487" y="267176"/>
                    <a:pt x="4652487" y="269081"/>
                    <a:pt x="4652487" y="270034"/>
                  </a:cubicBezTo>
                  <a:cubicBezTo>
                    <a:pt x="4651534" y="272891"/>
                    <a:pt x="4651534" y="275749"/>
                    <a:pt x="4650581" y="278606"/>
                  </a:cubicBezTo>
                  <a:cubicBezTo>
                    <a:pt x="4649629" y="282416"/>
                    <a:pt x="4648676" y="287179"/>
                    <a:pt x="4648676" y="290989"/>
                  </a:cubicBezTo>
                  <a:cubicBezTo>
                    <a:pt x="4648676" y="287179"/>
                    <a:pt x="4646772" y="283369"/>
                    <a:pt x="4645819" y="278606"/>
                  </a:cubicBezTo>
                  <a:cubicBezTo>
                    <a:pt x="4645819" y="278606"/>
                    <a:pt x="4645819" y="278606"/>
                    <a:pt x="4645819" y="278606"/>
                  </a:cubicBezTo>
                  <a:close/>
                  <a:moveTo>
                    <a:pt x="4642962" y="293846"/>
                  </a:moveTo>
                  <a:cubicBezTo>
                    <a:pt x="4643914" y="296704"/>
                    <a:pt x="4643914" y="299561"/>
                    <a:pt x="4644866" y="302419"/>
                  </a:cubicBezTo>
                  <a:cubicBezTo>
                    <a:pt x="4644866" y="304324"/>
                    <a:pt x="4645819" y="307181"/>
                    <a:pt x="4645819" y="309086"/>
                  </a:cubicBezTo>
                  <a:cubicBezTo>
                    <a:pt x="4645819" y="309086"/>
                    <a:pt x="4645819" y="309086"/>
                    <a:pt x="4645819" y="309086"/>
                  </a:cubicBezTo>
                  <a:cubicBezTo>
                    <a:pt x="4644866" y="308134"/>
                    <a:pt x="4643914" y="307181"/>
                    <a:pt x="4642962" y="306229"/>
                  </a:cubicBezTo>
                  <a:cubicBezTo>
                    <a:pt x="4642962" y="304324"/>
                    <a:pt x="4642009" y="302419"/>
                    <a:pt x="4642009" y="299561"/>
                  </a:cubicBezTo>
                  <a:cubicBezTo>
                    <a:pt x="4642962" y="297656"/>
                    <a:pt x="4642962" y="295751"/>
                    <a:pt x="4642962" y="293846"/>
                  </a:cubicBezTo>
                  <a:close/>
                  <a:moveTo>
                    <a:pt x="4595337" y="280511"/>
                  </a:moveTo>
                  <a:cubicBezTo>
                    <a:pt x="4596289" y="284321"/>
                    <a:pt x="4597241" y="289084"/>
                    <a:pt x="4598194" y="293846"/>
                  </a:cubicBezTo>
                  <a:cubicBezTo>
                    <a:pt x="4598194" y="295751"/>
                    <a:pt x="4598194" y="298609"/>
                    <a:pt x="4598194" y="300514"/>
                  </a:cubicBezTo>
                  <a:cubicBezTo>
                    <a:pt x="4598194" y="304324"/>
                    <a:pt x="4598194" y="308134"/>
                    <a:pt x="4598194" y="311944"/>
                  </a:cubicBezTo>
                  <a:cubicBezTo>
                    <a:pt x="4597241" y="313849"/>
                    <a:pt x="4597241" y="316706"/>
                    <a:pt x="4596289" y="319564"/>
                  </a:cubicBezTo>
                  <a:cubicBezTo>
                    <a:pt x="4595337" y="316706"/>
                    <a:pt x="4594384" y="314801"/>
                    <a:pt x="4593431" y="311944"/>
                  </a:cubicBezTo>
                  <a:cubicBezTo>
                    <a:pt x="4593431" y="310039"/>
                    <a:pt x="4593431" y="307181"/>
                    <a:pt x="4593431" y="305276"/>
                  </a:cubicBezTo>
                  <a:cubicBezTo>
                    <a:pt x="4593431" y="298609"/>
                    <a:pt x="4593431" y="292894"/>
                    <a:pt x="4593431" y="286226"/>
                  </a:cubicBezTo>
                  <a:cubicBezTo>
                    <a:pt x="4593431" y="284321"/>
                    <a:pt x="4594384" y="282416"/>
                    <a:pt x="4595337" y="280511"/>
                  </a:cubicBezTo>
                  <a:cubicBezTo>
                    <a:pt x="4595337" y="280511"/>
                    <a:pt x="4595337" y="280511"/>
                    <a:pt x="4595337" y="280511"/>
                  </a:cubicBezTo>
                  <a:close/>
                  <a:moveTo>
                    <a:pt x="4595337" y="277654"/>
                  </a:moveTo>
                  <a:cubicBezTo>
                    <a:pt x="4594384" y="278606"/>
                    <a:pt x="4594384" y="278606"/>
                    <a:pt x="4593431" y="279559"/>
                  </a:cubicBezTo>
                  <a:cubicBezTo>
                    <a:pt x="4593431" y="279559"/>
                    <a:pt x="4593431" y="280511"/>
                    <a:pt x="4592479" y="280511"/>
                  </a:cubicBezTo>
                  <a:cubicBezTo>
                    <a:pt x="4592479" y="274796"/>
                    <a:pt x="4592479" y="269081"/>
                    <a:pt x="4592479" y="263366"/>
                  </a:cubicBezTo>
                  <a:cubicBezTo>
                    <a:pt x="4593431" y="267176"/>
                    <a:pt x="4594384" y="271939"/>
                    <a:pt x="4595337" y="277654"/>
                  </a:cubicBezTo>
                  <a:close/>
                  <a:moveTo>
                    <a:pt x="4576287" y="253841"/>
                  </a:moveTo>
                  <a:cubicBezTo>
                    <a:pt x="4576287" y="260509"/>
                    <a:pt x="4576287" y="267176"/>
                    <a:pt x="4575334" y="273844"/>
                  </a:cubicBezTo>
                  <a:cubicBezTo>
                    <a:pt x="4573429" y="270034"/>
                    <a:pt x="4571524" y="266224"/>
                    <a:pt x="4569619" y="262414"/>
                  </a:cubicBezTo>
                  <a:cubicBezTo>
                    <a:pt x="4572476" y="259556"/>
                    <a:pt x="4574381" y="256699"/>
                    <a:pt x="4576287" y="253841"/>
                  </a:cubicBezTo>
                  <a:close/>
                  <a:moveTo>
                    <a:pt x="4566762" y="268129"/>
                  </a:moveTo>
                  <a:cubicBezTo>
                    <a:pt x="4566762" y="268129"/>
                    <a:pt x="4566762" y="269081"/>
                    <a:pt x="4566762" y="268129"/>
                  </a:cubicBezTo>
                  <a:cubicBezTo>
                    <a:pt x="4568666" y="273844"/>
                    <a:pt x="4570572" y="278606"/>
                    <a:pt x="4571524" y="284321"/>
                  </a:cubicBezTo>
                  <a:cubicBezTo>
                    <a:pt x="4572476" y="288131"/>
                    <a:pt x="4573429" y="292894"/>
                    <a:pt x="4574381" y="296704"/>
                  </a:cubicBezTo>
                  <a:cubicBezTo>
                    <a:pt x="4574381" y="298609"/>
                    <a:pt x="4574381" y="299561"/>
                    <a:pt x="4574381" y="301466"/>
                  </a:cubicBezTo>
                  <a:cubicBezTo>
                    <a:pt x="4570572" y="293846"/>
                    <a:pt x="4568666" y="289084"/>
                    <a:pt x="4568666" y="289084"/>
                  </a:cubicBezTo>
                  <a:cubicBezTo>
                    <a:pt x="4568666" y="289084"/>
                    <a:pt x="4570572" y="296704"/>
                    <a:pt x="4574381" y="309086"/>
                  </a:cubicBezTo>
                  <a:cubicBezTo>
                    <a:pt x="4573429" y="310991"/>
                    <a:pt x="4572476" y="312896"/>
                    <a:pt x="4571524" y="314801"/>
                  </a:cubicBezTo>
                  <a:cubicBezTo>
                    <a:pt x="4571524" y="314801"/>
                    <a:pt x="4571524" y="314801"/>
                    <a:pt x="4571524" y="315754"/>
                  </a:cubicBezTo>
                  <a:cubicBezTo>
                    <a:pt x="4568666" y="293846"/>
                    <a:pt x="4566762" y="278606"/>
                    <a:pt x="4564856" y="271939"/>
                  </a:cubicBezTo>
                  <a:cubicBezTo>
                    <a:pt x="4564856" y="270986"/>
                    <a:pt x="4565809" y="270034"/>
                    <a:pt x="4566762" y="268129"/>
                  </a:cubicBezTo>
                  <a:close/>
                  <a:moveTo>
                    <a:pt x="4560094" y="254794"/>
                  </a:moveTo>
                  <a:cubicBezTo>
                    <a:pt x="4561047" y="256699"/>
                    <a:pt x="4561999" y="258604"/>
                    <a:pt x="4562951" y="260509"/>
                  </a:cubicBezTo>
                  <a:cubicBezTo>
                    <a:pt x="4561999" y="261461"/>
                    <a:pt x="4561047" y="262414"/>
                    <a:pt x="4561047" y="263366"/>
                  </a:cubicBezTo>
                  <a:cubicBezTo>
                    <a:pt x="4560094" y="265271"/>
                    <a:pt x="4558189" y="266224"/>
                    <a:pt x="4557237" y="268129"/>
                  </a:cubicBezTo>
                  <a:cubicBezTo>
                    <a:pt x="4558189" y="263366"/>
                    <a:pt x="4559141" y="258604"/>
                    <a:pt x="4560094" y="254794"/>
                  </a:cubicBezTo>
                  <a:close/>
                  <a:moveTo>
                    <a:pt x="4548664" y="317659"/>
                  </a:moveTo>
                  <a:cubicBezTo>
                    <a:pt x="4551522" y="307181"/>
                    <a:pt x="4554379" y="298609"/>
                    <a:pt x="4557237" y="290036"/>
                  </a:cubicBezTo>
                  <a:cubicBezTo>
                    <a:pt x="4559141" y="284321"/>
                    <a:pt x="4561047" y="279559"/>
                    <a:pt x="4562951" y="275749"/>
                  </a:cubicBezTo>
                  <a:cubicBezTo>
                    <a:pt x="4561999" y="283369"/>
                    <a:pt x="4561047" y="298609"/>
                    <a:pt x="4560094" y="318611"/>
                  </a:cubicBezTo>
                  <a:cubicBezTo>
                    <a:pt x="4557237" y="313849"/>
                    <a:pt x="4555331" y="310991"/>
                    <a:pt x="4555331" y="310991"/>
                  </a:cubicBezTo>
                  <a:cubicBezTo>
                    <a:pt x="4555331" y="310991"/>
                    <a:pt x="4557237" y="314801"/>
                    <a:pt x="4560094" y="321469"/>
                  </a:cubicBezTo>
                  <a:cubicBezTo>
                    <a:pt x="4560094" y="321469"/>
                    <a:pt x="4560094" y="321469"/>
                    <a:pt x="4560094" y="321469"/>
                  </a:cubicBezTo>
                  <a:cubicBezTo>
                    <a:pt x="4560094" y="328136"/>
                    <a:pt x="4559141" y="334804"/>
                    <a:pt x="4559141" y="342424"/>
                  </a:cubicBezTo>
                  <a:cubicBezTo>
                    <a:pt x="4558189" y="346234"/>
                    <a:pt x="4556284" y="349091"/>
                    <a:pt x="4555331" y="352901"/>
                  </a:cubicBezTo>
                  <a:cubicBezTo>
                    <a:pt x="4554379" y="355759"/>
                    <a:pt x="4553426" y="358616"/>
                    <a:pt x="4552474" y="361474"/>
                  </a:cubicBezTo>
                  <a:cubicBezTo>
                    <a:pt x="4550569" y="354806"/>
                    <a:pt x="4549616" y="349091"/>
                    <a:pt x="4547712" y="343376"/>
                  </a:cubicBezTo>
                  <a:cubicBezTo>
                    <a:pt x="4547712" y="333851"/>
                    <a:pt x="4547712" y="328136"/>
                    <a:pt x="4547712" y="328136"/>
                  </a:cubicBezTo>
                  <a:cubicBezTo>
                    <a:pt x="4547712" y="328136"/>
                    <a:pt x="4546759" y="331946"/>
                    <a:pt x="4545806" y="338614"/>
                  </a:cubicBezTo>
                  <a:cubicBezTo>
                    <a:pt x="4545806" y="338614"/>
                    <a:pt x="4545806" y="337661"/>
                    <a:pt x="4545806" y="337661"/>
                  </a:cubicBezTo>
                  <a:cubicBezTo>
                    <a:pt x="4545806" y="336709"/>
                    <a:pt x="4545806" y="336709"/>
                    <a:pt x="4544854" y="335756"/>
                  </a:cubicBezTo>
                  <a:cubicBezTo>
                    <a:pt x="4546759" y="329089"/>
                    <a:pt x="4547712" y="323374"/>
                    <a:pt x="4548664" y="317659"/>
                  </a:cubicBezTo>
                  <a:close/>
                  <a:moveTo>
                    <a:pt x="4457224" y="306229"/>
                  </a:moveTo>
                  <a:cubicBezTo>
                    <a:pt x="4457224" y="306229"/>
                    <a:pt x="4456272" y="306229"/>
                    <a:pt x="4457224" y="306229"/>
                  </a:cubicBezTo>
                  <a:cubicBezTo>
                    <a:pt x="4457224" y="305276"/>
                    <a:pt x="4457224" y="305276"/>
                    <a:pt x="4457224" y="304324"/>
                  </a:cubicBezTo>
                  <a:cubicBezTo>
                    <a:pt x="4457224" y="305276"/>
                    <a:pt x="4457224" y="306229"/>
                    <a:pt x="4457224" y="306229"/>
                  </a:cubicBezTo>
                  <a:close/>
                  <a:moveTo>
                    <a:pt x="4478179" y="359569"/>
                  </a:moveTo>
                  <a:cubicBezTo>
                    <a:pt x="4477226" y="352901"/>
                    <a:pt x="4476274" y="346234"/>
                    <a:pt x="4476274" y="339566"/>
                  </a:cubicBezTo>
                  <a:cubicBezTo>
                    <a:pt x="4476274" y="338614"/>
                    <a:pt x="4476274" y="337661"/>
                    <a:pt x="4476274" y="336709"/>
                  </a:cubicBezTo>
                  <a:cubicBezTo>
                    <a:pt x="4479131" y="340519"/>
                    <a:pt x="4481037" y="343376"/>
                    <a:pt x="4483894" y="347186"/>
                  </a:cubicBezTo>
                  <a:cubicBezTo>
                    <a:pt x="4481037" y="350996"/>
                    <a:pt x="4480084" y="355759"/>
                    <a:pt x="4478179" y="359569"/>
                  </a:cubicBezTo>
                  <a:close/>
                  <a:moveTo>
                    <a:pt x="4497229" y="371951"/>
                  </a:moveTo>
                  <a:cubicBezTo>
                    <a:pt x="4497229" y="370046"/>
                    <a:pt x="4497229" y="369094"/>
                    <a:pt x="4497229" y="367189"/>
                  </a:cubicBezTo>
                  <a:cubicBezTo>
                    <a:pt x="4497229" y="368141"/>
                    <a:pt x="4497229" y="369094"/>
                    <a:pt x="4498181" y="370046"/>
                  </a:cubicBezTo>
                  <a:cubicBezTo>
                    <a:pt x="4497229" y="370999"/>
                    <a:pt x="4497229" y="370999"/>
                    <a:pt x="4497229" y="371951"/>
                  </a:cubicBezTo>
                  <a:close/>
                  <a:moveTo>
                    <a:pt x="4504849" y="322421"/>
                  </a:moveTo>
                  <a:cubicBezTo>
                    <a:pt x="4504849" y="325279"/>
                    <a:pt x="4504849" y="328136"/>
                    <a:pt x="4504849" y="330994"/>
                  </a:cubicBezTo>
                  <a:cubicBezTo>
                    <a:pt x="4503897" y="333851"/>
                    <a:pt x="4502944" y="337661"/>
                    <a:pt x="4501991" y="341471"/>
                  </a:cubicBezTo>
                  <a:cubicBezTo>
                    <a:pt x="4501991" y="343376"/>
                    <a:pt x="4501039" y="346234"/>
                    <a:pt x="4501039" y="348139"/>
                  </a:cubicBezTo>
                  <a:cubicBezTo>
                    <a:pt x="4500087" y="347186"/>
                    <a:pt x="4499134" y="346234"/>
                    <a:pt x="4499134" y="345281"/>
                  </a:cubicBezTo>
                  <a:cubicBezTo>
                    <a:pt x="4499134" y="344329"/>
                    <a:pt x="4498181" y="343376"/>
                    <a:pt x="4498181" y="342424"/>
                  </a:cubicBezTo>
                  <a:cubicBezTo>
                    <a:pt x="4499134" y="336709"/>
                    <a:pt x="4501039" y="330994"/>
                    <a:pt x="4501991" y="326231"/>
                  </a:cubicBezTo>
                  <a:cubicBezTo>
                    <a:pt x="4502944" y="320516"/>
                    <a:pt x="4504849" y="315754"/>
                    <a:pt x="4506754" y="310991"/>
                  </a:cubicBezTo>
                  <a:cubicBezTo>
                    <a:pt x="4505801" y="314801"/>
                    <a:pt x="4505801" y="318611"/>
                    <a:pt x="4504849" y="322421"/>
                  </a:cubicBezTo>
                  <a:close/>
                  <a:moveTo>
                    <a:pt x="4462939" y="250984"/>
                  </a:moveTo>
                  <a:cubicBezTo>
                    <a:pt x="4465797" y="242411"/>
                    <a:pt x="4468654" y="233839"/>
                    <a:pt x="4470559" y="226219"/>
                  </a:cubicBezTo>
                  <a:cubicBezTo>
                    <a:pt x="4470559" y="227171"/>
                    <a:pt x="4472464" y="229076"/>
                    <a:pt x="4474369" y="231934"/>
                  </a:cubicBezTo>
                  <a:cubicBezTo>
                    <a:pt x="4475322" y="233839"/>
                    <a:pt x="4477226" y="235744"/>
                    <a:pt x="4479131" y="238601"/>
                  </a:cubicBezTo>
                  <a:cubicBezTo>
                    <a:pt x="4481037" y="241459"/>
                    <a:pt x="4481989" y="245269"/>
                    <a:pt x="4483894" y="248126"/>
                  </a:cubicBezTo>
                  <a:cubicBezTo>
                    <a:pt x="4485799" y="251936"/>
                    <a:pt x="4487704" y="255746"/>
                    <a:pt x="4489609" y="260509"/>
                  </a:cubicBezTo>
                  <a:cubicBezTo>
                    <a:pt x="4491514" y="265271"/>
                    <a:pt x="4493419" y="270034"/>
                    <a:pt x="4495324" y="275749"/>
                  </a:cubicBezTo>
                  <a:cubicBezTo>
                    <a:pt x="4497229" y="281464"/>
                    <a:pt x="4499134" y="287179"/>
                    <a:pt x="4501039" y="293846"/>
                  </a:cubicBezTo>
                  <a:cubicBezTo>
                    <a:pt x="4501991" y="296704"/>
                    <a:pt x="4502944" y="299561"/>
                    <a:pt x="4503897" y="303371"/>
                  </a:cubicBezTo>
                  <a:cubicBezTo>
                    <a:pt x="4501991" y="308134"/>
                    <a:pt x="4499134" y="312896"/>
                    <a:pt x="4497229" y="317659"/>
                  </a:cubicBezTo>
                  <a:cubicBezTo>
                    <a:pt x="4496276" y="320516"/>
                    <a:pt x="4494372" y="323374"/>
                    <a:pt x="4493419" y="326231"/>
                  </a:cubicBezTo>
                  <a:cubicBezTo>
                    <a:pt x="4490562" y="297656"/>
                    <a:pt x="4488656" y="280511"/>
                    <a:pt x="4488656" y="280511"/>
                  </a:cubicBezTo>
                  <a:cubicBezTo>
                    <a:pt x="4488656" y="280511"/>
                    <a:pt x="4487704" y="294799"/>
                    <a:pt x="4487704" y="319564"/>
                  </a:cubicBezTo>
                  <a:cubicBezTo>
                    <a:pt x="4486751" y="316706"/>
                    <a:pt x="4484847" y="313849"/>
                    <a:pt x="4483894" y="311944"/>
                  </a:cubicBezTo>
                  <a:cubicBezTo>
                    <a:pt x="4477226" y="297656"/>
                    <a:pt x="4473416" y="289084"/>
                    <a:pt x="4473416" y="289084"/>
                  </a:cubicBezTo>
                  <a:cubicBezTo>
                    <a:pt x="4473416" y="289084"/>
                    <a:pt x="4476274" y="297656"/>
                    <a:pt x="4481037" y="312896"/>
                  </a:cubicBezTo>
                  <a:cubicBezTo>
                    <a:pt x="4482941" y="317659"/>
                    <a:pt x="4484847" y="323374"/>
                    <a:pt x="4486751" y="330041"/>
                  </a:cubicBezTo>
                  <a:cubicBezTo>
                    <a:pt x="4485799" y="329089"/>
                    <a:pt x="4485799" y="328136"/>
                    <a:pt x="4484847" y="328136"/>
                  </a:cubicBezTo>
                  <a:cubicBezTo>
                    <a:pt x="4481037" y="324326"/>
                    <a:pt x="4478179" y="321469"/>
                    <a:pt x="4475322" y="318611"/>
                  </a:cubicBezTo>
                  <a:cubicBezTo>
                    <a:pt x="4474369" y="313849"/>
                    <a:pt x="4473416" y="309086"/>
                    <a:pt x="4473416" y="304324"/>
                  </a:cubicBezTo>
                  <a:cubicBezTo>
                    <a:pt x="4471512" y="294799"/>
                    <a:pt x="4470559" y="286226"/>
                    <a:pt x="4468654" y="278606"/>
                  </a:cubicBezTo>
                  <a:cubicBezTo>
                    <a:pt x="4474369" y="264319"/>
                    <a:pt x="4477226" y="256699"/>
                    <a:pt x="4477226" y="256699"/>
                  </a:cubicBezTo>
                  <a:cubicBezTo>
                    <a:pt x="4477226" y="256699"/>
                    <a:pt x="4473416" y="262414"/>
                    <a:pt x="4466749" y="273844"/>
                  </a:cubicBezTo>
                  <a:cubicBezTo>
                    <a:pt x="4465797" y="268129"/>
                    <a:pt x="4464844" y="263366"/>
                    <a:pt x="4462939" y="258604"/>
                  </a:cubicBezTo>
                  <a:cubicBezTo>
                    <a:pt x="4462939" y="257651"/>
                    <a:pt x="4462939" y="256699"/>
                    <a:pt x="4462939" y="256699"/>
                  </a:cubicBezTo>
                  <a:cubicBezTo>
                    <a:pt x="4461987" y="253841"/>
                    <a:pt x="4461987" y="252889"/>
                    <a:pt x="4462939" y="250984"/>
                  </a:cubicBezTo>
                  <a:close/>
                  <a:moveTo>
                    <a:pt x="4461034" y="255746"/>
                  </a:moveTo>
                  <a:cubicBezTo>
                    <a:pt x="4461034" y="255746"/>
                    <a:pt x="4461034" y="256699"/>
                    <a:pt x="4461034" y="255746"/>
                  </a:cubicBezTo>
                  <a:cubicBezTo>
                    <a:pt x="4461034" y="256699"/>
                    <a:pt x="4461034" y="256699"/>
                    <a:pt x="4461034" y="255746"/>
                  </a:cubicBezTo>
                  <a:cubicBezTo>
                    <a:pt x="4461034" y="255746"/>
                    <a:pt x="4461034" y="255746"/>
                    <a:pt x="4461034" y="255746"/>
                  </a:cubicBezTo>
                  <a:close/>
                  <a:moveTo>
                    <a:pt x="4455319" y="274796"/>
                  </a:moveTo>
                  <a:cubicBezTo>
                    <a:pt x="4456272" y="272891"/>
                    <a:pt x="4457224" y="270034"/>
                    <a:pt x="4457224" y="268129"/>
                  </a:cubicBezTo>
                  <a:cubicBezTo>
                    <a:pt x="4457224" y="270034"/>
                    <a:pt x="4457224" y="271939"/>
                    <a:pt x="4457224" y="273844"/>
                  </a:cubicBezTo>
                  <a:cubicBezTo>
                    <a:pt x="4457224" y="277654"/>
                    <a:pt x="4457224" y="280511"/>
                    <a:pt x="4458176" y="284321"/>
                  </a:cubicBezTo>
                  <a:cubicBezTo>
                    <a:pt x="4457224" y="287179"/>
                    <a:pt x="4455319" y="290036"/>
                    <a:pt x="4454366" y="292894"/>
                  </a:cubicBezTo>
                  <a:cubicBezTo>
                    <a:pt x="4454366" y="287179"/>
                    <a:pt x="4454366" y="280511"/>
                    <a:pt x="4455319" y="274796"/>
                  </a:cubicBezTo>
                  <a:close/>
                  <a:moveTo>
                    <a:pt x="4449604" y="361474"/>
                  </a:moveTo>
                  <a:cubicBezTo>
                    <a:pt x="4450556" y="353854"/>
                    <a:pt x="4450556" y="346234"/>
                    <a:pt x="4451509" y="339566"/>
                  </a:cubicBezTo>
                  <a:cubicBezTo>
                    <a:pt x="4452462" y="340519"/>
                    <a:pt x="4452462" y="342424"/>
                    <a:pt x="4453414" y="343376"/>
                  </a:cubicBezTo>
                  <a:cubicBezTo>
                    <a:pt x="4453414" y="343376"/>
                    <a:pt x="4453414" y="343376"/>
                    <a:pt x="4453414" y="344329"/>
                  </a:cubicBezTo>
                  <a:cubicBezTo>
                    <a:pt x="4453414" y="344329"/>
                    <a:pt x="4453414" y="344329"/>
                    <a:pt x="4453414" y="344329"/>
                  </a:cubicBezTo>
                  <a:cubicBezTo>
                    <a:pt x="4452462" y="350996"/>
                    <a:pt x="4451509" y="358616"/>
                    <a:pt x="4451509" y="366236"/>
                  </a:cubicBezTo>
                  <a:cubicBezTo>
                    <a:pt x="4450556" y="372904"/>
                    <a:pt x="4449604" y="380524"/>
                    <a:pt x="4448651" y="388144"/>
                  </a:cubicBezTo>
                  <a:cubicBezTo>
                    <a:pt x="4447699" y="387191"/>
                    <a:pt x="4447699" y="387191"/>
                    <a:pt x="4446747" y="386239"/>
                  </a:cubicBezTo>
                  <a:cubicBezTo>
                    <a:pt x="4447699" y="377666"/>
                    <a:pt x="4448651" y="370046"/>
                    <a:pt x="4449604" y="361474"/>
                  </a:cubicBezTo>
                  <a:close/>
                  <a:moveTo>
                    <a:pt x="4386739" y="331946"/>
                  </a:moveTo>
                  <a:cubicBezTo>
                    <a:pt x="4387691" y="332899"/>
                    <a:pt x="4388644" y="334804"/>
                    <a:pt x="4390549" y="335756"/>
                  </a:cubicBezTo>
                  <a:cubicBezTo>
                    <a:pt x="4390549" y="337661"/>
                    <a:pt x="4390549" y="339566"/>
                    <a:pt x="4390549" y="342424"/>
                  </a:cubicBezTo>
                  <a:cubicBezTo>
                    <a:pt x="4389597" y="343376"/>
                    <a:pt x="4388644" y="345281"/>
                    <a:pt x="4386739" y="347186"/>
                  </a:cubicBezTo>
                  <a:cubicBezTo>
                    <a:pt x="4386739" y="341471"/>
                    <a:pt x="4386739" y="336709"/>
                    <a:pt x="4386739" y="331946"/>
                  </a:cubicBezTo>
                  <a:close/>
                  <a:moveTo>
                    <a:pt x="4389597" y="376714"/>
                  </a:moveTo>
                  <a:cubicBezTo>
                    <a:pt x="4389597" y="376714"/>
                    <a:pt x="4389597" y="375761"/>
                    <a:pt x="4388644" y="375761"/>
                  </a:cubicBezTo>
                  <a:cubicBezTo>
                    <a:pt x="4388644" y="373856"/>
                    <a:pt x="4387691" y="371951"/>
                    <a:pt x="4387691" y="370046"/>
                  </a:cubicBezTo>
                  <a:cubicBezTo>
                    <a:pt x="4387691" y="367189"/>
                    <a:pt x="4387691" y="363379"/>
                    <a:pt x="4387691" y="360521"/>
                  </a:cubicBezTo>
                  <a:cubicBezTo>
                    <a:pt x="4387691" y="357664"/>
                    <a:pt x="4387691" y="354806"/>
                    <a:pt x="4387691" y="351949"/>
                  </a:cubicBezTo>
                  <a:cubicBezTo>
                    <a:pt x="4388644" y="349091"/>
                    <a:pt x="4390549" y="347186"/>
                    <a:pt x="4391501" y="345281"/>
                  </a:cubicBezTo>
                  <a:cubicBezTo>
                    <a:pt x="4391501" y="346234"/>
                    <a:pt x="4391501" y="348139"/>
                    <a:pt x="4391501" y="349091"/>
                  </a:cubicBezTo>
                  <a:cubicBezTo>
                    <a:pt x="4391501" y="355759"/>
                    <a:pt x="4392454" y="362426"/>
                    <a:pt x="4392454" y="370046"/>
                  </a:cubicBezTo>
                  <a:cubicBezTo>
                    <a:pt x="4390549" y="371951"/>
                    <a:pt x="4389597" y="374809"/>
                    <a:pt x="4389597" y="376714"/>
                  </a:cubicBezTo>
                  <a:close/>
                  <a:moveTo>
                    <a:pt x="4424839" y="351949"/>
                  </a:moveTo>
                  <a:cubicBezTo>
                    <a:pt x="4424839" y="352901"/>
                    <a:pt x="4424839" y="353854"/>
                    <a:pt x="4424839" y="354806"/>
                  </a:cubicBezTo>
                  <a:cubicBezTo>
                    <a:pt x="4423887" y="355759"/>
                    <a:pt x="4423887" y="356711"/>
                    <a:pt x="4422934" y="356711"/>
                  </a:cubicBezTo>
                  <a:cubicBezTo>
                    <a:pt x="4422934" y="354806"/>
                    <a:pt x="4423887" y="353854"/>
                    <a:pt x="4424839" y="351949"/>
                  </a:cubicBezTo>
                  <a:close/>
                  <a:moveTo>
                    <a:pt x="4415314" y="411004"/>
                  </a:moveTo>
                  <a:cubicBezTo>
                    <a:pt x="4415314" y="411004"/>
                    <a:pt x="4415314" y="411956"/>
                    <a:pt x="4415314" y="411956"/>
                  </a:cubicBezTo>
                  <a:cubicBezTo>
                    <a:pt x="4414362" y="411004"/>
                    <a:pt x="4413409" y="410051"/>
                    <a:pt x="4412456" y="409099"/>
                  </a:cubicBezTo>
                  <a:cubicBezTo>
                    <a:pt x="4412456" y="401479"/>
                    <a:pt x="4412456" y="392906"/>
                    <a:pt x="4411504" y="385286"/>
                  </a:cubicBezTo>
                  <a:cubicBezTo>
                    <a:pt x="4414362" y="380524"/>
                    <a:pt x="4417219" y="376714"/>
                    <a:pt x="4420076" y="372904"/>
                  </a:cubicBezTo>
                  <a:cubicBezTo>
                    <a:pt x="4420076" y="373856"/>
                    <a:pt x="4421029" y="373856"/>
                    <a:pt x="4421029" y="374809"/>
                  </a:cubicBezTo>
                  <a:cubicBezTo>
                    <a:pt x="4419124" y="386239"/>
                    <a:pt x="4417219" y="397669"/>
                    <a:pt x="4415314" y="411004"/>
                  </a:cubicBezTo>
                  <a:close/>
                  <a:moveTo>
                    <a:pt x="4410551" y="254794"/>
                  </a:moveTo>
                  <a:cubicBezTo>
                    <a:pt x="4413409" y="260509"/>
                    <a:pt x="4417219" y="267176"/>
                    <a:pt x="4421029" y="273844"/>
                  </a:cubicBezTo>
                  <a:cubicBezTo>
                    <a:pt x="4419124" y="280511"/>
                    <a:pt x="4417219" y="287179"/>
                    <a:pt x="4415314" y="293846"/>
                  </a:cubicBezTo>
                  <a:cubicBezTo>
                    <a:pt x="4413409" y="301466"/>
                    <a:pt x="4410551" y="309086"/>
                    <a:pt x="4408647" y="316706"/>
                  </a:cubicBezTo>
                  <a:cubicBezTo>
                    <a:pt x="4407694" y="305276"/>
                    <a:pt x="4406741" y="297656"/>
                    <a:pt x="4406741" y="297656"/>
                  </a:cubicBezTo>
                  <a:cubicBezTo>
                    <a:pt x="4406741" y="297656"/>
                    <a:pt x="4404837" y="310991"/>
                    <a:pt x="4402931" y="331946"/>
                  </a:cubicBezTo>
                  <a:cubicBezTo>
                    <a:pt x="4402931" y="333851"/>
                    <a:pt x="4401979" y="335756"/>
                    <a:pt x="4401026" y="337661"/>
                  </a:cubicBezTo>
                  <a:cubicBezTo>
                    <a:pt x="4401026" y="337661"/>
                    <a:pt x="4400074" y="336709"/>
                    <a:pt x="4400074" y="336709"/>
                  </a:cubicBezTo>
                  <a:cubicBezTo>
                    <a:pt x="4393406" y="295751"/>
                    <a:pt x="4388644" y="270034"/>
                    <a:pt x="4388644" y="270034"/>
                  </a:cubicBezTo>
                  <a:cubicBezTo>
                    <a:pt x="4388644" y="270034"/>
                    <a:pt x="4388644" y="292894"/>
                    <a:pt x="4389597" y="328136"/>
                  </a:cubicBezTo>
                  <a:cubicBezTo>
                    <a:pt x="4388644" y="327184"/>
                    <a:pt x="4387691" y="326231"/>
                    <a:pt x="4386739" y="325279"/>
                  </a:cubicBezTo>
                  <a:cubicBezTo>
                    <a:pt x="4386739" y="324326"/>
                    <a:pt x="4386739" y="324326"/>
                    <a:pt x="4386739" y="323374"/>
                  </a:cubicBezTo>
                  <a:cubicBezTo>
                    <a:pt x="4387691" y="311944"/>
                    <a:pt x="4386739" y="300514"/>
                    <a:pt x="4387691" y="290989"/>
                  </a:cubicBezTo>
                  <a:cubicBezTo>
                    <a:pt x="4388644" y="280511"/>
                    <a:pt x="4388644" y="271939"/>
                    <a:pt x="4389597" y="263366"/>
                  </a:cubicBezTo>
                  <a:cubicBezTo>
                    <a:pt x="4390549" y="254794"/>
                    <a:pt x="4390549" y="248126"/>
                    <a:pt x="4391501" y="242411"/>
                  </a:cubicBezTo>
                  <a:cubicBezTo>
                    <a:pt x="4392454" y="233839"/>
                    <a:pt x="4393406" y="228124"/>
                    <a:pt x="4393406" y="225266"/>
                  </a:cubicBezTo>
                  <a:cubicBezTo>
                    <a:pt x="4399122" y="232886"/>
                    <a:pt x="4403884" y="243364"/>
                    <a:pt x="4410551" y="254794"/>
                  </a:cubicBezTo>
                  <a:close/>
                  <a:moveTo>
                    <a:pt x="4389597" y="217646"/>
                  </a:moveTo>
                  <a:cubicBezTo>
                    <a:pt x="4390549" y="219551"/>
                    <a:pt x="4392454" y="221456"/>
                    <a:pt x="4393406" y="224314"/>
                  </a:cubicBezTo>
                  <a:cubicBezTo>
                    <a:pt x="4392454" y="227171"/>
                    <a:pt x="4390549" y="232886"/>
                    <a:pt x="4387691" y="240506"/>
                  </a:cubicBezTo>
                  <a:cubicBezTo>
                    <a:pt x="4385787" y="246221"/>
                    <a:pt x="4383881" y="252889"/>
                    <a:pt x="4381976" y="260509"/>
                  </a:cubicBezTo>
                  <a:cubicBezTo>
                    <a:pt x="4381976" y="259556"/>
                    <a:pt x="4381976" y="257651"/>
                    <a:pt x="4381976" y="256699"/>
                  </a:cubicBezTo>
                  <a:cubicBezTo>
                    <a:pt x="4384834" y="242411"/>
                    <a:pt x="4386739" y="229076"/>
                    <a:pt x="4389597" y="217646"/>
                  </a:cubicBezTo>
                  <a:close/>
                  <a:moveTo>
                    <a:pt x="4374356" y="291941"/>
                  </a:moveTo>
                  <a:cubicBezTo>
                    <a:pt x="4374356" y="291941"/>
                    <a:pt x="4374356" y="292894"/>
                    <a:pt x="4374356" y="292894"/>
                  </a:cubicBezTo>
                  <a:cubicBezTo>
                    <a:pt x="4374356" y="292894"/>
                    <a:pt x="4374356" y="292894"/>
                    <a:pt x="4374356" y="291941"/>
                  </a:cubicBezTo>
                  <a:cubicBezTo>
                    <a:pt x="4374356" y="291941"/>
                    <a:pt x="4374356" y="291941"/>
                    <a:pt x="4374356" y="291941"/>
                  </a:cubicBezTo>
                  <a:close/>
                  <a:moveTo>
                    <a:pt x="4360069" y="282416"/>
                  </a:moveTo>
                  <a:cubicBezTo>
                    <a:pt x="4360069" y="284321"/>
                    <a:pt x="4360069" y="287179"/>
                    <a:pt x="4360069" y="290036"/>
                  </a:cubicBezTo>
                  <a:cubicBezTo>
                    <a:pt x="4360069" y="289084"/>
                    <a:pt x="4359116" y="288131"/>
                    <a:pt x="4359116" y="288131"/>
                  </a:cubicBezTo>
                  <a:cubicBezTo>
                    <a:pt x="4359116" y="285274"/>
                    <a:pt x="4359116" y="283369"/>
                    <a:pt x="4360069" y="282416"/>
                  </a:cubicBezTo>
                  <a:close/>
                  <a:moveTo>
                    <a:pt x="4313397" y="387191"/>
                  </a:moveTo>
                  <a:cubicBezTo>
                    <a:pt x="4312444" y="388144"/>
                    <a:pt x="4312444" y="390049"/>
                    <a:pt x="4311491" y="391001"/>
                  </a:cubicBezTo>
                  <a:cubicBezTo>
                    <a:pt x="4312444" y="389096"/>
                    <a:pt x="4312444" y="388144"/>
                    <a:pt x="4313397" y="387191"/>
                  </a:cubicBezTo>
                  <a:cubicBezTo>
                    <a:pt x="4313397" y="386239"/>
                    <a:pt x="4313397" y="387191"/>
                    <a:pt x="4313397" y="387191"/>
                  </a:cubicBezTo>
                  <a:close/>
                  <a:moveTo>
                    <a:pt x="4311491" y="351949"/>
                  </a:moveTo>
                  <a:cubicBezTo>
                    <a:pt x="4311491" y="356711"/>
                    <a:pt x="4312444" y="360521"/>
                    <a:pt x="4312444" y="365284"/>
                  </a:cubicBezTo>
                  <a:cubicBezTo>
                    <a:pt x="4311491" y="364331"/>
                    <a:pt x="4311491" y="364331"/>
                    <a:pt x="4311491" y="363379"/>
                  </a:cubicBezTo>
                  <a:cubicBezTo>
                    <a:pt x="4311491" y="358616"/>
                    <a:pt x="4311491" y="355759"/>
                    <a:pt x="4311491" y="351949"/>
                  </a:cubicBezTo>
                  <a:close/>
                  <a:moveTo>
                    <a:pt x="4247674" y="313849"/>
                  </a:moveTo>
                  <a:cubicBezTo>
                    <a:pt x="4247674" y="312896"/>
                    <a:pt x="4247674" y="312896"/>
                    <a:pt x="4247674" y="311944"/>
                  </a:cubicBezTo>
                  <a:cubicBezTo>
                    <a:pt x="4247674" y="312896"/>
                    <a:pt x="4247674" y="312896"/>
                    <a:pt x="4247674" y="313849"/>
                  </a:cubicBezTo>
                  <a:cubicBezTo>
                    <a:pt x="4247674" y="317659"/>
                    <a:pt x="4247674" y="320516"/>
                    <a:pt x="4246722" y="324326"/>
                  </a:cubicBezTo>
                  <a:cubicBezTo>
                    <a:pt x="4246722" y="323374"/>
                    <a:pt x="4246722" y="322421"/>
                    <a:pt x="4246722" y="322421"/>
                  </a:cubicBezTo>
                  <a:cubicBezTo>
                    <a:pt x="4246722" y="318611"/>
                    <a:pt x="4247674" y="315754"/>
                    <a:pt x="4247674" y="313849"/>
                  </a:cubicBezTo>
                  <a:close/>
                  <a:moveTo>
                    <a:pt x="4181951" y="367189"/>
                  </a:moveTo>
                  <a:cubicBezTo>
                    <a:pt x="4181951" y="351949"/>
                    <a:pt x="4182904" y="337661"/>
                    <a:pt x="4182904" y="324326"/>
                  </a:cubicBezTo>
                  <a:cubicBezTo>
                    <a:pt x="4182904" y="326231"/>
                    <a:pt x="4183856" y="328136"/>
                    <a:pt x="4183856" y="330041"/>
                  </a:cubicBezTo>
                  <a:cubicBezTo>
                    <a:pt x="4184809" y="333851"/>
                    <a:pt x="4185761" y="336709"/>
                    <a:pt x="4185761" y="340519"/>
                  </a:cubicBezTo>
                  <a:cubicBezTo>
                    <a:pt x="4185761" y="341471"/>
                    <a:pt x="4185761" y="342424"/>
                    <a:pt x="4185761" y="342424"/>
                  </a:cubicBezTo>
                  <a:cubicBezTo>
                    <a:pt x="4184809" y="339566"/>
                    <a:pt x="4183856" y="338614"/>
                    <a:pt x="4183856" y="338614"/>
                  </a:cubicBezTo>
                  <a:cubicBezTo>
                    <a:pt x="4183856" y="338614"/>
                    <a:pt x="4184809" y="345281"/>
                    <a:pt x="4187666" y="357664"/>
                  </a:cubicBezTo>
                  <a:cubicBezTo>
                    <a:pt x="4187666" y="360521"/>
                    <a:pt x="4188619" y="362426"/>
                    <a:pt x="4189571" y="365284"/>
                  </a:cubicBezTo>
                  <a:cubicBezTo>
                    <a:pt x="4189571" y="368141"/>
                    <a:pt x="4190524" y="370999"/>
                    <a:pt x="4191476" y="373856"/>
                  </a:cubicBezTo>
                  <a:cubicBezTo>
                    <a:pt x="4191476" y="377666"/>
                    <a:pt x="4190524" y="382429"/>
                    <a:pt x="4190524" y="386239"/>
                  </a:cubicBezTo>
                  <a:cubicBezTo>
                    <a:pt x="4190524" y="388144"/>
                    <a:pt x="4190524" y="390049"/>
                    <a:pt x="4190524" y="391954"/>
                  </a:cubicBezTo>
                  <a:cubicBezTo>
                    <a:pt x="4187666" y="383381"/>
                    <a:pt x="4184809" y="374809"/>
                    <a:pt x="4181951" y="367189"/>
                  </a:cubicBezTo>
                  <a:cubicBezTo>
                    <a:pt x="4181951" y="369094"/>
                    <a:pt x="4181951" y="368141"/>
                    <a:pt x="4181951" y="367189"/>
                  </a:cubicBezTo>
                  <a:close/>
                  <a:moveTo>
                    <a:pt x="4161949" y="401479"/>
                  </a:moveTo>
                  <a:cubicBezTo>
                    <a:pt x="4161949" y="400526"/>
                    <a:pt x="4161949" y="400526"/>
                    <a:pt x="4161949" y="399574"/>
                  </a:cubicBezTo>
                  <a:cubicBezTo>
                    <a:pt x="4161949" y="399574"/>
                    <a:pt x="4161949" y="399574"/>
                    <a:pt x="4161949" y="399574"/>
                  </a:cubicBezTo>
                  <a:cubicBezTo>
                    <a:pt x="4161949" y="400526"/>
                    <a:pt x="4161949" y="401479"/>
                    <a:pt x="4161949" y="401479"/>
                  </a:cubicBezTo>
                  <a:close/>
                  <a:moveTo>
                    <a:pt x="4160044" y="306229"/>
                  </a:moveTo>
                  <a:cubicBezTo>
                    <a:pt x="4160044" y="299561"/>
                    <a:pt x="4160996" y="295751"/>
                    <a:pt x="4160996" y="292894"/>
                  </a:cubicBezTo>
                  <a:cubicBezTo>
                    <a:pt x="4161949" y="289084"/>
                    <a:pt x="4162901" y="286226"/>
                    <a:pt x="4163854" y="282416"/>
                  </a:cubicBezTo>
                  <a:cubicBezTo>
                    <a:pt x="4163854" y="292894"/>
                    <a:pt x="4162901" y="303371"/>
                    <a:pt x="4162901" y="313849"/>
                  </a:cubicBezTo>
                  <a:cubicBezTo>
                    <a:pt x="4161949" y="310991"/>
                    <a:pt x="4160996" y="309086"/>
                    <a:pt x="4160044" y="306229"/>
                  </a:cubicBezTo>
                  <a:cubicBezTo>
                    <a:pt x="4160044" y="306229"/>
                    <a:pt x="4160044" y="306229"/>
                    <a:pt x="4160044" y="306229"/>
                  </a:cubicBezTo>
                  <a:close/>
                  <a:moveTo>
                    <a:pt x="4128611" y="354806"/>
                  </a:moveTo>
                  <a:cubicBezTo>
                    <a:pt x="4128611" y="350996"/>
                    <a:pt x="4128611" y="347186"/>
                    <a:pt x="4127659" y="343376"/>
                  </a:cubicBezTo>
                  <a:cubicBezTo>
                    <a:pt x="4127659" y="345281"/>
                    <a:pt x="4127659" y="347186"/>
                    <a:pt x="4128611" y="350044"/>
                  </a:cubicBezTo>
                  <a:cubicBezTo>
                    <a:pt x="4129564" y="354806"/>
                    <a:pt x="4129564" y="360521"/>
                    <a:pt x="4130516" y="365284"/>
                  </a:cubicBezTo>
                  <a:cubicBezTo>
                    <a:pt x="4129564" y="361474"/>
                    <a:pt x="4129564" y="358616"/>
                    <a:pt x="4128611" y="354806"/>
                  </a:cubicBezTo>
                  <a:close/>
                  <a:moveTo>
                    <a:pt x="4124801" y="255746"/>
                  </a:moveTo>
                  <a:cubicBezTo>
                    <a:pt x="4124801" y="252889"/>
                    <a:pt x="4124801" y="250031"/>
                    <a:pt x="4124801" y="248126"/>
                  </a:cubicBezTo>
                  <a:cubicBezTo>
                    <a:pt x="4129564" y="265271"/>
                    <a:pt x="4134326" y="284321"/>
                    <a:pt x="4140041" y="303371"/>
                  </a:cubicBezTo>
                  <a:cubicBezTo>
                    <a:pt x="4140041" y="304324"/>
                    <a:pt x="4140994" y="306229"/>
                    <a:pt x="4140994" y="307181"/>
                  </a:cubicBezTo>
                  <a:cubicBezTo>
                    <a:pt x="4140994" y="311944"/>
                    <a:pt x="4140994" y="316706"/>
                    <a:pt x="4140994" y="321469"/>
                  </a:cubicBezTo>
                  <a:cubicBezTo>
                    <a:pt x="4136231" y="310991"/>
                    <a:pt x="4133374" y="305276"/>
                    <a:pt x="4133374" y="305276"/>
                  </a:cubicBezTo>
                  <a:cubicBezTo>
                    <a:pt x="4133374" y="305276"/>
                    <a:pt x="4134326" y="308134"/>
                    <a:pt x="4135279" y="312896"/>
                  </a:cubicBezTo>
                  <a:cubicBezTo>
                    <a:pt x="4132421" y="309086"/>
                    <a:pt x="4130516" y="304324"/>
                    <a:pt x="4127659" y="300514"/>
                  </a:cubicBezTo>
                  <a:cubicBezTo>
                    <a:pt x="4125754" y="293846"/>
                    <a:pt x="4124801" y="288131"/>
                    <a:pt x="4123849" y="284321"/>
                  </a:cubicBezTo>
                  <a:cubicBezTo>
                    <a:pt x="4124801" y="273844"/>
                    <a:pt x="4124801" y="264319"/>
                    <a:pt x="4124801" y="255746"/>
                  </a:cubicBezTo>
                  <a:close/>
                  <a:moveTo>
                    <a:pt x="4095274" y="395764"/>
                  </a:moveTo>
                  <a:cubicBezTo>
                    <a:pt x="4094321" y="395764"/>
                    <a:pt x="4094321" y="395764"/>
                    <a:pt x="4095274" y="395764"/>
                  </a:cubicBezTo>
                  <a:cubicBezTo>
                    <a:pt x="4095274" y="394811"/>
                    <a:pt x="4095274" y="394811"/>
                    <a:pt x="4095274" y="394811"/>
                  </a:cubicBezTo>
                  <a:cubicBezTo>
                    <a:pt x="4095274" y="394811"/>
                    <a:pt x="4095274" y="395764"/>
                    <a:pt x="4095274" y="395764"/>
                  </a:cubicBezTo>
                  <a:close/>
                  <a:moveTo>
                    <a:pt x="4093369" y="386239"/>
                  </a:moveTo>
                  <a:cubicBezTo>
                    <a:pt x="4093369" y="383381"/>
                    <a:pt x="4093369" y="379571"/>
                    <a:pt x="4093369" y="376714"/>
                  </a:cubicBezTo>
                  <a:cubicBezTo>
                    <a:pt x="4094321" y="378619"/>
                    <a:pt x="4095274" y="380524"/>
                    <a:pt x="4096226" y="382429"/>
                  </a:cubicBezTo>
                  <a:cubicBezTo>
                    <a:pt x="4094321" y="384334"/>
                    <a:pt x="4094321" y="385286"/>
                    <a:pt x="4093369" y="386239"/>
                  </a:cubicBezTo>
                  <a:close/>
                  <a:moveTo>
                    <a:pt x="4097179" y="342424"/>
                  </a:moveTo>
                  <a:cubicBezTo>
                    <a:pt x="4098131" y="339566"/>
                    <a:pt x="4098131" y="337661"/>
                    <a:pt x="4099084" y="334804"/>
                  </a:cubicBezTo>
                  <a:cubicBezTo>
                    <a:pt x="4099084" y="335756"/>
                    <a:pt x="4099084" y="336709"/>
                    <a:pt x="4099084" y="337661"/>
                  </a:cubicBezTo>
                  <a:cubicBezTo>
                    <a:pt x="4099084" y="339566"/>
                    <a:pt x="4098131" y="340519"/>
                    <a:pt x="4097179" y="342424"/>
                  </a:cubicBezTo>
                  <a:close/>
                  <a:moveTo>
                    <a:pt x="4100989" y="353854"/>
                  </a:moveTo>
                  <a:cubicBezTo>
                    <a:pt x="4100989" y="352901"/>
                    <a:pt x="4100989" y="351949"/>
                    <a:pt x="4100989" y="351949"/>
                  </a:cubicBezTo>
                  <a:cubicBezTo>
                    <a:pt x="4100989" y="351949"/>
                    <a:pt x="4100989" y="351949"/>
                    <a:pt x="4100989" y="351949"/>
                  </a:cubicBezTo>
                  <a:cubicBezTo>
                    <a:pt x="4100989" y="352901"/>
                    <a:pt x="4100989" y="353854"/>
                    <a:pt x="4100989" y="353854"/>
                  </a:cubicBezTo>
                  <a:cubicBezTo>
                    <a:pt x="4100989" y="354806"/>
                    <a:pt x="4100989" y="353854"/>
                    <a:pt x="4100989" y="353854"/>
                  </a:cubicBezTo>
                  <a:close/>
                  <a:moveTo>
                    <a:pt x="4115276" y="322421"/>
                  </a:moveTo>
                  <a:cubicBezTo>
                    <a:pt x="4115276" y="330994"/>
                    <a:pt x="4114324" y="341471"/>
                    <a:pt x="4114324" y="350996"/>
                  </a:cubicBezTo>
                  <a:cubicBezTo>
                    <a:pt x="4113371" y="336709"/>
                    <a:pt x="4111466" y="327184"/>
                    <a:pt x="4111466" y="327184"/>
                  </a:cubicBezTo>
                  <a:cubicBezTo>
                    <a:pt x="4111466" y="327184"/>
                    <a:pt x="4110514" y="332899"/>
                    <a:pt x="4108609" y="342424"/>
                  </a:cubicBezTo>
                  <a:cubicBezTo>
                    <a:pt x="4108609" y="342424"/>
                    <a:pt x="4107656" y="341471"/>
                    <a:pt x="4107656" y="341471"/>
                  </a:cubicBezTo>
                  <a:cubicBezTo>
                    <a:pt x="4107656" y="339566"/>
                    <a:pt x="4106704" y="338614"/>
                    <a:pt x="4106704" y="336709"/>
                  </a:cubicBezTo>
                  <a:cubicBezTo>
                    <a:pt x="4108609" y="330994"/>
                    <a:pt x="4111466" y="326231"/>
                    <a:pt x="4113371" y="322421"/>
                  </a:cubicBezTo>
                  <a:cubicBezTo>
                    <a:pt x="4114324" y="321469"/>
                    <a:pt x="4114324" y="319564"/>
                    <a:pt x="4115276" y="318611"/>
                  </a:cubicBezTo>
                  <a:cubicBezTo>
                    <a:pt x="4115276" y="319564"/>
                    <a:pt x="4115276" y="320516"/>
                    <a:pt x="4115276" y="322421"/>
                  </a:cubicBezTo>
                  <a:close/>
                  <a:moveTo>
                    <a:pt x="4109561" y="295751"/>
                  </a:moveTo>
                  <a:cubicBezTo>
                    <a:pt x="4111466" y="299561"/>
                    <a:pt x="4113371" y="303371"/>
                    <a:pt x="4116229" y="308134"/>
                  </a:cubicBezTo>
                  <a:cubicBezTo>
                    <a:pt x="4116229" y="309086"/>
                    <a:pt x="4116229" y="310991"/>
                    <a:pt x="4116229" y="311944"/>
                  </a:cubicBezTo>
                  <a:cubicBezTo>
                    <a:pt x="4114324" y="314801"/>
                    <a:pt x="4112419" y="316706"/>
                    <a:pt x="4110514" y="320516"/>
                  </a:cubicBezTo>
                  <a:cubicBezTo>
                    <a:pt x="4108609" y="323374"/>
                    <a:pt x="4106704" y="326231"/>
                    <a:pt x="4104799" y="329089"/>
                  </a:cubicBezTo>
                  <a:cubicBezTo>
                    <a:pt x="4103846" y="326231"/>
                    <a:pt x="4102894" y="324326"/>
                    <a:pt x="4102894" y="322421"/>
                  </a:cubicBezTo>
                  <a:cubicBezTo>
                    <a:pt x="4105751" y="311944"/>
                    <a:pt x="4107656" y="303371"/>
                    <a:pt x="4109561" y="295751"/>
                  </a:cubicBezTo>
                  <a:close/>
                  <a:moveTo>
                    <a:pt x="4092416" y="294799"/>
                  </a:moveTo>
                  <a:cubicBezTo>
                    <a:pt x="4093369" y="284321"/>
                    <a:pt x="4093369" y="274796"/>
                    <a:pt x="4094321" y="265271"/>
                  </a:cubicBezTo>
                  <a:cubicBezTo>
                    <a:pt x="4095274" y="268129"/>
                    <a:pt x="4096226" y="270034"/>
                    <a:pt x="4098131" y="272891"/>
                  </a:cubicBezTo>
                  <a:cubicBezTo>
                    <a:pt x="4100989" y="278606"/>
                    <a:pt x="4103846" y="284321"/>
                    <a:pt x="4106704" y="290989"/>
                  </a:cubicBezTo>
                  <a:cubicBezTo>
                    <a:pt x="4103846" y="296704"/>
                    <a:pt x="4101941" y="304324"/>
                    <a:pt x="4098131" y="311944"/>
                  </a:cubicBezTo>
                  <a:cubicBezTo>
                    <a:pt x="4097179" y="308134"/>
                    <a:pt x="4096226" y="306229"/>
                    <a:pt x="4096226" y="306229"/>
                  </a:cubicBezTo>
                  <a:cubicBezTo>
                    <a:pt x="4096226" y="306229"/>
                    <a:pt x="4096226" y="310039"/>
                    <a:pt x="4097179" y="315754"/>
                  </a:cubicBezTo>
                  <a:cubicBezTo>
                    <a:pt x="4095274" y="320516"/>
                    <a:pt x="4093369" y="324326"/>
                    <a:pt x="4092416" y="329089"/>
                  </a:cubicBezTo>
                  <a:cubicBezTo>
                    <a:pt x="4092416" y="328136"/>
                    <a:pt x="4091464" y="326231"/>
                    <a:pt x="4091464" y="325279"/>
                  </a:cubicBezTo>
                  <a:cubicBezTo>
                    <a:pt x="4091464" y="324326"/>
                    <a:pt x="4090511" y="323374"/>
                    <a:pt x="4090511" y="321469"/>
                  </a:cubicBezTo>
                  <a:cubicBezTo>
                    <a:pt x="4091464" y="311944"/>
                    <a:pt x="4092416" y="303371"/>
                    <a:pt x="4092416" y="294799"/>
                  </a:cubicBezTo>
                  <a:close/>
                  <a:moveTo>
                    <a:pt x="4085749" y="244316"/>
                  </a:moveTo>
                  <a:cubicBezTo>
                    <a:pt x="4085749" y="245269"/>
                    <a:pt x="4085749" y="245269"/>
                    <a:pt x="4085749" y="244316"/>
                  </a:cubicBezTo>
                  <a:cubicBezTo>
                    <a:pt x="4085749" y="247174"/>
                    <a:pt x="4085749" y="248126"/>
                    <a:pt x="4084796" y="250031"/>
                  </a:cubicBezTo>
                  <a:cubicBezTo>
                    <a:pt x="4084796" y="249079"/>
                    <a:pt x="4084796" y="246221"/>
                    <a:pt x="4085749" y="244316"/>
                  </a:cubicBezTo>
                  <a:close/>
                  <a:moveTo>
                    <a:pt x="4043839" y="279559"/>
                  </a:moveTo>
                  <a:cubicBezTo>
                    <a:pt x="4044791" y="280511"/>
                    <a:pt x="4044791" y="280511"/>
                    <a:pt x="4043839" y="279559"/>
                  </a:cubicBezTo>
                  <a:cubicBezTo>
                    <a:pt x="4044791" y="281464"/>
                    <a:pt x="4044791" y="282416"/>
                    <a:pt x="4044791" y="283369"/>
                  </a:cubicBezTo>
                  <a:cubicBezTo>
                    <a:pt x="4043839" y="282416"/>
                    <a:pt x="4043839" y="281464"/>
                    <a:pt x="4043839" y="281464"/>
                  </a:cubicBezTo>
                  <a:cubicBezTo>
                    <a:pt x="4043839" y="281464"/>
                    <a:pt x="4043839" y="283369"/>
                    <a:pt x="4044791" y="286226"/>
                  </a:cubicBezTo>
                  <a:cubicBezTo>
                    <a:pt x="4044791" y="287179"/>
                    <a:pt x="4044791" y="288131"/>
                    <a:pt x="4044791" y="290036"/>
                  </a:cubicBezTo>
                  <a:cubicBezTo>
                    <a:pt x="4043839" y="288131"/>
                    <a:pt x="4042886" y="286226"/>
                    <a:pt x="4042886" y="284321"/>
                  </a:cubicBezTo>
                  <a:cubicBezTo>
                    <a:pt x="4043839" y="282416"/>
                    <a:pt x="4043839" y="281464"/>
                    <a:pt x="4043839" y="279559"/>
                  </a:cubicBezTo>
                  <a:close/>
                  <a:moveTo>
                    <a:pt x="4044791" y="333851"/>
                  </a:moveTo>
                  <a:cubicBezTo>
                    <a:pt x="4044791" y="333851"/>
                    <a:pt x="4044791" y="333851"/>
                    <a:pt x="4044791" y="333851"/>
                  </a:cubicBezTo>
                  <a:cubicBezTo>
                    <a:pt x="4044791" y="335756"/>
                    <a:pt x="4044791" y="337661"/>
                    <a:pt x="4044791" y="339566"/>
                  </a:cubicBezTo>
                  <a:cubicBezTo>
                    <a:pt x="4043839" y="338614"/>
                    <a:pt x="4043839" y="338614"/>
                    <a:pt x="4042886" y="337661"/>
                  </a:cubicBezTo>
                  <a:cubicBezTo>
                    <a:pt x="4042886" y="335756"/>
                    <a:pt x="4043839" y="334804"/>
                    <a:pt x="4044791" y="333851"/>
                  </a:cubicBezTo>
                  <a:close/>
                  <a:moveTo>
                    <a:pt x="4039076" y="271939"/>
                  </a:moveTo>
                  <a:cubicBezTo>
                    <a:pt x="4039076" y="272891"/>
                    <a:pt x="4039076" y="272891"/>
                    <a:pt x="4039076" y="273844"/>
                  </a:cubicBezTo>
                  <a:cubicBezTo>
                    <a:pt x="4039076" y="272891"/>
                    <a:pt x="4038124" y="271939"/>
                    <a:pt x="4038124" y="270034"/>
                  </a:cubicBezTo>
                  <a:cubicBezTo>
                    <a:pt x="4037171" y="268129"/>
                    <a:pt x="4037171" y="267176"/>
                    <a:pt x="4036219" y="265271"/>
                  </a:cubicBezTo>
                  <a:cubicBezTo>
                    <a:pt x="4037171" y="267176"/>
                    <a:pt x="4038124" y="269081"/>
                    <a:pt x="4039076" y="271939"/>
                  </a:cubicBezTo>
                  <a:close/>
                  <a:moveTo>
                    <a:pt x="4033361" y="358616"/>
                  </a:moveTo>
                  <a:cubicBezTo>
                    <a:pt x="4033361" y="355759"/>
                    <a:pt x="4034314" y="353854"/>
                    <a:pt x="4034314" y="351949"/>
                  </a:cubicBezTo>
                  <a:cubicBezTo>
                    <a:pt x="4035266" y="350044"/>
                    <a:pt x="4037171" y="347186"/>
                    <a:pt x="4038124" y="345281"/>
                  </a:cubicBezTo>
                  <a:cubicBezTo>
                    <a:pt x="4040029" y="347186"/>
                    <a:pt x="4041934" y="350044"/>
                    <a:pt x="4043839" y="351949"/>
                  </a:cubicBezTo>
                  <a:cubicBezTo>
                    <a:pt x="4042886" y="363379"/>
                    <a:pt x="4041934" y="376714"/>
                    <a:pt x="4040981" y="391954"/>
                  </a:cubicBezTo>
                  <a:cubicBezTo>
                    <a:pt x="4039076" y="398621"/>
                    <a:pt x="4037171" y="406241"/>
                    <a:pt x="4035266" y="413861"/>
                  </a:cubicBezTo>
                  <a:cubicBezTo>
                    <a:pt x="4033361" y="407194"/>
                    <a:pt x="4030504" y="401479"/>
                    <a:pt x="4029551" y="395764"/>
                  </a:cubicBezTo>
                  <a:cubicBezTo>
                    <a:pt x="4028599" y="392906"/>
                    <a:pt x="4027646" y="391001"/>
                    <a:pt x="4027646" y="388144"/>
                  </a:cubicBezTo>
                  <a:cubicBezTo>
                    <a:pt x="4029551" y="377666"/>
                    <a:pt x="4031456" y="368141"/>
                    <a:pt x="4033361" y="358616"/>
                  </a:cubicBezTo>
                  <a:close/>
                  <a:moveTo>
                    <a:pt x="4020026" y="324326"/>
                  </a:moveTo>
                  <a:cubicBezTo>
                    <a:pt x="4020979" y="325279"/>
                    <a:pt x="4020979" y="325279"/>
                    <a:pt x="4021931" y="326231"/>
                  </a:cubicBezTo>
                  <a:cubicBezTo>
                    <a:pt x="4020979" y="329089"/>
                    <a:pt x="4020026" y="331946"/>
                    <a:pt x="4019074" y="334804"/>
                  </a:cubicBezTo>
                  <a:cubicBezTo>
                    <a:pt x="4018121" y="336709"/>
                    <a:pt x="4018121" y="339566"/>
                    <a:pt x="4017169" y="341471"/>
                  </a:cubicBezTo>
                  <a:cubicBezTo>
                    <a:pt x="4017169" y="341471"/>
                    <a:pt x="4017169" y="342424"/>
                    <a:pt x="4016216" y="342424"/>
                  </a:cubicBezTo>
                  <a:cubicBezTo>
                    <a:pt x="4016216" y="343376"/>
                    <a:pt x="4015264" y="343376"/>
                    <a:pt x="4015264" y="344329"/>
                  </a:cubicBezTo>
                  <a:cubicBezTo>
                    <a:pt x="4014311" y="333851"/>
                    <a:pt x="4012406" y="324326"/>
                    <a:pt x="4011454" y="315754"/>
                  </a:cubicBezTo>
                  <a:cubicBezTo>
                    <a:pt x="4014311" y="317659"/>
                    <a:pt x="4017169" y="320516"/>
                    <a:pt x="4020026" y="324326"/>
                  </a:cubicBezTo>
                  <a:close/>
                  <a:moveTo>
                    <a:pt x="3999071" y="282416"/>
                  </a:moveTo>
                  <a:cubicBezTo>
                    <a:pt x="4000024" y="282416"/>
                    <a:pt x="4000024" y="282416"/>
                    <a:pt x="3999071" y="282416"/>
                  </a:cubicBezTo>
                  <a:cubicBezTo>
                    <a:pt x="4000024" y="290989"/>
                    <a:pt x="4000024" y="300514"/>
                    <a:pt x="4000024" y="310991"/>
                  </a:cubicBezTo>
                  <a:cubicBezTo>
                    <a:pt x="4000024" y="312896"/>
                    <a:pt x="4000024" y="314801"/>
                    <a:pt x="4000024" y="316706"/>
                  </a:cubicBezTo>
                  <a:cubicBezTo>
                    <a:pt x="4000024" y="319564"/>
                    <a:pt x="3999071" y="322421"/>
                    <a:pt x="3999071" y="325279"/>
                  </a:cubicBezTo>
                  <a:cubicBezTo>
                    <a:pt x="3999071" y="325279"/>
                    <a:pt x="3999071" y="326231"/>
                    <a:pt x="3999071" y="327184"/>
                  </a:cubicBezTo>
                  <a:cubicBezTo>
                    <a:pt x="3999071" y="326231"/>
                    <a:pt x="3998119" y="325279"/>
                    <a:pt x="3998119" y="324326"/>
                  </a:cubicBezTo>
                  <a:lnTo>
                    <a:pt x="3997166" y="314801"/>
                  </a:lnTo>
                  <a:lnTo>
                    <a:pt x="3996214" y="286226"/>
                  </a:lnTo>
                  <a:cubicBezTo>
                    <a:pt x="3997166" y="285274"/>
                    <a:pt x="3998119" y="284321"/>
                    <a:pt x="3999071" y="282416"/>
                  </a:cubicBezTo>
                  <a:close/>
                  <a:moveTo>
                    <a:pt x="3983831" y="405289"/>
                  </a:moveTo>
                  <a:cubicBezTo>
                    <a:pt x="3982879" y="408146"/>
                    <a:pt x="3981926" y="410051"/>
                    <a:pt x="3980021" y="412909"/>
                  </a:cubicBezTo>
                  <a:cubicBezTo>
                    <a:pt x="3980021" y="412909"/>
                    <a:pt x="3980021" y="412909"/>
                    <a:pt x="3980021" y="412909"/>
                  </a:cubicBezTo>
                  <a:cubicBezTo>
                    <a:pt x="3981926" y="407194"/>
                    <a:pt x="3981926" y="404336"/>
                    <a:pt x="3982879" y="402431"/>
                  </a:cubicBezTo>
                  <a:cubicBezTo>
                    <a:pt x="3982879" y="403384"/>
                    <a:pt x="3982879" y="404336"/>
                    <a:pt x="3983831" y="405289"/>
                  </a:cubicBezTo>
                  <a:close/>
                  <a:moveTo>
                    <a:pt x="3980974" y="395764"/>
                  </a:moveTo>
                  <a:cubicBezTo>
                    <a:pt x="3981926" y="397669"/>
                    <a:pt x="3981926" y="399574"/>
                    <a:pt x="3982879" y="401479"/>
                  </a:cubicBezTo>
                  <a:cubicBezTo>
                    <a:pt x="3982879" y="402431"/>
                    <a:pt x="3980974" y="404336"/>
                    <a:pt x="3979069" y="407194"/>
                  </a:cubicBezTo>
                  <a:cubicBezTo>
                    <a:pt x="3979069" y="407194"/>
                    <a:pt x="3979069" y="406241"/>
                    <a:pt x="3979069" y="406241"/>
                  </a:cubicBezTo>
                  <a:cubicBezTo>
                    <a:pt x="3980021" y="403384"/>
                    <a:pt x="3980021" y="399574"/>
                    <a:pt x="3980974" y="395764"/>
                  </a:cubicBezTo>
                  <a:close/>
                  <a:moveTo>
                    <a:pt x="3976211" y="378619"/>
                  </a:moveTo>
                  <a:cubicBezTo>
                    <a:pt x="3976211" y="378619"/>
                    <a:pt x="3976211" y="378619"/>
                    <a:pt x="3976211" y="378619"/>
                  </a:cubicBezTo>
                  <a:cubicBezTo>
                    <a:pt x="3976211" y="379571"/>
                    <a:pt x="3976211" y="379571"/>
                    <a:pt x="3976211" y="380524"/>
                  </a:cubicBezTo>
                  <a:cubicBezTo>
                    <a:pt x="3976211" y="379571"/>
                    <a:pt x="3976211" y="378619"/>
                    <a:pt x="3976211" y="378619"/>
                  </a:cubicBezTo>
                  <a:close/>
                  <a:moveTo>
                    <a:pt x="3948589" y="255746"/>
                  </a:moveTo>
                  <a:cubicBezTo>
                    <a:pt x="3948589" y="262414"/>
                    <a:pt x="3947636" y="270034"/>
                    <a:pt x="3946684" y="277654"/>
                  </a:cubicBezTo>
                  <a:cubicBezTo>
                    <a:pt x="3946684" y="279559"/>
                    <a:pt x="3946684" y="282416"/>
                    <a:pt x="3945731" y="285274"/>
                  </a:cubicBezTo>
                  <a:cubicBezTo>
                    <a:pt x="3944779" y="278606"/>
                    <a:pt x="3944779" y="272891"/>
                    <a:pt x="3943826" y="266224"/>
                  </a:cubicBezTo>
                  <a:cubicBezTo>
                    <a:pt x="3942874" y="257651"/>
                    <a:pt x="3940969" y="249079"/>
                    <a:pt x="3940016" y="240506"/>
                  </a:cubicBezTo>
                  <a:cubicBezTo>
                    <a:pt x="3940016" y="240506"/>
                    <a:pt x="3940016" y="240506"/>
                    <a:pt x="3940016" y="239554"/>
                  </a:cubicBezTo>
                  <a:cubicBezTo>
                    <a:pt x="3940016" y="238601"/>
                    <a:pt x="3940016" y="237649"/>
                    <a:pt x="3940016" y="236696"/>
                  </a:cubicBezTo>
                  <a:cubicBezTo>
                    <a:pt x="3940969" y="237649"/>
                    <a:pt x="3941921" y="239554"/>
                    <a:pt x="3942874" y="240506"/>
                  </a:cubicBezTo>
                  <a:cubicBezTo>
                    <a:pt x="3944779" y="243364"/>
                    <a:pt x="3945731" y="245269"/>
                    <a:pt x="3947636" y="248126"/>
                  </a:cubicBezTo>
                  <a:cubicBezTo>
                    <a:pt x="3948589" y="251936"/>
                    <a:pt x="3948589" y="253841"/>
                    <a:pt x="3948589" y="255746"/>
                  </a:cubicBezTo>
                  <a:close/>
                  <a:moveTo>
                    <a:pt x="3943826" y="205264"/>
                  </a:moveTo>
                  <a:cubicBezTo>
                    <a:pt x="3943826" y="207169"/>
                    <a:pt x="3943826" y="209074"/>
                    <a:pt x="3943826" y="210979"/>
                  </a:cubicBezTo>
                  <a:cubicBezTo>
                    <a:pt x="3943826" y="216694"/>
                    <a:pt x="3944779" y="223361"/>
                    <a:pt x="3945731" y="230981"/>
                  </a:cubicBezTo>
                  <a:cubicBezTo>
                    <a:pt x="3945731" y="232886"/>
                    <a:pt x="3945731" y="234791"/>
                    <a:pt x="3946684" y="236696"/>
                  </a:cubicBezTo>
                  <a:cubicBezTo>
                    <a:pt x="3943826" y="233839"/>
                    <a:pt x="3941921" y="230029"/>
                    <a:pt x="3939064" y="228124"/>
                  </a:cubicBezTo>
                  <a:cubicBezTo>
                    <a:pt x="3938111" y="224314"/>
                    <a:pt x="3938111" y="219551"/>
                    <a:pt x="3937159" y="215741"/>
                  </a:cubicBezTo>
                  <a:cubicBezTo>
                    <a:pt x="3940016" y="210979"/>
                    <a:pt x="3941921" y="208121"/>
                    <a:pt x="3943826" y="205264"/>
                  </a:cubicBezTo>
                  <a:close/>
                  <a:moveTo>
                    <a:pt x="3866674" y="369094"/>
                  </a:moveTo>
                  <a:cubicBezTo>
                    <a:pt x="3866674" y="369094"/>
                    <a:pt x="3866674" y="368141"/>
                    <a:pt x="3867626" y="368141"/>
                  </a:cubicBezTo>
                  <a:cubicBezTo>
                    <a:pt x="3867626" y="369094"/>
                    <a:pt x="3867626" y="370046"/>
                    <a:pt x="3867626" y="370999"/>
                  </a:cubicBezTo>
                  <a:cubicBezTo>
                    <a:pt x="3867626" y="370046"/>
                    <a:pt x="3866674" y="370046"/>
                    <a:pt x="3866674" y="369094"/>
                  </a:cubicBezTo>
                  <a:close/>
                  <a:moveTo>
                    <a:pt x="3886676" y="354806"/>
                  </a:moveTo>
                  <a:cubicBezTo>
                    <a:pt x="3885724" y="351949"/>
                    <a:pt x="3883819" y="350044"/>
                    <a:pt x="3882866" y="348139"/>
                  </a:cubicBezTo>
                  <a:cubicBezTo>
                    <a:pt x="3882866" y="345281"/>
                    <a:pt x="3881914" y="341471"/>
                    <a:pt x="3881914" y="338614"/>
                  </a:cubicBezTo>
                  <a:cubicBezTo>
                    <a:pt x="3883819" y="343376"/>
                    <a:pt x="3885724" y="349091"/>
                    <a:pt x="3886676" y="354806"/>
                  </a:cubicBezTo>
                  <a:cubicBezTo>
                    <a:pt x="3887629" y="354806"/>
                    <a:pt x="3887629" y="355759"/>
                    <a:pt x="3887629" y="356711"/>
                  </a:cubicBezTo>
                  <a:cubicBezTo>
                    <a:pt x="3887629" y="355759"/>
                    <a:pt x="3887629" y="354806"/>
                    <a:pt x="3886676" y="354806"/>
                  </a:cubicBezTo>
                  <a:close/>
                  <a:moveTo>
                    <a:pt x="3897154" y="278606"/>
                  </a:moveTo>
                  <a:cubicBezTo>
                    <a:pt x="3899059" y="275749"/>
                    <a:pt x="3900011" y="272891"/>
                    <a:pt x="3901916" y="270986"/>
                  </a:cubicBezTo>
                  <a:cubicBezTo>
                    <a:pt x="3901916" y="270986"/>
                    <a:pt x="3901916" y="270986"/>
                    <a:pt x="3901916" y="270986"/>
                  </a:cubicBezTo>
                  <a:cubicBezTo>
                    <a:pt x="3900964" y="273844"/>
                    <a:pt x="3899059" y="276701"/>
                    <a:pt x="3897154" y="278606"/>
                  </a:cubicBezTo>
                  <a:cubicBezTo>
                    <a:pt x="3898106" y="279559"/>
                    <a:pt x="3897154" y="279559"/>
                    <a:pt x="3897154" y="278606"/>
                  </a:cubicBezTo>
                  <a:close/>
                  <a:moveTo>
                    <a:pt x="3900011" y="291941"/>
                  </a:moveTo>
                  <a:cubicBezTo>
                    <a:pt x="3900011" y="290989"/>
                    <a:pt x="3900964" y="289084"/>
                    <a:pt x="3901916" y="288131"/>
                  </a:cubicBezTo>
                  <a:cubicBezTo>
                    <a:pt x="3901916" y="287179"/>
                    <a:pt x="3902869" y="287179"/>
                    <a:pt x="3902869" y="286226"/>
                  </a:cubicBezTo>
                  <a:cubicBezTo>
                    <a:pt x="3902869" y="290036"/>
                    <a:pt x="3902869" y="293846"/>
                    <a:pt x="3903821" y="297656"/>
                  </a:cubicBezTo>
                  <a:cubicBezTo>
                    <a:pt x="3903821" y="298609"/>
                    <a:pt x="3903821" y="300514"/>
                    <a:pt x="3902869" y="301466"/>
                  </a:cubicBezTo>
                  <a:cubicBezTo>
                    <a:pt x="3902869" y="300514"/>
                    <a:pt x="3902869" y="299561"/>
                    <a:pt x="3901916" y="298609"/>
                  </a:cubicBezTo>
                  <a:cubicBezTo>
                    <a:pt x="3901916" y="295751"/>
                    <a:pt x="3900964" y="293846"/>
                    <a:pt x="3900011" y="291941"/>
                  </a:cubicBezTo>
                  <a:close/>
                  <a:moveTo>
                    <a:pt x="3903821" y="431006"/>
                  </a:moveTo>
                  <a:cubicBezTo>
                    <a:pt x="3903821" y="431006"/>
                    <a:pt x="3903821" y="431959"/>
                    <a:pt x="3902869" y="431959"/>
                  </a:cubicBezTo>
                  <a:lnTo>
                    <a:pt x="3901916" y="431959"/>
                  </a:lnTo>
                  <a:cubicBezTo>
                    <a:pt x="3902869" y="430054"/>
                    <a:pt x="3902869" y="428149"/>
                    <a:pt x="3903821" y="426244"/>
                  </a:cubicBezTo>
                  <a:cubicBezTo>
                    <a:pt x="3903821" y="427196"/>
                    <a:pt x="3903821" y="427196"/>
                    <a:pt x="3904774" y="428149"/>
                  </a:cubicBezTo>
                  <a:cubicBezTo>
                    <a:pt x="3903821" y="429101"/>
                    <a:pt x="3903821" y="430054"/>
                    <a:pt x="3903821" y="431006"/>
                  </a:cubicBezTo>
                  <a:close/>
                  <a:moveTo>
                    <a:pt x="3925729" y="309086"/>
                  </a:moveTo>
                  <a:cubicBezTo>
                    <a:pt x="3923824" y="301466"/>
                    <a:pt x="3922871" y="297656"/>
                    <a:pt x="3922871" y="297656"/>
                  </a:cubicBezTo>
                  <a:cubicBezTo>
                    <a:pt x="3922871" y="297656"/>
                    <a:pt x="3922871" y="301466"/>
                    <a:pt x="3923824" y="308134"/>
                  </a:cubicBezTo>
                  <a:cubicBezTo>
                    <a:pt x="3920966" y="297656"/>
                    <a:pt x="3919061" y="291941"/>
                    <a:pt x="3919061" y="291941"/>
                  </a:cubicBezTo>
                  <a:cubicBezTo>
                    <a:pt x="3919061" y="291941"/>
                    <a:pt x="3920014" y="301466"/>
                    <a:pt x="3922871" y="317659"/>
                  </a:cubicBezTo>
                  <a:cubicBezTo>
                    <a:pt x="3922871" y="320516"/>
                    <a:pt x="3923824" y="322421"/>
                    <a:pt x="3923824" y="325279"/>
                  </a:cubicBezTo>
                  <a:cubicBezTo>
                    <a:pt x="3922871" y="328136"/>
                    <a:pt x="3922871" y="331946"/>
                    <a:pt x="3921919" y="334804"/>
                  </a:cubicBezTo>
                  <a:cubicBezTo>
                    <a:pt x="3921919" y="334804"/>
                    <a:pt x="3921919" y="335756"/>
                    <a:pt x="3921919" y="335756"/>
                  </a:cubicBezTo>
                  <a:cubicBezTo>
                    <a:pt x="3921919" y="333851"/>
                    <a:pt x="3920966" y="331946"/>
                    <a:pt x="3920966" y="330041"/>
                  </a:cubicBezTo>
                  <a:cubicBezTo>
                    <a:pt x="3919061" y="319564"/>
                    <a:pt x="3917156" y="310039"/>
                    <a:pt x="3915251" y="301466"/>
                  </a:cubicBezTo>
                  <a:cubicBezTo>
                    <a:pt x="3913346" y="293846"/>
                    <a:pt x="3912394" y="287179"/>
                    <a:pt x="3911441" y="281464"/>
                  </a:cubicBezTo>
                  <a:cubicBezTo>
                    <a:pt x="3911441" y="273844"/>
                    <a:pt x="3912394" y="268129"/>
                    <a:pt x="3912394" y="264319"/>
                  </a:cubicBezTo>
                  <a:cubicBezTo>
                    <a:pt x="3912394" y="264319"/>
                    <a:pt x="3912394" y="263366"/>
                    <a:pt x="3912394" y="263366"/>
                  </a:cubicBezTo>
                  <a:cubicBezTo>
                    <a:pt x="3914299" y="265271"/>
                    <a:pt x="3917156" y="268129"/>
                    <a:pt x="3919061" y="270986"/>
                  </a:cubicBezTo>
                  <a:cubicBezTo>
                    <a:pt x="3920966" y="272891"/>
                    <a:pt x="3922871" y="274796"/>
                    <a:pt x="3923824" y="277654"/>
                  </a:cubicBezTo>
                  <a:cubicBezTo>
                    <a:pt x="3923824" y="277654"/>
                    <a:pt x="3923824" y="280511"/>
                    <a:pt x="3924776" y="284321"/>
                  </a:cubicBezTo>
                  <a:cubicBezTo>
                    <a:pt x="3922871" y="279559"/>
                    <a:pt x="3921919" y="277654"/>
                    <a:pt x="3921919" y="277654"/>
                  </a:cubicBezTo>
                  <a:cubicBezTo>
                    <a:pt x="3921919" y="277654"/>
                    <a:pt x="3923824" y="284321"/>
                    <a:pt x="3926681" y="296704"/>
                  </a:cubicBezTo>
                  <a:cubicBezTo>
                    <a:pt x="3926681" y="298609"/>
                    <a:pt x="3927634" y="301466"/>
                    <a:pt x="3927634" y="304324"/>
                  </a:cubicBezTo>
                  <a:cubicBezTo>
                    <a:pt x="3927634" y="304324"/>
                    <a:pt x="3927634" y="304324"/>
                    <a:pt x="3927634" y="305276"/>
                  </a:cubicBezTo>
                  <a:cubicBezTo>
                    <a:pt x="3926681" y="304324"/>
                    <a:pt x="3925729" y="306229"/>
                    <a:pt x="3925729" y="309086"/>
                  </a:cubicBezTo>
                  <a:close/>
                  <a:moveTo>
                    <a:pt x="3929539" y="287179"/>
                  </a:moveTo>
                  <a:cubicBezTo>
                    <a:pt x="3929539" y="289084"/>
                    <a:pt x="3928586" y="290989"/>
                    <a:pt x="3928586" y="292894"/>
                  </a:cubicBezTo>
                  <a:cubicBezTo>
                    <a:pt x="3928586" y="291941"/>
                    <a:pt x="3927634" y="290989"/>
                    <a:pt x="3927634" y="290036"/>
                  </a:cubicBezTo>
                  <a:cubicBezTo>
                    <a:pt x="3924776" y="281464"/>
                    <a:pt x="3923824" y="275749"/>
                    <a:pt x="3923824" y="275749"/>
                  </a:cubicBezTo>
                  <a:cubicBezTo>
                    <a:pt x="3924776" y="277654"/>
                    <a:pt x="3926681" y="279559"/>
                    <a:pt x="3927634" y="281464"/>
                  </a:cubicBezTo>
                  <a:cubicBezTo>
                    <a:pt x="3928586" y="282416"/>
                    <a:pt x="3928586" y="283369"/>
                    <a:pt x="3929539" y="284321"/>
                  </a:cubicBezTo>
                  <a:cubicBezTo>
                    <a:pt x="3929539" y="284321"/>
                    <a:pt x="3929539" y="285274"/>
                    <a:pt x="3929539" y="287179"/>
                  </a:cubicBezTo>
                  <a:close/>
                  <a:moveTo>
                    <a:pt x="3926681" y="242411"/>
                  </a:moveTo>
                  <a:cubicBezTo>
                    <a:pt x="3927634" y="251936"/>
                    <a:pt x="3928586" y="261461"/>
                    <a:pt x="3928586" y="270986"/>
                  </a:cubicBezTo>
                  <a:cubicBezTo>
                    <a:pt x="3926681" y="269081"/>
                    <a:pt x="3924776" y="266224"/>
                    <a:pt x="3921919" y="265271"/>
                  </a:cubicBezTo>
                  <a:cubicBezTo>
                    <a:pt x="3919061" y="262414"/>
                    <a:pt x="3916204" y="259556"/>
                    <a:pt x="3913346" y="257651"/>
                  </a:cubicBezTo>
                  <a:cubicBezTo>
                    <a:pt x="3915251" y="253841"/>
                    <a:pt x="3916204" y="250031"/>
                    <a:pt x="3917156" y="246221"/>
                  </a:cubicBezTo>
                  <a:cubicBezTo>
                    <a:pt x="3920014" y="241459"/>
                    <a:pt x="3922871" y="236696"/>
                    <a:pt x="3925729" y="232886"/>
                  </a:cubicBezTo>
                  <a:cubicBezTo>
                    <a:pt x="3925729" y="235744"/>
                    <a:pt x="3925729" y="239554"/>
                    <a:pt x="3926681" y="242411"/>
                  </a:cubicBezTo>
                  <a:close/>
                  <a:moveTo>
                    <a:pt x="3900964" y="168116"/>
                  </a:moveTo>
                  <a:cubicBezTo>
                    <a:pt x="3905726" y="160496"/>
                    <a:pt x="3910489" y="153829"/>
                    <a:pt x="3914299" y="147161"/>
                  </a:cubicBezTo>
                  <a:cubicBezTo>
                    <a:pt x="3914299" y="150019"/>
                    <a:pt x="3915251" y="152876"/>
                    <a:pt x="3915251" y="156686"/>
                  </a:cubicBezTo>
                  <a:cubicBezTo>
                    <a:pt x="3917156" y="168116"/>
                    <a:pt x="3919061" y="181451"/>
                    <a:pt x="3920966" y="196691"/>
                  </a:cubicBezTo>
                  <a:cubicBezTo>
                    <a:pt x="3921919" y="202406"/>
                    <a:pt x="3921919" y="208121"/>
                    <a:pt x="3922871" y="213836"/>
                  </a:cubicBezTo>
                  <a:cubicBezTo>
                    <a:pt x="3920966" y="211931"/>
                    <a:pt x="3920014" y="210979"/>
                    <a:pt x="3920014" y="210979"/>
                  </a:cubicBezTo>
                  <a:cubicBezTo>
                    <a:pt x="3920014" y="210979"/>
                    <a:pt x="3920966" y="212884"/>
                    <a:pt x="3923824" y="214789"/>
                  </a:cubicBezTo>
                  <a:cubicBezTo>
                    <a:pt x="3923824" y="218599"/>
                    <a:pt x="3924776" y="222409"/>
                    <a:pt x="3924776" y="226219"/>
                  </a:cubicBezTo>
                  <a:cubicBezTo>
                    <a:pt x="3919061" y="232886"/>
                    <a:pt x="3913346" y="240506"/>
                    <a:pt x="3906679" y="249079"/>
                  </a:cubicBezTo>
                  <a:cubicBezTo>
                    <a:pt x="3905726" y="250031"/>
                    <a:pt x="3905726" y="250984"/>
                    <a:pt x="3904774" y="251936"/>
                  </a:cubicBezTo>
                  <a:cubicBezTo>
                    <a:pt x="3903821" y="251936"/>
                    <a:pt x="3903821" y="250984"/>
                    <a:pt x="3902869" y="250984"/>
                  </a:cubicBezTo>
                  <a:cubicBezTo>
                    <a:pt x="3901916" y="245269"/>
                    <a:pt x="3900964" y="242411"/>
                    <a:pt x="3900964" y="242411"/>
                  </a:cubicBezTo>
                  <a:cubicBezTo>
                    <a:pt x="3900964" y="242411"/>
                    <a:pt x="3900964" y="245269"/>
                    <a:pt x="3900964" y="249079"/>
                  </a:cubicBezTo>
                  <a:cubicBezTo>
                    <a:pt x="3900011" y="248126"/>
                    <a:pt x="3898106" y="247174"/>
                    <a:pt x="3897154" y="247174"/>
                  </a:cubicBezTo>
                  <a:cubicBezTo>
                    <a:pt x="3893344" y="245269"/>
                    <a:pt x="3891439" y="243364"/>
                    <a:pt x="3891439" y="243364"/>
                  </a:cubicBezTo>
                  <a:cubicBezTo>
                    <a:pt x="3891439" y="243364"/>
                    <a:pt x="3893344" y="245269"/>
                    <a:pt x="3896201" y="248126"/>
                  </a:cubicBezTo>
                  <a:cubicBezTo>
                    <a:pt x="3897154" y="249079"/>
                    <a:pt x="3899059" y="250984"/>
                    <a:pt x="3900964" y="251936"/>
                  </a:cubicBezTo>
                  <a:cubicBezTo>
                    <a:pt x="3900964" y="253841"/>
                    <a:pt x="3900964" y="254794"/>
                    <a:pt x="3900964" y="256699"/>
                  </a:cubicBezTo>
                  <a:cubicBezTo>
                    <a:pt x="3899059" y="259556"/>
                    <a:pt x="3896201" y="263366"/>
                    <a:pt x="3894296" y="266224"/>
                  </a:cubicBezTo>
                  <a:cubicBezTo>
                    <a:pt x="3893344" y="261461"/>
                    <a:pt x="3891439" y="255746"/>
                    <a:pt x="3890486" y="250984"/>
                  </a:cubicBezTo>
                  <a:cubicBezTo>
                    <a:pt x="3886676" y="235744"/>
                    <a:pt x="3883819" y="222409"/>
                    <a:pt x="3880009" y="210026"/>
                  </a:cubicBezTo>
                  <a:cubicBezTo>
                    <a:pt x="3880009" y="209074"/>
                    <a:pt x="3879056" y="207169"/>
                    <a:pt x="3879056" y="206216"/>
                  </a:cubicBezTo>
                  <a:cubicBezTo>
                    <a:pt x="3886676" y="191929"/>
                    <a:pt x="3894296" y="178594"/>
                    <a:pt x="3900964" y="168116"/>
                  </a:cubicBezTo>
                  <a:close/>
                  <a:moveTo>
                    <a:pt x="3873341" y="214789"/>
                  </a:moveTo>
                  <a:cubicBezTo>
                    <a:pt x="3875246" y="226219"/>
                    <a:pt x="3877151" y="238601"/>
                    <a:pt x="3879056" y="251936"/>
                  </a:cubicBezTo>
                  <a:cubicBezTo>
                    <a:pt x="3880009" y="260509"/>
                    <a:pt x="3881914" y="270034"/>
                    <a:pt x="3883819" y="280511"/>
                  </a:cubicBezTo>
                  <a:cubicBezTo>
                    <a:pt x="3883819" y="281464"/>
                    <a:pt x="3882866" y="281464"/>
                    <a:pt x="3882866" y="282416"/>
                  </a:cubicBezTo>
                  <a:cubicBezTo>
                    <a:pt x="3880009" y="273844"/>
                    <a:pt x="3878104" y="266224"/>
                    <a:pt x="3875246" y="259556"/>
                  </a:cubicBezTo>
                  <a:cubicBezTo>
                    <a:pt x="3871436" y="250031"/>
                    <a:pt x="3868579" y="241459"/>
                    <a:pt x="3865721" y="234791"/>
                  </a:cubicBezTo>
                  <a:cubicBezTo>
                    <a:pt x="3865721" y="233839"/>
                    <a:pt x="3864769" y="232886"/>
                    <a:pt x="3864769" y="231934"/>
                  </a:cubicBezTo>
                  <a:cubicBezTo>
                    <a:pt x="3867626" y="225266"/>
                    <a:pt x="3870484" y="219551"/>
                    <a:pt x="3873341" y="214789"/>
                  </a:cubicBezTo>
                  <a:close/>
                  <a:moveTo>
                    <a:pt x="3864769" y="341471"/>
                  </a:moveTo>
                  <a:cubicBezTo>
                    <a:pt x="3863816" y="342424"/>
                    <a:pt x="3863816" y="344329"/>
                    <a:pt x="3862864" y="345281"/>
                  </a:cubicBezTo>
                  <a:cubicBezTo>
                    <a:pt x="3862864" y="344329"/>
                    <a:pt x="3863816" y="343376"/>
                    <a:pt x="3864769" y="341471"/>
                  </a:cubicBezTo>
                  <a:cubicBezTo>
                    <a:pt x="3864769" y="341471"/>
                    <a:pt x="3864769" y="341471"/>
                    <a:pt x="3864769" y="341471"/>
                  </a:cubicBezTo>
                  <a:close/>
                  <a:moveTo>
                    <a:pt x="3854291" y="211931"/>
                  </a:moveTo>
                  <a:cubicBezTo>
                    <a:pt x="3854291" y="208121"/>
                    <a:pt x="3855244" y="204311"/>
                    <a:pt x="3856196" y="201454"/>
                  </a:cubicBezTo>
                  <a:cubicBezTo>
                    <a:pt x="3856196" y="206216"/>
                    <a:pt x="3856196" y="212884"/>
                    <a:pt x="3857149" y="220504"/>
                  </a:cubicBezTo>
                  <a:cubicBezTo>
                    <a:pt x="3856196" y="222409"/>
                    <a:pt x="3855244" y="224314"/>
                    <a:pt x="3854291" y="226219"/>
                  </a:cubicBezTo>
                  <a:cubicBezTo>
                    <a:pt x="3853339" y="220504"/>
                    <a:pt x="3854291" y="215741"/>
                    <a:pt x="3854291" y="211931"/>
                  </a:cubicBezTo>
                  <a:close/>
                  <a:moveTo>
                    <a:pt x="3849529" y="262414"/>
                  </a:moveTo>
                  <a:cubicBezTo>
                    <a:pt x="3849529" y="260509"/>
                    <a:pt x="3849529" y="259556"/>
                    <a:pt x="3849529" y="257651"/>
                  </a:cubicBezTo>
                  <a:cubicBezTo>
                    <a:pt x="3849529" y="257651"/>
                    <a:pt x="3849529" y="256699"/>
                    <a:pt x="3850481" y="256699"/>
                  </a:cubicBezTo>
                  <a:cubicBezTo>
                    <a:pt x="3853339" y="263366"/>
                    <a:pt x="3856196" y="270986"/>
                    <a:pt x="3859054" y="278606"/>
                  </a:cubicBezTo>
                  <a:cubicBezTo>
                    <a:pt x="3859054" y="279559"/>
                    <a:pt x="3859054" y="279559"/>
                    <a:pt x="3860006" y="280511"/>
                  </a:cubicBezTo>
                  <a:cubicBezTo>
                    <a:pt x="3860959" y="290989"/>
                    <a:pt x="3861911" y="302419"/>
                    <a:pt x="3862864" y="313849"/>
                  </a:cubicBezTo>
                  <a:cubicBezTo>
                    <a:pt x="3862864" y="313849"/>
                    <a:pt x="3862864" y="313849"/>
                    <a:pt x="3862864" y="313849"/>
                  </a:cubicBezTo>
                  <a:cubicBezTo>
                    <a:pt x="3858101" y="305276"/>
                    <a:pt x="3852386" y="298609"/>
                    <a:pt x="3847624" y="291941"/>
                  </a:cubicBezTo>
                  <a:cubicBezTo>
                    <a:pt x="3848576" y="281464"/>
                    <a:pt x="3848576" y="271939"/>
                    <a:pt x="3849529" y="262414"/>
                  </a:cubicBezTo>
                  <a:close/>
                  <a:moveTo>
                    <a:pt x="3846671" y="308134"/>
                  </a:moveTo>
                  <a:cubicBezTo>
                    <a:pt x="3849529" y="312896"/>
                    <a:pt x="3852386" y="318611"/>
                    <a:pt x="3855244" y="323374"/>
                  </a:cubicBezTo>
                  <a:cubicBezTo>
                    <a:pt x="3855244" y="324326"/>
                    <a:pt x="3856196" y="324326"/>
                    <a:pt x="3856196" y="325279"/>
                  </a:cubicBezTo>
                  <a:cubicBezTo>
                    <a:pt x="3856196" y="326231"/>
                    <a:pt x="3855244" y="326231"/>
                    <a:pt x="3855244" y="327184"/>
                  </a:cubicBezTo>
                  <a:cubicBezTo>
                    <a:pt x="3853339" y="330041"/>
                    <a:pt x="3851434" y="333851"/>
                    <a:pt x="3849529" y="336709"/>
                  </a:cubicBezTo>
                  <a:cubicBezTo>
                    <a:pt x="3848576" y="334804"/>
                    <a:pt x="3846671" y="331946"/>
                    <a:pt x="3845719" y="330041"/>
                  </a:cubicBezTo>
                  <a:cubicBezTo>
                    <a:pt x="3845719" y="323374"/>
                    <a:pt x="3846671" y="315754"/>
                    <a:pt x="3846671" y="308134"/>
                  </a:cubicBezTo>
                  <a:close/>
                  <a:moveTo>
                    <a:pt x="3843814" y="415766"/>
                  </a:moveTo>
                  <a:cubicBezTo>
                    <a:pt x="3844766" y="413861"/>
                    <a:pt x="3845719" y="411956"/>
                    <a:pt x="3846671" y="410051"/>
                  </a:cubicBezTo>
                  <a:cubicBezTo>
                    <a:pt x="3846671" y="411956"/>
                    <a:pt x="3847624" y="414814"/>
                    <a:pt x="3847624" y="416719"/>
                  </a:cubicBezTo>
                  <a:cubicBezTo>
                    <a:pt x="3847624" y="417671"/>
                    <a:pt x="3847624" y="418624"/>
                    <a:pt x="3847624" y="419576"/>
                  </a:cubicBezTo>
                  <a:cubicBezTo>
                    <a:pt x="3847624" y="420529"/>
                    <a:pt x="3846671" y="421481"/>
                    <a:pt x="3846671" y="422434"/>
                  </a:cubicBezTo>
                  <a:cubicBezTo>
                    <a:pt x="3845719" y="423386"/>
                    <a:pt x="3845719" y="425291"/>
                    <a:pt x="3844766" y="426244"/>
                  </a:cubicBezTo>
                  <a:lnTo>
                    <a:pt x="3842861" y="426244"/>
                  </a:lnTo>
                  <a:cubicBezTo>
                    <a:pt x="3843814" y="422434"/>
                    <a:pt x="3843814" y="418624"/>
                    <a:pt x="3843814" y="415766"/>
                  </a:cubicBezTo>
                  <a:close/>
                  <a:moveTo>
                    <a:pt x="3830479" y="297656"/>
                  </a:moveTo>
                  <a:cubicBezTo>
                    <a:pt x="3830479" y="298609"/>
                    <a:pt x="3830479" y="298609"/>
                    <a:pt x="3830479" y="299561"/>
                  </a:cubicBezTo>
                  <a:cubicBezTo>
                    <a:pt x="3830479" y="300514"/>
                    <a:pt x="3830479" y="300514"/>
                    <a:pt x="3830479" y="301466"/>
                  </a:cubicBezTo>
                  <a:cubicBezTo>
                    <a:pt x="3830479" y="303371"/>
                    <a:pt x="3830479" y="305276"/>
                    <a:pt x="3829526" y="307181"/>
                  </a:cubicBezTo>
                  <a:cubicBezTo>
                    <a:pt x="3828574" y="306229"/>
                    <a:pt x="3827621" y="305276"/>
                    <a:pt x="3827621" y="304324"/>
                  </a:cubicBezTo>
                  <a:cubicBezTo>
                    <a:pt x="3828574" y="301466"/>
                    <a:pt x="3829526" y="299561"/>
                    <a:pt x="3830479" y="297656"/>
                  </a:cubicBezTo>
                  <a:close/>
                  <a:moveTo>
                    <a:pt x="3826669" y="305276"/>
                  </a:moveTo>
                  <a:cubicBezTo>
                    <a:pt x="3827621" y="306229"/>
                    <a:pt x="3827621" y="308134"/>
                    <a:pt x="3828574" y="310039"/>
                  </a:cubicBezTo>
                  <a:cubicBezTo>
                    <a:pt x="3828574" y="311944"/>
                    <a:pt x="3828574" y="312896"/>
                    <a:pt x="3827621" y="314801"/>
                  </a:cubicBezTo>
                  <a:cubicBezTo>
                    <a:pt x="3826669" y="312896"/>
                    <a:pt x="3824764" y="310991"/>
                    <a:pt x="3823811" y="309086"/>
                  </a:cubicBezTo>
                  <a:cubicBezTo>
                    <a:pt x="3825716" y="307181"/>
                    <a:pt x="3825716" y="306229"/>
                    <a:pt x="3826669" y="305276"/>
                  </a:cubicBezTo>
                  <a:close/>
                  <a:moveTo>
                    <a:pt x="3820001" y="319564"/>
                  </a:moveTo>
                  <a:cubicBezTo>
                    <a:pt x="3821906" y="323374"/>
                    <a:pt x="3823811" y="328136"/>
                    <a:pt x="3826669" y="332899"/>
                  </a:cubicBezTo>
                  <a:cubicBezTo>
                    <a:pt x="3826669" y="332899"/>
                    <a:pt x="3826669" y="333851"/>
                    <a:pt x="3827621" y="333851"/>
                  </a:cubicBezTo>
                  <a:cubicBezTo>
                    <a:pt x="3827621" y="336709"/>
                    <a:pt x="3826669" y="339566"/>
                    <a:pt x="3826669" y="343376"/>
                  </a:cubicBezTo>
                  <a:cubicBezTo>
                    <a:pt x="3825716" y="354806"/>
                    <a:pt x="3825716" y="366236"/>
                    <a:pt x="3824764" y="377666"/>
                  </a:cubicBezTo>
                  <a:cubicBezTo>
                    <a:pt x="3823811" y="372904"/>
                    <a:pt x="3821906" y="368141"/>
                    <a:pt x="3820954" y="364331"/>
                  </a:cubicBezTo>
                  <a:cubicBezTo>
                    <a:pt x="3820954" y="360521"/>
                    <a:pt x="3820001" y="356711"/>
                    <a:pt x="3820001" y="352901"/>
                  </a:cubicBezTo>
                  <a:cubicBezTo>
                    <a:pt x="3820001" y="347186"/>
                    <a:pt x="3819049" y="341471"/>
                    <a:pt x="3818096" y="336709"/>
                  </a:cubicBezTo>
                  <a:cubicBezTo>
                    <a:pt x="3820001" y="333851"/>
                    <a:pt x="3821906" y="332899"/>
                    <a:pt x="3821906" y="332899"/>
                  </a:cubicBezTo>
                  <a:cubicBezTo>
                    <a:pt x="3821906" y="332899"/>
                    <a:pt x="3820954" y="333851"/>
                    <a:pt x="3818096" y="335756"/>
                  </a:cubicBezTo>
                  <a:cubicBezTo>
                    <a:pt x="3818096" y="332899"/>
                    <a:pt x="3817144" y="329089"/>
                    <a:pt x="3817144" y="326231"/>
                  </a:cubicBezTo>
                  <a:cubicBezTo>
                    <a:pt x="3818096" y="323374"/>
                    <a:pt x="3819049" y="321469"/>
                    <a:pt x="3820001" y="319564"/>
                  </a:cubicBezTo>
                  <a:close/>
                  <a:moveTo>
                    <a:pt x="3788569" y="264319"/>
                  </a:moveTo>
                  <a:cubicBezTo>
                    <a:pt x="3789521" y="266224"/>
                    <a:pt x="3791426" y="268129"/>
                    <a:pt x="3792379" y="270986"/>
                  </a:cubicBezTo>
                  <a:cubicBezTo>
                    <a:pt x="3795236" y="274796"/>
                    <a:pt x="3798094" y="280511"/>
                    <a:pt x="3800951" y="285274"/>
                  </a:cubicBezTo>
                  <a:cubicBezTo>
                    <a:pt x="3800951" y="286226"/>
                    <a:pt x="3800951" y="286226"/>
                    <a:pt x="3800951" y="287179"/>
                  </a:cubicBezTo>
                  <a:cubicBezTo>
                    <a:pt x="3800951" y="290989"/>
                    <a:pt x="3800951" y="294799"/>
                    <a:pt x="3800951" y="298609"/>
                  </a:cubicBezTo>
                  <a:cubicBezTo>
                    <a:pt x="3800951" y="299561"/>
                    <a:pt x="3800951" y="300514"/>
                    <a:pt x="3800951" y="300514"/>
                  </a:cubicBezTo>
                  <a:cubicBezTo>
                    <a:pt x="3799999" y="295751"/>
                    <a:pt x="3798094" y="291941"/>
                    <a:pt x="3797141" y="287179"/>
                  </a:cubicBezTo>
                  <a:cubicBezTo>
                    <a:pt x="3797141" y="286226"/>
                    <a:pt x="3796189" y="285274"/>
                    <a:pt x="3796189" y="285274"/>
                  </a:cubicBezTo>
                  <a:cubicBezTo>
                    <a:pt x="3796189" y="282416"/>
                    <a:pt x="3796189" y="280511"/>
                    <a:pt x="3796189" y="280511"/>
                  </a:cubicBezTo>
                  <a:cubicBezTo>
                    <a:pt x="3796189" y="280511"/>
                    <a:pt x="3796189" y="281464"/>
                    <a:pt x="3795236" y="283369"/>
                  </a:cubicBezTo>
                  <a:cubicBezTo>
                    <a:pt x="3794284" y="279559"/>
                    <a:pt x="3792379" y="275749"/>
                    <a:pt x="3791426" y="271939"/>
                  </a:cubicBezTo>
                  <a:cubicBezTo>
                    <a:pt x="3790474" y="269081"/>
                    <a:pt x="3789521" y="266224"/>
                    <a:pt x="3788569" y="264319"/>
                  </a:cubicBezTo>
                  <a:close/>
                  <a:moveTo>
                    <a:pt x="3748564" y="364331"/>
                  </a:moveTo>
                  <a:cubicBezTo>
                    <a:pt x="3748564" y="359569"/>
                    <a:pt x="3748564" y="355759"/>
                    <a:pt x="3748564" y="351949"/>
                  </a:cubicBezTo>
                  <a:cubicBezTo>
                    <a:pt x="3749516" y="353854"/>
                    <a:pt x="3749516" y="355759"/>
                    <a:pt x="3750469" y="358616"/>
                  </a:cubicBezTo>
                  <a:cubicBezTo>
                    <a:pt x="3749516" y="359569"/>
                    <a:pt x="3749516" y="361474"/>
                    <a:pt x="3748564" y="364331"/>
                  </a:cubicBezTo>
                  <a:close/>
                  <a:moveTo>
                    <a:pt x="3762851" y="399574"/>
                  </a:moveTo>
                  <a:cubicBezTo>
                    <a:pt x="3761899" y="401479"/>
                    <a:pt x="3760946" y="403384"/>
                    <a:pt x="3759994" y="405289"/>
                  </a:cubicBezTo>
                  <a:cubicBezTo>
                    <a:pt x="3759994" y="400526"/>
                    <a:pt x="3760946" y="395764"/>
                    <a:pt x="3760946" y="391954"/>
                  </a:cubicBezTo>
                  <a:cubicBezTo>
                    <a:pt x="3760946" y="391954"/>
                    <a:pt x="3760946" y="391001"/>
                    <a:pt x="3760946" y="391001"/>
                  </a:cubicBezTo>
                  <a:cubicBezTo>
                    <a:pt x="3761899" y="392906"/>
                    <a:pt x="3761899" y="394811"/>
                    <a:pt x="3762851" y="396716"/>
                  </a:cubicBezTo>
                  <a:cubicBezTo>
                    <a:pt x="3763804" y="397669"/>
                    <a:pt x="3762851" y="398621"/>
                    <a:pt x="3762851" y="399574"/>
                  </a:cubicBezTo>
                  <a:close/>
                  <a:moveTo>
                    <a:pt x="3770471" y="290036"/>
                  </a:moveTo>
                  <a:cubicBezTo>
                    <a:pt x="3772376" y="296704"/>
                    <a:pt x="3773329" y="302419"/>
                    <a:pt x="3775234" y="309086"/>
                  </a:cubicBezTo>
                  <a:cubicBezTo>
                    <a:pt x="3774281" y="306229"/>
                    <a:pt x="3773329" y="304324"/>
                    <a:pt x="3771424" y="301466"/>
                  </a:cubicBezTo>
                  <a:cubicBezTo>
                    <a:pt x="3771424" y="300514"/>
                    <a:pt x="3770471" y="300514"/>
                    <a:pt x="3770471" y="299561"/>
                  </a:cubicBezTo>
                  <a:cubicBezTo>
                    <a:pt x="3770471" y="296704"/>
                    <a:pt x="3770471" y="293846"/>
                    <a:pt x="3770471" y="290989"/>
                  </a:cubicBezTo>
                  <a:cubicBezTo>
                    <a:pt x="3770471" y="290989"/>
                    <a:pt x="3770471" y="290036"/>
                    <a:pt x="3770471" y="290036"/>
                  </a:cubicBezTo>
                  <a:close/>
                  <a:moveTo>
                    <a:pt x="3769519" y="370046"/>
                  </a:moveTo>
                  <a:cubicBezTo>
                    <a:pt x="3769519" y="370999"/>
                    <a:pt x="3769519" y="371951"/>
                    <a:pt x="3770471" y="372904"/>
                  </a:cubicBezTo>
                  <a:cubicBezTo>
                    <a:pt x="3769519" y="370999"/>
                    <a:pt x="3768566" y="369094"/>
                    <a:pt x="3767614" y="366236"/>
                  </a:cubicBezTo>
                  <a:cubicBezTo>
                    <a:pt x="3767614" y="362426"/>
                    <a:pt x="3767614" y="359569"/>
                    <a:pt x="3767614" y="359569"/>
                  </a:cubicBezTo>
                  <a:cubicBezTo>
                    <a:pt x="3767614" y="359569"/>
                    <a:pt x="3767614" y="361474"/>
                    <a:pt x="3766661" y="364331"/>
                  </a:cubicBezTo>
                  <a:cubicBezTo>
                    <a:pt x="3765709" y="363379"/>
                    <a:pt x="3765709" y="361474"/>
                    <a:pt x="3764756" y="360521"/>
                  </a:cubicBezTo>
                  <a:cubicBezTo>
                    <a:pt x="3764756" y="359569"/>
                    <a:pt x="3764756" y="358616"/>
                    <a:pt x="3764756" y="357664"/>
                  </a:cubicBezTo>
                  <a:cubicBezTo>
                    <a:pt x="3764756" y="355759"/>
                    <a:pt x="3765709" y="353854"/>
                    <a:pt x="3765709" y="351949"/>
                  </a:cubicBezTo>
                  <a:cubicBezTo>
                    <a:pt x="3767614" y="358616"/>
                    <a:pt x="3768566" y="364331"/>
                    <a:pt x="3769519" y="370046"/>
                  </a:cubicBezTo>
                  <a:close/>
                  <a:moveTo>
                    <a:pt x="3753326" y="250031"/>
                  </a:moveTo>
                  <a:cubicBezTo>
                    <a:pt x="3754279" y="245269"/>
                    <a:pt x="3754279" y="241459"/>
                    <a:pt x="3755231" y="236696"/>
                  </a:cubicBezTo>
                  <a:cubicBezTo>
                    <a:pt x="3755231" y="235744"/>
                    <a:pt x="3755231" y="233839"/>
                    <a:pt x="3756184" y="232886"/>
                  </a:cubicBezTo>
                  <a:cubicBezTo>
                    <a:pt x="3757136" y="231934"/>
                    <a:pt x="3757136" y="230981"/>
                    <a:pt x="3758089" y="230029"/>
                  </a:cubicBezTo>
                  <a:cubicBezTo>
                    <a:pt x="3759041" y="232886"/>
                    <a:pt x="3759041" y="234791"/>
                    <a:pt x="3759994" y="237649"/>
                  </a:cubicBezTo>
                  <a:cubicBezTo>
                    <a:pt x="3762851" y="250984"/>
                    <a:pt x="3766661" y="266224"/>
                    <a:pt x="3769519" y="281464"/>
                  </a:cubicBezTo>
                  <a:cubicBezTo>
                    <a:pt x="3768566" y="284321"/>
                    <a:pt x="3768566" y="287179"/>
                    <a:pt x="3767614" y="290036"/>
                  </a:cubicBezTo>
                  <a:cubicBezTo>
                    <a:pt x="3767614" y="290036"/>
                    <a:pt x="3767614" y="290036"/>
                    <a:pt x="3767614" y="290989"/>
                  </a:cubicBezTo>
                  <a:cubicBezTo>
                    <a:pt x="3762851" y="280511"/>
                    <a:pt x="3757136" y="270986"/>
                    <a:pt x="3752374" y="261461"/>
                  </a:cubicBezTo>
                  <a:cubicBezTo>
                    <a:pt x="3752374" y="258604"/>
                    <a:pt x="3752374" y="253841"/>
                    <a:pt x="3753326" y="250031"/>
                  </a:cubicBezTo>
                  <a:close/>
                  <a:moveTo>
                    <a:pt x="3748564" y="296704"/>
                  </a:moveTo>
                  <a:cubicBezTo>
                    <a:pt x="3748564" y="296704"/>
                    <a:pt x="3748564" y="296704"/>
                    <a:pt x="3748564" y="296704"/>
                  </a:cubicBezTo>
                  <a:cubicBezTo>
                    <a:pt x="3751421" y="301466"/>
                    <a:pt x="3753326" y="307181"/>
                    <a:pt x="3756184" y="313849"/>
                  </a:cubicBezTo>
                  <a:cubicBezTo>
                    <a:pt x="3756184" y="314801"/>
                    <a:pt x="3757136" y="315754"/>
                    <a:pt x="3757136" y="316706"/>
                  </a:cubicBezTo>
                  <a:cubicBezTo>
                    <a:pt x="3758089" y="318611"/>
                    <a:pt x="3758089" y="321469"/>
                    <a:pt x="3759041" y="323374"/>
                  </a:cubicBezTo>
                  <a:cubicBezTo>
                    <a:pt x="3758089" y="325279"/>
                    <a:pt x="3758089" y="328136"/>
                    <a:pt x="3757136" y="330041"/>
                  </a:cubicBezTo>
                  <a:cubicBezTo>
                    <a:pt x="3756184" y="333851"/>
                    <a:pt x="3755231" y="337661"/>
                    <a:pt x="3754279" y="341471"/>
                  </a:cubicBezTo>
                  <a:cubicBezTo>
                    <a:pt x="3753326" y="339566"/>
                    <a:pt x="3751421" y="337661"/>
                    <a:pt x="3750469" y="335756"/>
                  </a:cubicBezTo>
                  <a:cubicBezTo>
                    <a:pt x="3749516" y="333851"/>
                    <a:pt x="3748564" y="332899"/>
                    <a:pt x="3747611" y="331946"/>
                  </a:cubicBezTo>
                  <a:cubicBezTo>
                    <a:pt x="3748564" y="320516"/>
                    <a:pt x="3748564" y="308134"/>
                    <a:pt x="3748564" y="296704"/>
                  </a:cubicBezTo>
                  <a:close/>
                  <a:moveTo>
                    <a:pt x="3738086" y="273844"/>
                  </a:moveTo>
                  <a:cubicBezTo>
                    <a:pt x="3738086" y="273844"/>
                    <a:pt x="3738086" y="273844"/>
                    <a:pt x="3738086" y="273844"/>
                  </a:cubicBezTo>
                  <a:cubicBezTo>
                    <a:pt x="3738086" y="274796"/>
                    <a:pt x="3738086" y="274796"/>
                    <a:pt x="3738086" y="274796"/>
                  </a:cubicBezTo>
                  <a:cubicBezTo>
                    <a:pt x="3738086" y="273844"/>
                    <a:pt x="3738086" y="273844"/>
                    <a:pt x="3738086" y="273844"/>
                  </a:cubicBezTo>
                  <a:close/>
                  <a:moveTo>
                    <a:pt x="3689509" y="326231"/>
                  </a:moveTo>
                  <a:cubicBezTo>
                    <a:pt x="3688556" y="328136"/>
                    <a:pt x="3687604" y="330041"/>
                    <a:pt x="3686651" y="331946"/>
                  </a:cubicBezTo>
                  <a:cubicBezTo>
                    <a:pt x="3686651" y="331946"/>
                    <a:pt x="3686651" y="330994"/>
                    <a:pt x="3685699" y="330994"/>
                  </a:cubicBezTo>
                  <a:cubicBezTo>
                    <a:pt x="3685699" y="328136"/>
                    <a:pt x="3685699" y="325279"/>
                    <a:pt x="3685699" y="322421"/>
                  </a:cubicBezTo>
                  <a:cubicBezTo>
                    <a:pt x="3685699" y="319564"/>
                    <a:pt x="3685699" y="316706"/>
                    <a:pt x="3685699" y="313849"/>
                  </a:cubicBezTo>
                  <a:cubicBezTo>
                    <a:pt x="3686651" y="316706"/>
                    <a:pt x="3688556" y="320516"/>
                    <a:pt x="3689509" y="325279"/>
                  </a:cubicBezTo>
                  <a:cubicBezTo>
                    <a:pt x="3689509" y="326231"/>
                    <a:pt x="3689509" y="326231"/>
                    <a:pt x="3689509" y="326231"/>
                  </a:cubicBezTo>
                  <a:close/>
                  <a:moveTo>
                    <a:pt x="3716179" y="211931"/>
                  </a:moveTo>
                  <a:cubicBezTo>
                    <a:pt x="3718084" y="214789"/>
                    <a:pt x="3719036" y="218599"/>
                    <a:pt x="3720941" y="221456"/>
                  </a:cubicBezTo>
                  <a:cubicBezTo>
                    <a:pt x="3719989" y="224314"/>
                    <a:pt x="3719989" y="227171"/>
                    <a:pt x="3719036" y="230029"/>
                  </a:cubicBezTo>
                  <a:cubicBezTo>
                    <a:pt x="3719036" y="230981"/>
                    <a:pt x="3719036" y="232886"/>
                    <a:pt x="3718084" y="233839"/>
                  </a:cubicBezTo>
                  <a:cubicBezTo>
                    <a:pt x="3715226" y="230029"/>
                    <a:pt x="3713321" y="228124"/>
                    <a:pt x="3713321" y="228124"/>
                  </a:cubicBezTo>
                  <a:cubicBezTo>
                    <a:pt x="3713321" y="228124"/>
                    <a:pt x="3715226" y="230981"/>
                    <a:pt x="3717131" y="235744"/>
                  </a:cubicBezTo>
                  <a:cubicBezTo>
                    <a:pt x="3716179" y="241459"/>
                    <a:pt x="3715226" y="247174"/>
                    <a:pt x="3714274" y="253841"/>
                  </a:cubicBezTo>
                  <a:cubicBezTo>
                    <a:pt x="3714274" y="252889"/>
                    <a:pt x="3714274" y="251936"/>
                    <a:pt x="3714274" y="250984"/>
                  </a:cubicBezTo>
                  <a:cubicBezTo>
                    <a:pt x="3714274" y="246221"/>
                    <a:pt x="3713321" y="242411"/>
                    <a:pt x="3713321" y="238601"/>
                  </a:cubicBezTo>
                  <a:cubicBezTo>
                    <a:pt x="3713321" y="234791"/>
                    <a:pt x="3713321" y="230981"/>
                    <a:pt x="3713321" y="227171"/>
                  </a:cubicBezTo>
                  <a:cubicBezTo>
                    <a:pt x="3713321" y="219551"/>
                    <a:pt x="3712369" y="213836"/>
                    <a:pt x="3712369" y="208121"/>
                  </a:cubicBezTo>
                  <a:cubicBezTo>
                    <a:pt x="3712369" y="207169"/>
                    <a:pt x="3712369" y="206216"/>
                    <a:pt x="3712369" y="205264"/>
                  </a:cubicBezTo>
                  <a:cubicBezTo>
                    <a:pt x="3713321" y="207169"/>
                    <a:pt x="3714274" y="209074"/>
                    <a:pt x="3716179" y="211931"/>
                  </a:cubicBezTo>
                  <a:close/>
                  <a:moveTo>
                    <a:pt x="3679984" y="236696"/>
                  </a:moveTo>
                  <a:cubicBezTo>
                    <a:pt x="3681889" y="222409"/>
                    <a:pt x="3683794" y="209074"/>
                    <a:pt x="3684746" y="196691"/>
                  </a:cubicBezTo>
                  <a:cubicBezTo>
                    <a:pt x="3685699" y="185261"/>
                    <a:pt x="3687604" y="174784"/>
                    <a:pt x="3687604" y="166211"/>
                  </a:cubicBezTo>
                  <a:cubicBezTo>
                    <a:pt x="3687604" y="161449"/>
                    <a:pt x="3688556" y="157639"/>
                    <a:pt x="3688556" y="154781"/>
                  </a:cubicBezTo>
                  <a:cubicBezTo>
                    <a:pt x="3690461" y="159544"/>
                    <a:pt x="3694271" y="168116"/>
                    <a:pt x="3699034" y="178594"/>
                  </a:cubicBezTo>
                  <a:cubicBezTo>
                    <a:pt x="3701891" y="184309"/>
                    <a:pt x="3704749" y="191929"/>
                    <a:pt x="3708559" y="199549"/>
                  </a:cubicBezTo>
                  <a:cubicBezTo>
                    <a:pt x="3708559" y="201454"/>
                    <a:pt x="3707606" y="204311"/>
                    <a:pt x="3707606" y="207169"/>
                  </a:cubicBezTo>
                  <a:cubicBezTo>
                    <a:pt x="3706654" y="211931"/>
                    <a:pt x="3705701" y="218599"/>
                    <a:pt x="3704749" y="226219"/>
                  </a:cubicBezTo>
                  <a:cubicBezTo>
                    <a:pt x="3703796" y="230029"/>
                    <a:pt x="3703796" y="233839"/>
                    <a:pt x="3702844" y="237649"/>
                  </a:cubicBezTo>
                  <a:cubicBezTo>
                    <a:pt x="3702844" y="241459"/>
                    <a:pt x="3701891" y="246221"/>
                    <a:pt x="3701891" y="250984"/>
                  </a:cubicBezTo>
                  <a:cubicBezTo>
                    <a:pt x="3700939" y="259556"/>
                    <a:pt x="3700939" y="270034"/>
                    <a:pt x="3700939" y="280511"/>
                  </a:cubicBezTo>
                  <a:cubicBezTo>
                    <a:pt x="3700939" y="287179"/>
                    <a:pt x="3700939" y="293846"/>
                    <a:pt x="3700939" y="300514"/>
                  </a:cubicBezTo>
                  <a:cubicBezTo>
                    <a:pt x="3699034" y="293846"/>
                    <a:pt x="3697129" y="290036"/>
                    <a:pt x="3697129" y="290036"/>
                  </a:cubicBezTo>
                  <a:cubicBezTo>
                    <a:pt x="3697129" y="290036"/>
                    <a:pt x="3698081" y="296704"/>
                    <a:pt x="3699034" y="308134"/>
                  </a:cubicBezTo>
                  <a:cubicBezTo>
                    <a:pt x="3696176" y="312896"/>
                    <a:pt x="3693319" y="317659"/>
                    <a:pt x="3690461" y="322421"/>
                  </a:cubicBezTo>
                  <a:cubicBezTo>
                    <a:pt x="3687604" y="317659"/>
                    <a:pt x="3685699" y="313849"/>
                    <a:pt x="3683794" y="310991"/>
                  </a:cubicBezTo>
                  <a:cubicBezTo>
                    <a:pt x="3683794" y="305276"/>
                    <a:pt x="3683794" y="302419"/>
                    <a:pt x="3683794" y="302419"/>
                  </a:cubicBezTo>
                  <a:cubicBezTo>
                    <a:pt x="3683794" y="302419"/>
                    <a:pt x="3683794" y="304324"/>
                    <a:pt x="3682841" y="308134"/>
                  </a:cubicBezTo>
                  <a:cubicBezTo>
                    <a:pt x="3680936" y="304324"/>
                    <a:pt x="3679031" y="302419"/>
                    <a:pt x="3679031" y="302419"/>
                  </a:cubicBezTo>
                  <a:cubicBezTo>
                    <a:pt x="3679031" y="302419"/>
                    <a:pt x="3679984" y="305276"/>
                    <a:pt x="3681889" y="310991"/>
                  </a:cubicBezTo>
                  <a:cubicBezTo>
                    <a:pt x="3680936" y="313849"/>
                    <a:pt x="3680936" y="318611"/>
                    <a:pt x="3679984" y="323374"/>
                  </a:cubicBezTo>
                  <a:cubicBezTo>
                    <a:pt x="3677126" y="317659"/>
                    <a:pt x="3675221" y="311944"/>
                    <a:pt x="3672364" y="307181"/>
                  </a:cubicBezTo>
                  <a:cubicBezTo>
                    <a:pt x="3674269" y="300514"/>
                    <a:pt x="3676174" y="294799"/>
                    <a:pt x="3677126" y="289084"/>
                  </a:cubicBezTo>
                  <a:cubicBezTo>
                    <a:pt x="3679031" y="283369"/>
                    <a:pt x="3680936" y="277654"/>
                    <a:pt x="3681889" y="272891"/>
                  </a:cubicBezTo>
                  <a:cubicBezTo>
                    <a:pt x="3683794" y="268129"/>
                    <a:pt x="3685699" y="264319"/>
                    <a:pt x="3686651" y="260509"/>
                  </a:cubicBezTo>
                  <a:cubicBezTo>
                    <a:pt x="3690461" y="253841"/>
                    <a:pt x="3692366" y="250031"/>
                    <a:pt x="3692366" y="250031"/>
                  </a:cubicBezTo>
                  <a:cubicBezTo>
                    <a:pt x="3692366" y="250031"/>
                    <a:pt x="3689509" y="252889"/>
                    <a:pt x="3683794" y="258604"/>
                  </a:cubicBezTo>
                  <a:cubicBezTo>
                    <a:pt x="3680936" y="261461"/>
                    <a:pt x="3678079" y="265271"/>
                    <a:pt x="3675221" y="270034"/>
                  </a:cubicBezTo>
                  <a:cubicBezTo>
                    <a:pt x="3674269" y="271939"/>
                    <a:pt x="3673316" y="273844"/>
                    <a:pt x="3671411" y="275749"/>
                  </a:cubicBezTo>
                  <a:cubicBezTo>
                    <a:pt x="3677126" y="261461"/>
                    <a:pt x="3679031" y="248126"/>
                    <a:pt x="3679984" y="236696"/>
                  </a:cubicBezTo>
                  <a:close/>
                  <a:moveTo>
                    <a:pt x="3678079" y="342424"/>
                  </a:moveTo>
                  <a:cubicBezTo>
                    <a:pt x="3678079" y="344329"/>
                    <a:pt x="3677126" y="346234"/>
                    <a:pt x="3677126" y="349091"/>
                  </a:cubicBezTo>
                  <a:cubicBezTo>
                    <a:pt x="3677126" y="347186"/>
                    <a:pt x="3676174" y="345281"/>
                    <a:pt x="3676174" y="343376"/>
                  </a:cubicBezTo>
                  <a:cubicBezTo>
                    <a:pt x="3675221" y="340519"/>
                    <a:pt x="3675221" y="337661"/>
                    <a:pt x="3674269" y="335756"/>
                  </a:cubicBezTo>
                  <a:cubicBezTo>
                    <a:pt x="3675221" y="337661"/>
                    <a:pt x="3676174" y="340519"/>
                    <a:pt x="3678079" y="342424"/>
                  </a:cubicBezTo>
                  <a:close/>
                  <a:moveTo>
                    <a:pt x="3664744" y="355759"/>
                  </a:moveTo>
                  <a:cubicBezTo>
                    <a:pt x="3664744" y="357664"/>
                    <a:pt x="3664744" y="360521"/>
                    <a:pt x="3664744" y="362426"/>
                  </a:cubicBezTo>
                  <a:cubicBezTo>
                    <a:pt x="3664744" y="365284"/>
                    <a:pt x="3663791" y="368141"/>
                    <a:pt x="3663791" y="371951"/>
                  </a:cubicBezTo>
                  <a:cubicBezTo>
                    <a:pt x="3663791" y="371951"/>
                    <a:pt x="3663791" y="371951"/>
                    <a:pt x="3663791" y="371951"/>
                  </a:cubicBezTo>
                  <a:cubicBezTo>
                    <a:pt x="3663791" y="370046"/>
                    <a:pt x="3662839" y="368141"/>
                    <a:pt x="3662839" y="367189"/>
                  </a:cubicBezTo>
                  <a:cubicBezTo>
                    <a:pt x="3662839" y="367189"/>
                    <a:pt x="3662839" y="367189"/>
                    <a:pt x="3662839" y="366236"/>
                  </a:cubicBezTo>
                  <a:cubicBezTo>
                    <a:pt x="3663791" y="363379"/>
                    <a:pt x="3664744" y="359569"/>
                    <a:pt x="3664744" y="355759"/>
                  </a:cubicBezTo>
                  <a:close/>
                  <a:moveTo>
                    <a:pt x="3603784" y="369094"/>
                  </a:moveTo>
                  <a:cubicBezTo>
                    <a:pt x="3603784" y="367189"/>
                    <a:pt x="3602831" y="365284"/>
                    <a:pt x="3602831" y="363379"/>
                  </a:cubicBezTo>
                  <a:cubicBezTo>
                    <a:pt x="3603784" y="359569"/>
                    <a:pt x="3604736" y="355759"/>
                    <a:pt x="3605689" y="352901"/>
                  </a:cubicBezTo>
                  <a:cubicBezTo>
                    <a:pt x="3605689" y="351949"/>
                    <a:pt x="3606641" y="350996"/>
                    <a:pt x="3606641" y="350044"/>
                  </a:cubicBezTo>
                  <a:cubicBezTo>
                    <a:pt x="3606641" y="350996"/>
                    <a:pt x="3607594" y="351949"/>
                    <a:pt x="3607594" y="352901"/>
                  </a:cubicBezTo>
                  <a:lnTo>
                    <a:pt x="3607594" y="353854"/>
                  </a:lnTo>
                  <a:cubicBezTo>
                    <a:pt x="3605689" y="358616"/>
                    <a:pt x="3604736" y="364331"/>
                    <a:pt x="3603784" y="369094"/>
                  </a:cubicBezTo>
                  <a:close/>
                  <a:moveTo>
                    <a:pt x="3612356" y="329089"/>
                  </a:moveTo>
                  <a:cubicBezTo>
                    <a:pt x="3612356" y="329089"/>
                    <a:pt x="3611404" y="328136"/>
                    <a:pt x="3611404" y="327184"/>
                  </a:cubicBezTo>
                  <a:cubicBezTo>
                    <a:pt x="3611404" y="325279"/>
                    <a:pt x="3611404" y="323374"/>
                    <a:pt x="3610451" y="321469"/>
                  </a:cubicBezTo>
                  <a:cubicBezTo>
                    <a:pt x="3611404" y="322421"/>
                    <a:pt x="3612356" y="323374"/>
                    <a:pt x="3613309" y="324326"/>
                  </a:cubicBezTo>
                  <a:cubicBezTo>
                    <a:pt x="3613309" y="326231"/>
                    <a:pt x="3612356" y="327184"/>
                    <a:pt x="3612356" y="329089"/>
                  </a:cubicBezTo>
                  <a:close/>
                  <a:moveTo>
                    <a:pt x="3633311" y="366236"/>
                  </a:moveTo>
                  <a:cubicBezTo>
                    <a:pt x="3632359" y="363379"/>
                    <a:pt x="3630454" y="361474"/>
                    <a:pt x="3629501" y="358616"/>
                  </a:cubicBezTo>
                  <a:cubicBezTo>
                    <a:pt x="3629501" y="357664"/>
                    <a:pt x="3629501" y="355759"/>
                    <a:pt x="3629501" y="354806"/>
                  </a:cubicBezTo>
                  <a:cubicBezTo>
                    <a:pt x="3631406" y="357664"/>
                    <a:pt x="3632359" y="361474"/>
                    <a:pt x="3633311" y="366236"/>
                  </a:cubicBezTo>
                  <a:cubicBezTo>
                    <a:pt x="3633311" y="366236"/>
                    <a:pt x="3634264" y="366236"/>
                    <a:pt x="3633311" y="366236"/>
                  </a:cubicBezTo>
                  <a:cubicBezTo>
                    <a:pt x="3634264" y="366236"/>
                    <a:pt x="3633311" y="366236"/>
                    <a:pt x="3633311" y="366236"/>
                  </a:cubicBezTo>
                  <a:close/>
                  <a:moveTo>
                    <a:pt x="3632359" y="331946"/>
                  </a:moveTo>
                  <a:cubicBezTo>
                    <a:pt x="3633311" y="336709"/>
                    <a:pt x="3634264" y="342424"/>
                    <a:pt x="3635216" y="348139"/>
                  </a:cubicBezTo>
                  <a:cubicBezTo>
                    <a:pt x="3634264" y="346234"/>
                    <a:pt x="3632359" y="343376"/>
                    <a:pt x="3631406" y="341471"/>
                  </a:cubicBezTo>
                  <a:cubicBezTo>
                    <a:pt x="3631406" y="337661"/>
                    <a:pt x="3631406" y="334804"/>
                    <a:pt x="3632359" y="331946"/>
                  </a:cubicBezTo>
                  <a:close/>
                  <a:moveTo>
                    <a:pt x="3618071" y="270034"/>
                  </a:moveTo>
                  <a:cubicBezTo>
                    <a:pt x="3621881" y="261461"/>
                    <a:pt x="3624739" y="252889"/>
                    <a:pt x="3628549" y="246221"/>
                  </a:cubicBezTo>
                  <a:cubicBezTo>
                    <a:pt x="3629501" y="244316"/>
                    <a:pt x="3629501" y="243364"/>
                    <a:pt x="3630454" y="242411"/>
                  </a:cubicBezTo>
                  <a:cubicBezTo>
                    <a:pt x="3629501" y="249079"/>
                    <a:pt x="3627596" y="256699"/>
                    <a:pt x="3625691" y="265271"/>
                  </a:cubicBezTo>
                  <a:cubicBezTo>
                    <a:pt x="3623786" y="267176"/>
                    <a:pt x="3620929" y="269081"/>
                    <a:pt x="3618071" y="271939"/>
                  </a:cubicBezTo>
                  <a:cubicBezTo>
                    <a:pt x="3618071" y="270986"/>
                    <a:pt x="3618071" y="270034"/>
                    <a:pt x="3618071" y="270034"/>
                  </a:cubicBezTo>
                  <a:close/>
                  <a:moveTo>
                    <a:pt x="3601879" y="310039"/>
                  </a:moveTo>
                  <a:cubicBezTo>
                    <a:pt x="3603784" y="306229"/>
                    <a:pt x="3604736" y="302419"/>
                    <a:pt x="3606641" y="298609"/>
                  </a:cubicBezTo>
                  <a:cubicBezTo>
                    <a:pt x="3609499" y="291941"/>
                    <a:pt x="3612356" y="285274"/>
                    <a:pt x="3615214" y="278606"/>
                  </a:cubicBezTo>
                  <a:cubicBezTo>
                    <a:pt x="3617119" y="276701"/>
                    <a:pt x="3619024" y="273844"/>
                    <a:pt x="3619976" y="271939"/>
                  </a:cubicBezTo>
                  <a:cubicBezTo>
                    <a:pt x="3621881" y="270034"/>
                    <a:pt x="3623786" y="268129"/>
                    <a:pt x="3625691" y="266224"/>
                  </a:cubicBezTo>
                  <a:cubicBezTo>
                    <a:pt x="3625691" y="268129"/>
                    <a:pt x="3624739" y="269081"/>
                    <a:pt x="3624739" y="270986"/>
                  </a:cubicBezTo>
                  <a:cubicBezTo>
                    <a:pt x="3621881" y="282416"/>
                    <a:pt x="3619976" y="295751"/>
                    <a:pt x="3617119" y="309086"/>
                  </a:cubicBezTo>
                  <a:cubicBezTo>
                    <a:pt x="3616166" y="312896"/>
                    <a:pt x="3615214" y="317659"/>
                    <a:pt x="3614261" y="322421"/>
                  </a:cubicBezTo>
                  <a:cubicBezTo>
                    <a:pt x="3613309" y="321469"/>
                    <a:pt x="3612356" y="320516"/>
                    <a:pt x="3611404" y="320516"/>
                  </a:cubicBezTo>
                  <a:cubicBezTo>
                    <a:pt x="3610451" y="312896"/>
                    <a:pt x="3610451" y="306229"/>
                    <a:pt x="3609499" y="298609"/>
                  </a:cubicBezTo>
                  <a:cubicBezTo>
                    <a:pt x="3609499" y="305276"/>
                    <a:pt x="3608546" y="311944"/>
                    <a:pt x="3608546" y="318611"/>
                  </a:cubicBezTo>
                  <a:cubicBezTo>
                    <a:pt x="3607594" y="318611"/>
                    <a:pt x="3606641" y="317659"/>
                    <a:pt x="3606641" y="317659"/>
                  </a:cubicBezTo>
                  <a:cubicBezTo>
                    <a:pt x="3607594" y="318611"/>
                    <a:pt x="3608546" y="318611"/>
                    <a:pt x="3608546" y="319564"/>
                  </a:cubicBezTo>
                  <a:cubicBezTo>
                    <a:pt x="3608546" y="320516"/>
                    <a:pt x="3608546" y="321469"/>
                    <a:pt x="3608546" y="322421"/>
                  </a:cubicBezTo>
                  <a:cubicBezTo>
                    <a:pt x="3606641" y="318611"/>
                    <a:pt x="3604736" y="315754"/>
                    <a:pt x="3602831" y="312896"/>
                  </a:cubicBezTo>
                  <a:cubicBezTo>
                    <a:pt x="3601879" y="310991"/>
                    <a:pt x="3601879" y="310039"/>
                    <a:pt x="3601879" y="310039"/>
                  </a:cubicBezTo>
                  <a:close/>
                  <a:moveTo>
                    <a:pt x="3600926" y="335756"/>
                  </a:moveTo>
                  <a:cubicBezTo>
                    <a:pt x="3601879" y="339566"/>
                    <a:pt x="3603784" y="342424"/>
                    <a:pt x="3604736" y="346234"/>
                  </a:cubicBezTo>
                  <a:cubicBezTo>
                    <a:pt x="3603784" y="348139"/>
                    <a:pt x="3602831" y="350044"/>
                    <a:pt x="3601879" y="351949"/>
                  </a:cubicBezTo>
                  <a:cubicBezTo>
                    <a:pt x="3601879" y="351949"/>
                    <a:pt x="3601879" y="352901"/>
                    <a:pt x="3600926" y="352901"/>
                  </a:cubicBezTo>
                  <a:cubicBezTo>
                    <a:pt x="3600926" y="350044"/>
                    <a:pt x="3599974" y="348139"/>
                    <a:pt x="3599974" y="345281"/>
                  </a:cubicBezTo>
                  <a:cubicBezTo>
                    <a:pt x="3599974" y="342424"/>
                    <a:pt x="3600926" y="338614"/>
                    <a:pt x="3600926" y="335756"/>
                  </a:cubicBezTo>
                  <a:close/>
                  <a:moveTo>
                    <a:pt x="3556159" y="342424"/>
                  </a:moveTo>
                  <a:cubicBezTo>
                    <a:pt x="3556159" y="335756"/>
                    <a:pt x="3557111" y="330041"/>
                    <a:pt x="3557111" y="324326"/>
                  </a:cubicBezTo>
                  <a:cubicBezTo>
                    <a:pt x="3557111" y="325279"/>
                    <a:pt x="3558064" y="327184"/>
                    <a:pt x="3558064" y="328136"/>
                  </a:cubicBezTo>
                  <a:cubicBezTo>
                    <a:pt x="3558064" y="330041"/>
                    <a:pt x="3559016" y="331946"/>
                    <a:pt x="3559016" y="333851"/>
                  </a:cubicBezTo>
                  <a:cubicBezTo>
                    <a:pt x="3559016" y="333851"/>
                    <a:pt x="3559016" y="334804"/>
                    <a:pt x="3559016" y="334804"/>
                  </a:cubicBezTo>
                  <a:cubicBezTo>
                    <a:pt x="3558064" y="337661"/>
                    <a:pt x="3557111" y="339566"/>
                    <a:pt x="3556159" y="342424"/>
                  </a:cubicBezTo>
                  <a:close/>
                  <a:moveTo>
                    <a:pt x="3559969" y="279559"/>
                  </a:moveTo>
                  <a:cubicBezTo>
                    <a:pt x="3559016" y="277654"/>
                    <a:pt x="3559016" y="276701"/>
                    <a:pt x="3559016" y="274796"/>
                  </a:cubicBezTo>
                  <a:cubicBezTo>
                    <a:pt x="3559969" y="275749"/>
                    <a:pt x="3560921" y="275749"/>
                    <a:pt x="3561874" y="276701"/>
                  </a:cubicBezTo>
                  <a:cubicBezTo>
                    <a:pt x="3563779" y="277654"/>
                    <a:pt x="3564731" y="278606"/>
                    <a:pt x="3566636" y="280511"/>
                  </a:cubicBezTo>
                  <a:cubicBezTo>
                    <a:pt x="3565684" y="282416"/>
                    <a:pt x="3563779" y="284321"/>
                    <a:pt x="3562826" y="287179"/>
                  </a:cubicBezTo>
                  <a:cubicBezTo>
                    <a:pt x="3561874" y="285274"/>
                    <a:pt x="3560921" y="282416"/>
                    <a:pt x="3559969" y="279559"/>
                  </a:cubicBezTo>
                  <a:close/>
                  <a:moveTo>
                    <a:pt x="3571399" y="287179"/>
                  </a:moveTo>
                  <a:cubicBezTo>
                    <a:pt x="3571399" y="294799"/>
                    <a:pt x="3571399" y="303371"/>
                    <a:pt x="3571399" y="311944"/>
                  </a:cubicBezTo>
                  <a:cubicBezTo>
                    <a:pt x="3570446" y="312896"/>
                    <a:pt x="3570446" y="313849"/>
                    <a:pt x="3569494" y="314801"/>
                  </a:cubicBezTo>
                  <a:cubicBezTo>
                    <a:pt x="3567589" y="307181"/>
                    <a:pt x="3565684" y="299561"/>
                    <a:pt x="3562826" y="292894"/>
                  </a:cubicBezTo>
                  <a:cubicBezTo>
                    <a:pt x="3563779" y="289084"/>
                    <a:pt x="3565684" y="285274"/>
                    <a:pt x="3566636" y="282416"/>
                  </a:cubicBezTo>
                  <a:cubicBezTo>
                    <a:pt x="3568541" y="283369"/>
                    <a:pt x="3570446" y="284321"/>
                    <a:pt x="3571399" y="287179"/>
                  </a:cubicBezTo>
                  <a:cubicBezTo>
                    <a:pt x="3571399" y="286226"/>
                    <a:pt x="3571399" y="286226"/>
                    <a:pt x="3571399" y="287179"/>
                  </a:cubicBezTo>
                  <a:close/>
                  <a:moveTo>
                    <a:pt x="3571399" y="281464"/>
                  </a:moveTo>
                  <a:cubicBezTo>
                    <a:pt x="3570446" y="280511"/>
                    <a:pt x="3569494" y="280511"/>
                    <a:pt x="3568541" y="279559"/>
                  </a:cubicBezTo>
                  <a:cubicBezTo>
                    <a:pt x="3568541" y="279559"/>
                    <a:pt x="3568541" y="279559"/>
                    <a:pt x="3568541" y="279559"/>
                  </a:cubicBezTo>
                  <a:cubicBezTo>
                    <a:pt x="3570446" y="276701"/>
                    <a:pt x="3571399" y="274796"/>
                    <a:pt x="3571399" y="273844"/>
                  </a:cubicBezTo>
                  <a:cubicBezTo>
                    <a:pt x="3571399" y="276701"/>
                    <a:pt x="3571399" y="279559"/>
                    <a:pt x="3571399" y="281464"/>
                  </a:cubicBezTo>
                  <a:close/>
                  <a:moveTo>
                    <a:pt x="3567589" y="250031"/>
                  </a:moveTo>
                  <a:cubicBezTo>
                    <a:pt x="3568541" y="254794"/>
                    <a:pt x="3569494" y="260509"/>
                    <a:pt x="3570446" y="265271"/>
                  </a:cubicBezTo>
                  <a:cubicBezTo>
                    <a:pt x="3570446" y="267176"/>
                    <a:pt x="3571399" y="270034"/>
                    <a:pt x="3571399" y="271939"/>
                  </a:cubicBezTo>
                  <a:cubicBezTo>
                    <a:pt x="3571399" y="271939"/>
                    <a:pt x="3571399" y="272891"/>
                    <a:pt x="3571399" y="272891"/>
                  </a:cubicBezTo>
                  <a:cubicBezTo>
                    <a:pt x="3571399" y="272891"/>
                    <a:pt x="3569494" y="274796"/>
                    <a:pt x="3567589" y="277654"/>
                  </a:cubicBezTo>
                  <a:cubicBezTo>
                    <a:pt x="3567589" y="277654"/>
                    <a:pt x="3567589" y="277654"/>
                    <a:pt x="3567589" y="277654"/>
                  </a:cubicBezTo>
                  <a:cubicBezTo>
                    <a:pt x="3565684" y="276701"/>
                    <a:pt x="3563779" y="274796"/>
                    <a:pt x="3561874" y="274796"/>
                  </a:cubicBezTo>
                  <a:cubicBezTo>
                    <a:pt x="3559969" y="273844"/>
                    <a:pt x="3559016" y="273844"/>
                    <a:pt x="3558064" y="272891"/>
                  </a:cubicBezTo>
                  <a:cubicBezTo>
                    <a:pt x="3557111" y="269081"/>
                    <a:pt x="3555206" y="264319"/>
                    <a:pt x="3554254" y="260509"/>
                  </a:cubicBezTo>
                  <a:cubicBezTo>
                    <a:pt x="3555206" y="259556"/>
                    <a:pt x="3555206" y="258604"/>
                    <a:pt x="3556159" y="257651"/>
                  </a:cubicBezTo>
                  <a:cubicBezTo>
                    <a:pt x="3559969" y="251936"/>
                    <a:pt x="3562826" y="247174"/>
                    <a:pt x="3566636" y="243364"/>
                  </a:cubicBezTo>
                  <a:cubicBezTo>
                    <a:pt x="3567589" y="246221"/>
                    <a:pt x="3567589" y="248126"/>
                    <a:pt x="3567589" y="250031"/>
                  </a:cubicBezTo>
                  <a:close/>
                  <a:moveTo>
                    <a:pt x="3561874" y="229076"/>
                  </a:moveTo>
                  <a:cubicBezTo>
                    <a:pt x="3561874" y="228124"/>
                    <a:pt x="3562826" y="228124"/>
                    <a:pt x="3562826" y="227171"/>
                  </a:cubicBezTo>
                  <a:cubicBezTo>
                    <a:pt x="3563779" y="230029"/>
                    <a:pt x="3563779" y="232886"/>
                    <a:pt x="3564731" y="235744"/>
                  </a:cubicBezTo>
                  <a:cubicBezTo>
                    <a:pt x="3564731" y="236696"/>
                    <a:pt x="3564731" y="237649"/>
                    <a:pt x="3565684" y="238601"/>
                  </a:cubicBezTo>
                  <a:cubicBezTo>
                    <a:pt x="3561874" y="241459"/>
                    <a:pt x="3557111" y="246221"/>
                    <a:pt x="3552349" y="251936"/>
                  </a:cubicBezTo>
                  <a:cubicBezTo>
                    <a:pt x="3552349" y="250031"/>
                    <a:pt x="3551396" y="248126"/>
                    <a:pt x="3551396" y="247174"/>
                  </a:cubicBezTo>
                  <a:cubicBezTo>
                    <a:pt x="3555206" y="241459"/>
                    <a:pt x="3558064" y="234791"/>
                    <a:pt x="3561874" y="229076"/>
                  </a:cubicBezTo>
                  <a:close/>
                  <a:moveTo>
                    <a:pt x="3551396" y="293846"/>
                  </a:moveTo>
                  <a:cubicBezTo>
                    <a:pt x="3552349" y="298609"/>
                    <a:pt x="3553301" y="303371"/>
                    <a:pt x="3554254" y="307181"/>
                  </a:cubicBezTo>
                  <a:cubicBezTo>
                    <a:pt x="3553301" y="311944"/>
                    <a:pt x="3551396" y="315754"/>
                    <a:pt x="3550444" y="321469"/>
                  </a:cubicBezTo>
                  <a:cubicBezTo>
                    <a:pt x="3549491" y="325279"/>
                    <a:pt x="3548539" y="329089"/>
                    <a:pt x="3547586" y="333851"/>
                  </a:cubicBezTo>
                  <a:cubicBezTo>
                    <a:pt x="3547586" y="332899"/>
                    <a:pt x="3546634" y="332899"/>
                    <a:pt x="3546634" y="331946"/>
                  </a:cubicBezTo>
                  <a:cubicBezTo>
                    <a:pt x="3545681" y="330041"/>
                    <a:pt x="3544729" y="329089"/>
                    <a:pt x="3543776" y="327184"/>
                  </a:cubicBezTo>
                  <a:cubicBezTo>
                    <a:pt x="3544729" y="319564"/>
                    <a:pt x="3544729" y="312896"/>
                    <a:pt x="3544729" y="306229"/>
                  </a:cubicBezTo>
                  <a:cubicBezTo>
                    <a:pt x="3545681" y="299561"/>
                    <a:pt x="3546634" y="292894"/>
                    <a:pt x="3547586" y="286226"/>
                  </a:cubicBezTo>
                  <a:cubicBezTo>
                    <a:pt x="3547586" y="283369"/>
                    <a:pt x="3548539" y="279559"/>
                    <a:pt x="3548539" y="276701"/>
                  </a:cubicBezTo>
                  <a:cubicBezTo>
                    <a:pt x="3548539" y="282416"/>
                    <a:pt x="3550444" y="288131"/>
                    <a:pt x="3551396" y="293846"/>
                  </a:cubicBezTo>
                  <a:close/>
                  <a:moveTo>
                    <a:pt x="3543776" y="191929"/>
                  </a:moveTo>
                  <a:cubicBezTo>
                    <a:pt x="3545681" y="187166"/>
                    <a:pt x="3547586" y="183356"/>
                    <a:pt x="3549491" y="180499"/>
                  </a:cubicBezTo>
                  <a:cubicBezTo>
                    <a:pt x="3549491" y="181451"/>
                    <a:pt x="3549491" y="183356"/>
                    <a:pt x="3548539" y="185261"/>
                  </a:cubicBezTo>
                  <a:cubicBezTo>
                    <a:pt x="3547586" y="192881"/>
                    <a:pt x="3546634" y="201454"/>
                    <a:pt x="3544729" y="211931"/>
                  </a:cubicBezTo>
                  <a:cubicBezTo>
                    <a:pt x="3544729" y="213836"/>
                    <a:pt x="3543776" y="215741"/>
                    <a:pt x="3543776" y="217646"/>
                  </a:cubicBezTo>
                  <a:cubicBezTo>
                    <a:pt x="3541871" y="210026"/>
                    <a:pt x="3539966" y="204311"/>
                    <a:pt x="3539014" y="200501"/>
                  </a:cubicBezTo>
                  <a:cubicBezTo>
                    <a:pt x="3540919" y="196691"/>
                    <a:pt x="3541871" y="194786"/>
                    <a:pt x="3543776" y="191929"/>
                  </a:cubicBezTo>
                  <a:close/>
                  <a:moveTo>
                    <a:pt x="3530441" y="217646"/>
                  </a:moveTo>
                  <a:cubicBezTo>
                    <a:pt x="3533299" y="211931"/>
                    <a:pt x="3536156" y="206216"/>
                    <a:pt x="3539014" y="201454"/>
                  </a:cubicBezTo>
                  <a:cubicBezTo>
                    <a:pt x="3539014" y="205264"/>
                    <a:pt x="3539966" y="210979"/>
                    <a:pt x="3540919" y="217646"/>
                  </a:cubicBezTo>
                  <a:cubicBezTo>
                    <a:pt x="3540919" y="221456"/>
                    <a:pt x="3541871" y="226219"/>
                    <a:pt x="3542824" y="231934"/>
                  </a:cubicBezTo>
                  <a:cubicBezTo>
                    <a:pt x="3541871" y="234791"/>
                    <a:pt x="3541871" y="237649"/>
                    <a:pt x="3540919" y="240506"/>
                  </a:cubicBezTo>
                  <a:cubicBezTo>
                    <a:pt x="3537109" y="246221"/>
                    <a:pt x="3532346" y="252889"/>
                    <a:pt x="3528536" y="259556"/>
                  </a:cubicBezTo>
                  <a:cubicBezTo>
                    <a:pt x="3528536" y="258604"/>
                    <a:pt x="3528536" y="257651"/>
                    <a:pt x="3528536" y="257651"/>
                  </a:cubicBezTo>
                  <a:cubicBezTo>
                    <a:pt x="3528536" y="251936"/>
                    <a:pt x="3528536" y="246221"/>
                    <a:pt x="3527584" y="240506"/>
                  </a:cubicBezTo>
                  <a:cubicBezTo>
                    <a:pt x="3527584" y="236696"/>
                    <a:pt x="3526631" y="232886"/>
                    <a:pt x="3526631" y="229076"/>
                  </a:cubicBezTo>
                  <a:cubicBezTo>
                    <a:pt x="3527584" y="224314"/>
                    <a:pt x="3528536" y="220504"/>
                    <a:pt x="3530441" y="217646"/>
                  </a:cubicBezTo>
                  <a:close/>
                  <a:moveTo>
                    <a:pt x="3490436" y="321469"/>
                  </a:moveTo>
                  <a:cubicBezTo>
                    <a:pt x="3490436" y="320516"/>
                    <a:pt x="3490436" y="318611"/>
                    <a:pt x="3490436" y="317659"/>
                  </a:cubicBezTo>
                  <a:cubicBezTo>
                    <a:pt x="3490436" y="318611"/>
                    <a:pt x="3491389" y="319564"/>
                    <a:pt x="3491389" y="319564"/>
                  </a:cubicBezTo>
                  <a:cubicBezTo>
                    <a:pt x="3491389" y="320516"/>
                    <a:pt x="3491389" y="320516"/>
                    <a:pt x="3490436" y="321469"/>
                  </a:cubicBezTo>
                  <a:close/>
                  <a:moveTo>
                    <a:pt x="3514249" y="250984"/>
                  </a:moveTo>
                  <a:cubicBezTo>
                    <a:pt x="3515201" y="249079"/>
                    <a:pt x="3516154" y="247174"/>
                    <a:pt x="3516154" y="246221"/>
                  </a:cubicBezTo>
                  <a:cubicBezTo>
                    <a:pt x="3516154" y="250031"/>
                    <a:pt x="3516154" y="253841"/>
                    <a:pt x="3515201" y="257651"/>
                  </a:cubicBezTo>
                  <a:cubicBezTo>
                    <a:pt x="3515201" y="261461"/>
                    <a:pt x="3514249" y="266224"/>
                    <a:pt x="3514249" y="270986"/>
                  </a:cubicBezTo>
                  <a:cubicBezTo>
                    <a:pt x="3513296" y="267176"/>
                    <a:pt x="3511391" y="263366"/>
                    <a:pt x="3509486" y="259556"/>
                  </a:cubicBezTo>
                  <a:cubicBezTo>
                    <a:pt x="3512344" y="255746"/>
                    <a:pt x="3513296" y="252889"/>
                    <a:pt x="3514249" y="250984"/>
                  </a:cubicBezTo>
                  <a:close/>
                  <a:moveTo>
                    <a:pt x="3504724" y="271939"/>
                  </a:moveTo>
                  <a:cubicBezTo>
                    <a:pt x="3504724" y="272891"/>
                    <a:pt x="3505676" y="273844"/>
                    <a:pt x="3505676" y="274796"/>
                  </a:cubicBezTo>
                  <a:cubicBezTo>
                    <a:pt x="3506629" y="279559"/>
                    <a:pt x="3508534" y="283369"/>
                    <a:pt x="3509486" y="288131"/>
                  </a:cubicBezTo>
                  <a:cubicBezTo>
                    <a:pt x="3508534" y="290036"/>
                    <a:pt x="3507581" y="291941"/>
                    <a:pt x="3505676" y="293846"/>
                  </a:cubicBezTo>
                  <a:cubicBezTo>
                    <a:pt x="3505676" y="290036"/>
                    <a:pt x="3504724" y="286226"/>
                    <a:pt x="3504724" y="282416"/>
                  </a:cubicBezTo>
                  <a:cubicBezTo>
                    <a:pt x="3504724" y="279559"/>
                    <a:pt x="3504724" y="275749"/>
                    <a:pt x="3504724" y="271939"/>
                  </a:cubicBezTo>
                  <a:cubicBezTo>
                    <a:pt x="3504724" y="272891"/>
                    <a:pt x="3504724" y="272891"/>
                    <a:pt x="3504724" y="271939"/>
                  </a:cubicBezTo>
                  <a:close/>
                  <a:moveTo>
                    <a:pt x="3501866" y="398621"/>
                  </a:moveTo>
                  <a:cubicBezTo>
                    <a:pt x="3499961" y="389096"/>
                    <a:pt x="3497104" y="380524"/>
                    <a:pt x="3495199" y="371951"/>
                  </a:cubicBezTo>
                  <a:cubicBezTo>
                    <a:pt x="3495199" y="370999"/>
                    <a:pt x="3494246" y="370046"/>
                    <a:pt x="3494246" y="369094"/>
                  </a:cubicBezTo>
                  <a:cubicBezTo>
                    <a:pt x="3496151" y="365284"/>
                    <a:pt x="3498056" y="361474"/>
                    <a:pt x="3499961" y="357664"/>
                  </a:cubicBezTo>
                  <a:cubicBezTo>
                    <a:pt x="3500914" y="370999"/>
                    <a:pt x="3500914" y="384334"/>
                    <a:pt x="3501866" y="398621"/>
                  </a:cubicBezTo>
                  <a:close/>
                  <a:moveTo>
                    <a:pt x="3496151" y="290036"/>
                  </a:moveTo>
                  <a:cubicBezTo>
                    <a:pt x="3497104" y="288131"/>
                    <a:pt x="3498056" y="286226"/>
                    <a:pt x="3499009" y="284321"/>
                  </a:cubicBezTo>
                  <a:cubicBezTo>
                    <a:pt x="3499009" y="288131"/>
                    <a:pt x="3499009" y="291941"/>
                    <a:pt x="3499009" y="295751"/>
                  </a:cubicBezTo>
                  <a:cubicBezTo>
                    <a:pt x="3498056" y="293846"/>
                    <a:pt x="3497104" y="291941"/>
                    <a:pt x="3496151" y="290036"/>
                  </a:cubicBezTo>
                  <a:close/>
                  <a:moveTo>
                    <a:pt x="3496151" y="252889"/>
                  </a:moveTo>
                  <a:cubicBezTo>
                    <a:pt x="3496151" y="250984"/>
                    <a:pt x="3496151" y="249079"/>
                    <a:pt x="3496151" y="247174"/>
                  </a:cubicBezTo>
                  <a:cubicBezTo>
                    <a:pt x="3497104" y="250031"/>
                    <a:pt x="3498056" y="252889"/>
                    <a:pt x="3499009" y="254794"/>
                  </a:cubicBezTo>
                  <a:cubicBezTo>
                    <a:pt x="3498056" y="256699"/>
                    <a:pt x="3496151" y="258604"/>
                    <a:pt x="3495199" y="261461"/>
                  </a:cubicBezTo>
                  <a:cubicBezTo>
                    <a:pt x="3495199" y="258604"/>
                    <a:pt x="3496151" y="255746"/>
                    <a:pt x="3496151" y="252889"/>
                  </a:cubicBezTo>
                  <a:close/>
                  <a:moveTo>
                    <a:pt x="3481864" y="205264"/>
                  </a:moveTo>
                  <a:cubicBezTo>
                    <a:pt x="3484721" y="212884"/>
                    <a:pt x="3488531" y="220504"/>
                    <a:pt x="3491389" y="230029"/>
                  </a:cubicBezTo>
                  <a:cubicBezTo>
                    <a:pt x="3492341" y="233839"/>
                    <a:pt x="3494246" y="238601"/>
                    <a:pt x="3495199" y="243364"/>
                  </a:cubicBezTo>
                  <a:cubicBezTo>
                    <a:pt x="3494246" y="245269"/>
                    <a:pt x="3493294" y="248126"/>
                    <a:pt x="3492341" y="251936"/>
                  </a:cubicBezTo>
                  <a:cubicBezTo>
                    <a:pt x="3491389" y="256699"/>
                    <a:pt x="3489484" y="261461"/>
                    <a:pt x="3487579" y="268129"/>
                  </a:cubicBezTo>
                  <a:cubicBezTo>
                    <a:pt x="3487579" y="269081"/>
                    <a:pt x="3487579" y="269081"/>
                    <a:pt x="3486626" y="270034"/>
                  </a:cubicBezTo>
                  <a:cubicBezTo>
                    <a:pt x="3484721" y="265271"/>
                    <a:pt x="3481864" y="260509"/>
                    <a:pt x="3479959" y="255746"/>
                  </a:cubicBezTo>
                  <a:cubicBezTo>
                    <a:pt x="3479959" y="245269"/>
                    <a:pt x="3479959" y="235744"/>
                    <a:pt x="3479959" y="228124"/>
                  </a:cubicBezTo>
                  <a:cubicBezTo>
                    <a:pt x="3479959" y="221456"/>
                    <a:pt x="3479959" y="216694"/>
                    <a:pt x="3479959" y="213836"/>
                  </a:cubicBezTo>
                  <a:cubicBezTo>
                    <a:pt x="3480911" y="211931"/>
                    <a:pt x="3480911" y="208121"/>
                    <a:pt x="3481864" y="205264"/>
                  </a:cubicBezTo>
                  <a:close/>
                  <a:moveTo>
                    <a:pt x="3473291" y="241459"/>
                  </a:moveTo>
                  <a:cubicBezTo>
                    <a:pt x="3474244" y="239554"/>
                    <a:pt x="3474244" y="236696"/>
                    <a:pt x="3475196" y="234791"/>
                  </a:cubicBezTo>
                  <a:cubicBezTo>
                    <a:pt x="3474244" y="236696"/>
                    <a:pt x="3474244" y="239554"/>
                    <a:pt x="3473291" y="241459"/>
                  </a:cubicBezTo>
                  <a:cubicBezTo>
                    <a:pt x="3473291" y="242411"/>
                    <a:pt x="3473291" y="241459"/>
                    <a:pt x="3473291" y="241459"/>
                  </a:cubicBezTo>
                  <a:cubicBezTo>
                    <a:pt x="3473291" y="241459"/>
                    <a:pt x="3473291" y="241459"/>
                    <a:pt x="3473291" y="241459"/>
                  </a:cubicBezTo>
                  <a:close/>
                  <a:moveTo>
                    <a:pt x="3468529" y="260509"/>
                  </a:moveTo>
                  <a:cubicBezTo>
                    <a:pt x="3468529" y="261461"/>
                    <a:pt x="3469481" y="262414"/>
                    <a:pt x="3469481" y="263366"/>
                  </a:cubicBezTo>
                  <a:cubicBezTo>
                    <a:pt x="3469481" y="266224"/>
                    <a:pt x="3468529" y="268129"/>
                    <a:pt x="3468529" y="270986"/>
                  </a:cubicBezTo>
                  <a:cubicBezTo>
                    <a:pt x="3467576" y="279559"/>
                    <a:pt x="3466624" y="290036"/>
                    <a:pt x="3465671" y="300514"/>
                  </a:cubicBezTo>
                  <a:cubicBezTo>
                    <a:pt x="3464719" y="306229"/>
                    <a:pt x="3464719" y="311944"/>
                    <a:pt x="3464719" y="318611"/>
                  </a:cubicBezTo>
                  <a:cubicBezTo>
                    <a:pt x="3464719" y="319564"/>
                    <a:pt x="3463766" y="320516"/>
                    <a:pt x="3463766" y="321469"/>
                  </a:cubicBezTo>
                  <a:cubicBezTo>
                    <a:pt x="3462814" y="316706"/>
                    <a:pt x="3460909" y="311944"/>
                    <a:pt x="3459956" y="307181"/>
                  </a:cubicBezTo>
                  <a:cubicBezTo>
                    <a:pt x="3459956" y="307181"/>
                    <a:pt x="3459956" y="306229"/>
                    <a:pt x="3459956" y="306229"/>
                  </a:cubicBezTo>
                  <a:cubicBezTo>
                    <a:pt x="3459956" y="304324"/>
                    <a:pt x="3460909" y="302419"/>
                    <a:pt x="3460909" y="300514"/>
                  </a:cubicBezTo>
                  <a:cubicBezTo>
                    <a:pt x="3463766" y="287179"/>
                    <a:pt x="3466624" y="273844"/>
                    <a:pt x="3468529" y="260509"/>
                  </a:cubicBezTo>
                  <a:close/>
                  <a:moveTo>
                    <a:pt x="3451384" y="237649"/>
                  </a:moveTo>
                  <a:cubicBezTo>
                    <a:pt x="3451384" y="231934"/>
                    <a:pt x="3451384" y="227171"/>
                    <a:pt x="3451384" y="221456"/>
                  </a:cubicBezTo>
                  <a:cubicBezTo>
                    <a:pt x="3451384" y="221456"/>
                    <a:pt x="3451384" y="221456"/>
                    <a:pt x="3451384" y="222409"/>
                  </a:cubicBezTo>
                  <a:cubicBezTo>
                    <a:pt x="3453289" y="227171"/>
                    <a:pt x="3456146" y="231934"/>
                    <a:pt x="3458051" y="237649"/>
                  </a:cubicBezTo>
                  <a:cubicBezTo>
                    <a:pt x="3458051" y="237649"/>
                    <a:pt x="3458051" y="238601"/>
                    <a:pt x="3458051" y="238601"/>
                  </a:cubicBezTo>
                  <a:cubicBezTo>
                    <a:pt x="3455194" y="248126"/>
                    <a:pt x="3452336" y="257651"/>
                    <a:pt x="3450431" y="267176"/>
                  </a:cubicBezTo>
                  <a:cubicBezTo>
                    <a:pt x="3450431" y="267176"/>
                    <a:pt x="3450431" y="267176"/>
                    <a:pt x="3450431" y="267176"/>
                  </a:cubicBezTo>
                  <a:cubicBezTo>
                    <a:pt x="3451384" y="256699"/>
                    <a:pt x="3451384" y="247174"/>
                    <a:pt x="3451384" y="237649"/>
                  </a:cubicBezTo>
                  <a:close/>
                  <a:moveTo>
                    <a:pt x="3405664" y="273844"/>
                  </a:moveTo>
                  <a:cubicBezTo>
                    <a:pt x="3406616" y="268129"/>
                    <a:pt x="3406616" y="263366"/>
                    <a:pt x="3406616" y="258604"/>
                  </a:cubicBezTo>
                  <a:cubicBezTo>
                    <a:pt x="3406616" y="253841"/>
                    <a:pt x="3406616" y="249079"/>
                    <a:pt x="3406616" y="245269"/>
                  </a:cubicBezTo>
                  <a:cubicBezTo>
                    <a:pt x="3406616" y="247174"/>
                    <a:pt x="3407569" y="251936"/>
                    <a:pt x="3409474" y="259556"/>
                  </a:cubicBezTo>
                  <a:cubicBezTo>
                    <a:pt x="3409474" y="264319"/>
                    <a:pt x="3407569" y="269081"/>
                    <a:pt x="3405664" y="273844"/>
                  </a:cubicBezTo>
                  <a:close/>
                  <a:moveTo>
                    <a:pt x="3416141" y="335756"/>
                  </a:moveTo>
                  <a:cubicBezTo>
                    <a:pt x="3416141" y="341471"/>
                    <a:pt x="3416141" y="347186"/>
                    <a:pt x="3416141" y="353854"/>
                  </a:cubicBezTo>
                  <a:cubicBezTo>
                    <a:pt x="3416141" y="351949"/>
                    <a:pt x="3415189" y="350044"/>
                    <a:pt x="3415189" y="348139"/>
                  </a:cubicBezTo>
                  <a:cubicBezTo>
                    <a:pt x="3414236" y="340519"/>
                    <a:pt x="3414236" y="333851"/>
                    <a:pt x="3413284" y="328136"/>
                  </a:cubicBezTo>
                  <a:cubicBezTo>
                    <a:pt x="3413284" y="328136"/>
                    <a:pt x="3413284" y="328136"/>
                    <a:pt x="3413284" y="328136"/>
                  </a:cubicBezTo>
                  <a:cubicBezTo>
                    <a:pt x="3414236" y="325279"/>
                    <a:pt x="3415189" y="323374"/>
                    <a:pt x="3417094" y="320516"/>
                  </a:cubicBezTo>
                  <a:cubicBezTo>
                    <a:pt x="3417094" y="324326"/>
                    <a:pt x="3417094" y="329089"/>
                    <a:pt x="3416141" y="335756"/>
                  </a:cubicBezTo>
                  <a:close/>
                  <a:moveTo>
                    <a:pt x="3421856" y="320516"/>
                  </a:moveTo>
                  <a:cubicBezTo>
                    <a:pt x="3420904" y="324326"/>
                    <a:pt x="3420904" y="329089"/>
                    <a:pt x="3419951" y="332899"/>
                  </a:cubicBezTo>
                  <a:cubicBezTo>
                    <a:pt x="3418999" y="326231"/>
                    <a:pt x="3418999" y="320516"/>
                    <a:pt x="3418046" y="316706"/>
                  </a:cubicBezTo>
                  <a:cubicBezTo>
                    <a:pt x="3418999" y="314801"/>
                    <a:pt x="3419951" y="312896"/>
                    <a:pt x="3420904" y="310991"/>
                  </a:cubicBezTo>
                  <a:cubicBezTo>
                    <a:pt x="3420904" y="310039"/>
                    <a:pt x="3421856" y="309086"/>
                    <a:pt x="3421856" y="308134"/>
                  </a:cubicBezTo>
                  <a:cubicBezTo>
                    <a:pt x="3421856" y="310039"/>
                    <a:pt x="3422809" y="310991"/>
                    <a:pt x="3422809" y="312896"/>
                  </a:cubicBezTo>
                  <a:cubicBezTo>
                    <a:pt x="3422809" y="314801"/>
                    <a:pt x="3422809" y="317659"/>
                    <a:pt x="3421856" y="320516"/>
                  </a:cubicBezTo>
                  <a:close/>
                  <a:moveTo>
                    <a:pt x="3410426" y="139541"/>
                  </a:moveTo>
                  <a:cubicBezTo>
                    <a:pt x="3413284" y="145256"/>
                    <a:pt x="3417094" y="151924"/>
                    <a:pt x="3421856" y="161449"/>
                  </a:cubicBezTo>
                  <a:cubicBezTo>
                    <a:pt x="3424714" y="167164"/>
                    <a:pt x="3428524" y="173831"/>
                    <a:pt x="3433286" y="181451"/>
                  </a:cubicBezTo>
                  <a:cubicBezTo>
                    <a:pt x="3431381" y="187166"/>
                    <a:pt x="3430429" y="192881"/>
                    <a:pt x="3428524" y="198596"/>
                  </a:cubicBezTo>
                  <a:cubicBezTo>
                    <a:pt x="3427571" y="202406"/>
                    <a:pt x="3426619" y="206216"/>
                    <a:pt x="3425666" y="210026"/>
                  </a:cubicBezTo>
                  <a:cubicBezTo>
                    <a:pt x="3424714" y="205264"/>
                    <a:pt x="3423761" y="200501"/>
                    <a:pt x="3422809" y="195739"/>
                  </a:cubicBezTo>
                  <a:cubicBezTo>
                    <a:pt x="3419951" y="183356"/>
                    <a:pt x="3417094" y="171926"/>
                    <a:pt x="3415189" y="163354"/>
                  </a:cubicBezTo>
                  <a:cubicBezTo>
                    <a:pt x="3413284" y="154781"/>
                    <a:pt x="3411379" y="148114"/>
                    <a:pt x="3410426" y="143351"/>
                  </a:cubicBezTo>
                  <a:cubicBezTo>
                    <a:pt x="3409474" y="141446"/>
                    <a:pt x="3410426" y="140494"/>
                    <a:pt x="3410426" y="139541"/>
                  </a:cubicBezTo>
                  <a:close/>
                  <a:moveTo>
                    <a:pt x="3408521" y="136684"/>
                  </a:moveTo>
                  <a:cubicBezTo>
                    <a:pt x="3408521" y="136684"/>
                    <a:pt x="3408521" y="136684"/>
                    <a:pt x="3408521" y="136684"/>
                  </a:cubicBezTo>
                  <a:cubicBezTo>
                    <a:pt x="3408521" y="136684"/>
                    <a:pt x="3408521" y="136684"/>
                    <a:pt x="3408521" y="136684"/>
                  </a:cubicBezTo>
                  <a:cubicBezTo>
                    <a:pt x="3408521" y="136684"/>
                    <a:pt x="3408521" y="136684"/>
                    <a:pt x="3408521" y="136684"/>
                  </a:cubicBezTo>
                  <a:close/>
                  <a:moveTo>
                    <a:pt x="3395186" y="266224"/>
                  </a:moveTo>
                  <a:cubicBezTo>
                    <a:pt x="3396139" y="251936"/>
                    <a:pt x="3396139" y="239554"/>
                    <a:pt x="3396139" y="227171"/>
                  </a:cubicBezTo>
                  <a:cubicBezTo>
                    <a:pt x="3396139" y="222409"/>
                    <a:pt x="3396139" y="217646"/>
                    <a:pt x="3396139" y="212884"/>
                  </a:cubicBezTo>
                  <a:cubicBezTo>
                    <a:pt x="3397091" y="210026"/>
                    <a:pt x="3398044" y="207169"/>
                    <a:pt x="3398996" y="204311"/>
                  </a:cubicBezTo>
                  <a:cubicBezTo>
                    <a:pt x="3398044" y="206216"/>
                    <a:pt x="3397091" y="208121"/>
                    <a:pt x="3396139" y="210026"/>
                  </a:cubicBezTo>
                  <a:cubicBezTo>
                    <a:pt x="3396139" y="207169"/>
                    <a:pt x="3396139" y="204311"/>
                    <a:pt x="3396139" y="202406"/>
                  </a:cubicBezTo>
                  <a:cubicBezTo>
                    <a:pt x="3397091" y="199549"/>
                    <a:pt x="3397091" y="197644"/>
                    <a:pt x="3398044" y="194786"/>
                  </a:cubicBezTo>
                  <a:cubicBezTo>
                    <a:pt x="3401854" y="178594"/>
                    <a:pt x="3405664" y="162401"/>
                    <a:pt x="3408521" y="145256"/>
                  </a:cubicBezTo>
                  <a:cubicBezTo>
                    <a:pt x="3408521" y="150019"/>
                    <a:pt x="3409474" y="155734"/>
                    <a:pt x="3410426" y="162401"/>
                  </a:cubicBezTo>
                  <a:cubicBezTo>
                    <a:pt x="3411379" y="171926"/>
                    <a:pt x="3412331" y="182404"/>
                    <a:pt x="3414236" y="195739"/>
                  </a:cubicBezTo>
                  <a:cubicBezTo>
                    <a:pt x="3415189" y="202406"/>
                    <a:pt x="3416141" y="209074"/>
                    <a:pt x="3417094" y="215741"/>
                  </a:cubicBezTo>
                  <a:cubicBezTo>
                    <a:pt x="3418046" y="220504"/>
                    <a:pt x="3418999" y="224314"/>
                    <a:pt x="3419951" y="229076"/>
                  </a:cubicBezTo>
                  <a:cubicBezTo>
                    <a:pt x="3418999" y="230981"/>
                    <a:pt x="3418999" y="232886"/>
                    <a:pt x="3418046" y="233839"/>
                  </a:cubicBezTo>
                  <a:cubicBezTo>
                    <a:pt x="3416141" y="240506"/>
                    <a:pt x="3414236" y="247174"/>
                    <a:pt x="3411379" y="253841"/>
                  </a:cubicBezTo>
                  <a:cubicBezTo>
                    <a:pt x="3408521" y="248126"/>
                    <a:pt x="3407569" y="245269"/>
                    <a:pt x="3407569" y="244316"/>
                  </a:cubicBezTo>
                  <a:cubicBezTo>
                    <a:pt x="3407569" y="242411"/>
                    <a:pt x="3407569" y="241459"/>
                    <a:pt x="3407569" y="239554"/>
                  </a:cubicBezTo>
                  <a:cubicBezTo>
                    <a:pt x="3407569" y="230029"/>
                    <a:pt x="3407569" y="224314"/>
                    <a:pt x="3407569" y="224314"/>
                  </a:cubicBezTo>
                  <a:cubicBezTo>
                    <a:pt x="3407569" y="224314"/>
                    <a:pt x="3405664" y="230029"/>
                    <a:pt x="3403759" y="239554"/>
                  </a:cubicBezTo>
                  <a:cubicBezTo>
                    <a:pt x="3402806" y="244316"/>
                    <a:pt x="3400901" y="250031"/>
                    <a:pt x="3399949" y="256699"/>
                  </a:cubicBezTo>
                  <a:cubicBezTo>
                    <a:pt x="3398996" y="262414"/>
                    <a:pt x="3397091" y="269081"/>
                    <a:pt x="3395186" y="275749"/>
                  </a:cubicBezTo>
                  <a:cubicBezTo>
                    <a:pt x="3395186" y="273844"/>
                    <a:pt x="3395186" y="270034"/>
                    <a:pt x="3395186" y="266224"/>
                  </a:cubicBezTo>
                  <a:close/>
                  <a:moveTo>
                    <a:pt x="3363754" y="252889"/>
                  </a:moveTo>
                  <a:cubicBezTo>
                    <a:pt x="3364706" y="256699"/>
                    <a:pt x="3365659" y="260509"/>
                    <a:pt x="3365659" y="264319"/>
                  </a:cubicBezTo>
                  <a:cubicBezTo>
                    <a:pt x="3364706" y="266224"/>
                    <a:pt x="3363754" y="267176"/>
                    <a:pt x="3363754" y="269081"/>
                  </a:cubicBezTo>
                  <a:cubicBezTo>
                    <a:pt x="3363754" y="262414"/>
                    <a:pt x="3363754" y="257651"/>
                    <a:pt x="3363754" y="252889"/>
                  </a:cubicBezTo>
                  <a:close/>
                  <a:moveTo>
                    <a:pt x="3321844" y="351949"/>
                  </a:moveTo>
                  <a:cubicBezTo>
                    <a:pt x="3321844" y="349091"/>
                    <a:pt x="3322796" y="345281"/>
                    <a:pt x="3322796" y="342424"/>
                  </a:cubicBezTo>
                  <a:cubicBezTo>
                    <a:pt x="3322796" y="344329"/>
                    <a:pt x="3323749" y="346234"/>
                    <a:pt x="3323749" y="347186"/>
                  </a:cubicBezTo>
                  <a:cubicBezTo>
                    <a:pt x="3323749" y="349091"/>
                    <a:pt x="3322796" y="350044"/>
                    <a:pt x="3321844" y="351949"/>
                  </a:cubicBezTo>
                  <a:close/>
                  <a:moveTo>
                    <a:pt x="3340894" y="273844"/>
                  </a:moveTo>
                  <a:cubicBezTo>
                    <a:pt x="3342799" y="282416"/>
                    <a:pt x="3345656" y="290036"/>
                    <a:pt x="3347561" y="298609"/>
                  </a:cubicBezTo>
                  <a:cubicBezTo>
                    <a:pt x="3346609" y="300514"/>
                    <a:pt x="3345656" y="302419"/>
                    <a:pt x="3344704" y="304324"/>
                  </a:cubicBezTo>
                  <a:cubicBezTo>
                    <a:pt x="3342799" y="299561"/>
                    <a:pt x="3340894" y="295751"/>
                    <a:pt x="3338989" y="290989"/>
                  </a:cubicBezTo>
                  <a:cubicBezTo>
                    <a:pt x="3338036" y="276701"/>
                    <a:pt x="3336131" y="263366"/>
                    <a:pt x="3335179" y="251936"/>
                  </a:cubicBezTo>
                  <a:cubicBezTo>
                    <a:pt x="3337084" y="259556"/>
                    <a:pt x="3338989" y="266224"/>
                    <a:pt x="3340894" y="273844"/>
                  </a:cubicBezTo>
                  <a:close/>
                  <a:moveTo>
                    <a:pt x="3330416" y="376714"/>
                  </a:moveTo>
                  <a:cubicBezTo>
                    <a:pt x="3330416" y="377666"/>
                    <a:pt x="3330416" y="378619"/>
                    <a:pt x="3331369" y="379571"/>
                  </a:cubicBezTo>
                  <a:cubicBezTo>
                    <a:pt x="3330416" y="380524"/>
                    <a:pt x="3330416" y="382429"/>
                    <a:pt x="3329464" y="384334"/>
                  </a:cubicBezTo>
                  <a:cubicBezTo>
                    <a:pt x="3329464" y="383381"/>
                    <a:pt x="3328511" y="382429"/>
                    <a:pt x="3328511" y="381476"/>
                  </a:cubicBezTo>
                  <a:cubicBezTo>
                    <a:pt x="3328511" y="379571"/>
                    <a:pt x="3329464" y="378619"/>
                    <a:pt x="3330416" y="376714"/>
                  </a:cubicBezTo>
                  <a:close/>
                  <a:moveTo>
                    <a:pt x="3329464" y="202406"/>
                  </a:moveTo>
                  <a:cubicBezTo>
                    <a:pt x="3329464" y="203359"/>
                    <a:pt x="3329464" y="205264"/>
                    <a:pt x="3329464" y="207169"/>
                  </a:cubicBezTo>
                  <a:cubicBezTo>
                    <a:pt x="3329464" y="206216"/>
                    <a:pt x="3329464" y="206216"/>
                    <a:pt x="3328511" y="205264"/>
                  </a:cubicBezTo>
                  <a:cubicBezTo>
                    <a:pt x="3329464" y="204311"/>
                    <a:pt x="3329464" y="203359"/>
                    <a:pt x="3329464" y="202406"/>
                  </a:cubicBezTo>
                  <a:close/>
                  <a:moveTo>
                    <a:pt x="3326606" y="302419"/>
                  </a:moveTo>
                  <a:cubicBezTo>
                    <a:pt x="3327559" y="305276"/>
                    <a:pt x="3328511" y="307181"/>
                    <a:pt x="3329464" y="310039"/>
                  </a:cubicBezTo>
                  <a:cubicBezTo>
                    <a:pt x="3329464" y="310991"/>
                    <a:pt x="3329464" y="310991"/>
                    <a:pt x="3329464" y="311944"/>
                  </a:cubicBezTo>
                  <a:cubicBezTo>
                    <a:pt x="3328511" y="310039"/>
                    <a:pt x="3327559" y="308134"/>
                    <a:pt x="3326606" y="306229"/>
                  </a:cubicBezTo>
                  <a:cubicBezTo>
                    <a:pt x="3326606" y="304324"/>
                    <a:pt x="3326606" y="303371"/>
                    <a:pt x="3326606" y="302419"/>
                  </a:cubicBezTo>
                  <a:close/>
                  <a:moveTo>
                    <a:pt x="3323749" y="227171"/>
                  </a:moveTo>
                  <a:cubicBezTo>
                    <a:pt x="3324701" y="224314"/>
                    <a:pt x="3324701" y="221456"/>
                    <a:pt x="3325654" y="219551"/>
                  </a:cubicBezTo>
                  <a:cubicBezTo>
                    <a:pt x="3325654" y="220504"/>
                    <a:pt x="3325654" y="220504"/>
                    <a:pt x="3325654" y="221456"/>
                  </a:cubicBezTo>
                  <a:cubicBezTo>
                    <a:pt x="3322796" y="232886"/>
                    <a:pt x="3320891" y="244316"/>
                    <a:pt x="3318034" y="256699"/>
                  </a:cubicBezTo>
                  <a:cubicBezTo>
                    <a:pt x="3318034" y="256699"/>
                    <a:pt x="3318034" y="255746"/>
                    <a:pt x="3317081" y="255746"/>
                  </a:cubicBezTo>
                  <a:cubicBezTo>
                    <a:pt x="3319939" y="245269"/>
                    <a:pt x="3321844" y="235744"/>
                    <a:pt x="3323749" y="227171"/>
                  </a:cubicBezTo>
                  <a:close/>
                  <a:moveTo>
                    <a:pt x="3315176" y="269081"/>
                  </a:moveTo>
                  <a:cubicBezTo>
                    <a:pt x="3315176" y="270034"/>
                    <a:pt x="3316129" y="270986"/>
                    <a:pt x="3316129" y="270986"/>
                  </a:cubicBezTo>
                  <a:cubicBezTo>
                    <a:pt x="3315176" y="274796"/>
                    <a:pt x="3315176" y="278606"/>
                    <a:pt x="3314224" y="282416"/>
                  </a:cubicBezTo>
                  <a:cubicBezTo>
                    <a:pt x="3314224" y="281464"/>
                    <a:pt x="3313271" y="280511"/>
                    <a:pt x="3313271" y="280511"/>
                  </a:cubicBezTo>
                  <a:cubicBezTo>
                    <a:pt x="3313271" y="276701"/>
                    <a:pt x="3314224" y="272891"/>
                    <a:pt x="3315176" y="269081"/>
                  </a:cubicBezTo>
                  <a:close/>
                  <a:moveTo>
                    <a:pt x="3305651" y="310991"/>
                  </a:moveTo>
                  <a:cubicBezTo>
                    <a:pt x="3306604" y="307181"/>
                    <a:pt x="3307556" y="302419"/>
                    <a:pt x="3308509" y="298609"/>
                  </a:cubicBezTo>
                  <a:cubicBezTo>
                    <a:pt x="3309461" y="299561"/>
                    <a:pt x="3309461" y="301466"/>
                    <a:pt x="3310414" y="302419"/>
                  </a:cubicBezTo>
                  <a:cubicBezTo>
                    <a:pt x="3309461" y="308134"/>
                    <a:pt x="3308509" y="314801"/>
                    <a:pt x="3307556" y="320516"/>
                  </a:cubicBezTo>
                  <a:cubicBezTo>
                    <a:pt x="3306604" y="318611"/>
                    <a:pt x="3305651" y="315754"/>
                    <a:pt x="3304699" y="313849"/>
                  </a:cubicBezTo>
                  <a:cubicBezTo>
                    <a:pt x="3305651" y="313849"/>
                    <a:pt x="3305651" y="312896"/>
                    <a:pt x="3305651" y="310991"/>
                  </a:cubicBezTo>
                  <a:close/>
                  <a:moveTo>
                    <a:pt x="3302794" y="327184"/>
                  </a:moveTo>
                  <a:cubicBezTo>
                    <a:pt x="3303746" y="330041"/>
                    <a:pt x="3303746" y="332899"/>
                    <a:pt x="3304699" y="335756"/>
                  </a:cubicBezTo>
                  <a:cubicBezTo>
                    <a:pt x="3303746" y="339566"/>
                    <a:pt x="3302794" y="344329"/>
                    <a:pt x="3300889" y="349091"/>
                  </a:cubicBezTo>
                  <a:cubicBezTo>
                    <a:pt x="3299936" y="350996"/>
                    <a:pt x="3299936" y="353854"/>
                    <a:pt x="3298984" y="355759"/>
                  </a:cubicBezTo>
                  <a:cubicBezTo>
                    <a:pt x="3298031" y="354806"/>
                    <a:pt x="3298031" y="352901"/>
                    <a:pt x="3297079" y="351949"/>
                  </a:cubicBezTo>
                  <a:cubicBezTo>
                    <a:pt x="3298984" y="343376"/>
                    <a:pt x="3300889" y="334804"/>
                    <a:pt x="3302794" y="327184"/>
                  </a:cubicBezTo>
                  <a:close/>
                  <a:moveTo>
                    <a:pt x="3279934" y="297656"/>
                  </a:moveTo>
                  <a:cubicBezTo>
                    <a:pt x="3279934" y="294799"/>
                    <a:pt x="3279934" y="291941"/>
                    <a:pt x="3280886" y="289084"/>
                  </a:cubicBezTo>
                  <a:cubicBezTo>
                    <a:pt x="3281839" y="280511"/>
                    <a:pt x="3282791" y="271939"/>
                    <a:pt x="3283744" y="263366"/>
                  </a:cubicBezTo>
                  <a:cubicBezTo>
                    <a:pt x="3283744" y="259556"/>
                    <a:pt x="3284696" y="255746"/>
                    <a:pt x="3284696" y="252889"/>
                  </a:cubicBezTo>
                  <a:cubicBezTo>
                    <a:pt x="3287554" y="258604"/>
                    <a:pt x="3290411" y="264319"/>
                    <a:pt x="3293269" y="270034"/>
                  </a:cubicBezTo>
                  <a:cubicBezTo>
                    <a:pt x="3292316" y="272891"/>
                    <a:pt x="3292316" y="274796"/>
                    <a:pt x="3291364" y="277654"/>
                  </a:cubicBezTo>
                  <a:cubicBezTo>
                    <a:pt x="3291364" y="279559"/>
                    <a:pt x="3290411" y="281464"/>
                    <a:pt x="3290411" y="283369"/>
                  </a:cubicBezTo>
                  <a:cubicBezTo>
                    <a:pt x="3289459" y="271939"/>
                    <a:pt x="3289459" y="264319"/>
                    <a:pt x="3289459" y="264319"/>
                  </a:cubicBezTo>
                  <a:cubicBezTo>
                    <a:pt x="3289459" y="264319"/>
                    <a:pt x="3285649" y="285274"/>
                    <a:pt x="3281839" y="317659"/>
                  </a:cubicBezTo>
                  <a:cubicBezTo>
                    <a:pt x="3281839" y="317659"/>
                    <a:pt x="3280886" y="317659"/>
                    <a:pt x="3280886" y="317659"/>
                  </a:cubicBezTo>
                  <a:cubicBezTo>
                    <a:pt x="3280886" y="317659"/>
                    <a:pt x="3280886" y="316706"/>
                    <a:pt x="3280886" y="316706"/>
                  </a:cubicBezTo>
                  <a:cubicBezTo>
                    <a:pt x="3280886" y="316706"/>
                    <a:pt x="3280886" y="315754"/>
                    <a:pt x="3279934" y="315754"/>
                  </a:cubicBezTo>
                  <a:cubicBezTo>
                    <a:pt x="3279934" y="314801"/>
                    <a:pt x="3278981" y="314801"/>
                    <a:pt x="3278981" y="313849"/>
                  </a:cubicBezTo>
                  <a:cubicBezTo>
                    <a:pt x="3278981" y="308134"/>
                    <a:pt x="3279934" y="302419"/>
                    <a:pt x="3279934" y="297656"/>
                  </a:cubicBezTo>
                  <a:close/>
                  <a:moveTo>
                    <a:pt x="3263741" y="295751"/>
                  </a:moveTo>
                  <a:cubicBezTo>
                    <a:pt x="3263741" y="294799"/>
                    <a:pt x="3263741" y="293846"/>
                    <a:pt x="3263741" y="293846"/>
                  </a:cubicBezTo>
                  <a:cubicBezTo>
                    <a:pt x="3263741" y="293846"/>
                    <a:pt x="3263741" y="294799"/>
                    <a:pt x="3263741" y="295751"/>
                  </a:cubicBezTo>
                  <a:cubicBezTo>
                    <a:pt x="3264694" y="295751"/>
                    <a:pt x="3264694" y="295751"/>
                    <a:pt x="3264694" y="296704"/>
                  </a:cubicBezTo>
                  <a:cubicBezTo>
                    <a:pt x="3263741" y="299561"/>
                    <a:pt x="3262789" y="303371"/>
                    <a:pt x="3262789" y="306229"/>
                  </a:cubicBezTo>
                  <a:cubicBezTo>
                    <a:pt x="3262789" y="302419"/>
                    <a:pt x="3263741" y="298609"/>
                    <a:pt x="3263741" y="295751"/>
                  </a:cubicBezTo>
                  <a:close/>
                  <a:moveTo>
                    <a:pt x="3232309" y="381476"/>
                  </a:moveTo>
                  <a:cubicBezTo>
                    <a:pt x="3232309" y="372904"/>
                    <a:pt x="3232309" y="365284"/>
                    <a:pt x="3232309" y="357664"/>
                  </a:cubicBezTo>
                  <a:cubicBezTo>
                    <a:pt x="3232309" y="357664"/>
                    <a:pt x="3232309" y="358616"/>
                    <a:pt x="3232309" y="358616"/>
                  </a:cubicBezTo>
                  <a:cubicBezTo>
                    <a:pt x="3232309" y="359569"/>
                    <a:pt x="3232309" y="360521"/>
                    <a:pt x="3233261" y="360521"/>
                  </a:cubicBezTo>
                  <a:cubicBezTo>
                    <a:pt x="3233261" y="367189"/>
                    <a:pt x="3233261" y="373856"/>
                    <a:pt x="3232309" y="381476"/>
                  </a:cubicBezTo>
                  <a:close/>
                  <a:moveTo>
                    <a:pt x="3239929" y="327184"/>
                  </a:moveTo>
                  <a:cubicBezTo>
                    <a:pt x="3240881" y="330994"/>
                    <a:pt x="3240881" y="335756"/>
                    <a:pt x="3241834" y="339566"/>
                  </a:cubicBezTo>
                  <a:cubicBezTo>
                    <a:pt x="3240881" y="337661"/>
                    <a:pt x="3239929" y="335756"/>
                    <a:pt x="3239929" y="333851"/>
                  </a:cubicBezTo>
                  <a:cubicBezTo>
                    <a:pt x="3239929" y="331946"/>
                    <a:pt x="3239929" y="330994"/>
                    <a:pt x="3239929" y="329089"/>
                  </a:cubicBezTo>
                  <a:cubicBezTo>
                    <a:pt x="3238976" y="328136"/>
                    <a:pt x="3239929" y="328136"/>
                    <a:pt x="3239929" y="327184"/>
                  </a:cubicBezTo>
                  <a:close/>
                  <a:moveTo>
                    <a:pt x="3234214" y="318611"/>
                  </a:moveTo>
                  <a:cubicBezTo>
                    <a:pt x="3235166" y="315754"/>
                    <a:pt x="3236119" y="312896"/>
                    <a:pt x="3237071" y="310039"/>
                  </a:cubicBezTo>
                  <a:cubicBezTo>
                    <a:pt x="3237071" y="311944"/>
                    <a:pt x="3238024" y="313849"/>
                    <a:pt x="3238024" y="314801"/>
                  </a:cubicBezTo>
                  <a:cubicBezTo>
                    <a:pt x="3238024" y="315754"/>
                    <a:pt x="3238024" y="315754"/>
                    <a:pt x="3238024" y="316706"/>
                  </a:cubicBezTo>
                  <a:cubicBezTo>
                    <a:pt x="3238024" y="316706"/>
                    <a:pt x="3238024" y="317659"/>
                    <a:pt x="3237071" y="317659"/>
                  </a:cubicBezTo>
                  <a:cubicBezTo>
                    <a:pt x="3237071" y="314801"/>
                    <a:pt x="3236119" y="311944"/>
                    <a:pt x="3237071" y="311944"/>
                  </a:cubicBezTo>
                  <a:cubicBezTo>
                    <a:pt x="3238024" y="311944"/>
                    <a:pt x="3237071" y="314801"/>
                    <a:pt x="3236119" y="319564"/>
                  </a:cubicBezTo>
                  <a:cubicBezTo>
                    <a:pt x="3235166" y="320516"/>
                    <a:pt x="3235166" y="321469"/>
                    <a:pt x="3234214" y="322421"/>
                  </a:cubicBezTo>
                  <a:cubicBezTo>
                    <a:pt x="3234214" y="321469"/>
                    <a:pt x="3233261" y="320516"/>
                    <a:pt x="3233261" y="319564"/>
                  </a:cubicBezTo>
                  <a:cubicBezTo>
                    <a:pt x="3234214" y="319564"/>
                    <a:pt x="3234214" y="319564"/>
                    <a:pt x="3234214" y="318611"/>
                  </a:cubicBezTo>
                  <a:close/>
                  <a:moveTo>
                    <a:pt x="3233261" y="286226"/>
                  </a:moveTo>
                  <a:cubicBezTo>
                    <a:pt x="3233261" y="287179"/>
                    <a:pt x="3233261" y="287179"/>
                    <a:pt x="3233261" y="288131"/>
                  </a:cubicBezTo>
                  <a:cubicBezTo>
                    <a:pt x="3233261" y="289084"/>
                    <a:pt x="3232309" y="289084"/>
                    <a:pt x="3232309" y="290036"/>
                  </a:cubicBezTo>
                  <a:cubicBezTo>
                    <a:pt x="3232309" y="287179"/>
                    <a:pt x="3232309" y="285274"/>
                    <a:pt x="3232309" y="282416"/>
                  </a:cubicBezTo>
                  <a:cubicBezTo>
                    <a:pt x="3232309" y="284321"/>
                    <a:pt x="3233261" y="285274"/>
                    <a:pt x="3233261" y="286226"/>
                  </a:cubicBezTo>
                  <a:close/>
                  <a:moveTo>
                    <a:pt x="3222784" y="285274"/>
                  </a:moveTo>
                  <a:cubicBezTo>
                    <a:pt x="3222784" y="281464"/>
                    <a:pt x="3222784" y="277654"/>
                    <a:pt x="3223736" y="273844"/>
                  </a:cubicBezTo>
                  <a:cubicBezTo>
                    <a:pt x="3224689" y="271939"/>
                    <a:pt x="3224689" y="270034"/>
                    <a:pt x="3224689" y="270034"/>
                  </a:cubicBezTo>
                  <a:cubicBezTo>
                    <a:pt x="3224689" y="270034"/>
                    <a:pt x="3224689" y="270034"/>
                    <a:pt x="3224689" y="270986"/>
                  </a:cubicBezTo>
                  <a:cubicBezTo>
                    <a:pt x="3225641" y="265271"/>
                    <a:pt x="3226594" y="259556"/>
                    <a:pt x="3227546" y="253841"/>
                  </a:cubicBezTo>
                  <a:cubicBezTo>
                    <a:pt x="3227546" y="253841"/>
                    <a:pt x="3227546" y="253841"/>
                    <a:pt x="3227546" y="253841"/>
                  </a:cubicBezTo>
                  <a:cubicBezTo>
                    <a:pt x="3226594" y="264319"/>
                    <a:pt x="3225641" y="277654"/>
                    <a:pt x="3223736" y="292894"/>
                  </a:cubicBezTo>
                  <a:cubicBezTo>
                    <a:pt x="3223736" y="292894"/>
                    <a:pt x="3223736" y="291941"/>
                    <a:pt x="3222784" y="291941"/>
                  </a:cubicBezTo>
                  <a:cubicBezTo>
                    <a:pt x="3222784" y="291941"/>
                    <a:pt x="3222784" y="291941"/>
                    <a:pt x="3222784" y="290989"/>
                  </a:cubicBezTo>
                  <a:cubicBezTo>
                    <a:pt x="3221831" y="289084"/>
                    <a:pt x="3221831" y="287179"/>
                    <a:pt x="3222784" y="285274"/>
                  </a:cubicBezTo>
                  <a:close/>
                  <a:moveTo>
                    <a:pt x="3217069" y="207169"/>
                  </a:moveTo>
                  <a:cubicBezTo>
                    <a:pt x="3218021" y="210979"/>
                    <a:pt x="3218974" y="214789"/>
                    <a:pt x="3219926" y="219551"/>
                  </a:cubicBezTo>
                  <a:cubicBezTo>
                    <a:pt x="3218021" y="225266"/>
                    <a:pt x="3217069" y="231934"/>
                    <a:pt x="3215164" y="238601"/>
                  </a:cubicBezTo>
                  <a:cubicBezTo>
                    <a:pt x="3215164" y="226219"/>
                    <a:pt x="3217069" y="215741"/>
                    <a:pt x="3217069" y="207169"/>
                  </a:cubicBezTo>
                  <a:close/>
                  <a:moveTo>
                    <a:pt x="3191351" y="249079"/>
                  </a:moveTo>
                  <a:cubicBezTo>
                    <a:pt x="3191351" y="242411"/>
                    <a:pt x="3192304" y="236696"/>
                    <a:pt x="3192304" y="232886"/>
                  </a:cubicBezTo>
                  <a:cubicBezTo>
                    <a:pt x="3193256" y="234791"/>
                    <a:pt x="3193256" y="235744"/>
                    <a:pt x="3194209" y="238601"/>
                  </a:cubicBezTo>
                  <a:cubicBezTo>
                    <a:pt x="3193256" y="247174"/>
                    <a:pt x="3192304" y="255746"/>
                    <a:pt x="3191351" y="265271"/>
                  </a:cubicBezTo>
                  <a:cubicBezTo>
                    <a:pt x="3191351" y="258604"/>
                    <a:pt x="3191351" y="253841"/>
                    <a:pt x="3191351" y="249079"/>
                  </a:cubicBezTo>
                  <a:close/>
                  <a:moveTo>
                    <a:pt x="3155156" y="313849"/>
                  </a:moveTo>
                  <a:cubicBezTo>
                    <a:pt x="3155156" y="315754"/>
                    <a:pt x="3156109" y="317659"/>
                    <a:pt x="3156109" y="320516"/>
                  </a:cubicBezTo>
                  <a:cubicBezTo>
                    <a:pt x="3156109" y="325279"/>
                    <a:pt x="3157061" y="330041"/>
                    <a:pt x="3158014" y="334804"/>
                  </a:cubicBezTo>
                  <a:cubicBezTo>
                    <a:pt x="3157061" y="341471"/>
                    <a:pt x="3155156" y="348139"/>
                    <a:pt x="3154204" y="354806"/>
                  </a:cubicBezTo>
                  <a:cubicBezTo>
                    <a:pt x="3153251" y="353854"/>
                    <a:pt x="3153251" y="352901"/>
                    <a:pt x="3152299" y="351949"/>
                  </a:cubicBezTo>
                  <a:cubicBezTo>
                    <a:pt x="3152299" y="350996"/>
                    <a:pt x="3152299" y="350044"/>
                    <a:pt x="3152299" y="350044"/>
                  </a:cubicBezTo>
                  <a:cubicBezTo>
                    <a:pt x="3152299" y="348139"/>
                    <a:pt x="3151346" y="347186"/>
                    <a:pt x="3151346" y="345281"/>
                  </a:cubicBezTo>
                  <a:cubicBezTo>
                    <a:pt x="3151346" y="345281"/>
                    <a:pt x="3151346" y="344329"/>
                    <a:pt x="3151346" y="344329"/>
                  </a:cubicBezTo>
                  <a:lnTo>
                    <a:pt x="3151346" y="338614"/>
                  </a:lnTo>
                  <a:cubicBezTo>
                    <a:pt x="3151346" y="329089"/>
                    <a:pt x="3153251" y="321469"/>
                    <a:pt x="3155156" y="313849"/>
                  </a:cubicBezTo>
                  <a:close/>
                  <a:moveTo>
                    <a:pt x="3139916" y="213836"/>
                  </a:moveTo>
                  <a:cubicBezTo>
                    <a:pt x="3140869" y="220504"/>
                    <a:pt x="3142774" y="228124"/>
                    <a:pt x="3143726" y="235744"/>
                  </a:cubicBezTo>
                  <a:cubicBezTo>
                    <a:pt x="3145631" y="246221"/>
                    <a:pt x="3147536" y="256699"/>
                    <a:pt x="3148489" y="267176"/>
                  </a:cubicBezTo>
                  <a:cubicBezTo>
                    <a:pt x="3146584" y="272891"/>
                    <a:pt x="3145631" y="278606"/>
                    <a:pt x="3143726" y="284321"/>
                  </a:cubicBezTo>
                  <a:cubicBezTo>
                    <a:pt x="3140869" y="251936"/>
                    <a:pt x="3138964" y="228124"/>
                    <a:pt x="3137059" y="216694"/>
                  </a:cubicBezTo>
                  <a:cubicBezTo>
                    <a:pt x="3138011" y="215741"/>
                    <a:pt x="3138964" y="214789"/>
                    <a:pt x="3139916" y="213836"/>
                  </a:cubicBezTo>
                  <a:close/>
                  <a:moveTo>
                    <a:pt x="3130391" y="337661"/>
                  </a:moveTo>
                  <a:cubicBezTo>
                    <a:pt x="3130391" y="336709"/>
                    <a:pt x="3130391" y="336709"/>
                    <a:pt x="3130391" y="335756"/>
                  </a:cubicBezTo>
                  <a:cubicBezTo>
                    <a:pt x="3130391" y="335756"/>
                    <a:pt x="3130391" y="335756"/>
                    <a:pt x="3130391" y="335756"/>
                  </a:cubicBezTo>
                  <a:cubicBezTo>
                    <a:pt x="3130391" y="336709"/>
                    <a:pt x="3130391" y="336709"/>
                    <a:pt x="3130391" y="337661"/>
                  </a:cubicBezTo>
                  <a:close/>
                  <a:moveTo>
                    <a:pt x="3130391" y="328136"/>
                  </a:moveTo>
                  <a:cubicBezTo>
                    <a:pt x="3130391" y="328136"/>
                    <a:pt x="3130391" y="327184"/>
                    <a:pt x="3130391" y="328136"/>
                  </a:cubicBezTo>
                  <a:cubicBezTo>
                    <a:pt x="3130391" y="327184"/>
                    <a:pt x="3130391" y="328136"/>
                    <a:pt x="3130391" y="328136"/>
                  </a:cubicBezTo>
                  <a:cubicBezTo>
                    <a:pt x="3130391" y="328136"/>
                    <a:pt x="3130391" y="328136"/>
                    <a:pt x="3130391" y="328136"/>
                  </a:cubicBezTo>
                  <a:close/>
                  <a:moveTo>
                    <a:pt x="3133249" y="276701"/>
                  </a:moveTo>
                  <a:cubicBezTo>
                    <a:pt x="3133249" y="276701"/>
                    <a:pt x="3133249" y="275749"/>
                    <a:pt x="3133249" y="276701"/>
                  </a:cubicBezTo>
                  <a:cubicBezTo>
                    <a:pt x="3131344" y="270034"/>
                    <a:pt x="3129439" y="264319"/>
                    <a:pt x="3128486" y="259556"/>
                  </a:cubicBezTo>
                  <a:cubicBezTo>
                    <a:pt x="3128486" y="254794"/>
                    <a:pt x="3128486" y="250031"/>
                    <a:pt x="3127534" y="246221"/>
                  </a:cubicBezTo>
                  <a:cubicBezTo>
                    <a:pt x="3131344" y="235744"/>
                    <a:pt x="3134201" y="228124"/>
                    <a:pt x="3135154" y="223361"/>
                  </a:cubicBezTo>
                  <a:cubicBezTo>
                    <a:pt x="3135154" y="235744"/>
                    <a:pt x="3134201" y="253841"/>
                    <a:pt x="3133249" y="276701"/>
                  </a:cubicBezTo>
                  <a:close/>
                  <a:moveTo>
                    <a:pt x="3130391" y="229076"/>
                  </a:moveTo>
                  <a:cubicBezTo>
                    <a:pt x="3132296" y="225266"/>
                    <a:pt x="3134201" y="222409"/>
                    <a:pt x="3136106" y="219551"/>
                  </a:cubicBezTo>
                  <a:cubicBezTo>
                    <a:pt x="3136106" y="220504"/>
                    <a:pt x="3136106" y="220504"/>
                    <a:pt x="3136106" y="221456"/>
                  </a:cubicBezTo>
                  <a:cubicBezTo>
                    <a:pt x="3134201" y="224314"/>
                    <a:pt x="3131344" y="229076"/>
                    <a:pt x="3127534" y="236696"/>
                  </a:cubicBezTo>
                  <a:cubicBezTo>
                    <a:pt x="3127534" y="235744"/>
                    <a:pt x="3127534" y="235744"/>
                    <a:pt x="3127534" y="234791"/>
                  </a:cubicBezTo>
                  <a:cubicBezTo>
                    <a:pt x="3128486" y="232886"/>
                    <a:pt x="3129439" y="230981"/>
                    <a:pt x="3130391" y="229076"/>
                  </a:cubicBezTo>
                  <a:close/>
                  <a:moveTo>
                    <a:pt x="3114199" y="290036"/>
                  </a:moveTo>
                  <a:cubicBezTo>
                    <a:pt x="3114199" y="289084"/>
                    <a:pt x="3113246" y="288131"/>
                    <a:pt x="3113246" y="287179"/>
                  </a:cubicBezTo>
                  <a:cubicBezTo>
                    <a:pt x="3113246" y="287179"/>
                    <a:pt x="3113246" y="287179"/>
                    <a:pt x="3113246" y="286226"/>
                  </a:cubicBezTo>
                  <a:cubicBezTo>
                    <a:pt x="3114199" y="284321"/>
                    <a:pt x="3114199" y="283369"/>
                    <a:pt x="3115151" y="281464"/>
                  </a:cubicBezTo>
                  <a:cubicBezTo>
                    <a:pt x="3114199" y="284321"/>
                    <a:pt x="3114199" y="287179"/>
                    <a:pt x="3114199" y="290036"/>
                  </a:cubicBezTo>
                  <a:close/>
                  <a:moveTo>
                    <a:pt x="3115151" y="257651"/>
                  </a:moveTo>
                  <a:cubicBezTo>
                    <a:pt x="3115151" y="256699"/>
                    <a:pt x="3116104" y="256699"/>
                    <a:pt x="3116104" y="255746"/>
                  </a:cubicBezTo>
                  <a:cubicBezTo>
                    <a:pt x="3116104" y="256699"/>
                    <a:pt x="3116104" y="257651"/>
                    <a:pt x="3115151" y="257651"/>
                  </a:cubicBezTo>
                  <a:cubicBezTo>
                    <a:pt x="3114199" y="261461"/>
                    <a:pt x="3111341" y="265271"/>
                    <a:pt x="3109436" y="270034"/>
                  </a:cubicBezTo>
                  <a:cubicBezTo>
                    <a:pt x="3111341" y="266224"/>
                    <a:pt x="3113246" y="261461"/>
                    <a:pt x="3115151" y="257651"/>
                  </a:cubicBezTo>
                  <a:close/>
                  <a:moveTo>
                    <a:pt x="3110389" y="292894"/>
                  </a:moveTo>
                  <a:cubicBezTo>
                    <a:pt x="3111341" y="297656"/>
                    <a:pt x="3112294" y="302419"/>
                    <a:pt x="3113246" y="309086"/>
                  </a:cubicBezTo>
                  <a:cubicBezTo>
                    <a:pt x="3113246" y="310039"/>
                    <a:pt x="3113246" y="310991"/>
                    <a:pt x="3114199" y="311944"/>
                  </a:cubicBezTo>
                  <a:cubicBezTo>
                    <a:pt x="3114199" y="314801"/>
                    <a:pt x="3114199" y="317659"/>
                    <a:pt x="3114199" y="321469"/>
                  </a:cubicBezTo>
                  <a:cubicBezTo>
                    <a:pt x="3114199" y="321469"/>
                    <a:pt x="3114199" y="320516"/>
                    <a:pt x="3114199" y="319564"/>
                  </a:cubicBezTo>
                  <a:cubicBezTo>
                    <a:pt x="3113246" y="315754"/>
                    <a:pt x="3112294" y="312896"/>
                    <a:pt x="3110389" y="309086"/>
                  </a:cubicBezTo>
                  <a:cubicBezTo>
                    <a:pt x="3110389" y="306229"/>
                    <a:pt x="3109436" y="303371"/>
                    <a:pt x="3109436" y="300514"/>
                  </a:cubicBezTo>
                  <a:cubicBezTo>
                    <a:pt x="3109436" y="300514"/>
                    <a:pt x="3109436" y="299561"/>
                    <a:pt x="3109436" y="299561"/>
                  </a:cubicBezTo>
                  <a:cubicBezTo>
                    <a:pt x="3108484" y="297656"/>
                    <a:pt x="3109436" y="295751"/>
                    <a:pt x="3110389" y="292894"/>
                  </a:cubicBezTo>
                  <a:close/>
                  <a:moveTo>
                    <a:pt x="3098006" y="350996"/>
                  </a:moveTo>
                  <a:cubicBezTo>
                    <a:pt x="3098006" y="350996"/>
                    <a:pt x="3098006" y="350996"/>
                    <a:pt x="3098006" y="350996"/>
                  </a:cubicBezTo>
                  <a:cubicBezTo>
                    <a:pt x="3098006" y="351949"/>
                    <a:pt x="3098006" y="352901"/>
                    <a:pt x="3098006" y="353854"/>
                  </a:cubicBezTo>
                  <a:cubicBezTo>
                    <a:pt x="3098006" y="353854"/>
                    <a:pt x="3098006" y="353854"/>
                    <a:pt x="3097054" y="354806"/>
                  </a:cubicBezTo>
                  <a:cubicBezTo>
                    <a:pt x="3097054" y="353854"/>
                    <a:pt x="3098006" y="351949"/>
                    <a:pt x="3098006" y="350996"/>
                  </a:cubicBezTo>
                  <a:close/>
                  <a:moveTo>
                    <a:pt x="3093244" y="377666"/>
                  </a:moveTo>
                  <a:cubicBezTo>
                    <a:pt x="3095149" y="372904"/>
                    <a:pt x="3097054" y="370046"/>
                    <a:pt x="3097054" y="370046"/>
                  </a:cubicBezTo>
                  <a:cubicBezTo>
                    <a:pt x="3097054" y="370046"/>
                    <a:pt x="3096101" y="371951"/>
                    <a:pt x="3094196" y="373856"/>
                  </a:cubicBezTo>
                  <a:cubicBezTo>
                    <a:pt x="3095149" y="368141"/>
                    <a:pt x="3096101" y="361474"/>
                    <a:pt x="3097054" y="355759"/>
                  </a:cubicBezTo>
                  <a:cubicBezTo>
                    <a:pt x="3097054" y="354806"/>
                    <a:pt x="3098006" y="354806"/>
                    <a:pt x="3098006" y="353854"/>
                  </a:cubicBezTo>
                  <a:cubicBezTo>
                    <a:pt x="3098006" y="359569"/>
                    <a:pt x="3098006" y="366236"/>
                    <a:pt x="3098006" y="371951"/>
                  </a:cubicBezTo>
                  <a:cubicBezTo>
                    <a:pt x="3098006" y="375761"/>
                    <a:pt x="3098006" y="379571"/>
                    <a:pt x="3098006" y="383381"/>
                  </a:cubicBezTo>
                  <a:lnTo>
                    <a:pt x="3095149" y="383381"/>
                  </a:lnTo>
                  <a:cubicBezTo>
                    <a:pt x="3095149" y="383381"/>
                    <a:pt x="3095149" y="383381"/>
                    <a:pt x="3095149" y="383381"/>
                  </a:cubicBezTo>
                  <a:cubicBezTo>
                    <a:pt x="3094196" y="381476"/>
                    <a:pt x="3094196" y="379571"/>
                    <a:pt x="3093244" y="378619"/>
                  </a:cubicBezTo>
                  <a:cubicBezTo>
                    <a:pt x="3093244" y="379571"/>
                    <a:pt x="3093244" y="378619"/>
                    <a:pt x="3093244" y="377666"/>
                  </a:cubicBezTo>
                  <a:close/>
                  <a:moveTo>
                    <a:pt x="3084671" y="293846"/>
                  </a:moveTo>
                  <a:cubicBezTo>
                    <a:pt x="3084671" y="288131"/>
                    <a:pt x="3085624" y="282416"/>
                    <a:pt x="3085624" y="276701"/>
                  </a:cubicBezTo>
                  <a:cubicBezTo>
                    <a:pt x="3085624" y="277654"/>
                    <a:pt x="3085624" y="277654"/>
                    <a:pt x="3085624" y="278606"/>
                  </a:cubicBezTo>
                  <a:cubicBezTo>
                    <a:pt x="3086576" y="281464"/>
                    <a:pt x="3087529" y="285274"/>
                    <a:pt x="3088481" y="289084"/>
                  </a:cubicBezTo>
                  <a:cubicBezTo>
                    <a:pt x="3087529" y="290036"/>
                    <a:pt x="3087529" y="290989"/>
                    <a:pt x="3086576" y="291941"/>
                  </a:cubicBezTo>
                  <a:cubicBezTo>
                    <a:pt x="3085624" y="292894"/>
                    <a:pt x="3084671" y="294799"/>
                    <a:pt x="3084671" y="296704"/>
                  </a:cubicBezTo>
                  <a:cubicBezTo>
                    <a:pt x="3084671" y="294799"/>
                    <a:pt x="3084671" y="294799"/>
                    <a:pt x="3084671" y="293846"/>
                  </a:cubicBezTo>
                  <a:close/>
                  <a:moveTo>
                    <a:pt x="3086576" y="348139"/>
                  </a:moveTo>
                  <a:cubicBezTo>
                    <a:pt x="3086576" y="349091"/>
                    <a:pt x="3086576" y="349091"/>
                    <a:pt x="3086576" y="350044"/>
                  </a:cubicBezTo>
                  <a:cubicBezTo>
                    <a:pt x="3085624" y="353854"/>
                    <a:pt x="3084671" y="357664"/>
                    <a:pt x="3083719" y="361474"/>
                  </a:cubicBezTo>
                  <a:cubicBezTo>
                    <a:pt x="3083719" y="360521"/>
                    <a:pt x="3083719" y="358616"/>
                    <a:pt x="3083719" y="357664"/>
                  </a:cubicBezTo>
                  <a:cubicBezTo>
                    <a:pt x="3084671" y="353854"/>
                    <a:pt x="3085624" y="350996"/>
                    <a:pt x="3086576" y="348139"/>
                  </a:cubicBezTo>
                  <a:close/>
                  <a:moveTo>
                    <a:pt x="3057049" y="235744"/>
                  </a:moveTo>
                  <a:cubicBezTo>
                    <a:pt x="3058001" y="227171"/>
                    <a:pt x="3058954" y="218599"/>
                    <a:pt x="3059906" y="210979"/>
                  </a:cubicBezTo>
                  <a:cubicBezTo>
                    <a:pt x="3060859" y="204311"/>
                    <a:pt x="3061811" y="197644"/>
                    <a:pt x="3062764" y="191929"/>
                  </a:cubicBezTo>
                  <a:cubicBezTo>
                    <a:pt x="3063716" y="195739"/>
                    <a:pt x="3065621" y="201454"/>
                    <a:pt x="3067526" y="209074"/>
                  </a:cubicBezTo>
                  <a:cubicBezTo>
                    <a:pt x="3067526" y="213836"/>
                    <a:pt x="3066574" y="217646"/>
                    <a:pt x="3066574" y="222409"/>
                  </a:cubicBezTo>
                  <a:cubicBezTo>
                    <a:pt x="3065621" y="231934"/>
                    <a:pt x="3064669" y="242411"/>
                    <a:pt x="3063716" y="253841"/>
                  </a:cubicBezTo>
                  <a:cubicBezTo>
                    <a:pt x="3062764" y="258604"/>
                    <a:pt x="3060859" y="263366"/>
                    <a:pt x="3059906" y="268129"/>
                  </a:cubicBezTo>
                  <a:cubicBezTo>
                    <a:pt x="3058954" y="262414"/>
                    <a:pt x="3058001" y="257651"/>
                    <a:pt x="3057049" y="252889"/>
                  </a:cubicBezTo>
                  <a:cubicBezTo>
                    <a:pt x="3057049" y="250984"/>
                    <a:pt x="3056096" y="250031"/>
                    <a:pt x="3056096" y="248126"/>
                  </a:cubicBezTo>
                  <a:cubicBezTo>
                    <a:pt x="3056096" y="244316"/>
                    <a:pt x="3056096" y="239554"/>
                    <a:pt x="3057049" y="235744"/>
                  </a:cubicBezTo>
                  <a:close/>
                  <a:moveTo>
                    <a:pt x="3002756" y="307181"/>
                  </a:moveTo>
                  <a:cubicBezTo>
                    <a:pt x="3002756" y="308134"/>
                    <a:pt x="3001804" y="309086"/>
                    <a:pt x="3001804" y="310039"/>
                  </a:cubicBezTo>
                  <a:cubicBezTo>
                    <a:pt x="3001804" y="308134"/>
                    <a:pt x="3002756" y="307181"/>
                    <a:pt x="3002756" y="305276"/>
                  </a:cubicBezTo>
                  <a:cubicBezTo>
                    <a:pt x="3004661" y="298609"/>
                    <a:pt x="3005614" y="292894"/>
                    <a:pt x="3006566" y="286226"/>
                  </a:cubicBezTo>
                  <a:cubicBezTo>
                    <a:pt x="3007519" y="287179"/>
                    <a:pt x="3007519" y="289084"/>
                    <a:pt x="3008471" y="290036"/>
                  </a:cubicBezTo>
                  <a:cubicBezTo>
                    <a:pt x="3006566" y="295751"/>
                    <a:pt x="3004661" y="301466"/>
                    <a:pt x="3002756" y="307181"/>
                  </a:cubicBezTo>
                  <a:close/>
                  <a:moveTo>
                    <a:pt x="3036094" y="249079"/>
                  </a:moveTo>
                  <a:cubicBezTo>
                    <a:pt x="3036094" y="254794"/>
                    <a:pt x="3036094" y="260509"/>
                    <a:pt x="3036094" y="266224"/>
                  </a:cubicBezTo>
                  <a:cubicBezTo>
                    <a:pt x="3035141" y="263366"/>
                    <a:pt x="3034189" y="260509"/>
                    <a:pt x="3033236" y="258604"/>
                  </a:cubicBezTo>
                  <a:cubicBezTo>
                    <a:pt x="3034189" y="255746"/>
                    <a:pt x="3035141" y="252889"/>
                    <a:pt x="3036094" y="249079"/>
                  </a:cubicBezTo>
                  <a:close/>
                  <a:moveTo>
                    <a:pt x="3030379" y="269081"/>
                  </a:moveTo>
                  <a:cubicBezTo>
                    <a:pt x="3030379" y="269081"/>
                    <a:pt x="3030379" y="270034"/>
                    <a:pt x="3030379" y="269081"/>
                  </a:cubicBezTo>
                  <a:cubicBezTo>
                    <a:pt x="3030379" y="270034"/>
                    <a:pt x="3030379" y="270034"/>
                    <a:pt x="3030379" y="269081"/>
                  </a:cubicBezTo>
                  <a:cubicBezTo>
                    <a:pt x="3030379" y="269081"/>
                    <a:pt x="3030379" y="269081"/>
                    <a:pt x="3030379" y="269081"/>
                  </a:cubicBezTo>
                  <a:close/>
                  <a:moveTo>
                    <a:pt x="3027521" y="353854"/>
                  </a:moveTo>
                  <a:cubicBezTo>
                    <a:pt x="3026569" y="356711"/>
                    <a:pt x="3024664" y="360521"/>
                    <a:pt x="3023711" y="364331"/>
                  </a:cubicBezTo>
                  <a:cubicBezTo>
                    <a:pt x="3021806" y="370046"/>
                    <a:pt x="3019901" y="376714"/>
                    <a:pt x="3017996" y="383381"/>
                  </a:cubicBezTo>
                  <a:cubicBezTo>
                    <a:pt x="3017996" y="384334"/>
                    <a:pt x="3017044" y="384334"/>
                    <a:pt x="3017044" y="385286"/>
                  </a:cubicBezTo>
                  <a:cubicBezTo>
                    <a:pt x="3016091" y="382429"/>
                    <a:pt x="3015139" y="379571"/>
                    <a:pt x="3015139" y="376714"/>
                  </a:cubicBezTo>
                  <a:cubicBezTo>
                    <a:pt x="3017044" y="372904"/>
                    <a:pt x="3018949" y="370046"/>
                    <a:pt x="3020854" y="366236"/>
                  </a:cubicBezTo>
                  <a:cubicBezTo>
                    <a:pt x="3023711" y="361474"/>
                    <a:pt x="3025616" y="357664"/>
                    <a:pt x="3028474" y="352901"/>
                  </a:cubicBezTo>
                  <a:cubicBezTo>
                    <a:pt x="3027521" y="352901"/>
                    <a:pt x="3027521" y="353854"/>
                    <a:pt x="3027521" y="353854"/>
                  </a:cubicBezTo>
                  <a:close/>
                  <a:moveTo>
                    <a:pt x="3021806" y="230029"/>
                  </a:moveTo>
                  <a:cubicBezTo>
                    <a:pt x="3022759" y="231934"/>
                    <a:pt x="3022759" y="235744"/>
                    <a:pt x="3024664" y="241459"/>
                  </a:cubicBezTo>
                  <a:cubicBezTo>
                    <a:pt x="3024664" y="241459"/>
                    <a:pt x="3024664" y="241459"/>
                    <a:pt x="3024664" y="241459"/>
                  </a:cubicBezTo>
                  <a:cubicBezTo>
                    <a:pt x="3022759" y="237649"/>
                    <a:pt x="3022759" y="233839"/>
                    <a:pt x="3021806" y="230029"/>
                  </a:cubicBezTo>
                  <a:cubicBezTo>
                    <a:pt x="3021806" y="230029"/>
                    <a:pt x="3021806" y="230029"/>
                    <a:pt x="3021806" y="230029"/>
                  </a:cubicBezTo>
                  <a:close/>
                  <a:moveTo>
                    <a:pt x="3020854" y="305276"/>
                  </a:moveTo>
                  <a:cubicBezTo>
                    <a:pt x="3020854" y="305276"/>
                    <a:pt x="3020854" y="305276"/>
                    <a:pt x="3020854" y="305276"/>
                  </a:cubicBezTo>
                  <a:cubicBezTo>
                    <a:pt x="3020854" y="306229"/>
                    <a:pt x="3020854" y="305276"/>
                    <a:pt x="3020854" y="305276"/>
                  </a:cubicBezTo>
                  <a:cubicBezTo>
                    <a:pt x="3020854" y="305276"/>
                    <a:pt x="3020854" y="305276"/>
                    <a:pt x="3020854" y="305276"/>
                  </a:cubicBezTo>
                  <a:close/>
                  <a:moveTo>
                    <a:pt x="3017996" y="317659"/>
                  </a:moveTo>
                  <a:cubicBezTo>
                    <a:pt x="3018949" y="321469"/>
                    <a:pt x="3020854" y="325279"/>
                    <a:pt x="3021806" y="329089"/>
                  </a:cubicBezTo>
                  <a:cubicBezTo>
                    <a:pt x="3022759" y="332899"/>
                    <a:pt x="3023711" y="336709"/>
                    <a:pt x="3025616" y="339566"/>
                  </a:cubicBezTo>
                  <a:cubicBezTo>
                    <a:pt x="3020854" y="345281"/>
                    <a:pt x="3016091" y="351949"/>
                    <a:pt x="3011329" y="359569"/>
                  </a:cubicBezTo>
                  <a:cubicBezTo>
                    <a:pt x="3011329" y="359569"/>
                    <a:pt x="3011329" y="359569"/>
                    <a:pt x="3011329" y="360521"/>
                  </a:cubicBezTo>
                  <a:cubicBezTo>
                    <a:pt x="3010376" y="357664"/>
                    <a:pt x="3009424" y="354806"/>
                    <a:pt x="3009424" y="351949"/>
                  </a:cubicBezTo>
                  <a:cubicBezTo>
                    <a:pt x="3011329" y="340519"/>
                    <a:pt x="3015139" y="329089"/>
                    <a:pt x="3017996" y="317659"/>
                  </a:cubicBezTo>
                  <a:close/>
                  <a:moveTo>
                    <a:pt x="3013234" y="257651"/>
                  </a:moveTo>
                  <a:cubicBezTo>
                    <a:pt x="3013234" y="258604"/>
                    <a:pt x="3013234" y="259556"/>
                    <a:pt x="3014186" y="261461"/>
                  </a:cubicBezTo>
                  <a:cubicBezTo>
                    <a:pt x="3014186" y="263366"/>
                    <a:pt x="3015139" y="266224"/>
                    <a:pt x="3015139" y="269081"/>
                  </a:cubicBezTo>
                  <a:cubicBezTo>
                    <a:pt x="3013234" y="273844"/>
                    <a:pt x="3012281" y="279559"/>
                    <a:pt x="3010376" y="284321"/>
                  </a:cubicBezTo>
                  <a:cubicBezTo>
                    <a:pt x="3010376" y="283369"/>
                    <a:pt x="3009424" y="283369"/>
                    <a:pt x="3009424" y="282416"/>
                  </a:cubicBezTo>
                  <a:cubicBezTo>
                    <a:pt x="3009424" y="281464"/>
                    <a:pt x="3008471" y="280511"/>
                    <a:pt x="3008471" y="279559"/>
                  </a:cubicBezTo>
                  <a:cubicBezTo>
                    <a:pt x="3008471" y="278606"/>
                    <a:pt x="3008471" y="277654"/>
                    <a:pt x="3009424" y="276701"/>
                  </a:cubicBezTo>
                  <a:cubicBezTo>
                    <a:pt x="3010376" y="270034"/>
                    <a:pt x="3011329" y="263366"/>
                    <a:pt x="3013234" y="257651"/>
                  </a:cubicBezTo>
                  <a:close/>
                  <a:moveTo>
                    <a:pt x="3008471" y="230029"/>
                  </a:moveTo>
                  <a:cubicBezTo>
                    <a:pt x="3009424" y="234791"/>
                    <a:pt x="3010376" y="239554"/>
                    <a:pt x="3010376" y="244316"/>
                  </a:cubicBezTo>
                  <a:cubicBezTo>
                    <a:pt x="3009424" y="246221"/>
                    <a:pt x="3008471" y="249079"/>
                    <a:pt x="3007519" y="250984"/>
                  </a:cubicBezTo>
                  <a:cubicBezTo>
                    <a:pt x="3005614" y="254794"/>
                    <a:pt x="3003709" y="259556"/>
                    <a:pt x="3001804" y="264319"/>
                  </a:cubicBezTo>
                  <a:cubicBezTo>
                    <a:pt x="3003709" y="251936"/>
                    <a:pt x="3005614" y="240506"/>
                    <a:pt x="3008471" y="230029"/>
                  </a:cubicBezTo>
                  <a:close/>
                  <a:moveTo>
                    <a:pt x="3003709" y="195739"/>
                  </a:moveTo>
                  <a:cubicBezTo>
                    <a:pt x="3003709" y="198596"/>
                    <a:pt x="3004661" y="202406"/>
                    <a:pt x="3004661" y="205264"/>
                  </a:cubicBezTo>
                  <a:cubicBezTo>
                    <a:pt x="3002756" y="210979"/>
                    <a:pt x="3000851" y="216694"/>
                    <a:pt x="2997994" y="223361"/>
                  </a:cubicBezTo>
                  <a:cubicBezTo>
                    <a:pt x="2993231" y="235744"/>
                    <a:pt x="2990374" y="248126"/>
                    <a:pt x="2986564" y="262414"/>
                  </a:cubicBezTo>
                  <a:cubicBezTo>
                    <a:pt x="2985611" y="265271"/>
                    <a:pt x="2985611" y="268129"/>
                    <a:pt x="2984659" y="270986"/>
                  </a:cubicBezTo>
                  <a:cubicBezTo>
                    <a:pt x="2984659" y="270986"/>
                    <a:pt x="2984659" y="270986"/>
                    <a:pt x="2984659" y="270986"/>
                  </a:cubicBezTo>
                  <a:cubicBezTo>
                    <a:pt x="2991326" y="243364"/>
                    <a:pt x="2997994" y="218599"/>
                    <a:pt x="3003709" y="195739"/>
                  </a:cubicBezTo>
                  <a:close/>
                  <a:moveTo>
                    <a:pt x="2974181" y="311944"/>
                  </a:moveTo>
                  <a:cubicBezTo>
                    <a:pt x="2976086" y="302419"/>
                    <a:pt x="2978944" y="292894"/>
                    <a:pt x="2980849" y="284321"/>
                  </a:cubicBezTo>
                  <a:cubicBezTo>
                    <a:pt x="2980849" y="284321"/>
                    <a:pt x="2980849" y="285274"/>
                    <a:pt x="2980849" y="285274"/>
                  </a:cubicBezTo>
                  <a:cubicBezTo>
                    <a:pt x="2978944" y="291941"/>
                    <a:pt x="2977991" y="299561"/>
                    <a:pt x="2976086" y="307181"/>
                  </a:cubicBezTo>
                  <a:cubicBezTo>
                    <a:pt x="2975134" y="313849"/>
                    <a:pt x="2973229" y="320516"/>
                    <a:pt x="2972276" y="327184"/>
                  </a:cubicBezTo>
                  <a:cubicBezTo>
                    <a:pt x="2971324" y="325279"/>
                    <a:pt x="2971324" y="324326"/>
                    <a:pt x="2970371" y="322421"/>
                  </a:cubicBezTo>
                  <a:cubicBezTo>
                    <a:pt x="2972276" y="318611"/>
                    <a:pt x="2973229" y="314801"/>
                    <a:pt x="2974181" y="311944"/>
                  </a:cubicBezTo>
                  <a:close/>
                  <a:moveTo>
                    <a:pt x="2964656" y="349091"/>
                  </a:moveTo>
                  <a:cubicBezTo>
                    <a:pt x="2965609" y="344329"/>
                    <a:pt x="2967514" y="339566"/>
                    <a:pt x="2968466" y="334804"/>
                  </a:cubicBezTo>
                  <a:cubicBezTo>
                    <a:pt x="2969419" y="337661"/>
                    <a:pt x="2970371" y="341471"/>
                    <a:pt x="2970371" y="344329"/>
                  </a:cubicBezTo>
                  <a:cubicBezTo>
                    <a:pt x="2970371" y="347186"/>
                    <a:pt x="2969419" y="350996"/>
                    <a:pt x="2969419" y="353854"/>
                  </a:cubicBezTo>
                  <a:cubicBezTo>
                    <a:pt x="2968466" y="361474"/>
                    <a:pt x="2967514" y="369094"/>
                    <a:pt x="2966561" y="377666"/>
                  </a:cubicBezTo>
                  <a:cubicBezTo>
                    <a:pt x="2965609" y="373856"/>
                    <a:pt x="2964656" y="369094"/>
                    <a:pt x="2963704" y="366236"/>
                  </a:cubicBezTo>
                  <a:cubicBezTo>
                    <a:pt x="2967514" y="350996"/>
                    <a:pt x="2969419" y="341471"/>
                    <a:pt x="2969419" y="341471"/>
                  </a:cubicBezTo>
                  <a:cubicBezTo>
                    <a:pt x="2969419" y="341471"/>
                    <a:pt x="2967514" y="344329"/>
                    <a:pt x="2964656" y="349091"/>
                  </a:cubicBezTo>
                  <a:close/>
                  <a:moveTo>
                    <a:pt x="2958941" y="383381"/>
                  </a:moveTo>
                  <a:cubicBezTo>
                    <a:pt x="2958941" y="383381"/>
                    <a:pt x="2958941" y="384334"/>
                    <a:pt x="2958941" y="383381"/>
                  </a:cubicBezTo>
                  <a:cubicBezTo>
                    <a:pt x="2958941" y="384334"/>
                    <a:pt x="2958941" y="384334"/>
                    <a:pt x="2958941" y="383381"/>
                  </a:cubicBezTo>
                  <a:cubicBezTo>
                    <a:pt x="2958941" y="384334"/>
                    <a:pt x="2958941" y="384334"/>
                    <a:pt x="2958941" y="383381"/>
                  </a:cubicBezTo>
                  <a:cubicBezTo>
                    <a:pt x="2958941" y="384334"/>
                    <a:pt x="2958941" y="383381"/>
                    <a:pt x="2958941" y="383381"/>
                  </a:cubicBezTo>
                  <a:close/>
                  <a:moveTo>
                    <a:pt x="2936081" y="284321"/>
                  </a:moveTo>
                  <a:cubicBezTo>
                    <a:pt x="2935129" y="280511"/>
                    <a:pt x="2935129" y="277654"/>
                    <a:pt x="2934176" y="273844"/>
                  </a:cubicBezTo>
                  <a:cubicBezTo>
                    <a:pt x="2935129" y="272891"/>
                    <a:pt x="2935129" y="271939"/>
                    <a:pt x="2936081" y="271939"/>
                  </a:cubicBezTo>
                  <a:cubicBezTo>
                    <a:pt x="2936081" y="276701"/>
                    <a:pt x="2936081" y="280511"/>
                    <a:pt x="2936081" y="284321"/>
                  </a:cubicBezTo>
                  <a:close/>
                  <a:moveTo>
                    <a:pt x="2936081" y="267176"/>
                  </a:moveTo>
                  <a:cubicBezTo>
                    <a:pt x="2936081" y="267176"/>
                    <a:pt x="2936081" y="267176"/>
                    <a:pt x="2936081" y="267176"/>
                  </a:cubicBezTo>
                  <a:cubicBezTo>
                    <a:pt x="2935129" y="268129"/>
                    <a:pt x="2935129" y="268129"/>
                    <a:pt x="2934176" y="269081"/>
                  </a:cubicBezTo>
                  <a:cubicBezTo>
                    <a:pt x="2935129" y="268129"/>
                    <a:pt x="2935129" y="266224"/>
                    <a:pt x="2936081" y="265271"/>
                  </a:cubicBezTo>
                  <a:cubicBezTo>
                    <a:pt x="2935129" y="265271"/>
                    <a:pt x="2936081" y="266224"/>
                    <a:pt x="2936081" y="267176"/>
                  </a:cubicBezTo>
                  <a:close/>
                  <a:moveTo>
                    <a:pt x="2929414" y="243364"/>
                  </a:moveTo>
                  <a:lnTo>
                    <a:pt x="2930366" y="243364"/>
                  </a:lnTo>
                  <a:lnTo>
                    <a:pt x="2933224" y="244316"/>
                  </a:lnTo>
                  <a:cubicBezTo>
                    <a:pt x="2933224" y="248126"/>
                    <a:pt x="2934176" y="251936"/>
                    <a:pt x="2934176" y="255746"/>
                  </a:cubicBezTo>
                  <a:cubicBezTo>
                    <a:pt x="2933224" y="257651"/>
                    <a:pt x="2932271" y="259556"/>
                    <a:pt x="2931319" y="261461"/>
                  </a:cubicBezTo>
                  <a:cubicBezTo>
                    <a:pt x="2930366" y="256699"/>
                    <a:pt x="2929414" y="251936"/>
                    <a:pt x="2927509" y="248126"/>
                  </a:cubicBezTo>
                  <a:cubicBezTo>
                    <a:pt x="2928461" y="246221"/>
                    <a:pt x="2929414" y="245269"/>
                    <a:pt x="2929414" y="243364"/>
                  </a:cubicBezTo>
                  <a:close/>
                  <a:moveTo>
                    <a:pt x="2917984" y="351949"/>
                  </a:moveTo>
                  <a:cubicBezTo>
                    <a:pt x="2917984" y="352901"/>
                    <a:pt x="2917984" y="352901"/>
                    <a:pt x="2918936" y="353854"/>
                  </a:cubicBezTo>
                  <a:cubicBezTo>
                    <a:pt x="2918936" y="356711"/>
                    <a:pt x="2919889" y="360521"/>
                    <a:pt x="2919889" y="363379"/>
                  </a:cubicBezTo>
                  <a:cubicBezTo>
                    <a:pt x="2920841" y="369094"/>
                    <a:pt x="2921794" y="374809"/>
                    <a:pt x="2922746" y="380524"/>
                  </a:cubicBezTo>
                  <a:cubicBezTo>
                    <a:pt x="2921794" y="380524"/>
                    <a:pt x="2921794" y="380524"/>
                    <a:pt x="2920841" y="380524"/>
                  </a:cubicBezTo>
                  <a:cubicBezTo>
                    <a:pt x="2918936" y="374809"/>
                    <a:pt x="2916079" y="368141"/>
                    <a:pt x="2913221" y="362426"/>
                  </a:cubicBezTo>
                  <a:cubicBezTo>
                    <a:pt x="2914174" y="358616"/>
                    <a:pt x="2916079" y="355759"/>
                    <a:pt x="2917984" y="351949"/>
                  </a:cubicBezTo>
                  <a:close/>
                  <a:moveTo>
                    <a:pt x="2904649" y="224314"/>
                  </a:moveTo>
                  <a:cubicBezTo>
                    <a:pt x="2904649" y="224314"/>
                    <a:pt x="2904649" y="224314"/>
                    <a:pt x="2904649" y="224314"/>
                  </a:cubicBezTo>
                  <a:cubicBezTo>
                    <a:pt x="2904649" y="228124"/>
                    <a:pt x="2903696" y="232886"/>
                    <a:pt x="2903696" y="237649"/>
                  </a:cubicBezTo>
                  <a:cubicBezTo>
                    <a:pt x="2903696" y="241459"/>
                    <a:pt x="2902744" y="245269"/>
                    <a:pt x="2902744" y="250031"/>
                  </a:cubicBezTo>
                  <a:cubicBezTo>
                    <a:pt x="2901791" y="245269"/>
                    <a:pt x="2901791" y="240506"/>
                    <a:pt x="2900839" y="235744"/>
                  </a:cubicBezTo>
                  <a:cubicBezTo>
                    <a:pt x="2901791" y="231934"/>
                    <a:pt x="2902744" y="228124"/>
                    <a:pt x="2904649" y="224314"/>
                  </a:cubicBezTo>
                  <a:close/>
                  <a:moveTo>
                    <a:pt x="2885599" y="294799"/>
                  </a:moveTo>
                  <a:cubicBezTo>
                    <a:pt x="2886551" y="290036"/>
                    <a:pt x="2887504" y="285274"/>
                    <a:pt x="2888456" y="280511"/>
                  </a:cubicBezTo>
                  <a:cubicBezTo>
                    <a:pt x="2888456" y="289084"/>
                    <a:pt x="2889409" y="298609"/>
                    <a:pt x="2889409" y="308134"/>
                  </a:cubicBezTo>
                  <a:cubicBezTo>
                    <a:pt x="2887504" y="304324"/>
                    <a:pt x="2886551" y="301466"/>
                    <a:pt x="2884646" y="297656"/>
                  </a:cubicBezTo>
                  <a:cubicBezTo>
                    <a:pt x="2884646" y="296704"/>
                    <a:pt x="2885599" y="295751"/>
                    <a:pt x="2885599" y="294799"/>
                  </a:cubicBezTo>
                  <a:close/>
                  <a:moveTo>
                    <a:pt x="2869406" y="301466"/>
                  </a:moveTo>
                  <a:cubicBezTo>
                    <a:pt x="2869406" y="302419"/>
                    <a:pt x="2869406" y="302419"/>
                    <a:pt x="2869406" y="301466"/>
                  </a:cubicBezTo>
                  <a:cubicBezTo>
                    <a:pt x="2869406" y="302419"/>
                    <a:pt x="2869406" y="302419"/>
                    <a:pt x="2869406" y="302419"/>
                  </a:cubicBezTo>
                  <a:cubicBezTo>
                    <a:pt x="2869406" y="303371"/>
                    <a:pt x="2868454" y="304324"/>
                    <a:pt x="2868454" y="305276"/>
                  </a:cubicBezTo>
                  <a:cubicBezTo>
                    <a:pt x="2864644" y="298609"/>
                    <a:pt x="2860834" y="290989"/>
                    <a:pt x="2856071" y="284321"/>
                  </a:cubicBezTo>
                  <a:cubicBezTo>
                    <a:pt x="2856071" y="283369"/>
                    <a:pt x="2855119" y="283369"/>
                    <a:pt x="2855119" y="282416"/>
                  </a:cubicBezTo>
                  <a:cubicBezTo>
                    <a:pt x="2856071" y="279559"/>
                    <a:pt x="2857024" y="276701"/>
                    <a:pt x="2857976" y="273844"/>
                  </a:cubicBezTo>
                  <a:cubicBezTo>
                    <a:pt x="2861786" y="283369"/>
                    <a:pt x="2865596" y="292894"/>
                    <a:pt x="2869406" y="301466"/>
                  </a:cubicBezTo>
                  <a:close/>
                  <a:moveTo>
                    <a:pt x="2851309" y="262414"/>
                  </a:moveTo>
                  <a:cubicBezTo>
                    <a:pt x="2851309" y="261461"/>
                    <a:pt x="2851309" y="260509"/>
                    <a:pt x="2851309" y="259556"/>
                  </a:cubicBezTo>
                  <a:cubicBezTo>
                    <a:pt x="2852261" y="262414"/>
                    <a:pt x="2853214" y="264319"/>
                    <a:pt x="2855119" y="267176"/>
                  </a:cubicBezTo>
                  <a:cubicBezTo>
                    <a:pt x="2855119" y="268129"/>
                    <a:pt x="2856071" y="268129"/>
                    <a:pt x="2856071" y="269081"/>
                  </a:cubicBezTo>
                  <a:cubicBezTo>
                    <a:pt x="2855119" y="270986"/>
                    <a:pt x="2853214" y="273844"/>
                    <a:pt x="2851309" y="276701"/>
                  </a:cubicBezTo>
                  <a:cubicBezTo>
                    <a:pt x="2851309" y="275749"/>
                    <a:pt x="2850356" y="275749"/>
                    <a:pt x="2850356" y="274796"/>
                  </a:cubicBezTo>
                  <a:cubicBezTo>
                    <a:pt x="2850356" y="270986"/>
                    <a:pt x="2851309" y="267176"/>
                    <a:pt x="2851309" y="262414"/>
                  </a:cubicBezTo>
                  <a:close/>
                  <a:moveTo>
                    <a:pt x="2848451" y="312896"/>
                  </a:moveTo>
                  <a:cubicBezTo>
                    <a:pt x="2848451" y="309086"/>
                    <a:pt x="2848451" y="306229"/>
                    <a:pt x="2848451" y="302419"/>
                  </a:cubicBezTo>
                  <a:cubicBezTo>
                    <a:pt x="2852261" y="310039"/>
                    <a:pt x="2857024" y="318611"/>
                    <a:pt x="2860834" y="327184"/>
                  </a:cubicBezTo>
                  <a:cubicBezTo>
                    <a:pt x="2858929" y="332899"/>
                    <a:pt x="2857024" y="338614"/>
                    <a:pt x="2856071" y="344329"/>
                  </a:cubicBezTo>
                  <a:cubicBezTo>
                    <a:pt x="2855119" y="348139"/>
                    <a:pt x="2854166" y="351949"/>
                    <a:pt x="2853214" y="355759"/>
                  </a:cubicBezTo>
                  <a:cubicBezTo>
                    <a:pt x="2852261" y="350996"/>
                    <a:pt x="2852261" y="346234"/>
                    <a:pt x="2851309" y="341471"/>
                  </a:cubicBezTo>
                  <a:cubicBezTo>
                    <a:pt x="2850356" y="332899"/>
                    <a:pt x="2849404" y="324326"/>
                    <a:pt x="2847499" y="316706"/>
                  </a:cubicBezTo>
                  <a:cubicBezTo>
                    <a:pt x="2848451" y="315754"/>
                    <a:pt x="2848451" y="313849"/>
                    <a:pt x="2848451" y="312896"/>
                  </a:cubicBezTo>
                  <a:close/>
                  <a:moveTo>
                    <a:pt x="2836069" y="226219"/>
                  </a:moveTo>
                  <a:cubicBezTo>
                    <a:pt x="2839879" y="234791"/>
                    <a:pt x="2843689" y="243364"/>
                    <a:pt x="2847499" y="251936"/>
                  </a:cubicBezTo>
                  <a:cubicBezTo>
                    <a:pt x="2846546" y="254794"/>
                    <a:pt x="2845594" y="257651"/>
                    <a:pt x="2844641" y="261461"/>
                  </a:cubicBezTo>
                  <a:cubicBezTo>
                    <a:pt x="2844641" y="262414"/>
                    <a:pt x="2843689" y="264319"/>
                    <a:pt x="2843689" y="266224"/>
                  </a:cubicBezTo>
                  <a:cubicBezTo>
                    <a:pt x="2841784" y="263366"/>
                    <a:pt x="2840831" y="261461"/>
                    <a:pt x="2838926" y="258604"/>
                  </a:cubicBezTo>
                  <a:cubicBezTo>
                    <a:pt x="2837974" y="249079"/>
                    <a:pt x="2836069" y="238601"/>
                    <a:pt x="2834164" y="229076"/>
                  </a:cubicBezTo>
                  <a:cubicBezTo>
                    <a:pt x="2836069" y="228124"/>
                    <a:pt x="2836069" y="227171"/>
                    <a:pt x="2836069" y="226219"/>
                  </a:cubicBezTo>
                  <a:close/>
                  <a:moveTo>
                    <a:pt x="2830354" y="305276"/>
                  </a:moveTo>
                  <a:cubicBezTo>
                    <a:pt x="2830354" y="308134"/>
                    <a:pt x="2830354" y="310039"/>
                    <a:pt x="2831306" y="312896"/>
                  </a:cubicBezTo>
                  <a:cubicBezTo>
                    <a:pt x="2831306" y="312896"/>
                    <a:pt x="2831306" y="312896"/>
                    <a:pt x="2831306" y="313849"/>
                  </a:cubicBezTo>
                  <a:cubicBezTo>
                    <a:pt x="2831306" y="311944"/>
                    <a:pt x="2831306" y="310039"/>
                    <a:pt x="2830354" y="308134"/>
                  </a:cubicBezTo>
                  <a:cubicBezTo>
                    <a:pt x="2830354" y="307181"/>
                    <a:pt x="2830354" y="306229"/>
                    <a:pt x="2830354" y="305276"/>
                  </a:cubicBezTo>
                  <a:close/>
                  <a:moveTo>
                    <a:pt x="2829401" y="292894"/>
                  </a:moveTo>
                  <a:cubicBezTo>
                    <a:pt x="2829401" y="294799"/>
                    <a:pt x="2829401" y="296704"/>
                    <a:pt x="2830354" y="299561"/>
                  </a:cubicBezTo>
                  <a:cubicBezTo>
                    <a:pt x="2830354" y="300514"/>
                    <a:pt x="2830354" y="300514"/>
                    <a:pt x="2829401" y="301466"/>
                  </a:cubicBezTo>
                  <a:cubicBezTo>
                    <a:pt x="2829401" y="300514"/>
                    <a:pt x="2829401" y="300514"/>
                    <a:pt x="2829401" y="299561"/>
                  </a:cubicBezTo>
                  <a:cubicBezTo>
                    <a:pt x="2828449" y="296704"/>
                    <a:pt x="2828449" y="294799"/>
                    <a:pt x="2829401" y="292894"/>
                  </a:cubicBezTo>
                  <a:close/>
                  <a:moveTo>
                    <a:pt x="2785586" y="268129"/>
                  </a:moveTo>
                  <a:cubicBezTo>
                    <a:pt x="2784634" y="269081"/>
                    <a:pt x="2783681" y="270034"/>
                    <a:pt x="2782729" y="271939"/>
                  </a:cubicBezTo>
                  <a:cubicBezTo>
                    <a:pt x="2782729" y="270986"/>
                    <a:pt x="2782729" y="270034"/>
                    <a:pt x="2782729" y="269081"/>
                  </a:cubicBezTo>
                  <a:cubicBezTo>
                    <a:pt x="2782729" y="268129"/>
                    <a:pt x="2782729" y="266224"/>
                    <a:pt x="2782729" y="265271"/>
                  </a:cubicBezTo>
                  <a:cubicBezTo>
                    <a:pt x="2783681" y="263366"/>
                    <a:pt x="2785586" y="260509"/>
                    <a:pt x="2786539" y="258604"/>
                  </a:cubicBezTo>
                  <a:cubicBezTo>
                    <a:pt x="2786539" y="259556"/>
                    <a:pt x="2786539" y="259556"/>
                    <a:pt x="2786539" y="260509"/>
                  </a:cubicBezTo>
                  <a:cubicBezTo>
                    <a:pt x="2785586" y="262414"/>
                    <a:pt x="2785586" y="265271"/>
                    <a:pt x="2785586" y="268129"/>
                  </a:cubicBezTo>
                  <a:close/>
                  <a:moveTo>
                    <a:pt x="2796064" y="268129"/>
                  </a:moveTo>
                  <a:cubicBezTo>
                    <a:pt x="2796064" y="267176"/>
                    <a:pt x="2796064" y="267176"/>
                    <a:pt x="2796064" y="268129"/>
                  </a:cubicBezTo>
                  <a:cubicBezTo>
                    <a:pt x="2797016" y="266224"/>
                    <a:pt x="2797969" y="264319"/>
                    <a:pt x="2798921" y="263366"/>
                  </a:cubicBezTo>
                  <a:cubicBezTo>
                    <a:pt x="2797969" y="264319"/>
                    <a:pt x="2797016" y="266224"/>
                    <a:pt x="2796064" y="268129"/>
                  </a:cubicBezTo>
                  <a:close/>
                  <a:moveTo>
                    <a:pt x="2803684" y="314801"/>
                  </a:moveTo>
                  <a:cubicBezTo>
                    <a:pt x="2803684" y="315754"/>
                    <a:pt x="2802731" y="317659"/>
                    <a:pt x="2802731" y="318611"/>
                  </a:cubicBezTo>
                  <a:cubicBezTo>
                    <a:pt x="2802731" y="320516"/>
                    <a:pt x="2801779" y="322421"/>
                    <a:pt x="2801779" y="325279"/>
                  </a:cubicBezTo>
                  <a:cubicBezTo>
                    <a:pt x="2800826" y="322421"/>
                    <a:pt x="2799874" y="320516"/>
                    <a:pt x="2798921" y="317659"/>
                  </a:cubicBezTo>
                  <a:cubicBezTo>
                    <a:pt x="2798921" y="316706"/>
                    <a:pt x="2798921" y="316706"/>
                    <a:pt x="2798921" y="315754"/>
                  </a:cubicBezTo>
                  <a:cubicBezTo>
                    <a:pt x="2798921" y="315754"/>
                    <a:pt x="2798921" y="315754"/>
                    <a:pt x="2798921" y="315754"/>
                  </a:cubicBezTo>
                  <a:cubicBezTo>
                    <a:pt x="2799874" y="311944"/>
                    <a:pt x="2800826" y="308134"/>
                    <a:pt x="2801779" y="304324"/>
                  </a:cubicBezTo>
                  <a:cubicBezTo>
                    <a:pt x="2802731" y="307181"/>
                    <a:pt x="2802731" y="310039"/>
                    <a:pt x="2803684" y="312896"/>
                  </a:cubicBezTo>
                  <a:cubicBezTo>
                    <a:pt x="2803684" y="313849"/>
                    <a:pt x="2803684" y="313849"/>
                    <a:pt x="2803684" y="314801"/>
                  </a:cubicBezTo>
                  <a:close/>
                  <a:moveTo>
                    <a:pt x="2810351" y="280511"/>
                  </a:moveTo>
                  <a:cubicBezTo>
                    <a:pt x="2808446" y="287179"/>
                    <a:pt x="2807494" y="294799"/>
                    <a:pt x="2805589" y="302419"/>
                  </a:cubicBezTo>
                  <a:cubicBezTo>
                    <a:pt x="2804636" y="301466"/>
                    <a:pt x="2804636" y="299561"/>
                    <a:pt x="2803684" y="298609"/>
                  </a:cubicBezTo>
                  <a:cubicBezTo>
                    <a:pt x="2803684" y="297656"/>
                    <a:pt x="2803684" y="297656"/>
                    <a:pt x="2802731" y="296704"/>
                  </a:cubicBezTo>
                  <a:cubicBezTo>
                    <a:pt x="2803684" y="292894"/>
                    <a:pt x="2804636" y="290036"/>
                    <a:pt x="2805589" y="287179"/>
                  </a:cubicBezTo>
                  <a:cubicBezTo>
                    <a:pt x="2806541" y="284321"/>
                    <a:pt x="2808446" y="280511"/>
                    <a:pt x="2809399" y="277654"/>
                  </a:cubicBezTo>
                  <a:cubicBezTo>
                    <a:pt x="2809399" y="276701"/>
                    <a:pt x="2810351" y="275749"/>
                    <a:pt x="2810351" y="275749"/>
                  </a:cubicBezTo>
                  <a:cubicBezTo>
                    <a:pt x="2811304" y="276701"/>
                    <a:pt x="2810351" y="278606"/>
                    <a:pt x="2810351" y="280511"/>
                  </a:cubicBezTo>
                  <a:close/>
                  <a:moveTo>
                    <a:pt x="2811304" y="276701"/>
                  </a:moveTo>
                  <a:cubicBezTo>
                    <a:pt x="2811304" y="275749"/>
                    <a:pt x="2811304" y="275749"/>
                    <a:pt x="2811304" y="274796"/>
                  </a:cubicBezTo>
                  <a:cubicBezTo>
                    <a:pt x="2812256" y="273844"/>
                    <a:pt x="2812256" y="271939"/>
                    <a:pt x="2813209" y="270986"/>
                  </a:cubicBezTo>
                  <a:cubicBezTo>
                    <a:pt x="2812256" y="272891"/>
                    <a:pt x="2812256" y="274796"/>
                    <a:pt x="2811304" y="276701"/>
                  </a:cubicBezTo>
                  <a:close/>
                  <a:moveTo>
                    <a:pt x="2812256" y="236696"/>
                  </a:moveTo>
                  <a:cubicBezTo>
                    <a:pt x="2810351" y="239554"/>
                    <a:pt x="2808446" y="243364"/>
                    <a:pt x="2806541" y="246221"/>
                  </a:cubicBezTo>
                  <a:cubicBezTo>
                    <a:pt x="2804636" y="248126"/>
                    <a:pt x="2802731" y="250031"/>
                    <a:pt x="2799874" y="251936"/>
                  </a:cubicBezTo>
                  <a:cubicBezTo>
                    <a:pt x="2797969" y="253841"/>
                    <a:pt x="2796064" y="255746"/>
                    <a:pt x="2794159" y="257651"/>
                  </a:cubicBezTo>
                  <a:cubicBezTo>
                    <a:pt x="2793206" y="252889"/>
                    <a:pt x="2792254" y="249079"/>
                    <a:pt x="2792254" y="245269"/>
                  </a:cubicBezTo>
                  <a:cubicBezTo>
                    <a:pt x="2793206" y="242411"/>
                    <a:pt x="2795111" y="240506"/>
                    <a:pt x="2796064" y="238601"/>
                  </a:cubicBezTo>
                  <a:cubicBezTo>
                    <a:pt x="2799874" y="231934"/>
                    <a:pt x="2802731" y="227171"/>
                    <a:pt x="2804636" y="224314"/>
                  </a:cubicBezTo>
                  <a:cubicBezTo>
                    <a:pt x="2807494" y="228124"/>
                    <a:pt x="2809399" y="232886"/>
                    <a:pt x="2812256" y="236696"/>
                  </a:cubicBezTo>
                  <a:close/>
                  <a:moveTo>
                    <a:pt x="2804636" y="223361"/>
                  </a:moveTo>
                  <a:cubicBezTo>
                    <a:pt x="2802731" y="225266"/>
                    <a:pt x="2798921" y="229076"/>
                    <a:pt x="2794159" y="235744"/>
                  </a:cubicBezTo>
                  <a:cubicBezTo>
                    <a:pt x="2793206" y="236696"/>
                    <a:pt x="2793206" y="237649"/>
                    <a:pt x="2792254" y="238601"/>
                  </a:cubicBezTo>
                  <a:cubicBezTo>
                    <a:pt x="2792254" y="238601"/>
                    <a:pt x="2792254" y="238601"/>
                    <a:pt x="2792254" y="238601"/>
                  </a:cubicBezTo>
                  <a:cubicBezTo>
                    <a:pt x="2794159" y="235744"/>
                    <a:pt x="2795111" y="232886"/>
                    <a:pt x="2796064" y="230981"/>
                  </a:cubicBezTo>
                  <a:cubicBezTo>
                    <a:pt x="2797969" y="226219"/>
                    <a:pt x="2800826" y="222409"/>
                    <a:pt x="2801779" y="219551"/>
                  </a:cubicBezTo>
                  <a:cubicBezTo>
                    <a:pt x="2802731" y="220504"/>
                    <a:pt x="2803684" y="222409"/>
                    <a:pt x="2804636" y="223361"/>
                  </a:cubicBezTo>
                  <a:close/>
                  <a:moveTo>
                    <a:pt x="2787491" y="196691"/>
                  </a:moveTo>
                  <a:cubicBezTo>
                    <a:pt x="2792254" y="203359"/>
                    <a:pt x="2796064" y="210026"/>
                    <a:pt x="2800826" y="217646"/>
                  </a:cubicBezTo>
                  <a:cubicBezTo>
                    <a:pt x="2798921" y="220504"/>
                    <a:pt x="2796064" y="224314"/>
                    <a:pt x="2792254" y="228124"/>
                  </a:cubicBezTo>
                  <a:cubicBezTo>
                    <a:pt x="2791301" y="229076"/>
                    <a:pt x="2790349" y="230029"/>
                    <a:pt x="2790349" y="230981"/>
                  </a:cubicBezTo>
                  <a:cubicBezTo>
                    <a:pt x="2789396" y="226219"/>
                    <a:pt x="2788444" y="222409"/>
                    <a:pt x="2787491" y="218599"/>
                  </a:cubicBezTo>
                  <a:cubicBezTo>
                    <a:pt x="2783681" y="205264"/>
                    <a:pt x="2781776" y="196691"/>
                    <a:pt x="2781776" y="196691"/>
                  </a:cubicBezTo>
                  <a:cubicBezTo>
                    <a:pt x="2781776" y="196691"/>
                    <a:pt x="2782729" y="204311"/>
                    <a:pt x="2783681" y="218599"/>
                  </a:cubicBezTo>
                  <a:cubicBezTo>
                    <a:pt x="2784634" y="224314"/>
                    <a:pt x="2784634" y="230981"/>
                    <a:pt x="2784634" y="237649"/>
                  </a:cubicBezTo>
                  <a:cubicBezTo>
                    <a:pt x="2783681" y="239554"/>
                    <a:pt x="2781776" y="241459"/>
                    <a:pt x="2780824" y="243364"/>
                  </a:cubicBezTo>
                  <a:cubicBezTo>
                    <a:pt x="2779871" y="227171"/>
                    <a:pt x="2779871" y="213836"/>
                    <a:pt x="2778919" y="204311"/>
                  </a:cubicBezTo>
                  <a:cubicBezTo>
                    <a:pt x="2777966" y="192881"/>
                    <a:pt x="2777966" y="186214"/>
                    <a:pt x="2777966" y="186214"/>
                  </a:cubicBezTo>
                  <a:cubicBezTo>
                    <a:pt x="2777966" y="186214"/>
                    <a:pt x="2777014" y="192881"/>
                    <a:pt x="2775109" y="204311"/>
                  </a:cubicBezTo>
                  <a:cubicBezTo>
                    <a:pt x="2775109" y="207169"/>
                    <a:pt x="2774156" y="210979"/>
                    <a:pt x="2774156" y="214789"/>
                  </a:cubicBezTo>
                  <a:cubicBezTo>
                    <a:pt x="2773204" y="206216"/>
                    <a:pt x="2772251" y="198596"/>
                    <a:pt x="2770346" y="190976"/>
                  </a:cubicBezTo>
                  <a:cubicBezTo>
                    <a:pt x="2770346" y="190024"/>
                    <a:pt x="2770346" y="190024"/>
                    <a:pt x="2770346" y="189071"/>
                  </a:cubicBezTo>
                  <a:cubicBezTo>
                    <a:pt x="2770346" y="188119"/>
                    <a:pt x="2770346" y="186214"/>
                    <a:pt x="2770346" y="185261"/>
                  </a:cubicBezTo>
                  <a:cubicBezTo>
                    <a:pt x="2769394" y="174784"/>
                    <a:pt x="2768441" y="168116"/>
                    <a:pt x="2768441" y="166211"/>
                  </a:cubicBezTo>
                  <a:cubicBezTo>
                    <a:pt x="2774156" y="174784"/>
                    <a:pt x="2779871" y="185261"/>
                    <a:pt x="2787491" y="196691"/>
                  </a:cubicBezTo>
                  <a:close/>
                  <a:moveTo>
                    <a:pt x="2767489" y="167164"/>
                  </a:moveTo>
                  <a:cubicBezTo>
                    <a:pt x="2767489" y="168116"/>
                    <a:pt x="2767489" y="169069"/>
                    <a:pt x="2767489" y="170974"/>
                  </a:cubicBezTo>
                  <a:cubicBezTo>
                    <a:pt x="2767489" y="169069"/>
                    <a:pt x="2767489" y="168116"/>
                    <a:pt x="2766536" y="166211"/>
                  </a:cubicBezTo>
                  <a:cubicBezTo>
                    <a:pt x="2767489" y="166211"/>
                    <a:pt x="2767489" y="166211"/>
                    <a:pt x="2767489" y="167164"/>
                  </a:cubicBezTo>
                  <a:close/>
                  <a:moveTo>
                    <a:pt x="2757964" y="342424"/>
                  </a:moveTo>
                  <a:cubicBezTo>
                    <a:pt x="2757011" y="340519"/>
                    <a:pt x="2756059" y="338614"/>
                    <a:pt x="2755106" y="336709"/>
                  </a:cubicBezTo>
                  <a:cubicBezTo>
                    <a:pt x="2756059" y="333851"/>
                    <a:pt x="2757964" y="331946"/>
                    <a:pt x="2758916" y="329089"/>
                  </a:cubicBezTo>
                  <a:cubicBezTo>
                    <a:pt x="2759869" y="330041"/>
                    <a:pt x="2759869" y="331946"/>
                    <a:pt x="2760821" y="332899"/>
                  </a:cubicBezTo>
                  <a:cubicBezTo>
                    <a:pt x="2759869" y="336709"/>
                    <a:pt x="2758916" y="339566"/>
                    <a:pt x="2757964" y="342424"/>
                  </a:cubicBezTo>
                  <a:close/>
                  <a:moveTo>
                    <a:pt x="2762726" y="327184"/>
                  </a:moveTo>
                  <a:cubicBezTo>
                    <a:pt x="2762726" y="328136"/>
                    <a:pt x="2761774" y="329089"/>
                    <a:pt x="2761774" y="330994"/>
                  </a:cubicBezTo>
                  <a:cubicBezTo>
                    <a:pt x="2760821" y="330041"/>
                    <a:pt x="2760821" y="329089"/>
                    <a:pt x="2759869" y="328136"/>
                  </a:cubicBezTo>
                  <a:cubicBezTo>
                    <a:pt x="2760821" y="327184"/>
                    <a:pt x="2760821" y="325279"/>
                    <a:pt x="2761774" y="324326"/>
                  </a:cubicBezTo>
                  <a:cubicBezTo>
                    <a:pt x="2762726" y="325279"/>
                    <a:pt x="2762726" y="326231"/>
                    <a:pt x="2762726" y="327184"/>
                  </a:cubicBezTo>
                  <a:cubicBezTo>
                    <a:pt x="2762726" y="327184"/>
                    <a:pt x="2762726" y="327184"/>
                    <a:pt x="2762726" y="327184"/>
                  </a:cubicBezTo>
                  <a:close/>
                  <a:moveTo>
                    <a:pt x="2762726" y="250031"/>
                  </a:moveTo>
                  <a:cubicBezTo>
                    <a:pt x="2762726" y="256699"/>
                    <a:pt x="2762726" y="263366"/>
                    <a:pt x="2762726" y="270034"/>
                  </a:cubicBezTo>
                  <a:cubicBezTo>
                    <a:pt x="2759869" y="273844"/>
                    <a:pt x="2757011" y="278606"/>
                    <a:pt x="2754154" y="282416"/>
                  </a:cubicBezTo>
                  <a:cubicBezTo>
                    <a:pt x="2754154" y="283369"/>
                    <a:pt x="2753201" y="283369"/>
                    <a:pt x="2753201" y="284321"/>
                  </a:cubicBezTo>
                  <a:cubicBezTo>
                    <a:pt x="2753201" y="283369"/>
                    <a:pt x="2752249" y="283369"/>
                    <a:pt x="2752249" y="282416"/>
                  </a:cubicBezTo>
                  <a:cubicBezTo>
                    <a:pt x="2752249" y="281464"/>
                    <a:pt x="2753201" y="280511"/>
                    <a:pt x="2753201" y="278606"/>
                  </a:cubicBezTo>
                  <a:cubicBezTo>
                    <a:pt x="2754154" y="274796"/>
                    <a:pt x="2755106" y="270986"/>
                    <a:pt x="2756059" y="267176"/>
                  </a:cubicBezTo>
                  <a:cubicBezTo>
                    <a:pt x="2757964" y="260509"/>
                    <a:pt x="2759869" y="255746"/>
                    <a:pt x="2761774" y="251936"/>
                  </a:cubicBezTo>
                  <a:cubicBezTo>
                    <a:pt x="2761774" y="251936"/>
                    <a:pt x="2761774" y="250031"/>
                    <a:pt x="2762726" y="250031"/>
                  </a:cubicBezTo>
                  <a:cubicBezTo>
                    <a:pt x="2762726" y="250031"/>
                    <a:pt x="2762726" y="250031"/>
                    <a:pt x="2762726" y="250031"/>
                  </a:cubicBezTo>
                  <a:close/>
                  <a:moveTo>
                    <a:pt x="2753201" y="250031"/>
                  </a:moveTo>
                  <a:cubicBezTo>
                    <a:pt x="2755106" y="242411"/>
                    <a:pt x="2756059" y="236696"/>
                    <a:pt x="2757011" y="230981"/>
                  </a:cubicBezTo>
                  <a:cubicBezTo>
                    <a:pt x="2758916" y="236696"/>
                    <a:pt x="2760821" y="242411"/>
                    <a:pt x="2762726" y="249079"/>
                  </a:cubicBezTo>
                  <a:cubicBezTo>
                    <a:pt x="2761774" y="250031"/>
                    <a:pt x="2761774" y="250984"/>
                    <a:pt x="2760821" y="252889"/>
                  </a:cubicBezTo>
                  <a:cubicBezTo>
                    <a:pt x="2758916" y="255746"/>
                    <a:pt x="2756059" y="260509"/>
                    <a:pt x="2752249" y="267176"/>
                  </a:cubicBezTo>
                  <a:cubicBezTo>
                    <a:pt x="2750344" y="270034"/>
                    <a:pt x="2749391" y="272891"/>
                    <a:pt x="2748439" y="275749"/>
                  </a:cubicBezTo>
                  <a:cubicBezTo>
                    <a:pt x="2748439" y="275749"/>
                    <a:pt x="2748439" y="274796"/>
                    <a:pt x="2747486" y="274796"/>
                  </a:cubicBezTo>
                  <a:cubicBezTo>
                    <a:pt x="2749391" y="265271"/>
                    <a:pt x="2751296" y="256699"/>
                    <a:pt x="2753201" y="250031"/>
                  </a:cubicBezTo>
                  <a:close/>
                  <a:moveTo>
                    <a:pt x="2749391" y="362426"/>
                  </a:moveTo>
                  <a:cubicBezTo>
                    <a:pt x="2748439" y="360521"/>
                    <a:pt x="2747486" y="359569"/>
                    <a:pt x="2746534" y="357664"/>
                  </a:cubicBezTo>
                  <a:cubicBezTo>
                    <a:pt x="2746534" y="356711"/>
                    <a:pt x="2746534" y="355759"/>
                    <a:pt x="2746534" y="354806"/>
                  </a:cubicBezTo>
                  <a:cubicBezTo>
                    <a:pt x="2747486" y="356711"/>
                    <a:pt x="2748439" y="359569"/>
                    <a:pt x="2749391" y="362426"/>
                  </a:cubicBezTo>
                  <a:close/>
                  <a:moveTo>
                    <a:pt x="2734151" y="258604"/>
                  </a:moveTo>
                  <a:cubicBezTo>
                    <a:pt x="2736056" y="262414"/>
                    <a:pt x="2737961" y="268129"/>
                    <a:pt x="2740819" y="273844"/>
                  </a:cubicBezTo>
                  <a:cubicBezTo>
                    <a:pt x="2738914" y="278606"/>
                    <a:pt x="2737009" y="284321"/>
                    <a:pt x="2735104" y="290036"/>
                  </a:cubicBezTo>
                  <a:cubicBezTo>
                    <a:pt x="2735104" y="288131"/>
                    <a:pt x="2734151" y="287179"/>
                    <a:pt x="2734151" y="287179"/>
                  </a:cubicBezTo>
                  <a:cubicBezTo>
                    <a:pt x="2734151" y="287179"/>
                    <a:pt x="2734151" y="289084"/>
                    <a:pt x="2734151" y="291941"/>
                  </a:cubicBezTo>
                  <a:cubicBezTo>
                    <a:pt x="2734151" y="291941"/>
                    <a:pt x="2734151" y="291941"/>
                    <a:pt x="2734151" y="291941"/>
                  </a:cubicBezTo>
                  <a:cubicBezTo>
                    <a:pt x="2733199" y="290989"/>
                    <a:pt x="2733199" y="290036"/>
                    <a:pt x="2732246" y="289084"/>
                  </a:cubicBezTo>
                  <a:cubicBezTo>
                    <a:pt x="2732246" y="288131"/>
                    <a:pt x="2731294" y="287179"/>
                    <a:pt x="2731294" y="286226"/>
                  </a:cubicBezTo>
                  <a:cubicBezTo>
                    <a:pt x="2733199" y="275749"/>
                    <a:pt x="2734151" y="266224"/>
                    <a:pt x="2734151" y="258604"/>
                  </a:cubicBezTo>
                  <a:close/>
                  <a:moveTo>
                    <a:pt x="2715101" y="290989"/>
                  </a:moveTo>
                  <a:cubicBezTo>
                    <a:pt x="2715101" y="284321"/>
                    <a:pt x="2715101" y="278606"/>
                    <a:pt x="2716054" y="273844"/>
                  </a:cubicBezTo>
                  <a:cubicBezTo>
                    <a:pt x="2717006" y="274796"/>
                    <a:pt x="2717006" y="276701"/>
                    <a:pt x="2717959" y="278606"/>
                  </a:cubicBezTo>
                  <a:cubicBezTo>
                    <a:pt x="2717006" y="287179"/>
                    <a:pt x="2717006" y="295751"/>
                    <a:pt x="2716054" y="304324"/>
                  </a:cubicBezTo>
                  <a:cubicBezTo>
                    <a:pt x="2716054" y="304324"/>
                    <a:pt x="2715101" y="303371"/>
                    <a:pt x="2715101" y="303371"/>
                  </a:cubicBezTo>
                  <a:cubicBezTo>
                    <a:pt x="2714149" y="298609"/>
                    <a:pt x="2715101" y="294799"/>
                    <a:pt x="2715101" y="290989"/>
                  </a:cubicBezTo>
                  <a:close/>
                  <a:moveTo>
                    <a:pt x="2705576" y="243364"/>
                  </a:moveTo>
                  <a:cubicBezTo>
                    <a:pt x="2705576" y="244316"/>
                    <a:pt x="2705576" y="246221"/>
                    <a:pt x="2704624" y="247174"/>
                  </a:cubicBezTo>
                  <a:lnTo>
                    <a:pt x="2703671" y="238601"/>
                  </a:lnTo>
                  <a:cubicBezTo>
                    <a:pt x="2704624" y="239554"/>
                    <a:pt x="2705576" y="241459"/>
                    <a:pt x="2705576" y="243364"/>
                  </a:cubicBezTo>
                  <a:close/>
                  <a:moveTo>
                    <a:pt x="2697956" y="312896"/>
                  </a:moveTo>
                  <a:cubicBezTo>
                    <a:pt x="2697956" y="312896"/>
                    <a:pt x="2697956" y="313849"/>
                    <a:pt x="2697956" y="313849"/>
                  </a:cubicBezTo>
                  <a:cubicBezTo>
                    <a:pt x="2697956" y="312896"/>
                    <a:pt x="2697956" y="311944"/>
                    <a:pt x="2697956" y="310991"/>
                  </a:cubicBezTo>
                  <a:lnTo>
                    <a:pt x="2697956" y="312896"/>
                  </a:lnTo>
                  <a:close/>
                  <a:moveTo>
                    <a:pt x="2664619" y="234791"/>
                  </a:moveTo>
                  <a:cubicBezTo>
                    <a:pt x="2665571" y="235744"/>
                    <a:pt x="2665571" y="237649"/>
                    <a:pt x="2666524" y="238601"/>
                  </a:cubicBezTo>
                  <a:cubicBezTo>
                    <a:pt x="2668429" y="253841"/>
                    <a:pt x="2670334" y="270034"/>
                    <a:pt x="2673191" y="287179"/>
                  </a:cubicBezTo>
                  <a:cubicBezTo>
                    <a:pt x="2672239" y="284321"/>
                    <a:pt x="2671286" y="282416"/>
                    <a:pt x="2670334" y="279559"/>
                  </a:cubicBezTo>
                  <a:cubicBezTo>
                    <a:pt x="2670334" y="279559"/>
                    <a:pt x="2670334" y="278606"/>
                    <a:pt x="2670334" y="278606"/>
                  </a:cubicBezTo>
                  <a:cubicBezTo>
                    <a:pt x="2670334" y="276701"/>
                    <a:pt x="2671286" y="276701"/>
                    <a:pt x="2671286" y="276701"/>
                  </a:cubicBezTo>
                  <a:cubicBezTo>
                    <a:pt x="2671286" y="276701"/>
                    <a:pt x="2671286" y="277654"/>
                    <a:pt x="2670334" y="278606"/>
                  </a:cubicBezTo>
                  <a:cubicBezTo>
                    <a:pt x="2669381" y="266224"/>
                    <a:pt x="2667476" y="255746"/>
                    <a:pt x="2664619" y="246221"/>
                  </a:cubicBezTo>
                  <a:cubicBezTo>
                    <a:pt x="2664619" y="244316"/>
                    <a:pt x="2663666" y="242411"/>
                    <a:pt x="2663666" y="240506"/>
                  </a:cubicBezTo>
                  <a:cubicBezTo>
                    <a:pt x="2663666" y="238601"/>
                    <a:pt x="2663666" y="236696"/>
                    <a:pt x="2664619" y="234791"/>
                  </a:cubicBezTo>
                  <a:close/>
                  <a:moveTo>
                    <a:pt x="2657951" y="339566"/>
                  </a:moveTo>
                  <a:cubicBezTo>
                    <a:pt x="2656999" y="338614"/>
                    <a:pt x="2656999" y="337661"/>
                    <a:pt x="2656046" y="336709"/>
                  </a:cubicBezTo>
                  <a:cubicBezTo>
                    <a:pt x="2656999" y="332899"/>
                    <a:pt x="2656999" y="329089"/>
                    <a:pt x="2657951" y="325279"/>
                  </a:cubicBezTo>
                  <a:cubicBezTo>
                    <a:pt x="2658904" y="330041"/>
                    <a:pt x="2657951" y="334804"/>
                    <a:pt x="2657951" y="339566"/>
                  </a:cubicBezTo>
                  <a:close/>
                  <a:moveTo>
                    <a:pt x="2654141" y="277654"/>
                  </a:moveTo>
                  <a:cubicBezTo>
                    <a:pt x="2656046" y="284321"/>
                    <a:pt x="2657951" y="291941"/>
                    <a:pt x="2659856" y="298609"/>
                  </a:cubicBezTo>
                  <a:cubicBezTo>
                    <a:pt x="2659856" y="298609"/>
                    <a:pt x="2659856" y="299561"/>
                    <a:pt x="2659856" y="299561"/>
                  </a:cubicBezTo>
                  <a:cubicBezTo>
                    <a:pt x="2657951" y="304324"/>
                    <a:pt x="2656046" y="310039"/>
                    <a:pt x="2653189" y="316706"/>
                  </a:cubicBezTo>
                  <a:cubicBezTo>
                    <a:pt x="2653189" y="317659"/>
                    <a:pt x="2652236" y="318611"/>
                    <a:pt x="2652236" y="319564"/>
                  </a:cubicBezTo>
                  <a:cubicBezTo>
                    <a:pt x="2651284" y="316706"/>
                    <a:pt x="2651284" y="313849"/>
                    <a:pt x="2650331" y="311944"/>
                  </a:cubicBezTo>
                  <a:cubicBezTo>
                    <a:pt x="2649379" y="308134"/>
                    <a:pt x="2648426" y="305276"/>
                    <a:pt x="2647474" y="301466"/>
                  </a:cubicBezTo>
                  <a:cubicBezTo>
                    <a:pt x="2649379" y="293846"/>
                    <a:pt x="2651284" y="286226"/>
                    <a:pt x="2654141" y="277654"/>
                  </a:cubicBezTo>
                  <a:close/>
                  <a:moveTo>
                    <a:pt x="2633186" y="283369"/>
                  </a:moveTo>
                  <a:cubicBezTo>
                    <a:pt x="2633186" y="284321"/>
                    <a:pt x="2633186" y="284321"/>
                    <a:pt x="2633186" y="285274"/>
                  </a:cubicBezTo>
                  <a:cubicBezTo>
                    <a:pt x="2633186" y="285274"/>
                    <a:pt x="2633186" y="286226"/>
                    <a:pt x="2633186" y="286226"/>
                  </a:cubicBezTo>
                  <a:cubicBezTo>
                    <a:pt x="2633186" y="287179"/>
                    <a:pt x="2632234" y="288131"/>
                    <a:pt x="2632234" y="290036"/>
                  </a:cubicBezTo>
                  <a:cubicBezTo>
                    <a:pt x="2633186" y="287179"/>
                    <a:pt x="2633186" y="285274"/>
                    <a:pt x="2633186" y="283369"/>
                  </a:cubicBezTo>
                  <a:close/>
                  <a:moveTo>
                    <a:pt x="2578894" y="242411"/>
                  </a:moveTo>
                  <a:cubicBezTo>
                    <a:pt x="2578894" y="242411"/>
                    <a:pt x="2578894" y="241459"/>
                    <a:pt x="2577941" y="241459"/>
                  </a:cubicBezTo>
                  <a:cubicBezTo>
                    <a:pt x="2578894" y="239554"/>
                    <a:pt x="2579846" y="237649"/>
                    <a:pt x="2580799" y="235744"/>
                  </a:cubicBezTo>
                  <a:cubicBezTo>
                    <a:pt x="2580799" y="235744"/>
                    <a:pt x="2580799" y="235744"/>
                    <a:pt x="2580799" y="235744"/>
                  </a:cubicBezTo>
                  <a:cubicBezTo>
                    <a:pt x="2580799" y="238601"/>
                    <a:pt x="2579846" y="240506"/>
                    <a:pt x="2578894" y="242411"/>
                  </a:cubicBezTo>
                  <a:close/>
                  <a:moveTo>
                    <a:pt x="2597944" y="275749"/>
                  </a:moveTo>
                  <a:cubicBezTo>
                    <a:pt x="2597944" y="275749"/>
                    <a:pt x="2597944" y="274796"/>
                    <a:pt x="2597944" y="274796"/>
                  </a:cubicBezTo>
                  <a:cubicBezTo>
                    <a:pt x="2597944" y="274796"/>
                    <a:pt x="2598896" y="275749"/>
                    <a:pt x="2597944" y="275749"/>
                  </a:cubicBezTo>
                  <a:cubicBezTo>
                    <a:pt x="2598896" y="275749"/>
                    <a:pt x="2597944" y="275749"/>
                    <a:pt x="2597944" y="275749"/>
                  </a:cubicBezTo>
                  <a:close/>
                  <a:moveTo>
                    <a:pt x="2616041" y="309086"/>
                  </a:moveTo>
                  <a:cubicBezTo>
                    <a:pt x="2615089" y="312896"/>
                    <a:pt x="2614136" y="315754"/>
                    <a:pt x="2613184" y="319564"/>
                  </a:cubicBezTo>
                  <a:cubicBezTo>
                    <a:pt x="2613184" y="318611"/>
                    <a:pt x="2613184" y="318611"/>
                    <a:pt x="2613184" y="318611"/>
                  </a:cubicBezTo>
                  <a:cubicBezTo>
                    <a:pt x="2613184" y="318611"/>
                    <a:pt x="2613184" y="319564"/>
                    <a:pt x="2613184" y="319564"/>
                  </a:cubicBezTo>
                  <a:cubicBezTo>
                    <a:pt x="2613184" y="319564"/>
                    <a:pt x="2613184" y="319564"/>
                    <a:pt x="2613184" y="319564"/>
                  </a:cubicBezTo>
                  <a:cubicBezTo>
                    <a:pt x="2609374" y="309086"/>
                    <a:pt x="2604611" y="298609"/>
                    <a:pt x="2600801" y="289084"/>
                  </a:cubicBezTo>
                  <a:cubicBezTo>
                    <a:pt x="2601754" y="287179"/>
                    <a:pt x="2602706" y="284321"/>
                    <a:pt x="2602706" y="282416"/>
                  </a:cubicBezTo>
                  <a:cubicBezTo>
                    <a:pt x="2605564" y="287179"/>
                    <a:pt x="2609374" y="292894"/>
                    <a:pt x="2612231" y="299561"/>
                  </a:cubicBezTo>
                  <a:cubicBezTo>
                    <a:pt x="2613184" y="302419"/>
                    <a:pt x="2615089" y="305276"/>
                    <a:pt x="2616041" y="308134"/>
                  </a:cubicBezTo>
                  <a:lnTo>
                    <a:pt x="2616041" y="309086"/>
                  </a:lnTo>
                  <a:lnTo>
                    <a:pt x="2616041" y="309086"/>
                  </a:lnTo>
                  <a:close/>
                  <a:moveTo>
                    <a:pt x="2604611" y="276701"/>
                  </a:moveTo>
                  <a:cubicBezTo>
                    <a:pt x="2605564" y="272891"/>
                    <a:pt x="2607469" y="270034"/>
                    <a:pt x="2608421" y="267176"/>
                  </a:cubicBezTo>
                  <a:cubicBezTo>
                    <a:pt x="2609374" y="271939"/>
                    <a:pt x="2612231" y="279559"/>
                    <a:pt x="2615089" y="290036"/>
                  </a:cubicBezTo>
                  <a:cubicBezTo>
                    <a:pt x="2611279" y="285274"/>
                    <a:pt x="2608421" y="280511"/>
                    <a:pt x="2604611" y="276701"/>
                  </a:cubicBezTo>
                  <a:close/>
                  <a:moveTo>
                    <a:pt x="2614136" y="276701"/>
                  </a:moveTo>
                  <a:cubicBezTo>
                    <a:pt x="2612231" y="271939"/>
                    <a:pt x="2610326" y="268129"/>
                    <a:pt x="2609374" y="266224"/>
                  </a:cubicBezTo>
                  <a:cubicBezTo>
                    <a:pt x="2610326" y="263366"/>
                    <a:pt x="2611279" y="260509"/>
                    <a:pt x="2612231" y="257651"/>
                  </a:cubicBezTo>
                  <a:cubicBezTo>
                    <a:pt x="2612231" y="263366"/>
                    <a:pt x="2613184" y="270034"/>
                    <a:pt x="2614136" y="276701"/>
                  </a:cubicBezTo>
                  <a:close/>
                  <a:moveTo>
                    <a:pt x="2606516" y="208121"/>
                  </a:moveTo>
                  <a:cubicBezTo>
                    <a:pt x="2607469" y="221456"/>
                    <a:pt x="2609374" y="235744"/>
                    <a:pt x="2611279" y="250984"/>
                  </a:cubicBezTo>
                  <a:cubicBezTo>
                    <a:pt x="2611279" y="250984"/>
                    <a:pt x="2611279" y="251936"/>
                    <a:pt x="2611279" y="251936"/>
                  </a:cubicBezTo>
                  <a:cubicBezTo>
                    <a:pt x="2608421" y="256699"/>
                    <a:pt x="2604611" y="263366"/>
                    <a:pt x="2600801" y="271939"/>
                  </a:cubicBezTo>
                  <a:cubicBezTo>
                    <a:pt x="2599849" y="270034"/>
                    <a:pt x="2598896" y="269081"/>
                    <a:pt x="2597944" y="268129"/>
                  </a:cubicBezTo>
                  <a:cubicBezTo>
                    <a:pt x="2596991" y="257651"/>
                    <a:pt x="2596039" y="247174"/>
                    <a:pt x="2595086" y="237649"/>
                  </a:cubicBezTo>
                  <a:cubicBezTo>
                    <a:pt x="2595086" y="234791"/>
                    <a:pt x="2594134" y="230981"/>
                    <a:pt x="2594134" y="228124"/>
                  </a:cubicBezTo>
                  <a:cubicBezTo>
                    <a:pt x="2598896" y="207169"/>
                    <a:pt x="2602706" y="190976"/>
                    <a:pt x="2605564" y="179546"/>
                  </a:cubicBezTo>
                  <a:cubicBezTo>
                    <a:pt x="2604611" y="188119"/>
                    <a:pt x="2605564" y="197644"/>
                    <a:pt x="2606516" y="208121"/>
                  </a:cubicBezTo>
                  <a:close/>
                  <a:moveTo>
                    <a:pt x="2586514" y="186214"/>
                  </a:moveTo>
                  <a:cubicBezTo>
                    <a:pt x="2591276" y="175736"/>
                    <a:pt x="2595086" y="167164"/>
                    <a:pt x="2598896" y="159544"/>
                  </a:cubicBezTo>
                  <a:cubicBezTo>
                    <a:pt x="2599849" y="157639"/>
                    <a:pt x="2600801" y="155734"/>
                    <a:pt x="2601754" y="153829"/>
                  </a:cubicBezTo>
                  <a:cubicBezTo>
                    <a:pt x="2602706" y="159544"/>
                    <a:pt x="2602706" y="166211"/>
                    <a:pt x="2603659" y="173831"/>
                  </a:cubicBezTo>
                  <a:cubicBezTo>
                    <a:pt x="2600801" y="182404"/>
                    <a:pt x="2596039" y="194786"/>
                    <a:pt x="2590324" y="210979"/>
                  </a:cubicBezTo>
                  <a:cubicBezTo>
                    <a:pt x="2589371" y="202406"/>
                    <a:pt x="2587466" y="194786"/>
                    <a:pt x="2586514" y="187166"/>
                  </a:cubicBezTo>
                  <a:cubicBezTo>
                    <a:pt x="2586514" y="187166"/>
                    <a:pt x="2586514" y="187166"/>
                    <a:pt x="2586514" y="186214"/>
                  </a:cubicBezTo>
                  <a:close/>
                  <a:moveTo>
                    <a:pt x="2584609" y="408146"/>
                  </a:moveTo>
                  <a:cubicBezTo>
                    <a:pt x="2584609" y="408146"/>
                    <a:pt x="2584609" y="409099"/>
                    <a:pt x="2584609" y="408146"/>
                  </a:cubicBezTo>
                  <a:cubicBezTo>
                    <a:pt x="2583656" y="403384"/>
                    <a:pt x="2582704" y="398621"/>
                    <a:pt x="2581751" y="393859"/>
                  </a:cubicBezTo>
                  <a:cubicBezTo>
                    <a:pt x="2582704" y="398621"/>
                    <a:pt x="2583656" y="403384"/>
                    <a:pt x="2584609" y="408146"/>
                  </a:cubicBezTo>
                  <a:close/>
                  <a:moveTo>
                    <a:pt x="2580799" y="199549"/>
                  </a:moveTo>
                  <a:cubicBezTo>
                    <a:pt x="2580799" y="208121"/>
                    <a:pt x="2581751" y="217646"/>
                    <a:pt x="2581751" y="228124"/>
                  </a:cubicBezTo>
                  <a:cubicBezTo>
                    <a:pt x="2580799" y="229076"/>
                    <a:pt x="2579846" y="230029"/>
                    <a:pt x="2578894" y="231934"/>
                  </a:cubicBezTo>
                  <a:cubicBezTo>
                    <a:pt x="2577941" y="232886"/>
                    <a:pt x="2576989" y="234791"/>
                    <a:pt x="2575084" y="236696"/>
                  </a:cubicBezTo>
                  <a:cubicBezTo>
                    <a:pt x="2574131" y="235744"/>
                    <a:pt x="2574131" y="234791"/>
                    <a:pt x="2573179" y="233839"/>
                  </a:cubicBezTo>
                  <a:cubicBezTo>
                    <a:pt x="2573179" y="231934"/>
                    <a:pt x="2573179" y="230981"/>
                    <a:pt x="2572226" y="229076"/>
                  </a:cubicBezTo>
                  <a:cubicBezTo>
                    <a:pt x="2572226" y="226219"/>
                    <a:pt x="2571274" y="222409"/>
                    <a:pt x="2571274" y="219551"/>
                  </a:cubicBezTo>
                  <a:cubicBezTo>
                    <a:pt x="2575084" y="211931"/>
                    <a:pt x="2577941" y="206216"/>
                    <a:pt x="2580799" y="199549"/>
                  </a:cubicBezTo>
                  <a:close/>
                  <a:moveTo>
                    <a:pt x="2569369" y="320516"/>
                  </a:moveTo>
                  <a:cubicBezTo>
                    <a:pt x="2569369" y="322421"/>
                    <a:pt x="2570321" y="325279"/>
                    <a:pt x="2570321" y="327184"/>
                  </a:cubicBezTo>
                  <a:cubicBezTo>
                    <a:pt x="2570321" y="328136"/>
                    <a:pt x="2570321" y="329089"/>
                    <a:pt x="2571274" y="330041"/>
                  </a:cubicBezTo>
                  <a:cubicBezTo>
                    <a:pt x="2568416" y="334804"/>
                    <a:pt x="2566511" y="339566"/>
                    <a:pt x="2563654" y="345281"/>
                  </a:cubicBezTo>
                  <a:cubicBezTo>
                    <a:pt x="2563654" y="344329"/>
                    <a:pt x="2562701" y="343376"/>
                    <a:pt x="2562701" y="342424"/>
                  </a:cubicBezTo>
                  <a:cubicBezTo>
                    <a:pt x="2565559" y="334804"/>
                    <a:pt x="2567464" y="328136"/>
                    <a:pt x="2569369" y="320516"/>
                  </a:cubicBezTo>
                  <a:close/>
                  <a:moveTo>
                    <a:pt x="2556034" y="262414"/>
                  </a:moveTo>
                  <a:cubicBezTo>
                    <a:pt x="2556986" y="258604"/>
                    <a:pt x="2558891" y="255746"/>
                    <a:pt x="2559844" y="251936"/>
                  </a:cubicBezTo>
                  <a:cubicBezTo>
                    <a:pt x="2559844" y="253841"/>
                    <a:pt x="2559844" y="255746"/>
                    <a:pt x="2560796" y="257651"/>
                  </a:cubicBezTo>
                  <a:cubicBezTo>
                    <a:pt x="2560796" y="258604"/>
                    <a:pt x="2559844" y="258604"/>
                    <a:pt x="2559844" y="259556"/>
                  </a:cubicBezTo>
                  <a:cubicBezTo>
                    <a:pt x="2557939" y="262414"/>
                    <a:pt x="2556034" y="266224"/>
                    <a:pt x="2554129" y="269081"/>
                  </a:cubicBezTo>
                  <a:cubicBezTo>
                    <a:pt x="2554129" y="266224"/>
                    <a:pt x="2555081" y="264319"/>
                    <a:pt x="2556034" y="262414"/>
                  </a:cubicBezTo>
                  <a:close/>
                  <a:moveTo>
                    <a:pt x="2561749" y="276701"/>
                  </a:moveTo>
                  <a:cubicBezTo>
                    <a:pt x="2561749" y="275749"/>
                    <a:pt x="2561749" y="275749"/>
                    <a:pt x="2562701" y="274796"/>
                  </a:cubicBezTo>
                  <a:cubicBezTo>
                    <a:pt x="2563654" y="278606"/>
                    <a:pt x="2563654" y="283369"/>
                    <a:pt x="2564606" y="287179"/>
                  </a:cubicBezTo>
                  <a:cubicBezTo>
                    <a:pt x="2562701" y="293846"/>
                    <a:pt x="2559844" y="301466"/>
                    <a:pt x="2557939" y="309086"/>
                  </a:cubicBezTo>
                  <a:cubicBezTo>
                    <a:pt x="2556986" y="310991"/>
                    <a:pt x="2556986" y="312896"/>
                    <a:pt x="2556034" y="313849"/>
                  </a:cubicBezTo>
                  <a:cubicBezTo>
                    <a:pt x="2555081" y="308134"/>
                    <a:pt x="2554129" y="302419"/>
                    <a:pt x="2553176" y="296704"/>
                  </a:cubicBezTo>
                  <a:cubicBezTo>
                    <a:pt x="2556034" y="290036"/>
                    <a:pt x="2558891" y="282416"/>
                    <a:pt x="2561749" y="276701"/>
                  </a:cubicBezTo>
                  <a:close/>
                  <a:moveTo>
                    <a:pt x="2538889" y="252889"/>
                  </a:moveTo>
                  <a:cubicBezTo>
                    <a:pt x="2539841" y="249079"/>
                    <a:pt x="2539841" y="245269"/>
                    <a:pt x="2540794" y="242411"/>
                  </a:cubicBezTo>
                  <a:cubicBezTo>
                    <a:pt x="2540794" y="241459"/>
                    <a:pt x="2541746" y="239554"/>
                    <a:pt x="2542699" y="238601"/>
                  </a:cubicBezTo>
                  <a:cubicBezTo>
                    <a:pt x="2543651" y="236696"/>
                    <a:pt x="2543651" y="234791"/>
                    <a:pt x="2544604" y="233839"/>
                  </a:cubicBezTo>
                  <a:cubicBezTo>
                    <a:pt x="2544604" y="237649"/>
                    <a:pt x="2543651" y="242411"/>
                    <a:pt x="2543651" y="248126"/>
                  </a:cubicBezTo>
                  <a:cubicBezTo>
                    <a:pt x="2543651" y="250984"/>
                    <a:pt x="2543651" y="253841"/>
                    <a:pt x="2542699" y="257651"/>
                  </a:cubicBezTo>
                  <a:cubicBezTo>
                    <a:pt x="2540794" y="261461"/>
                    <a:pt x="2539841" y="264319"/>
                    <a:pt x="2537936" y="268129"/>
                  </a:cubicBezTo>
                  <a:cubicBezTo>
                    <a:pt x="2537936" y="263366"/>
                    <a:pt x="2537936" y="257651"/>
                    <a:pt x="2538889" y="252889"/>
                  </a:cubicBezTo>
                  <a:close/>
                  <a:moveTo>
                    <a:pt x="2521744" y="475774"/>
                  </a:moveTo>
                  <a:cubicBezTo>
                    <a:pt x="2521744" y="478631"/>
                    <a:pt x="2522696" y="481489"/>
                    <a:pt x="2522696" y="484346"/>
                  </a:cubicBezTo>
                  <a:cubicBezTo>
                    <a:pt x="2521744" y="482441"/>
                    <a:pt x="2521744" y="481489"/>
                    <a:pt x="2520791" y="479584"/>
                  </a:cubicBezTo>
                  <a:cubicBezTo>
                    <a:pt x="2521744" y="478631"/>
                    <a:pt x="2521744" y="477679"/>
                    <a:pt x="2521744" y="475774"/>
                  </a:cubicBezTo>
                  <a:close/>
                  <a:moveTo>
                    <a:pt x="2514124" y="323374"/>
                  </a:moveTo>
                  <a:cubicBezTo>
                    <a:pt x="2514124" y="323374"/>
                    <a:pt x="2515076" y="323374"/>
                    <a:pt x="2514124" y="323374"/>
                  </a:cubicBezTo>
                  <a:cubicBezTo>
                    <a:pt x="2514124" y="325279"/>
                    <a:pt x="2513171" y="326231"/>
                    <a:pt x="2513171" y="328136"/>
                  </a:cubicBezTo>
                  <a:cubicBezTo>
                    <a:pt x="2513171" y="328136"/>
                    <a:pt x="2513171" y="328136"/>
                    <a:pt x="2513171" y="329089"/>
                  </a:cubicBezTo>
                  <a:cubicBezTo>
                    <a:pt x="2513171" y="326231"/>
                    <a:pt x="2514124" y="324326"/>
                    <a:pt x="2514124" y="323374"/>
                  </a:cubicBezTo>
                  <a:close/>
                  <a:moveTo>
                    <a:pt x="2509361" y="300514"/>
                  </a:moveTo>
                  <a:cubicBezTo>
                    <a:pt x="2509361" y="301466"/>
                    <a:pt x="2509361" y="301466"/>
                    <a:pt x="2508409" y="302419"/>
                  </a:cubicBezTo>
                  <a:cubicBezTo>
                    <a:pt x="2508409" y="302419"/>
                    <a:pt x="2508409" y="302419"/>
                    <a:pt x="2508409" y="302419"/>
                  </a:cubicBezTo>
                  <a:cubicBezTo>
                    <a:pt x="2508409" y="299561"/>
                    <a:pt x="2507456" y="297656"/>
                    <a:pt x="2507456" y="294799"/>
                  </a:cubicBezTo>
                  <a:cubicBezTo>
                    <a:pt x="2508409" y="296704"/>
                    <a:pt x="2509361" y="298609"/>
                    <a:pt x="2509361" y="300514"/>
                  </a:cubicBezTo>
                  <a:close/>
                  <a:moveTo>
                    <a:pt x="2496979" y="292894"/>
                  </a:moveTo>
                  <a:cubicBezTo>
                    <a:pt x="2497931" y="290989"/>
                    <a:pt x="2497931" y="290036"/>
                    <a:pt x="2497931" y="290036"/>
                  </a:cubicBezTo>
                  <a:cubicBezTo>
                    <a:pt x="2497931" y="290036"/>
                    <a:pt x="2497931" y="290989"/>
                    <a:pt x="2496979" y="290989"/>
                  </a:cubicBezTo>
                  <a:cubicBezTo>
                    <a:pt x="2496979" y="289084"/>
                    <a:pt x="2496979" y="286226"/>
                    <a:pt x="2497931" y="284321"/>
                  </a:cubicBezTo>
                  <a:cubicBezTo>
                    <a:pt x="2497931" y="278606"/>
                    <a:pt x="2498884" y="272891"/>
                    <a:pt x="2498884" y="269081"/>
                  </a:cubicBezTo>
                  <a:cubicBezTo>
                    <a:pt x="2498884" y="268129"/>
                    <a:pt x="2498884" y="267176"/>
                    <a:pt x="2498884" y="266224"/>
                  </a:cubicBezTo>
                  <a:cubicBezTo>
                    <a:pt x="2499836" y="270034"/>
                    <a:pt x="2500789" y="273844"/>
                    <a:pt x="2502694" y="277654"/>
                  </a:cubicBezTo>
                  <a:cubicBezTo>
                    <a:pt x="2502694" y="279559"/>
                    <a:pt x="2502694" y="281464"/>
                    <a:pt x="2502694" y="283369"/>
                  </a:cubicBezTo>
                  <a:cubicBezTo>
                    <a:pt x="2502694" y="288131"/>
                    <a:pt x="2501741" y="294799"/>
                    <a:pt x="2501741" y="302419"/>
                  </a:cubicBezTo>
                  <a:cubicBezTo>
                    <a:pt x="2501741" y="306229"/>
                    <a:pt x="2501741" y="310039"/>
                    <a:pt x="2501741" y="313849"/>
                  </a:cubicBezTo>
                  <a:cubicBezTo>
                    <a:pt x="2501741" y="317659"/>
                    <a:pt x="2500789" y="321469"/>
                    <a:pt x="2500789" y="325279"/>
                  </a:cubicBezTo>
                  <a:cubicBezTo>
                    <a:pt x="2500789" y="325279"/>
                    <a:pt x="2500789" y="326231"/>
                    <a:pt x="2500789" y="326231"/>
                  </a:cubicBezTo>
                  <a:cubicBezTo>
                    <a:pt x="2500789" y="322421"/>
                    <a:pt x="2499836" y="319564"/>
                    <a:pt x="2499836" y="315754"/>
                  </a:cubicBezTo>
                  <a:cubicBezTo>
                    <a:pt x="2499836" y="313849"/>
                    <a:pt x="2499836" y="311944"/>
                    <a:pt x="2499836" y="310039"/>
                  </a:cubicBezTo>
                  <a:cubicBezTo>
                    <a:pt x="2499836" y="305276"/>
                    <a:pt x="2500789" y="300514"/>
                    <a:pt x="2500789" y="297656"/>
                  </a:cubicBezTo>
                  <a:cubicBezTo>
                    <a:pt x="2500789" y="290989"/>
                    <a:pt x="2500789" y="286226"/>
                    <a:pt x="2500789" y="286226"/>
                  </a:cubicBezTo>
                  <a:cubicBezTo>
                    <a:pt x="2500789" y="286226"/>
                    <a:pt x="2498884" y="289084"/>
                    <a:pt x="2496979" y="292894"/>
                  </a:cubicBezTo>
                  <a:cubicBezTo>
                    <a:pt x="2496979" y="293846"/>
                    <a:pt x="2496979" y="293846"/>
                    <a:pt x="2496979" y="292894"/>
                  </a:cubicBezTo>
                  <a:close/>
                  <a:moveTo>
                    <a:pt x="2449354" y="334804"/>
                  </a:moveTo>
                  <a:cubicBezTo>
                    <a:pt x="2448401" y="332899"/>
                    <a:pt x="2448401" y="330041"/>
                    <a:pt x="2447449" y="328136"/>
                  </a:cubicBezTo>
                  <a:cubicBezTo>
                    <a:pt x="2448401" y="326231"/>
                    <a:pt x="2449354" y="323374"/>
                    <a:pt x="2450306" y="321469"/>
                  </a:cubicBezTo>
                  <a:cubicBezTo>
                    <a:pt x="2450306" y="321469"/>
                    <a:pt x="2450306" y="322421"/>
                    <a:pt x="2450306" y="322421"/>
                  </a:cubicBezTo>
                  <a:cubicBezTo>
                    <a:pt x="2450306" y="323374"/>
                    <a:pt x="2450306" y="323374"/>
                    <a:pt x="2451259" y="324326"/>
                  </a:cubicBezTo>
                  <a:cubicBezTo>
                    <a:pt x="2450306" y="327184"/>
                    <a:pt x="2449354" y="330994"/>
                    <a:pt x="2449354" y="334804"/>
                  </a:cubicBezTo>
                  <a:close/>
                  <a:moveTo>
                    <a:pt x="2450306" y="254794"/>
                  </a:moveTo>
                  <a:cubicBezTo>
                    <a:pt x="2450306" y="253841"/>
                    <a:pt x="2451259" y="252889"/>
                    <a:pt x="2451259" y="251936"/>
                  </a:cubicBezTo>
                  <a:cubicBezTo>
                    <a:pt x="2451259" y="251936"/>
                    <a:pt x="2451259" y="251936"/>
                    <a:pt x="2451259" y="250984"/>
                  </a:cubicBezTo>
                  <a:cubicBezTo>
                    <a:pt x="2451259" y="250984"/>
                    <a:pt x="2451259" y="251936"/>
                    <a:pt x="2451259" y="251936"/>
                  </a:cubicBezTo>
                  <a:cubicBezTo>
                    <a:pt x="2451259" y="252889"/>
                    <a:pt x="2451259" y="253841"/>
                    <a:pt x="2450306" y="254794"/>
                  </a:cubicBezTo>
                  <a:close/>
                  <a:moveTo>
                    <a:pt x="2452211" y="251936"/>
                  </a:moveTo>
                  <a:cubicBezTo>
                    <a:pt x="2452211" y="251936"/>
                    <a:pt x="2452211" y="250984"/>
                    <a:pt x="2451259" y="250984"/>
                  </a:cubicBezTo>
                  <a:cubicBezTo>
                    <a:pt x="2453164" y="246221"/>
                    <a:pt x="2454116" y="242411"/>
                    <a:pt x="2456021" y="238601"/>
                  </a:cubicBezTo>
                  <a:cubicBezTo>
                    <a:pt x="2457926" y="236696"/>
                    <a:pt x="2458879" y="233839"/>
                    <a:pt x="2460784" y="231934"/>
                  </a:cubicBezTo>
                  <a:cubicBezTo>
                    <a:pt x="2460784" y="232886"/>
                    <a:pt x="2459831" y="234791"/>
                    <a:pt x="2459831" y="235744"/>
                  </a:cubicBezTo>
                  <a:cubicBezTo>
                    <a:pt x="2458879" y="239554"/>
                    <a:pt x="2456974" y="243364"/>
                    <a:pt x="2456021" y="248126"/>
                  </a:cubicBezTo>
                  <a:cubicBezTo>
                    <a:pt x="2455069" y="248126"/>
                    <a:pt x="2454116" y="250031"/>
                    <a:pt x="2452211" y="251936"/>
                  </a:cubicBezTo>
                  <a:close/>
                  <a:moveTo>
                    <a:pt x="2457926" y="266224"/>
                  </a:moveTo>
                  <a:cubicBezTo>
                    <a:pt x="2457926" y="267176"/>
                    <a:pt x="2456974" y="267176"/>
                    <a:pt x="2456974" y="268129"/>
                  </a:cubicBezTo>
                  <a:cubicBezTo>
                    <a:pt x="2457926" y="267176"/>
                    <a:pt x="2457926" y="266224"/>
                    <a:pt x="2457926" y="266224"/>
                  </a:cubicBezTo>
                  <a:cubicBezTo>
                    <a:pt x="2457926" y="265271"/>
                    <a:pt x="2457926" y="266224"/>
                    <a:pt x="2457926" y="266224"/>
                  </a:cubicBezTo>
                  <a:close/>
                  <a:moveTo>
                    <a:pt x="2457926" y="374809"/>
                  </a:moveTo>
                  <a:cubicBezTo>
                    <a:pt x="2456974" y="371951"/>
                    <a:pt x="2456974" y="369094"/>
                    <a:pt x="2456021" y="367189"/>
                  </a:cubicBezTo>
                  <a:cubicBezTo>
                    <a:pt x="2456021" y="365284"/>
                    <a:pt x="2456021" y="364331"/>
                    <a:pt x="2456021" y="362426"/>
                  </a:cubicBezTo>
                  <a:cubicBezTo>
                    <a:pt x="2456021" y="355759"/>
                    <a:pt x="2456021" y="350044"/>
                    <a:pt x="2456021" y="344329"/>
                  </a:cubicBezTo>
                  <a:cubicBezTo>
                    <a:pt x="2456974" y="347186"/>
                    <a:pt x="2457926" y="350996"/>
                    <a:pt x="2458879" y="354806"/>
                  </a:cubicBezTo>
                  <a:cubicBezTo>
                    <a:pt x="2459831" y="361474"/>
                    <a:pt x="2458879" y="368141"/>
                    <a:pt x="2457926" y="374809"/>
                  </a:cubicBezTo>
                  <a:close/>
                  <a:moveTo>
                    <a:pt x="2456974" y="308134"/>
                  </a:moveTo>
                  <a:cubicBezTo>
                    <a:pt x="2456974" y="307181"/>
                    <a:pt x="2456974" y="306229"/>
                    <a:pt x="2456974" y="305276"/>
                  </a:cubicBezTo>
                  <a:cubicBezTo>
                    <a:pt x="2456974" y="304324"/>
                    <a:pt x="2457926" y="303371"/>
                    <a:pt x="2457926" y="302419"/>
                  </a:cubicBezTo>
                  <a:cubicBezTo>
                    <a:pt x="2458879" y="306229"/>
                    <a:pt x="2458879" y="310039"/>
                    <a:pt x="2459831" y="313849"/>
                  </a:cubicBezTo>
                  <a:cubicBezTo>
                    <a:pt x="2459831" y="314801"/>
                    <a:pt x="2459831" y="315754"/>
                    <a:pt x="2460784" y="317659"/>
                  </a:cubicBezTo>
                  <a:cubicBezTo>
                    <a:pt x="2458879" y="313849"/>
                    <a:pt x="2457926" y="310991"/>
                    <a:pt x="2456974" y="308134"/>
                  </a:cubicBezTo>
                  <a:close/>
                  <a:moveTo>
                    <a:pt x="2458879" y="290036"/>
                  </a:moveTo>
                  <a:cubicBezTo>
                    <a:pt x="2458879" y="289084"/>
                    <a:pt x="2459831" y="288131"/>
                    <a:pt x="2459831" y="287179"/>
                  </a:cubicBezTo>
                  <a:cubicBezTo>
                    <a:pt x="2460784" y="284321"/>
                    <a:pt x="2461736" y="280511"/>
                    <a:pt x="2463641" y="277654"/>
                  </a:cubicBezTo>
                  <a:cubicBezTo>
                    <a:pt x="2464594" y="278606"/>
                    <a:pt x="2464594" y="280511"/>
                    <a:pt x="2465546" y="281464"/>
                  </a:cubicBezTo>
                  <a:cubicBezTo>
                    <a:pt x="2463641" y="284321"/>
                    <a:pt x="2461736" y="287179"/>
                    <a:pt x="2458879" y="290036"/>
                  </a:cubicBezTo>
                  <a:close/>
                  <a:moveTo>
                    <a:pt x="2464594" y="305276"/>
                  </a:moveTo>
                  <a:cubicBezTo>
                    <a:pt x="2463641" y="301466"/>
                    <a:pt x="2462689" y="298609"/>
                    <a:pt x="2460784" y="295751"/>
                  </a:cubicBezTo>
                  <a:cubicBezTo>
                    <a:pt x="2460784" y="294799"/>
                    <a:pt x="2461736" y="293846"/>
                    <a:pt x="2462689" y="292894"/>
                  </a:cubicBezTo>
                  <a:cubicBezTo>
                    <a:pt x="2464594" y="290036"/>
                    <a:pt x="2465546" y="287179"/>
                    <a:pt x="2466499" y="285274"/>
                  </a:cubicBezTo>
                  <a:cubicBezTo>
                    <a:pt x="2465546" y="290989"/>
                    <a:pt x="2465546" y="297656"/>
                    <a:pt x="2464594" y="305276"/>
                  </a:cubicBezTo>
                  <a:close/>
                  <a:moveTo>
                    <a:pt x="2467451" y="274796"/>
                  </a:moveTo>
                  <a:cubicBezTo>
                    <a:pt x="2467451" y="273844"/>
                    <a:pt x="2466499" y="272891"/>
                    <a:pt x="2466499" y="272891"/>
                  </a:cubicBezTo>
                  <a:cubicBezTo>
                    <a:pt x="2467451" y="270986"/>
                    <a:pt x="2467451" y="270034"/>
                    <a:pt x="2468404" y="268129"/>
                  </a:cubicBezTo>
                  <a:cubicBezTo>
                    <a:pt x="2468404" y="270034"/>
                    <a:pt x="2467451" y="272891"/>
                    <a:pt x="2467451" y="274796"/>
                  </a:cubicBezTo>
                  <a:close/>
                  <a:moveTo>
                    <a:pt x="2471261" y="233839"/>
                  </a:moveTo>
                  <a:cubicBezTo>
                    <a:pt x="2471261" y="233839"/>
                    <a:pt x="2471261" y="237649"/>
                    <a:pt x="2470309" y="245269"/>
                  </a:cubicBezTo>
                  <a:cubicBezTo>
                    <a:pt x="2470309" y="245269"/>
                    <a:pt x="2470309" y="246221"/>
                    <a:pt x="2469356" y="246221"/>
                  </a:cubicBezTo>
                  <a:cubicBezTo>
                    <a:pt x="2466499" y="251936"/>
                    <a:pt x="2462689" y="256699"/>
                    <a:pt x="2459831" y="263366"/>
                  </a:cubicBezTo>
                  <a:cubicBezTo>
                    <a:pt x="2459831" y="262414"/>
                    <a:pt x="2458879" y="262414"/>
                    <a:pt x="2458879" y="261461"/>
                  </a:cubicBezTo>
                  <a:cubicBezTo>
                    <a:pt x="2459831" y="256699"/>
                    <a:pt x="2460784" y="250984"/>
                    <a:pt x="2461736" y="247174"/>
                  </a:cubicBezTo>
                  <a:cubicBezTo>
                    <a:pt x="2461736" y="246221"/>
                    <a:pt x="2462689" y="246221"/>
                    <a:pt x="2462689" y="245269"/>
                  </a:cubicBezTo>
                  <a:cubicBezTo>
                    <a:pt x="2466499" y="239554"/>
                    <a:pt x="2469356" y="234791"/>
                    <a:pt x="2472214" y="231934"/>
                  </a:cubicBezTo>
                  <a:cubicBezTo>
                    <a:pt x="2472214" y="231934"/>
                    <a:pt x="2472214" y="231934"/>
                    <a:pt x="2472214" y="231934"/>
                  </a:cubicBezTo>
                  <a:cubicBezTo>
                    <a:pt x="2472214" y="234791"/>
                    <a:pt x="2473166" y="237649"/>
                    <a:pt x="2473166" y="240506"/>
                  </a:cubicBezTo>
                  <a:cubicBezTo>
                    <a:pt x="2473166" y="241459"/>
                    <a:pt x="2472214" y="241459"/>
                    <a:pt x="2472214" y="242411"/>
                  </a:cubicBezTo>
                  <a:cubicBezTo>
                    <a:pt x="2472214" y="236696"/>
                    <a:pt x="2471261" y="233839"/>
                    <a:pt x="2471261" y="233839"/>
                  </a:cubicBezTo>
                  <a:close/>
                  <a:moveTo>
                    <a:pt x="2467451" y="211931"/>
                  </a:moveTo>
                  <a:cubicBezTo>
                    <a:pt x="2466499" y="212884"/>
                    <a:pt x="2466499" y="212884"/>
                    <a:pt x="2465546" y="213836"/>
                  </a:cubicBezTo>
                  <a:cubicBezTo>
                    <a:pt x="2465546" y="212884"/>
                    <a:pt x="2465546" y="212884"/>
                    <a:pt x="2466499" y="211931"/>
                  </a:cubicBezTo>
                  <a:cubicBezTo>
                    <a:pt x="2467451" y="210026"/>
                    <a:pt x="2467451" y="209074"/>
                    <a:pt x="2468404" y="208121"/>
                  </a:cubicBezTo>
                  <a:cubicBezTo>
                    <a:pt x="2468404" y="209074"/>
                    <a:pt x="2468404" y="210026"/>
                    <a:pt x="2468404" y="210979"/>
                  </a:cubicBezTo>
                  <a:cubicBezTo>
                    <a:pt x="2468404" y="210979"/>
                    <a:pt x="2468404" y="210979"/>
                    <a:pt x="2467451" y="211931"/>
                  </a:cubicBezTo>
                  <a:cubicBezTo>
                    <a:pt x="2468404" y="210979"/>
                    <a:pt x="2468404" y="210979"/>
                    <a:pt x="2467451" y="211931"/>
                  </a:cubicBezTo>
                  <a:cubicBezTo>
                    <a:pt x="2468404" y="210979"/>
                    <a:pt x="2467451" y="210979"/>
                    <a:pt x="2467451" y="211931"/>
                  </a:cubicBezTo>
                  <a:close/>
                  <a:moveTo>
                    <a:pt x="2470309" y="218599"/>
                  </a:moveTo>
                  <a:cubicBezTo>
                    <a:pt x="2471261" y="222409"/>
                    <a:pt x="2471261" y="226219"/>
                    <a:pt x="2472214" y="230029"/>
                  </a:cubicBezTo>
                  <a:cubicBezTo>
                    <a:pt x="2472214" y="230029"/>
                    <a:pt x="2472214" y="230029"/>
                    <a:pt x="2472214" y="230029"/>
                  </a:cubicBezTo>
                  <a:cubicBezTo>
                    <a:pt x="2470309" y="231934"/>
                    <a:pt x="2467451" y="234791"/>
                    <a:pt x="2463641" y="237649"/>
                  </a:cubicBezTo>
                  <a:cubicBezTo>
                    <a:pt x="2463641" y="236696"/>
                    <a:pt x="2463641" y="235744"/>
                    <a:pt x="2464594" y="234791"/>
                  </a:cubicBezTo>
                  <a:cubicBezTo>
                    <a:pt x="2465546" y="230981"/>
                    <a:pt x="2465546" y="227171"/>
                    <a:pt x="2466499" y="224314"/>
                  </a:cubicBezTo>
                  <a:cubicBezTo>
                    <a:pt x="2466499" y="224314"/>
                    <a:pt x="2466499" y="224314"/>
                    <a:pt x="2466499" y="224314"/>
                  </a:cubicBezTo>
                  <a:cubicBezTo>
                    <a:pt x="2467451" y="223361"/>
                    <a:pt x="2468404" y="220504"/>
                    <a:pt x="2470309" y="218599"/>
                  </a:cubicBezTo>
                  <a:close/>
                  <a:moveTo>
                    <a:pt x="2477929" y="223361"/>
                  </a:moveTo>
                  <a:cubicBezTo>
                    <a:pt x="2476976" y="219551"/>
                    <a:pt x="2476024" y="215741"/>
                    <a:pt x="2475071" y="212884"/>
                  </a:cubicBezTo>
                  <a:cubicBezTo>
                    <a:pt x="2476024" y="211931"/>
                    <a:pt x="2476976" y="210026"/>
                    <a:pt x="2477929" y="209074"/>
                  </a:cubicBezTo>
                  <a:cubicBezTo>
                    <a:pt x="2477929" y="211931"/>
                    <a:pt x="2477929" y="214789"/>
                    <a:pt x="2477929" y="217646"/>
                  </a:cubicBezTo>
                  <a:cubicBezTo>
                    <a:pt x="2477929" y="219551"/>
                    <a:pt x="2477929" y="221456"/>
                    <a:pt x="2477929" y="223361"/>
                  </a:cubicBezTo>
                  <a:close/>
                  <a:moveTo>
                    <a:pt x="2473166" y="206216"/>
                  </a:moveTo>
                  <a:cubicBezTo>
                    <a:pt x="2473166" y="205264"/>
                    <a:pt x="2472214" y="204311"/>
                    <a:pt x="2472214" y="203359"/>
                  </a:cubicBezTo>
                  <a:cubicBezTo>
                    <a:pt x="2472214" y="202406"/>
                    <a:pt x="2472214" y="202406"/>
                    <a:pt x="2471261" y="201454"/>
                  </a:cubicBezTo>
                  <a:cubicBezTo>
                    <a:pt x="2472214" y="199549"/>
                    <a:pt x="2473166" y="197644"/>
                    <a:pt x="2474119" y="195739"/>
                  </a:cubicBezTo>
                  <a:cubicBezTo>
                    <a:pt x="2475071" y="193834"/>
                    <a:pt x="2476976" y="190976"/>
                    <a:pt x="2477929" y="189071"/>
                  </a:cubicBezTo>
                  <a:cubicBezTo>
                    <a:pt x="2477929" y="192881"/>
                    <a:pt x="2477929" y="197644"/>
                    <a:pt x="2477929" y="201454"/>
                  </a:cubicBezTo>
                  <a:cubicBezTo>
                    <a:pt x="2476024" y="203359"/>
                    <a:pt x="2474119" y="205264"/>
                    <a:pt x="2473166" y="206216"/>
                  </a:cubicBezTo>
                  <a:close/>
                  <a:moveTo>
                    <a:pt x="2473166" y="255746"/>
                  </a:moveTo>
                  <a:cubicBezTo>
                    <a:pt x="2474119" y="254794"/>
                    <a:pt x="2474119" y="252889"/>
                    <a:pt x="2475071" y="251936"/>
                  </a:cubicBezTo>
                  <a:cubicBezTo>
                    <a:pt x="2476024" y="256699"/>
                    <a:pt x="2476024" y="261461"/>
                    <a:pt x="2476976" y="266224"/>
                  </a:cubicBezTo>
                  <a:cubicBezTo>
                    <a:pt x="2477929" y="274796"/>
                    <a:pt x="2478881" y="283369"/>
                    <a:pt x="2479834" y="292894"/>
                  </a:cubicBezTo>
                  <a:cubicBezTo>
                    <a:pt x="2479834" y="293846"/>
                    <a:pt x="2479834" y="295751"/>
                    <a:pt x="2479834" y="296704"/>
                  </a:cubicBezTo>
                  <a:cubicBezTo>
                    <a:pt x="2479834" y="296704"/>
                    <a:pt x="2479834" y="295751"/>
                    <a:pt x="2479834" y="295751"/>
                  </a:cubicBezTo>
                  <a:cubicBezTo>
                    <a:pt x="2477929" y="292894"/>
                    <a:pt x="2476976" y="290036"/>
                    <a:pt x="2475071" y="288131"/>
                  </a:cubicBezTo>
                  <a:cubicBezTo>
                    <a:pt x="2475071" y="275749"/>
                    <a:pt x="2474119" y="264319"/>
                    <a:pt x="2473166" y="255746"/>
                  </a:cubicBezTo>
                  <a:close/>
                  <a:moveTo>
                    <a:pt x="2481739" y="324326"/>
                  </a:moveTo>
                  <a:cubicBezTo>
                    <a:pt x="2481739" y="325279"/>
                    <a:pt x="2480786" y="325279"/>
                    <a:pt x="2480786" y="326231"/>
                  </a:cubicBezTo>
                  <a:cubicBezTo>
                    <a:pt x="2479834" y="330041"/>
                    <a:pt x="2477929" y="334804"/>
                    <a:pt x="2476024" y="340519"/>
                  </a:cubicBezTo>
                  <a:cubicBezTo>
                    <a:pt x="2476024" y="329089"/>
                    <a:pt x="2476024" y="317659"/>
                    <a:pt x="2476024" y="308134"/>
                  </a:cubicBezTo>
                  <a:cubicBezTo>
                    <a:pt x="2476024" y="308134"/>
                    <a:pt x="2476024" y="308134"/>
                    <a:pt x="2476024" y="308134"/>
                  </a:cubicBezTo>
                  <a:cubicBezTo>
                    <a:pt x="2476976" y="311944"/>
                    <a:pt x="2478881" y="314801"/>
                    <a:pt x="2479834" y="318611"/>
                  </a:cubicBezTo>
                  <a:cubicBezTo>
                    <a:pt x="2479834" y="319564"/>
                    <a:pt x="2480786" y="321469"/>
                    <a:pt x="2480786" y="322421"/>
                  </a:cubicBezTo>
                  <a:cubicBezTo>
                    <a:pt x="2480786" y="322421"/>
                    <a:pt x="2481739" y="323374"/>
                    <a:pt x="2481739" y="324326"/>
                  </a:cubicBezTo>
                  <a:cubicBezTo>
                    <a:pt x="2481739" y="324326"/>
                    <a:pt x="2481739" y="324326"/>
                    <a:pt x="2481739" y="324326"/>
                  </a:cubicBezTo>
                  <a:close/>
                  <a:moveTo>
                    <a:pt x="2436971" y="215741"/>
                  </a:moveTo>
                  <a:cubicBezTo>
                    <a:pt x="2440781" y="209074"/>
                    <a:pt x="2444591" y="202406"/>
                    <a:pt x="2447449" y="195739"/>
                  </a:cubicBezTo>
                  <a:cubicBezTo>
                    <a:pt x="2451259" y="190024"/>
                    <a:pt x="2454116" y="184309"/>
                    <a:pt x="2457926" y="178594"/>
                  </a:cubicBezTo>
                  <a:cubicBezTo>
                    <a:pt x="2464594" y="168116"/>
                    <a:pt x="2469356" y="157639"/>
                    <a:pt x="2475071" y="150971"/>
                  </a:cubicBezTo>
                  <a:cubicBezTo>
                    <a:pt x="2477929" y="146209"/>
                    <a:pt x="2480786" y="142399"/>
                    <a:pt x="2482691" y="138589"/>
                  </a:cubicBezTo>
                  <a:cubicBezTo>
                    <a:pt x="2481739" y="142399"/>
                    <a:pt x="2481739" y="148114"/>
                    <a:pt x="2480786" y="154781"/>
                  </a:cubicBezTo>
                  <a:cubicBezTo>
                    <a:pt x="2479834" y="162401"/>
                    <a:pt x="2479834" y="170974"/>
                    <a:pt x="2478881" y="181451"/>
                  </a:cubicBezTo>
                  <a:cubicBezTo>
                    <a:pt x="2476024" y="185261"/>
                    <a:pt x="2473166" y="189071"/>
                    <a:pt x="2470309" y="193834"/>
                  </a:cubicBezTo>
                  <a:cubicBezTo>
                    <a:pt x="2470309" y="193834"/>
                    <a:pt x="2470309" y="194786"/>
                    <a:pt x="2469356" y="194786"/>
                  </a:cubicBezTo>
                  <a:cubicBezTo>
                    <a:pt x="2466499" y="186214"/>
                    <a:pt x="2465546" y="181451"/>
                    <a:pt x="2465546" y="181451"/>
                  </a:cubicBezTo>
                  <a:cubicBezTo>
                    <a:pt x="2465546" y="181451"/>
                    <a:pt x="2466499" y="187166"/>
                    <a:pt x="2467451" y="197644"/>
                  </a:cubicBezTo>
                  <a:cubicBezTo>
                    <a:pt x="2465546" y="201454"/>
                    <a:pt x="2462689" y="205264"/>
                    <a:pt x="2460784" y="209074"/>
                  </a:cubicBezTo>
                  <a:cubicBezTo>
                    <a:pt x="2456021" y="216694"/>
                    <a:pt x="2452211" y="225266"/>
                    <a:pt x="2447449" y="234791"/>
                  </a:cubicBezTo>
                  <a:cubicBezTo>
                    <a:pt x="2443639" y="238601"/>
                    <a:pt x="2440781" y="243364"/>
                    <a:pt x="2436971" y="247174"/>
                  </a:cubicBezTo>
                  <a:cubicBezTo>
                    <a:pt x="2436971" y="248126"/>
                    <a:pt x="2436019" y="248126"/>
                    <a:pt x="2436019" y="249079"/>
                  </a:cubicBezTo>
                  <a:cubicBezTo>
                    <a:pt x="2436019" y="249079"/>
                    <a:pt x="2436019" y="249079"/>
                    <a:pt x="2436019" y="249079"/>
                  </a:cubicBezTo>
                  <a:cubicBezTo>
                    <a:pt x="2435066" y="240506"/>
                    <a:pt x="2434114" y="232886"/>
                    <a:pt x="2433161" y="225266"/>
                  </a:cubicBezTo>
                  <a:cubicBezTo>
                    <a:pt x="2433161" y="221456"/>
                    <a:pt x="2435066" y="218599"/>
                    <a:pt x="2436971" y="215741"/>
                  </a:cubicBezTo>
                  <a:close/>
                  <a:moveTo>
                    <a:pt x="2416016" y="313849"/>
                  </a:moveTo>
                  <a:cubicBezTo>
                    <a:pt x="2416016" y="313849"/>
                    <a:pt x="2416016" y="313849"/>
                    <a:pt x="2416016" y="313849"/>
                  </a:cubicBezTo>
                  <a:cubicBezTo>
                    <a:pt x="2415064" y="310039"/>
                    <a:pt x="2414111" y="307181"/>
                    <a:pt x="2413159" y="304324"/>
                  </a:cubicBezTo>
                  <a:cubicBezTo>
                    <a:pt x="2414111" y="303371"/>
                    <a:pt x="2414111" y="302419"/>
                    <a:pt x="2415064" y="301466"/>
                  </a:cubicBezTo>
                  <a:cubicBezTo>
                    <a:pt x="2415064" y="302419"/>
                    <a:pt x="2415064" y="302419"/>
                    <a:pt x="2415064" y="303371"/>
                  </a:cubicBezTo>
                  <a:cubicBezTo>
                    <a:pt x="2415064" y="306229"/>
                    <a:pt x="2416016" y="310039"/>
                    <a:pt x="2416016" y="313849"/>
                  </a:cubicBezTo>
                  <a:cubicBezTo>
                    <a:pt x="2416016" y="313849"/>
                    <a:pt x="2416016" y="313849"/>
                    <a:pt x="2416016" y="313849"/>
                  </a:cubicBezTo>
                  <a:close/>
                  <a:moveTo>
                    <a:pt x="2422684" y="288131"/>
                  </a:moveTo>
                  <a:cubicBezTo>
                    <a:pt x="2422684" y="290036"/>
                    <a:pt x="2422684" y="291941"/>
                    <a:pt x="2422684" y="293846"/>
                  </a:cubicBezTo>
                  <a:cubicBezTo>
                    <a:pt x="2421731" y="295751"/>
                    <a:pt x="2421731" y="297656"/>
                    <a:pt x="2420779" y="299561"/>
                  </a:cubicBezTo>
                  <a:cubicBezTo>
                    <a:pt x="2419826" y="297656"/>
                    <a:pt x="2419826" y="295751"/>
                    <a:pt x="2418874" y="293846"/>
                  </a:cubicBezTo>
                  <a:cubicBezTo>
                    <a:pt x="2419826" y="292894"/>
                    <a:pt x="2419826" y="291941"/>
                    <a:pt x="2420779" y="290989"/>
                  </a:cubicBezTo>
                  <a:cubicBezTo>
                    <a:pt x="2421731" y="290036"/>
                    <a:pt x="2421731" y="289084"/>
                    <a:pt x="2422684" y="288131"/>
                  </a:cubicBezTo>
                  <a:close/>
                  <a:moveTo>
                    <a:pt x="2414111" y="259556"/>
                  </a:moveTo>
                  <a:cubicBezTo>
                    <a:pt x="2416016" y="255746"/>
                    <a:pt x="2417921" y="251936"/>
                    <a:pt x="2419826" y="248126"/>
                  </a:cubicBezTo>
                  <a:cubicBezTo>
                    <a:pt x="2419826" y="253841"/>
                    <a:pt x="2420779" y="259556"/>
                    <a:pt x="2420779" y="266224"/>
                  </a:cubicBezTo>
                  <a:cubicBezTo>
                    <a:pt x="2417921" y="270034"/>
                    <a:pt x="2415064" y="273844"/>
                    <a:pt x="2412206" y="277654"/>
                  </a:cubicBezTo>
                  <a:cubicBezTo>
                    <a:pt x="2411254" y="276701"/>
                    <a:pt x="2411254" y="275749"/>
                    <a:pt x="2410301" y="273844"/>
                  </a:cubicBezTo>
                  <a:cubicBezTo>
                    <a:pt x="2409349" y="272891"/>
                    <a:pt x="2409349" y="271939"/>
                    <a:pt x="2408396" y="270986"/>
                  </a:cubicBezTo>
                  <a:cubicBezTo>
                    <a:pt x="2410301" y="268129"/>
                    <a:pt x="2412206" y="263366"/>
                    <a:pt x="2414111" y="259556"/>
                  </a:cubicBezTo>
                  <a:close/>
                  <a:moveTo>
                    <a:pt x="2406491" y="275749"/>
                  </a:moveTo>
                  <a:cubicBezTo>
                    <a:pt x="2406491" y="275749"/>
                    <a:pt x="2406491" y="275749"/>
                    <a:pt x="2406491" y="275749"/>
                  </a:cubicBezTo>
                  <a:cubicBezTo>
                    <a:pt x="2407444" y="277654"/>
                    <a:pt x="2408396" y="279559"/>
                    <a:pt x="2409349" y="282416"/>
                  </a:cubicBezTo>
                  <a:cubicBezTo>
                    <a:pt x="2408396" y="283369"/>
                    <a:pt x="2407444" y="285274"/>
                    <a:pt x="2406491" y="286226"/>
                  </a:cubicBezTo>
                  <a:cubicBezTo>
                    <a:pt x="2405539" y="284321"/>
                    <a:pt x="2405539" y="282416"/>
                    <a:pt x="2404586" y="280511"/>
                  </a:cubicBezTo>
                  <a:cubicBezTo>
                    <a:pt x="2405539" y="278606"/>
                    <a:pt x="2405539" y="276701"/>
                    <a:pt x="2406491" y="275749"/>
                  </a:cubicBezTo>
                  <a:close/>
                  <a:moveTo>
                    <a:pt x="2405539" y="317659"/>
                  </a:moveTo>
                  <a:cubicBezTo>
                    <a:pt x="2406491" y="321469"/>
                    <a:pt x="2407444" y="324326"/>
                    <a:pt x="2408396" y="328136"/>
                  </a:cubicBezTo>
                  <a:cubicBezTo>
                    <a:pt x="2408396" y="330041"/>
                    <a:pt x="2408396" y="331946"/>
                    <a:pt x="2408396" y="334804"/>
                  </a:cubicBezTo>
                  <a:cubicBezTo>
                    <a:pt x="2408396" y="333851"/>
                    <a:pt x="2407444" y="332899"/>
                    <a:pt x="2407444" y="332899"/>
                  </a:cubicBezTo>
                  <a:cubicBezTo>
                    <a:pt x="2407444" y="332899"/>
                    <a:pt x="2407444" y="335756"/>
                    <a:pt x="2407444" y="340519"/>
                  </a:cubicBezTo>
                  <a:cubicBezTo>
                    <a:pt x="2406491" y="344329"/>
                    <a:pt x="2405539" y="347186"/>
                    <a:pt x="2404586" y="350996"/>
                  </a:cubicBezTo>
                  <a:cubicBezTo>
                    <a:pt x="2403634" y="355759"/>
                    <a:pt x="2401729" y="359569"/>
                    <a:pt x="2400776" y="364331"/>
                  </a:cubicBezTo>
                  <a:cubicBezTo>
                    <a:pt x="2399824" y="357664"/>
                    <a:pt x="2398871" y="350044"/>
                    <a:pt x="2398871" y="343376"/>
                  </a:cubicBezTo>
                  <a:cubicBezTo>
                    <a:pt x="2398871" y="340519"/>
                    <a:pt x="2397919" y="336709"/>
                    <a:pt x="2397919" y="333851"/>
                  </a:cubicBezTo>
                  <a:cubicBezTo>
                    <a:pt x="2397919" y="332899"/>
                    <a:pt x="2397919" y="331946"/>
                    <a:pt x="2398871" y="330994"/>
                  </a:cubicBezTo>
                  <a:cubicBezTo>
                    <a:pt x="2399824" y="325279"/>
                    <a:pt x="2402681" y="321469"/>
                    <a:pt x="2405539" y="317659"/>
                  </a:cubicBezTo>
                  <a:close/>
                  <a:moveTo>
                    <a:pt x="2398871" y="291941"/>
                  </a:moveTo>
                  <a:cubicBezTo>
                    <a:pt x="2398871" y="292894"/>
                    <a:pt x="2399824" y="293846"/>
                    <a:pt x="2399824" y="295751"/>
                  </a:cubicBezTo>
                  <a:cubicBezTo>
                    <a:pt x="2397919" y="298609"/>
                    <a:pt x="2396014" y="300514"/>
                    <a:pt x="2394109" y="303371"/>
                  </a:cubicBezTo>
                  <a:cubicBezTo>
                    <a:pt x="2394109" y="303371"/>
                    <a:pt x="2394109" y="302419"/>
                    <a:pt x="2394109" y="302419"/>
                  </a:cubicBezTo>
                  <a:cubicBezTo>
                    <a:pt x="2396014" y="298609"/>
                    <a:pt x="2397919" y="295751"/>
                    <a:pt x="2398871" y="291941"/>
                  </a:cubicBezTo>
                  <a:close/>
                  <a:moveTo>
                    <a:pt x="2393156" y="267176"/>
                  </a:moveTo>
                  <a:cubicBezTo>
                    <a:pt x="2392204" y="268129"/>
                    <a:pt x="2392204" y="269081"/>
                    <a:pt x="2391251" y="270034"/>
                  </a:cubicBezTo>
                  <a:cubicBezTo>
                    <a:pt x="2390299" y="264319"/>
                    <a:pt x="2390299" y="259556"/>
                    <a:pt x="2389346" y="254794"/>
                  </a:cubicBezTo>
                  <a:cubicBezTo>
                    <a:pt x="2391251" y="258604"/>
                    <a:pt x="2392204" y="263366"/>
                    <a:pt x="2393156" y="267176"/>
                  </a:cubicBezTo>
                  <a:close/>
                  <a:moveTo>
                    <a:pt x="2351246" y="278606"/>
                  </a:moveTo>
                  <a:cubicBezTo>
                    <a:pt x="2351246" y="277654"/>
                    <a:pt x="2351246" y="277654"/>
                    <a:pt x="2351246" y="278606"/>
                  </a:cubicBezTo>
                  <a:lnTo>
                    <a:pt x="2351246" y="275749"/>
                  </a:lnTo>
                  <a:cubicBezTo>
                    <a:pt x="2351246" y="276701"/>
                    <a:pt x="2351246" y="277654"/>
                    <a:pt x="2351246" y="278606"/>
                  </a:cubicBezTo>
                  <a:close/>
                  <a:moveTo>
                    <a:pt x="2378869" y="295751"/>
                  </a:moveTo>
                  <a:cubicBezTo>
                    <a:pt x="2377916" y="298609"/>
                    <a:pt x="2376011" y="300514"/>
                    <a:pt x="2375059" y="303371"/>
                  </a:cubicBezTo>
                  <a:cubicBezTo>
                    <a:pt x="2375059" y="304324"/>
                    <a:pt x="2374106" y="304324"/>
                    <a:pt x="2374106" y="305276"/>
                  </a:cubicBezTo>
                  <a:cubicBezTo>
                    <a:pt x="2374106" y="305276"/>
                    <a:pt x="2374106" y="304324"/>
                    <a:pt x="2374106" y="304324"/>
                  </a:cubicBezTo>
                  <a:cubicBezTo>
                    <a:pt x="2376964" y="261461"/>
                    <a:pt x="2376011" y="231934"/>
                    <a:pt x="2376011" y="231934"/>
                  </a:cubicBezTo>
                  <a:cubicBezTo>
                    <a:pt x="2376011" y="231934"/>
                    <a:pt x="2372201" y="249079"/>
                    <a:pt x="2366486" y="277654"/>
                  </a:cubicBezTo>
                  <a:cubicBezTo>
                    <a:pt x="2365534" y="275749"/>
                    <a:pt x="2365534" y="273844"/>
                    <a:pt x="2364581" y="272891"/>
                  </a:cubicBezTo>
                  <a:cubicBezTo>
                    <a:pt x="2363629" y="270034"/>
                    <a:pt x="2362676" y="267176"/>
                    <a:pt x="2361724" y="264319"/>
                  </a:cubicBezTo>
                  <a:cubicBezTo>
                    <a:pt x="2361724" y="257651"/>
                    <a:pt x="2361724" y="250984"/>
                    <a:pt x="2361724" y="245269"/>
                  </a:cubicBezTo>
                  <a:lnTo>
                    <a:pt x="2365534" y="234791"/>
                  </a:lnTo>
                  <a:lnTo>
                    <a:pt x="2376011" y="211931"/>
                  </a:lnTo>
                  <a:cubicBezTo>
                    <a:pt x="2376011" y="221456"/>
                    <a:pt x="2376011" y="232886"/>
                    <a:pt x="2376011" y="244316"/>
                  </a:cubicBezTo>
                  <a:cubicBezTo>
                    <a:pt x="2376011" y="258604"/>
                    <a:pt x="2376011" y="274796"/>
                    <a:pt x="2376964" y="290989"/>
                  </a:cubicBezTo>
                  <a:cubicBezTo>
                    <a:pt x="2378869" y="292894"/>
                    <a:pt x="2378869" y="293846"/>
                    <a:pt x="2378869" y="295751"/>
                  </a:cubicBezTo>
                  <a:close/>
                  <a:moveTo>
                    <a:pt x="2362676" y="180499"/>
                  </a:moveTo>
                  <a:cubicBezTo>
                    <a:pt x="2364581" y="175736"/>
                    <a:pt x="2366486" y="170974"/>
                    <a:pt x="2368391" y="166211"/>
                  </a:cubicBezTo>
                  <a:cubicBezTo>
                    <a:pt x="2372201" y="157639"/>
                    <a:pt x="2375059" y="149066"/>
                    <a:pt x="2377916" y="140494"/>
                  </a:cubicBezTo>
                  <a:cubicBezTo>
                    <a:pt x="2377916" y="141446"/>
                    <a:pt x="2378869" y="142399"/>
                    <a:pt x="2378869" y="143351"/>
                  </a:cubicBezTo>
                  <a:cubicBezTo>
                    <a:pt x="2379821" y="146209"/>
                    <a:pt x="2379821" y="149066"/>
                    <a:pt x="2378869" y="152876"/>
                  </a:cubicBezTo>
                  <a:cubicBezTo>
                    <a:pt x="2377916" y="149066"/>
                    <a:pt x="2377916" y="147161"/>
                    <a:pt x="2377916" y="147161"/>
                  </a:cubicBezTo>
                  <a:cubicBezTo>
                    <a:pt x="2377916" y="147161"/>
                    <a:pt x="2377916" y="156686"/>
                    <a:pt x="2377916" y="173831"/>
                  </a:cubicBezTo>
                  <a:cubicBezTo>
                    <a:pt x="2377916" y="182404"/>
                    <a:pt x="2377916" y="191929"/>
                    <a:pt x="2377916" y="203359"/>
                  </a:cubicBezTo>
                  <a:cubicBezTo>
                    <a:pt x="2373154" y="210979"/>
                    <a:pt x="2368391" y="219551"/>
                    <a:pt x="2362676" y="227171"/>
                  </a:cubicBezTo>
                  <a:cubicBezTo>
                    <a:pt x="2361724" y="206216"/>
                    <a:pt x="2361724" y="190976"/>
                    <a:pt x="2360771" y="185261"/>
                  </a:cubicBezTo>
                  <a:cubicBezTo>
                    <a:pt x="2361724" y="183356"/>
                    <a:pt x="2361724" y="182404"/>
                    <a:pt x="2362676" y="180499"/>
                  </a:cubicBezTo>
                  <a:close/>
                  <a:moveTo>
                    <a:pt x="2340769" y="241459"/>
                  </a:moveTo>
                  <a:cubicBezTo>
                    <a:pt x="2341721" y="239554"/>
                    <a:pt x="2341721" y="237649"/>
                    <a:pt x="2342674" y="235744"/>
                  </a:cubicBezTo>
                  <a:cubicBezTo>
                    <a:pt x="2344579" y="230981"/>
                    <a:pt x="2345531" y="226219"/>
                    <a:pt x="2347436" y="221456"/>
                  </a:cubicBezTo>
                  <a:cubicBezTo>
                    <a:pt x="2352199" y="210026"/>
                    <a:pt x="2356009" y="198596"/>
                    <a:pt x="2359819" y="187166"/>
                  </a:cubicBezTo>
                  <a:cubicBezTo>
                    <a:pt x="2358866" y="194786"/>
                    <a:pt x="2356961" y="212884"/>
                    <a:pt x="2355056" y="236696"/>
                  </a:cubicBezTo>
                  <a:cubicBezTo>
                    <a:pt x="2354104" y="232886"/>
                    <a:pt x="2353151" y="230029"/>
                    <a:pt x="2353151" y="230029"/>
                  </a:cubicBezTo>
                  <a:cubicBezTo>
                    <a:pt x="2353151" y="230029"/>
                    <a:pt x="2354104" y="233839"/>
                    <a:pt x="2354104" y="241459"/>
                  </a:cubicBezTo>
                  <a:cubicBezTo>
                    <a:pt x="2351246" y="247174"/>
                    <a:pt x="2347436" y="253841"/>
                    <a:pt x="2344579" y="259556"/>
                  </a:cubicBezTo>
                  <a:cubicBezTo>
                    <a:pt x="2344579" y="259556"/>
                    <a:pt x="2344579" y="259556"/>
                    <a:pt x="2344579" y="259556"/>
                  </a:cubicBezTo>
                  <a:cubicBezTo>
                    <a:pt x="2342674" y="254794"/>
                    <a:pt x="2340769" y="250031"/>
                    <a:pt x="2339816" y="245269"/>
                  </a:cubicBezTo>
                  <a:lnTo>
                    <a:pt x="2340769" y="241459"/>
                  </a:lnTo>
                  <a:close/>
                  <a:moveTo>
                    <a:pt x="2344579" y="320516"/>
                  </a:moveTo>
                  <a:cubicBezTo>
                    <a:pt x="2342674" y="316706"/>
                    <a:pt x="2340769" y="313849"/>
                    <a:pt x="2339816" y="310991"/>
                  </a:cubicBezTo>
                  <a:lnTo>
                    <a:pt x="2339816" y="310039"/>
                  </a:lnTo>
                  <a:cubicBezTo>
                    <a:pt x="2341721" y="313849"/>
                    <a:pt x="2343626" y="317659"/>
                    <a:pt x="2344579" y="320516"/>
                  </a:cubicBezTo>
                  <a:close/>
                  <a:moveTo>
                    <a:pt x="2337911" y="317659"/>
                  </a:moveTo>
                  <a:cubicBezTo>
                    <a:pt x="2338864" y="320516"/>
                    <a:pt x="2339816" y="324326"/>
                    <a:pt x="2341721" y="327184"/>
                  </a:cubicBezTo>
                  <a:lnTo>
                    <a:pt x="2336959" y="321469"/>
                  </a:lnTo>
                  <a:lnTo>
                    <a:pt x="2337911" y="317659"/>
                  </a:lnTo>
                  <a:close/>
                  <a:moveTo>
                    <a:pt x="2332196" y="280511"/>
                  </a:moveTo>
                  <a:cubicBezTo>
                    <a:pt x="2332196" y="281464"/>
                    <a:pt x="2333149" y="282416"/>
                    <a:pt x="2333149" y="283369"/>
                  </a:cubicBezTo>
                  <a:cubicBezTo>
                    <a:pt x="2333149" y="282416"/>
                    <a:pt x="2332196" y="282416"/>
                    <a:pt x="2332196" y="281464"/>
                  </a:cubicBezTo>
                  <a:lnTo>
                    <a:pt x="2332196" y="280511"/>
                  </a:lnTo>
                  <a:close/>
                  <a:moveTo>
                    <a:pt x="2330291" y="289084"/>
                  </a:moveTo>
                  <a:cubicBezTo>
                    <a:pt x="2330291" y="290036"/>
                    <a:pt x="2331244" y="290989"/>
                    <a:pt x="2331244" y="290989"/>
                  </a:cubicBezTo>
                  <a:lnTo>
                    <a:pt x="2330291" y="292894"/>
                  </a:lnTo>
                  <a:cubicBezTo>
                    <a:pt x="2330291" y="291941"/>
                    <a:pt x="2329339" y="291941"/>
                    <a:pt x="2329339" y="290989"/>
                  </a:cubicBezTo>
                  <a:lnTo>
                    <a:pt x="2330291" y="289084"/>
                  </a:lnTo>
                  <a:close/>
                  <a:moveTo>
                    <a:pt x="2329339" y="293846"/>
                  </a:moveTo>
                  <a:lnTo>
                    <a:pt x="2329339" y="292894"/>
                  </a:lnTo>
                  <a:cubicBezTo>
                    <a:pt x="2329339" y="293846"/>
                    <a:pt x="2329339" y="293846"/>
                    <a:pt x="2330291" y="294799"/>
                  </a:cubicBezTo>
                  <a:lnTo>
                    <a:pt x="2328386" y="299561"/>
                  </a:lnTo>
                  <a:cubicBezTo>
                    <a:pt x="2328386" y="299561"/>
                    <a:pt x="2328386" y="299561"/>
                    <a:pt x="2328386" y="298609"/>
                  </a:cubicBezTo>
                  <a:lnTo>
                    <a:pt x="2329339" y="293846"/>
                  </a:lnTo>
                  <a:close/>
                  <a:moveTo>
                    <a:pt x="2313146" y="194786"/>
                  </a:moveTo>
                  <a:cubicBezTo>
                    <a:pt x="2314099" y="196691"/>
                    <a:pt x="2314099" y="199549"/>
                    <a:pt x="2315051" y="201454"/>
                  </a:cubicBezTo>
                  <a:cubicBezTo>
                    <a:pt x="2315051" y="202406"/>
                    <a:pt x="2316004" y="203359"/>
                    <a:pt x="2316004" y="205264"/>
                  </a:cubicBezTo>
                  <a:cubicBezTo>
                    <a:pt x="2315051" y="208121"/>
                    <a:pt x="2314099" y="211931"/>
                    <a:pt x="2314099" y="214789"/>
                  </a:cubicBezTo>
                  <a:cubicBezTo>
                    <a:pt x="2314099" y="214789"/>
                    <a:pt x="2314099" y="214789"/>
                    <a:pt x="2314099" y="214789"/>
                  </a:cubicBezTo>
                  <a:cubicBezTo>
                    <a:pt x="2313146" y="211931"/>
                    <a:pt x="2311241" y="210026"/>
                    <a:pt x="2310289" y="207169"/>
                  </a:cubicBezTo>
                  <a:cubicBezTo>
                    <a:pt x="2311241" y="202406"/>
                    <a:pt x="2312194" y="198596"/>
                    <a:pt x="2313146" y="194786"/>
                  </a:cubicBezTo>
                  <a:close/>
                  <a:moveTo>
                    <a:pt x="2304574" y="197644"/>
                  </a:moveTo>
                  <a:cubicBezTo>
                    <a:pt x="2304574" y="198596"/>
                    <a:pt x="2305526" y="199549"/>
                    <a:pt x="2305526" y="200501"/>
                  </a:cubicBezTo>
                  <a:cubicBezTo>
                    <a:pt x="2304574" y="202406"/>
                    <a:pt x="2304574" y="204311"/>
                    <a:pt x="2303621" y="205264"/>
                  </a:cubicBezTo>
                  <a:cubicBezTo>
                    <a:pt x="2304574" y="203359"/>
                    <a:pt x="2304574" y="200501"/>
                    <a:pt x="2304574" y="197644"/>
                  </a:cubicBezTo>
                  <a:close/>
                  <a:moveTo>
                    <a:pt x="2297906" y="272891"/>
                  </a:moveTo>
                  <a:cubicBezTo>
                    <a:pt x="2298859" y="267176"/>
                    <a:pt x="2298859" y="262414"/>
                    <a:pt x="2298859" y="256699"/>
                  </a:cubicBezTo>
                  <a:cubicBezTo>
                    <a:pt x="2298859" y="254794"/>
                    <a:pt x="2299811" y="252889"/>
                    <a:pt x="2299811" y="250984"/>
                  </a:cubicBezTo>
                  <a:cubicBezTo>
                    <a:pt x="2303621" y="236696"/>
                    <a:pt x="2306479" y="223361"/>
                    <a:pt x="2308384" y="211931"/>
                  </a:cubicBezTo>
                  <a:cubicBezTo>
                    <a:pt x="2308384" y="212884"/>
                    <a:pt x="2309336" y="214789"/>
                    <a:pt x="2309336" y="215741"/>
                  </a:cubicBezTo>
                  <a:cubicBezTo>
                    <a:pt x="2310289" y="217646"/>
                    <a:pt x="2310289" y="219551"/>
                    <a:pt x="2311241" y="221456"/>
                  </a:cubicBezTo>
                  <a:cubicBezTo>
                    <a:pt x="2311241" y="221456"/>
                    <a:pt x="2311241" y="221456"/>
                    <a:pt x="2311241" y="221456"/>
                  </a:cubicBezTo>
                  <a:cubicBezTo>
                    <a:pt x="2309336" y="231934"/>
                    <a:pt x="2306479" y="242411"/>
                    <a:pt x="2304574" y="253841"/>
                  </a:cubicBezTo>
                  <a:cubicBezTo>
                    <a:pt x="2302669" y="252889"/>
                    <a:pt x="2302669" y="251936"/>
                    <a:pt x="2302669" y="251936"/>
                  </a:cubicBezTo>
                  <a:cubicBezTo>
                    <a:pt x="2302669" y="251936"/>
                    <a:pt x="2303621" y="252889"/>
                    <a:pt x="2304574" y="253841"/>
                  </a:cubicBezTo>
                  <a:cubicBezTo>
                    <a:pt x="2302669" y="260509"/>
                    <a:pt x="2301716" y="268129"/>
                    <a:pt x="2299811" y="274796"/>
                  </a:cubicBezTo>
                  <a:cubicBezTo>
                    <a:pt x="2297906" y="283369"/>
                    <a:pt x="2296001" y="291941"/>
                    <a:pt x="2294096" y="300514"/>
                  </a:cubicBezTo>
                  <a:cubicBezTo>
                    <a:pt x="2296954" y="291941"/>
                    <a:pt x="2297906" y="282416"/>
                    <a:pt x="2297906" y="272891"/>
                  </a:cubicBezTo>
                  <a:close/>
                  <a:moveTo>
                    <a:pt x="2271236" y="369094"/>
                  </a:moveTo>
                  <a:cubicBezTo>
                    <a:pt x="2271236" y="371951"/>
                    <a:pt x="2271236" y="374809"/>
                    <a:pt x="2270284" y="376714"/>
                  </a:cubicBezTo>
                  <a:lnTo>
                    <a:pt x="2270284" y="376714"/>
                  </a:lnTo>
                  <a:cubicBezTo>
                    <a:pt x="2270284" y="375761"/>
                    <a:pt x="2270284" y="373856"/>
                    <a:pt x="2270284" y="372904"/>
                  </a:cubicBezTo>
                  <a:cubicBezTo>
                    <a:pt x="2270284" y="371951"/>
                    <a:pt x="2270284" y="370046"/>
                    <a:pt x="2271236" y="369094"/>
                  </a:cubicBezTo>
                  <a:close/>
                  <a:moveTo>
                    <a:pt x="2252186" y="297656"/>
                  </a:moveTo>
                  <a:cubicBezTo>
                    <a:pt x="2252186" y="302419"/>
                    <a:pt x="2251234" y="307181"/>
                    <a:pt x="2251234" y="311944"/>
                  </a:cubicBezTo>
                  <a:cubicBezTo>
                    <a:pt x="2251234" y="310991"/>
                    <a:pt x="2250281" y="310039"/>
                    <a:pt x="2250281" y="308134"/>
                  </a:cubicBezTo>
                  <a:cubicBezTo>
                    <a:pt x="2251234" y="305276"/>
                    <a:pt x="2252186" y="301466"/>
                    <a:pt x="2252186" y="297656"/>
                  </a:cubicBezTo>
                  <a:close/>
                  <a:moveTo>
                    <a:pt x="2215991" y="252889"/>
                  </a:moveTo>
                  <a:lnTo>
                    <a:pt x="2215991" y="256699"/>
                  </a:lnTo>
                  <a:cubicBezTo>
                    <a:pt x="2215991" y="256699"/>
                    <a:pt x="2215991" y="256699"/>
                    <a:pt x="2215991" y="256699"/>
                  </a:cubicBezTo>
                  <a:cubicBezTo>
                    <a:pt x="2215039" y="255746"/>
                    <a:pt x="2215991" y="254794"/>
                    <a:pt x="2215991" y="252889"/>
                  </a:cubicBezTo>
                  <a:close/>
                  <a:moveTo>
                    <a:pt x="2211229" y="281464"/>
                  </a:moveTo>
                  <a:cubicBezTo>
                    <a:pt x="2212181" y="273844"/>
                    <a:pt x="2213134" y="267176"/>
                    <a:pt x="2214086" y="260509"/>
                  </a:cubicBezTo>
                  <a:cubicBezTo>
                    <a:pt x="2214086" y="260509"/>
                    <a:pt x="2215039" y="261461"/>
                    <a:pt x="2215039" y="261461"/>
                  </a:cubicBezTo>
                  <a:lnTo>
                    <a:pt x="2215039" y="267176"/>
                  </a:lnTo>
                  <a:cubicBezTo>
                    <a:pt x="2214086" y="277654"/>
                    <a:pt x="2213134" y="289084"/>
                    <a:pt x="2212181" y="299561"/>
                  </a:cubicBezTo>
                  <a:cubicBezTo>
                    <a:pt x="2210276" y="302419"/>
                    <a:pt x="2208371" y="306229"/>
                    <a:pt x="2206466" y="309086"/>
                  </a:cubicBezTo>
                  <a:cubicBezTo>
                    <a:pt x="2208371" y="299561"/>
                    <a:pt x="2210276" y="290036"/>
                    <a:pt x="2211229" y="281464"/>
                  </a:cubicBezTo>
                  <a:close/>
                  <a:moveTo>
                    <a:pt x="2205514" y="337661"/>
                  </a:moveTo>
                  <a:cubicBezTo>
                    <a:pt x="2205514" y="338614"/>
                    <a:pt x="2204561" y="338614"/>
                    <a:pt x="2204561" y="339566"/>
                  </a:cubicBezTo>
                  <a:cubicBezTo>
                    <a:pt x="2204561" y="339566"/>
                    <a:pt x="2204561" y="339566"/>
                    <a:pt x="2204561" y="340519"/>
                  </a:cubicBezTo>
                  <a:cubicBezTo>
                    <a:pt x="2204561" y="339566"/>
                    <a:pt x="2204561" y="338614"/>
                    <a:pt x="2205514" y="337661"/>
                  </a:cubicBezTo>
                  <a:close/>
                  <a:moveTo>
                    <a:pt x="2183606" y="336709"/>
                  </a:moveTo>
                  <a:cubicBezTo>
                    <a:pt x="2183606" y="338614"/>
                    <a:pt x="2184559" y="341471"/>
                    <a:pt x="2185511" y="345281"/>
                  </a:cubicBezTo>
                  <a:cubicBezTo>
                    <a:pt x="2185511" y="347186"/>
                    <a:pt x="2184559" y="349091"/>
                    <a:pt x="2184559" y="350044"/>
                  </a:cubicBezTo>
                  <a:cubicBezTo>
                    <a:pt x="2184559" y="347186"/>
                    <a:pt x="2183606" y="343376"/>
                    <a:pt x="2183606" y="340519"/>
                  </a:cubicBezTo>
                  <a:cubicBezTo>
                    <a:pt x="2183606" y="339566"/>
                    <a:pt x="2183606" y="338614"/>
                    <a:pt x="2183606" y="337661"/>
                  </a:cubicBezTo>
                  <a:cubicBezTo>
                    <a:pt x="2182654" y="337661"/>
                    <a:pt x="2182654" y="337661"/>
                    <a:pt x="2183606" y="336709"/>
                  </a:cubicBezTo>
                  <a:close/>
                  <a:moveTo>
                    <a:pt x="2178844" y="345281"/>
                  </a:moveTo>
                  <a:cubicBezTo>
                    <a:pt x="2178844" y="349091"/>
                    <a:pt x="2178844" y="352901"/>
                    <a:pt x="2178844" y="357664"/>
                  </a:cubicBezTo>
                  <a:cubicBezTo>
                    <a:pt x="2177891" y="355759"/>
                    <a:pt x="2176939" y="352901"/>
                    <a:pt x="2175986" y="350996"/>
                  </a:cubicBezTo>
                  <a:cubicBezTo>
                    <a:pt x="2176939" y="348139"/>
                    <a:pt x="2177891" y="346234"/>
                    <a:pt x="2178844" y="345281"/>
                  </a:cubicBezTo>
                  <a:close/>
                  <a:moveTo>
                    <a:pt x="2150269" y="278606"/>
                  </a:moveTo>
                  <a:cubicBezTo>
                    <a:pt x="2155031" y="261461"/>
                    <a:pt x="2159794" y="246221"/>
                    <a:pt x="2162651" y="232886"/>
                  </a:cubicBezTo>
                  <a:cubicBezTo>
                    <a:pt x="2162651" y="233839"/>
                    <a:pt x="2162651" y="234791"/>
                    <a:pt x="2161699" y="235744"/>
                  </a:cubicBezTo>
                  <a:cubicBezTo>
                    <a:pt x="2160746" y="241459"/>
                    <a:pt x="2158841" y="248126"/>
                    <a:pt x="2157889" y="253841"/>
                  </a:cubicBezTo>
                  <a:cubicBezTo>
                    <a:pt x="2156936" y="260509"/>
                    <a:pt x="2155984" y="267176"/>
                    <a:pt x="2154079" y="274796"/>
                  </a:cubicBezTo>
                  <a:cubicBezTo>
                    <a:pt x="2153126" y="280511"/>
                    <a:pt x="2152174" y="287179"/>
                    <a:pt x="2151221" y="293846"/>
                  </a:cubicBezTo>
                  <a:cubicBezTo>
                    <a:pt x="2149316" y="290036"/>
                    <a:pt x="2148364" y="288131"/>
                    <a:pt x="2148364" y="288131"/>
                  </a:cubicBezTo>
                  <a:cubicBezTo>
                    <a:pt x="2148364" y="288131"/>
                    <a:pt x="2149316" y="290989"/>
                    <a:pt x="2150269" y="296704"/>
                  </a:cubicBezTo>
                  <a:cubicBezTo>
                    <a:pt x="2149316" y="302419"/>
                    <a:pt x="2148364" y="309086"/>
                    <a:pt x="2147411" y="314801"/>
                  </a:cubicBezTo>
                  <a:cubicBezTo>
                    <a:pt x="2143601" y="309086"/>
                    <a:pt x="2140744" y="305276"/>
                    <a:pt x="2140744" y="305276"/>
                  </a:cubicBezTo>
                  <a:cubicBezTo>
                    <a:pt x="2145506" y="296704"/>
                    <a:pt x="2147411" y="287179"/>
                    <a:pt x="2150269" y="278606"/>
                  </a:cubicBezTo>
                  <a:close/>
                  <a:moveTo>
                    <a:pt x="2142649" y="305276"/>
                  </a:moveTo>
                  <a:cubicBezTo>
                    <a:pt x="2142649" y="306229"/>
                    <a:pt x="2144554" y="310991"/>
                    <a:pt x="2148364" y="319564"/>
                  </a:cubicBezTo>
                  <a:cubicBezTo>
                    <a:pt x="2148364" y="319564"/>
                    <a:pt x="2148364" y="320516"/>
                    <a:pt x="2148364" y="320516"/>
                  </a:cubicBezTo>
                  <a:cubicBezTo>
                    <a:pt x="2148364" y="320516"/>
                    <a:pt x="2148364" y="321469"/>
                    <a:pt x="2148364" y="321469"/>
                  </a:cubicBezTo>
                  <a:cubicBezTo>
                    <a:pt x="2147411" y="328136"/>
                    <a:pt x="2146459" y="335756"/>
                    <a:pt x="2145506" y="343376"/>
                  </a:cubicBezTo>
                  <a:cubicBezTo>
                    <a:pt x="2143601" y="336709"/>
                    <a:pt x="2141696" y="330994"/>
                    <a:pt x="2139791" y="324326"/>
                  </a:cubicBezTo>
                  <a:cubicBezTo>
                    <a:pt x="2139791" y="323374"/>
                    <a:pt x="2138839" y="321469"/>
                    <a:pt x="2138839" y="320516"/>
                  </a:cubicBezTo>
                  <a:cubicBezTo>
                    <a:pt x="2138839" y="315754"/>
                    <a:pt x="2140744" y="310991"/>
                    <a:pt x="2142649" y="305276"/>
                  </a:cubicBezTo>
                  <a:close/>
                  <a:moveTo>
                    <a:pt x="2058829" y="353854"/>
                  </a:moveTo>
                  <a:cubicBezTo>
                    <a:pt x="2057876" y="357664"/>
                    <a:pt x="2056924" y="362426"/>
                    <a:pt x="2056924" y="366236"/>
                  </a:cubicBezTo>
                  <a:cubicBezTo>
                    <a:pt x="2056924" y="364331"/>
                    <a:pt x="2055971" y="363379"/>
                    <a:pt x="2055971" y="361474"/>
                  </a:cubicBezTo>
                  <a:cubicBezTo>
                    <a:pt x="2055019" y="358616"/>
                    <a:pt x="2055019" y="355759"/>
                    <a:pt x="2054066" y="352901"/>
                  </a:cubicBezTo>
                  <a:cubicBezTo>
                    <a:pt x="2054066" y="352901"/>
                    <a:pt x="2054066" y="352901"/>
                    <a:pt x="2054066" y="351949"/>
                  </a:cubicBezTo>
                  <a:cubicBezTo>
                    <a:pt x="2055971" y="347186"/>
                    <a:pt x="2057876" y="343376"/>
                    <a:pt x="2059781" y="338614"/>
                  </a:cubicBezTo>
                  <a:cubicBezTo>
                    <a:pt x="2059781" y="340519"/>
                    <a:pt x="2060734" y="341471"/>
                    <a:pt x="2060734" y="343376"/>
                  </a:cubicBezTo>
                  <a:cubicBezTo>
                    <a:pt x="2060734" y="347186"/>
                    <a:pt x="2059781" y="350044"/>
                    <a:pt x="2058829" y="353854"/>
                  </a:cubicBezTo>
                  <a:close/>
                  <a:moveTo>
                    <a:pt x="2081689" y="350044"/>
                  </a:moveTo>
                  <a:cubicBezTo>
                    <a:pt x="2080736" y="351949"/>
                    <a:pt x="2080736" y="352901"/>
                    <a:pt x="2079784" y="354806"/>
                  </a:cubicBezTo>
                  <a:cubicBezTo>
                    <a:pt x="2078831" y="351949"/>
                    <a:pt x="2078831" y="350044"/>
                    <a:pt x="2077879" y="347186"/>
                  </a:cubicBezTo>
                  <a:cubicBezTo>
                    <a:pt x="2077879" y="346234"/>
                    <a:pt x="2077879" y="345281"/>
                    <a:pt x="2077879" y="344329"/>
                  </a:cubicBezTo>
                  <a:cubicBezTo>
                    <a:pt x="2078831" y="345281"/>
                    <a:pt x="2079784" y="346234"/>
                    <a:pt x="2080736" y="348139"/>
                  </a:cubicBezTo>
                  <a:cubicBezTo>
                    <a:pt x="2080736" y="348139"/>
                    <a:pt x="2080736" y="349091"/>
                    <a:pt x="2081689" y="350044"/>
                  </a:cubicBezTo>
                  <a:cubicBezTo>
                    <a:pt x="2081689" y="350044"/>
                    <a:pt x="2081689" y="350044"/>
                    <a:pt x="2081689" y="350044"/>
                  </a:cubicBezTo>
                  <a:close/>
                  <a:moveTo>
                    <a:pt x="2081689" y="339566"/>
                  </a:moveTo>
                  <a:cubicBezTo>
                    <a:pt x="2081689" y="340519"/>
                    <a:pt x="2081689" y="341471"/>
                    <a:pt x="2081689" y="341471"/>
                  </a:cubicBezTo>
                  <a:cubicBezTo>
                    <a:pt x="2080736" y="340519"/>
                    <a:pt x="2079784" y="338614"/>
                    <a:pt x="2078831" y="337661"/>
                  </a:cubicBezTo>
                  <a:cubicBezTo>
                    <a:pt x="2078831" y="334804"/>
                    <a:pt x="2079784" y="331946"/>
                    <a:pt x="2079784" y="330041"/>
                  </a:cubicBezTo>
                  <a:cubicBezTo>
                    <a:pt x="2080736" y="332899"/>
                    <a:pt x="2081689" y="335756"/>
                    <a:pt x="2081689" y="339566"/>
                  </a:cubicBezTo>
                  <a:cubicBezTo>
                    <a:pt x="2081689" y="338614"/>
                    <a:pt x="2081689" y="338614"/>
                    <a:pt x="2081689" y="339566"/>
                  </a:cubicBezTo>
                  <a:close/>
                  <a:moveTo>
                    <a:pt x="2085499" y="290036"/>
                  </a:moveTo>
                  <a:cubicBezTo>
                    <a:pt x="2085499" y="295751"/>
                    <a:pt x="2084546" y="301466"/>
                    <a:pt x="2084546" y="307181"/>
                  </a:cubicBezTo>
                  <a:cubicBezTo>
                    <a:pt x="2084546" y="306229"/>
                    <a:pt x="2083594" y="305276"/>
                    <a:pt x="2083594" y="303371"/>
                  </a:cubicBezTo>
                  <a:cubicBezTo>
                    <a:pt x="2084546" y="292894"/>
                    <a:pt x="2085499" y="282416"/>
                    <a:pt x="2086451" y="273844"/>
                  </a:cubicBezTo>
                  <a:cubicBezTo>
                    <a:pt x="2086451" y="271939"/>
                    <a:pt x="2086451" y="269081"/>
                    <a:pt x="2087404" y="267176"/>
                  </a:cubicBezTo>
                  <a:cubicBezTo>
                    <a:pt x="2086451" y="274796"/>
                    <a:pt x="2085499" y="282416"/>
                    <a:pt x="2085499" y="290036"/>
                  </a:cubicBezTo>
                  <a:close/>
                  <a:moveTo>
                    <a:pt x="2089309" y="180499"/>
                  </a:moveTo>
                  <a:cubicBezTo>
                    <a:pt x="2089309" y="186214"/>
                    <a:pt x="2089309" y="192881"/>
                    <a:pt x="2089309" y="200501"/>
                  </a:cubicBezTo>
                  <a:cubicBezTo>
                    <a:pt x="2088356" y="197644"/>
                    <a:pt x="2086451" y="194786"/>
                    <a:pt x="2086451" y="192881"/>
                  </a:cubicBezTo>
                  <a:cubicBezTo>
                    <a:pt x="2087404" y="188119"/>
                    <a:pt x="2088356" y="184309"/>
                    <a:pt x="2089309" y="180499"/>
                  </a:cubicBezTo>
                  <a:close/>
                  <a:moveTo>
                    <a:pt x="2072164" y="241459"/>
                  </a:moveTo>
                  <a:cubicBezTo>
                    <a:pt x="2077879" y="223361"/>
                    <a:pt x="2082641" y="207169"/>
                    <a:pt x="2086451" y="193834"/>
                  </a:cubicBezTo>
                  <a:cubicBezTo>
                    <a:pt x="2087404" y="197644"/>
                    <a:pt x="2088356" y="201454"/>
                    <a:pt x="2090261" y="207169"/>
                  </a:cubicBezTo>
                  <a:cubicBezTo>
                    <a:pt x="2090261" y="207169"/>
                    <a:pt x="2090261" y="207169"/>
                    <a:pt x="2090261" y="208121"/>
                  </a:cubicBezTo>
                  <a:cubicBezTo>
                    <a:pt x="2087404" y="221456"/>
                    <a:pt x="2081689" y="244316"/>
                    <a:pt x="2075974" y="271939"/>
                  </a:cubicBezTo>
                  <a:cubicBezTo>
                    <a:pt x="2075021" y="274796"/>
                    <a:pt x="2075021" y="278606"/>
                    <a:pt x="2074069" y="282416"/>
                  </a:cubicBezTo>
                  <a:cubicBezTo>
                    <a:pt x="2072164" y="278606"/>
                    <a:pt x="2070259" y="274796"/>
                    <a:pt x="2068354" y="271939"/>
                  </a:cubicBezTo>
                  <a:cubicBezTo>
                    <a:pt x="2067401" y="270034"/>
                    <a:pt x="2066449" y="268129"/>
                    <a:pt x="2065496" y="266224"/>
                  </a:cubicBezTo>
                  <a:cubicBezTo>
                    <a:pt x="2067401" y="257651"/>
                    <a:pt x="2069306" y="249079"/>
                    <a:pt x="2072164" y="241459"/>
                  </a:cubicBezTo>
                  <a:close/>
                  <a:moveTo>
                    <a:pt x="2062639" y="270034"/>
                  </a:moveTo>
                  <a:cubicBezTo>
                    <a:pt x="2062639" y="270986"/>
                    <a:pt x="2063591" y="271939"/>
                    <a:pt x="2063591" y="272891"/>
                  </a:cubicBezTo>
                  <a:cubicBezTo>
                    <a:pt x="2065496" y="278606"/>
                    <a:pt x="2067401" y="285274"/>
                    <a:pt x="2069306" y="292894"/>
                  </a:cubicBezTo>
                  <a:cubicBezTo>
                    <a:pt x="2069306" y="293846"/>
                    <a:pt x="2069306" y="293846"/>
                    <a:pt x="2070259" y="294799"/>
                  </a:cubicBezTo>
                  <a:cubicBezTo>
                    <a:pt x="2069306" y="299561"/>
                    <a:pt x="2068354" y="305276"/>
                    <a:pt x="2067401" y="310039"/>
                  </a:cubicBezTo>
                  <a:cubicBezTo>
                    <a:pt x="2066449" y="308134"/>
                    <a:pt x="2066449" y="305276"/>
                    <a:pt x="2065496" y="303371"/>
                  </a:cubicBezTo>
                  <a:cubicBezTo>
                    <a:pt x="2063591" y="296704"/>
                    <a:pt x="2060734" y="290036"/>
                    <a:pt x="2058829" y="284321"/>
                  </a:cubicBezTo>
                  <a:cubicBezTo>
                    <a:pt x="2059781" y="279559"/>
                    <a:pt x="2061686" y="274796"/>
                    <a:pt x="2062639" y="270034"/>
                  </a:cubicBezTo>
                  <a:close/>
                  <a:moveTo>
                    <a:pt x="2053114" y="301466"/>
                  </a:moveTo>
                  <a:cubicBezTo>
                    <a:pt x="2053114" y="303371"/>
                    <a:pt x="2054066" y="304324"/>
                    <a:pt x="2054066" y="306229"/>
                  </a:cubicBezTo>
                  <a:cubicBezTo>
                    <a:pt x="2055019" y="310991"/>
                    <a:pt x="2055971" y="315754"/>
                    <a:pt x="2056924" y="320516"/>
                  </a:cubicBezTo>
                  <a:cubicBezTo>
                    <a:pt x="2056924" y="320516"/>
                    <a:pt x="2055971" y="320516"/>
                    <a:pt x="2055971" y="320516"/>
                  </a:cubicBezTo>
                  <a:cubicBezTo>
                    <a:pt x="2051209" y="318611"/>
                    <a:pt x="2049304" y="317659"/>
                    <a:pt x="2049304" y="317659"/>
                  </a:cubicBezTo>
                  <a:cubicBezTo>
                    <a:pt x="2049304" y="317659"/>
                    <a:pt x="2051209" y="319564"/>
                    <a:pt x="2055971" y="321469"/>
                  </a:cubicBezTo>
                  <a:cubicBezTo>
                    <a:pt x="2056924" y="321469"/>
                    <a:pt x="2056924" y="322421"/>
                    <a:pt x="2057876" y="322421"/>
                  </a:cubicBezTo>
                  <a:cubicBezTo>
                    <a:pt x="2058829" y="326231"/>
                    <a:pt x="2058829" y="329089"/>
                    <a:pt x="2059781" y="332899"/>
                  </a:cubicBezTo>
                  <a:cubicBezTo>
                    <a:pt x="2057876" y="335756"/>
                    <a:pt x="2055971" y="338614"/>
                    <a:pt x="2053114" y="342424"/>
                  </a:cubicBezTo>
                  <a:cubicBezTo>
                    <a:pt x="2052161" y="335756"/>
                    <a:pt x="2050256" y="328136"/>
                    <a:pt x="2049304" y="321469"/>
                  </a:cubicBezTo>
                  <a:cubicBezTo>
                    <a:pt x="2049304" y="319564"/>
                    <a:pt x="2049304" y="317659"/>
                    <a:pt x="2049304" y="315754"/>
                  </a:cubicBezTo>
                  <a:cubicBezTo>
                    <a:pt x="2050256" y="310991"/>
                    <a:pt x="2052161" y="305276"/>
                    <a:pt x="2053114" y="301466"/>
                  </a:cubicBezTo>
                  <a:close/>
                  <a:moveTo>
                    <a:pt x="2044541" y="260509"/>
                  </a:moveTo>
                  <a:cubicBezTo>
                    <a:pt x="2044541" y="260509"/>
                    <a:pt x="2044541" y="260509"/>
                    <a:pt x="2044541" y="260509"/>
                  </a:cubicBezTo>
                  <a:cubicBezTo>
                    <a:pt x="2044541" y="260509"/>
                    <a:pt x="2044541" y="259556"/>
                    <a:pt x="2044541" y="259556"/>
                  </a:cubicBezTo>
                  <a:cubicBezTo>
                    <a:pt x="2044541" y="259556"/>
                    <a:pt x="2044541" y="259556"/>
                    <a:pt x="2044541" y="260509"/>
                  </a:cubicBezTo>
                  <a:close/>
                  <a:moveTo>
                    <a:pt x="2019776" y="188119"/>
                  </a:moveTo>
                  <a:cubicBezTo>
                    <a:pt x="2019776" y="187166"/>
                    <a:pt x="2019776" y="186214"/>
                    <a:pt x="2019776" y="185261"/>
                  </a:cubicBezTo>
                  <a:cubicBezTo>
                    <a:pt x="2019776" y="182404"/>
                    <a:pt x="2020729" y="179546"/>
                    <a:pt x="2020729" y="177641"/>
                  </a:cubicBezTo>
                  <a:cubicBezTo>
                    <a:pt x="2020729" y="180499"/>
                    <a:pt x="2020729" y="184309"/>
                    <a:pt x="2020729" y="189071"/>
                  </a:cubicBezTo>
                  <a:cubicBezTo>
                    <a:pt x="2020729" y="197644"/>
                    <a:pt x="2021681" y="208121"/>
                    <a:pt x="2021681" y="220504"/>
                  </a:cubicBezTo>
                  <a:cubicBezTo>
                    <a:pt x="2021681" y="228124"/>
                    <a:pt x="2022634" y="235744"/>
                    <a:pt x="2023586" y="244316"/>
                  </a:cubicBezTo>
                  <a:cubicBezTo>
                    <a:pt x="2023586" y="245269"/>
                    <a:pt x="2022634" y="246221"/>
                    <a:pt x="2022634" y="247174"/>
                  </a:cubicBezTo>
                  <a:cubicBezTo>
                    <a:pt x="2020729" y="238601"/>
                    <a:pt x="2018824" y="230029"/>
                    <a:pt x="2016919" y="222409"/>
                  </a:cubicBezTo>
                  <a:cubicBezTo>
                    <a:pt x="2018824" y="209074"/>
                    <a:pt x="2018824" y="197644"/>
                    <a:pt x="2019776" y="188119"/>
                  </a:cubicBezTo>
                  <a:close/>
                  <a:moveTo>
                    <a:pt x="1999774" y="298609"/>
                  </a:moveTo>
                  <a:cubicBezTo>
                    <a:pt x="1999774" y="300514"/>
                    <a:pt x="1999774" y="302419"/>
                    <a:pt x="1999774" y="304324"/>
                  </a:cubicBezTo>
                  <a:cubicBezTo>
                    <a:pt x="1998821" y="306229"/>
                    <a:pt x="1998821" y="308134"/>
                    <a:pt x="1997869" y="310039"/>
                  </a:cubicBezTo>
                  <a:cubicBezTo>
                    <a:pt x="1998821" y="306229"/>
                    <a:pt x="1999774" y="302419"/>
                    <a:pt x="1999774" y="298609"/>
                  </a:cubicBezTo>
                  <a:close/>
                  <a:moveTo>
                    <a:pt x="1992154" y="349091"/>
                  </a:moveTo>
                  <a:cubicBezTo>
                    <a:pt x="1992154" y="351949"/>
                    <a:pt x="1992154" y="355759"/>
                    <a:pt x="1992154" y="359569"/>
                  </a:cubicBezTo>
                  <a:cubicBezTo>
                    <a:pt x="1992154" y="362426"/>
                    <a:pt x="1992154" y="366236"/>
                    <a:pt x="1992154" y="369094"/>
                  </a:cubicBezTo>
                  <a:cubicBezTo>
                    <a:pt x="1991201" y="370046"/>
                    <a:pt x="1990249" y="371951"/>
                    <a:pt x="1988344" y="373856"/>
                  </a:cubicBezTo>
                  <a:cubicBezTo>
                    <a:pt x="1990249" y="365284"/>
                    <a:pt x="1991201" y="356711"/>
                    <a:pt x="1992154" y="349091"/>
                  </a:cubicBezTo>
                  <a:close/>
                  <a:moveTo>
                    <a:pt x="1987391" y="381476"/>
                  </a:moveTo>
                  <a:cubicBezTo>
                    <a:pt x="1987391" y="381476"/>
                    <a:pt x="1987391" y="381476"/>
                    <a:pt x="1987391" y="381476"/>
                  </a:cubicBezTo>
                  <a:cubicBezTo>
                    <a:pt x="1989296" y="377666"/>
                    <a:pt x="1991201" y="374809"/>
                    <a:pt x="1992154" y="372904"/>
                  </a:cubicBezTo>
                  <a:cubicBezTo>
                    <a:pt x="1992154" y="374809"/>
                    <a:pt x="1992154" y="377666"/>
                    <a:pt x="1992154" y="379571"/>
                  </a:cubicBezTo>
                  <a:cubicBezTo>
                    <a:pt x="1992154" y="381476"/>
                    <a:pt x="1991201" y="384334"/>
                    <a:pt x="1991201" y="386239"/>
                  </a:cubicBezTo>
                  <a:cubicBezTo>
                    <a:pt x="1990249" y="391001"/>
                    <a:pt x="1989296" y="395764"/>
                    <a:pt x="1988344" y="400526"/>
                  </a:cubicBezTo>
                  <a:cubicBezTo>
                    <a:pt x="1988344" y="400526"/>
                    <a:pt x="1988344" y="399574"/>
                    <a:pt x="1988344" y="399574"/>
                  </a:cubicBezTo>
                  <a:cubicBezTo>
                    <a:pt x="1987391" y="397669"/>
                    <a:pt x="1986439" y="394811"/>
                    <a:pt x="1985486" y="392906"/>
                  </a:cubicBezTo>
                  <a:cubicBezTo>
                    <a:pt x="1986439" y="389096"/>
                    <a:pt x="1986439" y="385286"/>
                    <a:pt x="1987391" y="381476"/>
                  </a:cubicBezTo>
                  <a:close/>
                  <a:moveTo>
                    <a:pt x="1968341" y="290989"/>
                  </a:moveTo>
                  <a:cubicBezTo>
                    <a:pt x="1968341" y="292894"/>
                    <a:pt x="1968341" y="294799"/>
                    <a:pt x="1967389" y="297656"/>
                  </a:cubicBezTo>
                  <a:cubicBezTo>
                    <a:pt x="1967389" y="299561"/>
                    <a:pt x="1966436" y="302419"/>
                    <a:pt x="1966436" y="305276"/>
                  </a:cubicBezTo>
                  <a:cubicBezTo>
                    <a:pt x="1966436" y="309086"/>
                    <a:pt x="1965484" y="313849"/>
                    <a:pt x="1965484" y="318611"/>
                  </a:cubicBezTo>
                  <a:cubicBezTo>
                    <a:pt x="1965484" y="313849"/>
                    <a:pt x="1964531" y="309086"/>
                    <a:pt x="1964531" y="304324"/>
                  </a:cubicBezTo>
                  <a:cubicBezTo>
                    <a:pt x="1964531" y="303371"/>
                    <a:pt x="1964531" y="301466"/>
                    <a:pt x="1964531" y="300514"/>
                  </a:cubicBezTo>
                  <a:cubicBezTo>
                    <a:pt x="1965484" y="296704"/>
                    <a:pt x="1967389" y="293846"/>
                    <a:pt x="1968341" y="290989"/>
                  </a:cubicBezTo>
                  <a:close/>
                  <a:moveTo>
                    <a:pt x="1937861" y="310039"/>
                  </a:moveTo>
                  <a:cubicBezTo>
                    <a:pt x="1937861" y="307181"/>
                    <a:pt x="1937861" y="304324"/>
                    <a:pt x="1937861" y="302419"/>
                  </a:cubicBezTo>
                  <a:cubicBezTo>
                    <a:pt x="1937861" y="300514"/>
                    <a:pt x="1937861" y="297656"/>
                    <a:pt x="1937861" y="295751"/>
                  </a:cubicBezTo>
                  <a:cubicBezTo>
                    <a:pt x="1937861" y="299561"/>
                    <a:pt x="1938814" y="302419"/>
                    <a:pt x="1938814" y="306229"/>
                  </a:cubicBezTo>
                  <a:cubicBezTo>
                    <a:pt x="1938814" y="308134"/>
                    <a:pt x="1938814" y="309086"/>
                    <a:pt x="1937861" y="310039"/>
                  </a:cubicBezTo>
                  <a:close/>
                  <a:moveTo>
                    <a:pt x="1938814" y="272891"/>
                  </a:moveTo>
                  <a:cubicBezTo>
                    <a:pt x="1937861" y="270034"/>
                    <a:pt x="1937861" y="268129"/>
                    <a:pt x="1936909" y="266224"/>
                  </a:cubicBezTo>
                  <a:cubicBezTo>
                    <a:pt x="1936909" y="264319"/>
                    <a:pt x="1936909" y="262414"/>
                    <a:pt x="1936909" y="261461"/>
                  </a:cubicBezTo>
                  <a:cubicBezTo>
                    <a:pt x="1936909" y="256699"/>
                    <a:pt x="1936909" y="250984"/>
                    <a:pt x="1936909" y="246221"/>
                  </a:cubicBezTo>
                  <a:cubicBezTo>
                    <a:pt x="1936909" y="253841"/>
                    <a:pt x="1937861" y="263366"/>
                    <a:pt x="1938814" y="272891"/>
                  </a:cubicBezTo>
                  <a:close/>
                  <a:moveTo>
                    <a:pt x="1900714" y="338614"/>
                  </a:moveTo>
                  <a:cubicBezTo>
                    <a:pt x="1900714" y="336709"/>
                    <a:pt x="1900714" y="334804"/>
                    <a:pt x="1900714" y="333851"/>
                  </a:cubicBezTo>
                  <a:cubicBezTo>
                    <a:pt x="1901666" y="331946"/>
                    <a:pt x="1901666" y="330041"/>
                    <a:pt x="1902619" y="329089"/>
                  </a:cubicBezTo>
                  <a:cubicBezTo>
                    <a:pt x="1903571" y="328136"/>
                    <a:pt x="1904524" y="326231"/>
                    <a:pt x="1904524" y="325279"/>
                  </a:cubicBezTo>
                  <a:cubicBezTo>
                    <a:pt x="1902619" y="330041"/>
                    <a:pt x="1901666" y="333851"/>
                    <a:pt x="1900714" y="338614"/>
                  </a:cubicBezTo>
                  <a:close/>
                  <a:moveTo>
                    <a:pt x="1915954" y="436721"/>
                  </a:moveTo>
                  <a:cubicBezTo>
                    <a:pt x="1915954" y="435769"/>
                    <a:pt x="1915954" y="434816"/>
                    <a:pt x="1915954" y="433864"/>
                  </a:cubicBezTo>
                  <a:cubicBezTo>
                    <a:pt x="1915954" y="433864"/>
                    <a:pt x="1915954" y="434816"/>
                    <a:pt x="1916906" y="434816"/>
                  </a:cubicBezTo>
                  <a:cubicBezTo>
                    <a:pt x="1915954" y="435769"/>
                    <a:pt x="1915954" y="436721"/>
                    <a:pt x="1915954" y="436721"/>
                  </a:cubicBezTo>
                  <a:close/>
                  <a:moveTo>
                    <a:pt x="1920716" y="401479"/>
                  </a:moveTo>
                  <a:cubicBezTo>
                    <a:pt x="1920716" y="403384"/>
                    <a:pt x="1919764" y="405289"/>
                    <a:pt x="1919764" y="407194"/>
                  </a:cubicBezTo>
                  <a:cubicBezTo>
                    <a:pt x="1918811" y="406241"/>
                    <a:pt x="1918811" y="405289"/>
                    <a:pt x="1917859" y="404336"/>
                  </a:cubicBezTo>
                  <a:cubicBezTo>
                    <a:pt x="1918811" y="402431"/>
                    <a:pt x="1919764" y="400526"/>
                    <a:pt x="1919764" y="398621"/>
                  </a:cubicBezTo>
                  <a:cubicBezTo>
                    <a:pt x="1920716" y="399574"/>
                    <a:pt x="1920716" y="400526"/>
                    <a:pt x="1920716" y="401479"/>
                  </a:cubicBezTo>
                  <a:close/>
                  <a:moveTo>
                    <a:pt x="1917859" y="331946"/>
                  </a:moveTo>
                  <a:cubicBezTo>
                    <a:pt x="1918811" y="333851"/>
                    <a:pt x="1919764" y="335756"/>
                    <a:pt x="1919764" y="337661"/>
                  </a:cubicBezTo>
                  <a:cubicBezTo>
                    <a:pt x="1919764" y="337661"/>
                    <a:pt x="1919764" y="337661"/>
                    <a:pt x="1919764" y="337661"/>
                  </a:cubicBezTo>
                  <a:cubicBezTo>
                    <a:pt x="1919764" y="337661"/>
                    <a:pt x="1918811" y="338614"/>
                    <a:pt x="1918811" y="338614"/>
                  </a:cubicBezTo>
                  <a:cubicBezTo>
                    <a:pt x="1917859" y="339566"/>
                    <a:pt x="1916906" y="340519"/>
                    <a:pt x="1916906" y="342424"/>
                  </a:cubicBezTo>
                  <a:cubicBezTo>
                    <a:pt x="1916906" y="341471"/>
                    <a:pt x="1916906" y="341471"/>
                    <a:pt x="1916906" y="341471"/>
                  </a:cubicBezTo>
                  <a:cubicBezTo>
                    <a:pt x="1916906" y="341471"/>
                    <a:pt x="1916906" y="342424"/>
                    <a:pt x="1915954" y="344329"/>
                  </a:cubicBezTo>
                  <a:cubicBezTo>
                    <a:pt x="1915954" y="344329"/>
                    <a:pt x="1915001" y="345281"/>
                    <a:pt x="1915001" y="345281"/>
                  </a:cubicBezTo>
                  <a:cubicBezTo>
                    <a:pt x="1915954" y="340519"/>
                    <a:pt x="1916906" y="335756"/>
                    <a:pt x="1917859" y="331946"/>
                  </a:cubicBezTo>
                  <a:close/>
                  <a:moveTo>
                    <a:pt x="1919764" y="360521"/>
                  </a:moveTo>
                  <a:cubicBezTo>
                    <a:pt x="1919764" y="361474"/>
                    <a:pt x="1919764" y="362426"/>
                    <a:pt x="1919764" y="364331"/>
                  </a:cubicBezTo>
                  <a:cubicBezTo>
                    <a:pt x="1917859" y="367189"/>
                    <a:pt x="1916906" y="370999"/>
                    <a:pt x="1915001" y="373856"/>
                  </a:cubicBezTo>
                  <a:cubicBezTo>
                    <a:pt x="1913096" y="378619"/>
                    <a:pt x="1910239" y="383381"/>
                    <a:pt x="1908334" y="388144"/>
                  </a:cubicBezTo>
                  <a:cubicBezTo>
                    <a:pt x="1908334" y="388144"/>
                    <a:pt x="1907381" y="387191"/>
                    <a:pt x="1907381" y="387191"/>
                  </a:cubicBezTo>
                  <a:cubicBezTo>
                    <a:pt x="1907381" y="386239"/>
                    <a:pt x="1907381" y="386239"/>
                    <a:pt x="1907381" y="385286"/>
                  </a:cubicBezTo>
                  <a:cubicBezTo>
                    <a:pt x="1908334" y="383381"/>
                    <a:pt x="1909286" y="381476"/>
                    <a:pt x="1910239" y="380524"/>
                  </a:cubicBezTo>
                  <a:cubicBezTo>
                    <a:pt x="1913096" y="372904"/>
                    <a:pt x="1916906" y="366236"/>
                    <a:pt x="1919764" y="360521"/>
                  </a:cubicBezTo>
                  <a:close/>
                  <a:moveTo>
                    <a:pt x="1910239" y="299561"/>
                  </a:moveTo>
                  <a:cubicBezTo>
                    <a:pt x="1909286" y="301466"/>
                    <a:pt x="1909286" y="303371"/>
                    <a:pt x="1908334" y="305276"/>
                  </a:cubicBezTo>
                  <a:cubicBezTo>
                    <a:pt x="1908334" y="305276"/>
                    <a:pt x="1908334" y="305276"/>
                    <a:pt x="1908334" y="305276"/>
                  </a:cubicBezTo>
                  <a:cubicBezTo>
                    <a:pt x="1909286" y="302419"/>
                    <a:pt x="1910239" y="300514"/>
                    <a:pt x="1910239" y="299561"/>
                  </a:cubicBezTo>
                  <a:close/>
                  <a:moveTo>
                    <a:pt x="1906429" y="313849"/>
                  </a:moveTo>
                  <a:cubicBezTo>
                    <a:pt x="1907381" y="311944"/>
                    <a:pt x="1907381" y="310991"/>
                    <a:pt x="1908334" y="309086"/>
                  </a:cubicBezTo>
                  <a:cubicBezTo>
                    <a:pt x="1908334" y="309086"/>
                    <a:pt x="1908334" y="309086"/>
                    <a:pt x="1908334" y="310039"/>
                  </a:cubicBezTo>
                  <a:cubicBezTo>
                    <a:pt x="1907381" y="311944"/>
                    <a:pt x="1907381" y="313849"/>
                    <a:pt x="1906429" y="315754"/>
                  </a:cubicBezTo>
                  <a:cubicBezTo>
                    <a:pt x="1906429" y="315754"/>
                    <a:pt x="1905476" y="316706"/>
                    <a:pt x="1905476" y="316706"/>
                  </a:cubicBezTo>
                  <a:cubicBezTo>
                    <a:pt x="1905476" y="314801"/>
                    <a:pt x="1905476" y="314801"/>
                    <a:pt x="1906429" y="313849"/>
                  </a:cubicBezTo>
                  <a:close/>
                  <a:moveTo>
                    <a:pt x="1893094" y="259556"/>
                  </a:moveTo>
                  <a:cubicBezTo>
                    <a:pt x="1893094" y="258604"/>
                    <a:pt x="1894046" y="257651"/>
                    <a:pt x="1894046" y="256699"/>
                  </a:cubicBezTo>
                  <a:cubicBezTo>
                    <a:pt x="1894046" y="256699"/>
                    <a:pt x="1894999" y="256699"/>
                    <a:pt x="1894999" y="256699"/>
                  </a:cubicBezTo>
                  <a:cubicBezTo>
                    <a:pt x="1896904" y="257651"/>
                    <a:pt x="1897856" y="259556"/>
                    <a:pt x="1899761" y="260509"/>
                  </a:cubicBezTo>
                  <a:lnTo>
                    <a:pt x="1904524" y="275749"/>
                  </a:lnTo>
                  <a:cubicBezTo>
                    <a:pt x="1901666" y="283369"/>
                    <a:pt x="1898809" y="290036"/>
                    <a:pt x="1895951" y="297656"/>
                  </a:cubicBezTo>
                  <a:cubicBezTo>
                    <a:pt x="1894999" y="291941"/>
                    <a:pt x="1894999" y="286226"/>
                    <a:pt x="1894046" y="281464"/>
                  </a:cubicBezTo>
                  <a:cubicBezTo>
                    <a:pt x="1894046" y="277654"/>
                    <a:pt x="1893094" y="273844"/>
                    <a:pt x="1892141" y="270034"/>
                  </a:cubicBezTo>
                  <a:cubicBezTo>
                    <a:pt x="1892141" y="270986"/>
                    <a:pt x="1893094" y="271939"/>
                    <a:pt x="1893094" y="272891"/>
                  </a:cubicBezTo>
                  <a:cubicBezTo>
                    <a:pt x="1893094" y="269081"/>
                    <a:pt x="1892141" y="264319"/>
                    <a:pt x="1893094" y="259556"/>
                  </a:cubicBezTo>
                  <a:close/>
                  <a:moveTo>
                    <a:pt x="1841659" y="297656"/>
                  </a:moveTo>
                  <a:cubicBezTo>
                    <a:pt x="1841659" y="303371"/>
                    <a:pt x="1840706" y="308134"/>
                    <a:pt x="1840706" y="313849"/>
                  </a:cubicBezTo>
                  <a:cubicBezTo>
                    <a:pt x="1839754" y="307181"/>
                    <a:pt x="1839754" y="300514"/>
                    <a:pt x="1838801" y="294799"/>
                  </a:cubicBezTo>
                  <a:cubicBezTo>
                    <a:pt x="1838801" y="292894"/>
                    <a:pt x="1838801" y="291941"/>
                    <a:pt x="1838801" y="290989"/>
                  </a:cubicBezTo>
                  <a:cubicBezTo>
                    <a:pt x="1839754" y="292894"/>
                    <a:pt x="1840706" y="294799"/>
                    <a:pt x="1841659" y="297656"/>
                  </a:cubicBezTo>
                  <a:close/>
                  <a:moveTo>
                    <a:pt x="1822609" y="363379"/>
                  </a:moveTo>
                  <a:cubicBezTo>
                    <a:pt x="1823561" y="359569"/>
                    <a:pt x="1825466" y="356711"/>
                    <a:pt x="1826419" y="353854"/>
                  </a:cubicBezTo>
                  <a:cubicBezTo>
                    <a:pt x="1826419" y="357664"/>
                    <a:pt x="1826419" y="360521"/>
                    <a:pt x="1827371" y="364331"/>
                  </a:cubicBezTo>
                  <a:cubicBezTo>
                    <a:pt x="1826419" y="365284"/>
                    <a:pt x="1824514" y="367189"/>
                    <a:pt x="1823561" y="368141"/>
                  </a:cubicBezTo>
                  <a:cubicBezTo>
                    <a:pt x="1822609" y="366236"/>
                    <a:pt x="1822609" y="365284"/>
                    <a:pt x="1822609" y="363379"/>
                  </a:cubicBezTo>
                  <a:close/>
                  <a:moveTo>
                    <a:pt x="1828324" y="403384"/>
                  </a:moveTo>
                  <a:cubicBezTo>
                    <a:pt x="1828324" y="402431"/>
                    <a:pt x="1827371" y="401479"/>
                    <a:pt x="1827371" y="400526"/>
                  </a:cubicBezTo>
                  <a:cubicBezTo>
                    <a:pt x="1826419" y="393859"/>
                    <a:pt x="1825466" y="387191"/>
                    <a:pt x="1825466" y="381476"/>
                  </a:cubicBezTo>
                  <a:cubicBezTo>
                    <a:pt x="1826419" y="379571"/>
                    <a:pt x="1827371" y="378619"/>
                    <a:pt x="1828324" y="377666"/>
                  </a:cubicBezTo>
                  <a:cubicBezTo>
                    <a:pt x="1828324" y="385286"/>
                    <a:pt x="1828324" y="391954"/>
                    <a:pt x="1829276" y="399574"/>
                  </a:cubicBezTo>
                  <a:cubicBezTo>
                    <a:pt x="1828324" y="400526"/>
                    <a:pt x="1828324" y="402431"/>
                    <a:pt x="1828324" y="403384"/>
                  </a:cubicBezTo>
                  <a:close/>
                  <a:moveTo>
                    <a:pt x="1833086" y="339566"/>
                  </a:moveTo>
                  <a:cubicBezTo>
                    <a:pt x="1833086" y="339566"/>
                    <a:pt x="1833086" y="339566"/>
                    <a:pt x="1833086" y="339566"/>
                  </a:cubicBezTo>
                  <a:cubicBezTo>
                    <a:pt x="1833086" y="339566"/>
                    <a:pt x="1833086" y="340519"/>
                    <a:pt x="1833086" y="340519"/>
                  </a:cubicBezTo>
                  <a:cubicBezTo>
                    <a:pt x="1833086" y="340519"/>
                    <a:pt x="1833086" y="339566"/>
                    <a:pt x="1833086" y="339566"/>
                  </a:cubicBezTo>
                  <a:close/>
                  <a:moveTo>
                    <a:pt x="1824514" y="272891"/>
                  </a:moveTo>
                  <a:cubicBezTo>
                    <a:pt x="1824514" y="269081"/>
                    <a:pt x="1824514" y="266224"/>
                    <a:pt x="1824514" y="263366"/>
                  </a:cubicBezTo>
                  <a:cubicBezTo>
                    <a:pt x="1827371" y="269081"/>
                    <a:pt x="1831181" y="276701"/>
                    <a:pt x="1835944" y="285274"/>
                  </a:cubicBezTo>
                  <a:cubicBezTo>
                    <a:pt x="1835944" y="288131"/>
                    <a:pt x="1835944" y="290989"/>
                    <a:pt x="1834991" y="294799"/>
                  </a:cubicBezTo>
                  <a:cubicBezTo>
                    <a:pt x="1834991" y="302419"/>
                    <a:pt x="1834039" y="310991"/>
                    <a:pt x="1834039" y="320516"/>
                  </a:cubicBezTo>
                  <a:cubicBezTo>
                    <a:pt x="1834039" y="323374"/>
                    <a:pt x="1834039" y="327184"/>
                    <a:pt x="1834039" y="330994"/>
                  </a:cubicBezTo>
                  <a:cubicBezTo>
                    <a:pt x="1834039" y="330994"/>
                    <a:pt x="1833086" y="330994"/>
                    <a:pt x="1833086" y="331946"/>
                  </a:cubicBezTo>
                  <a:cubicBezTo>
                    <a:pt x="1833086" y="331946"/>
                    <a:pt x="1832134" y="332899"/>
                    <a:pt x="1832134" y="332899"/>
                  </a:cubicBezTo>
                  <a:cubicBezTo>
                    <a:pt x="1830229" y="326231"/>
                    <a:pt x="1829276" y="321469"/>
                    <a:pt x="1827371" y="316706"/>
                  </a:cubicBezTo>
                  <a:cubicBezTo>
                    <a:pt x="1825466" y="310991"/>
                    <a:pt x="1823561" y="306229"/>
                    <a:pt x="1822609" y="303371"/>
                  </a:cubicBezTo>
                  <a:cubicBezTo>
                    <a:pt x="1823561" y="292894"/>
                    <a:pt x="1823561" y="282416"/>
                    <a:pt x="1824514" y="272891"/>
                  </a:cubicBezTo>
                  <a:close/>
                  <a:moveTo>
                    <a:pt x="1822609" y="309086"/>
                  </a:moveTo>
                  <a:cubicBezTo>
                    <a:pt x="1822609" y="311944"/>
                    <a:pt x="1823561" y="314801"/>
                    <a:pt x="1823561" y="317659"/>
                  </a:cubicBezTo>
                  <a:cubicBezTo>
                    <a:pt x="1824514" y="323374"/>
                    <a:pt x="1824514" y="330994"/>
                    <a:pt x="1825466" y="338614"/>
                  </a:cubicBezTo>
                  <a:cubicBezTo>
                    <a:pt x="1825466" y="339566"/>
                    <a:pt x="1825466" y="340519"/>
                    <a:pt x="1825466" y="340519"/>
                  </a:cubicBezTo>
                  <a:cubicBezTo>
                    <a:pt x="1823561" y="342424"/>
                    <a:pt x="1822609" y="345281"/>
                    <a:pt x="1820704" y="348139"/>
                  </a:cubicBezTo>
                  <a:cubicBezTo>
                    <a:pt x="1820704" y="343376"/>
                    <a:pt x="1820704" y="337661"/>
                    <a:pt x="1820704" y="332899"/>
                  </a:cubicBezTo>
                  <a:cubicBezTo>
                    <a:pt x="1820704" y="332899"/>
                    <a:pt x="1820704" y="332899"/>
                    <a:pt x="1820704" y="331946"/>
                  </a:cubicBezTo>
                  <a:cubicBezTo>
                    <a:pt x="1821656" y="324326"/>
                    <a:pt x="1821656" y="316706"/>
                    <a:pt x="1822609" y="309086"/>
                  </a:cubicBezTo>
                  <a:close/>
                  <a:moveTo>
                    <a:pt x="1763554" y="411956"/>
                  </a:moveTo>
                  <a:cubicBezTo>
                    <a:pt x="1763554" y="410051"/>
                    <a:pt x="1762601" y="408146"/>
                    <a:pt x="1762601" y="406241"/>
                  </a:cubicBezTo>
                  <a:cubicBezTo>
                    <a:pt x="1762601" y="403384"/>
                    <a:pt x="1761649" y="400526"/>
                    <a:pt x="1761649" y="397669"/>
                  </a:cubicBezTo>
                  <a:cubicBezTo>
                    <a:pt x="1761649" y="397669"/>
                    <a:pt x="1761649" y="397669"/>
                    <a:pt x="1761649" y="397669"/>
                  </a:cubicBezTo>
                  <a:cubicBezTo>
                    <a:pt x="1762601" y="398621"/>
                    <a:pt x="1763554" y="399574"/>
                    <a:pt x="1764506" y="400526"/>
                  </a:cubicBezTo>
                  <a:cubicBezTo>
                    <a:pt x="1764506" y="404336"/>
                    <a:pt x="1764506" y="408146"/>
                    <a:pt x="1763554" y="411956"/>
                  </a:cubicBezTo>
                  <a:close/>
                  <a:moveTo>
                    <a:pt x="1766411" y="379571"/>
                  </a:moveTo>
                  <a:cubicBezTo>
                    <a:pt x="1766411" y="379571"/>
                    <a:pt x="1766411" y="379571"/>
                    <a:pt x="1766411" y="379571"/>
                  </a:cubicBezTo>
                  <a:cubicBezTo>
                    <a:pt x="1766411" y="378619"/>
                    <a:pt x="1766411" y="377666"/>
                    <a:pt x="1766411" y="377666"/>
                  </a:cubicBezTo>
                  <a:cubicBezTo>
                    <a:pt x="1766411" y="378619"/>
                    <a:pt x="1766411" y="379571"/>
                    <a:pt x="1766411" y="379571"/>
                  </a:cubicBezTo>
                  <a:close/>
                  <a:moveTo>
                    <a:pt x="1792129" y="251936"/>
                  </a:moveTo>
                  <a:lnTo>
                    <a:pt x="1802606" y="219551"/>
                  </a:lnTo>
                  <a:cubicBezTo>
                    <a:pt x="1802606" y="219551"/>
                    <a:pt x="1802606" y="219551"/>
                    <a:pt x="1802606" y="219551"/>
                  </a:cubicBezTo>
                  <a:cubicBezTo>
                    <a:pt x="1802606" y="237649"/>
                    <a:pt x="1801654" y="255746"/>
                    <a:pt x="1801654" y="274796"/>
                  </a:cubicBezTo>
                  <a:cubicBezTo>
                    <a:pt x="1801654" y="291941"/>
                    <a:pt x="1800701" y="309086"/>
                    <a:pt x="1800701" y="327184"/>
                  </a:cubicBezTo>
                  <a:cubicBezTo>
                    <a:pt x="1798796" y="321469"/>
                    <a:pt x="1796891" y="315754"/>
                    <a:pt x="1794034" y="310991"/>
                  </a:cubicBezTo>
                  <a:cubicBezTo>
                    <a:pt x="1792129" y="305276"/>
                    <a:pt x="1790224" y="299561"/>
                    <a:pt x="1788319" y="294799"/>
                  </a:cubicBezTo>
                  <a:cubicBezTo>
                    <a:pt x="1788319" y="293846"/>
                    <a:pt x="1787366" y="292894"/>
                    <a:pt x="1787366" y="292894"/>
                  </a:cubicBezTo>
                  <a:cubicBezTo>
                    <a:pt x="1787366" y="290989"/>
                    <a:pt x="1786414" y="289084"/>
                    <a:pt x="1786414" y="287179"/>
                  </a:cubicBezTo>
                  <a:cubicBezTo>
                    <a:pt x="1787366" y="284321"/>
                    <a:pt x="1788319" y="282416"/>
                    <a:pt x="1788319" y="279559"/>
                  </a:cubicBezTo>
                  <a:cubicBezTo>
                    <a:pt x="1788319" y="278606"/>
                    <a:pt x="1788319" y="277654"/>
                    <a:pt x="1787366" y="275749"/>
                  </a:cubicBezTo>
                  <a:cubicBezTo>
                    <a:pt x="1787366" y="274796"/>
                    <a:pt x="1785461" y="274796"/>
                    <a:pt x="1785461" y="274796"/>
                  </a:cubicBezTo>
                  <a:cubicBezTo>
                    <a:pt x="1785461" y="274796"/>
                    <a:pt x="1785461" y="274796"/>
                    <a:pt x="1785461" y="274796"/>
                  </a:cubicBezTo>
                  <a:lnTo>
                    <a:pt x="1792129" y="251936"/>
                  </a:lnTo>
                  <a:close/>
                  <a:moveTo>
                    <a:pt x="1785461" y="276701"/>
                  </a:moveTo>
                  <a:cubicBezTo>
                    <a:pt x="1785461" y="276701"/>
                    <a:pt x="1786414" y="277654"/>
                    <a:pt x="1786414" y="278606"/>
                  </a:cubicBezTo>
                  <a:cubicBezTo>
                    <a:pt x="1786414" y="279559"/>
                    <a:pt x="1786414" y="281464"/>
                    <a:pt x="1786414" y="282416"/>
                  </a:cubicBezTo>
                  <a:cubicBezTo>
                    <a:pt x="1785461" y="280511"/>
                    <a:pt x="1785461" y="278606"/>
                    <a:pt x="1785461" y="276701"/>
                  </a:cubicBezTo>
                  <a:cubicBezTo>
                    <a:pt x="1785461" y="276701"/>
                    <a:pt x="1785461" y="276701"/>
                    <a:pt x="1785461" y="276701"/>
                  </a:cubicBezTo>
                  <a:close/>
                  <a:moveTo>
                    <a:pt x="1776889" y="330994"/>
                  </a:moveTo>
                  <a:cubicBezTo>
                    <a:pt x="1779746" y="345281"/>
                    <a:pt x="1782604" y="360521"/>
                    <a:pt x="1785461" y="376714"/>
                  </a:cubicBezTo>
                  <a:cubicBezTo>
                    <a:pt x="1785461" y="379571"/>
                    <a:pt x="1786414" y="382429"/>
                    <a:pt x="1786414" y="385286"/>
                  </a:cubicBezTo>
                  <a:cubicBezTo>
                    <a:pt x="1785461" y="384334"/>
                    <a:pt x="1785461" y="383381"/>
                    <a:pt x="1784509" y="382429"/>
                  </a:cubicBezTo>
                  <a:cubicBezTo>
                    <a:pt x="1785461" y="377666"/>
                    <a:pt x="1785461" y="374809"/>
                    <a:pt x="1785461" y="374809"/>
                  </a:cubicBezTo>
                  <a:cubicBezTo>
                    <a:pt x="1785461" y="374809"/>
                    <a:pt x="1784509" y="376714"/>
                    <a:pt x="1783556" y="380524"/>
                  </a:cubicBezTo>
                  <a:cubicBezTo>
                    <a:pt x="1781651" y="376714"/>
                    <a:pt x="1778794" y="373856"/>
                    <a:pt x="1776889" y="370999"/>
                  </a:cubicBezTo>
                  <a:cubicBezTo>
                    <a:pt x="1776889" y="357664"/>
                    <a:pt x="1776889" y="346234"/>
                    <a:pt x="1776889" y="337661"/>
                  </a:cubicBezTo>
                  <a:cubicBezTo>
                    <a:pt x="1775936" y="334804"/>
                    <a:pt x="1775936" y="332899"/>
                    <a:pt x="1776889" y="330994"/>
                  </a:cubicBezTo>
                  <a:close/>
                  <a:moveTo>
                    <a:pt x="1755934" y="211931"/>
                  </a:moveTo>
                  <a:cubicBezTo>
                    <a:pt x="1756886" y="215741"/>
                    <a:pt x="1758791" y="223361"/>
                    <a:pt x="1761649" y="233839"/>
                  </a:cubicBezTo>
                  <a:cubicBezTo>
                    <a:pt x="1761649" y="234791"/>
                    <a:pt x="1762601" y="236696"/>
                    <a:pt x="1762601" y="238601"/>
                  </a:cubicBezTo>
                  <a:cubicBezTo>
                    <a:pt x="1761649" y="237649"/>
                    <a:pt x="1761649" y="235744"/>
                    <a:pt x="1760696" y="234791"/>
                  </a:cubicBezTo>
                  <a:cubicBezTo>
                    <a:pt x="1759744" y="232886"/>
                    <a:pt x="1759744" y="230981"/>
                    <a:pt x="1759744" y="230981"/>
                  </a:cubicBezTo>
                  <a:cubicBezTo>
                    <a:pt x="1759744" y="230981"/>
                    <a:pt x="1759744" y="231934"/>
                    <a:pt x="1759744" y="232886"/>
                  </a:cubicBezTo>
                  <a:cubicBezTo>
                    <a:pt x="1758791" y="230981"/>
                    <a:pt x="1757839" y="229076"/>
                    <a:pt x="1756886" y="227171"/>
                  </a:cubicBezTo>
                  <a:cubicBezTo>
                    <a:pt x="1755934" y="226219"/>
                    <a:pt x="1755934" y="225266"/>
                    <a:pt x="1754981" y="223361"/>
                  </a:cubicBezTo>
                  <a:cubicBezTo>
                    <a:pt x="1755934" y="219551"/>
                    <a:pt x="1755934" y="215741"/>
                    <a:pt x="1755934" y="211931"/>
                  </a:cubicBezTo>
                  <a:close/>
                  <a:moveTo>
                    <a:pt x="1754981" y="232886"/>
                  </a:moveTo>
                  <a:cubicBezTo>
                    <a:pt x="1754981" y="233839"/>
                    <a:pt x="1755934" y="234791"/>
                    <a:pt x="1755934" y="235744"/>
                  </a:cubicBezTo>
                  <a:cubicBezTo>
                    <a:pt x="1755934" y="236696"/>
                    <a:pt x="1754981" y="237649"/>
                    <a:pt x="1754981" y="240506"/>
                  </a:cubicBezTo>
                  <a:cubicBezTo>
                    <a:pt x="1754981" y="237649"/>
                    <a:pt x="1754981" y="234791"/>
                    <a:pt x="1754981" y="232886"/>
                  </a:cubicBezTo>
                  <a:close/>
                  <a:moveTo>
                    <a:pt x="1754029" y="281464"/>
                  </a:moveTo>
                  <a:cubicBezTo>
                    <a:pt x="1754029" y="270986"/>
                    <a:pt x="1754029" y="261461"/>
                    <a:pt x="1754981" y="252889"/>
                  </a:cubicBezTo>
                  <a:cubicBezTo>
                    <a:pt x="1755934" y="244316"/>
                    <a:pt x="1756886" y="238601"/>
                    <a:pt x="1756886" y="236696"/>
                  </a:cubicBezTo>
                  <a:cubicBezTo>
                    <a:pt x="1758791" y="242411"/>
                    <a:pt x="1761649" y="250031"/>
                    <a:pt x="1763554" y="256699"/>
                  </a:cubicBezTo>
                  <a:cubicBezTo>
                    <a:pt x="1764506" y="265271"/>
                    <a:pt x="1766411" y="274796"/>
                    <a:pt x="1768316" y="286226"/>
                  </a:cubicBezTo>
                  <a:cubicBezTo>
                    <a:pt x="1763554" y="298609"/>
                    <a:pt x="1758791" y="310991"/>
                    <a:pt x="1754981" y="322421"/>
                  </a:cubicBezTo>
                  <a:cubicBezTo>
                    <a:pt x="1754981" y="320516"/>
                    <a:pt x="1754981" y="318611"/>
                    <a:pt x="1754029" y="317659"/>
                  </a:cubicBezTo>
                  <a:cubicBezTo>
                    <a:pt x="1754029" y="317659"/>
                    <a:pt x="1754029" y="316706"/>
                    <a:pt x="1754029" y="316706"/>
                  </a:cubicBezTo>
                  <a:cubicBezTo>
                    <a:pt x="1754029" y="303371"/>
                    <a:pt x="1754029" y="291941"/>
                    <a:pt x="1754029" y="281464"/>
                  </a:cubicBezTo>
                  <a:close/>
                  <a:moveTo>
                    <a:pt x="1687354" y="295751"/>
                  </a:moveTo>
                  <a:cubicBezTo>
                    <a:pt x="1686401" y="302419"/>
                    <a:pt x="1685449" y="309086"/>
                    <a:pt x="1685449" y="314801"/>
                  </a:cubicBezTo>
                  <a:cubicBezTo>
                    <a:pt x="1685449" y="318611"/>
                    <a:pt x="1684496" y="321469"/>
                    <a:pt x="1684496" y="325279"/>
                  </a:cubicBezTo>
                  <a:cubicBezTo>
                    <a:pt x="1683544" y="320516"/>
                    <a:pt x="1682591" y="316706"/>
                    <a:pt x="1681639" y="311944"/>
                  </a:cubicBezTo>
                  <a:cubicBezTo>
                    <a:pt x="1681639" y="310039"/>
                    <a:pt x="1681639" y="309086"/>
                    <a:pt x="1681639" y="309086"/>
                  </a:cubicBezTo>
                  <a:cubicBezTo>
                    <a:pt x="1681639" y="309086"/>
                    <a:pt x="1681639" y="309086"/>
                    <a:pt x="1681639" y="310039"/>
                  </a:cubicBezTo>
                  <a:cubicBezTo>
                    <a:pt x="1681639" y="309086"/>
                    <a:pt x="1680686" y="307181"/>
                    <a:pt x="1680686" y="306229"/>
                  </a:cubicBezTo>
                  <a:cubicBezTo>
                    <a:pt x="1680686" y="305276"/>
                    <a:pt x="1680686" y="304324"/>
                    <a:pt x="1681639" y="303371"/>
                  </a:cubicBezTo>
                  <a:cubicBezTo>
                    <a:pt x="1682591" y="300514"/>
                    <a:pt x="1683544" y="297656"/>
                    <a:pt x="1684496" y="295751"/>
                  </a:cubicBezTo>
                  <a:cubicBezTo>
                    <a:pt x="1686401" y="290989"/>
                    <a:pt x="1687354" y="287179"/>
                    <a:pt x="1689259" y="282416"/>
                  </a:cubicBezTo>
                  <a:cubicBezTo>
                    <a:pt x="1687354" y="287179"/>
                    <a:pt x="1687354" y="291941"/>
                    <a:pt x="1687354" y="295751"/>
                  </a:cubicBezTo>
                  <a:close/>
                  <a:moveTo>
                    <a:pt x="1678781" y="276701"/>
                  </a:moveTo>
                  <a:cubicBezTo>
                    <a:pt x="1680686" y="266224"/>
                    <a:pt x="1682591" y="255746"/>
                    <a:pt x="1684496" y="245269"/>
                  </a:cubicBezTo>
                  <a:cubicBezTo>
                    <a:pt x="1685449" y="250031"/>
                    <a:pt x="1686401" y="254794"/>
                    <a:pt x="1686401" y="259556"/>
                  </a:cubicBezTo>
                  <a:cubicBezTo>
                    <a:pt x="1686401" y="262414"/>
                    <a:pt x="1686401" y="265271"/>
                    <a:pt x="1686401" y="268129"/>
                  </a:cubicBezTo>
                  <a:cubicBezTo>
                    <a:pt x="1686401" y="269081"/>
                    <a:pt x="1686401" y="270034"/>
                    <a:pt x="1686401" y="270986"/>
                  </a:cubicBezTo>
                  <a:cubicBezTo>
                    <a:pt x="1682591" y="276701"/>
                    <a:pt x="1679734" y="284321"/>
                    <a:pt x="1675924" y="292894"/>
                  </a:cubicBezTo>
                  <a:cubicBezTo>
                    <a:pt x="1675924" y="292894"/>
                    <a:pt x="1675924" y="291941"/>
                    <a:pt x="1675924" y="291941"/>
                  </a:cubicBezTo>
                  <a:cubicBezTo>
                    <a:pt x="1676876" y="287179"/>
                    <a:pt x="1677829" y="283369"/>
                    <a:pt x="1678781" y="278606"/>
                  </a:cubicBezTo>
                  <a:cubicBezTo>
                    <a:pt x="1679734" y="276701"/>
                    <a:pt x="1679734" y="275749"/>
                    <a:pt x="1679734" y="275749"/>
                  </a:cubicBezTo>
                  <a:cubicBezTo>
                    <a:pt x="1679734" y="275749"/>
                    <a:pt x="1679734" y="275749"/>
                    <a:pt x="1678781" y="276701"/>
                  </a:cubicBezTo>
                  <a:close/>
                  <a:moveTo>
                    <a:pt x="1677829" y="199549"/>
                  </a:moveTo>
                  <a:cubicBezTo>
                    <a:pt x="1677829" y="201454"/>
                    <a:pt x="1677829" y="202406"/>
                    <a:pt x="1678781" y="204311"/>
                  </a:cubicBezTo>
                  <a:cubicBezTo>
                    <a:pt x="1677829" y="207169"/>
                    <a:pt x="1676876" y="210979"/>
                    <a:pt x="1676876" y="213836"/>
                  </a:cubicBezTo>
                  <a:cubicBezTo>
                    <a:pt x="1676876" y="209074"/>
                    <a:pt x="1676876" y="204311"/>
                    <a:pt x="1677829" y="199549"/>
                  </a:cubicBezTo>
                  <a:close/>
                  <a:moveTo>
                    <a:pt x="1640681" y="226219"/>
                  </a:moveTo>
                  <a:cubicBezTo>
                    <a:pt x="1643539" y="233839"/>
                    <a:pt x="1646396" y="244316"/>
                    <a:pt x="1649254" y="254794"/>
                  </a:cubicBezTo>
                  <a:cubicBezTo>
                    <a:pt x="1651159" y="260509"/>
                    <a:pt x="1652111" y="267176"/>
                    <a:pt x="1654016" y="274796"/>
                  </a:cubicBezTo>
                  <a:cubicBezTo>
                    <a:pt x="1654016" y="276701"/>
                    <a:pt x="1653064" y="279559"/>
                    <a:pt x="1653064" y="281464"/>
                  </a:cubicBezTo>
                  <a:cubicBezTo>
                    <a:pt x="1653064" y="280511"/>
                    <a:pt x="1652111" y="279559"/>
                    <a:pt x="1652111" y="279559"/>
                  </a:cubicBezTo>
                  <a:cubicBezTo>
                    <a:pt x="1652111" y="279559"/>
                    <a:pt x="1652111" y="280511"/>
                    <a:pt x="1652111" y="282416"/>
                  </a:cubicBezTo>
                  <a:cubicBezTo>
                    <a:pt x="1651159" y="288131"/>
                    <a:pt x="1650206" y="293846"/>
                    <a:pt x="1649254" y="300514"/>
                  </a:cubicBezTo>
                  <a:cubicBezTo>
                    <a:pt x="1646396" y="293846"/>
                    <a:pt x="1644491" y="288131"/>
                    <a:pt x="1641634" y="281464"/>
                  </a:cubicBezTo>
                  <a:cubicBezTo>
                    <a:pt x="1642586" y="280511"/>
                    <a:pt x="1642586" y="280511"/>
                    <a:pt x="1643539" y="279559"/>
                  </a:cubicBezTo>
                  <a:cubicBezTo>
                    <a:pt x="1644491" y="278606"/>
                    <a:pt x="1646396" y="277654"/>
                    <a:pt x="1647349" y="277654"/>
                  </a:cubicBezTo>
                  <a:cubicBezTo>
                    <a:pt x="1651159" y="274796"/>
                    <a:pt x="1654016" y="273844"/>
                    <a:pt x="1654016" y="273844"/>
                  </a:cubicBezTo>
                  <a:cubicBezTo>
                    <a:pt x="1654016" y="273844"/>
                    <a:pt x="1652111" y="274796"/>
                    <a:pt x="1647349" y="276701"/>
                  </a:cubicBezTo>
                  <a:cubicBezTo>
                    <a:pt x="1646396" y="277654"/>
                    <a:pt x="1645444" y="277654"/>
                    <a:pt x="1643539" y="278606"/>
                  </a:cubicBezTo>
                  <a:cubicBezTo>
                    <a:pt x="1643539" y="278606"/>
                    <a:pt x="1642586" y="279559"/>
                    <a:pt x="1642586" y="279559"/>
                  </a:cubicBezTo>
                  <a:cubicBezTo>
                    <a:pt x="1642586" y="271939"/>
                    <a:pt x="1642586" y="263366"/>
                    <a:pt x="1642586" y="255746"/>
                  </a:cubicBezTo>
                  <a:cubicBezTo>
                    <a:pt x="1640681" y="246221"/>
                    <a:pt x="1640681" y="235744"/>
                    <a:pt x="1640681" y="226219"/>
                  </a:cubicBezTo>
                  <a:cubicBezTo>
                    <a:pt x="1639729" y="226219"/>
                    <a:pt x="1639729" y="226219"/>
                    <a:pt x="1640681" y="226219"/>
                  </a:cubicBezTo>
                  <a:close/>
                  <a:moveTo>
                    <a:pt x="1620679" y="348139"/>
                  </a:moveTo>
                  <a:cubicBezTo>
                    <a:pt x="1620679" y="349091"/>
                    <a:pt x="1620679" y="350044"/>
                    <a:pt x="1620679" y="351949"/>
                  </a:cubicBezTo>
                  <a:cubicBezTo>
                    <a:pt x="1620679" y="352901"/>
                    <a:pt x="1620679" y="353854"/>
                    <a:pt x="1620679" y="353854"/>
                  </a:cubicBezTo>
                  <a:cubicBezTo>
                    <a:pt x="1619726" y="354806"/>
                    <a:pt x="1619726" y="355759"/>
                    <a:pt x="1618774" y="356711"/>
                  </a:cubicBezTo>
                  <a:cubicBezTo>
                    <a:pt x="1619726" y="353854"/>
                    <a:pt x="1620679" y="350044"/>
                    <a:pt x="1620679" y="348139"/>
                  </a:cubicBezTo>
                  <a:close/>
                  <a:moveTo>
                    <a:pt x="1618774" y="311944"/>
                  </a:moveTo>
                  <a:cubicBezTo>
                    <a:pt x="1617821" y="312896"/>
                    <a:pt x="1617821" y="313849"/>
                    <a:pt x="1616869" y="315754"/>
                  </a:cubicBezTo>
                  <a:cubicBezTo>
                    <a:pt x="1613059" y="323374"/>
                    <a:pt x="1609249" y="332899"/>
                    <a:pt x="1605439" y="343376"/>
                  </a:cubicBezTo>
                  <a:cubicBezTo>
                    <a:pt x="1604486" y="345281"/>
                    <a:pt x="1603534" y="348139"/>
                    <a:pt x="1602581" y="350996"/>
                  </a:cubicBezTo>
                  <a:cubicBezTo>
                    <a:pt x="1602581" y="348139"/>
                    <a:pt x="1602581" y="345281"/>
                    <a:pt x="1602581" y="342424"/>
                  </a:cubicBezTo>
                  <a:cubicBezTo>
                    <a:pt x="1605439" y="334804"/>
                    <a:pt x="1609249" y="328136"/>
                    <a:pt x="1613059" y="321469"/>
                  </a:cubicBezTo>
                  <a:cubicBezTo>
                    <a:pt x="1614964" y="317659"/>
                    <a:pt x="1617821" y="313849"/>
                    <a:pt x="1619726" y="310039"/>
                  </a:cubicBezTo>
                  <a:cubicBezTo>
                    <a:pt x="1618774" y="310991"/>
                    <a:pt x="1618774" y="310991"/>
                    <a:pt x="1618774" y="311944"/>
                  </a:cubicBezTo>
                  <a:close/>
                  <a:moveTo>
                    <a:pt x="1610201" y="269081"/>
                  </a:moveTo>
                  <a:cubicBezTo>
                    <a:pt x="1612106" y="265271"/>
                    <a:pt x="1613059" y="261461"/>
                    <a:pt x="1614011" y="258604"/>
                  </a:cubicBezTo>
                  <a:cubicBezTo>
                    <a:pt x="1614964" y="256699"/>
                    <a:pt x="1615916" y="254794"/>
                    <a:pt x="1616869" y="252889"/>
                  </a:cubicBezTo>
                  <a:cubicBezTo>
                    <a:pt x="1616869" y="264319"/>
                    <a:pt x="1617821" y="277654"/>
                    <a:pt x="1617821" y="292894"/>
                  </a:cubicBezTo>
                  <a:cubicBezTo>
                    <a:pt x="1617821" y="292894"/>
                    <a:pt x="1617821" y="293846"/>
                    <a:pt x="1617821" y="293846"/>
                  </a:cubicBezTo>
                  <a:cubicBezTo>
                    <a:pt x="1616869" y="291941"/>
                    <a:pt x="1615916" y="290036"/>
                    <a:pt x="1614011" y="289084"/>
                  </a:cubicBezTo>
                  <a:cubicBezTo>
                    <a:pt x="1611154" y="284321"/>
                    <a:pt x="1608296" y="280511"/>
                    <a:pt x="1606391" y="277654"/>
                  </a:cubicBezTo>
                  <a:cubicBezTo>
                    <a:pt x="1608296" y="274796"/>
                    <a:pt x="1609249" y="271939"/>
                    <a:pt x="1610201" y="269081"/>
                  </a:cubicBezTo>
                  <a:close/>
                  <a:moveTo>
                    <a:pt x="1600676" y="297656"/>
                  </a:moveTo>
                  <a:cubicBezTo>
                    <a:pt x="1602581" y="290989"/>
                    <a:pt x="1604486" y="285274"/>
                    <a:pt x="1606391" y="279559"/>
                  </a:cubicBezTo>
                  <a:cubicBezTo>
                    <a:pt x="1607344" y="282416"/>
                    <a:pt x="1609249" y="286226"/>
                    <a:pt x="1611154" y="290989"/>
                  </a:cubicBezTo>
                  <a:cubicBezTo>
                    <a:pt x="1613059" y="294799"/>
                    <a:pt x="1614964" y="298609"/>
                    <a:pt x="1616869" y="303371"/>
                  </a:cubicBezTo>
                  <a:cubicBezTo>
                    <a:pt x="1613059" y="307181"/>
                    <a:pt x="1610201" y="312896"/>
                    <a:pt x="1606391" y="317659"/>
                  </a:cubicBezTo>
                  <a:cubicBezTo>
                    <a:pt x="1604486" y="320516"/>
                    <a:pt x="1602581" y="322421"/>
                    <a:pt x="1601629" y="325279"/>
                  </a:cubicBezTo>
                  <a:cubicBezTo>
                    <a:pt x="1601629" y="323374"/>
                    <a:pt x="1601629" y="321469"/>
                    <a:pt x="1600676" y="319564"/>
                  </a:cubicBezTo>
                  <a:cubicBezTo>
                    <a:pt x="1600676" y="314801"/>
                    <a:pt x="1599724" y="310039"/>
                    <a:pt x="1599724" y="305276"/>
                  </a:cubicBezTo>
                  <a:cubicBezTo>
                    <a:pt x="1599724" y="302419"/>
                    <a:pt x="1600676" y="300514"/>
                    <a:pt x="1600676" y="297656"/>
                  </a:cubicBezTo>
                  <a:close/>
                  <a:moveTo>
                    <a:pt x="1567339" y="315754"/>
                  </a:moveTo>
                  <a:cubicBezTo>
                    <a:pt x="1567339" y="320516"/>
                    <a:pt x="1568291" y="325279"/>
                    <a:pt x="1568291" y="330041"/>
                  </a:cubicBezTo>
                  <a:cubicBezTo>
                    <a:pt x="1567339" y="326231"/>
                    <a:pt x="1567339" y="323374"/>
                    <a:pt x="1566386" y="320516"/>
                  </a:cubicBezTo>
                  <a:cubicBezTo>
                    <a:pt x="1567339" y="319564"/>
                    <a:pt x="1567339" y="317659"/>
                    <a:pt x="1567339" y="315754"/>
                  </a:cubicBezTo>
                  <a:close/>
                  <a:moveTo>
                    <a:pt x="1547336" y="265271"/>
                  </a:moveTo>
                  <a:cubicBezTo>
                    <a:pt x="1547336" y="269081"/>
                    <a:pt x="1546384" y="271939"/>
                    <a:pt x="1546384" y="275749"/>
                  </a:cubicBezTo>
                  <a:cubicBezTo>
                    <a:pt x="1546384" y="274796"/>
                    <a:pt x="1545431" y="273844"/>
                    <a:pt x="1545431" y="272891"/>
                  </a:cubicBezTo>
                  <a:cubicBezTo>
                    <a:pt x="1546384" y="270986"/>
                    <a:pt x="1546384" y="268129"/>
                    <a:pt x="1547336" y="265271"/>
                  </a:cubicBezTo>
                  <a:close/>
                  <a:moveTo>
                    <a:pt x="1541621" y="286226"/>
                  </a:moveTo>
                  <a:cubicBezTo>
                    <a:pt x="1542574" y="289084"/>
                    <a:pt x="1543526" y="290989"/>
                    <a:pt x="1543526" y="293846"/>
                  </a:cubicBezTo>
                  <a:cubicBezTo>
                    <a:pt x="1543526" y="295751"/>
                    <a:pt x="1542574" y="298609"/>
                    <a:pt x="1542574" y="301466"/>
                  </a:cubicBezTo>
                  <a:cubicBezTo>
                    <a:pt x="1541621" y="298609"/>
                    <a:pt x="1540669" y="294799"/>
                    <a:pt x="1539716" y="291941"/>
                  </a:cubicBezTo>
                  <a:cubicBezTo>
                    <a:pt x="1540669" y="289084"/>
                    <a:pt x="1541621" y="288131"/>
                    <a:pt x="1541621" y="286226"/>
                  </a:cubicBezTo>
                  <a:close/>
                  <a:moveTo>
                    <a:pt x="1537811" y="271939"/>
                  </a:moveTo>
                  <a:cubicBezTo>
                    <a:pt x="1537811" y="273844"/>
                    <a:pt x="1538764" y="274796"/>
                    <a:pt x="1538764" y="276701"/>
                  </a:cubicBezTo>
                  <a:cubicBezTo>
                    <a:pt x="1537811" y="277654"/>
                    <a:pt x="1537811" y="278606"/>
                    <a:pt x="1536859" y="280511"/>
                  </a:cubicBezTo>
                  <a:cubicBezTo>
                    <a:pt x="1537811" y="276701"/>
                    <a:pt x="1537811" y="273844"/>
                    <a:pt x="1537811" y="271939"/>
                  </a:cubicBezTo>
                  <a:close/>
                  <a:moveTo>
                    <a:pt x="1533049" y="338614"/>
                  </a:moveTo>
                  <a:cubicBezTo>
                    <a:pt x="1533049" y="337661"/>
                    <a:pt x="1533049" y="336709"/>
                    <a:pt x="1533049" y="335756"/>
                  </a:cubicBezTo>
                  <a:cubicBezTo>
                    <a:pt x="1534001" y="340519"/>
                    <a:pt x="1534954" y="345281"/>
                    <a:pt x="1535906" y="350044"/>
                  </a:cubicBezTo>
                  <a:cubicBezTo>
                    <a:pt x="1536859" y="352901"/>
                    <a:pt x="1536859" y="354806"/>
                    <a:pt x="1536859" y="357664"/>
                  </a:cubicBezTo>
                  <a:cubicBezTo>
                    <a:pt x="1536859" y="359569"/>
                    <a:pt x="1536859" y="360521"/>
                    <a:pt x="1536859" y="362426"/>
                  </a:cubicBezTo>
                  <a:cubicBezTo>
                    <a:pt x="1536859" y="362426"/>
                    <a:pt x="1536859" y="362426"/>
                    <a:pt x="1536859" y="362426"/>
                  </a:cubicBezTo>
                  <a:cubicBezTo>
                    <a:pt x="1534954" y="356711"/>
                    <a:pt x="1533049" y="351949"/>
                    <a:pt x="1532096" y="346234"/>
                  </a:cubicBezTo>
                  <a:cubicBezTo>
                    <a:pt x="1533049" y="343376"/>
                    <a:pt x="1533049" y="341471"/>
                    <a:pt x="1533049" y="338614"/>
                  </a:cubicBezTo>
                  <a:close/>
                  <a:moveTo>
                    <a:pt x="1519714" y="270986"/>
                  </a:moveTo>
                  <a:cubicBezTo>
                    <a:pt x="1521619" y="279559"/>
                    <a:pt x="1523524" y="288131"/>
                    <a:pt x="1525429" y="297656"/>
                  </a:cubicBezTo>
                  <a:cubicBezTo>
                    <a:pt x="1525429" y="298609"/>
                    <a:pt x="1525429" y="299561"/>
                    <a:pt x="1524476" y="301466"/>
                  </a:cubicBezTo>
                  <a:cubicBezTo>
                    <a:pt x="1523524" y="306229"/>
                    <a:pt x="1522571" y="310991"/>
                    <a:pt x="1521619" y="315754"/>
                  </a:cubicBezTo>
                  <a:cubicBezTo>
                    <a:pt x="1520666" y="313849"/>
                    <a:pt x="1520666" y="311944"/>
                    <a:pt x="1519714" y="310991"/>
                  </a:cubicBezTo>
                  <a:cubicBezTo>
                    <a:pt x="1519714" y="295751"/>
                    <a:pt x="1518761" y="281464"/>
                    <a:pt x="1517809" y="268129"/>
                  </a:cubicBezTo>
                  <a:cubicBezTo>
                    <a:pt x="1519714" y="268129"/>
                    <a:pt x="1519714" y="269081"/>
                    <a:pt x="1519714" y="270986"/>
                  </a:cubicBezTo>
                  <a:close/>
                  <a:moveTo>
                    <a:pt x="1503521" y="302419"/>
                  </a:moveTo>
                  <a:cubicBezTo>
                    <a:pt x="1503521" y="306229"/>
                    <a:pt x="1503521" y="310039"/>
                    <a:pt x="1502569" y="313849"/>
                  </a:cubicBezTo>
                  <a:cubicBezTo>
                    <a:pt x="1502569" y="318611"/>
                    <a:pt x="1502569" y="324326"/>
                    <a:pt x="1502569" y="330041"/>
                  </a:cubicBezTo>
                  <a:cubicBezTo>
                    <a:pt x="1502569" y="330041"/>
                    <a:pt x="1502569" y="330041"/>
                    <a:pt x="1501616" y="329089"/>
                  </a:cubicBezTo>
                  <a:cubicBezTo>
                    <a:pt x="1500664" y="323374"/>
                    <a:pt x="1498759" y="317659"/>
                    <a:pt x="1497806" y="311944"/>
                  </a:cubicBezTo>
                  <a:cubicBezTo>
                    <a:pt x="1500664" y="309086"/>
                    <a:pt x="1502569" y="306229"/>
                    <a:pt x="1503521" y="302419"/>
                  </a:cubicBezTo>
                  <a:close/>
                  <a:moveTo>
                    <a:pt x="1477804" y="272891"/>
                  </a:moveTo>
                  <a:cubicBezTo>
                    <a:pt x="1477804" y="273844"/>
                    <a:pt x="1477804" y="273844"/>
                    <a:pt x="1477804" y="272891"/>
                  </a:cubicBezTo>
                  <a:cubicBezTo>
                    <a:pt x="1477804" y="275749"/>
                    <a:pt x="1477804" y="278606"/>
                    <a:pt x="1477804" y="282416"/>
                  </a:cubicBezTo>
                  <a:cubicBezTo>
                    <a:pt x="1477804" y="286226"/>
                    <a:pt x="1476851" y="290989"/>
                    <a:pt x="1476851" y="294799"/>
                  </a:cubicBezTo>
                  <a:cubicBezTo>
                    <a:pt x="1476851" y="294799"/>
                    <a:pt x="1476851" y="295751"/>
                    <a:pt x="1475899" y="295751"/>
                  </a:cubicBezTo>
                  <a:cubicBezTo>
                    <a:pt x="1475899" y="290989"/>
                    <a:pt x="1474946" y="286226"/>
                    <a:pt x="1474946" y="282416"/>
                  </a:cubicBezTo>
                  <a:cubicBezTo>
                    <a:pt x="1475899" y="279559"/>
                    <a:pt x="1476851" y="276701"/>
                    <a:pt x="1477804" y="272891"/>
                  </a:cubicBezTo>
                  <a:close/>
                  <a:moveTo>
                    <a:pt x="1461611" y="326231"/>
                  </a:moveTo>
                  <a:cubicBezTo>
                    <a:pt x="1461611" y="327184"/>
                    <a:pt x="1461611" y="327184"/>
                    <a:pt x="1461611" y="328136"/>
                  </a:cubicBezTo>
                  <a:cubicBezTo>
                    <a:pt x="1461611" y="329089"/>
                    <a:pt x="1460659" y="329089"/>
                    <a:pt x="1460659" y="330041"/>
                  </a:cubicBezTo>
                  <a:cubicBezTo>
                    <a:pt x="1460659" y="330041"/>
                    <a:pt x="1460659" y="330041"/>
                    <a:pt x="1460659" y="329089"/>
                  </a:cubicBezTo>
                  <a:cubicBezTo>
                    <a:pt x="1460659" y="328136"/>
                    <a:pt x="1460659" y="327184"/>
                    <a:pt x="1461611" y="326231"/>
                  </a:cubicBezTo>
                  <a:close/>
                  <a:moveTo>
                    <a:pt x="1457801" y="309086"/>
                  </a:moveTo>
                  <a:cubicBezTo>
                    <a:pt x="1456849" y="310039"/>
                    <a:pt x="1456849" y="310039"/>
                    <a:pt x="1457801" y="309086"/>
                  </a:cubicBezTo>
                  <a:cubicBezTo>
                    <a:pt x="1456849" y="307181"/>
                    <a:pt x="1456849" y="305276"/>
                    <a:pt x="1455896" y="302419"/>
                  </a:cubicBezTo>
                  <a:cubicBezTo>
                    <a:pt x="1455896" y="305276"/>
                    <a:pt x="1456849" y="307181"/>
                    <a:pt x="1457801" y="309086"/>
                  </a:cubicBezTo>
                  <a:close/>
                  <a:moveTo>
                    <a:pt x="1442561" y="328136"/>
                  </a:moveTo>
                  <a:cubicBezTo>
                    <a:pt x="1442561" y="324326"/>
                    <a:pt x="1442561" y="321469"/>
                    <a:pt x="1442561" y="318611"/>
                  </a:cubicBezTo>
                  <a:cubicBezTo>
                    <a:pt x="1443514" y="323374"/>
                    <a:pt x="1443514" y="329089"/>
                    <a:pt x="1444466" y="333851"/>
                  </a:cubicBezTo>
                  <a:cubicBezTo>
                    <a:pt x="1443514" y="332899"/>
                    <a:pt x="1443514" y="330994"/>
                    <a:pt x="1442561" y="330041"/>
                  </a:cubicBezTo>
                  <a:cubicBezTo>
                    <a:pt x="1442561" y="330041"/>
                    <a:pt x="1442561" y="329089"/>
                    <a:pt x="1442561" y="328136"/>
                  </a:cubicBezTo>
                  <a:close/>
                  <a:moveTo>
                    <a:pt x="1415891" y="281464"/>
                  </a:moveTo>
                  <a:cubicBezTo>
                    <a:pt x="1415891" y="284321"/>
                    <a:pt x="1415891" y="286226"/>
                    <a:pt x="1415891" y="289084"/>
                  </a:cubicBezTo>
                  <a:cubicBezTo>
                    <a:pt x="1415891" y="289084"/>
                    <a:pt x="1415891" y="289084"/>
                    <a:pt x="1415891" y="289084"/>
                  </a:cubicBezTo>
                  <a:cubicBezTo>
                    <a:pt x="1414939" y="288131"/>
                    <a:pt x="1413986" y="287179"/>
                    <a:pt x="1413034" y="286226"/>
                  </a:cubicBezTo>
                  <a:cubicBezTo>
                    <a:pt x="1414939" y="284321"/>
                    <a:pt x="1415891" y="282416"/>
                    <a:pt x="1415891" y="281464"/>
                  </a:cubicBezTo>
                  <a:close/>
                  <a:moveTo>
                    <a:pt x="1412081" y="290036"/>
                  </a:moveTo>
                  <a:cubicBezTo>
                    <a:pt x="1413034" y="290989"/>
                    <a:pt x="1413034" y="291941"/>
                    <a:pt x="1413986" y="292894"/>
                  </a:cubicBezTo>
                  <a:cubicBezTo>
                    <a:pt x="1414939" y="293846"/>
                    <a:pt x="1414939" y="294799"/>
                    <a:pt x="1415891" y="295751"/>
                  </a:cubicBezTo>
                  <a:cubicBezTo>
                    <a:pt x="1415891" y="297656"/>
                    <a:pt x="1415891" y="299561"/>
                    <a:pt x="1415891" y="300514"/>
                  </a:cubicBezTo>
                  <a:cubicBezTo>
                    <a:pt x="1413986" y="296704"/>
                    <a:pt x="1413034" y="293846"/>
                    <a:pt x="1412081" y="290036"/>
                  </a:cubicBezTo>
                  <a:cubicBezTo>
                    <a:pt x="1412081" y="290036"/>
                    <a:pt x="1412081" y="290036"/>
                    <a:pt x="1412081" y="290036"/>
                  </a:cubicBezTo>
                  <a:close/>
                  <a:moveTo>
                    <a:pt x="1383506" y="364331"/>
                  </a:moveTo>
                  <a:cubicBezTo>
                    <a:pt x="1383506" y="362426"/>
                    <a:pt x="1383506" y="360521"/>
                    <a:pt x="1382554" y="358616"/>
                  </a:cubicBezTo>
                  <a:cubicBezTo>
                    <a:pt x="1382554" y="358616"/>
                    <a:pt x="1382554" y="357664"/>
                    <a:pt x="1382554" y="357664"/>
                  </a:cubicBezTo>
                  <a:cubicBezTo>
                    <a:pt x="1382554" y="358616"/>
                    <a:pt x="1383506" y="360521"/>
                    <a:pt x="1383506" y="362426"/>
                  </a:cubicBezTo>
                  <a:cubicBezTo>
                    <a:pt x="1384459" y="363379"/>
                    <a:pt x="1384459" y="363379"/>
                    <a:pt x="1383506" y="364331"/>
                  </a:cubicBezTo>
                  <a:close/>
                  <a:moveTo>
                    <a:pt x="1386364" y="298609"/>
                  </a:moveTo>
                  <a:cubicBezTo>
                    <a:pt x="1386364" y="298609"/>
                    <a:pt x="1386364" y="298609"/>
                    <a:pt x="1386364" y="298609"/>
                  </a:cubicBezTo>
                  <a:cubicBezTo>
                    <a:pt x="1385411" y="296704"/>
                    <a:pt x="1385411" y="295751"/>
                    <a:pt x="1384459" y="293846"/>
                  </a:cubicBezTo>
                  <a:cubicBezTo>
                    <a:pt x="1385411" y="292894"/>
                    <a:pt x="1385411" y="291941"/>
                    <a:pt x="1386364" y="290989"/>
                  </a:cubicBezTo>
                  <a:cubicBezTo>
                    <a:pt x="1388269" y="289084"/>
                    <a:pt x="1389221" y="287179"/>
                    <a:pt x="1391126" y="286226"/>
                  </a:cubicBezTo>
                  <a:cubicBezTo>
                    <a:pt x="1389221" y="290036"/>
                    <a:pt x="1387316" y="293846"/>
                    <a:pt x="1386364" y="298609"/>
                  </a:cubicBezTo>
                  <a:close/>
                  <a:moveTo>
                    <a:pt x="1383506" y="287179"/>
                  </a:moveTo>
                  <a:cubicBezTo>
                    <a:pt x="1383506" y="287179"/>
                    <a:pt x="1382554" y="288131"/>
                    <a:pt x="1382554" y="288131"/>
                  </a:cubicBezTo>
                  <a:cubicBezTo>
                    <a:pt x="1380649" y="283369"/>
                    <a:pt x="1378744" y="278606"/>
                    <a:pt x="1376839" y="274796"/>
                  </a:cubicBezTo>
                  <a:cubicBezTo>
                    <a:pt x="1379696" y="262414"/>
                    <a:pt x="1382554" y="251936"/>
                    <a:pt x="1384459" y="242411"/>
                  </a:cubicBezTo>
                  <a:cubicBezTo>
                    <a:pt x="1385411" y="250031"/>
                    <a:pt x="1387316" y="263366"/>
                    <a:pt x="1390174" y="281464"/>
                  </a:cubicBezTo>
                  <a:cubicBezTo>
                    <a:pt x="1388269" y="283369"/>
                    <a:pt x="1386364" y="285274"/>
                    <a:pt x="1383506" y="287179"/>
                  </a:cubicBezTo>
                  <a:close/>
                  <a:moveTo>
                    <a:pt x="1391126" y="310991"/>
                  </a:moveTo>
                  <a:cubicBezTo>
                    <a:pt x="1392079" y="307181"/>
                    <a:pt x="1392079" y="303371"/>
                    <a:pt x="1393031" y="299561"/>
                  </a:cubicBezTo>
                  <a:cubicBezTo>
                    <a:pt x="1393031" y="299561"/>
                    <a:pt x="1393031" y="298609"/>
                    <a:pt x="1393031" y="298609"/>
                  </a:cubicBezTo>
                  <a:cubicBezTo>
                    <a:pt x="1393031" y="300514"/>
                    <a:pt x="1393984" y="303371"/>
                    <a:pt x="1393984" y="305276"/>
                  </a:cubicBezTo>
                  <a:cubicBezTo>
                    <a:pt x="1393984" y="308134"/>
                    <a:pt x="1392079" y="309086"/>
                    <a:pt x="1391126" y="310991"/>
                  </a:cubicBezTo>
                  <a:close/>
                  <a:moveTo>
                    <a:pt x="1397794" y="278606"/>
                  </a:moveTo>
                  <a:cubicBezTo>
                    <a:pt x="1397794" y="278606"/>
                    <a:pt x="1397794" y="278606"/>
                    <a:pt x="1397794" y="278606"/>
                  </a:cubicBezTo>
                  <a:cubicBezTo>
                    <a:pt x="1397794" y="278606"/>
                    <a:pt x="1397794" y="279559"/>
                    <a:pt x="1397794" y="279559"/>
                  </a:cubicBezTo>
                  <a:cubicBezTo>
                    <a:pt x="1397794" y="279559"/>
                    <a:pt x="1397794" y="279559"/>
                    <a:pt x="1397794" y="278606"/>
                  </a:cubicBezTo>
                  <a:cubicBezTo>
                    <a:pt x="1397794" y="278606"/>
                    <a:pt x="1397794" y="278606"/>
                    <a:pt x="1397794" y="278606"/>
                  </a:cubicBezTo>
                  <a:close/>
                  <a:moveTo>
                    <a:pt x="1397794" y="322421"/>
                  </a:moveTo>
                  <a:cubicBezTo>
                    <a:pt x="1398746" y="325279"/>
                    <a:pt x="1398746" y="328136"/>
                    <a:pt x="1399699" y="331946"/>
                  </a:cubicBezTo>
                  <a:cubicBezTo>
                    <a:pt x="1399699" y="332899"/>
                    <a:pt x="1399699" y="332899"/>
                    <a:pt x="1399699" y="333851"/>
                  </a:cubicBezTo>
                  <a:cubicBezTo>
                    <a:pt x="1398746" y="330994"/>
                    <a:pt x="1397794" y="328136"/>
                    <a:pt x="1396841" y="326231"/>
                  </a:cubicBezTo>
                  <a:cubicBezTo>
                    <a:pt x="1396841" y="324326"/>
                    <a:pt x="1396841" y="323374"/>
                    <a:pt x="1397794" y="322421"/>
                  </a:cubicBezTo>
                  <a:close/>
                  <a:moveTo>
                    <a:pt x="1387316" y="231934"/>
                  </a:moveTo>
                  <a:cubicBezTo>
                    <a:pt x="1389221" y="242411"/>
                    <a:pt x="1392079" y="255746"/>
                    <a:pt x="1395889" y="270986"/>
                  </a:cubicBezTo>
                  <a:cubicBezTo>
                    <a:pt x="1395889" y="271939"/>
                    <a:pt x="1395889" y="271939"/>
                    <a:pt x="1394936" y="272891"/>
                  </a:cubicBezTo>
                  <a:cubicBezTo>
                    <a:pt x="1390174" y="257651"/>
                    <a:pt x="1386364" y="246221"/>
                    <a:pt x="1384459" y="240506"/>
                  </a:cubicBezTo>
                  <a:cubicBezTo>
                    <a:pt x="1386364" y="237649"/>
                    <a:pt x="1387316" y="234791"/>
                    <a:pt x="1387316" y="231934"/>
                  </a:cubicBezTo>
                  <a:close/>
                  <a:moveTo>
                    <a:pt x="1380649" y="232886"/>
                  </a:moveTo>
                  <a:cubicBezTo>
                    <a:pt x="1382554" y="230029"/>
                    <a:pt x="1384459" y="227171"/>
                    <a:pt x="1386364" y="225266"/>
                  </a:cubicBezTo>
                  <a:cubicBezTo>
                    <a:pt x="1386364" y="225266"/>
                    <a:pt x="1386364" y="225266"/>
                    <a:pt x="1386364" y="225266"/>
                  </a:cubicBezTo>
                  <a:cubicBezTo>
                    <a:pt x="1382554" y="234791"/>
                    <a:pt x="1377791" y="247174"/>
                    <a:pt x="1372076" y="262414"/>
                  </a:cubicBezTo>
                  <a:cubicBezTo>
                    <a:pt x="1371124" y="260509"/>
                    <a:pt x="1371124" y="259556"/>
                    <a:pt x="1370171" y="257651"/>
                  </a:cubicBezTo>
                  <a:cubicBezTo>
                    <a:pt x="1369219" y="256699"/>
                    <a:pt x="1369219" y="255746"/>
                    <a:pt x="1369219" y="253841"/>
                  </a:cubicBezTo>
                  <a:cubicBezTo>
                    <a:pt x="1373029" y="245269"/>
                    <a:pt x="1376839" y="238601"/>
                    <a:pt x="1380649" y="232886"/>
                  </a:cubicBezTo>
                  <a:close/>
                  <a:moveTo>
                    <a:pt x="1356836" y="300514"/>
                  </a:moveTo>
                  <a:cubicBezTo>
                    <a:pt x="1356836" y="301466"/>
                    <a:pt x="1356836" y="301466"/>
                    <a:pt x="1356836" y="302419"/>
                  </a:cubicBezTo>
                  <a:cubicBezTo>
                    <a:pt x="1356836" y="303371"/>
                    <a:pt x="1356836" y="303371"/>
                    <a:pt x="1355884" y="304324"/>
                  </a:cubicBezTo>
                  <a:cubicBezTo>
                    <a:pt x="1355884" y="302419"/>
                    <a:pt x="1355884" y="301466"/>
                    <a:pt x="1355884" y="299561"/>
                  </a:cubicBezTo>
                  <a:cubicBezTo>
                    <a:pt x="1355884" y="299561"/>
                    <a:pt x="1356836" y="299561"/>
                    <a:pt x="1356836" y="300514"/>
                  </a:cubicBezTo>
                  <a:close/>
                  <a:moveTo>
                    <a:pt x="1339691" y="325279"/>
                  </a:moveTo>
                  <a:cubicBezTo>
                    <a:pt x="1339691" y="325279"/>
                    <a:pt x="1339691" y="324326"/>
                    <a:pt x="1339691" y="324326"/>
                  </a:cubicBezTo>
                  <a:cubicBezTo>
                    <a:pt x="1340644" y="322421"/>
                    <a:pt x="1341596" y="319564"/>
                    <a:pt x="1341596" y="317659"/>
                  </a:cubicBezTo>
                  <a:cubicBezTo>
                    <a:pt x="1341596" y="317659"/>
                    <a:pt x="1341596" y="317659"/>
                    <a:pt x="1341596" y="317659"/>
                  </a:cubicBezTo>
                  <a:cubicBezTo>
                    <a:pt x="1341596" y="322421"/>
                    <a:pt x="1341596" y="326231"/>
                    <a:pt x="1341596" y="330994"/>
                  </a:cubicBezTo>
                  <a:cubicBezTo>
                    <a:pt x="1341596" y="328136"/>
                    <a:pt x="1340644" y="326231"/>
                    <a:pt x="1339691" y="325279"/>
                  </a:cubicBezTo>
                  <a:close/>
                  <a:moveTo>
                    <a:pt x="1340644" y="226219"/>
                  </a:moveTo>
                  <a:cubicBezTo>
                    <a:pt x="1340644" y="225266"/>
                    <a:pt x="1340644" y="225266"/>
                    <a:pt x="1340644" y="226219"/>
                  </a:cubicBezTo>
                  <a:cubicBezTo>
                    <a:pt x="1341596" y="229076"/>
                    <a:pt x="1343501" y="232886"/>
                    <a:pt x="1344454" y="237649"/>
                  </a:cubicBezTo>
                  <a:cubicBezTo>
                    <a:pt x="1344454" y="239554"/>
                    <a:pt x="1344454" y="240506"/>
                    <a:pt x="1344454" y="242411"/>
                  </a:cubicBezTo>
                  <a:cubicBezTo>
                    <a:pt x="1344454" y="249079"/>
                    <a:pt x="1343501" y="256699"/>
                    <a:pt x="1343501" y="264319"/>
                  </a:cubicBezTo>
                  <a:cubicBezTo>
                    <a:pt x="1343501" y="267176"/>
                    <a:pt x="1343501" y="270034"/>
                    <a:pt x="1343501" y="272891"/>
                  </a:cubicBezTo>
                  <a:cubicBezTo>
                    <a:pt x="1341596" y="271939"/>
                    <a:pt x="1340644" y="270034"/>
                    <a:pt x="1339691" y="269081"/>
                  </a:cubicBezTo>
                  <a:cubicBezTo>
                    <a:pt x="1338739" y="252889"/>
                    <a:pt x="1339691" y="238601"/>
                    <a:pt x="1340644" y="226219"/>
                  </a:cubicBezTo>
                  <a:close/>
                  <a:moveTo>
                    <a:pt x="1337786" y="295751"/>
                  </a:moveTo>
                  <a:cubicBezTo>
                    <a:pt x="1337786" y="288131"/>
                    <a:pt x="1338739" y="279559"/>
                    <a:pt x="1338739" y="271939"/>
                  </a:cubicBezTo>
                  <a:cubicBezTo>
                    <a:pt x="1339691" y="272891"/>
                    <a:pt x="1341596" y="274796"/>
                    <a:pt x="1342549" y="276701"/>
                  </a:cubicBezTo>
                  <a:cubicBezTo>
                    <a:pt x="1342549" y="276701"/>
                    <a:pt x="1342549" y="276701"/>
                    <a:pt x="1342549" y="276701"/>
                  </a:cubicBezTo>
                  <a:cubicBezTo>
                    <a:pt x="1342549" y="279559"/>
                    <a:pt x="1342549" y="283369"/>
                    <a:pt x="1342549" y="286226"/>
                  </a:cubicBezTo>
                  <a:cubicBezTo>
                    <a:pt x="1340644" y="290036"/>
                    <a:pt x="1338739" y="292894"/>
                    <a:pt x="1337786" y="295751"/>
                  </a:cubicBezTo>
                  <a:cubicBezTo>
                    <a:pt x="1337786" y="296704"/>
                    <a:pt x="1337786" y="296704"/>
                    <a:pt x="1337786" y="296704"/>
                  </a:cubicBezTo>
                  <a:cubicBezTo>
                    <a:pt x="1337786" y="296704"/>
                    <a:pt x="1337786" y="295751"/>
                    <a:pt x="1337786" y="295751"/>
                  </a:cubicBezTo>
                  <a:close/>
                  <a:moveTo>
                    <a:pt x="1314926" y="320516"/>
                  </a:moveTo>
                  <a:cubicBezTo>
                    <a:pt x="1314926" y="320516"/>
                    <a:pt x="1314926" y="320516"/>
                    <a:pt x="1314926" y="320516"/>
                  </a:cubicBezTo>
                  <a:cubicBezTo>
                    <a:pt x="1314926" y="320516"/>
                    <a:pt x="1314926" y="320516"/>
                    <a:pt x="1314926" y="320516"/>
                  </a:cubicBezTo>
                  <a:cubicBezTo>
                    <a:pt x="1314926" y="320516"/>
                    <a:pt x="1314926" y="320516"/>
                    <a:pt x="1314926" y="320516"/>
                  </a:cubicBezTo>
                  <a:close/>
                  <a:moveTo>
                    <a:pt x="1311116" y="312896"/>
                  </a:moveTo>
                  <a:cubicBezTo>
                    <a:pt x="1311116" y="312896"/>
                    <a:pt x="1312069" y="313849"/>
                    <a:pt x="1311116" y="312896"/>
                  </a:cubicBezTo>
                  <a:cubicBezTo>
                    <a:pt x="1311116" y="313849"/>
                    <a:pt x="1311116" y="313849"/>
                    <a:pt x="1311116" y="314801"/>
                  </a:cubicBezTo>
                  <a:cubicBezTo>
                    <a:pt x="1311116" y="314801"/>
                    <a:pt x="1311116" y="314801"/>
                    <a:pt x="1311116" y="314801"/>
                  </a:cubicBezTo>
                  <a:cubicBezTo>
                    <a:pt x="1311116" y="313849"/>
                    <a:pt x="1311116" y="313849"/>
                    <a:pt x="1311116" y="312896"/>
                  </a:cubicBezTo>
                  <a:close/>
                  <a:moveTo>
                    <a:pt x="1242536" y="344329"/>
                  </a:moveTo>
                  <a:cubicBezTo>
                    <a:pt x="1241584" y="341471"/>
                    <a:pt x="1239679" y="339566"/>
                    <a:pt x="1238726" y="336709"/>
                  </a:cubicBezTo>
                  <a:cubicBezTo>
                    <a:pt x="1238726" y="328136"/>
                    <a:pt x="1238726" y="318611"/>
                    <a:pt x="1238726" y="310991"/>
                  </a:cubicBezTo>
                  <a:cubicBezTo>
                    <a:pt x="1238726" y="309086"/>
                    <a:pt x="1238726" y="308134"/>
                    <a:pt x="1238726" y="307181"/>
                  </a:cubicBezTo>
                  <a:cubicBezTo>
                    <a:pt x="1240631" y="317659"/>
                    <a:pt x="1241584" y="328136"/>
                    <a:pt x="1244441" y="339566"/>
                  </a:cubicBezTo>
                  <a:cubicBezTo>
                    <a:pt x="1244441" y="339566"/>
                    <a:pt x="1244441" y="340519"/>
                    <a:pt x="1244441" y="340519"/>
                  </a:cubicBezTo>
                  <a:cubicBezTo>
                    <a:pt x="1243489" y="341471"/>
                    <a:pt x="1242536" y="343376"/>
                    <a:pt x="1242536" y="344329"/>
                  </a:cubicBezTo>
                  <a:close/>
                  <a:moveTo>
                    <a:pt x="1279684" y="290989"/>
                  </a:moveTo>
                  <a:cubicBezTo>
                    <a:pt x="1279684" y="289084"/>
                    <a:pt x="1279684" y="286226"/>
                    <a:pt x="1279684" y="284321"/>
                  </a:cubicBezTo>
                  <a:cubicBezTo>
                    <a:pt x="1280636" y="285274"/>
                    <a:pt x="1280636" y="286226"/>
                    <a:pt x="1281589" y="287179"/>
                  </a:cubicBezTo>
                  <a:cubicBezTo>
                    <a:pt x="1280636" y="289084"/>
                    <a:pt x="1279684" y="290036"/>
                    <a:pt x="1279684" y="290989"/>
                  </a:cubicBezTo>
                  <a:close/>
                  <a:moveTo>
                    <a:pt x="1298734" y="332899"/>
                  </a:moveTo>
                  <a:cubicBezTo>
                    <a:pt x="1298734" y="332899"/>
                    <a:pt x="1298734" y="332899"/>
                    <a:pt x="1298734" y="332899"/>
                  </a:cubicBezTo>
                  <a:cubicBezTo>
                    <a:pt x="1298734" y="331946"/>
                    <a:pt x="1298734" y="331946"/>
                    <a:pt x="1298734" y="330994"/>
                  </a:cubicBezTo>
                  <a:cubicBezTo>
                    <a:pt x="1298734" y="331946"/>
                    <a:pt x="1298734" y="332899"/>
                    <a:pt x="1298734" y="332899"/>
                  </a:cubicBezTo>
                  <a:close/>
                  <a:moveTo>
                    <a:pt x="1295876" y="278606"/>
                  </a:moveTo>
                  <a:cubicBezTo>
                    <a:pt x="1298734" y="285274"/>
                    <a:pt x="1301591" y="291941"/>
                    <a:pt x="1305401" y="299561"/>
                  </a:cubicBezTo>
                  <a:cubicBezTo>
                    <a:pt x="1305401" y="299561"/>
                    <a:pt x="1305401" y="299561"/>
                    <a:pt x="1305401" y="300514"/>
                  </a:cubicBezTo>
                  <a:cubicBezTo>
                    <a:pt x="1305401" y="301466"/>
                    <a:pt x="1305401" y="302419"/>
                    <a:pt x="1304449" y="303371"/>
                  </a:cubicBezTo>
                  <a:cubicBezTo>
                    <a:pt x="1303496" y="300514"/>
                    <a:pt x="1301591" y="298609"/>
                    <a:pt x="1300639" y="295751"/>
                  </a:cubicBezTo>
                  <a:cubicBezTo>
                    <a:pt x="1298734" y="291941"/>
                    <a:pt x="1296829" y="288131"/>
                    <a:pt x="1293971" y="284321"/>
                  </a:cubicBezTo>
                  <a:cubicBezTo>
                    <a:pt x="1294924" y="282416"/>
                    <a:pt x="1295876" y="280511"/>
                    <a:pt x="1295876" y="278606"/>
                  </a:cubicBezTo>
                  <a:close/>
                  <a:moveTo>
                    <a:pt x="1299686" y="328136"/>
                  </a:moveTo>
                  <a:cubicBezTo>
                    <a:pt x="1299686" y="329089"/>
                    <a:pt x="1299686" y="329089"/>
                    <a:pt x="1299686" y="330041"/>
                  </a:cubicBezTo>
                  <a:cubicBezTo>
                    <a:pt x="1299686" y="330041"/>
                    <a:pt x="1298734" y="330994"/>
                    <a:pt x="1298734" y="331946"/>
                  </a:cubicBezTo>
                  <a:cubicBezTo>
                    <a:pt x="1296829" y="329089"/>
                    <a:pt x="1294924" y="326231"/>
                    <a:pt x="1293019" y="324326"/>
                  </a:cubicBezTo>
                  <a:cubicBezTo>
                    <a:pt x="1292066" y="322421"/>
                    <a:pt x="1290161" y="320516"/>
                    <a:pt x="1289209" y="318611"/>
                  </a:cubicBezTo>
                  <a:cubicBezTo>
                    <a:pt x="1289209" y="318611"/>
                    <a:pt x="1289209" y="318611"/>
                    <a:pt x="1289209" y="318611"/>
                  </a:cubicBezTo>
                  <a:cubicBezTo>
                    <a:pt x="1289209" y="314801"/>
                    <a:pt x="1289209" y="311944"/>
                    <a:pt x="1289209" y="309086"/>
                  </a:cubicBezTo>
                  <a:cubicBezTo>
                    <a:pt x="1289209" y="308134"/>
                    <a:pt x="1290161" y="306229"/>
                    <a:pt x="1290161" y="305276"/>
                  </a:cubicBezTo>
                  <a:cubicBezTo>
                    <a:pt x="1293019" y="311944"/>
                    <a:pt x="1296829" y="319564"/>
                    <a:pt x="1299686" y="328136"/>
                  </a:cubicBezTo>
                  <a:close/>
                  <a:moveTo>
                    <a:pt x="1289209" y="263366"/>
                  </a:moveTo>
                  <a:cubicBezTo>
                    <a:pt x="1288256" y="265271"/>
                    <a:pt x="1288256" y="266224"/>
                    <a:pt x="1287304" y="268129"/>
                  </a:cubicBezTo>
                  <a:cubicBezTo>
                    <a:pt x="1287304" y="265271"/>
                    <a:pt x="1287304" y="262414"/>
                    <a:pt x="1287304" y="259556"/>
                  </a:cubicBezTo>
                  <a:cubicBezTo>
                    <a:pt x="1287304" y="260509"/>
                    <a:pt x="1288256" y="262414"/>
                    <a:pt x="1289209" y="263366"/>
                  </a:cubicBezTo>
                  <a:close/>
                  <a:moveTo>
                    <a:pt x="1276826" y="238601"/>
                  </a:moveTo>
                  <a:cubicBezTo>
                    <a:pt x="1277779" y="239554"/>
                    <a:pt x="1277779" y="240506"/>
                    <a:pt x="1278731" y="242411"/>
                  </a:cubicBezTo>
                  <a:cubicBezTo>
                    <a:pt x="1280636" y="246221"/>
                    <a:pt x="1283494" y="251936"/>
                    <a:pt x="1286351" y="257651"/>
                  </a:cubicBezTo>
                  <a:cubicBezTo>
                    <a:pt x="1286351" y="260509"/>
                    <a:pt x="1285399" y="263366"/>
                    <a:pt x="1285399" y="267176"/>
                  </a:cubicBezTo>
                  <a:cubicBezTo>
                    <a:pt x="1282541" y="263366"/>
                    <a:pt x="1280636" y="259556"/>
                    <a:pt x="1277779" y="255746"/>
                  </a:cubicBezTo>
                  <a:cubicBezTo>
                    <a:pt x="1277779" y="250031"/>
                    <a:pt x="1276826" y="245269"/>
                    <a:pt x="1276826" y="242411"/>
                  </a:cubicBezTo>
                  <a:cubicBezTo>
                    <a:pt x="1276826" y="241459"/>
                    <a:pt x="1276826" y="239554"/>
                    <a:pt x="1276826" y="238601"/>
                  </a:cubicBezTo>
                  <a:close/>
                  <a:moveTo>
                    <a:pt x="1273016" y="271939"/>
                  </a:moveTo>
                  <a:cubicBezTo>
                    <a:pt x="1273016" y="271939"/>
                    <a:pt x="1273969" y="272891"/>
                    <a:pt x="1273969" y="272891"/>
                  </a:cubicBezTo>
                  <a:cubicBezTo>
                    <a:pt x="1273969" y="278606"/>
                    <a:pt x="1273016" y="284321"/>
                    <a:pt x="1273016" y="291941"/>
                  </a:cubicBezTo>
                  <a:cubicBezTo>
                    <a:pt x="1272064" y="290989"/>
                    <a:pt x="1272064" y="289084"/>
                    <a:pt x="1271111" y="288131"/>
                  </a:cubicBezTo>
                  <a:cubicBezTo>
                    <a:pt x="1271111" y="282416"/>
                    <a:pt x="1272064" y="276701"/>
                    <a:pt x="1273016" y="271939"/>
                  </a:cubicBezTo>
                  <a:close/>
                  <a:moveTo>
                    <a:pt x="1240631" y="229076"/>
                  </a:moveTo>
                  <a:cubicBezTo>
                    <a:pt x="1241584" y="226219"/>
                    <a:pt x="1243489" y="223361"/>
                    <a:pt x="1244441" y="220504"/>
                  </a:cubicBezTo>
                  <a:cubicBezTo>
                    <a:pt x="1247299" y="226219"/>
                    <a:pt x="1251109" y="230981"/>
                    <a:pt x="1253966" y="237649"/>
                  </a:cubicBezTo>
                  <a:cubicBezTo>
                    <a:pt x="1257776" y="244316"/>
                    <a:pt x="1260634" y="250031"/>
                    <a:pt x="1264444" y="257651"/>
                  </a:cubicBezTo>
                  <a:cubicBezTo>
                    <a:pt x="1265396" y="259556"/>
                    <a:pt x="1267301" y="262414"/>
                    <a:pt x="1268254" y="264319"/>
                  </a:cubicBezTo>
                  <a:cubicBezTo>
                    <a:pt x="1266349" y="270986"/>
                    <a:pt x="1264444" y="277654"/>
                    <a:pt x="1262539" y="286226"/>
                  </a:cubicBezTo>
                  <a:cubicBezTo>
                    <a:pt x="1259681" y="283369"/>
                    <a:pt x="1257776" y="280511"/>
                    <a:pt x="1254919" y="277654"/>
                  </a:cubicBezTo>
                  <a:cubicBezTo>
                    <a:pt x="1250156" y="268129"/>
                    <a:pt x="1246346" y="259556"/>
                    <a:pt x="1241584" y="251936"/>
                  </a:cubicBezTo>
                  <a:cubicBezTo>
                    <a:pt x="1239679" y="249079"/>
                    <a:pt x="1237774" y="246221"/>
                    <a:pt x="1235869" y="243364"/>
                  </a:cubicBezTo>
                  <a:cubicBezTo>
                    <a:pt x="1235869" y="243364"/>
                    <a:pt x="1235869" y="242411"/>
                    <a:pt x="1235869" y="242411"/>
                  </a:cubicBezTo>
                  <a:cubicBezTo>
                    <a:pt x="1237774" y="236696"/>
                    <a:pt x="1239679" y="232886"/>
                    <a:pt x="1240631" y="229076"/>
                  </a:cubicBezTo>
                  <a:close/>
                  <a:moveTo>
                    <a:pt x="1228249" y="304324"/>
                  </a:moveTo>
                  <a:cubicBezTo>
                    <a:pt x="1228249" y="298609"/>
                    <a:pt x="1227296" y="292894"/>
                    <a:pt x="1227296" y="288131"/>
                  </a:cubicBezTo>
                  <a:lnTo>
                    <a:pt x="1227296" y="281464"/>
                  </a:lnTo>
                  <a:cubicBezTo>
                    <a:pt x="1227296" y="280511"/>
                    <a:pt x="1228249" y="280511"/>
                    <a:pt x="1228249" y="279559"/>
                  </a:cubicBezTo>
                  <a:cubicBezTo>
                    <a:pt x="1228249" y="279559"/>
                    <a:pt x="1228249" y="278606"/>
                    <a:pt x="1228249" y="278606"/>
                  </a:cubicBezTo>
                  <a:cubicBezTo>
                    <a:pt x="1228249" y="278606"/>
                    <a:pt x="1229201" y="279559"/>
                    <a:pt x="1229201" y="279559"/>
                  </a:cubicBezTo>
                  <a:cubicBezTo>
                    <a:pt x="1230154" y="280511"/>
                    <a:pt x="1230154" y="282416"/>
                    <a:pt x="1231106" y="284321"/>
                  </a:cubicBezTo>
                  <a:cubicBezTo>
                    <a:pt x="1230154" y="290036"/>
                    <a:pt x="1229201" y="296704"/>
                    <a:pt x="1228249" y="304324"/>
                  </a:cubicBezTo>
                  <a:close/>
                  <a:moveTo>
                    <a:pt x="1232059" y="280511"/>
                  </a:moveTo>
                  <a:cubicBezTo>
                    <a:pt x="1232059" y="279559"/>
                    <a:pt x="1232059" y="279559"/>
                    <a:pt x="1232059" y="278606"/>
                  </a:cubicBezTo>
                  <a:cubicBezTo>
                    <a:pt x="1232059" y="277654"/>
                    <a:pt x="1231106" y="276701"/>
                    <a:pt x="1230154" y="275749"/>
                  </a:cubicBezTo>
                  <a:cubicBezTo>
                    <a:pt x="1229201" y="275749"/>
                    <a:pt x="1228249" y="274796"/>
                    <a:pt x="1227296" y="275749"/>
                  </a:cubicBezTo>
                  <a:cubicBezTo>
                    <a:pt x="1227296" y="275749"/>
                    <a:pt x="1227296" y="275749"/>
                    <a:pt x="1226344" y="275749"/>
                  </a:cubicBezTo>
                  <a:lnTo>
                    <a:pt x="1226344" y="269081"/>
                  </a:lnTo>
                  <a:cubicBezTo>
                    <a:pt x="1227296" y="270034"/>
                    <a:pt x="1228249" y="270986"/>
                    <a:pt x="1230154" y="272891"/>
                  </a:cubicBezTo>
                  <a:cubicBezTo>
                    <a:pt x="1231106" y="273844"/>
                    <a:pt x="1232059" y="274796"/>
                    <a:pt x="1233011" y="276701"/>
                  </a:cubicBezTo>
                  <a:cubicBezTo>
                    <a:pt x="1232059" y="278606"/>
                    <a:pt x="1232059" y="279559"/>
                    <a:pt x="1232059" y="280511"/>
                  </a:cubicBezTo>
                  <a:close/>
                  <a:moveTo>
                    <a:pt x="1230154" y="221456"/>
                  </a:moveTo>
                  <a:cubicBezTo>
                    <a:pt x="1232059" y="225266"/>
                    <a:pt x="1233011" y="229076"/>
                    <a:pt x="1233964" y="233839"/>
                  </a:cubicBezTo>
                  <a:cubicBezTo>
                    <a:pt x="1233964" y="233839"/>
                    <a:pt x="1233964" y="233839"/>
                    <a:pt x="1233964" y="233839"/>
                  </a:cubicBezTo>
                  <a:cubicBezTo>
                    <a:pt x="1233964" y="232886"/>
                    <a:pt x="1233011" y="230981"/>
                    <a:pt x="1233011" y="230029"/>
                  </a:cubicBezTo>
                  <a:cubicBezTo>
                    <a:pt x="1231106" y="226219"/>
                    <a:pt x="1230154" y="223361"/>
                    <a:pt x="1230154" y="221456"/>
                  </a:cubicBezTo>
                  <a:cubicBezTo>
                    <a:pt x="1229201" y="220504"/>
                    <a:pt x="1229201" y="220504"/>
                    <a:pt x="1230154" y="221456"/>
                  </a:cubicBezTo>
                  <a:close/>
                  <a:moveTo>
                    <a:pt x="1229201" y="257651"/>
                  </a:moveTo>
                  <a:cubicBezTo>
                    <a:pt x="1229201" y="257651"/>
                    <a:pt x="1229201" y="257651"/>
                    <a:pt x="1229201" y="257651"/>
                  </a:cubicBezTo>
                  <a:cubicBezTo>
                    <a:pt x="1229201" y="258604"/>
                    <a:pt x="1230154" y="258604"/>
                    <a:pt x="1230154" y="259556"/>
                  </a:cubicBezTo>
                  <a:cubicBezTo>
                    <a:pt x="1230154" y="260509"/>
                    <a:pt x="1230154" y="261461"/>
                    <a:pt x="1230154" y="262414"/>
                  </a:cubicBezTo>
                  <a:cubicBezTo>
                    <a:pt x="1231106" y="266224"/>
                    <a:pt x="1231106" y="270986"/>
                    <a:pt x="1232059" y="274796"/>
                  </a:cubicBezTo>
                  <a:cubicBezTo>
                    <a:pt x="1232059" y="274796"/>
                    <a:pt x="1232059" y="274796"/>
                    <a:pt x="1232059" y="274796"/>
                  </a:cubicBezTo>
                  <a:cubicBezTo>
                    <a:pt x="1231106" y="273844"/>
                    <a:pt x="1230154" y="272891"/>
                    <a:pt x="1229201" y="272891"/>
                  </a:cubicBezTo>
                  <a:cubicBezTo>
                    <a:pt x="1227296" y="270986"/>
                    <a:pt x="1225391" y="270034"/>
                    <a:pt x="1225391" y="269081"/>
                  </a:cubicBezTo>
                  <a:lnTo>
                    <a:pt x="1225391" y="265271"/>
                  </a:lnTo>
                  <a:cubicBezTo>
                    <a:pt x="1227296" y="263366"/>
                    <a:pt x="1228249" y="260509"/>
                    <a:pt x="1229201" y="257651"/>
                  </a:cubicBezTo>
                  <a:close/>
                  <a:moveTo>
                    <a:pt x="1226344" y="235744"/>
                  </a:moveTo>
                  <a:cubicBezTo>
                    <a:pt x="1227296" y="238601"/>
                    <a:pt x="1227296" y="241459"/>
                    <a:pt x="1228249" y="244316"/>
                  </a:cubicBezTo>
                  <a:cubicBezTo>
                    <a:pt x="1228249" y="245269"/>
                    <a:pt x="1227296" y="246221"/>
                    <a:pt x="1227296" y="246221"/>
                  </a:cubicBezTo>
                  <a:cubicBezTo>
                    <a:pt x="1226344" y="245269"/>
                    <a:pt x="1226344" y="245269"/>
                    <a:pt x="1225391" y="244316"/>
                  </a:cubicBezTo>
                  <a:lnTo>
                    <a:pt x="1225391" y="231934"/>
                  </a:lnTo>
                  <a:cubicBezTo>
                    <a:pt x="1225391" y="233839"/>
                    <a:pt x="1225391" y="234791"/>
                    <a:pt x="1226344" y="235744"/>
                  </a:cubicBezTo>
                  <a:close/>
                  <a:moveTo>
                    <a:pt x="1197769" y="293846"/>
                  </a:moveTo>
                  <a:cubicBezTo>
                    <a:pt x="1197769" y="292894"/>
                    <a:pt x="1198721" y="290989"/>
                    <a:pt x="1198721" y="290036"/>
                  </a:cubicBezTo>
                  <a:cubicBezTo>
                    <a:pt x="1198721" y="290989"/>
                    <a:pt x="1198721" y="290989"/>
                    <a:pt x="1198721" y="291941"/>
                  </a:cubicBezTo>
                  <a:cubicBezTo>
                    <a:pt x="1198721" y="293846"/>
                    <a:pt x="1199674" y="296704"/>
                    <a:pt x="1199674" y="299561"/>
                  </a:cubicBezTo>
                  <a:cubicBezTo>
                    <a:pt x="1198721" y="301466"/>
                    <a:pt x="1197769" y="304324"/>
                    <a:pt x="1196816" y="307181"/>
                  </a:cubicBezTo>
                  <a:cubicBezTo>
                    <a:pt x="1195864" y="304324"/>
                    <a:pt x="1195864" y="301466"/>
                    <a:pt x="1194911" y="299561"/>
                  </a:cubicBezTo>
                  <a:cubicBezTo>
                    <a:pt x="1195864" y="297656"/>
                    <a:pt x="1196816" y="295751"/>
                    <a:pt x="1197769" y="293846"/>
                  </a:cubicBezTo>
                  <a:close/>
                  <a:moveTo>
                    <a:pt x="1196816" y="459581"/>
                  </a:moveTo>
                  <a:lnTo>
                    <a:pt x="1196816" y="459581"/>
                  </a:lnTo>
                  <a:cubicBezTo>
                    <a:pt x="1195864" y="458629"/>
                    <a:pt x="1195864" y="457676"/>
                    <a:pt x="1195864" y="455771"/>
                  </a:cubicBezTo>
                  <a:cubicBezTo>
                    <a:pt x="1195864" y="456724"/>
                    <a:pt x="1195864" y="457676"/>
                    <a:pt x="1196816" y="459581"/>
                  </a:cubicBezTo>
                  <a:close/>
                  <a:moveTo>
                    <a:pt x="1190149" y="324326"/>
                  </a:moveTo>
                  <a:cubicBezTo>
                    <a:pt x="1190149" y="325279"/>
                    <a:pt x="1190149" y="325279"/>
                    <a:pt x="1190149" y="324326"/>
                  </a:cubicBezTo>
                  <a:cubicBezTo>
                    <a:pt x="1190149" y="323374"/>
                    <a:pt x="1190149" y="321469"/>
                    <a:pt x="1189196" y="320516"/>
                  </a:cubicBezTo>
                  <a:cubicBezTo>
                    <a:pt x="1190149" y="322421"/>
                    <a:pt x="1190149" y="323374"/>
                    <a:pt x="1190149" y="324326"/>
                  </a:cubicBezTo>
                  <a:close/>
                  <a:moveTo>
                    <a:pt x="1170146" y="270986"/>
                  </a:moveTo>
                  <a:cubicBezTo>
                    <a:pt x="1170146" y="270034"/>
                    <a:pt x="1170146" y="269081"/>
                    <a:pt x="1170146" y="268129"/>
                  </a:cubicBezTo>
                  <a:cubicBezTo>
                    <a:pt x="1170146" y="267176"/>
                    <a:pt x="1170146" y="265271"/>
                    <a:pt x="1170146" y="264319"/>
                  </a:cubicBezTo>
                  <a:cubicBezTo>
                    <a:pt x="1171099" y="253841"/>
                    <a:pt x="1172051" y="244316"/>
                    <a:pt x="1172051" y="235744"/>
                  </a:cubicBezTo>
                  <a:cubicBezTo>
                    <a:pt x="1173004" y="238601"/>
                    <a:pt x="1173956" y="241459"/>
                    <a:pt x="1174909" y="245269"/>
                  </a:cubicBezTo>
                  <a:cubicBezTo>
                    <a:pt x="1174909" y="249079"/>
                    <a:pt x="1175861" y="253841"/>
                    <a:pt x="1176814" y="260509"/>
                  </a:cubicBezTo>
                  <a:cubicBezTo>
                    <a:pt x="1177766" y="267176"/>
                    <a:pt x="1177766" y="275749"/>
                    <a:pt x="1177766" y="285274"/>
                  </a:cubicBezTo>
                  <a:cubicBezTo>
                    <a:pt x="1178719" y="291941"/>
                    <a:pt x="1177766" y="300514"/>
                    <a:pt x="1177766" y="308134"/>
                  </a:cubicBezTo>
                  <a:cubicBezTo>
                    <a:pt x="1177766" y="307181"/>
                    <a:pt x="1176814" y="306229"/>
                    <a:pt x="1176814" y="305276"/>
                  </a:cubicBezTo>
                  <a:cubicBezTo>
                    <a:pt x="1173956" y="298609"/>
                    <a:pt x="1171099" y="292894"/>
                    <a:pt x="1168241" y="287179"/>
                  </a:cubicBezTo>
                  <a:cubicBezTo>
                    <a:pt x="1169194" y="282416"/>
                    <a:pt x="1170146" y="275749"/>
                    <a:pt x="1170146" y="270986"/>
                  </a:cubicBezTo>
                  <a:close/>
                  <a:moveTo>
                    <a:pt x="1170146" y="309086"/>
                  </a:moveTo>
                  <a:cubicBezTo>
                    <a:pt x="1171099" y="312896"/>
                    <a:pt x="1173004" y="317659"/>
                    <a:pt x="1173956" y="321469"/>
                  </a:cubicBezTo>
                  <a:cubicBezTo>
                    <a:pt x="1173004" y="323374"/>
                    <a:pt x="1173004" y="325279"/>
                    <a:pt x="1172051" y="327184"/>
                  </a:cubicBezTo>
                  <a:cubicBezTo>
                    <a:pt x="1171099" y="325279"/>
                    <a:pt x="1171099" y="324326"/>
                    <a:pt x="1170146" y="322421"/>
                  </a:cubicBezTo>
                  <a:cubicBezTo>
                    <a:pt x="1170146" y="321469"/>
                    <a:pt x="1170146" y="319564"/>
                    <a:pt x="1170146" y="318611"/>
                  </a:cubicBezTo>
                  <a:cubicBezTo>
                    <a:pt x="1169194" y="313849"/>
                    <a:pt x="1169194" y="308134"/>
                    <a:pt x="1168241" y="303371"/>
                  </a:cubicBezTo>
                  <a:cubicBezTo>
                    <a:pt x="1168241" y="305276"/>
                    <a:pt x="1169194" y="307181"/>
                    <a:pt x="1170146" y="309086"/>
                  </a:cubicBezTo>
                  <a:close/>
                  <a:moveTo>
                    <a:pt x="1164431" y="236696"/>
                  </a:moveTo>
                  <a:cubicBezTo>
                    <a:pt x="1163479" y="242411"/>
                    <a:pt x="1162526" y="248126"/>
                    <a:pt x="1161574" y="253841"/>
                  </a:cubicBezTo>
                  <a:cubicBezTo>
                    <a:pt x="1161574" y="252889"/>
                    <a:pt x="1161574" y="252889"/>
                    <a:pt x="1161574" y="251936"/>
                  </a:cubicBezTo>
                  <a:cubicBezTo>
                    <a:pt x="1161574" y="251936"/>
                    <a:pt x="1161574" y="250984"/>
                    <a:pt x="1161574" y="250984"/>
                  </a:cubicBezTo>
                  <a:cubicBezTo>
                    <a:pt x="1162526" y="245269"/>
                    <a:pt x="1163479" y="240506"/>
                    <a:pt x="1164431" y="236696"/>
                  </a:cubicBezTo>
                  <a:close/>
                  <a:moveTo>
                    <a:pt x="1140619" y="290036"/>
                  </a:moveTo>
                  <a:cubicBezTo>
                    <a:pt x="1140619" y="290989"/>
                    <a:pt x="1139666" y="290989"/>
                    <a:pt x="1139666" y="291941"/>
                  </a:cubicBezTo>
                  <a:cubicBezTo>
                    <a:pt x="1138714" y="289084"/>
                    <a:pt x="1138714" y="286226"/>
                    <a:pt x="1137761" y="283369"/>
                  </a:cubicBezTo>
                  <a:cubicBezTo>
                    <a:pt x="1138714" y="286226"/>
                    <a:pt x="1139666" y="288131"/>
                    <a:pt x="1140619" y="290036"/>
                  </a:cubicBezTo>
                  <a:close/>
                  <a:moveTo>
                    <a:pt x="1114901" y="339566"/>
                  </a:moveTo>
                  <a:cubicBezTo>
                    <a:pt x="1115854" y="331946"/>
                    <a:pt x="1116806" y="323374"/>
                    <a:pt x="1117759" y="315754"/>
                  </a:cubicBezTo>
                  <a:cubicBezTo>
                    <a:pt x="1118711" y="318611"/>
                    <a:pt x="1118711" y="321469"/>
                    <a:pt x="1119664" y="325279"/>
                  </a:cubicBezTo>
                  <a:cubicBezTo>
                    <a:pt x="1120616" y="328136"/>
                    <a:pt x="1120616" y="331946"/>
                    <a:pt x="1121569" y="334804"/>
                  </a:cubicBezTo>
                  <a:cubicBezTo>
                    <a:pt x="1121569" y="336709"/>
                    <a:pt x="1120616" y="338614"/>
                    <a:pt x="1120616" y="341471"/>
                  </a:cubicBezTo>
                  <a:cubicBezTo>
                    <a:pt x="1120616" y="341471"/>
                    <a:pt x="1120616" y="341471"/>
                    <a:pt x="1120616" y="342424"/>
                  </a:cubicBezTo>
                  <a:cubicBezTo>
                    <a:pt x="1119664" y="344329"/>
                    <a:pt x="1118711" y="346234"/>
                    <a:pt x="1118711" y="348139"/>
                  </a:cubicBezTo>
                  <a:cubicBezTo>
                    <a:pt x="1117759" y="345281"/>
                    <a:pt x="1115854" y="343376"/>
                    <a:pt x="1114901" y="341471"/>
                  </a:cubicBezTo>
                  <a:cubicBezTo>
                    <a:pt x="1114901" y="340519"/>
                    <a:pt x="1114901" y="339566"/>
                    <a:pt x="1114901" y="339566"/>
                  </a:cubicBezTo>
                  <a:close/>
                  <a:moveTo>
                    <a:pt x="1111091" y="219551"/>
                  </a:moveTo>
                  <a:cubicBezTo>
                    <a:pt x="1111091" y="220504"/>
                    <a:pt x="1112044" y="221456"/>
                    <a:pt x="1112044" y="222409"/>
                  </a:cubicBezTo>
                  <a:cubicBezTo>
                    <a:pt x="1112044" y="225266"/>
                    <a:pt x="1112996" y="228124"/>
                    <a:pt x="1112996" y="230029"/>
                  </a:cubicBezTo>
                  <a:cubicBezTo>
                    <a:pt x="1112996" y="230029"/>
                    <a:pt x="1112996" y="230029"/>
                    <a:pt x="1112996" y="230029"/>
                  </a:cubicBezTo>
                  <a:cubicBezTo>
                    <a:pt x="1112996" y="226219"/>
                    <a:pt x="1112044" y="223361"/>
                    <a:pt x="1111091" y="219551"/>
                  </a:cubicBezTo>
                  <a:cubicBezTo>
                    <a:pt x="1111091" y="220504"/>
                    <a:pt x="1111091" y="219551"/>
                    <a:pt x="1111091" y="219551"/>
                  </a:cubicBezTo>
                  <a:close/>
                  <a:moveTo>
                    <a:pt x="1110139" y="217646"/>
                  </a:moveTo>
                  <a:cubicBezTo>
                    <a:pt x="1110139" y="217646"/>
                    <a:pt x="1110139" y="217646"/>
                    <a:pt x="1110139" y="217646"/>
                  </a:cubicBezTo>
                  <a:cubicBezTo>
                    <a:pt x="1110139" y="217646"/>
                    <a:pt x="1109186" y="216694"/>
                    <a:pt x="1109186" y="215741"/>
                  </a:cubicBezTo>
                  <a:cubicBezTo>
                    <a:pt x="1110139" y="216694"/>
                    <a:pt x="1110139" y="216694"/>
                    <a:pt x="1110139" y="217646"/>
                  </a:cubicBezTo>
                  <a:close/>
                  <a:moveTo>
                    <a:pt x="1101566" y="236696"/>
                  </a:moveTo>
                  <a:cubicBezTo>
                    <a:pt x="1104424" y="248126"/>
                    <a:pt x="1107281" y="262414"/>
                    <a:pt x="1111091" y="278606"/>
                  </a:cubicBezTo>
                  <a:cubicBezTo>
                    <a:pt x="1110139" y="283369"/>
                    <a:pt x="1109186" y="289084"/>
                    <a:pt x="1109186" y="293846"/>
                  </a:cubicBezTo>
                  <a:cubicBezTo>
                    <a:pt x="1108234" y="298609"/>
                    <a:pt x="1107281" y="304324"/>
                    <a:pt x="1106329" y="309086"/>
                  </a:cubicBezTo>
                  <a:cubicBezTo>
                    <a:pt x="1106329" y="309086"/>
                    <a:pt x="1106329" y="309086"/>
                    <a:pt x="1106329" y="308134"/>
                  </a:cubicBezTo>
                  <a:cubicBezTo>
                    <a:pt x="1105376" y="300514"/>
                    <a:pt x="1105376" y="295751"/>
                    <a:pt x="1105376" y="295751"/>
                  </a:cubicBezTo>
                  <a:cubicBezTo>
                    <a:pt x="1105376" y="295751"/>
                    <a:pt x="1105376" y="297656"/>
                    <a:pt x="1105376" y="300514"/>
                  </a:cubicBezTo>
                  <a:cubicBezTo>
                    <a:pt x="1103471" y="290989"/>
                    <a:pt x="1101566" y="282416"/>
                    <a:pt x="1099661" y="272891"/>
                  </a:cubicBezTo>
                  <a:cubicBezTo>
                    <a:pt x="1097756" y="265271"/>
                    <a:pt x="1096804" y="256699"/>
                    <a:pt x="1094899" y="249079"/>
                  </a:cubicBezTo>
                  <a:cubicBezTo>
                    <a:pt x="1096804" y="244316"/>
                    <a:pt x="1098709" y="240506"/>
                    <a:pt x="1101566" y="236696"/>
                  </a:cubicBezTo>
                  <a:close/>
                  <a:moveTo>
                    <a:pt x="1027271" y="325279"/>
                  </a:moveTo>
                  <a:cubicBezTo>
                    <a:pt x="1028224" y="319564"/>
                    <a:pt x="1029176" y="314801"/>
                    <a:pt x="1030129" y="310991"/>
                  </a:cubicBezTo>
                  <a:cubicBezTo>
                    <a:pt x="1031081" y="306229"/>
                    <a:pt x="1032986" y="301466"/>
                    <a:pt x="1034891" y="297656"/>
                  </a:cubicBezTo>
                  <a:cubicBezTo>
                    <a:pt x="1035844" y="293846"/>
                    <a:pt x="1037749" y="290989"/>
                    <a:pt x="1039654" y="288131"/>
                  </a:cubicBezTo>
                  <a:cubicBezTo>
                    <a:pt x="1040606" y="291941"/>
                    <a:pt x="1041559" y="295751"/>
                    <a:pt x="1042511" y="299561"/>
                  </a:cubicBezTo>
                  <a:cubicBezTo>
                    <a:pt x="1041559" y="301466"/>
                    <a:pt x="1040606" y="303371"/>
                    <a:pt x="1039654" y="305276"/>
                  </a:cubicBezTo>
                  <a:cubicBezTo>
                    <a:pt x="1034891" y="313849"/>
                    <a:pt x="1031081" y="322421"/>
                    <a:pt x="1028224" y="330994"/>
                  </a:cubicBezTo>
                  <a:cubicBezTo>
                    <a:pt x="1028224" y="329089"/>
                    <a:pt x="1028224" y="327184"/>
                    <a:pt x="1027271" y="325279"/>
                  </a:cubicBezTo>
                  <a:close/>
                  <a:moveTo>
                    <a:pt x="1040606" y="374809"/>
                  </a:moveTo>
                  <a:cubicBezTo>
                    <a:pt x="1040606" y="373856"/>
                    <a:pt x="1039654" y="371951"/>
                    <a:pt x="1039654" y="370999"/>
                  </a:cubicBezTo>
                  <a:cubicBezTo>
                    <a:pt x="1041559" y="366236"/>
                    <a:pt x="1043464" y="360521"/>
                    <a:pt x="1045369" y="355759"/>
                  </a:cubicBezTo>
                  <a:cubicBezTo>
                    <a:pt x="1046321" y="358616"/>
                    <a:pt x="1047274" y="361474"/>
                    <a:pt x="1047274" y="364331"/>
                  </a:cubicBezTo>
                  <a:cubicBezTo>
                    <a:pt x="1047274" y="371951"/>
                    <a:pt x="1047274" y="378619"/>
                    <a:pt x="1048226" y="386239"/>
                  </a:cubicBezTo>
                  <a:cubicBezTo>
                    <a:pt x="1046321" y="385286"/>
                    <a:pt x="1045369" y="384334"/>
                    <a:pt x="1044416" y="384334"/>
                  </a:cubicBezTo>
                  <a:cubicBezTo>
                    <a:pt x="1042511" y="381476"/>
                    <a:pt x="1041559" y="377666"/>
                    <a:pt x="1040606" y="374809"/>
                  </a:cubicBezTo>
                  <a:close/>
                  <a:moveTo>
                    <a:pt x="1046321" y="389096"/>
                  </a:moveTo>
                  <a:cubicBezTo>
                    <a:pt x="1047274" y="390049"/>
                    <a:pt x="1047274" y="390049"/>
                    <a:pt x="1048226" y="391001"/>
                  </a:cubicBezTo>
                  <a:cubicBezTo>
                    <a:pt x="1048226" y="391954"/>
                    <a:pt x="1048226" y="391954"/>
                    <a:pt x="1048226" y="392906"/>
                  </a:cubicBezTo>
                  <a:cubicBezTo>
                    <a:pt x="1047274" y="391954"/>
                    <a:pt x="1046321" y="390049"/>
                    <a:pt x="1046321" y="389096"/>
                  </a:cubicBezTo>
                  <a:close/>
                  <a:moveTo>
                    <a:pt x="1056799" y="292894"/>
                  </a:moveTo>
                  <a:cubicBezTo>
                    <a:pt x="1057751" y="289084"/>
                    <a:pt x="1059656" y="286226"/>
                    <a:pt x="1061561" y="282416"/>
                  </a:cubicBezTo>
                  <a:cubicBezTo>
                    <a:pt x="1063466" y="278606"/>
                    <a:pt x="1064419" y="274796"/>
                    <a:pt x="1066324" y="271939"/>
                  </a:cubicBezTo>
                  <a:cubicBezTo>
                    <a:pt x="1066324" y="272891"/>
                    <a:pt x="1066324" y="272891"/>
                    <a:pt x="1066324" y="273844"/>
                  </a:cubicBezTo>
                  <a:cubicBezTo>
                    <a:pt x="1066324" y="275749"/>
                    <a:pt x="1067276" y="276701"/>
                    <a:pt x="1067276" y="278606"/>
                  </a:cubicBezTo>
                  <a:cubicBezTo>
                    <a:pt x="1066324" y="280511"/>
                    <a:pt x="1064419" y="282416"/>
                    <a:pt x="1063466" y="285274"/>
                  </a:cubicBezTo>
                  <a:cubicBezTo>
                    <a:pt x="1061561" y="288131"/>
                    <a:pt x="1059656" y="291941"/>
                    <a:pt x="1057751" y="295751"/>
                  </a:cubicBezTo>
                  <a:cubicBezTo>
                    <a:pt x="1057751" y="294799"/>
                    <a:pt x="1056799" y="293846"/>
                    <a:pt x="1056799" y="292894"/>
                  </a:cubicBezTo>
                  <a:close/>
                  <a:moveTo>
                    <a:pt x="1059656" y="360521"/>
                  </a:moveTo>
                  <a:cubicBezTo>
                    <a:pt x="1059656" y="360521"/>
                    <a:pt x="1059656" y="359569"/>
                    <a:pt x="1059656" y="360521"/>
                  </a:cubicBezTo>
                  <a:cubicBezTo>
                    <a:pt x="1059656" y="359569"/>
                    <a:pt x="1059656" y="360521"/>
                    <a:pt x="1059656" y="360521"/>
                  </a:cubicBezTo>
                  <a:cubicBezTo>
                    <a:pt x="1059656" y="360521"/>
                    <a:pt x="1059656" y="360521"/>
                    <a:pt x="1059656" y="360521"/>
                  </a:cubicBezTo>
                  <a:close/>
                  <a:moveTo>
                    <a:pt x="1064419" y="383381"/>
                  </a:moveTo>
                  <a:cubicBezTo>
                    <a:pt x="1063466" y="381476"/>
                    <a:pt x="1063466" y="380524"/>
                    <a:pt x="1062514" y="379571"/>
                  </a:cubicBezTo>
                  <a:cubicBezTo>
                    <a:pt x="1062514" y="377666"/>
                    <a:pt x="1062514" y="376714"/>
                    <a:pt x="1063466" y="374809"/>
                  </a:cubicBezTo>
                  <a:cubicBezTo>
                    <a:pt x="1063466" y="375761"/>
                    <a:pt x="1064419" y="377666"/>
                    <a:pt x="1064419" y="378619"/>
                  </a:cubicBezTo>
                  <a:cubicBezTo>
                    <a:pt x="1064419" y="379571"/>
                    <a:pt x="1064419" y="379571"/>
                    <a:pt x="1064419" y="380524"/>
                  </a:cubicBezTo>
                  <a:cubicBezTo>
                    <a:pt x="1064419" y="382429"/>
                    <a:pt x="1065371" y="384334"/>
                    <a:pt x="1065371" y="386239"/>
                  </a:cubicBezTo>
                  <a:cubicBezTo>
                    <a:pt x="1065371" y="385286"/>
                    <a:pt x="1065371" y="384334"/>
                    <a:pt x="1064419" y="383381"/>
                  </a:cubicBezTo>
                  <a:close/>
                  <a:moveTo>
                    <a:pt x="1069181" y="330994"/>
                  </a:moveTo>
                  <a:cubicBezTo>
                    <a:pt x="1067276" y="325279"/>
                    <a:pt x="1065371" y="318611"/>
                    <a:pt x="1063466" y="312896"/>
                  </a:cubicBezTo>
                  <a:cubicBezTo>
                    <a:pt x="1065371" y="309086"/>
                    <a:pt x="1067276" y="304324"/>
                    <a:pt x="1069181" y="300514"/>
                  </a:cubicBezTo>
                  <a:cubicBezTo>
                    <a:pt x="1070134" y="308134"/>
                    <a:pt x="1069181" y="316706"/>
                    <a:pt x="1070134" y="326231"/>
                  </a:cubicBezTo>
                  <a:cubicBezTo>
                    <a:pt x="1069181" y="328136"/>
                    <a:pt x="1069181" y="329089"/>
                    <a:pt x="1069181" y="330994"/>
                  </a:cubicBezTo>
                  <a:close/>
                  <a:moveTo>
                    <a:pt x="1077754" y="262414"/>
                  </a:moveTo>
                  <a:cubicBezTo>
                    <a:pt x="1076801" y="263366"/>
                    <a:pt x="1076801" y="264319"/>
                    <a:pt x="1075849" y="264319"/>
                  </a:cubicBezTo>
                  <a:cubicBezTo>
                    <a:pt x="1074896" y="261461"/>
                    <a:pt x="1074896" y="259556"/>
                    <a:pt x="1073944" y="256699"/>
                  </a:cubicBezTo>
                  <a:lnTo>
                    <a:pt x="1074896" y="256699"/>
                  </a:lnTo>
                  <a:lnTo>
                    <a:pt x="1075849" y="256699"/>
                  </a:lnTo>
                  <a:cubicBezTo>
                    <a:pt x="1076801" y="259556"/>
                    <a:pt x="1077754" y="260509"/>
                    <a:pt x="1077754" y="262414"/>
                  </a:cubicBezTo>
                  <a:close/>
                  <a:moveTo>
                    <a:pt x="1045369" y="175736"/>
                  </a:moveTo>
                  <a:cubicBezTo>
                    <a:pt x="1048226" y="168116"/>
                    <a:pt x="1052036" y="160496"/>
                    <a:pt x="1054894" y="153829"/>
                  </a:cubicBezTo>
                  <a:cubicBezTo>
                    <a:pt x="1054894" y="154781"/>
                    <a:pt x="1054894" y="154781"/>
                    <a:pt x="1055846" y="155734"/>
                  </a:cubicBezTo>
                  <a:cubicBezTo>
                    <a:pt x="1056799" y="160496"/>
                    <a:pt x="1058704" y="166211"/>
                    <a:pt x="1059656" y="171926"/>
                  </a:cubicBezTo>
                  <a:cubicBezTo>
                    <a:pt x="1061561" y="178594"/>
                    <a:pt x="1063466" y="186214"/>
                    <a:pt x="1064419" y="193834"/>
                  </a:cubicBezTo>
                  <a:cubicBezTo>
                    <a:pt x="1066324" y="201454"/>
                    <a:pt x="1067276" y="208121"/>
                    <a:pt x="1069181" y="215741"/>
                  </a:cubicBezTo>
                  <a:cubicBezTo>
                    <a:pt x="1072039" y="228124"/>
                    <a:pt x="1073944" y="241459"/>
                    <a:pt x="1076801" y="253841"/>
                  </a:cubicBezTo>
                  <a:cubicBezTo>
                    <a:pt x="1075849" y="253841"/>
                    <a:pt x="1074896" y="252889"/>
                    <a:pt x="1074896" y="252889"/>
                  </a:cubicBezTo>
                  <a:cubicBezTo>
                    <a:pt x="1070134" y="230981"/>
                    <a:pt x="1067276" y="216694"/>
                    <a:pt x="1067276" y="216694"/>
                  </a:cubicBezTo>
                  <a:cubicBezTo>
                    <a:pt x="1067276" y="216694"/>
                    <a:pt x="1067276" y="232886"/>
                    <a:pt x="1068229" y="257651"/>
                  </a:cubicBezTo>
                  <a:cubicBezTo>
                    <a:pt x="1068229" y="258604"/>
                    <a:pt x="1067276" y="258604"/>
                    <a:pt x="1067276" y="259556"/>
                  </a:cubicBezTo>
                  <a:cubicBezTo>
                    <a:pt x="1065371" y="255746"/>
                    <a:pt x="1065371" y="252889"/>
                    <a:pt x="1065371" y="252889"/>
                  </a:cubicBezTo>
                  <a:cubicBezTo>
                    <a:pt x="1065371" y="252889"/>
                    <a:pt x="1065371" y="255746"/>
                    <a:pt x="1066324" y="261461"/>
                  </a:cubicBezTo>
                  <a:cubicBezTo>
                    <a:pt x="1062514" y="267176"/>
                    <a:pt x="1058704" y="272891"/>
                    <a:pt x="1055846" y="278606"/>
                  </a:cubicBezTo>
                  <a:cubicBezTo>
                    <a:pt x="1055846" y="279559"/>
                    <a:pt x="1054894" y="279559"/>
                    <a:pt x="1054894" y="280511"/>
                  </a:cubicBezTo>
                  <a:cubicBezTo>
                    <a:pt x="1054894" y="279559"/>
                    <a:pt x="1053941" y="278606"/>
                    <a:pt x="1053941" y="277654"/>
                  </a:cubicBezTo>
                  <a:cubicBezTo>
                    <a:pt x="1050131" y="266224"/>
                    <a:pt x="1046321" y="254794"/>
                    <a:pt x="1043464" y="245269"/>
                  </a:cubicBezTo>
                  <a:cubicBezTo>
                    <a:pt x="1040606" y="235744"/>
                    <a:pt x="1037749" y="227171"/>
                    <a:pt x="1035844" y="220504"/>
                  </a:cubicBezTo>
                  <a:cubicBezTo>
                    <a:pt x="1033939" y="215741"/>
                    <a:pt x="1032986" y="211931"/>
                    <a:pt x="1032034" y="209074"/>
                  </a:cubicBezTo>
                  <a:cubicBezTo>
                    <a:pt x="1034891" y="196691"/>
                    <a:pt x="1040606" y="186214"/>
                    <a:pt x="1045369" y="175736"/>
                  </a:cubicBezTo>
                  <a:close/>
                  <a:moveTo>
                    <a:pt x="1019651" y="267176"/>
                  </a:moveTo>
                  <a:cubicBezTo>
                    <a:pt x="1020604" y="251936"/>
                    <a:pt x="1022509" y="236696"/>
                    <a:pt x="1023461" y="221456"/>
                  </a:cubicBezTo>
                  <a:cubicBezTo>
                    <a:pt x="1023461" y="220504"/>
                    <a:pt x="1024414" y="219551"/>
                    <a:pt x="1024414" y="218599"/>
                  </a:cubicBezTo>
                  <a:cubicBezTo>
                    <a:pt x="1026319" y="229076"/>
                    <a:pt x="1028224" y="241459"/>
                    <a:pt x="1032034" y="253841"/>
                  </a:cubicBezTo>
                  <a:cubicBezTo>
                    <a:pt x="1033939" y="263366"/>
                    <a:pt x="1036796" y="272891"/>
                    <a:pt x="1038701" y="283369"/>
                  </a:cubicBezTo>
                  <a:cubicBezTo>
                    <a:pt x="1038701" y="283369"/>
                    <a:pt x="1038701" y="284321"/>
                    <a:pt x="1037749" y="284321"/>
                  </a:cubicBezTo>
                  <a:cubicBezTo>
                    <a:pt x="1035844" y="287179"/>
                    <a:pt x="1032986" y="290036"/>
                    <a:pt x="1031081" y="294799"/>
                  </a:cubicBezTo>
                  <a:cubicBezTo>
                    <a:pt x="1029176" y="298609"/>
                    <a:pt x="1027271" y="302419"/>
                    <a:pt x="1025366" y="306229"/>
                  </a:cubicBezTo>
                  <a:cubicBezTo>
                    <a:pt x="1024414" y="297656"/>
                    <a:pt x="1024414" y="290036"/>
                    <a:pt x="1023461" y="284321"/>
                  </a:cubicBezTo>
                  <a:cubicBezTo>
                    <a:pt x="1022509" y="274796"/>
                    <a:pt x="1022509" y="269081"/>
                    <a:pt x="1022509" y="269081"/>
                  </a:cubicBezTo>
                  <a:cubicBezTo>
                    <a:pt x="1022509" y="269081"/>
                    <a:pt x="1021556" y="274796"/>
                    <a:pt x="1019651" y="284321"/>
                  </a:cubicBezTo>
                  <a:cubicBezTo>
                    <a:pt x="1018699" y="291941"/>
                    <a:pt x="1016794" y="302419"/>
                    <a:pt x="1015841" y="314801"/>
                  </a:cubicBezTo>
                  <a:cubicBezTo>
                    <a:pt x="1015841" y="314801"/>
                    <a:pt x="1015841" y="315754"/>
                    <a:pt x="1015841" y="315754"/>
                  </a:cubicBezTo>
                  <a:cubicBezTo>
                    <a:pt x="1015841" y="315754"/>
                    <a:pt x="1015841" y="315754"/>
                    <a:pt x="1015841" y="315754"/>
                  </a:cubicBezTo>
                  <a:cubicBezTo>
                    <a:pt x="1020604" y="276701"/>
                    <a:pt x="1022509" y="251936"/>
                    <a:pt x="1022509" y="251936"/>
                  </a:cubicBezTo>
                  <a:cubicBezTo>
                    <a:pt x="1022509" y="251936"/>
                    <a:pt x="1021556" y="257651"/>
                    <a:pt x="1019651" y="267176"/>
                  </a:cubicBezTo>
                  <a:close/>
                  <a:moveTo>
                    <a:pt x="1011079" y="364331"/>
                  </a:moveTo>
                  <a:cubicBezTo>
                    <a:pt x="1011079" y="361474"/>
                    <a:pt x="1012031" y="358616"/>
                    <a:pt x="1012031" y="355759"/>
                  </a:cubicBezTo>
                  <a:cubicBezTo>
                    <a:pt x="1012984" y="350996"/>
                    <a:pt x="1012984" y="347186"/>
                    <a:pt x="1013936" y="342424"/>
                  </a:cubicBezTo>
                  <a:cubicBezTo>
                    <a:pt x="1013936" y="342424"/>
                    <a:pt x="1013936" y="342424"/>
                    <a:pt x="1013936" y="342424"/>
                  </a:cubicBezTo>
                  <a:cubicBezTo>
                    <a:pt x="1012984" y="349091"/>
                    <a:pt x="1012984" y="356711"/>
                    <a:pt x="1012031" y="364331"/>
                  </a:cubicBezTo>
                  <a:cubicBezTo>
                    <a:pt x="1012031" y="365284"/>
                    <a:pt x="1011079" y="365284"/>
                    <a:pt x="1011079" y="366236"/>
                  </a:cubicBezTo>
                  <a:cubicBezTo>
                    <a:pt x="1011079" y="366236"/>
                    <a:pt x="1011079" y="366236"/>
                    <a:pt x="1011079" y="366236"/>
                  </a:cubicBezTo>
                  <a:cubicBezTo>
                    <a:pt x="1011079" y="366236"/>
                    <a:pt x="1011079" y="365284"/>
                    <a:pt x="1011079" y="364331"/>
                  </a:cubicBezTo>
                  <a:close/>
                  <a:moveTo>
                    <a:pt x="1004411" y="257651"/>
                  </a:moveTo>
                  <a:cubicBezTo>
                    <a:pt x="1003459" y="265271"/>
                    <a:pt x="1002506" y="273844"/>
                    <a:pt x="1001554" y="281464"/>
                  </a:cubicBezTo>
                  <a:cubicBezTo>
                    <a:pt x="999649" y="277654"/>
                    <a:pt x="997744" y="273844"/>
                    <a:pt x="996791" y="271939"/>
                  </a:cubicBezTo>
                  <a:cubicBezTo>
                    <a:pt x="999649" y="268129"/>
                    <a:pt x="1001554" y="262414"/>
                    <a:pt x="1004411" y="257651"/>
                  </a:cubicBezTo>
                  <a:close/>
                  <a:moveTo>
                    <a:pt x="991076" y="283369"/>
                  </a:moveTo>
                  <a:cubicBezTo>
                    <a:pt x="992981" y="280511"/>
                    <a:pt x="994886" y="276701"/>
                    <a:pt x="995839" y="273844"/>
                  </a:cubicBezTo>
                  <a:cubicBezTo>
                    <a:pt x="996791" y="277654"/>
                    <a:pt x="997744" y="283369"/>
                    <a:pt x="999649" y="291941"/>
                  </a:cubicBezTo>
                  <a:cubicBezTo>
                    <a:pt x="998696" y="303371"/>
                    <a:pt x="996791" y="314801"/>
                    <a:pt x="995839" y="326231"/>
                  </a:cubicBezTo>
                  <a:cubicBezTo>
                    <a:pt x="994886" y="328136"/>
                    <a:pt x="994886" y="329089"/>
                    <a:pt x="993934" y="330994"/>
                  </a:cubicBezTo>
                  <a:cubicBezTo>
                    <a:pt x="992981" y="324326"/>
                    <a:pt x="992981" y="320516"/>
                    <a:pt x="992981" y="320516"/>
                  </a:cubicBezTo>
                  <a:cubicBezTo>
                    <a:pt x="992981" y="320516"/>
                    <a:pt x="992029" y="327184"/>
                    <a:pt x="991076" y="338614"/>
                  </a:cubicBezTo>
                  <a:cubicBezTo>
                    <a:pt x="991076" y="339566"/>
                    <a:pt x="990124" y="340519"/>
                    <a:pt x="990124" y="341471"/>
                  </a:cubicBezTo>
                  <a:cubicBezTo>
                    <a:pt x="987266" y="349091"/>
                    <a:pt x="984409" y="356711"/>
                    <a:pt x="981551" y="365284"/>
                  </a:cubicBezTo>
                  <a:cubicBezTo>
                    <a:pt x="981551" y="364331"/>
                    <a:pt x="981551" y="363379"/>
                    <a:pt x="980599" y="363379"/>
                  </a:cubicBezTo>
                  <a:cubicBezTo>
                    <a:pt x="979646" y="351949"/>
                    <a:pt x="978694" y="341471"/>
                    <a:pt x="977741" y="331946"/>
                  </a:cubicBezTo>
                  <a:cubicBezTo>
                    <a:pt x="976789" y="325279"/>
                    <a:pt x="976789" y="318611"/>
                    <a:pt x="975836" y="311944"/>
                  </a:cubicBezTo>
                  <a:cubicBezTo>
                    <a:pt x="980599" y="301466"/>
                    <a:pt x="986314" y="291941"/>
                    <a:pt x="991076" y="283369"/>
                  </a:cubicBezTo>
                  <a:close/>
                  <a:moveTo>
                    <a:pt x="960596" y="298609"/>
                  </a:moveTo>
                  <a:cubicBezTo>
                    <a:pt x="963454" y="291941"/>
                    <a:pt x="965359" y="286226"/>
                    <a:pt x="968216" y="280511"/>
                  </a:cubicBezTo>
                  <a:cubicBezTo>
                    <a:pt x="968216" y="284321"/>
                    <a:pt x="967264" y="289084"/>
                    <a:pt x="967264" y="294799"/>
                  </a:cubicBezTo>
                  <a:cubicBezTo>
                    <a:pt x="965359" y="297656"/>
                    <a:pt x="963454" y="301466"/>
                    <a:pt x="961549" y="304324"/>
                  </a:cubicBezTo>
                  <a:cubicBezTo>
                    <a:pt x="961549" y="304324"/>
                    <a:pt x="961549" y="304324"/>
                    <a:pt x="961549" y="303371"/>
                  </a:cubicBezTo>
                  <a:cubicBezTo>
                    <a:pt x="961549" y="302419"/>
                    <a:pt x="960596" y="302419"/>
                    <a:pt x="960596" y="301466"/>
                  </a:cubicBezTo>
                  <a:cubicBezTo>
                    <a:pt x="960596" y="299561"/>
                    <a:pt x="960596" y="299561"/>
                    <a:pt x="960596" y="298609"/>
                  </a:cubicBezTo>
                  <a:close/>
                  <a:moveTo>
                    <a:pt x="939641" y="258604"/>
                  </a:moveTo>
                  <a:cubicBezTo>
                    <a:pt x="939641" y="258604"/>
                    <a:pt x="939641" y="258604"/>
                    <a:pt x="939641" y="258604"/>
                  </a:cubicBezTo>
                  <a:cubicBezTo>
                    <a:pt x="941546" y="253841"/>
                    <a:pt x="942499" y="250031"/>
                    <a:pt x="943451" y="246221"/>
                  </a:cubicBezTo>
                  <a:cubicBezTo>
                    <a:pt x="943451" y="248126"/>
                    <a:pt x="943451" y="250031"/>
                    <a:pt x="943451" y="251936"/>
                  </a:cubicBezTo>
                  <a:cubicBezTo>
                    <a:pt x="942499" y="253841"/>
                    <a:pt x="941546" y="256699"/>
                    <a:pt x="939641" y="258604"/>
                  </a:cubicBezTo>
                  <a:lnTo>
                    <a:pt x="939641" y="258604"/>
                  </a:lnTo>
                  <a:close/>
                  <a:moveTo>
                    <a:pt x="944404" y="280511"/>
                  </a:moveTo>
                  <a:lnTo>
                    <a:pt x="943451" y="273844"/>
                  </a:lnTo>
                  <a:cubicBezTo>
                    <a:pt x="943451" y="272891"/>
                    <a:pt x="944404" y="271939"/>
                    <a:pt x="944404" y="270986"/>
                  </a:cubicBezTo>
                  <a:cubicBezTo>
                    <a:pt x="944404" y="270986"/>
                    <a:pt x="944404" y="271939"/>
                    <a:pt x="944404" y="271939"/>
                  </a:cubicBezTo>
                  <a:cubicBezTo>
                    <a:pt x="944404" y="272891"/>
                    <a:pt x="944404" y="274796"/>
                    <a:pt x="944404" y="275749"/>
                  </a:cubicBezTo>
                  <a:cubicBezTo>
                    <a:pt x="945356" y="277654"/>
                    <a:pt x="945356" y="279559"/>
                    <a:pt x="944404" y="280511"/>
                  </a:cubicBezTo>
                  <a:close/>
                  <a:moveTo>
                    <a:pt x="944404" y="270986"/>
                  </a:moveTo>
                  <a:cubicBezTo>
                    <a:pt x="944404" y="270986"/>
                    <a:pt x="944404" y="270986"/>
                    <a:pt x="944404" y="270986"/>
                  </a:cubicBezTo>
                  <a:cubicBezTo>
                    <a:pt x="945356" y="270986"/>
                    <a:pt x="945356" y="270986"/>
                    <a:pt x="944404" y="270986"/>
                  </a:cubicBezTo>
                  <a:cubicBezTo>
                    <a:pt x="945356" y="270986"/>
                    <a:pt x="944404" y="270986"/>
                    <a:pt x="944404" y="270986"/>
                  </a:cubicBezTo>
                  <a:close/>
                  <a:moveTo>
                    <a:pt x="933926" y="227171"/>
                  </a:moveTo>
                  <a:cubicBezTo>
                    <a:pt x="946309" y="185261"/>
                    <a:pt x="954881" y="153829"/>
                    <a:pt x="958691" y="138589"/>
                  </a:cubicBezTo>
                  <a:cubicBezTo>
                    <a:pt x="958691" y="141446"/>
                    <a:pt x="958691" y="143351"/>
                    <a:pt x="958691" y="146209"/>
                  </a:cubicBezTo>
                  <a:cubicBezTo>
                    <a:pt x="957739" y="159544"/>
                    <a:pt x="956786" y="179546"/>
                    <a:pt x="953929" y="203359"/>
                  </a:cubicBezTo>
                  <a:cubicBezTo>
                    <a:pt x="952976" y="215741"/>
                    <a:pt x="951071" y="228124"/>
                    <a:pt x="950119" y="242411"/>
                  </a:cubicBezTo>
                  <a:cubicBezTo>
                    <a:pt x="949166" y="243364"/>
                    <a:pt x="948214" y="245269"/>
                    <a:pt x="948214" y="246221"/>
                  </a:cubicBezTo>
                  <a:cubicBezTo>
                    <a:pt x="947261" y="244316"/>
                    <a:pt x="947261" y="241459"/>
                    <a:pt x="947261" y="240506"/>
                  </a:cubicBezTo>
                  <a:cubicBezTo>
                    <a:pt x="948214" y="235744"/>
                    <a:pt x="949166" y="233839"/>
                    <a:pt x="949166" y="233839"/>
                  </a:cubicBezTo>
                  <a:cubicBezTo>
                    <a:pt x="949166" y="233839"/>
                    <a:pt x="948214" y="235744"/>
                    <a:pt x="946309" y="238601"/>
                  </a:cubicBezTo>
                  <a:cubicBezTo>
                    <a:pt x="945356" y="232886"/>
                    <a:pt x="944404" y="230029"/>
                    <a:pt x="944404" y="230029"/>
                  </a:cubicBezTo>
                  <a:cubicBezTo>
                    <a:pt x="944404" y="230029"/>
                    <a:pt x="944404" y="233839"/>
                    <a:pt x="944404" y="241459"/>
                  </a:cubicBezTo>
                  <a:cubicBezTo>
                    <a:pt x="943451" y="244316"/>
                    <a:pt x="941546" y="248126"/>
                    <a:pt x="939641" y="251936"/>
                  </a:cubicBezTo>
                  <a:lnTo>
                    <a:pt x="938689" y="248126"/>
                  </a:lnTo>
                  <a:lnTo>
                    <a:pt x="936784" y="241459"/>
                  </a:lnTo>
                  <a:cubicBezTo>
                    <a:pt x="941546" y="226219"/>
                    <a:pt x="943451" y="217646"/>
                    <a:pt x="943451" y="217646"/>
                  </a:cubicBezTo>
                  <a:cubicBezTo>
                    <a:pt x="943451" y="217646"/>
                    <a:pt x="940594" y="224314"/>
                    <a:pt x="934879" y="235744"/>
                  </a:cubicBezTo>
                  <a:lnTo>
                    <a:pt x="932974" y="230029"/>
                  </a:lnTo>
                  <a:cubicBezTo>
                    <a:pt x="932974" y="230029"/>
                    <a:pt x="932974" y="228124"/>
                    <a:pt x="933926" y="227171"/>
                  </a:cubicBezTo>
                  <a:close/>
                  <a:moveTo>
                    <a:pt x="921544" y="452914"/>
                  </a:moveTo>
                  <a:cubicBezTo>
                    <a:pt x="921544" y="452914"/>
                    <a:pt x="920591" y="451961"/>
                    <a:pt x="920591" y="451961"/>
                  </a:cubicBezTo>
                  <a:cubicBezTo>
                    <a:pt x="920591" y="447199"/>
                    <a:pt x="920591" y="443389"/>
                    <a:pt x="919639" y="438626"/>
                  </a:cubicBezTo>
                  <a:cubicBezTo>
                    <a:pt x="920591" y="443389"/>
                    <a:pt x="921544" y="448151"/>
                    <a:pt x="921544" y="452914"/>
                  </a:cubicBezTo>
                  <a:close/>
                  <a:moveTo>
                    <a:pt x="912019" y="210979"/>
                  </a:moveTo>
                  <a:lnTo>
                    <a:pt x="915829" y="227171"/>
                  </a:lnTo>
                  <a:cubicBezTo>
                    <a:pt x="915829" y="228124"/>
                    <a:pt x="915829" y="229076"/>
                    <a:pt x="914876" y="230029"/>
                  </a:cubicBezTo>
                  <a:cubicBezTo>
                    <a:pt x="913924" y="231934"/>
                    <a:pt x="913924" y="234791"/>
                    <a:pt x="912971" y="236696"/>
                  </a:cubicBezTo>
                  <a:cubicBezTo>
                    <a:pt x="912971" y="235744"/>
                    <a:pt x="912019" y="233839"/>
                    <a:pt x="912019" y="232886"/>
                  </a:cubicBezTo>
                  <a:cubicBezTo>
                    <a:pt x="912019" y="231934"/>
                    <a:pt x="912019" y="230029"/>
                    <a:pt x="912019" y="228124"/>
                  </a:cubicBezTo>
                  <a:cubicBezTo>
                    <a:pt x="912019" y="222409"/>
                    <a:pt x="911066" y="216694"/>
                    <a:pt x="911066" y="210979"/>
                  </a:cubicBezTo>
                  <a:cubicBezTo>
                    <a:pt x="911066" y="209074"/>
                    <a:pt x="911066" y="206216"/>
                    <a:pt x="911066" y="204311"/>
                  </a:cubicBezTo>
                  <a:lnTo>
                    <a:pt x="912019" y="210979"/>
                  </a:lnTo>
                  <a:close/>
                  <a:moveTo>
                    <a:pt x="833914" y="333851"/>
                  </a:moveTo>
                  <a:cubicBezTo>
                    <a:pt x="833914" y="332899"/>
                    <a:pt x="833914" y="332899"/>
                    <a:pt x="834866" y="331946"/>
                  </a:cubicBezTo>
                  <a:cubicBezTo>
                    <a:pt x="834866" y="333851"/>
                    <a:pt x="834866" y="335756"/>
                    <a:pt x="834866" y="337661"/>
                  </a:cubicBezTo>
                  <a:cubicBezTo>
                    <a:pt x="834866" y="336709"/>
                    <a:pt x="833914" y="334804"/>
                    <a:pt x="833914" y="333851"/>
                  </a:cubicBezTo>
                  <a:close/>
                  <a:moveTo>
                    <a:pt x="847249" y="304324"/>
                  </a:moveTo>
                  <a:cubicBezTo>
                    <a:pt x="847249" y="303371"/>
                    <a:pt x="847249" y="302419"/>
                    <a:pt x="846296" y="301466"/>
                  </a:cubicBezTo>
                  <a:cubicBezTo>
                    <a:pt x="846296" y="300514"/>
                    <a:pt x="846296" y="300514"/>
                    <a:pt x="846296" y="299561"/>
                  </a:cubicBezTo>
                  <a:cubicBezTo>
                    <a:pt x="848201" y="294799"/>
                    <a:pt x="849154" y="290989"/>
                    <a:pt x="851059" y="286226"/>
                  </a:cubicBezTo>
                  <a:cubicBezTo>
                    <a:pt x="850106" y="292894"/>
                    <a:pt x="848201" y="298609"/>
                    <a:pt x="847249" y="304324"/>
                  </a:cubicBezTo>
                  <a:close/>
                  <a:moveTo>
                    <a:pt x="880586" y="300514"/>
                  </a:moveTo>
                  <a:cubicBezTo>
                    <a:pt x="878681" y="306229"/>
                    <a:pt x="877729" y="312896"/>
                    <a:pt x="876776" y="319564"/>
                  </a:cubicBezTo>
                  <a:cubicBezTo>
                    <a:pt x="874871" y="326231"/>
                    <a:pt x="873919" y="334804"/>
                    <a:pt x="872966" y="343376"/>
                  </a:cubicBezTo>
                  <a:cubicBezTo>
                    <a:pt x="872014" y="346234"/>
                    <a:pt x="870109" y="348139"/>
                    <a:pt x="869156" y="350996"/>
                  </a:cubicBezTo>
                  <a:cubicBezTo>
                    <a:pt x="869156" y="350996"/>
                    <a:pt x="868204" y="350044"/>
                    <a:pt x="868204" y="349091"/>
                  </a:cubicBezTo>
                  <a:cubicBezTo>
                    <a:pt x="868204" y="349091"/>
                    <a:pt x="868204" y="348139"/>
                    <a:pt x="867251" y="348139"/>
                  </a:cubicBezTo>
                  <a:cubicBezTo>
                    <a:pt x="867251" y="344329"/>
                    <a:pt x="867251" y="339566"/>
                    <a:pt x="867251" y="335756"/>
                  </a:cubicBezTo>
                  <a:cubicBezTo>
                    <a:pt x="867251" y="323374"/>
                    <a:pt x="867251" y="311944"/>
                    <a:pt x="866299" y="301466"/>
                  </a:cubicBezTo>
                  <a:cubicBezTo>
                    <a:pt x="866299" y="290989"/>
                    <a:pt x="864394" y="281464"/>
                    <a:pt x="863441" y="272891"/>
                  </a:cubicBezTo>
                  <a:cubicBezTo>
                    <a:pt x="862489" y="267176"/>
                    <a:pt x="862489" y="262414"/>
                    <a:pt x="861536" y="257651"/>
                  </a:cubicBezTo>
                  <a:cubicBezTo>
                    <a:pt x="861536" y="256699"/>
                    <a:pt x="861536" y="256699"/>
                    <a:pt x="862489" y="255746"/>
                  </a:cubicBezTo>
                  <a:cubicBezTo>
                    <a:pt x="862489" y="255746"/>
                    <a:pt x="862489" y="255746"/>
                    <a:pt x="862489" y="255746"/>
                  </a:cubicBezTo>
                  <a:cubicBezTo>
                    <a:pt x="867251" y="265271"/>
                    <a:pt x="871061" y="274796"/>
                    <a:pt x="876776" y="286226"/>
                  </a:cubicBezTo>
                  <a:cubicBezTo>
                    <a:pt x="878681" y="290036"/>
                    <a:pt x="880586" y="293846"/>
                    <a:pt x="881539" y="296704"/>
                  </a:cubicBezTo>
                  <a:cubicBezTo>
                    <a:pt x="881539" y="298609"/>
                    <a:pt x="881539" y="299561"/>
                    <a:pt x="880586" y="300514"/>
                  </a:cubicBezTo>
                  <a:close/>
                  <a:moveTo>
                    <a:pt x="885349" y="318611"/>
                  </a:moveTo>
                  <a:cubicBezTo>
                    <a:pt x="885349" y="318611"/>
                    <a:pt x="885349" y="319564"/>
                    <a:pt x="884396" y="319564"/>
                  </a:cubicBezTo>
                  <a:cubicBezTo>
                    <a:pt x="884396" y="319564"/>
                    <a:pt x="884396" y="320516"/>
                    <a:pt x="883444" y="320516"/>
                  </a:cubicBezTo>
                  <a:cubicBezTo>
                    <a:pt x="883444" y="313849"/>
                    <a:pt x="883444" y="308134"/>
                    <a:pt x="884396" y="303371"/>
                  </a:cubicBezTo>
                  <a:cubicBezTo>
                    <a:pt x="885349" y="305276"/>
                    <a:pt x="886301" y="308134"/>
                    <a:pt x="887254" y="310039"/>
                  </a:cubicBezTo>
                  <a:cubicBezTo>
                    <a:pt x="887254" y="312896"/>
                    <a:pt x="886301" y="315754"/>
                    <a:pt x="885349" y="318611"/>
                  </a:cubicBezTo>
                  <a:close/>
                  <a:moveTo>
                    <a:pt x="900589" y="246221"/>
                  </a:moveTo>
                  <a:cubicBezTo>
                    <a:pt x="900589" y="247174"/>
                    <a:pt x="899636" y="247174"/>
                    <a:pt x="900589" y="246221"/>
                  </a:cubicBezTo>
                  <a:cubicBezTo>
                    <a:pt x="899636" y="239554"/>
                    <a:pt x="898684" y="234791"/>
                    <a:pt x="898684" y="234791"/>
                  </a:cubicBezTo>
                  <a:cubicBezTo>
                    <a:pt x="898684" y="234791"/>
                    <a:pt x="898684" y="241459"/>
                    <a:pt x="897731" y="252889"/>
                  </a:cubicBezTo>
                  <a:cubicBezTo>
                    <a:pt x="897731" y="252889"/>
                    <a:pt x="897731" y="252889"/>
                    <a:pt x="897731" y="253841"/>
                  </a:cubicBezTo>
                  <a:cubicBezTo>
                    <a:pt x="895826" y="251936"/>
                    <a:pt x="894874" y="250031"/>
                    <a:pt x="894874" y="250031"/>
                  </a:cubicBezTo>
                  <a:cubicBezTo>
                    <a:pt x="894874" y="250031"/>
                    <a:pt x="895826" y="251936"/>
                    <a:pt x="897731" y="254794"/>
                  </a:cubicBezTo>
                  <a:cubicBezTo>
                    <a:pt x="897731" y="255746"/>
                    <a:pt x="897731" y="256699"/>
                    <a:pt x="897731" y="257651"/>
                  </a:cubicBezTo>
                  <a:cubicBezTo>
                    <a:pt x="897731" y="259556"/>
                    <a:pt x="897731" y="262414"/>
                    <a:pt x="896779" y="264319"/>
                  </a:cubicBezTo>
                  <a:cubicBezTo>
                    <a:pt x="896779" y="264319"/>
                    <a:pt x="896779" y="264319"/>
                    <a:pt x="896779" y="264319"/>
                  </a:cubicBezTo>
                  <a:cubicBezTo>
                    <a:pt x="896779" y="264319"/>
                    <a:pt x="896779" y="264319"/>
                    <a:pt x="896779" y="264319"/>
                  </a:cubicBezTo>
                  <a:cubicBezTo>
                    <a:pt x="896779" y="264319"/>
                    <a:pt x="896779" y="265271"/>
                    <a:pt x="896779" y="265271"/>
                  </a:cubicBezTo>
                  <a:cubicBezTo>
                    <a:pt x="896779" y="267176"/>
                    <a:pt x="896779" y="269081"/>
                    <a:pt x="896779" y="270986"/>
                  </a:cubicBezTo>
                  <a:cubicBezTo>
                    <a:pt x="896779" y="271939"/>
                    <a:pt x="896779" y="271939"/>
                    <a:pt x="896779" y="272891"/>
                  </a:cubicBezTo>
                  <a:cubicBezTo>
                    <a:pt x="896779" y="276701"/>
                    <a:pt x="895826" y="280511"/>
                    <a:pt x="895826" y="285274"/>
                  </a:cubicBezTo>
                  <a:cubicBezTo>
                    <a:pt x="895826" y="286226"/>
                    <a:pt x="895826" y="286226"/>
                    <a:pt x="895826" y="287179"/>
                  </a:cubicBezTo>
                  <a:cubicBezTo>
                    <a:pt x="893921" y="284321"/>
                    <a:pt x="892969" y="281464"/>
                    <a:pt x="891064" y="279559"/>
                  </a:cubicBezTo>
                  <a:cubicBezTo>
                    <a:pt x="885349" y="269081"/>
                    <a:pt x="879634" y="259556"/>
                    <a:pt x="873919" y="250984"/>
                  </a:cubicBezTo>
                  <a:cubicBezTo>
                    <a:pt x="872014" y="248126"/>
                    <a:pt x="871061" y="245269"/>
                    <a:pt x="869156" y="243364"/>
                  </a:cubicBezTo>
                  <a:cubicBezTo>
                    <a:pt x="869156" y="243364"/>
                    <a:pt x="869156" y="243364"/>
                    <a:pt x="869156" y="242411"/>
                  </a:cubicBezTo>
                  <a:cubicBezTo>
                    <a:pt x="872966" y="232886"/>
                    <a:pt x="875824" y="223361"/>
                    <a:pt x="878681" y="215741"/>
                  </a:cubicBezTo>
                  <a:cubicBezTo>
                    <a:pt x="881539" y="210979"/>
                    <a:pt x="884396" y="205264"/>
                    <a:pt x="887254" y="200501"/>
                  </a:cubicBezTo>
                  <a:lnTo>
                    <a:pt x="895826" y="223361"/>
                  </a:lnTo>
                  <a:lnTo>
                    <a:pt x="901541" y="240506"/>
                  </a:lnTo>
                  <a:cubicBezTo>
                    <a:pt x="900589" y="242411"/>
                    <a:pt x="900589" y="244316"/>
                    <a:pt x="900589" y="246221"/>
                  </a:cubicBezTo>
                  <a:close/>
                  <a:moveTo>
                    <a:pt x="891064" y="190976"/>
                  </a:moveTo>
                  <a:cubicBezTo>
                    <a:pt x="892016" y="190024"/>
                    <a:pt x="892969" y="188119"/>
                    <a:pt x="892969" y="187166"/>
                  </a:cubicBezTo>
                  <a:cubicBezTo>
                    <a:pt x="892969" y="189071"/>
                    <a:pt x="894874" y="194786"/>
                    <a:pt x="896779" y="202406"/>
                  </a:cubicBezTo>
                  <a:cubicBezTo>
                    <a:pt x="895826" y="199549"/>
                    <a:pt x="893921" y="195739"/>
                    <a:pt x="891064" y="190976"/>
                  </a:cubicBezTo>
                  <a:close/>
                  <a:moveTo>
                    <a:pt x="904399" y="181451"/>
                  </a:moveTo>
                  <a:cubicBezTo>
                    <a:pt x="904399" y="182404"/>
                    <a:pt x="904399" y="182404"/>
                    <a:pt x="904399" y="183356"/>
                  </a:cubicBezTo>
                  <a:cubicBezTo>
                    <a:pt x="904399" y="190976"/>
                    <a:pt x="903446" y="200501"/>
                    <a:pt x="903446" y="210979"/>
                  </a:cubicBezTo>
                  <a:cubicBezTo>
                    <a:pt x="903446" y="210979"/>
                    <a:pt x="903446" y="210026"/>
                    <a:pt x="903446" y="210026"/>
                  </a:cubicBezTo>
                  <a:cubicBezTo>
                    <a:pt x="898684" y="197644"/>
                    <a:pt x="894874" y="190024"/>
                    <a:pt x="894874" y="188119"/>
                  </a:cubicBezTo>
                  <a:cubicBezTo>
                    <a:pt x="897731" y="183356"/>
                    <a:pt x="900589" y="178594"/>
                    <a:pt x="903446" y="173831"/>
                  </a:cubicBezTo>
                  <a:lnTo>
                    <a:pt x="904399" y="181451"/>
                  </a:lnTo>
                  <a:close/>
                  <a:moveTo>
                    <a:pt x="888206" y="137636"/>
                  </a:moveTo>
                  <a:cubicBezTo>
                    <a:pt x="889159" y="135731"/>
                    <a:pt x="890111" y="134779"/>
                    <a:pt x="890111" y="132874"/>
                  </a:cubicBezTo>
                  <a:lnTo>
                    <a:pt x="898684" y="161449"/>
                  </a:lnTo>
                  <a:cubicBezTo>
                    <a:pt x="896779" y="163354"/>
                    <a:pt x="894874" y="166211"/>
                    <a:pt x="893921" y="168116"/>
                  </a:cubicBezTo>
                  <a:cubicBezTo>
                    <a:pt x="891064" y="171926"/>
                    <a:pt x="888206" y="175736"/>
                    <a:pt x="885349" y="180499"/>
                  </a:cubicBezTo>
                  <a:cubicBezTo>
                    <a:pt x="881539" y="174784"/>
                    <a:pt x="878681" y="169069"/>
                    <a:pt x="874871" y="163354"/>
                  </a:cubicBezTo>
                  <a:cubicBezTo>
                    <a:pt x="879634" y="154781"/>
                    <a:pt x="883444" y="146209"/>
                    <a:pt x="888206" y="137636"/>
                  </a:cubicBezTo>
                  <a:close/>
                  <a:moveTo>
                    <a:pt x="872966" y="169069"/>
                  </a:moveTo>
                  <a:lnTo>
                    <a:pt x="881539" y="188119"/>
                  </a:lnTo>
                  <a:cubicBezTo>
                    <a:pt x="880586" y="189071"/>
                    <a:pt x="879634" y="190976"/>
                    <a:pt x="878681" y="191929"/>
                  </a:cubicBezTo>
                  <a:cubicBezTo>
                    <a:pt x="871061" y="202406"/>
                    <a:pt x="864394" y="213836"/>
                    <a:pt x="856774" y="226219"/>
                  </a:cubicBezTo>
                  <a:cubicBezTo>
                    <a:pt x="854869" y="223361"/>
                    <a:pt x="852964" y="220504"/>
                    <a:pt x="851059" y="217646"/>
                  </a:cubicBezTo>
                  <a:cubicBezTo>
                    <a:pt x="858679" y="199549"/>
                    <a:pt x="865346" y="183356"/>
                    <a:pt x="872966" y="169069"/>
                  </a:cubicBezTo>
                  <a:close/>
                  <a:moveTo>
                    <a:pt x="847249" y="225266"/>
                  </a:moveTo>
                  <a:cubicBezTo>
                    <a:pt x="847249" y="224314"/>
                    <a:pt x="848201" y="223361"/>
                    <a:pt x="848201" y="223361"/>
                  </a:cubicBezTo>
                  <a:cubicBezTo>
                    <a:pt x="849154" y="226219"/>
                    <a:pt x="851059" y="229076"/>
                    <a:pt x="852011" y="232886"/>
                  </a:cubicBezTo>
                  <a:cubicBezTo>
                    <a:pt x="850106" y="236696"/>
                    <a:pt x="848201" y="239554"/>
                    <a:pt x="845344" y="243364"/>
                  </a:cubicBezTo>
                  <a:cubicBezTo>
                    <a:pt x="842486" y="248126"/>
                    <a:pt x="839629" y="252889"/>
                    <a:pt x="837724" y="256699"/>
                  </a:cubicBezTo>
                  <a:cubicBezTo>
                    <a:pt x="837724" y="254794"/>
                    <a:pt x="836771" y="252889"/>
                    <a:pt x="836771" y="250984"/>
                  </a:cubicBezTo>
                  <a:cubicBezTo>
                    <a:pt x="839629" y="242411"/>
                    <a:pt x="843439" y="233839"/>
                    <a:pt x="847249" y="225266"/>
                  </a:cubicBezTo>
                  <a:close/>
                  <a:moveTo>
                    <a:pt x="835819" y="195739"/>
                  </a:moveTo>
                  <a:cubicBezTo>
                    <a:pt x="835819" y="194786"/>
                    <a:pt x="835819" y="194786"/>
                    <a:pt x="835819" y="195739"/>
                  </a:cubicBezTo>
                  <a:cubicBezTo>
                    <a:pt x="836771" y="196691"/>
                    <a:pt x="838676" y="200501"/>
                    <a:pt x="840581" y="206216"/>
                  </a:cubicBezTo>
                  <a:cubicBezTo>
                    <a:pt x="838676" y="210979"/>
                    <a:pt x="835819" y="214789"/>
                    <a:pt x="833914" y="219551"/>
                  </a:cubicBezTo>
                  <a:cubicBezTo>
                    <a:pt x="833914" y="220504"/>
                    <a:pt x="832961" y="220504"/>
                    <a:pt x="832961" y="221456"/>
                  </a:cubicBezTo>
                  <a:cubicBezTo>
                    <a:pt x="833914" y="211931"/>
                    <a:pt x="834866" y="203359"/>
                    <a:pt x="835819" y="195739"/>
                  </a:cubicBezTo>
                  <a:close/>
                  <a:moveTo>
                    <a:pt x="826294" y="274796"/>
                  </a:moveTo>
                  <a:cubicBezTo>
                    <a:pt x="827246" y="273844"/>
                    <a:pt x="827246" y="271939"/>
                    <a:pt x="828199" y="270986"/>
                  </a:cubicBezTo>
                  <a:cubicBezTo>
                    <a:pt x="828199" y="271939"/>
                    <a:pt x="828199" y="272891"/>
                    <a:pt x="828199" y="272891"/>
                  </a:cubicBezTo>
                  <a:cubicBezTo>
                    <a:pt x="827246" y="273844"/>
                    <a:pt x="826294" y="275749"/>
                    <a:pt x="826294" y="276701"/>
                  </a:cubicBezTo>
                  <a:cubicBezTo>
                    <a:pt x="826294" y="275749"/>
                    <a:pt x="826294" y="274796"/>
                    <a:pt x="826294" y="274796"/>
                  </a:cubicBezTo>
                  <a:close/>
                  <a:moveTo>
                    <a:pt x="812006" y="448151"/>
                  </a:moveTo>
                  <a:cubicBezTo>
                    <a:pt x="812006" y="448151"/>
                    <a:pt x="812006" y="448151"/>
                    <a:pt x="812006" y="448151"/>
                  </a:cubicBezTo>
                  <a:cubicBezTo>
                    <a:pt x="812006" y="448151"/>
                    <a:pt x="812006" y="448151"/>
                    <a:pt x="812006" y="448151"/>
                  </a:cubicBezTo>
                  <a:cubicBezTo>
                    <a:pt x="812006" y="448151"/>
                    <a:pt x="812006" y="448151"/>
                    <a:pt x="812006" y="448151"/>
                  </a:cubicBezTo>
                  <a:close/>
                  <a:moveTo>
                    <a:pt x="785336" y="330041"/>
                  </a:moveTo>
                  <a:cubicBezTo>
                    <a:pt x="784384" y="329089"/>
                    <a:pt x="783431" y="327184"/>
                    <a:pt x="782479" y="325279"/>
                  </a:cubicBezTo>
                  <a:cubicBezTo>
                    <a:pt x="782479" y="321469"/>
                    <a:pt x="782479" y="318611"/>
                    <a:pt x="782479" y="315754"/>
                  </a:cubicBezTo>
                  <a:cubicBezTo>
                    <a:pt x="783431" y="319564"/>
                    <a:pt x="785336" y="322421"/>
                    <a:pt x="786289" y="326231"/>
                  </a:cubicBezTo>
                  <a:cubicBezTo>
                    <a:pt x="786289" y="328136"/>
                    <a:pt x="785336" y="329089"/>
                    <a:pt x="785336" y="330041"/>
                  </a:cubicBezTo>
                  <a:close/>
                  <a:moveTo>
                    <a:pt x="797719" y="271939"/>
                  </a:moveTo>
                  <a:cubicBezTo>
                    <a:pt x="799624" y="276701"/>
                    <a:pt x="801529" y="281464"/>
                    <a:pt x="803434" y="286226"/>
                  </a:cubicBezTo>
                  <a:cubicBezTo>
                    <a:pt x="803434" y="287179"/>
                    <a:pt x="802481" y="288131"/>
                    <a:pt x="802481" y="288131"/>
                  </a:cubicBezTo>
                  <a:cubicBezTo>
                    <a:pt x="799624" y="295751"/>
                    <a:pt x="796766" y="302419"/>
                    <a:pt x="792956" y="310039"/>
                  </a:cubicBezTo>
                  <a:cubicBezTo>
                    <a:pt x="792956" y="310039"/>
                    <a:pt x="792956" y="310039"/>
                    <a:pt x="792956" y="309086"/>
                  </a:cubicBezTo>
                  <a:cubicBezTo>
                    <a:pt x="791051" y="305276"/>
                    <a:pt x="789146" y="300514"/>
                    <a:pt x="787241" y="296704"/>
                  </a:cubicBezTo>
                  <a:cubicBezTo>
                    <a:pt x="790099" y="285274"/>
                    <a:pt x="792956" y="274796"/>
                    <a:pt x="795814" y="266224"/>
                  </a:cubicBezTo>
                  <a:cubicBezTo>
                    <a:pt x="796766" y="269081"/>
                    <a:pt x="796766" y="270034"/>
                    <a:pt x="797719" y="271939"/>
                  </a:cubicBezTo>
                  <a:close/>
                  <a:moveTo>
                    <a:pt x="790099" y="253841"/>
                  </a:moveTo>
                  <a:cubicBezTo>
                    <a:pt x="791051" y="255746"/>
                    <a:pt x="792004" y="258604"/>
                    <a:pt x="793909" y="261461"/>
                  </a:cubicBezTo>
                  <a:cubicBezTo>
                    <a:pt x="793909" y="261461"/>
                    <a:pt x="793909" y="261461"/>
                    <a:pt x="793909" y="262414"/>
                  </a:cubicBezTo>
                  <a:cubicBezTo>
                    <a:pt x="791051" y="269081"/>
                    <a:pt x="788194" y="276701"/>
                    <a:pt x="784384" y="286226"/>
                  </a:cubicBezTo>
                  <a:cubicBezTo>
                    <a:pt x="784384" y="282416"/>
                    <a:pt x="784384" y="277654"/>
                    <a:pt x="785336" y="273844"/>
                  </a:cubicBezTo>
                  <a:cubicBezTo>
                    <a:pt x="786289" y="267176"/>
                    <a:pt x="788194" y="260509"/>
                    <a:pt x="790099" y="253841"/>
                  </a:cubicBezTo>
                  <a:close/>
                  <a:moveTo>
                    <a:pt x="773906" y="236696"/>
                  </a:moveTo>
                  <a:cubicBezTo>
                    <a:pt x="774859" y="229076"/>
                    <a:pt x="775811" y="221456"/>
                    <a:pt x="776764" y="213836"/>
                  </a:cubicBezTo>
                  <a:cubicBezTo>
                    <a:pt x="778669" y="218599"/>
                    <a:pt x="781526" y="223361"/>
                    <a:pt x="783431" y="229076"/>
                  </a:cubicBezTo>
                  <a:cubicBezTo>
                    <a:pt x="782479" y="230981"/>
                    <a:pt x="781526" y="233839"/>
                    <a:pt x="780574" y="235744"/>
                  </a:cubicBezTo>
                  <a:cubicBezTo>
                    <a:pt x="778669" y="233839"/>
                    <a:pt x="777716" y="231934"/>
                    <a:pt x="777716" y="231934"/>
                  </a:cubicBezTo>
                  <a:cubicBezTo>
                    <a:pt x="777716" y="231934"/>
                    <a:pt x="778669" y="233839"/>
                    <a:pt x="780574" y="236696"/>
                  </a:cubicBezTo>
                  <a:cubicBezTo>
                    <a:pt x="778669" y="242411"/>
                    <a:pt x="775811" y="249079"/>
                    <a:pt x="773906" y="255746"/>
                  </a:cubicBezTo>
                  <a:cubicBezTo>
                    <a:pt x="773906" y="249079"/>
                    <a:pt x="773906" y="242411"/>
                    <a:pt x="773906" y="236696"/>
                  </a:cubicBezTo>
                  <a:close/>
                  <a:moveTo>
                    <a:pt x="724376" y="219551"/>
                  </a:moveTo>
                  <a:cubicBezTo>
                    <a:pt x="725329" y="212884"/>
                    <a:pt x="726281" y="207169"/>
                    <a:pt x="726281" y="203359"/>
                  </a:cubicBezTo>
                  <a:cubicBezTo>
                    <a:pt x="726281" y="210026"/>
                    <a:pt x="726281" y="218599"/>
                    <a:pt x="726281" y="229076"/>
                  </a:cubicBezTo>
                  <a:cubicBezTo>
                    <a:pt x="725329" y="226219"/>
                    <a:pt x="724376" y="224314"/>
                    <a:pt x="723424" y="223361"/>
                  </a:cubicBezTo>
                  <a:cubicBezTo>
                    <a:pt x="723424" y="222409"/>
                    <a:pt x="723424" y="220504"/>
                    <a:pt x="724376" y="219551"/>
                  </a:cubicBezTo>
                  <a:close/>
                  <a:moveTo>
                    <a:pt x="723424" y="224314"/>
                  </a:moveTo>
                  <a:cubicBezTo>
                    <a:pt x="723424" y="226219"/>
                    <a:pt x="724376" y="230029"/>
                    <a:pt x="724376" y="235744"/>
                  </a:cubicBezTo>
                  <a:cubicBezTo>
                    <a:pt x="725329" y="239554"/>
                    <a:pt x="725329" y="245269"/>
                    <a:pt x="726281" y="250984"/>
                  </a:cubicBezTo>
                  <a:cubicBezTo>
                    <a:pt x="726281" y="250984"/>
                    <a:pt x="726281" y="250984"/>
                    <a:pt x="726281" y="251936"/>
                  </a:cubicBezTo>
                  <a:cubicBezTo>
                    <a:pt x="726281" y="259556"/>
                    <a:pt x="726281" y="268129"/>
                    <a:pt x="727234" y="276701"/>
                  </a:cubicBezTo>
                  <a:cubicBezTo>
                    <a:pt x="727234" y="280511"/>
                    <a:pt x="727234" y="284321"/>
                    <a:pt x="727234" y="288131"/>
                  </a:cubicBezTo>
                  <a:cubicBezTo>
                    <a:pt x="726281" y="286226"/>
                    <a:pt x="726281" y="285274"/>
                    <a:pt x="725329" y="284321"/>
                  </a:cubicBezTo>
                  <a:cubicBezTo>
                    <a:pt x="722471" y="275749"/>
                    <a:pt x="720566" y="268129"/>
                    <a:pt x="717709" y="260509"/>
                  </a:cubicBezTo>
                  <a:cubicBezTo>
                    <a:pt x="719614" y="246221"/>
                    <a:pt x="721519" y="233839"/>
                    <a:pt x="723424" y="224314"/>
                  </a:cubicBezTo>
                  <a:close/>
                  <a:moveTo>
                    <a:pt x="710089" y="308134"/>
                  </a:moveTo>
                  <a:cubicBezTo>
                    <a:pt x="710089" y="311944"/>
                    <a:pt x="711041" y="315754"/>
                    <a:pt x="711041" y="320516"/>
                  </a:cubicBezTo>
                  <a:cubicBezTo>
                    <a:pt x="712946" y="336709"/>
                    <a:pt x="714851" y="354806"/>
                    <a:pt x="717709" y="373856"/>
                  </a:cubicBezTo>
                  <a:cubicBezTo>
                    <a:pt x="715804" y="378619"/>
                    <a:pt x="712946" y="384334"/>
                    <a:pt x="711041" y="389096"/>
                  </a:cubicBezTo>
                  <a:cubicBezTo>
                    <a:pt x="710089" y="387191"/>
                    <a:pt x="710089" y="385286"/>
                    <a:pt x="709136" y="383381"/>
                  </a:cubicBezTo>
                  <a:cubicBezTo>
                    <a:pt x="710089" y="379571"/>
                    <a:pt x="710089" y="375761"/>
                    <a:pt x="711041" y="372904"/>
                  </a:cubicBezTo>
                  <a:cubicBezTo>
                    <a:pt x="712946" y="359569"/>
                    <a:pt x="713899" y="352901"/>
                    <a:pt x="713899" y="352901"/>
                  </a:cubicBezTo>
                  <a:cubicBezTo>
                    <a:pt x="713899" y="352901"/>
                    <a:pt x="711994" y="360521"/>
                    <a:pt x="707231" y="372904"/>
                  </a:cubicBezTo>
                  <a:cubicBezTo>
                    <a:pt x="707231" y="373856"/>
                    <a:pt x="706279" y="374809"/>
                    <a:pt x="706279" y="374809"/>
                  </a:cubicBezTo>
                  <a:cubicBezTo>
                    <a:pt x="704374" y="369094"/>
                    <a:pt x="702469" y="363379"/>
                    <a:pt x="701516" y="357664"/>
                  </a:cubicBezTo>
                  <a:cubicBezTo>
                    <a:pt x="701516" y="357664"/>
                    <a:pt x="701516" y="357664"/>
                    <a:pt x="701516" y="357664"/>
                  </a:cubicBezTo>
                  <a:cubicBezTo>
                    <a:pt x="704374" y="339566"/>
                    <a:pt x="707231" y="323374"/>
                    <a:pt x="710089" y="308134"/>
                  </a:cubicBezTo>
                  <a:close/>
                  <a:moveTo>
                    <a:pt x="676751" y="253841"/>
                  </a:moveTo>
                  <a:cubicBezTo>
                    <a:pt x="676751" y="250984"/>
                    <a:pt x="676751" y="249079"/>
                    <a:pt x="676751" y="246221"/>
                  </a:cubicBezTo>
                  <a:cubicBezTo>
                    <a:pt x="677704" y="237649"/>
                    <a:pt x="678656" y="229076"/>
                    <a:pt x="679609" y="220504"/>
                  </a:cubicBezTo>
                  <a:cubicBezTo>
                    <a:pt x="680561" y="206216"/>
                    <a:pt x="681514" y="192881"/>
                    <a:pt x="682466" y="181451"/>
                  </a:cubicBezTo>
                  <a:cubicBezTo>
                    <a:pt x="682466" y="180499"/>
                    <a:pt x="682466" y="179546"/>
                    <a:pt x="682466" y="178594"/>
                  </a:cubicBezTo>
                  <a:cubicBezTo>
                    <a:pt x="687229" y="193834"/>
                    <a:pt x="691039" y="211931"/>
                    <a:pt x="696754" y="231934"/>
                  </a:cubicBezTo>
                  <a:cubicBezTo>
                    <a:pt x="699611" y="243364"/>
                    <a:pt x="702469" y="254794"/>
                    <a:pt x="705326" y="267176"/>
                  </a:cubicBezTo>
                  <a:cubicBezTo>
                    <a:pt x="704374" y="269081"/>
                    <a:pt x="704374" y="271939"/>
                    <a:pt x="703421" y="273844"/>
                  </a:cubicBezTo>
                  <a:cubicBezTo>
                    <a:pt x="700564" y="284321"/>
                    <a:pt x="697706" y="295751"/>
                    <a:pt x="694849" y="307181"/>
                  </a:cubicBezTo>
                  <a:cubicBezTo>
                    <a:pt x="693896" y="309086"/>
                    <a:pt x="693896" y="311944"/>
                    <a:pt x="692944" y="313849"/>
                  </a:cubicBezTo>
                  <a:cubicBezTo>
                    <a:pt x="691991" y="316706"/>
                    <a:pt x="691039" y="319564"/>
                    <a:pt x="690086" y="322421"/>
                  </a:cubicBezTo>
                  <a:cubicBezTo>
                    <a:pt x="684371" y="305276"/>
                    <a:pt x="679609" y="290036"/>
                    <a:pt x="673894" y="274796"/>
                  </a:cubicBezTo>
                  <a:cubicBezTo>
                    <a:pt x="675799" y="268129"/>
                    <a:pt x="676751" y="260509"/>
                    <a:pt x="676751" y="253841"/>
                  </a:cubicBezTo>
                  <a:close/>
                  <a:moveTo>
                    <a:pt x="668179" y="331946"/>
                  </a:moveTo>
                  <a:cubicBezTo>
                    <a:pt x="668179" y="330994"/>
                    <a:pt x="668179" y="330994"/>
                    <a:pt x="668179" y="330041"/>
                  </a:cubicBezTo>
                  <a:cubicBezTo>
                    <a:pt x="668179" y="331946"/>
                    <a:pt x="669131" y="332899"/>
                    <a:pt x="669131" y="334804"/>
                  </a:cubicBezTo>
                  <a:cubicBezTo>
                    <a:pt x="670084" y="338614"/>
                    <a:pt x="671036" y="342424"/>
                    <a:pt x="671989" y="346234"/>
                  </a:cubicBezTo>
                  <a:cubicBezTo>
                    <a:pt x="672941" y="350044"/>
                    <a:pt x="673894" y="354806"/>
                    <a:pt x="674846" y="359569"/>
                  </a:cubicBezTo>
                  <a:cubicBezTo>
                    <a:pt x="675799" y="363379"/>
                    <a:pt x="676751" y="367189"/>
                    <a:pt x="676751" y="370999"/>
                  </a:cubicBezTo>
                  <a:cubicBezTo>
                    <a:pt x="676751" y="371951"/>
                    <a:pt x="675799" y="372904"/>
                    <a:pt x="675799" y="373856"/>
                  </a:cubicBezTo>
                  <a:cubicBezTo>
                    <a:pt x="675799" y="374809"/>
                    <a:pt x="674846" y="375761"/>
                    <a:pt x="674846" y="377666"/>
                  </a:cubicBezTo>
                  <a:cubicBezTo>
                    <a:pt x="672941" y="374809"/>
                    <a:pt x="671989" y="370999"/>
                    <a:pt x="670084" y="368141"/>
                  </a:cubicBezTo>
                  <a:cubicBezTo>
                    <a:pt x="668179" y="364331"/>
                    <a:pt x="666274" y="361474"/>
                    <a:pt x="664369" y="358616"/>
                  </a:cubicBezTo>
                  <a:cubicBezTo>
                    <a:pt x="665321" y="349091"/>
                    <a:pt x="667226" y="340519"/>
                    <a:pt x="668179" y="331946"/>
                  </a:cubicBezTo>
                  <a:close/>
                  <a:moveTo>
                    <a:pt x="656749" y="266224"/>
                  </a:moveTo>
                  <a:cubicBezTo>
                    <a:pt x="656749" y="266224"/>
                    <a:pt x="656749" y="267176"/>
                    <a:pt x="656749" y="267176"/>
                  </a:cubicBezTo>
                  <a:cubicBezTo>
                    <a:pt x="656749" y="268129"/>
                    <a:pt x="656749" y="269081"/>
                    <a:pt x="656749" y="269081"/>
                  </a:cubicBezTo>
                  <a:cubicBezTo>
                    <a:pt x="656749" y="268129"/>
                    <a:pt x="656749" y="267176"/>
                    <a:pt x="656749" y="266224"/>
                  </a:cubicBezTo>
                  <a:close/>
                  <a:moveTo>
                    <a:pt x="608171" y="318611"/>
                  </a:moveTo>
                  <a:cubicBezTo>
                    <a:pt x="609124" y="305276"/>
                    <a:pt x="611029" y="291941"/>
                    <a:pt x="611981" y="279559"/>
                  </a:cubicBezTo>
                  <a:cubicBezTo>
                    <a:pt x="612934" y="282416"/>
                    <a:pt x="612934" y="285274"/>
                    <a:pt x="613886" y="288131"/>
                  </a:cubicBezTo>
                  <a:cubicBezTo>
                    <a:pt x="614839" y="301466"/>
                    <a:pt x="615791" y="314801"/>
                    <a:pt x="615791" y="327184"/>
                  </a:cubicBezTo>
                  <a:cubicBezTo>
                    <a:pt x="615791" y="329089"/>
                    <a:pt x="615791" y="330041"/>
                    <a:pt x="615791" y="331946"/>
                  </a:cubicBezTo>
                  <a:cubicBezTo>
                    <a:pt x="615791" y="333851"/>
                    <a:pt x="615791" y="335756"/>
                    <a:pt x="615791" y="337661"/>
                  </a:cubicBezTo>
                  <a:cubicBezTo>
                    <a:pt x="614839" y="336709"/>
                    <a:pt x="613886" y="334804"/>
                    <a:pt x="613886" y="333851"/>
                  </a:cubicBezTo>
                  <a:cubicBezTo>
                    <a:pt x="611981" y="330041"/>
                    <a:pt x="609124" y="325279"/>
                    <a:pt x="607219" y="321469"/>
                  </a:cubicBezTo>
                  <a:cubicBezTo>
                    <a:pt x="608171" y="320516"/>
                    <a:pt x="608171" y="319564"/>
                    <a:pt x="608171" y="318611"/>
                  </a:cubicBezTo>
                  <a:close/>
                  <a:moveTo>
                    <a:pt x="606266" y="341471"/>
                  </a:moveTo>
                  <a:cubicBezTo>
                    <a:pt x="609124" y="349091"/>
                    <a:pt x="612934" y="356711"/>
                    <a:pt x="615791" y="364331"/>
                  </a:cubicBezTo>
                  <a:cubicBezTo>
                    <a:pt x="615791" y="364331"/>
                    <a:pt x="615791" y="365284"/>
                    <a:pt x="615791" y="365284"/>
                  </a:cubicBezTo>
                  <a:cubicBezTo>
                    <a:pt x="614839" y="368141"/>
                    <a:pt x="612934" y="371951"/>
                    <a:pt x="611029" y="375761"/>
                  </a:cubicBezTo>
                  <a:cubicBezTo>
                    <a:pt x="610076" y="371951"/>
                    <a:pt x="609124" y="367189"/>
                    <a:pt x="608171" y="363379"/>
                  </a:cubicBezTo>
                  <a:cubicBezTo>
                    <a:pt x="607219" y="358616"/>
                    <a:pt x="606266" y="354806"/>
                    <a:pt x="605314" y="350996"/>
                  </a:cubicBezTo>
                  <a:cubicBezTo>
                    <a:pt x="605314" y="348139"/>
                    <a:pt x="605314" y="344329"/>
                    <a:pt x="606266" y="341471"/>
                  </a:cubicBezTo>
                  <a:close/>
                  <a:moveTo>
                    <a:pt x="606266" y="424339"/>
                  </a:moveTo>
                  <a:cubicBezTo>
                    <a:pt x="607219" y="427196"/>
                    <a:pt x="608171" y="430054"/>
                    <a:pt x="609124" y="433864"/>
                  </a:cubicBezTo>
                  <a:cubicBezTo>
                    <a:pt x="608171" y="434816"/>
                    <a:pt x="608171" y="435769"/>
                    <a:pt x="607219" y="436721"/>
                  </a:cubicBezTo>
                  <a:lnTo>
                    <a:pt x="601504" y="435769"/>
                  </a:lnTo>
                  <a:cubicBezTo>
                    <a:pt x="604361" y="432911"/>
                    <a:pt x="605314" y="428149"/>
                    <a:pt x="606266" y="424339"/>
                  </a:cubicBezTo>
                  <a:close/>
                  <a:moveTo>
                    <a:pt x="599599" y="401479"/>
                  </a:moveTo>
                  <a:cubicBezTo>
                    <a:pt x="599599" y="402431"/>
                    <a:pt x="599599" y="402431"/>
                    <a:pt x="599599" y="401479"/>
                  </a:cubicBezTo>
                  <a:cubicBezTo>
                    <a:pt x="599599" y="402431"/>
                    <a:pt x="599599" y="403384"/>
                    <a:pt x="599599" y="403384"/>
                  </a:cubicBezTo>
                  <a:cubicBezTo>
                    <a:pt x="599599" y="403384"/>
                    <a:pt x="599599" y="402431"/>
                    <a:pt x="599599" y="401479"/>
                  </a:cubicBezTo>
                  <a:close/>
                  <a:moveTo>
                    <a:pt x="587216" y="300514"/>
                  </a:moveTo>
                  <a:cubicBezTo>
                    <a:pt x="588169" y="303371"/>
                    <a:pt x="590074" y="307181"/>
                    <a:pt x="591979" y="310039"/>
                  </a:cubicBezTo>
                  <a:cubicBezTo>
                    <a:pt x="591979" y="311944"/>
                    <a:pt x="591026" y="314801"/>
                    <a:pt x="591026" y="316706"/>
                  </a:cubicBezTo>
                  <a:cubicBezTo>
                    <a:pt x="591026" y="316706"/>
                    <a:pt x="591026" y="316706"/>
                    <a:pt x="591026" y="316706"/>
                  </a:cubicBezTo>
                  <a:cubicBezTo>
                    <a:pt x="591026" y="317659"/>
                    <a:pt x="590074" y="318611"/>
                    <a:pt x="590074" y="319564"/>
                  </a:cubicBezTo>
                  <a:cubicBezTo>
                    <a:pt x="589121" y="316706"/>
                    <a:pt x="588169" y="313849"/>
                    <a:pt x="587216" y="311944"/>
                  </a:cubicBezTo>
                  <a:cubicBezTo>
                    <a:pt x="587216" y="308134"/>
                    <a:pt x="587216" y="303371"/>
                    <a:pt x="586264" y="299561"/>
                  </a:cubicBezTo>
                  <a:cubicBezTo>
                    <a:pt x="586264" y="299561"/>
                    <a:pt x="586264" y="299561"/>
                    <a:pt x="587216" y="300514"/>
                  </a:cubicBezTo>
                  <a:close/>
                  <a:moveTo>
                    <a:pt x="553879" y="257651"/>
                  </a:moveTo>
                  <a:cubicBezTo>
                    <a:pt x="554831" y="249079"/>
                    <a:pt x="554831" y="241459"/>
                    <a:pt x="555784" y="233839"/>
                  </a:cubicBezTo>
                  <a:cubicBezTo>
                    <a:pt x="556736" y="238601"/>
                    <a:pt x="557689" y="243364"/>
                    <a:pt x="558641" y="249079"/>
                  </a:cubicBezTo>
                  <a:cubicBezTo>
                    <a:pt x="557689" y="247174"/>
                    <a:pt x="556736" y="247174"/>
                    <a:pt x="556736" y="247174"/>
                  </a:cubicBezTo>
                  <a:cubicBezTo>
                    <a:pt x="556736" y="247174"/>
                    <a:pt x="557689" y="248126"/>
                    <a:pt x="558641" y="250984"/>
                  </a:cubicBezTo>
                  <a:cubicBezTo>
                    <a:pt x="561499" y="264319"/>
                    <a:pt x="565309" y="280511"/>
                    <a:pt x="570071" y="297656"/>
                  </a:cubicBezTo>
                  <a:cubicBezTo>
                    <a:pt x="570071" y="299561"/>
                    <a:pt x="571024" y="301466"/>
                    <a:pt x="571976" y="303371"/>
                  </a:cubicBezTo>
                  <a:cubicBezTo>
                    <a:pt x="571024" y="306229"/>
                    <a:pt x="570071" y="310039"/>
                    <a:pt x="569119" y="312896"/>
                  </a:cubicBezTo>
                  <a:cubicBezTo>
                    <a:pt x="567214" y="307181"/>
                    <a:pt x="566261" y="301466"/>
                    <a:pt x="564356" y="295751"/>
                  </a:cubicBezTo>
                  <a:cubicBezTo>
                    <a:pt x="560546" y="285274"/>
                    <a:pt x="557689" y="274796"/>
                    <a:pt x="553879" y="266224"/>
                  </a:cubicBezTo>
                  <a:cubicBezTo>
                    <a:pt x="553879" y="263366"/>
                    <a:pt x="553879" y="260509"/>
                    <a:pt x="553879" y="257651"/>
                  </a:cubicBezTo>
                  <a:close/>
                  <a:moveTo>
                    <a:pt x="551974" y="295751"/>
                  </a:moveTo>
                  <a:cubicBezTo>
                    <a:pt x="551974" y="294799"/>
                    <a:pt x="551974" y="294799"/>
                    <a:pt x="551974" y="295751"/>
                  </a:cubicBezTo>
                  <a:cubicBezTo>
                    <a:pt x="551974" y="295751"/>
                    <a:pt x="552926" y="297656"/>
                    <a:pt x="552926" y="298609"/>
                  </a:cubicBezTo>
                  <a:cubicBezTo>
                    <a:pt x="554831" y="304324"/>
                    <a:pt x="555784" y="310991"/>
                    <a:pt x="556736" y="317659"/>
                  </a:cubicBezTo>
                  <a:cubicBezTo>
                    <a:pt x="556736" y="318611"/>
                    <a:pt x="556736" y="319564"/>
                    <a:pt x="557689" y="321469"/>
                  </a:cubicBezTo>
                  <a:cubicBezTo>
                    <a:pt x="557689" y="321469"/>
                    <a:pt x="557689" y="321469"/>
                    <a:pt x="557689" y="322421"/>
                  </a:cubicBezTo>
                  <a:cubicBezTo>
                    <a:pt x="557689" y="323374"/>
                    <a:pt x="557689" y="324326"/>
                    <a:pt x="557689" y="326231"/>
                  </a:cubicBezTo>
                  <a:cubicBezTo>
                    <a:pt x="555784" y="319564"/>
                    <a:pt x="553879" y="312896"/>
                    <a:pt x="552926" y="306229"/>
                  </a:cubicBezTo>
                  <a:cubicBezTo>
                    <a:pt x="551974" y="301466"/>
                    <a:pt x="551974" y="298609"/>
                    <a:pt x="551974" y="295751"/>
                  </a:cubicBezTo>
                  <a:close/>
                  <a:moveTo>
                    <a:pt x="529114" y="290036"/>
                  </a:moveTo>
                  <a:cubicBezTo>
                    <a:pt x="529114" y="290036"/>
                    <a:pt x="529114" y="290989"/>
                    <a:pt x="529114" y="290036"/>
                  </a:cubicBezTo>
                  <a:cubicBezTo>
                    <a:pt x="529114" y="290989"/>
                    <a:pt x="529114" y="290989"/>
                    <a:pt x="529114" y="290036"/>
                  </a:cubicBezTo>
                  <a:cubicBezTo>
                    <a:pt x="529114" y="290989"/>
                    <a:pt x="529114" y="290036"/>
                    <a:pt x="529114" y="290036"/>
                  </a:cubicBezTo>
                  <a:close/>
                  <a:moveTo>
                    <a:pt x="522446" y="336709"/>
                  </a:moveTo>
                  <a:cubicBezTo>
                    <a:pt x="522446" y="333851"/>
                    <a:pt x="523399" y="331946"/>
                    <a:pt x="523399" y="329089"/>
                  </a:cubicBezTo>
                  <a:cubicBezTo>
                    <a:pt x="524351" y="331946"/>
                    <a:pt x="525304" y="333851"/>
                    <a:pt x="526256" y="336709"/>
                  </a:cubicBezTo>
                  <a:cubicBezTo>
                    <a:pt x="528161" y="341471"/>
                    <a:pt x="530066" y="346234"/>
                    <a:pt x="531019" y="350996"/>
                  </a:cubicBezTo>
                  <a:cubicBezTo>
                    <a:pt x="531019" y="358616"/>
                    <a:pt x="531019" y="366236"/>
                    <a:pt x="531971" y="374809"/>
                  </a:cubicBezTo>
                  <a:cubicBezTo>
                    <a:pt x="531971" y="384334"/>
                    <a:pt x="532924" y="393859"/>
                    <a:pt x="533876" y="403384"/>
                  </a:cubicBezTo>
                  <a:cubicBezTo>
                    <a:pt x="530066" y="397669"/>
                    <a:pt x="528161" y="394811"/>
                    <a:pt x="528161" y="394811"/>
                  </a:cubicBezTo>
                  <a:cubicBezTo>
                    <a:pt x="528161" y="394811"/>
                    <a:pt x="530066" y="400526"/>
                    <a:pt x="532924" y="410051"/>
                  </a:cubicBezTo>
                  <a:cubicBezTo>
                    <a:pt x="533876" y="411956"/>
                    <a:pt x="534829" y="414814"/>
                    <a:pt x="534829" y="417671"/>
                  </a:cubicBezTo>
                  <a:cubicBezTo>
                    <a:pt x="534829" y="421481"/>
                    <a:pt x="535781" y="426244"/>
                    <a:pt x="535781" y="430054"/>
                  </a:cubicBezTo>
                  <a:lnTo>
                    <a:pt x="523399" y="428149"/>
                  </a:lnTo>
                  <a:cubicBezTo>
                    <a:pt x="523399" y="428149"/>
                    <a:pt x="522446" y="427196"/>
                    <a:pt x="522446" y="427196"/>
                  </a:cubicBezTo>
                  <a:cubicBezTo>
                    <a:pt x="522446" y="426244"/>
                    <a:pt x="522446" y="424339"/>
                    <a:pt x="522446" y="423386"/>
                  </a:cubicBezTo>
                  <a:cubicBezTo>
                    <a:pt x="525304" y="414814"/>
                    <a:pt x="527209" y="410051"/>
                    <a:pt x="527209" y="410051"/>
                  </a:cubicBezTo>
                  <a:cubicBezTo>
                    <a:pt x="527209" y="410051"/>
                    <a:pt x="525304" y="412909"/>
                    <a:pt x="522446" y="418624"/>
                  </a:cubicBezTo>
                  <a:cubicBezTo>
                    <a:pt x="522446" y="413861"/>
                    <a:pt x="521494" y="409099"/>
                    <a:pt x="521494" y="405289"/>
                  </a:cubicBezTo>
                  <a:cubicBezTo>
                    <a:pt x="520541" y="392906"/>
                    <a:pt x="518636" y="380524"/>
                    <a:pt x="517684" y="369094"/>
                  </a:cubicBezTo>
                  <a:cubicBezTo>
                    <a:pt x="519589" y="356711"/>
                    <a:pt x="520541" y="347186"/>
                    <a:pt x="522446" y="336709"/>
                  </a:cubicBezTo>
                  <a:close/>
                  <a:moveTo>
                    <a:pt x="512921" y="271939"/>
                  </a:moveTo>
                  <a:cubicBezTo>
                    <a:pt x="511969" y="276701"/>
                    <a:pt x="511016" y="281464"/>
                    <a:pt x="509111" y="287179"/>
                  </a:cubicBezTo>
                  <a:cubicBezTo>
                    <a:pt x="509111" y="287179"/>
                    <a:pt x="509111" y="287179"/>
                    <a:pt x="509111" y="288131"/>
                  </a:cubicBezTo>
                  <a:cubicBezTo>
                    <a:pt x="508159" y="284321"/>
                    <a:pt x="508159" y="279559"/>
                    <a:pt x="507206" y="275749"/>
                  </a:cubicBezTo>
                  <a:cubicBezTo>
                    <a:pt x="507206" y="270986"/>
                    <a:pt x="508159" y="267176"/>
                    <a:pt x="508159" y="262414"/>
                  </a:cubicBezTo>
                  <a:lnTo>
                    <a:pt x="509111" y="262414"/>
                  </a:lnTo>
                  <a:cubicBezTo>
                    <a:pt x="511016" y="265271"/>
                    <a:pt x="511969" y="268129"/>
                    <a:pt x="512921" y="271939"/>
                  </a:cubicBezTo>
                  <a:close/>
                  <a:moveTo>
                    <a:pt x="497681" y="207169"/>
                  </a:moveTo>
                  <a:cubicBezTo>
                    <a:pt x="500539" y="217646"/>
                    <a:pt x="503396" y="230981"/>
                    <a:pt x="506254" y="245269"/>
                  </a:cubicBezTo>
                  <a:cubicBezTo>
                    <a:pt x="507206" y="249079"/>
                    <a:pt x="508159" y="252889"/>
                    <a:pt x="509111" y="256699"/>
                  </a:cubicBezTo>
                  <a:cubicBezTo>
                    <a:pt x="508159" y="256699"/>
                    <a:pt x="507206" y="256699"/>
                    <a:pt x="506254" y="256699"/>
                  </a:cubicBezTo>
                  <a:lnTo>
                    <a:pt x="505301" y="256699"/>
                  </a:lnTo>
                  <a:cubicBezTo>
                    <a:pt x="505301" y="256699"/>
                    <a:pt x="505301" y="256699"/>
                    <a:pt x="505301" y="256699"/>
                  </a:cubicBezTo>
                  <a:cubicBezTo>
                    <a:pt x="502444" y="238601"/>
                    <a:pt x="499586" y="220504"/>
                    <a:pt x="497681" y="207169"/>
                  </a:cubicBezTo>
                  <a:cubicBezTo>
                    <a:pt x="496729" y="207169"/>
                    <a:pt x="496729" y="207169"/>
                    <a:pt x="497681" y="207169"/>
                  </a:cubicBezTo>
                  <a:close/>
                  <a:moveTo>
                    <a:pt x="487204" y="419576"/>
                  </a:moveTo>
                  <a:cubicBezTo>
                    <a:pt x="487204" y="420529"/>
                    <a:pt x="486251" y="421481"/>
                    <a:pt x="486251" y="422434"/>
                  </a:cubicBezTo>
                  <a:lnTo>
                    <a:pt x="483394" y="422434"/>
                  </a:lnTo>
                  <a:cubicBezTo>
                    <a:pt x="483394" y="421481"/>
                    <a:pt x="483394" y="419576"/>
                    <a:pt x="483394" y="418624"/>
                  </a:cubicBezTo>
                  <a:cubicBezTo>
                    <a:pt x="483394" y="412909"/>
                    <a:pt x="482441" y="407194"/>
                    <a:pt x="481489" y="401479"/>
                  </a:cubicBezTo>
                  <a:cubicBezTo>
                    <a:pt x="483394" y="407194"/>
                    <a:pt x="485299" y="413861"/>
                    <a:pt x="487204" y="419576"/>
                  </a:cubicBezTo>
                  <a:close/>
                  <a:moveTo>
                    <a:pt x="437674" y="390049"/>
                  </a:moveTo>
                  <a:cubicBezTo>
                    <a:pt x="437674" y="390049"/>
                    <a:pt x="437674" y="390049"/>
                    <a:pt x="437674" y="390049"/>
                  </a:cubicBezTo>
                  <a:cubicBezTo>
                    <a:pt x="437674" y="389096"/>
                    <a:pt x="437674" y="389096"/>
                    <a:pt x="437674" y="388144"/>
                  </a:cubicBezTo>
                  <a:cubicBezTo>
                    <a:pt x="437674" y="388144"/>
                    <a:pt x="437674" y="388144"/>
                    <a:pt x="437674" y="388144"/>
                  </a:cubicBezTo>
                  <a:cubicBezTo>
                    <a:pt x="437674" y="389096"/>
                    <a:pt x="437674" y="390049"/>
                    <a:pt x="437674" y="390049"/>
                  </a:cubicBezTo>
                  <a:cubicBezTo>
                    <a:pt x="437674" y="391001"/>
                    <a:pt x="437674" y="390049"/>
                    <a:pt x="437674" y="390049"/>
                  </a:cubicBezTo>
                  <a:close/>
                  <a:moveTo>
                    <a:pt x="448151" y="362426"/>
                  </a:moveTo>
                  <a:cubicBezTo>
                    <a:pt x="447199" y="360521"/>
                    <a:pt x="446246" y="358616"/>
                    <a:pt x="446246" y="356711"/>
                  </a:cubicBezTo>
                  <a:cubicBezTo>
                    <a:pt x="447199" y="353854"/>
                    <a:pt x="448151" y="350044"/>
                    <a:pt x="449104" y="347186"/>
                  </a:cubicBezTo>
                  <a:cubicBezTo>
                    <a:pt x="448151" y="351949"/>
                    <a:pt x="448151" y="357664"/>
                    <a:pt x="448151" y="362426"/>
                  </a:cubicBezTo>
                  <a:close/>
                  <a:moveTo>
                    <a:pt x="436721" y="227171"/>
                  </a:moveTo>
                  <a:cubicBezTo>
                    <a:pt x="437674" y="233839"/>
                    <a:pt x="439579" y="239554"/>
                    <a:pt x="440531" y="246221"/>
                  </a:cubicBezTo>
                  <a:cubicBezTo>
                    <a:pt x="438626" y="242411"/>
                    <a:pt x="436721" y="238601"/>
                    <a:pt x="434816" y="234791"/>
                  </a:cubicBezTo>
                  <a:cubicBezTo>
                    <a:pt x="435769" y="231934"/>
                    <a:pt x="435769" y="230029"/>
                    <a:pt x="436721" y="227171"/>
                  </a:cubicBezTo>
                  <a:close/>
                  <a:moveTo>
                    <a:pt x="428149" y="280511"/>
                  </a:moveTo>
                  <a:cubicBezTo>
                    <a:pt x="430054" y="270986"/>
                    <a:pt x="431006" y="262414"/>
                    <a:pt x="431959" y="253841"/>
                  </a:cubicBezTo>
                  <a:cubicBezTo>
                    <a:pt x="431959" y="255746"/>
                    <a:pt x="432911" y="256699"/>
                    <a:pt x="432911" y="258604"/>
                  </a:cubicBezTo>
                  <a:cubicBezTo>
                    <a:pt x="434816" y="266224"/>
                    <a:pt x="436721" y="274796"/>
                    <a:pt x="438626" y="284321"/>
                  </a:cubicBezTo>
                  <a:cubicBezTo>
                    <a:pt x="438626" y="286226"/>
                    <a:pt x="439579" y="288131"/>
                    <a:pt x="439579" y="290036"/>
                  </a:cubicBezTo>
                  <a:cubicBezTo>
                    <a:pt x="434816" y="284321"/>
                    <a:pt x="432911" y="281464"/>
                    <a:pt x="432911" y="281464"/>
                  </a:cubicBezTo>
                  <a:cubicBezTo>
                    <a:pt x="432911" y="281464"/>
                    <a:pt x="435769" y="287179"/>
                    <a:pt x="439579" y="295751"/>
                  </a:cubicBezTo>
                  <a:cubicBezTo>
                    <a:pt x="440531" y="296704"/>
                    <a:pt x="440531" y="298609"/>
                    <a:pt x="441484" y="299561"/>
                  </a:cubicBezTo>
                  <a:cubicBezTo>
                    <a:pt x="442436" y="303371"/>
                    <a:pt x="443389" y="308134"/>
                    <a:pt x="443389" y="312896"/>
                  </a:cubicBezTo>
                  <a:cubicBezTo>
                    <a:pt x="444341" y="317659"/>
                    <a:pt x="445294" y="323374"/>
                    <a:pt x="446246" y="328136"/>
                  </a:cubicBezTo>
                  <a:cubicBezTo>
                    <a:pt x="446246" y="330994"/>
                    <a:pt x="447199" y="332899"/>
                    <a:pt x="447199" y="335756"/>
                  </a:cubicBezTo>
                  <a:cubicBezTo>
                    <a:pt x="446246" y="337661"/>
                    <a:pt x="445294" y="339566"/>
                    <a:pt x="445294" y="341471"/>
                  </a:cubicBezTo>
                  <a:cubicBezTo>
                    <a:pt x="444341" y="344329"/>
                    <a:pt x="443389" y="346234"/>
                    <a:pt x="442436" y="349091"/>
                  </a:cubicBezTo>
                  <a:cubicBezTo>
                    <a:pt x="439579" y="342424"/>
                    <a:pt x="437674" y="336709"/>
                    <a:pt x="434816" y="331946"/>
                  </a:cubicBezTo>
                  <a:cubicBezTo>
                    <a:pt x="434816" y="322421"/>
                    <a:pt x="434816" y="317659"/>
                    <a:pt x="434816" y="317659"/>
                  </a:cubicBezTo>
                  <a:cubicBezTo>
                    <a:pt x="434816" y="317659"/>
                    <a:pt x="433864" y="321469"/>
                    <a:pt x="432911" y="328136"/>
                  </a:cubicBezTo>
                  <a:cubicBezTo>
                    <a:pt x="430054" y="319564"/>
                    <a:pt x="426244" y="310991"/>
                    <a:pt x="423386" y="303371"/>
                  </a:cubicBezTo>
                  <a:cubicBezTo>
                    <a:pt x="426244" y="295751"/>
                    <a:pt x="427196" y="288131"/>
                    <a:pt x="428149" y="280511"/>
                  </a:cubicBezTo>
                  <a:close/>
                  <a:moveTo>
                    <a:pt x="418624" y="345281"/>
                  </a:moveTo>
                  <a:cubicBezTo>
                    <a:pt x="419576" y="337661"/>
                    <a:pt x="420529" y="330041"/>
                    <a:pt x="422434" y="322421"/>
                  </a:cubicBezTo>
                  <a:cubicBezTo>
                    <a:pt x="424339" y="328136"/>
                    <a:pt x="425291" y="333851"/>
                    <a:pt x="427196" y="339566"/>
                  </a:cubicBezTo>
                  <a:cubicBezTo>
                    <a:pt x="428149" y="343376"/>
                    <a:pt x="429101" y="347186"/>
                    <a:pt x="430054" y="350996"/>
                  </a:cubicBezTo>
                  <a:cubicBezTo>
                    <a:pt x="429101" y="354806"/>
                    <a:pt x="429101" y="358616"/>
                    <a:pt x="428149" y="362426"/>
                  </a:cubicBezTo>
                  <a:cubicBezTo>
                    <a:pt x="427196" y="360521"/>
                    <a:pt x="426244" y="358616"/>
                    <a:pt x="426244" y="356711"/>
                  </a:cubicBezTo>
                  <a:cubicBezTo>
                    <a:pt x="423386" y="349091"/>
                    <a:pt x="420529" y="344329"/>
                    <a:pt x="420529" y="344329"/>
                  </a:cubicBezTo>
                  <a:cubicBezTo>
                    <a:pt x="420529" y="344329"/>
                    <a:pt x="420529" y="349091"/>
                    <a:pt x="422434" y="357664"/>
                  </a:cubicBezTo>
                  <a:cubicBezTo>
                    <a:pt x="423386" y="361474"/>
                    <a:pt x="423386" y="367189"/>
                    <a:pt x="424339" y="372904"/>
                  </a:cubicBezTo>
                  <a:cubicBezTo>
                    <a:pt x="424339" y="374809"/>
                    <a:pt x="425291" y="375761"/>
                    <a:pt x="425291" y="377666"/>
                  </a:cubicBezTo>
                  <a:cubicBezTo>
                    <a:pt x="425291" y="376714"/>
                    <a:pt x="424339" y="375761"/>
                    <a:pt x="424339" y="375761"/>
                  </a:cubicBezTo>
                  <a:cubicBezTo>
                    <a:pt x="424339" y="375761"/>
                    <a:pt x="424339" y="374809"/>
                    <a:pt x="424339" y="374809"/>
                  </a:cubicBezTo>
                  <a:cubicBezTo>
                    <a:pt x="422434" y="367189"/>
                    <a:pt x="420529" y="359569"/>
                    <a:pt x="418624" y="351949"/>
                  </a:cubicBezTo>
                  <a:cubicBezTo>
                    <a:pt x="417671" y="349091"/>
                    <a:pt x="418624" y="347186"/>
                    <a:pt x="418624" y="345281"/>
                  </a:cubicBezTo>
                  <a:close/>
                  <a:moveTo>
                    <a:pt x="406241" y="261461"/>
                  </a:moveTo>
                  <a:cubicBezTo>
                    <a:pt x="408146" y="267176"/>
                    <a:pt x="410051" y="275749"/>
                    <a:pt x="411956" y="285274"/>
                  </a:cubicBezTo>
                  <a:cubicBezTo>
                    <a:pt x="410051" y="292894"/>
                    <a:pt x="409099" y="301466"/>
                    <a:pt x="407194" y="310039"/>
                  </a:cubicBezTo>
                  <a:cubicBezTo>
                    <a:pt x="406241" y="307181"/>
                    <a:pt x="406241" y="304324"/>
                    <a:pt x="405289" y="302419"/>
                  </a:cubicBezTo>
                  <a:cubicBezTo>
                    <a:pt x="406241" y="288131"/>
                    <a:pt x="406241" y="273844"/>
                    <a:pt x="406241" y="261461"/>
                  </a:cubicBezTo>
                  <a:close/>
                  <a:moveTo>
                    <a:pt x="382429" y="290036"/>
                  </a:moveTo>
                  <a:cubicBezTo>
                    <a:pt x="382429" y="290989"/>
                    <a:pt x="382429" y="292894"/>
                    <a:pt x="381476" y="293846"/>
                  </a:cubicBezTo>
                  <a:cubicBezTo>
                    <a:pt x="381476" y="290989"/>
                    <a:pt x="381476" y="288131"/>
                    <a:pt x="381476" y="285274"/>
                  </a:cubicBezTo>
                  <a:cubicBezTo>
                    <a:pt x="381476" y="287179"/>
                    <a:pt x="382429" y="288131"/>
                    <a:pt x="382429" y="290036"/>
                  </a:cubicBezTo>
                  <a:close/>
                  <a:moveTo>
                    <a:pt x="361474" y="394811"/>
                  </a:moveTo>
                  <a:cubicBezTo>
                    <a:pt x="361474" y="397669"/>
                    <a:pt x="361474" y="401479"/>
                    <a:pt x="361474" y="404336"/>
                  </a:cubicBezTo>
                  <a:cubicBezTo>
                    <a:pt x="361474" y="405289"/>
                    <a:pt x="361474" y="406241"/>
                    <a:pt x="361474" y="407194"/>
                  </a:cubicBezTo>
                  <a:cubicBezTo>
                    <a:pt x="359569" y="399574"/>
                    <a:pt x="357664" y="391001"/>
                    <a:pt x="354806" y="383381"/>
                  </a:cubicBezTo>
                  <a:cubicBezTo>
                    <a:pt x="354806" y="383381"/>
                    <a:pt x="354806" y="383381"/>
                    <a:pt x="354806" y="382429"/>
                  </a:cubicBezTo>
                  <a:cubicBezTo>
                    <a:pt x="353854" y="379571"/>
                    <a:pt x="353854" y="376714"/>
                    <a:pt x="352901" y="373856"/>
                  </a:cubicBezTo>
                  <a:cubicBezTo>
                    <a:pt x="355759" y="381476"/>
                    <a:pt x="358616" y="388144"/>
                    <a:pt x="361474" y="394811"/>
                  </a:cubicBezTo>
                  <a:close/>
                  <a:moveTo>
                    <a:pt x="347186" y="307181"/>
                  </a:moveTo>
                  <a:cubicBezTo>
                    <a:pt x="348139" y="309086"/>
                    <a:pt x="348139" y="310039"/>
                    <a:pt x="349091" y="311944"/>
                  </a:cubicBezTo>
                  <a:cubicBezTo>
                    <a:pt x="348139" y="310991"/>
                    <a:pt x="348139" y="310039"/>
                    <a:pt x="347186" y="309086"/>
                  </a:cubicBezTo>
                  <a:cubicBezTo>
                    <a:pt x="346234" y="309086"/>
                    <a:pt x="346234" y="308134"/>
                    <a:pt x="347186" y="307181"/>
                  </a:cubicBezTo>
                  <a:close/>
                  <a:moveTo>
                    <a:pt x="347186" y="429101"/>
                  </a:moveTo>
                  <a:cubicBezTo>
                    <a:pt x="347186" y="430054"/>
                    <a:pt x="348139" y="431959"/>
                    <a:pt x="348139" y="432911"/>
                  </a:cubicBezTo>
                  <a:lnTo>
                    <a:pt x="346234" y="432911"/>
                  </a:lnTo>
                  <a:cubicBezTo>
                    <a:pt x="346234" y="431006"/>
                    <a:pt x="346234" y="430054"/>
                    <a:pt x="347186" y="429101"/>
                  </a:cubicBezTo>
                  <a:close/>
                  <a:moveTo>
                    <a:pt x="310991" y="439579"/>
                  </a:moveTo>
                  <a:cubicBezTo>
                    <a:pt x="310991" y="434816"/>
                    <a:pt x="310991" y="429101"/>
                    <a:pt x="311944" y="424339"/>
                  </a:cubicBezTo>
                  <a:cubicBezTo>
                    <a:pt x="313849" y="429101"/>
                    <a:pt x="315754" y="433864"/>
                    <a:pt x="317659" y="438626"/>
                  </a:cubicBezTo>
                  <a:lnTo>
                    <a:pt x="310991" y="439579"/>
                  </a:lnTo>
                  <a:close/>
                  <a:moveTo>
                    <a:pt x="302419" y="230981"/>
                  </a:moveTo>
                  <a:cubicBezTo>
                    <a:pt x="303371" y="232886"/>
                    <a:pt x="303371" y="235744"/>
                    <a:pt x="304324" y="237649"/>
                  </a:cubicBezTo>
                  <a:cubicBezTo>
                    <a:pt x="305276" y="242411"/>
                    <a:pt x="306229" y="247174"/>
                    <a:pt x="307181" y="252889"/>
                  </a:cubicBezTo>
                  <a:cubicBezTo>
                    <a:pt x="303371" y="247174"/>
                    <a:pt x="300514" y="244316"/>
                    <a:pt x="300514" y="244316"/>
                  </a:cubicBezTo>
                  <a:cubicBezTo>
                    <a:pt x="300514" y="238601"/>
                    <a:pt x="301466" y="234791"/>
                    <a:pt x="302419" y="230981"/>
                  </a:cubicBezTo>
                  <a:close/>
                  <a:moveTo>
                    <a:pt x="295751" y="269081"/>
                  </a:moveTo>
                  <a:cubicBezTo>
                    <a:pt x="296704" y="264319"/>
                    <a:pt x="297656" y="262414"/>
                    <a:pt x="297656" y="262414"/>
                  </a:cubicBezTo>
                  <a:cubicBezTo>
                    <a:pt x="297656" y="262414"/>
                    <a:pt x="296704" y="263366"/>
                    <a:pt x="295751" y="265271"/>
                  </a:cubicBezTo>
                  <a:cubicBezTo>
                    <a:pt x="296704" y="260509"/>
                    <a:pt x="296704" y="256699"/>
                    <a:pt x="297656" y="251936"/>
                  </a:cubicBezTo>
                  <a:cubicBezTo>
                    <a:pt x="298609" y="249079"/>
                    <a:pt x="298609" y="246221"/>
                    <a:pt x="299561" y="243364"/>
                  </a:cubicBezTo>
                  <a:cubicBezTo>
                    <a:pt x="299561" y="244316"/>
                    <a:pt x="300514" y="245269"/>
                    <a:pt x="301466" y="247174"/>
                  </a:cubicBezTo>
                  <a:cubicBezTo>
                    <a:pt x="304324" y="254794"/>
                    <a:pt x="307181" y="262414"/>
                    <a:pt x="310039" y="270986"/>
                  </a:cubicBezTo>
                  <a:cubicBezTo>
                    <a:pt x="312896" y="285274"/>
                    <a:pt x="315754" y="298609"/>
                    <a:pt x="319564" y="312896"/>
                  </a:cubicBezTo>
                  <a:cubicBezTo>
                    <a:pt x="322421" y="328136"/>
                    <a:pt x="326231" y="343376"/>
                    <a:pt x="330041" y="358616"/>
                  </a:cubicBezTo>
                  <a:cubicBezTo>
                    <a:pt x="330041" y="359569"/>
                    <a:pt x="330041" y="360521"/>
                    <a:pt x="330041" y="362426"/>
                  </a:cubicBezTo>
                  <a:cubicBezTo>
                    <a:pt x="329089" y="375761"/>
                    <a:pt x="328136" y="390049"/>
                    <a:pt x="327184" y="404336"/>
                  </a:cubicBezTo>
                  <a:cubicBezTo>
                    <a:pt x="327184" y="404336"/>
                    <a:pt x="327184" y="404336"/>
                    <a:pt x="327184" y="404336"/>
                  </a:cubicBezTo>
                  <a:cubicBezTo>
                    <a:pt x="325279" y="400526"/>
                    <a:pt x="323374" y="396716"/>
                    <a:pt x="321469" y="392906"/>
                  </a:cubicBezTo>
                  <a:cubicBezTo>
                    <a:pt x="317659" y="382429"/>
                    <a:pt x="313849" y="371951"/>
                    <a:pt x="310991" y="362426"/>
                  </a:cubicBezTo>
                  <a:cubicBezTo>
                    <a:pt x="306229" y="347186"/>
                    <a:pt x="301466" y="332899"/>
                    <a:pt x="296704" y="318611"/>
                  </a:cubicBezTo>
                  <a:cubicBezTo>
                    <a:pt x="294799" y="312896"/>
                    <a:pt x="293846" y="308134"/>
                    <a:pt x="291941" y="302419"/>
                  </a:cubicBezTo>
                  <a:cubicBezTo>
                    <a:pt x="292894" y="290989"/>
                    <a:pt x="294799" y="279559"/>
                    <a:pt x="295751" y="269081"/>
                  </a:cubicBezTo>
                  <a:close/>
                  <a:moveTo>
                    <a:pt x="283369" y="378619"/>
                  </a:moveTo>
                  <a:cubicBezTo>
                    <a:pt x="283369" y="373856"/>
                    <a:pt x="284321" y="369094"/>
                    <a:pt x="284321" y="365284"/>
                  </a:cubicBezTo>
                  <a:cubicBezTo>
                    <a:pt x="284321" y="364331"/>
                    <a:pt x="284321" y="363379"/>
                    <a:pt x="285274" y="363379"/>
                  </a:cubicBezTo>
                  <a:cubicBezTo>
                    <a:pt x="289084" y="370999"/>
                    <a:pt x="291941" y="378619"/>
                    <a:pt x="295751" y="387191"/>
                  </a:cubicBezTo>
                  <a:cubicBezTo>
                    <a:pt x="297656" y="391954"/>
                    <a:pt x="300514" y="395764"/>
                    <a:pt x="302419" y="400526"/>
                  </a:cubicBezTo>
                  <a:cubicBezTo>
                    <a:pt x="302419" y="401479"/>
                    <a:pt x="303371" y="403384"/>
                    <a:pt x="303371" y="404336"/>
                  </a:cubicBezTo>
                  <a:cubicBezTo>
                    <a:pt x="302419" y="407194"/>
                    <a:pt x="302419" y="410051"/>
                    <a:pt x="301466" y="412909"/>
                  </a:cubicBezTo>
                  <a:cubicBezTo>
                    <a:pt x="299561" y="422434"/>
                    <a:pt x="297656" y="432911"/>
                    <a:pt x="295751" y="442436"/>
                  </a:cubicBezTo>
                  <a:lnTo>
                    <a:pt x="283369" y="444341"/>
                  </a:lnTo>
                  <a:cubicBezTo>
                    <a:pt x="282416" y="441484"/>
                    <a:pt x="282416" y="438626"/>
                    <a:pt x="281464" y="435769"/>
                  </a:cubicBezTo>
                  <a:cubicBezTo>
                    <a:pt x="281464" y="425291"/>
                    <a:pt x="281464" y="415766"/>
                    <a:pt x="281464" y="407194"/>
                  </a:cubicBezTo>
                  <a:cubicBezTo>
                    <a:pt x="281464" y="397669"/>
                    <a:pt x="282416" y="388144"/>
                    <a:pt x="283369" y="378619"/>
                  </a:cubicBezTo>
                  <a:close/>
                  <a:moveTo>
                    <a:pt x="237649" y="415766"/>
                  </a:moveTo>
                  <a:cubicBezTo>
                    <a:pt x="234791" y="409099"/>
                    <a:pt x="230981" y="402431"/>
                    <a:pt x="228124" y="395764"/>
                  </a:cubicBezTo>
                  <a:cubicBezTo>
                    <a:pt x="228124" y="391954"/>
                    <a:pt x="229076" y="387191"/>
                    <a:pt x="229076" y="383381"/>
                  </a:cubicBezTo>
                  <a:cubicBezTo>
                    <a:pt x="232886" y="391001"/>
                    <a:pt x="235744" y="398621"/>
                    <a:pt x="239554" y="406241"/>
                  </a:cubicBezTo>
                  <a:cubicBezTo>
                    <a:pt x="239554" y="410051"/>
                    <a:pt x="238601" y="412909"/>
                    <a:pt x="237649" y="415766"/>
                  </a:cubicBezTo>
                  <a:close/>
                  <a:moveTo>
                    <a:pt x="247174" y="431006"/>
                  </a:moveTo>
                  <a:cubicBezTo>
                    <a:pt x="247174" y="429101"/>
                    <a:pt x="247174" y="427196"/>
                    <a:pt x="248126" y="425291"/>
                  </a:cubicBezTo>
                  <a:cubicBezTo>
                    <a:pt x="248126" y="425291"/>
                    <a:pt x="248126" y="425291"/>
                    <a:pt x="248126" y="425291"/>
                  </a:cubicBezTo>
                  <a:cubicBezTo>
                    <a:pt x="248126" y="427196"/>
                    <a:pt x="247174" y="429101"/>
                    <a:pt x="247174" y="431006"/>
                  </a:cubicBezTo>
                  <a:close/>
                  <a:moveTo>
                    <a:pt x="264319" y="204311"/>
                  </a:moveTo>
                  <a:cubicBezTo>
                    <a:pt x="267176" y="195739"/>
                    <a:pt x="269081" y="189071"/>
                    <a:pt x="270986" y="185261"/>
                  </a:cubicBezTo>
                  <a:cubicBezTo>
                    <a:pt x="269081" y="194786"/>
                    <a:pt x="268129" y="204311"/>
                    <a:pt x="267176" y="214789"/>
                  </a:cubicBezTo>
                  <a:cubicBezTo>
                    <a:pt x="267176" y="212884"/>
                    <a:pt x="266224" y="211931"/>
                    <a:pt x="266224" y="210026"/>
                  </a:cubicBezTo>
                  <a:cubicBezTo>
                    <a:pt x="264319" y="207169"/>
                    <a:pt x="264319" y="206216"/>
                    <a:pt x="264319" y="204311"/>
                  </a:cubicBezTo>
                  <a:cubicBezTo>
                    <a:pt x="264319" y="204311"/>
                    <a:pt x="264319" y="204311"/>
                    <a:pt x="264319" y="204311"/>
                  </a:cubicBezTo>
                  <a:close/>
                  <a:moveTo>
                    <a:pt x="254794" y="235744"/>
                  </a:moveTo>
                  <a:cubicBezTo>
                    <a:pt x="256699" y="230029"/>
                    <a:pt x="257651" y="225266"/>
                    <a:pt x="258604" y="220504"/>
                  </a:cubicBezTo>
                  <a:cubicBezTo>
                    <a:pt x="259556" y="227171"/>
                    <a:pt x="260509" y="234791"/>
                    <a:pt x="261461" y="242411"/>
                  </a:cubicBezTo>
                  <a:cubicBezTo>
                    <a:pt x="261461" y="243364"/>
                    <a:pt x="261461" y="244316"/>
                    <a:pt x="262414" y="245269"/>
                  </a:cubicBezTo>
                  <a:cubicBezTo>
                    <a:pt x="261461" y="253841"/>
                    <a:pt x="260509" y="261461"/>
                    <a:pt x="260509" y="270034"/>
                  </a:cubicBezTo>
                  <a:cubicBezTo>
                    <a:pt x="259556" y="268129"/>
                    <a:pt x="258604" y="266224"/>
                    <a:pt x="257651" y="264319"/>
                  </a:cubicBezTo>
                  <a:cubicBezTo>
                    <a:pt x="254794" y="258604"/>
                    <a:pt x="252889" y="253841"/>
                    <a:pt x="250984" y="249079"/>
                  </a:cubicBezTo>
                  <a:cubicBezTo>
                    <a:pt x="252889" y="245269"/>
                    <a:pt x="253841" y="239554"/>
                    <a:pt x="254794" y="235744"/>
                  </a:cubicBezTo>
                  <a:close/>
                  <a:moveTo>
                    <a:pt x="245269" y="276701"/>
                  </a:moveTo>
                  <a:cubicBezTo>
                    <a:pt x="246221" y="270986"/>
                    <a:pt x="248126" y="265271"/>
                    <a:pt x="249079" y="260509"/>
                  </a:cubicBezTo>
                  <a:cubicBezTo>
                    <a:pt x="250031" y="262414"/>
                    <a:pt x="250031" y="265271"/>
                    <a:pt x="250984" y="268129"/>
                  </a:cubicBezTo>
                  <a:cubicBezTo>
                    <a:pt x="252889" y="275749"/>
                    <a:pt x="255746" y="284321"/>
                    <a:pt x="258604" y="292894"/>
                  </a:cubicBezTo>
                  <a:cubicBezTo>
                    <a:pt x="258604" y="293846"/>
                    <a:pt x="259556" y="294799"/>
                    <a:pt x="259556" y="294799"/>
                  </a:cubicBezTo>
                  <a:cubicBezTo>
                    <a:pt x="259556" y="295751"/>
                    <a:pt x="259556" y="296704"/>
                    <a:pt x="259556" y="297656"/>
                  </a:cubicBezTo>
                  <a:cubicBezTo>
                    <a:pt x="258604" y="310039"/>
                    <a:pt x="258604" y="321469"/>
                    <a:pt x="257651" y="333851"/>
                  </a:cubicBezTo>
                  <a:cubicBezTo>
                    <a:pt x="255746" y="325279"/>
                    <a:pt x="253841" y="317659"/>
                    <a:pt x="250984" y="309086"/>
                  </a:cubicBezTo>
                  <a:cubicBezTo>
                    <a:pt x="252889" y="304324"/>
                    <a:pt x="253841" y="301466"/>
                    <a:pt x="253841" y="301466"/>
                  </a:cubicBezTo>
                  <a:cubicBezTo>
                    <a:pt x="253841" y="301466"/>
                    <a:pt x="252889" y="303371"/>
                    <a:pt x="250984" y="307181"/>
                  </a:cubicBezTo>
                  <a:cubicBezTo>
                    <a:pt x="249079" y="299561"/>
                    <a:pt x="247174" y="291941"/>
                    <a:pt x="244316" y="284321"/>
                  </a:cubicBezTo>
                  <a:cubicBezTo>
                    <a:pt x="244316" y="281464"/>
                    <a:pt x="245269" y="279559"/>
                    <a:pt x="245269" y="276701"/>
                  </a:cubicBezTo>
                  <a:close/>
                  <a:moveTo>
                    <a:pt x="236696" y="325279"/>
                  </a:moveTo>
                  <a:cubicBezTo>
                    <a:pt x="236696" y="324326"/>
                    <a:pt x="236696" y="323374"/>
                    <a:pt x="237649" y="322421"/>
                  </a:cubicBezTo>
                  <a:cubicBezTo>
                    <a:pt x="237649" y="324326"/>
                    <a:pt x="238601" y="327184"/>
                    <a:pt x="238601" y="329089"/>
                  </a:cubicBezTo>
                  <a:cubicBezTo>
                    <a:pt x="237649" y="330994"/>
                    <a:pt x="236696" y="332899"/>
                    <a:pt x="235744" y="335756"/>
                  </a:cubicBezTo>
                  <a:cubicBezTo>
                    <a:pt x="235744" y="332899"/>
                    <a:pt x="235744" y="329089"/>
                    <a:pt x="236696" y="325279"/>
                  </a:cubicBezTo>
                  <a:close/>
                  <a:moveTo>
                    <a:pt x="234791" y="353854"/>
                  </a:moveTo>
                  <a:cubicBezTo>
                    <a:pt x="236696" y="348139"/>
                    <a:pt x="238601" y="342424"/>
                    <a:pt x="240506" y="337661"/>
                  </a:cubicBezTo>
                  <a:cubicBezTo>
                    <a:pt x="240506" y="339566"/>
                    <a:pt x="241459" y="340519"/>
                    <a:pt x="241459" y="342424"/>
                  </a:cubicBezTo>
                  <a:cubicBezTo>
                    <a:pt x="243364" y="352901"/>
                    <a:pt x="246221" y="362426"/>
                    <a:pt x="248126" y="372904"/>
                  </a:cubicBezTo>
                  <a:cubicBezTo>
                    <a:pt x="248126" y="374809"/>
                    <a:pt x="247174" y="376714"/>
                    <a:pt x="247174" y="378619"/>
                  </a:cubicBezTo>
                  <a:cubicBezTo>
                    <a:pt x="245269" y="375761"/>
                    <a:pt x="243364" y="371951"/>
                    <a:pt x="242411" y="369094"/>
                  </a:cubicBezTo>
                  <a:cubicBezTo>
                    <a:pt x="239554" y="364331"/>
                    <a:pt x="236696" y="359569"/>
                    <a:pt x="234791" y="353854"/>
                  </a:cubicBezTo>
                  <a:cubicBezTo>
                    <a:pt x="234791" y="354806"/>
                    <a:pt x="234791" y="353854"/>
                    <a:pt x="234791" y="353854"/>
                  </a:cubicBezTo>
                  <a:close/>
                  <a:moveTo>
                    <a:pt x="222409" y="297656"/>
                  </a:moveTo>
                  <a:cubicBezTo>
                    <a:pt x="224314" y="290036"/>
                    <a:pt x="226219" y="283369"/>
                    <a:pt x="227171" y="278606"/>
                  </a:cubicBezTo>
                  <a:cubicBezTo>
                    <a:pt x="227171" y="280511"/>
                    <a:pt x="228124" y="282416"/>
                    <a:pt x="228124" y="284321"/>
                  </a:cubicBezTo>
                  <a:cubicBezTo>
                    <a:pt x="229076" y="286226"/>
                    <a:pt x="229076" y="288131"/>
                    <a:pt x="230029" y="290989"/>
                  </a:cubicBezTo>
                  <a:cubicBezTo>
                    <a:pt x="227171" y="301466"/>
                    <a:pt x="225266" y="312896"/>
                    <a:pt x="222409" y="324326"/>
                  </a:cubicBezTo>
                  <a:cubicBezTo>
                    <a:pt x="222409" y="326231"/>
                    <a:pt x="221456" y="328136"/>
                    <a:pt x="221456" y="330041"/>
                  </a:cubicBezTo>
                  <a:cubicBezTo>
                    <a:pt x="221456" y="330041"/>
                    <a:pt x="221456" y="329089"/>
                    <a:pt x="220504" y="329089"/>
                  </a:cubicBezTo>
                  <a:cubicBezTo>
                    <a:pt x="219551" y="323374"/>
                    <a:pt x="219551" y="317659"/>
                    <a:pt x="218599" y="312896"/>
                  </a:cubicBezTo>
                  <a:cubicBezTo>
                    <a:pt x="220504" y="306229"/>
                    <a:pt x="221456" y="301466"/>
                    <a:pt x="222409" y="297656"/>
                  </a:cubicBezTo>
                  <a:close/>
                  <a:moveTo>
                    <a:pt x="169069" y="411956"/>
                  </a:moveTo>
                  <a:cubicBezTo>
                    <a:pt x="169069" y="411956"/>
                    <a:pt x="169069" y="412909"/>
                    <a:pt x="169069" y="412909"/>
                  </a:cubicBezTo>
                  <a:cubicBezTo>
                    <a:pt x="168116" y="407194"/>
                    <a:pt x="167164" y="401479"/>
                    <a:pt x="165259" y="396716"/>
                  </a:cubicBezTo>
                  <a:cubicBezTo>
                    <a:pt x="165259" y="389096"/>
                    <a:pt x="164306" y="382429"/>
                    <a:pt x="164306" y="375761"/>
                  </a:cubicBezTo>
                  <a:cubicBezTo>
                    <a:pt x="163354" y="365284"/>
                    <a:pt x="162401" y="354806"/>
                    <a:pt x="161449" y="345281"/>
                  </a:cubicBezTo>
                  <a:cubicBezTo>
                    <a:pt x="160496" y="336709"/>
                    <a:pt x="159544" y="329089"/>
                    <a:pt x="158591" y="321469"/>
                  </a:cubicBezTo>
                  <a:cubicBezTo>
                    <a:pt x="158591" y="322421"/>
                    <a:pt x="159544" y="322421"/>
                    <a:pt x="159544" y="323374"/>
                  </a:cubicBezTo>
                  <a:cubicBezTo>
                    <a:pt x="160496" y="325279"/>
                    <a:pt x="161449" y="326231"/>
                    <a:pt x="162401" y="328136"/>
                  </a:cubicBezTo>
                  <a:cubicBezTo>
                    <a:pt x="163354" y="342424"/>
                    <a:pt x="165259" y="359569"/>
                    <a:pt x="167164" y="376714"/>
                  </a:cubicBezTo>
                  <a:cubicBezTo>
                    <a:pt x="168116" y="385286"/>
                    <a:pt x="169069" y="393859"/>
                    <a:pt x="170021" y="402431"/>
                  </a:cubicBezTo>
                  <a:cubicBezTo>
                    <a:pt x="170021" y="405289"/>
                    <a:pt x="169069" y="408146"/>
                    <a:pt x="169069" y="411956"/>
                  </a:cubicBezTo>
                  <a:close/>
                  <a:moveTo>
                    <a:pt x="209074" y="350044"/>
                  </a:moveTo>
                  <a:cubicBezTo>
                    <a:pt x="209074" y="352901"/>
                    <a:pt x="209074" y="356711"/>
                    <a:pt x="209074" y="359569"/>
                  </a:cubicBezTo>
                  <a:cubicBezTo>
                    <a:pt x="208121" y="358616"/>
                    <a:pt x="208121" y="357664"/>
                    <a:pt x="207169" y="356711"/>
                  </a:cubicBezTo>
                  <a:cubicBezTo>
                    <a:pt x="208121" y="354806"/>
                    <a:pt x="209074" y="351949"/>
                    <a:pt x="209074" y="350044"/>
                  </a:cubicBezTo>
                  <a:close/>
                  <a:moveTo>
                    <a:pt x="170974" y="259556"/>
                  </a:moveTo>
                  <a:cubicBezTo>
                    <a:pt x="173831" y="264319"/>
                    <a:pt x="175736" y="270034"/>
                    <a:pt x="178594" y="274796"/>
                  </a:cubicBezTo>
                  <a:cubicBezTo>
                    <a:pt x="181451" y="280511"/>
                    <a:pt x="184309" y="286226"/>
                    <a:pt x="187166" y="291941"/>
                  </a:cubicBezTo>
                  <a:cubicBezTo>
                    <a:pt x="192881" y="304324"/>
                    <a:pt x="198596" y="316706"/>
                    <a:pt x="205264" y="330041"/>
                  </a:cubicBezTo>
                  <a:cubicBezTo>
                    <a:pt x="203359" y="333851"/>
                    <a:pt x="202406" y="338614"/>
                    <a:pt x="200501" y="343376"/>
                  </a:cubicBezTo>
                  <a:cubicBezTo>
                    <a:pt x="200501" y="343376"/>
                    <a:pt x="200501" y="342424"/>
                    <a:pt x="199549" y="342424"/>
                  </a:cubicBezTo>
                  <a:cubicBezTo>
                    <a:pt x="193834" y="330994"/>
                    <a:pt x="187166" y="320516"/>
                    <a:pt x="180499" y="310039"/>
                  </a:cubicBezTo>
                  <a:cubicBezTo>
                    <a:pt x="178594" y="301466"/>
                    <a:pt x="176689" y="296704"/>
                    <a:pt x="176689" y="296704"/>
                  </a:cubicBezTo>
                  <a:cubicBezTo>
                    <a:pt x="176689" y="296704"/>
                    <a:pt x="176689" y="299561"/>
                    <a:pt x="176689" y="305276"/>
                  </a:cubicBezTo>
                  <a:cubicBezTo>
                    <a:pt x="175736" y="303371"/>
                    <a:pt x="174784" y="301466"/>
                    <a:pt x="172879" y="299561"/>
                  </a:cubicBezTo>
                  <a:cubicBezTo>
                    <a:pt x="172879" y="299561"/>
                    <a:pt x="171926" y="298609"/>
                    <a:pt x="171926" y="298609"/>
                  </a:cubicBezTo>
                  <a:cubicBezTo>
                    <a:pt x="170974" y="291941"/>
                    <a:pt x="169069" y="285274"/>
                    <a:pt x="168116" y="279559"/>
                  </a:cubicBezTo>
                  <a:cubicBezTo>
                    <a:pt x="164306" y="262414"/>
                    <a:pt x="161449" y="247174"/>
                    <a:pt x="158591" y="235744"/>
                  </a:cubicBezTo>
                  <a:cubicBezTo>
                    <a:pt x="163354" y="243364"/>
                    <a:pt x="167164" y="250984"/>
                    <a:pt x="170974" y="259556"/>
                  </a:cubicBezTo>
                  <a:close/>
                  <a:moveTo>
                    <a:pt x="161449" y="307181"/>
                  </a:moveTo>
                  <a:cubicBezTo>
                    <a:pt x="159544" y="305276"/>
                    <a:pt x="157639" y="303371"/>
                    <a:pt x="156686" y="301466"/>
                  </a:cubicBezTo>
                  <a:cubicBezTo>
                    <a:pt x="156686" y="300514"/>
                    <a:pt x="156686" y="298609"/>
                    <a:pt x="155734" y="297656"/>
                  </a:cubicBezTo>
                  <a:cubicBezTo>
                    <a:pt x="156686" y="300514"/>
                    <a:pt x="158591" y="304324"/>
                    <a:pt x="161449" y="307181"/>
                  </a:cubicBezTo>
                  <a:close/>
                  <a:moveTo>
                    <a:pt x="130969" y="280511"/>
                  </a:moveTo>
                  <a:cubicBezTo>
                    <a:pt x="131921" y="281464"/>
                    <a:pt x="132874" y="282416"/>
                    <a:pt x="133826" y="284321"/>
                  </a:cubicBezTo>
                  <a:cubicBezTo>
                    <a:pt x="137636" y="289084"/>
                    <a:pt x="141446" y="294799"/>
                    <a:pt x="145256" y="301466"/>
                  </a:cubicBezTo>
                  <a:cubicBezTo>
                    <a:pt x="147161" y="304324"/>
                    <a:pt x="149066" y="307181"/>
                    <a:pt x="150971" y="310039"/>
                  </a:cubicBezTo>
                  <a:cubicBezTo>
                    <a:pt x="150971" y="318611"/>
                    <a:pt x="150019" y="329089"/>
                    <a:pt x="150019" y="341471"/>
                  </a:cubicBezTo>
                  <a:cubicBezTo>
                    <a:pt x="150019" y="341471"/>
                    <a:pt x="150019" y="340519"/>
                    <a:pt x="149066" y="339566"/>
                  </a:cubicBezTo>
                  <a:cubicBezTo>
                    <a:pt x="148114" y="335756"/>
                    <a:pt x="146209" y="331946"/>
                    <a:pt x="145256" y="328136"/>
                  </a:cubicBezTo>
                  <a:cubicBezTo>
                    <a:pt x="144304" y="324326"/>
                    <a:pt x="142399" y="321469"/>
                    <a:pt x="140494" y="317659"/>
                  </a:cubicBezTo>
                  <a:cubicBezTo>
                    <a:pt x="137636" y="310991"/>
                    <a:pt x="134779" y="306229"/>
                    <a:pt x="132874" y="301466"/>
                  </a:cubicBezTo>
                  <a:cubicBezTo>
                    <a:pt x="130969" y="296704"/>
                    <a:pt x="129064" y="292894"/>
                    <a:pt x="127159" y="290989"/>
                  </a:cubicBezTo>
                  <a:cubicBezTo>
                    <a:pt x="129064" y="287179"/>
                    <a:pt x="130016" y="283369"/>
                    <a:pt x="130969" y="280511"/>
                  </a:cubicBezTo>
                  <a:close/>
                  <a:moveTo>
                    <a:pt x="121444" y="318611"/>
                  </a:moveTo>
                  <a:cubicBezTo>
                    <a:pt x="123349" y="309086"/>
                    <a:pt x="124301" y="301466"/>
                    <a:pt x="127159" y="294799"/>
                  </a:cubicBezTo>
                  <a:cubicBezTo>
                    <a:pt x="127159" y="294799"/>
                    <a:pt x="127159" y="294799"/>
                    <a:pt x="127159" y="293846"/>
                  </a:cubicBezTo>
                  <a:cubicBezTo>
                    <a:pt x="128111" y="296704"/>
                    <a:pt x="128111" y="299561"/>
                    <a:pt x="129064" y="303371"/>
                  </a:cubicBezTo>
                  <a:cubicBezTo>
                    <a:pt x="130016" y="308134"/>
                    <a:pt x="131921" y="313849"/>
                    <a:pt x="133826" y="320516"/>
                  </a:cubicBezTo>
                  <a:cubicBezTo>
                    <a:pt x="135731" y="327184"/>
                    <a:pt x="137636" y="334804"/>
                    <a:pt x="138589" y="342424"/>
                  </a:cubicBezTo>
                  <a:cubicBezTo>
                    <a:pt x="140494" y="350996"/>
                    <a:pt x="141446" y="359569"/>
                    <a:pt x="143351" y="369094"/>
                  </a:cubicBezTo>
                  <a:cubicBezTo>
                    <a:pt x="145256" y="378619"/>
                    <a:pt x="146209" y="388144"/>
                    <a:pt x="148114" y="398621"/>
                  </a:cubicBezTo>
                  <a:cubicBezTo>
                    <a:pt x="148114" y="399574"/>
                    <a:pt x="148114" y="401479"/>
                    <a:pt x="149066" y="403384"/>
                  </a:cubicBezTo>
                  <a:cubicBezTo>
                    <a:pt x="149066" y="406241"/>
                    <a:pt x="149066" y="408146"/>
                    <a:pt x="149066" y="411004"/>
                  </a:cubicBezTo>
                  <a:cubicBezTo>
                    <a:pt x="149066" y="412909"/>
                    <a:pt x="149066" y="414814"/>
                    <a:pt x="149066" y="416719"/>
                  </a:cubicBezTo>
                  <a:cubicBezTo>
                    <a:pt x="145256" y="407194"/>
                    <a:pt x="142399" y="397669"/>
                    <a:pt x="138589" y="388144"/>
                  </a:cubicBezTo>
                  <a:cubicBezTo>
                    <a:pt x="135731" y="379571"/>
                    <a:pt x="132874" y="371951"/>
                    <a:pt x="129064" y="363379"/>
                  </a:cubicBezTo>
                  <a:cubicBezTo>
                    <a:pt x="130969" y="360521"/>
                    <a:pt x="131921" y="358616"/>
                    <a:pt x="131921" y="358616"/>
                  </a:cubicBezTo>
                  <a:cubicBezTo>
                    <a:pt x="131921" y="358616"/>
                    <a:pt x="130969" y="359569"/>
                    <a:pt x="129064" y="361474"/>
                  </a:cubicBezTo>
                  <a:cubicBezTo>
                    <a:pt x="127159" y="357664"/>
                    <a:pt x="126206" y="353854"/>
                    <a:pt x="124301" y="350044"/>
                  </a:cubicBezTo>
                  <a:cubicBezTo>
                    <a:pt x="124301" y="348139"/>
                    <a:pt x="125254" y="346234"/>
                    <a:pt x="125254" y="344329"/>
                  </a:cubicBezTo>
                  <a:cubicBezTo>
                    <a:pt x="128111" y="333851"/>
                    <a:pt x="129064" y="328136"/>
                    <a:pt x="129064" y="328136"/>
                  </a:cubicBezTo>
                  <a:cubicBezTo>
                    <a:pt x="129064" y="328136"/>
                    <a:pt x="126206" y="333851"/>
                    <a:pt x="121444" y="343376"/>
                  </a:cubicBezTo>
                  <a:cubicBezTo>
                    <a:pt x="121444" y="343376"/>
                    <a:pt x="121444" y="343376"/>
                    <a:pt x="121444" y="343376"/>
                  </a:cubicBezTo>
                  <a:cubicBezTo>
                    <a:pt x="121444" y="342424"/>
                    <a:pt x="121444" y="342424"/>
                    <a:pt x="120491" y="341471"/>
                  </a:cubicBezTo>
                  <a:cubicBezTo>
                    <a:pt x="119539" y="339566"/>
                    <a:pt x="118586" y="337661"/>
                    <a:pt x="117634" y="334804"/>
                  </a:cubicBezTo>
                  <a:cubicBezTo>
                    <a:pt x="119539" y="329089"/>
                    <a:pt x="120491" y="323374"/>
                    <a:pt x="121444" y="318611"/>
                  </a:cubicBezTo>
                  <a:close/>
                  <a:moveTo>
                    <a:pt x="116681" y="393859"/>
                  </a:moveTo>
                  <a:cubicBezTo>
                    <a:pt x="120491" y="402431"/>
                    <a:pt x="123349" y="411004"/>
                    <a:pt x="127159" y="419576"/>
                  </a:cubicBezTo>
                  <a:lnTo>
                    <a:pt x="113824" y="414814"/>
                  </a:lnTo>
                  <a:cubicBezTo>
                    <a:pt x="115729" y="408146"/>
                    <a:pt x="115729" y="400526"/>
                    <a:pt x="116681" y="393859"/>
                  </a:cubicBezTo>
                  <a:close/>
                  <a:moveTo>
                    <a:pt x="91916" y="341471"/>
                  </a:moveTo>
                  <a:cubicBezTo>
                    <a:pt x="91916" y="339566"/>
                    <a:pt x="92869" y="337661"/>
                    <a:pt x="92869" y="335756"/>
                  </a:cubicBezTo>
                  <a:cubicBezTo>
                    <a:pt x="93821" y="337661"/>
                    <a:pt x="93821" y="338614"/>
                    <a:pt x="94774" y="340519"/>
                  </a:cubicBezTo>
                  <a:cubicBezTo>
                    <a:pt x="97631" y="346234"/>
                    <a:pt x="99536" y="351949"/>
                    <a:pt x="102394" y="358616"/>
                  </a:cubicBezTo>
                  <a:cubicBezTo>
                    <a:pt x="100489" y="367189"/>
                    <a:pt x="98584" y="374809"/>
                    <a:pt x="96679" y="384334"/>
                  </a:cubicBezTo>
                  <a:cubicBezTo>
                    <a:pt x="95726" y="389096"/>
                    <a:pt x="94774" y="393859"/>
                    <a:pt x="94774" y="399574"/>
                  </a:cubicBezTo>
                  <a:cubicBezTo>
                    <a:pt x="94774" y="399574"/>
                    <a:pt x="93821" y="400526"/>
                    <a:pt x="93821" y="400526"/>
                  </a:cubicBezTo>
                  <a:cubicBezTo>
                    <a:pt x="92869" y="401479"/>
                    <a:pt x="91916" y="403384"/>
                    <a:pt x="90964" y="404336"/>
                  </a:cubicBezTo>
                  <a:cubicBezTo>
                    <a:pt x="90011" y="396716"/>
                    <a:pt x="89059" y="390049"/>
                    <a:pt x="88106" y="382429"/>
                  </a:cubicBezTo>
                  <a:cubicBezTo>
                    <a:pt x="87154" y="376714"/>
                    <a:pt x="86201" y="370999"/>
                    <a:pt x="85249" y="365284"/>
                  </a:cubicBezTo>
                  <a:cubicBezTo>
                    <a:pt x="87154" y="356711"/>
                    <a:pt x="89059" y="348139"/>
                    <a:pt x="91916" y="341471"/>
                  </a:cubicBezTo>
                  <a:close/>
                  <a:moveTo>
                    <a:pt x="72866" y="407194"/>
                  </a:moveTo>
                  <a:cubicBezTo>
                    <a:pt x="72866" y="408146"/>
                    <a:pt x="72866" y="408146"/>
                    <a:pt x="72866" y="409099"/>
                  </a:cubicBezTo>
                  <a:cubicBezTo>
                    <a:pt x="72866" y="409099"/>
                    <a:pt x="72866" y="409099"/>
                    <a:pt x="71914" y="409099"/>
                  </a:cubicBezTo>
                  <a:cubicBezTo>
                    <a:pt x="71914" y="408146"/>
                    <a:pt x="72866" y="408146"/>
                    <a:pt x="72866" y="407194"/>
                  </a:cubicBezTo>
                  <a:close/>
                </a:path>
              </a:pathLst>
            </a:custGeom>
            <a:solidFill>
              <a:schemeClr val="accent1"/>
            </a:solidFill>
            <a:ln w="9525" cap="flat">
              <a:noFill/>
              <a:prstDash val="solid"/>
              <a:miter/>
            </a:ln>
          </p:spPr>
          <p:txBody>
            <a:bodyPr rtlCol="0" anchor="ctr"/>
            <a:lstStyle/>
            <a:p>
              <a:pPr marL="0" marR="0" lvl="0" indent="0" algn="l" defTabSz="91376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Arial Unicode MS"/>
                <a:cs typeface="+mn-cs"/>
              </a:endParaRPr>
            </a:p>
          </p:txBody>
        </p:sp>
      </p:grpSp>
    </p:spTree>
    <p:extLst>
      <p:ext uri="{BB962C8B-B14F-4D97-AF65-F5344CB8AC3E}">
        <p14:creationId xmlns:p14="http://schemas.microsoft.com/office/powerpoint/2010/main" val="131359737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_Title and Vertical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44352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4713DF-5F0F-4743-9E07-777DF8792DC1}"/>
              </a:ext>
            </a:extLst>
          </p:cNvPr>
          <p:cNvSpPr>
            <a:spLocks noGrp="1"/>
          </p:cNvSpPr>
          <p:nvPr>
            <p:ph type="title"/>
          </p:nvPr>
        </p:nvSpPr>
        <p:spPr>
          <a:xfrm>
            <a:off x="838200" y="365129"/>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422653758"/>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3_Custom Layout">
    <p:bg>
      <p:bgPr>
        <a:solidFill>
          <a:schemeClr val="bg1">
            <a:alpha val="66000"/>
          </a:schemeClr>
        </a:solidFill>
        <a:effectLst/>
      </p:bgPr>
    </p:bg>
    <p:spTree>
      <p:nvGrpSpPr>
        <p:cNvPr id="1" name=""/>
        <p:cNvGrpSpPr/>
        <p:nvPr/>
      </p:nvGrpSpPr>
      <p:grpSpPr>
        <a:xfrm>
          <a:off x="0" y="0"/>
          <a:ext cx="0" cy="0"/>
          <a:chOff x="0" y="0"/>
          <a:chExt cx="0" cy="0"/>
        </a:xfrm>
      </p:grpSpPr>
      <p:pic>
        <p:nvPicPr>
          <p:cNvPr id="6" name="Picture 5" descr="A truck parked on the side of a road&#10;&#10;Description generated with high confidence">
            <a:extLst>
              <a:ext uri="{FF2B5EF4-FFF2-40B4-BE49-F238E27FC236}">
                <a16:creationId xmlns:a16="http://schemas.microsoft.com/office/drawing/2014/main" id="{A0DABE20-88FE-405F-8B2B-004B30F12F1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378" t="-128" r="5018" b="12435"/>
          <a:stretch/>
        </p:blipFill>
        <p:spPr>
          <a:xfrm>
            <a:off x="1" y="1084230"/>
            <a:ext cx="12192000" cy="4840020"/>
          </a:xfrm>
          <a:prstGeom prst="rect">
            <a:avLst/>
          </a:prstGeom>
        </p:spPr>
      </p:pic>
      <p:sp>
        <p:nvSpPr>
          <p:cNvPr id="7" name="Rectangle 6">
            <a:extLst>
              <a:ext uri="{FF2B5EF4-FFF2-40B4-BE49-F238E27FC236}">
                <a16:creationId xmlns:a16="http://schemas.microsoft.com/office/drawing/2014/main" id="{2C9E0808-8906-4E45-A3AD-2FBE1C73752F}"/>
              </a:ext>
            </a:extLst>
          </p:cNvPr>
          <p:cNvSpPr/>
          <p:nvPr userDrawn="1"/>
        </p:nvSpPr>
        <p:spPr>
          <a:xfrm>
            <a:off x="1" y="0"/>
            <a:ext cx="12192000" cy="6858000"/>
          </a:xfrm>
          <a:prstGeom prst="rect">
            <a:avLst/>
          </a:prstGeom>
          <a:solidFill>
            <a:schemeClr val="bg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8321809"/>
      </p:ext>
    </p:extLst>
  </p:cSld>
  <p:clrMapOvr>
    <a:overrideClrMapping bg1="lt1" tx1="dk1" bg2="lt2" tx2="dk2" accent1="accent1" accent2="accent2" accent3="accent3" accent4="accent4" accent5="accent5" accent6="accent6" hlink="hlink" folHlink="folHlink"/>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1_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562711" y="1508400"/>
            <a:ext cx="11068061" cy="4590000"/>
          </a:xfrm>
          <a:prstGeom prst="rect">
            <a:avLst/>
          </a:prstGeom>
        </p:spPr>
        <p:txBody>
          <a:bodyPr lIns="0" tIns="0" rIns="0" bIns="0"/>
          <a:lstStyle>
            <a:lvl1pPr marL="0" indent="-172926">
              <a:buClr>
                <a:schemeClr val="tx2"/>
              </a:buClr>
              <a:buFont typeface="Arial" pitchFamily="34" charset="0"/>
              <a:buChar char="•"/>
              <a:tabLst/>
              <a:defRPr b="0"/>
            </a:lvl1pPr>
            <a:lvl2pPr marL="628242" indent="-228450">
              <a:buFont typeface="Arial" pitchFamily="34" charset="0"/>
              <a:buChar char="–"/>
              <a:defRPr/>
            </a:lvl2pPr>
            <a:lvl3pPr marL="1074041" indent="-228450">
              <a:defRPr/>
            </a:lvl3pPr>
            <a:lvl4pPr marL="1544332" indent="-228450">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763156"/>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209826" y="1195952"/>
            <a:ext cx="11630487" cy="5112000"/>
          </a:xfrm>
          <a:prstGeom prst="rect">
            <a:avLst/>
          </a:prstGeom>
        </p:spPr>
        <p:txBody>
          <a:bodyPr lIns="97740" tIns="48870" rIns="97740" bIns="48870"/>
          <a:lstStyle>
            <a:lvl1pPr marL="152619" indent="-152619">
              <a:lnSpc>
                <a:spcPct val="114000"/>
              </a:lnSpc>
              <a:spcBef>
                <a:spcPts val="641"/>
              </a:spcBef>
              <a:buFont typeface="Arial" pitchFamily="34" charset="0"/>
              <a:buChar char="•"/>
              <a:defRPr sz="1600">
                <a:solidFill>
                  <a:schemeClr val="bg2"/>
                </a:solidFill>
              </a:defRPr>
            </a:lvl1pPr>
            <a:lvl2pPr>
              <a:lnSpc>
                <a:spcPct val="114000"/>
              </a:lnSpc>
              <a:spcBef>
                <a:spcPts val="641"/>
              </a:spcBef>
              <a:buFont typeface="Arial" pitchFamily="34" charset="0"/>
              <a:buChar char="•"/>
              <a:defRPr sz="1500">
                <a:solidFill>
                  <a:schemeClr val="bg2"/>
                </a:solidFill>
              </a:defRPr>
            </a:lvl2pPr>
            <a:lvl3pPr>
              <a:lnSpc>
                <a:spcPct val="114000"/>
              </a:lnSpc>
              <a:spcBef>
                <a:spcPts val="641"/>
              </a:spcBef>
              <a:buFont typeface="Arial" pitchFamily="34" charset="0"/>
              <a:buChar char="•"/>
              <a:defRPr sz="1400">
                <a:solidFill>
                  <a:schemeClr val="bg2"/>
                </a:solidFill>
              </a:defRPr>
            </a:lvl3pPr>
            <a:lvl4pPr>
              <a:lnSpc>
                <a:spcPct val="114000"/>
              </a:lnSpc>
              <a:spcBef>
                <a:spcPts val="641"/>
              </a:spcBef>
              <a:buFont typeface="Arial" pitchFamily="34" charset="0"/>
              <a:buChar char="•"/>
              <a:defRPr sz="1500">
                <a:solidFill>
                  <a:schemeClr val="bg2"/>
                </a:solidFill>
              </a:defRPr>
            </a:lvl4pPr>
            <a:lvl5pPr>
              <a:lnSpc>
                <a:spcPct val="114000"/>
              </a:lnSpc>
              <a:spcBef>
                <a:spcPts val="641"/>
              </a:spcBef>
              <a:buFont typeface="Arial" pitchFamily="34" charset="0"/>
              <a:buChar char="•"/>
              <a:defRPr>
                <a:solidFill>
                  <a:schemeClr val="bg2"/>
                </a:solidFill>
              </a:defRPr>
            </a:lvl5pPr>
          </a:lstStyle>
          <a:p>
            <a:pPr lvl="0"/>
            <a:r>
              <a:rPr lang="de-DE"/>
              <a:t>Textmasterformat bearbeiten</a:t>
            </a:r>
          </a:p>
          <a:p>
            <a:pPr lvl="1"/>
            <a:r>
              <a:rPr lang="de-DE"/>
              <a:t>Zweite Ebene</a:t>
            </a:r>
          </a:p>
        </p:txBody>
      </p:sp>
      <p:sp>
        <p:nvSpPr>
          <p:cNvPr id="5" name="Rectangle 2"/>
          <p:cNvSpPr>
            <a:spLocks noGrp="1" noChangeArrowheads="1"/>
          </p:cNvSpPr>
          <p:nvPr>
            <p:ph type="title"/>
          </p:nvPr>
        </p:nvSpPr>
        <p:spPr>
          <a:xfrm>
            <a:off x="222701" y="419525"/>
            <a:ext cx="9226612" cy="584727"/>
          </a:xfrm>
          <a:prstGeom prst="rect">
            <a:avLst/>
          </a:prstGeom>
        </p:spPr>
        <p:txBody>
          <a:bodyPr lIns="97740" tIns="48870" rIns="97740" bIns="48870"/>
          <a:lstStyle>
            <a:lvl1pPr marL="0" marR="0" indent="0" algn="l" defTabSz="956419" rtl="0" eaLnBrk="1" fontAlgn="base" latinLnBrk="0" hangingPunct="1">
              <a:lnSpc>
                <a:spcPct val="100000"/>
              </a:lnSpc>
              <a:spcBef>
                <a:spcPct val="0"/>
              </a:spcBef>
              <a:spcAft>
                <a:spcPct val="0"/>
              </a:spcAft>
              <a:buClrTx/>
              <a:buSzTx/>
              <a:buFontTx/>
              <a:buNone/>
              <a:tabLst/>
              <a:defRPr>
                <a:solidFill>
                  <a:schemeClr val="tx1"/>
                </a:solidFill>
              </a:defRPr>
            </a:lvl1pPr>
          </a:lstStyle>
          <a:p>
            <a:pPr eaLnBrk="1" hangingPunct="1"/>
            <a:r>
              <a:rPr lang="de-DE">
                <a:solidFill>
                  <a:srgbClr val="646864"/>
                </a:solidFill>
                <a:latin typeface="Calibri" pitchFamily="34" charset="0"/>
              </a:rPr>
              <a:t>Titelmasterformat durch Klicken bearbeiten</a:t>
            </a:r>
            <a:endParaRPr lang="de-DE" dirty="0">
              <a:solidFill>
                <a:srgbClr val="646864"/>
              </a:solidFill>
              <a:latin typeface="Calibri" pitchFamily="34" charset="0"/>
            </a:endParaRPr>
          </a:p>
        </p:txBody>
      </p:sp>
    </p:spTree>
    <p:extLst>
      <p:ext uri="{BB962C8B-B14F-4D97-AF65-F5344CB8AC3E}">
        <p14:creationId xmlns:p14="http://schemas.microsoft.com/office/powerpoint/2010/main" val="156324237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36926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defTabSz="1219170">
              <a:defRPr/>
            </a:pPr>
            <a:fld id="{4AC350D4-2422-4C6E-8DC6-D41D4BA79641}"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defTabSz="1219170">
              <a:defRPr/>
            </a:pPr>
            <a:fld id="{8BA6E13C-C11D-40E1-A817-81859103A0CB}"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2407615280"/>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
        <p:nvSpPr>
          <p:cNvPr id="5" name="Slide Number Placeholder 1"/>
          <p:cNvSpPr>
            <a:spLocks noGrp="1"/>
          </p:cNvSpPr>
          <p:nvPr>
            <p:ph type="sldNum" sz="quarter" idx="4"/>
          </p:nvPr>
        </p:nvSpPr>
        <p:spPr>
          <a:xfrm>
            <a:off x="203200" y="6498569"/>
            <a:ext cx="508000" cy="365124"/>
          </a:xfrm>
          <a:prstGeom prst="rect">
            <a:avLst/>
          </a:prstGeom>
        </p:spPr>
        <p:txBody>
          <a:bodyPr vert="horz" lIns="90566" tIns="45271" rIns="90566" bIns="45271" rtlCol="0" anchor="ctr"/>
          <a:lstStyle>
            <a:lvl1pPr algn="r">
              <a:defRPr sz="1200">
                <a:solidFill>
                  <a:schemeClr val="tx1"/>
                </a:solidFill>
              </a:defRPr>
            </a:lvl1pPr>
          </a:lstStyle>
          <a:p>
            <a:pPr marL="0" marR="0" lvl="0" indent="0" algn="r" defTabSz="905413" rtl="0" eaLnBrk="1" fontAlgn="auto" latinLnBrk="0" hangingPunct="1">
              <a:lnSpc>
                <a:spcPct val="100000"/>
              </a:lnSpc>
              <a:spcBef>
                <a:spcPts val="0"/>
              </a:spcBef>
              <a:spcAft>
                <a:spcPts val="0"/>
              </a:spcAft>
              <a:buClrTx/>
              <a:buSzTx/>
              <a:buFontTx/>
              <a:buNone/>
              <a:tabLst/>
              <a:defRPr/>
            </a:pPr>
            <a:fld id="{7422662C-4EA5-40CB-AF95-82CA1EC35BEA}"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05413"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60500541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209824" y="1195952"/>
            <a:ext cx="11630485" cy="5112000"/>
          </a:xfrm>
          <a:prstGeom prst="rect">
            <a:avLst/>
          </a:prstGeom>
        </p:spPr>
        <p:txBody>
          <a:bodyPr lIns="97740" tIns="48870" rIns="97740" bIns="48870"/>
          <a:lstStyle>
            <a:lvl1pPr marL="152670" indent="-152670">
              <a:lnSpc>
                <a:spcPct val="114000"/>
              </a:lnSpc>
              <a:spcBef>
                <a:spcPts val="641"/>
              </a:spcBef>
              <a:buFont typeface="Arial" pitchFamily="34" charset="0"/>
              <a:buChar char="•"/>
              <a:defRPr sz="1600">
                <a:solidFill>
                  <a:schemeClr val="bg2"/>
                </a:solidFill>
              </a:defRPr>
            </a:lvl1pPr>
            <a:lvl2pPr>
              <a:lnSpc>
                <a:spcPct val="114000"/>
              </a:lnSpc>
              <a:spcBef>
                <a:spcPts val="641"/>
              </a:spcBef>
              <a:buFont typeface="Arial" pitchFamily="34" charset="0"/>
              <a:buChar char="•"/>
              <a:defRPr sz="1500">
                <a:solidFill>
                  <a:schemeClr val="bg2"/>
                </a:solidFill>
              </a:defRPr>
            </a:lvl2pPr>
            <a:lvl3pPr>
              <a:lnSpc>
                <a:spcPct val="114000"/>
              </a:lnSpc>
              <a:spcBef>
                <a:spcPts val="641"/>
              </a:spcBef>
              <a:buFont typeface="Arial" pitchFamily="34" charset="0"/>
              <a:buChar char="•"/>
              <a:defRPr sz="1400">
                <a:solidFill>
                  <a:schemeClr val="bg2"/>
                </a:solidFill>
              </a:defRPr>
            </a:lvl3pPr>
            <a:lvl4pPr>
              <a:lnSpc>
                <a:spcPct val="114000"/>
              </a:lnSpc>
              <a:spcBef>
                <a:spcPts val="641"/>
              </a:spcBef>
              <a:buFont typeface="Arial" pitchFamily="34" charset="0"/>
              <a:buChar char="•"/>
              <a:defRPr sz="1500">
                <a:solidFill>
                  <a:schemeClr val="bg2"/>
                </a:solidFill>
              </a:defRPr>
            </a:lvl4pPr>
            <a:lvl5pPr>
              <a:lnSpc>
                <a:spcPct val="114000"/>
              </a:lnSpc>
              <a:spcBef>
                <a:spcPts val="641"/>
              </a:spcBef>
              <a:buFont typeface="Arial" pitchFamily="34" charset="0"/>
              <a:buChar char="•"/>
              <a:defRPr>
                <a:solidFill>
                  <a:schemeClr val="bg2"/>
                </a:solidFill>
              </a:defRPr>
            </a:lvl5pPr>
          </a:lstStyle>
          <a:p>
            <a:pPr lvl="0"/>
            <a:r>
              <a:rPr lang="de-DE"/>
              <a:t>Textmasterformat bearbeiten</a:t>
            </a:r>
          </a:p>
          <a:p>
            <a:pPr lvl="1"/>
            <a:r>
              <a:rPr lang="de-DE"/>
              <a:t>Zweite Ebene</a:t>
            </a:r>
          </a:p>
        </p:txBody>
      </p:sp>
      <p:sp>
        <p:nvSpPr>
          <p:cNvPr id="5" name="Rectangle 2"/>
          <p:cNvSpPr>
            <a:spLocks noGrp="1" noChangeArrowheads="1"/>
          </p:cNvSpPr>
          <p:nvPr>
            <p:ph type="title"/>
          </p:nvPr>
        </p:nvSpPr>
        <p:spPr>
          <a:xfrm>
            <a:off x="222699" y="419521"/>
            <a:ext cx="9226612" cy="584727"/>
          </a:xfrm>
          <a:prstGeom prst="rect">
            <a:avLst/>
          </a:prstGeom>
        </p:spPr>
        <p:txBody>
          <a:bodyPr lIns="97740" tIns="48870" rIns="97740" bIns="48870"/>
          <a:lstStyle>
            <a:lvl1pPr marL="0" marR="0" indent="0" algn="l" defTabSz="956729" rtl="0" eaLnBrk="1" fontAlgn="base" latinLnBrk="0" hangingPunct="1">
              <a:lnSpc>
                <a:spcPct val="100000"/>
              </a:lnSpc>
              <a:spcBef>
                <a:spcPct val="0"/>
              </a:spcBef>
              <a:spcAft>
                <a:spcPct val="0"/>
              </a:spcAft>
              <a:buClrTx/>
              <a:buSzTx/>
              <a:buFontTx/>
              <a:buNone/>
              <a:tabLst/>
              <a:defRPr>
                <a:solidFill>
                  <a:schemeClr val="tx1"/>
                </a:solidFill>
              </a:defRPr>
            </a:lvl1pPr>
          </a:lstStyle>
          <a:p>
            <a:pPr eaLnBrk="1" hangingPunct="1"/>
            <a:r>
              <a:rPr lang="de-DE">
                <a:solidFill>
                  <a:srgbClr val="646864"/>
                </a:solidFill>
                <a:latin typeface="Calibri" pitchFamily="34" charset="0"/>
              </a:rPr>
              <a:t>Titelmasterformat durch Klicken bearbeiten</a:t>
            </a:r>
            <a:endParaRPr lang="de-DE" dirty="0">
              <a:solidFill>
                <a:srgbClr val="646864"/>
              </a:solidFill>
              <a:latin typeface="Calibri" pitchFamily="34" charset="0"/>
            </a:endParaRPr>
          </a:p>
        </p:txBody>
      </p:sp>
    </p:spTree>
    <p:extLst>
      <p:ext uri="{BB962C8B-B14F-4D97-AF65-F5344CB8AC3E}">
        <p14:creationId xmlns:p14="http://schemas.microsoft.com/office/powerpoint/2010/main" val="140519325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21" y="1592"/>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p:cNvPicPr/>
                      <p:nvPr/>
                    </p:nvPicPr>
                    <p:blipFill>
                      <a:blip r:embed="rId4"/>
                      <a:stretch>
                        <a:fillRect/>
                      </a:stretch>
                    </p:blipFill>
                    <p:spPr>
                      <a:xfrm>
                        <a:off x="2121" y="1592"/>
                        <a:ext cx="2116"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
        <p:nvSpPr>
          <p:cNvPr id="5" name="Slide Number Placeholder 1"/>
          <p:cNvSpPr>
            <a:spLocks noGrp="1"/>
          </p:cNvSpPr>
          <p:nvPr>
            <p:ph type="sldNum" sz="quarter" idx="4"/>
          </p:nvPr>
        </p:nvSpPr>
        <p:spPr>
          <a:xfrm>
            <a:off x="203200" y="6498569"/>
            <a:ext cx="508000" cy="365124"/>
          </a:xfrm>
          <a:prstGeom prst="rect">
            <a:avLst/>
          </a:prstGeom>
        </p:spPr>
        <p:txBody>
          <a:bodyPr vert="horz" lIns="90566" tIns="45271" rIns="90566" bIns="45271" rtlCol="0" anchor="ctr"/>
          <a:lstStyle>
            <a:lvl1pPr algn="r">
              <a:defRPr sz="1200">
                <a:solidFill>
                  <a:schemeClr val="tx1"/>
                </a:solidFill>
              </a:defRPr>
            </a:lvl1pPr>
          </a:lstStyle>
          <a:p>
            <a:pPr marL="0" marR="0" lvl="0" indent="0" algn="r" defTabSz="905141" rtl="0" eaLnBrk="1" fontAlgn="auto" latinLnBrk="0" hangingPunct="1">
              <a:lnSpc>
                <a:spcPct val="100000"/>
              </a:lnSpc>
              <a:spcBef>
                <a:spcPts val="0"/>
              </a:spcBef>
              <a:spcAft>
                <a:spcPts val="0"/>
              </a:spcAft>
              <a:buClrTx/>
              <a:buSzTx/>
              <a:buFontTx/>
              <a:buNone/>
              <a:tabLst/>
              <a:defRPr/>
            </a:pPr>
            <a:fld id="{7422662C-4EA5-40CB-AF95-82CA1EC35BEA}"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05141"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9825744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4_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562711" y="1508400"/>
            <a:ext cx="11068061" cy="4590000"/>
          </a:xfrm>
          <a:prstGeom prst="rect">
            <a:avLst/>
          </a:prstGeom>
        </p:spPr>
        <p:txBody>
          <a:bodyPr lIns="0" tIns="0" rIns="0" bIns="0"/>
          <a:lstStyle>
            <a:lvl1pPr marL="0" indent="-172930">
              <a:buClr>
                <a:schemeClr val="tx2"/>
              </a:buClr>
              <a:buFont typeface="Arial" pitchFamily="34" charset="0"/>
              <a:buChar char="•"/>
              <a:tabLst/>
              <a:defRPr b="0"/>
            </a:lvl1pPr>
            <a:lvl2pPr marL="628256" indent="-228457">
              <a:buFont typeface="Arial" pitchFamily="34" charset="0"/>
              <a:buChar char="–"/>
              <a:defRPr/>
            </a:lvl2pPr>
            <a:lvl3pPr marL="1074068" indent="-228457">
              <a:defRPr/>
            </a:lvl3pPr>
            <a:lvl4pPr marL="1544371" indent="-228457">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733368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9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209824" y="1195952"/>
            <a:ext cx="11630485" cy="5112000"/>
          </a:xfrm>
          <a:prstGeom prst="rect">
            <a:avLst/>
          </a:prstGeom>
        </p:spPr>
        <p:txBody>
          <a:bodyPr lIns="97740" tIns="48870" rIns="97740" bIns="48870"/>
          <a:lstStyle>
            <a:lvl1pPr marL="152623" indent="-152623">
              <a:lnSpc>
                <a:spcPct val="114000"/>
              </a:lnSpc>
              <a:spcBef>
                <a:spcPts val="641"/>
              </a:spcBef>
              <a:buFont typeface="Arial" pitchFamily="34" charset="0"/>
              <a:buChar char="•"/>
              <a:defRPr sz="1600">
                <a:solidFill>
                  <a:schemeClr val="bg2"/>
                </a:solidFill>
              </a:defRPr>
            </a:lvl1pPr>
            <a:lvl2pPr>
              <a:lnSpc>
                <a:spcPct val="114000"/>
              </a:lnSpc>
              <a:spcBef>
                <a:spcPts val="641"/>
              </a:spcBef>
              <a:buFont typeface="Arial" pitchFamily="34" charset="0"/>
              <a:buChar char="•"/>
              <a:defRPr sz="1500">
                <a:solidFill>
                  <a:schemeClr val="bg2"/>
                </a:solidFill>
              </a:defRPr>
            </a:lvl2pPr>
            <a:lvl3pPr>
              <a:lnSpc>
                <a:spcPct val="114000"/>
              </a:lnSpc>
              <a:spcBef>
                <a:spcPts val="641"/>
              </a:spcBef>
              <a:buFont typeface="Arial" pitchFamily="34" charset="0"/>
              <a:buChar char="•"/>
              <a:defRPr sz="1400">
                <a:solidFill>
                  <a:schemeClr val="bg2"/>
                </a:solidFill>
              </a:defRPr>
            </a:lvl3pPr>
            <a:lvl4pPr>
              <a:lnSpc>
                <a:spcPct val="114000"/>
              </a:lnSpc>
              <a:spcBef>
                <a:spcPts val="641"/>
              </a:spcBef>
              <a:buFont typeface="Arial" pitchFamily="34" charset="0"/>
              <a:buChar char="•"/>
              <a:defRPr sz="1500">
                <a:solidFill>
                  <a:schemeClr val="bg2"/>
                </a:solidFill>
              </a:defRPr>
            </a:lvl4pPr>
            <a:lvl5pPr>
              <a:lnSpc>
                <a:spcPct val="114000"/>
              </a:lnSpc>
              <a:spcBef>
                <a:spcPts val="641"/>
              </a:spcBef>
              <a:buFont typeface="Arial" pitchFamily="34" charset="0"/>
              <a:buChar char="•"/>
              <a:defRPr>
                <a:solidFill>
                  <a:schemeClr val="bg2"/>
                </a:solidFill>
              </a:defRPr>
            </a:lvl5pPr>
          </a:lstStyle>
          <a:p>
            <a:pPr lvl="0"/>
            <a:r>
              <a:rPr lang="de-DE"/>
              <a:t>Textmasterformat bearbeiten</a:t>
            </a:r>
          </a:p>
          <a:p>
            <a:pPr lvl="1"/>
            <a:r>
              <a:rPr lang="de-DE"/>
              <a:t>Zweite Ebene</a:t>
            </a:r>
          </a:p>
        </p:txBody>
      </p:sp>
      <p:sp>
        <p:nvSpPr>
          <p:cNvPr id="5" name="Rectangle 2"/>
          <p:cNvSpPr>
            <a:spLocks noGrp="1" noChangeArrowheads="1"/>
          </p:cNvSpPr>
          <p:nvPr>
            <p:ph type="title"/>
          </p:nvPr>
        </p:nvSpPr>
        <p:spPr>
          <a:xfrm>
            <a:off x="222699" y="419522"/>
            <a:ext cx="9226612" cy="584727"/>
          </a:xfrm>
          <a:prstGeom prst="rect">
            <a:avLst/>
          </a:prstGeom>
        </p:spPr>
        <p:txBody>
          <a:bodyPr lIns="97740" tIns="48870" rIns="97740" bIns="48870"/>
          <a:lstStyle>
            <a:lvl1pPr marL="0" marR="0" indent="0" algn="l" defTabSz="956443" rtl="0" eaLnBrk="1" fontAlgn="base" latinLnBrk="0" hangingPunct="1">
              <a:lnSpc>
                <a:spcPct val="100000"/>
              </a:lnSpc>
              <a:spcBef>
                <a:spcPct val="0"/>
              </a:spcBef>
              <a:spcAft>
                <a:spcPct val="0"/>
              </a:spcAft>
              <a:buClrTx/>
              <a:buSzTx/>
              <a:buFontTx/>
              <a:buNone/>
              <a:tabLst/>
              <a:defRPr>
                <a:solidFill>
                  <a:schemeClr val="tx1"/>
                </a:solidFill>
              </a:defRPr>
            </a:lvl1pPr>
          </a:lstStyle>
          <a:p>
            <a:pPr eaLnBrk="1" hangingPunct="1"/>
            <a:r>
              <a:rPr lang="de-DE">
                <a:solidFill>
                  <a:srgbClr val="646864"/>
                </a:solidFill>
                <a:latin typeface="Calibri" pitchFamily="34" charset="0"/>
              </a:rPr>
              <a:t>Titelmasterformat durch Klicken bearbeiten</a:t>
            </a:r>
            <a:endParaRPr lang="de-DE" dirty="0">
              <a:solidFill>
                <a:srgbClr val="646864"/>
              </a:solidFill>
              <a:latin typeface="Calibri" pitchFamily="34" charset="0"/>
            </a:endParaRPr>
          </a:p>
        </p:txBody>
      </p:sp>
    </p:spTree>
    <p:extLst>
      <p:ext uri="{BB962C8B-B14F-4D97-AF65-F5344CB8AC3E}">
        <p14:creationId xmlns:p14="http://schemas.microsoft.com/office/powerpoint/2010/main" val="202071987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764D6-38DE-497E-B82B-95949E4D814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E38B936A-20BA-443F-960B-38960E780B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2BEF29C4-F7C3-4F16-A2F5-D690265EF50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EE11086-EAE5-4F52-803E-90BAAB47F4F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D37ED54F-C0E0-4327-AA76-3A8FDADEE2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848639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5F92F-7CA9-4F96-AEC8-E29C070EB29D}"/>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8FDCD90B-8748-46C0-A39A-83D749C480E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042CE235-7349-42E1-AB38-7AC55822D56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8617B389-79D2-47D6-BF35-81BE2E6F266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614B614E-D52C-4BF5-A25B-907CA51814E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1231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3E923C-E081-49EC-8815-24B40F324C7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1BF0E967-4598-4946-B527-F50ED393D3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EBEE93E-91EC-43BF-92F6-24887EEF504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BE68E5E0-6997-40C9-9BB4-835E7FD2CB0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BAD0D191-9805-4359-968B-3EBFF4C0DE7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918221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54B0E-5124-49A2-97C6-213894691261}"/>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A3144B28-A531-4B96-A5BD-D76D480B722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B6556715-F048-4F5C-9E7B-D225352E0239}"/>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D511371F-901B-48F0-8F7C-96D91C9881B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DE687A46-0477-4B3E-8AB1-1E3EDAAB441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A535483C-01F0-4D5F-9CDE-FAD26A64AB0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0372491"/>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024AE-A9C1-4CA1-8B2D-C0EE8459225C}"/>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0AA6F267-47B9-4E84-BD12-EEE84FF07C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5AF247F-2B33-42A4-8A88-DCF6D660A42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513F1F4D-3B07-4C3C-9702-87652934A41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C8A5831-9AD3-425B-842C-5715CF0A7ED4}"/>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933D6844-4FCD-4CA6-A8D5-1A8463C7AC2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a:extLst>
              <a:ext uri="{FF2B5EF4-FFF2-40B4-BE49-F238E27FC236}">
                <a16:creationId xmlns:a16="http://schemas.microsoft.com/office/drawing/2014/main" id="{9CD26751-DFBD-4BEF-80BD-AABC2EB6C54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a:extLst>
              <a:ext uri="{FF2B5EF4-FFF2-40B4-BE49-F238E27FC236}">
                <a16:creationId xmlns:a16="http://schemas.microsoft.com/office/drawing/2014/main" id="{DB06D8D9-3A9A-4706-8D62-C802D60D066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8376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41"/>
        <p:cNvGrpSpPr/>
        <p:nvPr/>
      </p:nvGrpSpPr>
      <p:grpSpPr>
        <a:xfrm>
          <a:off x="0" y="0"/>
          <a:ext cx="0" cy="0"/>
          <a:chOff x="0" y="0"/>
          <a:chExt cx="0" cy="0"/>
        </a:xfrm>
      </p:grpSpPr>
      <p:grpSp>
        <p:nvGrpSpPr>
          <p:cNvPr id="42" name="Google Shape;42;g91f7f3216c_0_109"/>
          <p:cNvGrpSpPr/>
          <p:nvPr/>
        </p:nvGrpSpPr>
        <p:grpSpPr>
          <a:xfrm>
            <a:off x="0" y="508002"/>
            <a:ext cx="1383800" cy="1355049"/>
            <a:chOff x="0" y="381001"/>
            <a:chExt cx="1037850" cy="1016287"/>
          </a:xfrm>
        </p:grpSpPr>
        <p:sp>
          <p:nvSpPr>
            <p:cNvPr id="43" name="Google Shape;43;g91f7f3216c_0_109"/>
            <p:cNvSpPr/>
            <p:nvPr/>
          </p:nvSpPr>
          <p:spPr>
            <a:xfrm rot="-5400000">
              <a:off x="0" y="381001"/>
              <a:ext cx="808800" cy="808800"/>
            </a:xfrm>
            <a:prstGeom prst="diagStripe">
              <a:avLst>
                <a:gd name="adj" fmla="val 50000"/>
              </a:avLst>
            </a:prstGeom>
            <a:solidFill>
              <a:schemeClr val="accent1"/>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 name="Google Shape;44;g91f7f3216c_0_109"/>
            <p:cNvSpPr/>
            <p:nvPr/>
          </p:nvSpPr>
          <p:spPr>
            <a:xfrm flipH="1">
              <a:off x="229050" y="588489"/>
              <a:ext cx="808800" cy="808800"/>
            </a:xfrm>
            <a:prstGeom prst="diagStripe">
              <a:avLst>
                <a:gd name="adj" fmla="val 50000"/>
              </a:avLst>
            </a:prstGeom>
            <a:solidFill>
              <a:schemeClr val="lt2"/>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45" name="Google Shape;45;g91f7f3216c_0_109"/>
          <p:cNvSpPr txBox="1">
            <a:spLocks noGrp="1"/>
          </p:cNvSpPr>
          <p:nvPr>
            <p:ph type="title"/>
          </p:nvPr>
        </p:nvSpPr>
        <p:spPr>
          <a:xfrm>
            <a:off x="1730000" y="525000"/>
            <a:ext cx="9385200" cy="1218800"/>
          </a:xfrm>
          <a:prstGeom prst="rect">
            <a:avLst/>
          </a:prstGeom>
        </p:spPr>
        <p:txBody>
          <a:bodyPr spcFirstLastPara="1" wrap="square" lIns="91425" tIns="91425" rIns="91425" bIns="91425" anchor="t" anchorCtr="0">
            <a:no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46" name="Google Shape;46;g91f7f3216c_0_109"/>
          <p:cNvSpPr txBox="1">
            <a:spLocks noGrp="1"/>
          </p:cNvSpPr>
          <p:nvPr>
            <p:ph type="body" idx="1"/>
          </p:nvPr>
        </p:nvSpPr>
        <p:spPr>
          <a:xfrm>
            <a:off x="1730000" y="2090067"/>
            <a:ext cx="9385200" cy="3881600"/>
          </a:xfrm>
          <a:prstGeom prst="rect">
            <a:avLst/>
          </a:prstGeom>
        </p:spPr>
        <p:txBody>
          <a:bodyPr spcFirstLastPara="1" wrap="square" lIns="91425" tIns="91425" rIns="91425" bIns="91425" anchor="t" anchorCtr="0">
            <a:noAutofit/>
          </a:bodyPr>
          <a:lstStyle>
            <a:lvl1pPr marL="609585" lvl="0" indent="-414856">
              <a:spcBef>
                <a:spcPts val="0"/>
              </a:spcBef>
              <a:spcAft>
                <a:spcPts val="0"/>
              </a:spcAft>
              <a:buSzPts val="1300"/>
              <a:buChar char="●"/>
              <a:defRPr/>
            </a:lvl1pPr>
            <a:lvl2pPr marL="1219170" lvl="1" indent="-397923">
              <a:spcBef>
                <a:spcPts val="2133"/>
              </a:spcBef>
              <a:spcAft>
                <a:spcPts val="0"/>
              </a:spcAft>
              <a:buSzPts val="1100"/>
              <a:buChar char="○"/>
              <a:defRPr/>
            </a:lvl2pPr>
            <a:lvl3pPr marL="1828754" lvl="2" indent="-397923">
              <a:spcBef>
                <a:spcPts val="2133"/>
              </a:spcBef>
              <a:spcAft>
                <a:spcPts val="0"/>
              </a:spcAft>
              <a:buSzPts val="1100"/>
              <a:buChar char="■"/>
              <a:defRPr/>
            </a:lvl3pPr>
            <a:lvl4pPr marL="2438339" lvl="3" indent="-397923">
              <a:spcBef>
                <a:spcPts val="2133"/>
              </a:spcBef>
              <a:spcAft>
                <a:spcPts val="0"/>
              </a:spcAft>
              <a:buSzPts val="1100"/>
              <a:buChar char="●"/>
              <a:defRPr/>
            </a:lvl4pPr>
            <a:lvl5pPr marL="3047924" lvl="4" indent="-397923">
              <a:spcBef>
                <a:spcPts val="2133"/>
              </a:spcBef>
              <a:spcAft>
                <a:spcPts val="0"/>
              </a:spcAft>
              <a:buSzPts val="1100"/>
              <a:buChar char="○"/>
              <a:defRPr/>
            </a:lvl5pPr>
            <a:lvl6pPr marL="3657509" lvl="5" indent="-397923">
              <a:spcBef>
                <a:spcPts val="2133"/>
              </a:spcBef>
              <a:spcAft>
                <a:spcPts val="0"/>
              </a:spcAft>
              <a:buSzPts val="1100"/>
              <a:buChar char="■"/>
              <a:defRPr/>
            </a:lvl6pPr>
            <a:lvl7pPr marL="4267093" lvl="6" indent="-397923">
              <a:spcBef>
                <a:spcPts val="2133"/>
              </a:spcBef>
              <a:spcAft>
                <a:spcPts val="0"/>
              </a:spcAft>
              <a:buSzPts val="1100"/>
              <a:buChar char="●"/>
              <a:defRPr/>
            </a:lvl7pPr>
            <a:lvl8pPr marL="4876678" lvl="7" indent="-397923">
              <a:spcBef>
                <a:spcPts val="2133"/>
              </a:spcBef>
              <a:spcAft>
                <a:spcPts val="0"/>
              </a:spcAft>
              <a:buSzPts val="1100"/>
              <a:buChar char="○"/>
              <a:defRPr/>
            </a:lvl8pPr>
            <a:lvl9pPr marL="5486263" lvl="8" indent="-397923">
              <a:spcBef>
                <a:spcPts val="2133"/>
              </a:spcBef>
              <a:spcAft>
                <a:spcPts val="2133"/>
              </a:spcAft>
              <a:buSzPts val="1100"/>
              <a:buChar char="■"/>
              <a:defRPr/>
            </a:lvl9pPr>
          </a:lstStyle>
          <a:p>
            <a:endParaRPr/>
          </a:p>
        </p:txBody>
      </p:sp>
      <p:sp>
        <p:nvSpPr>
          <p:cNvPr id="47" name="Google Shape;47;g91f7f3216c_0_10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defTabSz="1219170">
              <a:buClr>
                <a:srgbClr val="000000"/>
              </a:buClr>
            </a:pPr>
            <a:fld id="{00000000-1234-1234-1234-123412341234}" type="slidenum">
              <a:rPr lang="en-GB" kern="0" smtClean="0">
                <a:solidFill>
                  <a:srgbClr val="FFFFFF"/>
                </a:solidFill>
              </a:rPr>
              <a:pPr defTabSz="1219170">
                <a:buClr>
                  <a:srgbClr val="000000"/>
                </a:buClr>
              </a:pPr>
              <a:t>‹#›</a:t>
            </a:fld>
            <a:endParaRPr lang="en-GB" kern="0">
              <a:solidFill>
                <a:srgbClr val="FFFFFF"/>
              </a:solidFill>
            </a:endParaRPr>
          </a:p>
        </p:txBody>
      </p:sp>
    </p:spTree>
    <p:extLst>
      <p:ext uri="{BB962C8B-B14F-4D97-AF65-F5344CB8AC3E}">
        <p14:creationId xmlns:p14="http://schemas.microsoft.com/office/powerpoint/2010/main" val="21778386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defTabSz="1219170">
              <a:defRPr/>
            </a:pPr>
            <a:fld id="{37C3B0DF-D875-4904-98F5-44F1DF66E47E}"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defTabSz="1219170">
              <a:defRPr/>
            </a:pPr>
            <a:fld id="{C7E9870F-0A06-48F7-BAA2-D3DBB90E019B}"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163905195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9AC5D0-92BC-4B98-900A-B94B9147956B}"/>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A2D6C20C-418F-4678-AD29-ED2815ADC6F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a:extLst>
              <a:ext uri="{FF2B5EF4-FFF2-40B4-BE49-F238E27FC236}">
                <a16:creationId xmlns:a16="http://schemas.microsoft.com/office/drawing/2014/main" id="{A0BDA317-FA33-4A56-A0C1-5AEF70246C4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88CBBA03-8C0E-410D-8C42-430BE935A7D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919344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25E38B3-E889-4DB3-820E-54DFD32ACE4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124E1DC2-C96C-4C0E-BD93-399EF94667A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E6B30C26-8A1E-4B0D-AD82-9AC43BF5B6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446971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8FC8E-F877-4222-8530-B2B3042225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B3A79765-2F60-4217-8BF1-D614A52E5FF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4F89B0FC-4E8D-40F1-BCFD-0A9716CD433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422179C-8367-40E5-A94A-C685B74D64F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34032FD4-F19B-41DE-A373-9B1A8CBF222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68C6BB32-7A7A-464C-B514-FB6BAD2BDDC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587835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90FF4-610F-478E-93CB-754FE1A569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0F8DE0B3-24C7-4F2F-AB55-1A9A935D4DD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C53DF26B-6362-4E3B-882A-3C9C984D43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CAB8532-B2D1-4EF0-91F7-D0F863E683D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17F583DE-AC6B-4923-AE93-6C6E995A2C9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D94054E0-4213-4264-AFE5-4CAF12F1CE3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654003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4C8BE-D996-41B0-8F5E-4260BC1F0DFB}"/>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F8389269-6036-418B-8E18-D1F4E22086B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3356243-E002-4107-9B1F-FE462C381AC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824BC12-8819-4C7C-8448-CBAE03E5234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4D1F2319-6FB6-4B7C-A79D-C7DBBFC3EB9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668393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D5671D9-93C3-4207-A019-F384D868E6F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2EBED4F8-60C6-4C02-9702-B3B407607945}"/>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968EEFC-C49D-4E54-853B-BB51F69A7DE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BAE040C3-8135-4EEE-968B-C73A9A6DD88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83F7D5FA-C22A-4CC2-8CC2-2F1F1824BE0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86637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22401" y="1334917"/>
            <a:ext cx="3314945" cy="960372"/>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1335678"/>
            <a:ext cx="6815667" cy="4837284"/>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429241" y="2295288"/>
            <a:ext cx="3314945" cy="3876912"/>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defTabSz="1219170">
              <a:defRPr/>
            </a:pPr>
            <a:fld id="{61E8C692-8663-409F-8028-979E2F9D87E3}"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1219170">
              <a:defRPr/>
            </a:pPr>
            <a:fld id="{E4B49359-96A5-4887-A985-101E0E6B0ACB}"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7193959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1498599"/>
            <a:ext cx="7315200" cy="3228975"/>
          </a:xfr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defTabSz="1219170">
              <a:defRPr/>
            </a:pPr>
            <a:fld id="{F23F0D54-8ECD-4F65-88C4-69A0371B8730}"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1219170">
              <a:defRPr/>
            </a:pPr>
            <a:fld id="{F238A125-ADE3-4298-A3EC-4E965133E742}"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14245728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defTabSz="1219170">
              <a:defRPr/>
            </a:pPr>
            <a:fld id="{796198B1-FE28-43AB-95FC-0558CBBCEBCA}"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1219170">
              <a:defRPr/>
            </a:pPr>
            <a:fld id="{1266EA64-FCEE-444F-A4C8-F6A0C31895F1}"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22428086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1307433"/>
            <a:ext cx="2743200" cy="4826636"/>
          </a:xfrm>
        </p:spPr>
        <p:txBody>
          <a:bodyPr vert="eaVert"/>
          <a:lstStyle>
            <a:lvl1pPr>
              <a:defRPr sz="4267"/>
            </a:lvl1pPr>
          </a:lstStyle>
          <a:p>
            <a:r>
              <a:rPr lang="en-US" dirty="0"/>
              <a:t>Click to edit Master title style</a:t>
            </a:r>
          </a:p>
        </p:txBody>
      </p:sp>
      <p:sp>
        <p:nvSpPr>
          <p:cNvPr id="3" name="Vertical Text Placeholder 2"/>
          <p:cNvSpPr>
            <a:spLocks noGrp="1"/>
          </p:cNvSpPr>
          <p:nvPr>
            <p:ph type="body" orient="vert" idx="1"/>
          </p:nvPr>
        </p:nvSpPr>
        <p:spPr>
          <a:xfrm>
            <a:off x="609600" y="1307433"/>
            <a:ext cx="8026400" cy="4826636"/>
          </a:xfrm>
        </p:spPr>
        <p:txBody>
          <a:bodyPr vert="eaVert">
            <a:normAutofit/>
          </a:bodyPr>
          <a:lstStyle>
            <a:lvl1pPr>
              <a:defRPr sz="3200"/>
            </a:lvl1pPr>
            <a:lvl2pPr>
              <a:defRPr sz="2667"/>
            </a:lvl2pPr>
            <a:lvl3pPr>
              <a:defRPr sz="2400"/>
            </a:lvl3pPr>
            <a:lvl4pPr>
              <a:defRPr sz="2133"/>
            </a:lvl4pPr>
            <a:lvl5pPr>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defTabSz="1219170">
              <a:defRPr/>
            </a:pPr>
            <a:fld id="{4FEC949A-9C87-4F8A-A68C-603EDAA29CC7}"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1219170">
              <a:defRPr/>
            </a:pPr>
            <a:fld id="{10476325-CF51-4C41-8957-65D4A35CD978}"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20546360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79716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Heading 1_Title Slide">
    <p:spTree>
      <p:nvGrpSpPr>
        <p:cNvPr id="1" name=""/>
        <p:cNvGrpSpPr/>
        <p:nvPr/>
      </p:nvGrpSpPr>
      <p:grpSpPr>
        <a:xfrm>
          <a:off x="0" y="0"/>
          <a:ext cx="0" cy="0"/>
          <a:chOff x="0" y="0"/>
          <a:chExt cx="0" cy="0"/>
        </a:xfrm>
      </p:grpSpPr>
      <p:grpSp>
        <p:nvGrpSpPr>
          <p:cNvPr id="2" name="Group 7"/>
          <p:cNvGrpSpPr>
            <a:grpSpLocks/>
          </p:cNvGrpSpPr>
          <p:nvPr userDrawn="1"/>
        </p:nvGrpSpPr>
        <p:grpSpPr bwMode="auto">
          <a:xfrm>
            <a:off x="8113184" y="266701"/>
            <a:ext cx="3818467" cy="791633"/>
            <a:chOff x="2863850" y="3078163"/>
            <a:chExt cx="3413126" cy="708026"/>
          </a:xfrm>
        </p:grpSpPr>
        <p:grpSp>
          <p:nvGrpSpPr>
            <p:cNvPr id="3" name="Group 8"/>
            <p:cNvGrpSpPr>
              <a:grpSpLocks/>
            </p:cNvGrpSpPr>
            <p:nvPr/>
          </p:nvGrpSpPr>
          <p:grpSpPr bwMode="auto">
            <a:xfrm>
              <a:off x="4357688" y="3630613"/>
              <a:ext cx="1919288" cy="155576"/>
              <a:chOff x="4357688" y="3630613"/>
              <a:chExt cx="1919288" cy="155576"/>
            </a:xfrm>
          </p:grpSpPr>
          <p:sp>
            <p:nvSpPr>
              <p:cNvPr id="19" name="Freeform 7"/>
              <p:cNvSpPr>
                <a:spLocks noEditPoints="1"/>
              </p:cNvSpPr>
              <p:nvPr/>
            </p:nvSpPr>
            <p:spPr bwMode="auto">
              <a:xfrm>
                <a:off x="4357688" y="3630613"/>
                <a:ext cx="109538" cy="125413"/>
              </a:xfrm>
              <a:custGeom>
                <a:avLst/>
                <a:gdLst>
                  <a:gd name="T0" fmla="*/ 38100 w 69"/>
                  <a:gd name="T1" fmla="*/ 79375 h 79"/>
                  <a:gd name="T2" fmla="*/ 52388 w 69"/>
                  <a:gd name="T3" fmla="*/ 34925 h 79"/>
                  <a:gd name="T4" fmla="*/ 68263 w 69"/>
                  <a:gd name="T5" fmla="*/ 79375 h 79"/>
                  <a:gd name="T6" fmla="*/ 38100 w 69"/>
                  <a:gd name="T7" fmla="*/ 79375 h 79"/>
                  <a:gd name="T8" fmla="*/ 63500 w 69"/>
                  <a:gd name="T9" fmla="*/ 0 h 79"/>
                  <a:gd name="T10" fmla="*/ 44450 w 69"/>
                  <a:gd name="T11" fmla="*/ 0 h 79"/>
                  <a:gd name="T12" fmla="*/ 0 w 69"/>
                  <a:gd name="T13" fmla="*/ 125413 h 79"/>
                  <a:gd name="T14" fmla="*/ 22225 w 69"/>
                  <a:gd name="T15" fmla="*/ 125413 h 79"/>
                  <a:gd name="T16" fmla="*/ 30163 w 69"/>
                  <a:gd name="T17" fmla="*/ 103188 h 79"/>
                  <a:gd name="T18" fmla="*/ 74613 w 69"/>
                  <a:gd name="T19" fmla="*/ 103188 h 79"/>
                  <a:gd name="T20" fmla="*/ 82550 w 69"/>
                  <a:gd name="T21" fmla="*/ 125413 h 79"/>
                  <a:gd name="T22" fmla="*/ 109538 w 69"/>
                  <a:gd name="T23" fmla="*/ 125413 h 79"/>
                  <a:gd name="T24" fmla="*/ 63500 w 69"/>
                  <a:gd name="T25" fmla="*/ 0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9" h="79">
                    <a:moveTo>
                      <a:pt x="24" y="50"/>
                    </a:moveTo>
                    <a:lnTo>
                      <a:pt x="33" y="22"/>
                    </a:lnTo>
                    <a:lnTo>
                      <a:pt x="43" y="50"/>
                    </a:lnTo>
                    <a:lnTo>
                      <a:pt x="24" y="50"/>
                    </a:lnTo>
                    <a:close/>
                    <a:moveTo>
                      <a:pt x="40" y="0"/>
                    </a:moveTo>
                    <a:lnTo>
                      <a:pt x="28" y="0"/>
                    </a:lnTo>
                    <a:lnTo>
                      <a:pt x="0" y="79"/>
                    </a:lnTo>
                    <a:lnTo>
                      <a:pt x="14" y="79"/>
                    </a:lnTo>
                    <a:lnTo>
                      <a:pt x="19" y="65"/>
                    </a:lnTo>
                    <a:lnTo>
                      <a:pt x="47" y="65"/>
                    </a:lnTo>
                    <a:lnTo>
                      <a:pt x="52" y="79"/>
                    </a:lnTo>
                    <a:lnTo>
                      <a:pt x="69" y="79"/>
                    </a:lnTo>
                    <a:lnTo>
                      <a:pt x="40" y="0"/>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0" name="Freeform 8"/>
              <p:cNvSpPr>
                <a:spLocks noEditPoints="1"/>
              </p:cNvSpPr>
              <p:nvPr/>
            </p:nvSpPr>
            <p:spPr bwMode="auto">
              <a:xfrm>
                <a:off x="4473575" y="3660776"/>
                <a:ext cx="76200" cy="95250"/>
              </a:xfrm>
              <a:custGeom>
                <a:avLst/>
                <a:gdLst>
                  <a:gd name="T0" fmla="*/ 49530 w 20"/>
                  <a:gd name="T1" fmla="*/ 68580 h 25"/>
                  <a:gd name="T2" fmla="*/ 34290 w 20"/>
                  <a:gd name="T3" fmla="*/ 76200 h 25"/>
                  <a:gd name="T4" fmla="*/ 19050 w 20"/>
                  <a:gd name="T5" fmla="*/ 64770 h 25"/>
                  <a:gd name="T6" fmla="*/ 34290 w 20"/>
                  <a:gd name="T7" fmla="*/ 53340 h 25"/>
                  <a:gd name="T8" fmla="*/ 49530 w 20"/>
                  <a:gd name="T9" fmla="*/ 53340 h 25"/>
                  <a:gd name="T10" fmla="*/ 49530 w 20"/>
                  <a:gd name="T11" fmla="*/ 60960 h 25"/>
                  <a:gd name="T12" fmla="*/ 49530 w 20"/>
                  <a:gd name="T13" fmla="*/ 68580 h 25"/>
                  <a:gd name="T14" fmla="*/ 76200 w 20"/>
                  <a:gd name="T15" fmla="*/ 34290 h 25"/>
                  <a:gd name="T16" fmla="*/ 34290 w 20"/>
                  <a:gd name="T17" fmla="*/ 0 h 25"/>
                  <a:gd name="T18" fmla="*/ 15240 w 20"/>
                  <a:gd name="T19" fmla="*/ 3810 h 25"/>
                  <a:gd name="T20" fmla="*/ 3810 w 20"/>
                  <a:gd name="T21" fmla="*/ 15240 h 25"/>
                  <a:gd name="T22" fmla="*/ 15240 w 20"/>
                  <a:gd name="T23" fmla="*/ 26670 h 25"/>
                  <a:gd name="T24" fmla="*/ 34290 w 20"/>
                  <a:gd name="T25" fmla="*/ 19050 h 25"/>
                  <a:gd name="T26" fmla="*/ 49530 w 20"/>
                  <a:gd name="T27" fmla="*/ 34290 h 25"/>
                  <a:gd name="T28" fmla="*/ 49530 w 20"/>
                  <a:gd name="T29" fmla="*/ 38100 h 25"/>
                  <a:gd name="T30" fmla="*/ 30480 w 20"/>
                  <a:gd name="T31" fmla="*/ 38100 h 25"/>
                  <a:gd name="T32" fmla="*/ 7620 w 20"/>
                  <a:gd name="T33" fmla="*/ 45720 h 25"/>
                  <a:gd name="T34" fmla="*/ 0 w 20"/>
                  <a:gd name="T35" fmla="*/ 64770 h 25"/>
                  <a:gd name="T36" fmla="*/ 7620 w 20"/>
                  <a:gd name="T37" fmla="*/ 87630 h 25"/>
                  <a:gd name="T38" fmla="*/ 30480 w 20"/>
                  <a:gd name="T39" fmla="*/ 95250 h 25"/>
                  <a:gd name="T40" fmla="*/ 53340 w 20"/>
                  <a:gd name="T41" fmla="*/ 83820 h 25"/>
                  <a:gd name="T42" fmla="*/ 53340 w 20"/>
                  <a:gd name="T43" fmla="*/ 95250 h 25"/>
                  <a:gd name="T44" fmla="*/ 76200 w 20"/>
                  <a:gd name="T45" fmla="*/ 95250 h 25"/>
                  <a:gd name="T46" fmla="*/ 76200 w 20"/>
                  <a:gd name="T47" fmla="*/ 3429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3" y="18"/>
                    </a:moveTo>
                    <a:cubicBezTo>
                      <a:pt x="12" y="19"/>
                      <a:pt x="11" y="20"/>
                      <a:pt x="9" y="20"/>
                    </a:cubicBezTo>
                    <a:cubicBezTo>
                      <a:pt x="7" y="20"/>
                      <a:pt x="5" y="19"/>
                      <a:pt x="5" y="17"/>
                    </a:cubicBezTo>
                    <a:cubicBezTo>
                      <a:pt x="5" y="15"/>
                      <a:pt x="7" y="14"/>
                      <a:pt x="9" y="14"/>
                    </a:cubicBezTo>
                    <a:cubicBezTo>
                      <a:pt x="13" y="14"/>
                      <a:pt x="13" y="14"/>
                      <a:pt x="13" y="14"/>
                    </a:cubicBezTo>
                    <a:cubicBezTo>
                      <a:pt x="13" y="16"/>
                      <a:pt x="13" y="16"/>
                      <a:pt x="13" y="16"/>
                    </a:cubicBezTo>
                    <a:cubicBezTo>
                      <a:pt x="13" y="17"/>
                      <a:pt x="13" y="18"/>
                      <a:pt x="13" y="18"/>
                    </a:cubicBezTo>
                    <a:moveTo>
                      <a:pt x="20" y="9"/>
                    </a:moveTo>
                    <a:cubicBezTo>
                      <a:pt x="20" y="3"/>
                      <a:pt x="16" y="0"/>
                      <a:pt x="9" y="0"/>
                    </a:cubicBezTo>
                    <a:cubicBezTo>
                      <a:pt x="7" y="0"/>
                      <a:pt x="6" y="0"/>
                      <a:pt x="4" y="1"/>
                    </a:cubicBezTo>
                    <a:cubicBezTo>
                      <a:pt x="3" y="1"/>
                      <a:pt x="2" y="2"/>
                      <a:pt x="1" y="4"/>
                    </a:cubicBezTo>
                    <a:cubicBezTo>
                      <a:pt x="4" y="7"/>
                      <a:pt x="4" y="7"/>
                      <a:pt x="4" y="7"/>
                    </a:cubicBezTo>
                    <a:cubicBezTo>
                      <a:pt x="6" y="6"/>
                      <a:pt x="7" y="5"/>
                      <a:pt x="9" y="5"/>
                    </a:cubicBezTo>
                    <a:cubicBezTo>
                      <a:pt x="12" y="5"/>
                      <a:pt x="13" y="7"/>
                      <a:pt x="13" y="9"/>
                    </a:cubicBezTo>
                    <a:cubicBezTo>
                      <a:pt x="13" y="10"/>
                      <a:pt x="13" y="10"/>
                      <a:pt x="13" y="10"/>
                    </a:cubicBezTo>
                    <a:cubicBezTo>
                      <a:pt x="8" y="10"/>
                      <a:pt x="8" y="10"/>
                      <a:pt x="8" y="10"/>
                    </a:cubicBezTo>
                    <a:cubicBezTo>
                      <a:pt x="5" y="10"/>
                      <a:pt x="3" y="11"/>
                      <a:pt x="2" y="12"/>
                    </a:cubicBezTo>
                    <a:cubicBezTo>
                      <a:pt x="0" y="14"/>
                      <a:pt x="0" y="15"/>
                      <a:pt x="0" y="17"/>
                    </a:cubicBezTo>
                    <a:cubicBezTo>
                      <a:pt x="0" y="19"/>
                      <a:pt x="0" y="21"/>
                      <a:pt x="2" y="23"/>
                    </a:cubicBezTo>
                    <a:cubicBezTo>
                      <a:pt x="3" y="24"/>
                      <a:pt x="5" y="25"/>
                      <a:pt x="8" y="25"/>
                    </a:cubicBezTo>
                    <a:cubicBezTo>
                      <a:pt x="10" y="25"/>
                      <a:pt x="12" y="24"/>
                      <a:pt x="14" y="22"/>
                    </a:cubicBezTo>
                    <a:cubicBezTo>
                      <a:pt x="14" y="25"/>
                      <a:pt x="14" y="25"/>
                      <a:pt x="14"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1" name="Freeform 9"/>
              <p:cNvSpPr>
                <a:spLocks noEditPoints="1"/>
              </p:cNvSpPr>
              <p:nvPr/>
            </p:nvSpPr>
            <p:spPr bwMode="auto">
              <a:xfrm>
                <a:off x="4572000" y="3660776"/>
                <a:ext cx="74613" cy="125413"/>
              </a:xfrm>
              <a:custGeom>
                <a:avLst/>
                <a:gdLst>
                  <a:gd name="T0" fmla="*/ 52229 w 20"/>
                  <a:gd name="T1" fmla="*/ 64607 h 33"/>
                  <a:gd name="T2" fmla="*/ 37307 w 20"/>
                  <a:gd name="T3" fmla="*/ 72207 h 33"/>
                  <a:gd name="T4" fmla="*/ 22384 w 20"/>
                  <a:gd name="T5" fmla="*/ 64607 h 33"/>
                  <a:gd name="T6" fmla="*/ 22384 w 20"/>
                  <a:gd name="T7" fmla="*/ 49405 h 33"/>
                  <a:gd name="T8" fmla="*/ 22384 w 20"/>
                  <a:gd name="T9" fmla="*/ 30403 h 33"/>
                  <a:gd name="T10" fmla="*/ 37307 w 20"/>
                  <a:gd name="T11" fmla="*/ 22802 h 33"/>
                  <a:gd name="T12" fmla="*/ 52229 w 20"/>
                  <a:gd name="T13" fmla="*/ 30403 h 33"/>
                  <a:gd name="T14" fmla="*/ 52229 w 20"/>
                  <a:gd name="T15" fmla="*/ 49405 h 33"/>
                  <a:gd name="T16" fmla="*/ 52229 w 20"/>
                  <a:gd name="T17" fmla="*/ 64607 h 33"/>
                  <a:gd name="T18" fmla="*/ 74613 w 20"/>
                  <a:gd name="T19" fmla="*/ 26603 h 33"/>
                  <a:gd name="T20" fmla="*/ 67152 w 20"/>
                  <a:gd name="T21" fmla="*/ 7601 h 33"/>
                  <a:gd name="T22" fmla="*/ 44768 w 20"/>
                  <a:gd name="T23" fmla="*/ 0 h 33"/>
                  <a:gd name="T24" fmla="*/ 22384 w 20"/>
                  <a:gd name="T25" fmla="*/ 11401 h 33"/>
                  <a:gd name="T26" fmla="*/ 22384 w 20"/>
                  <a:gd name="T27" fmla="*/ 0 h 33"/>
                  <a:gd name="T28" fmla="*/ 0 w 20"/>
                  <a:gd name="T29" fmla="*/ 0 h 33"/>
                  <a:gd name="T30" fmla="*/ 0 w 20"/>
                  <a:gd name="T31" fmla="*/ 125413 h 33"/>
                  <a:gd name="T32" fmla="*/ 22384 w 20"/>
                  <a:gd name="T33" fmla="*/ 125413 h 33"/>
                  <a:gd name="T34" fmla="*/ 22384 w 20"/>
                  <a:gd name="T35" fmla="*/ 83609 h 33"/>
                  <a:gd name="T36" fmla="*/ 44768 w 20"/>
                  <a:gd name="T37" fmla="*/ 95010 h 33"/>
                  <a:gd name="T38" fmla="*/ 67152 w 20"/>
                  <a:gd name="T39" fmla="*/ 87409 h 33"/>
                  <a:gd name="T40" fmla="*/ 74613 w 20"/>
                  <a:gd name="T41" fmla="*/ 68407 h 33"/>
                  <a:gd name="T42" fmla="*/ 74613 w 20"/>
                  <a:gd name="T43" fmla="*/ 49405 h 33"/>
                  <a:gd name="T44" fmla="*/ 74613 w 20"/>
                  <a:gd name="T45" fmla="*/ 26603 h 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33">
                    <a:moveTo>
                      <a:pt x="14" y="17"/>
                    </a:moveTo>
                    <a:cubicBezTo>
                      <a:pt x="13" y="19"/>
                      <a:pt x="12" y="19"/>
                      <a:pt x="10" y="19"/>
                    </a:cubicBezTo>
                    <a:cubicBezTo>
                      <a:pt x="8" y="19"/>
                      <a:pt x="7" y="19"/>
                      <a:pt x="6" y="17"/>
                    </a:cubicBezTo>
                    <a:cubicBezTo>
                      <a:pt x="6" y="16"/>
                      <a:pt x="6" y="15"/>
                      <a:pt x="6" y="13"/>
                    </a:cubicBezTo>
                    <a:cubicBezTo>
                      <a:pt x="6" y="10"/>
                      <a:pt x="6" y="9"/>
                      <a:pt x="6" y="8"/>
                    </a:cubicBezTo>
                    <a:cubicBezTo>
                      <a:pt x="7" y="6"/>
                      <a:pt x="8" y="6"/>
                      <a:pt x="10" y="6"/>
                    </a:cubicBezTo>
                    <a:cubicBezTo>
                      <a:pt x="12" y="6"/>
                      <a:pt x="13" y="6"/>
                      <a:pt x="14" y="8"/>
                    </a:cubicBezTo>
                    <a:cubicBezTo>
                      <a:pt x="14" y="9"/>
                      <a:pt x="14" y="10"/>
                      <a:pt x="14" y="13"/>
                    </a:cubicBezTo>
                    <a:cubicBezTo>
                      <a:pt x="14" y="15"/>
                      <a:pt x="14" y="16"/>
                      <a:pt x="14" y="17"/>
                    </a:cubicBezTo>
                    <a:moveTo>
                      <a:pt x="20" y="7"/>
                    </a:moveTo>
                    <a:cubicBezTo>
                      <a:pt x="19" y="5"/>
                      <a:pt x="19" y="3"/>
                      <a:pt x="18" y="2"/>
                    </a:cubicBezTo>
                    <a:cubicBezTo>
                      <a:pt x="16" y="1"/>
                      <a:pt x="14" y="0"/>
                      <a:pt x="12" y="0"/>
                    </a:cubicBezTo>
                    <a:cubicBezTo>
                      <a:pt x="9" y="0"/>
                      <a:pt x="7" y="1"/>
                      <a:pt x="6" y="3"/>
                    </a:cubicBezTo>
                    <a:cubicBezTo>
                      <a:pt x="6" y="0"/>
                      <a:pt x="6" y="0"/>
                      <a:pt x="6" y="0"/>
                    </a:cubicBezTo>
                    <a:cubicBezTo>
                      <a:pt x="0" y="0"/>
                      <a:pt x="0" y="0"/>
                      <a:pt x="0" y="0"/>
                    </a:cubicBezTo>
                    <a:cubicBezTo>
                      <a:pt x="0" y="33"/>
                      <a:pt x="0" y="33"/>
                      <a:pt x="0" y="33"/>
                    </a:cubicBezTo>
                    <a:cubicBezTo>
                      <a:pt x="6" y="33"/>
                      <a:pt x="6" y="33"/>
                      <a:pt x="6" y="33"/>
                    </a:cubicBezTo>
                    <a:cubicBezTo>
                      <a:pt x="6" y="22"/>
                      <a:pt x="6" y="22"/>
                      <a:pt x="6" y="22"/>
                    </a:cubicBezTo>
                    <a:cubicBezTo>
                      <a:pt x="7" y="24"/>
                      <a:pt x="9" y="25"/>
                      <a:pt x="12" y="25"/>
                    </a:cubicBezTo>
                    <a:cubicBezTo>
                      <a:pt x="14" y="25"/>
                      <a:pt x="16" y="24"/>
                      <a:pt x="18" y="23"/>
                    </a:cubicBezTo>
                    <a:cubicBezTo>
                      <a:pt x="19" y="22"/>
                      <a:pt x="19" y="20"/>
                      <a:pt x="20" y="18"/>
                    </a:cubicBezTo>
                    <a:cubicBezTo>
                      <a:pt x="20" y="17"/>
                      <a:pt x="20" y="15"/>
                      <a:pt x="20" y="13"/>
                    </a:cubicBezTo>
                    <a:cubicBezTo>
                      <a:pt x="20" y="10"/>
                      <a:pt x="20" y="8"/>
                      <a:pt x="20" y="7"/>
                    </a:cubicBezTo>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2" name="Freeform 10"/>
              <p:cNvSpPr>
                <a:spLocks/>
              </p:cNvSpPr>
              <p:nvPr/>
            </p:nvSpPr>
            <p:spPr bwMode="auto">
              <a:xfrm>
                <a:off x="4670425" y="3630613"/>
                <a:ext cx="82550" cy="125413"/>
              </a:xfrm>
              <a:custGeom>
                <a:avLst/>
                <a:gdLst>
                  <a:gd name="T0" fmla="*/ 82550 w 52"/>
                  <a:gd name="T1" fmla="*/ 125413 h 79"/>
                  <a:gd name="T2" fmla="*/ 52388 w 52"/>
                  <a:gd name="T3" fmla="*/ 125413 h 79"/>
                  <a:gd name="T4" fmla="*/ 30163 w 52"/>
                  <a:gd name="T5" fmla="*/ 87313 h 79"/>
                  <a:gd name="T6" fmla="*/ 22225 w 52"/>
                  <a:gd name="T7" fmla="*/ 95250 h 79"/>
                  <a:gd name="T8" fmla="*/ 22225 w 52"/>
                  <a:gd name="T9" fmla="*/ 125413 h 79"/>
                  <a:gd name="T10" fmla="*/ 0 w 52"/>
                  <a:gd name="T11" fmla="*/ 125413 h 79"/>
                  <a:gd name="T12" fmla="*/ 0 w 52"/>
                  <a:gd name="T13" fmla="*/ 0 h 79"/>
                  <a:gd name="T14" fmla="*/ 22225 w 52"/>
                  <a:gd name="T15" fmla="*/ 0 h 79"/>
                  <a:gd name="T16" fmla="*/ 22225 w 52"/>
                  <a:gd name="T17" fmla="*/ 68263 h 79"/>
                  <a:gd name="T18" fmla="*/ 52388 w 52"/>
                  <a:gd name="T19" fmla="*/ 30163 h 79"/>
                  <a:gd name="T20" fmla="*/ 77788 w 52"/>
                  <a:gd name="T21" fmla="*/ 30163 h 79"/>
                  <a:gd name="T22" fmla="*/ 44450 w 52"/>
                  <a:gd name="T23" fmla="*/ 68263 h 79"/>
                  <a:gd name="T24" fmla="*/ 82550 w 52"/>
                  <a:gd name="T25" fmla="*/ 125413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2" h="79">
                    <a:moveTo>
                      <a:pt x="52" y="79"/>
                    </a:moveTo>
                    <a:lnTo>
                      <a:pt x="33" y="79"/>
                    </a:lnTo>
                    <a:lnTo>
                      <a:pt x="19" y="55"/>
                    </a:lnTo>
                    <a:lnTo>
                      <a:pt x="14" y="60"/>
                    </a:lnTo>
                    <a:lnTo>
                      <a:pt x="14" y="79"/>
                    </a:lnTo>
                    <a:lnTo>
                      <a:pt x="0" y="79"/>
                    </a:lnTo>
                    <a:lnTo>
                      <a:pt x="0" y="0"/>
                    </a:lnTo>
                    <a:lnTo>
                      <a:pt x="14" y="0"/>
                    </a:lnTo>
                    <a:lnTo>
                      <a:pt x="14" y="43"/>
                    </a:lnTo>
                    <a:lnTo>
                      <a:pt x="33" y="19"/>
                    </a:lnTo>
                    <a:lnTo>
                      <a:pt x="49" y="19"/>
                    </a:lnTo>
                    <a:lnTo>
                      <a:pt x="28" y="43"/>
                    </a:lnTo>
                    <a:lnTo>
                      <a:pt x="52"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3" name="Freeform 11"/>
              <p:cNvSpPr>
                <a:spLocks noEditPoints="1"/>
              </p:cNvSpPr>
              <p:nvPr/>
            </p:nvSpPr>
            <p:spPr bwMode="auto">
              <a:xfrm>
                <a:off x="4767263" y="3630613"/>
                <a:ext cx="23813" cy="125413"/>
              </a:xfrm>
              <a:custGeom>
                <a:avLst/>
                <a:gdLst>
                  <a:gd name="T0" fmla="*/ 23813 w 15"/>
                  <a:gd name="T1" fmla="*/ 15875 h 79"/>
                  <a:gd name="T2" fmla="*/ 0 w 15"/>
                  <a:gd name="T3" fmla="*/ 15875 h 79"/>
                  <a:gd name="T4" fmla="*/ 0 w 15"/>
                  <a:gd name="T5" fmla="*/ 0 h 79"/>
                  <a:gd name="T6" fmla="*/ 23813 w 15"/>
                  <a:gd name="T7" fmla="*/ 0 h 79"/>
                  <a:gd name="T8" fmla="*/ 23813 w 15"/>
                  <a:gd name="T9" fmla="*/ 15875 h 79"/>
                  <a:gd name="T10" fmla="*/ 23813 w 15"/>
                  <a:gd name="T11" fmla="*/ 125413 h 79"/>
                  <a:gd name="T12" fmla="*/ 0 w 15"/>
                  <a:gd name="T13" fmla="*/ 125413 h 79"/>
                  <a:gd name="T14" fmla="*/ 0 w 15"/>
                  <a:gd name="T15" fmla="*/ 30163 h 79"/>
                  <a:gd name="T16" fmla="*/ 23813 w 15"/>
                  <a:gd name="T17" fmla="*/ 30163 h 79"/>
                  <a:gd name="T18" fmla="*/ 23813 w 15"/>
                  <a:gd name="T19" fmla="*/ 125413 h 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 h="79">
                    <a:moveTo>
                      <a:pt x="15" y="10"/>
                    </a:moveTo>
                    <a:lnTo>
                      <a:pt x="0" y="10"/>
                    </a:lnTo>
                    <a:lnTo>
                      <a:pt x="0" y="0"/>
                    </a:lnTo>
                    <a:lnTo>
                      <a:pt x="15" y="0"/>
                    </a:lnTo>
                    <a:lnTo>
                      <a:pt x="15" y="10"/>
                    </a:lnTo>
                    <a:close/>
                    <a:moveTo>
                      <a:pt x="15" y="79"/>
                    </a:moveTo>
                    <a:lnTo>
                      <a:pt x="0" y="79"/>
                    </a:lnTo>
                    <a:lnTo>
                      <a:pt x="0" y="19"/>
                    </a:lnTo>
                    <a:lnTo>
                      <a:pt x="15" y="19"/>
                    </a:lnTo>
                    <a:lnTo>
                      <a:pt x="15"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4" name="Freeform 12"/>
              <p:cNvSpPr>
                <a:spLocks/>
              </p:cNvSpPr>
              <p:nvPr/>
            </p:nvSpPr>
            <p:spPr bwMode="auto">
              <a:xfrm>
                <a:off x="4843463" y="3630613"/>
                <a:ext cx="74613" cy="125413"/>
              </a:xfrm>
              <a:custGeom>
                <a:avLst/>
                <a:gdLst>
                  <a:gd name="T0" fmla="*/ 74613 w 20"/>
                  <a:gd name="T1" fmla="*/ 83609 h 33"/>
                  <a:gd name="T2" fmla="*/ 63421 w 20"/>
                  <a:gd name="T3" fmla="*/ 114012 h 33"/>
                  <a:gd name="T4" fmla="*/ 29845 w 20"/>
                  <a:gd name="T5" fmla="*/ 125413 h 33"/>
                  <a:gd name="T6" fmla="*/ 0 w 20"/>
                  <a:gd name="T7" fmla="*/ 110211 h 33"/>
                  <a:gd name="T8" fmla="*/ 14923 w 20"/>
                  <a:gd name="T9" fmla="*/ 95010 h 33"/>
                  <a:gd name="T10" fmla="*/ 29845 w 20"/>
                  <a:gd name="T11" fmla="*/ 102611 h 33"/>
                  <a:gd name="T12" fmla="*/ 52229 w 20"/>
                  <a:gd name="T13" fmla="*/ 83609 h 33"/>
                  <a:gd name="T14" fmla="*/ 52229 w 20"/>
                  <a:gd name="T15" fmla="*/ 0 h 33"/>
                  <a:gd name="T16" fmla="*/ 74613 w 20"/>
                  <a:gd name="T17" fmla="*/ 0 h 33"/>
                  <a:gd name="T18" fmla="*/ 74613 w 20"/>
                  <a:gd name="T19" fmla="*/ 83609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33">
                    <a:moveTo>
                      <a:pt x="20" y="22"/>
                    </a:moveTo>
                    <a:cubicBezTo>
                      <a:pt x="20" y="25"/>
                      <a:pt x="19" y="28"/>
                      <a:pt x="17" y="30"/>
                    </a:cubicBezTo>
                    <a:cubicBezTo>
                      <a:pt x="14" y="32"/>
                      <a:pt x="12" y="33"/>
                      <a:pt x="8" y="33"/>
                    </a:cubicBezTo>
                    <a:cubicBezTo>
                      <a:pt x="5" y="33"/>
                      <a:pt x="2" y="32"/>
                      <a:pt x="0" y="29"/>
                    </a:cubicBezTo>
                    <a:cubicBezTo>
                      <a:pt x="4" y="25"/>
                      <a:pt x="4" y="25"/>
                      <a:pt x="4" y="25"/>
                    </a:cubicBezTo>
                    <a:cubicBezTo>
                      <a:pt x="5" y="27"/>
                      <a:pt x="7" y="27"/>
                      <a:pt x="8" y="27"/>
                    </a:cubicBezTo>
                    <a:cubicBezTo>
                      <a:pt x="12" y="27"/>
                      <a:pt x="14" y="25"/>
                      <a:pt x="14" y="22"/>
                    </a:cubicBezTo>
                    <a:cubicBezTo>
                      <a:pt x="14" y="0"/>
                      <a:pt x="14" y="0"/>
                      <a:pt x="14" y="0"/>
                    </a:cubicBezTo>
                    <a:cubicBezTo>
                      <a:pt x="20" y="0"/>
                      <a:pt x="20" y="0"/>
                      <a:pt x="20" y="0"/>
                    </a:cubicBezTo>
                    <a:lnTo>
                      <a:pt x="20" y="2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5" name="Freeform 13"/>
              <p:cNvSpPr>
                <a:spLocks noEditPoints="1"/>
              </p:cNvSpPr>
              <p:nvPr/>
            </p:nvSpPr>
            <p:spPr bwMode="auto">
              <a:xfrm>
                <a:off x="4940300" y="3660776"/>
                <a:ext cx="79375" cy="95250"/>
              </a:xfrm>
              <a:custGeom>
                <a:avLst/>
                <a:gdLst>
                  <a:gd name="T0" fmla="*/ 18899 w 21"/>
                  <a:gd name="T1" fmla="*/ 38100 h 25"/>
                  <a:gd name="T2" fmla="*/ 22679 w 21"/>
                  <a:gd name="T3" fmla="*/ 30480 h 25"/>
                  <a:gd name="T4" fmla="*/ 37798 w 21"/>
                  <a:gd name="T5" fmla="*/ 19050 h 25"/>
                  <a:gd name="T6" fmla="*/ 52917 w 21"/>
                  <a:gd name="T7" fmla="*/ 30480 h 25"/>
                  <a:gd name="T8" fmla="*/ 56696 w 21"/>
                  <a:gd name="T9" fmla="*/ 38100 h 25"/>
                  <a:gd name="T10" fmla="*/ 18899 w 21"/>
                  <a:gd name="T11" fmla="*/ 38100 h 25"/>
                  <a:gd name="T12" fmla="*/ 79375 w 21"/>
                  <a:gd name="T13" fmla="*/ 45720 h 25"/>
                  <a:gd name="T14" fmla="*/ 68036 w 21"/>
                  <a:gd name="T15" fmla="*/ 15240 h 25"/>
                  <a:gd name="T16" fmla="*/ 37798 w 21"/>
                  <a:gd name="T17" fmla="*/ 0 h 25"/>
                  <a:gd name="T18" fmla="*/ 7560 w 21"/>
                  <a:gd name="T19" fmla="*/ 11430 h 25"/>
                  <a:gd name="T20" fmla="*/ 0 w 21"/>
                  <a:gd name="T21" fmla="*/ 49530 h 25"/>
                  <a:gd name="T22" fmla="*/ 41577 w 21"/>
                  <a:gd name="T23" fmla="*/ 95250 h 25"/>
                  <a:gd name="T24" fmla="*/ 60476 w 21"/>
                  <a:gd name="T25" fmla="*/ 91440 h 25"/>
                  <a:gd name="T26" fmla="*/ 75595 w 21"/>
                  <a:gd name="T27" fmla="*/ 80010 h 25"/>
                  <a:gd name="T28" fmla="*/ 60476 w 21"/>
                  <a:gd name="T29" fmla="*/ 68580 h 25"/>
                  <a:gd name="T30" fmla="*/ 41577 w 21"/>
                  <a:gd name="T31" fmla="*/ 76200 h 25"/>
                  <a:gd name="T32" fmla="*/ 26458 w 21"/>
                  <a:gd name="T33" fmla="*/ 68580 h 25"/>
                  <a:gd name="T34" fmla="*/ 18899 w 21"/>
                  <a:gd name="T35" fmla="*/ 53340 h 25"/>
                  <a:gd name="T36" fmla="*/ 79375 w 21"/>
                  <a:gd name="T37" fmla="*/ 53340 h 25"/>
                  <a:gd name="T38" fmla="*/ 79375 w 21"/>
                  <a:gd name="T39" fmla="*/ 4572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5" y="10"/>
                    </a:moveTo>
                    <a:cubicBezTo>
                      <a:pt x="5" y="9"/>
                      <a:pt x="6" y="8"/>
                      <a:pt x="6" y="8"/>
                    </a:cubicBezTo>
                    <a:cubicBezTo>
                      <a:pt x="7" y="6"/>
                      <a:pt x="8" y="5"/>
                      <a:pt x="10" y="5"/>
                    </a:cubicBezTo>
                    <a:cubicBezTo>
                      <a:pt x="12" y="5"/>
                      <a:pt x="13" y="6"/>
                      <a:pt x="14" y="8"/>
                    </a:cubicBezTo>
                    <a:cubicBezTo>
                      <a:pt x="14" y="8"/>
                      <a:pt x="15" y="9"/>
                      <a:pt x="15" y="10"/>
                    </a:cubicBezTo>
                    <a:lnTo>
                      <a:pt x="5" y="10"/>
                    </a:lnTo>
                    <a:close/>
                    <a:moveTo>
                      <a:pt x="21" y="12"/>
                    </a:moveTo>
                    <a:cubicBezTo>
                      <a:pt x="21" y="8"/>
                      <a:pt x="20" y="6"/>
                      <a:pt x="18" y="4"/>
                    </a:cubicBezTo>
                    <a:cubicBezTo>
                      <a:pt x="16" y="1"/>
                      <a:pt x="13" y="0"/>
                      <a:pt x="10" y="0"/>
                    </a:cubicBezTo>
                    <a:cubicBezTo>
                      <a:pt x="7" y="0"/>
                      <a:pt x="4" y="1"/>
                      <a:pt x="2" y="3"/>
                    </a:cubicBezTo>
                    <a:cubicBezTo>
                      <a:pt x="0" y="6"/>
                      <a:pt x="0" y="9"/>
                      <a:pt x="0" y="13"/>
                    </a:cubicBezTo>
                    <a:cubicBezTo>
                      <a:pt x="0" y="21"/>
                      <a:pt x="3" y="25"/>
                      <a:pt x="11" y="25"/>
                    </a:cubicBezTo>
                    <a:cubicBezTo>
                      <a:pt x="13" y="25"/>
                      <a:pt x="14" y="25"/>
                      <a:pt x="16" y="24"/>
                    </a:cubicBezTo>
                    <a:cubicBezTo>
                      <a:pt x="17" y="23"/>
                      <a:pt x="18" y="22"/>
                      <a:pt x="20" y="21"/>
                    </a:cubicBezTo>
                    <a:cubicBezTo>
                      <a:pt x="16" y="18"/>
                      <a:pt x="16" y="18"/>
                      <a:pt x="16" y="18"/>
                    </a:cubicBezTo>
                    <a:cubicBezTo>
                      <a:pt x="15" y="19"/>
                      <a:pt x="13" y="20"/>
                      <a:pt x="11" y="20"/>
                    </a:cubicBezTo>
                    <a:cubicBezTo>
                      <a:pt x="9" y="20"/>
                      <a:pt x="8" y="19"/>
                      <a:pt x="7" y="18"/>
                    </a:cubicBezTo>
                    <a:cubicBezTo>
                      <a:pt x="6" y="17"/>
                      <a:pt x="5" y="16"/>
                      <a:pt x="5"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6" name="Freeform 14"/>
              <p:cNvSpPr>
                <a:spLocks noEditPoints="1"/>
              </p:cNvSpPr>
              <p:nvPr/>
            </p:nvSpPr>
            <p:spPr bwMode="auto">
              <a:xfrm>
                <a:off x="5035550" y="3660776"/>
                <a:ext cx="77788" cy="95250"/>
              </a:xfrm>
              <a:custGeom>
                <a:avLst/>
                <a:gdLst>
                  <a:gd name="T0" fmla="*/ 22225 w 21"/>
                  <a:gd name="T1" fmla="*/ 38100 h 25"/>
                  <a:gd name="T2" fmla="*/ 22225 w 21"/>
                  <a:gd name="T3" fmla="*/ 30480 h 25"/>
                  <a:gd name="T4" fmla="*/ 37042 w 21"/>
                  <a:gd name="T5" fmla="*/ 19050 h 25"/>
                  <a:gd name="T6" fmla="*/ 51859 w 21"/>
                  <a:gd name="T7" fmla="*/ 30480 h 25"/>
                  <a:gd name="T8" fmla="*/ 55563 w 21"/>
                  <a:gd name="T9" fmla="*/ 38100 h 25"/>
                  <a:gd name="T10" fmla="*/ 22225 w 21"/>
                  <a:gd name="T11" fmla="*/ 38100 h 25"/>
                  <a:gd name="T12" fmla="*/ 77788 w 21"/>
                  <a:gd name="T13" fmla="*/ 45720 h 25"/>
                  <a:gd name="T14" fmla="*/ 66675 w 21"/>
                  <a:gd name="T15" fmla="*/ 15240 h 25"/>
                  <a:gd name="T16" fmla="*/ 37042 w 21"/>
                  <a:gd name="T17" fmla="*/ 0 h 25"/>
                  <a:gd name="T18" fmla="*/ 11113 w 21"/>
                  <a:gd name="T19" fmla="*/ 11430 h 25"/>
                  <a:gd name="T20" fmla="*/ 0 w 21"/>
                  <a:gd name="T21" fmla="*/ 49530 h 25"/>
                  <a:gd name="T22" fmla="*/ 40746 w 21"/>
                  <a:gd name="T23" fmla="*/ 95250 h 25"/>
                  <a:gd name="T24" fmla="*/ 59267 w 21"/>
                  <a:gd name="T25" fmla="*/ 91440 h 25"/>
                  <a:gd name="T26" fmla="*/ 74084 w 21"/>
                  <a:gd name="T27" fmla="*/ 80010 h 25"/>
                  <a:gd name="T28" fmla="*/ 59267 w 21"/>
                  <a:gd name="T29" fmla="*/ 68580 h 25"/>
                  <a:gd name="T30" fmla="*/ 40746 w 21"/>
                  <a:gd name="T31" fmla="*/ 76200 h 25"/>
                  <a:gd name="T32" fmla="*/ 25929 w 21"/>
                  <a:gd name="T33" fmla="*/ 68580 h 25"/>
                  <a:gd name="T34" fmla="*/ 22225 w 21"/>
                  <a:gd name="T35" fmla="*/ 53340 h 25"/>
                  <a:gd name="T36" fmla="*/ 77788 w 21"/>
                  <a:gd name="T37" fmla="*/ 53340 h 25"/>
                  <a:gd name="T38" fmla="*/ 77788 w 21"/>
                  <a:gd name="T39" fmla="*/ 4572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6" y="8"/>
                    </a:cubicBezTo>
                    <a:cubicBezTo>
                      <a:pt x="7" y="6"/>
                      <a:pt x="8" y="5"/>
                      <a:pt x="10" y="5"/>
                    </a:cubicBezTo>
                    <a:cubicBezTo>
                      <a:pt x="12" y="5"/>
                      <a:pt x="14" y="6"/>
                      <a:pt x="14" y="8"/>
                    </a:cubicBezTo>
                    <a:cubicBezTo>
                      <a:pt x="15" y="8"/>
                      <a:pt x="15" y="9"/>
                      <a:pt x="15" y="10"/>
                    </a:cubicBezTo>
                    <a:lnTo>
                      <a:pt x="6" y="10"/>
                    </a:lnTo>
                    <a:close/>
                    <a:moveTo>
                      <a:pt x="21" y="12"/>
                    </a:moveTo>
                    <a:cubicBezTo>
                      <a:pt x="21" y="8"/>
                      <a:pt x="20" y="6"/>
                      <a:pt x="18" y="4"/>
                    </a:cubicBezTo>
                    <a:cubicBezTo>
                      <a:pt x="16" y="1"/>
                      <a:pt x="14" y="0"/>
                      <a:pt x="10" y="0"/>
                    </a:cubicBezTo>
                    <a:cubicBezTo>
                      <a:pt x="7" y="0"/>
                      <a:pt x="5" y="1"/>
                      <a:pt x="3" y="3"/>
                    </a:cubicBezTo>
                    <a:cubicBezTo>
                      <a:pt x="1" y="6"/>
                      <a:pt x="0" y="9"/>
                      <a:pt x="0" y="13"/>
                    </a:cubicBezTo>
                    <a:cubicBezTo>
                      <a:pt x="0" y="21"/>
                      <a:pt x="4" y="25"/>
                      <a:pt x="11" y="25"/>
                    </a:cubicBezTo>
                    <a:cubicBezTo>
                      <a:pt x="13" y="25"/>
                      <a:pt x="15" y="25"/>
                      <a:pt x="16" y="24"/>
                    </a:cubicBezTo>
                    <a:cubicBezTo>
                      <a:pt x="17" y="23"/>
                      <a:pt x="19" y="22"/>
                      <a:pt x="20" y="21"/>
                    </a:cubicBezTo>
                    <a:cubicBezTo>
                      <a:pt x="16" y="18"/>
                      <a:pt x="16" y="18"/>
                      <a:pt x="16" y="18"/>
                    </a:cubicBezTo>
                    <a:cubicBezTo>
                      <a:pt x="15" y="19"/>
                      <a:pt x="13" y="20"/>
                      <a:pt x="11" y="20"/>
                    </a:cubicBezTo>
                    <a:cubicBezTo>
                      <a:pt x="9" y="20"/>
                      <a:pt x="8" y="19"/>
                      <a:pt x="7" y="18"/>
                    </a:cubicBezTo>
                    <a:cubicBezTo>
                      <a:pt x="6"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7" name="Freeform 15"/>
              <p:cNvSpPr>
                <a:spLocks/>
              </p:cNvSpPr>
              <p:nvPr/>
            </p:nvSpPr>
            <p:spPr bwMode="auto">
              <a:xfrm>
                <a:off x="5126038" y="3638551"/>
                <a:ext cx="47625" cy="117475"/>
              </a:xfrm>
              <a:custGeom>
                <a:avLst/>
                <a:gdLst>
                  <a:gd name="T0" fmla="*/ 47625 w 13"/>
                  <a:gd name="T1" fmla="*/ 117475 h 31"/>
                  <a:gd name="T2" fmla="*/ 36635 w 13"/>
                  <a:gd name="T3" fmla="*/ 117475 h 31"/>
                  <a:gd name="T4" fmla="*/ 18317 w 13"/>
                  <a:gd name="T5" fmla="*/ 106106 h 31"/>
                  <a:gd name="T6" fmla="*/ 10990 w 13"/>
                  <a:gd name="T7" fmla="*/ 90948 h 31"/>
                  <a:gd name="T8" fmla="*/ 10990 w 13"/>
                  <a:gd name="T9" fmla="*/ 45474 h 31"/>
                  <a:gd name="T10" fmla="*/ 0 w 13"/>
                  <a:gd name="T11" fmla="*/ 45474 h 31"/>
                  <a:gd name="T12" fmla="*/ 0 w 13"/>
                  <a:gd name="T13" fmla="*/ 26527 h 31"/>
                  <a:gd name="T14" fmla="*/ 10990 w 13"/>
                  <a:gd name="T15" fmla="*/ 26527 h 31"/>
                  <a:gd name="T16" fmla="*/ 10990 w 13"/>
                  <a:gd name="T17" fmla="*/ 0 h 31"/>
                  <a:gd name="T18" fmla="*/ 32971 w 13"/>
                  <a:gd name="T19" fmla="*/ 0 h 31"/>
                  <a:gd name="T20" fmla="*/ 32971 w 13"/>
                  <a:gd name="T21" fmla="*/ 26527 h 31"/>
                  <a:gd name="T22" fmla="*/ 47625 w 13"/>
                  <a:gd name="T23" fmla="*/ 26527 h 31"/>
                  <a:gd name="T24" fmla="*/ 47625 w 13"/>
                  <a:gd name="T25" fmla="*/ 45474 h 31"/>
                  <a:gd name="T26" fmla="*/ 32971 w 13"/>
                  <a:gd name="T27" fmla="*/ 45474 h 31"/>
                  <a:gd name="T28" fmla="*/ 32971 w 13"/>
                  <a:gd name="T29" fmla="*/ 87159 h 31"/>
                  <a:gd name="T30" fmla="*/ 40298 w 13"/>
                  <a:gd name="T31" fmla="*/ 94738 h 31"/>
                  <a:gd name="T32" fmla="*/ 47625 w 13"/>
                  <a:gd name="T33" fmla="*/ 94738 h 31"/>
                  <a:gd name="T34" fmla="*/ 47625 w 13"/>
                  <a:gd name="T35" fmla="*/ 117475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31">
                    <a:moveTo>
                      <a:pt x="13" y="31"/>
                    </a:moveTo>
                    <a:cubicBezTo>
                      <a:pt x="10" y="31"/>
                      <a:pt x="10" y="31"/>
                      <a:pt x="10" y="31"/>
                    </a:cubicBezTo>
                    <a:cubicBezTo>
                      <a:pt x="8" y="31"/>
                      <a:pt x="6" y="30"/>
                      <a:pt x="5" y="28"/>
                    </a:cubicBezTo>
                    <a:cubicBezTo>
                      <a:pt x="3" y="27"/>
                      <a:pt x="3" y="26"/>
                      <a:pt x="3" y="24"/>
                    </a:cubicBezTo>
                    <a:cubicBezTo>
                      <a:pt x="3" y="12"/>
                      <a:pt x="3" y="12"/>
                      <a:pt x="3" y="12"/>
                    </a:cubicBezTo>
                    <a:cubicBezTo>
                      <a:pt x="0" y="12"/>
                      <a:pt x="0" y="12"/>
                      <a:pt x="0" y="12"/>
                    </a:cubicBezTo>
                    <a:cubicBezTo>
                      <a:pt x="0" y="7"/>
                      <a:pt x="0" y="7"/>
                      <a:pt x="0" y="7"/>
                    </a:cubicBezTo>
                    <a:cubicBezTo>
                      <a:pt x="3" y="7"/>
                      <a:pt x="3" y="7"/>
                      <a:pt x="3" y="7"/>
                    </a:cubicBezTo>
                    <a:cubicBezTo>
                      <a:pt x="3" y="0"/>
                      <a:pt x="3" y="0"/>
                      <a:pt x="3" y="0"/>
                    </a:cubicBezTo>
                    <a:cubicBezTo>
                      <a:pt x="9" y="0"/>
                      <a:pt x="9" y="0"/>
                      <a:pt x="9" y="0"/>
                    </a:cubicBezTo>
                    <a:cubicBezTo>
                      <a:pt x="9" y="7"/>
                      <a:pt x="9" y="7"/>
                      <a:pt x="9" y="7"/>
                    </a:cubicBezTo>
                    <a:cubicBezTo>
                      <a:pt x="13" y="7"/>
                      <a:pt x="13" y="7"/>
                      <a:pt x="13" y="7"/>
                    </a:cubicBezTo>
                    <a:cubicBezTo>
                      <a:pt x="13" y="12"/>
                      <a:pt x="13" y="12"/>
                      <a:pt x="13" y="12"/>
                    </a:cubicBezTo>
                    <a:cubicBezTo>
                      <a:pt x="9" y="12"/>
                      <a:pt x="9" y="12"/>
                      <a:pt x="9" y="12"/>
                    </a:cubicBezTo>
                    <a:cubicBezTo>
                      <a:pt x="9" y="23"/>
                      <a:pt x="9" y="23"/>
                      <a:pt x="9" y="23"/>
                    </a:cubicBezTo>
                    <a:cubicBezTo>
                      <a:pt x="9" y="25"/>
                      <a:pt x="10" y="25"/>
                      <a:pt x="11" y="25"/>
                    </a:cubicBezTo>
                    <a:cubicBezTo>
                      <a:pt x="13" y="25"/>
                      <a:pt x="13" y="25"/>
                      <a:pt x="13" y="25"/>
                    </a:cubicBezTo>
                    <a:lnTo>
                      <a:pt x="13" y="31"/>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8" name="Rectangle 16"/>
              <p:cNvSpPr>
                <a:spLocks noChangeArrowheads="1"/>
              </p:cNvSpPr>
              <p:nvPr/>
            </p:nvSpPr>
            <p:spPr bwMode="auto">
              <a:xfrm>
                <a:off x="5192713" y="3729038"/>
                <a:ext cx="26988" cy="26988"/>
              </a:xfrm>
              <a:prstGeom prst="rect">
                <a:avLst/>
              </a:prstGeom>
              <a:solidFill>
                <a:srgbClr val="2B252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 name="Freeform 17"/>
              <p:cNvSpPr>
                <a:spLocks/>
              </p:cNvSpPr>
              <p:nvPr/>
            </p:nvSpPr>
            <p:spPr bwMode="auto">
              <a:xfrm>
                <a:off x="5287963" y="3630613"/>
                <a:ext cx="88900" cy="125413"/>
              </a:xfrm>
              <a:custGeom>
                <a:avLst/>
                <a:gdLst>
                  <a:gd name="T0" fmla="*/ 88900 w 56"/>
                  <a:gd name="T1" fmla="*/ 125413 h 79"/>
                  <a:gd name="T2" fmla="*/ 66675 w 56"/>
                  <a:gd name="T3" fmla="*/ 125413 h 79"/>
                  <a:gd name="T4" fmla="*/ 66675 w 56"/>
                  <a:gd name="T5" fmla="*/ 73025 h 79"/>
                  <a:gd name="T6" fmla="*/ 22225 w 56"/>
                  <a:gd name="T7" fmla="*/ 73025 h 79"/>
                  <a:gd name="T8" fmla="*/ 22225 w 56"/>
                  <a:gd name="T9" fmla="*/ 125413 h 79"/>
                  <a:gd name="T10" fmla="*/ 0 w 56"/>
                  <a:gd name="T11" fmla="*/ 125413 h 79"/>
                  <a:gd name="T12" fmla="*/ 0 w 56"/>
                  <a:gd name="T13" fmla="*/ 0 h 79"/>
                  <a:gd name="T14" fmla="*/ 22225 w 56"/>
                  <a:gd name="T15" fmla="*/ 0 h 79"/>
                  <a:gd name="T16" fmla="*/ 22225 w 56"/>
                  <a:gd name="T17" fmla="*/ 49213 h 79"/>
                  <a:gd name="T18" fmla="*/ 66675 w 56"/>
                  <a:gd name="T19" fmla="*/ 49213 h 79"/>
                  <a:gd name="T20" fmla="*/ 66675 w 56"/>
                  <a:gd name="T21" fmla="*/ 0 h 79"/>
                  <a:gd name="T22" fmla="*/ 88900 w 56"/>
                  <a:gd name="T23" fmla="*/ 0 h 79"/>
                  <a:gd name="T24" fmla="*/ 88900 w 56"/>
                  <a:gd name="T25" fmla="*/ 125413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6" h="79">
                    <a:moveTo>
                      <a:pt x="56" y="79"/>
                    </a:moveTo>
                    <a:lnTo>
                      <a:pt x="42" y="79"/>
                    </a:lnTo>
                    <a:lnTo>
                      <a:pt x="42" y="46"/>
                    </a:lnTo>
                    <a:lnTo>
                      <a:pt x="14" y="46"/>
                    </a:lnTo>
                    <a:lnTo>
                      <a:pt x="14" y="79"/>
                    </a:lnTo>
                    <a:lnTo>
                      <a:pt x="0" y="79"/>
                    </a:lnTo>
                    <a:lnTo>
                      <a:pt x="0" y="0"/>
                    </a:lnTo>
                    <a:lnTo>
                      <a:pt x="14" y="0"/>
                    </a:lnTo>
                    <a:lnTo>
                      <a:pt x="14" y="31"/>
                    </a:lnTo>
                    <a:lnTo>
                      <a:pt x="42" y="31"/>
                    </a:lnTo>
                    <a:lnTo>
                      <a:pt x="42" y="0"/>
                    </a:lnTo>
                    <a:lnTo>
                      <a:pt x="56" y="0"/>
                    </a:lnTo>
                    <a:lnTo>
                      <a:pt x="56"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 name="Freeform 18"/>
              <p:cNvSpPr>
                <a:spLocks noEditPoints="1"/>
              </p:cNvSpPr>
              <p:nvPr/>
            </p:nvSpPr>
            <p:spPr bwMode="auto">
              <a:xfrm>
                <a:off x="5395913" y="3660776"/>
                <a:ext cx="76200" cy="95250"/>
              </a:xfrm>
              <a:custGeom>
                <a:avLst/>
                <a:gdLst>
                  <a:gd name="T0" fmla="*/ 53340 w 20"/>
                  <a:gd name="T1" fmla="*/ 68580 h 25"/>
                  <a:gd name="T2" fmla="*/ 38100 w 20"/>
                  <a:gd name="T3" fmla="*/ 76200 h 25"/>
                  <a:gd name="T4" fmla="*/ 22860 w 20"/>
                  <a:gd name="T5" fmla="*/ 64770 h 25"/>
                  <a:gd name="T6" fmla="*/ 38100 w 20"/>
                  <a:gd name="T7" fmla="*/ 53340 h 25"/>
                  <a:gd name="T8" fmla="*/ 53340 w 20"/>
                  <a:gd name="T9" fmla="*/ 53340 h 25"/>
                  <a:gd name="T10" fmla="*/ 53340 w 20"/>
                  <a:gd name="T11" fmla="*/ 60960 h 25"/>
                  <a:gd name="T12" fmla="*/ 53340 w 20"/>
                  <a:gd name="T13" fmla="*/ 68580 h 25"/>
                  <a:gd name="T14" fmla="*/ 76200 w 20"/>
                  <a:gd name="T15" fmla="*/ 34290 h 25"/>
                  <a:gd name="T16" fmla="*/ 38100 w 20"/>
                  <a:gd name="T17" fmla="*/ 0 h 25"/>
                  <a:gd name="T18" fmla="*/ 19050 w 20"/>
                  <a:gd name="T19" fmla="*/ 3810 h 25"/>
                  <a:gd name="T20" fmla="*/ 3810 w 20"/>
                  <a:gd name="T21" fmla="*/ 15240 h 25"/>
                  <a:gd name="T22" fmla="*/ 19050 w 20"/>
                  <a:gd name="T23" fmla="*/ 26670 h 25"/>
                  <a:gd name="T24" fmla="*/ 38100 w 20"/>
                  <a:gd name="T25" fmla="*/ 19050 h 25"/>
                  <a:gd name="T26" fmla="*/ 53340 w 20"/>
                  <a:gd name="T27" fmla="*/ 34290 h 25"/>
                  <a:gd name="T28" fmla="*/ 53340 w 20"/>
                  <a:gd name="T29" fmla="*/ 38100 h 25"/>
                  <a:gd name="T30" fmla="*/ 34290 w 20"/>
                  <a:gd name="T31" fmla="*/ 38100 h 25"/>
                  <a:gd name="T32" fmla="*/ 11430 w 20"/>
                  <a:gd name="T33" fmla="*/ 45720 h 25"/>
                  <a:gd name="T34" fmla="*/ 0 w 20"/>
                  <a:gd name="T35" fmla="*/ 64770 h 25"/>
                  <a:gd name="T36" fmla="*/ 11430 w 20"/>
                  <a:gd name="T37" fmla="*/ 87630 h 25"/>
                  <a:gd name="T38" fmla="*/ 34290 w 20"/>
                  <a:gd name="T39" fmla="*/ 95250 h 25"/>
                  <a:gd name="T40" fmla="*/ 57150 w 20"/>
                  <a:gd name="T41" fmla="*/ 83820 h 25"/>
                  <a:gd name="T42" fmla="*/ 57150 w 20"/>
                  <a:gd name="T43" fmla="*/ 95250 h 25"/>
                  <a:gd name="T44" fmla="*/ 76200 w 20"/>
                  <a:gd name="T45" fmla="*/ 95250 h 25"/>
                  <a:gd name="T46" fmla="*/ 76200 w 20"/>
                  <a:gd name="T47" fmla="*/ 3429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4" y="18"/>
                    </a:moveTo>
                    <a:cubicBezTo>
                      <a:pt x="13" y="19"/>
                      <a:pt x="12" y="20"/>
                      <a:pt x="10" y="20"/>
                    </a:cubicBezTo>
                    <a:cubicBezTo>
                      <a:pt x="7" y="20"/>
                      <a:pt x="6" y="19"/>
                      <a:pt x="6" y="17"/>
                    </a:cubicBezTo>
                    <a:cubicBezTo>
                      <a:pt x="6" y="15"/>
                      <a:pt x="7" y="14"/>
                      <a:pt x="10" y="14"/>
                    </a:cubicBezTo>
                    <a:cubicBezTo>
                      <a:pt x="14" y="14"/>
                      <a:pt x="14" y="14"/>
                      <a:pt x="14" y="14"/>
                    </a:cubicBezTo>
                    <a:cubicBezTo>
                      <a:pt x="14" y="16"/>
                      <a:pt x="14" y="16"/>
                      <a:pt x="14" y="16"/>
                    </a:cubicBezTo>
                    <a:cubicBezTo>
                      <a:pt x="14" y="17"/>
                      <a:pt x="14" y="18"/>
                      <a:pt x="14" y="18"/>
                    </a:cubicBezTo>
                    <a:moveTo>
                      <a:pt x="20" y="9"/>
                    </a:moveTo>
                    <a:cubicBezTo>
                      <a:pt x="20" y="3"/>
                      <a:pt x="17" y="0"/>
                      <a:pt x="10" y="0"/>
                    </a:cubicBezTo>
                    <a:cubicBezTo>
                      <a:pt x="8" y="0"/>
                      <a:pt x="6" y="0"/>
                      <a:pt x="5" y="1"/>
                    </a:cubicBezTo>
                    <a:cubicBezTo>
                      <a:pt x="4" y="1"/>
                      <a:pt x="3" y="2"/>
                      <a:pt x="1" y="4"/>
                    </a:cubicBezTo>
                    <a:cubicBezTo>
                      <a:pt x="5" y="7"/>
                      <a:pt x="5" y="7"/>
                      <a:pt x="5" y="7"/>
                    </a:cubicBezTo>
                    <a:cubicBezTo>
                      <a:pt x="6" y="6"/>
                      <a:pt x="8" y="5"/>
                      <a:pt x="10" y="5"/>
                    </a:cubicBezTo>
                    <a:cubicBezTo>
                      <a:pt x="13" y="5"/>
                      <a:pt x="14" y="7"/>
                      <a:pt x="14" y="9"/>
                    </a:cubicBezTo>
                    <a:cubicBezTo>
                      <a:pt x="14" y="10"/>
                      <a:pt x="14" y="10"/>
                      <a:pt x="14" y="10"/>
                    </a:cubicBezTo>
                    <a:cubicBezTo>
                      <a:pt x="9" y="10"/>
                      <a:pt x="9" y="10"/>
                      <a:pt x="9" y="10"/>
                    </a:cubicBezTo>
                    <a:cubicBezTo>
                      <a:pt x="6" y="10"/>
                      <a:pt x="4" y="11"/>
                      <a:pt x="3" y="12"/>
                    </a:cubicBezTo>
                    <a:cubicBezTo>
                      <a:pt x="1" y="14"/>
                      <a:pt x="0" y="15"/>
                      <a:pt x="0" y="17"/>
                    </a:cubicBezTo>
                    <a:cubicBezTo>
                      <a:pt x="0" y="19"/>
                      <a:pt x="1" y="21"/>
                      <a:pt x="3" y="23"/>
                    </a:cubicBezTo>
                    <a:cubicBezTo>
                      <a:pt x="4" y="24"/>
                      <a:pt x="6" y="25"/>
                      <a:pt x="9" y="25"/>
                    </a:cubicBezTo>
                    <a:cubicBezTo>
                      <a:pt x="11" y="25"/>
                      <a:pt x="13" y="24"/>
                      <a:pt x="15" y="22"/>
                    </a:cubicBezTo>
                    <a:cubicBezTo>
                      <a:pt x="15" y="25"/>
                      <a:pt x="15" y="25"/>
                      <a:pt x="15"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 name="Freeform 19"/>
              <p:cNvSpPr>
                <a:spLocks/>
              </p:cNvSpPr>
              <p:nvPr/>
            </p:nvSpPr>
            <p:spPr bwMode="auto">
              <a:xfrm>
                <a:off x="5497513" y="3660776"/>
                <a:ext cx="128588" cy="95250"/>
              </a:xfrm>
              <a:custGeom>
                <a:avLst/>
                <a:gdLst>
                  <a:gd name="T0" fmla="*/ 128588 w 34"/>
                  <a:gd name="T1" fmla="*/ 95250 h 25"/>
                  <a:gd name="T2" fmla="*/ 105896 w 34"/>
                  <a:gd name="T3" fmla="*/ 95250 h 25"/>
                  <a:gd name="T4" fmla="*/ 105896 w 34"/>
                  <a:gd name="T5" fmla="*/ 38100 h 25"/>
                  <a:gd name="T6" fmla="*/ 102114 w 34"/>
                  <a:gd name="T7" fmla="*/ 26670 h 25"/>
                  <a:gd name="T8" fmla="*/ 90768 w 34"/>
                  <a:gd name="T9" fmla="*/ 22860 h 25"/>
                  <a:gd name="T10" fmla="*/ 79422 w 34"/>
                  <a:gd name="T11" fmla="*/ 26670 h 25"/>
                  <a:gd name="T12" fmla="*/ 75640 w 34"/>
                  <a:gd name="T13" fmla="*/ 38100 h 25"/>
                  <a:gd name="T14" fmla="*/ 75640 w 34"/>
                  <a:gd name="T15" fmla="*/ 95250 h 25"/>
                  <a:gd name="T16" fmla="*/ 52948 w 34"/>
                  <a:gd name="T17" fmla="*/ 95250 h 25"/>
                  <a:gd name="T18" fmla="*/ 52948 w 34"/>
                  <a:gd name="T19" fmla="*/ 38100 h 25"/>
                  <a:gd name="T20" fmla="*/ 49166 w 34"/>
                  <a:gd name="T21" fmla="*/ 26670 h 25"/>
                  <a:gd name="T22" fmla="*/ 37820 w 34"/>
                  <a:gd name="T23" fmla="*/ 22860 h 25"/>
                  <a:gd name="T24" fmla="*/ 26474 w 34"/>
                  <a:gd name="T25" fmla="*/ 26670 h 25"/>
                  <a:gd name="T26" fmla="*/ 22692 w 34"/>
                  <a:gd name="T27" fmla="*/ 38100 h 25"/>
                  <a:gd name="T28" fmla="*/ 22692 w 34"/>
                  <a:gd name="T29" fmla="*/ 95250 h 25"/>
                  <a:gd name="T30" fmla="*/ 0 w 34"/>
                  <a:gd name="T31" fmla="*/ 95250 h 25"/>
                  <a:gd name="T32" fmla="*/ 0 w 34"/>
                  <a:gd name="T33" fmla="*/ 0 h 25"/>
                  <a:gd name="T34" fmla="*/ 22692 w 34"/>
                  <a:gd name="T35" fmla="*/ 0 h 25"/>
                  <a:gd name="T36" fmla="*/ 22692 w 34"/>
                  <a:gd name="T37" fmla="*/ 11430 h 25"/>
                  <a:gd name="T38" fmla="*/ 45384 w 34"/>
                  <a:gd name="T39" fmla="*/ 0 h 25"/>
                  <a:gd name="T40" fmla="*/ 68076 w 34"/>
                  <a:gd name="T41" fmla="*/ 11430 h 25"/>
                  <a:gd name="T42" fmla="*/ 94550 w 34"/>
                  <a:gd name="T43" fmla="*/ 0 h 25"/>
                  <a:gd name="T44" fmla="*/ 117242 w 34"/>
                  <a:gd name="T45" fmla="*/ 7620 h 25"/>
                  <a:gd name="T46" fmla="*/ 128588 w 34"/>
                  <a:gd name="T47" fmla="*/ 34290 h 25"/>
                  <a:gd name="T48" fmla="*/ 128588 w 34"/>
                  <a:gd name="T49" fmla="*/ 95250 h 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4" h="25">
                    <a:moveTo>
                      <a:pt x="34" y="25"/>
                    </a:moveTo>
                    <a:cubicBezTo>
                      <a:pt x="28" y="25"/>
                      <a:pt x="28" y="25"/>
                      <a:pt x="28" y="25"/>
                    </a:cubicBezTo>
                    <a:cubicBezTo>
                      <a:pt x="28" y="10"/>
                      <a:pt x="28" y="10"/>
                      <a:pt x="28" y="10"/>
                    </a:cubicBezTo>
                    <a:cubicBezTo>
                      <a:pt x="28" y="9"/>
                      <a:pt x="27" y="7"/>
                      <a:pt x="27" y="7"/>
                    </a:cubicBezTo>
                    <a:cubicBezTo>
                      <a:pt x="26" y="6"/>
                      <a:pt x="25" y="6"/>
                      <a:pt x="24" y="6"/>
                    </a:cubicBezTo>
                    <a:cubicBezTo>
                      <a:pt x="23" y="6"/>
                      <a:pt x="22" y="6"/>
                      <a:pt x="21" y="7"/>
                    </a:cubicBezTo>
                    <a:cubicBezTo>
                      <a:pt x="20" y="7"/>
                      <a:pt x="20" y="8"/>
                      <a:pt x="20" y="10"/>
                    </a:cubicBezTo>
                    <a:cubicBezTo>
                      <a:pt x="20" y="25"/>
                      <a:pt x="20" y="25"/>
                      <a:pt x="20" y="25"/>
                    </a:cubicBezTo>
                    <a:cubicBezTo>
                      <a:pt x="14" y="25"/>
                      <a:pt x="14" y="25"/>
                      <a:pt x="14" y="25"/>
                    </a:cubicBezTo>
                    <a:cubicBezTo>
                      <a:pt x="14" y="10"/>
                      <a:pt x="14" y="10"/>
                      <a:pt x="14" y="10"/>
                    </a:cubicBezTo>
                    <a:cubicBezTo>
                      <a:pt x="14" y="9"/>
                      <a:pt x="13" y="7"/>
                      <a:pt x="13" y="7"/>
                    </a:cubicBezTo>
                    <a:cubicBezTo>
                      <a:pt x="12" y="6"/>
                      <a:pt x="11" y="6"/>
                      <a:pt x="10" y="6"/>
                    </a:cubicBezTo>
                    <a:cubicBezTo>
                      <a:pt x="9" y="6"/>
                      <a:pt x="8" y="6"/>
                      <a:pt x="7" y="7"/>
                    </a:cubicBezTo>
                    <a:cubicBezTo>
                      <a:pt x="6" y="7"/>
                      <a:pt x="6" y="9"/>
                      <a:pt x="6" y="10"/>
                    </a:cubicBezTo>
                    <a:cubicBezTo>
                      <a:pt x="6" y="25"/>
                      <a:pt x="6" y="25"/>
                      <a:pt x="6" y="25"/>
                    </a:cubicBezTo>
                    <a:cubicBezTo>
                      <a:pt x="0" y="25"/>
                      <a:pt x="0" y="25"/>
                      <a:pt x="0" y="25"/>
                    </a:cubicBezTo>
                    <a:cubicBezTo>
                      <a:pt x="0" y="0"/>
                      <a:pt x="0" y="0"/>
                      <a:pt x="0" y="0"/>
                    </a:cubicBezTo>
                    <a:cubicBezTo>
                      <a:pt x="6" y="0"/>
                      <a:pt x="6" y="0"/>
                      <a:pt x="6" y="0"/>
                    </a:cubicBezTo>
                    <a:cubicBezTo>
                      <a:pt x="6" y="3"/>
                      <a:pt x="6" y="3"/>
                      <a:pt x="6" y="3"/>
                    </a:cubicBezTo>
                    <a:cubicBezTo>
                      <a:pt x="7" y="1"/>
                      <a:pt x="9" y="0"/>
                      <a:pt x="12" y="0"/>
                    </a:cubicBezTo>
                    <a:cubicBezTo>
                      <a:pt x="14" y="0"/>
                      <a:pt x="17" y="1"/>
                      <a:pt x="18" y="3"/>
                    </a:cubicBezTo>
                    <a:cubicBezTo>
                      <a:pt x="20" y="1"/>
                      <a:pt x="22" y="0"/>
                      <a:pt x="25" y="0"/>
                    </a:cubicBezTo>
                    <a:cubicBezTo>
                      <a:pt x="28" y="0"/>
                      <a:pt x="30" y="1"/>
                      <a:pt x="31" y="2"/>
                    </a:cubicBezTo>
                    <a:cubicBezTo>
                      <a:pt x="33" y="4"/>
                      <a:pt x="34" y="6"/>
                      <a:pt x="34" y="9"/>
                    </a:cubicBezTo>
                    <a:lnTo>
                      <a:pt x="34" y="25"/>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 name="Freeform 20"/>
              <p:cNvSpPr>
                <a:spLocks noEditPoints="1"/>
              </p:cNvSpPr>
              <p:nvPr/>
            </p:nvSpPr>
            <p:spPr bwMode="auto">
              <a:xfrm>
                <a:off x="5645150" y="3660776"/>
                <a:ext cx="74613" cy="95250"/>
              </a:xfrm>
              <a:custGeom>
                <a:avLst/>
                <a:gdLst>
                  <a:gd name="T0" fmla="*/ 48498 w 20"/>
                  <a:gd name="T1" fmla="*/ 68580 h 25"/>
                  <a:gd name="T2" fmla="*/ 33576 w 20"/>
                  <a:gd name="T3" fmla="*/ 76200 h 25"/>
                  <a:gd name="T4" fmla="*/ 18653 w 20"/>
                  <a:gd name="T5" fmla="*/ 64770 h 25"/>
                  <a:gd name="T6" fmla="*/ 33576 w 20"/>
                  <a:gd name="T7" fmla="*/ 53340 h 25"/>
                  <a:gd name="T8" fmla="*/ 52229 w 20"/>
                  <a:gd name="T9" fmla="*/ 53340 h 25"/>
                  <a:gd name="T10" fmla="*/ 52229 w 20"/>
                  <a:gd name="T11" fmla="*/ 60960 h 25"/>
                  <a:gd name="T12" fmla="*/ 48498 w 20"/>
                  <a:gd name="T13" fmla="*/ 68580 h 25"/>
                  <a:gd name="T14" fmla="*/ 74613 w 20"/>
                  <a:gd name="T15" fmla="*/ 34290 h 25"/>
                  <a:gd name="T16" fmla="*/ 33576 w 20"/>
                  <a:gd name="T17" fmla="*/ 0 h 25"/>
                  <a:gd name="T18" fmla="*/ 14923 w 20"/>
                  <a:gd name="T19" fmla="*/ 3810 h 25"/>
                  <a:gd name="T20" fmla="*/ 3731 w 20"/>
                  <a:gd name="T21" fmla="*/ 15240 h 25"/>
                  <a:gd name="T22" fmla="*/ 14923 w 20"/>
                  <a:gd name="T23" fmla="*/ 26670 h 25"/>
                  <a:gd name="T24" fmla="*/ 33576 w 20"/>
                  <a:gd name="T25" fmla="*/ 19050 h 25"/>
                  <a:gd name="T26" fmla="*/ 52229 w 20"/>
                  <a:gd name="T27" fmla="*/ 34290 h 25"/>
                  <a:gd name="T28" fmla="*/ 52229 w 20"/>
                  <a:gd name="T29" fmla="*/ 38100 h 25"/>
                  <a:gd name="T30" fmla="*/ 29845 w 20"/>
                  <a:gd name="T31" fmla="*/ 38100 h 25"/>
                  <a:gd name="T32" fmla="*/ 7461 w 20"/>
                  <a:gd name="T33" fmla="*/ 45720 h 25"/>
                  <a:gd name="T34" fmla="*/ 0 w 20"/>
                  <a:gd name="T35" fmla="*/ 64770 h 25"/>
                  <a:gd name="T36" fmla="*/ 7461 w 20"/>
                  <a:gd name="T37" fmla="*/ 87630 h 25"/>
                  <a:gd name="T38" fmla="*/ 29845 w 20"/>
                  <a:gd name="T39" fmla="*/ 95250 h 25"/>
                  <a:gd name="T40" fmla="*/ 52229 w 20"/>
                  <a:gd name="T41" fmla="*/ 83820 h 25"/>
                  <a:gd name="T42" fmla="*/ 52229 w 20"/>
                  <a:gd name="T43" fmla="*/ 95250 h 25"/>
                  <a:gd name="T44" fmla="*/ 74613 w 20"/>
                  <a:gd name="T45" fmla="*/ 95250 h 25"/>
                  <a:gd name="T46" fmla="*/ 74613 w 20"/>
                  <a:gd name="T47" fmla="*/ 3429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3" y="18"/>
                    </a:moveTo>
                    <a:cubicBezTo>
                      <a:pt x="12" y="19"/>
                      <a:pt x="11" y="20"/>
                      <a:pt x="9" y="20"/>
                    </a:cubicBezTo>
                    <a:cubicBezTo>
                      <a:pt x="7" y="20"/>
                      <a:pt x="5" y="19"/>
                      <a:pt x="5" y="17"/>
                    </a:cubicBezTo>
                    <a:cubicBezTo>
                      <a:pt x="5" y="15"/>
                      <a:pt x="7" y="14"/>
                      <a:pt x="9" y="14"/>
                    </a:cubicBezTo>
                    <a:cubicBezTo>
                      <a:pt x="14" y="14"/>
                      <a:pt x="14" y="14"/>
                      <a:pt x="14" y="14"/>
                    </a:cubicBezTo>
                    <a:cubicBezTo>
                      <a:pt x="14" y="16"/>
                      <a:pt x="14" y="16"/>
                      <a:pt x="14" y="16"/>
                    </a:cubicBezTo>
                    <a:cubicBezTo>
                      <a:pt x="14" y="17"/>
                      <a:pt x="13" y="18"/>
                      <a:pt x="13" y="18"/>
                    </a:cubicBezTo>
                    <a:moveTo>
                      <a:pt x="20" y="9"/>
                    </a:moveTo>
                    <a:cubicBezTo>
                      <a:pt x="20" y="3"/>
                      <a:pt x="16" y="0"/>
                      <a:pt x="9" y="0"/>
                    </a:cubicBezTo>
                    <a:cubicBezTo>
                      <a:pt x="7" y="0"/>
                      <a:pt x="6" y="0"/>
                      <a:pt x="4" y="1"/>
                    </a:cubicBezTo>
                    <a:cubicBezTo>
                      <a:pt x="3" y="1"/>
                      <a:pt x="2" y="2"/>
                      <a:pt x="1" y="4"/>
                    </a:cubicBezTo>
                    <a:cubicBezTo>
                      <a:pt x="4" y="7"/>
                      <a:pt x="4" y="7"/>
                      <a:pt x="4" y="7"/>
                    </a:cubicBezTo>
                    <a:cubicBezTo>
                      <a:pt x="6" y="6"/>
                      <a:pt x="7" y="5"/>
                      <a:pt x="9" y="5"/>
                    </a:cubicBezTo>
                    <a:cubicBezTo>
                      <a:pt x="12" y="5"/>
                      <a:pt x="14" y="7"/>
                      <a:pt x="14" y="9"/>
                    </a:cubicBezTo>
                    <a:cubicBezTo>
                      <a:pt x="14" y="10"/>
                      <a:pt x="14" y="10"/>
                      <a:pt x="14" y="10"/>
                    </a:cubicBezTo>
                    <a:cubicBezTo>
                      <a:pt x="8" y="10"/>
                      <a:pt x="8" y="10"/>
                      <a:pt x="8" y="10"/>
                    </a:cubicBezTo>
                    <a:cubicBezTo>
                      <a:pt x="5" y="10"/>
                      <a:pt x="3" y="11"/>
                      <a:pt x="2" y="12"/>
                    </a:cubicBezTo>
                    <a:cubicBezTo>
                      <a:pt x="0" y="14"/>
                      <a:pt x="0" y="15"/>
                      <a:pt x="0" y="17"/>
                    </a:cubicBezTo>
                    <a:cubicBezTo>
                      <a:pt x="0" y="19"/>
                      <a:pt x="0" y="21"/>
                      <a:pt x="2" y="23"/>
                    </a:cubicBezTo>
                    <a:cubicBezTo>
                      <a:pt x="3" y="24"/>
                      <a:pt x="5" y="25"/>
                      <a:pt x="8" y="25"/>
                    </a:cubicBezTo>
                    <a:cubicBezTo>
                      <a:pt x="10" y="25"/>
                      <a:pt x="12" y="24"/>
                      <a:pt x="14" y="22"/>
                    </a:cubicBezTo>
                    <a:cubicBezTo>
                      <a:pt x="14" y="25"/>
                      <a:pt x="14" y="25"/>
                      <a:pt x="14"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 name="Freeform 21"/>
              <p:cNvSpPr>
                <a:spLocks/>
              </p:cNvSpPr>
              <p:nvPr/>
            </p:nvSpPr>
            <p:spPr bwMode="auto">
              <a:xfrm>
                <a:off x="5741988" y="3660776"/>
                <a:ext cx="68263" cy="95250"/>
              </a:xfrm>
              <a:custGeom>
                <a:avLst/>
                <a:gdLst>
                  <a:gd name="T0" fmla="*/ 68263 w 18"/>
                  <a:gd name="T1" fmla="*/ 11430 h 25"/>
                  <a:gd name="T2" fmla="*/ 49301 w 18"/>
                  <a:gd name="T3" fmla="*/ 26670 h 25"/>
                  <a:gd name="T4" fmla="*/ 37924 w 18"/>
                  <a:gd name="T5" fmla="*/ 22860 h 25"/>
                  <a:gd name="T6" fmla="*/ 26547 w 18"/>
                  <a:gd name="T7" fmla="*/ 26670 h 25"/>
                  <a:gd name="T8" fmla="*/ 22754 w 18"/>
                  <a:gd name="T9" fmla="*/ 38100 h 25"/>
                  <a:gd name="T10" fmla="*/ 22754 w 18"/>
                  <a:gd name="T11" fmla="*/ 95250 h 25"/>
                  <a:gd name="T12" fmla="*/ 0 w 18"/>
                  <a:gd name="T13" fmla="*/ 95250 h 25"/>
                  <a:gd name="T14" fmla="*/ 0 w 18"/>
                  <a:gd name="T15" fmla="*/ 0 h 25"/>
                  <a:gd name="T16" fmla="*/ 22754 w 18"/>
                  <a:gd name="T17" fmla="*/ 0 h 25"/>
                  <a:gd name="T18" fmla="*/ 22754 w 18"/>
                  <a:gd name="T19" fmla="*/ 11430 h 25"/>
                  <a:gd name="T20" fmla="*/ 45509 w 18"/>
                  <a:gd name="T21" fmla="*/ 0 h 25"/>
                  <a:gd name="T22" fmla="*/ 68263 w 18"/>
                  <a:gd name="T23" fmla="*/ 11430 h 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25">
                    <a:moveTo>
                      <a:pt x="18" y="3"/>
                    </a:moveTo>
                    <a:cubicBezTo>
                      <a:pt x="13" y="7"/>
                      <a:pt x="13" y="7"/>
                      <a:pt x="13" y="7"/>
                    </a:cubicBezTo>
                    <a:cubicBezTo>
                      <a:pt x="12" y="6"/>
                      <a:pt x="11" y="6"/>
                      <a:pt x="10" y="6"/>
                    </a:cubicBezTo>
                    <a:cubicBezTo>
                      <a:pt x="9" y="6"/>
                      <a:pt x="8" y="6"/>
                      <a:pt x="7" y="7"/>
                    </a:cubicBezTo>
                    <a:cubicBezTo>
                      <a:pt x="6" y="8"/>
                      <a:pt x="6" y="9"/>
                      <a:pt x="6" y="10"/>
                    </a:cubicBezTo>
                    <a:cubicBezTo>
                      <a:pt x="6" y="25"/>
                      <a:pt x="6" y="25"/>
                      <a:pt x="6" y="25"/>
                    </a:cubicBezTo>
                    <a:cubicBezTo>
                      <a:pt x="0" y="25"/>
                      <a:pt x="0" y="25"/>
                      <a:pt x="0" y="25"/>
                    </a:cubicBezTo>
                    <a:cubicBezTo>
                      <a:pt x="0" y="0"/>
                      <a:pt x="0" y="0"/>
                      <a:pt x="0" y="0"/>
                    </a:cubicBezTo>
                    <a:cubicBezTo>
                      <a:pt x="6" y="0"/>
                      <a:pt x="6" y="0"/>
                      <a:pt x="6" y="0"/>
                    </a:cubicBezTo>
                    <a:cubicBezTo>
                      <a:pt x="6" y="3"/>
                      <a:pt x="6" y="3"/>
                      <a:pt x="6" y="3"/>
                    </a:cubicBezTo>
                    <a:cubicBezTo>
                      <a:pt x="7" y="1"/>
                      <a:pt x="9" y="0"/>
                      <a:pt x="12" y="0"/>
                    </a:cubicBezTo>
                    <a:cubicBezTo>
                      <a:pt x="14" y="0"/>
                      <a:pt x="16" y="1"/>
                      <a:pt x="18" y="3"/>
                    </a:cubicBezTo>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 name="Freeform 22"/>
              <p:cNvSpPr>
                <a:spLocks noEditPoints="1"/>
              </p:cNvSpPr>
              <p:nvPr/>
            </p:nvSpPr>
            <p:spPr bwMode="auto">
              <a:xfrm>
                <a:off x="5821363" y="3630613"/>
                <a:ext cx="22225" cy="125413"/>
              </a:xfrm>
              <a:custGeom>
                <a:avLst/>
                <a:gdLst>
                  <a:gd name="T0" fmla="*/ 22225 w 14"/>
                  <a:gd name="T1" fmla="*/ 15875 h 79"/>
                  <a:gd name="T2" fmla="*/ 0 w 14"/>
                  <a:gd name="T3" fmla="*/ 15875 h 79"/>
                  <a:gd name="T4" fmla="*/ 0 w 14"/>
                  <a:gd name="T5" fmla="*/ 0 h 79"/>
                  <a:gd name="T6" fmla="*/ 22225 w 14"/>
                  <a:gd name="T7" fmla="*/ 0 h 79"/>
                  <a:gd name="T8" fmla="*/ 22225 w 14"/>
                  <a:gd name="T9" fmla="*/ 15875 h 79"/>
                  <a:gd name="T10" fmla="*/ 22225 w 14"/>
                  <a:gd name="T11" fmla="*/ 125413 h 79"/>
                  <a:gd name="T12" fmla="*/ 0 w 14"/>
                  <a:gd name="T13" fmla="*/ 125413 h 79"/>
                  <a:gd name="T14" fmla="*/ 0 w 14"/>
                  <a:gd name="T15" fmla="*/ 30163 h 79"/>
                  <a:gd name="T16" fmla="*/ 22225 w 14"/>
                  <a:gd name="T17" fmla="*/ 30163 h 79"/>
                  <a:gd name="T18" fmla="*/ 22225 w 14"/>
                  <a:gd name="T19" fmla="*/ 125413 h 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79">
                    <a:moveTo>
                      <a:pt x="14" y="10"/>
                    </a:moveTo>
                    <a:lnTo>
                      <a:pt x="0" y="10"/>
                    </a:lnTo>
                    <a:lnTo>
                      <a:pt x="0" y="0"/>
                    </a:lnTo>
                    <a:lnTo>
                      <a:pt x="14" y="0"/>
                    </a:lnTo>
                    <a:lnTo>
                      <a:pt x="14" y="10"/>
                    </a:lnTo>
                    <a:close/>
                    <a:moveTo>
                      <a:pt x="14" y="79"/>
                    </a:moveTo>
                    <a:lnTo>
                      <a:pt x="0" y="79"/>
                    </a:lnTo>
                    <a:lnTo>
                      <a:pt x="0" y="19"/>
                    </a:lnTo>
                    <a:lnTo>
                      <a:pt x="14" y="19"/>
                    </a:lnTo>
                    <a:lnTo>
                      <a:pt x="14"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 name="Freeform 23"/>
              <p:cNvSpPr>
                <a:spLocks/>
              </p:cNvSpPr>
              <p:nvPr/>
            </p:nvSpPr>
            <p:spPr bwMode="auto">
              <a:xfrm>
                <a:off x="5897563" y="3630613"/>
                <a:ext cx="74613" cy="125413"/>
              </a:xfrm>
              <a:custGeom>
                <a:avLst/>
                <a:gdLst>
                  <a:gd name="T0" fmla="*/ 74613 w 20"/>
                  <a:gd name="T1" fmla="*/ 83609 h 33"/>
                  <a:gd name="T2" fmla="*/ 63421 w 20"/>
                  <a:gd name="T3" fmla="*/ 114012 h 33"/>
                  <a:gd name="T4" fmla="*/ 33576 w 20"/>
                  <a:gd name="T5" fmla="*/ 125413 h 33"/>
                  <a:gd name="T6" fmla="*/ 0 w 20"/>
                  <a:gd name="T7" fmla="*/ 110211 h 33"/>
                  <a:gd name="T8" fmla="*/ 18653 w 20"/>
                  <a:gd name="T9" fmla="*/ 95010 h 33"/>
                  <a:gd name="T10" fmla="*/ 33576 w 20"/>
                  <a:gd name="T11" fmla="*/ 102611 h 33"/>
                  <a:gd name="T12" fmla="*/ 52229 w 20"/>
                  <a:gd name="T13" fmla="*/ 83609 h 33"/>
                  <a:gd name="T14" fmla="*/ 52229 w 20"/>
                  <a:gd name="T15" fmla="*/ 0 h 33"/>
                  <a:gd name="T16" fmla="*/ 74613 w 20"/>
                  <a:gd name="T17" fmla="*/ 0 h 33"/>
                  <a:gd name="T18" fmla="*/ 74613 w 20"/>
                  <a:gd name="T19" fmla="*/ 83609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33">
                    <a:moveTo>
                      <a:pt x="20" y="22"/>
                    </a:moveTo>
                    <a:cubicBezTo>
                      <a:pt x="20" y="25"/>
                      <a:pt x="19" y="28"/>
                      <a:pt x="17" y="30"/>
                    </a:cubicBezTo>
                    <a:cubicBezTo>
                      <a:pt x="15" y="32"/>
                      <a:pt x="12" y="33"/>
                      <a:pt x="9" y="33"/>
                    </a:cubicBezTo>
                    <a:cubicBezTo>
                      <a:pt x="5" y="33"/>
                      <a:pt x="3" y="32"/>
                      <a:pt x="0" y="29"/>
                    </a:cubicBezTo>
                    <a:cubicBezTo>
                      <a:pt x="5" y="25"/>
                      <a:pt x="5" y="25"/>
                      <a:pt x="5" y="25"/>
                    </a:cubicBezTo>
                    <a:cubicBezTo>
                      <a:pt x="6" y="27"/>
                      <a:pt x="7" y="27"/>
                      <a:pt x="9" y="27"/>
                    </a:cubicBezTo>
                    <a:cubicBezTo>
                      <a:pt x="12" y="27"/>
                      <a:pt x="14" y="25"/>
                      <a:pt x="14" y="22"/>
                    </a:cubicBezTo>
                    <a:cubicBezTo>
                      <a:pt x="14" y="0"/>
                      <a:pt x="14" y="0"/>
                      <a:pt x="14" y="0"/>
                    </a:cubicBezTo>
                    <a:cubicBezTo>
                      <a:pt x="20" y="0"/>
                      <a:pt x="20" y="0"/>
                      <a:pt x="20" y="0"/>
                    </a:cubicBezTo>
                    <a:lnTo>
                      <a:pt x="20" y="2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 name="Freeform 24"/>
              <p:cNvSpPr>
                <a:spLocks noEditPoints="1"/>
              </p:cNvSpPr>
              <p:nvPr/>
            </p:nvSpPr>
            <p:spPr bwMode="auto">
              <a:xfrm>
                <a:off x="5994400" y="3660776"/>
                <a:ext cx="79375" cy="95250"/>
              </a:xfrm>
              <a:custGeom>
                <a:avLst/>
                <a:gdLst>
                  <a:gd name="T0" fmla="*/ 22679 w 21"/>
                  <a:gd name="T1" fmla="*/ 38100 h 25"/>
                  <a:gd name="T2" fmla="*/ 22679 w 21"/>
                  <a:gd name="T3" fmla="*/ 30480 h 25"/>
                  <a:gd name="T4" fmla="*/ 37798 w 21"/>
                  <a:gd name="T5" fmla="*/ 19050 h 25"/>
                  <a:gd name="T6" fmla="*/ 52917 w 21"/>
                  <a:gd name="T7" fmla="*/ 30480 h 25"/>
                  <a:gd name="T8" fmla="*/ 56696 w 21"/>
                  <a:gd name="T9" fmla="*/ 38100 h 25"/>
                  <a:gd name="T10" fmla="*/ 22679 w 21"/>
                  <a:gd name="T11" fmla="*/ 38100 h 25"/>
                  <a:gd name="T12" fmla="*/ 79375 w 21"/>
                  <a:gd name="T13" fmla="*/ 45720 h 25"/>
                  <a:gd name="T14" fmla="*/ 68036 w 21"/>
                  <a:gd name="T15" fmla="*/ 15240 h 25"/>
                  <a:gd name="T16" fmla="*/ 37798 w 21"/>
                  <a:gd name="T17" fmla="*/ 0 h 25"/>
                  <a:gd name="T18" fmla="*/ 11339 w 21"/>
                  <a:gd name="T19" fmla="*/ 11430 h 25"/>
                  <a:gd name="T20" fmla="*/ 0 w 21"/>
                  <a:gd name="T21" fmla="*/ 49530 h 25"/>
                  <a:gd name="T22" fmla="*/ 41577 w 21"/>
                  <a:gd name="T23" fmla="*/ 95250 h 25"/>
                  <a:gd name="T24" fmla="*/ 60476 w 21"/>
                  <a:gd name="T25" fmla="*/ 91440 h 25"/>
                  <a:gd name="T26" fmla="*/ 75595 w 21"/>
                  <a:gd name="T27" fmla="*/ 80010 h 25"/>
                  <a:gd name="T28" fmla="*/ 60476 w 21"/>
                  <a:gd name="T29" fmla="*/ 68580 h 25"/>
                  <a:gd name="T30" fmla="*/ 41577 w 21"/>
                  <a:gd name="T31" fmla="*/ 76200 h 25"/>
                  <a:gd name="T32" fmla="*/ 26458 w 21"/>
                  <a:gd name="T33" fmla="*/ 68580 h 25"/>
                  <a:gd name="T34" fmla="*/ 22679 w 21"/>
                  <a:gd name="T35" fmla="*/ 53340 h 25"/>
                  <a:gd name="T36" fmla="*/ 79375 w 21"/>
                  <a:gd name="T37" fmla="*/ 53340 h 25"/>
                  <a:gd name="T38" fmla="*/ 79375 w 21"/>
                  <a:gd name="T39" fmla="*/ 4572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6" y="8"/>
                    </a:cubicBezTo>
                    <a:cubicBezTo>
                      <a:pt x="7" y="6"/>
                      <a:pt x="8" y="5"/>
                      <a:pt x="10" y="5"/>
                    </a:cubicBezTo>
                    <a:cubicBezTo>
                      <a:pt x="12" y="5"/>
                      <a:pt x="14" y="6"/>
                      <a:pt x="14" y="8"/>
                    </a:cubicBezTo>
                    <a:cubicBezTo>
                      <a:pt x="15" y="8"/>
                      <a:pt x="15" y="9"/>
                      <a:pt x="15" y="10"/>
                    </a:cubicBezTo>
                    <a:lnTo>
                      <a:pt x="6" y="10"/>
                    </a:lnTo>
                    <a:close/>
                    <a:moveTo>
                      <a:pt x="21" y="12"/>
                    </a:moveTo>
                    <a:cubicBezTo>
                      <a:pt x="21" y="8"/>
                      <a:pt x="20" y="6"/>
                      <a:pt x="18" y="4"/>
                    </a:cubicBezTo>
                    <a:cubicBezTo>
                      <a:pt x="16" y="1"/>
                      <a:pt x="14" y="0"/>
                      <a:pt x="10" y="0"/>
                    </a:cubicBezTo>
                    <a:cubicBezTo>
                      <a:pt x="7" y="0"/>
                      <a:pt x="5" y="1"/>
                      <a:pt x="3" y="3"/>
                    </a:cubicBezTo>
                    <a:cubicBezTo>
                      <a:pt x="1" y="6"/>
                      <a:pt x="0" y="9"/>
                      <a:pt x="0" y="13"/>
                    </a:cubicBezTo>
                    <a:cubicBezTo>
                      <a:pt x="0" y="21"/>
                      <a:pt x="4" y="25"/>
                      <a:pt x="11" y="25"/>
                    </a:cubicBezTo>
                    <a:cubicBezTo>
                      <a:pt x="13" y="25"/>
                      <a:pt x="15" y="25"/>
                      <a:pt x="16" y="24"/>
                    </a:cubicBezTo>
                    <a:cubicBezTo>
                      <a:pt x="18" y="23"/>
                      <a:pt x="19" y="22"/>
                      <a:pt x="20" y="21"/>
                    </a:cubicBezTo>
                    <a:cubicBezTo>
                      <a:pt x="16" y="18"/>
                      <a:pt x="16" y="18"/>
                      <a:pt x="16" y="18"/>
                    </a:cubicBezTo>
                    <a:cubicBezTo>
                      <a:pt x="15" y="19"/>
                      <a:pt x="13" y="20"/>
                      <a:pt x="11" y="20"/>
                    </a:cubicBezTo>
                    <a:cubicBezTo>
                      <a:pt x="9" y="20"/>
                      <a:pt x="8" y="19"/>
                      <a:pt x="7" y="18"/>
                    </a:cubicBezTo>
                    <a:cubicBezTo>
                      <a:pt x="6"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 name="Freeform 25"/>
              <p:cNvSpPr>
                <a:spLocks noEditPoints="1"/>
              </p:cNvSpPr>
              <p:nvPr/>
            </p:nvSpPr>
            <p:spPr bwMode="auto">
              <a:xfrm>
                <a:off x="6089650" y="3660776"/>
                <a:ext cx="77788" cy="95250"/>
              </a:xfrm>
              <a:custGeom>
                <a:avLst/>
                <a:gdLst>
                  <a:gd name="T0" fmla="*/ 22225 w 21"/>
                  <a:gd name="T1" fmla="*/ 38100 h 25"/>
                  <a:gd name="T2" fmla="*/ 25929 w 21"/>
                  <a:gd name="T3" fmla="*/ 30480 h 25"/>
                  <a:gd name="T4" fmla="*/ 40746 w 21"/>
                  <a:gd name="T5" fmla="*/ 19050 h 25"/>
                  <a:gd name="T6" fmla="*/ 55563 w 21"/>
                  <a:gd name="T7" fmla="*/ 30480 h 25"/>
                  <a:gd name="T8" fmla="*/ 55563 w 21"/>
                  <a:gd name="T9" fmla="*/ 38100 h 25"/>
                  <a:gd name="T10" fmla="*/ 22225 w 21"/>
                  <a:gd name="T11" fmla="*/ 38100 h 25"/>
                  <a:gd name="T12" fmla="*/ 77788 w 21"/>
                  <a:gd name="T13" fmla="*/ 45720 h 25"/>
                  <a:gd name="T14" fmla="*/ 66675 w 21"/>
                  <a:gd name="T15" fmla="*/ 15240 h 25"/>
                  <a:gd name="T16" fmla="*/ 40746 w 21"/>
                  <a:gd name="T17" fmla="*/ 0 h 25"/>
                  <a:gd name="T18" fmla="*/ 11113 w 21"/>
                  <a:gd name="T19" fmla="*/ 11430 h 25"/>
                  <a:gd name="T20" fmla="*/ 0 w 21"/>
                  <a:gd name="T21" fmla="*/ 49530 h 25"/>
                  <a:gd name="T22" fmla="*/ 40746 w 21"/>
                  <a:gd name="T23" fmla="*/ 95250 h 25"/>
                  <a:gd name="T24" fmla="*/ 62971 w 21"/>
                  <a:gd name="T25" fmla="*/ 91440 h 25"/>
                  <a:gd name="T26" fmla="*/ 74084 w 21"/>
                  <a:gd name="T27" fmla="*/ 80010 h 25"/>
                  <a:gd name="T28" fmla="*/ 62971 w 21"/>
                  <a:gd name="T29" fmla="*/ 68580 h 25"/>
                  <a:gd name="T30" fmla="*/ 40746 w 21"/>
                  <a:gd name="T31" fmla="*/ 76200 h 25"/>
                  <a:gd name="T32" fmla="*/ 25929 w 21"/>
                  <a:gd name="T33" fmla="*/ 68580 h 25"/>
                  <a:gd name="T34" fmla="*/ 22225 w 21"/>
                  <a:gd name="T35" fmla="*/ 53340 h 25"/>
                  <a:gd name="T36" fmla="*/ 77788 w 21"/>
                  <a:gd name="T37" fmla="*/ 53340 h 25"/>
                  <a:gd name="T38" fmla="*/ 77788 w 21"/>
                  <a:gd name="T39" fmla="*/ 4572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7" y="8"/>
                    </a:cubicBezTo>
                    <a:cubicBezTo>
                      <a:pt x="7" y="6"/>
                      <a:pt x="9" y="5"/>
                      <a:pt x="11" y="5"/>
                    </a:cubicBezTo>
                    <a:cubicBezTo>
                      <a:pt x="13" y="5"/>
                      <a:pt x="14" y="6"/>
                      <a:pt x="15" y="8"/>
                    </a:cubicBezTo>
                    <a:cubicBezTo>
                      <a:pt x="15" y="8"/>
                      <a:pt x="15" y="9"/>
                      <a:pt x="15" y="10"/>
                    </a:cubicBezTo>
                    <a:lnTo>
                      <a:pt x="6" y="10"/>
                    </a:lnTo>
                    <a:close/>
                    <a:moveTo>
                      <a:pt x="21" y="12"/>
                    </a:moveTo>
                    <a:cubicBezTo>
                      <a:pt x="21" y="8"/>
                      <a:pt x="20" y="6"/>
                      <a:pt x="18" y="4"/>
                    </a:cubicBezTo>
                    <a:cubicBezTo>
                      <a:pt x="17" y="1"/>
                      <a:pt x="14" y="0"/>
                      <a:pt x="11" y="0"/>
                    </a:cubicBezTo>
                    <a:cubicBezTo>
                      <a:pt x="8" y="0"/>
                      <a:pt x="5" y="1"/>
                      <a:pt x="3" y="3"/>
                    </a:cubicBezTo>
                    <a:cubicBezTo>
                      <a:pt x="1" y="6"/>
                      <a:pt x="0" y="9"/>
                      <a:pt x="0" y="13"/>
                    </a:cubicBezTo>
                    <a:cubicBezTo>
                      <a:pt x="0" y="21"/>
                      <a:pt x="4" y="25"/>
                      <a:pt x="11" y="25"/>
                    </a:cubicBezTo>
                    <a:cubicBezTo>
                      <a:pt x="13" y="25"/>
                      <a:pt x="15" y="25"/>
                      <a:pt x="17" y="24"/>
                    </a:cubicBezTo>
                    <a:cubicBezTo>
                      <a:pt x="18" y="23"/>
                      <a:pt x="19" y="22"/>
                      <a:pt x="20" y="21"/>
                    </a:cubicBezTo>
                    <a:cubicBezTo>
                      <a:pt x="17" y="18"/>
                      <a:pt x="17" y="18"/>
                      <a:pt x="17" y="18"/>
                    </a:cubicBezTo>
                    <a:cubicBezTo>
                      <a:pt x="15" y="19"/>
                      <a:pt x="13" y="20"/>
                      <a:pt x="11" y="20"/>
                    </a:cubicBezTo>
                    <a:cubicBezTo>
                      <a:pt x="10" y="20"/>
                      <a:pt x="8" y="19"/>
                      <a:pt x="7" y="18"/>
                    </a:cubicBezTo>
                    <a:cubicBezTo>
                      <a:pt x="7"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 name="Freeform 26"/>
              <p:cNvSpPr>
                <a:spLocks/>
              </p:cNvSpPr>
              <p:nvPr/>
            </p:nvSpPr>
            <p:spPr bwMode="auto">
              <a:xfrm>
                <a:off x="6183313" y="3638551"/>
                <a:ext cx="49213" cy="117475"/>
              </a:xfrm>
              <a:custGeom>
                <a:avLst/>
                <a:gdLst>
                  <a:gd name="T0" fmla="*/ 49213 w 13"/>
                  <a:gd name="T1" fmla="*/ 117475 h 31"/>
                  <a:gd name="T2" fmla="*/ 34071 w 13"/>
                  <a:gd name="T3" fmla="*/ 117475 h 31"/>
                  <a:gd name="T4" fmla="*/ 15142 w 13"/>
                  <a:gd name="T5" fmla="*/ 106106 h 31"/>
                  <a:gd name="T6" fmla="*/ 7571 w 13"/>
                  <a:gd name="T7" fmla="*/ 90948 h 31"/>
                  <a:gd name="T8" fmla="*/ 7571 w 13"/>
                  <a:gd name="T9" fmla="*/ 45474 h 31"/>
                  <a:gd name="T10" fmla="*/ 0 w 13"/>
                  <a:gd name="T11" fmla="*/ 45474 h 31"/>
                  <a:gd name="T12" fmla="*/ 0 w 13"/>
                  <a:gd name="T13" fmla="*/ 26527 h 31"/>
                  <a:gd name="T14" fmla="*/ 7571 w 13"/>
                  <a:gd name="T15" fmla="*/ 26527 h 31"/>
                  <a:gd name="T16" fmla="*/ 7571 w 13"/>
                  <a:gd name="T17" fmla="*/ 0 h 31"/>
                  <a:gd name="T18" fmla="*/ 30285 w 13"/>
                  <a:gd name="T19" fmla="*/ 0 h 31"/>
                  <a:gd name="T20" fmla="*/ 30285 w 13"/>
                  <a:gd name="T21" fmla="*/ 26527 h 31"/>
                  <a:gd name="T22" fmla="*/ 49213 w 13"/>
                  <a:gd name="T23" fmla="*/ 26527 h 31"/>
                  <a:gd name="T24" fmla="*/ 49213 w 13"/>
                  <a:gd name="T25" fmla="*/ 45474 h 31"/>
                  <a:gd name="T26" fmla="*/ 30285 w 13"/>
                  <a:gd name="T27" fmla="*/ 45474 h 31"/>
                  <a:gd name="T28" fmla="*/ 30285 w 13"/>
                  <a:gd name="T29" fmla="*/ 87159 h 31"/>
                  <a:gd name="T30" fmla="*/ 37856 w 13"/>
                  <a:gd name="T31" fmla="*/ 94738 h 31"/>
                  <a:gd name="T32" fmla="*/ 49213 w 13"/>
                  <a:gd name="T33" fmla="*/ 94738 h 31"/>
                  <a:gd name="T34" fmla="*/ 49213 w 13"/>
                  <a:gd name="T35" fmla="*/ 117475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31">
                    <a:moveTo>
                      <a:pt x="13" y="31"/>
                    </a:moveTo>
                    <a:cubicBezTo>
                      <a:pt x="9" y="31"/>
                      <a:pt x="9" y="31"/>
                      <a:pt x="9" y="31"/>
                    </a:cubicBezTo>
                    <a:cubicBezTo>
                      <a:pt x="7" y="31"/>
                      <a:pt x="5" y="30"/>
                      <a:pt x="4" y="28"/>
                    </a:cubicBezTo>
                    <a:cubicBezTo>
                      <a:pt x="3" y="27"/>
                      <a:pt x="2" y="26"/>
                      <a:pt x="2" y="24"/>
                    </a:cubicBezTo>
                    <a:cubicBezTo>
                      <a:pt x="2" y="12"/>
                      <a:pt x="2" y="12"/>
                      <a:pt x="2" y="12"/>
                    </a:cubicBezTo>
                    <a:cubicBezTo>
                      <a:pt x="0" y="12"/>
                      <a:pt x="0" y="12"/>
                      <a:pt x="0" y="12"/>
                    </a:cubicBezTo>
                    <a:cubicBezTo>
                      <a:pt x="0" y="7"/>
                      <a:pt x="0" y="7"/>
                      <a:pt x="0" y="7"/>
                    </a:cubicBezTo>
                    <a:cubicBezTo>
                      <a:pt x="2" y="7"/>
                      <a:pt x="2" y="7"/>
                      <a:pt x="2" y="7"/>
                    </a:cubicBezTo>
                    <a:cubicBezTo>
                      <a:pt x="2" y="0"/>
                      <a:pt x="2" y="0"/>
                      <a:pt x="2" y="0"/>
                    </a:cubicBezTo>
                    <a:cubicBezTo>
                      <a:pt x="8" y="0"/>
                      <a:pt x="8" y="0"/>
                      <a:pt x="8" y="0"/>
                    </a:cubicBezTo>
                    <a:cubicBezTo>
                      <a:pt x="8" y="7"/>
                      <a:pt x="8" y="7"/>
                      <a:pt x="8" y="7"/>
                    </a:cubicBezTo>
                    <a:cubicBezTo>
                      <a:pt x="13" y="7"/>
                      <a:pt x="13" y="7"/>
                      <a:pt x="13" y="7"/>
                    </a:cubicBezTo>
                    <a:cubicBezTo>
                      <a:pt x="13" y="12"/>
                      <a:pt x="13" y="12"/>
                      <a:pt x="13" y="12"/>
                    </a:cubicBezTo>
                    <a:cubicBezTo>
                      <a:pt x="8" y="12"/>
                      <a:pt x="8" y="12"/>
                      <a:pt x="8" y="12"/>
                    </a:cubicBezTo>
                    <a:cubicBezTo>
                      <a:pt x="8" y="23"/>
                      <a:pt x="8" y="23"/>
                      <a:pt x="8" y="23"/>
                    </a:cubicBezTo>
                    <a:cubicBezTo>
                      <a:pt x="8" y="25"/>
                      <a:pt x="9" y="25"/>
                      <a:pt x="10" y="25"/>
                    </a:cubicBezTo>
                    <a:cubicBezTo>
                      <a:pt x="13" y="25"/>
                      <a:pt x="13" y="25"/>
                      <a:pt x="13" y="25"/>
                    </a:cubicBezTo>
                    <a:lnTo>
                      <a:pt x="13" y="31"/>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 name="Rectangle 27"/>
              <p:cNvSpPr>
                <a:spLocks noChangeArrowheads="1"/>
              </p:cNvSpPr>
              <p:nvPr/>
            </p:nvSpPr>
            <p:spPr bwMode="auto">
              <a:xfrm>
                <a:off x="6249988" y="3729038"/>
                <a:ext cx="26988" cy="26988"/>
              </a:xfrm>
              <a:prstGeom prst="rect">
                <a:avLst/>
              </a:prstGeom>
              <a:solidFill>
                <a:srgbClr val="2B252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4" name="Group 9"/>
            <p:cNvGrpSpPr>
              <a:grpSpLocks/>
            </p:cNvGrpSpPr>
            <p:nvPr/>
          </p:nvGrpSpPr>
          <p:grpSpPr bwMode="auto">
            <a:xfrm>
              <a:off x="2863850" y="3078163"/>
              <a:ext cx="3413126" cy="552450"/>
              <a:chOff x="2863850" y="3078163"/>
              <a:chExt cx="3413126" cy="552450"/>
            </a:xfrm>
          </p:grpSpPr>
          <p:sp>
            <p:nvSpPr>
              <p:cNvPr id="5" name="Freeform 28"/>
              <p:cNvSpPr>
                <a:spLocks/>
              </p:cNvSpPr>
              <p:nvPr/>
            </p:nvSpPr>
            <p:spPr bwMode="auto">
              <a:xfrm>
                <a:off x="4772025" y="3273426"/>
                <a:ext cx="157163" cy="158750"/>
              </a:xfrm>
              <a:custGeom>
                <a:avLst/>
                <a:gdLst>
                  <a:gd name="T0" fmla="*/ 48646 w 42"/>
                  <a:gd name="T1" fmla="*/ 120952 h 42"/>
                  <a:gd name="T2" fmla="*/ 157163 w 42"/>
                  <a:gd name="T3" fmla="*/ 120952 h 42"/>
                  <a:gd name="T4" fmla="*/ 157163 w 42"/>
                  <a:gd name="T5" fmla="*/ 158750 h 42"/>
                  <a:gd name="T6" fmla="*/ 0 w 42"/>
                  <a:gd name="T7" fmla="*/ 158750 h 42"/>
                  <a:gd name="T8" fmla="*/ 0 w 42"/>
                  <a:gd name="T9" fmla="*/ 0 h 42"/>
                  <a:gd name="T10" fmla="*/ 14968 w 42"/>
                  <a:gd name="T11" fmla="*/ 0 h 42"/>
                  <a:gd name="T12" fmla="*/ 48646 w 42"/>
                  <a:gd name="T13" fmla="*/ 26458 h 42"/>
                  <a:gd name="T14" fmla="*/ 48646 w 42"/>
                  <a:gd name="T15" fmla="*/ 120952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2">
                    <a:moveTo>
                      <a:pt x="13" y="32"/>
                    </a:moveTo>
                    <a:cubicBezTo>
                      <a:pt x="42" y="32"/>
                      <a:pt x="42" y="32"/>
                      <a:pt x="42" y="32"/>
                    </a:cubicBezTo>
                    <a:cubicBezTo>
                      <a:pt x="42" y="42"/>
                      <a:pt x="42" y="42"/>
                      <a:pt x="42" y="42"/>
                    </a:cubicBezTo>
                    <a:cubicBezTo>
                      <a:pt x="0" y="42"/>
                      <a:pt x="0" y="42"/>
                      <a:pt x="0" y="42"/>
                    </a:cubicBezTo>
                    <a:cubicBezTo>
                      <a:pt x="0" y="0"/>
                      <a:pt x="0" y="0"/>
                      <a:pt x="0" y="0"/>
                    </a:cubicBezTo>
                    <a:cubicBezTo>
                      <a:pt x="4" y="0"/>
                      <a:pt x="4" y="0"/>
                      <a:pt x="4" y="0"/>
                    </a:cubicBezTo>
                    <a:cubicBezTo>
                      <a:pt x="10" y="0"/>
                      <a:pt x="13" y="2"/>
                      <a:pt x="13" y="7"/>
                    </a:cubicBezTo>
                    <a:lnTo>
                      <a:pt x="13" y="3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 name="Freeform 29"/>
              <p:cNvSpPr>
                <a:spLocks/>
              </p:cNvSpPr>
              <p:nvPr/>
            </p:nvSpPr>
            <p:spPr bwMode="auto">
              <a:xfrm>
                <a:off x="4462463" y="3273426"/>
                <a:ext cx="211138" cy="158750"/>
              </a:xfrm>
              <a:custGeom>
                <a:avLst/>
                <a:gdLst>
                  <a:gd name="T0" fmla="*/ 49014 w 56"/>
                  <a:gd name="T1" fmla="*/ 60476 h 42"/>
                  <a:gd name="T2" fmla="*/ 67866 w 56"/>
                  <a:gd name="T3" fmla="*/ 60476 h 42"/>
                  <a:gd name="T4" fmla="*/ 116880 w 56"/>
                  <a:gd name="T5" fmla="*/ 15119 h 42"/>
                  <a:gd name="T6" fmla="*/ 162124 w 56"/>
                  <a:gd name="T7" fmla="*/ 0 h 42"/>
                  <a:gd name="T8" fmla="*/ 199827 w 56"/>
                  <a:gd name="T9" fmla="*/ 0 h 42"/>
                  <a:gd name="T10" fmla="*/ 113110 w 56"/>
                  <a:gd name="T11" fmla="*/ 79375 h 42"/>
                  <a:gd name="T12" fmla="*/ 211138 w 56"/>
                  <a:gd name="T13" fmla="*/ 158750 h 42"/>
                  <a:gd name="T14" fmla="*/ 173435 w 56"/>
                  <a:gd name="T15" fmla="*/ 158750 h 42"/>
                  <a:gd name="T16" fmla="*/ 124421 w 56"/>
                  <a:gd name="T17" fmla="*/ 143631 h 42"/>
                  <a:gd name="T18" fmla="*/ 67866 w 56"/>
                  <a:gd name="T19" fmla="*/ 98274 h 42"/>
                  <a:gd name="T20" fmla="*/ 49014 w 56"/>
                  <a:gd name="T21" fmla="*/ 98274 h 42"/>
                  <a:gd name="T22" fmla="*/ 49014 w 56"/>
                  <a:gd name="T23" fmla="*/ 158750 h 42"/>
                  <a:gd name="T24" fmla="*/ 0 w 56"/>
                  <a:gd name="T25" fmla="*/ 158750 h 42"/>
                  <a:gd name="T26" fmla="*/ 0 w 56"/>
                  <a:gd name="T27" fmla="*/ 0 h 42"/>
                  <a:gd name="T28" fmla="*/ 49014 w 56"/>
                  <a:gd name="T29" fmla="*/ 0 h 42"/>
                  <a:gd name="T30" fmla="*/ 49014 w 56"/>
                  <a:gd name="T31" fmla="*/ 60476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6" h="42">
                    <a:moveTo>
                      <a:pt x="13" y="16"/>
                    </a:moveTo>
                    <a:cubicBezTo>
                      <a:pt x="18" y="16"/>
                      <a:pt x="18" y="16"/>
                      <a:pt x="18" y="16"/>
                    </a:cubicBezTo>
                    <a:cubicBezTo>
                      <a:pt x="23" y="12"/>
                      <a:pt x="27" y="8"/>
                      <a:pt x="31" y="4"/>
                    </a:cubicBezTo>
                    <a:cubicBezTo>
                      <a:pt x="35" y="1"/>
                      <a:pt x="39" y="0"/>
                      <a:pt x="43" y="0"/>
                    </a:cubicBezTo>
                    <a:cubicBezTo>
                      <a:pt x="53" y="0"/>
                      <a:pt x="53" y="0"/>
                      <a:pt x="53" y="0"/>
                    </a:cubicBezTo>
                    <a:cubicBezTo>
                      <a:pt x="30" y="21"/>
                      <a:pt x="30" y="21"/>
                      <a:pt x="30" y="21"/>
                    </a:cubicBezTo>
                    <a:cubicBezTo>
                      <a:pt x="56" y="42"/>
                      <a:pt x="56" y="42"/>
                      <a:pt x="56" y="42"/>
                    </a:cubicBezTo>
                    <a:cubicBezTo>
                      <a:pt x="46" y="42"/>
                      <a:pt x="46" y="42"/>
                      <a:pt x="46" y="42"/>
                    </a:cubicBezTo>
                    <a:cubicBezTo>
                      <a:pt x="40" y="42"/>
                      <a:pt x="37" y="42"/>
                      <a:pt x="33" y="38"/>
                    </a:cubicBezTo>
                    <a:cubicBezTo>
                      <a:pt x="18" y="26"/>
                      <a:pt x="18" y="26"/>
                      <a:pt x="18" y="26"/>
                    </a:cubicBezTo>
                    <a:cubicBezTo>
                      <a:pt x="13" y="26"/>
                      <a:pt x="13" y="26"/>
                      <a:pt x="13" y="26"/>
                    </a:cubicBezTo>
                    <a:cubicBezTo>
                      <a:pt x="13" y="42"/>
                      <a:pt x="13" y="42"/>
                      <a:pt x="13" y="42"/>
                    </a:cubicBezTo>
                    <a:cubicBezTo>
                      <a:pt x="0" y="42"/>
                      <a:pt x="0" y="42"/>
                      <a:pt x="0" y="42"/>
                    </a:cubicBezTo>
                    <a:cubicBezTo>
                      <a:pt x="0" y="0"/>
                      <a:pt x="0" y="0"/>
                      <a:pt x="0" y="0"/>
                    </a:cubicBezTo>
                    <a:cubicBezTo>
                      <a:pt x="13" y="0"/>
                      <a:pt x="13" y="0"/>
                      <a:pt x="13" y="0"/>
                    </a:cubicBezTo>
                    <a:lnTo>
                      <a:pt x="13" y="16"/>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7" name="Freeform 30"/>
              <p:cNvSpPr>
                <a:spLocks/>
              </p:cNvSpPr>
              <p:nvPr/>
            </p:nvSpPr>
            <p:spPr bwMode="auto">
              <a:xfrm>
                <a:off x="3984625" y="3273426"/>
                <a:ext cx="203200" cy="158750"/>
              </a:xfrm>
              <a:custGeom>
                <a:avLst/>
                <a:gdLst>
                  <a:gd name="T0" fmla="*/ 48919 w 54"/>
                  <a:gd name="T1" fmla="*/ 158750 h 42"/>
                  <a:gd name="T2" fmla="*/ 0 w 54"/>
                  <a:gd name="T3" fmla="*/ 158750 h 42"/>
                  <a:gd name="T4" fmla="*/ 0 w 54"/>
                  <a:gd name="T5" fmla="*/ 0 h 42"/>
                  <a:gd name="T6" fmla="*/ 22578 w 54"/>
                  <a:gd name="T7" fmla="*/ 0 h 42"/>
                  <a:gd name="T8" fmla="*/ 48919 w 54"/>
                  <a:gd name="T9" fmla="*/ 26458 h 42"/>
                  <a:gd name="T10" fmla="*/ 48919 w 54"/>
                  <a:gd name="T11" fmla="*/ 56696 h 42"/>
                  <a:gd name="T12" fmla="*/ 150519 w 54"/>
                  <a:gd name="T13" fmla="*/ 56696 h 42"/>
                  <a:gd name="T14" fmla="*/ 150519 w 54"/>
                  <a:gd name="T15" fmla="*/ 26458 h 42"/>
                  <a:gd name="T16" fmla="*/ 180622 w 54"/>
                  <a:gd name="T17" fmla="*/ 0 h 42"/>
                  <a:gd name="T18" fmla="*/ 203200 w 54"/>
                  <a:gd name="T19" fmla="*/ 0 h 42"/>
                  <a:gd name="T20" fmla="*/ 203200 w 54"/>
                  <a:gd name="T21" fmla="*/ 30238 h 42"/>
                  <a:gd name="T22" fmla="*/ 203200 w 54"/>
                  <a:gd name="T23" fmla="*/ 158750 h 42"/>
                  <a:gd name="T24" fmla="*/ 150519 w 54"/>
                  <a:gd name="T25" fmla="*/ 158750 h 42"/>
                  <a:gd name="T26" fmla="*/ 150519 w 54"/>
                  <a:gd name="T27" fmla="*/ 98274 h 42"/>
                  <a:gd name="T28" fmla="*/ 48919 w 54"/>
                  <a:gd name="T29" fmla="*/ 98274 h 42"/>
                  <a:gd name="T30" fmla="*/ 48919 w 54"/>
                  <a:gd name="T31" fmla="*/ 158750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4" h="42">
                    <a:moveTo>
                      <a:pt x="13" y="42"/>
                    </a:moveTo>
                    <a:cubicBezTo>
                      <a:pt x="0" y="42"/>
                      <a:pt x="0" y="42"/>
                      <a:pt x="0" y="42"/>
                    </a:cubicBezTo>
                    <a:cubicBezTo>
                      <a:pt x="0" y="0"/>
                      <a:pt x="0" y="0"/>
                      <a:pt x="0" y="0"/>
                    </a:cubicBezTo>
                    <a:cubicBezTo>
                      <a:pt x="6" y="0"/>
                      <a:pt x="6" y="0"/>
                      <a:pt x="6" y="0"/>
                    </a:cubicBezTo>
                    <a:cubicBezTo>
                      <a:pt x="11" y="0"/>
                      <a:pt x="13" y="3"/>
                      <a:pt x="13" y="7"/>
                    </a:cubicBezTo>
                    <a:cubicBezTo>
                      <a:pt x="13" y="15"/>
                      <a:pt x="13" y="15"/>
                      <a:pt x="13" y="15"/>
                    </a:cubicBezTo>
                    <a:cubicBezTo>
                      <a:pt x="40" y="15"/>
                      <a:pt x="40" y="15"/>
                      <a:pt x="40" y="15"/>
                    </a:cubicBezTo>
                    <a:cubicBezTo>
                      <a:pt x="40" y="7"/>
                      <a:pt x="40" y="7"/>
                      <a:pt x="40" y="7"/>
                    </a:cubicBezTo>
                    <a:cubicBezTo>
                      <a:pt x="40" y="4"/>
                      <a:pt x="42" y="0"/>
                      <a:pt x="48" y="0"/>
                    </a:cubicBezTo>
                    <a:cubicBezTo>
                      <a:pt x="54" y="0"/>
                      <a:pt x="54" y="0"/>
                      <a:pt x="54" y="0"/>
                    </a:cubicBezTo>
                    <a:cubicBezTo>
                      <a:pt x="54" y="8"/>
                      <a:pt x="54" y="8"/>
                      <a:pt x="54" y="8"/>
                    </a:cubicBezTo>
                    <a:cubicBezTo>
                      <a:pt x="54" y="42"/>
                      <a:pt x="54" y="42"/>
                      <a:pt x="54" y="42"/>
                    </a:cubicBezTo>
                    <a:cubicBezTo>
                      <a:pt x="40" y="42"/>
                      <a:pt x="40" y="42"/>
                      <a:pt x="40" y="42"/>
                    </a:cubicBezTo>
                    <a:cubicBezTo>
                      <a:pt x="40" y="26"/>
                      <a:pt x="40" y="26"/>
                      <a:pt x="40" y="26"/>
                    </a:cubicBezTo>
                    <a:cubicBezTo>
                      <a:pt x="13" y="26"/>
                      <a:pt x="13" y="26"/>
                      <a:pt x="13" y="26"/>
                    </a:cubicBezTo>
                    <a:lnTo>
                      <a:pt x="13"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8" name="Freeform 31"/>
              <p:cNvSpPr>
                <a:spLocks/>
              </p:cNvSpPr>
              <p:nvPr/>
            </p:nvSpPr>
            <p:spPr bwMode="auto">
              <a:xfrm>
                <a:off x="4951413" y="3273426"/>
                <a:ext cx="180975" cy="158750"/>
              </a:xfrm>
              <a:custGeom>
                <a:avLst/>
                <a:gdLst>
                  <a:gd name="T0" fmla="*/ 180975 w 48"/>
                  <a:gd name="T1" fmla="*/ 37798 h 42"/>
                  <a:gd name="T2" fmla="*/ 52784 w 48"/>
                  <a:gd name="T3" fmla="*/ 37798 h 42"/>
                  <a:gd name="T4" fmla="*/ 52784 w 48"/>
                  <a:gd name="T5" fmla="*/ 64256 h 42"/>
                  <a:gd name="T6" fmla="*/ 180975 w 48"/>
                  <a:gd name="T7" fmla="*/ 64256 h 42"/>
                  <a:gd name="T8" fmla="*/ 180975 w 48"/>
                  <a:gd name="T9" fmla="*/ 98274 h 42"/>
                  <a:gd name="T10" fmla="*/ 52784 w 48"/>
                  <a:gd name="T11" fmla="*/ 98274 h 42"/>
                  <a:gd name="T12" fmla="*/ 52784 w 48"/>
                  <a:gd name="T13" fmla="*/ 120952 h 42"/>
                  <a:gd name="T14" fmla="*/ 180975 w 48"/>
                  <a:gd name="T15" fmla="*/ 120952 h 42"/>
                  <a:gd name="T16" fmla="*/ 180975 w 48"/>
                  <a:gd name="T17" fmla="*/ 158750 h 42"/>
                  <a:gd name="T18" fmla="*/ 0 w 48"/>
                  <a:gd name="T19" fmla="*/ 158750 h 42"/>
                  <a:gd name="T20" fmla="*/ 0 w 48"/>
                  <a:gd name="T21" fmla="*/ 37798 h 42"/>
                  <a:gd name="T22" fmla="*/ 41473 w 48"/>
                  <a:gd name="T23" fmla="*/ 0 h 42"/>
                  <a:gd name="T24" fmla="*/ 180975 w 48"/>
                  <a:gd name="T25" fmla="*/ 0 h 42"/>
                  <a:gd name="T26" fmla="*/ 180975 w 48"/>
                  <a:gd name="T27" fmla="*/ 37798 h 4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42">
                    <a:moveTo>
                      <a:pt x="48" y="10"/>
                    </a:moveTo>
                    <a:cubicBezTo>
                      <a:pt x="14" y="10"/>
                      <a:pt x="14" y="10"/>
                      <a:pt x="14" y="10"/>
                    </a:cubicBezTo>
                    <a:cubicBezTo>
                      <a:pt x="14" y="17"/>
                      <a:pt x="14" y="17"/>
                      <a:pt x="14" y="17"/>
                    </a:cubicBezTo>
                    <a:cubicBezTo>
                      <a:pt x="48" y="17"/>
                      <a:pt x="48" y="17"/>
                      <a:pt x="48" y="17"/>
                    </a:cubicBezTo>
                    <a:cubicBezTo>
                      <a:pt x="48" y="26"/>
                      <a:pt x="48" y="26"/>
                      <a:pt x="48" y="26"/>
                    </a:cubicBezTo>
                    <a:cubicBezTo>
                      <a:pt x="14" y="26"/>
                      <a:pt x="14" y="26"/>
                      <a:pt x="14" y="26"/>
                    </a:cubicBezTo>
                    <a:cubicBezTo>
                      <a:pt x="14" y="32"/>
                      <a:pt x="14" y="32"/>
                      <a:pt x="14" y="32"/>
                    </a:cubicBezTo>
                    <a:cubicBezTo>
                      <a:pt x="48" y="32"/>
                      <a:pt x="48" y="32"/>
                      <a:pt x="48" y="32"/>
                    </a:cubicBezTo>
                    <a:cubicBezTo>
                      <a:pt x="48" y="42"/>
                      <a:pt x="48" y="42"/>
                      <a:pt x="48" y="42"/>
                    </a:cubicBezTo>
                    <a:cubicBezTo>
                      <a:pt x="0" y="42"/>
                      <a:pt x="0" y="42"/>
                      <a:pt x="0" y="42"/>
                    </a:cubicBezTo>
                    <a:cubicBezTo>
                      <a:pt x="0" y="10"/>
                      <a:pt x="0" y="10"/>
                      <a:pt x="0" y="10"/>
                    </a:cubicBezTo>
                    <a:cubicBezTo>
                      <a:pt x="1" y="5"/>
                      <a:pt x="3" y="1"/>
                      <a:pt x="11" y="0"/>
                    </a:cubicBezTo>
                    <a:cubicBezTo>
                      <a:pt x="48" y="0"/>
                      <a:pt x="48" y="0"/>
                      <a:pt x="48" y="0"/>
                    </a:cubicBezTo>
                    <a:lnTo>
                      <a:pt x="48" y="1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9" name="Freeform 32"/>
              <p:cNvSpPr>
                <a:spLocks/>
              </p:cNvSpPr>
              <p:nvPr/>
            </p:nvSpPr>
            <p:spPr bwMode="auto">
              <a:xfrm>
                <a:off x="5143500" y="3273426"/>
                <a:ext cx="233363" cy="158750"/>
              </a:xfrm>
              <a:custGeom>
                <a:avLst/>
                <a:gdLst>
                  <a:gd name="T0" fmla="*/ 143029 w 62"/>
                  <a:gd name="T1" fmla="*/ 158750 h 42"/>
                  <a:gd name="T2" fmla="*/ 90334 w 62"/>
                  <a:gd name="T3" fmla="*/ 158750 h 42"/>
                  <a:gd name="T4" fmla="*/ 90334 w 62"/>
                  <a:gd name="T5" fmla="*/ 102054 h 42"/>
                  <a:gd name="T6" fmla="*/ 0 w 62"/>
                  <a:gd name="T7" fmla="*/ 0 h 42"/>
                  <a:gd name="T8" fmla="*/ 41403 w 62"/>
                  <a:gd name="T9" fmla="*/ 0 h 42"/>
                  <a:gd name="T10" fmla="*/ 75278 w 62"/>
                  <a:gd name="T11" fmla="*/ 15119 h 42"/>
                  <a:gd name="T12" fmla="*/ 116682 w 62"/>
                  <a:gd name="T13" fmla="*/ 64256 h 42"/>
                  <a:gd name="T14" fmla="*/ 158085 w 62"/>
                  <a:gd name="T15" fmla="*/ 15119 h 42"/>
                  <a:gd name="T16" fmla="*/ 199488 w 62"/>
                  <a:gd name="T17" fmla="*/ 0 h 42"/>
                  <a:gd name="T18" fmla="*/ 233363 w 62"/>
                  <a:gd name="T19" fmla="*/ 0 h 42"/>
                  <a:gd name="T20" fmla="*/ 143029 w 62"/>
                  <a:gd name="T21" fmla="*/ 102054 h 42"/>
                  <a:gd name="T22" fmla="*/ 143029 w 62"/>
                  <a:gd name="T23" fmla="*/ 158750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2" h="42">
                    <a:moveTo>
                      <a:pt x="38" y="42"/>
                    </a:moveTo>
                    <a:cubicBezTo>
                      <a:pt x="24" y="42"/>
                      <a:pt x="24" y="42"/>
                      <a:pt x="24" y="42"/>
                    </a:cubicBezTo>
                    <a:cubicBezTo>
                      <a:pt x="24" y="27"/>
                      <a:pt x="24" y="27"/>
                      <a:pt x="24" y="27"/>
                    </a:cubicBezTo>
                    <a:cubicBezTo>
                      <a:pt x="0" y="0"/>
                      <a:pt x="0" y="0"/>
                      <a:pt x="0" y="0"/>
                    </a:cubicBezTo>
                    <a:cubicBezTo>
                      <a:pt x="11" y="0"/>
                      <a:pt x="11" y="0"/>
                      <a:pt x="11" y="0"/>
                    </a:cubicBezTo>
                    <a:cubicBezTo>
                      <a:pt x="14" y="0"/>
                      <a:pt x="17" y="1"/>
                      <a:pt x="20" y="4"/>
                    </a:cubicBezTo>
                    <a:cubicBezTo>
                      <a:pt x="31" y="17"/>
                      <a:pt x="31" y="17"/>
                      <a:pt x="31" y="17"/>
                    </a:cubicBezTo>
                    <a:cubicBezTo>
                      <a:pt x="35" y="13"/>
                      <a:pt x="38" y="9"/>
                      <a:pt x="42" y="4"/>
                    </a:cubicBezTo>
                    <a:cubicBezTo>
                      <a:pt x="44" y="2"/>
                      <a:pt x="47" y="0"/>
                      <a:pt x="53" y="0"/>
                    </a:cubicBezTo>
                    <a:cubicBezTo>
                      <a:pt x="62" y="0"/>
                      <a:pt x="62" y="0"/>
                      <a:pt x="62" y="0"/>
                    </a:cubicBezTo>
                    <a:cubicBezTo>
                      <a:pt x="38" y="27"/>
                      <a:pt x="38" y="27"/>
                      <a:pt x="38" y="27"/>
                    </a:cubicBezTo>
                    <a:lnTo>
                      <a:pt x="38"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0" name="Freeform 33"/>
              <p:cNvSpPr>
                <a:spLocks/>
              </p:cNvSpPr>
              <p:nvPr/>
            </p:nvSpPr>
            <p:spPr bwMode="auto">
              <a:xfrm>
                <a:off x="5389563" y="3273426"/>
                <a:ext cx="157163" cy="158750"/>
              </a:xfrm>
              <a:custGeom>
                <a:avLst/>
                <a:gdLst>
                  <a:gd name="T0" fmla="*/ 48646 w 42"/>
                  <a:gd name="T1" fmla="*/ 120952 h 42"/>
                  <a:gd name="T2" fmla="*/ 157163 w 42"/>
                  <a:gd name="T3" fmla="*/ 120952 h 42"/>
                  <a:gd name="T4" fmla="*/ 157163 w 42"/>
                  <a:gd name="T5" fmla="*/ 158750 h 42"/>
                  <a:gd name="T6" fmla="*/ 0 w 42"/>
                  <a:gd name="T7" fmla="*/ 158750 h 42"/>
                  <a:gd name="T8" fmla="*/ 0 w 42"/>
                  <a:gd name="T9" fmla="*/ 0 h 42"/>
                  <a:gd name="T10" fmla="*/ 18710 w 42"/>
                  <a:gd name="T11" fmla="*/ 0 h 42"/>
                  <a:gd name="T12" fmla="*/ 48646 w 42"/>
                  <a:gd name="T13" fmla="*/ 26458 h 42"/>
                  <a:gd name="T14" fmla="*/ 48646 w 42"/>
                  <a:gd name="T15" fmla="*/ 120952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2">
                    <a:moveTo>
                      <a:pt x="13" y="32"/>
                    </a:moveTo>
                    <a:cubicBezTo>
                      <a:pt x="42" y="32"/>
                      <a:pt x="42" y="32"/>
                      <a:pt x="42" y="32"/>
                    </a:cubicBezTo>
                    <a:cubicBezTo>
                      <a:pt x="42" y="42"/>
                      <a:pt x="42" y="42"/>
                      <a:pt x="42" y="42"/>
                    </a:cubicBezTo>
                    <a:cubicBezTo>
                      <a:pt x="0" y="42"/>
                      <a:pt x="0" y="42"/>
                      <a:pt x="0" y="42"/>
                    </a:cubicBezTo>
                    <a:cubicBezTo>
                      <a:pt x="0" y="0"/>
                      <a:pt x="0" y="0"/>
                      <a:pt x="0" y="0"/>
                    </a:cubicBezTo>
                    <a:cubicBezTo>
                      <a:pt x="5" y="0"/>
                      <a:pt x="5" y="0"/>
                      <a:pt x="5" y="0"/>
                    </a:cubicBezTo>
                    <a:cubicBezTo>
                      <a:pt x="10" y="0"/>
                      <a:pt x="13" y="2"/>
                      <a:pt x="13" y="7"/>
                    </a:cubicBezTo>
                    <a:lnTo>
                      <a:pt x="13" y="3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1" name="Freeform 34"/>
              <p:cNvSpPr>
                <a:spLocks/>
              </p:cNvSpPr>
              <p:nvPr/>
            </p:nvSpPr>
            <p:spPr bwMode="auto">
              <a:xfrm>
                <a:off x="5818188" y="3273426"/>
                <a:ext cx="222250" cy="158750"/>
              </a:xfrm>
              <a:custGeom>
                <a:avLst/>
                <a:gdLst>
                  <a:gd name="T0" fmla="*/ 222250 w 59"/>
                  <a:gd name="T1" fmla="*/ 158750 h 42"/>
                  <a:gd name="T2" fmla="*/ 146911 w 59"/>
                  <a:gd name="T3" fmla="*/ 158750 h 42"/>
                  <a:gd name="T4" fmla="*/ 48970 w 59"/>
                  <a:gd name="T5" fmla="*/ 45357 h 42"/>
                  <a:gd name="T6" fmla="*/ 48970 w 59"/>
                  <a:gd name="T7" fmla="*/ 158750 h 42"/>
                  <a:gd name="T8" fmla="*/ 0 w 59"/>
                  <a:gd name="T9" fmla="*/ 158750 h 42"/>
                  <a:gd name="T10" fmla="*/ 0 w 59"/>
                  <a:gd name="T11" fmla="*/ 0 h 42"/>
                  <a:gd name="T12" fmla="*/ 41436 w 59"/>
                  <a:gd name="T13" fmla="*/ 0 h 42"/>
                  <a:gd name="T14" fmla="*/ 101708 w 59"/>
                  <a:gd name="T15" fmla="*/ 30238 h 42"/>
                  <a:gd name="T16" fmla="*/ 169513 w 59"/>
                  <a:gd name="T17" fmla="*/ 117173 h 42"/>
                  <a:gd name="T18" fmla="*/ 169513 w 59"/>
                  <a:gd name="T19" fmla="*/ 0 h 42"/>
                  <a:gd name="T20" fmla="*/ 222250 w 59"/>
                  <a:gd name="T21" fmla="*/ 0 h 42"/>
                  <a:gd name="T22" fmla="*/ 222250 w 59"/>
                  <a:gd name="T23" fmla="*/ 158750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42">
                    <a:moveTo>
                      <a:pt x="59" y="42"/>
                    </a:moveTo>
                    <a:cubicBezTo>
                      <a:pt x="39" y="42"/>
                      <a:pt x="39" y="42"/>
                      <a:pt x="39" y="42"/>
                    </a:cubicBezTo>
                    <a:cubicBezTo>
                      <a:pt x="13" y="12"/>
                      <a:pt x="13" y="12"/>
                      <a:pt x="13" y="12"/>
                    </a:cubicBezTo>
                    <a:cubicBezTo>
                      <a:pt x="13" y="42"/>
                      <a:pt x="13" y="42"/>
                      <a:pt x="13" y="42"/>
                    </a:cubicBezTo>
                    <a:cubicBezTo>
                      <a:pt x="0" y="42"/>
                      <a:pt x="0" y="42"/>
                      <a:pt x="0" y="42"/>
                    </a:cubicBezTo>
                    <a:cubicBezTo>
                      <a:pt x="0" y="0"/>
                      <a:pt x="0" y="0"/>
                      <a:pt x="0" y="0"/>
                    </a:cubicBezTo>
                    <a:cubicBezTo>
                      <a:pt x="11" y="0"/>
                      <a:pt x="11" y="0"/>
                      <a:pt x="11" y="0"/>
                    </a:cubicBezTo>
                    <a:cubicBezTo>
                      <a:pt x="19" y="0"/>
                      <a:pt x="23" y="4"/>
                      <a:pt x="27" y="8"/>
                    </a:cubicBezTo>
                    <a:cubicBezTo>
                      <a:pt x="45" y="31"/>
                      <a:pt x="45" y="31"/>
                      <a:pt x="45" y="31"/>
                    </a:cubicBezTo>
                    <a:cubicBezTo>
                      <a:pt x="45" y="0"/>
                      <a:pt x="45" y="0"/>
                      <a:pt x="45" y="0"/>
                    </a:cubicBezTo>
                    <a:cubicBezTo>
                      <a:pt x="59" y="0"/>
                      <a:pt x="59" y="0"/>
                      <a:pt x="59" y="0"/>
                    </a:cubicBezTo>
                    <a:lnTo>
                      <a:pt x="59"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2" name="Freeform 35"/>
              <p:cNvSpPr>
                <a:spLocks noEditPoints="1"/>
              </p:cNvSpPr>
              <p:nvPr/>
            </p:nvSpPr>
            <p:spPr bwMode="auto">
              <a:xfrm>
                <a:off x="6062663" y="3273426"/>
                <a:ext cx="214313" cy="158750"/>
              </a:xfrm>
              <a:custGeom>
                <a:avLst/>
                <a:gdLst>
                  <a:gd name="T0" fmla="*/ 127836 w 57"/>
                  <a:gd name="T1" fmla="*/ 37798 h 42"/>
                  <a:gd name="T2" fmla="*/ 48878 w 57"/>
                  <a:gd name="T3" fmla="*/ 37798 h 42"/>
                  <a:gd name="T4" fmla="*/ 48878 w 57"/>
                  <a:gd name="T5" fmla="*/ 120952 h 42"/>
                  <a:gd name="T6" fmla="*/ 131596 w 57"/>
                  <a:gd name="T7" fmla="*/ 120952 h 42"/>
                  <a:gd name="T8" fmla="*/ 154155 w 57"/>
                  <a:gd name="T9" fmla="*/ 113393 h 42"/>
                  <a:gd name="T10" fmla="*/ 161675 w 57"/>
                  <a:gd name="T11" fmla="*/ 94494 h 42"/>
                  <a:gd name="T12" fmla="*/ 161675 w 57"/>
                  <a:gd name="T13" fmla="*/ 68036 h 42"/>
                  <a:gd name="T14" fmla="*/ 154155 w 57"/>
                  <a:gd name="T15" fmla="*/ 45357 h 42"/>
                  <a:gd name="T16" fmla="*/ 127836 w 57"/>
                  <a:gd name="T17" fmla="*/ 37798 h 42"/>
                  <a:gd name="T18" fmla="*/ 142875 w 57"/>
                  <a:gd name="T19" fmla="*/ 0 h 42"/>
                  <a:gd name="T20" fmla="*/ 195514 w 57"/>
                  <a:gd name="T21" fmla="*/ 11339 h 42"/>
                  <a:gd name="T22" fmla="*/ 214313 w 57"/>
                  <a:gd name="T23" fmla="*/ 52917 h 42"/>
                  <a:gd name="T24" fmla="*/ 214313 w 57"/>
                  <a:gd name="T25" fmla="*/ 109613 h 42"/>
                  <a:gd name="T26" fmla="*/ 199273 w 57"/>
                  <a:gd name="T27" fmla="*/ 147411 h 42"/>
                  <a:gd name="T28" fmla="*/ 157915 w 57"/>
                  <a:gd name="T29" fmla="*/ 158750 h 42"/>
                  <a:gd name="T30" fmla="*/ 0 w 57"/>
                  <a:gd name="T31" fmla="*/ 158750 h 42"/>
                  <a:gd name="T32" fmla="*/ 0 w 57"/>
                  <a:gd name="T33" fmla="*/ 0 h 42"/>
                  <a:gd name="T34" fmla="*/ 142875 w 57"/>
                  <a:gd name="T35" fmla="*/ 0 h 4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7" h="42">
                    <a:moveTo>
                      <a:pt x="34" y="10"/>
                    </a:moveTo>
                    <a:cubicBezTo>
                      <a:pt x="13" y="10"/>
                      <a:pt x="13" y="10"/>
                      <a:pt x="13" y="10"/>
                    </a:cubicBezTo>
                    <a:cubicBezTo>
                      <a:pt x="13" y="32"/>
                      <a:pt x="13" y="32"/>
                      <a:pt x="13" y="32"/>
                    </a:cubicBezTo>
                    <a:cubicBezTo>
                      <a:pt x="35" y="32"/>
                      <a:pt x="35" y="32"/>
                      <a:pt x="35" y="32"/>
                    </a:cubicBezTo>
                    <a:cubicBezTo>
                      <a:pt x="38" y="32"/>
                      <a:pt x="40" y="31"/>
                      <a:pt x="41" y="30"/>
                    </a:cubicBezTo>
                    <a:cubicBezTo>
                      <a:pt x="43" y="29"/>
                      <a:pt x="43" y="27"/>
                      <a:pt x="43" y="25"/>
                    </a:cubicBezTo>
                    <a:cubicBezTo>
                      <a:pt x="43" y="18"/>
                      <a:pt x="43" y="18"/>
                      <a:pt x="43" y="18"/>
                    </a:cubicBezTo>
                    <a:cubicBezTo>
                      <a:pt x="43" y="15"/>
                      <a:pt x="43" y="13"/>
                      <a:pt x="41" y="12"/>
                    </a:cubicBezTo>
                    <a:cubicBezTo>
                      <a:pt x="39" y="11"/>
                      <a:pt x="37" y="10"/>
                      <a:pt x="34" y="10"/>
                    </a:cubicBezTo>
                    <a:moveTo>
                      <a:pt x="38" y="0"/>
                    </a:moveTo>
                    <a:cubicBezTo>
                      <a:pt x="44" y="0"/>
                      <a:pt x="49" y="1"/>
                      <a:pt x="52" y="3"/>
                    </a:cubicBezTo>
                    <a:cubicBezTo>
                      <a:pt x="55" y="6"/>
                      <a:pt x="57" y="9"/>
                      <a:pt x="57" y="14"/>
                    </a:cubicBezTo>
                    <a:cubicBezTo>
                      <a:pt x="57" y="29"/>
                      <a:pt x="57" y="29"/>
                      <a:pt x="57" y="29"/>
                    </a:cubicBezTo>
                    <a:cubicBezTo>
                      <a:pt x="57" y="33"/>
                      <a:pt x="55" y="37"/>
                      <a:pt x="53" y="39"/>
                    </a:cubicBezTo>
                    <a:cubicBezTo>
                      <a:pt x="51" y="41"/>
                      <a:pt x="47" y="42"/>
                      <a:pt x="42" y="42"/>
                    </a:cubicBezTo>
                    <a:cubicBezTo>
                      <a:pt x="0" y="42"/>
                      <a:pt x="0" y="42"/>
                      <a:pt x="0" y="42"/>
                    </a:cubicBezTo>
                    <a:cubicBezTo>
                      <a:pt x="0" y="0"/>
                      <a:pt x="0" y="0"/>
                      <a:pt x="0" y="0"/>
                    </a:cubicBezTo>
                    <a:lnTo>
                      <a:pt x="38" y="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3" name="Freeform 36"/>
              <p:cNvSpPr>
                <a:spLocks/>
              </p:cNvSpPr>
              <p:nvPr/>
            </p:nvSpPr>
            <p:spPr bwMode="auto">
              <a:xfrm>
                <a:off x="3756025" y="3273426"/>
                <a:ext cx="203200" cy="163513"/>
              </a:xfrm>
              <a:custGeom>
                <a:avLst/>
                <a:gdLst>
                  <a:gd name="T0" fmla="*/ 135467 w 54"/>
                  <a:gd name="T1" fmla="*/ 125487 h 43"/>
                  <a:gd name="T2" fmla="*/ 150519 w 54"/>
                  <a:gd name="T3" fmla="*/ 121684 h 43"/>
                  <a:gd name="T4" fmla="*/ 154281 w 54"/>
                  <a:gd name="T5" fmla="*/ 114079 h 43"/>
                  <a:gd name="T6" fmla="*/ 150519 w 54"/>
                  <a:gd name="T7" fmla="*/ 102671 h 43"/>
                  <a:gd name="T8" fmla="*/ 127941 w 54"/>
                  <a:gd name="T9" fmla="*/ 98868 h 43"/>
                  <a:gd name="T10" fmla="*/ 52681 w 54"/>
                  <a:gd name="T11" fmla="*/ 95066 h 43"/>
                  <a:gd name="T12" fmla="*/ 11289 w 54"/>
                  <a:gd name="T13" fmla="*/ 83658 h 43"/>
                  <a:gd name="T14" fmla="*/ 0 w 54"/>
                  <a:gd name="T15" fmla="*/ 49434 h 43"/>
                  <a:gd name="T16" fmla="*/ 3763 w 54"/>
                  <a:gd name="T17" fmla="*/ 26618 h 43"/>
                  <a:gd name="T18" fmla="*/ 11289 w 54"/>
                  <a:gd name="T19" fmla="*/ 11408 h 43"/>
                  <a:gd name="T20" fmla="*/ 30104 w 54"/>
                  <a:gd name="T21" fmla="*/ 0 h 43"/>
                  <a:gd name="T22" fmla="*/ 67733 w 54"/>
                  <a:gd name="T23" fmla="*/ 0 h 43"/>
                  <a:gd name="T24" fmla="*/ 146756 w 54"/>
                  <a:gd name="T25" fmla="*/ 0 h 43"/>
                  <a:gd name="T26" fmla="*/ 184385 w 54"/>
                  <a:gd name="T27" fmla="*/ 7605 h 43"/>
                  <a:gd name="T28" fmla="*/ 199437 w 54"/>
                  <a:gd name="T29" fmla="*/ 34224 h 43"/>
                  <a:gd name="T30" fmla="*/ 75259 w 54"/>
                  <a:gd name="T31" fmla="*/ 34224 h 43"/>
                  <a:gd name="T32" fmla="*/ 56444 w 54"/>
                  <a:gd name="T33" fmla="*/ 38026 h 43"/>
                  <a:gd name="T34" fmla="*/ 52681 w 54"/>
                  <a:gd name="T35" fmla="*/ 45632 h 43"/>
                  <a:gd name="T36" fmla="*/ 56444 w 54"/>
                  <a:gd name="T37" fmla="*/ 57039 h 43"/>
                  <a:gd name="T38" fmla="*/ 71496 w 54"/>
                  <a:gd name="T39" fmla="*/ 60842 h 43"/>
                  <a:gd name="T40" fmla="*/ 154281 w 54"/>
                  <a:gd name="T41" fmla="*/ 60842 h 43"/>
                  <a:gd name="T42" fmla="*/ 191911 w 54"/>
                  <a:gd name="T43" fmla="*/ 72250 h 43"/>
                  <a:gd name="T44" fmla="*/ 203200 w 54"/>
                  <a:gd name="T45" fmla="*/ 114079 h 43"/>
                  <a:gd name="T46" fmla="*/ 199437 w 54"/>
                  <a:gd name="T47" fmla="*/ 140697 h 43"/>
                  <a:gd name="T48" fmla="*/ 184385 w 54"/>
                  <a:gd name="T49" fmla="*/ 155908 h 43"/>
                  <a:gd name="T50" fmla="*/ 169333 w 54"/>
                  <a:gd name="T51" fmla="*/ 159710 h 43"/>
                  <a:gd name="T52" fmla="*/ 135467 w 54"/>
                  <a:gd name="T53" fmla="*/ 163513 h 43"/>
                  <a:gd name="T54" fmla="*/ 67733 w 54"/>
                  <a:gd name="T55" fmla="*/ 163513 h 43"/>
                  <a:gd name="T56" fmla="*/ 15052 w 54"/>
                  <a:gd name="T57" fmla="*/ 152105 h 43"/>
                  <a:gd name="T58" fmla="*/ 0 w 54"/>
                  <a:gd name="T59" fmla="*/ 125487 h 43"/>
                  <a:gd name="T60" fmla="*/ 135467 w 54"/>
                  <a:gd name="T61" fmla="*/ 125487 h 4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43">
                    <a:moveTo>
                      <a:pt x="36" y="33"/>
                    </a:moveTo>
                    <a:cubicBezTo>
                      <a:pt x="38" y="33"/>
                      <a:pt x="39" y="33"/>
                      <a:pt x="40" y="32"/>
                    </a:cubicBezTo>
                    <a:cubicBezTo>
                      <a:pt x="40" y="32"/>
                      <a:pt x="41" y="31"/>
                      <a:pt x="41" y="30"/>
                    </a:cubicBezTo>
                    <a:cubicBezTo>
                      <a:pt x="41" y="28"/>
                      <a:pt x="40" y="27"/>
                      <a:pt x="40" y="27"/>
                    </a:cubicBezTo>
                    <a:cubicBezTo>
                      <a:pt x="39" y="26"/>
                      <a:pt x="37" y="26"/>
                      <a:pt x="34" y="26"/>
                    </a:cubicBezTo>
                    <a:cubicBezTo>
                      <a:pt x="14" y="25"/>
                      <a:pt x="14" y="25"/>
                      <a:pt x="14" y="25"/>
                    </a:cubicBezTo>
                    <a:cubicBezTo>
                      <a:pt x="8" y="25"/>
                      <a:pt x="5" y="24"/>
                      <a:pt x="3" y="22"/>
                    </a:cubicBezTo>
                    <a:cubicBezTo>
                      <a:pt x="1" y="21"/>
                      <a:pt x="0" y="17"/>
                      <a:pt x="0" y="13"/>
                    </a:cubicBezTo>
                    <a:cubicBezTo>
                      <a:pt x="0" y="10"/>
                      <a:pt x="1" y="8"/>
                      <a:pt x="1" y="7"/>
                    </a:cubicBezTo>
                    <a:cubicBezTo>
                      <a:pt x="2" y="5"/>
                      <a:pt x="2" y="4"/>
                      <a:pt x="3" y="3"/>
                    </a:cubicBezTo>
                    <a:cubicBezTo>
                      <a:pt x="5" y="2"/>
                      <a:pt x="6" y="1"/>
                      <a:pt x="8" y="0"/>
                    </a:cubicBezTo>
                    <a:cubicBezTo>
                      <a:pt x="10" y="0"/>
                      <a:pt x="14" y="0"/>
                      <a:pt x="18" y="0"/>
                    </a:cubicBezTo>
                    <a:cubicBezTo>
                      <a:pt x="39" y="0"/>
                      <a:pt x="39" y="0"/>
                      <a:pt x="39" y="0"/>
                    </a:cubicBezTo>
                    <a:cubicBezTo>
                      <a:pt x="44" y="0"/>
                      <a:pt x="47" y="0"/>
                      <a:pt x="49" y="2"/>
                    </a:cubicBezTo>
                    <a:cubicBezTo>
                      <a:pt x="51" y="4"/>
                      <a:pt x="52" y="6"/>
                      <a:pt x="53" y="9"/>
                    </a:cubicBezTo>
                    <a:cubicBezTo>
                      <a:pt x="20" y="9"/>
                      <a:pt x="20" y="9"/>
                      <a:pt x="20" y="9"/>
                    </a:cubicBezTo>
                    <a:cubicBezTo>
                      <a:pt x="18" y="9"/>
                      <a:pt x="16" y="9"/>
                      <a:pt x="15" y="10"/>
                    </a:cubicBezTo>
                    <a:cubicBezTo>
                      <a:pt x="14" y="10"/>
                      <a:pt x="14" y="11"/>
                      <a:pt x="14" y="12"/>
                    </a:cubicBezTo>
                    <a:cubicBezTo>
                      <a:pt x="14" y="13"/>
                      <a:pt x="14" y="14"/>
                      <a:pt x="15" y="15"/>
                    </a:cubicBezTo>
                    <a:cubicBezTo>
                      <a:pt x="16" y="15"/>
                      <a:pt x="17" y="16"/>
                      <a:pt x="19" y="16"/>
                    </a:cubicBezTo>
                    <a:cubicBezTo>
                      <a:pt x="41" y="16"/>
                      <a:pt x="41" y="16"/>
                      <a:pt x="41" y="16"/>
                    </a:cubicBezTo>
                    <a:cubicBezTo>
                      <a:pt x="46" y="16"/>
                      <a:pt x="49" y="17"/>
                      <a:pt x="51" y="19"/>
                    </a:cubicBezTo>
                    <a:cubicBezTo>
                      <a:pt x="53" y="21"/>
                      <a:pt x="54" y="25"/>
                      <a:pt x="54" y="30"/>
                    </a:cubicBezTo>
                    <a:cubicBezTo>
                      <a:pt x="54" y="33"/>
                      <a:pt x="54" y="35"/>
                      <a:pt x="53" y="37"/>
                    </a:cubicBezTo>
                    <a:cubicBezTo>
                      <a:pt x="53" y="38"/>
                      <a:pt x="51" y="40"/>
                      <a:pt x="49" y="41"/>
                    </a:cubicBezTo>
                    <a:cubicBezTo>
                      <a:pt x="48" y="41"/>
                      <a:pt x="47" y="42"/>
                      <a:pt x="45" y="42"/>
                    </a:cubicBezTo>
                    <a:cubicBezTo>
                      <a:pt x="43" y="43"/>
                      <a:pt x="40" y="43"/>
                      <a:pt x="36" y="43"/>
                    </a:cubicBezTo>
                    <a:cubicBezTo>
                      <a:pt x="18" y="43"/>
                      <a:pt x="18" y="43"/>
                      <a:pt x="18" y="43"/>
                    </a:cubicBezTo>
                    <a:cubicBezTo>
                      <a:pt x="11" y="43"/>
                      <a:pt x="6" y="42"/>
                      <a:pt x="4" y="40"/>
                    </a:cubicBezTo>
                    <a:cubicBezTo>
                      <a:pt x="2" y="39"/>
                      <a:pt x="0" y="36"/>
                      <a:pt x="0" y="33"/>
                    </a:cubicBezTo>
                    <a:lnTo>
                      <a:pt x="36" y="33"/>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4" name="Freeform 37"/>
              <p:cNvSpPr>
                <a:spLocks noEditPoints="1"/>
              </p:cNvSpPr>
              <p:nvPr/>
            </p:nvSpPr>
            <p:spPr bwMode="auto">
              <a:xfrm>
                <a:off x="3506788" y="3273426"/>
                <a:ext cx="241300" cy="158750"/>
              </a:xfrm>
              <a:custGeom>
                <a:avLst/>
                <a:gdLst>
                  <a:gd name="T0" fmla="*/ 57150 w 152"/>
                  <a:gd name="T1" fmla="*/ 158750 h 100"/>
                  <a:gd name="T2" fmla="*/ 0 w 152"/>
                  <a:gd name="T3" fmla="*/ 158750 h 100"/>
                  <a:gd name="T4" fmla="*/ 90488 w 152"/>
                  <a:gd name="T5" fmla="*/ 0 h 100"/>
                  <a:gd name="T6" fmla="*/ 153988 w 152"/>
                  <a:gd name="T7" fmla="*/ 0 h 100"/>
                  <a:gd name="T8" fmla="*/ 241300 w 152"/>
                  <a:gd name="T9" fmla="*/ 158750 h 100"/>
                  <a:gd name="T10" fmla="*/ 188913 w 152"/>
                  <a:gd name="T11" fmla="*/ 158750 h 100"/>
                  <a:gd name="T12" fmla="*/ 169863 w 152"/>
                  <a:gd name="T13" fmla="*/ 133350 h 100"/>
                  <a:gd name="T14" fmla="*/ 71438 w 152"/>
                  <a:gd name="T15" fmla="*/ 133350 h 100"/>
                  <a:gd name="T16" fmla="*/ 57150 w 152"/>
                  <a:gd name="T17" fmla="*/ 158750 h 100"/>
                  <a:gd name="T18" fmla="*/ 90488 w 152"/>
                  <a:gd name="T19" fmla="*/ 95250 h 100"/>
                  <a:gd name="T20" fmla="*/ 153988 w 152"/>
                  <a:gd name="T21" fmla="*/ 95250 h 100"/>
                  <a:gd name="T22" fmla="*/ 120650 w 152"/>
                  <a:gd name="T23" fmla="*/ 38100 h 100"/>
                  <a:gd name="T24" fmla="*/ 90488 w 152"/>
                  <a:gd name="T25" fmla="*/ 9525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2" h="100">
                    <a:moveTo>
                      <a:pt x="36" y="100"/>
                    </a:moveTo>
                    <a:lnTo>
                      <a:pt x="0" y="100"/>
                    </a:lnTo>
                    <a:lnTo>
                      <a:pt x="57" y="0"/>
                    </a:lnTo>
                    <a:lnTo>
                      <a:pt x="97" y="0"/>
                    </a:lnTo>
                    <a:lnTo>
                      <a:pt x="152" y="100"/>
                    </a:lnTo>
                    <a:lnTo>
                      <a:pt x="119" y="100"/>
                    </a:lnTo>
                    <a:lnTo>
                      <a:pt x="107" y="84"/>
                    </a:lnTo>
                    <a:lnTo>
                      <a:pt x="45" y="84"/>
                    </a:lnTo>
                    <a:lnTo>
                      <a:pt x="36" y="100"/>
                    </a:lnTo>
                    <a:close/>
                    <a:moveTo>
                      <a:pt x="57" y="60"/>
                    </a:moveTo>
                    <a:lnTo>
                      <a:pt x="97" y="60"/>
                    </a:lnTo>
                    <a:lnTo>
                      <a:pt x="76" y="24"/>
                    </a:lnTo>
                    <a:lnTo>
                      <a:pt x="57" y="6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5" name="Freeform 38"/>
              <p:cNvSpPr>
                <a:spLocks noEditPoints="1"/>
              </p:cNvSpPr>
              <p:nvPr/>
            </p:nvSpPr>
            <p:spPr bwMode="auto">
              <a:xfrm>
                <a:off x="4214813" y="3273426"/>
                <a:ext cx="222250" cy="163513"/>
              </a:xfrm>
              <a:custGeom>
                <a:avLst/>
                <a:gdLst>
                  <a:gd name="T0" fmla="*/ 79106 w 59"/>
                  <a:gd name="T1" fmla="*/ 163513 h 43"/>
                  <a:gd name="T2" fmla="*/ 37669 w 59"/>
                  <a:gd name="T3" fmla="*/ 159710 h 43"/>
                  <a:gd name="T4" fmla="*/ 18835 w 59"/>
                  <a:gd name="T5" fmla="*/ 152105 h 43"/>
                  <a:gd name="T6" fmla="*/ 3767 w 59"/>
                  <a:gd name="T7" fmla="*/ 133092 h 43"/>
                  <a:gd name="T8" fmla="*/ 0 w 59"/>
                  <a:gd name="T9" fmla="*/ 102671 h 43"/>
                  <a:gd name="T10" fmla="*/ 0 w 59"/>
                  <a:gd name="T11" fmla="*/ 60842 h 43"/>
                  <a:gd name="T12" fmla="*/ 3767 w 59"/>
                  <a:gd name="T13" fmla="*/ 26618 h 43"/>
                  <a:gd name="T14" fmla="*/ 18835 w 59"/>
                  <a:gd name="T15" fmla="*/ 7605 h 43"/>
                  <a:gd name="T16" fmla="*/ 37669 w 59"/>
                  <a:gd name="T17" fmla="*/ 0 h 43"/>
                  <a:gd name="T18" fmla="*/ 79106 w 59"/>
                  <a:gd name="T19" fmla="*/ 0 h 43"/>
                  <a:gd name="T20" fmla="*/ 139377 w 59"/>
                  <a:gd name="T21" fmla="*/ 0 h 43"/>
                  <a:gd name="T22" fmla="*/ 180814 w 59"/>
                  <a:gd name="T23" fmla="*/ 0 h 43"/>
                  <a:gd name="T24" fmla="*/ 203415 w 59"/>
                  <a:gd name="T25" fmla="*/ 7605 h 43"/>
                  <a:gd name="T26" fmla="*/ 214716 w 59"/>
                  <a:gd name="T27" fmla="*/ 26618 h 43"/>
                  <a:gd name="T28" fmla="*/ 222250 w 59"/>
                  <a:gd name="T29" fmla="*/ 57039 h 43"/>
                  <a:gd name="T30" fmla="*/ 222250 w 59"/>
                  <a:gd name="T31" fmla="*/ 102671 h 43"/>
                  <a:gd name="T32" fmla="*/ 214716 w 59"/>
                  <a:gd name="T33" fmla="*/ 133092 h 43"/>
                  <a:gd name="T34" fmla="*/ 203415 w 59"/>
                  <a:gd name="T35" fmla="*/ 152105 h 43"/>
                  <a:gd name="T36" fmla="*/ 180814 w 59"/>
                  <a:gd name="T37" fmla="*/ 159710 h 43"/>
                  <a:gd name="T38" fmla="*/ 139377 w 59"/>
                  <a:gd name="T39" fmla="*/ 163513 h 43"/>
                  <a:gd name="T40" fmla="*/ 79106 w 59"/>
                  <a:gd name="T41" fmla="*/ 163513 h 43"/>
                  <a:gd name="T42" fmla="*/ 94174 w 59"/>
                  <a:gd name="T43" fmla="*/ 121684 h 43"/>
                  <a:gd name="T44" fmla="*/ 124309 w 59"/>
                  <a:gd name="T45" fmla="*/ 121684 h 43"/>
                  <a:gd name="T46" fmla="*/ 161979 w 59"/>
                  <a:gd name="T47" fmla="*/ 114079 h 43"/>
                  <a:gd name="T48" fmla="*/ 169513 w 59"/>
                  <a:gd name="T49" fmla="*/ 91263 h 43"/>
                  <a:gd name="T50" fmla="*/ 169513 w 59"/>
                  <a:gd name="T51" fmla="*/ 68447 h 43"/>
                  <a:gd name="T52" fmla="*/ 161979 w 59"/>
                  <a:gd name="T53" fmla="*/ 45632 h 43"/>
                  <a:gd name="T54" fmla="*/ 124309 w 59"/>
                  <a:gd name="T55" fmla="*/ 38026 h 43"/>
                  <a:gd name="T56" fmla="*/ 94174 w 59"/>
                  <a:gd name="T57" fmla="*/ 38026 h 43"/>
                  <a:gd name="T58" fmla="*/ 60271 w 59"/>
                  <a:gd name="T59" fmla="*/ 45632 h 43"/>
                  <a:gd name="T60" fmla="*/ 48970 w 59"/>
                  <a:gd name="T61" fmla="*/ 68447 h 43"/>
                  <a:gd name="T62" fmla="*/ 48970 w 59"/>
                  <a:gd name="T63" fmla="*/ 91263 h 43"/>
                  <a:gd name="T64" fmla="*/ 60271 w 59"/>
                  <a:gd name="T65" fmla="*/ 114079 h 43"/>
                  <a:gd name="T66" fmla="*/ 94174 w 59"/>
                  <a:gd name="T67" fmla="*/ 121684 h 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9" h="43">
                    <a:moveTo>
                      <a:pt x="21" y="43"/>
                    </a:moveTo>
                    <a:cubicBezTo>
                      <a:pt x="16" y="43"/>
                      <a:pt x="13" y="42"/>
                      <a:pt x="10" y="42"/>
                    </a:cubicBezTo>
                    <a:cubicBezTo>
                      <a:pt x="8" y="42"/>
                      <a:pt x="6" y="41"/>
                      <a:pt x="5" y="40"/>
                    </a:cubicBezTo>
                    <a:cubicBezTo>
                      <a:pt x="3" y="39"/>
                      <a:pt x="2" y="37"/>
                      <a:pt x="1" y="35"/>
                    </a:cubicBezTo>
                    <a:cubicBezTo>
                      <a:pt x="0" y="33"/>
                      <a:pt x="0" y="30"/>
                      <a:pt x="0" y="27"/>
                    </a:cubicBezTo>
                    <a:cubicBezTo>
                      <a:pt x="0" y="16"/>
                      <a:pt x="0" y="16"/>
                      <a:pt x="0" y="16"/>
                    </a:cubicBezTo>
                    <a:cubicBezTo>
                      <a:pt x="0" y="12"/>
                      <a:pt x="0" y="9"/>
                      <a:pt x="1" y="7"/>
                    </a:cubicBezTo>
                    <a:cubicBezTo>
                      <a:pt x="2" y="5"/>
                      <a:pt x="3" y="4"/>
                      <a:pt x="5" y="2"/>
                    </a:cubicBezTo>
                    <a:cubicBezTo>
                      <a:pt x="6" y="1"/>
                      <a:pt x="8" y="1"/>
                      <a:pt x="10" y="0"/>
                    </a:cubicBezTo>
                    <a:cubicBezTo>
                      <a:pt x="13" y="0"/>
                      <a:pt x="17" y="0"/>
                      <a:pt x="21" y="0"/>
                    </a:cubicBezTo>
                    <a:cubicBezTo>
                      <a:pt x="37" y="0"/>
                      <a:pt x="37" y="0"/>
                      <a:pt x="37" y="0"/>
                    </a:cubicBezTo>
                    <a:cubicBezTo>
                      <a:pt x="42" y="0"/>
                      <a:pt x="46" y="0"/>
                      <a:pt x="48" y="0"/>
                    </a:cubicBezTo>
                    <a:cubicBezTo>
                      <a:pt x="51" y="1"/>
                      <a:pt x="52" y="1"/>
                      <a:pt x="54" y="2"/>
                    </a:cubicBezTo>
                    <a:cubicBezTo>
                      <a:pt x="56" y="4"/>
                      <a:pt x="57" y="5"/>
                      <a:pt x="57" y="7"/>
                    </a:cubicBezTo>
                    <a:cubicBezTo>
                      <a:pt x="58" y="9"/>
                      <a:pt x="59" y="12"/>
                      <a:pt x="59" y="15"/>
                    </a:cubicBezTo>
                    <a:cubicBezTo>
                      <a:pt x="59" y="27"/>
                      <a:pt x="59" y="27"/>
                      <a:pt x="59" y="27"/>
                    </a:cubicBezTo>
                    <a:cubicBezTo>
                      <a:pt x="59" y="30"/>
                      <a:pt x="58" y="33"/>
                      <a:pt x="57" y="35"/>
                    </a:cubicBezTo>
                    <a:cubicBezTo>
                      <a:pt x="57" y="37"/>
                      <a:pt x="56" y="39"/>
                      <a:pt x="54" y="40"/>
                    </a:cubicBezTo>
                    <a:cubicBezTo>
                      <a:pt x="52" y="41"/>
                      <a:pt x="51" y="42"/>
                      <a:pt x="48" y="42"/>
                    </a:cubicBezTo>
                    <a:cubicBezTo>
                      <a:pt x="46" y="42"/>
                      <a:pt x="42" y="43"/>
                      <a:pt x="37" y="43"/>
                    </a:cubicBezTo>
                    <a:lnTo>
                      <a:pt x="21" y="43"/>
                    </a:lnTo>
                    <a:close/>
                    <a:moveTo>
                      <a:pt x="25" y="32"/>
                    </a:moveTo>
                    <a:cubicBezTo>
                      <a:pt x="33" y="32"/>
                      <a:pt x="33" y="32"/>
                      <a:pt x="33" y="32"/>
                    </a:cubicBezTo>
                    <a:cubicBezTo>
                      <a:pt x="38" y="32"/>
                      <a:pt x="41" y="32"/>
                      <a:pt x="43" y="30"/>
                    </a:cubicBezTo>
                    <a:cubicBezTo>
                      <a:pt x="44" y="29"/>
                      <a:pt x="45" y="27"/>
                      <a:pt x="45" y="24"/>
                    </a:cubicBezTo>
                    <a:cubicBezTo>
                      <a:pt x="45" y="18"/>
                      <a:pt x="45" y="18"/>
                      <a:pt x="45" y="18"/>
                    </a:cubicBezTo>
                    <a:cubicBezTo>
                      <a:pt x="45" y="15"/>
                      <a:pt x="44" y="13"/>
                      <a:pt x="43" y="12"/>
                    </a:cubicBezTo>
                    <a:cubicBezTo>
                      <a:pt x="41" y="11"/>
                      <a:pt x="38" y="10"/>
                      <a:pt x="33" y="10"/>
                    </a:cubicBezTo>
                    <a:cubicBezTo>
                      <a:pt x="25" y="10"/>
                      <a:pt x="25" y="10"/>
                      <a:pt x="25" y="10"/>
                    </a:cubicBezTo>
                    <a:cubicBezTo>
                      <a:pt x="20" y="10"/>
                      <a:pt x="17" y="11"/>
                      <a:pt x="16" y="12"/>
                    </a:cubicBezTo>
                    <a:cubicBezTo>
                      <a:pt x="14" y="13"/>
                      <a:pt x="13" y="15"/>
                      <a:pt x="13" y="18"/>
                    </a:cubicBezTo>
                    <a:cubicBezTo>
                      <a:pt x="13" y="24"/>
                      <a:pt x="13" y="24"/>
                      <a:pt x="13" y="24"/>
                    </a:cubicBezTo>
                    <a:cubicBezTo>
                      <a:pt x="13" y="27"/>
                      <a:pt x="14" y="29"/>
                      <a:pt x="16" y="30"/>
                    </a:cubicBezTo>
                    <a:cubicBezTo>
                      <a:pt x="17" y="32"/>
                      <a:pt x="20" y="32"/>
                      <a:pt x="25" y="32"/>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6" name="Freeform 39"/>
              <p:cNvSpPr>
                <a:spLocks noEditPoints="1"/>
              </p:cNvSpPr>
              <p:nvPr/>
            </p:nvSpPr>
            <p:spPr bwMode="auto">
              <a:xfrm>
                <a:off x="5562600" y="3273426"/>
                <a:ext cx="239713" cy="158750"/>
              </a:xfrm>
              <a:custGeom>
                <a:avLst/>
                <a:gdLst>
                  <a:gd name="T0" fmla="*/ 52388 w 151"/>
                  <a:gd name="T1" fmla="*/ 158750 h 100"/>
                  <a:gd name="T2" fmla="*/ 0 w 151"/>
                  <a:gd name="T3" fmla="*/ 158750 h 100"/>
                  <a:gd name="T4" fmla="*/ 85725 w 151"/>
                  <a:gd name="T5" fmla="*/ 0 h 100"/>
                  <a:gd name="T6" fmla="*/ 149225 w 151"/>
                  <a:gd name="T7" fmla="*/ 0 h 100"/>
                  <a:gd name="T8" fmla="*/ 239713 w 151"/>
                  <a:gd name="T9" fmla="*/ 158750 h 100"/>
                  <a:gd name="T10" fmla="*/ 184150 w 151"/>
                  <a:gd name="T11" fmla="*/ 158750 h 100"/>
                  <a:gd name="T12" fmla="*/ 168275 w 151"/>
                  <a:gd name="T13" fmla="*/ 133350 h 100"/>
                  <a:gd name="T14" fmla="*/ 66675 w 151"/>
                  <a:gd name="T15" fmla="*/ 133350 h 100"/>
                  <a:gd name="T16" fmla="*/ 52388 w 151"/>
                  <a:gd name="T17" fmla="*/ 158750 h 100"/>
                  <a:gd name="T18" fmla="*/ 85725 w 151"/>
                  <a:gd name="T19" fmla="*/ 95250 h 100"/>
                  <a:gd name="T20" fmla="*/ 149225 w 151"/>
                  <a:gd name="T21" fmla="*/ 95250 h 100"/>
                  <a:gd name="T22" fmla="*/ 119063 w 151"/>
                  <a:gd name="T23" fmla="*/ 38100 h 100"/>
                  <a:gd name="T24" fmla="*/ 85725 w 151"/>
                  <a:gd name="T25" fmla="*/ 9525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 h="100">
                    <a:moveTo>
                      <a:pt x="33" y="100"/>
                    </a:moveTo>
                    <a:lnTo>
                      <a:pt x="0" y="100"/>
                    </a:lnTo>
                    <a:lnTo>
                      <a:pt x="54" y="0"/>
                    </a:lnTo>
                    <a:lnTo>
                      <a:pt x="94" y="0"/>
                    </a:lnTo>
                    <a:lnTo>
                      <a:pt x="151" y="100"/>
                    </a:lnTo>
                    <a:lnTo>
                      <a:pt x="116" y="100"/>
                    </a:lnTo>
                    <a:lnTo>
                      <a:pt x="106" y="84"/>
                    </a:lnTo>
                    <a:lnTo>
                      <a:pt x="42" y="84"/>
                    </a:lnTo>
                    <a:lnTo>
                      <a:pt x="33" y="100"/>
                    </a:lnTo>
                    <a:close/>
                    <a:moveTo>
                      <a:pt x="54" y="60"/>
                    </a:moveTo>
                    <a:lnTo>
                      <a:pt x="94" y="60"/>
                    </a:lnTo>
                    <a:lnTo>
                      <a:pt x="75" y="24"/>
                    </a:lnTo>
                    <a:lnTo>
                      <a:pt x="54" y="6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7" name="Freeform 40"/>
              <p:cNvSpPr>
                <a:spLocks/>
              </p:cNvSpPr>
              <p:nvPr/>
            </p:nvSpPr>
            <p:spPr bwMode="auto">
              <a:xfrm>
                <a:off x="3059113" y="3273426"/>
                <a:ext cx="173038" cy="139700"/>
              </a:xfrm>
              <a:custGeom>
                <a:avLst/>
                <a:gdLst>
                  <a:gd name="T0" fmla="*/ 124136 w 46"/>
                  <a:gd name="T1" fmla="*/ 18878 h 37"/>
                  <a:gd name="T2" fmla="*/ 127898 w 46"/>
                  <a:gd name="T3" fmla="*/ 0 h 37"/>
                  <a:gd name="T4" fmla="*/ 45140 w 46"/>
                  <a:gd name="T5" fmla="*/ 0 h 37"/>
                  <a:gd name="T6" fmla="*/ 41379 w 46"/>
                  <a:gd name="T7" fmla="*/ 0 h 37"/>
                  <a:gd name="T8" fmla="*/ 37617 w 46"/>
                  <a:gd name="T9" fmla="*/ 11327 h 37"/>
                  <a:gd name="T10" fmla="*/ 45140 w 46"/>
                  <a:gd name="T11" fmla="*/ 15103 h 37"/>
                  <a:gd name="T12" fmla="*/ 52664 w 46"/>
                  <a:gd name="T13" fmla="*/ 30205 h 37"/>
                  <a:gd name="T14" fmla="*/ 26332 w 46"/>
                  <a:gd name="T15" fmla="*/ 113270 h 37"/>
                  <a:gd name="T16" fmla="*/ 3762 w 46"/>
                  <a:gd name="T17" fmla="*/ 124597 h 37"/>
                  <a:gd name="T18" fmla="*/ 0 w 46"/>
                  <a:gd name="T19" fmla="*/ 139700 h 37"/>
                  <a:gd name="T20" fmla="*/ 0 w 46"/>
                  <a:gd name="T21" fmla="*/ 139700 h 37"/>
                  <a:gd name="T22" fmla="*/ 154230 w 46"/>
                  <a:gd name="T23" fmla="*/ 139700 h 37"/>
                  <a:gd name="T24" fmla="*/ 173038 w 46"/>
                  <a:gd name="T25" fmla="*/ 79289 h 37"/>
                  <a:gd name="T26" fmla="*/ 157991 w 46"/>
                  <a:gd name="T27" fmla="*/ 79289 h 37"/>
                  <a:gd name="T28" fmla="*/ 150468 w 46"/>
                  <a:gd name="T29" fmla="*/ 101943 h 37"/>
                  <a:gd name="T30" fmla="*/ 135421 w 46"/>
                  <a:gd name="T31" fmla="*/ 117046 h 37"/>
                  <a:gd name="T32" fmla="*/ 86519 w 46"/>
                  <a:gd name="T33" fmla="*/ 120822 h 37"/>
                  <a:gd name="T34" fmla="*/ 82757 w 46"/>
                  <a:gd name="T35" fmla="*/ 120822 h 37"/>
                  <a:gd name="T36" fmla="*/ 78996 w 46"/>
                  <a:gd name="T37" fmla="*/ 117046 h 37"/>
                  <a:gd name="T38" fmla="*/ 105327 w 46"/>
                  <a:gd name="T39" fmla="*/ 30205 h 37"/>
                  <a:gd name="T40" fmla="*/ 124136 w 46"/>
                  <a:gd name="T41" fmla="*/ 18878 h 3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6" h="37">
                    <a:moveTo>
                      <a:pt x="33" y="5"/>
                    </a:moveTo>
                    <a:cubicBezTo>
                      <a:pt x="34" y="3"/>
                      <a:pt x="34" y="2"/>
                      <a:pt x="34" y="0"/>
                    </a:cubicBezTo>
                    <a:cubicBezTo>
                      <a:pt x="12" y="0"/>
                      <a:pt x="12" y="0"/>
                      <a:pt x="12" y="0"/>
                    </a:cubicBezTo>
                    <a:cubicBezTo>
                      <a:pt x="11" y="0"/>
                      <a:pt x="11" y="0"/>
                      <a:pt x="11" y="0"/>
                    </a:cubicBezTo>
                    <a:cubicBezTo>
                      <a:pt x="10" y="3"/>
                      <a:pt x="10" y="3"/>
                      <a:pt x="10" y="3"/>
                    </a:cubicBezTo>
                    <a:cubicBezTo>
                      <a:pt x="10" y="4"/>
                      <a:pt x="11" y="4"/>
                      <a:pt x="12" y="4"/>
                    </a:cubicBezTo>
                    <a:cubicBezTo>
                      <a:pt x="14" y="5"/>
                      <a:pt x="14" y="6"/>
                      <a:pt x="14" y="8"/>
                    </a:cubicBezTo>
                    <a:cubicBezTo>
                      <a:pt x="7" y="30"/>
                      <a:pt x="7" y="30"/>
                      <a:pt x="7" y="30"/>
                    </a:cubicBezTo>
                    <a:cubicBezTo>
                      <a:pt x="6" y="33"/>
                      <a:pt x="4" y="33"/>
                      <a:pt x="1" y="33"/>
                    </a:cubicBezTo>
                    <a:cubicBezTo>
                      <a:pt x="1" y="35"/>
                      <a:pt x="0" y="35"/>
                      <a:pt x="0" y="37"/>
                    </a:cubicBezTo>
                    <a:cubicBezTo>
                      <a:pt x="0" y="37"/>
                      <a:pt x="0" y="37"/>
                      <a:pt x="0" y="37"/>
                    </a:cubicBezTo>
                    <a:cubicBezTo>
                      <a:pt x="41" y="37"/>
                      <a:pt x="41" y="37"/>
                      <a:pt x="41" y="37"/>
                    </a:cubicBezTo>
                    <a:cubicBezTo>
                      <a:pt x="46" y="21"/>
                      <a:pt x="46" y="21"/>
                      <a:pt x="46" y="21"/>
                    </a:cubicBezTo>
                    <a:cubicBezTo>
                      <a:pt x="45" y="21"/>
                      <a:pt x="44" y="21"/>
                      <a:pt x="42" y="21"/>
                    </a:cubicBezTo>
                    <a:cubicBezTo>
                      <a:pt x="41" y="23"/>
                      <a:pt x="41" y="25"/>
                      <a:pt x="40" y="27"/>
                    </a:cubicBezTo>
                    <a:cubicBezTo>
                      <a:pt x="39" y="29"/>
                      <a:pt x="38" y="30"/>
                      <a:pt x="36" y="31"/>
                    </a:cubicBezTo>
                    <a:cubicBezTo>
                      <a:pt x="32" y="33"/>
                      <a:pt x="29" y="32"/>
                      <a:pt x="23" y="32"/>
                    </a:cubicBezTo>
                    <a:cubicBezTo>
                      <a:pt x="23" y="32"/>
                      <a:pt x="22" y="32"/>
                      <a:pt x="22" y="32"/>
                    </a:cubicBezTo>
                    <a:cubicBezTo>
                      <a:pt x="21" y="32"/>
                      <a:pt x="21" y="32"/>
                      <a:pt x="21" y="31"/>
                    </a:cubicBezTo>
                    <a:cubicBezTo>
                      <a:pt x="28" y="8"/>
                      <a:pt x="28" y="8"/>
                      <a:pt x="28" y="8"/>
                    </a:cubicBezTo>
                    <a:cubicBezTo>
                      <a:pt x="29" y="5"/>
                      <a:pt x="31" y="5"/>
                      <a:pt x="33" y="5"/>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8" name="Freeform 41"/>
              <p:cNvSpPr>
                <a:spLocks noEditPoints="1"/>
              </p:cNvSpPr>
              <p:nvPr/>
            </p:nvSpPr>
            <p:spPr bwMode="auto">
              <a:xfrm>
                <a:off x="2863850" y="3078163"/>
                <a:ext cx="549275" cy="552450"/>
              </a:xfrm>
              <a:custGeom>
                <a:avLst/>
                <a:gdLst>
                  <a:gd name="T0" fmla="*/ 274638 w 146"/>
                  <a:gd name="T1" fmla="*/ 0 h 145"/>
                  <a:gd name="T2" fmla="*/ 549275 w 146"/>
                  <a:gd name="T3" fmla="*/ 278130 h 145"/>
                  <a:gd name="T4" fmla="*/ 274638 w 146"/>
                  <a:gd name="T5" fmla="*/ 552450 h 145"/>
                  <a:gd name="T6" fmla="*/ 0 w 146"/>
                  <a:gd name="T7" fmla="*/ 278130 h 145"/>
                  <a:gd name="T8" fmla="*/ 274638 w 146"/>
                  <a:gd name="T9" fmla="*/ 0 h 145"/>
                  <a:gd name="T10" fmla="*/ 274638 w 146"/>
                  <a:gd name="T11" fmla="*/ 160020 h 145"/>
                  <a:gd name="T12" fmla="*/ 395027 w 146"/>
                  <a:gd name="T13" fmla="*/ 278130 h 145"/>
                  <a:gd name="T14" fmla="*/ 274638 w 146"/>
                  <a:gd name="T15" fmla="*/ 396240 h 145"/>
                  <a:gd name="T16" fmla="*/ 154248 w 146"/>
                  <a:gd name="T17" fmla="*/ 278130 h 145"/>
                  <a:gd name="T18" fmla="*/ 274638 w 146"/>
                  <a:gd name="T19" fmla="*/ 160020 h 145"/>
                  <a:gd name="T20" fmla="*/ 282162 w 146"/>
                  <a:gd name="T21" fmla="*/ 41910 h 145"/>
                  <a:gd name="T22" fmla="*/ 127913 w 146"/>
                  <a:gd name="T23" fmla="*/ 270510 h 145"/>
                  <a:gd name="T24" fmla="*/ 86530 w 146"/>
                  <a:gd name="T25" fmla="*/ 137160 h 145"/>
                  <a:gd name="T26" fmla="*/ 90292 w 146"/>
                  <a:gd name="T27" fmla="*/ 133350 h 145"/>
                  <a:gd name="T28" fmla="*/ 282162 w 146"/>
                  <a:gd name="T29" fmla="*/ 41910 h 145"/>
                  <a:gd name="T30" fmla="*/ 41384 w 146"/>
                  <a:gd name="T31" fmla="*/ 266700 h 145"/>
                  <a:gd name="T32" fmla="*/ 267113 w 146"/>
                  <a:gd name="T33" fmla="*/ 422910 h 145"/>
                  <a:gd name="T34" fmla="*/ 135438 w 146"/>
                  <a:gd name="T35" fmla="*/ 464820 h 145"/>
                  <a:gd name="T36" fmla="*/ 131676 w 146"/>
                  <a:gd name="T37" fmla="*/ 464820 h 145"/>
                  <a:gd name="T38" fmla="*/ 41384 w 146"/>
                  <a:gd name="T39" fmla="*/ 266700 h 145"/>
                  <a:gd name="T40" fmla="*/ 267113 w 146"/>
                  <a:gd name="T41" fmla="*/ 514350 h 145"/>
                  <a:gd name="T42" fmla="*/ 421362 w 146"/>
                  <a:gd name="T43" fmla="*/ 281940 h 145"/>
                  <a:gd name="T44" fmla="*/ 462745 w 146"/>
                  <a:gd name="T45" fmla="*/ 419100 h 145"/>
                  <a:gd name="T46" fmla="*/ 458983 w 146"/>
                  <a:gd name="T47" fmla="*/ 422910 h 145"/>
                  <a:gd name="T48" fmla="*/ 267113 w 146"/>
                  <a:gd name="T49" fmla="*/ 514350 h 145"/>
                  <a:gd name="T50" fmla="*/ 507891 w 146"/>
                  <a:gd name="T51" fmla="*/ 285750 h 145"/>
                  <a:gd name="T52" fmla="*/ 282162 w 146"/>
                  <a:gd name="T53" fmla="*/ 133350 h 145"/>
                  <a:gd name="T54" fmla="*/ 413837 w 146"/>
                  <a:gd name="T55" fmla="*/ 87630 h 145"/>
                  <a:gd name="T56" fmla="*/ 417599 w 146"/>
                  <a:gd name="T57" fmla="*/ 91440 h 145"/>
                  <a:gd name="T58" fmla="*/ 507891 w 146"/>
                  <a:gd name="T59" fmla="*/ 285750 h 1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46" h="145">
                    <a:moveTo>
                      <a:pt x="73" y="0"/>
                    </a:moveTo>
                    <a:cubicBezTo>
                      <a:pt x="113" y="0"/>
                      <a:pt x="146" y="33"/>
                      <a:pt x="146" y="73"/>
                    </a:cubicBezTo>
                    <a:cubicBezTo>
                      <a:pt x="146" y="113"/>
                      <a:pt x="113" y="145"/>
                      <a:pt x="73" y="145"/>
                    </a:cubicBezTo>
                    <a:cubicBezTo>
                      <a:pt x="33" y="145"/>
                      <a:pt x="0" y="113"/>
                      <a:pt x="0" y="73"/>
                    </a:cubicBezTo>
                    <a:cubicBezTo>
                      <a:pt x="0" y="33"/>
                      <a:pt x="33" y="0"/>
                      <a:pt x="73" y="0"/>
                    </a:cubicBezTo>
                    <a:moveTo>
                      <a:pt x="73" y="42"/>
                    </a:moveTo>
                    <a:cubicBezTo>
                      <a:pt x="90" y="42"/>
                      <a:pt x="105" y="56"/>
                      <a:pt x="105" y="73"/>
                    </a:cubicBezTo>
                    <a:cubicBezTo>
                      <a:pt x="105" y="90"/>
                      <a:pt x="90" y="104"/>
                      <a:pt x="73" y="104"/>
                    </a:cubicBezTo>
                    <a:cubicBezTo>
                      <a:pt x="56" y="104"/>
                      <a:pt x="41" y="90"/>
                      <a:pt x="41" y="73"/>
                    </a:cubicBezTo>
                    <a:cubicBezTo>
                      <a:pt x="41" y="56"/>
                      <a:pt x="56" y="42"/>
                      <a:pt x="73" y="42"/>
                    </a:cubicBezTo>
                    <a:moveTo>
                      <a:pt x="75" y="11"/>
                    </a:moveTo>
                    <a:cubicBezTo>
                      <a:pt x="66" y="15"/>
                      <a:pt x="37" y="35"/>
                      <a:pt x="34" y="71"/>
                    </a:cubicBezTo>
                    <a:cubicBezTo>
                      <a:pt x="30" y="66"/>
                      <a:pt x="23" y="52"/>
                      <a:pt x="23" y="36"/>
                    </a:cubicBezTo>
                    <a:cubicBezTo>
                      <a:pt x="24" y="35"/>
                      <a:pt x="24" y="35"/>
                      <a:pt x="24" y="35"/>
                    </a:cubicBezTo>
                    <a:cubicBezTo>
                      <a:pt x="28" y="26"/>
                      <a:pt x="51" y="8"/>
                      <a:pt x="75" y="11"/>
                    </a:cubicBezTo>
                    <a:moveTo>
                      <a:pt x="11" y="70"/>
                    </a:moveTo>
                    <a:cubicBezTo>
                      <a:pt x="15" y="79"/>
                      <a:pt x="35" y="108"/>
                      <a:pt x="71" y="111"/>
                    </a:cubicBezTo>
                    <a:cubicBezTo>
                      <a:pt x="67" y="115"/>
                      <a:pt x="52" y="122"/>
                      <a:pt x="36" y="122"/>
                    </a:cubicBezTo>
                    <a:cubicBezTo>
                      <a:pt x="35" y="122"/>
                      <a:pt x="35" y="122"/>
                      <a:pt x="35" y="122"/>
                    </a:cubicBezTo>
                    <a:cubicBezTo>
                      <a:pt x="27" y="118"/>
                      <a:pt x="9" y="95"/>
                      <a:pt x="11" y="70"/>
                    </a:cubicBezTo>
                    <a:moveTo>
                      <a:pt x="71" y="135"/>
                    </a:moveTo>
                    <a:cubicBezTo>
                      <a:pt x="80" y="130"/>
                      <a:pt x="109" y="110"/>
                      <a:pt x="112" y="74"/>
                    </a:cubicBezTo>
                    <a:cubicBezTo>
                      <a:pt x="116" y="79"/>
                      <a:pt x="123" y="94"/>
                      <a:pt x="123" y="110"/>
                    </a:cubicBezTo>
                    <a:cubicBezTo>
                      <a:pt x="122" y="111"/>
                      <a:pt x="122" y="111"/>
                      <a:pt x="122" y="111"/>
                    </a:cubicBezTo>
                    <a:cubicBezTo>
                      <a:pt x="118" y="119"/>
                      <a:pt x="95" y="137"/>
                      <a:pt x="71" y="135"/>
                    </a:cubicBezTo>
                    <a:moveTo>
                      <a:pt x="135" y="75"/>
                    </a:moveTo>
                    <a:cubicBezTo>
                      <a:pt x="131" y="66"/>
                      <a:pt x="111" y="37"/>
                      <a:pt x="75" y="35"/>
                    </a:cubicBezTo>
                    <a:cubicBezTo>
                      <a:pt x="79" y="30"/>
                      <a:pt x="94" y="23"/>
                      <a:pt x="110" y="23"/>
                    </a:cubicBezTo>
                    <a:cubicBezTo>
                      <a:pt x="111" y="24"/>
                      <a:pt x="111" y="24"/>
                      <a:pt x="111" y="24"/>
                    </a:cubicBezTo>
                    <a:cubicBezTo>
                      <a:pt x="119" y="28"/>
                      <a:pt x="137" y="51"/>
                      <a:pt x="135" y="75"/>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spTree>
    <p:extLst>
      <p:ext uri="{BB962C8B-B14F-4D97-AF65-F5344CB8AC3E}">
        <p14:creationId xmlns:p14="http://schemas.microsoft.com/office/powerpoint/2010/main" val="5353137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2"/>
            </p:custDataLst>
          </p:nvPr>
        </p:nvSpPr>
        <p:spPr>
          <a:xfrm>
            <a:off x="1" y="1"/>
            <a:ext cx="158751" cy="158751"/>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121917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sym typeface="Calibri" panose="020F0502020204030204" pitchFamily="34" charset="0"/>
            </a:endParaRPr>
          </a:p>
        </p:txBody>
      </p:sp>
      <p:sp>
        <p:nvSpPr>
          <p:cNvPr id="5" name="FooterSimple" hidden="1"/>
          <p:cNvSpPr txBox="1"/>
          <p:nvPr userDrawn="1">
            <p:custDataLst>
              <p:tags r:id="rId3"/>
            </p:custDataLst>
          </p:nvPr>
        </p:nvSpPr>
        <p:spPr>
          <a:xfrm rot="16200000">
            <a:off x="10562168" y="5118309"/>
            <a:ext cx="2743200" cy="96950"/>
          </a:xfrm>
          <a:prstGeom prst="rect">
            <a:avLst/>
          </a:prstGeom>
          <a:noFill/>
        </p:spPr>
        <p:txBody>
          <a:bodyPr lIns="0" tIns="0" rIns="0" bIns="0" anchor="b">
            <a:spAutoFit/>
          </a:bodyPr>
          <a:lstStyle/>
          <a:p>
            <a:pPr marL="0" marR="0" lvl="0" indent="0" algn="l" defTabSz="121917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Calibri"/>
                <a:ea typeface="+mn-ea"/>
                <a:cs typeface="+mn-cs"/>
                <a:sym typeface="+mn-lt"/>
              </a:rPr>
              <a:t>DSE &amp; DSM Training Deck_with Intune Login.pptx</a:t>
            </a:r>
            <a:endParaRPr kumimoji="0" lang="en-US" sz="700" b="0" i="0" u="none" strike="noStrike" kern="1200" cap="none" spc="0" normalizeH="0" baseline="0" noProof="0" dirty="0">
              <a:ln>
                <a:noFill/>
              </a:ln>
              <a:solidFill>
                <a:prstClr val="white">
                  <a:lumMod val="50000"/>
                </a:prstClr>
              </a:solidFill>
              <a:effectLst/>
              <a:uLnTx/>
              <a:uFillTx/>
              <a:latin typeface="Calibri"/>
              <a:ea typeface="+mn-ea"/>
              <a:cs typeface="+mn-cs"/>
              <a:sym typeface="+mn-lt"/>
            </a:endParaRPr>
          </a:p>
        </p:txBody>
      </p:sp>
      <p:sp>
        <p:nvSpPr>
          <p:cNvPr id="6" name="Line 11"/>
          <p:cNvSpPr>
            <a:spLocks noChangeShapeType="1"/>
          </p:cNvSpPr>
          <p:nvPr userDrawn="1"/>
        </p:nvSpPr>
        <p:spPr bwMode="auto">
          <a:xfrm>
            <a:off x="0" y="1253067"/>
            <a:ext cx="12192000" cy="0"/>
          </a:xfrm>
          <a:prstGeom prst="line">
            <a:avLst/>
          </a:prstGeom>
          <a:noFill/>
          <a:ln w="63500">
            <a:solidFill>
              <a:srgbClr val="808080"/>
            </a:solidFill>
            <a:round/>
            <a:headEnd/>
            <a:tailEnd/>
          </a:ln>
          <a:extLst>
            <a:ext uri="{909E8E84-426E-40DD-AFC4-6F175D3DCCD1}">
              <a14:hiddenFill xmlns:a14="http://schemas.microsoft.com/office/drawing/2010/main">
                <a:noFill/>
              </a14:hiddenFill>
            </a:ext>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Calibri"/>
              <a:ea typeface="+mn-ea"/>
              <a:cs typeface="+mn-cs"/>
              <a:sym typeface="+mn-lt"/>
            </a:endParaRPr>
          </a:p>
        </p:txBody>
      </p:sp>
      <p:pic>
        <p:nvPicPr>
          <p:cNvPr id="7" name="Picture 11"/>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065934" y="112185"/>
            <a:ext cx="994833" cy="994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307778" y="689478"/>
            <a:ext cx="10614225" cy="339225"/>
          </a:xfrm>
        </p:spPr>
        <p:txBody>
          <a:bodyPr/>
          <a:lstStyle>
            <a:lvl1pPr>
              <a:defRPr>
                <a:latin typeface="+mj-lt"/>
                <a:ea typeface="+mj-ea"/>
                <a:cs typeface="+mj-cs"/>
                <a:sym typeface="+mj-lt"/>
              </a:defRPr>
            </a:lvl1pPr>
          </a:lstStyle>
          <a:p>
            <a:r>
              <a:rPr lang="en-US"/>
              <a:t>Click to edit Master title style</a:t>
            </a:r>
            <a:endParaRPr lang="en-US" dirty="0"/>
          </a:p>
        </p:txBody>
      </p:sp>
      <p:sp>
        <p:nvSpPr>
          <p:cNvPr id="9" name="Date Placeholder 3"/>
          <p:cNvSpPr>
            <a:spLocks noGrp="1"/>
          </p:cNvSpPr>
          <p:nvPr>
            <p:ph type="dt" sz="half" idx="10"/>
          </p:nvPr>
        </p:nvSpPr>
        <p:spPr>
          <a:xfrm>
            <a:off x="10155767" y="6532663"/>
            <a:ext cx="1481667" cy="153888"/>
          </a:xfrm>
        </p:spPr>
        <p:txBody>
          <a:bodyPr wrap="square" lIns="0" tIns="0" rIns="0" bIns="0" anchor="b">
            <a:spAutoFit/>
          </a:bodyPr>
          <a:lstStyle>
            <a:lvl1pPr algn="r">
              <a:defRPr sz="1000" dirty="0">
                <a:solidFill>
                  <a:schemeClr val="tx1"/>
                </a:solidFill>
                <a:latin typeface="+mn-lt"/>
                <a:ea typeface="+mn-ea"/>
                <a:cs typeface="+mn-cs"/>
                <a:sym typeface="+mn-lt"/>
              </a:defRPr>
            </a:lvl1pPr>
          </a:lstStyle>
          <a:p>
            <a:pPr defTabSz="1219170">
              <a:defRPr/>
            </a:pPr>
            <a:endParaRPr lang="en-US">
              <a:solidFill>
                <a:prstClr val="black"/>
              </a:solidFill>
            </a:endParaRPr>
          </a:p>
        </p:txBody>
      </p:sp>
    </p:spTree>
    <p:extLst>
      <p:ext uri="{BB962C8B-B14F-4D97-AF65-F5344CB8AC3E}">
        <p14:creationId xmlns:p14="http://schemas.microsoft.com/office/powerpoint/2010/main" val="409669108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After Sales Support layout 1">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04601" y="-12699"/>
            <a:ext cx="774700"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12">
            <a:extLst>
              <a:ext uri="{FF2B5EF4-FFF2-40B4-BE49-F238E27FC236}">
                <a16:creationId xmlns:a16="http://schemas.microsoft.com/office/drawing/2014/main" id="{9334D842-888D-4852-BE61-491A2F8CBB6E}"/>
              </a:ext>
            </a:extLst>
          </p:cNvPr>
          <p:cNvSpPr>
            <a:spLocks noGrp="1"/>
          </p:cNvSpPr>
          <p:nvPr>
            <p:ph type="body" sz="quarter" idx="10"/>
          </p:nvPr>
        </p:nvSpPr>
        <p:spPr>
          <a:xfrm>
            <a:off x="13063" y="1"/>
            <a:ext cx="11377883" cy="761867"/>
          </a:xfrm>
        </p:spPr>
        <p:txBody>
          <a:bodyPr anchor="ctr">
            <a:normAutofit/>
          </a:bodyPr>
          <a:lstStyle>
            <a:lvl1pPr marL="0" indent="0" algn="ctr">
              <a:buNone/>
              <a:defRPr sz="3600" b="1">
                <a:solidFill>
                  <a:schemeClr val="tx1"/>
                </a:solidFill>
                <a:latin typeface="Century Gothic" panose="020B0502020202020204" pitchFamily="34" charset="0"/>
              </a:defRPr>
            </a:lvl1pPr>
          </a:lstStyle>
          <a:p>
            <a:pPr lvl="0"/>
            <a:endParaRPr lang="en-IN" dirty="0"/>
          </a:p>
        </p:txBody>
      </p:sp>
    </p:spTree>
    <p:extLst>
      <p:ext uri="{BB962C8B-B14F-4D97-AF65-F5344CB8AC3E}">
        <p14:creationId xmlns:p14="http://schemas.microsoft.com/office/powerpoint/2010/main" val="14502951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46934" y="148167"/>
            <a:ext cx="622300" cy="620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4F63DCBE-15F8-4AC4-BDDF-F3FCB171ED61}"/>
              </a:ext>
            </a:extLst>
          </p:cNvPr>
          <p:cNvSpPr/>
          <p:nvPr userDrawn="1"/>
        </p:nvSpPr>
        <p:spPr>
          <a:xfrm>
            <a:off x="273051" y="156634"/>
            <a:ext cx="368300" cy="723900"/>
          </a:xfrm>
          <a:prstGeom prst="rect">
            <a:avLst/>
          </a:prstGeom>
          <a:solidFill>
            <a:srgbClr val="0089C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0C7BF96B-52B9-4468-895F-03CC7655E9F6}"/>
              </a:ext>
            </a:extLst>
          </p:cNvPr>
          <p:cNvSpPr/>
          <p:nvPr userDrawn="1"/>
        </p:nvSpPr>
        <p:spPr>
          <a:xfrm>
            <a:off x="1" y="156634"/>
            <a:ext cx="190500" cy="723900"/>
          </a:xfrm>
          <a:prstGeom prst="rect">
            <a:avLst/>
          </a:prstGeom>
          <a:solidFill>
            <a:srgbClr val="0089C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6" name="Straight Connector 5">
            <a:extLst>
              <a:ext uri="{FF2B5EF4-FFF2-40B4-BE49-F238E27FC236}">
                <a16:creationId xmlns:a16="http://schemas.microsoft.com/office/drawing/2014/main" id="{7C1380B8-D9A5-444E-BE82-128F8872EC7B}"/>
              </a:ext>
            </a:extLst>
          </p:cNvPr>
          <p:cNvCxnSpPr/>
          <p:nvPr userDrawn="1"/>
        </p:nvCxnSpPr>
        <p:spPr>
          <a:xfrm>
            <a:off x="723901" y="880533"/>
            <a:ext cx="10723033"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7" name="Title 5">
            <a:extLst>
              <a:ext uri="{FF2B5EF4-FFF2-40B4-BE49-F238E27FC236}">
                <a16:creationId xmlns:a16="http://schemas.microsoft.com/office/drawing/2014/main" id="{AE5712BB-CC71-45AE-9B5B-1FEAFCA32365}"/>
              </a:ext>
            </a:extLst>
          </p:cNvPr>
          <p:cNvSpPr>
            <a:spLocks noGrp="1"/>
          </p:cNvSpPr>
          <p:nvPr>
            <p:ph type="title"/>
          </p:nvPr>
        </p:nvSpPr>
        <p:spPr>
          <a:xfrm>
            <a:off x="723326" y="196625"/>
            <a:ext cx="10314793" cy="662783"/>
          </a:xfrm>
        </p:spPr>
        <p:txBody>
          <a:bodyPr>
            <a:normAutofit/>
          </a:bodyPr>
          <a:lstStyle>
            <a:lvl1pPr>
              <a:defRPr sz="3600"/>
            </a:lvl1pPr>
          </a:lstStyle>
          <a:p>
            <a:r>
              <a:rPr lang="en-US" dirty="0"/>
              <a:t>Click to edit Master title style</a:t>
            </a:r>
          </a:p>
        </p:txBody>
      </p:sp>
    </p:spTree>
    <p:extLst>
      <p:ext uri="{BB962C8B-B14F-4D97-AF65-F5344CB8AC3E}">
        <p14:creationId xmlns:p14="http://schemas.microsoft.com/office/powerpoint/2010/main" val="32840368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48"/>
        <p:cNvGrpSpPr/>
        <p:nvPr/>
      </p:nvGrpSpPr>
      <p:grpSpPr>
        <a:xfrm>
          <a:off x="0" y="0"/>
          <a:ext cx="0" cy="0"/>
          <a:chOff x="0" y="0"/>
          <a:chExt cx="0" cy="0"/>
        </a:xfrm>
      </p:grpSpPr>
      <p:grpSp>
        <p:nvGrpSpPr>
          <p:cNvPr id="49" name="Google Shape;49;g91f7f3216c_0_116"/>
          <p:cNvGrpSpPr/>
          <p:nvPr/>
        </p:nvGrpSpPr>
        <p:grpSpPr>
          <a:xfrm>
            <a:off x="0" y="508002"/>
            <a:ext cx="1383800" cy="1355049"/>
            <a:chOff x="0" y="381001"/>
            <a:chExt cx="1037850" cy="1016287"/>
          </a:xfrm>
        </p:grpSpPr>
        <p:sp>
          <p:nvSpPr>
            <p:cNvPr id="50" name="Google Shape;50;g91f7f3216c_0_116"/>
            <p:cNvSpPr/>
            <p:nvPr/>
          </p:nvSpPr>
          <p:spPr>
            <a:xfrm rot="-5400000">
              <a:off x="0" y="381001"/>
              <a:ext cx="808800" cy="808800"/>
            </a:xfrm>
            <a:prstGeom prst="diagStripe">
              <a:avLst>
                <a:gd name="adj" fmla="val 50000"/>
              </a:avLst>
            </a:prstGeom>
            <a:solidFill>
              <a:schemeClr val="accent1"/>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 name="Google Shape;51;g91f7f3216c_0_116"/>
            <p:cNvSpPr/>
            <p:nvPr/>
          </p:nvSpPr>
          <p:spPr>
            <a:xfrm flipH="1">
              <a:off x="229050" y="588489"/>
              <a:ext cx="808800" cy="808800"/>
            </a:xfrm>
            <a:prstGeom prst="diagStripe">
              <a:avLst>
                <a:gd name="adj" fmla="val 50000"/>
              </a:avLst>
            </a:prstGeom>
            <a:solidFill>
              <a:schemeClr val="lt2"/>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52" name="Google Shape;52;g91f7f3216c_0_116"/>
          <p:cNvSpPr txBox="1">
            <a:spLocks noGrp="1"/>
          </p:cNvSpPr>
          <p:nvPr>
            <p:ph type="title"/>
          </p:nvPr>
        </p:nvSpPr>
        <p:spPr>
          <a:xfrm>
            <a:off x="1730000" y="525000"/>
            <a:ext cx="9385200" cy="1218800"/>
          </a:xfrm>
          <a:prstGeom prst="rect">
            <a:avLst/>
          </a:prstGeom>
        </p:spPr>
        <p:txBody>
          <a:bodyPr spcFirstLastPara="1" wrap="square" lIns="91425" tIns="91425" rIns="91425" bIns="91425" anchor="t" anchorCtr="0">
            <a:no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53" name="Google Shape;53;g91f7f3216c_0_116"/>
          <p:cNvSpPr txBox="1">
            <a:spLocks noGrp="1"/>
          </p:cNvSpPr>
          <p:nvPr>
            <p:ph type="body" idx="1"/>
          </p:nvPr>
        </p:nvSpPr>
        <p:spPr>
          <a:xfrm>
            <a:off x="1730000" y="2090067"/>
            <a:ext cx="4537600" cy="3881600"/>
          </a:xfrm>
          <a:prstGeom prst="rect">
            <a:avLst/>
          </a:prstGeom>
        </p:spPr>
        <p:txBody>
          <a:bodyPr spcFirstLastPara="1" wrap="square" lIns="91425" tIns="91425" rIns="91425" bIns="91425" anchor="t" anchorCtr="0">
            <a:noAutofit/>
          </a:bodyPr>
          <a:lstStyle>
            <a:lvl1pPr marL="609585" lvl="0" indent="-414856">
              <a:spcBef>
                <a:spcPts val="0"/>
              </a:spcBef>
              <a:spcAft>
                <a:spcPts val="0"/>
              </a:spcAft>
              <a:buSzPts val="1300"/>
              <a:buChar char="●"/>
              <a:defRPr/>
            </a:lvl1pPr>
            <a:lvl2pPr marL="1219170" lvl="1" indent="-397923">
              <a:spcBef>
                <a:spcPts val="2133"/>
              </a:spcBef>
              <a:spcAft>
                <a:spcPts val="0"/>
              </a:spcAft>
              <a:buSzPts val="1100"/>
              <a:buChar char="○"/>
              <a:defRPr/>
            </a:lvl2pPr>
            <a:lvl3pPr marL="1828754" lvl="2" indent="-397923">
              <a:spcBef>
                <a:spcPts val="2133"/>
              </a:spcBef>
              <a:spcAft>
                <a:spcPts val="0"/>
              </a:spcAft>
              <a:buSzPts val="1100"/>
              <a:buChar char="■"/>
              <a:defRPr/>
            </a:lvl3pPr>
            <a:lvl4pPr marL="2438339" lvl="3" indent="-397923">
              <a:spcBef>
                <a:spcPts val="2133"/>
              </a:spcBef>
              <a:spcAft>
                <a:spcPts val="0"/>
              </a:spcAft>
              <a:buSzPts val="1100"/>
              <a:buChar char="●"/>
              <a:defRPr/>
            </a:lvl4pPr>
            <a:lvl5pPr marL="3047924" lvl="4" indent="-397923">
              <a:spcBef>
                <a:spcPts val="2133"/>
              </a:spcBef>
              <a:spcAft>
                <a:spcPts val="0"/>
              </a:spcAft>
              <a:buSzPts val="1100"/>
              <a:buChar char="○"/>
              <a:defRPr/>
            </a:lvl5pPr>
            <a:lvl6pPr marL="3657509" lvl="5" indent="-397923">
              <a:spcBef>
                <a:spcPts val="2133"/>
              </a:spcBef>
              <a:spcAft>
                <a:spcPts val="0"/>
              </a:spcAft>
              <a:buSzPts val="1100"/>
              <a:buChar char="■"/>
              <a:defRPr/>
            </a:lvl6pPr>
            <a:lvl7pPr marL="4267093" lvl="6" indent="-397923">
              <a:spcBef>
                <a:spcPts val="2133"/>
              </a:spcBef>
              <a:spcAft>
                <a:spcPts val="0"/>
              </a:spcAft>
              <a:buSzPts val="1100"/>
              <a:buChar char="●"/>
              <a:defRPr/>
            </a:lvl7pPr>
            <a:lvl8pPr marL="4876678" lvl="7" indent="-397923">
              <a:spcBef>
                <a:spcPts val="2133"/>
              </a:spcBef>
              <a:spcAft>
                <a:spcPts val="0"/>
              </a:spcAft>
              <a:buSzPts val="1100"/>
              <a:buChar char="○"/>
              <a:defRPr/>
            </a:lvl8pPr>
            <a:lvl9pPr marL="5486263" lvl="8" indent="-397923">
              <a:spcBef>
                <a:spcPts val="2133"/>
              </a:spcBef>
              <a:spcAft>
                <a:spcPts val="2133"/>
              </a:spcAft>
              <a:buSzPts val="1100"/>
              <a:buChar char="■"/>
              <a:defRPr/>
            </a:lvl9pPr>
          </a:lstStyle>
          <a:p>
            <a:endParaRPr/>
          </a:p>
        </p:txBody>
      </p:sp>
      <p:sp>
        <p:nvSpPr>
          <p:cNvPr id="54" name="Google Shape;54;g91f7f3216c_0_116"/>
          <p:cNvSpPr txBox="1">
            <a:spLocks noGrp="1"/>
          </p:cNvSpPr>
          <p:nvPr>
            <p:ph type="body" idx="2"/>
          </p:nvPr>
        </p:nvSpPr>
        <p:spPr>
          <a:xfrm>
            <a:off x="6577628" y="2090067"/>
            <a:ext cx="4537600" cy="3881600"/>
          </a:xfrm>
          <a:prstGeom prst="rect">
            <a:avLst/>
          </a:prstGeom>
        </p:spPr>
        <p:txBody>
          <a:bodyPr spcFirstLastPara="1" wrap="square" lIns="91425" tIns="91425" rIns="91425" bIns="91425" anchor="t" anchorCtr="0">
            <a:noAutofit/>
          </a:bodyPr>
          <a:lstStyle>
            <a:lvl1pPr marL="609585" lvl="0" indent="-414856">
              <a:spcBef>
                <a:spcPts val="0"/>
              </a:spcBef>
              <a:spcAft>
                <a:spcPts val="0"/>
              </a:spcAft>
              <a:buSzPts val="1300"/>
              <a:buChar char="●"/>
              <a:defRPr/>
            </a:lvl1pPr>
            <a:lvl2pPr marL="1219170" lvl="1" indent="-397923">
              <a:spcBef>
                <a:spcPts val="2133"/>
              </a:spcBef>
              <a:spcAft>
                <a:spcPts val="0"/>
              </a:spcAft>
              <a:buSzPts val="1100"/>
              <a:buChar char="○"/>
              <a:defRPr/>
            </a:lvl2pPr>
            <a:lvl3pPr marL="1828754" lvl="2" indent="-397923">
              <a:spcBef>
                <a:spcPts val="2133"/>
              </a:spcBef>
              <a:spcAft>
                <a:spcPts val="0"/>
              </a:spcAft>
              <a:buSzPts val="1100"/>
              <a:buChar char="■"/>
              <a:defRPr/>
            </a:lvl3pPr>
            <a:lvl4pPr marL="2438339" lvl="3" indent="-397923">
              <a:spcBef>
                <a:spcPts val="2133"/>
              </a:spcBef>
              <a:spcAft>
                <a:spcPts val="0"/>
              </a:spcAft>
              <a:buSzPts val="1100"/>
              <a:buChar char="●"/>
              <a:defRPr/>
            </a:lvl4pPr>
            <a:lvl5pPr marL="3047924" lvl="4" indent="-397923">
              <a:spcBef>
                <a:spcPts val="2133"/>
              </a:spcBef>
              <a:spcAft>
                <a:spcPts val="0"/>
              </a:spcAft>
              <a:buSzPts val="1100"/>
              <a:buChar char="○"/>
              <a:defRPr/>
            </a:lvl5pPr>
            <a:lvl6pPr marL="3657509" lvl="5" indent="-397923">
              <a:spcBef>
                <a:spcPts val="2133"/>
              </a:spcBef>
              <a:spcAft>
                <a:spcPts val="0"/>
              </a:spcAft>
              <a:buSzPts val="1100"/>
              <a:buChar char="■"/>
              <a:defRPr/>
            </a:lvl6pPr>
            <a:lvl7pPr marL="4267093" lvl="6" indent="-397923">
              <a:spcBef>
                <a:spcPts val="2133"/>
              </a:spcBef>
              <a:spcAft>
                <a:spcPts val="0"/>
              </a:spcAft>
              <a:buSzPts val="1100"/>
              <a:buChar char="●"/>
              <a:defRPr/>
            </a:lvl7pPr>
            <a:lvl8pPr marL="4876678" lvl="7" indent="-397923">
              <a:spcBef>
                <a:spcPts val="2133"/>
              </a:spcBef>
              <a:spcAft>
                <a:spcPts val="0"/>
              </a:spcAft>
              <a:buSzPts val="1100"/>
              <a:buChar char="○"/>
              <a:defRPr/>
            </a:lvl8pPr>
            <a:lvl9pPr marL="5486263" lvl="8" indent="-397923">
              <a:spcBef>
                <a:spcPts val="2133"/>
              </a:spcBef>
              <a:spcAft>
                <a:spcPts val="2133"/>
              </a:spcAft>
              <a:buSzPts val="1100"/>
              <a:buChar char="■"/>
              <a:defRPr/>
            </a:lvl9pPr>
          </a:lstStyle>
          <a:p>
            <a:endParaRPr/>
          </a:p>
        </p:txBody>
      </p:sp>
      <p:sp>
        <p:nvSpPr>
          <p:cNvPr id="55" name="Google Shape;55;g91f7f3216c_0_11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defTabSz="1219170">
              <a:buClr>
                <a:srgbClr val="000000"/>
              </a:buClr>
            </a:pPr>
            <a:fld id="{00000000-1234-1234-1234-123412341234}" type="slidenum">
              <a:rPr lang="en-GB" kern="0" smtClean="0">
                <a:solidFill>
                  <a:srgbClr val="FFFFFF"/>
                </a:solidFill>
              </a:rPr>
              <a:pPr defTabSz="1219170">
                <a:buClr>
                  <a:srgbClr val="000000"/>
                </a:buClr>
              </a:pPr>
              <a:t>‹#›</a:t>
            </a:fld>
            <a:endParaRPr lang="en-GB" kern="0">
              <a:solidFill>
                <a:srgbClr val="FFFFFF"/>
              </a:solidFill>
            </a:endParaRPr>
          </a:p>
        </p:txBody>
      </p:sp>
    </p:spTree>
    <p:extLst>
      <p:ext uri="{BB962C8B-B14F-4D97-AF65-F5344CB8AC3E}">
        <p14:creationId xmlns:p14="http://schemas.microsoft.com/office/powerpoint/2010/main" val="10008242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246811"/>
            <a:ext cx="9144000" cy="727575"/>
          </a:xfrm>
          <a:prstGeom prst="rect">
            <a:avLst/>
          </a:prstGeom>
        </p:spPr>
        <p:txBody>
          <a:bodyPr anchor="b"/>
          <a:lstStyle>
            <a:lvl1pPr algn="ctr">
              <a:defRPr sz="4399"/>
            </a:lvl1pPr>
          </a:lstStyle>
          <a:p>
            <a:r>
              <a:rPr lang="en-US"/>
              <a:t>Click to edit Master title style</a:t>
            </a:r>
            <a:endParaRPr lang="en-IN" dirty="0"/>
          </a:p>
        </p:txBody>
      </p:sp>
      <p:sp>
        <p:nvSpPr>
          <p:cNvPr id="3" name="Subtitle 2"/>
          <p:cNvSpPr>
            <a:spLocks noGrp="1"/>
          </p:cNvSpPr>
          <p:nvPr>
            <p:ph type="subTitle" idx="1"/>
          </p:nvPr>
        </p:nvSpPr>
        <p:spPr>
          <a:xfrm>
            <a:off x="1524000" y="3602041"/>
            <a:ext cx="9144000" cy="525825"/>
          </a:xfrm>
          <a:prstGeom prst="rect">
            <a:avLst/>
          </a:prstGeom>
        </p:spPr>
        <p:txBody>
          <a:bodyPr/>
          <a:lstStyle>
            <a:lvl1pPr marL="0" indent="0" algn="ctr">
              <a:buNone/>
              <a:defRPr sz="2399"/>
            </a:lvl1pPr>
            <a:lvl2pPr marL="457051" indent="0" algn="ctr">
              <a:buNone/>
              <a:defRPr sz="1999"/>
            </a:lvl2pPr>
            <a:lvl3pPr marL="914104" indent="0" algn="ctr">
              <a:buNone/>
              <a:defRPr sz="1799"/>
            </a:lvl3pPr>
            <a:lvl4pPr marL="1371155" indent="0" algn="ctr">
              <a:buNone/>
              <a:defRPr sz="1600"/>
            </a:lvl4pPr>
            <a:lvl5pPr marL="1828205" indent="0" algn="ctr">
              <a:buNone/>
              <a:defRPr sz="1600"/>
            </a:lvl5pPr>
            <a:lvl6pPr marL="2285258" indent="0" algn="ctr">
              <a:buNone/>
              <a:defRPr sz="1600"/>
            </a:lvl6pPr>
            <a:lvl7pPr marL="2742309" indent="0" algn="ctr">
              <a:buNone/>
              <a:defRPr sz="1600"/>
            </a:lvl7pPr>
            <a:lvl8pPr marL="3199360" indent="0" algn="ctr">
              <a:buNone/>
              <a:defRPr sz="1600"/>
            </a:lvl8pPr>
            <a:lvl9pPr marL="3656411" indent="0" algn="ctr">
              <a:buNone/>
              <a:defRPr sz="1600"/>
            </a:lvl9pPr>
          </a:lstStyle>
          <a:p>
            <a:r>
              <a:rPr lang="en-US"/>
              <a:t>Click to edit Master subtitle style</a:t>
            </a:r>
            <a:endParaRPr lang="en-IN" dirty="0"/>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914104">
              <a:defRPr/>
            </a:pPr>
            <a:fld id="{83CDDF50-2691-4A96-A320-FAE26882475A}" type="datetimeFigureOut">
              <a:rPr lang="en-IN" sz="1799" smtClean="0">
                <a:solidFill>
                  <a:prstClr val="black"/>
                </a:solidFill>
              </a:rPr>
              <a:pPr defTabSz="914104">
                <a:defRPr/>
              </a:pPr>
              <a:t>01-12-2022</a:t>
            </a:fld>
            <a:endParaRPr lang="en-IN" sz="1799">
              <a:solidFill>
                <a:prstClr val="black"/>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914104">
              <a:defRPr/>
            </a:pPr>
            <a:endParaRPr lang="en-IN" sz="1799">
              <a:solidFill>
                <a:prstClr val="black"/>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4104">
              <a:defRPr/>
            </a:pPr>
            <a:fld id="{E74C42B1-5A19-486C-A487-15095F4D7BCC}" type="slidenum">
              <a:rPr lang="en-IN" smtClean="0">
                <a:solidFill>
                  <a:prstClr val="black"/>
                </a:solidFill>
              </a:rPr>
              <a:pPr defTabSz="914104">
                <a:defRPr/>
              </a:pPr>
              <a:t>‹#›</a:t>
            </a:fld>
            <a:endParaRPr lang="en-IN">
              <a:solidFill>
                <a:prstClr val="black"/>
              </a:solidFill>
            </a:endParaRPr>
          </a:p>
        </p:txBody>
      </p:sp>
    </p:spTree>
    <p:extLst>
      <p:ext uri="{BB962C8B-B14F-4D97-AF65-F5344CB8AC3E}">
        <p14:creationId xmlns:p14="http://schemas.microsoft.com/office/powerpoint/2010/main" val="484737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31076" y="6363518"/>
            <a:ext cx="2743200" cy="365125"/>
          </a:xfrm>
          <a:prstGeom prst="rect">
            <a:avLst/>
          </a:prstGeom>
        </p:spPr>
        <p:txBody>
          <a:bodyPr/>
          <a:lstStyle/>
          <a:p>
            <a:pPr defTabSz="914104">
              <a:defRPr/>
            </a:pPr>
            <a:fld id="{83CDDF50-2691-4A96-A320-FAE26882475A}" type="datetimeFigureOut">
              <a:rPr lang="en-IN" sz="1799" smtClean="0">
                <a:solidFill>
                  <a:prstClr val="black"/>
                </a:solidFill>
              </a:rPr>
              <a:pPr defTabSz="914104">
                <a:defRPr/>
              </a:pPr>
              <a:t>01-12-2022</a:t>
            </a:fld>
            <a:endParaRPr lang="en-IN" sz="1799">
              <a:solidFill>
                <a:prstClr val="black"/>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914104">
              <a:defRPr/>
            </a:pPr>
            <a:endParaRPr lang="en-IN" sz="1799">
              <a:solidFill>
                <a:prstClr val="black"/>
              </a:solidFill>
            </a:endParaRPr>
          </a:p>
        </p:txBody>
      </p:sp>
      <p:sp>
        <p:nvSpPr>
          <p:cNvPr id="6" name="Slide Number Placeholder 5"/>
          <p:cNvSpPr>
            <a:spLocks noGrp="1"/>
          </p:cNvSpPr>
          <p:nvPr>
            <p:ph type="sldNum" sz="quarter" idx="12"/>
          </p:nvPr>
        </p:nvSpPr>
        <p:spPr>
          <a:xfrm>
            <a:off x="8739051" y="6354718"/>
            <a:ext cx="2743200" cy="365125"/>
          </a:xfrm>
          <a:prstGeom prst="rect">
            <a:avLst/>
          </a:prstGeom>
        </p:spPr>
        <p:txBody>
          <a:bodyPr/>
          <a:lstStyle/>
          <a:p>
            <a:pPr defTabSz="914104">
              <a:defRPr/>
            </a:pPr>
            <a:fld id="{E74C42B1-5A19-486C-A487-15095F4D7BCC}" type="slidenum">
              <a:rPr lang="en-IN" smtClean="0">
                <a:solidFill>
                  <a:prstClr val="black"/>
                </a:solidFill>
              </a:rPr>
              <a:pPr defTabSz="914104">
                <a:defRPr/>
              </a:pPr>
              <a:t>‹#›</a:t>
            </a:fld>
            <a:endParaRPr lang="en-IN">
              <a:solidFill>
                <a:prstClr val="black"/>
              </a:solidFill>
            </a:endParaRPr>
          </a:p>
        </p:txBody>
      </p:sp>
      <p:sp>
        <p:nvSpPr>
          <p:cNvPr id="7"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
        <p:nvSpPr>
          <p:cNvPr id="8" name="Rectangle 3"/>
          <p:cNvSpPr>
            <a:spLocks noGrp="1" noChangeArrowheads="1"/>
          </p:cNvSpPr>
          <p:nvPr>
            <p:ph idx="1"/>
          </p:nvPr>
        </p:nvSpPr>
        <p:spPr bwMode="auto">
          <a:xfrm>
            <a:off x="431075" y="1371601"/>
            <a:ext cx="11051176" cy="4950817"/>
          </a:xfrm>
          <a:prstGeom prst="rect">
            <a:avLst/>
          </a:prstGeom>
          <a:noFill/>
          <a:ln w="9525">
            <a:noFill/>
            <a:miter lim="800000"/>
          </a:ln>
        </p:spPr>
        <p:txBody>
          <a:bodyPr vert="horz" wrap="square" lIns="91429" tIns="45715" rIns="91429" bIns="45715" numCol="1" anchor="t" anchorCtr="0" compatLnSpc="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66339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49" y="1709741"/>
            <a:ext cx="10515600" cy="2852737"/>
          </a:xfrm>
          <a:prstGeom prst="rect">
            <a:avLst/>
          </a:prstGeom>
        </p:spPr>
        <p:txBody>
          <a:bodyPr anchor="ctr"/>
          <a:lstStyle>
            <a:lvl1pPr algn="ctr">
              <a:defRPr sz="4399"/>
            </a:lvl1pPr>
          </a:lstStyle>
          <a:p>
            <a:r>
              <a:rPr lang="en-US"/>
              <a:t>Click to edit Master title style</a:t>
            </a:r>
            <a:endParaRPr lang="en-IN" dirty="0"/>
          </a:p>
        </p:txBody>
      </p:sp>
      <p:sp>
        <p:nvSpPr>
          <p:cNvPr id="3" name="Text Placeholder 2"/>
          <p:cNvSpPr>
            <a:spLocks noGrp="1"/>
          </p:cNvSpPr>
          <p:nvPr>
            <p:ph type="body" idx="1"/>
          </p:nvPr>
        </p:nvSpPr>
        <p:spPr>
          <a:xfrm>
            <a:off x="831849" y="4589465"/>
            <a:ext cx="10515600" cy="1500187"/>
          </a:xfrm>
          <a:prstGeom prst="rect">
            <a:avLst/>
          </a:prstGeom>
        </p:spPr>
        <p:txBody>
          <a:bodyPr anchor="ctr"/>
          <a:lstStyle>
            <a:lvl1pPr marL="0" indent="0" algn="ctr">
              <a:buNone/>
              <a:defRPr sz="2399">
                <a:solidFill>
                  <a:schemeClr val="tx1">
                    <a:tint val="75000"/>
                  </a:schemeClr>
                </a:solidFill>
              </a:defRPr>
            </a:lvl1pPr>
            <a:lvl2pPr marL="457051" indent="0">
              <a:buNone/>
              <a:defRPr sz="1999">
                <a:solidFill>
                  <a:schemeClr val="tx1">
                    <a:tint val="75000"/>
                  </a:schemeClr>
                </a:solidFill>
              </a:defRPr>
            </a:lvl2pPr>
            <a:lvl3pPr marL="914104" indent="0">
              <a:buNone/>
              <a:defRPr sz="1799">
                <a:solidFill>
                  <a:schemeClr val="tx1">
                    <a:tint val="75000"/>
                  </a:schemeClr>
                </a:solidFill>
              </a:defRPr>
            </a:lvl3pPr>
            <a:lvl4pPr marL="1371155" indent="0">
              <a:buNone/>
              <a:defRPr sz="1600">
                <a:solidFill>
                  <a:schemeClr val="tx1">
                    <a:tint val="75000"/>
                  </a:schemeClr>
                </a:solidFill>
              </a:defRPr>
            </a:lvl4pPr>
            <a:lvl5pPr marL="1828205" indent="0">
              <a:buNone/>
              <a:defRPr sz="1600">
                <a:solidFill>
                  <a:schemeClr val="tx1">
                    <a:tint val="75000"/>
                  </a:schemeClr>
                </a:solidFill>
              </a:defRPr>
            </a:lvl5pPr>
            <a:lvl6pPr marL="2285258" indent="0">
              <a:buNone/>
              <a:defRPr sz="1600">
                <a:solidFill>
                  <a:schemeClr val="tx1">
                    <a:tint val="75000"/>
                  </a:schemeClr>
                </a:solidFill>
              </a:defRPr>
            </a:lvl6pPr>
            <a:lvl7pPr marL="2742309" indent="0">
              <a:buNone/>
              <a:defRPr sz="1600">
                <a:solidFill>
                  <a:schemeClr val="tx1">
                    <a:tint val="75000"/>
                  </a:schemeClr>
                </a:solidFill>
              </a:defRPr>
            </a:lvl7pPr>
            <a:lvl8pPr marL="3199360" indent="0">
              <a:buNone/>
              <a:defRPr sz="1600">
                <a:solidFill>
                  <a:schemeClr val="tx1">
                    <a:tint val="75000"/>
                  </a:schemeClr>
                </a:solidFill>
              </a:defRPr>
            </a:lvl8pPr>
            <a:lvl9pPr marL="3656411"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914104">
              <a:defRPr/>
            </a:pPr>
            <a:fld id="{83CDDF50-2691-4A96-A320-FAE26882475A}" type="datetimeFigureOut">
              <a:rPr lang="en-IN" sz="1799" smtClean="0">
                <a:solidFill>
                  <a:prstClr val="black"/>
                </a:solidFill>
              </a:rPr>
              <a:pPr defTabSz="914104">
                <a:defRPr/>
              </a:pPr>
              <a:t>01-12-2022</a:t>
            </a:fld>
            <a:endParaRPr lang="en-IN" sz="1799">
              <a:solidFill>
                <a:prstClr val="black"/>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914104">
              <a:defRPr/>
            </a:pPr>
            <a:endParaRPr lang="en-IN" sz="1799">
              <a:solidFill>
                <a:prstClr val="black"/>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4104">
              <a:defRPr/>
            </a:pPr>
            <a:fld id="{E74C42B1-5A19-486C-A487-15095F4D7BCC}" type="slidenum">
              <a:rPr lang="en-IN" smtClean="0">
                <a:solidFill>
                  <a:prstClr val="black"/>
                </a:solidFill>
              </a:rPr>
              <a:pPr defTabSz="914104">
                <a:defRPr/>
              </a:pPr>
              <a:t>‹#›</a:t>
            </a:fld>
            <a:endParaRPr lang="en-IN">
              <a:solidFill>
                <a:prstClr val="black"/>
              </a:solidFill>
            </a:endParaRPr>
          </a:p>
        </p:txBody>
      </p:sp>
    </p:spTree>
    <p:extLst>
      <p:ext uri="{BB962C8B-B14F-4D97-AF65-F5344CB8AC3E}">
        <p14:creationId xmlns:p14="http://schemas.microsoft.com/office/powerpoint/2010/main" val="26113144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81001" y="1348669"/>
            <a:ext cx="5418911" cy="4817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199" y="1348670"/>
            <a:ext cx="5638803" cy="48169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a:xfrm>
            <a:off x="381000" y="6356352"/>
            <a:ext cx="2743200" cy="365125"/>
          </a:xfrm>
          <a:prstGeom prst="rect">
            <a:avLst/>
          </a:prstGeom>
        </p:spPr>
        <p:txBody>
          <a:bodyPr/>
          <a:lstStyle/>
          <a:p>
            <a:pPr defTabSz="914104">
              <a:defRPr/>
            </a:pPr>
            <a:fld id="{83CDDF50-2691-4A96-A320-FAE26882475A}" type="datetimeFigureOut">
              <a:rPr lang="en-IN" sz="1799" smtClean="0">
                <a:solidFill>
                  <a:prstClr val="black"/>
                </a:solidFill>
              </a:rPr>
              <a:pPr defTabSz="914104">
                <a:defRPr/>
              </a:pPr>
              <a:t>01-12-2022</a:t>
            </a:fld>
            <a:endParaRPr lang="en-IN" sz="1799">
              <a:solidFill>
                <a:prstClr val="black"/>
              </a:solidFill>
            </a:endParaRPr>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pPr defTabSz="914104">
              <a:defRPr/>
            </a:pPr>
            <a:endParaRPr lang="en-IN" sz="1799">
              <a:solidFill>
                <a:prstClr val="black"/>
              </a:solidFill>
            </a:endParaRPr>
          </a:p>
        </p:txBody>
      </p:sp>
      <p:sp>
        <p:nvSpPr>
          <p:cNvPr id="7" name="Slide Number Placeholder 6"/>
          <p:cNvSpPr>
            <a:spLocks noGrp="1"/>
          </p:cNvSpPr>
          <p:nvPr>
            <p:ph type="sldNum" sz="quarter" idx="12"/>
          </p:nvPr>
        </p:nvSpPr>
        <p:spPr>
          <a:xfrm>
            <a:off x="9067800" y="6356352"/>
            <a:ext cx="2743200" cy="365125"/>
          </a:xfrm>
          <a:prstGeom prst="rect">
            <a:avLst/>
          </a:prstGeom>
        </p:spPr>
        <p:txBody>
          <a:bodyPr/>
          <a:lstStyle/>
          <a:p>
            <a:pPr defTabSz="914104">
              <a:defRPr/>
            </a:pPr>
            <a:fld id="{E74C42B1-5A19-486C-A487-15095F4D7BCC}" type="slidenum">
              <a:rPr lang="en-IN" smtClean="0">
                <a:solidFill>
                  <a:prstClr val="black"/>
                </a:solidFill>
              </a:rPr>
              <a:pPr defTabSz="914104">
                <a:defRPr/>
              </a:pPr>
              <a:t>‹#›</a:t>
            </a:fld>
            <a:endParaRPr lang="en-IN">
              <a:solidFill>
                <a:prstClr val="black"/>
              </a:solidFill>
            </a:endParaRPr>
          </a:p>
        </p:txBody>
      </p:sp>
      <p:sp>
        <p:nvSpPr>
          <p:cNvPr id="8"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Tree>
    <p:extLst>
      <p:ext uri="{BB962C8B-B14F-4D97-AF65-F5344CB8AC3E}">
        <p14:creationId xmlns:p14="http://schemas.microsoft.com/office/powerpoint/2010/main" val="25918238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1001" y="1295334"/>
            <a:ext cx="5418911" cy="368911"/>
          </a:xfrm>
          <a:prstGeom prst="rect">
            <a:avLst/>
          </a:prstGeom>
        </p:spPr>
        <p:txBody>
          <a:bodyPr anchor="b"/>
          <a:lstStyle>
            <a:lvl1pPr marL="0" indent="0">
              <a:buNone/>
              <a:defRPr sz="2399" b="1"/>
            </a:lvl1pPr>
            <a:lvl2pPr marL="457051" indent="0">
              <a:buNone/>
              <a:defRPr sz="1999" b="1"/>
            </a:lvl2pPr>
            <a:lvl3pPr marL="914104" indent="0">
              <a:buNone/>
              <a:defRPr sz="1799" b="1"/>
            </a:lvl3pPr>
            <a:lvl4pPr marL="1371155" indent="0">
              <a:buNone/>
              <a:defRPr sz="1600" b="1"/>
            </a:lvl4pPr>
            <a:lvl5pPr marL="1828205" indent="0">
              <a:buNone/>
              <a:defRPr sz="1600" b="1"/>
            </a:lvl5pPr>
            <a:lvl6pPr marL="2285258" indent="0">
              <a:buNone/>
              <a:defRPr sz="1600" b="1"/>
            </a:lvl6pPr>
            <a:lvl7pPr marL="2742309" indent="0">
              <a:buNone/>
              <a:defRPr sz="1600" b="1"/>
            </a:lvl7pPr>
            <a:lvl8pPr marL="3199360" indent="0">
              <a:buNone/>
              <a:defRPr sz="1600" b="1"/>
            </a:lvl8pPr>
            <a:lvl9pPr marL="3656411" indent="0">
              <a:buNone/>
              <a:defRPr sz="1600" b="1"/>
            </a:lvl9pPr>
          </a:lstStyle>
          <a:p>
            <a:pPr lvl="0"/>
            <a:r>
              <a:rPr lang="en-US"/>
              <a:t>Edit Master text styles</a:t>
            </a:r>
          </a:p>
        </p:txBody>
      </p:sp>
      <p:sp>
        <p:nvSpPr>
          <p:cNvPr id="5" name="Text Placeholder 4"/>
          <p:cNvSpPr>
            <a:spLocks noGrp="1"/>
          </p:cNvSpPr>
          <p:nvPr>
            <p:ph type="body" sz="quarter" idx="3"/>
          </p:nvPr>
        </p:nvSpPr>
        <p:spPr>
          <a:xfrm>
            <a:off x="6172200" y="1330578"/>
            <a:ext cx="5638800" cy="368911"/>
          </a:xfrm>
          <a:prstGeom prst="rect">
            <a:avLst/>
          </a:prstGeom>
        </p:spPr>
        <p:txBody>
          <a:bodyPr anchor="b"/>
          <a:lstStyle>
            <a:lvl1pPr marL="0" indent="0">
              <a:buNone/>
              <a:defRPr sz="2399" b="1"/>
            </a:lvl1pPr>
            <a:lvl2pPr marL="457051" indent="0">
              <a:buNone/>
              <a:defRPr sz="1999" b="1"/>
            </a:lvl2pPr>
            <a:lvl3pPr marL="914104" indent="0">
              <a:buNone/>
              <a:defRPr sz="1799" b="1"/>
            </a:lvl3pPr>
            <a:lvl4pPr marL="1371155" indent="0">
              <a:buNone/>
              <a:defRPr sz="1600" b="1"/>
            </a:lvl4pPr>
            <a:lvl5pPr marL="1828205" indent="0">
              <a:buNone/>
              <a:defRPr sz="1600" b="1"/>
            </a:lvl5pPr>
            <a:lvl6pPr marL="2285258" indent="0">
              <a:buNone/>
              <a:defRPr sz="1600" b="1"/>
            </a:lvl6pPr>
            <a:lvl7pPr marL="2742309" indent="0">
              <a:buNone/>
              <a:defRPr sz="1600" b="1"/>
            </a:lvl7pPr>
            <a:lvl8pPr marL="3199360" indent="0">
              <a:buNone/>
              <a:defRPr sz="1600" b="1"/>
            </a:lvl8pPr>
            <a:lvl9pPr marL="3656411" indent="0">
              <a:buNone/>
              <a:defRPr sz="1600" b="1"/>
            </a:lvl9pPr>
          </a:lstStyle>
          <a:p>
            <a:pPr lvl="0"/>
            <a:r>
              <a:rPr lang="en-US"/>
              <a:t>Edit Master text styles</a:t>
            </a:r>
          </a:p>
        </p:txBody>
      </p:sp>
      <p:sp>
        <p:nvSpPr>
          <p:cNvPr id="10"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
        <p:nvSpPr>
          <p:cNvPr id="11" name="Content Placeholder 2"/>
          <p:cNvSpPr>
            <a:spLocks noGrp="1"/>
          </p:cNvSpPr>
          <p:nvPr>
            <p:ph sz="half" idx="10"/>
          </p:nvPr>
        </p:nvSpPr>
        <p:spPr>
          <a:xfrm>
            <a:off x="381001" y="1854926"/>
            <a:ext cx="5418911" cy="431074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2" name="Content Placeholder 3"/>
          <p:cNvSpPr>
            <a:spLocks noGrp="1"/>
          </p:cNvSpPr>
          <p:nvPr>
            <p:ph sz="half" idx="2"/>
          </p:nvPr>
        </p:nvSpPr>
        <p:spPr>
          <a:xfrm>
            <a:off x="6172199" y="1854926"/>
            <a:ext cx="5638803" cy="431074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3" name="Date Placeholder 4"/>
          <p:cNvSpPr>
            <a:spLocks noGrp="1"/>
          </p:cNvSpPr>
          <p:nvPr>
            <p:ph type="dt" sz="half" idx="11"/>
          </p:nvPr>
        </p:nvSpPr>
        <p:spPr>
          <a:xfrm>
            <a:off x="381000" y="6356352"/>
            <a:ext cx="2743200" cy="365125"/>
          </a:xfrm>
          <a:prstGeom prst="rect">
            <a:avLst/>
          </a:prstGeom>
        </p:spPr>
        <p:txBody>
          <a:bodyPr/>
          <a:lstStyle/>
          <a:p>
            <a:pPr defTabSz="914104">
              <a:defRPr/>
            </a:pPr>
            <a:fld id="{83CDDF50-2691-4A96-A320-FAE26882475A}" type="datetimeFigureOut">
              <a:rPr lang="en-IN" sz="1799" smtClean="0">
                <a:solidFill>
                  <a:prstClr val="black"/>
                </a:solidFill>
              </a:rPr>
              <a:pPr defTabSz="914104">
                <a:defRPr/>
              </a:pPr>
              <a:t>01-12-2022</a:t>
            </a:fld>
            <a:endParaRPr lang="en-IN" sz="1799">
              <a:solidFill>
                <a:prstClr val="black"/>
              </a:solidFill>
            </a:endParaRPr>
          </a:p>
        </p:txBody>
      </p:sp>
      <p:sp>
        <p:nvSpPr>
          <p:cNvPr id="14" name="Footer Placeholder 5"/>
          <p:cNvSpPr>
            <a:spLocks noGrp="1"/>
          </p:cNvSpPr>
          <p:nvPr>
            <p:ph type="ftr" sz="quarter" idx="12"/>
          </p:nvPr>
        </p:nvSpPr>
        <p:spPr>
          <a:xfrm>
            <a:off x="4038600" y="6356352"/>
            <a:ext cx="4114800" cy="365125"/>
          </a:xfrm>
          <a:prstGeom prst="rect">
            <a:avLst/>
          </a:prstGeom>
        </p:spPr>
        <p:txBody>
          <a:bodyPr/>
          <a:lstStyle/>
          <a:p>
            <a:pPr defTabSz="914104">
              <a:defRPr/>
            </a:pPr>
            <a:endParaRPr lang="en-IN" sz="1799">
              <a:solidFill>
                <a:prstClr val="black"/>
              </a:solidFill>
            </a:endParaRPr>
          </a:p>
        </p:txBody>
      </p:sp>
      <p:sp>
        <p:nvSpPr>
          <p:cNvPr id="15" name="Slide Number Placeholder 6"/>
          <p:cNvSpPr>
            <a:spLocks noGrp="1"/>
          </p:cNvSpPr>
          <p:nvPr>
            <p:ph type="sldNum" sz="quarter" idx="13"/>
          </p:nvPr>
        </p:nvSpPr>
        <p:spPr>
          <a:xfrm>
            <a:off x="9067800" y="6356352"/>
            <a:ext cx="2743200" cy="365125"/>
          </a:xfrm>
          <a:prstGeom prst="rect">
            <a:avLst/>
          </a:prstGeom>
        </p:spPr>
        <p:txBody>
          <a:bodyPr/>
          <a:lstStyle/>
          <a:p>
            <a:pPr defTabSz="914104">
              <a:defRPr/>
            </a:pPr>
            <a:fld id="{E74C42B1-5A19-486C-A487-15095F4D7BCC}" type="slidenum">
              <a:rPr lang="en-IN" smtClean="0">
                <a:solidFill>
                  <a:prstClr val="black"/>
                </a:solidFill>
              </a:rPr>
              <a:pPr defTabSz="914104">
                <a:defRPr/>
              </a:pPr>
              <a:t>‹#›</a:t>
            </a:fld>
            <a:endParaRPr lang="en-IN">
              <a:solidFill>
                <a:prstClr val="black"/>
              </a:solidFill>
            </a:endParaRPr>
          </a:p>
        </p:txBody>
      </p:sp>
    </p:spTree>
    <p:extLst>
      <p:ext uri="{BB962C8B-B14F-4D97-AF65-F5344CB8AC3E}">
        <p14:creationId xmlns:p14="http://schemas.microsoft.com/office/powerpoint/2010/main" val="37561889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
        <p:nvSpPr>
          <p:cNvPr id="11" name="Date Placeholder 4"/>
          <p:cNvSpPr>
            <a:spLocks noGrp="1"/>
          </p:cNvSpPr>
          <p:nvPr>
            <p:ph type="dt" sz="half" idx="11"/>
          </p:nvPr>
        </p:nvSpPr>
        <p:spPr>
          <a:xfrm>
            <a:off x="381000" y="6356352"/>
            <a:ext cx="2743200" cy="365125"/>
          </a:xfrm>
          <a:prstGeom prst="rect">
            <a:avLst/>
          </a:prstGeom>
        </p:spPr>
        <p:txBody>
          <a:bodyPr/>
          <a:lstStyle/>
          <a:p>
            <a:pPr defTabSz="914104">
              <a:defRPr/>
            </a:pPr>
            <a:fld id="{83CDDF50-2691-4A96-A320-FAE26882475A}" type="datetimeFigureOut">
              <a:rPr lang="en-IN" sz="1799" smtClean="0">
                <a:solidFill>
                  <a:prstClr val="black"/>
                </a:solidFill>
              </a:rPr>
              <a:pPr defTabSz="914104">
                <a:defRPr/>
              </a:pPr>
              <a:t>01-12-2022</a:t>
            </a:fld>
            <a:endParaRPr lang="en-IN" sz="1799">
              <a:solidFill>
                <a:prstClr val="black"/>
              </a:solidFill>
            </a:endParaRPr>
          </a:p>
        </p:txBody>
      </p:sp>
      <p:sp>
        <p:nvSpPr>
          <p:cNvPr id="12" name="Footer Placeholder 5"/>
          <p:cNvSpPr>
            <a:spLocks noGrp="1"/>
          </p:cNvSpPr>
          <p:nvPr>
            <p:ph type="ftr" sz="quarter" idx="12"/>
          </p:nvPr>
        </p:nvSpPr>
        <p:spPr>
          <a:xfrm>
            <a:off x="4038600" y="6356352"/>
            <a:ext cx="4114800" cy="365125"/>
          </a:xfrm>
          <a:prstGeom prst="rect">
            <a:avLst/>
          </a:prstGeom>
        </p:spPr>
        <p:txBody>
          <a:bodyPr/>
          <a:lstStyle/>
          <a:p>
            <a:pPr defTabSz="914104">
              <a:defRPr/>
            </a:pPr>
            <a:endParaRPr lang="en-IN" sz="1799">
              <a:solidFill>
                <a:prstClr val="black"/>
              </a:solidFill>
            </a:endParaRPr>
          </a:p>
        </p:txBody>
      </p:sp>
      <p:sp>
        <p:nvSpPr>
          <p:cNvPr id="13" name="Slide Number Placeholder 6"/>
          <p:cNvSpPr>
            <a:spLocks noGrp="1"/>
          </p:cNvSpPr>
          <p:nvPr>
            <p:ph type="sldNum" sz="quarter" idx="13"/>
          </p:nvPr>
        </p:nvSpPr>
        <p:spPr>
          <a:xfrm>
            <a:off x="9067800" y="6356352"/>
            <a:ext cx="2743200" cy="365125"/>
          </a:xfrm>
          <a:prstGeom prst="rect">
            <a:avLst/>
          </a:prstGeom>
        </p:spPr>
        <p:txBody>
          <a:bodyPr/>
          <a:lstStyle/>
          <a:p>
            <a:pPr defTabSz="914104">
              <a:defRPr/>
            </a:pPr>
            <a:fld id="{E74C42B1-5A19-486C-A487-15095F4D7BCC}" type="slidenum">
              <a:rPr lang="en-IN" smtClean="0">
                <a:solidFill>
                  <a:prstClr val="black"/>
                </a:solidFill>
              </a:rPr>
              <a:pPr defTabSz="914104">
                <a:defRPr/>
              </a:pPr>
              <a:t>‹#›</a:t>
            </a:fld>
            <a:endParaRPr lang="en-IN">
              <a:solidFill>
                <a:prstClr val="black"/>
              </a:solidFill>
            </a:endParaRPr>
          </a:p>
        </p:txBody>
      </p:sp>
    </p:spTree>
    <p:extLst>
      <p:ext uri="{BB962C8B-B14F-4D97-AF65-F5344CB8AC3E}">
        <p14:creationId xmlns:p14="http://schemas.microsoft.com/office/powerpoint/2010/main" val="19024433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36564" y="1423851"/>
            <a:ext cx="4932272" cy="638675"/>
          </a:xfrm>
          <a:prstGeom prst="rect">
            <a:avLst/>
          </a:prstGeom>
        </p:spPr>
        <p:txBody>
          <a:bodyPr anchor="b"/>
          <a:lstStyle>
            <a:lvl1pPr>
              <a:defRPr sz="2799"/>
            </a:lvl1pPr>
          </a:lstStyle>
          <a:p>
            <a:r>
              <a:rPr lang="en-US"/>
              <a:t>Click to edit Master title style</a:t>
            </a:r>
            <a:endParaRPr lang="en-IN" dirty="0"/>
          </a:p>
        </p:txBody>
      </p:sp>
      <p:sp>
        <p:nvSpPr>
          <p:cNvPr id="3" name="Content Placeholder 2"/>
          <p:cNvSpPr>
            <a:spLocks noGrp="1"/>
          </p:cNvSpPr>
          <p:nvPr>
            <p:ph idx="1"/>
          </p:nvPr>
        </p:nvSpPr>
        <p:spPr>
          <a:xfrm>
            <a:off x="5786846" y="1423853"/>
            <a:ext cx="5968591" cy="4794068"/>
          </a:xfrm>
          <a:prstGeom prst="rect">
            <a:avLst/>
          </a:prstGeo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4" name="Text Placeholder 3"/>
          <p:cNvSpPr>
            <a:spLocks noGrp="1"/>
          </p:cNvSpPr>
          <p:nvPr>
            <p:ph type="body" sz="half" idx="2"/>
          </p:nvPr>
        </p:nvSpPr>
        <p:spPr>
          <a:xfrm>
            <a:off x="436564" y="2049463"/>
            <a:ext cx="4932272" cy="4106007"/>
          </a:xfrm>
          <a:prstGeom prst="rect">
            <a:avLst/>
          </a:prstGeom>
        </p:spPr>
        <p:txBody>
          <a:bodyPr/>
          <a:lstStyle>
            <a:lvl1pPr marL="0" indent="0">
              <a:buNone/>
              <a:defRPr sz="1799"/>
            </a:lvl1pPr>
            <a:lvl2pPr marL="457051" indent="0">
              <a:buNone/>
              <a:defRPr sz="1400"/>
            </a:lvl2pPr>
            <a:lvl3pPr marL="914104" indent="0">
              <a:buNone/>
              <a:defRPr sz="1200"/>
            </a:lvl3pPr>
            <a:lvl4pPr marL="1371155" indent="0">
              <a:buNone/>
              <a:defRPr sz="1000"/>
            </a:lvl4pPr>
            <a:lvl5pPr marL="1828205" indent="0">
              <a:buNone/>
              <a:defRPr sz="1000"/>
            </a:lvl5pPr>
            <a:lvl6pPr marL="2285258" indent="0">
              <a:buNone/>
              <a:defRPr sz="1000"/>
            </a:lvl6pPr>
            <a:lvl7pPr marL="2742309" indent="0">
              <a:buNone/>
              <a:defRPr sz="1000"/>
            </a:lvl7pPr>
            <a:lvl8pPr marL="3199360" indent="0">
              <a:buNone/>
              <a:defRPr sz="1000"/>
            </a:lvl8pPr>
            <a:lvl9pPr marL="3656411" indent="0">
              <a:buNone/>
              <a:defRPr sz="1000"/>
            </a:lvl9pPr>
          </a:lstStyle>
          <a:p>
            <a:pPr lvl="0"/>
            <a:r>
              <a:rPr lang="en-US"/>
              <a:t>Edit Master text styles</a:t>
            </a:r>
          </a:p>
        </p:txBody>
      </p:sp>
      <p:sp>
        <p:nvSpPr>
          <p:cNvPr id="8" name="Date Placeholder 4"/>
          <p:cNvSpPr>
            <a:spLocks noGrp="1"/>
          </p:cNvSpPr>
          <p:nvPr>
            <p:ph type="dt" sz="half" idx="11"/>
          </p:nvPr>
        </p:nvSpPr>
        <p:spPr>
          <a:xfrm>
            <a:off x="381000" y="6356352"/>
            <a:ext cx="2743200" cy="365125"/>
          </a:xfrm>
          <a:prstGeom prst="rect">
            <a:avLst/>
          </a:prstGeom>
        </p:spPr>
        <p:txBody>
          <a:bodyPr/>
          <a:lstStyle/>
          <a:p>
            <a:pPr defTabSz="914104">
              <a:defRPr/>
            </a:pPr>
            <a:fld id="{83CDDF50-2691-4A96-A320-FAE26882475A}" type="datetimeFigureOut">
              <a:rPr lang="en-IN" sz="1799" smtClean="0">
                <a:solidFill>
                  <a:prstClr val="black"/>
                </a:solidFill>
              </a:rPr>
              <a:pPr defTabSz="914104">
                <a:defRPr/>
              </a:pPr>
              <a:t>01-12-2022</a:t>
            </a:fld>
            <a:endParaRPr lang="en-IN" sz="1799">
              <a:solidFill>
                <a:prstClr val="black"/>
              </a:solidFill>
            </a:endParaRPr>
          </a:p>
        </p:txBody>
      </p:sp>
      <p:sp>
        <p:nvSpPr>
          <p:cNvPr id="9" name="Footer Placeholder 5"/>
          <p:cNvSpPr>
            <a:spLocks noGrp="1"/>
          </p:cNvSpPr>
          <p:nvPr>
            <p:ph type="ftr" sz="quarter" idx="12"/>
          </p:nvPr>
        </p:nvSpPr>
        <p:spPr>
          <a:xfrm>
            <a:off x="4038600" y="6356352"/>
            <a:ext cx="4114800" cy="365125"/>
          </a:xfrm>
          <a:prstGeom prst="rect">
            <a:avLst/>
          </a:prstGeom>
        </p:spPr>
        <p:txBody>
          <a:bodyPr/>
          <a:lstStyle/>
          <a:p>
            <a:pPr defTabSz="914104">
              <a:defRPr/>
            </a:pPr>
            <a:endParaRPr lang="en-IN" sz="1799">
              <a:solidFill>
                <a:prstClr val="black"/>
              </a:solidFill>
            </a:endParaRPr>
          </a:p>
        </p:txBody>
      </p:sp>
      <p:sp>
        <p:nvSpPr>
          <p:cNvPr id="10" name="Slide Number Placeholder 6"/>
          <p:cNvSpPr>
            <a:spLocks noGrp="1"/>
          </p:cNvSpPr>
          <p:nvPr>
            <p:ph type="sldNum" sz="quarter" idx="13"/>
          </p:nvPr>
        </p:nvSpPr>
        <p:spPr>
          <a:xfrm>
            <a:off x="9012236" y="6364152"/>
            <a:ext cx="2743200" cy="365125"/>
          </a:xfrm>
          <a:prstGeom prst="rect">
            <a:avLst/>
          </a:prstGeom>
        </p:spPr>
        <p:txBody>
          <a:bodyPr/>
          <a:lstStyle/>
          <a:p>
            <a:pPr defTabSz="914104">
              <a:defRPr/>
            </a:pPr>
            <a:fld id="{E74C42B1-5A19-486C-A487-15095F4D7BCC}" type="slidenum">
              <a:rPr lang="en-IN" smtClean="0">
                <a:solidFill>
                  <a:prstClr val="black"/>
                </a:solidFill>
              </a:rPr>
              <a:pPr defTabSz="914104">
                <a:defRPr/>
              </a:pPr>
              <a:t>‹#›</a:t>
            </a:fld>
            <a:endParaRPr lang="en-IN">
              <a:solidFill>
                <a:prstClr val="black"/>
              </a:solidFill>
            </a:endParaRPr>
          </a:p>
        </p:txBody>
      </p:sp>
      <p:sp>
        <p:nvSpPr>
          <p:cNvPr id="11" name="Rectangle 2"/>
          <p:cNvSpPr txBox="1">
            <a:spLocks noChangeArrowheads="1"/>
          </p:cNvSpPr>
          <p:nvPr/>
        </p:nvSpPr>
        <p:spPr bwMode="auto">
          <a:xfrm>
            <a:off x="457201" y="171451"/>
            <a:ext cx="7823200" cy="520876"/>
          </a:xfrm>
          <a:prstGeom prst="rect">
            <a:avLst/>
          </a:prstGeom>
          <a:noFill/>
          <a:ln w="9525">
            <a:noFill/>
            <a:miter lim="800000"/>
          </a:ln>
        </p:spPr>
        <p:txBody>
          <a:bodyPr vert="horz" wrap="square" lIns="91405" tIns="45703" rIns="91405" bIns="45703" numCol="1" anchor="ctr" anchorCtr="0" compatLnSpc="1"/>
          <a:lstStyle>
            <a:lvl1pPr algn="l" defTabSz="914400" rtl="0" eaLnBrk="1" latinLnBrk="0" hangingPunct="1">
              <a:lnSpc>
                <a:spcPct val="90000"/>
              </a:lnSpc>
              <a:spcBef>
                <a:spcPct val="0"/>
              </a:spcBef>
              <a:buNone/>
              <a:defRPr sz="3600" kern="1200">
                <a:solidFill>
                  <a:schemeClr val="tx1"/>
                </a:solidFill>
                <a:latin typeface="+mn-lt"/>
                <a:ea typeface="+mj-ea"/>
                <a:cs typeface="+mj-cs"/>
              </a:defRPr>
            </a:lvl1pPr>
          </a:lstStyle>
          <a:p>
            <a:pPr marL="0" marR="0" lvl="0" indent="0" algn="l" defTabSz="914104" rtl="0" eaLnBrk="1" fontAlgn="auto" latinLnBrk="0" hangingPunct="1">
              <a:lnSpc>
                <a:spcPct val="90000"/>
              </a:lnSpc>
              <a:spcBef>
                <a:spcPct val="0"/>
              </a:spcBef>
              <a:spcAft>
                <a:spcPts val="0"/>
              </a:spcAft>
              <a:buClrTx/>
              <a:buSzTx/>
              <a:buFontTx/>
              <a:buNone/>
              <a:tabLst/>
              <a:defRPr/>
            </a:pPr>
            <a:r>
              <a:rPr kumimoji="0" lang="en-US" sz="3599" b="0" i="0" u="none" strike="noStrike" kern="1200" cap="none" spc="0" normalizeH="0" baseline="0" noProof="0" dirty="0">
                <a:ln>
                  <a:noFill/>
                </a:ln>
                <a:solidFill>
                  <a:prstClr val="black"/>
                </a:solidFill>
                <a:effectLst/>
                <a:uLnTx/>
                <a:uFillTx/>
                <a:latin typeface="Calibri"/>
                <a:ea typeface="+mj-ea"/>
                <a:cs typeface="+mj-cs"/>
              </a:rPr>
              <a:t>Click to edit Master title</a:t>
            </a:r>
          </a:p>
        </p:txBody>
      </p:sp>
    </p:spTree>
    <p:extLst>
      <p:ext uri="{BB962C8B-B14F-4D97-AF65-F5344CB8AC3E}">
        <p14:creationId xmlns:p14="http://schemas.microsoft.com/office/powerpoint/2010/main" val="40213211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defTabSz="905216">
              <a:defRPr/>
            </a:pPr>
            <a:fld id="{7422662C-4EA5-40CB-AF95-82CA1EC35BEA}" type="slidenum">
              <a:rPr lang="en-US" smtClean="0">
                <a:solidFill>
                  <a:srgbClr val="000000"/>
                </a:solidFill>
                <a:latin typeface="Arial" panose="020B0604020202020204"/>
              </a:rPr>
              <a:pPr defTabSz="905216">
                <a:defRPr/>
              </a:pPr>
              <a:t>‹#›</a:t>
            </a:fld>
            <a:endParaRPr lang="en-US" dirty="0">
              <a:solidFill>
                <a:srgbClr val="000000"/>
              </a:solidFill>
              <a:latin typeface="Arial" panose="020B0604020202020204"/>
            </a:endParaRPr>
          </a:p>
        </p:txBody>
      </p:sp>
    </p:spTree>
    <p:extLst>
      <p:ext uri="{BB962C8B-B14F-4D97-AF65-F5344CB8AC3E}">
        <p14:creationId xmlns:p14="http://schemas.microsoft.com/office/powerpoint/2010/main" val="36621027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562710" y="1508400"/>
            <a:ext cx="11068061" cy="4590000"/>
          </a:xfrm>
          <a:prstGeom prst="rect">
            <a:avLst/>
          </a:prstGeom>
        </p:spPr>
        <p:txBody>
          <a:bodyPr lIns="0" tIns="0" rIns="0" bIns="0"/>
          <a:lstStyle>
            <a:lvl1pPr marL="0" indent="-172982">
              <a:buClr>
                <a:schemeClr val="tx2"/>
              </a:buClr>
              <a:buFont typeface="Arial" pitchFamily="34" charset="0"/>
              <a:buChar char="•"/>
              <a:tabLst/>
              <a:defRPr b="0"/>
            </a:lvl1pPr>
            <a:lvl2pPr marL="628446" indent="-228525">
              <a:buFont typeface="Arial" pitchFamily="34" charset="0"/>
              <a:buChar char="–"/>
              <a:defRPr/>
            </a:lvl2pPr>
            <a:lvl3pPr marL="1074389" indent="-228525">
              <a:defRPr/>
            </a:lvl3pPr>
            <a:lvl4pPr marL="1544833" indent="-228525">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57878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30186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56"/>
        <p:cNvGrpSpPr/>
        <p:nvPr/>
      </p:nvGrpSpPr>
      <p:grpSpPr>
        <a:xfrm>
          <a:off x="0" y="0"/>
          <a:ext cx="0" cy="0"/>
          <a:chOff x="0" y="0"/>
          <a:chExt cx="0" cy="0"/>
        </a:xfrm>
      </p:grpSpPr>
      <p:grpSp>
        <p:nvGrpSpPr>
          <p:cNvPr id="57" name="Google Shape;57;g91f7f3216c_0_124"/>
          <p:cNvGrpSpPr/>
          <p:nvPr/>
        </p:nvGrpSpPr>
        <p:grpSpPr>
          <a:xfrm>
            <a:off x="0" y="508002"/>
            <a:ext cx="1383800" cy="1355049"/>
            <a:chOff x="0" y="381001"/>
            <a:chExt cx="1037850" cy="1016287"/>
          </a:xfrm>
        </p:grpSpPr>
        <p:sp>
          <p:nvSpPr>
            <p:cNvPr id="58" name="Google Shape;58;g91f7f3216c_0_124"/>
            <p:cNvSpPr/>
            <p:nvPr/>
          </p:nvSpPr>
          <p:spPr>
            <a:xfrm rot="-5400000">
              <a:off x="0" y="381001"/>
              <a:ext cx="808800" cy="808800"/>
            </a:xfrm>
            <a:prstGeom prst="diagStripe">
              <a:avLst>
                <a:gd name="adj" fmla="val 50000"/>
              </a:avLst>
            </a:prstGeom>
            <a:solidFill>
              <a:schemeClr val="accent1"/>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9" name="Google Shape;59;g91f7f3216c_0_124"/>
            <p:cNvSpPr/>
            <p:nvPr/>
          </p:nvSpPr>
          <p:spPr>
            <a:xfrm flipH="1">
              <a:off x="229050" y="588489"/>
              <a:ext cx="808800" cy="808800"/>
            </a:xfrm>
            <a:prstGeom prst="diagStripe">
              <a:avLst>
                <a:gd name="adj" fmla="val 50000"/>
              </a:avLst>
            </a:prstGeom>
            <a:solidFill>
              <a:schemeClr val="lt2"/>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60" name="Google Shape;60;g91f7f3216c_0_124"/>
          <p:cNvSpPr txBox="1">
            <a:spLocks noGrp="1"/>
          </p:cNvSpPr>
          <p:nvPr>
            <p:ph type="title"/>
          </p:nvPr>
        </p:nvSpPr>
        <p:spPr>
          <a:xfrm>
            <a:off x="1730000" y="525000"/>
            <a:ext cx="9385200" cy="1218800"/>
          </a:xfrm>
          <a:prstGeom prst="rect">
            <a:avLst/>
          </a:prstGeom>
        </p:spPr>
        <p:txBody>
          <a:bodyPr spcFirstLastPara="1" wrap="square" lIns="91425" tIns="91425" rIns="91425" bIns="91425" anchor="t" anchorCtr="0">
            <a:no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61" name="Google Shape;61;g91f7f3216c_0_12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defTabSz="1219170">
              <a:buClr>
                <a:srgbClr val="000000"/>
              </a:buClr>
            </a:pPr>
            <a:fld id="{00000000-1234-1234-1234-123412341234}" type="slidenum">
              <a:rPr lang="en-GB" kern="0" smtClean="0">
                <a:solidFill>
                  <a:srgbClr val="FFFFFF"/>
                </a:solidFill>
              </a:rPr>
              <a:pPr defTabSz="1219170">
                <a:buClr>
                  <a:srgbClr val="000000"/>
                </a:buClr>
              </a:pPr>
              <a:t>‹#›</a:t>
            </a:fld>
            <a:endParaRPr lang="en-GB" kern="0">
              <a:solidFill>
                <a:srgbClr val="FFFFFF"/>
              </a:solidFill>
            </a:endParaRPr>
          </a:p>
        </p:txBody>
      </p:sp>
    </p:spTree>
    <p:extLst>
      <p:ext uri="{BB962C8B-B14F-4D97-AF65-F5344CB8AC3E}">
        <p14:creationId xmlns:p14="http://schemas.microsoft.com/office/powerpoint/2010/main" val="19051393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ver slide layout">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97C212F7-184D-4A49-A276-228D2606CDAA}"/>
              </a:ext>
            </a:extLst>
          </p:cNvPr>
          <p:cNvSpPr/>
          <p:nvPr userDrawn="1"/>
        </p:nvSpPr>
        <p:spPr>
          <a:xfrm rot="2710283">
            <a:off x="3230158" y="-3604333"/>
            <a:ext cx="5188207" cy="13481605"/>
          </a:xfrm>
          <a:custGeom>
            <a:avLst/>
            <a:gdLst>
              <a:gd name="connsiteX0" fmla="*/ 4872276 w 5188206"/>
              <a:gd name="connsiteY0" fmla="*/ 0 h 13481605"/>
              <a:gd name="connsiteX1" fmla="*/ 5188206 w 5188206"/>
              <a:gd name="connsiteY1" fmla="*/ 314046 h 13481605"/>
              <a:gd name="connsiteX2" fmla="*/ 5188206 w 5188206"/>
              <a:gd name="connsiteY2" fmla="*/ 9409991 h 13481605"/>
              <a:gd name="connsiteX3" fmla="*/ 1140878 w 5188206"/>
              <a:gd name="connsiteY3" fmla="*/ 13481605 h 13481605"/>
              <a:gd name="connsiteX4" fmla="*/ 0 w 5188206"/>
              <a:gd name="connsiteY4" fmla="*/ 12347532 h 13481605"/>
              <a:gd name="connsiteX5" fmla="*/ 1 w 5188206"/>
              <a:gd name="connsiteY5" fmla="*/ 4901511 h 1348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8206" h="13481605">
                <a:moveTo>
                  <a:pt x="4872276" y="0"/>
                </a:moveTo>
                <a:lnTo>
                  <a:pt x="5188206" y="314046"/>
                </a:lnTo>
                <a:lnTo>
                  <a:pt x="5188206" y="9409991"/>
                </a:lnTo>
                <a:lnTo>
                  <a:pt x="1140878" y="13481605"/>
                </a:lnTo>
                <a:lnTo>
                  <a:pt x="0" y="12347532"/>
                </a:lnTo>
                <a:lnTo>
                  <a:pt x="1" y="4901511"/>
                </a:lnTo>
                <a:close/>
              </a:path>
            </a:pathLst>
          </a:custGeom>
          <a:solidFill>
            <a:schemeClr val="accent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pic>
        <p:nvPicPr>
          <p:cNvPr id="2" name="Picture 1">
            <a:extLst>
              <a:ext uri="{FF2B5EF4-FFF2-40B4-BE49-F238E27FC236}">
                <a16:creationId xmlns:a16="http://schemas.microsoft.com/office/drawing/2014/main" id="{206C027D-380B-4189-ADCD-4C61FF036C00}"/>
              </a:ext>
            </a:extLst>
          </p:cNvPr>
          <p:cNvPicPr>
            <a:picLocks noChangeAspect="1"/>
          </p:cNvPicPr>
          <p:nvPr userDrawn="1"/>
        </p:nvPicPr>
        <p:blipFill rotWithShape="1">
          <a:blip r:embed="rId2">
            <a:alphaModFix amt="29000"/>
            <a:extLst>
              <a:ext uri="{28A0092B-C50C-407E-A947-70E740481C1C}">
                <a14:useLocalDpi xmlns:a14="http://schemas.microsoft.com/office/drawing/2010/main" val="0"/>
              </a:ext>
            </a:extLst>
          </a:blip>
          <a:srcRect l="25587" t="29014" r="22468" b="1915"/>
          <a:stretch/>
        </p:blipFill>
        <p:spPr>
          <a:xfrm>
            <a:off x="7291763" y="1"/>
            <a:ext cx="4900239" cy="6858000"/>
          </a:xfrm>
          <a:prstGeom prst="rect">
            <a:avLst/>
          </a:prstGeom>
        </p:spPr>
      </p:pic>
      <p:pic>
        <p:nvPicPr>
          <p:cNvPr id="3" name="Picture 2">
            <a:extLst>
              <a:ext uri="{FF2B5EF4-FFF2-40B4-BE49-F238E27FC236}">
                <a16:creationId xmlns:a16="http://schemas.microsoft.com/office/drawing/2014/main" id="{CA200259-84FB-42E8-BC41-9E22E38BFFB8}"/>
              </a:ext>
            </a:extLst>
          </p:cNvPr>
          <p:cNvPicPr>
            <a:picLocks noChangeAspect="1"/>
          </p:cNvPicPr>
          <p:nvPr userDrawn="1"/>
        </p:nvPicPr>
        <p:blipFill rotWithShape="1">
          <a:blip r:embed="rId2">
            <a:alphaModFix amt="29000"/>
            <a:extLst>
              <a:ext uri="{28A0092B-C50C-407E-A947-70E740481C1C}">
                <a14:useLocalDpi xmlns:a14="http://schemas.microsoft.com/office/drawing/2010/main" val="0"/>
              </a:ext>
            </a:extLst>
          </a:blip>
          <a:srcRect l="59969" t="27510"/>
          <a:stretch/>
        </p:blipFill>
        <p:spPr>
          <a:xfrm>
            <a:off x="-147" y="0"/>
            <a:ext cx="3611440" cy="6904883"/>
          </a:xfrm>
          <a:prstGeom prst="rect">
            <a:avLst/>
          </a:prstGeom>
        </p:spPr>
      </p:pic>
      <p:sp>
        <p:nvSpPr>
          <p:cNvPr id="4" name="Freeform: Shape 3">
            <a:extLst>
              <a:ext uri="{FF2B5EF4-FFF2-40B4-BE49-F238E27FC236}">
                <a16:creationId xmlns:a16="http://schemas.microsoft.com/office/drawing/2014/main" id="{0363273D-08D0-4F61-9C43-8F313C85A4FB}"/>
              </a:ext>
            </a:extLst>
          </p:cNvPr>
          <p:cNvSpPr/>
          <p:nvPr userDrawn="1"/>
        </p:nvSpPr>
        <p:spPr>
          <a:xfrm rot="18917560">
            <a:off x="6757340" y="5310245"/>
            <a:ext cx="2184923" cy="719635"/>
          </a:xfrm>
          <a:custGeom>
            <a:avLst/>
            <a:gdLst>
              <a:gd name="connsiteX0" fmla="*/ 212221 w 2598991"/>
              <a:gd name="connsiteY0" fmla="*/ 705872 h 856013"/>
              <a:gd name="connsiteX1" fmla="*/ 212221 w 2598991"/>
              <a:gd name="connsiteY1" fmla="*/ 705873 h 856013"/>
              <a:gd name="connsiteX2" fmla="*/ 212221 w 2598991"/>
              <a:gd name="connsiteY2" fmla="*/ 705873 h 856013"/>
              <a:gd name="connsiteX3" fmla="*/ 0 w 2598991"/>
              <a:gd name="connsiteY3" fmla="*/ 150139 h 856013"/>
              <a:gd name="connsiteX4" fmla="*/ 0 w 2598991"/>
              <a:gd name="connsiteY4" fmla="*/ 150139 h 856013"/>
              <a:gd name="connsiteX5" fmla="*/ 0 w 2598991"/>
              <a:gd name="connsiteY5" fmla="*/ 150140 h 856013"/>
              <a:gd name="connsiteX6" fmla="*/ 150140 w 2598991"/>
              <a:gd name="connsiteY6" fmla="*/ 0 h 856013"/>
              <a:gd name="connsiteX7" fmla="*/ 1824103 w 2598991"/>
              <a:gd name="connsiteY7" fmla="*/ 0 h 856013"/>
              <a:gd name="connsiteX8" fmla="*/ 1974243 w 2598991"/>
              <a:gd name="connsiteY8" fmla="*/ 150140 h 856013"/>
              <a:gd name="connsiteX9" fmla="*/ 1974242 w 2598991"/>
              <a:gd name="connsiteY9" fmla="*/ 150140 h 856013"/>
              <a:gd name="connsiteX10" fmla="*/ 1930267 w 2598991"/>
              <a:gd name="connsiteY10" fmla="*/ 256305 h 856013"/>
              <a:gd name="connsiteX11" fmla="*/ 1894334 w 2598991"/>
              <a:gd name="connsiteY11" fmla="*/ 280532 h 856013"/>
              <a:gd name="connsiteX12" fmla="*/ 2457031 w 2598991"/>
              <a:gd name="connsiteY12" fmla="*/ 280532 h 856013"/>
              <a:gd name="connsiteX13" fmla="*/ 2598991 w 2598991"/>
              <a:gd name="connsiteY13" fmla="*/ 422492 h 856013"/>
              <a:gd name="connsiteX14" fmla="*/ 2598990 w 2598991"/>
              <a:gd name="connsiteY14" fmla="*/ 422492 h 856013"/>
              <a:gd name="connsiteX15" fmla="*/ 2457030 w 2598991"/>
              <a:gd name="connsiteY15" fmla="*/ 564452 h 856013"/>
              <a:gd name="connsiteX16" fmla="*/ 2079510 w 2598991"/>
              <a:gd name="connsiteY16" fmla="*/ 564452 h 856013"/>
              <a:gd name="connsiteX17" fmla="*/ 2094765 w 2598991"/>
              <a:gd name="connsiteY17" fmla="*/ 567532 h 856013"/>
              <a:gd name="connsiteX18" fmla="*/ 2186464 w 2598991"/>
              <a:gd name="connsiteY18" fmla="*/ 705873 h 856013"/>
              <a:gd name="connsiteX19" fmla="*/ 2186463 w 2598991"/>
              <a:gd name="connsiteY19" fmla="*/ 705873 h 856013"/>
              <a:gd name="connsiteX20" fmla="*/ 2036323 w 2598991"/>
              <a:gd name="connsiteY20" fmla="*/ 856013 h 856013"/>
              <a:gd name="connsiteX21" fmla="*/ 362361 w 2598991"/>
              <a:gd name="connsiteY21" fmla="*/ 856012 h 856013"/>
              <a:gd name="connsiteX22" fmla="*/ 224020 w 2598991"/>
              <a:gd name="connsiteY22" fmla="*/ 764313 h 856013"/>
              <a:gd name="connsiteX23" fmla="*/ 212221 w 2598991"/>
              <a:gd name="connsiteY23" fmla="*/ 705873 h 856013"/>
              <a:gd name="connsiteX24" fmla="*/ 224020 w 2598991"/>
              <a:gd name="connsiteY24" fmla="*/ 647432 h 856013"/>
              <a:gd name="connsiteX25" fmla="*/ 362361 w 2598991"/>
              <a:gd name="connsiteY25" fmla="*/ 555733 h 856013"/>
              <a:gd name="connsiteX26" fmla="*/ 469765 w 2598991"/>
              <a:gd name="connsiteY26" fmla="*/ 555733 h 856013"/>
              <a:gd name="connsiteX27" fmla="*/ 480117 w 2598991"/>
              <a:gd name="connsiteY27" fmla="*/ 553643 h 856013"/>
              <a:gd name="connsiteX28" fmla="*/ 566820 w 2598991"/>
              <a:gd name="connsiteY28" fmla="*/ 422839 h 856013"/>
              <a:gd name="connsiteX29" fmla="*/ 566821 w 2598991"/>
              <a:gd name="connsiteY29" fmla="*/ 422839 h 856013"/>
              <a:gd name="connsiteX30" fmla="*/ 515161 w 2598991"/>
              <a:gd name="connsiteY30" fmla="*/ 313296 h 856013"/>
              <a:gd name="connsiteX31" fmla="*/ 493706 w 2598991"/>
              <a:gd name="connsiteY31" fmla="*/ 300279 h 856013"/>
              <a:gd name="connsiteX32" fmla="*/ 150140 w 2598991"/>
              <a:gd name="connsiteY32" fmla="*/ 300279 h 856013"/>
              <a:gd name="connsiteX33" fmla="*/ 11799 w 2598991"/>
              <a:gd name="connsiteY33" fmla="*/ 208580 h 856013"/>
              <a:gd name="connsiteX34" fmla="*/ 0 w 2598991"/>
              <a:gd name="connsiteY34" fmla="*/ 150139 h 856013"/>
              <a:gd name="connsiteX35" fmla="*/ 11799 w 2598991"/>
              <a:gd name="connsiteY35" fmla="*/ 91699 h 856013"/>
              <a:gd name="connsiteX36" fmla="*/ 150140 w 2598991"/>
              <a:gd name="connsiteY36" fmla="*/ 0 h 85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98991" h="856013">
                <a:moveTo>
                  <a:pt x="212221" y="705872"/>
                </a:moveTo>
                <a:lnTo>
                  <a:pt x="212221" y="705873"/>
                </a:lnTo>
                <a:lnTo>
                  <a:pt x="212221" y="705873"/>
                </a:lnTo>
                <a:close/>
                <a:moveTo>
                  <a:pt x="0" y="150139"/>
                </a:moveTo>
                <a:lnTo>
                  <a:pt x="0" y="150139"/>
                </a:lnTo>
                <a:lnTo>
                  <a:pt x="0" y="150140"/>
                </a:lnTo>
                <a:close/>
                <a:moveTo>
                  <a:pt x="150140" y="0"/>
                </a:moveTo>
                <a:lnTo>
                  <a:pt x="1824103" y="0"/>
                </a:lnTo>
                <a:cubicBezTo>
                  <a:pt x="1907023" y="0"/>
                  <a:pt x="1974243" y="67220"/>
                  <a:pt x="1974243" y="150140"/>
                </a:cubicBezTo>
                <a:lnTo>
                  <a:pt x="1974242" y="150140"/>
                </a:lnTo>
                <a:cubicBezTo>
                  <a:pt x="1974242" y="191600"/>
                  <a:pt x="1957437" y="229135"/>
                  <a:pt x="1930267" y="256305"/>
                </a:cubicBezTo>
                <a:lnTo>
                  <a:pt x="1894334" y="280532"/>
                </a:lnTo>
                <a:lnTo>
                  <a:pt x="2457031" y="280532"/>
                </a:lnTo>
                <a:cubicBezTo>
                  <a:pt x="2535433" y="280532"/>
                  <a:pt x="2598991" y="344090"/>
                  <a:pt x="2598991" y="422492"/>
                </a:cubicBezTo>
                <a:lnTo>
                  <a:pt x="2598990" y="422492"/>
                </a:lnTo>
                <a:cubicBezTo>
                  <a:pt x="2598990" y="500894"/>
                  <a:pt x="2535432" y="564452"/>
                  <a:pt x="2457030" y="564452"/>
                </a:cubicBezTo>
                <a:lnTo>
                  <a:pt x="2079510" y="564452"/>
                </a:lnTo>
                <a:lnTo>
                  <a:pt x="2094765" y="567532"/>
                </a:lnTo>
                <a:cubicBezTo>
                  <a:pt x="2148653" y="590324"/>
                  <a:pt x="2186464" y="643683"/>
                  <a:pt x="2186464" y="705873"/>
                </a:cubicBezTo>
                <a:lnTo>
                  <a:pt x="2186463" y="705873"/>
                </a:lnTo>
                <a:cubicBezTo>
                  <a:pt x="2186463" y="788793"/>
                  <a:pt x="2119243" y="856013"/>
                  <a:pt x="2036323" y="856013"/>
                </a:cubicBezTo>
                <a:lnTo>
                  <a:pt x="362361" y="856012"/>
                </a:lnTo>
                <a:cubicBezTo>
                  <a:pt x="300171" y="856012"/>
                  <a:pt x="246812" y="818201"/>
                  <a:pt x="224020" y="764313"/>
                </a:cubicBezTo>
                <a:lnTo>
                  <a:pt x="212221" y="705873"/>
                </a:lnTo>
                <a:lnTo>
                  <a:pt x="224020" y="647432"/>
                </a:lnTo>
                <a:cubicBezTo>
                  <a:pt x="246812" y="593544"/>
                  <a:pt x="300171" y="555733"/>
                  <a:pt x="362361" y="555733"/>
                </a:cubicBezTo>
                <a:lnTo>
                  <a:pt x="469765" y="555733"/>
                </a:lnTo>
                <a:lnTo>
                  <a:pt x="480117" y="553643"/>
                </a:lnTo>
                <a:cubicBezTo>
                  <a:pt x="531069" y="532092"/>
                  <a:pt x="566820" y="481641"/>
                  <a:pt x="566820" y="422839"/>
                </a:cubicBezTo>
                <a:lnTo>
                  <a:pt x="566821" y="422839"/>
                </a:lnTo>
                <a:cubicBezTo>
                  <a:pt x="566821" y="378738"/>
                  <a:pt x="546711" y="339334"/>
                  <a:pt x="515161" y="313296"/>
                </a:cubicBezTo>
                <a:lnTo>
                  <a:pt x="493706" y="300279"/>
                </a:lnTo>
                <a:lnTo>
                  <a:pt x="150140" y="300279"/>
                </a:lnTo>
                <a:cubicBezTo>
                  <a:pt x="87950" y="300279"/>
                  <a:pt x="34591" y="262468"/>
                  <a:pt x="11799" y="208580"/>
                </a:cubicBezTo>
                <a:lnTo>
                  <a:pt x="0" y="150139"/>
                </a:lnTo>
                <a:lnTo>
                  <a:pt x="11799" y="91699"/>
                </a:lnTo>
                <a:cubicBezTo>
                  <a:pt x="34591" y="37811"/>
                  <a:pt x="87950" y="0"/>
                  <a:pt x="150140" y="0"/>
                </a:cubicBezTo>
                <a:close/>
              </a:path>
            </a:pathLst>
          </a:custGeom>
          <a:solidFill>
            <a:schemeClr val="accent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5" name="Freeform: Shape 4">
            <a:extLst>
              <a:ext uri="{FF2B5EF4-FFF2-40B4-BE49-F238E27FC236}">
                <a16:creationId xmlns:a16="http://schemas.microsoft.com/office/drawing/2014/main" id="{8F144AE0-43B5-4072-B84A-2621F7237F1E}"/>
              </a:ext>
            </a:extLst>
          </p:cNvPr>
          <p:cNvSpPr/>
          <p:nvPr userDrawn="1"/>
        </p:nvSpPr>
        <p:spPr>
          <a:xfrm rot="18917560">
            <a:off x="2315319" y="657620"/>
            <a:ext cx="2184923" cy="719635"/>
          </a:xfrm>
          <a:custGeom>
            <a:avLst/>
            <a:gdLst>
              <a:gd name="connsiteX0" fmla="*/ 212221 w 2598991"/>
              <a:gd name="connsiteY0" fmla="*/ 705872 h 856013"/>
              <a:gd name="connsiteX1" fmla="*/ 212221 w 2598991"/>
              <a:gd name="connsiteY1" fmla="*/ 705873 h 856013"/>
              <a:gd name="connsiteX2" fmla="*/ 212221 w 2598991"/>
              <a:gd name="connsiteY2" fmla="*/ 705873 h 856013"/>
              <a:gd name="connsiteX3" fmla="*/ 0 w 2598991"/>
              <a:gd name="connsiteY3" fmla="*/ 150139 h 856013"/>
              <a:gd name="connsiteX4" fmla="*/ 0 w 2598991"/>
              <a:gd name="connsiteY4" fmla="*/ 150139 h 856013"/>
              <a:gd name="connsiteX5" fmla="*/ 0 w 2598991"/>
              <a:gd name="connsiteY5" fmla="*/ 150140 h 856013"/>
              <a:gd name="connsiteX6" fmla="*/ 150140 w 2598991"/>
              <a:gd name="connsiteY6" fmla="*/ 0 h 856013"/>
              <a:gd name="connsiteX7" fmla="*/ 1824103 w 2598991"/>
              <a:gd name="connsiteY7" fmla="*/ 0 h 856013"/>
              <a:gd name="connsiteX8" fmla="*/ 1974243 w 2598991"/>
              <a:gd name="connsiteY8" fmla="*/ 150140 h 856013"/>
              <a:gd name="connsiteX9" fmla="*/ 1974242 w 2598991"/>
              <a:gd name="connsiteY9" fmla="*/ 150140 h 856013"/>
              <a:gd name="connsiteX10" fmla="*/ 1930267 w 2598991"/>
              <a:gd name="connsiteY10" fmla="*/ 256305 h 856013"/>
              <a:gd name="connsiteX11" fmla="*/ 1894334 w 2598991"/>
              <a:gd name="connsiteY11" fmla="*/ 280532 h 856013"/>
              <a:gd name="connsiteX12" fmla="*/ 2457031 w 2598991"/>
              <a:gd name="connsiteY12" fmla="*/ 280532 h 856013"/>
              <a:gd name="connsiteX13" fmla="*/ 2598991 w 2598991"/>
              <a:gd name="connsiteY13" fmla="*/ 422492 h 856013"/>
              <a:gd name="connsiteX14" fmla="*/ 2598990 w 2598991"/>
              <a:gd name="connsiteY14" fmla="*/ 422492 h 856013"/>
              <a:gd name="connsiteX15" fmla="*/ 2457030 w 2598991"/>
              <a:gd name="connsiteY15" fmla="*/ 564452 h 856013"/>
              <a:gd name="connsiteX16" fmla="*/ 2079510 w 2598991"/>
              <a:gd name="connsiteY16" fmla="*/ 564452 h 856013"/>
              <a:gd name="connsiteX17" fmla="*/ 2094765 w 2598991"/>
              <a:gd name="connsiteY17" fmla="*/ 567532 h 856013"/>
              <a:gd name="connsiteX18" fmla="*/ 2186464 w 2598991"/>
              <a:gd name="connsiteY18" fmla="*/ 705873 h 856013"/>
              <a:gd name="connsiteX19" fmla="*/ 2186463 w 2598991"/>
              <a:gd name="connsiteY19" fmla="*/ 705873 h 856013"/>
              <a:gd name="connsiteX20" fmla="*/ 2036323 w 2598991"/>
              <a:gd name="connsiteY20" fmla="*/ 856013 h 856013"/>
              <a:gd name="connsiteX21" fmla="*/ 362361 w 2598991"/>
              <a:gd name="connsiteY21" fmla="*/ 856012 h 856013"/>
              <a:gd name="connsiteX22" fmla="*/ 224020 w 2598991"/>
              <a:gd name="connsiteY22" fmla="*/ 764313 h 856013"/>
              <a:gd name="connsiteX23" fmla="*/ 212221 w 2598991"/>
              <a:gd name="connsiteY23" fmla="*/ 705873 h 856013"/>
              <a:gd name="connsiteX24" fmla="*/ 224020 w 2598991"/>
              <a:gd name="connsiteY24" fmla="*/ 647432 h 856013"/>
              <a:gd name="connsiteX25" fmla="*/ 362361 w 2598991"/>
              <a:gd name="connsiteY25" fmla="*/ 555733 h 856013"/>
              <a:gd name="connsiteX26" fmla="*/ 469765 w 2598991"/>
              <a:gd name="connsiteY26" fmla="*/ 555733 h 856013"/>
              <a:gd name="connsiteX27" fmla="*/ 480117 w 2598991"/>
              <a:gd name="connsiteY27" fmla="*/ 553643 h 856013"/>
              <a:gd name="connsiteX28" fmla="*/ 566820 w 2598991"/>
              <a:gd name="connsiteY28" fmla="*/ 422839 h 856013"/>
              <a:gd name="connsiteX29" fmla="*/ 566821 w 2598991"/>
              <a:gd name="connsiteY29" fmla="*/ 422839 h 856013"/>
              <a:gd name="connsiteX30" fmla="*/ 515161 w 2598991"/>
              <a:gd name="connsiteY30" fmla="*/ 313296 h 856013"/>
              <a:gd name="connsiteX31" fmla="*/ 493706 w 2598991"/>
              <a:gd name="connsiteY31" fmla="*/ 300279 h 856013"/>
              <a:gd name="connsiteX32" fmla="*/ 150140 w 2598991"/>
              <a:gd name="connsiteY32" fmla="*/ 300279 h 856013"/>
              <a:gd name="connsiteX33" fmla="*/ 11799 w 2598991"/>
              <a:gd name="connsiteY33" fmla="*/ 208580 h 856013"/>
              <a:gd name="connsiteX34" fmla="*/ 0 w 2598991"/>
              <a:gd name="connsiteY34" fmla="*/ 150139 h 856013"/>
              <a:gd name="connsiteX35" fmla="*/ 11799 w 2598991"/>
              <a:gd name="connsiteY35" fmla="*/ 91699 h 856013"/>
              <a:gd name="connsiteX36" fmla="*/ 150140 w 2598991"/>
              <a:gd name="connsiteY36" fmla="*/ 0 h 85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98991" h="856013">
                <a:moveTo>
                  <a:pt x="212221" y="705872"/>
                </a:moveTo>
                <a:lnTo>
                  <a:pt x="212221" y="705873"/>
                </a:lnTo>
                <a:lnTo>
                  <a:pt x="212221" y="705873"/>
                </a:lnTo>
                <a:close/>
                <a:moveTo>
                  <a:pt x="0" y="150139"/>
                </a:moveTo>
                <a:lnTo>
                  <a:pt x="0" y="150139"/>
                </a:lnTo>
                <a:lnTo>
                  <a:pt x="0" y="150140"/>
                </a:lnTo>
                <a:close/>
                <a:moveTo>
                  <a:pt x="150140" y="0"/>
                </a:moveTo>
                <a:lnTo>
                  <a:pt x="1824103" y="0"/>
                </a:lnTo>
                <a:cubicBezTo>
                  <a:pt x="1907023" y="0"/>
                  <a:pt x="1974243" y="67220"/>
                  <a:pt x="1974243" y="150140"/>
                </a:cubicBezTo>
                <a:lnTo>
                  <a:pt x="1974242" y="150140"/>
                </a:lnTo>
                <a:cubicBezTo>
                  <a:pt x="1974242" y="191600"/>
                  <a:pt x="1957437" y="229135"/>
                  <a:pt x="1930267" y="256305"/>
                </a:cubicBezTo>
                <a:lnTo>
                  <a:pt x="1894334" y="280532"/>
                </a:lnTo>
                <a:lnTo>
                  <a:pt x="2457031" y="280532"/>
                </a:lnTo>
                <a:cubicBezTo>
                  <a:pt x="2535433" y="280532"/>
                  <a:pt x="2598991" y="344090"/>
                  <a:pt x="2598991" y="422492"/>
                </a:cubicBezTo>
                <a:lnTo>
                  <a:pt x="2598990" y="422492"/>
                </a:lnTo>
                <a:cubicBezTo>
                  <a:pt x="2598990" y="500894"/>
                  <a:pt x="2535432" y="564452"/>
                  <a:pt x="2457030" y="564452"/>
                </a:cubicBezTo>
                <a:lnTo>
                  <a:pt x="2079510" y="564452"/>
                </a:lnTo>
                <a:lnTo>
                  <a:pt x="2094765" y="567532"/>
                </a:lnTo>
                <a:cubicBezTo>
                  <a:pt x="2148653" y="590324"/>
                  <a:pt x="2186464" y="643683"/>
                  <a:pt x="2186464" y="705873"/>
                </a:cubicBezTo>
                <a:lnTo>
                  <a:pt x="2186463" y="705873"/>
                </a:lnTo>
                <a:cubicBezTo>
                  <a:pt x="2186463" y="788793"/>
                  <a:pt x="2119243" y="856013"/>
                  <a:pt x="2036323" y="856013"/>
                </a:cubicBezTo>
                <a:lnTo>
                  <a:pt x="362361" y="856012"/>
                </a:lnTo>
                <a:cubicBezTo>
                  <a:pt x="300171" y="856012"/>
                  <a:pt x="246812" y="818201"/>
                  <a:pt x="224020" y="764313"/>
                </a:cubicBezTo>
                <a:lnTo>
                  <a:pt x="212221" y="705873"/>
                </a:lnTo>
                <a:lnTo>
                  <a:pt x="224020" y="647432"/>
                </a:lnTo>
                <a:cubicBezTo>
                  <a:pt x="246812" y="593544"/>
                  <a:pt x="300171" y="555733"/>
                  <a:pt x="362361" y="555733"/>
                </a:cubicBezTo>
                <a:lnTo>
                  <a:pt x="469765" y="555733"/>
                </a:lnTo>
                <a:lnTo>
                  <a:pt x="480117" y="553643"/>
                </a:lnTo>
                <a:cubicBezTo>
                  <a:pt x="531069" y="532092"/>
                  <a:pt x="566820" y="481641"/>
                  <a:pt x="566820" y="422839"/>
                </a:cubicBezTo>
                <a:lnTo>
                  <a:pt x="566821" y="422839"/>
                </a:lnTo>
                <a:cubicBezTo>
                  <a:pt x="566821" y="378738"/>
                  <a:pt x="546711" y="339334"/>
                  <a:pt x="515161" y="313296"/>
                </a:cubicBezTo>
                <a:lnTo>
                  <a:pt x="493706" y="300279"/>
                </a:lnTo>
                <a:lnTo>
                  <a:pt x="150140" y="300279"/>
                </a:lnTo>
                <a:cubicBezTo>
                  <a:pt x="87950" y="300279"/>
                  <a:pt x="34591" y="262468"/>
                  <a:pt x="11799" y="208580"/>
                </a:cubicBezTo>
                <a:lnTo>
                  <a:pt x="0" y="150139"/>
                </a:lnTo>
                <a:lnTo>
                  <a:pt x="11799" y="91699"/>
                </a:lnTo>
                <a:cubicBezTo>
                  <a:pt x="34591" y="37811"/>
                  <a:pt x="87950" y="0"/>
                  <a:pt x="150140" y="0"/>
                </a:cubicBezTo>
                <a:close/>
              </a:path>
            </a:pathLst>
          </a:custGeom>
          <a:solidFill>
            <a:schemeClr val="accent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6" name="Rectangle: Rounded Corners 5">
            <a:extLst>
              <a:ext uri="{FF2B5EF4-FFF2-40B4-BE49-F238E27FC236}">
                <a16:creationId xmlns:a16="http://schemas.microsoft.com/office/drawing/2014/main" id="{4F73E14A-31CD-46CC-9655-417F344E964D}"/>
              </a:ext>
            </a:extLst>
          </p:cNvPr>
          <p:cNvSpPr/>
          <p:nvPr userDrawn="1"/>
        </p:nvSpPr>
        <p:spPr>
          <a:xfrm rot="18900000">
            <a:off x="3249097" y="3545174"/>
            <a:ext cx="898779" cy="18823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7" name="Rectangle: Rounded Corners 6">
            <a:extLst>
              <a:ext uri="{FF2B5EF4-FFF2-40B4-BE49-F238E27FC236}">
                <a16:creationId xmlns:a16="http://schemas.microsoft.com/office/drawing/2014/main" id="{7B359B05-6AC3-460B-AADD-EF4FE88E5E15}"/>
              </a:ext>
            </a:extLst>
          </p:cNvPr>
          <p:cNvSpPr/>
          <p:nvPr userDrawn="1"/>
        </p:nvSpPr>
        <p:spPr>
          <a:xfrm rot="18900000">
            <a:off x="3933048" y="3402148"/>
            <a:ext cx="471088" cy="9866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8" name="Cross 7">
            <a:extLst>
              <a:ext uri="{FF2B5EF4-FFF2-40B4-BE49-F238E27FC236}">
                <a16:creationId xmlns:a16="http://schemas.microsoft.com/office/drawing/2014/main" id="{01AE4C7D-0581-4EF7-B01A-57774F1B5217}"/>
              </a:ext>
            </a:extLst>
          </p:cNvPr>
          <p:cNvSpPr/>
          <p:nvPr userDrawn="1"/>
        </p:nvSpPr>
        <p:spPr>
          <a:xfrm>
            <a:off x="8690531" y="3132960"/>
            <a:ext cx="296040" cy="296040"/>
          </a:xfrm>
          <a:prstGeom prst="plus">
            <a:avLst>
              <a:gd name="adj" fmla="val 437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9" name="Cross 8">
            <a:extLst>
              <a:ext uri="{FF2B5EF4-FFF2-40B4-BE49-F238E27FC236}">
                <a16:creationId xmlns:a16="http://schemas.microsoft.com/office/drawing/2014/main" id="{E15BDB5E-8F00-405C-BB7A-30DEF75B5163}"/>
              </a:ext>
            </a:extLst>
          </p:cNvPr>
          <p:cNvSpPr/>
          <p:nvPr userDrawn="1"/>
        </p:nvSpPr>
        <p:spPr>
          <a:xfrm rot="1642289">
            <a:off x="1982541" y="4138539"/>
            <a:ext cx="296040" cy="296040"/>
          </a:xfrm>
          <a:prstGeom prst="plus">
            <a:avLst>
              <a:gd name="adj" fmla="val 437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0" name="Isosceles Triangle 9">
            <a:extLst>
              <a:ext uri="{FF2B5EF4-FFF2-40B4-BE49-F238E27FC236}">
                <a16:creationId xmlns:a16="http://schemas.microsoft.com/office/drawing/2014/main" id="{DEAC9489-BCB7-4E3A-A896-B35B3A48F178}"/>
              </a:ext>
            </a:extLst>
          </p:cNvPr>
          <p:cNvSpPr/>
          <p:nvPr userDrawn="1"/>
        </p:nvSpPr>
        <p:spPr>
          <a:xfrm rot="12056913">
            <a:off x="5363427" y="5089804"/>
            <a:ext cx="251203" cy="216553"/>
          </a:xfrm>
          <a:prstGeom prst="triangl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1" name="Isosceles Triangle 10">
            <a:extLst>
              <a:ext uri="{FF2B5EF4-FFF2-40B4-BE49-F238E27FC236}">
                <a16:creationId xmlns:a16="http://schemas.microsoft.com/office/drawing/2014/main" id="{6B27FEF4-8DD6-4FAC-9895-F6E35C1DA54A}"/>
              </a:ext>
            </a:extLst>
          </p:cNvPr>
          <p:cNvSpPr/>
          <p:nvPr userDrawn="1"/>
        </p:nvSpPr>
        <p:spPr>
          <a:xfrm rot="12056913">
            <a:off x="8103105" y="591385"/>
            <a:ext cx="251203" cy="216553"/>
          </a:xfrm>
          <a:prstGeom prst="triangl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2" name="Oval 11">
            <a:extLst>
              <a:ext uri="{FF2B5EF4-FFF2-40B4-BE49-F238E27FC236}">
                <a16:creationId xmlns:a16="http://schemas.microsoft.com/office/drawing/2014/main" id="{14D70D1D-AA00-4B06-A452-6DFDE7FFF4E9}"/>
              </a:ext>
            </a:extLst>
          </p:cNvPr>
          <p:cNvSpPr/>
          <p:nvPr userDrawn="1"/>
        </p:nvSpPr>
        <p:spPr>
          <a:xfrm>
            <a:off x="3621419" y="2170599"/>
            <a:ext cx="213463" cy="213463"/>
          </a:xfrm>
          <a:prstGeom prst="ellips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3" name="Oval 12">
            <a:extLst>
              <a:ext uri="{FF2B5EF4-FFF2-40B4-BE49-F238E27FC236}">
                <a16:creationId xmlns:a16="http://schemas.microsoft.com/office/drawing/2014/main" id="{85D1B683-76F6-46BE-9D4C-38ADA1B32309}"/>
              </a:ext>
            </a:extLst>
          </p:cNvPr>
          <p:cNvSpPr/>
          <p:nvPr userDrawn="1"/>
        </p:nvSpPr>
        <p:spPr>
          <a:xfrm>
            <a:off x="10794551" y="1222469"/>
            <a:ext cx="213463" cy="213463"/>
          </a:xfrm>
          <a:prstGeom prst="ellips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5" name="Rectangle: Rounded Corners 14">
            <a:extLst>
              <a:ext uri="{FF2B5EF4-FFF2-40B4-BE49-F238E27FC236}">
                <a16:creationId xmlns:a16="http://schemas.microsoft.com/office/drawing/2014/main" id="{0B4C9FD5-DF32-4DAC-8E2E-373DFB75D439}"/>
              </a:ext>
            </a:extLst>
          </p:cNvPr>
          <p:cNvSpPr/>
          <p:nvPr userDrawn="1"/>
        </p:nvSpPr>
        <p:spPr>
          <a:xfrm rot="18900000">
            <a:off x="7806765" y="2002512"/>
            <a:ext cx="898779" cy="18823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6" name="Rectangle: Rounded Corners 15">
            <a:extLst>
              <a:ext uri="{FF2B5EF4-FFF2-40B4-BE49-F238E27FC236}">
                <a16:creationId xmlns:a16="http://schemas.microsoft.com/office/drawing/2014/main" id="{94E87BE3-6EEF-461A-BBF4-750890F3D4AF}"/>
              </a:ext>
            </a:extLst>
          </p:cNvPr>
          <p:cNvSpPr/>
          <p:nvPr userDrawn="1"/>
        </p:nvSpPr>
        <p:spPr>
          <a:xfrm rot="18900000">
            <a:off x="8490717" y="1859485"/>
            <a:ext cx="471088" cy="9866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Tree>
    <p:extLst>
      <p:ext uri="{BB962C8B-B14F-4D97-AF65-F5344CB8AC3E}">
        <p14:creationId xmlns:p14="http://schemas.microsoft.com/office/powerpoint/2010/main" val="2113912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1" y="287261"/>
            <a:ext cx="12192000" cy="724247"/>
          </a:xfrm>
          <a:prstGeom prst="rect">
            <a:avLst/>
          </a:prstGeom>
        </p:spPr>
        <p:txBody>
          <a:bodyPr anchor="ctr"/>
          <a:lstStyle>
            <a:lvl1pPr marL="0" indent="0" algn="ctr">
              <a:buNone/>
              <a:defRPr sz="5397" b="0" baseline="0">
                <a:solidFill>
                  <a:schemeClr val="tx1">
                    <a:lumMod val="85000"/>
                    <a:lumOff val="15000"/>
                  </a:schemeClr>
                </a:solidFill>
                <a:latin typeface="+mj-lt"/>
                <a:cs typeface="Arial" pitchFamily="34" charset="0"/>
              </a:defRPr>
            </a:lvl1pPr>
          </a:lstStyle>
          <a:p>
            <a:pPr lvl="0"/>
            <a:r>
              <a:rPr lang="en-US" altLang="ko-KR" dirty="0"/>
              <a:t>BASIC LAYOUT</a:t>
            </a:r>
          </a:p>
        </p:txBody>
      </p:sp>
      <p:grpSp>
        <p:nvGrpSpPr>
          <p:cNvPr id="6" name="Group 5">
            <a:extLst>
              <a:ext uri="{FF2B5EF4-FFF2-40B4-BE49-F238E27FC236}">
                <a16:creationId xmlns:a16="http://schemas.microsoft.com/office/drawing/2014/main" id="{39E32B89-F037-40D0-AF12-764A7C2FA486}"/>
              </a:ext>
            </a:extLst>
          </p:cNvPr>
          <p:cNvGrpSpPr/>
          <p:nvPr userDrawn="1"/>
        </p:nvGrpSpPr>
        <p:grpSpPr>
          <a:xfrm>
            <a:off x="-9524" y="6378431"/>
            <a:ext cx="12280605" cy="489096"/>
            <a:chOff x="-10633" y="6411432"/>
            <a:chExt cx="11109042" cy="446567"/>
          </a:xfrm>
        </p:grpSpPr>
        <p:sp>
          <p:nvSpPr>
            <p:cNvPr id="7" name="Graphic 41">
              <a:extLst>
                <a:ext uri="{FF2B5EF4-FFF2-40B4-BE49-F238E27FC236}">
                  <a16:creationId xmlns:a16="http://schemas.microsoft.com/office/drawing/2014/main" id="{3BC4C72F-286E-4B83-A4A4-AD0BA626627E}"/>
                </a:ext>
              </a:extLst>
            </p:cNvPr>
            <p:cNvSpPr/>
            <p:nvPr userDrawn="1"/>
          </p:nvSpPr>
          <p:spPr>
            <a:xfrm>
              <a:off x="-10633" y="6411432"/>
              <a:ext cx="5608465" cy="446567"/>
            </a:xfrm>
            <a:custGeom>
              <a:avLst/>
              <a:gdLst>
                <a:gd name="connsiteX0" fmla="*/ 7144 w 6400800"/>
                <a:gd name="connsiteY0" fmla="*/ 511016 h 514350"/>
                <a:gd name="connsiteX1" fmla="*/ 6354604 w 6400800"/>
                <a:gd name="connsiteY1" fmla="*/ 511016 h 514350"/>
                <a:gd name="connsiteX2" fmla="*/ 6354604 w 6400800"/>
                <a:gd name="connsiteY2" fmla="*/ 409099 h 514350"/>
                <a:gd name="connsiteX3" fmla="*/ 6327934 w 6400800"/>
                <a:gd name="connsiteY3" fmla="*/ 415766 h 514350"/>
                <a:gd name="connsiteX4" fmla="*/ 6327934 w 6400800"/>
                <a:gd name="connsiteY4" fmla="*/ 404336 h 514350"/>
                <a:gd name="connsiteX5" fmla="*/ 6328887 w 6400800"/>
                <a:gd name="connsiteY5" fmla="*/ 383381 h 514350"/>
                <a:gd name="connsiteX6" fmla="*/ 6329839 w 6400800"/>
                <a:gd name="connsiteY6" fmla="*/ 365284 h 514350"/>
                <a:gd name="connsiteX7" fmla="*/ 6324124 w 6400800"/>
                <a:gd name="connsiteY7" fmla="*/ 383381 h 514350"/>
                <a:gd name="connsiteX8" fmla="*/ 6319362 w 6400800"/>
                <a:gd name="connsiteY8" fmla="*/ 404336 h 514350"/>
                <a:gd name="connsiteX9" fmla="*/ 6316504 w 6400800"/>
                <a:gd name="connsiteY9" fmla="*/ 419576 h 514350"/>
                <a:gd name="connsiteX10" fmla="*/ 6303169 w 6400800"/>
                <a:gd name="connsiteY10" fmla="*/ 423386 h 514350"/>
                <a:gd name="connsiteX11" fmla="*/ 6304121 w 6400800"/>
                <a:gd name="connsiteY11" fmla="*/ 405289 h 514350"/>
                <a:gd name="connsiteX12" fmla="*/ 6319362 w 6400800"/>
                <a:gd name="connsiteY12" fmla="*/ 358616 h 514350"/>
                <a:gd name="connsiteX13" fmla="*/ 6322219 w 6400800"/>
                <a:gd name="connsiteY13" fmla="*/ 349091 h 514350"/>
                <a:gd name="connsiteX14" fmla="*/ 6334601 w 6400800"/>
                <a:gd name="connsiteY14" fmla="*/ 312896 h 514350"/>
                <a:gd name="connsiteX15" fmla="*/ 6349842 w 6400800"/>
                <a:gd name="connsiteY15" fmla="*/ 269081 h 514350"/>
                <a:gd name="connsiteX16" fmla="*/ 6363176 w 6400800"/>
                <a:gd name="connsiteY16" fmla="*/ 228124 h 514350"/>
                <a:gd name="connsiteX17" fmla="*/ 6375559 w 6400800"/>
                <a:gd name="connsiteY17" fmla="*/ 190976 h 514350"/>
                <a:gd name="connsiteX18" fmla="*/ 6393656 w 6400800"/>
                <a:gd name="connsiteY18" fmla="*/ 134779 h 514350"/>
                <a:gd name="connsiteX19" fmla="*/ 6400324 w 6400800"/>
                <a:gd name="connsiteY19" fmla="*/ 113824 h 514350"/>
                <a:gd name="connsiteX20" fmla="*/ 6389846 w 6400800"/>
                <a:gd name="connsiteY20" fmla="*/ 133826 h 514350"/>
                <a:gd name="connsiteX21" fmla="*/ 6380321 w 6400800"/>
                <a:gd name="connsiteY21" fmla="*/ 153829 h 514350"/>
                <a:gd name="connsiteX22" fmla="*/ 6392704 w 6400800"/>
                <a:gd name="connsiteY22" fmla="*/ 110966 h 514350"/>
                <a:gd name="connsiteX23" fmla="*/ 6399371 w 6400800"/>
                <a:gd name="connsiteY23" fmla="*/ 87154 h 514350"/>
                <a:gd name="connsiteX24" fmla="*/ 6388894 w 6400800"/>
                <a:gd name="connsiteY24" fmla="*/ 109061 h 514350"/>
                <a:gd name="connsiteX25" fmla="*/ 6377464 w 6400800"/>
                <a:gd name="connsiteY25" fmla="*/ 134779 h 514350"/>
                <a:gd name="connsiteX26" fmla="*/ 6364129 w 6400800"/>
                <a:gd name="connsiteY26" fmla="*/ 168116 h 514350"/>
                <a:gd name="connsiteX27" fmla="*/ 6332696 w 6400800"/>
                <a:gd name="connsiteY27" fmla="*/ 253841 h 514350"/>
                <a:gd name="connsiteX28" fmla="*/ 6316504 w 6400800"/>
                <a:gd name="connsiteY28" fmla="*/ 302419 h 514350"/>
                <a:gd name="connsiteX29" fmla="*/ 6314599 w 6400800"/>
                <a:gd name="connsiteY29" fmla="*/ 308134 h 514350"/>
                <a:gd name="connsiteX30" fmla="*/ 6317456 w 6400800"/>
                <a:gd name="connsiteY30" fmla="*/ 287179 h 514350"/>
                <a:gd name="connsiteX31" fmla="*/ 6319362 w 6400800"/>
                <a:gd name="connsiteY31" fmla="*/ 267176 h 514350"/>
                <a:gd name="connsiteX32" fmla="*/ 6320314 w 6400800"/>
                <a:gd name="connsiteY32" fmla="*/ 250031 h 514350"/>
                <a:gd name="connsiteX33" fmla="*/ 6314599 w 6400800"/>
                <a:gd name="connsiteY33" fmla="*/ 266224 h 514350"/>
                <a:gd name="connsiteX34" fmla="*/ 6302217 w 6400800"/>
                <a:gd name="connsiteY34" fmla="*/ 310039 h 514350"/>
                <a:gd name="connsiteX35" fmla="*/ 6293644 w 6400800"/>
                <a:gd name="connsiteY35" fmla="*/ 339566 h 514350"/>
                <a:gd name="connsiteX36" fmla="*/ 6286976 w 6400800"/>
                <a:gd name="connsiteY36" fmla="*/ 362426 h 514350"/>
                <a:gd name="connsiteX37" fmla="*/ 6284119 w 6400800"/>
                <a:gd name="connsiteY37" fmla="*/ 335756 h 514350"/>
                <a:gd name="connsiteX38" fmla="*/ 6288881 w 6400800"/>
                <a:gd name="connsiteY38" fmla="*/ 318611 h 514350"/>
                <a:gd name="connsiteX39" fmla="*/ 6302217 w 6400800"/>
                <a:gd name="connsiteY39" fmla="*/ 274796 h 514350"/>
                <a:gd name="connsiteX40" fmla="*/ 6307931 w 6400800"/>
                <a:gd name="connsiteY40" fmla="*/ 255746 h 514350"/>
                <a:gd name="connsiteX41" fmla="*/ 6313646 w 6400800"/>
                <a:gd name="connsiteY41" fmla="*/ 238601 h 514350"/>
                <a:gd name="connsiteX42" fmla="*/ 6323171 w 6400800"/>
                <a:gd name="connsiteY42" fmla="*/ 210026 h 514350"/>
                <a:gd name="connsiteX43" fmla="*/ 6330792 w 6400800"/>
                <a:gd name="connsiteY43" fmla="*/ 185261 h 514350"/>
                <a:gd name="connsiteX44" fmla="*/ 6319362 w 6400800"/>
                <a:gd name="connsiteY44" fmla="*/ 208121 h 514350"/>
                <a:gd name="connsiteX45" fmla="*/ 6306026 w 6400800"/>
                <a:gd name="connsiteY45" fmla="*/ 234791 h 514350"/>
                <a:gd name="connsiteX46" fmla="*/ 6298406 w 6400800"/>
                <a:gd name="connsiteY46" fmla="*/ 250984 h 514350"/>
                <a:gd name="connsiteX47" fmla="*/ 6290787 w 6400800"/>
                <a:gd name="connsiteY47" fmla="*/ 270034 h 514350"/>
                <a:gd name="connsiteX48" fmla="*/ 6278404 w 6400800"/>
                <a:gd name="connsiteY48" fmla="*/ 301466 h 514350"/>
                <a:gd name="connsiteX49" fmla="*/ 6277451 w 6400800"/>
                <a:gd name="connsiteY49" fmla="*/ 292894 h 514350"/>
                <a:gd name="connsiteX50" fmla="*/ 6276499 w 6400800"/>
                <a:gd name="connsiteY50" fmla="*/ 306229 h 514350"/>
                <a:gd name="connsiteX51" fmla="*/ 6273642 w 6400800"/>
                <a:gd name="connsiteY51" fmla="*/ 312896 h 514350"/>
                <a:gd name="connsiteX52" fmla="*/ 6269831 w 6400800"/>
                <a:gd name="connsiteY52" fmla="*/ 322421 h 514350"/>
                <a:gd name="connsiteX53" fmla="*/ 6273642 w 6400800"/>
                <a:gd name="connsiteY53" fmla="*/ 300514 h 514350"/>
                <a:gd name="connsiteX54" fmla="*/ 6283167 w 6400800"/>
                <a:gd name="connsiteY54" fmla="*/ 252889 h 514350"/>
                <a:gd name="connsiteX55" fmla="*/ 6287929 w 6400800"/>
                <a:gd name="connsiteY55" fmla="*/ 231934 h 514350"/>
                <a:gd name="connsiteX56" fmla="*/ 6292692 w 6400800"/>
                <a:gd name="connsiteY56" fmla="*/ 212884 h 514350"/>
                <a:gd name="connsiteX57" fmla="*/ 6300312 w 6400800"/>
                <a:gd name="connsiteY57" fmla="*/ 181451 h 514350"/>
                <a:gd name="connsiteX58" fmla="*/ 6306026 w 6400800"/>
                <a:gd name="connsiteY58" fmla="*/ 153829 h 514350"/>
                <a:gd name="connsiteX59" fmla="*/ 6296501 w 6400800"/>
                <a:gd name="connsiteY59" fmla="*/ 180499 h 514350"/>
                <a:gd name="connsiteX60" fmla="*/ 6286024 w 6400800"/>
                <a:gd name="connsiteY60" fmla="*/ 210979 h 514350"/>
                <a:gd name="connsiteX61" fmla="*/ 6279356 w 6400800"/>
                <a:gd name="connsiteY61" fmla="*/ 230029 h 514350"/>
                <a:gd name="connsiteX62" fmla="*/ 6273642 w 6400800"/>
                <a:gd name="connsiteY62" fmla="*/ 250984 h 514350"/>
                <a:gd name="connsiteX63" fmla="*/ 6260306 w 6400800"/>
                <a:gd name="connsiteY63" fmla="*/ 298609 h 514350"/>
                <a:gd name="connsiteX64" fmla="*/ 6246971 w 6400800"/>
                <a:gd name="connsiteY64" fmla="*/ 351949 h 514350"/>
                <a:gd name="connsiteX65" fmla="*/ 6236494 w 6400800"/>
                <a:gd name="connsiteY65" fmla="*/ 396716 h 514350"/>
                <a:gd name="connsiteX66" fmla="*/ 6235542 w 6400800"/>
                <a:gd name="connsiteY66" fmla="*/ 394811 h 514350"/>
                <a:gd name="connsiteX67" fmla="*/ 6234589 w 6400800"/>
                <a:gd name="connsiteY67" fmla="*/ 370046 h 514350"/>
                <a:gd name="connsiteX68" fmla="*/ 6230779 w 6400800"/>
                <a:gd name="connsiteY68" fmla="*/ 389096 h 514350"/>
                <a:gd name="connsiteX69" fmla="*/ 6227921 w 6400800"/>
                <a:gd name="connsiteY69" fmla="*/ 384334 h 514350"/>
                <a:gd name="connsiteX70" fmla="*/ 6216492 w 6400800"/>
                <a:gd name="connsiteY70" fmla="*/ 367189 h 514350"/>
                <a:gd name="connsiteX71" fmla="*/ 6223159 w 6400800"/>
                <a:gd name="connsiteY71" fmla="*/ 348139 h 514350"/>
                <a:gd name="connsiteX72" fmla="*/ 6236494 w 6400800"/>
                <a:gd name="connsiteY72" fmla="*/ 310991 h 514350"/>
                <a:gd name="connsiteX73" fmla="*/ 6247924 w 6400800"/>
                <a:gd name="connsiteY73" fmla="*/ 279559 h 514350"/>
                <a:gd name="connsiteX74" fmla="*/ 6256496 w 6400800"/>
                <a:gd name="connsiteY74" fmla="*/ 254794 h 514350"/>
                <a:gd name="connsiteX75" fmla="*/ 6264117 w 6400800"/>
                <a:gd name="connsiteY75" fmla="*/ 233839 h 514350"/>
                <a:gd name="connsiteX76" fmla="*/ 6252687 w 6400800"/>
                <a:gd name="connsiteY76" fmla="*/ 253841 h 514350"/>
                <a:gd name="connsiteX77" fmla="*/ 6240304 w 6400800"/>
                <a:gd name="connsiteY77" fmla="*/ 276701 h 514350"/>
                <a:gd name="connsiteX78" fmla="*/ 6225064 w 6400800"/>
                <a:gd name="connsiteY78" fmla="*/ 307181 h 514350"/>
                <a:gd name="connsiteX79" fmla="*/ 6208871 w 6400800"/>
                <a:gd name="connsiteY79" fmla="*/ 343376 h 514350"/>
                <a:gd name="connsiteX80" fmla="*/ 6205062 w 6400800"/>
                <a:gd name="connsiteY80" fmla="*/ 351949 h 514350"/>
                <a:gd name="connsiteX81" fmla="*/ 6204109 w 6400800"/>
                <a:gd name="connsiteY81" fmla="*/ 350996 h 514350"/>
                <a:gd name="connsiteX82" fmla="*/ 6210776 w 6400800"/>
                <a:gd name="connsiteY82" fmla="*/ 320516 h 514350"/>
                <a:gd name="connsiteX83" fmla="*/ 6222206 w 6400800"/>
                <a:gd name="connsiteY83" fmla="*/ 268129 h 514350"/>
                <a:gd name="connsiteX84" fmla="*/ 6226017 w 6400800"/>
                <a:gd name="connsiteY84" fmla="*/ 248126 h 514350"/>
                <a:gd name="connsiteX85" fmla="*/ 6218396 w 6400800"/>
                <a:gd name="connsiteY85" fmla="*/ 267176 h 514350"/>
                <a:gd name="connsiteX86" fmla="*/ 6209824 w 6400800"/>
                <a:gd name="connsiteY86" fmla="*/ 289084 h 514350"/>
                <a:gd name="connsiteX87" fmla="*/ 6199346 w 6400800"/>
                <a:gd name="connsiteY87" fmla="*/ 317659 h 514350"/>
                <a:gd name="connsiteX88" fmla="*/ 6193631 w 6400800"/>
                <a:gd name="connsiteY88" fmla="*/ 335756 h 514350"/>
                <a:gd name="connsiteX89" fmla="*/ 6184106 w 6400800"/>
                <a:gd name="connsiteY89" fmla="*/ 322421 h 514350"/>
                <a:gd name="connsiteX90" fmla="*/ 6181249 w 6400800"/>
                <a:gd name="connsiteY90" fmla="*/ 318611 h 514350"/>
                <a:gd name="connsiteX91" fmla="*/ 6184106 w 6400800"/>
                <a:gd name="connsiteY91" fmla="*/ 302419 h 514350"/>
                <a:gd name="connsiteX92" fmla="*/ 6189821 w 6400800"/>
                <a:gd name="connsiteY92" fmla="*/ 274796 h 514350"/>
                <a:gd name="connsiteX93" fmla="*/ 6195537 w 6400800"/>
                <a:gd name="connsiteY93" fmla="*/ 250984 h 514350"/>
                <a:gd name="connsiteX94" fmla="*/ 6186012 w 6400800"/>
                <a:gd name="connsiteY94" fmla="*/ 273844 h 514350"/>
                <a:gd name="connsiteX95" fmla="*/ 6176487 w 6400800"/>
                <a:gd name="connsiteY95" fmla="*/ 300514 h 514350"/>
                <a:gd name="connsiteX96" fmla="*/ 6173629 w 6400800"/>
                <a:gd name="connsiteY96" fmla="*/ 309086 h 514350"/>
                <a:gd name="connsiteX97" fmla="*/ 6172676 w 6400800"/>
                <a:gd name="connsiteY97" fmla="*/ 308134 h 514350"/>
                <a:gd name="connsiteX98" fmla="*/ 6174581 w 6400800"/>
                <a:gd name="connsiteY98" fmla="*/ 294799 h 514350"/>
                <a:gd name="connsiteX99" fmla="*/ 6180296 w 6400800"/>
                <a:gd name="connsiteY99" fmla="*/ 263366 h 514350"/>
                <a:gd name="connsiteX100" fmla="*/ 6185059 w 6400800"/>
                <a:gd name="connsiteY100" fmla="*/ 236696 h 514350"/>
                <a:gd name="connsiteX101" fmla="*/ 6188869 w 6400800"/>
                <a:gd name="connsiteY101" fmla="*/ 215741 h 514350"/>
                <a:gd name="connsiteX102" fmla="*/ 6192679 w 6400800"/>
                <a:gd name="connsiteY102" fmla="*/ 197644 h 514350"/>
                <a:gd name="connsiteX103" fmla="*/ 6185059 w 6400800"/>
                <a:gd name="connsiteY103" fmla="*/ 214789 h 514350"/>
                <a:gd name="connsiteX104" fmla="*/ 6168867 w 6400800"/>
                <a:gd name="connsiteY104" fmla="*/ 260509 h 514350"/>
                <a:gd name="connsiteX105" fmla="*/ 6163151 w 6400800"/>
                <a:gd name="connsiteY105" fmla="*/ 280511 h 514350"/>
                <a:gd name="connsiteX106" fmla="*/ 6159342 w 6400800"/>
                <a:gd name="connsiteY106" fmla="*/ 253841 h 514350"/>
                <a:gd name="connsiteX107" fmla="*/ 6154579 w 6400800"/>
                <a:gd name="connsiteY107" fmla="*/ 225266 h 514350"/>
                <a:gd name="connsiteX108" fmla="*/ 6156484 w 6400800"/>
                <a:gd name="connsiteY108" fmla="*/ 285274 h 514350"/>
                <a:gd name="connsiteX109" fmla="*/ 6143149 w 6400800"/>
                <a:gd name="connsiteY109" fmla="*/ 268129 h 514350"/>
                <a:gd name="connsiteX110" fmla="*/ 6143149 w 6400800"/>
                <a:gd name="connsiteY110" fmla="*/ 267176 h 514350"/>
                <a:gd name="connsiteX111" fmla="*/ 6146006 w 6400800"/>
                <a:gd name="connsiteY111" fmla="*/ 256699 h 514350"/>
                <a:gd name="connsiteX112" fmla="*/ 6161246 w 6400800"/>
                <a:gd name="connsiteY112" fmla="*/ 178594 h 514350"/>
                <a:gd name="connsiteX113" fmla="*/ 6152674 w 6400800"/>
                <a:gd name="connsiteY113" fmla="*/ 200501 h 514350"/>
                <a:gd name="connsiteX114" fmla="*/ 6152674 w 6400800"/>
                <a:gd name="connsiteY114" fmla="*/ 197644 h 514350"/>
                <a:gd name="connsiteX115" fmla="*/ 6156484 w 6400800"/>
                <a:gd name="connsiteY115" fmla="*/ 172879 h 514350"/>
                <a:gd name="connsiteX116" fmla="*/ 6160294 w 6400800"/>
                <a:gd name="connsiteY116" fmla="*/ 150971 h 514350"/>
                <a:gd name="connsiteX117" fmla="*/ 6152674 w 6400800"/>
                <a:gd name="connsiteY117" fmla="*/ 171926 h 514350"/>
                <a:gd name="connsiteX118" fmla="*/ 6145054 w 6400800"/>
                <a:gd name="connsiteY118" fmla="*/ 196691 h 514350"/>
                <a:gd name="connsiteX119" fmla="*/ 6138387 w 6400800"/>
                <a:gd name="connsiteY119" fmla="*/ 220504 h 514350"/>
                <a:gd name="connsiteX120" fmla="*/ 6135529 w 6400800"/>
                <a:gd name="connsiteY120" fmla="*/ 202406 h 514350"/>
                <a:gd name="connsiteX121" fmla="*/ 6134576 w 6400800"/>
                <a:gd name="connsiteY121" fmla="*/ 221456 h 514350"/>
                <a:gd name="connsiteX122" fmla="*/ 6132671 w 6400800"/>
                <a:gd name="connsiteY122" fmla="*/ 242411 h 514350"/>
                <a:gd name="connsiteX123" fmla="*/ 6131719 w 6400800"/>
                <a:gd name="connsiteY123" fmla="*/ 249079 h 514350"/>
                <a:gd name="connsiteX124" fmla="*/ 6130767 w 6400800"/>
                <a:gd name="connsiteY124" fmla="*/ 253841 h 514350"/>
                <a:gd name="connsiteX125" fmla="*/ 6129814 w 6400800"/>
                <a:gd name="connsiteY125" fmla="*/ 251936 h 514350"/>
                <a:gd name="connsiteX126" fmla="*/ 6130767 w 6400800"/>
                <a:gd name="connsiteY126" fmla="*/ 254794 h 514350"/>
                <a:gd name="connsiteX127" fmla="*/ 6129814 w 6400800"/>
                <a:gd name="connsiteY127" fmla="*/ 261461 h 514350"/>
                <a:gd name="connsiteX128" fmla="*/ 6129814 w 6400800"/>
                <a:gd name="connsiteY128" fmla="*/ 243364 h 514350"/>
                <a:gd name="connsiteX129" fmla="*/ 6126004 w 6400800"/>
                <a:gd name="connsiteY129" fmla="*/ 274796 h 514350"/>
                <a:gd name="connsiteX130" fmla="*/ 6125051 w 6400800"/>
                <a:gd name="connsiteY130" fmla="*/ 281464 h 514350"/>
                <a:gd name="connsiteX131" fmla="*/ 6122194 w 6400800"/>
                <a:gd name="connsiteY131" fmla="*/ 267176 h 514350"/>
                <a:gd name="connsiteX132" fmla="*/ 6117431 w 6400800"/>
                <a:gd name="connsiteY132" fmla="*/ 243364 h 514350"/>
                <a:gd name="connsiteX133" fmla="*/ 6118384 w 6400800"/>
                <a:gd name="connsiteY133" fmla="*/ 267176 h 514350"/>
                <a:gd name="connsiteX134" fmla="*/ 6119337 w 6400800"/>
                <a:gd name="connsiteY134" fmla="*/ 300514 h 514350"/>
                <a:gd name="connsiteX135" fmla="*/ 6114574 w 6400800"/>
                <a:gd name="connsiteY135" fmla="*/ 317659 h 514350"/>
                <a:gd name="connsiteX136" fmla="*/ 6114574 w 6400800"/>
                <a:gd name="connsiteY136" fmla="*/ 307181 h 514350"/>
                <a:gd name="connsiteX137" fmla="*/ 6112669 w 6400800"/>
                <a:gd name="connsiteY137" fmla="*/ 286226 h 514350"/>
                <a:gd name="connsiteX138" fmla="*/ 6109812 w 6400800"/>
                <a:gd name="connsiteY138" fmla="*/ 270986 h 514350"/>
                <a:gd name="connsiteX139" fmla="*/ 6105049 w 6400800"/>
                <a:gd name="connsiteY139" fmla="*/ 258604 h 514350"/>
                <a:gd name="connsiteX140" fmla="*/ 6106001 w 6400800"/>
                <a:gd name="connsiteY140" fmla="*/ 272891 h 514350"/>
                <a:gd name="connsiteX141" fmla="*/ 6106001 w 6400800"/>
                <a:gd name="connsiteY141" fmla="*/ 282416 h 514350"/>
                <a:gd name="connsiteX142" fmla="*/ 6104096 w 6400800"/>
                <a:gd name="connsiteY142" fmla="*/ 273844 h 514350"/>
                <a:gd name="connsiteX143" fmla="*/ 6102192 w 6400800"/>
                <a:gd name="connsiteY143" fmla="*/ 268129 h 514350"/>
                <a:gd name="connsiteX144" fmla="*/ 6101239 w 6400800"/>
                <a:gd name="connsiteY144" fmla="*/ 253841 h 514350"/>
                <a:gd name="connsiteX145" fmla="*/ 6103144 w 6400800"/>
                <a:gd name="connsiteY145" fmla="*/ 247174 h 514350"/>
                <a:gd name="connsiteX146" fmla="*/ 6107906 w 6400800"/>
                <a:gd name="connsiteY146" fmla="*/ 225266 h 514350"/>
                <a:gd name="connsiteX147" fmla="*/ 6111717 w 6400800"/>
                <a:gd name="connsiteY147" fmla="*/ 205264 h 514350"/>
                <a:gd name="connsiteX148" fmla="*/ 6104096 w 6400800"/>
                <a:gd name="connsiteY148" fmla="*/ 223361 h 514350"/>
                <a:gd name="connsiteX149" fmla="*/ 6099334 w 6400800"/>
                <a:gd name="connsiteY149" fmla="*/ 234791 h 514350"/>
                <a:gd name="connsiteX150" fmla="*/ 6096476 w 6400800"/>
                <a:gd name="connsiteY150" fmla="*/ 206216 h 514350"/>
                <a:gd name="connsiteX151" fmla="*/ 6097429 w 6400800"/>
                <a:gd name="connsiteY151" fmla="*/ 199549 h 514350"/>
                <a:gd name="connsiteX152" fmla="*/ 6101239 w 6400800"/>
                <a:gd name="connsiteY152" fmla="*/ 177641 h 514350"/>
                <a:gd name="connsiteX153" fmla="*/ 6104096 w 6400800"/>
                <a:gd name="connsiteY153" fmla="*/ 157639 h 514350"/>
                <a:gd name="connsiteX154" fmla="*/ 6107906 w 6400800"/>
                <a:gd name="connsiteY154" fmla="*/ 124301 h 514350"/>
                <a:gd name="connsiteX155" fmla="*/ 6110764 w 6400800"/>
                <a:gd name="connsiteY155" fmla="*/ 95726 h 514350"/>
                <a:gd name="connsiteX156" fmla="*/ 6104096 w 6400800"/>
                <a:gd name="connsiteY156" fmla="*/ 124301 h 514350"/>
                <a:gd name="connsiteX157" fmla="*/ 6096476 w 6400800"/>
                <a:gd name="connsiteY157" fmla="*/ 156686 h 514350"/>
                <a:gd name="connsiteX158" fmla="*/ 6091714 w 6400800"/>
                <a:gd name="connsiteY158" fmla="*/ 176689 h 514350"/>
                <a:gd name="connsiteX159" fmla="*/ 6085999 w 6400800"/>
                <a:gd name="connsiteY159" fmla="*/ 198596 h 514350"/>
                <a:gd name="connsiteX160" fmla="*/ 6081237 w 6400800"/>
                <a:gd name="connsiteY160" fmla="*/ 214789 h 514350"/>
                <a:gd name="connsiteX161" fmla="*/ 6074569 w 6400800"/>
                <a:gd name="connsiteY161" fmla="*/ 201454 h 514350"/>
                <a:gd name="connsiteX162" fmla="*/ 6079331 w 6400800"/>
                <a:gd name="connsiteY162" fmla="*/ 219551 h 514350"/>
                <a:gd name="connsiteX163" fmla="*/ 6073617 w 6400800"/>
                <a:gd name="connsiteY163" fmla="*/ 230029 h 514350"/>
                <a:gd name="connsiteX164" fmla="*/ 6069806 w 6400800"/>
                <a:gd name="connsiteY164" fmla="*/ 237649 h 514350"/>
                <a:gd name="connsiteX165" fmla="*/ 6069806 w 6400800"/>
                <a:gd name="connsiteY165" fmla="*/ 228124 h 514350"/>
                <a:gd name="connsiteX166" fmla="*/ 6069806 w 6400800"/>
                <a:gd name="connsiteY166" fmla="*/ 205264 h 514350"/>
                <a:gd name="connsiteX167" fmla="*/ 6065996 w 6400800"/>
                <a:gd name="connsiteY167" fmla="*/ 228124 h 514350"/>
                <a:gd name="connsiteX168" fmla="*/ 6061234 w 6400800"/>
                <a:gd name="connsiteY168" fmla="*/ 253841 h 514350"/>
                <a:gd name="connsiteX169" fmla="*/ 6059329 w 6400800"/>
                <a:gd name="connsiteY169" fmla="*/ 263366 h 514350"/>
                <a:gd name="connsiteX170" fmla="*/ 6057424 w 6400800"/>
                <a:gd name="connsiteY170" fmla="*/ 268129 h 514350"/>
                <a:gd name="connsiteX171" fmla="*/ 6048851 w 6400800"/>
                <a:gd name="connsiteY171" fmla="*/ 294799 h 514350"/>
                <a:gd name="connsiteX172" fmla="*/ 6041231 w 6400800"/>
                <a:gd name="connsiteY172" fmla="*/ 324326 h 514350"/>
                <a:gd name="connsiteX173" fmla="*/ 6041231 w 6400800"/>
                <a:gd name="connsiteY173" fmla="*/ 325279 h 514350"/>
                <a:gd name="connsiteX174" fmla="*/ 6033612 w 6400800"/>
                <a:gd name="connsiteY174" fmla="*/ 306229 h 514350"/>
                <a:gd name="connsiteX175" fmla="*/ 6029801 w 6400800"/>
                <a:gd name="connsiteY175" fmla="*/ 296704 h 514350"/>
                <a:gd name="connsiteX176" fmla="*/ 6029801 w 6400800"/>
                <a:gd name="connsiteY176" fmla="*/ 295751 h 514350"/>
                <a:gd name="connsiteX177" fmla="*/ 6031706 w 6400800"/>
                <a:gd name="connsiteY177" fmla="*/ 281464 h 514350"/>
                <a:gd name="connsiteX178" fmla="*/ 6033612 w 6400800"/>
                <a:gd name="connsiteY178" fmla="*/ 269081 h 514350"/>
                <a:gd name="connsiteX179" fmla="*/ 6027896 w 6400800"/>
                <a:gd name="connsiteY179" fmla="*/ 280511 h 514350"/>
                <a:gd name="connsiteX180" fmla="*/ 6025039 w 6400800"/>
                <a:gd name="connsiteY180" fmla="*/ 286226 h 514350"/>
                <a:gd name="connsiteX181" fmla="*/ 6020276 w 6400800"/>
                <a:gd name="connsiteY181" fmla="*/ 272891 h 514350"/>
                <a:gd name="connsiteX182" fmla="*/ 6008846 w 6400800"/>
                <a:gd name="connsiteY182" fmla="*/ 244316 h 514350"/>
                <a:gd name="connsiteX183" fmla="*/ 6016467 w 6400800"/>
                <a:gd name="connsiteY183" fmla="*/ 273844 h 514350"/>
                <a:gd name="connsiteX184" fmla="*/ 6022181 w 6400800"/>
                <a:gd name="connsiteY184" fmla="*/ 293846 h 514350"/>
                <a:gd name="connsiteX185" fmla="*/ 6019324 w 6400800"/>
                <a:gd name="connsiteY185" fmla="*/ 302419 h 514350"/>
                <a:gd name="connsiteX186" fmla="*/ 6016467 w 6400800"/>
                <a:gd name="connsiteY186" fmla="*/ 311944 h 514350"/>
                <a:gd name="connsiteX187" fmla="*/ 6010751 w 6400800"/>
                <a:gd name="connsiteY187" fmla="*/ 333851 h 514350"/>
                <a:gd name="connsiteX188" fmla="*/ 6010751 w 6400800"/>
                <a:gd name="connsiteY188" fmla="*/ 334804 h 514350"/>
                <a:gd name="connsiteX189" fmla="*/ 6003131 w 6400800"/>
                <a:gd name="connsiteY189" fmla="*/ 320516 h 514350"/>
                <a:gd name="connsiteX190" fmla="*/ 5996464 w 6400800"/>
                <a:gd name="connsiteY190" fmla="*/ 308134 h 514350"/>
                <a:gd name="connsiteX191" fmla="*/ 5999321 w 6400800"/>
                <a:gd name="connsiteY191" fmla="*/ 302419 h 514350"/>
                <a:gd name="connsiteX192" fmla="*/ 6007894 w 6400800"/>
                <a:gd name="connsiteY192" fmla="*/ 283369 h 514350"/>
                <a:gd name="connsiteX193" fmla="*/ 6014562 w 6400800"/>
                <a:gd name="connsiteY193" fmla="*/ 267176 h 514350"/>
                <a:gd name="connsiteX194" fmla="*/ 6004084 w 6400800"/>
                <a:gd name="connsiteY194" fmla="*/ 281464 h 514350"/>
                <a:gd name="connsiteX195" fmla="*/ 5993606 w 6400800"/>
                <a:gd name="connsiteY195" fmla="*/ 297656 h 514350"/>
                <a:gd name="connsiteX196" fmla="*/ 5989796 w 6400800"/>
                <a:gd name="connsiteY196" fmla="*/ 273844 h 514350"/>
                <a:gd name="connsiteX197" fmla="*/ 5991701 w 6400800"/>
                <a:gd name="connsiteY197" fmla="*/ 250984 h 514350"/>
                <a:gd name="connsiteX198" fmla="*/ 5997417 w 6400800"/>
                <a:gd name="connsiteY198" fmla="*/ 212884 h 514350"/>
                <a:gd name="connsiteX199" fmla="*/ 6003131 w 6400800"/>
                <a:gd name="connsiteY199" fmla="*/ 179546 h 514350"/>
                <a:gd name="connsiteX200" fmla="*/ 5993606 w 6400800"/>
                <a:gd name="connsiteY200" fmla="*/ 211931 h 514350"/>
                <a:gd name="connsiteX201" fmla="*/ 5985034 w 6400800"/>
                <a:gd name="connsiteY201" fmla="*/ 248126 h 514350"/>
                <a:gd name="connsiteX202" fmla="*/ 5974556 w 6400800"/>
                <a:gd name="connsiteY202" fmla="*/ 206216 h 514350"/>
                <a:gd name="connsiteX203" fmla="*/ 5974556 w 6400800"/>
                <a:gd name="connsiteY203" fmla="*/ 206216 h 514350"/>
                <a:gd name="connsiteX204" fmla="*/ 5977414 w 6400800"/>
                <a:gd name="connsiteY204" fmla="*/ 178594 h 514350"/>
                <a:gd name="connsiteX205" fmla="*/ 5979319 w 6400800"/>
                <a:gd name="connsiteY205" fmla="*/ 153829 h 514350"/>
                <a:gd name="connsiteX206" fmla="*/ 5973604 w 6400800"/>
                <a:gd name="connsiteY206" fmla="*/ 177641 h 514350"/>
                <a:gd name="connsiteX207" fmla="*/ 5969794 w 6400800"/>
                <a:gd name="connsiteY207" fmla="*/ 191929 h 514350"/>
                <a:gd name="connsiteX208" fmla="*/ 5959317 w 6400800"/>
                <a:gd name="connsiteY208" fmla="*/ 160496 h 514350"/>
                <a:gd name="connsiteX209" fmla="*/ 5946934 w 6400800"/>
                <a:gd name="connsiteY209" fmla="*/ 130016 h 514350"/>
                <a:gd name="connsiteX210" fmla="*/ 5934551 w 6400800"/>
                <a:gd name="connsiteY210" fmla="*/ 104299 h 514350"/>
                <a:gd name="connsiteX211" fmla="*/ 5943124 w 6400800"/>
                <a:gd name="connsiteY211" fmla="*/ 131921 h 514350"/>
                <a:gd name="connsiteX212" fmla="*/ 5951696 w 6400800"/>
                <a:gd name="connsiteY212" fmla="*/ 163354 h 514350"/>
                <a:gd name="connsiteX213" fmla="*/ 5961221 w 6400800"/>
                <a:gd name="connsiteY213" fmla="*/ 204311 h 514350"/>
                <a:gd name="connsiteX214" fmla="*/ 5964079 w 6400800"/>
                <a:gd name="connsiteY214" fmla="*/ 216694 h 514350"/>
                <a:gd name="connsiteX215" fmla="*/ 5962174 w 6400800"/>
                <a:gd name="connsiteY215" fmla="*/ 222409 h 514350"/>
                <a:gd name="connsiteX216" fmla="*/ 5958364 w 6400800"/>
                <a:gd name="connsiteY216" fmla="*/ 235744 h 514350"/>
                <a:gd name="connsiteX217" fmla="*/ 5956459 w 6400800"/>
                <a:gd name="connsiteY217" fmla="*/ 232886 h 514350"/>
                <a:gd name="connsiteX218" fmla="*/ 5956459 w 6400800"/>
                <a:gd name="connsiteY218" fmla="*/ 231934 h 514350"/>
                <a:gd name="connsiteX219" fmla="*/ 5956459 w 6400800"/>
                <a:gd name="connsiteY219" fmla="*/ 232886 h 514350"/>
                <a:gd name="connsiteX220" fmla="*/ 5938362 w 6400800"/>
                <a:gd name="connsiteY220" fmla="*/ 199549 h 514350"/>
                <a:gd name="connsiteX221" fmla="*/ 5927884 w 6400800"/>
                <a:gd name="connsiteY221" fmla="*/ 180499 h 514350"/>
                <a:gd name="connsiteX222" fmla="*/ 5953601 w 6400800"/>
                <a:gd name="connsiteY222" fmla="*/ 250984 h 514350"/>
                <a:gd name="connsiteX223" fmla="*/ 5952649 w 6400800"/>
                <a:gd name="connsiteY223" fmla="*/ 255746 h 514350"/>
                <a:gd name="connsiteX224" fmla="*/ 5945029 w 6400800"/>
                <a:gd name="connsiteY224" fmla="*/ 282416 h 514350"/>
                <a:gd name="connsiteX225" fmla="*/ 5944076 w 6400800"/>
                <a:gd name="connsiteY225" fmla="*/ 285274 h 514350"/>
                <a:gd name="connsiteX226" fmla="*/ 5940267 w 6400800"/>
                <a:gd name="connsiteY226" fmla="*/ 271939 h 514350"/>
                <a:gd name="connsiteX227" fmla="*/ 5928837 w 6400800"/>
                <a:gd name="connsiteY227" fmla="*/ 237649 h 514350"/>
                <a:gd name="connsiteX228" fmla="*/ 5922169 w 6400800"/>
                <a:gd name="connsiteY228" fmla="*/ 220504 h 514350"/>
                <a:gd name="connsiteX229" fmla="*/ 5923121 w 6400800"/>
                <a:gd name="connsiteY229" fmla="*/ 216694 h 514350"/>
                <a:gd name="connsiteX230" fmla="*/ 5921217 w 6400800"/>
                <a:gd name="connsiteY230" fmla="*/ 219551 h 514350"/>
                <a:gd name="connsiteX231" fmla="*/ 5917406 w 6400800"/>
                <a:gd name="connsiteY231" fmla="*/ 211931 h 514350"/>
                <a:gd name="connsiteX232" fmla="*/ 5908834 w 6400800"/>
                <a:gd name="connsiteY232" fmla="*/ 194786 h 514350"/>
                <a:gd name="connsiteX233" fmla="*/ 5907881 w 6400800"/>
                <a:gd name="connsiteY233" fmla="*/ 183356 h 514350"/>
                <a:gd name="connsiteX234" fmla="*/ 5905024 w 6400800"/>
                <a:gd name="connsiteY234" fmla="*/ 159544 h 514350"/>
                <a:gd name="connsiteX235" fmla="*/ 5904071 w 6400800"/>
                <a:gd name="connsiteY235" fmla="*/ 184309 h 514350"/>
                <a:gd name="connsiteX236" fmla="*/ 5903119 w 6400800"/>
                <a:gd name="connsiteY236" fmla="*/ 211931 h 514350"/>
                <a:gd name="connsiteX237" fmla="*/ 5902167 w 6400800"/>
                <a:gd name="connsiteY237" fmla="*/ 229076 h 514350"/>
                <a:gd name="connsiteX238" fmla="*/ 5902167 w 6400800"/>
                <a:gd name="connsiteY238" fmla="*/ 248126 h 514350"/>
                <a:gd name="connsiteX239" fmla="*/ 5903119 w 6400800"/>
                <a:gd name="connsiteY239" fmla="*/ 270034 h 514350"/>
                <a:gd name="connsiteX240" fmla="*/ 5900262 w 6400800"/>
                <a:gd name="connsiteY240" fmla="*/ 285274 h 514350"/>
                <a:gd name="connsiteX241" fmla="*/ 5899309 w 6400800"/>
                <a:gd name="connsiteY241" fmla="*/ 282416 h 514350"/>
                <a:gd name="connsiteX242" fmla="*/ 5895499 w 6400800"/>
                <a:gd name="connsiteY242" fmla="*/ 263366 h 514350"/>
                <a:gd name="connsiteX243" fmla="*/ 5891689 w 6400800"/>
                <a:gd name="connsiteY243" fmla="*/ 248126 h 514350"/>
                <a:gd name="connsiteX244" fmla="*/ 5891689 w 6400800"/>
                <a:gd name="connsiteY244" fmla="*/ 245269 h 514350"/>
                <a:gd name="connsiteX245" fmla="*/ 5890737 w 6400800"/>
                <a:gd name="connsiteY245" fmla="*/ 247174 h 514350"/>
                <a:gd name="connsiteX246" fmla="*/ 5890737 w 6400800"/>
                <a:gd name="connsiteY246" fmla="*/ 247174 h 514350"/>
                <a:gd name="connsiteX247" fmla="*/ 5890737 w 6400800"/>
                <a:gd name="connsiteY247" fmla="*/ 248126 h 514350"/>
                <a:gd name="connsiteX248" fmla="*/ 5881212 w 6400800"/>
                <a:gd name="connsiteY248" fmla="*/ 275749 h 514350"/>
                <a:gd name="connsiteX249" fmla="*/ 5878354 w 6400800"/>
                <a:gd name="connsiteY249" fmla="*/ 262414 h 514350"/>
                <a:gd name="connsiteX250" fmla="*/ 5874544 w 6400800"/>
                <a:gd name="connsiteY250" fmla="*/ 240506 h 514350"/>
                <a:gd name="connsiteX251" fmla="*/ 5874544 w 6400800"/>
                <a:gd name="connsiteY251" fmla="*/ 262414 h 514350"/>
                <a:gd name="connsiteX252" fmla="*/ 5875496 w 6400800"/>
                <a:gd name="connsiteY252" fmla="*/ 290989 h 514350"/>
                <a:gd name="connsiteX253" fmla="*/ 5873592 w 6400800"/>
                <a:gd name="connsiteY253" fmla="*/ 298609 h 514350"/>
                <a:gd name="connsiteX254" fmla="*/ 5870734 w 6400800"/>
                <a:gd name="connsiteY254" fmla="*/ 271939 h 514350"/>
                <a:gd name="connsiteX255" fmla="*/ 5867876 w 6400800"/>
                <a:gd name="connsiteY255" fmla="*/ 292894 h 514350"/>
                <a:gd name="connsiteX256" fmla="*/ 5866924 w 6400800"/>
                <a:gd name="connsiteY256" fmla="*/ 269081 h 514350"/>
                <a:gd name="connsiteX257" fmla="*/ 5865971 w 6400800"/>
                <a:gd name="connsiteY257" fmla="*/ 243364 h 514350"/>
                <a:gd name="connsiteX258" fmla="*/ 5873592 w 6400800"/>
                <a:gd name="connsiteY258" fmla="*/ 225266 h 514350"/>
                <a:gd name="connsiteX259" fmla="*/ 5865971 w 6400800"/>
                <a:gd name="connsiteY259" fmla="*/ 237649 h 514350"/>
                <a:gd name="connsiteX260" fmla="*/ 5865971 w 6400800"/>
                <a:gd name="connsiteY260" fmla="*/ 230029 h 514350"/>
                <a:gd name="connsiteX261" fmla="*/ 5865019 w 6400800"/>
                <a:gd name="connsiteY261" fmla="*/ 194786 h 514350"/>
                <a:gd name="connsiteX262" fmla="*/ 5863114 w 6400800"/>
                <a:gd name="connsiteY262" fmla="*/ 141446 h 514350"/>
                <a:gd name="connsiteX263" fmla="*/ 5862162 w 6400800"/>
                <a:gd name="connsiteY263" fmla="*/ 121444 h 514350"/>
                <a:gd name="connsiteX264" fmla="*/ 5859304 w 6400800"/>
                <a:gd name="connsiteY264" fmla="*/ 141446 h 514350"/>
                <a:gd name="connsiteX265" fmla="*/ 5856446 w 6400800"/>
                <a:gd name="connsiteY265" fmla="*/ 161449 h 514350"/>
                <a:gd name="connsiteX266" fmla="*/ 5853589 w 6400800"/>
                <a:gd name="connsiteY266" fmla="*/ 120491 h 514350"/>
                <a:gd name="connsiteX267" fmla="*/ 5851684 w 6400800"/>
                <a:gd name="connsiteY267" fmla="*/ 98584 h 514350"/>
                <a:gd name="connsiteX268" fmla="*/ 5849779 w 6400800"/>
                <a:gd name="connsiteY268" fmla="*/ 120491 h 514350"/>
                <a:gd name="connsiteX269" fmla="*/ 5847874 w 6400800"/>
                <a:gd name="connsiteY269" fmla="*/ 146209 h 514350"/>
                <a:gd name="connsiteX270" fmla="*/ 5846921 w 6400800"/>
                <a:gd name="connsiteY270" fmla="*/ 179546 h 514350"/>
                <a:gd name="connsiteX271" fmla="*/ 5846921 w 6400800"/>
                <a:gd name="connsiteY271" fmla="*/ 262414 h 514350"/>
                <a:gd name="connsiteX272" fmla="*/ 5846921 w 6400800"/>
                <a:gd name="connsiteY272" fmla="*/ 269081 h 514350"/>
                <a:gd name="connsiteX273" fmla="*/ 5843112 w 6400800"/>
                <a:gd name="connsiteY273" fmla="*/ 274796 h 514350"/>
                <a:gd name="connsiteX274" fmla="*/ 5840254 w 6400800"/>
                <a:gd name="connsiteY274" fmla="*/ 261461 h 514350"/>
                <a:gd name="connsiteX275" fmla="*/ 5841206 w 6400800"/>
                <a:gd name="connsiteY275" fmla="*/ 242411 h 514350"/>
                <a:gd name="connsiteX276" fmla="*/ 5841206 w 6400800"/>
                <a:gd name="connsiteY276" fmla="*/ 223361 h 514350"/>
                <a:gd name="connsiteX277" fmla="*/ 5837396 w 6400800"/>
                <a:gd name="connsiteY277" fmla="*/ 242411 h 514350"/>
                <a:gd name="connsiteX278" fmla="*/ 5836444 w 6400800"/>
                <a:gd name="connsiteY278" fmla="*/ 245269 h 514350"/>
                <a:gd name="connsiteX279" fmla="*/ 5829776 w 6400800"/>
                <a:gd name="connsiteY279" fmla="*/ 215741 h 514350"/>
                <a:gd name="connsiteX280" fmla="*/ 5824062 w 6400800"/>
                <a:gd name="connsiteY280" fmla="*/ 189071 h 514350"/>
                <a:gd name="connsiteX281" fmla="*/ 5825967 w 6400800"/>
                <a:gd name="connsiteY281" fmla="*/ 215741 h 514350"/>
                <a:gd name="connsiteX282" fmla="*/ 5828824 w 6400800"/>
                <a:gd name="connsiteY282" fmla="*/ 246221 h 514350"/>
                <a:gd name="connsiteX283" fmla="*/ 5831681 w 6400800"/>
                <a:gd name="connsiteY283" fmla="*/ 268129 h 514350"/>
                <a:gd name="connsiteX284" fmla="*/ 5826919 w 6400800"/>
                <a:gd name="connsiteY284" fmla="*/ 276701 h 514350"/>
                <a:gd name="connsiteX285" fmla="*/ 5825967 w 6400800"/>
                <a:gd name="connsiteY285" fmla="*/ 270986 h 514350"/>
                <a:gd name="connsiteX286" fmla="*/ 5822156 w 6400800"/>
                <a:gd name="connsiteY286" fmla="*/ 250031 h 514350"/>
                <a:gd name="connsiteX287" fmla="*/ 5818346 w 6400800"/>
                <a:gd name="connsiteY287" fmla="*/ 231934 h 514350"/>
                <a:gd name="connsiteX288" fmla="*/ 5818346 w 6400800"/>
                <a:gd name="connsiteY288" fmla="*/ 250031 h 514350"/>
                <a:gd name="connsiteX289" fmla="*/ 5818346 w 6400800"/>
                <a:gd name="connsiteY289" fmla="*/ 270986 h 514350"/>
                <a:gd name="connsiteX290" fmla="*/ 5812631 w 6400800"/>
                <a:gd name="connsiteY290" fmla="*/ 262414 h 514350"/>
                <a:gd name="connsiteX291" fmla="*/ 5812631 w 6400800"/>
                <a:gd name="connsiteY291" fmla="*/ 246221 h 514350"/>
                <a:gd name="connsiteX292" fmla="*/ 5814537 w 6400800"/>
                <a:gd name="connsiteY292" fmla="*/ 220504 h 514350"/>
                <a:gd name="connsiteX293" fmla="*/ 5816442 w 6400800"/>
                <a:gd name="connsiteY293" fmla="*/ 221456 h 514350"/>
                <a:gd name="connsiteX294" fmla="*/ 5819299 w 6400800"/>
                <a:gd name="connsiteY294" fmla="*/ 224314 h 514350"/>
                <a:gd name="connsiteX295" fmla="*/ 5822156 w 6400800"/>
                <a:gd name="connsiteY295" fmla="*/ 231934 h 514350"/>
                <a:gd name="connsiteX296" fmla="*/ 5821204 w 6400800"/>
                <a:gd name="connsiteY296" fmla="*/ 223361 h 514350"/>
                <a:gd name="connsiteX297" fmla="*/ 5818346 w 6400800"/>
                <a:gd name="connsiteY297" fmla="*/ 219551 h 514350"/>
                <a:gd name="connsiteX298" fmla="*/ 5813584 w 6400800"/>
                <a:gd name="connsiteY298" fmla="*/ 217646 h 514350"/>
                <a:gd name="connsiteX299" fmla="*/ 5811679 w 6400800"/>
                <a:gd name="connsiteY299" fmla="*/ 217646 h 514350"/>
                <a:gd name="connsiteX300" fmla="*/ 5811679 w 6400800"/>
                <a:gd name="connsiteY300" fmla="*/ 219551 h 514350"/>
                <a:gd name="connsiteX301" fmla="*/ 5805012 w 6400800"/>
                <a:gd name="connsiteY301" fmla="*/ 246221 h 514350"/>
                <a:gd name="connsiteX302" fmla="*/ 5803106 w 6400800"/>
                <a:gd name="connsiteY302" fmla="*/ 256699 h 514350"/>
                <a:gd name="connsiteX303" fmla="*/ 5796439 w 6400800"/>
                <a:gd name="connsiteY303" fmla="*/ 264319 h 514350"/>
                <a:gd name="connsiteX304" fmla="*/ 5795487 w 6400800"/>
                <a:gd name="connsiteY304" fmla="*/ 253841 h 514350"/>
                <a:gd name="connsiteX305" fmla="*/ 5794534 w 6400800"/>
                <a:gd name="connsiteY305" fmla="*/ 248126 h 514350"/>
                <a:gd name="connsiteX306" fmla="*/ 5794534 w 6400800"/>
                <a:gd name="connsiteY306" fmla="*/ 253841 h 514350"/>
                <a:gd name="connsiteX307" fmla="*/ 5793581 w 6400800"/>
                <a:gd name="connsiteY307" fmla="*/ 268129 h 514350"/>
                <a:gd name="connsiteX308" fmla="*/ 5791676 w 6400800"/>
                <a:gd name="connsiteY308" fmla="*/ 270034 h 514350"/>
                <a:gd name="connsiteX309" fmla="*/ 5791676 w 6400800"/>
                <a:gd name="connsiteY309" fmla="*/ 270034 h 514350"/>
                <a:gd name="connsiteX310" fmla="*/ 5787867 w 6400800"/>
                <a:gd name="connsiteY310" fmla="*/ 239554 h 514350"/>
                <a:gd name="connsiteX311" fmla="*/ 5793581 w 6400800"/>
                <a:gd name="connsiteY311" fmla="*/ 224314 h 514350"/>
                <a:gd name="connsiteX312" fmla="*/ 5786914 w 6400800"/>
                <a:gd name="connsiteY312" fmla="*/ 234791 h 514350"/>
                <a:gd name="connsiteX313" fmla="*/ 5785009 w 6400800"/>
                <a:gd name="connsiteY313" fmla="*/ 205264 h 514350"/>
                <a:gd name="connsiteX314" fmla="*/ 5795487 w 6400800"/>
                <a:gd name="connsiteY314" fmla="*/ 183356 h 514350"/>
                <a:gd name="connsiteX315" fmla="*/ 5795487 w 6400800"/>
                <a:gd name="connsiteY315" fmla="*/ 184309 h 514350"/>
                <a:gd name="connsiteX316" fmla="*/ 5795487 w 6400800"/>
                <a:gd name="connsiteY316" fmla="*/ 183356 h 514350"/>
                <a:gd name="connsiteX317" fmla="*/ 5797392 w 6400800"/>
                <a:gd name="connsiteY317" fmla="*/ 178594 h 514350"/>
                <a:gd name="connsiteX318" fmla="*/ 5812631 w 6400800"/>
                <a:gd name="connsiteY318" fmla="*/ 145256 h 514350"/>
                <a:gd name="connsiteX319" fmla="*/ 5825967 w 6400800"/>
                <a:gd name="connsiteY319" fmla="*/ 115729 h 514350"/>
                <a:gd name="connsiteX320" fmla="*/ 5809774 w 6400800"/>
                <a:gd name="connsiteY320" fmla="*/ 143351 h 514350"/>
                <a:gd name="connsiteX321" fmla="*/ 5791676 w 6400800"/>
                <a:gd name="connsiteY321" fmla="*/ 173831 h 514350"/>
                <a:gd name="connsiteX322" fmla="*/ 5788819 w 6400800"/>
                <a:gd name="connsiteY322" fmla="*/ 170974 h 514350"/>
                <a:gd name="connsiteX323" fmla="*/ 5783104 w 6400800"/>
                <a:gd name="connsiteY323" fmla="*/ 169069 h 514350"/>
                <a:gd name="connsiteX324" fmla="*/ 5781199 w 6400800"/>
                <a:gd name="connsiteY324" fmla="*/ 169069 h 514350"/>
                <a:gd name="connsiteX325" fmla="*/ 5781199 w 6400800"/>
                <a:gd name="connsiteY325" fmla="*/ 170974 h 514350"/>
                <a:gd name="connsiteX326" fmla="*/ 5777389 w 6400800"/>
                <a:gd name="connsiteY326" fmla="*/ 197644 h 514350"/>
                <a:gd name="connsiteX327" fmla="*/ 5766912 w 6400800"/>
                <a:gd name="connsiteY327" fmla="*/ 217646 h 514350"/>
                <a:gd name="connsiteX328" fmla="*/ 5752624 w 6400800"/>
                <a:gd name="connsiteY328" fmla="*/ 244316 h 514350"/>
                <a:gd name="connsiteX329" fmla="*/ 5751671 w 6400800"/>
                <a:gd name="connsiteY329" fmla="*/ 233839 h 514350"/>
                <a:gd name="connsiteX330" fmla="*/ 5749767 w 6400800"/>
                <a:gd name="connsiteY330" fmla="*/ 216694 h 514350"/>
                <a:gd name="connsiteX331" fmla="*/ 5757387 w 6400800"/>
                <a:gd name="connsiteY331" fmla="*/ 190024 h 514350"/>
                <a:gd name="connsiteX332" fmla="*/ 5749767 w 6400800"/>
                <a:gd name="connsiteY332" fmla="*/ 210979 h 514350"/>
                <a:gd name="connsiteX333" fmla="*/ 5748814 w 6400800"/>
                <a:gd name="connsiteY333" fmla="*/ 204311 h 514350"/>
                <a:gd name="connsiteX334" fmla="*/ 5745004 w 6400800"/>
                <a:gd name="connsiteY334" fmla="*/ 178594 h 514350"/>
                <a:gd name="connsiteX335" fmla="*/ 5745004 w 6400800"/>
                <a:gd name="connsiteY335" fmla="*/ 204311 h 514350"/>
                <a:gd name="connsiteX336" fmla="*/ 5745004 w 6400800"/>
                <a:gd name="connsiteY336" fmla="*/ 222409 h 514350"/>
                <a:gd name="connsiteX337" fmla="*/ 5744051 w 6400800"/>
                <a:gd name="connsiteY337" fmla="*/ 225266 h 514350"/>
                <a:gd name="connsiteX338" fmla="*/ 5731669 w 6400800"/>
                <a:gd name="connsiteY338" fmla="*/ 259556 h 514350"/>
                <a:gd name="connsiteX339" fmla="*/ 5731669 w 6400800"/>
                <a:gd name="connsiteY339" fmla="*/ 258604 h 514350"/>
                <a:gd name="connsiteX340" fmla="*/ 5734526 w 6400800"/>
                <a:gd name="connsiteY340" fmla="*/ 238601 h 514350"/>
                <a:gd name="connsiteX341" fmla="*/ 5727859 w 6400800"/>
                <a:gd name="connsiteY341" fmla="*/ 258604 h 514350"/>
                <a:gd name="connsiteX342" fmla="*/ 5725954 w 6400800"/>
                <a:gd name="connsiteY342" fmla="*/ 264319 h 514350"/>
                <a:gd name="connsiteX343" fmla="*/ 5725954 w 6400800"/>
                <a:gd name="connsiteY343" fmla="*/ 263366 h 514350"/>
                <a:gd name="connsiteX344" fmla="*/ 5725954 w 6400800"/>
                <a:gd name="connsiteY344" fmla="*/ 262414 h 514350"/>
                <a:gd name="connsiteX345" fmla="*/ 5726906 w 6400800"/>
                <a:gd name="connsiteY345" fmla="*/ 256699 h 514350"/>
                <a:gd name="connsiteX346" fmla="*/ 5729764 w 6400800"/>
                <a:gd name="connsiteY346" fmla="*/ 242411 h 514350"/>
                <a:gd name="connsiteX347" fmla="*/ 5732621 w 6400800"/>
                <a:gd name="connsiteY347" fmla="*/ 230029 h 514350"/>
                <a:gd name="connsiteX348" fmla="*/ 5737384 w 6400800"/>
                <a:gd name="connsiteY348" fmla="*/ 210026 h 514350"/>
                <a:gd name="connsiteX349" fmla="*/ 5741194 w 6400800"/>
                <a:gd name="connsiteY349" fmla="*/ 191929 h 514350"/>
                <a:gd name="connsiteX350" fmla="*/ 5739289 w 6400800"/>
                <a:gd name="connsiteY350" fmla="*/ 196691 h 514350"/>
                <a:gd name="connsiteX351" fmla="*/ 5740242 w 6400800"/>
                <a:gd name="connsiteY351" fmla="*/ 190024 h 514350"/>
                <a:gd name="connsiteX352" fmla="*/ 5731669 w 6400800"/>
                <a:gd name="connsiteY352" fmla="*/ 211931 h 514350"/>
                <a:gd name="connsiteX353" fmla="*/ 5726906 w 6400800"/>
                <a:gd name="connsiteY353" fmla="*/ 224314 h 514350"/>
                <a:gd name="connsiteX354" fmla="*/ 5725001 w 6400800"/>
                <a:gd name="connsiteY354" fmla="*/ 228124 h 514350"/>
                <a:gd name="connsiteX355" fmla="*/ 5720239 w 6400800"/>
                <a:gd name="connsiteY355" fmla="*/ 240506 h 514350"/>
                <a:gd name="connsiteX356" fmla="*/ 5717381 w 6400800"/>
                <a:gd name="connsiteY356" fmla="*/ 250031 h 514350"/>
                <a:gd name="connsiteX357" fmla="*/ 5715476 w 6400800"/>
                <a:gd name="connsiteY357" fmla="*/ 254794 h 514350"/>
                <a:gd name="connsiteX358" fmla="*/ 5709762 w 6400800"/>
                <a:gd name="connsiteY358" fmla="*/ 272891 h 514350"/>
                <a:gd name="connsiteX359" fmla="*/ 5704046 w 6400800"/>
                <a:gd name="connsiteY359" fmla="*/ 290989 h 514350"/>
                <a:gd name="connsiteX360" fmla="*/ 5696426 w 6400800"/>
                <a:gd name="connsiteY360" fmla="*/ 275749 h 514350"/>
                <a:gd name="connsiteX361" fmla="*/ 5695474 w 6400800"/>
                <a:gd name="connsiteY361" fmla="*/ 269081 h 514350"/>
                <a:gd name="connsiteX362" fmla="*/ 5695474 w 6400800"/>
                <a:gd name="connsiteY362" fmla="*/ 272891 h 514350"/>
                <a:gd name="connsiteX363" fmla="*/ 5688806 w 6400800"/>
                <a:gd name="connsiteY363" fmla="*/ 259556 h 514350"/>
                <a:gd name="connsiteX364" fmla="*/ 5680234 w 6400800"/>
                <a:gd name="connsiteY364" fmla="*/ 243364 h 514350"/>
                <a:gd name="connsiteX365" fmla="*/ 5684996 w 6400800"/>
                <a:gd name="connsiteY365" fmla="*/ 260509 h 514350"/>
                <a:gd name="connsiteX366" fmla="*/ 5694521 w 6400800"/>
                <a:gd name="connsiteY366" fmla="*/ 292894 h 514350"/>
                <a:gd name="connsiteX367" fmla="*/ 5694521 w 6400800"/>
                <a:gd name="connsiteY367" fmla="*/ 309086 h 514350"/>
                <a:gd name="connsiteX368" fmla="*/ 5694521 w 6400800"/>
                <a:gd name="connsiteY368" fmla="*/ 323374 h 514350"/>
                <a:gd name="connsiteX369" fmla="*/ 5691664 w 6400800"/>
                <a:gd name="connsiteY369" fmla="*/ 331946 h 514350"/>
                <a:gd name="connsiteX370" fmla="*/ 5689759 w 6400800"/>
                <a:gd name="connsiteY370" fmla="*/ 329089 h 514350"/>
                <a:gd name="connsiteX371" fmla="*/ 5689759 w 6400800"/>
                <a:gd name="connsiteY371" fmla="*/ 320516 h 514350"/>
                <a:gd name="connsiteX372" fmla="*/ 5687854 w 6400800"/>
                <a:gd name="connsiteY372" fmla="*/ 286226 h 514350"/>
                <a:gd name="connsiteX373" fmla="*/ 5684996 w 6400800"/>
                <a:gd name="connsiteY373" fmla="*/ 319564 h 514350"/>
                <a:gd name="connsiteX374" fmla="*/ 5681187 w 6400800"/>
                <a:gd name="connsiteY374" fmla="*/ 312896 h 514350"/>
                <a:gd name="connsiteX375" fmla="*/ 5675471 w 6400800"/>
                <a:gd name="connsiteY375" fmla="*/ 273844 h 514350"/>
                <a:gd name="connsiteX376" fmla="*/ 5672614 w 6400800"/>
                <a:gd name="connsiteY376" fmla="*/ 253841 h 514350"/>
                <a:gd name="connsiteX377" fmla="*/ 5670709 w 6400800"/>
                <a:gd name="connsiteY377" fmla="*/ 235744 h 514350"/>
                <a:gd name="connsiteX378" fmla="*/ 5667851 w 6400800"/>
                <a:gd name="connsiteY378" fmla="*/ 207169 h 514350"/>
                <a:gd name="connsiteX379" fmla="*/ 5665946 w 6400800"/>
                <a:gd name="connsiteY379" fmla="*/ 188119 h 514350"/>
                <a:gd name="connsiteX380" fmla="*/ 5666899 w 6400800"/>
                <a:gd name="connsiteY380" fmla="*/ 183356 h 514350"/>
                <a:gd name="connsiteX381" fmla="*/ 5665946 w 6400800"/>
                <a:gd name="connsiteY381" fmla="*/ 186214 h 514350"/>
                <a:gd name="connsiteX382" fmla="*/ 5664994 w 6400800"/>
                <a:gd name="connsiteY382" fmla="*/ 181451 h 514350"/>
                <a:gd name="connsiteX383" fmla="*/ 5664994 w 6400800"/>
                <a:gd name="connsiteY383" fmla="*/ 188119 h 514350"/>
                <a:gd name="connsiteX384" fmla="*/ 5654517 w 6400800"/>
                <a:gd name="connsiteY384" fmla="*/ 211931 h 514350"/>
                <a:gd name="connsiteX385" fmla="*/ 5653564 w 6400800"/>
                <a:gd name="connsiteY385" fmla="*/ 205264 h 514350"/>
                <a:gd name="connsiteX386" fmla="*/ 5652612 w 6400800"/>
                <a:gd name="connsiteY386" fmla="*/ 189071 h 514350"/>
                <a:gd name="connsiteX387" fmla="*/ 5657374 w 6400800"/>
                <a:gd name="connsiteY387" fmla="*/ 179546 h 514350"/>
                <a:gd name="connsiteX388" fmla="*/ 5652612 w 6400800"/>
                <a:gd name="connsiteY388" fmla="*/ 187166 h 514350"/>
                <a:gd name="connsiteX389" fmla="*/ 5652612 w 6400800"/>
                <a:gd name="connsiteY389" fmla="*/ 185261 h 514350"/>
                <a:gd name="connsiteX390" fmla="*/ 5651659 w 6400800"/>
                <a:gd name="connsiteY390" fmla="*/ 167164 h 514350"/>
                <a:gd name="connsiteX391" fmla="*/ 5649754 w 6400800"/>
                <a:gd name="connsiteY391" fmla="*/ 179546 h 514350"/>
                <a:gd name="connsiteX392" fmla="*/ 5649754 w 6400800"/>
                <a:gd name="connsiteY392" fmla="*/ 178594 h 514350"/>
                <a:gd name="connsiteX393" fmla="*/ 5647849 w 6400800"/>
                <a:gd name="connsiteY393" fmla="*/ 159544 h 514350"/>
                <a:gd name="connsiteX394" fmla="*/ 5646896 w 6400800"/>
                <a:gd name="connsiteY394" fmla="*/ 142399 h 514350"/>
                <a:gd name="connsiteX395" fmla="*/ 5645944 w 6400800"/>
                <a:gd name="connsiteY395" fmla="*/ 114776 h 514350"/>
                <a:gd name="connsiteX396" fmla="*/ 5644992 w 6400800"/>
                <a:gd name="connsiteY396" fmla="*/ 90011 h 514350"/>
                <a:gd name="connsiteX397" fmla="*/ 5641181 w 6400800"/>
                <a:gd name="connsiteY397" fmla="*/ 113824 h 514350"/>
                <a:gd name="connsiteX398" fmla="*/ 5639276 w 6400800"/>
                <a:gd name="connsiteY398" fmla="*/ 141446 h 514350"/>
                <a:gd name="connsiteX399" fmla="*/ 5638324 w 6400800"/>
                <a:gd name="connsiteY399" fmla="*/ 158591 h 514350"/>
                <a:gd name="connsiteX400" fmla="*/ 5638324 w 6400800"/>
                <a:gd name="connsiteY400" fmla="*/ 177641 h 514350"/>
                <a:gd name="connsiteX401" fmla="*/ 5639276 w 6400800"/>
                <a:gd name="connsiteY401" fmla="*/ 205264 h 514350"/>
                <a:gd name="connsiteX402" fmla="*/ 5637371 w 6400800"/>
                <a:gd name="connsiteY402" fmla="*/ 208121 h 514350"/>
                <a:gd name="connsiteX403" fmla="*/ 5636419 w 6400800"/>
                <a:gd name="connsiteY403" fmla="*/ 209074 h 514350"/>
                <a:gd name="connsiteX404" fmla="*/ 5636419 w 6400800"/>
                <a:gd name="connsiteY404" fmla="*/ 208121 h 514350"/>
                <a:gd name="connsiteX405" fmla="*/ 5636419 w 6400800"/>
                <a:gd name="connsiteY405" fmla="*/ 209074 h 514350"/>
                <a:gd name="connsiteX406" fmla="*/ 5631656 w 6400800"/>
                <a:gd name="connsiteY406" fmla="*/ 215741 h 514350"/>
                <a:gd name="connsiteX407" fmla="*/ 5626894 w 6400800"/>
                <a:gd name="connsiteY407" fmla="*/ 192881 h 514350"/>
                <a:gd name="connsiteX408" fmla="*/ 5626894 w 6400800"/>
                <a:gd name="connsiteY408" fmla="*/ 222409 h 514350"/>
                <a:gd name="connsiteX409" fmla="*/ 5626894 w 6400800"/>
                <a:gd name="connsiteY409" fmla="*/ 223361 h 514350"/>
                <a:gd name="connsiteX410" fmla="*/ 5618321 w 6400800"/>
                <a:gd name="connsiteY410" fmla="*/ 211931 h 514350"/>
                <a:gd name="connsiteX411" fmla="*/ 5593556 w 6400800"/>
                <a:gd name="connsiteY411" fmla="*/ 181451 h 514350"/>
                <a:gd name="connsiteX412" fmla="*/ 5570696 w 6400800"/>
                <a:gd name="connsiteY412" fmla="*/ 155734 h 514350"/>
                <a:gd name="connsiteX413" fmla="*/ 5590699 w 6400800"/>
                <a:gd name="connsiteY413" fmla="*/ 184309 h 514350"/>
                <a:gd name="connsiteX414" fmla="*/ 5612606 w 6400800"/>
                <a:gd name="connsiteY414" fmla="*/ 217646 h 514350"/>
                <a:gd name="connsiteX415" fmla="*/ 5616417 w 6400800"/>
                <a:gd name="connsiteY415" fmla="*/ 223361 h 514350"/>
                <a:gd name="connsiteX416" fmla="*/ 5620226 w 6400800"/>
                <a:gd name="connsiteY416" fmla="*/ 233839 h 514350"/>
                <a:gd name="connsiteX417" fmla="*/ 5620226 w 6400800"/>
                <a:gd name="connsiteY417" fmla="*/ 234791 h 514350"/>
                <a:gd name="connsiteX418" fmla="*/ 5616417 w 6400800"/>
                <a:gd name="connsiteY418" fmla="*/ 241459 h 514350"/>
                <a:gd name="connsiteX419" fmla="*/ 5616417 w 6400800"/>
                <a:gd name="connsiteY419" fmla="*/ 240506 h 514350"/>
                <a:gd name="connsiteX420" fmla="*/ 5616417 w 6400800"/>
                <a:gd name="connsiteY420" fmla="*/ 241459 h 514350"/>
                <a:gd name="connsiteX421" fmla="*/ 5614512 w 6400800"/>
                <a:gd name="connsiteY421" fmla="*/ 245269 h 514350"/>
                <a:gd name="connsiteX422" fmla="*/ 5594509 w 6400800"/>
                <a:gd name="connsiteY422" fmla="*/ 280511 h 514350"/>
                <a:gd name="connsiteX423" fmla="*/ 5594509 w 6400800"/>
                <a:gd name="connsiteY423" fmla="*/ 275749 h 514350"/>
                <a:gd name="connsiteX424" fmla="*/ 5594509 w 6400800"/>
                <a:gd name="connsiteY424" fmla="*/ 268129 h 514350"/>
                <a:gd name="connsiteX425" fmla="*/ 5596414 w 6400800"/>
                <a:gd name="connsiteY425" fmla="*/ 256699 h 514350"/>
                <a:gd name="connsiteX426" fmla="*/ 5594509 w 6400800"/>
                <a:gd name="connsiteY426" fmla="*/ 263366 h 514350"/>
                <a:gd name="connsiteX427" fmla="*/ 5594509 w 6400800"/>
                <a:gd name="connsiteY427" fmla="*/ 262414 h 514350"/>
                <a:gd name="connsiteX428" fmla="*/ 5592604 w 6400800"/>
                <a:gd name="connsiteY428" fmla="*/ 250031 h 514350"/>
                <a:gd name="connsiteX429" fmla="*/ 5590699 w 6400800"/>
                <a:gd name="connsiteY429" fmla="*/ 232886 h 514350"/>
                <a:gd name="connsiteX430" fmla="*/ 5596414 w 6400800"/>
                <a:gd name="connsiteY430" fmla="*/ 217646 h 514350"/>
                <a:gd name="connsiteX431" fmla="*/ 5589746 w 6400800"/>
                <a:gd name="connsiteY431" fmla="*/ 230029 h 514350"/>
                <a:gd name="connsiteX432" fmla="*/ 5589746 w 6400800"/>
                <a:gd name="connsiteY432" fmla="*/ 230029 h 514350"/>
                <a:gd name="connsiteX433" fmla="*/ 5586889 w 6400800"/>
                <a:gd name="connsiteY433" fmla="*/ 211931 h 514350"/>
                <a:gd name="connsiteX434" fmla="*/ 5585937 w 6400800"/>
                <a:gd name="connsiteY434" fmla="*/ 230029 h 514350"/>
                <a:gd name="connsiteX435" fmla="*/ 5585937 w 6400800"/>
                <a:gd name="connsiteY435" fmla="*/ 230981 h 514350"/>
                <a:gd name="connsiteX436" fmla="*/ 5583079 w 6400800"/>
                <a:gd name="connsiteY436" fmla="*/ 213836 h 514350"/>
                <a:gd name="connsiteX437" fmla="*/ 5583079 w 6400800"/>
                <a:gd name="connsiteY437" fmla="*/ 242411 h 514350"/>
                <a:gd name="connsiteX438" fmla="*/ 5581174 w 6400800"/>
                <a:gd name="connsiteY438" fmla="*/ 246221 h 514350"/>
                <a:gd name="connsiteX439" fmla="*/ 5579269 w 6400800"/>
                <a:gd name="connsiteY439" fmla="*/ 250031 h 514350"/>
                <a:gd name="connsiteX440" fmla="*/ 5571649 w 6400800"/>
                <a:gd name="connsiteY440" fmla="*/ 209074 h 514350"/>
                <a:gd name="connsiteX441" fmla="*/ 5567839 w 6400800"/>
                <a:gd name="connsiteY441" fmla="*/ 189071 h 514350"/>
                <a:gd name="connsiteX442" fmla="*/ 5563076 w 6400800"/>
                <a:gd name="connsiteY442" fmla="*/ 170974 h 514350"/>
                <a:gd name="connsiteX443" fmla="*/ 5555456 w 6400800"/>
                <a:gd name="connsiteY443" fmla="*/ 141446 h 514350"/>
                <a:gd name="connsiteX444" fmla="*/ 5548789 w 6400800"/>
                <a:gd name="connsiteY444" fmla="*/ 115729 h 514350"/>
                <a:gd name="connsiteX445" fmla="*/ 5551646 w 6400800"/>
                <a:gd name="connsiteY445" fmla="*/ 142399 h 514350"/>
                <a:gd name="connsiteX446" fmla="*/ 5555456 w 6400800"/>
                <a:gd name="connsiteY446" fmla="*/ 172879 h 514350"/>
                <a:gd name="connsiteX447" fmla="*/ 5558314 w 6400800"/>
                <a:gd name="connsiteY447" fmla="*/ 190976 h 514350"/>
                <a:gd name="connsiteX448" fmla="*/ 5560219 w 6400800"/>
                <a:gd name="connsiteY448" fmla="*/ 211931 h 514350"/>
                <a:gd name="connsiteX449" fmla="*/ 5564981 w 6400800"/>
                <a:gd name="connsiteY449" fmla="*/ 257651 h 514350"/>
                <a:gd name="connsiteX450" fmla="*/ 5565934 w 6400800"/>
                <a:gd name="connsiteY450" fmla="*/ 274796 h 514350"/>
                <a:gd name="connsiteX451" fmla="*/ 5564029 w 6400800"/>
                <a:gd name="connsiteY451" fmla="*/ 278606 h 514350"/>
                <a:gd name="connsiteX452" fmla="*/ 5561171 w 6400800"/>
                <a:gd name="connsiteY452" fmla="*/ 284321 h 514350"/>
                <a:gd name="connsiteX453" fmla="*/ 5549742 w 6400800"/>
                <a:gd name="connsiteY453" fmla="*/ 264319 h 514350"/>
                <a:gd name="connsiteX454" fmla="*/ 5548789 w 6400800"/>
                <a:gd name="connsiteY454" fmla="*/ 261461 h 514350"/>
                <a:gd name="connsiteX455" fmla="*/ 5544026 w 6400800"/>
                <a:gd name="connsiteY455" fmla="*/ 247174 h 514350"/>
                <a:gd name="connsiteX456" fmla="*/ 5547837 w 6400800"/>
                <a:gd name="connsiteY456" fmla="*/ 228124 h 514350"/>
                <a:gd name="connsiteX457" fmla="*/ 5542121 w 6400800"/>
                <a:gd name="connsiteY457" fmla="*/ 241459 h 514350"/>
                <a:gd name="connsiteX458" fmla="*/ 5541169 w 6400800"/>
                <a:gd name="connsiteY458" fmla="*/ 238601 h 514350"/>
                <a:gd name="connsiteX459" fmla="*/ 5538312 w 6400800"/>
                <a:gd name="connsiteY459" fmla="*/ 230029 h 514350"/>
                <a:gd name="connsiteX460" fmla="*/ 5551646 w 6400800"/>
                <a:gd name="connsiteY460" fmla="*/ 167164 h 514350"/>
                <a:gd name="connsiteX461" fmla="*/ 5528787 w 6400800"/>
                <a:gd name="connsiteY461" fmla="*/ 225266 h 514350"/>
                <a:gd name="connsiteX462" fmla="*/ 5524976 w 6400800"/>
                <a:gd name="connsiteY462" fmla="*/ 217646 h 514350"/>
                <a:gd name="connsiteX463" fmla="*/ 5524024 w 6400800"/>
                <a:gd name="connsiteY463" fmla="*/ 207169 h 514350"/>
                <a:gd name="connsiteX464" fmla="*/ 5521167 w 6400800"/>
                <a:gd name="connsiteY464" fmla="*/ 185261 h 514350"/>
                <a:gd name="connsiteX465" fmla="*/ 5520214 w 6400800"/>
                <a:gd name="connsiteY465" fmla="*/ 207169 h 514350"/>
                <a:gd name="connsiteX466" fmla="*/ 5520214 w 6400800"/>
                <a:gd name="connsiteY466" fmla="*/ 232886 h 514350"/>
                <a:gd name="connsiteX467" fmla="*/ 5520214 w 6400800"/>
                <a:gd name="connsiteY467" fmla="*/ 248126 h 514350"/>
                <a:gd name="connsiteX468" fmla="*/ 5520214 w 6400800"/>
                <a:gd name="connsiteY468" fmla="*/ 250984 h 514350"/>
                <a:gd name="connsiteX469" fmla="*/ 5505926 w 6400800"/>
                <a:gd name="connsiteY469" fmla="*/ 291941 h 514350"/>
                <a:gd name="connsiteX470" fmla="*/ 5503069 w 6400800"/>
                <a:gd name="connsiteY470" fmla="*/ 300514 h 514350"/>
                <a:gd name="connsiteX471" fmla="*/ 5498306 w 6400800"/>
                <a:gd name="connsiteY471" fmla="*/ 290989 h 514350"/>
                <a:gd name="connsiteX472" fmla="*/ 5498306 w 6400800"/>
                <a:gd name="connsiteY472" fmla="*/ 285274 h 514350"/>
                <a:gd name="connsiteX473" fmla="*/ 5499259 w 6400800"/>
                <a:gd name="connsiteY473" fmla="*/ 269081 h 514350"/>
                <a:gd name="connsiteX474" fmla="*/ 5494496 w 6400800"/>
                <a:gd name="connsiteY474" fmla="*/ 284321 h 514350"/>
                <a:gd name="connsiteX475" fmla="*/ 5481162 w 6400800"/>
                <a:gd name="connsiteY475" fmla="*/ 257651 h 514350"/>
                <a:gd name="connsiteX476" fmla="*/ 5483067 w 6400800"/>
                <a:gd name="connsiteY476" fmla="*/ 251936 h 514350"/>
                <a:gd name="connsiteX477" fmla="*/ 5492592 w 6400800"/>
                <a:gd name="connsiteY477" fmla="*/ 224314 h 514350"/>
                <a:gd name="connsiteX478" fmla="*/ 5500212 w 6400800"/>
                <a:gd name="connsiteY478" fmla="*/ 200501 h 514350"/>
                <a:gd name="connsiteX479" fmla="*/ 5493544 w 6400800"/>
                <a:gd name="connsiteY479" fmla="*/ 212884 h 514350"/>
                <a:gd name="connsiteX480" fmla="*/ 5502117 w 6400800"/>
                <a:gd name="connsiteY480" fmla="*/ 188119 h 514350"/>
                <a:gd name="connsiteX481" fmla="*/ 5511642 w 6400800"/>
                <a:gd name="connsiteY481" fmla="*/ 160496 h 514350"/>
                <a:gd name="connsiteX482" fmla="*/ 5498306 w 6400800"/>
                <a:gd name="connsiteY482" fmla="*/ 186214 h 514350"/>
                <a:gd name="connsiteX483" fmla="*/ 5484019 w 6400800"/>
                <a:gd name="connsiteY483" fmla="*/ 215741 h 514350"/>
                <a:gd name="connsiteX484" fmla="*/ 5475446 w 6400800"/>
                <a:gd name="connsiteY484" fmla="*/ 233839 h 514350"/>
                <a:gd name="connsiteX485" fmla="*/ 5472589 w 6400800"/>
                <a:gd name="connsiteY485" fmla="*/ 241459 h 514350"/>
                <a:gd name="connsiteX486" fmla="*/ 5461159 w 6400800"/>
                <a:gd name="connsiteY486" fmla="*/ 221456 h 514350"/>
                <a:gd name="connsiteX487" fmla="*/ 5469731 w 6400800"/>
                <a:gd name="connsiteY487" fmla="*/ 248126 h 514350"/>
                <a:gd name="connsiteX488" fmla="*/ 5466874 w 6400800"/>
                <a:gd name="connsiteY488" fmla="*/ 254794 h 514350"/>
                <a:gd name="connsiteX489" fmla="*/ 5465921 w 6400800"/>
                <a:gd name="connsiteY489" fmla="*/ 257651 h 514350"/>
                <a:gd name="connsiteX490" fmla="*/ 5464969 w 6400800"/>
                <a:gd name="connsiteY490" fmla="*/ 256699 h 514350"/>
                <a:gd name="connsiteX491" fmla="*/ 5455444 w 6400800"/>
                <a:gd name="connsiteY491" fmla="*/ 246221 h 514350"/>
                <a:gd name="connsiteX492" fmla="*/ 5452587 w 6400800"/>
                <a:gd name="connsiteY492" fmla="*/ 230029 h 514350"/>
                <a:gd name="connsiteX493" fmla="*/ 5448776 w 6400800"/>
                <a:gd name="connsiteY493" fmla="*/ 214789 h 514350"/>
                <a:gd name="connsiteX494" fmla="*/ 5442109 w 6400800"/>
                <a:gd name="connsiteY494" fmla="*/ 190024 h 514350"/>
                <a:gd name="connsiteX495" fmla="*/ 5442109 w 6400800"/>
                <a:gd name="connsiteY495" fmla="*/ 190024 h 514350"/>
                <a:gd name="connsiteX496" fmla="*/ 5442109 w 6400800"/>
                <a:gd name="connsiteY496" fmla="*/ 180499 h 514350"/>
                <a:gd name="connsiteX497" fmla="*/ 5441156 w 6400800"/>
                <a:gd name="connsiteY497" fmla="*/ 186214 h 514350"/>
                <a:gd name="connsiteX498" fmla="*/ 5436394 w 6400800"/>
                <a:gd name="connsiteY498" fmla="*/ 169069 h 514350"/>
                <a:gd name="connsiteX499" fmla="*/ 5438299 w 6400800"/>
                <a:gd name="connsiteY499" fmla="*/ 190976 h 514350"/>
                <a:gd name="connsiteX500" fmla="*/ 5439251 w 6400800"/>
                <a:gd name="connsiteY500" fmla="*/ 195739 h 514350"/>
                <a:gd name="connsiteX501" fmla="*/ 5433537 w 6400800"/>
                <a:gd name="connsiteY501" fmla="*/ 225266 h 514350"/>
                <a:gd name="connsiteX502" fmla="*/ 5429726 w 6400800"/>
                <a:gd name="connsiteY502" fmla="*/ 221456 h 514350"/>
                <a:gd name="connsiteX503" fmla="*/ 5433537 w 6400800"/>
                <a:gd name="connsiteY503" fmla="*/ 225266 h 514350"/>
                <a:gd name="connsiteX504" fmla="*/ 5430679 w 6400800"/>
                <a:gd name="connsiteY504" fmla="*/ 240506 h 514350"/>
                <a:gd name="connsiteX505" fmla="*/ 5428774 w 6400800"/>
                <a:gd name="connsiteY505" fmla="*/ 228124 h 514350"/>
                <a:gd name="connsiteX506" fmla="*/ 5428774 w 6400800"/>
                <a:gd name="connsiteY506" fmla="*/ 242411 h 514350"/>
                <a:gd name="connsiteX507" fmla="*/ 5424012 w 6400800"/>
                <a:gd name="connsiteY507" fmla="*/ 222409 h 514350"/>
                <a:gd name="connsiteX508" fmla="*/ 5419249 w 6400800"/>
                <a:gd name="connsiteY508" fmla="*/ 200501 h 514350"/>
                <a:gd name="connsiteX509" fmla="*/ 5420201 w 6400800"/>
                <a:gd name="connsiteY509" fmla="*/ 223361 h 514350"/>
                <a:gd name="connsiteX510" fmla="*/ 5424964 w 6400800"/>
                <a:gd name="connsiteY510" fmla="*/ 274796 h 514350"/>
                <a:gd name="connsiteX511" fmla="*/ 5420201 w 6400800"/>
                <a:gd name="connsiteY511" fmla="*/ 299561 h 514350"/>
                <a:gd name="connsiteX512" fmla="*/ 5418296 w 6400800"/>
                <a:gd name="connsiteY512" fmla="*/ 305276 h 514350"/>
                <a:gd name="connsiteX513" fmla="*/ 5415439 w 6400800"/>
                <a:gd name="connsiteY513" fmla="*/ 298609 h 514350"/>
                <a:gd name="connsiteX514" fmla="*/ 5417344 w 6400800"/>
                <a:gd name="connsiteY514" fmla="*/ 291941 h 514350"/>
                <a:gd name="connsiteX515" fmla="*/ 5414487 w 6400800"/>
                <a:gd name="connsiteY515" fmla="*/ 296704 h 514350"/>
                <a:gd name="connsiteX516" fmla="*/ 5414487 w 6400800"/>
                <a:gd name="connsiteY516" fmla="*/ 295751 h 514350"/>
                <a:gd name="connsiteX517" fmla="*/ 5411629 w 6400800"/>
                <a:gd name="connsiteY517" fmla="*/ 287179 h 514350"/>
                <a:gd name="connsiteX518" fmla="*/ 5414487 w 6400800"/>
                <a:gd name="connsiteY518" fmla="*/ 268129 h 514350"/>
                <a:gd name="connsiteX519" fmla="*/ 5409724 w 6400800"/>
                <a:gd name="connsiteY519" fmla="*/ 282416 h 514350"/>
                <a:gd name="connsiteX520" fmla="*/ 5404009 w 6400800"/>
                <a:gd name="connsiteY520" fmla="*/ 267176 h 514350"/>
                <a:gd name="connsiteX521" fmla="*/ 5399246 w 6400800"/>
                <a:gd name="connsiteY521" fmla="*/ 253841 h 514350"/>
                <a:gd name="connsiteX522" fmla="*/ 5400199 w 6400800"/>
                <a:gd name="connsiteY522" fmla="*/ 232886 h 514350"/>
                <a:gd name="connsiteX523" fmla="*/ 5396389 w 6400800"/>
                <a:gd name="connsiteY523" fmla="*/ 247174 h 514350"/>
                <a:gd name="connsiteX524" fmla="*/ 5395437 w 6400800"/>
                <a:gd name="connsiteY524" fmla="*/ 244316 h 514350"/>
                <a:gd name="connsiteX525" fmla="*/ 5387817 w 6400800"/>
                <a:gd name="connsiteY525" fmla="*/ 224314 h 514350"/>
                <a:gd name="connsiteX526" fmla="*/ 5391626 w 6400800"/>
                <a:gd name="connsiteY526" fmla="*/ 245269 h 514350"/>
                <a:gd name="connsiteX527" fmla="*/ 5394484 w 6400800"/>
                <a:gd name="connsiteY527" fmla="*/ 257651 h 514350"/>
                <a:gd name="connsiteX528" fmla="*/ 5384959 w 6400800"/>
                <a:gd name="connsiteY528" fmla="*/ 300514 h 514350"/>
                <a:gd name="connsiteX529" fmla="*/ 5384006 w 6400800"/>
                <a:gd name="connsiteY529" fmla="*/ 297656 h 514350"/>
                <a:gd name="connsiteX530" fmla="*/ 5382101 w 6400800"/>
                <a:gd name="connsiteY530" fmla="*/ 283369 h 514350"/>
                <a:gd name="connsiteX531" fmla="*/ 5382101 w 6400800"/>
                <a:gd name="connsiteY531" fmla="*/ 287179 h 514350"/>
                <a:gd name="connsiteX532" fmla="*/ 5380196 w 6400800"/>
                <a:gd name="connsiteY532" fmla="*/ 276701 h 514350"/>
                <a:gd name="connsiteX533" fmla="*/ 5379244 w 6400800"/>
                <a:gd name="connsiteY533" fmla="*/ 272891 h 514350"/>
                <a:gd name="connsiteX534" fmla="*/ 5380196 w 6400800"/>
                <a:gd name="connsiteY534" fmla="*/ 269081 h 514350"/>
                <a:gd name="connsiteX535" fmla="*/ 5379244 w 6400800"/>
                <a:gd name="connsiteY535" fmla="*/ 271939 h 514350"/>
                <a:gd name="connsiteX536" fmla="*/ 5372576 w 6400800"/>
                <a:gd name="connsiteY536" fmla="*/ 241459 h 514350"/>
                <a:gd name="connsiteX537" fmla="*/ 5373529 w 6400800"/>
                <a:gd name="connsiteY537" fmla="*/ 232886 h 514350"/>
                <a:gd name="connsiteX538" fmla="*/ 5378292 w 6400800"/>
                <a:gd name="connsiteY538" fmla="*/ 190024 h 514350"/>
                <a:gd name="connsiteX539" fmla="*/ 5384006 w 6400800"/>
                <a:gd name="connsiteY539" fmla="*/ 153829 h 514350"/>
                <a:gd name="connsiteX540" fmla="*/ 5386864 w 6400800"/>
                <a:gd name="connsiteY540" fmla="*/ 138589 h 514350"/>
                <a:gd name="connsiteX541" fmla="*/ 5389721 w 6400800"/>
                <a:gd name="connsiteY541" fmla="*/ 126206 h 514350"/>
                <a:gd name="connsiteX542" fmla="*/ 5394484 w 6400800"/>
                <a:gd name="connsiteY542" fmla="*/ 102394 h 514350"/>
                <a:gd name="connsiteX543" fmla="*/ 5385912 w 6400800"/>
                <a:gd name="connsiteY543" fmla="*/ 125254 h 514350"/>
                <a:gd name="connsiteX544" fmla="*/ 5381149 w 6400800"/>
                <a:gd name="connsiteY544" fmla="*/ 137636 h 514350"/>
                <a:gd name="connsiteX545" fmla="*/ 5376387 w 6400800"/>
                <a:gd name="connsiteY545" fmla="*/ 151924 h 514350"/>
                <a:gd name="connsiteX546" fmla="*/ 5366862 w 6400800"/>
                <a:gd name="connsiteY546" fmla="*/ 188119 h 514350"/>
                <a:gd name="connsiteX547" fmla="*/ 5363051 w 6400800"/>
                <a:gd name="connsiteY547" fmla="*/ 205264 h 514350"/>
                <a:gd name="connsiteX548" fmla="*/ 5360194 w 6400800"/>
                <a:gd name="connsiteY548" fmla="*/ 196691 h 514350"/>
                <a:gd name="connsiteX549" fmla="*/ 5361146 w 6400800"/>
                <a:gd name="connsiteY549" fmla="*/ 210979 h 514350"/>
                <a:gd name="connsiteX550" fmla="*/ 5357337 w 6400800"/>
                <a:gd name="connsiteY550" fmla="*/ 230981 h 514350"/>
                <a:gd name="connsiteX551" fmla="*/ 5355431 w 6400800"/>
                <a:gd name="connsiteY551" fmla="*/ 245269 h 514350"/>
                <a:gd name="connsiteX552" fmla="*/ 5354479 w 6400800"/>
                <a:gd name="connsiteY552" fmla="*/ 235744 h 514350"/>
                <a:gd name="connsiteX553" fmla="*/ 5354479 w 6400800"/>
                <a:gd name="connsiteY553" fmla="*/ 230029 h 514350"/>
                <a:gd name="connsiteX554" fmla="*/ 5355431 w 6400800"/>
                <a:gd name="connsiteY554" fmla="*/ 210979 h 514350"/>
                <a:gd name="connsiteX555" fmla="*/ 5352574 w 6400800"/>
                <a:gd name="connsiteY555" fmla="*/ 222409 h 514350"/>
                <a:gd name="connsiteX556" fmla="*/ 5347812 w 6400800"/>
                <a:gd name="connsiteY556" fmla="*/ 190024 h 514350"/>
                <a:gd name="connsiteX557" fmla="*/ 5347812 w 6400800"/>
                <a:gd name="connsiteY557" fmla="*/ 179546 h 514350"/>
                <a:gd name="connsiteX558" fmla="*/ 5347812 w 6400800"/>
                <a:gd name="connsiteY558" fmla="*/ 160496 h 514350"/>
                <a:gd name="connsiteX559" fmla="*/ 5344954 w 6400800"/>
                <a:gd name="connsiteY559" fmla="*/ 173831 h 514350"/>
                <a:gd name="connsiteX560" fmla="*/ 5341144 w 6400800"/>
                <a:gd name="connsiteY560" fmla="*/ 150019 h 514350"/>
                <a:gd name="connsiteX561" fmla="*/ 5342096 w 6400800"/>
                <a:gd name="connsiteY561" fmla="*/ 177641 h 514350"/>
                <a:gd name="connsiteX562" fmla="*/ 5342096 w 6400800"/>
                <a:gd name="connsiteY562" fmla="*/ 187166 h 514350"/>
                <a:gd name="connsiteX563" fmla="*/ 5340192 w 6400800"/>
                <a:gd name="connsiteY563" fmla="*/ 200501 h 514350"/>
                <a:gd name="connsiteX564" fmla="*/ 5337334 w 6400800"/>
                <a:gd name="connsiteY564" fmla="*/ 229076 h 514350"/>
                <a:gd name="connsiteX565" fmla="*/ 5336381 w 6400800"/>
                <a:gd name="connsiteY565" fmla="*/ 263366 h 514350"/>
                <a:gd name="connsiteX566" fmla="*/ 5336381 w 6400800"/>
                <a:gd name="connsiteY566" fmla="*/ 282416 h 514350"/>
                <a:gd name="connsiteX567" fmla="*/ 5336381 w 6400800"/>
                <a:gd name="connsiteY567" fmla="*/ 282416 h 514350"/>
                <a:gd name="connsiteX568" fmla="*/ 5333524 w 6400800"/>
                <a:gd name="connsiteY568" fmla="*/ 293846 h 514350"/>
                <a:gd name="connsiteX569" fmla="*/ 5332571 w 6400800"/>
                <a:gd name="connsiteY569" fmla="*/ 291941 h 514350"/>
                <a:gd name="connsiteX570" fmla="*/ 5327809 w 6400800"/>
                <a:gd name="connsiteY570" fmla="*/ 278606 h 514350"/>
                <a:gd name="connsiteX571" fmla="*/ 5319237 w 6400800"/>
                <a:gd name="connsiteY571" fmla="*/ 252889 h 514350"/>
                <a:gd name="connsiteX572" fmla="*/ 5310664 w 6400800"/>
                <a:gd name="connsiteY572" fmla="*/ 230029 h 514350"/>
                <a:gd name="connsiteX573" fmla="*/ 5315426 w 6400800"/>
                <a:gd name="connsiteY573" fmla="*/ 253841 h 514350"/>
                <a:gd name="connsiteX574" fmla="*/ 5318284 w 6400800"/>
                <a:gd name="connsiteY574" fmla="*/ 267176 h 514350"/>
                <a:gd name="connsiteX575" fmla="*/ 5315426 w 6400800"/>
                <a:gd name="connsiteY575" fmla="*/ 263366 h 514350"/>
                <a:gd name="connsiteX576" fmla="*/ 5320189 w 6400800"/>
                <a:gd name="connsiteY576" fmla="*/ 276701 h 514350"/>
                <a:gd name="connsiteX577" fmla="*/ 5321142 w 6400800"/>
                <a:gd name="connsiteY577" fmla="*/ 281464 h 514350"/>
                <a:gd name="connsiteX578" fmla="*/ 5324951 w 6400800"/>
                <a:gd name="connsiteY578" fmla="*/ 297656 h 514350"/>
                <a:gd name="connsiteX579" fmla="*/ 5326856 w 6400800"/>
                <a:gd name="connsiteY579" fmla="*/ 306229 h 514350"/>
                <a:gd name="connsiteX580" fmla="*/ 5316379 w 6400800"/>
                <a:gd name="connsiteY580" fmla="*/ 322421 h 514350"/>
                <a:gd name="connsiteX581" fmla="*/ 5306854 w 6400800"/>
                <a:gd name="connsiteY581" fmla="*/ 338614 h 514350"/>
                <a:gd name="connsiteX582" fmla="*/ 5298281 w 6400800"/>
                <a:gd name="connsiteY582" fmla="*/ 354806 h 514350"/>
                <a:gd name="connsiteX583" fmla="*/ 5298281 w 6400800"/>
                <a:gd name="connsiteY583" fmla="*/ 344329 h 514350"/>
                <a:gd name="connsiteX584" fmla="*/ 5301139 w 6400800"/>
                <a:gd name="connsiteY584" fmla="*/ 318611 h 514350"/>
                <a:gd name="connsiteX585" fmla="*/ 5305901 w 6400800"/>
                <a:gd name="connsiteY585" fmla="*/ 291941 h 514350"/>
                <a:gd name="connsiteX586" fmla="*/ 5311617 w 6400800"/>
                <a:gd name="connsiteY586" fmla="*/ 269081 h 514350"/>
                <a:gd name="connsiteX587" fmla="*/ 5302092 w 6400800"/>
                <a:gd name="connsiteY587" fmla="*/ 290989 h 514350"/>
                <a:gd name="connsiteX588" fmla="*/ 5299234 w 6400800"/>
                <a:gd name="connsiteY588" fmla="*/ 298609 h 514350"/>
                <a:gd name="connsiteX589" fmla="*/ 5299234 w 6400800"/>
                <a:gd name="connsiteY589" fmla="*/ 263366 h 514350"/>
                <a:gd name="connsiteX590" fmla="*/ 5290662 w 6400800"/>
                <a:gd name="connsiteY590" fmla="*/ 317659 h 514350"/>
                <a:gd name="connsiteX591" fmla="*/ 5289709 w 6400800"/>
                <a:gd name="connsiteY591" fmla="*/ 312896 h 514350"/>
                <a:gd name="connsiteX592" fmla="*/ 5284946 w 6400800"/>
                <a:gd name="connsiteY592" fmla="*/ 295751 h 514350"/>
                <a:gd name="connsiteX593" fmla="*/ 5284946 w 6400800"/>
                <a:gd name="connsiteY593" fmla="*/ 295751 h 514350"/>
                <a:gd name="connsiteX594" fmla="*/ 5284946 w 6400800"/>
                <a:gd name="connsiteY594" fmla="*/ 295751 h 514350"/>
                <a:gd name="connsiteX595" fmla="*/ 5282089 w 6400800"/>
                <a:gd name="connsiteY595" fmla="*/ 284321 h 514350"/>
                <a:gd name="connsiteX596" fmla="*/ 5281137 w 6400800"/>
                <a:gd name="connsiteY596" fmla="*/ 282416 h 514350"/>
                <a:gd name="connsiteX597" fmla="*/ 5288756 w 6400800"/>
                <a:gd name="connsiteY597" fmla="*/ 252889 h 514350"/>
                <a:gd name="connsiteX598" fmla="*/ 5279231 w 6400800"/>
                <a:gd name="connsiteY598" fmla="*/ 273844 h 514350"/>
                <a:gd name="connsiteX599" fmla="*/ 5275421 w 6400800"/>
                <a:gd name="connsiteY599" fmla="*/ 262414 h 514350"/>
                <a:gd name="connsiteX600" fmla="*/ 5268754 w 6400800"/>
                <a:gd name="connsiteY600" fmla="*/ 243364 h 514350"/>
                <a:gd name="connsiteX601" fmla="*/ 5271612 w 6400800"/>
                <a:gd name="connsiteY601" fmla="*/ 262414 h 514350"/>
                <a:gd name="connsiteX602" fmla="*/ 5274469 w 6400800"/>
                <a:gd name="connsiteY602" fmla="*/ 283369 h 514350"/>
                <a:gd name="connsiteX603" fmla="*/ 5263039 w 6400800"/>
                <a:gd name="connsiteY603" fmla="*/ 310039 h 514350"/>
                <a:gd name="connsiteX604" fmla="*/ 5263039 w 6400800"/>
                <a:gd name="connsiteY604" fmla="*/ 302419 h 514350"/>
                <a:gd name="connsiteX605" fmla="*/ 5260181 w 6400800"/>
                <a:gd name="connsiteY605" fmla="*/ 310039 h 514350"/>
                <a:gd name="connsiteX606" fmla="*/ 5260181 w 6400800"/>
                <a:gd name="connsiteY606" fmla="*/ 309086 h 514350"/>
                <a:gd name="connsiteX607" fmla="*/ 5261134 w 6400800"/>
                <a:gd name="connsiteY607" fmla="*/ 301466 h 514350"/>
                <a:gd name="connsiteX608" fmla="*/ 5262087 w 6400800"/>
                <a:gd name="connsiteY608" fmla="*/ 284321 h 514350"/>
                <a:gd name="connsiteX609" fmla="*/ 5263039 w 6400800"/>
                <a:gd name="connsiteY609" fmla="*/ 269081 h 514350"/>
                <a:gd name="connsiteX610" fmla="*/ 5258276 w 6400800"/>
                <a:gd name="connsiteY610" fmla="*/ 283369 h 514350"/>
                <a:gd name="connsiteX611" fmla="*/ 5257324 w 6400800"/>
                <a:gd name="connsiteY611" fmla="*/ 287179 h 514350"/>
                <a:gd name="connsiteX612" fmla="*/ 5255419 w 6400800"/>
                <a:gd name="connsiteY612" fmla="*/ 273844 h 514350"/>
                <a:gd name="connsiteX613" fmla="*/ 5255419 w 6400800"/>
                <a:gd name="connsiteY613" fmla="*/ 271939 h 514350"/>
                <a:gd name="connsiteX614" fmla="*/ 5255419 w 6400800"/>
                <a:gd name="connsiteY614" fmla="*/ 270986 h 514350"/>
                <a:gd name="connsiteX615" fmla="*/ 5256371 w 6400800"/>
                <a:gd name="connsiteY615" fmla="*/ 266224 h 514350"/>
                <a:gd name="connsiteX616" fmla="*/ 5255419 w 6400800"/>
                <a:gd name="connsiteY616" fmla="*/ 268129 h 514350"/>
                <a:gd name="connsiteX617" fmla="*/ 5258276 w 6400800"/>
                <a:gd name="connsiteY617" fmla="*/ 232886 h 514350"/>
                <a:gd name="connsiteX618" fmla="*/ 5263039 w 6400800"/>
                <a:gd name="connsiteY618" fmla="*/ 158591 h 514350"/>
                <a:gd name="connsiteX619" fmla="*/ 5252562 w 6400800"/>
                <a:gd name="connsiteY619" fmla="*/ 204311 h 514350"/>
                <a:gd name="connsiteX620" fmla="*/ 5255419 w 6400800"/>
                <a:gd name="connsiteY620" fmla="*/ 173831 h 514350"/>
                <a:gd name="connsiteX621" fmla="*/ 5258276 w 6400800"/>
                <a:gd name="connsiteY621" fmla="*/ 140494 h 514350"/>
                <a:gd name="connsiteX622" fmla="*/ 5260181 w 6400800"/>
                <a:gd name="connsiteY622" fmla="*/ 110966 h 514350"/>
                <a:gd name="connsiteX623" fmla="*/ 5254467 w 6400800"/>
                <a:gd name="connsiteY623" fmla="*/ 139541 h 514350"/>
                <a:gd name="connsiteX624" fmla="*/ 5247799 w 6400800"/>
                <a:gd name="connsiteY624" fmla="*/ 172879 h 514350"/>
                <a:gd name="connsiteX625" fmla="*/ 5243989 w 6400800"/>
                <a:gd name="connsiteY625" fmla="*/ 192881 h 514350"/>
                <a:gd name="connsiteX626" fmla="*/ 5243037 w 6400800"/>
                <a:gd name="connsiteY626" fmla="*/ 201454 h 514350"/>
                <a:gd name="connsiteX627" fmla="*/ 5241131 w 6400800"/>
                <a:gd name="connsiteY627" fmla="*/ 194786 h 514350"/>
                <a:gd name="connsiteX628" fmla="*/ 5241131 w 6400800"/>
                <a:gd name="connsiteY628" fmla="*/ 209074 h 514350"/>
                <a:gd name="connsiteX629" fmla="*/ 5240179 w 6400800"/>
                <a:gd name="connsiteY629" fmla="*/ 215741 h 514350"/>
                <a:gd name="connsiteX630" fmla="*/ 5235417 w 6400800"/>
                <a:gd name="connsiteY630" fmla="*/ 246221 h 514350"/>
                <a:gd name="connsiteX631" fmla="*/ 5230654 w 6400800"/>
                <a:gd name="connsiteY631" fmla="*/ 252889 h 514350"/>
                <a:gd name="connsiteX632" fmla="*/ 5222081 w 6400800"/>
                <a:gd name="connsiteY632" fmla="*/ 266224 h 514350"/>
                <a:gd name="connsiteX633" fmla="*/ 5215414 w 6400800"/>
                <a:gd name="connsiteY633" fmla="*/ 279559 h 514350"/>
                <a:gd name="connsiteX634" fmla="*/ 5215414 w 6400800"/>
                <a:gd name="connsiteY634" fmla="*/ 278606 h 514350"/>
                <a:gd name="connsiteX635" fmla="*/ 5216367 w 6400800"/>
                <a:gd name="connsiteY635" fmla="*/ 275749 h 514350"/>
                <a:gd name="connsiteX636" fmla="*/ 5215414 w 6400800"/>
                <a:gd name="connsiteY636" fmla="*/ 277654 h 514350"/>
                <a:gd name="connsiteX637" fmla="*/ 5211604 w 6400800"/>
                <a:gd name="connsiteY637" fmla="*/ 249079 h 514350"/>
                <a:gd name="connsiteX638" fmla="*/ 5208746 w 6400800"/>
                <a:gd name="connsiteY638" fmla="*/ 224314 h 514350"/>
                <a:gd name="connsiteX639" fmla="*/ 5205889 w 6400800"/>
                <a:gd name="connsiteY639" fmla="*/ 202406 h 514350"/>
                <a:gd name="connsiteX640" fmla="*/ 5204937 w 6400800"/>
                <a:gd name="connsiteY640" fmla="*/ 224314 h 514350"/>
                <a:gd name="connsiteX641" fmla="*/ 5204937 w 6400800"/>
                <a:gd name="connsiteY641" fmla="*/ 249079 h 514350"/>
                <a:gd name="connsiteX642" fmla="*/ 5204937 w 6400800"/>
                <a:gd name="connsiteY642" fmla="*/ 264319 h 514350"/>
                <a:gd name="connsiteX643" fmla="*/ 5205889 w 6400800"/>
                <a:gd name="connsiteY643" fmla="*/ 281464 h 514350"/>
                <a:gd name="connsiteX644" fmla="*/ 5205889 w 6400800"/>
                <a:gd name="connsiteY644" fmla="*/ 289084 h 514350"/>
                <a:gd name="connsiteX645" fmla="*/ 5203984 w 6400800"/>
                <a:gd name="connsiteY645" fmla="*/ 286226 h 514350"/>
                <a:gd name="connsiteX646" fmla="*/ 5205889 w 6400800"/>
                <a:gd name="connsiteY646" fmla="*/ 290989 h 514350"/>
                <a:gd name="connsiteX647" fmla="*/ 5205889 w 6400800"/>
                <a:gd name="connsiteY647" fmla="*/ 291941 h 514350"/>
                <a:gd name="connsiteX648" fmla="*/ 5203984 w 6400800"/>
                <a:gd name="connsiteY648" fmla="*/ 287179 h 514350"/>
                <a:gd name="connsiteX649" fmla="*/ 5203984 w 6400800"/>
                <a:gd name="connsiteY649" fmla="*/ 287179 h 514350"/>
                <a:gd name="connsiteX650" fmla="*/ 5203984 w 6400800"/>
                <a:gd name="connsiteY650" fmla="*/ 287179 h 514350"/>
                <a:gd name="connsiteX651" fmla="*/ 5199221 w 6400800"/>
                <a:gd name="connsiteY651" fmla="*/ 278606 h 514350"/>
                <a:gd name="connsiteX652" fmla="*/ 5202079 w 6400800"/>
                <a:gd name="connsiteY652" fmla="*/ 290989 h 514350"/>
                <a:gd name="connsiteX653" fmla="*/ 5198269 w 6400800"/>
                <a:gd name="connsiteY653" fmla="*/ 300514 h 514350"/>
                <a:gd name="connsiteX654" fmla="*/ 5195412 w 6400800"/>
                <a:gd name="connsiteY654" fmla="*/ 295751 h 514350"/>
                <a:gd name="connsiteX655" fmla="*/ 5191601 w 6400800"/>
                <a:gd name="connsiteY655" fmla="*/ 263366 h 514350"/>
                <a:gd name="connsiteX656" fmla="*/ 5184934 w 6400800"/>
                <a:gd name="connsiteY656" fmla="*/ 190024 h 514350"/>
                <a:gd name="connsiteX657" fmla="*/ 5183981 w 6400800"/>
                <a:gd name="connsiteY657" fmla="*/ 169069 h 514350"/>
                <a:gd name="connsiteX658" fmla="*/ 5183981 w 6400800"/>
                <a:gd name="connsiteY658" fmla="*/ 161449 h 514350"/>
                <a:gd name="connsiteX659" fmla="*/ 5183029 w 6400800"/>
                <a:gd name="connsiteY659" fmla="*/ 169069 h 514350"/>
                <a:gd name="connsiteX660" fmla="*/ 5181124 w 6400800"/>
                <a:gd name="connsiteY660" fmla="*/ 190024 h 514350"/>
                <a:gd name="connsiteX661" fmla="*/ 5180171 w 6400800"/>
                <a:gd name="connsiteY661" fmla="*/ 211931 h 514350"/>
                <a:gd name="connsiteX662" fmla="*/ 5177314 w 6400800"/>
                <a:gd name="connsiteY662" fmla="*/ 215741 h 514350"/>
                <a:gd name="connsiteX663" fmla="*/ 5165884 w 6400800"/>
                <a:gd name="connsiteY663" fmla="*/ 231934 h 514350"/>
                <a:gd name="connsiteX664" fmla="*/ 5163979 w 6400800"/>
                <a:gd name="connsiteY664" fmla="*/ 235744 h 514350"/>
                <a:gd name="connsiteX665" fmla="*/ 5161121 w 6400800"/>
                <a:gd name="connsiteY665" fmla="*/ 230029 h 514350"/>
                <a:gd name="connsiteX666" fmla="*/ 5161121 w 6400800"/>
                <a:gd name="connsiteY666" fmla="*/ 229076 h 514350"/>
                <a:gd name="connsiteX667" fmla="*/ 5163026 w 6400800"/>
                <a:gd name="connsiteY667" fmla="*/ 213836 h 514350"/>
                <a:gd name="connsiteX668" fmla="*/ 5163979 w 6400800"/>
                <a:gd name="connsiteY668" fmla="*/ 208121 h 514350"/>
                <a:gd name="connsiteX669" fmla="*/ 5158264 w 6400800"/>
                <a:gd name="connsiteY669" fmla="*/ 224314 h 514350"/>
                <a:gd name="connsiteX670" fmla="*/ 5156359 w 6400800"/>
                <a:gd name="connsiteY670" fmla="*/ 220504 h 514350"/>
                <a:gd name="connsiteX671" fmla="*/ 5147787 w 6400800"/>
                <a:gd name="connsiteY671" fmla="*/ 205264 h 514350"/>
                <a:gd name="connsiteX672" fmla="*/ 5144929 w 6400800"/>
                <a:gd name="connsiteY672" fmla="*/ 178594 h 514350"/>
                <a:gd name="connsiteX673" fmla="*/ 5141119 w 6400800"/>
                <a:gd name="connsiteY673" fmla="*/ 149066 h 514350"/>
                <a:gd name="connsiteX674" fmla="*/ 5141119 w 6400800"/>
                <a:gd name="connsiteY674" fmla="*/ 178594 h 514350"/>
                <a:gd name="connsiteX675" fmla="*/ 5141119 w 6400800"/>
                <a:gd name="connsiteY675" fmla="*/ 255746 h 514350"/>
                <a:gd name="connsiteX676" fmla="*/ 5141119 w 6400800"/>
                <a:gd name="connsiteY676" fmla="*/ 258604 h 514350"/>
                <a:gd name="connsiteX677" fmla="*/ 5139214 w 6400800"/>
                <a:gd name="connsiteY677" fmla="*/ 260509 h 514350"/>
                <a:gd name="connsiteX678" fmla="*/ 5134451 w 6400800"/>
                <a:gd name="connsiteY678" fmla="*/ 265271 h 514350"/>
                <a:gd name="connsiteX679" fmla="*/ 5128737 w 6400800"/>
                <a:gd name="connsiteY679" fmla="*/ 184309 h 514350"/>
                <a:gd name="connsiteX680" fmla="*/ 5124926 w 6400800"/>
                <a:gd name="connsiteY680" fmla="*/ 236696 h 514350"/>
                <a:gd name="connsiteX681" fmla="*/ 5119212 w 6400800"/>
                <a:gd name="connsiteY681" fmla="*/ 219551 h 514350"/>
                <a:gd name="connsiteX682" fmla="*/ 5123974 w 6400800"/>
                <a:gd name="connsiteY682" fmla="*/ 249079 h 514350"/>
                <a:gd name="connsiteX683" fmla="*/ 5123021 w 6400800"/>
                <a:gd name="connsiteY683" fmla="*/ 258604 h 514350"/>
                <a:gd name="connsiteX684" fmla="*/ 5120164 w 6400800"/>
                <a:gd name="connsiteY684" fmla="*/ 279559 h 514350"/>
                <a:gd name="connsiteX685" fmla="*/ 5116354 w 6400800"/>
                <a:gd name="connsiteY685" fmla="*/ 285274 h 514350"/>
                <a:gd name="connsiteX686" fmla="*/ 5106829 w 6400800"/>
                <a:gd name="connsiteY686" fmla="*/ 298609 h 514350"/>
                <a:gd name="connsiteX687" fmla="*/ 5103971 w 6400800"/>
                <a:gd name="connsiteY687" fmla="*/ 303371 h 514350"/>
                <a:gd name="connsiteX688" fmla="*/ 5085874 w 6400800"/>
                <a:gd name="connsiteY688" fmla="*/ 261461 h 514350"/>
                <a:gd name="connsiteX689" fmla="*/ 5086826 w 6400800"/>
                <a:gd name="connsiteY689" fmla="*/ 261461 h 514350"/>
                <a:gd name="connsiteX690" fmla="*/ 5091589 w 6400800"/>
                <a:gd name="connsiteY690" fmla="*/ 260509 h 514350"/>
                <a:gd name="connsiteX691" fmla="*/ 5086826 w 6400800"/>
                <a:gd name="connsiteY691" fmla="*/ 260509 h 514350"/>
                <a:gd name="connsiteX692" fmla="*/ 5085874 w 6400800"/>
                <a:gd name="connsiteY692" fmla="*/ 260509 h 514350"/>
                <a:gd name="connsiteX693" fmla="*/ 5071587 w 6400800"/>
                <a:gd name="connsiteY693" fmla="*/ 230029 h 514350"/>
                <a:gd name="connsiteX694" fmla="*/ 5071587 w 6400800"/>
                <a:gd name="connsiteY694" fmla="*/ 222409 h 514350"/>
                <a:gd name="connsiteX695" fmla="*/ 5069681 w 6400800"/>
                <a:gd name="connsiteY695" fmla="*/ 227171 h 514350"/>
                <a:gd name="connsiteX696" fmla="*/ 5062062 w 6400800"/>
                <a:gd name="connsiteY696" fmla="*/ 192881 h 514350"/>
                <a:gd name="connsiteX697" fmla="*/ 5058251 w 6400800"/>
                <a:gd name="connsiteY697" fmla="*/ 174784 h 514350"/>
                <a:gd name="connsiteX698" fmla="*/ 5055394 w 6400800"/>
                <a:gd name="connsiteY698" fmla="*/ 159544 h 514350"/>
                <a:gd name="connsiteX699" fmla="*/ 5049679 w 6400800"/>
                <a:gd name="connsiteY699" fmla="*/ 130016 h 514350"/>
                <a:gd name="connsiteX700" fmla="*/ 5050631 w 6400800"/>
                <a:gd name="connsiteY700" fmla="*/ 159544 h 514350"/>
                <a:gd name="connsiteX701" fmla="*/ 5051584 w 6400800"/>
                <a:gd name="connsiteY701" fmla="*/ 174784 h 514350"/>
                <a:gd name="connsiteX702" fmla="*/ 5053489 w 6400800"/>
                <a:gd name="connsiteY702" fmla="*/ 192881 h 514350"/>
                <a:gd name="connsiteX703" fmla="*/ 5059204 w 6400800"/>
                <a:gd name="connsiteY703" fmla="*/ 236696 h 514350"/>
                <a:gd name="connsiteX704" fmla="*/ 5061109 w 6400800"/>
                <a:gd name="connsiteY704" fmla="*/ 249079 h 514350"/>
                <a:gd name="connsiteX705" fmla="*/ 5055394 w 6400800"/>
                <a:gd name="connsiteY705" fmla="*/ 270034 h 514350"/>
                <a:gd name="connsiteX706" fmla="*/ 5052537 w 6400800"/>
                <a:gd name="connsiteY706" fmla="*/ 271939 h 514350"/>
                <a:gd name="connsiteX707" fmla="*/ 5052537 w 6400800"/>
                <a:gd name="connsiteY707" fmla="*/ 271939 h 514350"/>
                <a:gd name="connsiteX708" fmla="*/ 5051584 w 6400800"/>
                <a:gd name="connsiteY708" fmla="*/ 267176 h 514350"/>
                <a:gd name="connsiteX709" fmla="*/ 5051584 w 6400800"/>
                <a:gd name="connsiteY709" fmla="*/ 269081 h 514350"/>
                <a:gd name="connsiteX710" fmla="*/ 5048726 w 6400800"/>
                <a:gd name="connsiteY710" fmla="*/ 261461 h 514350"/>
                <a:gd name="connsiteX711" fmla="*/ 5048726 w 6400800"/>
                <a:gd name="connsiteY711" fmla="*/ 261461 h 514350"/>
                <a:gd name="connsiteX712" fmla="*/ 5050631 w 6400800"/>
                <a:gd name="connsiteY712" fmla="*/ 252889 h 514350"/>
                <a:gd name="connsiteX713" fmla="*/ 5047774 w 6400800"/>
                <a:gd name="connsiteY713" fmla="*/ 259556 h 514350"/>
                <a:gd name="connsiteX714" fmla="*/ 5039201 w 6400800"/>
                <a:gd name="connsiteY714" fmla="*/ 236696 h 514350"/>
                <a:gd name="connsiteX715" fmla="*/ 5031581 w 6400800"/>
                <a:gd name="connsiteY715" fmla="*/ 214789 h 514350"/>
                <a:gd name="connsiteX716" fmla="*/ 5035392 w 6400800"/>
                <a:gd name="connsiteY716" fmla="*/ 237649 h 514350"/>
                <a:gd name="connsiteX717" fmla="*/ 5039201 w 6400800"/>
                <a:gd name="connsiteY717" fmla="*/ 256699 h 514350"/>
                <a:gd name="connsiteX718" fmla="*/ 5034439 w 6400800"/>
                <a:gd name="connsiteY718" fmla="*/ 265271 h 514350"/>
                <a:gd name="connsiteX719" fmla="*/ 5034439 w 6400800"/>
                <a:gd name="connsiteY719" fmla="*/ 262414 h 514350"/>
                <a:gd name="connsiteX720" fmla="*/ 5030629 w 6400800"/>
                <a:gd name="connsiteY720" fmla="*/ 241459 h 514350"/>
                <a:gd name="connsiteX721" fmla="*/ 5026819 w 6400800"/>
                <a:gd name="connsiteY721" fmla="*/ 223361 h 514350"/>
                <a:gd name="connsiteX722" fmla="*/ 5025867 w 6400800"/>
                <a:gd name="connsiteY722" fmla="*/ 242411 h 514350"/>
                <a:gd name="connsiteX723" fmla="*/ 5025867 w 6400800"/>
                <a:gd name="connsiteY723" fmla="*/ 263366 h 514350"/>
                <a:gd name="connsiteX724" fmla="*/ 5025867 w 6400800"/>
                <a:gd name="connsiteY724" fmla="*/ 276701 h 514350"/>
                <a:gd name="connsiteX725" fmla="*/ 5025867 w 6400800"/>
                <a:gd name="connsiteY725" fmla="*/ 281464 h 514350"/>
                <a:gd name="connsiteX726" fmla="*/ 5010626 w 6400800"/>
                <a:gd name="connsiteY726" fmla="*/ 263366 h 514350"/>
                <a:gd name="connsiteX727" fmla="*/ 4995387 w 6400800"/>
                <a:gd name="connsiteY727" fmla="*/ 248126 h 514350"/>
                <a:gd name="connsiteX728" fmla="*/ 4997292 w 6400800"/>
                <a:gd name="connsiteY728" fmla="*/ 243364 h 514350"/>
                <a:gd name="connsiteX729" fmla="*/ 4994434 w 6400800"/>
                <a:gd name="connsiteY729" fmla="*/ 248126 h 514350"/>
                <a:gd name="connsiteX730" fmla="*/ 4992529 w 6400800"/>
                <a:gd name="connsiteY730" fmla="*/ 246221 h 514350"/>
                <a:gd name="connsiteX731" fmla="*/ 4994434 w 6400800"/>
                <a:gd name="connsiteY731" fmla="*/ 190024 h 514350"/>
                <a:gd name="connsiteX732" fmla="*/ 4983004 w 6400800"/>
                <a:gd name="connsiteY732" fmla="*/ 240506 h 514350"/>
                <a:gd name="connsiteX733" fmla="*/ 4981099 w 6400800"/>
                <a:gd name="connsiteY733" fmla="*/ 238601 h 514350"/>
                <a:gd name="connsiteX734" fmla="*/ 4959192 w 6400800"/>
                <a:gd name="connsiteY734" fmla="*/ 219551 h 514350"/>
                <a:gd name="connsiteX735" fmla="*/ 4978242 w 6400800"/>
                <a:gd name="connsiteY735" fmla="*/ 241459 h 514350"/>
                <a:gd name="connsiteX736" fmla="*/ 4982051 w 6400800"/>
                <a:gd name="connsiteY736" fmla="*/ 246221 h 514350"/>
                <a:gd name="connsiteX737" fmla="*/ 4982051 w 6400800"/>
                <a:gd name="connsiteY737" fmla="*/ 248126 h 514350"/>
                <a:gd name="connsiteX738" fmla="*/ 4976337 w 6400800"/>
                <a:gd name="connsiteY738" fmla="*/ 279559 h 514350"/>
                <a:gd name="connsiteX739" fmla="*/ 4969669 w 6400800"/>
                <a:gd name="connsiteY739" fmla="*/ 290989 h 514350"/>
                <a:gd name="connsiteX740" fmla="*/ 4960144 w 6400800"/>
                <a:gd name="connsiteY740" fmla="*/ 265271 h 514350"/>
                <a:gd name="connsiteX741" fmla="*/ 4960144 w 6400800"/>
                <a:gd name="connsiteY741" fmla="*/ 264319 h 514350"/>
                <a:gd name="connsiteX742" fmla="*/ 4959192 w 6400800"/>
                <a:gd name="connsiteY742" fmla="*/ 237649 h 514350"/>
                <a:gd name="connsiteX743" fmla="*/ 4958239 w 6400800"/>
                <a:gd name="connsiteY743" fmla="*/ 214789 h 514350"/>
                <a:gd name="connsiteX744" fmla="*/ 4968717 w 6400800"/>
                <a:gd name="connsiteY744" fmla="*/ 164306 h 514350"/>
                <a:gd name="connsiteX745" fmla="*/ 4974431 w 6400800"/>
                <a:gd name="connsiteY745" fmla="*/ 134779 h 514350"/>
                <a:gd name="connsiteX746" fmla="*/ 4964906 w 6400800"/>
                <a:gd name="connsiteY746" fmla="*/ 163354 h 514350"/>
                <a:gd name="connsiteX747" fmla="*/ 4955381 w 6400800"/>
                <a:gd name="connsiteY747" fmla="*/ 191929 h 514350"/>
                <a:gd name="connsiteX748" fmla="*/ 4955381 w 6400800"/>
                <a:gd name="connsiteY748" fmla="*/ 176689 h 514350"/>
                <a:gd name="connsiteX749" fmla="*/ 4952524 w 6400800"/>
                <a:gd name="connsiteY749" fmla="*/ 202406 h 514350"/>
                <a:gd name="connsiteX750" fmla="*/ 4952524 w 6400800"/>
                <a:gd name="connsiteY750" fmla="*/ 203359 h 514350"/>
                <a:gd name="connsiteX751" fmla="*/ 4944904 w 6400800"/>
                <a:gd name="connsiteY751" fmla="*/ 227171 h 514350"/>
                <a:gd name="connsiteX752" fmla="*/ 4944904 w 6400800"/>
                <a:gd name="connsiteY752" fmla="*/ 226219 h 514350"/>
                <a:gd name="connsiteX753" fmla="*/ 4936331 w 6400800"/>
                <a:gd name="connsiteY753" fmla="*/ 199549 h 514350"/>
                <a:gd name="connsiteX754" fmla="*/ 4942046 w 6400800"/>
                <a:gd name="connsiteY754" fmla="*/ 236696 h 514350"/>
                <a:gd name="connsiteX755" fmla="*/ 4941094 w 6400800"/>
                <a:gd name="connsiteY755" fmla="*/ 239554 h 514350"/>
                <a:gd name="connsiteX756" fmla="*/ 4922996 w 6400800"/>
                <a:gd name="connsiteY756" fmla="*/ 292894 h 514350"/>
                <a:gd name="connsiteX757" fmla="*/ 4922996 w 6400800"/>
                <a:gd name="connsiteY757" fmla="*/ 289084 h 514350"/>
                <a:gd name="connsiteX758" fmla="*/ 4920139 w 6400800"/>
                <a:gd name="connsiteY758" fmla="*/ 269081 h 514350"/>
                <a:gd name="connsiteX759" fmla="*/ 4919187 w 6400800"/>
                <a:gd name="connsiteY759" fmla="*/ 290036 h 514350"/>
                <a:gd name="connsiteX760" fmla="*/ 4919187 w 6400800"/>
                <a:gd name="connsiteY760" fmla="*/ 296704 h 514350"/>
                <a:gd name="connsiteX761" fmla="*/ 4917281 w 6400800"/>
                <a:gd name="connsiteY761" fmla="*/ 289084 h 514350"/>
                <a:gd name="connsiteX762" fmla="*/ 4911567 w 6400800"/>
                <a:gd name="connsiteY762" fmla="*/ 266224 h 514350"/>
                <a:gd name="connsiteX763" fmla="*/ 4904899 w 6400800"/>
                <a:gd name="connsiteY763" fmla="*/ 246221 h 514350"/>
                <a:gd name="connsiteX764" fmla="*/ 4907756 w 6400800"/>
                <a:gd name="connsiteY764" fmla="*/ 267176 h 514350"/>
                <a:gd name="connsiteX765" fmla="*/ 4909662 w 6400800"/>
                <a:gd name="connsiteY765" fmla="*/ 290989 h 514350"/>
                <a:gd name="connsiteX766" fmla="*/ 4911567 w 6400800"/>
                <a:gd name="connsiteY766" fmla="*/ 321469 h 514350"/>
                <a:gd name="connsiteX767" fmla="*/ 4908709 w 6400800"/>
                <a:gd name="connsiteY767" fmla="*/ 327184 h 514350"/>
                <a:gd name="connsiteX768" fmla="*/ 4902042 w 6400800"/>
                <a:gd name="connsiteY768" fmla="*/ 313849 h 514350"/>
                <a:gd name="connsiteX769" fmla="*/ 4894421 w 6400800"/>
                <a:gd name="connsiteY769" fmla="*/ 298609 h 514350"/>
                <a:gd name="connsiteX770" fmla="*/ 4892517 w 6400800"/>
                <a:gd name="connsiteY770" fmla="*/ 285274 h 514350"/>
                <a:gd name="connsiteX771" fmla="*/ 4891564 w 6400800"/>
                <a:gd name="connsiteY771" fmla="*/ 293846 h 514350"/>
                <a:gd name="connsiteX772" fmla="*/ 4888706 w 6400800"/>
                <a:gd name="connsiteY772" fmla="*/ 289084 h 514350"/>
                <a:gd name="connsiteX773" fmla="*/ 4891564 w 6400800"/>
                <a:gd name="connsiteY773" fmla="*/ 295751 h 514350"/>
                <a:gd name="connsiteX774" fmla="*/ 4887754 w 6400800"/>
                <a:gd name="connsiteY774" fmla="*/ 348139 h 514350"/>
                <a:gd name="connsiteX775" fmla="*/ 4887754 w 6400800"/>
                <a:gd name="connsiteY775" fmla="*/ 357664 h 514350"/>
                <a:gd name="connsiteX776" fmla="*/ 4882991 w 6400800"/>
                <a:gd name="connsiteY776" fmla="*/ 350996 h 514350"/>
                <a:gd name="connsiteX777" fmla="*/ 4882039 w 6400800"/>
                <a:gd name="connsiteY777" fmla="*/ 338614 h 514350"/>
                <a:gd name="connsiteX778" fmla="*/ 4882039 w 6400800"/>
                <a:gd name="connsiteY778" fmla="*/ 337661 h 514350"/>
                <a:gd name="connsiteX779" fmla="*/ 4883944 w 6400800"/>
                <a:gd name="connsiteY779" fmla="*/ 327184 h 514350"/>
                <a:gd name="connsiteX780" fmla="*/ 4885849 w 6400800"/>
                <a:gd name="connsiteY780" fmla="*/ 319564 h 514350"/>
                <a:gd name="connsiteX781" fmla="*/ 4887754 w 6400800"/>
                <a:gd name="connsiteY781" fmla="*/ 312896 h 514350"/>
                <a:gd name="connsiteX782" fmla="*/ 4884896 w 6400800"/>
                <a:gd name="connsiteY782" fmla="*/ 318611 h 514350"/>
                <a:gd name="connsiteX783" fmla="*/ 4882039 w 6400800"/>
                <a:gd name="connsiteY783" fmla="*/ 326231 h 514350"/>
                <a:gd name="connsiteX784" fmla="*/ 4882039 w 6400800"/>
                <a:gd name="connsiteY784" fmla="*/ 328136 h 514350"/>
                <a:gd name="connsiteX785" fmla="*/ 4882039 w 6400800"/>
                <a:gd name="connsiteY785" fmla="*/ 326231 h 514350"/>
                <a:gd name="connsiteX786" fmla="*/ 4877276 w 6400800"/>
                <a:gd name="connsiteY786" fmla="*/ 288131 h 514350"/>
                <a:gd name="connsiteX787" fmla="*/ 4873466 w 6400800"/>
                <a:gd name="connsiteY787" fmla="*/ 263366 h 514350"/>
                <a:gd name="connsiteX788" fmla="*/ 4878229 w 6400800"/>
                <a:gd name="connsiteY788" fmla="*/ 238601 h 514350"/>
                <a:gd name="connsiteX789" fmla="*/ 4882039 w 6400800"/>
                <a:gd name="connsiteY789" fmla="*/ 211931 h 514350"/>
                <a:gd name="connsiteX790" fmla="*/ 4874419 w 6400800"/>
                <a:gd name="connsiteY790" fmla="*/ 237649 h 514350"/>
                <a:gd name="connsiteX791" fmla="*/ 4870609 w 6400800"/>
                <a:gd name="connsiteY791" fmla="*/ 249079 h 514350"/>
                <a:gd name="connsiteX792" fmla="*/ 4866799 w 6400800"/>
                <a:gd name="connsiteY792" fmla="*/ 231934 h 514350"/>
                <a:gd name="connsiteX793" fmla="*/ 4862037 w 6400800"/>
                <a:gd name="connsiteY793" fmla="*/ 210979 h 514350"/>
                <a:gd name="connsiteX794" fmla="*/ 4862989 w 6400800"/>
                <a:gd name="connsiteY794" fmla="*/ 232886 h 514350"/>
                <a:gd name="connsiteX795" fmla="*/ 4863941 w 6400800"/>
                <a:gd name="connsiteY795" fmla="*/ 248126 h 514350"/>
                <a:gd name="connsiteX796" fmla="*/ 4863941 w 6400800"/>
                <a:gd name="connsiteY796" fmla="*/ 261461 h 514350"/>
                <a:gd name="connsiteX797" fmla="*/ 4860131 w 6400800"/>
                <a:gd name="connsiteY797" fmla="*/ 264319 h 514350"/>
                <a:gd name="connsiteX798" fmla="*/ 4843939 w 6400800"/>
                <a:gd name="connsiteY798" fmla="*/ 281464 h 514350"/>
                <a:gd name="connsiteX799" fmla="*/ 4841081 w 6400800"/>
                <a:gd name="connsiteY799" fmla="*/ 270986 h 514350"/>
                <a:gd name="connsiteX800" fmla="*/ 4842987 w 6400800"/>
                <a:gd name="connsiteY800" fmla="*/ 266224 h 514350"/>
                <a:gd name="connsiteX801" fmla="*/ 4841081 w 6400800"/>
                <a:gd name="connsiteY801" fmla="*/ 269081 h 514350"/>
                <a:gd name="connsiteX802" fmla="*/ 4840129 w 6400800"/>
                <a:gd name="connsiteY802" fmla="*/ 262414 h 514350"/>
                <a:gd name="connsiteX803" fmla="*/ 4840129 w 6400800"/>
                <a:gd name="connsiteY803" fmla="*/ 270034 h 514350"/>
                <a:gd name="connsiteX804" fmla="*/ 4833462 w 6400800"/>
                <a:gd name="connsiteY804" fmla="*/ 278606 h 514350"/>
                <a:gd name="connsiteX805" fmla="*/ 4822984 w 6400800"/>
                <a:gd name="connsiteY805" fmla="*/ 294799 h 514350"/>
                <a:gd name="connsiteX806" fmla="*/ 4816316 w 6400800"/>
                <a:gd name="connsiteY806" fmla="*/ 304324 h 514350"/>
                <a:gd name="connsiteX807" fmla="*/ 4809649 w 6400800"/>
                <a:gd name="connsiteY807" fmla="*/ 315754 h 514350"/>
                <a:gd name="connsiteX808" fmla="*/ 4807744 w 6400800"/>
                <a:gd name="connsiteY808" fmla="*/ 318611 h 514350"/>
                <a:gd name="connsiteX809" fmla="*/ 4807744 w 6400800"/>
                <a:gd name="connsiteY809" fmla="*/ 304324 h 514350"/>
                <a:gd name="connsiteX810" fmla="*/ 4803934 w 6400800"/>
                <a:gd name="connsiteY810" fmla="*/ 327184 h 514350"/>
                <a:gd name="connsiteX811" fmla="*/ 4795362 w 6400800"/>
                <a:gd name="connsiteY811" fmla="*/ 342424 h 514350"/>
                <a:gd name="connsiteX812" fmla="*/ 4795362 w 6400800"/>
                <a:gd name="connsiteY812" fmla="*/ 324326 h 514350"/>
                <a:gd name="connsiteX813" fmla="*/ 4795362 w 6400800"/>
                <a:gd name="connsiteY813" fmla="*/ 311944 h 514350"/>
                <a:gd name="connsiteX814" fmla="*/ 4796314 w 6400800"/>
                <a:gd name="connsiteY814" fmla="*/ 302419 h 514350"/>
                <a:gd name="connsiteX815" fmla="*/ 4797266 w 6400800"/>
                <a:gd name="connsiteY815" fmla="*/ 297656 h 514350"/>
                <a:gd name="connsiteX816" fmla="*/ 4803934 w 6400800"/>
                <a:gd name="connsiteY816" fmla="*/ 264319 h 514350"/>
                <a:gd name="connsiteX817" fmla="*/ 4815364 w 6400800"/>
                <a:gd name="connsiteY817" fmla="*/ 192881 h 514350"/>
                <a:gd name="connsiteX818" fmla="*/ 4792504 w 6400800"/>
                <a:gd name="connsiteY818" fmla="*/ 262414 h 514350"/>
                <a:gd name="connsiteX819" fmla="*/ 4790599 w 6400800"/>
                <a:gd name="connsiteY819" fmla="*/ 268129 h 514350"/>
                <a:gd name="connsiteX820" fmla="*/ 4788694 w 6400800"/>
                <a:gd name="connsiteY820" fmla="*/ 250031 h 514350"/>
                <a:gd name="connsiteX821" fmla="*/ 4787741 w 6400800"/>
                <a:gd name="connsiteY821" fmla="*/ 270986 h 514350"/>
                <a:gd name="connsiteX822" fmla="*/ 4787741 w 6400800"/>
                <a:gd name="connsiteY822" fmla="*/ 281464 h 514350"/>
                <a:gd name="connsiteX823" fmla="*/ 4782979 w 6400800"/>
                <a:gd name="connsiteY823" fmla="*/ 299561 h 514350"/>
                <a:gd name="connsiteX824" fmla="*/ 4782979 w 6400800"/>
                <a:gd name="connsiteY824" fmla="*/ 293846 h 514350"/>
                <a:gd name="connsiteX825" fmla="*/ 4784884 w 6400800"/>
                <a:gd name="connsiteY825" fmla="*/ 263366 h 514350"/>
                <a:gd name="connsiteX826" fmla="*/ 4786789 w 6400800"/>
                <a:gd name="connsiteY826" fmla="*/ 239554 h 514350"/>
                <a:gd name="connsiteX827" fmla="*/ 4789647 w 6400800"/>
                <a:gd name="connsiteY827" fmla="*/ 218599 h 514350"/>
                <a:gd name="connsiteX828" fmla="*/ 4782979 w 6400800"/>
                <a:gd name="connsiteY828" fmla="*/ 238601 h 514350"/>
                <a:gd name="connsiteX829" fmla="*/ 4777264 w 6400800"/>
                <a:gd name="connsiteY829" fmla="*/ 262414 h 514350"/>
                <a:gd name="connsiteX830" fmla="*/ 4776312 w 6400800"/>
                <a:gd name="connsiteY830" fmla="*/ 269081 h 514350"/>
                <a:gd name="connsiteX831" fmla="*/ 4773454 w 6400800"/>
                <a:gd name="connsiteY831" fmla="*/ 251936 h 514350"/>
                <a:gd name="connsiteX832" fmla="*/ 4773454 w 6400800"/>
                <a:gd name="connsiteY832" fmla="*/ 284321 h 514350"/>
                <a:gd name="connsiteX833" fmla="*/ 4771549 w 6400800"/>
                <a:gd name="connsiteY833" fmla="*/ 293846 h 514350"/>
                <a:gd name="connsiteX834" fmla="*/ 4771549 w 6400800"/>
                <a:gd name="connsiteY834" fmla="*/ 295751 h 514350"/>
                <a:gd name="connsiteX835" fmla="*/ 4767739 w 6400800"/>
                <a:gd name="connsiteY835" fmla="*/ 260509 h 514350"/>
                <a:gd name="connsiteX836" fmla="*/ 4764881 w 6400800"/>
                <a:gd name="connsiteY836" fmla="*/ 297656 h 514350"/>
                <a:gd name="connsiteX837" fmla="*/ 4755356 w 6400800"/>
                <a:gd name="connsiteY837" fmla="*/ 276701 h 514350"/>
                <a:gd name="connsiteX838" fmla="*/ 4750594 w 6400800"/>
                <a:gd name="connsiteY838" fmla="*/ 270034 h 514350"/>
                <a:gd name="connsiteX839" fmla="*/ 4758214 w 6400800"/>
                <a:gd name="connsiteY839" fmla="*/ 243364 h 514350"/>
                <a:gd name="connsiteX840" fmla="*/ 4780122 w 6400800"/>
                <a:gd name="connsiteY840" fmla="*/ 161449 h 514350"/>
                <a:gd name="connsiteX841" fmla="*/ 4787741 w 6400800"/>
                <a:gd name="connsiteY841" fmla="*/ 130016 h 514350"/>
                <a:gd name="connsiteX842" fmla="*/ 4776312 w 6400800"/>
                <a:gd name="connsiteY842" fmla="*/ 160496 h 514350"/>
                <a:gd name="connsiteX843" fmla="*/ 4747737 w 6400800"/>
                <a:gd name="connsiteY843" fmla="*/ 240506 h 514350"/>
                <a:gd name="connsiteX844" fmla="*/ 4742022 w 6400800"/>
                <a:gd name="connsiteY844" fmla="*/ 257651 h 514350"/>
                <a:gd name="connsiteX845" fmla="*/ 4742022 w 6400800"/>
                <a:gd name="connsiteY845" fmla="*/ 257651 h 514350"/>
                <a:gd name="connsiteX846" fmla="*/ 4727734 w 6400800"/>
                <a:gd name="connsiteY846" fmla="*/ 244316 h 514350"/>
                <a:gd name="connsiteX847" fmla="*/ 4721066 w 6400800"/>
                <a:gd name="connsiteY847" fmla="*/ 240506 h 514350"/>
                <a:gd name="connsiteX848" fmla="*/ 4716304 w 6400800"/>
                <a:gd name="connsiteY848" fmla="*/ 238601 h 514350"/>
                <a:gd name="connsiteX849" fmla="*/ 4712494 w 6400800"/>
                <a:gd name="connsiteY849" fmla="*/ 237649 h 514350"/>
                <a:gd name="connsiteX850" fmla="*/ 4716304 w 6400800"/>
                <a:gd name="connsiteY850" fmla="*/ 239554 h 514350"/>
                <a:gd name="connsiteX851" fmla="*/ 4725829 w 6400800"/>
                <a:gd name="connsiteY851" fmla="*/ 246221 h 514350"/>
                <a:gd name="connsiteX852" fmla="*/ 4736306 w 6400800"/>
                <a:gd name="connsiteY852" fmla="*/ 260509 h 514350"/>
                <a:gd name="connsiteX853" fmla="*/ 4739164 w 6400800"/>
                <a:gd name="connsiteY853" fmla="*/ 266224 h 514350"/>
                <a:gd name="connsiteX854" fmla="*/ 4729639 w 6400800"/>
                <a:gd name="connsiteY854" fmla="*/ 293846 h 514350"/>
                <a:gd name="connsiteX855" fmla="*/ 4728687 w 6400800"/>
                <a:gd name="connsiteY855" fmla="*/ 295751 h 514350"/>
                <a:gd name="connsiteX856" fmla="*/ 4728687 w 6400800"/>
                <a:gd name="connsiteY856" fmla="*/ 294799 h 514350"/>
                <a:gd name="connsiteX857" fmla="*/ 4728687 w 6400800"/>
                <a:gd name="connsiteY857" fmla="*/ 290989 h 514350"/>
                <a:gd name="connsiteX858" fmla="*/ 4727734 w 6400800"/>
                <a:gd name="connsiteY858" fmla="*/ 293846 h 514350"/>
                <a:gd name="connsiteX859" fmla="*/ 4717256 w 6400800"/>
                <a:gd name="connsiteY859" fmla="*/ 270986 h 514350"/>
                <a:gd name="connsiteX860" fmla="*/ 4714399 w 6400800"/>
                <a:gd name="connsiteY860" fmla="*/ 265271 h 514350"/>
                <a:gd name="connsiteX861" fmla="*/ 4716304 w 6400800"/>
                <a:gd name="connsiteY861" fmla="*/ 252889 h 514350"/>
                <a:gd name="connsiteX862" fmla="*/ 4713447 w 6400800"/>
                <a:gd name="connsiteY862" fmla="*/ 262414 h 514350"/>
                <a:gd name="connsiteX863" fmla="*/ 4706779 w 6400800"/>
                <a:gd name="connsiteY863" fmla="*/ 248126 h 514350"/>
                <a:gd name="connsiteX864" fmla="*/ 4712494 w 6400800"/>
                <a:gd name="connsiteY864" fmla="*/ 267176 h 514350"/>
                <a:gd name="connsiteX865" fmla="*/ 4708684 w 6400800"/>
                <a:gd name="connsiteY865" fmla="*/ 277654 h 514350"/>
                <a:gd name="connsiteX866" fmla="*/ 4694397 w 6400800"/>
                <a:gd name="connsiteY866" fmla="*/ 236696 h 514350"/>
                <a:gd name="connsiteX867" fmla="*/ 4702969 w 6400800"/>
                <a:gd name="connsiteY867" fmla="*/ 293846 h 514350"/>
                <a:gd name="connsiteX868" fmla="*/ 4691539 w 6400800"/>
                <a:gd name="connsiteY868" fmla="*/ 331946 h 514350"/>
                <a:gd name="connsiteX869" fmla="*/ 4690587 w 6400800"/>
                <a:gd name="connsiteY869" fmla="*/ 329089 h 514350"/>
                <a:gd name="connsiteX870" fmla="*/ 4682966 w 6400800"/>
                <a:gd name="connsiteY870" fmla="*/ 313849 h 514350"/>
                <a:gd name="connsiteX871" fmla="*/ 4684872 w 6400800"/>
                <a:gd name="connsiteY871" fmla="*/ 322421 h 514350"/>
                <a:gd name="connsiteX872" fmla="*/ 4684872 w 6400800"/>
                <a:gd name="connsiteY872" fmla="*/ 322421 h 514350"/>
                <a:gd name="connsiteX873" fmla="*/ 4671537 w 6400800"/>
                <a:gd name="connsiteY873" fmla="*/ 304324 h 514350"/>
                <a:gd name="connsiteX874" fmla="*/ 4682014 w 6400800"/>
                <a:gd name="connsiteY874" fmla="*/ 324326 h 514350"/>
                <a:gd name="connsiteX875" fmla="*/ 4688681 w 6400800"/>
                <a:gd name="connsiteY875" fmla="*/ 337661 h 514350"/>
                <a:gd name="connsiteX876" fmla="*/ 4689634 w 6400800"/>
                <a:gd name="connsiteY876" fmla="*/ 340519 h 514350"/>
                <a:gd name="connsiteX877" fmla="*/ 4682966 w 6400800"/>
                <a:gd name="connsiteY877" fmla="*/ 366236 h 514350"/>
                <a:gd name="connsiteX878" fmla="*/ 4678204 w 6400800"/>
                <a:gd name="connsiteY878" fmla="*/ 359569 h 514350"/>
                <a:gd name="connsiteX879" fmla="*/ 4669631 w 6400800"/>
                <a:gd name="connsiteY879" fmla="*/ 349091 h 514350"/>
                <a:gd name="connsiteX880" fmla="*/ 4668679 w 6400800"/>
                <a:gd name="connsiteY880" fmla="*/ 348139 h 514350"/>
                <a:gd name="connsiteX881" fmla="*/ 4669631 w 6400800"/>
                <a:gd name="connsiteY881" fmla="*/ 330994 h 514350"/>
                <a:gd name="connsiteX882" fmla="*/ 4669631 w 6400800"/>
                <a:gd name="connsiteY882" fmla="*/ 310991 h 514350"/>
                <a:gd name="connsiteX883" fmla="*/ 4669631 w 6400800"/>
                <a:gd name="connsiteY883" fmla="*/ 313849 h 514350"/>
                <a:gd name="connsiteX884" fmla="*/ 4670584 w 6400800"/>
                <a:gd name="connsiteY884" fmla="*/ 301466 h 514350"/>
                <a:gd name="connsiteX885" fmla="*/ 4670584 w 6400800"/>
                <a:gd name="connsiteY885" fmla="*/ 287179 h 514350"/>
                <a:gd name="connsiteX886" fmla="*/ 4675347 w 6400800"/>
                <a:gd name="connsiteY886" fmla="*/ 274796 h 514350"/>
                <a:gd name="connsiteX887" fmla="*/ 4689634 w 6400800"/>
                <a:gd name="connsiteY887" fmla="*/ 250984 h 514350"/>
                <a:gd name="connsiteX888" fmla="*/ 4681062 w 6400800"/>
                <a:gd name="connsiteY888" fmla="*/ 262414 h 514350"/>
                <a:gd name="connsiteX889" fmla="*/ 4686776 w 6400800"/>
                <a:gd name="connsiteY889" fmla="*/ 248126 h 514350"/>
                <a:gd name="connsiteX890" fmla="*/ 4675347 w 6400800"/>
                <a:gd name="connsiteY890" fmla="*/ 265271 h 514350"/>
                <a:gd name="connsiteX891" fmla="*/ 4670584 w 6400800"/>
                <a:gd name="connsiteY891" fmla="*/ 272891 h 514350"/>
                <a:gd name="connsiteX892" fmla="*/ 4670584 w 6400800"/>
                <a:gd name="connsiteY892" fmla="*/ 268129 h 514350"/>
                <a:gd name="connsiteX893" fmla="*/ 4668679 w 6400800"/>
                <a:gd name="connsiteY893" fmla="*/ 250984 h 514350"/>
                <a:gd name="connsiteX894" fmla="*/ 4669631 w 6400800"/>
                <a:gd name="connsiteY894" fmla="*/ 247174 h 514350"/>
                <a:gd name="connsiteX895" fmla="*/ 4671537 w 6400800"/>
                <a:gd name="connsiteY895" fmla="*/ 222409 h 514350"/>
                <a:gd name="connsiteX896" fmla="*/ 4670584 w 6400800"/>
                <a:gd name="connsiteY896" fmla="*/ 229076 h 514350"/>
                <a:gd name="connsiteX897" fmla="*/ 4666774 w 6400800"/>
                <a:gd name="connsiteY897" fmla="*/ 242411 h 514350"/>
                <a:gd name="connsiteX898" fmla="*/ 4666774 w 6400800"/>
                <a:gd name="connsiteY898" fmla="*/ 241459 h 514350"/>
                <a:gd name="connsiteX899" fmla="*/ 4666774 w 6400800"/>
                <a:gd name="connsiteY899" fmla="*/ 241459 h 514350"/>
                <a:gd name="connsiteX900" fmla="*/ 4666774 w 6400800"/>
                <a:gd name="connsiteY900" fmla="*/ 241459 h 514350"/>
                <a:gd name="connsiteX901" fmla="*/ 4662012 w 6400800"/>
                <a:gd name="connsiteY901" fmla="*/ 228124 h 514350"/>
                <a:gd name="connsiteX902" fmla="*/ 4660106 w 6400800"/>
                <a:gd name="connsiteY902" fmla="*/ 222409 h 514350"/>
                <a:gd name="connsiteX903" fmla="*/ 4661059 w 6400800"/>
                <a:gd name="connsiteY903" fmla="*/ 228124 h 514350"/>
                <a:gd name="connsiteX904" fmla="*/ 4662964 w 6400800"/>
                <a:gd name="connsiteY904" fmla="*/ 244316 h 514350"/>
                <a:gd name="connsiteX905" fmla="*/ 4662964 w 6400800"/>
                <a:gd name="connsiteY905" fmla="*/ 246221 h 514350"/>
                <a:gd name="connsiteX906" fmla="*/ 4662964 w 6400800"/>
                <a:gd name="connsiteY906" fmla="*/ 246221 h 514350"/>
                <a:gd name="connsiteX907" fmla="*/ 4654391 w 6400800"/>
                <a:gd name="connsiteY907" fmla="*/ 262414 h 514350"/>
                <a:gd name="connsiteX908" fmla="*/ 4650581 w 6400800"/>
                <a:gd name="connsiteY908" fmla="*/ 271939 h 514350"/>
                <a:gd name="connsiteX909" fmla="*/ 4646772 w 6400800"/>
                <a:gd name="connsiteY909" fmla="*/ 261461 h 514350"/>
                <a:gd name="connsiteX910" fmla="*/ 4645819 w 6400800"/>
                <a:gd name="connsiteY910" fmla="*/ 259556 h 514350"/>
                <a:gd name="connsiteX911" fmla="*/ 4646772 w 6400800"/>
                <a:gd name="connsiteY911" fmla="*/ 253841 h 514350"/>
                <a:gd name="connsiteX912" fmla="*/ 4653439 w 6400800"/>
                <a:gd name="connsiteY912" fmla="*/ 227171 h 514350"/>
                <a:gd name="connsiteX913" fmla="*/ 4660106 w 6400800"/>
                <a:gd name="connsiteY913" fmla="*/ 204311 h 514350"/>
                <a:gd name="connsiteX914" fmla="*/ 4650581 w 6400800"/>
                <a:gd name="connsiteY914" fmla="*/ 226219 h 514350"/>
                <a:gd name="connsiteX915" fmla="*/ 4641056 w 6400800"/>
                <a:gd name="connsiteY915" fmla="*/ 251936 h 514350"/>
                <a:gd name="connsiteX916" fmla="*/ 4636294 w 6400800"/>
                <a:gd name="connsiteY916" fmla="*/ 267176 h 514350"/>
                <a:gd name="connsiteX917" fmla="*/ 4636294 w 6400800"/>
                <a:gd name="connsiteY917" fmla="*/ 259556 h 514350"/>
                <a:gd name="connsiteX918" fmla="*/ 4638199 w 6400800"/>
                <a:gd name="connsiteY918" fmla="*/ 242411 h 514350"/>
                <a:gd name="connsiteX919" fmla="*/ 4639151 w 6400800"/>
                <a:gd name="connsiteY919" fmla="*/ 235744 h 514350"/>
                <a:gd name="connsiteX920" fmla="*/ 4637247 w 6400800"/>
                <a:gd name="connsiteY920" fmla="*/ 241459 h 514350"/>
                <a:gd name="connsiteX921" fmla="*/ 4632484 w 6400800"/>
                <a:gd name="connsiteY921" fmla="*/ 258604 h 514350"/>
                <a:gd name="connsiteX922" fmla="*/ 4632484 w 6400800"/>
                <a:gd name="connsiteY922" fmla="*/ 258604 h 514350"/>
                <a:gd name="connsiteX923" fmla="*/ 4631531 w 6400800"/>
                <a:gd name="connsiteY923" fmla="*/ 254794 h 514350"/>
                <a:gd name="connsiteX924" fmla="*/ 4632484 w 6400800"/>
                <a:gd name="connsiteY924" fmla="*/ 259556 h 514350"/>
                <a:gd name="connsiteX925" fmla="*/ 4628674 w 6400800"/>
                <a:gd name="connsiteY925" fmla="*/ 285274 h 514350"/>
                <a:gd name="connsiteX926" fmla="*/ 4628674 w 6400800"/>
                <a:gd name="connsiteY926" fmla="*/ 293846 h 514350"/>
                <a:gd name="connsiteX927" fmla="*/ 4625816 w 6400800"/>
                <a:gd name="connsiteY927" fmla="*/ 303371 h 514350"/>
                <a:gd name="connsiteX928" fmla="*/ 4610576 w 6400800"/>
                <a:gd name="connsiteY928" fmla="*/ 293846 h 514350"/>
                <a:gd name="connsiteX929" fmla="*/ 4604862 w 6400800"/>
                <a:gd name="connsiteY929" fmla="*/ 290989 h 514350"/>
                <a:gd name="connsiteX930" fmla="*/ 4610576 w 6400800"/>
                <a:gd name="connsiteY930" fmla="*/ 294799 h 514350"/>
                <a:gd name="connsiteX931" fmla="*/ 4624864 w 6400800"/>
                <a:gd name="connsiteY931" fmla="*/ 307181 h 514350"/>
                <a:gd name="connsiteX932" fmla="*/ 4625816 w 6400800"/>
                <a:gd name="connsiteY932" fmla="*/ 308134 h 514350"/>
                <a:gd name="connsiteX933" fmla="*/ 4622006 w 6400800"/>
                <a:gd name="connsiteY933" fmla="*/ 325279 h 514350"/>
                <a:gd name="connsiteX934" fmla="*/ 4619149 w 6400800"/>
                <a:gd name="connsiteY934" fmla="*/ 343376 h 514350"/>
                <a:gd name="connsiteX935" fmla="*/ 4607719 w 6400800"/>
                <a:gd name="connsiteY935" fmla="*/ 306229 h 514350"/>
                <a:gd name="connsiteX936" fmla="*/ 4602956 w 6400800"/>
                <a:gd name="connsiteY936" fmla="*/ 290989 h 514350"/>
                <a:gd name="connsiteX937" fmla="*/ 4601051 w 6400800"/>
                <a:gd name="connsiteY937" fmla="*/ 269081 h 514350"/>
                <a:gd name="connsiteX938" fmla="*/ 4599147 w 6400800"/>
                <a:gd name="connsiteY938" fmla="*/ 248126 h 514350"/>
                <a:gd name="connsiteX939" fmla="*/ 4597241 w 6400800"/>
                <a:gd name="connsiteY939" fmla="*/ 269081 h 514350"/>
                <a:gd name="connsiteX940" fmla="*/ 4597241 w 6400800"/>
                <a:gd name="connsiteY940" fmla="*/ 271939 h 514350"/>
                <a:gd name="connsiteX941" fmla="*/ 4589622 w 6400800"/>
                <a:gd name="connsiteY941" fmla="*/ 250031 h 514350"/>
                <a:gd name="connsiteX942" fmla="*/ 4589622 w 6400800"/>
                <a:gd name="connsiteY942" fmla="*/ 240506 h 514350"/>
                <a:gd name="connsiteX943" fmla="*/ 4590574 w 6400800"/>
                <a:gd name="connsiteY943" fmla="*/ 197644 h 514350"/>
                <a:gd name="connsiteX944" fmla="*/ 4590574 w 6400800"/>
                <a:gd name="connsiteY944" fmla="*/ 109061 h 514350"/>
                <a:gd name="connsiteX945" fmla="*/ 4579144 w 6400800"/>
                <a:gd name="connsiteY945" fmla="*/ 197644 h 514350"/>
                <a:gd name="connsiteX946" fmla="*/ 4574381 w 6400800"/>
                <a:gd name="connsiteY946" fmla="*/ 240506 h 514350"/>
                <a:gd name="connsiteX947" fmla="*/ 4573429 w 6400800"/>
                <a:gd name="connsiteY947" fmla="*/ 256699 h 514350"/>
                <a:gd name="connsiteX948" fmla="*/ 4572476 w 6400800"/>
                <a:gd name="connsiteY948" fmla="*/ 257651 h 514350"/>
                <a:gd name="connsiteX949" fmla="*/ 4563904 w 6400800"/>
                <a:gd name="connsiteY949" fmla="*/ 265271 h 514350"/>
                <a:gd name="connsiteX950" fmla="*/ 4563904 w 6400800"/>
                <a:gd name="connsiteY950" fmla="*/ 264319 h 514350"/>
                <a:gd name="connsiteX951" fmla="*/ 4559141 w 6400800"/>
                <a:gd name="connsiteY951" fmla="*/ 255746 h 514350"/>
                <a:gd name="connsiteX952" fmla="*/ 4560094 w 6400800"/>
                <a:gd name="connsiteY952" fmla="*/ 249079 h 514350"/>
                <a:gd name="connsiteX953" fmla="*/ 4576287 w 6400800"/>
                <a:gd name="connsiteY953" fmla="*/ 159544 h 514350"/>
                <a:gd name="connsiteX954" fmla="*/ 4550569 w 6400800"/>
                <a:gd name="connsiteY954" fmla="*/ 243364 h 514350"/>
                <a:gd name="connsiteX955" fmla="*/ 4550569 w 6400800"/>
                <a:gd name="connsiteY955" fmla="*/ 243364 h 514350"/>
                <a:gd name="connsiteX956" fmla="*/ 4550569 w 6400800"/>
                <a:gd name="connsiteY956" fmla="*/ 243364 h 514350"/>
                <a:gd name="connsiteX957" fmla="*/ 4549616 w 6400800"/>
                <a:gd name="connsiteY957" fmla="*/ 246221 h 514350"/>
                <a:gd name="connsiteX958" fmla="*/ 4548664 w 6400800"/>
                <a:gd name="connsiteY958" fmla="*/ 248126 h 514350"/>
                <a:gd name="connsiteX959" fmla="*/ 4548664 w 6400800"/>
                <a:gd name="connsiteY959" fmla="*/ 248126 h 514350"/>
                <a:gd name="connsiteX960" fmla="*/ 4548664 w 6400800"/>
                <a:gd name="connsiteY960" fmla="*/ 248126 h 514350"/>
                <a:gd name="connsiteX961" fmla="*/ 4536281 w 6400800"/>
                <a:gd name="connsiteY961" fmla="*/ 292894 h 514350"/>
                <a:gd name="connsiteX962" fmla="*/ 4531519 w 6400800"/>
                <a:gd name="connsiteY962" fmla="*/ 241459 h 514350"/>
                <a:gd name="connsiteX963" fmla="*/ 4525804 w 6400800"/>
                <a:gd name="connsiteY963" fmla="*/ 303371 h 514350"/>
                <a:gd name="connsiteX964" fmla="*/ 4525804 w 6400800"/>
                <a:gd name="connsiteY964" fmla="*/ 309086 h 514350"/>
                <a:gd name="connsiteX965" fmla="*/ 4524851 w 6400800"/>
                <a:gd name="connsiteY965" fmla="*/ 308134 h 514350"/>
                <a:gd name="connsiteX966" fmla="*/ 4525804 w 6400800"/>
                <a:gd name="connsiteY966" fmla="*/ 310039 h 514350"/>
                <a:gd name="connsiteX967" fmla="*/ 4523899 w 6400800"/>
                <a:gd name="connsiteY967" fmla="*/ 333851 h 514350"/>
                <a:gd name="connsiteX968" fmla="*/ 4523899 w 6400800"/>
                <a:gd name="connsiteY968" fmla="*/ 337661 h 514350"/>
                <a:gd name="connsiteX969" fmla="*/ 4522947 w 6400800"/>
                <a:gd name="connsiteY969" fmla="*/ 339566 h 514350"/>
                <a:gd name="connsiteX970" fmla="*/ 4517231 w 6400800"/>
                <a:gd name="connsiteY970" fmla="*/ 322421 h 514350"/>
                <a:gd name="connsiteX971" fmla="*/ 4514374 w 6400800"/>
                <a:gd name="connsiteY971" fmla="*/ 301466 h 514350"/>
                <a:gd name="connsiteX972" fmla="*/ 4517231 w 6400800"/>
                <a:gd name="connsiteY972" fmla="*/ 297656 h 514350"/>
                <a:gd name="connsiteX973" fmla="*/ 4521041 w 6400800"/>
                <a:gd name="connsiteY973" fmla="*/ 291941 h 514350"/>
                <a:gd name="connsiteX974" fmla="*/ 4516279 w 6400800"/>
                <a:gd name="connsiteY974" fmla="*/ 297656 h 514350"/>
                <a:gd name="connsiteX975" fmla="*/ 4514374 w 6400800"/>
                <a:gd name="connsiteY975" fmla="*/ 300514 h 514350"/>
                <a:gd name="connsiteX976" fmla="*/ 4514374 w 6400800"/>
                <a:gd name="connsiteY976" fmla="*/ 298609 h 514350"/>
                <a:gd name="connsiteX977" fmla="*/ 4517231 w 6400800"/>
                <a:gd name="connsiteY977" fmla="*/ 293846 h 514350"/>
                <a:gd name="connsiteX978" fmla="*/ 4520089 w 6400800"/>
                <a:gd name="connsiteY978" fmla="*/ 288131 h 514350"/>
                <a:gd name="connsiteX979" fmla="*/ 4516279 w 6400800"/>
                <a:gd name="connsiteY979" fmla="*/ 292894 h 514350"/>
                <a:gd name="connsiteX980" fmla="*/ 4514374 w 6400800"/>
                <a:gd name="connsiteY980" fmla="*/ 295751 h 514350"/>
                <a:gd name="connsiteX981" fmla="*/ 4512469 w 6400800"/>
                <a:gd name="connsiteY981" fmla="*/ 281464 h 514350"/>
                <a:gd name="connsiteX982" fmla="*/ 4511516 w 6400800"/>
                <a:gd name="connsiteY982" fmla="*/ 268129 h 514350"/>
                <a:gd name="connsiteX983" fmla="*/ 4510564 w 6400800"/>
                <a:gd name="connsiteY983" fmla="*/ 272891 h 514350"/>
                <a:gd name="connsiteX984" fmla="*/ 4506754 w 6400800"/>
                <a:gd name="connsiteY984" fmla="*/ 250984 h 514350"/>
                <a:gd name="connsiteX985" fmla="*/ 4506754 w 6400800"/>
                <a:gd name="connsiteY985" fmla="*/ 292894 h 514350"/>
                <a:gd name="connsiteX986" fmla="*/ 4501991 w 6400800"/>
                <a:gd name="connsiteY986" fmla="*/ 282416 h 514350"/>
                <a:gd name="connsiteX987" fmla="*/ 4494372 w 6400800"/>
                <a:gd name="connsiteY987" fmla="*/ 267176 h 514350"/>
                <a:gd name="connsiteX988" fmla="*/ 4486751 w 6400800"/>
                <a:gd name="connsiteY988" fmla="*/ 254794 h 514350"/>
                <a:gd name="connsiteX989" fmla="*/ 4480084 w 6400800"/>
                <a:gd name="connsiteY989" fmla="*/ 245269 h 514350"/>
                <a:gd name="connsiteX990" fmla="*/ 4474369 w 6400800"/>
                <a:gd name="connsiteY990" fmla="*/ 238601 h 514350"/>
                <a:gd name="connsiteX991" fmla="*/ 4469606 w 6400800"/>
                <a:gd name="connsiteY991" fmla="*/ 233839 h 514350"/>
                <a:gd name="connsiteX992" fmla="*/ 4471512 w 6400800"/>
                <a:gd name="connsiteY992" fmla="*/ 225266 h 514350"/>
                <a:gd name="connsiteX993" fmla="*/ 4477226 w 6400800"/>
                <a:gd name="connsiteY993" fmla="*/ 198596 h 514350"/>
                <a:gd name="connsiteX994" fmla="*/ 4481037 w 6400800"/>
                <a:gd name="connsiteY994" fmla="*/ 175736 h 514350"/>
                <a:gd name="connsiteX995" fmla="*/ 4473416 w 6400800"/>
                <a:gd name="connsiteY995" fmla="*/ 197644 h 514350"/>
                <a:gd name="connsiteX996" fmla="*/ 4463891 w 6400800"/>
                <a:gd name="connsiteY996" fmla="*/ 222409 h 514350"/>
                <a:gd name="connsiteX997" fmla="*/ 4455319 w 6400800"/>
                <a:gd name="connsiteY997" fmla="*/ 244316 h 514350"/>
                <a:gd name="connsiteX998" fmla="*/ 4453414 w 6400800"/>
                <a:gd name="connsiteY998" fmla="*/ 237649 h 514350"/>
                <a:gd name="connsiteX999" fmla="*/ 4454366 w 6400800"/>
                <a:gd name="connsiteY999" fmla="*/ 247174 h 514350"/>
                <a:gd name="connsiteX1000" fmla="*/ 4451509 w 6400800"/>
                <a:gd name="connsiteY1000" fmla="*/ 253841 h 514350"/>
                <a:gd name="connsiteX1001" fmla="*/ 4436269 w 6400800"/>
                <a:gd name="connsiteY1001" fmla="*/ 289084 h 514350"/>
                <a:gd name="connsiteX1002" fmla="*/ 4435316 w 6400800"/>
                <a:gd name="connsiteY1002" fmla="*/ 287179 h 514350"/>
                <a:gd name="connsiteX1003" fmla="*/ 4438174 w 6400800"/>
                <a:gd name="connsiteY1003" fmla="*/ 274796 h 514350"/>
                <a:gd name="connsiteX1004" fmla="*/ 4444841 w 6400800"/>
                <a:gd name="connsiteY1004" fmla="*/ 247174 h 514350"/>
                <a:gd name="connsiteX1005" fmla="*/ 4454366 w 6400800"/>
                <a:gd name="connsiteY1005" fmla="*/ 195739 h 514350"/>
                <a:gd name="connsiteX1006" fmla="*/ 4460081 w 6400800"/>
                <a:gd name="connsiteY1006" fmla="*/ 151924 h 514350"/>
                <a:gd name="connsiteX1007" fmla="*/ 4461987 w 6400800"/>
                <a:gd name="connsiteY1007" fmla="*/ 133826 h 514350"/>
                <a:gd name="connsiteX1008" fmla="*/ 4462939 w 6400800"/>
                <a:gd name="connsiteY1008" fmla="*/ 118586 h 514350"/>
                <a:gd name="connsiteX1009" fmla="*/ 4463891 w 6400800"/>
                <a:gd name="connsiteY1009" fmla="*/ 89059 h 514350"/>
                <a:gd name="connsiteX1010" fmla="*/ 4458176 w 6400800"/>
                <a:gd name="connsiteY1010" fmla="*/ 118586 h 514350"/>
                <a:gd name="connsiteX1011" fmla="*/ 4455319 w 6400800"/>
                <a:gd name="connsiteY1011" fmla="*/ 133826 h 514350"/>
                <a:gd name="connsiteX1012" fmla="*/ 4451509 w 6400800"/>
                <a:gd name="connsiteY1012" fmla="*/ 151924 h 514350"/>
                <a:gd name="connsiteX1013" fmla="*/ 4441984 w 6400800"/>
                <a:gd name="connsiteY1013" fmla="*/ 194786 h 514350"/>
                <a:gd name="connsiteX1014" fmla="*/ 4428649 w 6400800"/>
                <a:gd name="connsiteY1014" fmla="*/ 245269 h 514350"/>
                <a:gd name="connsiteX1015" fmla="*/ 4421981 w 6400800"/>
                <a:gd name="connsiteY1015" fmla="*/ 269081 h 514350"/>
                <a:gd name="connsiteX1016" fmla="*/ 4414362 w 6400800"/>
                <a:gd name="connsiteY1016" fmla="*/ 258604 h 514350"/>
                <a:gd name="connsiteX1017" fmla="*/ 4394359 w 6400800"/>
                <a:gd name="connsiteY1017" fmla="*/ 230029 h 514350"/>
                <a:gd name="connsiteX1018" fmla="*/ 4387691 w 6400800"/>
                <a:gd name="connsiteY1018" fmla="*/ 221456 h 514350"/>
                <a:gd name="connsiteX1019" fmla="*/ 4395312 w 6400800"/>
                <a:gd name="connsiteY1019" fmla="*/ 180499 h 514350"/>
                <a:gd name="connsiteX1020" fmla="*/ 4382929 w 6400800"/>
                <a:gd name="connsiteY1020" fmla="*/ 215741 h 514350"/>
                <a:gd name="connsiteX1021" fmla="*/ 4375309 w 6400800"/>
                <a:gd name="connsiteY1021" fmla="*/ 206216 h 514350"/>
                <a:gd name="connsiteX1022" fmla="*/ 4381976 w 6400800"/>
                <a:gd name="connsiteY1022" fmla="*/ 218599 h 514350"/>
                <a:gd name="connsiteX1023" fmla="*/ 4369594 w 6400800"/>
                <a:gd name="connsiteY1023" fmla="*/ 259556 h 514350"/>
                <a:gd name="connsiteX1024" fmla="*/ 4368641 w 6400800"/>
                <a:gd name="connsiteY1024" fmla="*/ 241459 h 514350"/>
                <a:gd name="connsiteX1025" fmla="*/ 4366737 w 6400800"/>
                <a:gd name="connsiteY1025" fmla="*/ 263366 h 514350"/>
                <a:gd name="connsiteX1026" fmla="*/ 4365784 w 6400800"/>
                <a:gd name="connsiteY1026" fmla="*/ 274796 h 514350"/>
                <a:gd name="connsiteX1027" fmla="*/ 4362926 w 6400800"/>
                <a:gd name="connsiteY1027" fmla="*/ 285274 h 514350"/>
                <a:gd name="connsiteX1028" fmla="*/ 4362926 w 6400800"/>
                <a:gd name="connsiteY1028" fmla="*/ 282416 h 514350"/>
                <a:gd name="connsiteX1029" fmla="*/ 4361022 w 6400800"/>
                <a:gd name="connsiteY1029" fmla="*/ 261461 h 514350"/>
                <a:gd name="connsiteX1030" fmla="*/ 4359116 w 6400800"/>
                <a:gd name="connsiteY1030" fmla="*/ 283369 h 514350"/>
                <a:gd name="connsiteX1031" fmla="*/ 4359116 w 6400800"/>
                <a:gd name="connsiteY1031" fmla="*/ 290989 h 514350"/>
                <a:gd name="connsiteX1032" fmla="*/ 4357212 w 6400800"/>
                <a:gd name="connsiteY1032" fmla="*/ 295751 h 514350"/>
                <a:gd name="connsiteX1033" fmla="*/ 4351497 w 6400800"/>
                <a:gd name="connsiteY1033" fmla="*/ 284321 h 514350"/>
                <a:gd name="connsiteX1034" fmla="*/ 4351497 w 6400800"/>
                <a:gd name="connsiteY1034" fmla="*/ 257651 h 514350"/>
                <a:gd name="connsiteX1035" fmla="*/ 4351497 w 6400800"/>
                <a:gd name="connsiteY1035" fmla="*/ 238601 h 514350"/>
                <a:gd name="connsiteX1036" fmla="*/ 4349591 w 6400800"/>
                <a:gd name="connsiteY1036" fmla="*/ 221456 h 514350"/>
                <a:gd name="connsiteX1037" fmla="*/ 4345781 w 6400800"/>
                <a:gd name="connsiteY1037" fmla="*/ 194786 h 514350"/>
                <a:gd name="connsiteX1038" fmla="*/ 4342924 w 6400800"/>
                <a:gd name="connsiteY1038" fmla="*/ 170974 h 514350"/>
                <a:gd name="connsiteX1039" fmla="*/ 4341972 w 6400800"/>
                <a:gd name="connsiteY1039" fmla="*/ 194786 h 514350"/>
                <a:gd name="connsiteX1040" fmla="*/ 4341972 w 6400800"/>
                <a:gd name="connsiteY1040" fmla="*/ 217646 h 514350"/>
                <a:gd name="connsiteX1041" fmla="*/ 4340066 w 6400800"/>
                <a:gd name="connsiteY1041" fmla="*/ 205264 h 514350"/>
                <a:gd name="connsiteX1042" fmla="*/ 4339114 w 6400800"/>
                <a:gd name="connsiteY1042" fmla="*/ 226219 h 514350"/>
                <a:gd name="connsiteX1043" fmla="*/ 4338162 w 6400800"/>
                <a:gd name="connsiteY1043" fmla="*/ 250031 h 514350"/>
                <a:gd name="connsiteX1044" fmla="*/ 4338162 w 6400800"/>
                <a:gd name="connsiteY1044" fmla="*/ 252889 h 514350"/>
                <a:gd name="connsiteX1045" fmla="*/ 4337209 w 6400800"/>
                <a:gd name="connsiteY1045" fmla="*/ 250984 h 514350"/>
                <a:gd name="connsiteX1046" fmla="*/ 4318159 w 6400800"/>
                <a:gd name="connsiteY1046" fmla="*/ 196691 h 514350"/>
                <a:gd name="connsiteX1047" fmla="*/ 4289584 w 6400800"/>
                <a:gd name="connsiteY1047" fmla="*/ 116681 h 514350"/>
                <a:gd name="connsiteX1048" fmla="*/ 4278154 w 6400800"/>
                <a:gd name="connsiteY1048" fmla="*/ 86201 h 514350"/>
                <a:gd name="connsiteX1049" fmla="*/ 4285774 w 6400800"/>
                <a:gd name="connsiteY1049" fmla="*/ 117634 h 514350"/>
                <a:gd name="connsiteX1050" fmla="*/ 4307681 w 6400800"/>
                <a:gd name="connsiteY1050" fmla="*/ 199549 h 514350"/>
                <a:gd name="connsiteX1051" fmla="*/ 4334351 w 6400800"/>
                <a:gd name="connsiteY1051" fmla="*/ 295751 h 514350"/>
                <a:gd name="connsiteX1052" fmla="*/ 4334351 w 6400800"/>
                <a:gd name="connsiteY1052" fmla="*/ 296704 h 514350"/>
                <a:gd name="connsiteX1053" fmla="*/ 4334351 w 6400800"/>
                <a:gd name="connsiteY1053" fmla="*/ 294799 h 514350"/>
                <a:gd name="connsiteX1054" fmla="*/ 4334351 w 6400800"/>
                <a:gd name="connsiteY1054" fmla="*/ 301466 h 514350"/>
                <a:gd name="connsiteX1055" fmla="*/ 4333399 w 6400800"/>
                <a:gd name="connsiteY1055" fmla="*/ 315754 h 514350"/>
                <a:gd name="connsiteX1056" fmla="*/ 4329589 w 6400800"/>
                <a:gd name="connsiteY1056" fmla="*/ 344329 h 514350"/>
                <a:gd name="connsiteX1057" fmla="*/ 4328637 w 6400800"/>
                <a:gd name="connsiteY1057" fmla="*/ 343376 h 514350"/>
                <a:gd name="connsiteX1058" fmla="*/ 4326731 w 6400800"/>
                <a:gd name="connsiteY1058" fmla="*/ 340519 h 514350"/>
                <a:gd name="connsiteX1059" fmla="*/ 4325779 w 6400800"/>
                <a:gd name="connsiteY1059" fmla="*/ 333851 h 514350"/>
                <a:gd name="connsiteX1060" fmla="*/ 4315301 w 6400800"/>
                <a:gd name="connsiteY1060" fmla="*/ 267176 h 514350"/>
                <a:gd name="connsiteX1061" fmla="*/ 4301966 w 6400800"/>
                <a:gd name="connsiteY1061" fmla="*/ 202406 h 514350"/>
                <a:gd name="connsiteX1062" fmla="*/ 4303872 w 6400800"/>
                <a:gd name="connsiteY1062" fmla="*/ 268129 h 514350"/>
                <a:gd name="connsiteX1063" fmla="*/ 4303872 w 6400800"/>
                <a:gd name="connsiteY1063" fmla="*/ 274796 h 514350"/>
                <a:gd name="connsiteX1064" fmla="*/ 4301966 w 6400800"/>
                <a:gd name="connsiteY1064" fmla="*/ 290036 h 514350"/>
                <a:gd name="connsiteX1065" fmla="*/ 4300062 w 6400800"/>
                <a:gd name="connsiteY1065" fmla="*/ 300514 h 514350"/>
                <a:gd name="connsiteX1066" fmla="*/ 4288631 w 6400800"/>
                <a:gd name="connsiteY1066" fmla="*/ 286226 h 514350"/>
                <a:gd name="connsiteX1067" fmla="*/ 4299109 w 6400800"/>
                <a:gd name="connsiteY1067" fmla="*/ 305276 h 514350"/>
                <a:gd name="connsiteX1068" fmla="*/ 4296251 w 6400800"/>
                <a:gd name="connsiteY1068" fmla="*/ 323374 h 514350"/>
                <a:gd name="connsiteX1069" fmla="*/ 4292441 w 6400800"/>
                <a:gd name="connsiteY1069" fmla="*/ 346234 h 514350"/>
                <a:gd name="connsiteX1070" fmla="*/ 4290537 w 6400800"/>
                <a:gd name="connsiteY1070" fmla="*/ 343376 h 514350"/>
                <a:gd name="connsiteX1071" fmla="*/ 4288631 w 6400800"/>
                <a:gd name="connsiteY1071" fmla="*/ 308134 h 514350"/>
                <a:gd name="connsiteX1072" fmla="*/ 4281964 w 6400800"/>
                <a:gd name="connsiteY1072" fmla="*/ 231934 h 514350"/>
                <a:gd name="connsiteX1073" fmla="*/ 4277201 w 6400800"/>
                <a:gd name="connsiteY1073" fmla="*/ 309086 h 514350"/>
                <a:gd name="connsiteX1074" fmla="*/ 4277201 w 6400800"/>
                <a:gd name="connsiteY1074" fmla="*/ 318611 h 514350"/>
                <a:gd name="connsiteX1075" fmla="*/ 4273391 w 6400800"/>
                <a:gd name="connsiteY1075" fmla="*/ 310039 h 514350"/>
                <a:gd name="connsiteX1076" fmla="*/ 4272439 w 6400800"/>
                <a:gd name="connsiteY1076" fmla="*/ 303371 h 514350"/>
                <a:gd name="connsiteX1077" fmla="*/ 4270534 w 6400800"/>
                <a:gd name="connsiteY1077" fmla="*/ 273844 h 514350"/>
                <a:gd name="connsiteX1078" fmla="*/ 4269581 w 6400800"/>
                <a:gd name="connsiteY1078" fmla="*/ 260509 h 514350"/>
                <a:gd name="connsiteX1079" fmla="*/ 4269581 w 6400800"/>
                <a:gd name="connsiteY1079" fmla="*/ 255746 h 514350"/>
                <a:gd name="connsiteX1080" fmla="*/ 4270534 w 6400800"/>
                <a:gd name="connsiteY1080" fmla="*/ 234791 h 514350"/>
                <a:gd name="connsiteX1081" fmla="*/ 4273391 w 6400800"/>
                <a:gd name="connsiteY1081" fmla="*/ 155734 h 514350"/>
                <a:gd name="connsiteX1082" fmla="*/ 4259104 w 6400800"/>
                <a:gd name="connsiteY1082" fmla="*/ 233839 h 514350"/>
                <a:gd name="connsiteX1083" fmla="*/ 4253389 w 6400800"/>
                <a:gd name="connsiteY1083" fmla="*/ 271939 h 514350"/>
                <a:gd name="connsiteX1084" fmla="*/ 4252437 w 6400800"/>
                <a:gd name="connsiteY1084" fmla="*/ 270034 h 514350"/>
                <a:gd name="connsiteX1085" fmla="*/ 4253389 w 6400800"/>
                <a:gd name="connsiteY1085" fmla="*/ 262414 h 514350"/>
                <a:gd name="connsiteX1086" fmla="*/ 4255294 w 6400800"/>
                <a:gd name="connsiteY1086" fmla="*/ 240506 h 514350"/>
                <a:gd name="connsiteX1087" fmla="*/ 4249579 w 6400800"/>
                <a:gd name="connsiteY1087" fmla="*/ 262414 h 514350"/>
                <a:gd name="connsiteX1088" fmla="*/ 4248626 w 6400800"/>
                <a:gd name="connsiteY1088" fmla="*/ 264319 h 514350"/>
                <a:gd name="connsiteX1089" fmla="*/ 4246722 w 6400800"/>
                <a:gd name="connsiteY1089" fmla="*/ 261461 h 514350"/>
                <a:gd name="connsiteX1090" fmla="*/ 4244816 w 6400800"/>
                <a:gd name="connsiteY1090" fmla="*/ 257651 h 514350"/>
                <a:gd name="connsiteX1091" fmla="*/ 4244816 w 6400800"/>
                <a:gd name="connsiteY1091" fmla="*/ 251936 h 514350"/>
                <a:gd name="connsiteX1092" fmla="*/ 4243864 w 6400800"/>
                <a:gd name="connsiteY1092" fmla="*/ 256699 h 514350"/>
                <a:gd name="connsiteX1093" fmla="*/ 4240054 w 6400800"/>
                <a:gd name="connsiteY1093" fmla="*/ 251936 h 514350"/>
                <a:gd name="connsiteX1094" fmla="*/ 4229576 w 6400800"/>
                <a:gd name="connsiteY1094" fmla="*/ 235744 h 514350"/>
                <a:gd name="connsiteX1095" fmla="*/ 4220051 w 6400800"/>
                <a:gd name="connsiteY1095" fmla="*/ 222409 h 514350"/>
                <a:gd name="connsiteX1096" fmla="*/ 4226719 w 6400800"/>
                <a:gd name="connsiteY1096" fmla="*/ 237649 h 514350"/>
                <a:gd name="connsiteX1097" fmla="*/ 4234339 w 6400800"/>
                <a:gd name="connsiteY1097" fmla="*/ 254794 h 514350"/>
                <a:gd name="connsiteX1098" fmla="*/ 4236244 w 6400800"/>
                <a:gd name="connsiteY1098" fmla="*/ 258604 h 514350"/>
                <a:gd name="connsiteX1099" fmla="*/ 4231481 w 6400800"/>
                <a:gd name="connsiteY1099" fmla="*/ 251936 h 514350"/>
                <a:gd name="connsiteX1100" fmla="*/ 4220051 w 6400800"/>
                <a:gd name="connsiteY1100" fmla="*/ 237649 h 514350"/>
                <a:gd name="connsiteX1101" fmla="*/ 4202906 w 6400800"/>
                <a:gd name="connsiteY1101" fmla="*/ 219551 h 514350"/>
                <a:gd name="connsiteX1102" fmla="*/ 4196239 w 6400800"/>
                <a:gd name="connsiteY1102" fmla="*/ 213836 h 514350"/>
                <a:gd name="connsiteX1103" fmla="*/ 4201954 w 6400800"/>
                <a:gd name="connsiteY1103" fmla="*/ 220504 h 514350"/>
                <a:gd name="connsiteX1104" fmla="*/ 4216241 w 6400800"/>
                <a:gd name="connsiteY1104" fmla="*/ 240506 h 514350"/>
                <a:gd name="connsiteX1105" fmla="*/ 4225766 w 6400800"/>
                <a:gd name="connsiteY1105" fmla="*/ 255746 h 514350"/>
                <a:gd name="connsiteX1106" fmla="*/ 4235291 w 6400800"/>
                <a:gd name="connsiteY1106" fmla="*/ 273844 h 514350"/>
                <a:gd name="connsiteX1107" fmla="*/ 4235291 w 6400800"/>
                <a:gd name="connsiteY1107" fmla="*/ 274796 h 514350"/>
                <a:gd name="connsiteX1108" fmla="*/ 4235291 w 6400800"/>
                <a:gd name="connsiteY1108" fmla="*/ 282416 h 514350"/>
                <a:gd name="connsiteX1109" fmla="*/ 4234339 w 6400800"/>
                <a:gd name="connsiteY1109" fmla="*/ 281464 h 514350"/>
                <a:gd name="connsiteX1110" fmla="*/ 4229576 w 6400800"/>
                <a:gd name="connsiteY1110" fmla="*/ 276701 h 514350"/>
                <a:gd name="connsiteX1111" fmla="*/ 4233387 w 6400800"/>
                <a:gd name="connsiteY1111" fmla="*/ 282416 h 514350"/>
                <a:gd name="connsiteX1112" fmla="*/ 4235291 w 6400800"/>
                <a:gd name="connsiteY1112" fmla="*/ 284321 h 514350"/>
                <a:gd name="connsiteX1113" fmla="*/ 4235291 w 6400800"/>
                <a:gd name="connsiteY1113" fmla="*/ 285274 h 514350"/>
                <a:gd name="connsiteX1114" fmla="*/ 4229576 w 6400800"/>
                <a:gd name="connsiteY1114" fmla="*/ 310039 h 514350"/>
                <a:gd name="connsiteX1115" fmla="*/ 4222909 w 6400800"/>
                <a:gd name="connsiteY1115" fmla="*/ 295751 h 514350"/>
                <a:gd name="connsiteX1116" fmla="*/ 4228624 w 6400800"/>
                <a:gd name="connsiteY1116" fmla="*/ 316706 h 514350"/>
                <a:gd name="connsiteX1117" fmla="*/ 4226719 w 6400800"/>
                <a:gd name="connsiteY1117" fmla="*/ 327184 h 514350"/>
                <a:gd name="connsiteX1118" fmla="*/ 4223862 w 6400800"/>
                <a:gd name="connsiteY1118" fmla="*/ 341471 h 514350"/>
                <a:gd name="connsiteX1119" fmla="*/ 4222909 w 6400800"/>
                <a:gd name="connsiteY1119" fmla="*/ 334804 h 514350"/>
                <a:gd name="connsiteX1120" fmla="*/ 4219099 w 6400800"/>
                <a:gd name="connsiteY1120" fmla="*/ 311944 h 514350"/>
                <a:gd name="connsiteX1121" fmla="*/ 4219099 w 6400800"/>
                <a:gd name="connsiteY1121" fmla="*/ 331946 h 514350"/>
                <a:gd name="connsiteX1122" fmla="*/ 4217194 w 6400800"/>
                <a:gd name="connsiteY1122" fmla="*/ 322421 h 514350"/>
                <a:gd name="connsiteX1123" fmla="*/ 4198144 w 6400800"/>
                <a:gd name="connsiteY1123" fmla="*/ 240506 h 514350"/>
                <a:gd name="connsiteX1124" fmla="*/ 4205764 w 6400800"/>
                <a:gd name="connsiteY1124" fmla="*/ 323374 h 514350"/>
                <a:gd name="connsiteX1125" fmla="*/ 4210526 w 6400800"/>
                <a:gd name="connsiteY1125" fmla="*/ 364331 h 514350"/>
                <a:gd name="connsiteX1126" fmla="*/ 4210526 w 6400800"/>
                <a:gd name="connsiteY1126" fmla="*/ 363379 h 514350"/>
                <a:gd name="connsiteX1127" fmla="*/ 4206716 w 6400800"/>
                <a:gd name="connsiteY1127" fmla="*/ 350044 h 514350"/>
                <a:gd name="connsiteX1128" fmla="*/ 4202906 w 6400800"/>
                <a:gd name="connsiteY1128" fmla="*/ 338614 h 514350"/>
                <a:gd name="connsiteX1129" fmla="*/ 4202906 w 6400800"/>
                <a:gd name="connsiteY1129" fmla="*/ 350996 h 514350"/>
                <a:gd name="connsiteX1130" fmla="*/ 4202906 w 6400800"/>
                <a:gd name="connsiteY1130" fmla="*/ 365284 h 514350"/>
                <a:gd name="connsiteX1131" fmla="*/ 4202906 w 6400800"/>
                <a:gd name="connsiteY1131" fmla="*/ 373856 h 514350"/>
                <a:gd name="connsiteX1132" fmla="*/ 4202906 w 6400800"/>
                <a:gd name="connsiteY1132" fmla="*/ 380524 h 514350"/>
                <a:gd name="connsiteX1133" fmla="*/ 4201954 w 6400800"/>
                <a:gd name="connsiteY1133" fmla="*/ 378619 h 514350"/>
                <a:gd name="connsiteX1134" fmla="*/ 4201001 w 6400800"/>
                <a:gd name="connsiteY1134" fmla="*/ 361474 h 514350"/>
                <a:gd name="connsiteX1135" fmla="*/ 4196239 w 6400800"/>
                <a:gd name="connsiteY1135" fmla="*/ 290989 h 514350"/>
                <a:gd name="connsiteX1136" fmla="*/ 4191476 w 6400800"/>
                <a:gd name="connsiteY1136" fmla="*/ 343376 h 514350"/>
                <a:gd name="connsiteX1137" fmla="*/ 4188619 w 6400800"/>
                <a:gd name="connsiteY1137" fmla="*/ 335756 h 514350"/>
                <a:gd name="connsiteX1138" fmla="*/ 4181951 w 6400800"/>
                <a:gd name="connsiteY1138" fmla="*/ 319564 h 514350"/>
                <a:gd name="connsiteX1139" fmla="*/ 4180999 w 6400800"/>
                <a:gd name="connsiteY1139" fmla="*/ 316706 h 514350"/>
                <a:gd name="connsiteX1140" fmla="*/ 4180999 w 6400800"/>
                <a:gd name="connsiteY1140" fmla="*/ 256699 h 514350"/>
                <a:gd name="connsiteX1141" fmla="*/ 4180999 w 6400800"/>
                <a:gd name="connsiteY1141" fmla="*/ 230029 h 514350"/>
                <a:gd name="connsiteX1142" fmla="*/ 4177189 w 6400800"/>
                <a:gd name="connsiteY1142" fmla="*/ 256699 h 514350"/>
                <a:gd name="connsiteX1143" fmla="*/ 4175284 w 6400800"/>
                <a:gd name="connsiteY1143" fmla="*/ 270034 h 514350"/>
                <a:gd name="connsiteX1144" fmla="*/ 4174331 w 6400800"/>
                <a:gd name="connsiteY1144" fmla="*/ 251936 h 514350"/>
                <a:gd name="connsiteX1145" fmla="*/ 4168616 w 6400800"/>
                <a:gd name="connsiteY1145" fmla="*/ 176689 h 514350"/>
                <a:gd name="connsiteX1146" fmla="*/ 4162901 w 6400800"/>
                <a:gd name="connsiteY1146" fmla="*/ 251936 h 514350"/>
                <a:gd name="connsiteX1147" fmla="*/ 4160996 w 6400800"/>
                <a:gd name="connsiteY1147" fmla="*/ 287179 h 514350"/>
                <a:gd name="connsiteX1148" fmla="*/ 4154329 w 6400800"/>
                <a:gd name="connsiteY1148" fmla="*/ 303371 h 514350"/>
                <a:gd name="connsiteX1149" fmla="*/ 4146709 w 6400800"/>
                <a:gd name="connsiteY1149" fmla="*/ 280511 h 514350"/>
                <a:gd name="connsiteX1150" fmla="*/ 4140041 w 6400800"/>
                <a:gd name="connsiteY1150" fmla="*/ 246221 h 514350"/>
                <a:gd name="connsiteX1151" fmla="*/ 4133374 w 6400800"/>
                <a:gd name="connsiteY1151" fmla="*/ 224314 h 514350"/>
                <a:gd name="connsiteX1152" fmla="*/ 4134326 w 6400800"/>
                <a:gd name="connsiteY1152" fmla="*/ 230029 h 514350"/>
                <a:gd name="connsiteX1153" fmla="*/ 4136231 w 6400800"/>
                <a:gd name="connsiteY1153" fmla="*/ 247174 h 514350"/>
                <a:gd name="connsiteX1154" fmla="*/ 4136231 w 6400800"/>
                <a:gd name="connsiteY1154" fmla="*/ 250031 h 514350"/>
                <a:gd name="connsiteX1155" fmla="*/ 4118134 w 6400800"/>
                <a:gd name="connsiteY1155" fmla="*/ 197644 h 514350"/>
                <a:gd name="connsiteX1156" fmla="*/ 4093369 w 6400800"/>
                <a:gd name="connsiteY1156" fmla="*/ 121444 h 514350"/>
                <a:gd name="connsiteX1157" fmla="*/ 4083844 w 6400800"/>
                <a:gd name="connsiteY1157" fmla="*/ 92869 h 514350"/>
                <a:gd name="connsiteX1158" fmla="*/ 4089559 w 6400800"/>
                <a:gd name="connsiteY1158" fmla="*/ 122396 h 514350"/>
                <a:gd name="connsiteX1159" fmla="*/ 4106704 w 6400800"/>
                <a:gd name="connsiteY1159" fmla="*/ 200501 h 514350"/>
                <a:gd name="connsiteX1160" fmla="*/ 4119086 w 6400800"/>
                <a:gd name="connsiteY1160" fmla="*/ 248126 h 514350"/>
                <a:gd name="connsiteX1161" fmla="*/ 4117181 w 6400800"/>
                <a:gd name="connsiteY1161" fmla="*/ 262414 h 514350"/>
                <a:gd name="connsiteX1162" fmla="*/ 4114324 w 6400800"/>
                <a:gd name="connsiteY1162" fmla="*/ 290036 h 514350"/>
                <a:gd name="connsiteX1163" fmla="*/ 4110514 w 6400800"/>
                <a:gd name="connsiteY1163" fmla="*/ 284321 h 514350"/>
                <a:gd name="connsiteX1164" fmla="*/ 4114324 w 6400800"/>
                <a:gd name="connsiteY1164" fmla="*/ 269081 h 514350"/>
                <a:gd name="connsiteX1165" fmla="*/ 4108609 w 6400800"/>
                <a:gd name="connsiteY1165" fmla="*/ 282416 h 514350"/>
                <a:gd name="connsiteX1166" fmla="*/ 4102894 w 6400800"/>
                <a:gd name="connsiteY1166" fmla="*/ 273844 h 514350"/>
                <a:gd name="connsiteX1167" fmla="*/ 4096226 w 6400800"/>
                <a:gd name="connsiteY1167" fmla="*/ 263366 h 514350"/>
                <a:gd name="connsiteX1168" fmla="*/ 4097179 w 6400800"/>
                <a:gd name="connsiteY1168" fmla="*/ 262414 h 514350"/>
                <a:gd name="connsiteX1169" fmla="*/ 4096226 w 6400800"/>
                <a:gd name="connsiteY1169" fmla="*/ 263366 h 514350"/>
                <a:gd name="connsiteX1170" fmla="*/ 4090511 w 6400800"/>
                <a:gd name="connsiteY1170" fmla="*/ 253841 h 514350"/>
                <a:gd name="connsiteX1171" fmla="*/ 4090511 w 6400800"/>
                <a:gd name="connsiteY1171" fmla="*/ 252889 h 514350"/>
                <a:gd name="connsiteX1172" fmla="*/ 4090511 w 6400800"/>
                <a:gd name="connsiteY1172" fmla="*/ 238601 h 514350"/>
                <a:gd name="connsiteX1173" fmla="*/ 4090511 w 6400800"/>
                <a:gd name="connsiteY1173" fmla="*/ 215741 h 514350"/>
                <a:gd name="connsiteX1174" fmla="*/ 4089559 w 6400800"/>
                <a:gd name="connsiteY1174" fmla="*/ 195739 h 514350"/>
                <a:gd name="connsiteX1175" fmla="*/ 4086701 w 6400800"/>
                <a:gd name="connsiteY1175" fmla="*/ 214789 h 514350"/>
                <a:gd name="connsiteX1176" fmla="*/ 4083844 w 6400800"/>
                <a:gd name="connsiteY1176" fmla="*/ 236696 h 514350"/>
                <a:gd name="connsiteX1177" fmla="*/ 4083844 w 6400800"/>
                <a:gd name="connsiteY1177" fmla="*/ 239554 h 514350"/>
                <a:gd name="connsiteX1178" fmla="*/ 4081939 w 6400800"/>
                <a:gd name="connsiteY1178" fmla="*/ 236696 h 514350"/>
                <a:gd name="connsiteX1179" fmla="*/ 4081939 w 6400800"/>
                <a:gd name="connsiteY1179" fmla="*/ 234791 h 514350"/>
                <a:gd name="connsiteX1180" fmla="*/ 4081939 w 6400800"/>
                <a:gd name="connsiteY1180" fmla="*/ 210026 h 514350"/>
                <a:gd name="connsiteX1181" fmla="*/ 4081939 w 6400800"/>
                <a:gd name="connsiteY1181" fmla="*/ 188119 h 514350"/>
                <a:gd name="connsiteX1182" fmla="*/ 4078129 w 6400800"/>
                <a:gd name="connsiteY1182" fmla="*/ 210026 h 514350"/>
                <a:gd name="connsiteX1183" fmla="*/ 4075271 w 6400800"/>
                <a:gd name="connsiteY1183" fmla="*/ 227171 h 514350"/>
                <a:gd name="connsiteX1184" fmla="*/ 4059079 w 6400800"/>
                <a:gd name="connsiteY1184" fmla="*/ 202406 h 514350"/>
                <a:gd name="connsiteX1185" fmla="*/ 4073366 w 6400800"/>
                <a:gd name="connsiteY1185" fmla="*/ 236696 h 514350"/>
                <a:gd name="connsiteX1186" fmla="*/ 4071461 w 6400800"/>
                <a:gd name="connsiteY1186" fmla="*/ 250984 h 514350"/>
                <a:gd name="connsiteX1187" fmla="*/ 4067651 w 6400800"/>
                <a:gd name="connsiteY1187" fmla="*/ 268129 h 514350"/>
                <a:gd name="connsiteX1188" fmla="*/ 4064794 w 6400800"/>
                <a:gd name="connsiteY1188" fmla="*/ 279559 h 514350"/>
                <a:gd name="connsiteX1189" fmla="*/ 4061936 w 6400800"/>
                <a:gd name="connsiteY1189" fmla="*/ 253841 h 514350"/>
                <a:gd name="connsiteX1190" fmla="*/ 4054316 w 6400800"/>
                <a:gd name="connsiteY1190" fmla="*/ 207169 h 514350"/>
                <a:gd name="connsiteX1191" fmla="*/ 4050506 w 6400800"/>
                <a:gd name="connsiteY1191" fmla="*/ 186214 h 514350"/>
                <a:gd name="connsiteX1192" fmla="*/ 4046696 w 6400800"/>
                <a:gd name="connsiteY1192" fmla="*/ 168116 h 514350"/>
                <a:gd name="connsiteX1193" fmla="*/ 4040029 w 6400800"/>
                <a:gd name="connsiteY1193" fmla="*/ 137636 h 514350"/>
                <a:gd name="connsiteX1194" fmla="*/ 4034314 w 6400800"/>
                <a:gd name="connsiteY1194" fmla="*/ 111919 h 514350"/>
                <a:gd name="connsiteX1195" fmla="*/ 4036219 w 6400800"/>
                <a:gd name="connsiteY1195" fmla="*/ 138589 h 514350"/>
                <a:gd name="connsiteX1196" fmla="*/ 4039076 w 6400800"/>
                <a:gd name="connsiteY1196" fmla="*/ 169069 h 514350"/>
                <a:gd name="connsiteX1197" fmla="*/ 4042886 w 6400800"/>
                <a:gd name="connsiteY1197" fmla="*/ 208121 h 514350"/>
                <a:gd name="connsiteX1198" fmla="*/ 4044791 w 6400800"/>
                <a:gd name="connsiteY1198" fmla="*/ 238601 h 514350"/>
                <a:gd name="connsiteX1199" fmla="*/ 4031456 w 6400800"/>
                <a:gd name="connsiteY1199" fmla="*/ 170021 h 514350"/>
                <a:gd name="connsiteX1200" fmla="*/ 4036219 w 6400800"/>
                <a:gd name="connsiteY1200" fmla="*/ 252889 h 514350"/>
                <a:gd name="connsiteX1201" fmla="*/ 4037171 w 6400800"/>
                <a:gd name="connsiteY1201" fmla="*/ 264319 h 514350"/>
                <a:gd name="connsiteX1202" fmla="*/ 4035266 w 6400800"/>
                <a:gd name="connsiteY1202" fmla="*/ 271939 h 514350"/>
                <a:gd name="connsiteX1203" fmla="*/ 4030504 w 6400800"/>
                <a:gd name="connsiteY1203" fmla="*/ 266224 h 514350"/>
                <a:gd name="connsiteX1204" fmla="*/ 4023836 w 6400800"/>
                <a:gd name="connsiteY1204" fmla="*/ 258604 h 514350"/>
                <a:gd name="connsiteX1205" fmla="*/ 4009549 w 6400800"/>
                <a:gd name="connsiteY1205" fmla="*/ 229076 h 514350"/>
                <a:gd name="connsiteX1206" fmla="*/ 3996214 w 6400800"/>
                <a:gd name="connsiteY1206" fmla="*/ 203359 h 514350"/>
                <a:gd name="connsiteX1207" fmla="*/ 4005739 w 6400800"/>
                <a:gd name="connsiteY1207" fmla="*/ 230981 h 514350"/>
                <a:gd name="connsiteX1208" fmla="*/ 4014311 w 6400800"/>
                <a:gd name="connsiteY1208" fmla="*/ 255746 h 514350"/>
                <a:gd name="connsiteX1209" fmla="*/ 4007644 w 6400800"/>
                <a:gd name="connsiteY1209" fmla="*/ 243364 h 514350"/>
                <a:gd name="connsiteX1210" fmla="*/ 4015264 w 6400800"/>
                <a:gd name="connsiteY1210" fmla="*/ 267176 h 514350"/>
                <a:gd name="connsiteX1211" fmla="*/ 4024789 w 6400800"/>
                <a:gd name="connsiteY1211" fmla="*/ 294799 h 514350"/>
                <a:gd name="connsiteX1212" fmla="*/ 4026694 w 6400800"/>
                <a:gd name="connsiteY1212" fmla="*/ 301466 h 514350"/>
                <a:gd name="connsiteX1213" fmla="*/ 4017169 w 6400800"/>
                <a:gd name="connsiteY1213" fmla="*/ 329089 h 514350"/>
                <a:gd name="connsiteX1214" fmla="*/ 4016216 w 6400800"/>
                <a:gd name="connsiteY1214" fmla="*/ 328136 h 514350"/>
                <a:gd name="connsiteX1215" fmla="*/ 4005739 w 6400800"/>
                <a:gd name="connsiteY1215" fmla="*/ 320516 h 514350"/>
                <a:gd name="connsiteX1216" fmla="*/ 4005739 w 6400800"/>
                <a:gd name="connsiteY1216" fmla="*/ 318611 h 514350"/>
                <a:gd name="connsiteX1217" fmla="*/ 4004786 w 6400800"/>
                <a:gd name="connsiteY1217" fmla="*/ 310991 h 514350"/>
                <a:gd name="connsiteX1218" fmla="*/ 4002881 w 6400800"/>
                <a:gd name="connsiteY1218" fmla="*/ 269081 h 514350"/>
                <a:gd name="connsiteX1219" fmla="*/ 4000024 w 6400800"/>
                <a:gd name="connsiteY1219" fmla="*/ 284321 h 514350"/>
                <a:gd name="connsiteX1220" fmla="*/ 3993356 w 6400800"/>
                <a:gd name="connsiteY1220" fmla="*/ 248126 h 514350"/>
                <a:gd name="connsiteX1221" fmla="*/ 3993356 w 6400800"/>
                <a:gd name="connsiteY1221" fmla="*/ 286226 h 514350"/>
                <a:gd name="connsiteX1222" fmla="*/ 3992404 w 6400800"/>
                <a:gd name="connsiteY1222" fmla="*/ 286226 h 514350"/>
                <a:gd name="connsiteX1223" fmla="*/ 3990499 w 6400800"/>
                <a:gd name="connsiteY1223" fmla="*/ 287179 h 514350"/>
                <a:gd name="connsiteX1224" fmla="*/ 3985736 w 6400800"/>
                <a:gd name="connsiteY1224" fmla="*/ 292894 h 514350"/>
                <a:gd name="connsiteX1225" fmla="*/ 3985736 w 6400800"/>
                <a:gd name="connsiteY1225" fmla="*/ 292894 h 514350"/>
                <a:gd name="connsiteX1226" fmla="*/ 3985736 w 6400800"/>
                <a:gd name="connsiteY1226" fmla="*/ 293846 h 514350"/>
                <a:gd name="connsiteX1227" fmla="*/ 3983831 w 6400800"/>
                <a:gd name="connsiteY1227" fmla="*/ 313849 h 514350"/>
                <a:gd name="connsiteX1228" fmla="*/ 3978116 w 6400800"/>
                <a:gd name="connsiteY1228" fmla="*/ 303371 h 514350"/>
                <a:gd name="connsiteX1229" fmla="*/ 3987641 w 6400800"/>
                <a:gd name="connsiteY1229" fmla="*/ 272891 h 514350"/>
                <a:gd name="connsiteX1230" fmla="*/ 3976211 w 6400800"/>
                <a:gd name="connsiteY1230" fmla="*/ 298609 h 514350"/>
                <a:gd name="connsiteX1231" fmla="*/ 3973354 w 6400800"/>
                <a:gd name="connsiteY1231" fmla="*/ 293846 h 514350"/>
                <a:gd name="connsiteX1232" fmla="*/ 3973354 w 6400800"/>
                <a:gd name="connsiteY1232" fmla="*/ 288131 h 514350"/>
                <a:gd name="connsiteX1233" fmla="*/ 3973354 w 6400800"/>
                <a:gd name="connsiteY1233" fmla="*/ 287179 h 514350"/>
                <a:gd name="connsiteX1234" fmla="*/ 3977164 w 6400800"/>
                <a:gd name="connsiteY1234" fmla="*/ 278606 h 514350"/>
                <a:gd name="connsiteX1235" fmla="*/ 3980974 w 6400800"/>
                <a:gd name="connsiteY1235" fmla="*/ 270986 h 514350"/>
                <a:gd name="connsiteX1236" fmla="*/ 3976211 w 6400800"/>
                <a:gd name="connsiteY1236" fmla="*/ 277654 h 514350"/>
                <a:gd name="connsiteX1237" fmla="*/ 3973354 w 6400800"/>
                <a:gd name="connsiteY1237" fmla="*/ 282416 h 514350"/>
                <a:gd name="connsiteX1238" fmla="*/ 3974306 w 6400800"/>
                <a:gd name="connsiteY1238" fmla="*/ 254794 h 514350"/>
                <a:gd name="connsiteX1239" fmla="*/ 3975259 w 6400800"/>
                <a:gd name="connsiteY1239" fmla="*/ 230029 h 514350"/>
                <a:gd name="connsiteX1240" fmla="*/ 3970496 w 6400800"/>
                <a:gd name="connsiteY1240" fmla="*/ 254794 h 514350"/>
                <a:gd name="connsiteX1241" fmla="*/ 3965734 w 6400800"/>
                <a:gd name="connsiteY1241" fmla="*/ 281464 h 514350"/>
                <a:gd name="connsiteX1242" fmla="*/ 3961924 w 6400800"/>
                <a:gd name="connsiteY1242" fmla="*/ 274796 h 514350"/>
                <a:gd name="connsiteX1243" fmla="*/ 3962876 w 6400800"/>
                <a:gd name="connsiteY1243" fmla="*/ 269081 h 514350"/>
                <a:gd name="connsiteX1244" fmla="*/ 3966686 w 6400800"/>
                <a:gd name="connsiteY1244" fmla="*/ 245269 h 514350"/>
                <a:gd name="connsiteX1245" fmla="*/ 3959066 w 6400800"/>
                <a:gd name="connsiteY1245" fmla="*/ 268129 h 514350"/>
                <a:gd name="connsiteX1246" fmla="*/ 3959066 w 6400800"/>
                <a:gd name="connsiteY1246" fmla="*/ 269081 h 514350"/>
                <a:gd name="connsiteX1247" fmla="*/ 3958114 w 6400800"/>
                <a:gd name="connsiteY1247" fmla="*/ 267176 h 514350"/>
                <a:gd name="connsiteX1248" fmla="*/ 3958114 w 6400800"/>
                <a:gd name="connsiteY1248" fmla="*/ 269081 h 514350"/>
                <a:gd name="connsiteX1249" fmla="*/ 3955256 w 6400800"/>
                <a:gd name="connsiteY1249" fmla="*/ 264319 h 514350"/>
                <a:gd name="connsiteX1250" fmla="*/ 3954304 w 6400800"/>
                <a:gd name="connsiteY1250" fmla="*/ 247174 h 514350"/>
                <a:gd name="connsiteX1251" fmla="*/ 3951446 w 6400800"/>
                <a:gd name="connsiteY1251" fmla="*/ 214789 h 514350"/>
                <a:gd name="connsiteX1252" fmla="*/ 3947636 w 6400800"/>
                <a:gd name="connsiteY1252" fmla="*/ 190024 h 514350"/>
                <a:gd name="connsiteX1253" fmla="*/ 3943826 w 6400800"/>
                <a:gd name="connsiteY1253" fmla="*/ 169069 h 514350"/>
                <a:gd name="connsiteX1254" fmla="*/ 3943826 w 6400800"/>
                <a:gd name="connsiteY1254" fmla="*/ 190024 h 514350"/>
                <a:gd name="connsiteX1255" fmla="*/ 3943826 w 6400800"/>
                <a:gd name="connsiteY1255" fmla="*/ 214789 h 514350"/>
                <a:gd name="connsiteX1256" fmla="*/ 3943826 w 6400800"/>
                <a:gd name="connsiteY1256" fmla="*/ 225266 h 514350"/>
                <a:gd name="connsiteX1257" fmla="*/ 3940969 w 6400800"/>
                <a:gd name="connsiteY1257" fmla="*/ 215741 h 514350"/>
                <a:gd name="connsiteX1258" fmla="*/ 3939064 w 6400800"/>
                <a:gd name="connsiteY1258" fmla="*/ 207169 h 514350"/>
                <a:gd name="connsiteX1259" fmla="*/ 3940016 w 6400800"/>
                <a:gd name="connsiteY1259" fmla="*/ 205264 h 514350"/>
                <a:gd name="connsiteX1260" fmla="*/ 3939064 w 6400800"/>
                <a:gd name="connsiteY1260" fmla="*/ 206216 h 514350"/>
                <a:gd name="connsiteX1261" fmla="*/ 3936206 w 6400800"/>
                <a:gd name="connsiteY1261" fmla="*/ 197644 h 514350"/>
                <a:gd name="connsiteX1262" fmla="*/ 3937159 w 6400800"/>
                <a:gd name="connsiteY1262" fmla="*/ 208121 h 514350"/>
                <a:gd name="connsiteX1263" fmla="*/ 3929539 w 6400800"/>
                <a:gd name="connsiteY1263" fmla="*/ 216694 h 514350"/>
                <a:gd name="connsiteX1264" fmla="*/ 3925729 w 6400800"/>
                <a:gd name="connsiteY1264" fmla="*/ 197644 h 514350"/>
                <a:gd name="connsiteX1265" fmla="*/ 3916204 w 6400800"/>
                <a:gd name="connsiteY1265" fmla="*/ 158591 h 514350"/>
                <a:gd name="connsiteX1266" fmla="*/ 3912394 w 6400800"/>
                <a:gd name="connsiteY1266" fmla="*/ 144304 h 514350"/>
                <a:gd name="connsiteX1267" fmla="*/ 3915251 w 6400800"/>
                <a:gd name="connsiteY1267" fmla="*/ 139541 h 514350"/>
                <a:gd name="connsiteX1268" fmla="*/ 3935254 w 6400800"/>
                <a:gd name="connsiteY1268" fmla="*/ 110966 h 514350"/>
                <a:gd name="connsiteX1269" fmla="*/ 3912394 w 6400800"/>
                <a:gd name="connsiteY1269" fmla="*/ 136684 h 514350"/>
                <a:gd name="connsiteX1270" fmla="*/ 3910489 w 6400800"/>
                <a:gd name="connsiteY1270" fmla="*/ 138589 h 514350"/>
                <a:gd name="connsiteX1271" fmla="*/ 3906679 w 6400800"/>
                <a:gd name="connsiteY1271" fmla="*/ 128111 h 514350"/>
                <a:gd name="connsiteX1272" fmla="*/ 3898106 w 6400800"/>
                <a:gd name="connsiteY1272" fmla="*/ 102394 h 514350"/>
                <a:gd name="connsiteX1273" fmla="*/ 3902869 w 6400800"/>
                <a:gd name="connsiteY1273" fmla="*/ 129064 h 514350"/>
                <a:gd name="connsiteX1274" fmla="*/ 3905726 w 6400800"/>
                <a:gd name="connsiteY1274" fmla="*/ 143351 h 514350"/>
                <a:gd name="connsiteX1275" fmla="*/ 3905726 w 6400800"/>
                <a:gd name="connsiteY1275" fmla="*/ 143351 h 514350"/>
                <a:gd name="connsiteX1276" fmla="*/ 3887629 w 6400800"/>
                <a:gd name="connsiteY1276" fmla="*/ 167164 h 514350"/>
                <a:gd name="connsiteX1277" fmla="*/ 3866674 w 6400800"/>
                <a:gd name="connsiteY1277" fmla="*/ 195739 h 514350"/>
                <a:gd name="connsiteX1278" fmla="*/ 3862864 w 6400800"/>
                <a:gd name="connsiteY1278" fmla="*/ 182404 h 514350"/>
                <a:gd name="connsiteX1279" fmla="*/ 3854291 w 6400800"/>
                <a:gd name="connsiteY1279" fmla="*/ 155734 h 514350"/>
                <a:gd name="connsiteX1280" fmla="*/ 3859054 w 6400800"/>
                <a:gd name="connsiteY1280" fmla="*/ 183356 h 514350"/>
                <a:gd name="connsiteX1281" fmla="*/ 3862864 w 6400800"/>
                <a:gd name="connsiteY1281" fmla="*/ 202406 h 514350"/>
                <a:gd name="connsiteX1282" fmla="*/ 3858101 w 6400800"/>
                <a:gd name="connsiteY1282" fmla="*/ 209074 h 514350"/>
                <a:gd name="connsiteX1283" fmla="*/ 3853339 w 6400800"/>
                <a:gd name="connsiteY1283" fmla="*/ 216694 h 514350"/>
                <a:gd name="connsiteX1284" fmla="*/ 3849529 w 6400800"/>
                <a:gd name="connsiteY1284" fmla="*/ 195739 h 514350"/>
                <a:gd name="connsiteX1285" fmla="*/ 3852386 w 6400800"/>
                <a:gd name="connsiteY1285" fmla="*/ 178594 h 514350"/>
                <a:gd name="connsiteX1286" fmla="*/ 3855244 w 6400800"/>
                <a:gd name="connsiteY1286" fmla="*/ 158591 h 514350"/>
                <a:gd name="connsiteX1287" fmla="*/ 3848576 w 6400800"/>
                <a:gd name="connsiteY1287" fmla="*/ 177641 h 514350"/>
                <a:gd name="connsiteX1288" fmla="*/ 3841909 w 6400800"/>
                <a:gd name="connsiteY1288" fmla="*/ 199549 h 514350"/>
                <a:gd name="connsiteX1289" fmla="*/ 3838099 w 6400800"/>
                <a:gd name="connsiteY1289" fmla="*/ 212884 h 514350"/>
                <a:gd name="connsiteX1290" fmla="*/ 3835241 w 6400800"/>
                <a:gd name="connsiteY1290" fmla="*/ 225266 h 514350"/>
                <a:gd name="connsiteX1291" fmla="*/ 3834289 w 6400800"/>
                <a:gd name="connsiteY1291" fmla="*/ 222409 h 514350"/>
                <a:gd name="connsiteX1292" fmla="*/ 3825716 w 6400800"/>
                <a:gd name="connsiteY1292" fmla="*/ 209074 h 514350"/>
                <a:gd name="connsiteX1293" fmla="*/ 3809524 w 6400800"/>
                <a:gd name="connsiteY1293" fmla="*/ 184309 h 514350"/>
                <a:gd name="connsiteX1294" fmla="*/ 3821906 w 6400800"/>
                <a:gd name="connsiteY1294" fmla="*/ 210979 h 514350"/>
                <a:gd name="connsiteX1295" fmla="*/ 3828574 w 6400800"/>
                <a:gd name="connsiteY1295" fmla="*/ 224314 h 514350"/>
                <a:gd name="connsiteX1296" fmla="*/ 3832384 w 6400800"/>
                <a:gd name="connsiteY1296" fmla="*/ 234791 h 514350"/>
                <a:gd name="connsiteX1297" fmla="*/ 3828574 w 6400800"/>
                <a:gd name="connsiteY1297" fmla="*/ 254794 h 514350"/>
                <a:gd name="connsiteX1298" fmla="*/ 3825716 w 6400800"/>
                <a:gd name="connsiteY1298" fmla="*/ 259556 h 514350"/>
                <a:gd name="connsiteX1299" fmla="*/ 3820954 w 6400800"/>
                <a:gd name="connsiteY1299" fmla="*/ 269081 h 514350"/>
                <a:gd name="connsiteX1300" fmla="*/ 3820001 w 6400800"/>
                <a:gd name="connsiteY1300" fmla="*/ 267176 h 514350"/>
                <a:gd name="connsiteX1301" fmla="*/ 3804761 w 6400800"/>
                <a:gd name="connsiteY1301" fmla="*/ 249079 h 514350"/>
                <a:gd name="connsiteX1302" fmla="*/ 3817144 w 6400800"/>
                <a:gd name="connsiteY1302" fmla="*/ 270034 h 514350"/>
                <a:gd name="connsiteX1303" fmla="*/ 3819049 w 6400800"/>
                <a:gd name="connsiteY1303" fmla="*/ 272891 h 514350"/>
                <a:gd name="connsiteX1304" fmla="*/ 3806666 w 6400800"/>
                <a:gd name="connsiteY1304" fmla="*/ 294799 h 514350"/>
                <a:gd name="connsiteX1305" fmla="*/ 3806666 w 6400800"/>
                <a:gd name="connsiteY1305" fmla="*/ 294799 h 514350"/>
                <a:gd name="connsiteX1306" fmla="*/ 3803809 w 6400800"/>
                <a:gd name="connsiteY1306" fmla="*/ 290989 h 514350"/>
                <a:gd name="connsiteX1307" fmla="*/ 3802856 w 6400800"/>
                <a:gd name="connsiteY1307" fmla="*/ 287179 h 514350"/>
                <a:gd name="connsiteX1308" fmla="*/ 3799999 w 6400800"/>
                <a:gd name="connsiteY1308" fmla="*/ 276701 h 514350"/>
                <a:gd name="connsiteX1309" fmla="*/ 3795236 w 6400800"/>
                <a:gd name="connsiteY1309" fmla="*/ 260509 h 514350"/>
                <a:gd name="connsiteX1310" fmla="*/ 3790474 w 6400800"/>
                <a:gd name="connsiteY1310" fmla="*/ 246221 h 514350"/>
                <a:gd name="connsiteX1311" fmla="*/ 3791426 w 6400800"/>
                <a:gd name="connsiteY1311" fmla="*/ 260509 h 514350"/>
                <a:gd name="connsiteX1312" fmla="*/ 3792379 w 6400800"/>
                <a:gd name="connsiteY1312" fmla="*/ 273844 h 514350"/>
                <a:gd name="connsiteX1313" fmla="*/ 3787616 w 6400800"/>
                <a:gd name="connsiteY1313" fmla="*/ 268129 h 514350"/>
                <a:gd name="connsiteX1314" fmla="*/ 3777139 w 6400800"/>
                <a:gd name="connsiteY1314" fmla="*/ 255746 h 514350"/>
                <a:gd name="connsiteX1315" fmla="*/ 3773329 w 6400800"/>
                <a:gd name="connsiteY1315" fmla="*/ 246221 h 514350"/>
                <a:gd name="connsiteX1316" fmla="*/ 3764756 w 6400800"/>
                <a:gd name="connsiteY1316" fmla="*/ 224314 h 514350"/>
                <a:gd name="connsiteX1317" fmla="*/ 3769519 w 6400800"/>
                <a:gd name="connsiteY1317" fmla="*/ 247174 h 514350"/>
                <a:gd name="connsiteX1318" fmla="*/ 3776186 w 6400800"/>
                <a:gd name="connsiteY1318" fmla="*/ 273844 h 514350"/>
                <a:gd name="connsiteX1319" fmla="*/ 3781901 w 6400800"/>
                <a:gd name="connsiteY1319" fmla="*/ 299561 h 514350"/>
                <a:gd name="connsiteX1320" fmla="*/ 3760946 w 6400800"/>
                <a:gd name="connsiteY1320" fmla="*/ 234791 h 514350"/>
                <a:gd name="connsiteX1321" fmla="*/ 3755231 w 6400800"/>
                <a:gd name="connsiteY1321" fmla="*/ 218599 h 514350"/>
                <a:gd name="connsiteX1322" fmla="*/ 3759041 w 6400800"/>
                <a:gd name="connsiteY1322" fmla="*/ 211931 h 514350"/>
                <a:gd name="connsiteX1323" fmla="*/ 3754279 w 6400800"/>
                <a:gd name="connsiteY1323" fmla="*/ 217646 h 514350"/>
                <a:gd name="connsiteX1324" fmla="*/ 3750469 w 6400800"/>
                <a:gd name="connsiteY1324" fmla="*/ 208121 h 514350"/>
                <a:gd name="connsiteX1325" fmla="*/ 3752374 w 6400800"/>
                <a:gd name="connsiteY1325" fmla="*/ 197644 h 514350"/>
                <a:gd name="connsiteX1326" fmla="*/ 3748564 w 6400800"/>
                <a:gd name="connsiteY1326" fmla="*/ 205264 h 514350"/>
                <a:gd name="connsiteX1327" fmla="*/ 3734276 w 6400800"/>
                <a:gd name="connsiteY1327" fmla="*/ 167164 h 514350"/>
                <a:gd name="connsiteX1328" fmla="*/ 3742849 w 6400800"/>
                <a:gd name="connsiteY1328" fmla="*/ 217646 h 514350"/>
                <a:gd name="connsiteX1329" fmla="*/ 3736181 w 6400800"/>
                <a:gd name="connsiteY1329" fmla="*/ 236696 h 514350"/>
                <a:gd name="connsiteX1330" fmla="*/ 3735229 w 6400800"/>
                <a:gd name="connsiteY1330" fmla="*/ 238601 h 514350"/>
                <a:gd name="connsiteX1331" fmla="*/ 3730466 w 6400800"/>
                <a:gd name="connsiteY1331" fmla="*/ 245269 h 514350"/>
                <a:gd name="connsiteX1332" fmla="*/ 3726656 w 6400800"/>
                <a:gd name="connsiteY1332" fmla="*/ 236696 h 514350"/>
                <a:gd name="connsiteX1333" fmla="*/ 3726656 w 6400800"/>
                <a:gd name="connsiteY1333" fmla="*/ 232886 h 514350"/>
                <a:gd name="connsiteX1334" fmla="*/ 3725704 w 6400800"/>
                <a:gd name="connsiteY1334" fmla="*/ 214789 h 514350"/>
                <a:gd name="connsiteX1335" fmla="*/ 3722846 w 6400800"/>
                <a:gd name="connsiteY1335" fmla="*/ 230029 h 514350"/>
                <a:gd name="connsiteX1336" fmla="*/ 3721894 w 6400800"/>
                <a:gd name="connsiteY1336" fmla="*/ 229076 h 514350"/>
                <a:gd name="connsiteX1337" fmla="*/ 3721894 w 6400800"/>
                <a:gd name="connsiteY1337" fmla="*/ 229076 h 514350"/>
                <a:gd name="connsiteX1338" fmla="*/ 3725704 w 6400800"/>
                <a:gd name="connsiteY1338" fmla="*/ 190976 h 514350"/>
                <a:gd name="connsiteX1339" fmla="*/ 3727609 w 6400800"/>
                <a:gd name="connsiteY1339" fmla="*/ 172879 h 514350"/>
                <a:gd name="connsiteX1340" fmla="*/ 3730466 w 6400800"/>
                <a:gd name="connsiteY1340" fmla="*/ 155734 h 514350"/>
                <a:gd name="connsiteX1341" fmla="*/ 3734276 w 6400800"/>
                <a:gd name="connsiteY1341" fmla="*/ 128111 h 514350"/>
                <a:gd name="connsiteX1342" fmla="*/ 3737134 w 6400800"/>
                <a:gd name="connsiteY1342" fmla="*/ 104299 h 514350"/>
                <a:gd name="connsiteX1343" fmla="*/ 3730466 w 6400800"/>
                <a:gd name="connsiteY1343" fmla="*/ 127159 h 514350"/>
                <a:gd name="connsiteX1344" fmla="*/ 3722846 w 6400800"/>
                <a:gd name="connsiteY1344" fmla="*/ 153829 h 514350"/>
                <a:gd name="connsiteX1345" fmla="*/ 3718084 w 6400800"/>
                <a:gd name="connsiteY1345" fmla="*/ 170021 h 514350"/>
                <a:gd name="connsiteX1346" fmla="*/ 3714274 w 6400800"/>
                <a:gd name="connsiteY1346" fmla="*/ 188119 h 514350"/>
                <a:gd name="connsiteX1347" fmla="*/ 3710464 w 6400800"/>
                <a:gd name="connsiteY1347" fmla="*/ 208121 h 514350"/>
                <a:gd name="connsiteX1348" fmla="*/ 3710464 w 6400800"/>
                <a:gd name="connsiteY1348" fmla="*/ 207169 h 514350"/>
                <a:gd name="connsiteX1349" fmla="*/ 3691414 w 6400800"/>
                <a:gd name="connsiteY1349" fmla="*/ 174784 h 514350"/>
                <a:gd name="connsiteX1350" fmla="*/ 3677126 w 6400800"/>
                <a:gd name="connsiteY1350" fmla="*/ 150971 h 514350"/>
                <a:gd name="connsiteX1351" fmla="*/ 3678079 w 6400800"/>
                <a:gd name="connsiteY1351" fmla="*/ 137636 h 514350"/>
                <a:gd name="connsiteX1352" fmla="*/ 3675221 w 6400800"/>
                <a:gd name="connsiteY1352" fmla="*/ 149066 h 514350"/>
                <a:gd name="connsiteX1353" fmla="*/ 3674269 w 6400800"/>
                <a:gd name="connsiteY1353" fmla="*/ 147161 h 514350"/>
                <a:gd name="connsiteX1354" fmla="*/ 3675221 w 6400800"/>
                <a:gd name="connsiteY1354" fmla="*/ 150019 h 514350"/>
                <a:gd name="connsiteX1355" fmla="*/ 3672364 w 6400800"/>
                <a:gd name="connsiteY1355" fmla="*/ 164306 h 514350"/>
                <a:gd name="connsiteX1356" fmla="*/ 3665696 w 6400800"/>
                <a:gd name="connsiteY1356" fmla="*/ 194786 h 514350"/>
                <a:gd name="connsiteX1357" fmla="*/ 3662839 w 6400800"/>
                <a:gd name="connsiteY1357" fmla="*/ 209074 h 514350"/>
                <a:gd name="connsiteX1358" fmla="*/ 3661886 w 6400800"/>
                <a:gd name="connsiteY1358" fmla="*/ 210026 h 514350"/>
                <a:gd name="connsiteX1359" fmla="*/ 3658076 w 6400800"/>
                <a:gd name="connsiteY1359" fmla="*/ 216694 h 514350"/>
                <a:gd name="connsiteX1360" fmla="*/ 3658076 w 6400800"/>
                <a:gd name="connsiteY1360" fmla="*/ 174784 h 514350"/>
                <a:gd name="connsiteX1361" fmla="*/ 3645694 w 6400800"/>
                <a:gd name="connsiteY1361" fmla="*/ 239554 h 514350"/>
                <a:gd name="connsiteX1362" fmla="*/ 3644741 w 6400800"/>
                <a:gd name="connsiteY1362" fmla="*/ 246221 h 514350"/>
                <a:gd name="connsiteX1363" fmla="*/ 3643789 w 6400800"/>
                <a:gd name="connsiteY1363" fmla="*/ 249079 h 514350"/>
                <a:gd name="connsiteX1364" fmla="*/ 3640931 w 6400800"/>
                <a:gd name="connsiteY1364" fmla="*/ 259556 h 514350"/>
                <a:gd name="connsiteX1365" fmla="*/ 3633311 w 6400800"/>
                <a:gd name="connsiteY1365" fmla="*/ 243364 h 514350"/>
                <a:gd name="connsiteX1366" fmla="*/ 3639979 w 6400800"/>
                <a:gd name="connsiteY1366" fmla="*/ 265271 h 514350"/>
                <a:gd name="connsiteX1367" fmla="*/ 3637121 w 6400800"/>
                <a:gd name="connsiteY1367" fmla="*/ 275749 h 514350"/>
                <a:gd name="connsiteX1368" fmla="*/ 3627596 w 6400800"/>
                <a:gd name="connsiteY1368" fmla="*/ 261461 h 514350"/>
                <a:gd name="connsiteX1369" fmla="*/ 3635216 w 6400800"/>
                <a:gd name="connsiteY1369" fmla="*/ 280511 h 514350"/>
                <a:gd name="connsiteX1370" fmla="*/ 3635216 w 6400800"/>
                <a:gd name="connsiteY1370" fmla="*/ 281464 h 514350"/>
                <a:gd name="connsiteX1371" fmla="*/ 3630454 w 6400800"/>
                <a:gd name="connsiteY1371" fmla="*/ 309086 h 514350"/>
                <a:gd name="connsiteX1372" fmla="*/ 3627596 w 6400800"/>
                <a:gd name="connsiteY1372" fmla="*/ 332899 h 514350"/>
                <a:gd name="connsiteX1373" fmla="*/ 3620929 w 6400800"/>
                <a:gd name="connsiteY1373" fmla="*/ 312896 h 514350"/>
                <a:gd name="connsiteX1374" fmla="*/ 3620929 w 6400800"/>
                <a:gd name="connsiteY1374" fmla="*/ 309086 h 514350"/>
                <a:gd name="connsiteX1375" fmla="*/ 3619976 w 6400800"/>
                <a:gd name="connsiteY1375" fmla="*/ 310991 h 514350"/>
                <a:gd name="connsiteX1376" fmla="*/ 3619024 w 6400800"/>
                <a:gd name="connsiteY1376" fmla="*/ 308134 h 514350"/>
                <a:gd name="connsiteX1377" fmla="*/ 3622834 w 6400800"/>
                <a:gd name="connsiteY1377" fmla="*/ 272891 h 514350"/>
                <a:gd name="connsiteX1378" fmla="*/ 3626644 w 6400800"/>
                <a:gd name="connsiteY1378" fmla="*/ 221456 h 514350"/>
                <a:gd name="connsiteX1379" fmla="*/ 3630454 w 6400800"/>
                <a:gd name="connsiteY1379" fmla="*/ 211931 h 514350"/>
                <a:gd name="connsiteX1380" fmla="*/ 3626644 w 6400800"/>
                <a:gd name="connsiteY1380" fmla="*/ 216694 h 514350"/>
                <a:gd name="connsiteX1381" fmla="*/ 3626644 w 6400800"/>
                <a:gd name="connsiteY1381" fmla="*/ 214789 h 514350"/>
                <a:gd name="connsiteX1382" fmla="*/ 3626644 w 6400800"/>
                <a:gd name="connsiteY1382" fmla="*/ 192881 h 514350"/>
                <a:gd name="connsiteX1383" fmla="*/ 3622834 w 6400800"/>
                <a:gd name="connsiteY1383" fmla="*/ 214789 h 514350"/>
                <a:gd name="connsiteX1384" fmla="*/ 3620929 w 6400800"/>
                <a:gd name="connsiteY1384" fmla="*/ 226219 h 514350"/>
                <a:gd name="connsiteX1385" fmla="*/ 3620929 w 6400800"/>
                <a:gd name="connsiteY1385" fmla="*/ 227171 h 514350"/>
                <a:gd name="connsiteX1386" fmla="*/ 3609499 w 6400800"/>
                <a:gd name="connsiteY1386" fmla="*/ 243364 h 514350"/>
                <a:gd name="connsiteX1387" fmla="*/ 3603784 w 6400800"/>
                <a:gd name="connsiteY1387" fmla="*/ 251936 h 514350"/>
                <a:gd name="connsiteX1388" fmla="*/ 3613309 w 6400800"/>
                <a:gd name="connsiteY1388" fmla="*/ 225266 h 514350"/>
                <a:gd name="connsiteX1389" fmla="*/ 3619024 w 6400800"/>
                <a:gd name="connsiteY1389" fmla="*/ 208121 h 514350"/>
                <a:gd name="connsiteX1390" fmla="*/ 3624739 w 6400800"/>
                <a:gd name="connsiteY1390" fmla="*/ 192881 h 514350"/>
                <a:gd name="connsiteX1391" fmla="*/ 3634264 w 6400800"/>
                <a:gd name="connsiteY1391" fmla="*/ 168116 h 514350"/>
                <a:gd name="connsiteX1392" fmla="*/ 3642836 w 6400800"/>
                <a:gd name="connsiteY1392" fmla="*/ 146209 h 514350"/>
                <a:gd name="connsiteX1393" fmla="*/ 3631406 w 6400800"/>
                <a:gd name="connsiteY1393" fmla="*/ 166211 h 514350"/>
                <a:gd name="connsiteX1394" fmla="*/ 3618071 w 6400800"/>
                <a:gd name="connsiteY1394" fmla="*/ 189071 h 514350"/>
                <a:gd name="connsiteX1395" fmla="*/ 3610451 w 6400800"/>
                <a:gd name="connsiteY1395" fmla="*/ 203359 h 514350"/>
                <a:gd name="connsiteX1396" fmla="*/ 3602831 w 6400800"/>
                <a:gd name="connsiteY1396" fmla="*/ 219551 h 514350"/>
                <a:gd name="connsiteX1397" fmla="*/ 3588544 w 6400800"/>
                <a:gd name="connsiteY1397" fmla="*/ 250031 h 514350"/>
                <a:gd name="connsiteX1398" fmla="*/ 3588544 w 6400800"/>
                <a:gd name="connsiteY1398" fmla="*/ 242411 h 514350"/>
                <a:gd name="connsiteX1399" fmla="*/ 3585686 w 6400800"/>
                <a:gd name="connsiteY1399" fmla="*/ 256699 h 514350"/>
                <a:gd name="connsiteX1400" fmla="*/ 3585686 w 6400800"/>
                <a:gd name="connsiteY1400" fmla="*/ 257651 h 514350"/>
                <a:gd name="connsiteX1401" fmla="*/ 3579971 w 6400800"/>
                <a:gd name="connsiteY1401" fmla="*/ 270986 h 514350"/>
                <a:gd name="connsiteX1402" fmla="*/ 3573304 w 6400800"/>
                <a:gd name="connsiteY1402" fmla="*/ 282416 h 514350"/>
                <a:gd name="connsiteX1403" fmla="*/ 3568541 w 6400800"/>
                <a:gd name="connsiteY1403" fmla="*/ 263366 h 514350"/>
                <a:gd name="connsiteX1404" fmla="*/ 3564731 w 6400800"/>
                <a:gd name="connsiteY1404" fmla="*/ 248126 h 514350"/>
                <a:gd name="connsiteX1405" fmla="*/ 3564731 w 6400800"/>
                <a:gd name="connsiteY1405" fmla="*/ 248126 h 514350"/>
                <a:gd name="connsiteX1406" fmla="*/ 3562826 w 6400800"/>
                <a:gd name="connsiteY1406" fmla="*/ 237649 h 514350"/>
                <a:gd name="connsiteX1407" fmla="*/ 3561874 w 6400800"/>
                <a:gd name="connsiteY1407" fmla="*/ 233839 h 514350"/>
                <a:gd name="connsiteX1408" fmla="*/ 3566636 w 6400800"/>
                <a:gd name="connsiteY1408" fmla="*/ 227171 h 514350"/>
                <a:gd name="connsiteX1409" fmla="*/ 3561874 w 6400800"/>
                <a:gd name="connsiteY1409" fmla="*/ 230981 h 514350"/>
                <a:gd name="connsiteX1410" fmla="*/ 3559016 w 6400800"/>
                <a:gd name="connsiteY1410" fmla="*/ 218599 h 514350"/>
                <a:gd name="connsiteX1411" fmla="*/ 3559016 w 6400800"/>
                <a:gd name="connsiteY1411" fmla="*/ 231934 h 514350"/>
                <a:gd name="connsiteX1412" fmla="*/ 3554254 w 6400800"/>
                <a:gd name="connsiteY1412" fmla="*/ 220504 h 514350"/>
                <a:gd name="connsiteX1413" fmla="*/ 3569494 w 6400800"/>
                <a:gd name="connsiteY1413" fmla="*/ 197644 h 514350"/>
                <a:gd name="connsiteX1414" fmla="*/ 3585686 w 6400800"/>
                <a:gd name="connsiteY1414" fmla="*/ 174784 h 514350"/>
                <a:gd name="connsiteX1415" fmla="*/ 3600926 w 6400800"/>
                <a:gd name="connsiteY1415" fmla="*/ 154781 h 514350"/>
                <a:gd name="connsiteX1416" fmla="*/ 3582829 w 6400800"/>
                <a:gd name="connsiteY1416" fmla="*/ 171926 h 514350"/>
                <a:gd name="connsiteX1417" fmla="*/ 3562826 w 6400800"/>
                <a:gd name="connsiteY1417" fmla="*/ 192881 h 514350"/>
                <a:gd name="connsiteX1418" fmla="*/ 3549491 w 6400800"/>
                <a:gd name="connsiteY1418" fmla="*/ 209074 h 514350"/>
                <a:gd name="connsiteX1419" fmla="*/ 3542824 w 6400800"/>
                <a:gd name="connsiteY1419" fmla="*/ 193834 h 514350"/>
                <a:gd name="connsiteX1420" fmla="*/ 3546634 w 6400800"/>
                <a:gd name="connsiteY1420" fmla="*/ 212884 h 514350"/>
                <a:gd name="connsiteX1421" fmla="*/ 3539966 w 6400800"/>
                <a:gd name="connsiteY1421" fmla="*/ 222409 h 514350"/>
                <a:gd name="connsiteX1422" fmla="*/ 3539014 w 6400800"/>
                <a:gd name="connsiteY1422" fmla="*/ 223361 h 514350"/>
                <a:gd name="connsiteX1423" fmla="*/ 3539014 w 6400800"/>
                <a:gd name="connsiteY1423" fmla="*/ 210979 h 514350"/>
                <a:gd name="connsiteX1424" fmla="*/ 3539014 w 6400800"/>
                <a:gd name="connsiteY1424" fmla="*/ 184309 h 514350"/>
                <a:gd name="connsiteX1425" fmla="*/ 3539014 w 6400800"/>
                <a:gd name="connsiteY1425" fmla="*/ 173831 h 514350"/>
                <a:gd name="connsiteX1426" fmla="*/ 3540919 w 6400800"/>
                <a:gd name="connsiteY1426" fmla="*/ 170021 h 514350"/>
                <a:gd name="connsiteX1427" fmla="*/ 3539014 w 6400800"/>
                <a:gd name="connsiteY1427" fmla="*/ 172879 h 514350"/>
                <a:gd name="connsiteX1428" fmla="*/ 3539014 w 6400800"/>
                <a:gd name="connsiteY1428" fmla="*/ 162401 h 514350"/>
                <a:gd name="connsiteX1429" fmla="*/ 3537109 w 6400800"/>
                <a:gd name="connsiteY1429" fmla="*/ 176689 h 514350"/>
                <a:gd name="connsiteX1430" fmla="*/ 3527584 w 6400800"/>
                <a:gd name="connsiteY1430" fmla="*/ 190976 h 514350"/>
                <a:gd name="connsiteX1431" fmla="*/ 3511391 w 6400800"/>
                <a:gd name="connsiteY1431" fmla="*/ 214789 h 514350"/>
                <a:gd name="connsiteX1432" fmla="*/ 3510439 w 6400800"/>
                <a:gd name="connsiteY1432" fmla="*/ 215741 h 514350"/>
                <a:gd name="connsiteX1433" fmla="*/ 3508534 w 6400800"/>
                <a:gd name="connsiteY1433" fmla="*/ 201454 h 514350"/>
                <a:gd name="connsiteX1434" fmla="*/ 3505676 w 6400800"/>
                <a:gd name="connsiteY1434" fmla="*/ 180499 h 514350"/>
                <a:gd name="connsiteX1435" fmla="*/ 3504724 w 6400800"/>
                <a:gd name="connsiteY1435" fmla="*/ 202406 h 514350"/>
                <a:gd name="connsiteX1436" fmla="*/ 3503771 w 6400800"/>
                <a:gd name="connsiteY1436" fmla="*/ 226219 h 514350"/>
                <a:gd name="connsiteX1437" fmla="*/ 3500914 w 6400800"/>
                <a:gd name="connsiteY1437" fmla="*/ 230981 h 514350"/>
                <a:gd name="connsiteX1438" fmla="*/ 3491389 w 6400800"/>
                <a:gd name="connsiteY1438" fmla="*/ 247174 h 514350"/>
                <a:gd name="connsiteX1439" fmla="*/ 3483769 w 6400800"/>
                <a:gd name="connsiteY1439" fmla="*/ 230029 h 514350"/>
                <a:gd name="connsiteX1440" fmla="*/ 3469481 w 6400800"/>
                <a:gd name="connsiteY1440" fmla="*/ 200501 h 514350"/>
                <a:gd name="connsiteX1441" fmla="*/ 3471386 w 6400800"/>
                <a:gd name="connsiteY1441" fmla="*/ 190976 h 514350"/>
                <a:gd name="connsiteX1442" fmla="*/ 3477101 w 6400800"/>
                <a:gd name="connsiteY1442" fmla="*/ 167164 h 514350"/>
                <a:gd name="connsiteX1443" fmla="*/ 3482816 w 6400800"/>
                <a:gd name="connsiteY1443" fmla="*/ 146209 h 514350"/>
                <a:gd name="connsiteX1444" fmla="*/ 3492341 w 6400800"/>
                <a:gd name="connsiteY1444" fmla="*/ 111919 h 514350"/>
                <a:gd name="connsiteX1445" fmla="*/ 3499961 w 6400800"/>
                <a:gd name="connsiteY1445" fmla="*/ 82391 h 514350"/>
                <a:gd name="connsiteX1446" fmla="*/ 3488531 w 6400800"/>
                <a:gd name="connsiteY1446" fmla="*/ 110966 h 514350"/>
                <a:gd name="connsiteX1447" fmla="*/ 3476149 w 6400800"/>
                <a:gd name="connsiteY1447" fmla="*/ 144304 h 514350"/>
                <a:gd name="connsiteX1448" fmla="*/ 3468529 w 6400800"/>
                <a:gd name="connsiteY1448" fmla="*/ 164306 h 514350"/>
                <a:gd name="connsiteX1449" fmla="*/ 3461861 w 6400800"/>
                <a:gd name="connsiteY1449" fmla="*/ 185261 h 514350"/>
                <a:gd name="connsiteX1450" fmla="*/ 3452336 w 6400800"/>
                <a:gd name="connsiteY1450" fmla="*/ 168116 h 514350"/>
                <a:gd name="connsiteX1451" fmla="*/ 3460909 w 6400800"/>
                <a:gd name="connsiteY1451" fmla="*/ 189071 h 514350"/>
                <a:gd name="connsiteX1452" fmla="*/ 3450431 w 6400800"/>
                <a:gd name="connsiteY1452" fmla="*/ 225266 h 514350"/>
                <a:gd name="connsiteX1453" fmla="*/ 3441859 w 6400800"/>
                <a:gd name="connsiteY1453" fmla="*/ 210026 h 514350"/>
                <a:gd name="connsiteX1454" fmla="*/ 3442811 w 6400800"/>
                <a:gd name="connsiteY1454" fmla="*/ 208121 h 514350"/>
                <a:gd name="connsiteX1455" fmla="*/ 3445669 w 6400800"/>
                <a:gd name="connsiteY1455" fmla="*/ 190976 h 514350"/>
                <a:gd name="connsiteX1456" fmla="*/ 3439001 w 6400800"/>
                <a:gd name="connsiteY1456" fmla="*/ 205264 h 514350"/>
                <a:gd name="connsiteX1457" fmla="*/ 3439001 w 6400800"/>
                <a:gd name="connsiteY1457" fmla="*/ 205264 h 514350"/>
                <a:gd name="connsiteX1458" fmla="*/ 3438049 w 6400800"/>
                <a:gd name="connsiteY1458" fmla="*/ 165259 h 514350"/>
                <a:gd name="connsiteX1459" fmla="*/ 3437096 w 6400800"/>
                <a:gd name="connsiteY1459" fmla="*/ 135731 h 514350"/>
                <a:gd name="connsiteX1460" fmla="*/ 3435191 w 6400800"/>
                <a:gd name="connsiteY1460" fmla="*/ 112871 h 514350"/>
                <a:gd name="connsiteX1461" fmla="*/ 3433286 w 6400800"/>
                <a:gd name="connsiteY1461" fmla="*/ 92869 h 514350"/>
                <a:gd name="connsiteX1462" fmla="*/ 3431381 w 6400800"/>
                <a:gd name="connsiteY1462" fmla="*/ 112871 h 514350"/>
                <a:gd name="connsiteX1463" fmla="*/ 3428524 w 6400800"/>
                <a:gd name="connsiteY1463" fmla="*/ 149066 h 514350"/>
                <a:gd name="connsiteX1464" fmla="*/ 3428524 w 6400800"/>
                <a:gd name="connsiteY1464" fmla="*/ 150019 h 514350"/>
                <a:gd name="connsiteX1465" fmla="*/ 3426619 w 6400800"/>
                <a:gd name="connsiteY1465" fmla="*/ 131921 h 514350"/>
                <a:gd name="connsiteX1466" fmla="*/ 3423761 w 6400800"/>
                <a:gd name="connsiteY1466" fmla="*/ 113824 h 514350"/>
                <a:gd name="connsiteX1467" fmla="*/ 3422809 w 6400800"/>
                <a:gd name="connsiteY1467" fmla="*/ 131921 h 514350"/>
                <a:gd name="connsiteX1468" fmla="*/ 3420904 w 6400800"/>
                <a:gd name="connsiteY1468" fmla="*/ 174784 h 514350"/>
                <a:gd name="connsiteX1469" fmla="*/ 3412331 w 6400800"/>
                <a:gd name="connsiteY1469" fmla="*/ 162401 h 514350"/>
                <a:gd name="connsiteX1470" fmla="*/ 3398044 w 6400800"/>
                <a:gd name="connsiteY1470" fmla="*/ 141446 h 514350"/>
                <a:gd name="connsiteX1471" fmla="*/ 3401854 w 6400800"/>
                <a:gd name="connsiteY1471" fmla="*/ 123349 h 514350"/>
                <a:gd name="connsiteX1472" fmla="*/ 3396139 w 6400800"/>
                <a:gd name="connsiteY1472" fmla="*/ 139541 h 514350"/>
                <a:gd name="connsiteX1473" fmla="*/ 3391376 w 6400800"/>
                <a:gd name="connsiteY1473" fmla="*/ 132874 h 514350"/>
                <a:gd name="connsiteX1474" fmla="*/ 3395186 w 6400800"/>
                <a:gd name="connsiteY1474" fmla="*/ 139541 h 514350"/>
                <a:gd name="connsiteX1475" fmla="*/ 3395186 w 6400800"/>
                <a:gd name="connsiteY1475" fmla="*/ 141446 h 514350"/>
                <a:gd name="connsiteX1476" fmla="*/ 3382804 w 6400800"/>
                <a:gd name="connsiteY1476" fmla="*/ 177641 h 514350"/>
                <a:gd name="connsiteX1477" fmla="*/ 3382804 w 6400800"/>
                <a:gd name="connsiteY1477" fmla="*/ 172879 h 514350"/>
                <a:gd name="connsiteX1478" fmla="*/ 3381851 w 6400800"/>
                <a:gd name="connsiteY1478" fmla="*/ 150971 h 514350"/>
                <a:gd name="connsiteX1479" fmla="*/ 3378994 w 6400800"/>
                <a:gd name="connsiteY1479" fmla="*/ 172879 h 514350"/>
                <a:gd name="connsiteX1480" fmla="*/ 3376136 w 6400800"/>
                <a:gd name="connsiteY1480" fmla="*/ 197644 h 514350"/>
                <a:gd name="connsiteX1481" fmla="*/ 3365659 w 6400800"/>
                <a:gd name="connsiteY1481" fmla="*/ 234791 h 514350"/>
                <a:gd name="connsiteX1482" fmla="*/ 3358991 w 6400800"/>
                <a:gd name="connsiteY1482" fmla="*/ 253841 h 514350"/>
                <a:gd name="connsiteX1483" fmla="*/ 3358039 w 6400800"/>
                <a:gd name="connsiteY1483" fmla="*/ 257651 h 514350"/>
                <a:gd name="connsiteX1484" fmla="*/ 3351371 w 6400800"/>
                <a:gd name="connsiteY1484" fmla="*/ 239554 h 514350"/>
                <a:gd name="connsiteX1485" fmla="*/ 3351371 w 6400800"/>
                <a:gd name="connsiteY1485" fmla="*/ 237649 h 514350"/>
                <a:gd name="connsiteX1486" fmla="*/ 3351371 w 6400800"/>
                <a:gd name="connsiteY1486" fmla="*/ 238601 h 514350"/>
                <a:gd name="connsiteX1487" fmla="*/ 3344704 w 6400800"/>
                <a:gd name="connsiteY1487" fmla="*/ 221456 h 514350"/>
                <a:gd name="connsiteX1488" fmla="*/ 3349466 w 6400800"/>
                <a:gd name="connsiteY1488" fmla="*/ 248126 h 514350"/>
                <a:gd name="connsiteX1489" fmla="*/ 3347561 w 6400800"/>
                <a:gd name="connsiteY1489" fmla="*/ 265271 h 514350"/>
                <a:gd name="connsiteX1490" fmla="*/ 3345656 w 6400800"/>
                <a:gd name="connsiteY1490" fmla="*/ 283369 h 514350"/>
                <a:gd name="connsiteX1491" fmla="*/ 3343751 w 6400800"/>
                <a:gd name="connsiteY1491" fmla="*/ 287179 h 514350"/>
                <a:gd name="connsiteX1492" fmla="*/ 3339941 w 6400800"/>
                <a:gd name="connsiteY1492" fmla="*/ 274796 h 514350"/>
                <a:gd name="connsiteX1493" fmla="*/ 3325654 w 6400800"/>
                <a:gd name="connsiteY1493" fmla="*/ 231934 h 514350"/>
                <a:gd name="connsiteX1494" fmla="*/ 3328511 w 6400800"/>
                <a:gd name="connsiteY1494" fmla="*/ 216694 h 514350"/>
                <a:gd name="connsiteX1495" fmla="*/ 3338036 w 6400800"/>
                <a:gd name="connsiteY1495" fmla="*/ 170974 h 514350"/>
                <a:gd name="connsiteX1496" fmla="*/ 3346609 w 6400800"/>
                <a:gd name="connsiteY1496" fmla="*/ 136684 h 514350"/>
                <a:gd name="connsiteX1497" fmla="*/ 3355181 w 6400800"/>
                <a:gd name="connsiteY1497" fmla="*/ 106204 h 514350"/>
                <a:gd name="connsiteX1498" fmla="*/ 3342799 w 6400800"/>
                <a:gd name="connsiteY1498" fmla="*/ 134779 h 514350"/>
                <a:gd name="connsiteX1499" fmla="*/ 3330416 w 6400800"/>
                <a:gd name="connsiteY1499" fmla="*/ 169069 h 514350"/>
                <a:gd name="connsiteX1500" fmla="*/ 3318986 w 6400800"/>
                <a:gd name="connsiteY1500" fmla="*/ 208121 h 514350"/>
                <a:gd name="connsiteX1501" fmla="*/ 3318986 w 6400800"/>
                <a:gd name="connsiteY1501" fmla="*/ 203359 h 514350"/>
                <a:gd name="connsiteX1502" fmla="*/ 3320891 w 6400800"/>
                <a:gd name="connsiteY1502" fmla="*/ 195739 h 514350"/>
                <a:gd name="connsiteX1503" fmla="*/ 3327559 w 6400800"/>
                <a:gd name="connsiteY1503" fmla="*/ 170021 h 514350"/>
                <a:gd name="connsiteX1504" fmla="*/ 3332321 w 6400800"/>
                <a:gd name="connsiteY1504" fmla="*/ 147161 h 514350"/>
                <a:gd name="connsiteX1505" fmla="*/ 3323749 w 6400800"/>
                <a:gd name="connsiteY1505" fmla="*/ 169069 h 514350"/>
                <a:gd name="connsiteX1506" fmla="*/ 3322796 w 6400800"/>
                <a:gd name="connsiteY1506" fmla="*/ 171926 h 514350"/>
                <a:gd name="connsiteX1507" fmla="*/ 3323749 w 6400800"/>
                <a:gd name="connsiteY1507" fmla="*/ 165259 h 514350"/>
                <a:gd name="connsiteX1508" fmla="*/ 3328511 w 6400800"/>
                <a:gd name="connsiteY1508" fmla="*/ 147161 h 514350"/>
                <a:gd name="connsiteX1509" fmla="*/ 3336131 w 6400800"/>
                <a:gd name="connsiteY1509" fmla="*/ 116681 h 514350"/>
                <a:gd name="connsiteX1510" fmla="*/ 3341846 w 6400800"/>
                <a:gd name="connsiteY1510" fmla="*/ 90011 h 514350"/>
                <a:gd name="connsiteX1511" fmla="*/ 3332321 w 6400800"/>
                <a:gd name="connsiteY1511" fmla="*/ 114776 h 514350"/>
                <a:gd name="connsiteX1512" fmla="*/ 3321844 w 6400800"/>
                <a:gd name="connsiteY1512" fmla="*/ 143351 h 514350"/>
                <a:gd name="connsiteX1513" fmla="*/ 3315176 w 6400800"/>
                <a:gd name="connsiteY1513" fmla="*/ 161449 h 514350"/>
                <a:gd name="connsiteX1514" fmla="*/ 3308509 w 6400800"/>
                <a:gd name="connsiteY1514" fmla="*/ 181451 h 514350"/>
                <a:gd name="connsiteX1515" fmla="*/ 3308509 w 6400800"/>
                <a:gd name="connsiteY1515" fmla="*/ 181451 h 514350"/>
                <a:gd name="connsiteX1516" fmla="*/ 3306604 w 6400800"/>
                <a:gd name="connsiteY1516" fmla="*/ 176689 h 514350"/>
                <a:gd name="connsiteX1517" fmla="*/ 3292316 w 6400800"/>
                <a:gd name="connsiteY1517" fmla="*/ 140494 h 514350"/>
                <a:gd name="connsiteX1518" fmla="*/ 3305651 w 6400800"/>
                <a:gd name="connsiteY1518" fmla="*/ 189071 h 514350"/>
                <a:gd name="connsiteX1519" fmla="*/ 3294221 w 6400800"/>
                <a:gd name="connsiteY1519" fmla="*/ 227171 h 514350"/>
                <a:gd name="connsiteX1520" fmla="*/ 3293269 w 6400800"/>
                <a:gd name="connsiteY1520" fmla="*/ 230981 h 514350"/>
                <a:gd name="connsiteX1521" fmla="*/ 3292316 w 6400800"/>
                <a:gd name="connsiteY1521" fmla="*/ 229076 h 514350"/>
                <a:gd name="connsiteX1522" fmla="*/ 3277076 w 6400800"/>
                <a:gd name="connsiteY1522" fmla="*/ 197644 h 514350"/>
                <a:gd name="connsiteX1523" fmla="*/ 3291364 w 6400800"/>
                <a:gd name="connsiteY1523" fmla="*/ 237649 h 514350"/>
                <a:gd name="connsiteX1524" fmla="*/ 3285649 w 6400800"/>
                <a:gd name="connsiteY1524" fmla="*/ 257651 h 514350"/>
                <a:gd name="connsiteX1525" fmla="*/ 3277076 w 6400800"/>
                <a:gd name="connsiteY1525" fmla="*/ 246221 h 514350"/>
                <a:gd name="connsiteX1526" fmla="*/ 3274219 w 6400800"/>
                <a:gd name="connsiteY1526" fmla="*/ 242411 h 514350"/>
                <a:gd name="connsiteX1527" fmla="*/ 3277076 w 6400800"/>
                <a:gd name="connsiteY1527" fmla="*/ 199549 h 514350"/>
                <a:gd name="connsiteX1528" fmla="*/ 3272314 w 6400800"/>
                <a:gd name="connsiteY1528" fmla="*/ 217646 h 514350"/>
                <a:gd name="connsiteX1529" fmla="*/ 3268504 w 6400800"/>
                <a:gd name="connsiteY1529" fmla="*/ 234791 h 514350"/>
                <a:gd name="connsiteX1530" fmla="*/ 3258979 w 6400800"/>
                <a:gd name="connsiteY1530" fmla="*/ 223361 h 514350"/>
                <a:gd name="connsiteX1531" fmla="*/ 3241834 w 6400800"/>
                <a:gd name="connsiteY1531" fmla="*/ 203359 h 514350"/>
                <a:gd name="connsiteX1532" fmla="*/ 3256121 w 6400800"/>
                <a:gd name="connsiteY1532" fmla="*/ 226219 h 514350"/>
                <a:gd name="connsiteX1533" fmla="*/ 3266599 w 6400800"/>
                <a:gd name="connsiteY1533" fmla="*/ 243364 h 514350"/>
                <a:gd name="connsiteX1534" fmla="*/ 3260884 w 6400800"/>
                <a:gd name="connsiteY1534" fmla="*/ 265271 h 514350"/>
                <a:gd name="connsiteX1535" fmla="*/ 3256121 w 6400800"/>
                <a:gd name="connsiteY1535" fmla="*/ 288131 h 514350"/>
                <a:gd name="connsiteX1536" fmla="*/ 3256121 w 6400800"/>
                <a:gd name="connsiteY1536" fmla="*/ 287179 h 514350"/>
                <a:gd name="connsiteX1537" fmla="*/ 3256121 w 6400800"/>
                <a:gd name="connsiteY1537" fmla="*/ 289084 h 514350"/>
                <a:gd name="connsiteX1538" fmla="*/ 3255169 w 6400800"/>
                <a:gd name="connsiteY1538" fmla="*/ 293846 h 514350"/>
                <a:gd name="connsiteX1539" fmla="*/ 3253264 w 6400800"/>
                <a:gd name="connsiteY1539" fmla="*/ 290036 h 514350"/>
                <a:gd name="connsiteX1540" fmla="*/ 3254216 w 6400800"/>
                <a:gd name="connsiteY1540" fmla="*/ 280511 h 514350"/>
                <a:gd name="connsiteX1541" fmla="*/ 3252311 w 6400800"/>
                <a:gd name="connsiteY1541" fmla="*/ 287179 h 514350"/>
                <a:gd name="connsiteX1542" fmla="*/ 3246596 w 6400800"/>
                <a:gd name="connsiteY1542" fmla="*/ 276701 h 514350"/>
                <a:gd name="connsiteX1543" fmla="*/ 3251359 w 6400800"/>
                <a:gd name="connsiteY1543" fmla="*/ 290989 h 514350"/>
                <a:gd name="connsiteX1544" fmla="*/ 3249454 w 6400800"/>
                <a:gd name="connsiteY1544" fmla="*/ 298609 h 514350"/>
                <a:gd name="connsiteX1545" fmla="*/ 3247549 w 6400800"/>
                <a:gd name="connsiteY1545" fmla="*/ 304324 h 514350"/>
                <a:gd name="connsiteX1546" fmla="*/ 3246596 w 6400800"/>
                <a:gd name="connsiteY1546" fmla="*/ 301466 h 514350"/>
                <a:gd name="connsiteX1547" fmla="*/ 3246596 w 6400800"/>
                <a:gd name="connsiteY1547" fmla="*/ 306229 h 514350"/>
                <a:gd name="connsiteX1548" fmla="*/ 3243739 w 6400800"/>
                <a:gd name="connsiteY1548" fmla="*/ 317659 h 514350"/>
                <a:gd name="connsiteX1549" fmla="*/ 3239929 w 6400800"/>
                <a:gd name="connsiteY1549" fmla="*/ 304324 h 514350"/>
                <a:gd name="connsiteX1550" fmla="*/ 3242786 w 6400800"/>
                <a:gd name="connsiteY1550" fmla="*/ 296704 h 514350"/>
                <a:gd name="connsiteX1551" fmla="*/ 3238976 w 6400800"/>
                <a:gd name="connsiteY1551" fmla="*/ 302419 h 514350"/>
                <a:gd name="connsiteX1552" fmla="*/ 3236119 w 6400800"/>
                <a:gd name="connsiteY1552" fmla="*/ 293846 h 514350"/>
                <a:gd name="connsiteX1553" fmla="*/ 3235166 w 6400800"/>
                <a:gd name="connsiteY1553" fmla="*/ 290036 h 514350"/>
                <a:gd name="connsiteX1554" fmla="*/ 3241834 w 6400800"/>
                <a:gd name="connsiteY1554" fmla="*/ 273844 h 514350"/>
                <a:gd name="connsiteX1555" fmla="*/ 3249454 w 6400800"/>
                <a:gd name="connsiteY1555" fmla="*/ 256699 h 514350"/>
                <a:gd name="connsiteX1556" fmla="*/ 3256121 w 6400800"/>
                <a:gd name="connsiteY1556" fmla="*/ 242411 h 514350"/>
                <a:gd name="connsiteX1557" fmla="*/ 3245644 w 6400800"/>
                <a:gd name="connsiteY1557" fmla="*/ 254794 h 514350"/>
                <a:gd name="connsiteX1558" fmla="*/ 3235166 w 6400800"/>
                <a:gd name="connsiteY1558" fmla="*/ 270034 h 514350"/>
                <a:gd name="connsiteX1559" fmla="*/ 3230404 w 6400800"/>
                <a:gd name="connsiteY1559" fmla="*/ 276701 h 514350"/>
                <a:gd name="connsiteX1560" fmla="*/ 3229451 w 6400800"/>
                <a:gd name="connsiteY1560" fmla="*/ 272891 h 514350"/>
                <a:gd name="connsiteX1561" fmla="*/ 3222784 w 6400800"/>
                <a:gd name="connsiteY1561" fmla="*/ 253841 h 514350"/>
                <a:gd name="connsiteX1562" fmla="*/ 3218021 w 6400800"/>
                <a:gd name="connsiteY1562" fmla="*/ 241459 h 514350"/>
                <a:gd name="connsiteX1563" fmla="*/ 3218021 w 6400800"/>
                <a:gd name="connsiteY1563" fmla="*/ 236696 h 514350"/>
                <a:gd name="connsiteX1564" fmla="*/ 3222784 w 6400800"/>
                <a:gd name="connsiteY1564" fmla="*/ 206216 h 514350"/>
                <a:gd name="connsiteX1565" fmla="*/ 3229451 w 6400800"/>
                <a:gd name="connsiteY1565" fmla="*/ 166211 h 514350"/>
                <a:gd name="connsiteX1566" fmla="*/ 3235166 w 6400800"/>
                <a:gd name="connsiteY1566" fmla="*/ 135731 h 514350"/>
                <a:gd name="connsiteX1567" fmla="*/ 3239929 w 6400800"/>
                <a:gd name="connsiteY1567" fmla="*/ 109061 h 514350"/>
                <a:gd name="connsiteX1568" fmla="*/ 3231356 w 6400800"/>
                <a:gd name="connsiteY1568" fmla="*/ 134779 h 514350"/>
                <a:gd name="connsiteX1569" fmla="*/ 3212306 w 6400800"/>
                <a:gd name="connsiteY1569" fmla="*/ 204311 h 514350"/>
                <a:gd name="connsiteX1570" fmla="*/ 3209449 w 6400800"/>
                <a:gd name="connsiteY1570" fmla="*/ 215741 h 514350"/>
                <a:gd name="connsiteX1571" fmla="*/ 3204686 w 6400800"/>
                <a:gd name="connsiteY1571" fmla="*/ 204311 h 514350"/>
                <a:gd name="connsiteX1572" fmla="*/ 3203734 w 6400800"/>
                <a:gd name="connsiteY1572" fmla="*/ 175736 h 514350"/>
                <a:gd name="connsiteX1573" fmla="*/ 3200876 w 6400800"/>
                <a:gd name="connsiteY1573" fmla="*/ 206216 h 514350"/>
                <a:gd name="connsiteX1574" fmla="*/ 3196114 w 6400800"/>
                <a:gd name="connsiteY1574" fmla="*/ 240506 h 514350"/>
                <a:gd name="connsiteX1575" fmla="*/ 3195161 w 6400800"/>
                <a:gd name="connsiteY1575" fmla="*/ 243364 h 514350"/>
                <a:gd name="connsiteX1576" fmla="*/ 3196114 w 6400800"/>
                <a:gd name="connsiteY1576" fmla="*/ 217646 h 514350"/>
                <a:gd name="connsiteX1577" fmla="*/ 3198019 w 6400800"/>
                <a:gd name="connsiteY1577" fmla="*/ 180499 h 514350"/>
                <a:gd name="connsiteX1578" fmla="*/ 3199924 w 6400800"/>
                <a:gd name="connsiteY1578" fmla="*/ 151924 h 514350"/>
                <a:gd name="connsiteX1579" fmla="*/ 3200876 w 6400800"/>
                <a:gd name="connsiteY1579" fmla="*/ 127159 h 514350"/>
                <a:gd name="connsiteX1580" fmla="*/ 3195161 w 6400800"/>
                <a:gd name="connsiteY1580" fmla="*/ 151924 h 514350"/>
                <a:gd name="connsiteX1581" fmla="*/ 3184684 w 6400800"/>
                <a:gd name="connsiteY1581" fmla="*/ 217646 h 514350"/>
                <a:gd name="connsiteX1582" fmla="*/ 3181826 w 6400800"/>
                <a:gd name="connsiteY1582" fmla="*/ 235744 h 514350"/>
                <a:gd name="connsiteX1583" fmla="*/ 3179921 w 6400800"/>
                <a:gd name="connsiteY1583" fmla="*/ 231934 h 514350"/>
                <a:gd name="connsiteX1584" fmla="*/ 3179921 w 6400800"/>
                <a:gd name="connsiteY1584" fmla="*/ 224314 h 514350"/>
                <a:gd name="connsiteX1585" fmla="*/ 3178969 w 6400800"/>
                <a:gd name="connsiteY1585" fmla="*/ 230029 h 514350"/>
                <a:gd name="connsiteX1586" fmla="*/ 3177064 w 6400800"/>
                <a:gd name="connsiteY1586" fmla="*/ 227171 h 514350"/>
                <a:gd name="connsiteX1587" fmla="*/ 3178016 w 6400800"/>
                <a:gd name="connsiteY1587" fmla="*/ 231934 h 514350"/>
                <a:gd name="connsiteX1588" fmla="*/ 3174206 w 6400800"/>
                <a:gd name="connsiteY1588" fmla="*/ 250984 h 514350"/>
                <a:gd name="connsiteX1589" fmla="*/ 3170396 w 6400800"/>
                <a:gd name="connsiteY1589" fmla="*/ 277654 h 514350"/>
                <a:gd name="connsiteX1590" fmla="*/ 3169444 w 6400800"/>
                <a:gd name="connsiteY1590" fmla="*/ 275749 h 514350"/>
                <a:gd name="connsiteX1591" fmla="*/ 3163729 w 6400800"/>
                <a:gd name="connsiteY1591" fmla="*/ 215741 h 514350"/>
                <a:gd name="connsiteX1592" fmla="*/ 3162776 w 6400800"/>
                <a:gd name="connsiteY1592" fmla="*/ 207169 h 514350"/>
                <a:gd name="connsiteX1593" fmla="*/ 3163729 w 6400800"/>
                <a:gd name="connsiteY1593" fmla="*/ 203359 h 514350"/>
                <a:gd name="connsiteX1594" fmla="*/ 3174206 w 6400800"/>
                <a:gd name="connsiteY1594" fmla="*/ 132874 h 514350"/>
                <a:gd name="connsiteX1595" fmla="*/ 3178016 w 6400800"/>
                <a:gd name="connsiteY1595" fmla="*/ 106204 h 514350"/>
                <a:gd name="connsiteX1596" fmla="*/ 3170396 w 6400800"/>
                <a:gd name="connsiteY1596" fmla="*/ 131921 h 514350"/>
                <a:gd name="connsiteX1597" fmla="*/ 3158014 w 6400800"/>
                <a:gd name="connsiteY1597" fmla="*/ 177641 h 514350"/>
                <a:gd name="connsiteX1598" fmla="*/ 3154204 w 6400800"/>
                <a:gd name="connsiteY1598" fmla="*/ 159544 h 514350"/>
                <a:gd name="connsiteX1599" fmla="*/ 3149441 w 6400800"/>
                <a:gd name="connsiteY1599" fmla="*/ 134779 h 514350"/>
                <a:gd name="connsiteX1600" fmla="*/ 3143726 w 6400800"/>
                <a:gd name="connsiteY1600" fmla="*/ 112871 h 514350"/>
                <a:gd name="connsiteX1601" fmla="*/ 3133249 w 6400800"/>
                <a:gd name="connsiteY1601" fmla="*/ 77629 h 514350"/>
                <a:gd name="connsiteX1602" fmla="*/ 3122771 w 6400800"/>
                <a:gd name="connsiteY1602" fmla="*/ 47149 h 514350"/>
                <a:gd name="connsiteX1603" fmla="*/ 3129439 w 6400800"/>
                <a:gd name="connsiteY1603" fmla="*/ 78581 h 514350"/>
                <a:gd name="connsiteX1604" fmla="*/ 3136106 w 6400800"/>
                <a:gd name="connsiteY1604" fmla="*/ 114776 h 514350"/>
                <a:gd name="connsiteX1605" fmla="*/ 3139916 w 6400800"/>
                <a:gd name="connsiteY1605" fmla="*/ 136684 h 514350"/>
                <a:gd name="connsiteX1606" fmla="*/ 3142774 w 6400800"/>
                <a:gd name="connsiteY1606" fmla="*/ 161449 h 514350"/>
                <a:gd name="connsiteX1607" fmla="*/ 3147536 w 6400800"/>
                <a:gd name="connsiteY1607" fmla="*/ 213836 h 514350"/>
                <a:gd name="connsiteX1608" fmla="*/ 3146584 w 6400800"/>
                <a:gd name="connsiteY1608" fmla="*/ 217646 h 514350"/>
                <a:gd name="connsiteX1609" fmla="*/ 3143726 w 6400800"/>
                <a:gd name="connsiteY1609" fmla="*/ 210026 h 514350"/>
                <a:gd name="connsiteX1610" fmla="*/ 3138964 w 6400800"/>
                <a:gd name="connsiteY1610" fmla="*/ 196691 h 514350"/>
                <a:gd name="connsiteX1611" fmla="*/ 3134201 w 6400800"/>
                <a:gd name="connsiteY1611" fmla="*/ 179546 h 514350"/>
                <a:gd name="connsiteX1612" fmla="*/ 3126581 w 6400800"/>
                <a:gd name="connsiteY1612" fmla="*/ 155734 h 514350"/>
                <a:gd name="connsiteX1613" fmla="*/ 3129439 w 6400800"/>
                <a:gd name="connsiteY1613" fmla="*/ 172879 h 514350"/>
                <a:gd name="connsiteX1614" fmla="*/ 3118961 w 6400800"/>
                <a:gd name="connsiteY1614" fmla="*/ 150019 h 514350"/>
                <a:gd name="connsiteX1615" fmla="*/ 3112294 w 6400800"/>
                <a:gd name="connsiteY1615" fmla="*/ 136684 h 514350"/>
                <a:gd name="connsiteX1616" fmla="*/ 3102769 w 6400800"/>
                <a:gd name="connsiteY1616" fmla="*/ 113824 h 514350"/>
                <a:gd name="connsiteX1617" fmla="*/ 3090386 w 6400800"/>
                <a:gd name="connsiteY1617" fmla="*/ 87154 h 514350"/>
                <a:gd name="connsiteX1618" fmla="*/ 3099911 w 6400800"/>
                <a:gd name="connsiteY1618" fmla="*/ 114776 h 514350"/>
                <a:gd name="connsiteX1619" fmla="*/ 3109436 w 6400800"/>
                <a:gd name="connsiteY1619" fmla="*/ 146209 h 514350"/>
                <a:gd name="connsiteX1620" fmla="*/ 3115151 w 6400800"/>
                <a:gd name="connsiteY1620" fmla="*/ 167164 h 514350"/>
                <a:gd name="connsiteX1621" fmla="*/ 3109436 w 6400800"/>
                <a:gd name="connsiteY1621" fmla="*/ 155734 h 514350"/>
                <a:gd name="connsiteX1622" fmla="*/ 3116104 w 6400800"/>
                <a:gd name="connsiteY1622" fmla="*/ 176689 h 514350"/>
                <a:gd name="connsiteX1623" fmla="*/ 3121819 w 6400800"/>
                <a:gd name="connsiteY1623" fmla="*/ 194786 h 514350"/>
                <a:gd name="connsiteX1624" fmla="*/ 3125629 w 6400800"/>
                <a:gd name="connsiteY1624" fmla="*/ 213836 h 514350"/>
                <a:gd name="connsiteX1625" fmla="*/ 3123724 w 6400800"/>
                <a:gd name="connsiteY1625" fmla="*/ 215741 h 514350"/>
                <a:gd name="connsiteX1626" fmla="*/ 3122771 w 6400800"/>
                <a:gd name="connsiteY1626" fmla="*/ 210979 h 514350"/>
                <a:gd name="connsiteX1627" fmla="*/ 3122771 w 6400800"/>
                <a:gd name="connsiteY1627" fmla="*/ 216694 h 514350"/>
                <a:gd name="connsiteX1628" fmla="*/ 3113246 w 6400800"/>
                <a:gd name="connsiteY1628" fmla="*/ 228124 h 514350"/>
                <a:gd name="connsiteX1629" fmla="*/ 3113246 w 6400800"/>
                <a:gd name="connsiteY1629" fmla="*/ 228124 h 514350"/>
                <a:gd name="connsiteX1630" fmla="*/ 3110389 w 6400800"/>
                <a:gd name="connsiteY1630" fmla="*/ 191929 h 514350"/>
                <a:gd name="connsiteX1631" fmla="*/ 3108484 w 6400800"/>
                <a:gd name="connsiteY1631" fmla="*/ 171926 h 514350"/>
                <a:gd name="connsiteX1632" fmla="*/ 3106579 w 6400800"/>
                <a:gd name="connsiteY1632" fmla="*/ 192881 h 514350"/>
                <a:gd name="connsiteX1633" fmla="*/ 3104674 w 6400800"/>
                <a:gd name="connsiteY1633" fmla="*/ 228124 h 514350"/>
                <a:gd name="connsiteX1634" fmla="*/ 3104674 w 6400800"/>
                <a:gd name="connsiteY1634" fmla="*/ 227171 h 514350"/>
                <a:gd name="connsiteX1635" fmla="*/ 3097054 w 6400800"/>
                <a:gd name="connsiteY1635" fmla="*/ 208121 h 514350"/>
                <a:gd name="connsiteX1636" fmla="*/ 3100864 w 6400800"/>
                <a:gd name="connsiteY1636" fmla="*/ 228124 h 514350"/>
                <a:gd name="connsiteX1637" fmla="*/ 3103721 w 6400800"/>
                <a:gd name="connsiteY1637" fmla="*/ 244316 h 514350"/>
                <a:gd name="connsiteX1638" fmla="*/ 3096101 w 6400800"/>
                <a:gd name="connsiteY1638" fmla="*/ 255746 h 514350"/>
                <a:gd name="connsiteX1639" fmla="*/ 3087529 w 6400800"/>
                <a:gd name="connsiteY1639" fmla="*/ 270034 h 514350"/>
                <a:gd name="connsiteX1640" fmla="*/ 3082766 w 6400800"/>
                <a:gd name="connsiteY1640" fmla="*/ 252889 h 514350"/>
                <a:gd name="connsiteX1641" fmla="*/ 3077051 w 6400800"/>
                <a:gd name="connsiteY1641" fmla="*/ 233839 h 514350"/>
                <a:gd name="connsiteX1642" fmla="*/ 3078956 w 6400800"/>
                <a:gd name="connsiteY1642" fmla="*/ 252889 h 514350"/>
                <a:gd name="connsiteX1643" fmla="*/ 3079909 w 6400800"/>
                <a:gd name="connsiteY1643" fmla="*/ 264319 h 514350"/>
                <a:gd name="connsiteX1644" fmla="*/ 3077051 w 6400800"/>
                <a:gd name="connsiteY1644" fmla="*/ 255746 h 514350"/>
                <a:gd name="connsiteX1645" fmla="*/ 3074194 w 6400800"/>
                <a:gd name="connsiteY1645" fmla="*/ 248126 h 514350"/>
                <a:gd name="connsiteX1646" fmla="*/ 3074194 w 6400800"/>
                <a:gd name="connsiteY1646" fmla="*/ 242411 h 514350"/>
                <a:gd name="connsiteX1647" fmla="*/ 3075146 w 6400800"/>
                <a:gd name="connsiteY1647" fmla="*/ 229076 h 514350"/>
                <a:gd name="connsiteX1648" fmla="*/ 3077051 w 6400800"/>
                <a:gd name="connsiteY1648" fmla="*/ 220504 h 514350"/>
                <a:gd name="connsiteX1649" fmla="*/ 3086576 w 6400800"/>
                <a:gd name="connsiteY1649" fmla="*/ 189071 h 514350"/>
                <a:gd name="connsiteX1650" fmla="*/ 3096101 w 6400800"/>
                <a:gd name="connsiteY1650" fmla="*/ 161449 h 514350"/>
                <a:gd name="connsiteX1651" fmla="*/ 3083719 w 6400800"/>
                <a:gd name="connsiteY1651" fmla="*/ 188119 h 514350"/>
                <a:gd name="connsiteX1652" fmla="*/ 3071336 w 6400800"/>
                <a:gd name="connsiteY1652" fmla="*/ 218599 h 514350"/>
                <a:gd name="connsiteX1653" fmla="*/ 3068479 w 6400800"/>
                <a:gd name="connsiteY1653" fmla="*/ 224314 h 514350"/>
                <a:gd name="connsiteX1654" fmla="*/ 3068479 w 6400800"/>
                <a:gd name="connsiteY1654" fmla="*/ 216694 h 514350"/>
                <a:gd name="connsiteX1655" fmla="*/ 3069431 w 6400800"/>
                <a:gd name="connsiteY1655" fmla="*/ 209074 h 514350"/>
                <a:gd name="connsiteX1656" fmla="*/ 3072289 w 6400800"/>
                <a:gd name="connsiteY1656" fmla="*/ 181451 h 514350"/>
                <a:gd name="connsiteX1657" fmla="*/ 3073241 w 6400800"/>
                <a:gd name="connsiteY1657" fmla="*/ 157639 h 514350"/>
                <a:gd name="connsiteX1658" fmla="*/ 3067526 w 6400800"/>
                <a:gd name="connsiteY1658" fmla="*/ 180499 h 514350"/>
                <a:gd name="connsiteX1659" fmla="*/ 3066574 w 6400800"/>
                <a:gd name="connsiteY1659" fmla="*/ 183356 h 514350"/>
                <a:gd name="connsiteX1660" fmla="*/ 3064669 w 6400800"/>
                <a:gd name="connsiteY1660" fmla="*/ 148114 h 514350"/>
                <a:gd name="connsiteX1661" fmla="*/ 3064669 w 6400800"/>
                <a:gd name="connsiteY1661" fmla="*/ 145256 h 514350"/>
                <a:gd name="connsiteX1662" fmla="*/ 3064669 w 6400800"/>
                <a:gd name="connsiteY1662" fmla="*/ 146209 h 514350"/>
                <a:gd name="connsiteX1663" fmla="*/ 3063716 w 6400800"/>
                <a:gd name="connsiteY1663" fmla="*/ 131921 h 514350"/>
                <a:gd name="connsiteX1664" fmla="*/ 3058954 w 6400800"/>
                <a:gd name="connsiteY1664" fmla="*/ 174784 h 514350"/>
                <a:gd name="connsiteX1665" fmla="*/ 3056096 w 6400800"/>
                <a:gd name="connsiteY1665" fmla="*/ 190976 h 514350"/>
                <a:gd name="connsiteX1666" fmla="*/ 3054191 w 6400800"/>
                <a:gd name="connsiteY1666" fmla="*/ 201454 h 514350"/>
                <a:gd name="connsiteX1667" fmla="*/ 3049429 w 6400800"/>
                <a:gd name="connsiteY1667" fmla="*/ 189071 h 514350"/>
                <a:gd name="connsiteX1668" fmla="*/ 3049429 w 6400800"/>
                <a:gd name="connsiteY1668" fmla="*/ 188119 h 514350"/>
                <a:gd name="connsiteX1669" fmla="*/ 3056096 w 6400800"/>
                <a:gd name="connsiteY1669" fmla="*/ 151924 h 514350"/>
                <a:gd name="connsiteX1670" fmla="*/ 3062764 w 6400800"/>
                <a:gd name="connsiteY1670" fmla="*/ 120491 h 514350"/>
                <a:gd name="connsiteX1671" fmla="*/ 3052286 w 6400800"/>
                <a:gd name="connsiteY1671" fmla="*/ 150971 h 514350"/>
                <a:gd name="connsiteX1672" fmla="*/ 3041809 w 6400800"/>
                <a:gd name="connsiteY1672" fmla="*/ 186214 h 514350"/>
                <a:gd name="connsiteX1673" fmla="*/ 3036094 w 6400800"/>
                <a:gd name="connsiteY1673" fmla="*/ 208121 h 514350"/>
                <a:gd name="connsiteX1674" fmla="*/ 3034189 w 6400800"/>
                <a:gd name="connsiteY1674" fmla="*/ 215741 h 514350"/>
                <a:gd name="connsiteX1675" fmla="*/ 3032284 w 6400800"/>
                <a:gd name="connsiteY1675" fmla="*/ 205264 h 514350"/>
                <a:gd name="connsiteX1676" fmla="*/ 3048476 w 6400800"/>
                <a:gd name="connsiteY1676" fmla="*/ 148114 h 514350"/>
                <a:gd name="connsiteX1677" fmla="*/ 3057049 w 6400800"/>
                <a:gd name="connsiteY1677" fmla="*/ 123349 h 514350"/>
                <a:gd name="connsiteX1678" fmla="*/ 3054191 w 6400800"/>
                <a:gd name="connsiteY1678" fmla="*/ 129064 h 514350"/>
                <a:gd name="connsiteX1679" fmla="*/ 3045619 w 6400800"/>
                <a:gd name="connsiteY1679" fmla="*/ 146209 h 514350"/>
                <a:gd name="connsiteX1680" fmla="*/ 3029426 w 6400800"/>
                <a:gd name="connsiteY1680" fmla="*/ 184309 h 514350"/>
                <a:gd name="connsiteX1681" fmla="*/ 3029426 w 6400800"/>
                <a:gd name="connsiteY1681" fmla="*/ 167164 h 514350"/>
                <a:gd name="connsiteX1682" fmla="*/ 3030379 w 6400800"/>
                <a:gd name="connsiteY1682" fmla="*/ 140494 h 514350"/>
                <a:gd name="connsiteX1683" fmla="*/ 3025616 w 6400800"/>
                <a:gd name="connsiteY1683" fmla="*/ 166211 h 514350"/>
                <a:gd name="connsiteX1684" fmla="*/ 3022759 w 6400800"/>
                <a:gd name="connsiteY1684" fmla="*/ 196691 h 514350"/>
                <a:gd name="connsiteX1685" fmla="*/ 3022759 w 6400800"/>
                <a:gd name="connsiteY1685" fmla="*/ 202406 h 514350"/>
                <a:gd name="connsiteX1686" fmla="*/ 3019901 w 6400800"/>
                <a:gd name="connsiteY1686" fmla="*/ 210979 h 514350"/>
                <a:gd name="connsiteX1687" fmla="*/ 3011329 w 6400800"/>
                <a:gd name="connsiteY1687" fmla="*/ 234791 h 514350"/>
                <a:gd name="connsiteX1688" fmla="*/ 3007519 w 6400800"/>
                <a:gd name="connsiteY1688" fmla="*/ 226219 h 514350"/>
                <a:gd name="connsiteX1689" fmla="*/ 3011329 w 6400800"/>
                <a:gd name="connsiteY1689" fmla="*/ 215741 h 514350"/>
                <a:gd name="connsiteX1690" fmla="*/ 3006566 w 6400800"/>
                <a:gd name="connsiteY1690" fmla="*/ 222409 h 514350"/>
                <a:gd name="connsiteX1691" fmla="*/ 3001804 w 6400800"/>
                <a:gd name="connsiteY1691" fmla="*/ 202406 h 514350"/>
                <a:gd name="connsiteX1692" fmla="*/ 3000851 w 6400800"/>
                <a:gd name="connsiteY1692" fmla="*/ 197644 h 514350"/>
                <a:gd name="connsiteX1693" fmla="*/ 3003709 w 6400800"/>
                <a:gd name="connsiteY1693" fmla="*/ 189071 h 514350"/>
                <a:gd name="connsiteX1694" fmla="*/ 3011329 w 6400800"/>
                <a:gd name="connsiteY1694" fmla="*/ 164306 h 514350"/>
                <a:gd name="connsiteX1695" fmla="*/ 3018949 w 6400800"/>
                <a:gd name="connsiteY1695" fmla="*/ 142399 h 514350"/>
                <a:gd name="connsiteX1696" fmla="*/ 3007519 w 6400800"/>
                <a:gd name="connsiteY1696" fmla="*/ 162401 h 514350"/>
                <a:gd name="connsiteX1697" fmla="*/ 2997994 w 6400800"/>
                <a:gd name="connsiteY1697" fmla="*/ 182404 h 514350"/>
                <a:gd name="connsiteX1698" fmla="*/ 2995136 w 6400800"/>
                <a:gd name="connsiteY1698" fmla="*/ 169069 h 514350"/>
                <a:gd name="connsiteX1699" fmla="*/ 3014186 w 6400800"/>
                <a:gd name="connsiteY1699" fmla="*/ 100489 h 514350"/>
                <a:gd name="connsiteX1700" fmla="*/ 3021806 w 6400800"/>
                <a:gd name="connsiteY1700" fmla="*/ 76676 h 514350"/>
                <a:gd name="connsiteX1701" fmla="*/ 3024664 w 6400800"/>
                <a:gd name="connsiteY1701" fmla="*/ 68104 h 514350"/>
                <a:gd name="connsiteX1702" fmla="*/ 3020854 w 6400800"/>
                <a:gd name="connsiteY1702" fmla="*/ 75724 h 514350"/>
                <a:gd name="connsiteX1703" fmla="*/ 3010376 w 6400800"/>
                <a:gd name="connsiteY1703" fmla="*/ 98584 h 514350"/>
                <a:gd name="connsiteX1704" fmla="*/ 2996089 w 6400800"/>
                <a:gd name="connsiteY1704" fmla="*/ 134779 h 514350"/>
                <a:gd name="connsiteX1705" fmla="*/ 2991326 w 6400800"/>
                <a:gd name="connsiteY1705" fmla="*/ 148114 h 514350"/>
                <a:gd name="connsiteX1706" fmla="*/ 2987516 w 6400800"/>
                <a:gd name="connsiteY1706" fmla="*/ 122396 h 514350"/>
                <a:gd name="connsiteX1707" fmla="*/ 2984659 w 6400800"/>
                <a:gd name="connsiteY1707" fmla="*/ 91916 h 514350"/>
                <a:gd name="connsiteX1708" fmla="*/ 2983706 w 6400800"/>
                <a:gd name="connsiteY1708" fmla="*/ 122396 h 514350"/>
                <a:gd name="connsiteX1709" fmla="*/ 2985611 w 6400800"/>
                <a:gd name="connsiteY1709" fmla="*/ 157639 h 514350"/>
                <a:gd name="connsiteX1710" fmla="*/ 2985611 w 6400800"/>
                <a:gd name="connsiteY1710" fmla="*/ 163354 h 514350"/>
                <a:gd name="connsiteX1711" fmla="*/ 2978944 w 6400800"/>
                <a:gd name="connsiteY1711" fmla="*/ 182404 h 514350"/>
                <a:gd name="connsiteX1712" fmla="*/ 2960846 w 6400800"/>
                <a:gd name="connsiteY1712" fmla="*/ 238601 h 514350"/>
                <a:gd name="connsiteX1713" fmla="*/ 2959894 w 6400800"/>
                <a:gd name="connsiteY1713" fmla="*/ 234791 h 514350"/>
                <a:gd name="connsiteX1714" fmla="*/ 2960846 w 6400800"/>
                <a:gd name="connsiteY1714" fmla="*/ 239554 h 514350"/>
                <a:gd name="connsiteX1715" fmla="*/ 2950369 w 6400800"/>
                <a:gd name="connsiteY1715" fmla="*/ 274796 h 514350"/>
                <a:gd name="connsiteX1716" fmla="*/ 2952274 w 6400800"/>
                <a:gd name="connsiteY1716" fmla="*/ 264319 h 514350"/>
                <a:gd name="connsiteX1717" fmla="*/ 2944654 w 6400800"/>
                <a:gd name="connsiteY1717" fmla="*/ 284321 h 514350"/>
                <a:gd name="connsiteX1718" fmla="*/ 2944654 w 6400800"/>
                <a:gd name="connsiteY1718" fmla="*/ 283369 h 514350"/>
                <a:gd name="connsiteX1719" fmla="*/ 2945606 w 6400800"/>
                <a:gd name="connsiteY1719" fmla="*/ 277654 h 514350"/>
                <a:gd name="connsiteX1720" fmla="*/ 2949416 w 6400800"/>
                <a:gd name="connsiteY1720" fmla="*/ 238601 h 514350"/>
                <a:gd name="connsiteX1721" fmla="*/ 2951321 w 6400800"/>
                <a:gd name="connsiteY1721" fmla="*/ 221456 h 514350"/>
                <a:gd name="connsiteX1722" fmla="*/ 2953226 w 6400800"/>
                <a:gd name="connsiteY1722" fmla="*/ 205264 h 514350"/>
                <a:gd name="connsiteX1723" fmla="*/ 2956084 w 6400800"/>
                <a:gd name="connsiteY1723" fmla="*/ 179546 h 514350"/>
                <a:gd name="connsiteX1724" fmla="*/ 2958941 w 6400800"/>
                <a:gd name="connsiteY1724" fmla="*/ 156686 h 514350"/>
                <a:gd name="connsiteX1725" fmla="*/ 2952274 w 6400800"/>
                <a:gd name="connsiteY1725" fmla="*/ 178594 h 514350"/>
                <a:gd name="connsiteX1726" fmla="*/ 2945606 w 6400800"/>
                <a:gd name="connsiteY1726" fmla="*/ 203359 h 514350"/>
                <a:gd name="connsiteX1727" fmla="*/ 2941796 w 6400800"/>
                <a:gd name="connsiteY1727" fmla="*/ 218599 h 514350"/>
                <a:gd name="connsiteX1728" fmla="*/ 2937986 w 6400800"/>
                <a:gd name="connsiteY1728" fmla="*/ 235744 h 514350"/>
                <a:gd name="connsiteX1729" fmla="*/ 2931319 w 6400800"/>
                <a:gd name="connsiteY1729" fmla="*/ 270034 h 514350"/>
                <a:gd name="connsiteX1730" fmla="*/ 2929414 w 6400800"/>
                <a:gd name="connsiteY1730" fmla="*/ 260509 h 514350"/>
                <a:gd name="connsiteX1731" fmla="*/ 2928461 w 6400800"/>
                <a:gd name="connsiteY1731" fmla="*/ 256699 h 514350"/>
                <a:gd name="connsiteX1732" fmla="*/ 2931319 w 6400800"/>
                <a:gd name="connsiteY1732" fmla="*/ 251936 h 514350"/>
                <a:gd name="connsiteX1733" fmla="*/ 2927509 w 6400800"/>
                <a:gd name="connsiteY1733" fmla="*/ 254794 h 514350"/>
                <a:gd name="connsiteX1734" fmla="*/ 2925604 w 6400800"/>
                <a:gd name="connsiteY1734" fmla="*/ 247174 h 514350"/>
                <a:gd name="connsiteX1735" fmla="*/ 2931319 w 6400800"/>
                <a:gd name="connsiteY1735" fmla="*/ 231934 h 514350"/>
                <a:gd name="connsiteX1736" fmla="*/ 2924651 w 6400800"/>
                <a:gd name="connsiteY1736" fmla="*/ 243364 h 514350"/>
                <a:gd name="connsiteX1737" fmla="*/ 2922746 w 6400800"/>
                <a:gd name="connsiteY1737" fmla="*/ 237649 h 514350"/>
                <a:gd name="connsiteX1738" fmla="*/ 2922746 w 6400800"/>
                <a:gd name="connsiteY1738" fmla="*/ 236696 h 514350"/>
                <a:gd name="connsiteX1739" fmla="*/ 2921794 w 6400800"/>
                <a:gd name="connsiteY1739" fmla="*/ 236696 h 514350"/>
                <a:gd name="connsiteX1740" fmla="*/ 2916079 w 6400800"/>
                <a:gd name="connsiteY1740" fmla="*/ 236696 h 514350"/>
                <a:gd name="connsiteX1741" fmla="*/ 2916079 w 6400800"/>
                <a:gd name="connsiteY1741" fmla="*/ 236696 h 514350"/>
                <a:gd name="connsiteX1742" fmla="*/ 2935129 w 6400800"/>
                <a:gd name="connsiteY1742" fmla="*/ 176689 h 514350"/>
                <a:gd name="connsiteX1743" fmla="*/ 2909411 w 6400800"/>
                <a:gd name="connsiteY1743" fmla="*/ 230029 h 514350"/>
                <a:gd name="connsiteX1744" fmla="*/ 2902744 w 6400800"/>
                <a:gd name="connsiteY1744" fmla="*/ 211931 h 514350"/>
                <a:gd name="connsiteX1745" fmla="*/ 2900839 w 6400800"/>
                <a:gd name="connsiteY1745" fmla="*/ 195739 h 514350"/>
                <a:gd name="connsiteX1746" fmla="*/ 2897981 w 6400800"/>
                <a:gd name="connsiteY1746" fmla="*/ 173831 h 514350"/>
                <a:gd name="connsiteX1747" fmla="*/ 2896076 w 6400800"/>
                <a:gd name="connsiteY1747" fmla="*/ 153829 h 514350"/>
                <a:gd name="connsiteX1748" fmla="*/ 2893219 w 6400800"/>
                <a:gd name="connsiteY1748" fmla="*/ 121444 h 514350"/>
                <a:gd name="connsiteX1749" fmla="*/ 2890361 w 6400800"/>
                <a:gd name="connsiteY1749" fmla="*/ 93821 h 514350"/>
                <a:gd name="connsiteX1750" fmla="*/ 2889409 w 6400800"/>
                <a:gd name="connsiteY1750" fmla="*/ 121444 h 514350"/>
                <a:gd name="connsiteX1751" fmla="*/ 2889409 w 6400800"/>
                <a:gd name="connsiteY1751" fmla="*/ 153829 h 514350"/>
                <a:gd name="connsiteX1752" fmla="*/ 2889409 w 6400800"/>
                <a:gd name="connsiteY1752" fmla="*/ 173831 h 514350"/>
                <a:gd name="connsiteX1753" fmla="*/ 2890361 w 6400800"/>
                <a:gd name="connsiteY1753" fmla="*/ 195739 h 514350"/>
                <a:gd name="connsiteX1754" fmla="*/ 2891314 w 6400800"/>
                <a:gd name="connsiteY1754" fmla="*/ 211931 h 514350"/>
                <a:gd name="connsiteX1755" fmla="*/ 2887504 w 6400800"/>
                <a:gd name="connsiteY1755" fmla="*/ 217646 h 514350"/>
                <a:gd name="connsiteX1756" fmla="*/ 2885599 w 6400800"/>
                <a:gd name="connsiteY1756" fmla="*/ 221456 h 514350"/>
                <a:gd name="connsiteX1757" fmla="*/ 2880836 w 6400800"/>
                <a:gd name="connsiteY1757" fmla="*/ 195739 h 514350"/>
                <a:gd name="connsiteX1758" fmla="*/ 2874169 w 6400800"/>
                <a:gd name="connsiteY1758" fmla="*/ 166211 h 514350"/>
                <a:gd name="connsiteX1759" fmla="*/ 2867501 w 6400800"/>
                <a:gd name="connsiteY1759" fmla="*/ 144304 h 514350"/>
                <a:gd name="connsiteX1760" fmla="*/ 2860834 w 6400800"/>
                <a:gd name="connsiteY1760" fmla="*/ 125254 h 514350"/>
                <a:gd name="connsiteX1761" fmla="*/ 2863691 w 6400800"/>
                <a:gd name="connsiteY1761" fmla="*/ 145256 h 514350"/>
                <a:gd name="connsiteX1762" fmla="*/ 2866549 w 6400800"/>
                <a:gd name="connsiteY1762" fmla="*/ 168116 h 514350"/>
                <a:gd name="connsiteX1763" fmla="*/ 2869406 w 6400800"/>
                <a:gd name="connsiteY1763" fmla="*/ 197644 h 514350"/>
                <a:gd name="connsiteX1764" fmla="*/ 2872264 w 6400800"/>
                <a:gd name="connsiteY1764" fmla="*/ 232886 h 514350"/>
                <a:gd name="connsiteX1765" fmla="*/ 2873216 w 6400800"/>
                <a:gd name="connsiteY1765" fmla="*/ 247174 h 514350"/>
                <a:gd name="connsiteX1766" fmla="*/ 2864644 w 6400800"/>
                <a:gd name="connsiteY1766" fmla="*/ 270034 h 514350"/>
                <a:gd name="connsiteX1767" fmla="*/ 2863691 w 6400800"/>
                <a:gd name="connsiteY1767" fmla="*/ 274796 h 514350"/>
                <a:gd name="connsiteX1768" fmla="*/ 2855119 w 6400800"/>
                <a:gd name="connsiteY1768" fmla="*/ 257651 h 514350"/>
                <a:gd name="connsiteX1769" fmla="*/ 2841784 w 6400800"/>
                <a:gd name="connsiteY1769" fmla="*/ 230029 h 514350"/>
                <a:gd name="connsiteX1770" fmla="*/ 2855119 w 6400800"/>
                <a:gd name="connsiteY1770" fmla="*/ 226219 h 514350"/>
                <a:gd name="connsiteX1771" fmla="*/ 2853214 w 6400800"/>
                <a:gd name="connsiteY1771" fmla="*/ 231934 h 514350"/>
                <a:gd name="connsiteX1772" fmla="*/ 2840831 w 6400800"/>
                <a:gd name="connsiteY1772" fmla="*/ 209074 h 514350"/>
                <a:gd name="connsiteX1773" fmla="*/ 2866549 w 6400800"/>
                <a:gd name="connsiteY1773" fmla="*/ 150971 h 514350"/>
                <a:gd name="connsiteX1774" fmla="*/ 2835116 w 6400800"/>
                <a:gd name="connsiteY1774" fmla="*/ 198596 h 514350"/>
                <a:gd name="connsiteX1775" fmla="*/ 2829401 w 6400800"/>
                <a:gd name="connsiteY1775" fmla="*/ 188119 h 514350"/>
                <a:gd name="connsiteX1776" fmla="*/ 2820829 w 6400800"/>
                <a:gd name="connsiteY1776" fmla="*/ 132874 h 514350"/>
                <a:gd name="connsiteX1777" fmla="*/ 2821781 w 6400800"/>
                <a:gd name="connsiteY1777" fmla="*/ 173831 h 514350"/>
                <a:gd name="connsiteX1778" fmla="*/ 2807494 w 6400800"/>
                <a:gd name="connsiteY1778" fmla="*/ 151924 h 514350"/>
                <a:gd name="connsiteX1779" fmla="*/ 2782729 w 6400800"/>
                <a:gd name="connsiteY1779" fmla="*/ 115729 h 514350"/>
                <a:gd name="connsiteX1780" fmla="*/ 2759869 w 6400800"/>
                <a:gd name="connsiteY1780" fmla="*/ 85249 h 514350"/>
                <a:gd name="connsiteX1781" fmla="*/ 2778919 w 6400800"/>
                <a:gd name="connsiteY1781" fmla="*/ 118586 h 514350"/>
                <a:gd name="connsiteX1782" fmla="*/ 2799874 w 6400800"/>
                <a:gd name="connsiteY1782" fmla="*/ 156686 h 514350"/>
                <a:gd name="connsiteX1783" fmla="*/ 2812256 w 6400800"/>
                <a:gd name="connsiteY1783" fmla="*/ 180499 h 514350"/>
                <a:gd name="connsiteX1784" fmla="*/ 2820829 w 6400800"/>
                <a:gd name="connsiteY1784" fmla="*/ 197644 h 514350"/>
                <a:gd name="connsiteX1785" fmla="*/ 2820829 w 6400800"/>
                <a:gd name="connsiteY1785" fmla="*/ 204311 h 514350"/>
                <a:gd name="connsiteX1786" fmla="*/ 2821781 w 6400800"/>
                <a:gd name="connsiteY1786" fmla="*/ 218599 h 514350"/>
                <a:gd name="connsiteX1787" fmla="*/ 2817019 w 6400800"/>
                <a:gd name="connsiteY1787" fmla="*/ 227171 h 514350"/>
                <a:gd name="connsiteX1788" fmla="*/ 2806541 w 6400800"/>
                <a:gd name="connsiteY1788" fmla="*/ 211931 h 514350"/>
                <a:gd name="connsiteX1789" fmla="*/ 2805589 w 6400800"/>
                <a:gd name="connsiteY1789" fmla="*/ 210026 h 514350"/>
                <a:gd name="connsiteX1790" fmla="*/ 2806541 w 6400800"/>
                <a:gd name="connsiteY1790" fmla="*/ 208121 h 514350"/>
                <a:gd name="connsiteX1791" fmla="*/ 2805589 w 6400800"/>
                <a:gd name="connsiteY1791" fmla="*/ 209074 h 514350"/>
                <a:gd name="connsiteX1792" fmla="*/ 2792254 w 6400800"/>
                <a:gd name="connsiteY1792" fmla="*/ 191929 h 514350"/>
                <a:gd name="connsiteX1793" fmla="*/ 2767489 w 6400800"/>
                <a:gd name="connsiteY1793" fmla="*/ 161449 h 514350"/>
                <a:gd name="connsiteX1794" fmla="*/ 2765584 w 6400800"/>
                <a:gd name="connsiteY1794" fmla="*/ 158591 h 514350"/>
                <a:gd name="connsiteX1795" fmla="*/ 2765584 w 6400800"/>
                <a:gd name="connsiteY1795" fmla="*/ 155734 h 514350"/>
                <a:gd name="connsiteX1796" fmla="*/ 2762726 w 6400800"/>
                <a:gd name="connsiteY1796" fmla="*/ 128111 h 514350"/>
                <a:gd name="connsiteX1797" fmla="*/ 2759869 w 6400800"/>
                <a:gd name="connsiteY1797" fmla="*/ 103346 h 514350"/>
                <a:gd name="connsiteX1798" fmla="*/ 2758916 w 6400800"/>
                <a:gd name="connsiteY1798" fmla="*/ 128111 h 514350"/>
                <a:gd name="connsiteX1799" fmla="*/ 2758916 w 6400800"/>
                <a:gd name="connsiteY1799" fmla="*/ 150019 h 514350"/>
                <a:gd name="connsiteX1800" fmla="*/ 2745581 w 6400800"/>
                <a:gd name="connsiteY1800" fmla="*/ 135731 h 514350"/>
                <a:gd name="connsiteX1801" fmla="*/ 2758916 w 6400800"/>
                <a:gd name="connsiteY1801" fmla="*/ 153829 h 514350"/>
                <a:gd name="connsiteX1802" fmla="*/ 2758916 w 6400800"/>
                <a:gd name="connsiteY1802" fmla="*/ 155734 h 514350"/>
                <a:gd name="connsiteX1803" fmla="*/ 2758916 w 6400800"/>
                <a:gd name="connsiteY1803" fmla="*/ 172879 h 514350"/>
                <a:gd name="connsiteX1804" fmla="*/ 2759869 w 6400800"/>
                <a:gd name="connsiteY1804" fmla="*/ 191929 h 514350"/>
                <a:gd name="connsiteX1805" fmla="*/ 2761774 w 6400800"/>
                <a:gd name="connsiteY1805" fmla="*/ 219551 h 514350"/>
                <a:gd name="connsiteX1806" fmla="*/ 2760821 w 6400800"/>
                <a:gd name="connsiteY1806" fmla="*/ 217646 h 514350"/>
                <a:gd name="connsiteX1807" fmla="*/ 2760821 w 6400800"/>
                <a:gd name="connsiteY1807" fmla="*/ 216694 h 514350"/>
                <a:gd name="connsiteX1808" fmla="*/ 2760821 w 6400800"/>
                <a:gd name="connsiteY1808" fmla="*/ 217646 h 514350"/>
                <a:gd name="connsiteX1809" fmla="*/ 2741771 w 6400800"/>
                <a:gd name="connsiteY1809" fmla="*/ 172879 h 514350"/>
                <a:gd name="connsiteX1810" fmla="*/ 2757011 w 6400800"/>
                <a:gd name="connsiteY1810" fmla="*/ 228124 h 514350"/>
                <a:gd name="connsiteX1811" fmla="*/ 2743676 w 6400800"/>
                <a:gd name="connsiteY1811" fmla="*/ 268129 h 514350"/>
                <a:gd name="connsiteX1812" fmla="*/ 2736056 w 6400800"/>
                <a:gd name="connsiteY1812" fmla="*/ 254794 h 514350"/>
                <a:gd name="connsiteX1813" fmla="*/ 2737009 w 6400800"/>
                <a:gd name="connsiteY1813" fmla="*/ 232886 h 514350"/>
                <a:gd name="connsiteX1814" fmla="*/ 2732246 w 6400800"/>
                <a:gd name="connsiteY1814" fmla="*/ 249079 h 514350"/>
                <a:gd name="connsiteX1815" fmla="*/ 2730341 w 6400800"/>
                <a:gd name="connsiteY1815" fmla="*/ 246221 h 514350"/>
                <a:gd name="connsiteX1816" fmla="*/ 2731294 w 6400800"/>
                <a:gd name="connsiteY1816" fmla="*/ 250031 h 514350"/>
                <a:gd name="connsiteX1817" fmla="*/ 2729389 w 6400800"/>
                <a:gd name="connsiteY1817" fmla="*/ 258604 h 514350"/>
                <a:gd name="connsiteX1818" fmla="*/ 2729389 w 6400800"/>
                <a:gd name="connsiteY1818" fmla="*/ 247174 h 514350"/>
                <a:gd name="connsiteX1819" fmla="*/ 2731294 w 6400800"/>
                <a:gd name="connsiteY1819" fmla="*/ 218599 h 514350"/>
                <a:gd name="connsiteX1820" fmla="*/ 2733199 w 6400800"/>
                <a:gd name="connsiteY1820" fmla="*/ 219551 h 514350"/>
                <a:gd name="connsiteX1821" fmla="*/ 2736056 w 6400800"/>
                <a:gd name="connsiteY1821" fmla="*/ 222409 h 514350"/>
                <a:gd name="connsiteX1822" fmla="*/ 2738914 w 6400800"/>
                <a:gd name="connsiteY1822" fmla="*/ 230981 h 514350"/>
                <a:gd name="connsiteX1823" fmla="*/ 2737961 w 6400800"/>
                <a:gd name="connsiteY1823" fmla="*/ 222409 h 514350"/>
                <a:gd name="connsiteX1824" fmla="*/ 2735104 w 6400800"/>
                <a:gd name="connsiteY1824" fmla="*/ 218599 h 514350"/>
                <a:gd name="connsiteX1825" fmla="*/ 2730341 w 6400800"/>
                <a:gd name="connsiteY1825" fmla="*/ 216694 h 514350"/>
                <a:gd name="connsiteX1826" fmla="*/ 2728436 w 6400800"/>
                <a:gd name="connsiteY1826" fmla="*/ 216694 h 514350"/>
                <a:gd name="connsiteX1827" fmla="*/ 2728436 w 6400800"/>
                <a:gd name="connsiteY1827" fmla="*/ 218599 h 514350"/>
                <a:gd name="connsiteX1828" fmla="*/ 2721769 w 6400800"/>
                <a:gd name="connsiteY1828" fmla="*/ 248126 h 514350"/>
                <a:gd name="connsiteX1829" fmla="*/ 2719864 w 6400800"/>
                <a:gd name="connsiteY1829" fmla="*/ 260509 h 514350"/>
                <a:gd name="connsiteX1830" fmla="*/ 2717006 w 6400800"/>
                <a:gd name="connsiteY1830" fmla="*/ 254794 h 514350"/>
                <a:gd name="connsiteX1831" fmla="*/ 2717006 w 6400800"/>
                <a:gd name="connsiteY1831" fmla="*/ 253841 h 514350"/>
                <a:gd name="connsiteX1832" fmla="*/ 2718911 w 6400800"/>
                <a:gd name="connsiteY1832" fmla="*/ 238601 h 514350"/>
                <a:gd name="connsiteX1833" fmla="*/ 2716054 w 6400800"/>
                <a:gd name="connsiteY1833" fmla="*/ 247174 h 514350"/>
                <a:gd name="connsiteX1834" fmla="*/ 2716054 w 6400800"/>
                <a:gd name="connsiteY1834" fmla="*/ 176689 h 514350"/>
                <a:gd name="connsiteX1835" fmla="*/ 2713196 w 6400800"/>
                <a:gd name="connsiteY1835" fmla="*/ 198596 h 514350"/>
                <a:gd name="connsiteX1836" fmla="*/ 2709386 w 6400800"/>
                <a:gd name="connsiteY1836" fmla="*/ 230029 h 514350"/>
                <a:gd name="connsiteX1837" fmla="*/ 2704624 w 6400800"/>
                <a:gd name="connsiteY1837" fmla="*/ 218599 h 514350"/>
                <a:gd name="connsiteX1838" fmla="*/ 2703671 w 6400800"/>
                <a:gd name="connsiteY1838" fmla="*/ 199549 h 514350"/>
                <a:gd name="connsiteX1839" fmla="*/ 2703671 w 6400800"/>
                <a:gd name="connsiteY1839" fmla="*/ 163354 h 514350"/>
                <a:gd name="connsiteX1840" fmla="*/ 2706529 w 6400800"/>
                <a:gd name="connsiteY1840" fmla="*/ 164306 h 514350"/>
                <a:gd name="connsiteX1841" fmla="*/ 2710339 w 6400800"/>
                <a:gd name="connsiteY1841" fmla="*/ 167164 h 514350"/>
                <a:gd name="connsiteX1842" fmla="*/ 2714149 w 6400800"/>
                <a:gd name="connsiteY1842" fmla="*/ 176689 h 514350"/>
                <a:gd name="connsiteX1843" fmla="*/ 2712244 w 6400800"/>
                <a:gd name="connsiteY1843" fmla="*/ 166211 h 514350"/>
                <a:gd name="connsiteX1844" fmla="*/ 2708434 w 6400800"/>
                <a:gd name="connsiteY1844" fmla="*/ 161449 h 514350"/>
                <a:gd name="connsiteX1845" fmla="*/ 2702719 w 6400800"/>
                <a:gd name="connsiteY1845" fmla="*/ 159544 h 514350"/>
                <a:gd name="connsiteX1846" fmla="*/ 2700814 w 6400800"/>
                <a:gd name="connsiteY1846" fmla="*/ 159544 h 514350"/>
                <a:gd name="connsiteX1847" fmla="*/ 2700814 w 6400800"/>
                <a:gd name="connsiteY1847" fmla="*/ 161449 h 514350"/>
                <a:gd name="connsiteX1848" fmla="*/ 2697004 w 6400800"/>
                <a:gd name="connsiteY1848" fmla="*/ 193834 h 514350"/>
                <a:gd name="connsiteX1849" fmla="*/ 2693194 w 6400800"/>
                <a:gd name="connsiteY1849" fmla="*/ 181451 h 514350"/>
                <a:gd name="connsiteX1850" fmla="*/ 2697004 w 6400800"/>
                <a:gd name="connsiteY1850" fmla="*/ 198596 h 514350"/>
                <a:gd name="connsiteX1851" fmla="*/ 2697004 w 6400800"/>
                <a:gd name="connsiteY1851" fmla="*/ 198596 h 514350"/>
                <a:gd name="connsiteX1852" fmla="*/ 2696051 w 6400800"/>
                <a:gd name="connsiteY1852" fmla="*/ 236696 h 514350"/>
                <a:gd name="connsiteX1853" fmla="*/ 2697004 w 6400800"/>
                <a:gd name="connsiteY1853" fmla="*/ 262414 h 514350"/>
                <a:gd name="connsiteX1854" fmla="*/ 2697004 w 6400800"/>
                <a:gd name="connsiteY1854" fmla="*/ 263366 h 514350"/>
                <a:gd name="connsiteX1855" fmla="*/ 2696051 w 6400800"/>
                <a:gd name="connsiteY1855" fmla="*/ 265271 h 514350"/>
                <a:gd name="connsiteX1856" fmla="*/ 2694146 w 6400800"/>
                <a:gd name="connsiteY1856" fmla="*/ 261461 h 514350"/>
                <a:gd name="connsiteX1857" fmla="*/ 2685574 w 6400800"/>
                <a:gd name="connsiteY1857" fmla="*/ 246221 h 514350"/>
                <a:gd name="connsiteX1858" fmla="*/ 2677954 w 6400800"/>
                <a:gd name="connsiteY1858" fmla="*/ 210979 h 514350"/>
                <a:gd name="connsiteX1859" fmla="*/ 2676049 w 6400800"/>
                <a:gd name="connsiteY1859" fmla="*/ 200501 h 514350"/>
                <a:gd name="connsiteX1860" fmla="*/ 2681764 w 6400800"/>
                <a:gd name="connsiteY1860" fmla="*/ 173831 h 514350"/>
                <a:gd name="connsiteX1861" fmla="*/ 2687479 w 6400800"/>
                <a:gd name="connsiteY1861" fmla="*/ 144304 h 514350"/>
                <a:gd name="connsiteX1862" fmla="*/ 2691289 w 6400800"/>
                <a:gd name="connsiteY1862" fmla="*/ 118586 h 514350"/>
                <a:gd name="connsiteX1863" fmla="*/ 2683669 w 6400800"/>
                <a:gd name="connsiteY1863" fmla="*/ 143351 h 514350"/>
                <a:gd name="connsiteX1864" fmla="*/ 2677954 w 6400800"/>
                <a:gd name="connsiteY1864" fmla="*/ 162401 h 514350"/>
                <a:gd name="connsiteX1865" fmla="*/ 2673191 w 6400800"/>
                <a:gd name="connsiteY1865" fmla="*/ 176689 h 514350"/>
                <a:gd name="connsiteX1866" fmla="*/ 2673191 w 6400800"/>
                <a:gd name="connsiteY1866" fmla="*/ 177641 h 514350"/>
                <a:gd name="connsiteX1867" fmla="*/ 2672239 w 6400800"/>
                <a:gd name="connsiteY1867" fmla="*/ 173831 h 514350"/>
                <a:gd name="connsiteX1868" fmla="*/ 2666524 w 6400800"/>
                <a:gd name="connsiteY1868" fmla="*/ 146209 h 514350"/>
                <a:gd name="connsiteX1869" fmla="*/ 2661761 w 6400800"/>
                <a:gd name="connsiteY1869" fmla="*/ 121444 h 514350"/>
                <a:gd name="connsiteX1870" fmla="*/ 2662714 w 6400800"/>
                <a:gd name="connsiteY1870" fmla="*/ 146209 h 514350"/>
                <a:gd name="connsiteX1871" fmla="*/ 2666524 w 6400800"/>
                <a:gd name="connsiteY1871" fmla="*/ 196691 h 514350"/>
                <a:gd name="connsiteX1872" fmla="*/ 2665571 w 6400800"/>
                <a:gd name="connsiteY1872" fmla="*/ 200501 h 514350"/>
                <a:gd name="connsiteX1873" fmla="*/ 2664619 w 6400800"/>
                <a:gd name="connsiteY1873" fmla="*/ 204311 h 514350"/>
                <a:gd name="connsiteX1874" fmla="*/ 2649379 w 6400800"/>
                <a:gd name="connsiteY1874" fmla="*/ 174784 h 514350"/>
                <a:gd name="connsiteX1875" fmla="*/ 2634139 w 6400800"/>
                <a:gd name="connsiteY1875" fmla="*/ 141446 h 514350"/>
                <a:gd name="connsiteX1876" fmla="*/ 2646521 w 6400800"/>
                <a:gd name="connsiteY1876" fmla="*/ 176689 h 514350"/>
                <a:gd name="connsiteX1877" fmla="*/ 2661761 w 6400800"/>
                <a:gd name="connsiteY1877" fmla="*/ 214789 h 514350"/>
                <a:gd name="connsiteX1878" fmla="*/ 2660809 w 6400800"/>
                <a:gd name="connsiteY1878" fmla="*/ 216694 h 514350"/>
                <a:gd name="connsiteX1879" fmla="*/ 2652236 w 6400800"/>
                <a:gd name="connsiteY1879" fmla="*/ 201454 h 514350"/>
                <a:gd name="connsiteX1880" fmla="*/ 2648426 w 6400800"/>
                <a:gd name="connsiteY1880" fmla="*/ 196691 h 514350"/>
                <a:gd name="connsiteX1881" fmla="*/ 2651284 w 6400800"/>
                <a:gd name="connsiteY1881" fmla="*/ 202406 h 514350"/>
                <a:gd name="connsiteX1882" fmla="*/ 2657951 w 6400800"/>
                <a:gd name="connsiteY1882" fmla="*/ 218599 h 514350"/>
                <a:gd name="connsiteX1883" fmla="*/ 2658904 w 6400800"/>
                <a:gd name="connsiteY1883" fmla="*/ 223361 h 514350"/>
                <a:gd name="connsiteX1884" fmla="*/ 2657951 w 6400800"/>
                <a:gd name="connsiteY1884" fmla="*/ 226219 h 514350"/>
                <a:gd name="connsiteX1885" fmla="*/ 2647474 w 6400800"/>
                <a:gd name="connsiteY1885" fmla="*/ 193834 h 514350"/>
                <a:gd name="connsiteX1886" fmla="*/ 2638901 w 6400800"/>
                <a:gd name="connsiteY1886" fmla="*/ 169069 h 514350"/>
                <a:gd name="connsiteX1887" fmla="*/ 2631281 w 6400800"/>
                <a:gd name="connsiteY1887" fmla="*/ 147161 h 514350"/>
                <a:gd name="connsiteX1888" fmla="*/ 2635091 w 6400800"/>
                <a:gd name="connsiteY1888" fmla="*/ 170021 h 514350"/>
                <a:gd name="connsiteX1889" fmla="*/ 2647474 w 6400800"/>
                <a:gd name="connsiteY1889" fmla="*/ 230029 h 514350"/>
                <a:gd name="connsiteX1890" fmla="*/ 2651284 w 6400800"/>
                <a:gd name="connsiteY1890" fmla="*/ 247174 h 514350"/>
                <a:gd name="connsiteX1891" fmla="*/ 2642711 w 6400800"/>
                <a:gd name="connsiteY1891" fmla="*/ 273844 h 514350"/>
                <a:gd name="connsiteX1892" fmla="*/ 2640806 w 6400800"/>
                <a:gd name="connsiteY1892" fmla="*/ 270034 h 514350"/>
                <a:gd name="connsiteX1893" fmla="*/ 2639854 w 6400800"/>
                <a:gd name="connsiteY1893" fmla="*/ 268129 h 514350"/>
                <a:gd name="connsiteX1894" fmla="*/ 2643664 w 6400800"/>
                <a:gd name="connsiteY1894" fmla="*/ 220504 h 514350"/>
                <a:gd name="connsiteX1895" fmla="*/ 2636996 w 6400800"/>
                <a:gd name="connsiteY1895" fmla="*/ 247174 h 514350"/>
                <a:gd name="connsiteX1896" fmla="*/ 2636044 w 6400800"/>
                <a:gd name="connsiteY1896" fmla="*/ 204311 h 514350"/>
                <a:gd name="connsiteX1897" fmla="*/ 2630329 w 6400800"/>
                <a:gd name="connsiteY1897" fmla="*/ 240506 h 514350"/>
                <a:gd name="connsiteX1898" fmla="*/ 2623661 w 6400800"/>
                <a:gd name="connsiteY1898" fmla="*/ 206216 h 514350"/>
                <a:gd name="connsiteX1899" fmla="*/ 2610326 w 6400800"/>
                <a:gd name="connsiteY1899" fmla="*/ 147161 h 514350"/>
                <a:gd name="connsiteX1900" fmla="*/ 2615089 w 6400800"/>
                <a:gd name="connsiteY1900" fmla="*/ 137636 h 514350"/>
                <a:gd name="connsiteX1901" fmla="*/ 2610326 w 6400800"/>
                <a:gd name="connsiteY1901" fmla="*/ 145256 h 514350"/>
                <a:gd name="connsiteX1902" fmla="*/ 2609374 w 6400800"/>
                <a:gd name="connsiteY1902" fmla="*/ 143351 h 514350"/>
                <a:gd name="connsiteX1903" fmla="*/ 2603659 w 6400800"/>
                <a:gd name="connsiteY1903" fmla="*/ 119539 h 514350"/>
                <a:gd name="connsiteX1904" fmla="*/ 2605564 w 6400800"/>
                <a:gd name="connsiteY1904" fmla="*/ 144304 h 514350"/>
                <a:gd name="connsiteX1905" fmla="*/ 2606516 w 6400800"/>
                <a:gd name="connsiteY1905" fmla="*/ 150971 h 514350"/>
                <a:gd name="connsiteX1906" fmla="*/ 2600801 w 6400800"/>
                <a:gd name="connsiteY1906" fmla="*/ 158591 h 514350"/>
                <a:gd name="connsiteX1907" fmla="*/ 2589371 w 6400800"/>
                <a:gd name="connsiteY1907" fmla="*/ 175736 h 514350"/>
                <a:gd name="connsiteX1908" fmla="*/ 2588419 w 6400800"/>
                <a:gd name="connsiteY1908" fmla="*/ 171926 h 514350"/>
                <a:gd name="connsiteX1909" fmla="*/ 2583656 w 6400800"/>
                <a:gd name="connsiteY1909" fmla="*/ 147161 h 514350"/>
                <a:gd name="connsiteX1910" fmla="*/ 2584609 w 6400800"/>
                <a:gd name="connsiteY1910" fmla="*/ 171926 h 514350"/>
                <a:gd name="connsiteX1911" fmla="*/ 2585561 w 6400800"/>
                <a:gd name="connsiteY1911" fmla="*/ 182404 h 514350"/>
                <a:gd name="connsiteX1912" fmla="*/ 2585561 w 6400800"/>
                <a:gd name="connsiteY1912" fmla="*/ 182404 h 514350"/>
                <a:gd name="connsiteX1913" fmla="*/ 2576036 w 6400800"/>
                <a:gd name="connsiteY1913" fmla="*/ 198596 h 514350"/>
                <a:gd name="connsiteX1914" fmla="*/ 2574131 w 6400800"/>
                <a:gd name="connsiteY1914" fmla="*/ 177641 h 514350"/>
                <a:gd name="connsiteX1915" fmla="*/ 2573179 w 6400800"/>
                <a:gd name="connsiteY1915" fmla="*/ 157639 h 514350"/>
                <a:gd name="connsiteX1916" fmla="*/ 2571274 w 6400800"/>
                <a:gd name="connsiteY1916" fmla="*/ 170974 h 514350"/>
                <a:gd name="connsiteX1917" fmla="*/ 2571274 w 6400800"/>
                <a:gd name="connsiteY1917" fmla="*/ 170021 h 514350"/>
                <a:gd name="connsiteX1918" fmla="*/ 2569369 w 6400800"/>
                <a:gd name="connsiteY1918" fmla="*/ 149066 h 514350"/>
                <a:gd name="connsiteX1919" fmla="*/ 2568416 w 6400800"/>
                <a:gd name="connsiteY1919" fmla="*/ 130016 h 514350"/>
                <a:gd name="connsiteX1920" fmla="*/ 2567464 w 6400800"/>
                <a:gd name="connsiteY1920" fmla="*/ 99536 h 514350"/>
                <a:gd name="connsiteX1921" fmla="*/ 2566511 w 6400800"/>
                <a:gd name="connsiteY1921" fmla="*/ 72866 h 514350"/>
                <a:gd name="connsiteX1922" fmla="*/ 2562701 w 6400800"/>
                <a:gd name="connsiteY1922" fmla="*/ 99536 h 514350"/>
                <a:gd name="connsiteX1923" fmla="*/ 2560796 w 6400800"/>
                <a:gd name="connsiteY1923" fmla="*/ 130016 h 514350"/>
                <a:gd name="connsiteX1924" fmla="*/ 2559844 w 6400800"/>
                <a:gd name="connsiteY1924" fmla="*/ 149066 h 514350"/>
                <a:gd name="connsiteX1925" fmla="*/ 2559844 w 6400800"/>
                <a:gd name="connsiteY1925" fmla="*/ 170021 h 514350"/>
                <a:gd name="connsiteX1926" fmla="*/ 2560796 w 6400800"/>
                <a:gd name="connsiteY1926" fmla="*/ 195739 h 514350"/>
                <a:gd name="connsiteX1927" fmla="*/ 2558891 w 6400800"/>
                <a:gd name="connsiteY1927" fmla="*/ 191929 h 514350"/>
                <a:gd name="connsiteX1928" fmla="*/ 2561749 w 6400800"/>
                <a:gd name="connsiteY1928" fmla="*/ 200501 h 514350"/>
                <a:gd name="connsiteX1929" fmla="*/ 2562701 w 6400800"/>
                <a:gd name="connsiteY1929" fmla="*/ 217646 h 514350"/>
                <a:gd name="connsiteX1930" fmla="*/ 2562701 w 6400800"/>
                <a:gd name="connsiteY1930" fmla="*/ 223361 h 514350"/>
                <a:gd name="connsiteX1931" fmla="*/ 2551271 w 6400800"/>
                <a:gd name="connsiteY1931" fmla="*/ 247174 h 514350"/>
                <a:gd name="connsiteX1932" fmla="*/ 2549366 w 6400800"/>
                <a:gd name="connsiteY1932" fmla="*/ 230029 h 514350"/>
                <a:gd name="connsiteX1933" fmla="*/ 2555081 w 6400800"/>
                <a:gd name="connsiteY1933" fmla="*/ 212884 h 514350"/>
                <a:gd name="connsiteX1934" fmla="*/ 2546509 w 6400800"/>
                <a:gd name="connsiteY1934" fmla="*/ 228124 h 514350"/>
                <a:gd name="connsiteX1935" fmla="*/ 2547461 w 6400800"/>
                <a:gd name="connsiteY1935" fmla="*/ 222409 h 514350"/>
                <a:gd name="connsiteX1936" fmla="*/ 2553176 w 6400800"/>
                <a:gd name="connsiteY1936" fmla="*/ 196691 h 514350"/>
                <a:gd name="connsiteX1937" fmla="*/ 2543651 w 6400800"/>
                <a:gd name="connsiteY1937" fmla="*/ 221456 h 514350"/>
                <a:gd name="connsiteX1938" fmla="*/ 2536984 w 6400800"/>
                <a:gd name="connsiteY1938" fmla="*/ 246221 h 514350"/>
                <a:gd name="connsiteX1939" fmla="*/ 2536984 w 6400800"/>
                <a:gd name="connsiteY1939" fmla="*/ 244316 h 514350"/>
                <a:gd name="connsiteX1940" fmla="*/ 2534126 w 6400800"/>
                <a:gd name="connsiteY1940" fmla="*/ 221456 h 514350"/>
                <a:gd name="connsiteX1941" fmla="*/ 2533174 w 6400800"/>
                <a:gd name="connsiteY1941" fmla="*/ 244316 h 514350"/>
                <a:gd name="connsiteX1942" fmla="*/ 2533174 w 6400800"/>
                <a:gd name="connsiteY1942" fmla="*/ 250984 h 514350"/>
                <a:gd name="connsiteX1943" fmla="*/ 2532221 w 6400800"/>
                <a:gd name="connsiteY1943" fmla="*/ 245269 h 514350"/>
                <a:gd name="connsiteX1944" fmla="*/ 2524601 w 6400800"/>
                <a:gd name="connsiteY1944" fmla="*/ 213836 h 514350"/>
                <a:gd name="connsiteX1945" fmla="*/ 2517934 w 6400800"/>
                <a:gd name="connsiteY1945" fmla="*/ 190024 h 514350"/>
                <a:gd name="connsiteX1946" fmla="*/ 2511266 w 6400800"/>
                <a:gd name="connsiteY1946" fmla="*/ 169069 h 514350"/>
                <a:gd name="connsiteX1947" fmla="*/ 2514124 w 6400800"/>
                <a:gd name="connsiteY1947" fmla="*/ 190976 h 514350"/>
                <a:gd name="connsiteX1948" fmla="*/ 2516981 w 6400800"/>
                <a:gd name="connsiteY1948" fmla="*/ 215741 h 514350"/>
                <a:gd name="connsiteX1949" fmla="*/ 2520791 w 6400800"/>
                <a:gd name="connsiteY1949" fmla="*/ 248126 h 514350"/>
                <a:gd name="connsiteX1950" fmla="*/ 2523649 w 6400800"/>
                <a:gd name="connsiteY1950" fmla="*/ 277654 h 514350"/>
                <a:gd name="connsiteX1951" fmla="*/ 2521744 w 6400800"/>
                <a:gd name="connsiteY1951" fmla="*/ 282416 h 514350"/>
                <a:gd name="connsiteX1952" fmla="*/ 2516981 w 6400800"/>
                <a:gd name="connsiteY1952" fmla="*/ 263366 h 514350"/>
                <a:gd name="connsiteX1953" fmla="*/ 2511266 w 6400800"/>
                <a:gd name="connsiteY1953" fmla="*/ 243364 h 514350"/>
                <a:gd name="connsiteX1954" fmla="*/ 2513171 w 6400800"/>
                <a:gd name="connsiteY1954" fmla="*/ 264319 h 514350"/>
                <a:gd name="connsiteX1955" fmla="*/ 2514124 w 6400800"/>
                <a:gd name="connsiteY1955" fmla="*/ 277654 h 514350"/>
                <a:gd name="connsiteX1956" fmla="*/ 2504599 w 6400800"/>
                <a:gd name="connsiteY1956" fmla="*/ 256699 h 514350"/>
                <a:gd name="connsiteX1957" fmla="*/ 2504599 w 6400800"/>
                <a:gd name="connsiteY1957" fmla="*/ 253841 h 514350"/>
                <a:gd name="connsiteX1958" fmla="*/ 2503646 w 6400800"/>
                <a:gd name="connsiteY1958" fmla="*/ 255746 h 514350"/>
                <a:gd name="connsiteX1959" fmla="*/ 2497931 w 6400800"/>
                <a:gd name="connsiteY1959" fmla="*/ 243364 h 514350"/>
                <a:gd name="connsiteX1960" fmla="*/ 2502694 w 6400800"/>
                <a:gd name="connsiteY1960" fmla="*/ 259556 h 514350"/>
                <a:gd name="connsiteX1961" fmla="*/ 2499836 w 6400800"/>
                <a:gd name="connsiteY1961" fmla="*/ 267176 h 514350"/>
                <a:gd name="connsiteX1962" fmla="*/ 2498884 w 6400800"/>
                <a:gd name="connsiteY1962" fmla="*/ 270034 h 514350"/>
                <a:gd name="connsiteX1963" fmla="*/ 2494121 w 6400800"/>
                <a:gd name="connsiteY1963" fmla="*/ 223361 h 514350"/>
                <a:gd name="connsiteX1964" fmla="*/ 2496026 w 6400800"/>
                <a:gd name="connsiteY1964" fmla="*/ 220504 h 514350"/>
                <a:gd name="connsiteX1965" fmla="*/ 2506504 w 6400800"/>
                <a:gd name="connsiteY1965" fmla="*/ 203359 h 514350"/>
                <a:gd name="connsiteX1966" fmla="*/ 2510314 w 6400800"/>
                <a:gd name="connsiteY1966" fmla="*/ 197644 h 514350"/>
                <a:gd name="connsiteX1967" fmla="*/ 2505551 w 6400800"/>
                <a:gd name="connsiteY1967" fmla="*/ 203359 h 514350"/>
                <a:gd name="connsiteX1968" fmla="*/ 2493169 w 6400800"/>
                <a:gd name="connsiteY1968" fmla="*/ 217646 h 514350"/>
                <a:gd name="connsiteX1969" fmla="*/ 2493169 w 6400800"/>
                <a:gd name="connsiteY1969" fmla="*/ 216694 h 514350"/>
                <a:gd name="connsiteX1970" fmla="*/ 2491264 w 6400800"/>
                <a:gd name="connsiteY1970" fmla="*/ 196691 h 514350"/>
                <a:gd name="connsiteX1971" fmla="*/ 2501741 w 6400800"/>
                <a:gd name="connsiteY1971" fmla="*/ 183356 h 514350"/>
                <a:gd name="connsiteX1972" fmla="*/ 2490311 w 6400800"/>
                <a:gd name="connsiteY1972" fmla="*/ 192881 h 514350"/>
                <a:gd name="connsiteX1973" fmla="*/ 2489359 w 6400800"/>
                <a:gd name="connsiteY1973" fmla="*/ 176689 h 514350"/>
                <a:gd name="connsiteX1974" fmla="*/ 2497931 w 6400800"/>
                <a:gd name="connsiteY1974" fmla="*/ 165259 h 514350"/>
                <a:gd name="connsiteX1975" fmla="*/ 2502694 w 6400800"/>
                <a:gd name="connsiteY1975" fmla="*/ 159544 h 514350"/>
                <a:gd name="connsiteX1976" fmla="*/ 2496979 w 6400800"/>
                <a:gd name="connsiteY1976" fmla="*/ 164306 h 514350"/>
                <a:gd name="connsiteX1977" fmla="*/ 2489359 w 6400800"/>
                <a:gd name="connsiteY1977" fmla="*/ 171926 h 514350"/>
                <a:gd name="connsiteX1978" fmla="*/ 2488406 w 6400800"/>
                <a:gd name="connsiteY1978" fmla="*/ 153829 h 514350"/>
                <a:gd name="connsiteX1979" fmla="*/ 2487454 w 6400800"/>
                <a:gd name="connsiteY1979" fmla="*/ 135731 h 514350"/>
                <a:gd name="connsiteX1980" fmla="*/ 2494121 w 6400800"/>
                <a:gd name="connsiteY1980" fmla="*/ 125254 h 514350"/>
                <a:gd name="connsiteX1981" fmla="*/ 2487454 w 6400800"/>
                <a:gd name="connsiteY1981" fmla="*/ 132874 h 514350"/>
                <a:gd name="connsiteX1982" fmla="*/ 2487454 w 6400800"/>
                <a:gd name="connsiteY1982" fmla="*/ 129064 h 514350"/>
                <a:gd name="connsiteX1983" fmla="*/ 2486501 w 6400800"/>
                <a:gd name="connsiteY1983" fmla="*/ 132874 h 514350"/>
                <a:gd name="connsiteX1984" fmla="*/ 2475071 w 6400800"/>
                <a:gd name="connsiteY1984" fmla="*/ 146209 h 514350"/>
                <a:gd name="connsiteX1985" fmla="*/ 2455069 w 6400800"/>
                <a:gd name="connsiteY1985" fmla="*/ 171926 h 514350"/>
                <a:gd name="connsiteX1986" fmla="*/ 2442686 w 6400800"/>
                <a:gd name="connsiteY1986" fmla="*/ 188119 h 514350"/>
                <a:gd name="connsiteX1987" fmla="*/ 2433161 w 6400800"/>
                <a:gd name="connsiteY1987" fmla="*/ 203359 h 514350"/>
                <a:gd name="connsiteX1988" fmla="*/ 2432209 w 6400800"/>
                <a:gd name="connsiteY1988" fmla="*/ 191929 h 514350"/>
                <a:gd name="connsiteX1989" fmla="*/ 2425541 w 6400800"/>
                <a:gd name="connsiteY1989" fmla="*/ 110966 h 514350"/>
                <a:gd name="connsiteX1990" fmla="*/ 2424589 w 6400800"/>
                <a:gd name="connsiteY1990" fmla="*/ 88106 h 514350"/>
                <a:gd name="connsiteX1991" fmla="*/ 2424589 w 6400800"/>
                <a:gd name="connsiteY1991" fmla="*/ 80486 h 514350"/>
                <a:gd name="connsiteX1992" fmla="*/ 2423636 w 6400800"/>
                <a:gd name="connsiteY1992" fmla="*/ 88106 h 514350"/>
                <a:gd name="connsiteX1993" fmla="*/ 2421731 w 6400800"/>
                <a:gd name="connsiteY1993" fmla="*/ 110966 h 514350"/>
                <a:gd name="connsiteX1994" fmla="*/ 2420779 w 6400800"/>
                <a:gd name="connsiteY1994" fmla="*/ 146209 h 514350"/>
                <a:gd name="connsiteX1995" fmla="*/ 2421731 w 6400800"/>
                <a:gd name="connsiteY1995" fmla="*/ 191929 h 514350"/>
                <a:gd name="connsiteX1996" fmla="*/ 2422684 w 6400800"/>
                <a:gd name="connsiteY1996" fmla="*/ 220504 h 514350"/>
                <a:gd name="connsiteX1997" fmla="*/ 2405539 w 6400800"/>
                <a:gd name="connsiteY1997" fmla="*/ 250031 h 514350"/>
                <a:gd name="connsiteX1998" fmla="*/ 2401729 w 6400800"/>
                <a:gd name="connsiteY1998" fmla="*/ 256699 h 514350"/>
                <a:gd name="connsiteX1999" fmla="*/ 2400776 w 6400800"/>
                <a:gd name="connsiteY1999" fmla="*/ 255746 h 514350"/>
                <a:gd name="connsiteX2000" fmla="*/ 2392204 w 6400800"/>
                <a:gd name="connsiteY2000" fmla="*/ 233839 h 514350"/>
                <a:gd name="connsiteX2001" fmla="*/ 2385536 w 6400800"/>
                <a:gd name="connsiteY2001" fmla="*/ 170974 h 514350"/>
                <a:gd name="connsiteX2002" fmla="*/ 2382679 w 6400800"/>
                <a:gd name="connsiteY2002" fmla="*/ 150971 h 514350"/>
                <a:gd name="connsiteX2003" fmla="*/ 2384584 w 6400800"/>
                <a:gd name="connsiteY2003" fmla="*/ 140494 h 514350"/>
                <a:gd name="connsiteX2004" fmla="*/ 2382679 w 6400800"/>
                <a:gd name="connsiteY2004" fmla="*/ 135731 h 514350"/>
                <a:gd name="connsiteX2005" fmla="*/ 2390299 w 6400800"/>
                <a:gd name="connsiteY2005" fmla="*/ 114776 h 514350"/>
                <a:gd name="connsiteX2006" fmla="*/ 2427446 w 6400800"/>
                <a:gd name="connsiteY2006" fmla="*/ 12859 h 514350"/>
                <a:gd name="connsiteX2007" fmla="*/ 2380774 w 6400800"/>
                <a:gd name="connsiteY2007" fmla="*/ 110014 h 514350"/>
                <a:gd name="connsiteX2008" fmla="*/ 2358866 w 6400800"/>
                <a:gd name="connsiteY2008" fmla="*/ 157639 h 514350"/>
                <a:gd name="connsiteX2009" fmla="*/ 2355056 w 6400800"/>
                <a:gd name="connsiteY2009" fmla="*/ 166211 h 514350"/>
                <a:gd name="connsiteX2010" fmla="*/ 2357914 w 6400800"/>
                <a:gd name="connsiteY2010" fmla="*/ 155734 h 514350"/>
                <a:gd name="connsiteX2011" fmla="*/ 2362676 w 6400800"/>
                <a:gd name="connsiteY2011" fmla="*/ 132874 h 514350"/>
                <a:gd name="connsiteX2012" fmla="*/ 2354104 w 6400800"/>
                <a:gd name="connsiteY2012" fmla="*/ 154781 h 514350"/>
                <a:gd name="connsiteX2013" fmla="*/ 2344579 w 6400800"/>
                <a:gd name="connsiteY2013" fmla="*/ 179546 h 514350"/>
                <a:gd name="connsiteX2014" fmla="*/ 2334101 w 6400800"/>
                <a:gd name="connsiteY2014" fmla="*/ 211931 h 514350"/>
                <a:gd name="connsiteX2015" fmla="*/ 2334101 w 6400800"/>
                <a:gd name="connsiteY2015" fmla="*/ 211931 h 514350"/>
                <a:gd name="connsiteX2016" fmla="*/ 2340769 w 6400800"/>
                <a:gd name="connsiteY2016" fmla="*/ 171926 h 514350"/>
                <a:gd name="connsiteX2017" fmla="*/ 2347436 w 6400800"/>
                <a:gd name="connsiteY2017" fmla="*/ 130969 h 514350"/>
                <a:gd name="connsiteX2018" fmla="*/ 2354104 w 6400800"/>
                <a:gd name="connsiteY2018" fmla="*/ 99536 h 514350"/>
                <a:gd name="connsiteX2019" fmla="*/ 2358866 w 6400800"/>
                <a:gd name="connsiteY2019" fmla="*/ 71914 h 514350"/>
                <a:gd name="connsiteX2020" fmla="*/ 2350294 w 6400800"/>
                <a:gd name="connsiteY2020" fmla="*/ 98584 h 514350"/>
                <a:gd name="connsiteX2021" fmla="*/ 2340769 w 6400800"/>
                <a:gd name="connsiteY2021" fmla="*/ 129064 h 514350"/>
                <a:gd name="connsiteX2022" fmla="*/ 2330291 w 6400800"/>
                <a:gd name="connsiteY2022" fmla="*/ 170021 h 514350"/>
                <a:gd name="connsiteX2023" fmla="*/ 2324576 w 6400800"/>
                <a:gd name="connsiteY2023" fmla="*/ 193834 h 514350"/>
                <a:gd name="connsiteX2024" fmla="*/ 2320766 w 6400800"/>
                <a:gd name="connsiteY2024" fmla="*/ 185261 h 514350"/>
                <a:gd name="connsiteX2025" fmla="*/ 2326481 w 6400800"/>
                <a:gd name="connsiteY2025" fmla="*/ 157639 h 514350"/>
                <a:gd name="connsiteX2026" fmla="*/ 2318861 w 6400800"/>
                <a:gd name="connsiteY2026" fmla="*/ 179546 h 514350"/>
                <a:gd name="connsiteX2027" fmla="*/ 2315051 w 6400800"/>
                <a:gd name="connsiteY2027" fmla="*/ 170974 h 514350"/>
                <a:gd name="connsiteX2028" fmla="*/ 2317909 w 6400800"/>
                <a:gd name="connsiteY2028" fmla="*/ 181451 h 514350"/>
                <a:gd name="connsiteX2029" fmla="*/ 2313146 w 6400800"/>
                <a:gd name="connsiteY2029" fmla="*/ 193834 h 514350"/>
                <a:gd name="connsiteX2030" fmla="*/ 2311241 w 6400800"/>
                <a:gd name="connsiteY2030" fmla="*/ 190976 h 514350"/>
                <a:gd name="connsiteX2031" fmla="*/ 2314099 w 6400800"/>
                <a:gd name="connsiteY2031" fmla="*/ 141446 h 514350"/>
                <a:gd name="connsiteX2032" fmla="*/ 2298859 w 6400800"/>
                <a:gd name="connsiteY2032" fmla="*/ 202406 h 514350"/>
                <a:gd name="connsiteX2033" fmla="*/ 2292191 w 6400800"/>
                <a:gd name="connsiteY2033" fmla="*/ 231934 h 514350"/>
                <a:gd name="connsiteX2034" fmla="*/ 2289334 w 6400800"/>
                <a:gd name="connsiteY2034" fmla="*/ 250031 h 514350"/>
                <a:gd name="connsiteX2035" fmla="*/ 2285524 w 6400800"/>
                <a:gd name="connsiteY2035" fmla="*/ 259556 h 514350"/>
                <a:gd name="connsiteX2036" fmla="*/ 2275999 w 6400800"/>
                <a:gd name="connsiteY2036" fmla="*/ 287179 h 514350"/>
                <a:gd name="connsiteX2037" fmla="*/ 2275999 w 6400800"/>
                <a:gd name="connsiteY2037" fmla="*/ 288131 h 514350"/>
                <a:gd name="connsiteX2038" fmla="*/ 2275999 w 6400800"/>
                <a:gd name="connsiteY2038" fmla="*/ 282416 h 514350"/>
                <a:gd name="connsiteX2039" fmla="*/ 2276951 w 6400800"/>
                <a:gd name="connsiteY2039" fmla="*/ 265271 h 514350"/>
                <a:gd name="connsiteX2040" fmla="*/ 2272189 w 6400800"/>
                <a:gd name="connsiteY2040" fmla="*/ 281464 h 514350"/>
                <a:gd name="connsiteX2041" fmla="*/ 2269331 w 6400800"/>
                <a:gd name="connsiteY2041" fmla="*/ 290989 h 514350"/>
                <a:gd name="connsiteX2042" fmla="*/ 2269331 w 6400800"/>
                <a:gd name="connsiteY2042" fmla="*/ 290989 h 514350"/>
                <a:gd name="connsiteX2043" fmla="*/ 2269331 w 6400800"/>
                <a:gd name="connsiteY2043" fmla="*/ 261461 h 514350"/>
                <a:gd name="connsiteX2044" fmla="*/ 2270284 w 6400800"/>
                <a:gd name="connsiteY2044" fmla="*/ 238601 h 514350"/>
                <a:gd name="connsiteX2045" fmla="*/ 2272189 w 6400800"/>
                <a:gd name="connsiteY2045" fmla="*/ 225266 h 514350"/>
                <a:gd name="connsiteX2046" fmla="*/ 2275999 w 6400800"/>
                <a:gd name="connsiteY2046" fmla="*/ 210979 h 514350"/>
                <a:gd name="connsiteX2047" fmla="*/ 2266474 w 6400800"/>
                <a:gd name="connsiteY2047" fmla="*/ 232886 h 514350"/>
                <a:gd name="connsiteX2048" fmla="*/ 2267426 w 6400800"/>
                <a:gd name="connsiteY2048" fmla="*/ 228124 h 514350"/>
                <a:gd name="connsiteX2049" fmla="*/ 2263616 w 6400800"/>
                <a:gd name="connsiteY2049" fmla="*/ 235744 h 514350"/>
                <a:gd name="connsiteX2050" fmla="*/ 2265521 w 6400800"/>
                <a:gd name="connsiteY2050" fmla="*/ 220504 h 514350"/>
                <a:gd name="connsiteX2051" fmla="*/ 2256949 w 6400800"/>
                <a:gd name="connsiteY2051" fmla="*/ 247174 h 514350"/>
                <a:gd name="connsiteX2052" fmla="*/ 2252186 w 6400800"/>
                <a:gd name="connsiteY2052" fmla="*/ 258604 h 514350"/>
                <a:gd name="connsiteX2053" fmla="*/ 2250281 w 6400800"/>
                <a:gd name="connsiteY2053" fmla="*/ 262414 h 514350"/>
                <a:gd name="connsiteX2054" fmla="*/ 2255044 w 6400800"/>
                <a:gd name="connsiteY2054" fmla="*/ 243364 h 514350"/>
                <a:gd name="connsiteX2055" fmla="*/ 2267426 w 6400800"/>
                <a:gd name="connsiteY2055" fmla="*/ 178594 h 514350"/>
                <a:gd name="connsiteX2056" fmla="*/ 2270284 w 6400800"/>
                <a:gd name="connsiteY2056" fmla="*/ 153829 h 514350"/>
                <a:gd name="connsiteX2057" fmla="*/ 2262664 w 6400800"/>
                <a:gd name="connsiteY2057" fmla="*/ 177641 h 514350"/>
                <a:gd name="connsiteX2058" fmla="*/ 2254091 w 6400800"/>
                <a:gd name="connsiteY2058" fmla="*/ 205264 h 514350"/>
                <a:gd name="connsiteX2059" fmla="*/ 2246471 w 6400800"/>
                <a:gd name="connsiteY2059" fmla="*/ 230981 h 514350"/>
                <a:gd name="connsiteX2060" fmla="*/ 2241709 w 6400800"/>
                <a:gd name="connsiteY2060" fmla="*/ 244316 h 514350"/>
                <a:gd name="connsiteX2061" fmla="*/ 2239804 w 6400800"/>
                <a:gd name="connsiteY2061" fmla="*/ 233839 h 514350"/>
                <a:gd name="connsiteX2062" fmla="*/ 2233136 w 6400800"/>
                <a:gd name="connsiteY2062" fmla="*/ 205264 h 514350"/>
                <a:gd name="connsiteX2063" fmla="*/ 2237899 w 6400800"/>
                <a:gd name="connsiteY2063" fmla="*/ 255746 h 514350"/>
                <a:gd name="connsiteX2064" fmla="*/ 2234089 w 6400800"/>
                <a:gd name="connsiteY2064" fmla="*/ 269081 h 514350"/>
                <a:gd name="connsiteX2065" fmla="*/ 2233136 w 6400800"/>
                <a:gd name="connsiteY2065" fmla="*/ 270034 h 514350"/>
                <a:gd name="connsiteX2066" fmla="*/ 2233136 w 6400800"/>
                <a:gd name="connsiteY2066" fmla="*/ 263366 h 514350"/>
                <a:gd name="connsiteX2067" fmla="*/ 2231231 w 6400800"/>
                <a:gd name="connsiteY2067" fmla="*/ 234791 h 514350"/>
                <a:gd name="connsiteX2068" fmla="*/ 2228374 w 6400800"/>
                <a:gd name="connsiteY2068" fmla="*/ 207169 h 514350"/>
                <a:gd name="connsiteX2069" fmla="*/ 2230279 w 6400800"/>
                <a:gd name="connsiteY2069" fmla="*/ 193834 h 514350"/>
                <a:gd name="connsiteX2070" fmla="*/ 2226469 w 6400800"/>
                <a:gd name="connsiteY2070" fmla="*/ 204311 h 514350"/>
                <a:gd name="connsiteX2071" fmla="*/ 2222659 w 6400800"/>
                <a:gd name="connsiteY2071" fmla="*/ 200501 h 514350"/>
                <a:gd name="connsiteX2072" fmla="*/ 2220754 w 6400800"/>
                <a:gd name="connsiteY2072" fmla="*/ 199549 h 514350"/>
                <a:gd name="connsiteX2073" fmla="*/ 2217896 w 6400800"/>
                <a:gd name="connsiteY2073" fmla="*/ 199549 h 514350"/>
                <a:gd name="connsiteX2074" fmla="*/ 2215039 w 6400800"/>
                <a:gd name="connsiteY2074" fmla="*/ 202406 h 514350"/>
                <a:gd name="connsiteX2075" fmla="*/ 2213134 w 6400800"/>
                <a:gd name="connsiteY2075" fmla="*/ 214789 h 514350"/>
                <a:gd name="connsiteX2076" fmla="*/ 2217896 w 6400800"/>
                <a:gd name="connsiteY2076" fmla="*/ 203359 h 514350"/>
                <a:gd name="connsiteX2077" fmla="*/ 2219801 w 6400800"/>
                <a:gd name="connsiteY2077" fmla="*/ 201454 h 514350"/>
                <a:gd name="connsiteX2078" fmla="*/ 2220754 w 6400800"/>
                <a:gd name="connsiteY2078" fmla="*/ 202406 h 514350"/>
                <a:gd name="connsiteX2079" fmla="*/ 2223611 w 6400800"/>
                <a:gd name="connsiteY2079" fmla="*/ 207169 h 514350"/>
                <a:gd name="connsiteX2080" fmla="*/ 2223611 w 6400800"/>
                <a:gd name="connsiteY2080" fmla="*/ 215741 h 514350"/>
                <a:gd name="connsiteX2081" fmla="*/ 2223611 w 6400800"/>
                <a:gd name="connsiteY2081" fmla="*/ 215741 h 514350"/>
                <a:gd name="connsiteX2082" fmla="*/ 2215991 w 6400800"/>
                <a:gd name="connsiteY2082" fmla="*/ 241459 h 514350"/>
                <a:gd name="connsiteX2083" fmla="*/ 2206466 w 6400800"/>
                <a:gd name="connsiteY2083" fmla="*/ 274796 h 514350"/>
                <a:gd name="connsiteX2084" fmla="*/ 2196941 w 6400800"/>
                <a:gd name="connsiteY2084" fmla="*/ 313849 h 514350"/>
                <a:gd name="connsiteX2085" fmla="*/ 2195989 w 6400800"/>
                <a:gd name="connsiteY2085" fmla="*/ 305276 h 514350"/>
                <a:gd name="connsiteX2086" fmla="*/ 2195036 w 6400800"/>
                <a:gd name="connsiteY2086" fmla="*/ 317659 h 514350"/>
                <a:gd name="connsiteX2087" fmla="*/ 2193131 w 6400800"/>
                <a:gd name="connsiteY2087" fmla="*/ 314801 h 514350"/>
                <a:gd name="connsiteX2088" fmla="*/ 2195036 w 6400800"/>
                <a:gd name="connsiteY2088" fmla="*/ 318611 h 514350"/>
                <a:gd name="connsiteX2089" fmla="*/ 2195036 w 6400800"/>
                <a:gd name="connsiteY2089" fmla="*/ 323374 h 514350"/>
                <a:gd name="connsiteX2090" fmla="*/ 2192179 w 6400800"/>
                <a:gd name="connsiteY2090" fmla="*/ 334804 h 514350"/>
                <a:gd name="connsiteX2091" fmla="*/ 2190274 w 6400800"/>
                <a:gd name="connsiteY2091" fmla="*/ 330994 h 514350"/>
                <a:gd name="connsiteX2092" fmla="*/ 2191226 w 6400800"/>
                <a:gd name="connsiteY2092" fmla="*/ 330041 h 514350"/>
                <a:gd name="connsiteX2093" fmla="*/ 2190274 w 6400800"/>
                <a:gd name="connsiteY2093" fmla="*/ 330994 h 514350"/>
                <a:gd name="connsiteX2094" fmla="*/ 2188369 w 6400800"/>
                <a:gd name="connsiteY2094" fmla="*/ 326231 h 514350"/>
                <a:gd name="connsiteX2095" fmla="*/ 2189321 w 6400800"/>
                <a:gd name="connsiteY2095" fmla="*/ 331946 h 514350"/>
                <a:gd name="connsiteX2096" fmla="*/ 2188369 w 6400800"/>
                <a:gd name="connsiteY2096" fmla="*/ 332899 h 514350"/>
                <a:gd name="connsiteX2097" fmla="*/ 2185511 w 6400800"/>
                <a:gd name="connsiteY2097" fmla="*/ 315754 h 514350"/>
                <a:gd name="connsiteX2098" fmla="*/ 2184559 w 6400800"/>
                <a:gd name="connsiteY2098" fmla="*/ 336709 h 514350"/>
                <a:gd name="connsiteX2099" fmla="*/ 2184559 w 6400800"/>
                <a:gd name="connsiteY2099" fmla="*/ 337661 h 514350"/>
                <a:gd name="connsiteX2100" fmla="*/ 2179796 w 6400800"/>
                <a:gd name="connsiteY2100" fmla="*/ 343376 h 514350"/>
                <a:gd name="connsiteX2101" fmla="*/ 2178844 w 6400800"/>
                <a:gd name="connsiteY2101" fmla="*/ 340519 h 514350"/>
                <a:gd name="connsiteX2102" fmla="*/ 2192179 w 6400800"/>
                <a:gd name="connsiteY2102" fmla="*/ 283369 h 514350"/>
                <a:gd name="connsiteX2103" fmla="*/ 2212181 w 6400800"/>
                <a:gd name="connsiteY2103" fmla="*/ 190024 h 514350"/>
                <a:gd name="connsiteX2104" fmla="*/ 2183606 w 6400800"/>
                <a:gd name="connsiteY2104" fmla="*/ 272891 h 514350"/>
                <a:gd name="connsiteX2105" fmla="*/ 2187416 w 6400800"/>
                <a:gd name="connsiteY2105" fmla="*/ 253841 h 514350"/>
                <a:gd name="connsiteX2106" fmla="*/ 2192179 w 6400800"/>
                <a:gd name="connsiteY2106" fmla="*/ 231934 h 514350"/>
                <a:gd name="connsiteX2107" fmla="*/ 2196941 w 6400800"/>
                <a:gd name="connsiteY2107" fmla="*/ 210026 h 514350"/>
                <a:gd name="connsiteX2108" fmla="*/ 2200751 w 6400800"/>
                <a:gd name="connsiteY2108" fmla="*/ 193834 h 514350"/>
                <a:gd name="connsiteX2109" fmla="*/ 2204561 w 6400800"/>
                <a:gd name="connsiteY2109" fmla="*/ 179546 h 514350"/>
                <a:gd name="connsiteX2110" fmla="*/ 2211229 w 6400800"/>
                <a:gd name="connsiteY2110" fmla="*/ 155734 h 514350"/>
                <a:gd name="connsiteX2111" fmla="*/ 2217896 w 6400800"/>
                <a:gd name="connsiteY2111" fmla="*/ 134779 h 514350"/>
                <a:gd name="connsiteX2112" fmla="*/ 2211229 w 6400800"/>
                <a:gd name="connsiteY2112" fmla="*/ 148114 h 514350"/>
                <a:gd name="connsiteX2113" fmla="*/ 2211229 w 6400800"/>
                <a:gd name="connsiteY2113" fmla="*/ 147161 h 514350"/>
                <a:gd name="connsiteX2114" fmla="*/ 2216944 w 6400800"/>
                <a:gd name="connsiteY2114" fmla="*/ 125254 h 514350"/>
                <a:gd name="connsiteX2115" fmla="*/ 2222659 w 6400800"/>
                <a:gd name="connsiteY2115" fmla="*/ 105251 h 514350"/>
                <a:gd name="connsiteX2116" fmla="*/ 2233136 w 6400800"/>
                <a:gd name="connsiteY2116" fmla="*/ 72866 h 514350"/>
                <a:gd name="connsiteX2117" fmla="*/ 2242661 w 6400800"/>
                <a:gd name="connsiteY2117" fmla="*/ 45244 h 514350"/>
                <a:gd name="connsiteX2118" fmla="*/ 2229326 w 6400800"/>
                <a:gd name="connsiteY2118" fmla="*/ 71914 h 514350"/>
                <a:gd name="connsiteX2119" fmla="*/ 2215991 w 6400800"/>
                <a:gd name="connsiteY2119" fmla="*/ 103346 h 514350"/>
                <a:gd name="connsiteX2120" fmla="*/ 2208371 w 6400800"/>
                <a:gd name="connsiteY2120" fmla="*/ 122396 h 514350"/>
                <a:gd name="connsiteX2121" fmla="*/ 2200751 w 6400800"/>
                <a:gd name="connsiteY2121" fmla="*/ 144304 h 514350"/>
                <a:gd name="connsiteX2122" fmla="*/ 2184559 w 6400800"/>
                <a:gd name="connsiteY2122" fmla="*/ 193834 h 514350"/>
                <a:gd name="connsiteX2123" fmla="*/ 2175034 w 6400800"/>
                <a:gd name="connsiteY2123" fmla="*/ 228124 h 514350"/>
                <a:gd name="connsiteX2124" fmla="*/ 2177891 w 6400800"/>
                <a:gd name="connsiteY2124" fmla="*/ 203359 h 514350"/>
                <a:gd name="connsiteX2125" fmla="*/ 2178844 w 6400800"/>
                <a:gd name="connsiteY2125" fmla="*/ 190024 h 514350"/>
                <a:gd name="connsiteX2126" fmla="*/ 2180749 w 6400800"/>
                <a:gd name="connsiteY2126" fmla="*/ 184309 h 514350"/>
                <a:gd name="connsiteX2127" fmla="*/ 2179796 w 6400800"/>
                <a:gd name="connsiteY2127" fmla="*/ 187166 h 514350"/>
                <a:gd name="connsiteX2128" fmla="*/ 2180749 w 6400800"/>
                <a:gd name="connsiteY2128" fmla="*/ 176689 h 514350"/>
                <a:gd name="connsiteX2129" fmla="*/ 2175986 w 6400800"/>
                <a:gd name="connsiteY2129" fmla="*/ 194786 h 514350"/>
                <a:gd name="connsiteX2130" fmla="*/ 2170271 w 6400800"/>
                <a:gd name="connsiteY2130" fmla="*/ 208121 h 514350"/>
                <a:gd name="connsiteX2131" fmla="*/ 2144554 w 6400800"/>
                <a:gd name="connsiteY2131" fmla="*/ 271939 h 514350"/>
                <a:gd name="connsiteX2132" fmla="*/ 2135029 w 6400800"/>
                <a:gd name="connsiteY2132" fmla="*/ 296704 h 514350"/>
                <a:gd name="connsiteX2133" fmla="*/ 2135029 w 6400800"/>
                <a:gd name="connsiteY2133" fmla="*/ 295751 h 514350"/>
                <a:gd name="connsiteX2134" fmla="*/ 2129314 w 6400800"/>
                <a:gd name="connsiteY2134" fmla="*/ 282416 h 514350"/>
                <a:gd name="connsiteX2135" fmla="*/ 2137886 w 6400800"/>
                <a:gd name="connsiteY2135" fmla="*/ 231934 h 514350"/>
                <a:gd name="connsiteX2136" fmla="*/ 2141696 w 6400800"/>
                <a:gd name="connsiteY2136" fmla="*/ 210026 h 514350"/>
                <a:gd name="connsiteX2137" fmla="*/ 2134076 w 6400800"/>
                <a:gd name="connsiteY2137" fmla="*/ 230981 h 514350"/>
                <a:gd name="connsiteX2138" fmla="*/ 2123599 w 6400800"/>
                <a:gd name="connsiteY2138" fmla="*/ 263366 h 514350"/>
                <a:gd name="connsiteX2139" fmla="*/ 2122646 w 6400800"/>
                <a:gd name="connsiteY2139" fmla="*/ 253841 h 514350"/>
                <a:gd name="connsiteX2140" fmla="*/ 2117884 w 6400800"/>
                <a:gd name="connsiteY2140" fmla="*/ 211931 h 514350"/>
                <a:gd name="connsiteX2141" fmla="*/ 2112169 w 6400800"/>
                <a:gd name="connsiteY2141" fmla="*/ 176689 h 514350"/>
                <a:gd name="connsiteX2142" fmla="*/ 2107406 w 6400800"/>
                <a:gd name="connsiteY2142" fmla="*/ 150019 h 514350"/>
                <a:gd name="connsiteX2143" fmla="*/ 2102644 w 6400800"/>
                <a:gd name="connsiteY2143" fmla="*/ 127159 h 514350"/>
                <a:gd name="connsiteX2144" fmla="*/ 2103596 w 6400800"/>
                <a:gd name="connsiteY2144" fmla="*/ 150971 h 514350"/>
                <a:gd name="connsiteX2145" fmla="*/ 2104549 w 6400800"/>
                <a:gd name="connsiteY2145" fmla="*/ 168116 h 514350"/>
                <a:gd name="connsiteX2146" fmla="*/ 2104549 w 6400800"/>
                <a:gd name="connsiteY2146" fmla="*/ 183356 h 514350"/>
                <a:gd name="connsiteX2147" fmla="*/ 2105501 w 6400800"/>
                <a:gd name="connsiteY2147" fmla="*/ 207169 h 514350"/>
                <a:gd name="connsiteX2148" fmla="*/ 2106454 w 6400800"/>
                <a:gd name="connsiteY2148" fmla="*/ 225266 h 514350"/>
                <a:gd name="connsiteX2149" fmla="*/ 2104549 w 6400800"/>
                <a:gd name="connsiteY2149" fmla="*/ 221456 h 514350"/>
                <a:gd name="connsiteX2150" fmla="*/ 2104549 w 6400800"/>
                <a:gd name="connsiteY2150" fmla="*/ 221456 h 514350"/>
                <a:gd name="connsiteX2151" fmla="*/ 2104549 w 6400800"/>
                <a:gd name="connsiteY2151" fmla="*/ 221456 h 514350"/>
                <a:gd name="connsiteX2152" fmla="*/ 2102644 w 6400800"/>
                <a:gd name="connsiteY2152" fmla="*/ 215741 h 514350"/>
                <a:gd name="connsiteX2153" fmla="*/ 2101691 w 6400800"/>
                <a:gd name="connsiteY2153" fmla="*/ 205264 h 514350"/>
                <a:gd name="connsiteX2154" fmla="*/ 2098834 w 6400800"/>
                <a:gd name="connsiteY2154" fmla="*/ 176689 h 514350"/>
                <a:gd name="connsiteX2155" fmla="*/ 2097881 w 6400800"/>
                <a:gd name="connsiteY2155" fmla="*/ 168116 h 514350"/>
                <a:gd name="connsiteX2156" fmla="*/ 2102644 w 6400800"/>
                <a:gd name="connsiteY2156" fmla="*/ 149066 h 514350"/>
                <a:gd name="connsiteX2157" fmla="*/ 2096929 w 6400800"/>
                <a:gd name="connsiteY2157" fmla="*/ 162401 h 514350"/>
                <a:gd name="connsiteX2158" fmla="*/ 2095024 w 6400800"/>
                <a:gd name="connsiteY2158" fmla="*/ 151924 h 514350"/>
                <a:gd name="connsiteX2159" fmla="*/ 2095024 w 6400800"/>
                <a:gd name="connsiteY2159" fmla="*/ 167164 h 514350"/>
                <a:gd name="connsiteX2160" fmla="*/ 2066449 w 6400800"/>
                <a:gd name="connsiteY2160" fmla="*/ 235744 h 514350"/>
                <a:gd name="connsiteX2161" fmla="*/ 2056924 w 6400800"/>
                <a:gd name="connsiteY2161" fmla="*/ 259556 h 514350"/>
                <a:gd name="connsiteX2162" fmla="*/ 2063591 w 6400800"/>
                <a:gd name="connsiteY2162" fmla="*/ 219551 h 514350"/>
                <a:gd name="connsiteX2163" fmla="*/ 2052161 w 6400800"/>
                <a:gd name="connsiteY2163" fmla="*/ 252889 h 514350"/>
                <a:gd name="connsiteX2164" fmla="*/ 2050256 w 6400800"/>
                <a:gd name="connsiteY2164" fmla="*/ 248126 h 514350"/>
                <a:gd name="connsiteX2165" fmla="*/ 2050256 w 6400800"/>
                <a:gd name="connsiteY2165" fmla="*/ 233839 h 514350"/>
                <a:gd name="connsiteX2166" fmla="*/ 2048351 w 6400800"/>
                <a:gd name="connsiteY2166" fmla="*/ 244316 h 514350"/>
                <a:gd name="connsiteX2167" fmla="*/ 2046446 w 6400800"/>
                <a:gd name="connsiteY2167" fmla="*/ 240506 h 514350"/>
                <a:gd name="connsiteX2168" fmla="*/ 2047399 w 6400800"/>
                <a:gd name="connsiteY2168" fmla="*/ 247174 h 514350"/>
                <a:gd name="connsiteX2169" fmla="*/ 2044541 w 6400800"/>
                <a:gd name="connsiteY2169" fmla="*/ 266224 h 514350"/>
                <a:gd name="connsiteX2170" fmla="*/ 2043589 w 6400800"/>
                <a:gd name="connsiteY2170" fmla="*/ 259556 h 514350"/>
                <a:gd name="connsiteX2171" fmla="*/ 2041684 w 6400800"/>
                <a:gd name="connsiteY2171" fmla="*/ 249079 h 514350"/>
                <a:gd name="connsiteX2172" fmla="*/ 2048351 w 6400800"/>
                <a:gd name="connsiteY2172" fmla="*/ 184309 h 514350"/>
                <a:gd name="connsiteX2173" fmla="*/ 2039779 w 6400800"/>
                <a:gd name="connsiteY2173" fmla="*/ 216694 h 514350"/>
                <a:gd name="connsiteX2174" fmla="*/ 2036921 w 6400800"/>
                <a:gd name="connsiteY2174" fmla="*/ 223361 h 514350"/>
                <a:gd name="connsiteX2175" fmla="*/ 2035969 w 6400800"/>
                <a:gd name="connsiteY2175" fmla="*/ 218599 h 514350"/>
                <a:gd name="connsiteX2176" fmla="*/ 2031206 w 6400800"/>
                <a:gd name="connsiteY2176" fmla="*/ 187166 h 514350"/>
                <a:gd name="connsiteX2177" fmla="*/ 2028349 w 6400800"/>
                <a:gd name="connsiteY2177" fmla="*/ 169069 h 514350"/>
                <a:gd name="connsiteX2178" fmla="*/ 2031206 w 6400800"/>
                <a:gd name="connsiteY2178" fmla="*/ 147161 h 514350"/>
                <a:gd name="connsiteX2179" fmla="*/ 2028349 w 6400800"/>
                <a:gd name="connsiteY2179" fmla="*/ 157639 h 514350"/>
                <a:gd name="connsiteX2180" fmla="*/ 2030254 w 6400800"/>
                <a:gd name="connsiteY2180" fmla="*/ 138589 h 514350"/>
                <a:gd name="connsiteX2181" fmla="*/ 2023586 w 6400800"/>
                <a:gd name="connsiteY2181" fmla="*/ 160496 h 514350"/>
                <a:gd name="connsiteX2182" fmla="*/ 2017871 w 6400800"/>
                <a:gd name="connsiteY2182" fmla="*/ 186214 h 514350"/>
                <a:gd name="connsiteX2183" fmla="*/ 2016919 w 6400800"/>
                <a:gd name="connsiteY2183" fmla="*/ 191929 h 514350"/>
                <a:gd name="connsiteX2184" fmla="*/ 2016919 w 6400800"/>
                <a:gd name="connsiteY2184" fmla="*/ 190976 h 514350"/>
                <a:gd name="connsiteX2185" fmla="*/ 2019776 w 6400800"/>
                <a:gd name="connsiteY2185" fmla="*/ 158591 h 514350"/>
                <a:gd name="connsiteX2186" fmla="*/ 2015014 w 6400800"/>
                <a:gd name="connsiteY2186" fmla="*/ 178594 h 514350"/>
                <a:gd name="connsiteX2187" fmla="*/ 2014061 w 6400800"/>
                <a:gd name="connsiteY2187" fmla="*/ 174784 h 514350"/>
                <a:gd name="connsiteX2188" fmla="*/ 2014061 w 6400800"/>
                <a:gd name="connsiteY2188" fmla="*/ 177641 h 514350"/>
                <a:gd name="connsiteX2189" fmla="*/ 2011204 w 6400800"/>
                <a:gd name="connsiteY2189" fmla="*/ 163354 h 514350"/>
                <a:gd name="connsiteX2190" fmla="*/ 2003584 w 6400800"/>
                <a:gd name="connsiteY2190" fmla="*/ 125254 h 514350"/>
                <a:gd name="connsiteX2191" fmla="*/ 1996916 w 6400800"/>
                <a:gd name="connsiteY2191" fmla="*/ 91916 h 514350"/>
                <a:gd name="connsiteX2192" fmla="*/ 1999774 w 6400800"/>
                <a:gd name="connsiteY2192" fmla="*/ 125254 h 514350"/>
                <a:gd name="connsiteX2193" fmla="*/ 2003584 w 6400800"/>
                <a:gd name="connsiteY2193" fmla="*/ 164306 h 514350"/>
                <a:gd name="connsiteX2194" fmla="*/ 2008346 w 6400800"/>
                <a:gd name="connsiteY2194" fmla="*/ 203359 h 514350"/>
                <a:gd name="connsiteX2195" fmla="*/ 1999774 w 6400800"/>
                <a:gd name="connsiteY2195" fmla="*/ 240506 h 514350"/>
                <a:gd name="connsiteX2196" fmla="*/ 1984534 w 6400800"/>
                <a:gd name="connsiteY2196" fmla="*/ 314801 h 514350"/>
                <a:gd name="connsiteX2197" fmla="*/ 1984534 w 6400800"/>
                <a:gd name="connsiteY2197" fmla="*/ 283369 h 514350"/>
                <a:gd name="connsiteX2198" fmla="*/ 1984534 w 6400800"/>
                <a:gd name="connsiteY2198" fmla="*/ 267176 h 514350"/>
                <a:gd name="connsiteX2199" fmla="*/ 1986439 w 6400800"/>
                <a:gd name="connsiteY2199" fmla="*/ 263366 h 514350"/>
                <a:gd name="connsiteX2200" fmla="*/ 1984534 w 6400800"/>
                <a:gd name="connsiteY2200" fmla="*/ 265271 h 514350"/>
                <a:gd name="connsiteX2201" fmla="*/ 1985486 w 6400800"/>
                <a:gd name="connsiteY2201" fmla="*/ 243364 h 514350"/>
                <a:gd name="connsiteX2202" fmla="*/ 1987391 w 6400800"/>
                <a:gd name="connsiteY2202" fmla="*/ 212884 h 514350"/>
                <a:gd name="connsiteX2203" fmla="*/ 1989296 w 6400800"/>
                <a:gd name="connsiteY2203" fmla="*/ 186214 h 514350"/>
                <a:gd name="connsiteX2204" fmla="*/ 1983581 w 6400800"/>
                <a:gd name="connsiteY2204" fmla="*/ 211931 h 514350"/>
                <a:gd name="connsiteX2205" fmla="*/ 1978819 w 6400800"/>
                <a:gd name="connsiteY2205" fmla="*/ 242411 h 514350"/>
                <a:gd name="connsiteX2206" fmla="*/ 1974056 w 6400800"/>
                <a:gd name="connsiteY2206" fmla="*/ 281464 h 514350"/>
                <a:gd name="connsiteX2207" fmla="*/ 1973104 w 6400800"/>
                <a:gd name="connsiteY2207" fmla="*/ 282416 h 514350"/>
                <a:gd name="connsiteX2208" fmla="*/ 1968341 w 6400800"/>
                <a:gd name="connsiteY2208" fmla="*/ 289084 h 514350"/>
                <a:gd name="connsiteX2209" fmla="*/ 1968341 w 6400800"/>
                <a:gd name="connsiteY2209" fmla="*/ 283369 h 514350"/>
                <a:gd name="connsiteX2210" fmla="*/ 1973104 w 6400800"/>
                <a:gd name="connsiteY2210" fmla="*/ 274796 h 514350"/>
                <a:gd name="connsiteX2211" fmla="*/ 1968341 w 6400800"/>
                <a:gd name="connsiteY2211" fmla="*/ 280511 h 514350"/>
                <a:gd name="connsiteX2212" fmla="*/ 1973104 w 6400800"/>
                <a:gd name="connsiteY2212" fmla="*/ 224314 h 514350"/>
                <a:gd name="connsiteX2213" fmla="*/ 1976914 w 6400800"/>
                <a:gd name="connsiteY2213" fmla="*/ 187166 h 514350"/>
                <a:gd name="connsiteX2214" fmla="*/ 1967389 w 6400800"/>
                <a:gd name="connsiteY2214" fmla="*/ 218599 h 514350"/>
                <a:gd name="connsiteX2215" fmla="*/ 1967389 w 6400800"/>
                <a:gd name="connsiteY2215" fmla="*/ 216694 h 514350"/>
                <a:gd name="connsiteX2216" fmla="*/ 1966436 w 6400800"/>
                <a:gd name="connsiteY2216" fmla="*/ 220504 h 514350"/>
                <a:gd name="connsiteX2217" fmla="*/ 1957864 w 6400800"/>
                <a:gd name="connsiteY2217" fmla="*/ 250031 h 514350"/>
                <a:gd name="connsiteX2218" fmla="*/ 1952149 w 6400800"/>
                <a:gd name="connsiteY2218" fmla="*/ 271939 h 514350"/>
                <a:gd name="connsiteX2219" fmla="*/ 1941671 w 6400800"/>
                <a:gd name="connsiteY2219" fmla="*/ 221456 h 514350"/>
                <a:gd name="connsiteX2220" fmla="*/ 1942624 w 6400800"/>
                <a:gd name="connsiteY2220" fmla="*/ 213836 h 514350"/>
                <a:gd name="connsiteX2221" fmla="*/ 1952149 w 6400800"/>
                <a:gd name="connsiteY2221" fmla="*/ 186214 h 514350"/>
                <a:gd name="connsiteX2222" fmla="*/ 1962626 w 6400800"/>
                <a:gd name="connsiteY2222" fmla="*/ 157639 h 514350"/>
                <a:gd name="connsiteX2223" fmla="*/ 1948339 w 6400800"/>
                <a:gd name="connsiteY2223" fmla="*/ 185261 h 514350"/>
                <a:gd name="connsiteX2224" fmla="*/ 1945481 w 6400800"/>
                <a:gd name="connsiteY2224" fmla="*/ 190976 h 514350"/>
                <a:gd name="connsiteX2225" fmla="*/ 1945481 w 6400800"/>
                <a:gd name="connsiteY2225" fmla="*/ 189071 h 514350"/>
                <a:gd name="connsiteX2226" fmla="*/ 1944529 w 6400800"/>
                <a:gd name="connsiteY2226" fmla="*/ 192881 h 514350"/>
                <a:gd name="connsiteX2227" fmla="*/ 1938814 w 6400800"/>
                <a:gd name="connsiteY2227" fmla="*/ 205264 h 514350"/>
                <a:gd name="connsiteX2228" fmla="*/ 1935004 w 6400800"/>
                <a:gd name="connsiteY2228" fmla="*/ 148114 h 514350"/>
                <a:gd name="connsiteX2229" fmla="*/ 1928336 w 6400800"/>
                <a:gd name="connsiteY2229" fmla="*/ 224314 h 514350"/>
                <a:gd name="connsiteX2230" fmla="*/ 1928336 w 6400800"/>
                <a:gd name="connsiteY2230" fmla="*/ 229076 h 514350"/>
                <a:gd name="connsiteX2231" fmla="*/ 1924526 w 6400800"/>
                <a:gd name="connsiteY2231" fmla="*/ 236696 h 514350"/>
                <a:gd name="connsiteX2232" fmla="*/ 1915001 w 6400800"/>
                <a:gd name="connsiteY2232" fmla="*/ 258604 h 514350"/>
                <a:gd name="connsiteX2233" fmla="*/ 1911191 w 6400800"/>
                <a:gd name="connsiteY2233" fmla="*/ 268129 h 514350"/>
                <a:gd name="connsiteX2234" fmla="*/ 1907381 w 6400800"/>
                <a:gd name="connsiteY2234" fmla="*/ 259556 h 514350"/>
                <a:gd name="connsiteX2235" fmla="*/ 1907381 w 6400800"/>
                <a:gd name="connsiteY2235" fmla="*/ 258604 h 514350"/>
                <a:gd name="connsiteX2236" fmla="*/ 1907381 w 6400800"/>
                <a:gd name="connsiteY2236" fmla="*/ 258604 h 514350"/>
                <a:gd name="connsiteX2237" fmla="*/ 1900714 w 6400800"/>
                <a:gd name="connsiteY2237" fmla="*/ 253841 h 514350"/>
                <a:gd name="connsiteX2238" fmla="*/ 1897856 w 6400800"/>
                <a:gd name="connsiteY2238" fmla="*/ 252889 h 514350"/>
                <a:gd name="connsiteX2239" fmla="*/ 1896904 w 6400800"/>
                <a:gd name="connsiteY2239" fmla="*/ 252889 h 514350"/>
                <a:gd name="connsiteX2240" fmla="*/ 1896904 w 6400800"/>
                <a:gd name="connsiteY2240" fmla="*/ 250984 h 514350"/>
                <a:gd name="connsiteX2241" fmla="*/ 1897856 w 6400800"/>
                <a:gd name="connsiteY2241" fmla="*/ 246221 h 514350"/>
                <a:gd name="connsiteX2242" fmla="*/ 1902619 w 6400800"/>
                <a:gd name="connsiteY2242" fmla="*/ 230029 h 514350"/>
                <a:gd name="connsiteX2243" fmla="*/ 1903571 w 6400800"/>
                <a:gd name="connsiteY2243" fmla="*/ 226219 h 514350"/>
                <a:gd name="connsiteX2244" fmla="*/ 1902619 w 6400800"/>
                <a:gd name="connsiteY2244" fmla="*/ 227171 h 514350"/>
                <a:gd name="connsiteX2245" fmla="*/ 1906429 w 6400800"/>
                <a:gd name="connsiteY2245" fmla="*/ 214789 h 514350"/>
                <a:gd name="connsiteX2246" fmla="*/ 1915001 w 6400800"/>
                <a:gd name="connsiteY2246" fmla="*/ 190976 h 514350"/>
                <a:gd name="connsiteX2247" fmla="*/ 1922621 w 6400800"/>
                <a:gd name="connsiteY2247" fmla="*/ 170021 h 514350"/>
                <a:gd name="connsiteX2248" fmla="*/ 1911191 w 6400800"/>
                <a:gd name="connsiteY2248" fmla="*/ 189071 h 514350"/>
                <a:gd name="connsiteX2249" fmla="*/ 1899761 w 6400800"/>
                <a:gd name="connsiteY2249" fmla="*/ 211931 h 514350"/>
                <a:gd name="connsiteX2250" fmla="*/ 1893094 w 6400800"/>
                <a:gd name="connsiteY2250" fmla="*/ 226219 h 514350"/>
                <a:gd name="connsiteX2251" fmla="*/ 1889284 w 6400800"/>
                <a:gd name="connsiteY2251" fmla="*/ 235744 h 514350"/>
                <a:gd name="connsiteX2252" fmla="*/ 1888331 w 6400800"/>
                <a:gd name="connsiteY2252" fmla="*/ 232886 h 514350"/>
                <a:gd name="connsiteX2253" fmla="*/ 1889284 w 6400800"/>
                <a:gd name="connsiteY2253" fmla="*/ 216694 h 514350"/>
                <a:gd name="connsiteX2254" fmla="*/ 1891189 w 6400800"/>
                <a:gd name="connsiteY2254" fmla="*/ 200501 h 514350"/>
                <a:gd name="connsiteX2255" fmla="*/ 1894046 w 6400800"/>
                <a:gd name="connsiteY2255" fmla="*/ 187166 h 514350"/>
                <a:gd name="connsiteX2256" fmla="*/ 1899761 w 6400800"/>
                <a:gd name="connsiteY2256" fmla="*/ 169069 h 514350"/>
                <a:gd name="connsiteX2257" fmla="*/ 1902619 w 6400800"/>
                <a:gd name="connsiteY2257" fmla="*/ 162401 h 514350"/>
                <a:gd name="connsiteX2258" fmla="*/ 1898809 w 6400800"/>
                <a:gd name="connsiteY2258" fmla="*/ 168116 h 514350"/>
                <a:gd name="connsiteX2259" fmla="*/ 1890236 w 6400800"/>
                <a:gd name="connsiteY2259" fmla="*/ 186214 h 514350"/>
                <a:gd name="connsiteX2260" fmla="*/ 1885474 w 6400800"/>
                <a:gd name="connsiteY2260" fmla="*/ 199549 h 514350"/>
                <a:gd name="connsiteX2261" fmla="*/ 1882616 w 6400800"/>
                <a:gd name="connsiteY2261" fmla="*/ 213836 h 514350"/>
                <a:gd name="connsiteX2262" fmla="*/ 1882616 w 6400800"/>
                <a:gd name="connsiteY2262" fmla="*/ 210026 h 514350"/>
                <a:gd name="connsiteX2263" fmla="*/ 1878806 w 6400800"/>
                <a:gd name="connsiteY2263" fmla="*/ 228124 h 514350"/>
                <a:gd name="connsiteX2264" fmla="*/ 1874996 w 6400800"/>
                <a:gd name="connsiteY2264" fmla="*/ 243364 h 514350"/>
                <a:gd name="connsiteX2265" fmla="*/ 1874996 w 6400800"/>
                <a:gd name="connsiteY2265" fmla="*/ 237649 h 514350"/>
                <a:gd name="connsiteX2266" fmla="*/ 1872139 w 6400800"/>
                <a:gd name="connsiteY2266" fmla="*/ 255746 h 514350"/>
                <a:gd name="connsiteX2267" fmla="*/ 1868329 w 6400800"/>
                <a:gd name="connsiteY2267" fmla="*/ 270986 h 514350"/>
                <a:gd name="connsiteX2268" fmla="*/ 1869281 w 6400800"/>
                <a:gd name="connsiteY2268" fmla="*/ 259556 h 514350"/>
                <a:gd name="connsiteX2269" fmla="*/ 1874996 w 6400800"/>
                <a:gd name="connsiteY2269" fmla="*/ 213836 h 514350"/>
                <a:gd name="connsiteX2270" fmla="*/ 1877854 w 6400800"/>
                <a:gd name="connsiteY2270" fmla="*/ 193834 h 514350"/>
                <a:gd name="connsiteX2271" fmla="*/ 1881664 w 6400800"/>
                <a:gd name="connsiteY2271" fmla="*/ 175736 h 514350"/>
                <a:gd name="connsiteX2272" fmla="*/ 1888331 w 6400800"/>
                <a:gd name="connsiteY2272" fmla="*/ 146209 h 514350"/>
                <a:gd name="connsiteX2273" fmla="*/ 1894999 w 6400800"/>
                <a:gd name="connsiteY2273" fmla="*/ 120491 h 514350"/>
                <a:gd name="connsiteX2274" fmla="*/ 1885474 w 6400800"/>
                <a:gd name="connsiteY2274" fmla="*/ 144304 h 514350"/>
                <a:gd name="connsiteX2275" fmla="*/ 1875949 w 6400800"/>
                <a:gd name="connsiteY2275" fmla="*/ 172879 h 514350"/>
                <a:gd name="connsiteX2276" fmla="*/ 1870234 w 6400800"/>
                <a:gd name="connsiteY2276" fmla="*/ 190976 h 514350"/>
                <a:gd name="connsiteX2277" fmla="*/ 1865471 w 6400800"/>
                <a:gd name="connsiteY2277" fmla="*/ 210979 h 514350"/>
                <a:gd name="connsiteX2278" fmla="*/ 1858804 w 6400800"/>
                <a:gd name="connsiteY2278" fmla="*/ 238601 h 514350"/>
                <a:gd name="connsiteX2279" fmla="*/ 1856899 w 6400800"/>
                <a:gd name="connsiteY2279" fmla="*/ 194786 h 514350"/>
                <a:gd name="connsiteX2280" fmla="*/ 1854994 w 6400800"/>
                <a:gd name="connsiteY2280" fmla="*/ 172879 h 514350"/>
                <a:gd name="connsiteX2281" fmla="*/ 1853089 w 6400800"/>
                <a:gd name="connsiteY2281" fmla="*/ 194786 h 514350"/>
                <a:gd name="connsiteX2282" fmla="*/ 1848326 w 6400800"/>
                <a:gd name="connsiteY2282" fmla="*/ 250984 h 514350"/>
                <a:gd name="connsiteX2283" fmla="*/ 1845469 w 6400800"/>
                <a:gd name="connsiteY2283" fmla="*/ 282416 h 514350"/>
                <a:gd name="connsiteX2284" fmla="*/ 1839754 w 6400800"/>
                <a:gd name="connsiteY2284" fmla="*/ 273844 h 514350"/>
                <a:gd name="connsiteX2285" fmla="*/ 1838801 w 6400800"/>
                <a:gd name="connsiteY2285" fmla="*/ 269081 h 514350"/>
                <a:gd name="connsiteX2286" fmla="*/ 1838801 w 6400800"/>
                <a:gd name="connsiteY2286" fmla="*/ 272891 h 514350"/>
                <a:gd name="connsiteX2287" fmla="*/ 1827371 w 6400800"/>
                <a:gd name="connsiteY2287" fmla="*/ 256699 h 514350"/>
                <a:gd name="connsiteX2288" fmla="*/ 1828324 w 6400800"/>
                <a:gd name="connsiteY2288" fmla="*/ 190976 h 514350"/>
                <a:gd name="connsiteX2289" fmla="*/ 1822609 w 6400800"/>
                <a:gd name="connsiteY2289" fmla="*/ 222409 h 514350"/>
                <a:gd name="connsiteX2290" fmla="*/ 1822609 w 6400800"/>
                <a:gd name="connsiteY2290" fmla="*/ 214789 h 514350"/>
                <a:gd name="connsiteX2291" fmla="*/ 1822609 w 6400800"/>
                <a:gd name="connsiteY2291" fmla="*/ 161449 h 514350"/>
                <a:gd name="connsiteX2292" fmla="*/ 1823561 w 6400800"/>
                <a:gd name="connsiteY2292" fmla="*/ 113824 h 514350"/>
                <a:gd name="connsiteX2293" fmla="*/ 1823561 w 6400800"/>
                <a:gd name="connsiteY2293" fmla="*/ 15716 h 514350"/>
                <a:gd name="connsiteX2294" fmla="*/ 1812131 w 6400800"/>
                <a:gd name="connsiteY2294" fmla="*/ 112871 h 514350"/>
                <a:gd name="connsiteX2295" fmla="*/ 1807369 w 6400800"/>
                <a:gd name="connsiteY2295" fmla="*/ 160496 h 514350"/>
                <a:gd name="connsiteX2296" fmla="*/ 1805464 w 6400800"/>
                <a:gd name="connsiteY2296" fmla="*/ 209074 h 514350"/>
                <a:gd name="connsiteX2297" fmla="*/ 1801654 w 6400800"/>
                <a:gd name="connsiteY2297" fmla="*/ 211931 h 514350"/>
                <a:gd name="connsiteX2298" fmla="*/ 1801654 w 6400800"/>
                <a:gd name="connsiteY2298" fmla="*/ 211931 h 514350"/>
                <a:gd name="connsiteX2299" fmla="*/ 1801654 w 6400800"/>
                <a:gd name="connsiteY2299" fmla="*/ 212884 h 514350"/>
                <a:gd name="connsiteX2300" fmla="*/ 1790224 w 6400800"/>
                <a:gd name="connsiteY2300" fmla="*/ 237649 h 514350"/>
                <a:gd name="connsiteX2301" fmla="*/ 1790224 w 6400800"/>
                <a:gd name="connsiteY2301" fmla="*/ 207169 h 514350"/>
                <a:gd name="connsiteX2302" fmla="*/ 1786414 w 6400800"/>
                <a:gd name="connsiteY2302" fmla="*/ 239554 h 514350"/>
                <a:gd name="connsiteX2303" fmla="*/ 1784509 w 6400800"/>
                <a:gd name="connsiteY2303" fmla="*/ 250984 h 514350"/>
                <a:gd name="connsiteX2304" fmla="*/ 1783556 w 6400800"/>
                <a:gd name="connsiteY2304" fmla="*/ 252889 h 514350"/>
                <a:gd name="connsiteX2305" fmla="*/ 1776889 w 6400800"/>
                <a:gd name="connsiteY2305" fmla="*/ 226219 h 514350"/>
                <a:gd name="connsiteX2306" fmla="*/ 1777841 w 6400800"/>
                <a:gd name="connsiteY2306" fmla="*/ 253841 h 514350"/>
                <a:gd name="connsiteX2307" fmla="*/ 1768316 w 6400800"/>
                <a:gd name="connsiteY2307" fmla="*/ 230029 h 514350"/>
                <a:gd name="connsiteX2308" fmla="*/ 1759744 w 6400800"/>
                <a:gd name="connsiteY2308" fmla="*/ 209074 h 514350"/>
                <a:gd name="connsiteX2309" fmla="*/ 1759744 w 6400800"/>
                <a:gd name="connsiteY2309" fmla="*/ 208121 h 514350"/>
                <a:gd name="connsiteX2310" fmla="*/ 1761649 w 6400800"/>
                <a:gd name="connsiteY2310" fmla="*/ 198596 h 514350"/>
                <a:gd name="connsiteX2311" fmla="*/ 1759744 w 6400800"/>
                <a:gd name="connsiteY2311" fmla="*/ 203359 h 514350"/>
                <a:gd name="connsiteX2312" fmla="*/ 1759744 w 6400800"/>
                <a:gd name="connsiteY2312" fmla="*/ 195739 h 514350"/>
                <a:gd name="connsiteX2313" fmla="*/ 1761649 w 6400800"/>
                <a:gd name="connsiteY2313" fmla="*/ 171926 h 514350"/>
                <a:gd name="connsiteX2314" fmla="*/ 1762601 w 6400800"/>
                <a:gd name="connsiteY2314" fmla="*/ 151924 h 514350"/>
                <a:gd name="connsiteX2315" fmla="*/ 1756886 w 6400800"/>
                <a:gd name="connsiteY2315" fmla="*/ 171926 h 514350"/>
                <a:gd name="connsiteX2316" fmla="*/ 1749266 w 6400800"/>
                <a:gd name="connsiteY2316" fmla="*/ 205264 h 514350"/>
                <a:gd name="connsiteX2317" fmla="*/ 1745456 w 6400800"/>
                <a:gd name="connsiteY2317" fmla="*/ 197644 h 514350"/>
                <a:gd name="connsiteX2318" fmla="*/ 1749266 w 6400800"/>
                <a:gd name="connsiteY2318" fmla="*/ 208121 h 514350"/>
                <a:gd name="connsiteX2319" fmla="*/ 1746409 w 6400800"/>
                <a:gd name="connsiteY2319" fmla="*/ 225266 h 514350"/>
                <a:gd name="connsiteX2320" fmla="*/ 1746409 w 6400800"/>
                <a:gd name="connsiteY2320" fmla="*/ 228124 h 514350"/>
                <a:gd name="connsiteX2321" fmla="*/ 1737836 w 6400800"/>
                <a:gd name="connsiteY2321" fmla="*/ 171926 h 514350"/>
                <a:gd name="connsiteX2322" fmla="*/ 1738789 w 6400800"/>
                <a:gd name="connsiteY2322" fmla="*/ 252889 h 514350"/>
                <a:gd name="connsiteX2323" fmla="*/ 1736884 w 6400800"/>
                <a:gd name="connsiteY2323" fmla="*/ 256699 h 514350"/>
                <a:gd name="connsiteX2324" fmla="*/ 1735931 w 6400800"/>
                <a:gd name="connsiteY2324" fmla="*/ 252889 h 514350"/>
                <a:gd name="connsiteX2325" fmla="*/ 1735931 w 6400800"/>
                <a:gd name="connsiteY2325" fmla="*/ 257651 h 514350"/>
                <a:gd name="connsiteX2326" fmla="*/ 1733074 w 6400800"/>
                <a:gd name="connsiteY2326" fmla="*/ 264319 h 514350"/>
                <a:gd name="connsiteX2327" fmla="*/ 1727359 w 6400800"/>
                <a:gd name="connsiteY2327" fmla="*/ 283369 h 514350"/>
                <a:gd name="connsiteX2328" fmla="*/ 1722596 w 6400800"/>
                <a:gd name="connsiteY2328" fmla="*/ 299561 h 514350"/>
                <a:gd name="connsiteX2329" fmla="*/ 1718786 w 6400800"/>
                <a:gd name="connsiteY2329" fmla="*/ 267176 h 514350"/>
                <a:gd name="connsiteX2330" fmla="*/ 1716881 w 6400800"/>
                <a:gd name="connsiteY2330" fmla="*/ 317659 h 514350"/>
                <a:gd name="connsiteX2331" fmla="*/ 1716881 w 6400800"/>
                <a:gd name="connsiteY2331" fmla="*/ 318611 h 514350"/>
                <a:gd name="connsiteX2332" fmla="*/ 1714976 w 6400800"/>
                <a:gd name="connsiteY2332" fmla="*/ 316706 h 514350"/>
                <a:gd name="connsiteX2333" fmla="*/ 1707356 w 6400800"/>
                <a:gd name="connsiteY2333" fmla="*/ 288131 h 514350"/>
                <a:gd name="connsiteX2334" fmla="*/ 1709261 w 6400800"/>
                <a:gd name="connsiteY2334" fmla="*/ 237649 h 514350"/>
                <a:gd name="connsiteX2335" fmla="*/ 1710214 w 6400800"/>
                <a:gd name="connsiteY2335" fmla="*/ 163354 h 514350"/>
                <a:gd name="connsiteX2336" fmla="*/ 1698784 w 6400800"/>
                <a:gd name="connsiteY2336" fmla="*/ 229076 h 514350"/>
                <a:gd name="connsiteX2337" fmla="*/ 1694021 w 6400800"/>
                <a:gd name="connsiteY2337" fmla="*/ 203359 h 514350"/>
                <a:gd name="connsiteX2338" fmla="*/ 1699736 w 6400800"/>
                <a:gd name="connsiteY2338" fmla="*/ 170021 h 514350"/>
                <a:gd name="connsiteX2339" fmla="*/ 1706404 w 6400800"/>
                <a:gd name="connsiteY2339" fmla="*/ 119539 h 514350"/>
                <a:gd name="connsiteX2340" fmla="*/ 1710214 w 6400800"/>
                <a:gd name="connsiteY2340" fmla="*/ 80486 h 514350"/>
                <a:gd name="connsiteX2341" fmla="*/ 1713071 w 6400800"/>
                <a:gd name="connsiteY2341" fmla="*/ 47149 h 514350"/>
                <a:gd name="connsiteX2342" fmla="*/ 1706404 w 6400800"/>
                <a:gd name="connsiteY2342" fmla="*/ 80486 h 514350"/>
                <a:gd name="connsiteX2343" fmla="*/ 1698784 w 6400800"/>
                <a:gd name="connsiteY2343" fmla="*/ 118586 h 514350"/>
                <a:gd name="connsiteX2344" fmla="*/ 1688306 w 6400800"/>
                <a:gd name="connsiteY2344" fmla="*/ 168116 h 514350"/>
                <a:gd name="connsiteX2345" fmla="*/ 1687354 w 6400800"/>
                <a:gd name="connsiteY2345" fmla="*/ 171926 h 514350"/>
                <a:gd name="connsiteX2346" fmla="*/ 1684496 w 6400800"/>
                <a:gd name="connsiteY2346" fmla="*/ 160496 h 514350"/>
                <a:gd name="connsiteX2347" fmla="*/ 1685449 w 6400800"/>
                <a:gd name="connsiteY2347" fmla="*/ 179546 h 514350"/>
                <a:gd name="connsiteX2348" fmla="*/ 1681639 w 6400800"/>
                <a:gd name="connsiteY2348" fmla="*/ 197644 h 514350"/>
                <a:gd name="connsiteX2349" fmla="*/ 1680686 w 6400800"/>
                <a:gd name="connsiteY2349" fmla="*/ 192881 h 514350"/>
                <a:gd name="connsiteX2350" fmla="*/ 1681639 w 6400800"/>
                <a:gd name="connsiteY2350" fmla="*/ 174784 h 514350"/>
                <a:gd name="connsiteX2351" fmla="*/ 1682591 w 6400800"/>
                <a:gd name="connsiteY2351" fmla="*/ 143351 h 514350"/>
                <a:gd name="connsiteX2352" fmla="*/ 1683544 w 6400800"/>
                <a:gd name="connsiteY2352" fmla="*/ 115729 h 514350"/>
                <a:gd name="connsiteX2353" fmla="*/ 1678781 w 6400800"/>
                <a:gd name="connsiteY2353" fmla="*/ 143351 h 514350"/>
                <a:gd name="connsiteX2354" fmla="*/ 1674019 w 6400800"/>
                <a:gd name="connsiteY2354" fmla="*/ 174784 h 514350"/>
                <a:gd name="connsiteX2355" fmla="*/ 1666399 w 6400800"/>
                <a:gd name="connsiteY2355" fmla="*/ 215741 h 514350"/>
                <a:gd name="connsiteX2356" fmla="*/ 1663541 w 6400800"/>
                <a:gd name="connsiteY2356" fmla="*/ 231934 h 514350"/>
                <a:gd name="connsiteX2357" fmla="*/ 1661636 w 6400800"/>
                <a:gd name="connsiteY2357" fmla="*/ 225266 h 514350"/>
                <a:gd name="connsiteX2358" fmla="*/ 1662589 w 6400800"/>
                <a:gd name="connsiteY2358" fmla="*/ 236696 h 514350"/>
                <a:gd name="connsiteX2359" fmla="*/ 1659731 w 6400800"/>
                <a:gd name="connsiteY2359" fmla="*/ 253841 h 514350"/>
                <a:gd name="connsiteX2360" fmla="*/ 1658779 w 6400800"/>
                <a:gd name="connsiteY2360" fmla="*/ 251936 h 514350"/>
                <a:gd name="connsiteX2361" fmla="*/ 1646396 w 6400800"/>
                <a:gd name="connsiteY2361" fmla="*/ 223361 h 514350"/>
                <a:gd name="connsiteX2362" fmla="*/ 1642586 w 6400800"/>
                <a:gd name="connsiteY2362" fmla="*/ 215741 h 514350"/>
                <a:gd name="connsiteX2363" fmla="*/ 1642586 w 6400800"/>
                <a:gd name="connsiteY2363" fmla="*/ 202406 h 514350"/>
                <a:gd name="connsiteX2364" fmla="*/ 1640681 w 6400800"/>
                <a:gd name="connsiteY2364" fmla="*/ 154781 h 514350"/>
                <a:gd name="connsiteX2365" fmla="*/ 1635919 w 6400800"/>
                <a:gd name="connsiteY2365" fmla="*/ 111919 h 514350"/>
                <a:gd name="connsiteX2366" fmla="*/ 1624489 w 6400800"/>
                <a:gd name="connsiteY2366" fmla="*/ 23336 h 514350"/>
                <a:gd name="connsiteX2367" fmla="*/ 1624489 w 6400800"/>
                <a:gd name="connsiteY2367" fmla="*/ 111919 h 514350"/>
                <a:gd name="connsiteX2368" fmla="*/ 1625441 w 6400800"/>
                <a:gd name="connsiteY2368" fmla="*/ 154781 h 514350"/>
                <a:gd name="connsiteX2369" fmla="*/ 1625441 w 6400800"/>
                <a:gd name="connsiteY2369" fmla="*/ 202406 h 514350"/>
                <a:gd name="connsiteX2370" fmla="*/ 1625441 w 6400800"/>
                <a:gd name="connsiteY2370" fmla="*/ 225266 h 514350"/>
                <a:gd name="connsiteX2371" fmla="*/ 1625441 w 6400800"/>
                <a:gd name="connsiteY2371" fmla="*/ 230981 h 514350"/>
                <a:gd name="connsiteX2372" fmla="*/ 1623536 w 6400800"/>
                <a:gd name="connsiteY2372" fmla="*/ 227171 h 514350"/>
                <a:gd name="connsiteX2373" fmla="*/ 1619726 w 6400800"/>
                <a:gd name="connsiteY2373" fmla="*/ 203359 h 514350"/>
                <a:gd name="connsiteX2374" fmla="*/ 1619726 w 6400800"/>
                <a:gd name="connsiteY2374" fmla="*/ 217646 h 514350"/>
                <a:gd name="connsiteX2375" fmla="*/ 1608296 w 6400800"/>
                <a:gd name="connsiteY2375" fmla="*/ 190976 h 514350"/>
                <a:gd name="connsiteX2376" fmla="*/ 1619726 w 6400800"/>
                <a:gd name="connsiteY2376" fmla="*/ 233839 h 514350"/>
                <a:gd name="connsiteX2377" fmla="*/ 1619726 w 6400800"/>
                <a:gd name="connsiteY2377" fmla="*/ 242411 h 514350"/>
                <a:gd name="connsiteX2378" fmla="*/ 1613059 w 6400800"/>
                <a:gd name="connsiteY2378" fmla="*/ 233839 h 514350"/>
                <a:gd name="connsiteX2379" fmla="*/ 1619726 w 6400800"/>
                <a:gd name="connsiteY2379" fmla="*/ 247174 h 514350"/>
                <a:gd name="connsiteX2380" fmla="*/ 1610201 w 6400800"/>
                <a:gd name="connsiteY2380" fmla="*/ 264319 h 514350"/>
                <a:gd name="connsiteX2381" fmla="*/ 1607344 w 6400800"/>
                <a:gd name="connsiteY2381" fmla="*/ 270034 h 514350"/>
                <a:gd name="connsiteX2382" fmla="*/ 1606391 w 6400800"/>
                <a:gd name="connsiteY2382" fmla="*/ 269081 h 514350"/>
                <a:gd name="connsiteX2383" fmla="*/ 1607344 w 6400800"/>
                <a:gd name="connsiteY2383" fmla="*/ 270034 h 514350"/>
                <a:gd name="connsiteX2384" fmla="*/ 1601629 w 6400800"/>
                <a:gd name="connsiteY2384" fmla="*/ 282416 h 514350"/>
                <a:gd name="connsiteX2385" fmla="*/ 1600676 w 6400800"/>
                <a:gd name="connsiteY2385" fmla="*/ 269081 h 514350"/>
                <a:gd name="connsiteX2386" fmla="*/ 1595914 w 6400800"/>
                <a:gd name="connsiteY2386" fmla="*/ 207169 h 514350"/>
                <a:gd name="connsiteX2387" fmla="*/ 1594009 w 6400800"/>
                <a:gd name="connsiteY2387" fmla="*/ 183356 h 514350"/>
                <a:gd name="connsiteX2388" fmla="*/ 1592104 w 6400800"/>
                <a:gd name="connsiteY2388" fmla="*/ 207169 h 514350"/>
                <a:gd name="connsiteX2389" fmla="*/ 1591151 w 6400800"/>
                <a:gd name="connsiteY2389" fmla="*/ 227171 h 514350"/>
                <a:gd name="connsiteX2390" fmla="*/ 1583531 w 6400800"/>
                <a:gd name="connsiteY2390" fmla="*/ 197644 h 514350"/>
                <a:gd name="connsiteX2391" fmla="*/ 1578769 w 6400800"/>
                <a:gd name="connsiteY2391" fmla="*/ 179546 h 514350"/>
                <a:gd name="connsiteX2392" fmla="*/ 1573054 w 6400800"/>
                <a:gd name="connsiteY2392" fmla="*/ 163354 h 514350"/>
                <a:gd name="connsiteX2393" fmla="*/ 1563529 w 6400800"/>
                <a:gd name="connsiteY2393" fmla="*/ 137636 h 514350"/>
                <a:gd name="connsiteX2394" fmla="*/ 1554004 w 6400800"/>
                <a:gd name="connsiteY2394" fmla="*/ 115729 h 514350"/>
                <a:gd name="connsiteX2395" fmla="*/ 1560671 w 6400800"/>
                <a:gd name="connsiteY2395" fmla="*/ 138589 h 514350"/>
                <a:gd name="connsiteX2396" fmla="*/ 1567339 w 6400800"/>
                <a:gd name="connsiteY2396" fmla="*/ 165259 h 514350"/>
                <a:gd name="connsiteX2397" fmla="*/ 1571149 w 6400800"/>
                <a:gd name="connsiteY2397" fmla="*/ 181451 h 514350"/>
                <a:gd name="connsiteX2398" fmla="*/ 1574006 w 6400800"/>
                <a:gd name="connsiteY2398" fmla="*/ 199549 h 514350"/>
                <a:gd name="connsiteX2399" fmla="*/ 1579721 w 6400800"/>
                <a:gd name="connsiteY2399" fmla="*/ 240506 h 514350"/>
                <a:gd name="connsiteX2400" fmla="*/ 1584484 w 6400800"/>
                <a:gd name="connsiteY2400" fmla="*/ 283369 h 514350"/>
                <a:gd name="connsiteX2401" fmla="*/ 1576864 w 6400800"/>
                <a:gd name="connsiteY2401" fmla="*/ 258604 h 514350"/>
                <a:gd name="connsiteX2402" fmla="*/ 1573054 w 6400800"/>
                <a:gd name="connsiteY2402" fmla="*/ 249079 h 514350"/>
                <a:gd name="connsiteX2403" fmla="*/ 1573054 w 6400800"/>
                <a:gd name="connsiteY2403" fmla="*/ 247174 h 514350"/>
                <a:gd name="connsiteX2404" fmla="*/ 1572101 w 6400800"/>
                <a:gd name="connsiteY2404" fmla="*/ 234791 h 514350"/>
                <a:gd name="connsiteX2405" fmla="*/ 1567339 w 6400800"/>
                <a:gd name="connsiteY2405" fmla="*/ 198596 h 514350"/>
                <a:gd name="connsiteX2406" fmla="*/ 1563529 w 6400800"/>
                <a:gd name="connsiteY2406" fmla="*/ 184309 h 514350"/>
                <a:gd name="connsiteX2407" fmla="*/ 1558766 w 6400800"/>
                <a:gd name="connsiteY2407" fmla="*/ 171926 h 514350"/>
                <a:gd name="connsiteX2408" fmla="*/ 1550194 w 6400800"/>
                <a:gd name="connsiteY2408" fmla="*/ 155734 h 514350"/>
                <a:gd name="connsiteX2409" fmla="*/ 1546384 w 6400800"/>
                <a:gd name="connsiteY2409" fmla="*/ 150019 h 514350"/>
                <a:gd name="connsiteX2410" fmla="*/ 1549241 w 6400800"/>
                <a:gd name="connsiteY2410" fmla="*/ 155734 h 514350"/>
                <a:gd name="connsiteX2411" fmla="*/ 1554956 w 6400800"/>
                <a:gd name="connsiteY2411" fmla="*/ 171926 h 514350"/>
                <a:gd name="connsiteX2412" fmla="*/ 1557814 w 6400800"/>
                <a:gd name="connsiteY2412" fmla="*/ 184309 h 514350"/>
                <a:gd name="connsiteX2413" fmla="*/ 1559719 w 6400800"/>
                <a:gd name="connsiteY2413" fmla="*/ 198596 h 514350"/>
                <a:gd name="connsiteX2414" fmla="*/ 1560671 w 6400800"/>
                <a:gd name="connsiteY2414" fmla="*/ 213836 h 514350"/>
                <a:gd name="connsiteX2415" fmla="*/ 1559719 w 6400800"/>
                <a:gd name="connsiteY2415" fmla="*/ 216694 h 514350"/>
                <a:gd name="connsiteX2416" fmla="*/ 1555909 w 6400800"/>
                <a:gd name="connsiteY2416" fmla="*/ 208121 h 514350"/>
                <a:gd name="connsiteX2417" fmla="*/ 1549241 w 6400800"/>
                <a:gd name="connsiteY2417" fmla="*/ 194786 h 514350"/>
                <a:gd name="connsiteX2418" fmla="*/ 1537811 w 6400800"/>
                <a:gd name="connsiteY2418" fmla="*/ 173831 h 514350"/>
                <a:gd name="connsiteX2419" fmla="*/ 1526381 w 6400800"/>
                <a:gd name="connsiteY2419" fmla="*/ 156686 h 514350"/>
                <a:gd name="connsiteX2420" fmla="*/ 1534001 w 6400800"/>
                <a:gd name="connsiteY2420" fmla="*/ 175736 h 514350"/>
                <a:gd name="connsiteX2421" fmla="*/ 1542574 w 6400800"/>
                <a:gd name="connsiteY2421" fmla="*/ 197644 h 514350"/>
                <a:gd name="connsiteX2422" fmla="*/ 1546384 w 6400800"/>
                <a:gd name="connsiteY2422" fmla="*/ 209074 h 514350"/>
                <a:gd name="connsiteX2423" fmla="*/ 1545431 w 6400800"/>
                <a:gd name="connsiteY2423" fmla="*/ 208121 h 514350"/>
                <a:gd name="connsiteX2424" fmla="*/ 1546384 w 6400800"/>
                <a:gd name="connsiteY2424" fmla="*/ 210979 h 514350"/>
                <a:gd name="connsiteX2425" fmla="*/ 1551146 w 6400800"/>
                <a:gd name="connsiteY2425" fmla="*/ 226219 h 514350"/>
                <a:gd name="connsiteX2426" fmla="*/ 1552099 w 6400800"/>
                <a:gd name="connsiteY2426" fmla="*/ 230981 h 514350"/>
                <a:gd name="connsiteX2427" fmla="*/ 1553051 w 6400800"/>
                <a:gd name="connsiteY2427" fmla="*/ 235744 h 514350"/>
                <a:gd name="connsiteX2428" fmla="*/ 1554004 w 6400800"/>
                <a:gd name="connsiteY2428" fmla="*/ 241459 h 514350"/>
                <a:gd name="connsiteX2429" fmla="*/ 1554004 w 6400800"/>
                <a:gd name="connsiteY2429" fmla="*/ 244316 h 514350"/>
                <a:gd name="connsiteX2430" fmla="*/ 1553051 w 6400800"/>
                <a:gd name="connsiteY2430" fmla="*/ 250031 h 514350"/>
                <a:gd name="connsiteX2431" fmla="*/ 1547336 w 6400800"/>
                <a:gd name="connsiteY2431" fmla="*/ 263366 h 514350"/>
                <a:gd name="connsiteX2432" fmla="*/ 1542574 w 6400800"/>
                <a:gd name="connsiteY2432" fmla="*/ 251936 h 514350"/>
                <a:gd name="connsiteX2433" fmla="*/ 1542574 w 6400800"/>
                <a:gd name="connsiteY2433" fmla="*/ 243364 h 514350"/>
                <a:gd name="connsiteX2434" fmla="*/ 1542574 w 6400800"/>
                <a:gd name="connsiteY2434" fmla="*/ 222409 h 514350"/>
                <a:gd name="connsiteX2435" fmla="*/ 1538764 w 6400800"/>
                <a:gd name="connsiteY2435" fmla="*/ 243364 h 514350"/>
                <a:gd name="connsiteX2436" fmla="*/ 1538764 w 6400800"/>
                <a:gd name="connsiteY2436" fmla="*/ 243364 h 514350"/>
                <a:gd name="connsiteX2437" fmla="*/ 1531144 w 6400800"/>
                <a:gd name="connsiteY2437" fmla="*/ 226219 h 514350"/>
                <a:gd name="connsiteX2438" fmla="*/ 1537811 w 6400800"/>
                <a:gd name="connsiteY2438" fmla="*/ 250031 h 514350"/>
                <a:gd name="connsiteX2439" fmla="*/ 1536859 w 6400800"/>
                <a:gd name="connsiteY2439" fmla="*/ 258604 h 514350"/>
                <a:gd name="connsiteX2440" fmla="*/ 1531144 w 6400800"/>
                <a:gd name="connsiteY2440" fmla="*/ 239554 h 514350"/>
                <a:gd name="connsiteX2441" fmla="*/ 1525429 w 6400800"/>
                <a:gd name="connsiteY2441" fmla="*/ 220504 h 514350"/>
                <a:gd name="connsiteX2442" fmla="*/ 1521619 w 6400800"/>
                <a:gd name="connsiteY2442" fmla="*/ 211931 h 514350"/>
                <a:gd name="connsiteX2443" fmla="*/ 1515904 w 6400800"/>
                <a:gd name="connsiteY2443" fmla="*/ 150019 h 514350"/>
                <a:gd name="connsiteX2444" fmla="*/ 1513046 w 6400800"/>
                <a:gd name="connsiteY2444" fmla="*/ 192881 h 514350"/>
                <a:gd name="connsiteX2445" fmla="*/ 1506379 w 6400800"/>
                <a:gd name="connsiteY2445" fmla="*/ 177641 h 514350"/>
                <a:gd name="connsiteX2446" fmla="*/ 1495901 w 6400800"/>
                <a:gd name="connsiteY2446" fmla="*/ 154781 h 514350"/>
                <a:gd name="connsiteX2447" fmla="*/ 1502569 w 6400800"/>
                <a:gd name="connsiteY2447" fmla="*/ 178594 h 514350"/>
                <a:gd name="connsiteX2448" fmla="*/ 1505426 w 6400800"/>
                <a:gd name="connsiteY2448" fmla="*/ 190024 h 514350"/>
                <a:gd name="connsiteX2449" fmla="*/ 1504474 w 6400800"/>
                <a:gd name="connsiteY2449" fmla="*/ 189071 h 514350"/>
                <a:gd name="connsiteX2450" fmla="*/ 1510189 w 6400800"/>
                <a:gd name="connsiteY2450" fmla="*/ 210026 h 514350"/>
                <a:gd name="connsiteX2451" fmla="*/ 1511141 w 6400800"/>
                <a:gd name="connsiteY2451" fmla="*/ 213836 h 514350"/>
                <a:gd name="connsiteX2452" fmla="*/ 1510189 w 6400800"/>
                <a:gd name="connsiteY2452" fmla="*/ 233839 h 514350"/>
                <a:gd name="connsiteX2453" fmla="*/ 1509236 w 6400800"/>
                <a:gd name="connsiteY2453" fmla="*/ 258604 h 514350"/>
                <a:gd name="connsiteX2454" fmla="*/ 1498759 w 6400800"/>
                <a:gd name="connsiteY2454" fmla="*/ 230981 h 514350"/>
                <a:gd name="connsiteX2455" fmla="*/ 1508284 w 6400800"/>
                <a:gd name="connsiteY2455" fmla="*/ 275749 h 514350"/>
                <a:gd name="connsiteX2456" fmla="*/ 1507331 w 6400800"/>
                <a:gd name="connsiteY2456" fmla="*/ 288131 h 514350"/>
                <a:gd name="connsiteX2457" fmla="*/ 1504474 w 6400800"/>
                <a:gd name="connsiteY2457" fmla="*/ 292894 h 514350"/>
                <a:gd name="connsiteX2458" fmla="*/ 1500664 w 6400800"/>
                <a:gd name="connsiteY2458" fmla="*/ 298609 h 514350"/>
                <a:gd name="connsiteX2459" fmla="*/ 1493044 w 6400800"/>
                <a:gd name="connsiteY2459" fmla="*/ 266224 h 514350"/>
                <a:gd name="connsiteX2460" fmla="*/ 1497806 w 6400800"/>
                <a:gd name="connsiteY2460" fmla="*/ 246221 h 514350"/>
                <a:gd name="connsiteX2461" fmla="*/ 1491139 w 6400800"/>
                <a:gd name="connsiteY2461" fmla="*/ 260509 h 514350"/>
                <a:gd name="connsiteX2462" fmla="*/ 1491139 w 6400800"/>
                <a:gd name="connsiteY2462" fmla="*/ 259556 h 514350"/>
                <a:gd name="connsiteX2463" fmla="*/ 1490186 w 6400800"/>
                <a:gd name="connsiteY2463" fmla="*/ 244316 h 514350"/>
                <a:gd name="connsiteX2464" fmla="*/ 1489234 w 6400800"/>
                <a:gd name="connsiteY2464" fmla="*/ 238601 h 514350"/>
                <a:gd name="connsiteX2465" fmla="*/ 1489234 w 6400800"/>
                <a:gd name="connsiteY2465" fmla="*/ 237649 h 514350"/>
                <a:gd name="connsiteX2466" fmla="*/ 1489234 w 6400800"/>
                <a:gd name="connsiteY2466" fmla="*/ 238601 h 514350"/>
                <a:gd name="connsiteX2467" fmla="*/ 1486376 w 6400800"/>
                <a:gd name="connsiteY2467" fmla="*/ 219551 h 514350"/>
                <a:gd name="connsiteX2468" fmla="*/ 1482566 w 6400800"/>
                <a:gd name="connsiteY2468" fmla="*/ 198596 h 514350"/>
                <a:gd name="connsiteX2469" fmla="*/ 1482566 w 6400800"/>
                <a:gd name="connsiteY2469" fmla="*/ 220504 h 514350"/>
                <a:gd name="connsiteX2470" fmla="*/ 1482566 w 6400800"/>
                <a:gd name="connsiteY2470" fmla="*/ 228124 h 514350"/>
                <a:gd name="connsiteX2471" fmla="*/ 1473041 w 6400800"/>
                <a:gd name="connsiteY2471" fmla="*/ 193834 h 514350"/>
                <a:gd name="connsiteX2472" fmla="*/ 1479709 w 6400800"/>
                <a:gd name="connsiteY2472" fmla="*/ 259556 h 514350"/>
                <a:gd name="connsiteX2473" fmla="*/ 1478756 w 6400800"/>
                <a:gd name="connsiteY2473" fmla="*/ 262414 h 514350"/>
                <a:gd name="connsiteX2474" fmla="*/ 1476851 w 6400800"/>
                <a:gd name="connsiteY2474" fmla="*/ 266224 h 514350"/>
                <a:gd name="connsiteX2475" fmla="*/ 1475899 w 6400800"/>
                <a:gd name="connsiteY2475" fmla="*/ 257651 h 514350"/>
                <a:gd name="connsiteX2476" fmla="*/ 1471136 w 6400800"/>
                <a:gd name="connsiteY2476" fmla="*/ 221456 h 514350"/>
                <a:gd name="connsiteX2477" fmla="*/ 1466374 w 6400800"/>
                <a:gd name="connsiteY2477" fmla="*/ 193834 h 514350"/>
                <a:gd name="connsiteX2478" fmla="*/ 1460659 w 6400800"/>
                <a:gd name="connsiteY2478" fmla="*/ 170021 h 514350"/>
                <a:gd name="connsiteX2479" fmla="*/ 1462564 w 6400800"/>
                <a:gd name="connsiteY2479" fmla="*/ 193834 h 514350"/>
                <a:gd name="connsiteX2480" fmla="*/ 1464469 w 6400800"/>
                <a:gd name="connsiteY2480" fmla="*/ 221456 h 514350"/>
                <a:gd name="connsiteX2481" fmla="*/ 1465421 w 6400800"/>
                <a:gd name="connsiteY2481" fmla="*/ 257651 h 514350"/>
                <a:gd name="connsiteX2482" fmla="*/ 1465421 w 6400800"/>
                <a:gd name="connsiteY2482" fmla="*/ 275749 h 514350"/>
                <a:gd name="connsiteX2483" fmla="*/ 1455896 w 6400800"/>
                <a:gd name="connsiteY2483" fmla="*/ 246221 h 514350"/>
                <a:gd name="connsiteX2484" fmla="*/ 1447324 w 6400800"/>
                <a:gd name="connsiteY2484" fmla="*/ 218599 h 514350"/>
                <a:gd name="connsiteX2485" fmla="*/ 1439704 w 6400800"/>
                <a:gd name="connsiteY2485" fmla="*/ 194786 h 514350"/>
                <a:gd name="connsiteX2486" fmla="*/ 1442561 w 6400800"/>
                <a:gd name="connsiteY2486" fmla="*/ 215741 h 514350"/>
                <a:gd name="connsiteX2487" fmla="*/ 1435894 w 6400800"/>
                <a:gd name="connsiteY2487" fmla="*/ 185261 h 514350"/>
                <a:gd name="connsiteX2488" fmla="*/ 1435894 w 6400800"/>
                <a:gd name="connsiteY2488" fmla="*/ 159544 h 514350"/>
                <a:gd name="connsiteX2489" fmla="*/ 1433036 w 6400800"/>
                <a:gd name="connsiteY2489" fmla="*/ 173831 h 514350"/>
                <a:gd name="connsiteX2490" fmla="*/ 1430179 w 6400800"/>
                <a:gd name="connsiteY2490" fmla="*/ 160496 h 514350"/>
                <a:gd name="connsiteX2491" fmla="*/ 1430179 w 6400800"/>
                <a:gd name="connsiteY2491" fmla="*/ 166211 h 514350"/>
                <a:gd name="connsiteX2492" fmla="*/ 1425416 w 6400800"/>
                <a:gd name="connsiteY2492" fmla="*/ 147161 h 514350"/>
                <a:gd name="connsiteX2493" fmla="*/ 1418749 w 6400800"/>
                <a:gd name="connsiteY2493" fmla="*/ 127159 h 514350"/>
                <a:gd name="connsiteX2494" fmla="*/ 1421606 w 6400800"/>
                <a:gd name="connsiteY2494" fmla="*/ 148114 h 514350"/>
                <a:gd name="connsiteX2495" fmla="*/ 1423511 w 6400800"/>
                <a:gd name="connsiteY2495" fmla="*/ 171926 h 514350"/>
                <a:gd name="connsiteX2496" fmla="*/ 1425416 w 6400800"/>
                <a:gd name="connsiteY2496" fmla="*/ 202406 h 514350"/>
                <a:gd name="connsiteX2497" fmla="*/ 1426369 w 6400800"/>
                <a:gd name="connsiteY2497" fmla="*/ 218599 h 514350"/>
                <a:gd name="connsiteX2498" fmla="*/ 1424464 w 6400800"/>
                <a:gd name="connsiteY2498" fmla="*/ 235744 h 514350"/>
                <a:gd name="connsiteX2499" fmla="*/ 1421606 w 6400800"/>
                <a:gd name="connsiteY2499" fmla="*/ 226219 h 514350"/>
                <a:gd name="connsiteX2500" fmla="*/ 1415891 w 6400800"/>
                <a:gd name="connsiteY2500" fmla="*/ 210026 h 514350"/>
                <a:gd name="connsiteX2501" fmla="*/ 1410176 w 6400800"/>
                <a:gd name="connsiteY2501" fmla="*/ 195739 h 514350"/>
                <a:gd name="connsiteX2502" fmla="*/ 1412081 w 6400800"/>
                <a:gd name="connsiteY2502" fmla="*/ 210979 h 514350"/>
                <a:gd name="connsiteX2503" fmla="*/ 1414939 w 6400800"/>
                <a:gd name="connsiteY2503" fmla="*/ 228124 h 514350"/>
                <a:gd name="connsiteX2504" fmla="*/ 1416844 w 6400800"/>
                <a:gd name="connsiteY2504" fmla="*/ 250031 h 514350"/>
                <a:gd name="connsiteX2505" fmla="*/ 1418749 w 6400800"/>
                <a:gd name="connsiteY2505" fmla="*/ 268129 h 514350"/>
                <a:gd name="connsiteX2506" fmla="*/ 1413034 w 6400800"/>
                <a:gd name="connsiteY2506" fmla="*/ 277654 h 514350"/>
                <a:gd name="connsiteX2507" fmla="*/ 1411129 w 6400800"/>
                <a:gd name="connsiteY2507" fmla="*/ 271939 h 514350"/>
                <a:gd name="connsiteX2508" fmla="*/ 1401604 w 6400800"/>
                <a:gd name="connsiteY2508" fmla="*/ 215741 h 514350"/>
                <a:gd name="connsiteX2509" fmla="*/ 1400651 w 6400800"/>
                <a:gd name="connsiteY2509" fmla="*/ 243364 h 514350"/>
                <a:gd name="connsiteX2510" fmla="*/ 1392079 w 6400800"/>
                <a:gd name="connsiteY2510" fmla="*/ 219551 h 514350"/>
                <a:gd name="connsiteX2511" fmla="*/ 1393031 w 6400800"/>
                <a:gd name="connsiteY2511" fmla="*/ 213836 h 514350"/>
                <a:gd name="connsiteX2512" fmla="*/ 1395889 w 6400800"/>
                <a:gd name="connsiteY2512" fmla="*/ 210979 h 514350"/>
                <a:gd name="connsiteX2513" fmla="*/ 1400651 w 6400800"/>
                <a:gd name="connsiteY2513" fmla="*/ 205264 h 514350"/>
                <a:gd name="connsiteX2514" fmla="*/ 1394936 w 6400800"/>
                <a:gd name="connsiteY2514" fmla="*/ 210026 h 514350"/>
                <a:gd name="connsiteX2515" fmla="*/ 1393031 w 6400800"/>
                <a:gd name="connsiteY2515" fmla="*/ 210979 h 514350"/>
                <a:gd name="connsiteX2516" fmla="*/ 1394936 w 6400800"/>
                <a:gd name="connsiteY2516" fmla="*/ 202406 h 514350"/>
                <a:gd name="connsiteX2517" fmla="*/ 1391126 w 6400800"/>
                <a:gd name="connsiteY2517" fmla="*/ 212884 h 514350"/>
                <a:gd name="connsiteX2518" fmla="*/ 1390174 w 6400800"/>
                <a:gd name="connsiteY2518" fmla="*/ 213836 h 514350"/>
                <a:gd name="connsiteX2519" fmla="*/ 1384459 w 6400800"/>
                <a:gd name="connsiteY2519" fmla="*/ 199549 h 514350"/>
                <a:gd name="connsiteX2520" fmla="*/ 1387316 w 6400800"/>
                <a:gd name="connsiteY2520" fmla="*/ 215741 h 514350"/>
                <a:gd name="connsiteX2521" fmla="*/ 1378744 w 6400800"/>
                <a:gd name="connsiteY2521" fmla="*/ 224314 h 514350"/>
                <a:gd name="connsiteX2522" fmla="*/ 1367314 w 6400800"/>
                <a:gd name="connsiteY2522" fmla="*/ 240506 h 514350"/>
                <a:gd name="connsiteX2523" fmla="*/ 1354931 w 6400800"/>
                <a:gd name="connsiteY2523" fmla="*/ 209074 h 514350"/>
                <a:gd name="connsiteX2524" fmla="*/ 1354931 w 6400800"/>
                <a:gd name="connsiteY2524" fmla="*/ 185261 h 514350"/>
                <a:gd name="connsiteX2525" fmla="*/ 1354931 w 6400800"/>
                <a:gd name="connsiteY2525" fmla="*/ 157639 h 514350"/>
                <a:gd name="connsiteX2526" fmla="*/ 1351121 w 6400800"/>
                <a:gd name="connsiteY2526" fmla="*/ 185261 h 514350"/>
                <a:gd name="connsiteX2527" fmla="*/ 1349216 w 6400800"/>
                <a:gd name="connsiteY2527" fmla="*/ 197644 h 514350"/>
                <a:gd name="connsiteX2528" fmla="*/ 1343501 w 6400800"/>
                <a:gd name="connsiteY2528" fmla="*/ 186214 h 514350"/>
                <a:gd name="connsiteX2529" fmla="*/ 1344454 w 6400800"/>
                <a:gd name="connsiteY2529" fmla="*/ 171926 h 514350"/>
                <a:gd name="connsiteX2530" fmla="*/ 1344454 w 6400800"/>
                <a:gd name="connsiteY2530" fmla="*/ 157639 h 514350"/>
                <a:gd name="connsiteX2531" fmla="*/ 1345406 w 6400800"/>
                <a:gd name="connsiteY2531" fmla="*/ 142399 h 514350"/>
                <a:gd name="connsiteX2532" fmla="*/ 1346359 w 6400800"/>
                <a:gd name="connsiteY2532" fmla="*/ 120491 h 514350"/>
                <a:gd name="connsiteX2533" fmla="*/ 1341596 w 6400800"/>
                <a:gd name="connsiteY2533" fmla="*/ 141446 h 514350"/>
                <a:gd name="connsiteX2534" fmla="*/ 1336834 w 6400800"/>
                <a:gd name="connsiteY2534" fmla="*/ 166211 h 514350"/>
                <a:gd name="connsiteX2535" fmla="*/ 1335881 w 6400800"/>
                <a:gd name="connsiteY2535" fmla="*/ 169069 h 514350"/>
                <a:gd name="connsiteX2536" fmla="*/ 1327309 w 6400800"/>
                <a:gd name="connsiteY2536" fmla="*/ 150971 h 514350"/>
                <a:gd name="connsiteX2537" fmla="*/ 1280636 w 6400800"/>
                <a:gd name="connsiteY2537" fmla="*/ 53816 h 514350"/>
                <a:gd name="connsiteX2538" fmla="*/ 1317784 w 6400800"/>
                <a:gd name="connsiteY2538" fmla="*/ 155734 h 514350"/>
                <a:gd name="connsiteX2539" fmla="*/ 1332071 w 6400800"/>
                <a:gd name="connsiteY2539" fmla="*/ 193834 h 514350"/>
                <a:gd name="connsiteX2540" fmla="*/ 1331119 w 6400800"/>
                <a:gd name="connsiteY2540" fmla="*/ 197644 h 514350"/>
                <a:gd name="connsiteX2541" fmla="*/ 1326356 w 6400800"/>
                <a:gd name="connsiteY2541" fmla="*/ 235744 h 514350"/>
                <a:gd name="connsiteX2542" fmla="*/ 1321594 w 6400800"/>
                <a:gd name="connsiteY2542" fmla="*/ 277654 h 514350"/>
                <a:gd name="connsiteX2543" fmla="*/ 1319689 w 6400800"/>
                <a:gd name="connsiteY2543" fmla="*/ 293846 h 514350"/>
                <a:gd name="connsiteX2544" fmla="*/ 1317784 w 6400800"/>
                <a:gd name="connsiteY2544" fmla="*/ 290989 h 514350"/>
                <a:gd name="connsiteX2545" fmla="*/ 1317784 w 6400800"/>
                <a:gd name="connsiteY2545" fmla="*/ 289084 h 514350"/>
                <a:gd name="connsiteX2546" fmla="*/ 1316831 w 6400800"/>
                <a:gd name="connsiteY2546" fmla="*/ 290989 h 514350"/>
                <a:gd name="connsiteX2547" fmla="*/ 1315879 w 6400800"/>
                <a:gd name="connsiteY2547" fmla="*/ 288131 h 514350"/>
                <a:gd name="connsiteX2548" fmla="*/ 1313974 w 6400800"/>
                <a:gd name="connsiteY2548" fmla="*/ 285274 h 514350"/>
                <a:gd name="connsiteX2549" fmla="*/ 1316831 w 6400800"/>
                <a:gd name="connsiteY2549" fmla="*/ 244316 h 514350"/>
                <a:gd name="connsiteX2550" fmla="*/ 1309211 w 6400800"/>
                <a:gd name="connsiteY2550" fmla="*/ 277654 h 514350"/>
                <a:gd name="connsiteX2551" fmla="*/ 1298734 w 6400800"/>
                <a:gd name="connsiteY2551" fmla="*/ 260509 h 514350"/>
                <a:gd name="connsiteX2552" fmla="*/ 1313974 w 6400800"/>
                <a:gd name="connsiteY2552" fmla="*/ 199549 h 514350"/>
                <a:gd name="connsiteX2553" fmla="*/ 1319689 w 6400800"/>
                <a:gd name="connsiteY2553" fmla="*/ 172879 h 514350"/>
                <a:gd name="connsiteX2554" fmla="*/ 1291114 w 6400800"/>
                <a:gd name="connsiteY2554" fmla="*/ 249079 h 514350"/>
                <a:gd name="connsiteX2555" fmla="*/ 1281589 w 6400800"/>
                <a:gd name="connsiteY2555" fmla="*/ 234791 h 514350"/>
                <a:gd name="connsiteX2556" fmla="*/ 1267301 w 6400800"/>
                <a:gd name="connsiteY2556" fmla="*/ 215741 h 514350"/>
                <a:gd name="connsiteX2557" fmla="*/ 1275874 w 6400800"/>
                <a:gd name="connsiteY2557" fmla="*/ 232886 h 514350"/>
                <a:gd name="connsiteX2558" fmla="*/ 1272064 w 6400800"/>
                <a:gd name="connsiteY2558" fmla="*/ 243364 h 514350"/>
                <a:gd name="connsiteX2559" fmla="*/ 1261586 w 6400800"/>
                <a:gd name="connsiteY2559" fmla="*/ 227171 h 514350"/>
                <a:gd name="connsiteX2560" fmla="*/ 1249204 w 6400800"/>
                <a:gd name="connsiteY2560" fmla="*/ 210979 h 514350"/>
                <a:gd name="connsiteX2561" fmla="*/ 1247299 w 6400800"/>
                <a:gd name="connsiteY2561" fmla="*/ 208121 h 514350"/>
                <a:gd name="connsiteX2562" fmla="*/ 1251109 w 6400800"/>
                <a:gd name="connsiteY2562" fmla="*/ 199549 h 514350"/>
                <a:gd name="connsiteX2563" fmla="*/ 1246346 w 6400800"/>
                <a:gd name="connsiteY2563" fmla="*/ 206216 h 514350"/>
                <a:gd name="connsiteX2564" fmla="*/ 1229201 w 6400800"/>
                <a:gd name="connsiteY2564" fmla="*/ 184309 h 514350"/>
                <a:gd name="connsiteX2565" fmla="*/ 1211104 w 6400800"/>
                <a:gd name="connsiteY2565" fmla="*/ 162401 h 514350"/>
                <a:gd name="connsiteX2566" fmla="*/ 1226344 w 6400800"/>
                <a:gd name="connsiteY2566" fmla="*/ 186214 h 514350"/>
                <a:gd name="connsiteX2567" fmla="*/ 1242536 w 6400800"/>
                <a:gd name="connsiteY2567" fmla="*/ 211931 h 514350"/>
                <a:gd name="connsiteX2568" fmla="*/ 1236821 w 6400800"/>
                <a:gd name="connsiteY2568" fmla="*/ 220504 h 514350"/>
                <a:gd name="connsiteX2569" fmla="*/ 1233011 w 6400800"/>
                <a:gd name="connsiteY2569" fmla="*/ 226219 h 514350"/>
                <a:gd name="connsiteX2570" fmla="*/ 1231106 w 6400800"/>
                <a:gd name="connsiteY2570" fmla="*/ 212884 h 514350"/>
                <a:gd name="connsiteX2571" fmla="*/ 1228249 w 6400800"/>
                <a:gd name="connsiteY2571" fmla="*/ 209074 h 514350"/>
                <a:gd name="connsiteX2572" fmla="*/ 1226344 w 6400800"/>
                <a:gd name="connsiteY2572" fmla="*/ 209074 h 514350"/>
                <a:gd name="connsiteX2573" fmla="*/ 1223486 w 6400800"/>
                <a:gd name="connsiteY2573" fmla="*/ 199549 h 514350"/>
                <a:gd name="connsiteX2574" fmla="*/ 1215866 w 6400800"/>
                <a:gd name="connsiteY2574" fmla="*/ 179546 h 514350"/>
                <a:gd name="connsiteX2575" fmla="*/ 1219676 w 6400800"/>
                <a:gd name="connsiteY2575" fmla="*/ 200501 h 514350"/>
                <a:gd name="connsiteX2576" fmla="*/ 1221581 w 6400800"/>
                <a:gd name="connsiteY2576" fmla="*/ 211931 h 514350"/>
                <a:gd name="connsiteX2577" fmla="*/ 1220629 w 6400800"/>
                <a:gd name="connsiteY2577" fmla="*/ 213836 h 514350"/>
                <a:gd name="connsiteX2578" fmla="*/ 1207294 w 6400800"/>
                <a:gd name="connsiteY2578" fmla="*/ 200501 h 514350"/>
                <a:gd name="connsiteX2579" fmla="*/ 1201579 w 6400800"/>
                <a:gd name="connsiteY2579" fmla="*/ 195739 h 514350"/>
                <a:gd name="connsiteX2580" fmla="*/ 1206341 w 6400800"/>
                <a:gd name="connsiteY2580" fmla="*/ 201454 h 514350"/>
                <a:gd name="connsiteX2581" fmla="*/ 1217771 w 6400800"/>
                <a:gd name="connsiteY2581" fmla="*/ 217646 h 514350"/>
                <a:gd name="connsiteX2582" fmla="*/ 1217771 w 6400800"/>
                <a:gd name="connsiteY2582" fmla="*/ 217646 h 514350"/>
                <a:gd name="connsiteX2583" fmla="*/ 1216819 w 6400800"/>
                <a:gd name="connsiteY2583" fmla="*/ 231934 h 514350"/>
                <a:gd name="connsiteX2584" fmla="*/ 1202531 w 6400800"/>
                <a:gd name="connsiteY2584" fmla="*/ 219551 h 514350"/>
                <a:gd name="connsiteX2585" fmla="*/ 1215866 w 6400800"/>
                <a:gd name="connsiteY2585" fmla="*/ 236696 h 514350"/>
                <a:gd name="connsiteX2586" fmla="*/ 1214914 w 6400800"/>
                <a:gd name="connsiteY2586" fmla="*/ 249079 h 514350"/>
                <a:gd name="connsiteX2587" fmla="*/ 1214914 w 6400800"/>
                <a:gd name="connsiteY2587" fmla="*/ 255746 h 514350"/>
                <a:gd name="connsiteX2588" fmla="*/ 1213961 w 6400800"/>
                <a:gd name="connsiteY2588" fmla="*/ 250984 h 514350"/>
                <a:gd name="connsiteX2589" fmla="*/ 1213961 w 6400800"/>
                <a:gd name="connsiteY2589" fmla="*/ 250031 h 514350"/>
                <a:gd name="connsiteX2590" fmla="*/ 1214914 w 6400800"/>
                <a:gd name="connsiteY2590" fmla="*/ 249079 h 514350"/>
                <a:gd name="connsiteX2591" fmla="*/ 1213961 w 6400800"/>
                <a:gd name="connsiteY2591" fmla="*/ 250031 h 514350"/>
                <a:gd name="connsiteX2592" fmla="*/ 1207294 w 6400800"/>
                <a:gd name="connsiteY2592" fmla="*/ 229076 h 514350"/>
                <a:gd name="connsiteX2593" fmla="*/ 1200626 w 6400800"/>
                <a:gd name="connsiteY2593" fmla="*/ 212884 h 514350"/>
                <a:gd name="connsiteX2594" fmla="*/ 1193959 w 6400800"/>
                <a:gd name="connsiteY2594" fmla="*/ 198596 h 514350"/>
                <a:gd name="connsiteX2595" fmla="*/ 1196816 w 6400800"/>
                <a:gd name="connsiteY2595" fmla="*/ 213836 h 514350"/>
                <a:gd name="connsiteX2596" fmla="*/ 1200626 w 6400800"/>
                <a:gd name="connsiteY2596" fmla="*/ 230981 h 514350"/>
                <a:gd name="connsiteX2597" fmla="*/ 1204436 w 6400800"/>
                <a:gd name="connsiteY2597" fmla="*/ 252889 h 514350"/>
                <a:gd name="connsiteX2598" fmla="*/ 1205389 w 6400800"/>
                <a:gd name="connsiteY2598" fmla="*/ 258604 h 514350"/>
                <a:gd name="connsiteX2599" fmla="*/ 1196816 w 6400800"/>
                <a:gd name="connsiteY2599" fmla="*/ 239554 h 514350"/>
                <a:gd name="connsiteX2600" fmla="*/ 1189196 w 6400800"/>
                <a:gd name="connsiteY2600" fmla="*/ 224314 h 514350"/>
                <a:gd name="connsiteX2601" fmla="*/ 1181576 w 6400800"/>
                <a:gd name="connsiteY2601" fmla="*/ 211931 h 514350"/>
                <a:gd name="connsiteX2602" fmla="*/ 1185386 w 6400800"/>
                <a:gd name="connsiteY2602" fmla="*/ 225266 h 514350"/>
                <a:gd name="connsiteX2603" fmla="*/ 1190149 w 6400800"/>
                <a:gd name="connsiteY2603" fmla="*/ 241459 h 514350"/>
                <a:gd name="connsiteX2604" fmla="*/ 1194911 w 6400800"/>
                <a:gd name="connsiteY2604" fmla="*/ 262414 h 514350"/>
                <a:gd name="connsiteX2605" fmla="*/ 1197769 w 6400800"/>
                <a:gd name="connsiteY2605" fmla="*/ 276701 h 514350"/>
                <a:gd name="connsiteX2606" fmla="*/ 1193959 w 6400800"/>
                <a:gd name="connsiteY2606" fmla="*/ 284321 h 514350"/>
                <a:gd name="connsiteX2607" fmla="*/ 1193959 w 6400800"/>
                <a:gd name="connsiteY2607" fmla="*/ 283369 h 514350"/>
                <a:gd name="connsiteX2608" fmla="*/ 1193006 w 6400800"/>
                <a:gd name="connsiteY2608" fmla="*/ 279559 h 514350"/>
                <a:gd name="connsiteX2609" fmla="*/ 1193959 w 6400800"/>
                <a:gd name="connsiteY2609" fmla="*/ 276701 h 514350"/>
                <a:gd name="connsiteX2610" fmla="*/ 1193006 w 6400800"/>
                <a:gd name="connsiteY2610" fmla="*/ 278606 h 514350"/>
                <a:gd name="connsiteX2611" fmla="*/ 1184434 w 6400800"/>
                <a:gd name="connsiteY2611" fmla="*/ 250984 h 514350"/>
                <a:gd name="connsiteX2612" fmla="*/ 1174909 w 6400800"/>
                <a:gd name="connsiteY2612" fmla="*/ 227171 h 514350"/>
                <a:gd name="connsiteX2613" fmla="*/ 1174909 w 6400800"/>
                <a:gd name="connsiteY2613" fmla="*/ 223361 h 514350"/>
                <a:gd name="connsiteX2614" fmla="*/ 1175861 w 6400800"/>
                <a:gd name="connsiteY2614" fmla="*/ 196691 h 514350"/>
                <a:gd name="connsiteX2615" fmla="*/ 1174909 w 6400800"/>
                <a:gd name="connsiteY2615" fmla="*/ 173831 h 514350"/>
                <a:gd name="connsiteX2616" fmla="*/ 1172051 w 6400800"/>
                <a:gd name="connsiteY2616" fmla="*/ 196691 h 514350"/>
                <a:gd name="connsiteX2617" fmla="*/ 1168241 w 6400800"/>
                <a:gd name="connsiteY2617" fmla="*/ 223361 h 514350"/>
                <a:gd name="connsiteX2618" fmla="*/ 1168241 w 6400800"/>
                <a:gd name="connsiteY2618" fmla="*/ 226219 h 514350"/>
                <a:gd name="connsiteX2619" fmla="*/ 1162526 w 6400800"/>
                <a:gd name="connsiteY2619" fmla="*/ 238601 h 514350"/>
                <a:gd name="connsiteX2620" fmla="*/ 1158716 w 6400800"/>
                <a:gd name="connsiteY2620" fmla="*/ 215741 h 514350"/>
                <a:gd name="connsiteX2621" fmla="*/ 1152049 w 6400800"/>
                <a:gd name="connsiteY2621" fmla="*/ 189071 h 514350"/>
                <a:gd name="connsiteX2622" fmla="*/ 1136809 w 6400800"/>
                <a:gd name="connsiteY2622" fmla="*/ 133826 h 514350"/>
                <a:gd name="connsiteX2623" fmla="*/ 1140619 w 6400800"/>
                <a:gd name="connsiteY2623" fmla="*/ 190024 h 514350"/>
                <a:gd name="connsiteX2624" fmla="*/ 1143476 w 6400800"/>
                <a:gd name="connsiteY2624" fmla="*/ 217646 h 514350"/>
                <a:gd name="connsiteX2625" fmla="*/ 1146334 w 6400800"/>
                <a:gd name="connsiteY2625" fmla="*/ 248126 h 514350"/>
                <a:gd name="connsiteX2626" fmla="*/ 1147286 w 6400800"/>
                <a:gd name="connsiteY2626" fmla="*/ 261461 h 514350"/>
                <a:gd name="connsiteX2627" fmla="*/ 1147286 w 6400800"/>
                <a:gd name="connsiteY2627" fmla="*/ 261461 h 514350"/>
                <a:gd name="connsiteX2628" fmla="*/ 1147286 w 6400800"/>
                <a:gd name="connsiteY2628" fmla="*/ 258604 h 514350"/>
                <a:gd name="connsiteX2629" fmla="*/ 1147286 w 6400800"/>
                <a:gd name="connsiteY2629" fmla="*/ 260509 h 514350"/>
                <a:gd name="connsiteX2630" fmla="*/ 1143476 w 6400800"/>
                <a:gd name="connsiteY2630" fmla="*/ 251936 h 514350"/>
                <a:gd name="connsiteX2631" fmla="*/ 1141571 w 6400800"/>
                <a:gd name="connsiteY2631" fmla="*/ 249079 h 514350"/>
                <a:gd name="connsiteX2632" fmla="*/ 1141571 w 6400800"/>
                <a:gd name="connsiteY2632" fmla="*/ 237649 h 514350"/>
                <a:gd name="connsiteX2633" fmla="*/ 1139666 w 6400800"/>
                <a:gd name="connsiteY2633" fmla="*/ 246221 h 514350"/>
                <a:gd name="connsiteX2634" fmla="*/ 1132046 w 6400800"/>
                <a:gd name="connsiteY2634" fmla="*/ 231934 h 514350"/>
                <a:gd name="connsiteX2635" fmla="*/ 1132046 w 6400800"/>
                <a:gd name="connsiteY2635" fmla="*/ 230981 h 514350"/>
                <a:gd name="connsiteX2636" fmla="*/ 1120616 w 6400800"/>
                <a:gd name="connsiteY2636" fmla="*/ 177641 h 514350"/>
                <a:gd name="connsiteX2637" fmla="*/ 1110139 w 6400800"/>
                <a:gd name="connsiteY2637" fmla="*/ 132874 h 514350"/>
                <a:gd name="connsiteX2638" fmla="*/ 1100614 w 6400800"/>
                <a:gd name="connsiteY2638" fmla="*/ 98584 h 514350"/>
                <a:gd name="connsiteX2639" fmla="*/ 1092041 w 6400800"/>
                <a:gd name="connsiteY2639" fmla="*/ 69056 h 514350"/>
                <a:gd name="connsiteX2640" fmla="*/ 1096804 w 6400800"/>
                <a:gd name="connsiteY2640" fmla="*/ 99536 h 514350"/>
                <a:gd name="connsiteX2641" fmla="*/ 1103471 w 6400800"/>
                <a:gd name="connsiteY2641" fmla="*/ 134779 h 514350"/>
                <a:gd name="connsiteX2642" fmla="*/ 1110139 w 6400800"/>
                <a:gd name="connsiteY2642" fmla="*/ 180499 h 514350"/>
                <a:gd name="connsiteX2643" fmla="*/ 1112996 w 6400800"/>
                <a:gd name="connsiteY2643" fmla="*/ 199549 h 514350"/>
                <a:gd name="connsiteX2644" fmla="*/ 1110139 w 6400800"/>
                <a:gd name="connsiteY2644" fmla="*/ 194786 h 514350"/>
                <a:gd name="connsiteX2645" fmla="*/ 1106329 w 6400800"/>
                <a:gd name="connsiteY2645" fmla="*/ 190024 h 514350"/>
                <a:gd name="connsiteX2646" fmla="*/ 1105376 w 6400800"/>
                <a:gd name="connsiteY2646" fmla="*/ 188119 h 514350"/>
                <a:gd name="connsiteX2647" fmla="*/ 1095851 w 6400800"/>
                <a:gd name="connsiteY2647" fmla="*/ 160496 h 514350"/>
                <a:gd name="connsiteX2648" fmla="*/ 1087279 w 6400800"/>
                <a:gd name="connsiteY2648" fmla="*/ 136684 h 514350"/>
                <a:gd name="connsiteX2649" fmla="*/ 1092041 w 6400800"/>
                <a:gd name="connsiteY2649" fmla="*/ 161449 h 514350"/>
                <a:gd name="connsiteX2650" fmla="*/ 1098709 w 6400800"/>
                <a:gd name="connsiteY2650" fmla="*/ 190024 h 514350"/>
                <a:gd name="connsiteX2651" fmla="*/ 1103471 w 6400800"/>
                <a:gd name="connsiteY2651" fmla="*/ 215741 h 514350"/>
                <a:gd name="connsiteX2652" fmla="*/ 1097756 w 6400800"/>
                <a:gd name="connsiteY2652" fmla="*/ 200501 h 514350"/>
                <a:gd name="connsiteX2653" fmla="*/ 1102519 w 6400800"/>
                <a:gd name="connsiteY2653" fmla="*/ 224314 h 514350"/>
                <a:gd name="connsiteX2654" fmla="*/ 1094899 w 6400800"/>
                <a:gd name="connsiteY2654" fmla="*/ 233839 h 514350"/>
                <a:gd name="connsiteX2655" fmla="*/ 1089184 w 6400800"/>
                <a:gd name="connsiteY2655" fmla="*/ 209074 h 514350"/>
                <a:gd name="connsiteX2656" fmla="*/ 1084421 w 6400800"/>
                <a:gd name="connsiteY2656" fmla="*/ 166211 h 514350"/>
                <a:gd name="connsiteX2657" fmla="*/ 1083469 w 6400800"/>
                <a:gd name="connsiteY2657" fmla="*/ 184309 h 514350"/>
                <a:gd name="connsiteX2658" fmla="*/ 1073944 w 6400800"/>
                <a:gd name="connsiteY2658" fmla="*/ 149066 h 514350"/>
                <a:gd name="connsiteX2659" fmla="*/ 1066324 w 6400800"/>
                <a:gd name="connsiteY2659" fmla="*/ 123349 h 514350"/>
                <a:gd name="connsiteX2660" fmla="*/ 1075849 w 6400800"/>
                <a:gd name="connsiteY2660" fmla="*/ 94774 h 514350"/>
                <a:gd name="connsiteX2661" fmla="*/ 1064419 w 6400800"/>
                <a:gd name="connsiteY2661" fmla="*/ 119539 h 514350"/>
                <a:gd name="connsiteX2662" fmla="*/ 1057751 w 6400800"/>
                <a:gd name="connsiteY2662" fmla="*/ 100489 h 514350"/>
                <a:gd name="connsiteX2663" fmla="*/ 1050131 w 6400800"/>
                <a:gd name="connsiteY2663" fmla="*/ 78581 h 514350"/>
                <a:gd name="connsiteX2664" fmla="*/ 1042511 w 6400800"/>
                <a:gd name="connsiteY2664" fmla="*/ 59531 h 514350"/>
                <a:gd name="connsiteX2665" fmla="*/ 1029176 w 6400800"/>
                <a:gd name="connsiteY2665" fmla="*/ 28099 h 514350"/>
                <a:gd name="connsiteX2666" fmla="*/ 1012984 w 6400800"/>
                <a:gd name="connsiteY2666" fmla="*/ 7144 h 514350"/>
                <a:gd name="connsiteX2667" fmla="*/ 1022509 w 6400800"/>
                <a:gd name="connsiteY2667" fmla="*/ 34766 h 514350"/>
                <a:gd name="connsiteX2668" fmla="*/ 1032986 w 6400800"/>
                <a:gd name="connsiteY2668" fmla="*/ 67151 h 514350"/>
                <a:gd name="connsiteX2669" fmla="*/ 1038701 w 6400800"/>
                <a:gd name="connsiteY2669" fmla="*/ 87154 h 514350"/>
                <a:gd name="connsiteX2670" fmla="*/ 1044416 w 6400800"/>
                <a:gd name="connsiteY2670" fmla="*/ 109061 h 514350"/>
                <a:gd name="connsiteX2671" fmla="*/ 1044416 w 6400800"/>
                <a:gd name="connsiteY2671" fmla="*/ 110014 h 514350"/>
                <a:gd name="connsiteX2672" fmla="*/ 1037749 w 6400800"/>
                <a:gd name="connsiteY2672" fmla="*/ 96679 h 514350"/>
                <a:gd name="connsiteX2673" fmla="*/ 1044416 w 6400800"/>
                <a:gd name="connsiteY2673" fmla="*/ 117634 h 514350"/>
                <a:gd name="connsiteX2674" fmla="*/ 1051084 w 6400800"/>
                <a:gd name="connsiteY2674" fmla="*/ 141446 h 514350"/>
                <a:gd name="connsiteX2675" fmla="*/ 1052036 w 6400800"/>
                <a:gd name="connsiteY2675" fmla="*/ 146209 h 514350"/>
                <a:gd name="connsiteX2676" fmla="*/ 1037749 w 6400800"/>
                <a:gd name="connsiteY2676" fmla="*/ 172879 h 514350"/>
                <a:gd name="connsiteX2677" fmla="*/ 1024414 w 6400800"/>
                <a:gd name="connsiteY2677" fmla="*/ 195739 h 514350"/>
                <a:gd name="connsiteX2678" fmla="*/ 1023461 w 6400800"/>
                <a:gd name="connsiteY2678" fmla="*/ 192881 h 514350"/>
                <a:gd name="connsiteX2679" fmla="*/ 1023461 w 6400800"/>
                <a:gd name="connsiteY2679" fmla="*/ 184309 h 514350"/>
                <a:gd name="connsiteX2680" fmla="*/ 1024414 w 6400800"/>
                <a:gd name="connsiteY2680" fmla="*/ 142399 h 514350"/>
                <a:gd name="connsiteX2681" fmla="*/ 1023461 w 6400800"/>
                <a:gd name="connsiteY2681" fmla="*/ 110014 h 514350"/>
                <a:gd name="connsiteX2682" fmla="*/ 1021556 w 6400800"/>
                <a:gd name="connsiteY2682" fmla="*/ 89059 h 514350"/>
                <a:gd name="connsiteX2683" fmla="*/ 1020604 w 6400800"/>
                <a:gd name="connsiteY2683" fmla="*/ 81439 h 514350"/>
                <a:gd name="connsiteX2684" fmla="*/ 1020604 w 6400800"/>
                <a:gd name="connsiteY2684" fmla="*/ 89059 h 514350"/>
                <a:gd name="connsiteX2685" fmla="*/ 1019651 w 6400800"/>
                <a:gd name="connsiteY2685" fmla="*/ 110014 h 514350"/>
                <a:gd name="connsiteX2686" fmla="*/ 1014889 w 6400800"/>
                <a:gd name="connsiteY2686" fmla="*/ 165259 h 514350"/>
                <a:gd name="connsiteX2687" fmla="*/ 1013936 w 6400800"/>
                <a:gd name="connsiteY2687" fmla="*/ 161449 h 514350"/>
                <a:gd name="connsiteX2688" fmla="*/ 1014889 w 6400800"/>
                <a:gd name="connsiteY2688" fmla="*/ 168116 h 514350"/>
                <a:gd name="connsiteX2689" fmla="*/ 1012984 w 6400800"/>
                <a:gd name="connsiteY2689" fmla="*/ 183356 h 514350"/>
                <a:gd name="connsiteX2690" fmla="*/ 1007269 w 6400800"/>
                <a:gd name="connsiteY2690" fmla="*/ 224314 h 514350"/>
                <a:gd name="connsiteX2691" fmla="*/ 972026 w 6400800"/>
                <a:gd name="connsiteY2691" fmla="*/ 283369 h 514350"/>
                <a:gd name="connsiteX2692" fmla="*/ 971074 w 6400800"/>
                <a:gd name="connsiteY2692" fmla="*/ 269081 h 514350"/>
                <a:gd name="connsiteX2693" fmla="*/ 977741 w 6400800"/>
                <a:gd name="connsiteY2693" fmla="*/ 251936 h 514350"/>
                <a:gd name="connsiteX2694" fmla="*/ 992981 w 6400800"/>
                <a:gd name="connsiteY2694" fmla="*/ 206216 h 514350"/>
                <a:gd name="connsiteX2695" fmla="*/ 1002506 w 6400800"/>
                <a:gd name="connsiteY2695" fmla="*/ 170974 h 514350"/>
                <a:gd name="connsiteX2696" fmla="*/ 1009174 w 6400800"/>
                <a:gd name="connsiteY2696" fmla="*/ 139541 h 514350"/>
                <a:gd name="connsiteX2697" fmla="*/ 998696 w 6400800"/>
                <a:gd name="connsiteY2697" fmla="*/ 170021 h 514350"/>
                <a:gd name="connsiteX2698" fmla="*/ 985361 w 6400800"/>
                <a:gd name="connsiteY2698" fmla="*/ 204311 h 514350"/>
                <a:gd name="connsiteX2699" fmla="*/ 966311 w 6400800"/>
                <a:gd name="connsiteY2699" fmla="*/ 248126 h 514350"/>
                <a:gd name="connsiteX2700" fmla="*/ 960596 w 6400800"/>
                <a:gd name="connsiteY2700" fmla="*/ 260509 h 514350"/>
                <a:gd name="connsiteX2701" fmla="*/ 961549 w 6400800"/>
                <a:gd name="connsiteY2701" fmla="*/ 225266 h 514350"/>
                <a:gd name="connsiteX2702" fmla="*/ 969169 w 6400800"/>
                <a:gd name="connsiteY2702" fmla="*/ 206216 h 514350"/>
                <a:gd name="connsiteX2703" fmla="*/ 961549 w 6400800"/>
                <a:gd name="connsiteY2703" fmla="*/ 218599 h 514350"/>
                <a:gd name="connsiteX2704" fmla="*/ 961549 w 6400800"/>
                <a:gd name="connsiteY2704" fmla="*/ 206216 h 514350"/>
                <a:gd name="connsiteX2705" fmla="*/ 958691 w 6400800"/>
                <a:gd name="connsiteY2705" fmla="*/ 149066 h 514350"/>
                <a:gd name="connsiteX2706" fmla="*/ 956786 w 6400800"/>
                <a:gd name="connsiteY2706" fmla="*/ 134779 h 514350"/>
                <a:gd name="connsiteX2707" fmla="*/ 957739 w 6400800"/>
                <a:gd name="connsiteY2707" fmla="*/ 131921 h 514350"/>
                <a:gd name="connsiteX2708" fmla="*/ 956786 w 6400800"/>
                <a:gd name="connsiteY2708" fmla="*/ 133826 h 514350"/>
                <a:gd name="connsiteX2709" fmla="*/ 956786 w 6400800"/>
                <a:gd name="connsiteY2709" fmla="*/ 132874 h 514350"/>
                <a:gd name="connsiteX2710" fmla="*/ 955834 w 6400800"/>
                <a:gd name="connsiteY2710" fmla="*/ 127159 h 514350"/>
                <a:gd name="connsiteX2711" fmla="*/ 955834 w 6400800"/>
                <a:gd name="connsiteY2711" fmla="*/ 136684 h 514350"/>
                <a:gd name="connsiteX2712" fmla="*/ 927259 w 6400800"/>
                <a:gd name="connsiteY2712" fmla="*/ 206216 h 514350"/>
                <a:gd name="connsiteX2713" fmla="*/ 927259 w 6400800"/>
                <a:gd name="connsiteY2713" fmla="*/ 205264 h 514350"/>
                <a:gd name="connsiteX2714" fmla="*/ 930116 w 6400800"/>
                <a:gd name="connsiteY2714" fmla="*/ 183356 h 514350"/>
                <a:gd name="connsiteX2715" fmla="*/ 932974 w 6400800"/>
                <a:gd name="connsiteY2715" fmla="*/ 164306 h 514350"/>
                <a:gd name="connsiteX2716" fmla="*/ 926306 w 6400800"/>
                <a:gd name="connsiteY2716" fmla="*/ 183356 h 514350"/>
                <a:gd name="connsiteX2717" fmla="*/ 920591 w 6400800"/>
                <a:gd name="connsiteY2717" fmla="*/ 203359 h 514350"/>
                <a:gd name="connsiteX2718" fmla="*/ 910114 w 6400800"/>
                <a:gd name="connsiteY2718" fmla="*/ 171926 h 514350"/>
                <a:gd name="connsiteX2719" fmla="*/ 907256 w 6400800"/>
                <a:gd name="connsiteY2719" fmla="*/ 164306 h 514350"/>
                <a:gd name="connsiteX2720" fmla="*/ 912019 w 6400800"/>
                <a:gd name="connsiteY2720" fmla="*/ 157639 h 514350"/>
                <a:gd name="connsiteX2721" fmla="*/ 933926 w 6400800"/>
                <a:gd name="connsiteY2721" fmla="*/ 124301 h 514350"/>
                <a:gd name="connsiteX2722" fmla="*/ 953929 w 6400800"/>
                <a:gd name="connsiteY2722" fmla="*/ 95726 h 514350"/>
                <a:gd name="connsiteX2723" fmla="*/ 931069 w 6400800"/>
                <a:gd name="connsiteY2723" fmla="*/ 121444 h 514350"/>
                <a:gd name="connsiteX2724" fmla="*/ 906304 w 6400800"/>
                <a:gd name="connsiteY2724" fmla="*/ 151924 h 514350"/>
                <a:gd name="connsiteX2725" fmla="*/ 904399 w 6400800"/>
                <a:gd name="connsiteY2725" fmla="*/ 154781 h 514350"/>
                <a:gd name="connsiteX2726" fmla="*/ 894874 w 6400800"/>
                <a:gd name="connsiteY2726" fmla="*/ 131921 h 514350"/>
                <a:gd name="connsiteX2727" fmla="*/ 892016 w 6400800"/>
                <a:gd name="connsiteY2727" fmla="*/ 126206 h 514350"/>
                <a:gd name="connsiteX2728" fmla="*/ 897731 w 6400800"/>
                <a:gd name="connsiteY2728" fmla="*/ 115729 h 514350"/>
                <a:gd name="connsiteX2729" fmla="*/ 918686 w 6400800"/>
                <a:gd name="connsiteY2729" fmla="*/ 77629 h 514350"/>
                <a:gd name="connsiteX2730" fmla="*/ 937736 w 6400800"/>
                <a:gd name="connsiteY2730" fmla="*/ 44291 h 514350"/>
                <a:gd name="connsiteX2731" fmla="*/ 914876 w 6400800"/>
                <a:gd name="connsiteY2731" fmla="*/ 74771 h 514350"/>
                <a:gd name="connsiteX2732" fmla="*/ 890111 w 6400800"/>
                <a:gd name="connsiteY2732" fmla="*/ 110966 h 514350"/>
                <a:gd name="connsiteX2733" fmla="*/ 886301 w 6400800"/>
                <a:gd name="connsiteY2733" fmla="*/ 116681 h 514350"/>
                <a:gd name="connsiteX2734" fmla="*/ 874871 w 6400800"/>
                <a:gd name="connsiteY2734" fmla="*/ 92869 h 514350"/>
                <a:gd name="connsiteX2735" fmla="*/ 873919 w 6400800"/>
                <a:gd name="connsiteY2735" fmla="*/ 90964 h 514350"/>
                <a:gd name="connsiteX2736" fmla="*/ 872966 w 6400800"/>
                <a:gd name="connsiteY2736" fmla="*/ 91916 h 514350"/>
                <a:gd name="connsiteX2737" fmla="*/ 868204 w 6400800"/>
                <a:gd name="connsiteY2737" fmla="*/ 95726 h 514350"/>
                <a:gd name="connsiteX2738" fmla="*/ 866299 w 6400800"/>
                <a:gd name="connsiteY2738" fmla="*/ 101441 h 514350"/>
                <a:gd name="connsiteX2739" fmla="*/ 868204 w 6400800"/>
                <a:gd name="connsiteY2739" fmla="*/ 113824 h 514350"/>
                <a:gd name="connsiteX2740" fmla="*/ 868204 w 6400800"/>
                <a:gd name="connsiteY2740" fmla="*/ 102394 h 514350"/>
                <a:gd name="connsiteX2741" fmla="*/ 870109 w 6400800"/>
                <a:gd name="connsiteY2741" fmla="*/ 97631 h 514350"/>
                <a:gd name="connsiteX2742" fmla="*/ 872966 w 6400800"/>
                <a:gd name="connsiteY2742" fmla="*/ 95726 h 514350"/>
                <a:gd name="connsiteX2743" fmla="*/ 882491 w 6400800"/>
                <a:gd name="connsiteY2743" fmla="*/ 122396 h 514350"/>
                <a:gd name="connsiteX2744" fmla="*/ 875824 w 6400800"/>
                <a:gd name="connsiteY2744" fmla="*/ 132874 h 514350"/>
                <a:gd name="connsiteX2745" fmla="*/ 860584 w 6400800"/>
                <a:gd name="connsiteY2745" fmla="*/ 159544 h 514350"/>
                <a:gd name="connsiteX2746" fmla="*/ 837724 w 6400800"/>
                <a:gd name="connsiteY2746" fmla="*/ 203359 h 514350"/>
                <a:gd name="connsiteX2747" fmla="*/ 832009 w 6400800"/>
                <a:gd name="connsiteY2747" fmla="*/ 194786 h 514350"/>
                <a:gd name="connsiteX2748" fmla="*/ 838676 w 6400800"/>
                <a:gd name="connsiteY2748" fmla="*/ 137636 h 514350"/>
                <a:gd name="connsiteX2749" fmla="*/ 840581 w 6400800"/>
                <a:gd name="connsiteY2749" fmla="*/ 115729 h 514350"/>
                <a:gd name="connsiteX2750" fmla="*/ 834866 w 6400800"/>
                <a:gd name="connsiteY2750" fmla="*/ 137636 h 514350"/>
                <a:gd name="connsiteX2751" fmla="*/ 820579 w 6400800"/>
                <a:gd name="connsiteY2751" fmla="*/ 194786 h 514350"/>
                <a:gd name="connsiteX2752" fmla="*/ 818674 w 6400800"/>
                <a:gd name="connsiteY2752" fmla="*/ 204311 h 514350"/>
                <a:gd name="connsiteX2753" fmla="*/ 815816 w 6400800"/>
                <a:gd name="connsiteY2753" fmla="*/ 197644 h 514350"/>
                <a:gd name="connsiteX2754" fmla="*/ 807244 w 6400800"/>
                <a:gd name="connsiteY2754" fmla="*/ 174784 h 514350"/>
                <a:gd name="connsiteX2755" fmla="*/ 812006 w 6400800"/>
                <a:gd name="connsiteY2755" fmla="*/ 198596 h 514350"/>
                <a:gd name="connsiteX2756" fmla="*/ 814864 w 6400800"/>
                <a:gd name="connsiteY2756" fmla="*/ 210979 h 514350"/>
                <a:gd name="connsiteX2757" fmla="*/ 815816 w 6400800"/>
                <a:gd name="connsiteY2757" fmla="*/ 216694 h 514350"/>
                <a:gd name="connsiteX2758" fmla="*/ 811054 w 6400800"/>
                <a:gd name="connsiteY2758" fmla="*/ 239554 h 514350"/>
                <a:gd name="connsiteX2759" fmla="*/ 808196 w 6400800"/>
                <a:gd name="connsiteY2759" fmla="*/ 219551 h 514350"/>
                <a:gd name="connsiteX2760" fmla="*/ 807244 w 6400800"/>
                <a:gd name="connsiteY2760" fmla="*/ 264319 h 514350"/>
                <a:gd name="connsiteX2761" fmla="*/ 807244 w 6400800"/>
                <a:gd name="connsiteY2761" fmla="*/ 266224 h 514350"/>
                <a:gd name="connsiteX2762" fmla="*/ 798671 w 6400800"/>
                <a:gd name="connsiteY2762" fmla="*/ 246221 h 514350"/>
                <a:gd name="connsiteX2763" fmla="*/ 800576 w 6400800"/>
                <a:gd name="connsiteY2763" fmla="*/ 239554 h 514350"/>
                <a:gd name="connsiteX2764" fmla="*/ 797719 w 6400800"/>
                <a:gd name="connsiteY2764" fmla="*/ 245269 h 514350"/>
                <a:gd name="connsiteX2765" fmla="*/ 796766 w 6400800"/>
                <a:gd name="connsiteY2765" fmla="*/ 242411 h 514350"/>
                <a:gd name="connsiteX2766" fmla="*/ 792956 w 6400800"/>
                <a:gd name="connsiteY2766" fmla="*/ 233839 h 514350"/>
                <a:gd name="connsiteX2767" fmla="*/ 796766 w 6400800"/>
                <a:gd name="connsiteY2767" fmla="*/ 218599 h 514350"/>
                <a:gd name="connsiteX2768" fmla="*/ 809149 w 6400800"/>
                <a:gd name="connsiteY2768" fmla="*/ 164306 h 514350"/>
                <a:gd name="connsiteX2769" fmla="*/ 812959 w 6400800"/>
                <a:gd name="connsiteY2769" fmla="*/ 143351 h 514350"/>
                <a:gd name="connsiteX2770" fmla="*/ 805339 w 6400800"/>
                <a:gd name="connsiteY2770" fmla="*/ 163354 h 514350"/>
                <a:gd name="connsiteX2771" fmla="*/ 796766 w 6400800"/>
                <a:gd name="connsiteY2771" fmla="*/ 186214 h 514350"/>
                <a:gd name="connsiteX2772" fmla="*/ 785336 w 6400800"/>
                <a:gd name="connsiteY2772" fmla="*/ 215741 h 514350"/>
                <a:gd name="connsiteX2773" fmla="*/ 784384 w 6400800"/>
                <a:gd name="connsiteY2773" fmla="*/ 218599 h 514350"/>
                <a:gd name="connsiteX2774" fmla="*/ 776764 w 6400800"/>
                <a:gd name="connsiteY2774" fmla="*/ 205264 h 514350"/>
                <a:gd name="connsiteX2775" fmla="*/ 774859 w 6400800"/>
                <a:gd name="connsiteY2775" fmla="*/ 202406 h 514350"/>
                <a:gd name="connsiteX2776" fmla="*/ 774859 w 6400800"/>
                <a:gd name="connsiteY2776" fmla="*/ 201454 h 514350"/>
                <a:gd name="connsiteX2777" fmla="*/ 780574 w 6400800"/>
                <a:gd name="connsiteY2777" fmla="*/ 142399 h 514350"/>
                <a:gd name="connsiteX2778" fmla="*/ 781526 w 6400800"/>
                <a:gd name="connsiteY2778" fmla="*/ 119539 h 514350"/>
                <a:gd name="connsiteX2779" fmla="*/ 776764 w 6400800"/>
                <a:gd name="connsiteY2779" fmla="*/ 141446 h 514350"/>
                <a:gd name="connsiteX2780" fmla="*/ 771049 w 6400800"/>
                <a:gd name="connsiteY2780" fmla="*/ 167164 h 514350"/>
                <a:gd name="connsiteX2781" fmla="*/ 766286 w 6400800"/>
                <a:gd name="connsiteY2781" fmla="*/ 189071 h 514350"/>
                <a:gd name="connsiteX2782" fmla="*/ 758666 w 6400800"/>
                <a:gd name="connsiteY2782" fmla="*/ 178594 h 514350"/>
                <a:gd name="connsiteX2783" fmla="*/ 745331 w 6400800"/>
                <a:gd name="connsiteY2783" fmla="*/ 163354 h 514350"/>
                <a:gd name="connsiteX2784" fmla="*/ 740569 w 6400800"/>
                <a:gd name="connsiteY2784" fmla="*/ 157639 h 514350"/>
                <a:gd name="connsiteX2785" fmla="*/ 744379 w 6400800"/>
                <a:gd name="connsiteY2785" fmla="*/ 163354 h 514350"/>
                <a:gd name="connsiteX2786" fmla="*/ 754856 w 6400800"/>
                <a:gd name="connsiteY2786" fmla="*/ 180499 h 514350"/>
                <a:gd name="connsiteX2787" fmla="*/ 763429 w 6400800"/>
                <a:gd name="connsiteY2787" fmla="*/ 196691 h 514350"/>
                <a:gd name="connsiteX2788" fmla="*/ 762476 w 6400800"/>
                <a:gd name="connsiteY2788" fmla="*/ 199549 h 514350"/>
                <a:gd name="connsiteX2789" fmla="*/ 753904 w 6400800"/>
                <a:gd name="connsiteY2789" fmla="*/ 238601 h 514350"/>
                <a:gd name="connsiteX2790" fmla="*/ 747236 w 6400800"/>
                <a:gd name="connsiteY2790" fmla="*/ 224314 h 514350"/>
                <a:gd name="connsiteX2791" fmla="*/ 752951 w 6400800"/>
                <a:gd name="connsiteY2791" fmla="*/ 241459 h 514350"/>
                <a:gd name="connsiteX2792" fmla="*/ 751046 w 6400800"/>
                <a:gd name="connsiteY2792" fmla="*/ 243364 h 514350"/>
                <a:gd name="connsiteX2793" fmla="*/ 749141 w 6400800"/>
                <a:gd name="connsiteY2793" fmla="*/ 252889 h 514350"/>
                <a:gd name="connsiteX2794" fmla="*/ 752951 w 6400800"/>
                <a:gd name="connsiteY2794" fmla="*/ 244316 h 514350"/>
                <a:gd name="connsiteX2795" fmla="*/ 752951 w 6400800"/>
                <a:gd name="connsiteY2795" fmla="*/ 244316 h 514350"/>
                <a:gd name="connsiteX2796" fmla="*/ 744379 w 6400800"/>
                <a:gd name="connsiteY2796" fmla="*/ 282416 h 514350"/>
                <a:gd name="connsiteX2797" fmla="*/ 741521 w 6400800"/>
                <a:gd name="connsiteY2797" fmla="*/ 296704 h 514350"/>
                <a:gd name="connsiteX2798" fmla="*/ 738664 w 6400800"/>
                <a:gd name="connsiteY2798" fmla="*/ 306229 h 514350"/>
                <a:gd name="connsiteX2799" fmla="*/ 738664 w 6400800"/>
                <a:gd name="connsiteY2799" fmla="*/ 306229 h 514350"/>
                <a:gd name="connsiteX2800" fmla="*/ 737711 w 6400800"/>
                <a:gd name="connsiteY2800" fmla="*/ 293846 h 514350"/>
                <a:gd name="connsiteX2801" fmla="*/ 733901 w 6400800"/>
                <a:gd name="connsiteY2801" fmla="*/ 270034 h 514350"/>
                <a:gd name="connsiteX2802" fmla="*/ 731996 w 6400800"/>
                <a:gd name="connsiteY2802" fmla="*/ 259556 h 514350"/>
                <a:gd name="connsiteX2803" fmla="*/ 731044 w 6400800"/>
                <a:gd name="connsiteY2803" fmla="*/ 257651 h 514350"/>
                <a:gd name="connsiteX2804" fmla="*/ 725329 w 6400800"/>
                <a:gd name="connsiteY2804" fmla="*/ 210979 h 514350"/>
                <a:gd name="connsiteX2805" fmla="*/ 722471 w 6400800"/>
                <a:gd name="connsiteY2805" fmla="*/ 186214 h 514350"/>
                <a:gd name="connsiteX2806" fmla="*/ 722471 w 6400800"/>
                <a:gd name="connsiteY2806" fmla="*/ 199549 h 514350"/>
                <a:gd name="connsiteX2807" fmla="*/ 709136 w 6400800"/>
                <a:gd name="connsiteY2807" fmla="*/ 243364 h 514350"/>
                <a:gd name="connsiteX2808" fmla="*/ 704374 w 6400800"/>
                <a:gd name="connsiteY2808" fmla="*/ 229076 h 514350"/>
                <a:gd name="connsiteX2809" fmla="*/ 687229 w 6400800"/>
                <a:gd name="connsiteY2809" fmla="*/ 181451 h 514350"/>
                <a:gd name="connsiteX2810" fmla="*/ 679609 w 6400800"/>
                <a:gd name="connsiteY2810" fmla="*/ 161449 h 514350"/>
                <a:gd name="connsiteX2811" fmla="*/ 679609 w 6400800"/>
                <a:gd name="connsiteY2811" fmla="*/ 148114 h 514350"/>
                <a:gd name="connsiteX2812" fmla="*/ 679609 w 6400800"/>
                <a:gd name="connsiteY2812" fmla="*/ 122396 h 514350"/>
                <a:gd name="connsiteX2813" fmla="*/ 678656 w 6400800"/>
                <a:gd name="connsiteY2813" fmla="*/ 100489 h 514350"/>
                <a:gd name="connsiteX2814" fmla="*/ 675799 w 6400800"/>
                <a:gd name="connsiteY2814" fmla="*/ 122396 h 514350"/>
                <a:gd name="connsiteX2815" fmla="*/ 672941 w 6400800"/>
                <a:gd name="connsiteY2815" fmla="*/ 144304 h 514350"/>
                <a:gd name="connsiteX2816" fmla="*/ 663416 w 6400800"/>
                <a:gd name="connsiteY2816" fmla="*/ 122396 h 514350"/>
                <a:gd name="connsiteX2817" fmla="*/ 659606 w 6400800"/>
                <a:gd name="connsiteY2817" fmla="*/ 114776 h 514350"/>
                <a:gd name="connsiteX2818" fmla="*/ 662464 w 6400800"/>
                <a:gd name="connsiteY2818" fmla="*/ 123349 h 514350"/>
                <a:gd name="connsiteX2819" fmla="*/ 670084 w 6400800"/>
                <a:gd name="connsiteY2819" fmla="*/ 147161 h 514350"/>
                <a:gd name="connsiteX2820" fmla="*/ 671989 w 6400800"/>
                <a:gd name="connsiteY2820" fmla="*/ 153829 h 514350"/>
                <a:gd name="connsiteX2821" fmla="*/ 671036 w 6400800"/>
                <a:gd name="connsiteY2821" fmla="*/ 164306 h 514350"/>
                <a:gd name="connsiteX2822" fmla="*/ 668179 w 6400800"/>
                <a:gd name="connsiteY2822" fmla="*/ 181451 h 514350"/>
                <a:gd name="connsiteX2823" fmla="*/ 662464 w 6400800"/>
                <a:gd name="connsiteY2823" fmla="*/ 219551 h 514350"/>
                <a:gd name="connsiteX2824" fmla="*/ 658654 w 6400800"/>
                <a:gd name="connsiteY2824" fmla="*/ 239554 h 514350"/>
                <a:gd name="connsiteX2825" fmla="*/ 655796 w 6400800"/>
                <a:gd name="connsiteY2825" fmla="*/ 231934 h 514350"/>
                <a:gd name="connsiteX2826" fmla="*/ 657701 w 6400800"/>
                <a:gd name="connsiteY2826" fmla="*/ 210026 h 514350"/>
                <a:gd name="connsiteX2827" fmla="*/ 653891 w 6400800"/>
                <a:gd name="connsiteY2827" fmla="*/ 226219 h 514350"/>
                <a:gd name="connsiteX2828" fmla="*/ 638651 w 6400800"/>
                <a:gd name="connsiteY2828" fmla="*/ 191929 h 514350"/>
                <a:gd name="connsiteX2829" fmla="*/ 630079 w 6400800"/>
                <a:gd name="connsiteY2829" fmla="*/ 174784 h 514350"/>
                <a:gd name="connsiteX2830" fmla="*/ 627221 w 6400800"/>
                <a:gd name="connsiteY2830" fmla="*/ 169069 h 514350"/>
                <a:gd name="connsiteX2831" fmla="*/ 635794 w 6400800"/>
                <a:gd name="connsiteY2831" fmla="*/ 193834 h 514350"/>
                <a:gd name="connsiteX2832" fmla="*/ 649129 w 6400800"/>
                <a:gd name="connsiteY2832" fmla="*/ 240506 h 514350"/>
                <a:gd name="connsiteX2833" fmla="*/ 650081 w 6400800"/>
                <a:gd name="connsiteY2833" fmla="*/ 244316 h 514350"/>
                <a:gd name="connsiteX2834" fmla="*/ 647224 w 6400800"/>
                <a:gd name="connsiteY2834" fmla="*/ 262414 h 514350"/>
                <a:gd name="connsiteX2835" fmla="*/ 644366 w 6400800"/>
                <a:gd name="connsiteY2835" fmla="*/ 279559 h 514350"/>
                <a:gd name="connsiteX2836" fmla="*/ 642461 w 6400800"/>
                <a:gd name="connsiteY2836" fmla="*/ 298609 h 514350"/>
                <a:gd name="connsiteX2837" fmla="*/ 642461 w 6400800"/>
                <a:gd name="connsiteY2837" fmla="*/ 298609 h 514350"/>
                <a:gd name="connsiteX2838" fmla="*/ 642461 w 6400800"/>
                <a:gd name="connsiteY2838" fmla="*/ 294799 h 514350"/>
                <a:gd name="connsiteX2839" fmla="*/ 641509 w 6400800"/>
                <a:gd name="connsiteY2839" fmla="*/ 315754 h 514350"/>
                <a:gd name="connsiteX2840" fmla="*/ 641509 w 6400800"/>
                <a:gd name="connsiteY2840" fmla="*/ 317659 h 514350"/>
                <a:gd name="connsiteX2841" fmla="*/ 639604 w 6400800"/>
                <a:gd name="connsiteY2841" fmla="*/ 309086 h 514350"/>
                <a:gd name="connsiteX2842" fmla="*/ 640556 w 6400800"/>
                <a:gd name="connsiteY2842" fmla="*/ 304324 h 514350"/>
                <a:gd name="connsiteX2843" fmla="*/ 638651 w 6400800"/>
                <a:gd name="connsiteY2843" fmla="*/ 307181 h 514350"/>
                <a:gd name="connsiteX2844" fmla="*/ 632936 w 6400800"/>
                <a:gd name="connsiteY2844" fmla="*/ 284321 h 514350"/>
                <a:gd name="connsiteX2845" fmla="*/ 624364 w 6400800"/>
                <a:gd name="connsiteY2845" fmla="*/ 250031 h 514350"/>
                <a:gd name="connsiteX2846" fmla="*/ 617696 w 6400800"/>
                <a:gd name="connsiteY2846" fmla="*/ 223361 h 514350"/>
                <a:gd name="connsiteX2847" fmla="*/ 614839 w 6400800"/>
                <a:gd name="connsiteY2847" fmla="*/ 210979 h 514350"/>
                <a:gd name="connsiteX2848" fmla="*/ 615791 w 6400800"/>
                <a:gd name="connsiteY2848" fmla="*/ 190024 h 514350"/>
                <a:gd name="connsiteX2849" fmla="*/ 617696 w 6400800"/>
                <a:gd name="connsiteY2849" fmla="*/ 126206 h 514350"/>
                <a:gd name="connsiteX2850" fmla="*/ 607219 w 6400800"/>
                <a:gd name="connsiteY2850" fmla="*/ 187166 h 514350"/>
                <a:gd name="connsiteX2851" fmla="*/ 606266 w 6400800"/>
                <a:gd name="connsiteY2851" fmla="*/ 184309 h 514350"/>
                <a:gd name="connsiteX2852" fmla="*/ 606266 w 6400800"/>
                <a:gd name="connsiteY2852" fmla="*/ 189071 h 514350"/>
                <a:gd name="connsiteX2853" fmla="*/ 601504 w 6400800"/>
                <a:gd name="connsiteY2853" fmla="*/ 215741 h 514350"/>
                <a:gd name="connsiteX2854" fmla="*/ 599599 w 6400800"/>
                <a:gd name="connsiteY2854" fmla="*/ 210979 h 514350"/>
                <a:gd name="connsiteX2855" fmla="*/ 591026 w 6400800"/>
                <a:gd name="connsiteY2855" fmla="*/ 191929 h 514350"/>
                <a:gd name="connsiteX2856" fmla="*/ 595789 w 6400800"/>
                <a:gd name="connsiteY2856" fmla="*/ 212884 h 514350"/>
                <a:gd name="connsiteX2857" fmla="*/ 599599 w 6400800"/>
                <a:gd name="connsiteY2857" fmla="*/ 230029 h 514350"/>
                <a:gd name="connsiteX2858" fmla="*/ 595789 w 6400800"/>
                <a:gd name="connsiteY2858" fmla="*/ 251936 h 514350"/>
                <a:gd name="connsiteX2859" fmla="*/ 589121 w 6400800"/>
                <a:gd name="connsiteY2859" fmla="*/ 294799 h 514350"/>
                <a:gd name="connsiteX2860" fmla="*/ 582454 w 6400800"/>
                <a:gd name="connsiteY2860" fmla="*/ 284321 h 514350"/>
                <a:gd name="connsiteX2861" fmla="*/ 585311 w 6400800"/>
                <a:gd name="connsiteY2861" fmla="*/ 265271 h 514350"/>
                <a:gd name="connsiteX2862" fmla="*/ 588169 w 6400800"/>
                <a:gd name="connsiteY2862" fmla="*/ 244316 h 514350"/>
                <a:gd name="connsiteX2863" fmla="*/ 591026 w 6400800"/>
                <a:gd name="connsiteY2863" fmla="*/ 225266 h 514350"/>
                <a:gd name="connsiteX2864" fmla="*/ 584359 w 6400800"/>
                <a:gd name="connsiteY2864" fmla="*/ 243364 h 514350"/>
                <a:gd name="connsiteX2865" fmla="*/ 579596 w 6400800"/>
                <a:gd name="connsiteY2865" fmla="*/ 258604 h 514350"/>
                <a:gd name="connsiteX2866" fmla="*/ 577691 w 6400800"/>
                <a:gd name="connsiteY2866" fmla="*/ 231934 h 514350"/>
                <a:gd name="connsiteX2867" fmla="*/ 575786 w 6400800"/>
                <a:gd name="connsiteY2867" fmla="*/ 210979 h 514350"/>
                <a:gd name="connsiteX2868" fmla="*/ 573881 w 6400800"/>
                <a:gd name="connsiteY2868" fmla="*/ 230981 h 514350"/>
                <a:gd name="connsiteX2869" fmla="*/ 571024 w 6400800"/>
                <a:gd name="connsiteY2869" fmla="*/ 267176 h 514350"/>
                <a:gd name="connsiteX2870" fmla="*/ 571024 w 6400800"/>
                <a:gd name="connsiteY2870" fmla="*/ 267176 h 514350"/>
                <a:gd name="connsiteX2871" fmla="*/ 567214 w 6400800"/>
                <a:gd name="connsiteY2871" fmla="*/ 262414 h 514350"/>
                <a:gd name="connsiteX2872" fmla="*/ 552926 w 6400800"/>
                <a:gd name="connsiteY2872" fmla="*/ 219551 h 514350"/>
                <a:gd name="connsiteX2873" fmla="*/ 552926 w 6400800"/>
                <a:gd name="connsiteY2873" fmla="*/ 218599 h 514350"/>
                <a:gd name="connsiteX2874" fmla="*/ 555784 w 6400800"/>
                <a:gd name="connsiteY2874" fmla="*/ 189071 h 514350"/>
                <a:gd name="connsiteX2875" fmla="*/ 558641 w 6400800"/>
                <a:gd name="connsiteY2875" fmla="*/ 162401 h 514350"/>
                <a:gd name="connsiteX2876" fmla="*/ 561499 w 6400800"/>
                <a:gd name="connsiteY2876" fmla="*/ 141446 h 514350"/>
                <a:gd name="connsiteX2877" fmla="*/ 564356 w 6400800"/>
                <a:gd name="connsiteY2877" fmla="*/ 123349 h 514350"/>
                <a:gd name="connsiteX2878" fmla="*/ 557689 w 6400800"/>
                <a:gd name="connsiteY2878" fmla="*/ 140494 h 514350"/>
                <a:gd name="connsiteX2879" fmla="*/ 551021 w 6400800"/>
                <a:gd name="connsiteY2879" fmla="*/ 160496 h 514350"/>
                <a:gd name="connsiteX2880" fmla="*/ 544354 w 6400800"/>
                <a:gd name="connsiteY2880" fmla="*/ 187166 h 514350"/>
                <a:gd name="connsiteX2881" fmla="*/ 537686 w 6400800"/>
                <a:gd name="connsiteY2881" fmla="*/ 218599 h 514350"/>
                <a:gd name="connsiteX2882" fmla="*/ 535781 w 6400800"/>
                <a:gd name="connsiteY2882" fmla="*/ 231934 h 514350"/>
                <a:gd name="connsiteX2883" fmla="*/ 534829 w 6400800"/>
                <a:gd name="connsiteY2883" fmla="*/ 220504 h 514350"/>
                <a:gd name="connsiteX2884" fmla="*/ 532924 w 6400800"/>
                <a:gd name="connsiteY2884" fmla="*/ 205264 h 514350"/>
                <a:gd name="connsiteX2885" fmla="*/ 533876 w 6400800"/>
                <a:gd name="connsiteY2885" fmla="*/ 186214 h 514350"/>
                <a:gd name="connsiteX2886" fmla="*/ 534829 w 6400800"/>
                <a:gd name="connsiteY2886" fmla="*/ 166211 h 514350"/>
                <a:gd name="connsiteX2887" fmla="*/ 534829 w 6400800"/>
                <a:gd name="connsiteY2887" fmla="*/ 148114 h 514350"/>
                <a:gd name="connsiteX2888" fmla="*/ 534829 w 6400800"/>
                <a:gd name="connsiteY2888" fmla="*/ 118586 h 514350"/>
                <a:gd name="connsiteX2889" fmla="*/ 533876 w 6400800"/>
                <a:gd name="connsiteY2889" fmla="*/ 92869 h 514350"/>
                <a:gd name="connsiteX2890" fmla="*/ 531019 w 6400800"/>
                <a:gd name="connsiteY2890" fmla="*/ 118586 h 514350"/>
                <a:gd name="connsiteX2891" fmla="*/ 528161 w 6400800"/>
                <a:gd name="connsiteY2891" fmla="*/ 147161 h 514350"/>
                <a:gd name="connsiteX2892" fmla="*/ 526256 w 6400800"/>
                <a:gd name="connsiteY2892" fmla="*/ 165259 h 514350"/>
                <a:gd name="connsiteX2893" fmla="*/ 523399 w 6400800"/>
                <a:gd name="connsiteY2893" fmla="*/ 185261 h 514350"/>
                <a:gd name="connsiteX2894" fmla="*/ 521494 w 6400800"/>
                <a:gd name="connsiteY2894" fmla="*/ 197644 h 514350"/>
                <a:gd name="connsiteX2895" fmla="*/ 513874 w 6400800"/>
                <a:gd name="connsiteY2895" fmla="*/ 170021 h 514350"/>
                <a:gd name="connsiteX2896" fmla="*/ 506254 w 6400800"/>
                <a:gd name="connsiteY2896" fmla="*/ 144304 h 514350"/>
                <a:gd name="connsiteX2897" fmla="*/ 510064 w 6400800"/>
                <a:gd name="connsiteY2897" fmla="*/ 170974 h 514350"/>
                <a:gd name="connsiteX2898" fmla="*/ 517684 w 6400800"/>
                <a:gd name="connsiteY2898" fmla="*/ 222409 h 514350"/>
                <a:gd name="connsiteX2899" fmla="*/ 516731 w 6400800"/>
                <a:gd name="connsiteY2899" fmla="*/ 230029 h 514350"/>
                <a:gd name="connsiteX2900" fmla="*/ 512921 w 6400800"/>
                <a:gd name="connsiteY2900" fmla="*/ 251936 h 514350"/>
                <a:gd name="connsiteX2901" fmla="*/ 487204 w 6400800"/>
                <a:gd name="connsiteY2901" fmla="*/ 172879 h 514350"/>
                <a:gd name="connsiteX2902" fmla="*/ 485299 w 6400800"/>
                <a:gd name="connsiteY2902" fmla="*/ 164306 h 514350"/>
                <a:gd name="connsiteX2903" fmla="*/ 486251 w 6400800"/>
                <a:gd name="connsiteY2903" fmla="*/ 189071 h 514350"/>
                <a:gd name="connsiteX2904" fmla="*/ 488156 w 6400800"/>
                <a:gd name="connsiteY2904" fmla="*/ 217646 h 514350"/>
                <a:gd name="connsiteX2905" fmla="*/ 489109 w 6400800"/>
                <a:gd name="connsiteY2905" fmla="*/ 238601 h 514350"/>
                <a:gd name="connsiteX2906" fmla="*/ 486251 w 6400800"/>
                <a:gd name="connsiteY2906" fmla="*/ 223361 h 514350"/>
                <a:gd name="connsiteX2907" fmla="*/ 482441 w 6400800"/>
                <a:gd name="connsiteY2907" fmla="*/ 207169 h 514350"/>
                <a:gd name="connsiteX2908" fmla="*/ 478631 w 6400800"/>
                <a:gd name="connsiteY2908" fmla="*/ 192881 h 514350"/>
                <a:gd name="connsiteX2909" fmla="*/ 471964 w 6400800"/>
                <a:gd name="connsiteY2909" fmla="*/ 170021 h 514350"/>
                <a:gd name="connsiteX2910" fmla="*/ 465296 w 6400800"/>
                <a:gd name="connsiteY2910" fmla="*/ 150019 h 514350"/>
                <a:gd name="connsiteX2911" fmla="*/ 468154 w 6400800"/>
                <a:gd name="connsiteY2911" fmla="*/ 170021 h 514350"/>
                <a:gd name="connsiteX2912" fmla="*/ 471011 w 6400800"/>
                <a:gd name="connsiteY2912" fmla="*/ 193834 h 514350"/>
                <a:gd name="connsiteX2913" fmla="*/ 472916 w 6400800"/>
                <a:gd name="connsiteY2913" fmla="*/ 208121 h 514350"/>
                <a:gd name="connsiteX2914" fmla="*/ 474821 w 6400800"/>
                <a:gd name="connsiteY2914" fmla="*/ 224314 h 514350"/>
                <a:gd name="connsiteX2915" fmla="*/ 478631 w 6400800"/>
                <a:gd name="connsiteY2915" fmla="*/ 255746 h 514350"/>
                <a:gd name="connsiteX2916" fmla="*/ 474821 w 6400800"/>
                <a:gd name="connsiteY2916" fmla="*/ 240506 h 514350"/>
                <a:gd name="connsiteX2917" fmla="*/ 455771 w 6400800"/>
                <a:gd name="connsiteY2917" fmla="*/ 170974 h 514350"/>
                <a:gd name="connsiteX2918" fmla="*/ 447199 w 6400800"/>
                <a:gd name="connsiteY2918" fmla="*/ 145256 h 514350"/>
                <a:gd name="connsiteX2919" fmla="*/ 451961 w 6400800"/>
                <a:gd name="connsiteY2919" fmla="*/ 171926 h 514350"/>
                <a:gd name="connsiteX2920" fmla="*/ 457676 w 6400800"/>
                <a:gd name="connsiteY2920" fmla="*/ 202406 h 514350"/>
                <a:gd name="connsiteX2921" fmla="*/ 464344 w 6400800"/>
                <a:gd name="connsiteY2921" fmla="*/ 242411 h 514350"/>
                <a:gd name="connsiteX2922" fmla="*/ 471011 w 6400800"/>
                <a:gd name="connsiteY2922" fmla="*/ 282416 h 514350"/>
                <a:gd name="connsiteX2923" fmla="*/ 467201 w 6400800"/>
                <a:gd name="connsiteY2923" fmla="*/ 272891 h 514350"/>
                <a:gd name="connsiteX2924" fmla="*/ 459581 w 6400800"/>
                <a:gd name="connsiteY2924" fmla="*/ 255746 h 514350"/>
                <a:gd name="connsiteX2925" fmla="*/ 463391 w 6400800"/>
                <a:gd name="connsiteY2925" fmla="*/ 273844 h 514350"/>
                <a:gd name="connsiteX2926" fmla="*/ 468154 w 6400800"/>
                <a:gd name="connsiteY2926" fmla="*/ 293846 h 514350"/>
                <a:gd name="connsiteX2927" fmla="*/ 471011 w 6400800"/>
                <a:gd name="connsiteY2927" fmla="*/ 306229 h 514350"/>
                <a:gd name="connsiteX2928" fmla="*/ 473869 w 6400800"/>
                <a:gd name="connsiteY2928" fmla="*/ 320516 h 514350"/>
                <a:gd name="connsiteX2929" fmla="*/ 479584 w 6400800"/>
                <a:gd name="connsiteY2929" fmla="*/ 351949 h 514350"/>
                <a:gd name="connsiteX2930" fmla="*/ 479584 w 6400800"/>
                <a:gd name="connsiteY2930" fmla="*/ 353854 h 514350"/>
                <a:gd name="connsiteX2931" fmla="*/ 478631 w 6400800"/>
                <a:gd name="connsiteY2931" fmla="*/ 351949 h 514350"/>
                <a:gd name="connsiteX2932" fmla="*/ 471964 w 6400800"/>
                <a:gd name="connsiteY2932" fmla="*/ 338614 h 514350"/>
                <a:gd name="connsiteX2933" fmla="*/ 470059 w 6400800"/>
                <a:gd name="connsiteY2933" fmla="*/ 324326 h 514350"/>
                <a:gd name="connsiteX2934" fmla="*/ 462439 w 6400800"/>
                <a:gd name="connsiteY2934" fmla="*/ 280511 h 514350"/>
                <a:gd name="connsiteX2935" fmla="*/ 452914 w 6400800"/>
                <a:gd name="connsiteY2935" fmla="*/ 240506 h 514350"/>
                <a:gd name="connsiteX2936" fmla="*/ 441484 w 6400800"/>
                <a:gd name="connsiteY2936" fmla="*/ 205264 h 514350"/>
                <a:gd name="connsiteX2937" fmla="*/ 437674 w 6400800"/>
                <a:gd name="connsiteY2937" fmla="*/ 194786 h 514350"/>
                <a:gd name="connsiteX2938" fmla="*/ 440531 w 6400800"/>
                <a:gd name="connsiteY2938" fmla="*/ 167164 h 514350"/>
                <a:gd name="connsiteX2939" fmla="*/ 442436 w 6400800"/>
                <a:gd name="connsiteY2939" fmla="*/ 128111 h 514350"/>
                <a:gd name="connsiteX2940" fmla="*/ 441484 w 6400800"/>
                <a:gd name="connsiteY2940" fmla="*/ 94774 h 514350"/>
                <a:gd name="connsiteX2941" fmla="*/ 438626 w 6400800"/>
                <a:gd name="connsiteY2941" fmla="*/ 128111 h 514350"/>
                <a:gd name="connsiteX2942" fmla="*/ 433864 w 6400800"/>
                <a:gd name="connsiteY2942" fmla="*/ 166211 h 514350"/>
                <a:gd name="connsiteX2943" fmla="*/ 431959 w 6400800"/>
                <a:gd name="connsiteY2943" fmla="*/ 178594 h 514350"/>
                <a:gd name="connsiteX2944" fmla="*/ 431006 w 6400800"/>
                <a:gd name="connsiteY2944" fmla="*/ 175736 h 514350"/>
                <a:gd name="connsiteX2945" fmla="*/ 419576 w 6400800"/>
                <a:gd name="connsiteY2945" fmla="*/ 153829 h 514350"/>
                <a:gd name="connsiteX2946" fmla="*/ 408146 w 6400800"/>
                <a:gd name="connsiteY2946" fmla="*/ 135731 h 514350"/>
                <a:gd name="connsiteX2947" fmla="*/ 415766 w 6400800"/>
                <a:gd name="connsiteY2947" fmla="*/ 155734 h 514350"/>
                <a:gd name="connsiteX2948" fmla="*/ 423386 w 6400800"/>
                <a:gd name="connsiteY2948" fmla="*/ 178594 h 514350"/>
                <a:gd name="connsiteX2949" fmla="*/ 428149 w 6400800"/>
                <a:gd name="connsiteY2949" fmla="*/ 195739 h 514350"/>
                <a:gd name="connsiteX2950" fmla="*/ 424339 w 6400800"/>
                <a:gd name="connsiteY2950" fmla="*/ 214789 h 514350"/>
                <a:gd name="connsiteX2951" fmla="*/ 424339 w 6400800"/>
                <a:gd name="connsiteY2951" fmla="*/ 214789 h 514350"/>
                <a:gd name="connsiteX2952" fmla="*/ 415766 w 6400800"/>
                <a:gd name="connsiteY2952" fmla="*/ 202406 h 514350"/>
                <a:gd name="connsiteX2953" fmla="*/ 421481 w 6400800"/>
                <a:gd name="connsiteY2953" fmla="*/ 216694 h 514350"/>
                <a:gd name="connsiteX2954" fmla="*/ 423386 w 6400800"/>
                <a:gd name="connsiteY2954" fmla="*/ 223361 h 514350"/>
                <a:gd name="connsiteX2955" fmla="*/ 412909 w 6400800"/>
                <a:gd name="connsiteY2955" fmla="*/ 272891 h 514350"/>
                <a:gd name="connsiteX2956" fmla="*/ 405289 w 6400800"/>
                <a:gd name="connsiteY2956" fmla="*/ 253841 h 514350"/>
                <a:gd name="connsiteX2957" fmla="*/ 405289 w 6400800"/>
                <a:gd name="connsiteY2957" fmla="*/ 253841 h 514350"/>
                <a:gd name="connsiteX2958" fmla="*/ 404336 w 6400800"/>
                <a:gd name="connsiteY2958" fmla="*/ 210026 h 514350"/>
                <a:gd name="connsiteX2959" fmla="*/ 401479 w 6400800"/>
                <a:gd name="connsiteY2959" fmla="*/ 176689 h 514350"/>
                <a:gd name="connsiteX2960" fmla="*/ 396716 w 6400800"/>
                <a:gd name="connsiteY2960" fmla="*/ 148114 h 514350"/>
                <a:gd name="connsiteX2961" fmla="*/ 397669 w 6400800"/>
                <a:gd name="connsiteY2961" fmla="*/ 177641 h 514350"/>
                <a:gd name="connsiteX2962" fmla="*/ 396716 w 6400800"/>
                <a:gd name="connsiteY2962" fmla="*/ 206216 h 514350"/>
                <a:gd name="connsiteX2963" fmla="*/ 389096 w 6400800"/>
                <a:gd name="connsiteY2963" fmla="*/ 244316 h 514350"/>
                <a:gd name="connsiteX2964" fmla="*/ 381476 w 6400800"/>
                <a:gd name="connsiteY2964" fmla="*/ 219551 h 514350"/>
                <a:gd name="connsiteX2965" fmla="*/ 374809 w 6400800"/>
                <a:gd name="connsiteY2965" fmla="*/ 199549 h 514350"/>
                <a:gd name="connsiteX2966" fmla="*/ 372904 w 6400800"/>
                <a:gd name="connsiteY2966" fmla="*/ 194786 h 514350"/>
                <a:gd name="connsiteX2967" fmla="*/ 372904 w 6400800"/>
                <a:gd name="connsiteY2967" fmla="*/ 190976 h 514350"/>
                <a:gd name="connsiteX2968" fmla="*/ 370046 w 6400800"/>
                <a:gd name="connsiteY2968" fmla="*/ 177641 h 514350"/>
                <a:gd name="connsiteX2969" fmla="*/ 366236 w 6400800"/>
                <a:gd name="connsiteY2969" fmla="*/ 155734 h 514350"/>
                <a:gd name="connsiteX2970" fmla="*/ 364331 w 6400800"/>
                <a:gd name="connsiteY2970" fmla="*/ 148114 h 514350"/>
                <a:gd name="connsiteX2971" fmla="*/ 363379 w 6400800"/>
                <a:gd name="connsiteY2971" fmla="*/ 135731 h 514350"/>
                <a:gd name="connsiteX2972" fmla="*/ 363379 w 6400800"/>
                <a:gd name="connsiteY2972" fmla="*/ 140494 h 514350"/>
                <a:gd name="connsiteX2973" fmla="*/ 362426 w 6400800"/>
                <a:gd name="connsiteY2973" fmla="*/ 136684 h 514350"/>
                <a:gd name="connsiteX2974" fmla="*/ 362426 w 6400800"/>
                <a:gd name="connsiteY2974" fmla="*/ 151924 h 514350"/>
                <a:gd name="connsiteX2975" fmla="*/ 361474 w 6400800"/>
                <a:gd name="connsiteY2975" fmla="*/ 163354 h 514350"/>
                <a:gd name="connsiteX2976" fmla="*/ 357664 w 6400800"/>
                <a:gd name="connsiteY2976" fmla="*/ 151924 h 514350"/>
                <a:gd name="connsiteX2977" fmla="*/ 348139 w 6400800"/>
                <a:gd name="connsiteY2977" fmla="*/ 127159 h 514350"/>
                <a:gd name="connsiteX2978" fmla="*/ 353854 w 6400800"/>
                <a:gd name="connsiteY2978" fmla="*/ 153829 h 514350"/>
                <a:gd name="connsiteX2979" fmla="*/ 361474 w 6400800"/>
                <a:gd name="connsiteY2979" fmla="*/ 183356 h 514350"/>
                <a:gd name="connsiteX2980" fmla="*/ 361474 w 6400800"/>
                <a:gd name="connsiteY2980" fmla="*/ 192881 h 514350"/>
                <a:gd name="connsiteX2981" fmla="*/ 357664 w 6400800"/>
                <a:gd name="connsiteY2981" fmla="*/ 184309 h 514350"/>
                <a:gd name="connsiteX2982" fmla="*/ 360521 w 6400800"/>
                <a:gd name="connsiteY2982" fmla="*/ 198596 h 514350"/>
                <a:gd name="connsiteX2983" fmla="*/ 359569 w 6400800"/>
                <a:gd name="connsiteY2983" fmla="*/ 221456 h 514350"/>
                <a:gd name="connsiteX2984" fmla="*/ 355759 w 6400800"/>
                <a:gd name="connsiteY2984" fmla="*/ 208121 h 514350"/>
                <a:gd name="connsiteX2985" fmla="*/ 350996 w 6400800"/>
                <a:gd name="connsiteY2985" fmla="*/ 193834 h 514350"/>
                <a:gd name="connsiteX2986" fmla="*/ 351949 w 6400800"/>
                <a:gd name="connsiteY2986" fmla="*/ 208121 h 514350"/>
                <a:gd name="connsiteX2987" fmla="*/ 352901 w 6400800"/>
                <a:gd name="connsiteY2987" fmla="*/ 224314 h 514350"/>
                <a:gd name="connsiteX2988" fmla="*/ 353854 w 6400800"/>
                <a:gd name="connsiteY2988" fmla="*/ 246221 h 514350"/>
                <a:gd name="connsiteX2989" fmla="*/ 354806 w 6400800"/>
                <a:gd name="connsiteY2989" fmla="*/ 270986 h 514350"/>
                <a:gd name="connsiteX2990" fmla="*/ 355759 w 6400800"/>
                <a:gd name="connsiteY2990" fmla="*/ 299561 h 514350"/>
                <a:gd name="connsiteX2991" fmla="*/ 356711 w 6400800"/>
                <a:gd name="connsiteY2991" fmla="*/ 316706 h 514350"/>
                <a:gd name="connsiteX2992" fmla="*/ 346234 w 6400800"/>
                <a:gd name="connsiteY2992" fmla="*/ 298609 h 514350"/>
                <a:gd name="connsiteX2993" fmla="*/ 345281 w 6400800"/>
                <a:gd name="connsiteY2993" fmla="*/ 296704 h 514350"/>
                <a:gd name="connsiteX2994" fmla="*/ 345281 w 6400800"/>
                <a:gd name="connsiteY2994" fmla="*/ 291941 h 514350"/>
                <a:gd name="connsiteX2995" fmla="*/ 348139 w 6400800"/>
                <a:gd name="connsiteY2995" fmla="*/ 267176 h 514350"/>
                <a:gd name="connsiteX2996" fmla="*/ 350044 w 6400800"/>
                <a:gd name="connsiteY2996" fmla="*/ 246221 h 514350"/>
                <a:gd name="connsiteX2997" fmla="*/ 344329 w 6400800"/>
                <a:gd name="connsiteY2997" fmla="*/ 267176 h 514350"/>
                <a:gd name="connsiteX2998" fmla="*/ 339566 w 6400800"/>
                <a:gd name="connsiteY2998" fmla="*/ 287179 h 514350"/>
                <a:gd name="connsiteX2999" fmla="*/ 339566 w 6400800"/>
                <a:gd name="connsiteY2999" fmla="*/ 287179 h 514350"/>
                <a:gd name="connsiteX3000" fmla="*/ 339566 w 6400800"/>
                <a:gd name="connsiteY3000" fmla="*/ 288131 h 514350"/>
                <a:gd name="connsiteX3001" fmla="*/ 338614 w 6400800"/>
                <a:gd name="connsiteY3001" fmla="*/ 291941 h 514350"/>
                <a:gd name="connsiteX3002" fmla="*/ 337661 w 6400800"/>
                <a:gd name="connsiteY3002" fmla="*/ 297656 h 514350"/>
                <a:gd name="connsiteX3003" fmla="*/ 324326 w 6400800"/>
                <a:gd name="connsiteY3003" fmla="*/ 277654 h 514350"/>
                <a:gd name="connsiteX3004" fmla="*/ 310991 w 6400800"/>
                <a:gd name="connsiteY3004" fmla="*/ 233839 h 514350"/>
                <a:gd name="connsiteX3005" fmla="*/ 303371 w 6400800"/>
                <a:gd name="connsiteY3005" fmla="*/ 211931 h 514350"/>
                <a:gd name="connsiteX3006" fmla="*/ 306229 w 6400800"/>
                <a:gd name="connsiteY3006" fmla="*/ 196691 h 514350"/>
                <a:gd name="connsiteX3007" fmla="*/ 316706 w 6400800"/>
                <a:gd name="connsiteY3007" fmla="*/ 150971 h 514350"/>
                <a:gd name="connsiteX3008" fmla="*/ 326231 w 6400800"/>
                <a:gd name="connsiteY3008" fmla="*/ 115729 h 514350"/>
                <a:gd name="connsiteX3009" fmla="*/ 335756 w 6400800"/>
                <a:gd name="connsiteY3009" fmla="*/ 85249 h 514350"/>
                <a:gd name="connsiteX3010" fmla="*/ 323374 w 6400800"/>
                <a:gd name="connsiteY3010" fmla="*/ 113824 h 514350"/>
                <a:gd name="connsiteX3011" fmla="*/ 310991 w 6400800"/>
                <a:gd name="connsiteY3011" fmla="*/ 148114 h 514350"/>
                <a:gd name="connsiteX3012" fmla="*/ 303371 w 6400800"/>
                <a:gd name="connsiteY3012" fmla="*/ 169069 h 514350"/>
                <a:gd name="connsiteX3013" fmla="*/ 297656 w 6400800"/>
                <a:gd name="connsiteY3013" fmla="*/ 190024 h 514350"/>
                <a:gd name="connsiteX3014" fmla="*/ 287179 w 6400800"/>
                <a:gd name="connsiteY3014" fmla="*/ 159544 h 514350"/>
                <a:gd name="connsiteX3015" fmla="*/ 294799 w 6400800"/>
                <a:gd name="connsiteY3015" fmla="*/ 198596 h 514350"/>
                <a:gd name="connsiteX3016" fmla="*/ 283369 w 6400800"/>
                <a:gd name="connsiteY3016" fmla="*/ 247174 h 514350"/>
                <a:gd name="connsiteX3017" fmla="*/ 279559 w 6400800"/>
                <a:gd name="connsiteY3017" fmla="*/ 264319 h 514350"/>
                <a:gd name="connsiteX3018" fmla="*/ 276701 w 6400800"/>
                <a:gd name="connsiteY3018" fmla="*/ 253841 h 514350"/>
                <a:gd name="connsiteX3019" fmla="*/ 278606 w 6400800"/>
                <a:gd name="connsiteY3019" fmla="*/ 227171 h 514350"/>
                <a:gd name="connsiteX3020" fmla="*/ 284321 w 6400800"/>
                <a:gd name="connsiteY3020" fmla="*/ 166211 h 514350"/>
                <a:gd name="connsiteX3021" fmla="*/ 287179 w 6400800"/>
                <a:gd name="connsiteY3021" fmla="*/ 139541 h 514350"/>
                <a:gd name="connsiteX3022" fmla="*/ 290989 w 6400800"/>
                <a:gd name="connsiteY3022" fmla="*/ 115729 h 514350"/>
                <a:gd name="connsiteX3023" fmla="*/ 297656 w 6400800"/>
                <a:gd name="connsiteY3023" fmla="*/ 76676 h 514350"/>
                <a:gd name="connsiteX3024" fmla="*/ 304324 w 6400800"/>
                <a:gd name="connsiteY3024" fmla="*/ 42386 h 514350"/>
                <a:gd name="connsiteX3025" fmla="*/ 293846 w 6400800"/>
                <a:gd name="connsiteY3025" fmla="*/ 75724 h 514350"/>
                <a:gd name="connsiteX3026" fmla="*/ 283369 w 6400800"/>
                <a:gd name="connsiteY3026" fmla="*/ 114776 h 514350"/>
                <a:gd name="connsiteX3027" fmla="*/ 277654 w 6400800"/>
                <a:gd name="connsiteY3027" fmla="*/ 138589 h 514350"/>
                <a:gd name="connsiteX3028" fmla="*/ 272891 w 6400800"/>
                <a:gd name="connsiteY3028" fmla="*/ 165259 h 514350"/>
                <a:gd name="connsiteX3029" fmla="*/ 270034 w 6400800"/>
                <a:gd name="connsiteY3029" fmla="*/ 178594 h 514350"/>
                <a:gd name="connsiteX3030" fmla="*/ 261461 w 6400800"/>
                <a:gd name="connsiteY3030" fmla="*/ 196691 h 514350"/>
                <a:gd name="connsiteX3031" fmla="*/ 258604 w 6400800"/>
                <a:gd name="connsiteY3031" fmla="*/ 183356 h 514350"/>
                <a:gd name="connsiteX3032" fmla="*/ 253841 w 6400800"/>
                <a:gd name="connsiteY3032" fmla="*/ 161449 h 514350"/>
                <a:gd name="connsiteX3033" fmla="*/ 254794 w 6400800"/>
                <a:gd name="connsiteY3033" fmla="*/ 183356 h 514350"/>
                <a:gd name="connsiteX3034" fmla="*/ 256699 w 6400800"/>
                <a:gd name="connsiteY3034" fmla="*/ 207169 h 514350"/>
                <a:gd name="connsiteX3035" fmla="*/ 247174 w 6400800"/>
                <a:gd name="connsiteY3035" fmla="*/ 231934 h 514350"/>
                <a:gd name="connsiteX3036" fmla="*/ 245269 w 6400800"/>
                <a:gd name="connsiteY3036" fmla="*/ 236696 h 514350"/>
                <a:gd name="connsiteX3037" fmla="*/ 242411 w 6400800"/>
                <a:gd name="connsiteY3037" fmla="*/ 230029 h 514350"/>
                <a:gd name="connsiteX3038" fmla="*/ 244316 w 6400800"/>
                <a:gd name="connsiteY3038" fmla="*/ 240506 h 514350"/>
                <a:gd name="connsiteX3039" fmla="*/ 236696 w 6400800"/>
                <a:gd name="connsiteY3039" fmla="*/ 262414 h 514350"/>
                <a:gd name="connsiteX3040" fmla="*/ 226219 w 6400800"/>
                <a:gd name="connsiteY3040" fmla="*/ 227171 h 514350"/>
                <a:gd name="connsiteX3041" fmla="*/ 218599 w 6400800"/>
                <a:gd name="connsiteY3041" fmla="*/ 204311 h 514350"/>
                <a:gd name="connsiteX3042" fmla="*/ 210979 w 6400800"/>
                <a:gd name="connsiteY3042" fmla="*/ 184309 h 514350"/>
                <a:gd name="connsiteX3043" fmla="*/ 198596 w 6400800"/>
                <a:gd name="connsiteY3043" fmla="*/ 150971 h 514350"/>
                <a:gd name="connsiteX3044" fmla="*/ 187166 w 6400800"/>
                <a:gd name="connsiteY3044" fmla="*/ 122396 h 514350"/>
                <a:gd name="connsiteX3045" fmla="*/ 194786 w 6400800"/>
                <a:gd name="connsiteY3045" fmla="*/ 151924 h 514350"/>
                <a:gd name="connsiteX3046" fmla="*/ 204311 w 6400800"/>
                <a:gd name="connsiteY3046" fmla="*/ 186214 h 514350"/>
                <a:gd name="connsiteX3047" fmla="*/ 210026 w 6400800"/>
                <a:gd name="connsiteY3047" fmla="*/ 207169 h 514350"/>
                <a:gd name="connsiteX3048" fmla="*/ 215741 w 6400800"/>
                <a:gd name="connsiteY3048" fmla="*/ 230981 h 514350"/>
                <a:gd name="connsiteX3049" fmla="*/ 226219 w 6400800"/>
                <a:gd name="connsiteY3049" fmla="*/ 275749 h 514350"/>
                <a:gd name="connsiteX3050" fmla="*/ 218599 w 6400800"/>
                <a:gd name="connsiteY3050" fmla="*/ 295751 h 514350"/>
                <a:gd name="connsiteX3051" fmla="*/ 217646 w 6400800"/>
                <a:gd name="connsiteY3051" fmla="*/ 298609 h 514350"/>
                <a:gd name="connsiteX3052" fmla="*/ 214789 w 6400800"/>
                <a:gd name="connsiteY3052" fmla="*/ 266224 h 514350"/>
                <a:gd name="connsiteX3053" fmla="*/ 212884 w 6400800"/>
                <a:gd name="connsiteY3053" fmla="*/ 241459 h 514350"/>
                <a:gd name="connsiteX3054" fmla="*/ 210979 w 6400800"/>
                <a:gd name="connsiteY3054" fmla="*/ 266224 h 514350"/>
                <a:gd name="connsiteX3055" fmla="*/ 209074 w 6400800"/>
                <a:gd name="connsiteY3055" fmla="*/ 309086 h 514350"/>
                <a:gd name="connsiteX3056" fmla="*/ 196691 w 6400800"/>
                <a:gd name="connsiteY3056" fmla="*/ 287179 h 514350"/>
                <a:gd name="connsiteX3057" fmla="*/ 187166 w 6400800"/>
                <a:gd name="connsiteY3057" fmla="*/ 270034 h 514350"/>
                <a:gd name="connsiteX3058" fmla="*/ 177641 w 6400800"/>
                <a:gd name="connsiteY3058" fmla="*/ 255746 h 514350"/>
                <a:gd name="connsiteX3059" fmla="*/ 161449 w 6400800"/>
                <a:gd name="connsiteY3059" fmla="*/ 231934 h 514350"/>
                <a:gd name="connsiteX3060" fmla="*/ 156686 w 6400800"/>
                <a:gd name="connsiteY3060" fmla="*/ 225266 h 514350"/>
                <a:gd name="connsiteX3061" fmla="*/ 152876 w 6400800"/>
                <a:gd name="connsiteY3061" fmla="*/ 209074 h 514350"/>
                <a:gd name="connsiteX3062" fmla="*/ 152876 w 6400800"/>
                <a:gd name="connsiteY3062" fmla="*/ 219551 h 514350"/>
                <a:gd name="connsiteX3063" fmla="*/ 146209 w 6400800"/>
                <a:gd name="connsiteY3063" fmla="*/ 210979 h 514350"/>
                <a:gd name="connsiteX3064" fmla="*/ 152876 w 6400800"/>
                <a:gd name="connsiteY3064" fmla="*/ 224314 h 514350"/>
                <a:gd name="connsiteX3065" fmla="*/ 156686 w 6400800"/>
                <a:gd name="connsiteY3065" fmla="*/ 275749 h 514350"/>
                <a:gd name="connsiteX3066" fmla="*/ 148114 w 6400800"/>
                <a:gd name="connsiteY3066" fmla="*/ 263366 h 514350"/>
                <a:gd name="connsiteX3067" fmla="*/ 124301 w 6400800"/>
                <a:gd name="connsiteY3067" fmla="*/ 233839 h 514350"/>
                <a:gd name="connsiteX3068" fmla="*/ 104299 w 6400800"/>
                <a:gd name="connsiteY3068" fmla="*/ 212884 h 514350"/>
                <a:gd name="connsiteX3069" fmla="*/ 88106 w 6400800"/>
                <a:gd name="connsiteY3069" fmla="*/ 197644 h 514350"/>
                <a:gd name="connsiteX3070" fmla="*/ 103346 w 6400800"/>
                <a:gd name="connsiteY3070" fmla="*/ 217646 h 514350"/>
                <a:gd name="connsiteX3071" fmla="*/ 119539 w 6400800"/>
                <a:gd name="connsiteY3071" fmla="*/ 240506 h 514350"/>
                <a:gd name="connsiteX3072" fmla="*/ 139541 w 6400800"/>
                <a:gd name="connsiteY3072" fmla="*/ 271939 h 514350"/>
                <a:gd name="connsiteX3073" fmla="*/ 151924 w 6400800"/>
                <a:gd name="connsiteY3073" fmla="*/ 292894 h 514350"/>
                <a:gd name="connsiteX3074" fmla="*/ 151924 w 6400800"/>
                <a:gd name="connsiteY3074" fmla="*/ 297656 h 514350"/>
                <a:gd name="connsiteX3075" fmla="*/ 150971 w 6400800"/>
                <a:gd name="connsiteY3075" fmla="*/ 296704 h 514350"/>
                <a:gd name="connsiteX3076" fmla="*/ 136684 w 6400800"/>
                <a:gd name="connsiteY3076" fmla="*/ 282416 h 514350"/>
                <a:gd name="connsiteX3077" fmla="*/ 131921 w 6400800"/>
                <a:gd name="connsiteY3077" fmla="*/ 278606 h 514350"/>
                <a:gd name="connsiteX3078" fmla="*/ 132874 w 6400800"/>
                <a:gd name="connsiteY3078" fmla="*/ 274796 h 514350"/>
                <a:gd name="connsiteX3079" fmla="*/ 130969 w 6400800"/>
                <a:gd name="connsiteY3079" fmla="*/ 278606 h 514350"/>
                <a:gd name="connsiteX3080" fmla="*/ 122396 w 6400800"/>
                <a:gd name="connsiteY3080" fmla="*/ 270986 h 514350"/>
                <a:gd name="connsiteX3081" fmla="*/ 130016 w 6400800"/>
                <a:gd name="connsiteY3081" fmla="*/ 280511 h 514350"/>
                <a:gd name="connsiteX3082" fmla="*/ 123349 w 6400800"/>
                <a:gd name="connsiteY3082" fmla="*/ 293846 h 514350"/>
                <a:gd name="connsiteX3083" fmla="*/ 114776 w 6400800"/>
                <a:gd name="connsiteY3083" fmla="*/ 316706 h 514350"/>
                <a:gd name="connsiteX3084" fmla="*/ 112871 w 6400800"/>
                <a:gd name="connsiteY3084" fmla="*/ 321469 h 514350"/>
                <a:gd name="connsiteX3085" fmla="*/ 103346 w 6400800"/>
                <a:gd name="connsiteY3085" fmla="*/ 299561 h 514350"/>
                <a:gd name="connsiteX3086" fmla="*/ 86201 w 6400800"/>
                <a:gd name="connsiteY3086" fmla="*/ 262414 h 514350"/>
                <a:gd name="connsiteX3087" fmla="*/ 78581 w 6400800"/>
                <a:gd name="connsiteY3087" fmla="*/ 245269 h 514350"/>
                <a:gd name="connsiteX3088" fmla="*/ 70961 w 6400800"/>
                <a:gd name="connsiteY3088" fmla="*/ 230981 h 514350"/>
                <a:gd name="connsiteX3089" fmla="*/ 57626 w 6400800"/>
                <a:gd name="connsiteY3089" fmla="*/ 208121 h 514350"/>
                <a:gd name="connsiteX3090" fmla="*/ 46196 w 6400800"/>
                <a:gd name="connsiteY3090" fmla="*/ 188119 h 514350"/>
                <a:gd name="connsiteX3091" fmla="*/ 54769 w 6400800"/>
                <a:gd name="connsiteY3091" fmla="*/ 210026 h 514350"/>
                <a:gd name="connsiteX3092" fmla="*/ 64294 w 6400800"/>
                <a:gd name="connsiteY3092" fmla="*/ 234791 h 514350"/>
                <a:gd name="connsiteX3093" fmla="*/ 70009 w 6400800"/>
                <a:gd name="connsiteY3093" fmla="*/ 250031 h 514350"/>
                <a:gd name="connsiteX3094" fmla="*/ 75724 w 6400800"/>
                <a:gd name="connsiteY3094" fmla="*/ 266224 h 514350"/>
                <a:gd name="connsiteX3095" fmla="*/ 85249 w 6400800"/>
                <a:gd name="connsiteY3095" fmla="*/ 292894 h 514350"/>
                <a:gd name="connsiteX3096" fmla="*/ 79534 w 6400800"/>
                <a:gd name="connsiteY3096" fmla="*/ 284321 h 514350"/>
                <a:gd name="connsiteX3097" fmla="*/ 68104 w 6400800"/>
                <a:gd name="connsiteY3097" fmla="*/ 268129 h 514350"/>
                <a:gd name="connsiteX3098" fmla="*/ 57626 w 6400800"/>
                <a:gd name="connsiteY3098" fmla="*/ 253841 h 514350"/>
                <a:gd name="connsiteX3099" fmla="*/ 64294 w 6400800"/>
                <a:gd name="connsiteY3099" fmla="*/ 270034 h 514350"/>
                <a:gd name="connsiteX3100" fmla="*/ 71914 w 6400800"/>
                <a:gd name="connsiteY3100" fmla="*/ 288131 h 514350"/>
                <a:gd name="connsiteX3101" fmla="*/ 83344 w 6400800"/>
                <a:gd name="connsiteY3101" fmla="*/ 311944 h 514350"/>
                <a:gd name="connsiteX3102" fmla="*/ 90964 w 6400800"/>
                <a:gd name="connsiteY3102" fmla="*/ 330994 h 514350"/>
                <a:gd name="connsiteX3103" fmla="*/ 87154 w 6400800"/>
                <a:gd name="connsiteY3103" fmla="*/ 339566 h 514350"/>
                <a:gd name="connsiteX3104" fmla="*/ 81439 w 6400800"/>
                <a:gd name="connsiteY3104" fmla="*/ 352901 h 514350"/>
                <a:gd name="connsiteX3105" fmla="*/ 78581 w 6400800"/>
                <a:gd name="connsiteY3105" fmla="*/ 339566 h 514350"/>
                <a:gd name="connsiteX3106" fmla="*/ 70009 w 6400800"/>
                <a:gd name="connsiteY3106" fmla="*/ 301466 h 514350"/>
                <a:gd name="connsiteX3107" fmla="*/ 61436 w 6400800"/>
                <a:gd name="connsiteY3107" fmla="*/ 269081 h 514350"/>
                <a:gd name="connsiteX3108" fmla="*/ 53816 w 6400800"/>
                <a:gd name="connsiteY3108" fmla="*/ 244316 h 514350"/>
                <a:gd name="connsiteX3109" fmla="*/ 46196 w 6400800"/>
                <a:gd name="connsiteY3109" fmla="*/ 223361 h 514350"/>
                <a:gd name="connsiteX3110" fmla="*/ 50006 w 6400800"/>
                <a:gd name="connsiteY3110" fmla="*/ 245269 h 514350"/>
                <a:gd name="connsiteX3111" fmla="*/ 53816 w 6400800"/>
                <a:gd name="connsiteY3111" fmla="*/ 270034 h 514350"/>
                <a:gd name="connsiteX3112" fmla="*/ 58579 w 6400800"/>
                <a:gd name="connsiteY3112" fmla="*/ 302419 h 514350"/>
                <a:gd name="connsiteX3113" fmla="*/ 64294 w 6400800"/>
                <a:gd name="connsiteY3113" fmla="*/ 340519 h 514350"/>
                <a:gd name="connsiteX3114" fmla="*/ 69056 w 6400800"/>
                <a:gd name="connsiteY3114" fmla="*/ 381476 h 514350"/>
                <a:gd name="connsiteX3115" fmla="*/ 67151 w 6400800"/>
                <a:gd name="connsiteY3115" fmla="*/ 385286 h 514350"/>
                <a:gd name="connsiteX3116" fmla="*/ 60484 w 6400800"/>
                <a:gd name="connsiteY3116" fmla="*/ 405289 h 514350"/>
                <a:gd name="connsiteX3117" fmla="*/ 59531 w 6400800"/>
                <a:gd name="connsiteY3117" fmla="*/ 407194 h 514350"/>
                <a:gd name="connsiteX3118" fmla="*/ 56674 w 6400800"/>
                <a:gd name="connsiteY3118" fmla="*/ 407194 h 514350"/>
                <a:gd name="connsiteX3119" fmla="*/ 54769 w 6400800"/>
                <a:gd name="connsiteY3119" fmla="*/ 399574 h 514350"/>
                <a:gd name="connsiteX3120" fmla="*/ 46196 w 6400800"/>
                <a:gd name="connsiteY3120" fmla="*/ 364331 h 514350"/>
                <a:gd name="connsiteX3121" fmla="*/ 37624 w 6400800"/>
                <a:gd name="connsiteY3121" fmla="*/ 332899 h 514350"/>
                <a:gd name="connsiteX3122" fmla="*/ 21431 w 6400800"/>
                <a:gd name="connsiteY3122" fmla="*/ 287179 h 514350"/>
                <a:gd name="connsiteX3123" fmla="*/ 13811 w 6400800"/>
                <a:gd name="connsiteY3123" fmla="*/ 270034 h 514350"/>
                <a:gd name="connsiteX3124" fmla="*/ 17621 w 6400800"/>
                <a:gd name="connsiteY3124" fmla="*/ 288131 h 514350"/>
                <a:gd name="connsiteX3125" fmla="*/ 21431 w 6400800"/>
                <a:gd name="connsiteY3125" fmla="*/ 309086 h 514350"/>
                <a:gd name="connsiteX3126" fmla="*/ 26194 w 6400800"/>
                <a:gd name="connsiteY3126" fmla="*/ 335756 h 514350"/>
                <a:gd name="connsiteX3127" fmla="*/ 31909 w 6400800"/>
                <a:gd name="connsiteY3127" fmla="*/ 367189 h 514350"/>
                <a:gd name="connsiteX3128" fmla="*/ 39529 w 6400800"/>
                <a:gd name="connsiteY3128" fmla="*/ 402431 h 514350"/>
                <a:gd name="connsiteX3129" fmla="*/ 39529 w 6400800"/>
                <a:gd name="connsiteY3129" fmla="*/ 404336 h 514350"/>
                <a:gd name="connsiteX3130" fmla="*/ 7144 w 6400800"/>
                <a:gd name="connsiteY3130" fmla="*/ 399574 h 514350"/>
                <a:gd name="connsiteX3131" fmla="*/ 7144 w 6400800"/>
                <a:gd name="connsiteY3131" fmla="*/ 511016 h 514350"/>
                <a:gd name="connsiteX3132" fmla="*/ 6277451 w 6400800"/>
                <a:gd name="connsiteY3132" fmla="*/ 364331 h 514350"/>
                <a:gd name="connsiteX3133" fmla="*/ 6279356 w 6400800"/>
                <a:gd name="connsiteY3133" fmla="*/ 357664 h 514350"/>
                <a:gd name="connsiteX3134" fmla="*/ 6279356 w 6400800"/>
                <a:gd name="connsiteY3134" fmla="*/ 361474 h 514350"/>
                <a:gd name="connsiteX3135" fmla="*/ 6277451 w 6400800"/>
                <a:gd name="connsiteY3135" fmla="*/ 399574 h 514350"/>
                <a:gd name="connsiteX3136" fmla="*/ 6267926 w 6400800"/>
                <a:gd name="connsiteY3136" fmla="*/ 430054 h 514350"/>
                <a:gd name="connsiteX3137" fmla="*/ 6266021 w 6400800"/>
                <a:gd name="connsiteY3137" fmla="*/ 430054 h 514350"/>
                <a:gd name="connsiteX3138" fmla="*/ 6260306 w 6400800"/>
                <a:gd name="connsiteY3138" fmla="*/ 421481 h 514350"/>
                <a:gd name="connsiteX3139" fmla="*/ 6277451 w 6400800"/>
                <a:gd name="connsiteY3139" fmla="*/ 364331 h 514350"/>
                <a:gd name="connsiteX3140" fmla="*/ 6211729 w 6400800"/>
                <a:gd name="connsiteY3140" fmla="*/ 425291 h 514350"/>
                <a:gd name="connsiteX3141" fmla="*/ 6212681 w 6400800"/>
                <a:gd name="connsiteY3141" fmla="*/ 398621 h 514350"/>
                <a:gd name="connsiteX3142" fmla="*/ 6213634 w 6400800"/>
                <a:gd name="connsiteY3142" fmla="*/ 390049 h 514350"/>
                <a:gd name="connsiteX3143" fmla="*/ 6216492 w 6400800"/>
                <a:gd name="connsiteY3143" fmla="*/ 393859 h 514350"/>
                <a:gd name="connsiteX3144" fmla="*/ 6227921 w 6400800"/>
                <a:gd name="connsiteY3144" fmla="*/ 408146 h 514350"/>
                <a:gd name="connsiteX3145" fmla="*/ 6225064 w 6400800"/>
                <a:gd name="connsiteY3145" fmla="*/ 412909 h 514350"/>
                <a:gd name="connsiteX3146" fmla="*/ 6221254 w 6400800"/>
                <a:gd name="connsiteY3146" fmla="*/ 420529 h 514350"/>
                <a:gd name="connsiteX3147" fmla="*/ 6218396 w 6400800"/>
                <a:gd name="connsiteY3147" fmla="*/ 429101 h 514350"/>
                <a:gd name="connsiteX3148" fmla="*/ 6217444 w 6400800"/>
                <a:gd name="connsiteY3148" fmla="*/ 431006 h 514350"/>
                <a:gd name="connsiteX3149" fmla="*/ 6217444 w 6400800"/>
                <a:gd name="connsiteY3149" fmla="*/ 429101 h 514350"/>
                <a:gd name="connsiteX3150" fmla="*/ 6215539 w 6400800"/>
                <a:gd name="connsiteY3150" fmla="*/ 413861 h 514350"/>
                <a:gd name="connsiteX3151" fmla="*/ 6213634 w 6400800"/>
                <a:gd name="connsiteY3151" fmla="*/ 429101 h 514350"/>
                <a:gd name="connsiteX3152" fmla="*/ 6211729 w 6400800"/>
                <a:gd name="connsiteY3152" fmla="*/ 441484 h 514350"/>
                <a:gd name="connsiteX3153" fmla="*/ 6211729 w 6400800"/>
                <a:gd name="connsiteY3153" fmla="*/ 425291 h 514350"/>
                <a:gd name="connsiteX3154" fmla="*/ 6183154 w 6400800"/>
                <a:gd name="connsiteY3154" fmla="*/ 343376 h 514350"/>
                <a:gd name="connsiteX3155" fmla="*/ 6187917 w 6400800"/>
                <a:gd name="connsiteY3155" fmla="*/ 350996 h 514350"/>
                <a:gd name="connsiteX3156" fmla="*/ 6191726 w 6400800"/>
                <a:gd name="connsiteY3156" fmla="*/ 356711 h 514350"/>
                <a:gd name="connsiteX3157" fmla="*/ 6183154 w 6400800"/>
                <a:gd name="connsiteY3157" fmla="*/ 388144 h 514350"/>
                <a:gd name="connsiteX3158" fmla="*/ 6182201 w 6400800"/>
                <a:gd name="connsiteY3158" fmla="*/ 391954 h 514350"/>
                <a:gd name="connsiteX3159" fmla="*/ 6181249 w 6400800"/>
                <a:gd name="connsiteY3159" fmla="*/ 375761 h 514350"/>
                <a:gd name="connsiteX3160" fmla="*/ 6181249 w 6400800"/>
                <a:gd name="connsiteY3160" fmla="*/ 372904 h 514350"/>
                <a:gd name="connsiteX3161" fmla="*/ 6183154 w 6400800"/>
                <a:gd name="connsiteY3161" fmla="*/ 343376 h 514350"/>
                <a:gd name="connsiteX3162" fmla="*/ 6144101 w 6400800"/>
                <a:gd name="connsiteY3162" fmla="*/ 308134 h 514350"/>
                <a:gd name="connsiteX3163" fmla="*/ 6147912 w 6400800"/>
                <a:gd name="connsiteY3163" fmla="*/ 276701 h 514350"/>
                <a:gd name="connsiteX3164" fmla="*/ 6153626 w 6400800"/>
                <a:gd name="connsiteY3164" fmla="*/ 289084 h 514350"/>
                <a:gd name="connsiteX3165" fmla="*/ 6161246 w 6400800"/>
                <a:gd name="connsiteY3165" fmla="*/ 305276 h 514350"/>
                <a:gd name="connsiteX3166" fmla="*/ 6157437 w 6400800"/>
                <a:gd name="connsiteY3166" fmla="*/ 319564 h 514350"/>
                <a:gd name="connsiteX3167" fmla="*/ 6152674 w 6400800"/>
                <a:gd name="connsiteY3167" fmla="*/ 342424 h 514350"/>
                <a:gd name="connsiteX3168" fmla="*/ 6150769 w 6400800"/>
                <a:gd name="connsiteY3168" fmla="*/ 356711 h 514350"/>
                <a:gd name="connsiteX3169" fmla="*/ 6149817 w 6400800"/>
                <a:gd name="connsiteY3169" fmla="*/ 360521 h 514350"/>
                <a:gd name="connsiteX3170" fmla="*/ 6148864 w 6400800"/>
                <a:gd name="connsiteY3170" fmla="*/ 365284 h 514350"/>
                <a:gd name="connsiteX3171" fmla="*/ 6146006 w 6400800"/>
                <a:gd name="connsiteY3171" fmla="*/ 360521 h 514350"/>
                <a:gd name="connsiteX3172" fmla="*/ 6147912 w 6400800"/>
                <a:gd name="connsiteY3172" fmla="*/ 368141 h 514350"/>
                <a:gd name="connsiteX3173" fmla="*/ 6145054 w 6400800"/>
                <a:gd name="connsiteY3173" fmla="*/ 389096 h 514350"/>
                <a:gd name="connsiteX3174" fmla="*/ 6144101 w 6400800"/>
                <a:gd name="connsiteY3174" fmla="*/ 386239 h 514350"/>
                <a:gd name="connsiteX3175" fmla="*/ 6143149 w 6400800"/>
                <a:gd name="connsiteY3175" fmla="*/ 384334 h 514350"/>
                <a:gd name="connsiteX3176" fmla="*/ 6142196 w 6400800"/>
                <a:gd name="connsiteY3176" fmla="*/ 369094 h 514350"/>
                <a:gd name="connsiteX3177" fmla="*/ 6139339 w 6400800"/>
                <a:gd name="connsiteY3177" fmla="*/ 343376 h 514350"/>
                <a:gd name="connsiteX3178" fmla="*/ 6144101 w 6400800"/>
                <a:gd name="connsiteY3178" fmla="*/ 308134 h 514350"/>
                <a:gd name="connsiteX3179" fmla="*/ 6095524 w 6400800"/>
                <a:gd name="connsiteY3179" fmla="*/ 384334 h 514350"/>
                <a:gd name="connsiteX3180" fmla="*/ 6088856 w 6400800"/>
                <a:gd name="connsiteY3180" fmla="*/ 412909 h 514350"/>
                <a:gd name="connsiteX3181" fmla="*/ 6083142 w 6400800"/>
                <a:gd name="connsiteY3181" fmla="*/ 435769 h 514350"/>
                <a:gd name="connsiteX3182" fmla="*/ 6076474 w 6400800"/>
                <a:gd name="connsiteY3182" fmla="*/ 411956 h 514350"/>
                <a:gd name="connsiteX3183" fmla="*/ 6079331 w 6400800"/>
                <a:gd name="connsiteY3183" fmla="*/ 391001 h 514350"/>
                <a:gd name="connsiteX3184" fmla="*/ 6084094 w 6400800"/>
                <a:gd name="connsiteY3184" fmla="*/ 368141 h 514350"/>
                <a:gd name="connsiteX3185" fmla="*/ 6088856 w 6400800"/>
                <a:gd name="connsiteY3185" fmla="*/ 347186 h 514350"/>
                <a:gd name="connsiteX3186" fmla="*/ 6091714 w 6400800"/>
                <a:gd name="connsiteY3186" fmla="*/ 348139 h 514350"/>
                <a:gd name="connsiteX3187" fmla="*/ 6095524 w 6400800"/>
                <a:gd name="connsiteY3187" fmla="*/ 350996 h 514350"/>
                <a:gd name="connsiteX3188" fmla="*/ 6100287 w 6400800"/>
                <a:gd name="connsiteY3188" fmla="*/ 359569 h 514350"/>
                <a:gd name="connsiteX3189" fmla="*/ 6095524 w 6400800"/>
                <a:gd name="connsiteY3189" fmla="*/ 384334 h 514350"/>
                <a:gd name="connsiteX3190" fmla="*/ 6102192 w 6400800"/>
                <a:gd name="connsiteY3190" fmla="*/ 206216 h 514350"/>
                <a:gd name="connsiteX3191" fmla="*/ 6101239 w 6400800"/>
                <a:gd name="connsiteY3191" fmla="*/ 235744 h 514350"/>
                <a:gd name="connsiteX3192" fmla="*/ 6101239 w 6400800"/>
                <a:gd name="connsiteY3192" fmla="*/ 241459 h 514350"/>
                <a:gd name="connsiteX3193" fmla="*/ 6101239 w 6400800"/>
                <a:gd name="connsiteY3193" fmla="*/ 242411 h 514350"/>
                <a:gd name="connsiteX3194" fmla="*/ 6101239 w 6400800"/>
                <a:gd name="connsiteY3194" fmla="*/ 242411 h 514350"/>
                <a:gd name="connsiteX3195" fmla="*/ 6100287 w 6400800"/>
                <a:gd name="connsiteY3195" fmla="*/ 239554 h 514350"/>
                <a:gd name="connsiteX3196" fmla="*/ 6097429 w 6400800"/>
                <a:gd name="connsiteY3196" fmla="*/ 230981 h 514350"/>
                <a:gd name="connsiteX3197" fmla="*/ 6102192 w 6400800"/>
                <a:gd name="connsiteY3197" fmla="*/ 206216 h 514350"/>
                <a:gd name="connsiteX3198" fmla="*/ 6100287 w 6400800"/>
                <a:gd name="connsiteY3198" fmla="*/ 284321 h 514350"/>
                <a:gd name="connsiteX3199" fmla="*/ 6098381 w 6400800"/>
                <a:gd name="connsiteY3199" fmla="*/ 279559 h 514350"/>
                <a:gd name="connsiteX3200" fmla="*/ 6099334 w 6400800"/>
                <a:gd name="connsiteY3200" fmla="*/ 277654 h 514350"/>
                <a:gd name="connsiteX3201" fmla="*/ 6100287 w 6400800"/>
                <a:gd name="connsiteY3201" fmla="*/ 284321 h 514350"/>
                <a:gd name="connsiteX3202" fmla="*/ 6093619 w 6400800"/>
                <a:gd name="connsiteY3202" fmla="*/ 247174 h 514350"/>
                <a:gd name="connsiteX3203" fmla="*/ 6095524 w 6400800"/>
                <a:gd name="connsiteY3203" fmla="*/ 255746 h 514350"/>
                <a:gd name="connsiteX3204" fmla="*/ 6091714 w 6400800"/>
                <a:gd name="connsiteY3204" fmla="*/ 264319 h 514350"/>
                <a:gd name="connsiteX3205" fmla="*/ 6090762 w 6400800"/>
                <a:gd name="connsiteY3205" fmla="*/ 262414 h 514350"/>
                <a:gd name="connsiteX3206" fmla="*/ 6093619 w 6400800"/>
                <a:gd name="connsiteY3206" fmla="*/ 247174 h 514350"/>
                <a:gd name="connsiteX3207" fmla="*/ 6088856 w 6400800"/>
                <a:gd name="connsiteY3207" fmla="*/ 269081 h 514350"/>
                <a:gd name="connsiteX3208" fmla="*/ 6088856 w 6400800"/>
                <a:gd name="connsiteY3208" fmla="*/ 270034 h 514350"/>
                <a:gd name="connsiteX3209" fmla="*/ 6088856 w 6400800"/>
                <a:gd name="connsiteY3209" fmla="*/ 270034 h 514350"/>
                <a:gd name="connsiteX3210" fmla="*/ 6087904 w 6400800"/>
                <a:gd name="connsiteY3210" fmla="*/ 272891 h 514350"/>
                <a:gd name="connsiteX3211" fmla="*/ 6088856 w 6400800"/>
                <a:gd name="connsiteY3211" fmla="*/ 269081 h 514350"/>
                <a:gd name="connsiteX3212" fmla="*/ 6067901 w 6400800"/>
                <a:gd name="connsiteY3212" fmla="*/ 369094 h 514350"/>
                <a:gd name="connsiteX3213" fmla="*/ 6080284 w 6400800"/>
                <a:gd name="connsiteY3213" fmla="*/ 339566 h 514350"/>
                <a:gd name="connsiteX3214" fmla="*/ 6085046 w 6400800"/>
                <a:gd name="connsiteY3214" fmla="*/ 326231 h 514350"/>
                <a:gd name="connsiteX3215" fmla="*/ 6088856 w 6400800"/>
                <a:gd name="connsiteY3215" fmla="*/ 313849 h 514350"/>
                <a:gd name="connsiteX3216" fmla="*/ 6093619 w 6400800"/>
                <a:gd name="connsiteY3216" fmla="*/ 293846 h 514350"/>
                <a:gd name="connsiteX3217" fmla="*/ 6093619 w 6400800"/>
                <a:gd name="connsiteY3217" fmla="*/ 293846 h 514350"/>
                <a:gd name="connsiteX3218" fmla="*/ 6096476 w 6400800"/>
                <a:gd name="connsiteY3218" fmla="*/ 310991 h 514350"/>
                <a:gd name="connsiteX3219" fmla="*/ 6100287 w 6400800"/>
                <a:gd name="connsiteY3219" fmla="*/ 339566 h 514350"/>
                <a:gd name="connsiteX3220" fmla="*/ 6101239 w 6400800"/>
                <a:gd name="connsiteY3220" fmla="*/ 355759 h 514350"/>
                <a:gd name="connsiteX3221" fmla="*/ 6101239 w 6400800"/>
                <a:gd name="connsiteY3221" fmla="*/ 355759 h 514350"/>
                <a:gd name="connsiteX3222" fmla="*/ 6100287 w 6400800"/>
                <a:gd name="connsiteY3222" fmla="*/ 359569 h 514350"/>
                <a:gd name="connsiteX3223" fmla="*/ 6097429 w 6400800"/>
                <a:gd name="connsiteY3223" fmla="*/ 350044 h 514350"/>
                <a:gd name="connsiteX3224" fmla="*/ 6093619 w 6400800"/>
                <a:gd name="connsiteY3224" fmla="*/ 345281 h 514350"/>
                <a:gd name="connsiteX3225" fmla="*/ 6087904 w 6400800"/>
                <a:gd name="connsiteY3225" fmla="*/ 342424 h 514350"/>
                <a:gd name="connsiteX3226" fmla="*/ 6085999 w 6400800"/>
                <a:gd name="connsiteY3226" fmla="*/ 341471 h 514350"/>
                <a:gd name="connsiteX3227" fmla="*/ 6085046 w 6400800"/>
                <a:gd name="connsiteY3227" fmla="*/ 343376 h 514350"/>
                <a:gd name="connsiteX3228" fmla="*/ 6076474 w 6400800"/>
                <a:gd name="connsiteY3228" fmla="*/ 365284 h 514350"/>
                <a:gd name="connsiteX3229" fmla="*/ 6069806 w 6400800"/>
                <a:gd name="connsiteY3229" fmla="*/ 384334 h 514350"/>
                <a:gd name="connsiteX3230" fmla="*/ 6065996 w 6400800"/>
                <a:gd name="connsiteY3230" fmla="*/ 372904 h 514350"/>
                <a:gd name="connsiteX3231" fmla="*/ 6067901 w 6400800"/>
                <a:gd name="connsiteY3231" fmla="*/ 369094 h 514350"/>
                <a:gd name="connsiteX3232" fmla="*/ 6035517 w 6400800"/>
                <a:gd name="connsiteY3232" fmla="*/ 310039 h 514350"/>
                <a:gd name="connsiteX3233" fmla="*/ 6035517 w 6400800"/>
                <a:gd name="connsiteY3233" fmla="*/ 308134 h 514350"/>
                <a:gd name="connsiteX3234" fmla="*/ 6040279 w 6400800"/>
                <a:gd name="connsiteY3234" fmla="*/ 324326 h 514350"/>
                <a:gd name="connsiteX3235" fmla="*/ 6044089 w 6400800"/>
                <a:gd name="connsiteY3235" fmla="*/ 338614 h 514350"/>
                <a:gd name="connsiteX3236" fmla="*/ 6038374 w 6400800"/>
                <a:gd name="connsiteY3236" fmla="*/ 355759 h 514350"/>
                <a:gd name="connsiteX3237" fmla="*/ 6033612 w 6400800"/>
                <a:gd name="connsiteY3237" fmla="*/ 330041 h 514350"/>
                <a:gd name="connsiteX3238" fmla="*/ 6035517 w 6400800"/>
                <a:gd name="connsiteY3238" fmla="*/ 310039 h 514350"/>
                <a:gd name="connsiteX3239" fmla="*/ 6012656 w 6400800"/>
                <a:gd name="connsiteY3239" fmla="*/ 361474 h 514350"/>
                <a:gd name="connsiteX3240" fmla="*/ 6012656 w 6400800"/>
                <a:gd name="connsiteY3240" fmla="*/ 363379 h 514350"/>
                <a:gd name="connsiteX3241" fmla="*/ 6012656 w 6400800"/>
                <a:gd name="connsiteY3241" fmla="*/ 359569 h 514350"/>
                <a:gd name="connsiteX3242" fmla="*/ 6012656 w 6400800"/>
                <a:gd name="connsiteY3242" fmla="*/ 361474 h 514350"/>
                <a:gd name="connsiteX3243" fmla="*/ 6007894 w 6400800"/>
                <a:gd name="connsiteY3243" fmla="*/ 351949 h 514350"/>
                <a:gd name="connsiteX3244" fmla="*/ 6007894 w 6400800"/>
                <a:gd name="connsiteY3244" fmla="*/ 352901 h 514350"/>
                <a:gd name="connsiteX3245" fmla="*/ 6007894 w 6400800"/>
                <a:gd name="connsiteY3245" fmla="*/ 351949 h 514350"/>
                <a:gd name="connsiteX3246" fmla="*/ 6007894 w 6400800"/>
                <a:gd name="connsiteY3246" fmla="*/ 351949 h 514350"/>
                <a:gd name="connsiteX3247" fmla="*/ 5976462 w 6400800"/>
                <a:gd name="connsiteY3247" fmla="*/ 410051 h 514350"/>
                <a:gd name="connsiteX3248" fmla="*/ 5973604 w 6400800"/>
                <a:gd name="connsiteY3248" fmla="*/ 402431 h 514350"/>
                <a:gd name="connsiteX3249" fmla="*/ 5972651 w 6400800"/>
                <a:gd name="connsiteY3249" fmla="*/ 398621 h 514350"/>
                <a:gd name="connsiteX3250" fmla="*/ 5971699 w 6400800"/>
                <a:gd name="connsiteY3250" fmla="*/ 391001 h 514350"/>
                <a:gd name="connsiteX3251" fmla="*/ 5973604 w 6400800"/>
                <a:gd name="connsiteY3251" fmla="*/ 386239 h 514350"/>
                <a:gd name="connsiteX3252" fmla="*/ 5977414 w 6400800"/>
                <a:gd name="connsiteY3252" fmla="*/ 374809 h 514350"/>
                <a:gd name="connsiteX3253" fmla="*/ 5976462 w 6400800"/>
                <a:gd name="connsiteY3253" fmla="*/ 410051 h 514350"/>
                <a:gd name="connsiteX3254" fmla="*/ 5976462 w 6400800"/>
                <a:gd name="connsiteY3254" fmla="*/ 239554 h 514350"/>
                <a:gd name="connsiteX3255" fmla="*/ 5978367 w 6400800"/>
                <a:gd name="connsiteY3255" fmla="*/ 250031 h 514350"/>
                <a:gd name="connsiteX3256" fmla="*/ 5979319 w 6400800"/>
                <a:gd name="connsiteY3256" fmla="*/ 256699 h 514350"/>
                <a:gd name="connsiteX3257" fmla="*/ 5974556 w 6400800"/>
                <a:gd name="connsiteY3257" fmla="*/ 248126 h 514350"/>
                <a:gd name="connsiteX3258" fmla="*/ 5976462 w 6400800"/>
                <a:gd name="connsiteY3258" fmla="*/ 239554 h 514350"/>
                <a:gd name="connsiteX3259" fmla="*/ 5965984 w 6400800"/>
                <a:gd name="connsiteY3259" fmla="*/ 291941 h 514350"/>
                <a:gd name="connsiteX3260" fmla="*/ 5966937 w 6400800"/>
                <a:gd name="connsiteY3260" fmla="*/ 286226 h 514350"/>
                <a:gd name="connsiteX3261" fmla="*/ 5967889 w 6400800"/>
                <a:gd name="connsiteY3261" fmla="*/ 282416 h 514350"/>
                <a:gd name="connsiteX3262" fmla="*/ 5970746 w 6400800"/>
                <a:gd name="connsiteY3262" fmla="*/ 269081 h 514350"/>
                <a:gd name="connsiteX3263" fmla="*/ 5983129 w 6400800"/>
                <a:gd name="connsiteY3263" fmla="*/ 298609 h 514350"/>
                <a:gd name="connsiteX3264" fmla="*/ 5980271 w 6400800"/>
                <a:gd name="connsiteY3264" fmla="*/ 330994 h 514350"/>
                <a:gd name="connsiteX3265" fmla="*/ 5979319 w 6400800"/>
                <a:gd name="connsiteY3265" fmla="*/ 331946 h 514350"/>
                <a:gd name="connsiteX3266" fmla="*/ 5976462 w 6400800"/>
                <a:gd name="connsiteY3266" fmla="*/ 328136 h 514350"/>
                <a:gd name="connsiteX3267" fmla="*/ 5979319 w 6400800"/>
                <a:gd name="connsiteY3267" fmla="*/ 332899 h 514350"/>
                <a:gd name="connsiteX3268" fmla="*/ 5972651 w 6400800"/>
                <a:gd name="connsiteY3268" fmla="*/ 346234 h 514350"/>
                <a:gd name="connsiteX3269" fmla="*/ 5967889 w 6400800"/>
                <a:gd name="connsiteY3269" fmla="*/ 355759 h 514350"/>
                <a:gd name="connsiteX3270" fmla="*/ 5967889 w 6400800"/>
                <a:gd name="connsiteY3270" fmla="*/ 355759 h 514350"/>
                <a:gd name="connsiteX3271" fmla="*/ 5966937 w 6400800"/>
                <a:gd name="connsiteY3271" fmla="*/ 351949 h 514350"/>
                <a:gd name="connsiteX3272" fmla="*/ 5965031 w 6400800"/>
                <a:gd name="connsiteY3272" fmla="*/ 333851 h 514350"/>
                <a:gd name="connsiteX3273" fmla="*/ 5963126 w 6400800"/>
                <a:gd name="connsiteY3273" fmla="*/ 299561 h 514350"/>
                <a:gd name="connsiteX3274" fmla="*/ 5965984 w 6400800"/>
                <a:gd name="connsiteY3274" fmla="*/ 291941 h 514350"/>
                <a:gd name="connsiteX3275" fmla="*/ 5952649 w 6400800"/>
                <a:gd name="connsiteY3275" fmla="*/ 385286 h 514350"/>
                <a:gd name="connsiteX3276" fmla="*/ 5952649 w 6400800"/>
                <a:gd name="connsiteY3276" fmla="*/ 385286 h 514350"/>
                <a:gd name="connsiteX3277" fmla="*/ 5952649 w 6400800"/>
                <a:gd name="connsiteY3277" fmla="*/ 385286 h 514350"/>
                <a:gd name="connsiteX3278" fmla="*/ 5952649 w 6400800"/>
                <a:gd name="connsiteY3278" fmla="*/ 385286 h 514350"/>
                <a:gd name="connsiteX3279" fmla="*/ 5934551 w 6400800"/>
                <a:gd name="connsiteY3279" fmla="*/ 339566 h 514350"/>
                <a:gd name="connsiteX3280" fmla="*/ 5933599 w 6400800"/>
                <a:gd name="connsiteY3280" fmla="*/ 332899 h 514350"/>
                <a:gd name="connsiteX3281" fmla="*/ 5933599 w 6400800"/>
                <a:gd name="connsiteY3281" fmla="*/ 330994 h 514350"/>
                <a:gd name="connsiteX3282" fmla="*/ 5935504 w 6400800"/>
                <a:gd name="connsiteY3282" fmla="*/ 336709 h 514350"/>
                <a:gd name="connsiteX3283" fmla="*/ 5934551 w 6400800"/>
                <a:gd name="connsiteY3283" fmla="*/ 339566 h 514350"/>
                <a:gd name="connsiteX3284" fmla="*/ 5948839 w 6400800"/>
                <a:gd name="connsiteY3284" fmla="*/ 371951 h 514350"/>
                <a:gd name="connsiteX3285" fmla="*/ 5945981 w 6400800"/>
                <a:gd name="connsiteY3285" fmla="*/ 382429 h 514350"/>
                <a:gd name="connsiteX3286" fmla="*/ 5943124 w 6400800"/>
                <a:gd name="connsiteY3286" fmla="*/ 392906 h 514350"/>
                <a:gd name="connsiteX3287" fmla="*/ 5943124 w 6400800"/>
                <a:gd name="connsiteY3287" fmla="*/ 378619 h 514350"/>
                <a:gd name="connsiteX3288" fmla="*/ 5943124 w 6400800"/>
                <a:gd name="connsiteY3288" fmla="*/ 378619 h 514350"/>
                <a:gd name="connsiteX3289" fmla="*/ 5946934 w 6400800"/>
                <a:gd name="connsiteY3289" fmla="*/ 365284 h 514350"/>
                <a:gd name="connsiteX3290" fmla="*/ 5948839 w 6400800"/>
                <a:gd name="connsiteY3290" fmla="*/ 371951 h 514350"/>
                <a:gd name="connsiteX3291" fmla="*/ 5930742 w 6400800"/>
                <a:gd name="connsiteY3291" fmla="*/ 234791 h 514350"/>
                <a:gd name="connsiteX3292" fmla="*/ 5938362 w 6400800"/>
                <a:gd name="connsiteY3292" fmla="*/ 269081 h 514350"/>
                <a:gd name="connsiteX3293" fmla="*/ 5945029 w 6400800"/>
                <a:gd name="connsiteY3293" fmla="*/ 307181 h 514350"/>
                <a:gd name="connsiteX3294" fmla="*/ 5940267 w 6400800"/>
                <a:gd name="connsiteY3294" fmla="*/ 323374 h 514350"/>
                <a:gd name="connsiteX3295" fmla="*/ 5940267 w 6400800"/>
                <a:gd name="connsiteY3295" fmla="*/ 324326 h 514350"/>
                <a:gd name="connsiteX3296" fmla="*/ 5931694 w 6400800"/>
                <a:gd name="connsiteY3296" fmla="*/ 307181 h 514350"/>
                <a:gd name="connsiteX3297" fmla="*/ 5928837 w 6400800"/>
                <a:gd name="connsiteY3297" fmla="*/ 284321 h 514350"/>
                <a:gd name="connsiteX3298" fmla="*/ 5926931 w 6400800"/>
                <a:gd name="connsiteY3298" fmla="*/ 266224 h 514350"/>
                <a:gd name="connsiteX3299" fmla="*/ 5929789 w 6400800"/>
                <a:gd name="connsiteY3299" fmla="*/ 259556 h 514350"/>
                <a:gd name="connsiteX3300" fmla="*/ 5926931 w 6400800"/>
                <a:gd name="connsiteY3300" fmla="*/ 264319 h 514350"/>
                <a:gd name="connsiteX3301" fmla="*/ 5925026 w 6400800"/>
                <a:gd name="connsiteY3301" fmla="*/ 245269 h 514350"/>
                <a:gd name="connsiteX3302" fmla="*/ 5926931 w 6400800"/>
                <a:gd name="connsiteY3302" fmla="*/ 233839 h 514350"/>
                <a:gd name="connsiteX3303" fmla="*/ 5928837 w 6400800"/>
                <a:gd name="connsiteY3303" fmla="*/ 226219 h 514350"/>
                <a:gd name="connsiteX3304" fmla="*/ 5930742 w 6400800"/>
                <a:gd name="connsiteY3304" fmla="*/ 234791 h 514350"/>
                <a:gd name="connsiteX3305" fmla="*/ 5923121 w 6400800"/>
                <a:gd name="connsiteY3305" fmla="*/ 209074 h 514350"/>
                <a:gd name="connsiteX3306" fmla="*/ 5926931 w 6400800"/>
                <a:gd name="connsiteY3306" fmla="*/ 222409 h 514350"/>
                <a:gd name="connsiteX3307" fmla="*/ 5922169 w 6400800"/>
                <a:gd name="connsiteY3307" fmla="*/ 232886 h 514350"/>
                <a:gd name="connsiteX3308" fmla="*/ 5919312 w 6400800"/>
                <a:gd name="connsiteY3308" fmla="*/ 206216 h 514350"/>
                <a:gd name="connsiteX3309" fmla="*/ 5918359 w 6400800"/>
                <a:gd name="connsiteY3309" fmla="*/ 193834 h 514350"/>
                <a:gd name="connsiteX3310" fmla="*/ 5923121 w 6400800"/>
                <a:gd name="connsiteY3310" fmla="*/ 209074 h 514350"/>
                <a:gd name="connsiteX3311" fmla="*/ 5901214 w 6400800"/>
                <a:gd name="connsiteY3311" fmla="*/ 244316 h 514350"/>
                <a:gd name="connsiteX3312" fmla="*/ 5901214 w 6400800"/>
                <a:gd name="connsiteY3312" fmla="*/ 258604 h 514350"/>
                <a:gd name="connsiteX3313" fmla="*/ 5902167 w 6400800"/>
                <a:gd name="connsiteY3313" fmla="*/ 278606 h 514350"/>
                <a:gd name="connsiteX3314" fmla="*/ 5904071 w 6400800"/>
                <a:gd name="connsiteY3314" fmla="*/ 302419 h 514350"/>
                <a:gd name="connsiteX3315" fmla="*/ 5900262 w 6400800"/>
                <a:gd name="connsiteY3315" fmla="*/ 310039 h 514350"/>
                <a:gd name="connsiteX3316" fmla="*/ 5895499 w 6400800"/>
                <a:gd name="connsiteY3316" fmla="*/ 284321 h 514350"/>
                <a:gd name="connsiteX3317" fmla="*/ 5901214 w 6400800"/>
                <a:gd name="connsiteY3317" fmla="*/ 244316 h 514350"/>
                <a:gd name="connsiteX3318" fmla="*/ 5903119 w 6400800"/>
                <a:gd name="connsiteY3318" fmla="*/ 324326 h 514350"/>
                <a:gd name="connsiteX3319" fmla="*/ 5903119 w 6400800"/>
                <a:gd name="connsiteY3319" fmla="*/ 328136 h 514350"/>
                <a:gd name="connsiteX3320" fmla="*/ 5902167 w 6400800"/>
                <a:gd name="connsiteY3320" fmla="*/ 325279 h 514350"/>
                <a:gd name="connsiteX3321" fmla="*/ 5903119 w 6400800"/>
                <a:gd name="connsiteY3321" fmla="*/ 324326 h 514350"/>
                <a:gd name="connsiteX3322" fmla="*/ 5892642 w 6400800"/>
                <a:gd name="connsiteY3322" fmla="*/ 348139 h 514350"/>
                <a:gd name="connsiteX3323" fmla="*/ 5893594 w 6400800"/>
                <a:gd name="connsiteY3323" fmla="*/ 352901 h 514350"/>
                <a:gd name="connsiteX3324" fmla="*/ 5893594 w 6400800"/>
                <a:gd name="connsiteY3324" fmla="*/ 355759 h 514350"/>
                <a:gd name="connsiteX3325" fmla="*/ 5891689 w 6400800"/>
                <a:gd name="connsiteY3325" fmla="*/ 350996 h 514350"/>
                <a:gd name="connsiteX3326" fmla="*/ 5892642 w 6400800"/>
                <a:gd name="connsiteY3326" fmla="*/ 348139 h 514350"/>
                <a:gd name="connsiteX3327" fmla="*/ 5893594 w 6400800"/>
                <a:gd name="connsiteY3327" fmla="*/ 373856 h 514350"/>
                <a:gd name="connsiteX3328" fmla="*/ 5898356 w 6400800"/>
                <a:gd name="connsiteY3328" fmla="*/ 391954 h 514350"/>
                <a:gd name="connsiteX3329" fmla="*/ 5902167 w 6400800"/>
                <a:gd name="connsiteY3329" fmla="*/ 408146 h 514350"/>
                <a:gd name="connsiteX3330" fmla="*/ 5904071 w 6400800"/>
                <a:gd name="connsiteY3330" fmla="*/ 417671 h 514350"/>
                <a:gd name="connsiteX3331" fmla="*/ 5904071 w 6400800"/>
                <a:gd name="connsiteY3331" fmla="*/ 417671 h 514350"/>
                <a:gd name="connsiteX3332" fmla="*/ 5890737 w 6400800"/>
                <a:gd name="connsiteY3332" fmla="*/ 387191 h 514350"/>
                <a:gd name="connsiteX3333" fmla="*/ 5888831 w 6400800"/>
                <a:gd name="connsiteY3333" fmla="*/ 383381 h 514350"/>
                <a:gd name="connsiteX3334" fmla="*/ 5887879 w 6400800"/>
                <a:gd name="connsiteY3334" fmla="*/ 357664 h 514350"/>
                <a:gd name="connsiteX3335" fmla="*/ 5888831 w 6400800"/>
                <a:gd name="connsiteY3335" fmla="*/ 356711 h 514350"/>
                <a:gd name="connsiteX3336" fmla="*/ 5893594 w 6400800"/>
                <a:gd name="connsiteY3336" fmla="*/ 373856 h 514350"/>
                <a:gd name="connsiteX3337" fmla="*/ 5886926 w 6400800"/>
                <a:gd name="connsiteY3337" fmla="*/ 321469 h 514350"/>
                <a:gd name="connsiteX3338" fmla="*/ 5888831 w 6400800"/>
                <a:gd name="connsiteY3338" fmla="*/ 311944 h 514350"/>
                <a:gd name="connsiteX3339" fmla="*/ 5888831 w 6400800"/>
                <a:gd name="connsiteY3339" fmla="*/ 314801 h 514350"/>
                <a:gd name="connsiteX3340" fmla="*/ 5889784 w 6400800"/>
                <a:gd name="connsiteY3340" fmla="*/ 326231 h 514350"/>
                <a:gd name="connsiteX3341" fmla="*/ 5885974 w 6400800"/>
                <a:gd name="connsiteY3341" fmla="*/ 332899 h 514350"/>
                <a:gd name="connsiteX3342" fmla="*/ 5885974 w 6400800"/>
                <a:gd name="connsiteY3342" fmla="*/ 325279 h 514350"/>
                <a:gd name="connsiteX3343" fmla="*/ 5886926 w 6400800"/>
                <a:gd name="connsiteY3343" fmla="*/ 321469 h 514350"/>
                <a:gd name="connsiteX3344" fmla="*/ 5858351 w 6400800"/>
                <a:gd name="connsiteY3344" fmla="*/ 279559 h 514350"/>
                <a:gd name="connsiteX3345" fmla="*/ 5858351 w 6400800"/>
                <a:gd name="connsiteY3345" fmla="*/ 284321 h 514350"/>
                <a:gd name="connsiteX3346" fmla="*/ 5858351 w 6400800"/>
                <a:gd name="connsiteY3346" fmla="*/ 285274 h 514350"/>
                <a:gd name="connsiteX3347" fmla="*/ 5857399 w 6400800"/>
                <a:gd name="connsiteY3347" fmla="*/ 281464 h 514350"/>
                <a:gd name="connsiteX3348" fmla="*/ 5858351 w 6400800"/>
                <a:gd name="connsiteY3348" fmla="*/ 279559 h 514350"/>
                <a:gd name="connsiteX3349" fmla="*/ 5841206 w 6400800"/>
                <a:gd name="connsiteY3349" fmla="*/ 264319 h 514350"/>
                <a:gd name="connsiteX3350" fmla="*/ 5840254 w 6400800"/>
                <a:gd name="connsiteY3350" fmla="*/ 270034 h 514350"/>
                <a:gd name="connsiteX3351" fmla="*/ 5839301 w 6400800"/>
                <a:gd name="connsiteY3351" fmla="*/ 277654 h 514350"/>
                <a:gd name="connsiteX3352" fmla="*/ 5838349 w 6400800"/>
                <a:gd name="connsiteY3352" fmla="*/ 271939 h 514350"/>
                <a:gd name="connsiteX3353" fmla="*/ 5841206 w 6400800"/>
                <a:gd name="connsiteY3353" fmla="*/ 264319 h 514350"/>
                <a:gd name="connsiteX3354" fmla="*/ 5828824 w 6400800"/>
                <a:gd name="connsiteY3354" fmla="*/ 305276 h 514350"/>
                <a:gd name="connsiteX3355" fmla="*/ 5826919 w 6400800"/>
                <a:gd name="connsiteY3355" fmla="*/ 308134 h 514350"/>
                <a:gd name="connsiteX3356" fmla="*/ 5826919 w 6400800"/>
                <a:gd name="connsiteY3356" fmla="*/ 306229 h 514350"/>
                <a:gd name="connsiteX3357" fmla="*/ 5829776 w 6400800"/>
                <a:gd name="connsiteY3357" fmla="*/ 299561 h 514350"/>
                <a:gd name="connsiteX3358" fmla="*/ 5828824 w 6400800"/>
                <a:gd name="connsiteY3358" fmla="*/ 305276 h 514350"/>
                <a:gd name="connsiteX3359" fmla="*/ 5823109 w 6400800"/>
                <a:gd name="connsiteY3359" fmla="*/ 259556 h 514350"/>
                <a:gd name="connsiteX3360" fmla="*/ 5827871 w 6400800"/>
                <a:gd name="connsiteY3360" fmla="*/ 270986 h 514350"/>
                <a:gd name="connsiteX3361" fmla="*/ 5828824 w 6400800"/>
                <a:gd name="connsiteY3361" fmla="*/ 273844 h 514350"/>
                <a:gd name="connsiteX3362" fmla="*/ 5828824 w 6400800"/>
                <a:gd name="connsiteY3362" fmla="*/ 286226 h 514350"/>
                <a:gd name="connsiteX3363" fmla="*/ 5824062 w 6400800"/>
                <a:gd name="connsiteY3363" fmla="*/ 295751 h 514350"/>
                <a:gd name="connsiteX3364" fmla="*/ 5824062 w 6400800"/>
                <a:gd name="connsiteY3364" fmla="*/ 294799 h 514350"/>
                <a:gd name="connsiteX3365" fmla="*/ 5823109 w 6400800"/>
                <a:gd name="connsiteY3365" fmla="*/ 267176 h 514350"/>
                <a:gd name="connsiteX3366" fmla="*/ 5823109 w 6400800"/>
                <a:gd name="connsiteY3366" fmla="*/ 259556 h 514350"/>
                <a:gd name="connsiteX3367" fmla="*/ 5813584 w 6400800"/>
                <a:gd name="connsiteY3367" fmla="*/ 252889 h 514350"/>
                <a:gd name="connsiteX3368" fmla="*/ 5812631 w 6400800"/>
                <a:gd name="connsiteY3368" fmla="*/ 258604 h 514350"/>
                <a:gd name="connsiteX3369" fmla="*/ 5811679 w 6400800"/>
                <a:gd name="connsiteY3369" fmla="*/ 255746 h 514350"/>
                <a:gd name="connsiteX3370" fmla="*/ 5811679 w 6400800"/>
                <a:gd name="connsiteY3370" fmla="*/ 262414 h 514350"/>
                <a:gd name="connsiteX3371" fmla="*/ 5810726 w 6400800"/>
                <a:gd name="connsiteY3371" fmla="*/ 267176 h 514350"/>
                <a:gd name="connsiteX3372" fmla="*/ 5808821 w 6400800"/>
                <a:gd name="connsiteY3372" fmla="*/ 294799 h 514350"/>
                <a:gd name="connsiteX3373" fmla="*/ 5808821 w 6400800"/>
                <a:gd name="connsiteY3373" fmla="*/ 304324 h 514350"/>
                <a:gd name="connsiteX3374" fmla="*/ 5807869 w 6400800"/>
                <a:gd name="connsiteY3374" fmla="*/ 300514 h 514350"/>
                <a:gd name="connsiteX3375" fmla="*/ 5806917 w 6400800"/>
                <a:gd name="connsiteY3375" fmla="*/ 264319 h 514350"/>
                <a:gd name="connsiteX3376" fmla="*/ 5806917 w 6400800"/>
                <a:gd name="connsiteY3376" fmla="*/ 262414 h 514350"/>
                <a:gd name="connsiteX3377" fmla="*/ 5813584 w 6400800"/>
                <a:gd name="connsiteY3377" fmla="*/ 252889 h 514350"/>
                <a:gd name="connsiteX3378" fmla="*/ 5804059 w 6400800"/>
                <a:gd name="connsiteY3378" fmla="*/ 268129 h 514350"/>
                <a:gd name="connsiteX3379" fmla="*/ 5804059 w 6400800"/>
                <a:gd name="connsiteY3379" fmla="*/ 269081 h 514350"/>
                <a:gd name="connsiteX3380" fmla="*/ 5804059 w 6400800"/>
                <a:gd name="connsiteY3380" fmla="*/ 268129 h 514350"/>
                <a:gd name="connsiteX3381" fmla="*/ 5804059 w 6400800"/>
                <a:gd name="connsiteY3381" fmla="*/ 268129 h 514350"/>
                <a:gd name="connsiteX3382" fmla="*/ 5799296 w 6400800"/>
                <a:gd name="connsiteY3382" fmla="*/ 164306 h 514350"/>
                <a:gd name="connsiteX3383" fmla="*/ 5802154 w 6400800"/>
                <a:gd name="connsiteY3383" fmla="*/ 166211 h 514350"/>
                <a:gd name="connsiteX3384" fmla="*/ 5796439 w 6400800"/>
                <a:gd name="connsiteY3384" fmla="*/ 176689 h 514350"/>
                <a:gd name="connsiteX3385" fmla="*/ 5796439 w 6400800"/>
                <a:gd name="connsiteY3385" fmla="*/ 163354 h 514350"/>
                <a:gd name="connsiteX3386" fmla="*/ 5799296 w 6400800"/>
                <a:gd name="connsiteY3386" fmla="*/ 164306 h 514350"/>
                <a:gd name="connsiteX3387" fmla="*/ 5770721 w 6400800"/>
                <a:gd name="connsiteY3387" fmla="*/ 386239 h 514350"/>
                <a:gd name="connsiteX3388" fmla="*/ 5770721 w 6400800"/>
                <a:gd name="connsiteY3388" fmla="*/ 383381 h 514350"/>
                <a:gd name="connsiteX3389" fmla="*/ 5770721 w 6400800"/>
                <a:gd name="connsiteY3389" fmla="*/ 382429 h 514350"/>
                <a:gd name="connsiteX3390" fmla="*/ 5771674 w 6400800"/>
                <a:gd name="connsiteY3390" fmla="*/ 387191 h 514350"/>
                <a:gd name="connsiteX3391" fmla="*/ 5770721 w 6400800"/>
                <a:gd name="connsiteY3391" fmla="*/ 386239 h 514350"/>
                <a:gd name="connsiteX3392" fmla="*/ 5782151 w 6400800"/>
                <a:gd name="connsiteY3392" fmla="*/ 253841 h 514350"/>
                <a:gd name="connsiteX3393" fmla="*/ 5780246 w 6400800"/>
                <a:gd name="connsiteY3393" fmla="*/ 258604 h 514350"/>
                <a:gd name="connsiteX3394" fmla="*/ 5777389 w 6400800"/>
                <a:gd name="connsiteY3394" fmla="*/ 267176 h 514350"/>
                <a:gd name="connsiteX3395" fmla="*/ 5773579 w 6400800"/>
                <a:gd name="connsiteY3395" fmla="*/ 275749 h 514350"/>
                <a:gd name="connsiteX3396" fmla="*/ 5772626 w 6400800"/>
                <a:gd name="connsiteY3396" fmla="*/ 273844 h 514350"/>
                <a:gd name="connsiteX3397" fmla="*/ 5771674 w 6400800"/>
                <a:gd name="connsiteY3397" fmla="*/ 272891 h 514350"/>
                <a:gd name="connsiteX3398" fmla="*/ 5783104 w 6400800"/>
                <a:gd name="connsiteY3398" fmla="*/ 241459 h 514350"/>
                <a:gd name="connsiteX3399" fmla="*/ 5782151 w 6400800"/>
                <a:gd name="connsiteY3399" fmla="*/ 253841 h 514350"/>
                <a:gd name="connsiteX3400" fmla="*/ 5785962 w 6400800"/>
                <a:gd name="connsiteY3400" fmla="*/ 221456 h 514350"/>
                <a:gd name="connsiteX3401" fmla="*/ 5784056 w 6400800"/>
                <a:gd name="connsiteY3401" fmla="*/ 239554 h 514350"/>
                <a:gd name="connsiteX3402" fmla="*/ 5784056 w 6400800"/>
                <a:gd name="connsiteY3402" fmla="*/ 240506 h 514350"/>
                <a:gd name="connsiteX3403" fmla="*/ 5770721 w 6400800"/>
                <a:gd name="connsiteY3403" fmla="*/ 267176 h 514350"/>
                <a:gd name="connsiteX3404" fmla="*/ 5769769 w 6400800"/>
                <a:gd name="connsiteY3404" fmla="*/ 261461 h 514350"/>
                <a:gd name="connsiteX3405" fmla="*/ 5769769 w 6400800"/>
                <a:gd name="connsiteY3405" fmla="*/ 258604 h 514350"/>
                <a:gd name="connsiteX3406" fmla="*/ 5785962 w 6400800"/>
                <a:gd name="connsiteY3406" fmla="*/ 221456 h 514350"/>
                <a:gd name="connsiteX3407" fmla="*/ 5754529 w 6400800"/>
                <a:gd name="connsiteY3407" fmla="*/ 333851 h 514350"/>
                <a:gd name="connsiteX3408" fmla="*/ 5746909 w 6400800"/>
                <a:gd name="connsiteY3408" fmla="*/ 348139 h 514350"/>
                <a:gd name="connsiteX3409" fmla="*/ 5745956 w 6400800"/>
                <a:gd name="connsiteY3409" fmla="*/ 346234 h 514350"/>
                <a:gd name="connsiteX3410" fmla="*/ 5754529 w 6400800"/>
                <a:gd name="connsiteY3410" fmla="*/ 322421 h 514350"/>
                <a:gd name="connsiteX3411" fmla="*/ 5754529 w 6400800"/>
                <a:gd name="connsiteY3411" fmla="*/ 333851 h 514350"/>
                <a:gd name="connsiteX3412" fmla="*/ 5754529 w 6400800"/>
                <a:gd name="connsiteY3412" fmla="*/ 333851 h 514350"/>
                <a:gd name="connsiteX3413" fmla="*/ 5762149 w 6400800"/>
                <a:gd name="connsiteY3413" fmla="*/ 302419 h 514350"/>
                <a:gd name="connsiteX3414" fmla="*/ 5762149 w 6400800"/>
                <a:gd name="connsiteY3414" fmla="*/ 302419 h 514350"/>
                <a:gd name="connsiteX3415" fmla="*/ 5762149 w 6400800"/>
                <a:gd name="connsiteY3415" fmla="*/ 302419 h 514350"/>
                <a:gd name="connsiteX3416" fmla="*/ 5762149 w 6400800"/>
                <a:gd name="connsiteY3416" fmla="*/ 302419 h 514350"/>
                <a:gd name="connsiteX3417" fmla="*/ 5761196 w 6400800"/>
                <a:gd name="connsiteY3417" fmla="*/ 304324 h 514350"/>
                <a:gd name="connsiteX3418" fmla="*/ 5762149 w 6400800"/>
                <a:gd name="connsiteY3418" fmla="*/ 305276 h 514350"/>
                <a:gd name="connsiteX3419" fmla="*/ 5762149 w 6400800"/>
                <a:gd name="connsiteY3419" fmla="*/ 308134 h 514350"/>
                <a:gd name="connsiteX3420" fmla="*/ 5762149 w 6400800"/>
                <a:gd name="connsiteY3420" fmla="*/ 310039 h 514350"/>
                <a:gd name="connsiteX3421" fmla="*/ 5759292 w 6400800"/>
                <a:gd name="connsiteY3421" fmla="*/ 320516 h 514350"/>
                <a:gd name="connsiteX3422" fmla="*/ 5757387 w 6400800"/>
                <a:gd name="connsiteY3422" fmla="*/ 328136 h 514350"/>
                <a:gd name="connsiteX3423" fmla="*/ 5755481 w 6400800"/>
                <a:gd name="connsiteY3423" fmla="*/ 320516 h 514350"/>
                <a:gd name="connsiteX3424" fmla="*/ 5761196 w 6400800"/>
                <a:gd name="connsiteY3424" fmla="*/ 304324 h 514350"/>
                <a:gd name="connsiteX3425" fmla="*/ 5760244 w 6400800"/>
                <a:gd name="connsiteY3425" fmla="*/ 289084 h 514350"/>
                <a:gd name="connsiteX3426" fmla="*/ 5759292 w 6400800"/>
                <a:gd name="connsiteY3426" fmla="*/ 290989 h 514350"/>
                <a:gd name="connsiteX3427" fmla="*/ 5751671 w 6400800"/>
                <a:gd name="connsiteY3427" fmla="*/ 301466 h 514350"/>
                <a:gd name="connsiteX3428" fmla="*/ 5748814 w 6400800"/>
                <a:gd name="connsiteY3428" fmla="*/ 305276 h 514350"/>
                <a:gd name="connsiteX3429" fmla="*/ 5759292 w 6400800"/>
                <a:gd name="connsiteY3429" fmla="*/ 280511 h 514350"/>
                <a:gd name="connsiteX3430" fmla="*/ 5760244 w 6400800"/>
                <a:gd name="connsiteY3430" fmla="*/ 289084 h 514350"/>
                <a:gd name="connsiteX3431" fmla="*/ 5756434 w 6400800"/>
                <a:gd name="connsiteY3431" fmla="*/ 227171 h 514350"/>
                <a:gd name="connsiteX3432" fmla="*/ 5756434 w 6400800"/>
                <a:gd name="connsiteY3432" fmla="*/ 243364 h 514350"/>
                <a:gd name="connsiteX3433" fmla="*/ 5757387 w 6400800"/>
                <a:gd name="connsiteY3433" fmla="*/ 250984 h 514350"/>
                <a:gd name="connsiteX3434" fmla="*/ 5753576 w 6400800"/>
                <a:gd name="connsiteY3434" fmla="*/ 259556 h 514350"/>
                <a:gd name="connsiteX3435" fmla="*/ 5741194 w 6400800"/>
                <a:gd name="connsiteY3435" fmla="*/ 285274 h 514350"/>
                <a:gd name="connsiteX3436" fmla="*/ 5756434 w 6400800"/>
                <a:gd name="connsiteY3436" fmla="*/ 227171 h 514350"/>
                <a:gd name="connsiteX3437" fmla="*/ 5676424 w 6400800"/>
                <a:gd name="connsiteY3437" fmla="*/ 184309 h 514350"/>
                <a:gd name="connsiteX3438" fmla="*/ 5676424 w 6400800"/>
                <a:gd name="connsiteY3438" fmla="*/ 198596 h 514350"/>
                <a:gd name="connsiteX3439" fmla="*/ 5676424 w 6400800"/>
                <a:gd name="connsiteY3439" fmla="*/ 228124 h 514350"/>
                <a:gd name="connsiteX3440" fmla="*/ 5676424 w 6400800"/>
                <a:gd name="connsiteY3440" fmla="*/ 246221 h 514350"/>
                <a:gd name="connsiteX3441" fmla="*/ 5677376 w 6400800"/>
                <a:gd name="connsiteY3441" fmla="*/ 266224 h 514350"/>
                <a:gd name="connsiteX3442" fmla="*/ 5678329 w 6400800"/>
                <a:gd name="connsiteY3442" fmla="*/ 276701 h 514350"/>
                <a:gd name="connsiteX3443" fmla="*/ 5678329 w 6400800"/>
                <a:gd name="connsiteY3443" fmla="*/ 276701 h 514350"/>
                <a:gd name="connsiteX3444" fmla="*/ 5675471 w 6400800"/>
                <a:gd name="connsiteY3444" fmla="*/ 259556 h 514350"/>
                <a:gd name="connsiteX3445" fmla="*/ 5672614 w 6400800"/>
                <a:gd name="connsiteY3445" fmla="*/ 242411 h 514350"/>
                <a:gd name="connsiteX3446" fmla="*/ 5669756 w 6400800"/>
                <a:gd name="connsiteY3446" fmla="*/ 223361 h 514350"/>
                <a:gd name="connsiteX3447" fmla="*/ 5668804 w 6400800"/>
                <a:gd name="connsiteY3447" fmla="*/ 216694 h 514350"/>
                <a:gd name="connsiteX3448" fmla="*/ 5676424 w 6400800"/>
                <a:gd name="connsiteY3448" fmla="*/ 184309 h 514350"/>
                <a:gd name="connsiteX3449" fmla="*/ 5652612 w 6400800"/>
                <a:gd name="connsiteY3449" fmla="*/ 263366 h 514350"/>
                <a:gd name="connsiteX3450" fmla="*/ 5653564 w 6400800"/>
                <a:gd name="connsiteY3450" fmla="*/ 261461 h 514350"/>
                <a:gd name="connsiteX3451" fmla="*/ 5655469 w 6400800"/>
                <a:gd name="connsiteY3451" fmla="*/ 264319 h 514350"/>
                <a:gd name="connsiteX3452" fmla="*/ 5655469 w 6400800"/>
                <a:gd name="connsiteY3452" fmla="*/ 268129 h 514350"/>
                <a:gd name="connsiteX3453" fmla="*/ 5657374 w 6400800"/>
                <a:gd name="connsiteY3453" fmla="*/ 286226 h 514350"/>
                <a:gd name="connsiteX3454" fmla="*/ 5652612 w 6400800"/>
                <a:gd name="connsiteY3454" fmla="*/ 269081 h 514350"/>
                <a:gd name="connsiteX3455" fmla="*/ 5651659 w 6400800"/>
                <a:gd name="connsiteY3455" fmla="*/ 267176 h 514350"/>
                <a:gd name="connsiteX3456" fmla="*/ 5652612 w 6400800"/>
                <a:gd name="connsiteY3456" fmla="*/ 263366 h 514350"/>
                <a:gd name="connsiteX3457" fmla="*/ 5650706 w 6400800"/>
                <a:gd name="connsiteY3457" fmla="*/ 205264 h 514350"/>
                <a:gd name="connsiteX3458" fmla="*/ 5651659 w 6400800"/>
                <a:gd name="connsiteY3458" fmla="*/ 212884 h 514350"/>
                <a:gd name="connsiteX3459" fmla="*/ 5649754 w 6400800"/>
                <a:gd name="connsiteY3459" fmla="*/ 207169 h 514350"/>
                <a:gd name="connsiteX3460" fmla="*/ 5650706 w 6400800"/>
                <a:gd name="connsiteY3460" fmla="*/ 205264 h 514350"/>
                <a:gd name="connsiteX3461" fmla="*/ 5647849 w 6400800"/>
                <a:gd name="connsiteY3461" fmla="*/ 209074 h 514350"/>
                <a:gd name="connsiteX3462" fmla="*/ 5649754 w 6400800"/>
                <a:gd name="connsiteY3462" fmla="*/ 219551 h 514350"/>
                <a:gd name="connsiteX3463" fmla="*/ 5651659 w 6400800"/>
                <a:gd name="connsiteY3463" fmla="*/ 235744 h 514350"/>
                <a:gd name="connsiteX3464" fmla="*/ 5651659 w 6400800"/>
                <a:gd name="connsiteY3464" fmla="*/ 236696 h 514350"/>
                <a:gd name="connsiteX3465" fmla="*/ 5645944 w 6400800"/>
                <a:gd name="connsiteY3465" fmla="*/ 228124 h 514350"/>
                <a:gd name="connsiteX3466" fmla="*/ 5644039 w 6400800"/>
                <a:gd name="connsiteY3466" fmla="*/ 216694 h 514350"/>
                <a:gd name="connsiteX3467" fmla="*/ 5647849 w 6400800"/>
                <a:gd name="connsiteY3467" fmla="*/ 209074 h 514350"/>
                <a:gd name="connsiteX3468" fmla="*/ 5642134 w 6400800"/>
                <a:gd name="connsiteY3468" fmla="*/ 370046 h 514350"/>
                <a:gd name="connsiteX3469" fmla="*/ 5643087 w 6400800"/>
                <a:gd name="connsiteY3469" fmla="*/ 377666 h 514350"/>
                <a:gd name="connsiteX3470" fmla="*/ 5641181 w 6400800"/>
                <a:gd name="connsiteY3470" fmla="*/ 385286 h 514350"/>
                <a:gd name="connsiteX3471" fmla="*/ 5642134 w 6400800"/>
                <a:gd name="connsiteY3471" fmla="*/ 370046 h 514350"/>
                <a:gd name="connsiteX3472" fmla="*/ 5624037 w 6400800"/>
                <a:gd name="connsiteY3472" fmla="*/ 272891 h 514350"/>
                <a:gd name="connsiteX3473" fmla="*/ 5625942 w 6400800"/>
                <a:gd name="connsiteY3473" fmla="*/ 258604 h 514350"/>
                <a:gd name="connsiteX3474" fmla="*/ 5625942 w 6400800"/>
                <a:gd name="connsiteY3474" fmla="*/ 254794 h 514350"/>
                <a:gd name="connsiteX3475" fmla="*/ 5632609 w 6400800"/>
                <a:gd name="connsiteY3475" fmla="*/ 241459 h 514350"/>
                <a:gd name="connsiteX3476" fmla="*/ 5634514 w 6400800"/>
                <a:gd name="connsiteY3476" fmla="*/ 236696 h 514350"/>
                <a:gd name="connsiteX3477" fmla="*/ 5637371 w 6400800"/>
                <a:gd name="connsiteY3477" fmla="*/ 245269 h 514350"/>
                <a:gd name="connsiteX3478" fmla="*/ 5640229 w 6400800"/>
                <a:gd name="connsiteY3478" fmla="*/ 259556 h 514350"/>
                <a:gd name="connsiteX3479" fmla="*/ 5640229 w 6400800"/>
                <a:gd name="connsiteY3479" fmla="*/ 266224 h 514350"/>
                <a:gd name="connsiteX3480" fmla="*/ 5631656 w 6400800"/>
                <a:gd name="connsiteY3480" fmla="*/ 288131 h 514350"/>
                <a:gd name="connsiteX3481" fmla="*/ 5624037 w 6400800"/>
                <a:gd name="connsiteY3481" fmla="*/ 277654 h 514350"/>
                <a:gd name="connsiteX3482" fmla="*/ 5624037 w 6400800"/>
                <a:gd name="connsiteY3482" fmla="*/ 272891 h 514350"/>
                <a:gd name="connsiteX3483" fmla="*/ 5623084 w 6400800"/>
                <a:gd name="connsiteY3483" fmla="*/ 289084 h 514350"/>
                <a:gd name="connsiteX3484" fmla="*/ 5623084 w 6400800"/>
                <a:gd name="connsiteY3484" fmla="*/ 287179 h 514350"/>
                <a:gd name="connsiteX3485" fmla="*/ 5624989 w 6400800"/>
                <a:gd name="connsiteY3485" fmla="*/ 290989 h 514350"/>
                <a:gd name="connsiteX3486" fmla="*/ 5626894 w 6400800"/>
                <a:gd name="connsiteY3486" fmla="*/ 298609 h 514350"/>
                <a:gd name="connsiteX3487" fmla="*/ 5625942 w 6400800"/>
                <a:gd name="connsiteY3487" fmla="*/ 300514 h 514350"/>
                <a:gd name="connsiteX3488" fmla="*/ 5625942 w 6400800"/>
                <a:gd name="connsiteY3488" fmla="*/ 300514 h 514350"/>
                <a:gd name="connsiteX3489" fmla="*/ 5622131 w 6400800"/>
                <a:gd name="connsiteY3489" fmla="*/ 295751 h 514350"/>
                <a:gd name="connsiteX3490" fmla="*/ 5623084 w 6400800"/>
                <a:gd name="connsiteY3490" fmla="*/ 289084 h 514350"/>
                <a:gd name="connsiteX3491" fmla="*/ 5621179 w 6400800"/>
                <a:gd name="connsiteY3491" fmla="*/ 310991 h 514350"/>
                <a:gd name="connsiteX3492" fmla="*/ 5621179 w 6400800"/>
                <a:gd name="connsiteY3492" fmla="*/ 310991 h 514350"/>
                <a:gd name="connsiteX3493" fmla="*/ 5621179 w 6400800"/>
                <a:gd name="connsiteY3493" fmla="*/ 310991 h 514350"/>
                <a:gd name="connsiteX3494" fmla="*/ 5621179 w 6400800"/>
                <a:gd name="connsiteY3494" fmla="*/ 310991 h 514350"/>
                <a:gd name="connsiteX3495" fmla="*/ 5618321 w 6400800"/>
                <a:gd name="connsiteY3495" fmla="*/ 270034 h 514350"/>
                <a:gd name="connsiteX3496" fmla="*/ 5618321 w 6400800"/>
                <a:gd name="connsiteY3496" fmla="*/ 270034 h 514350"/>
                <a:gd name="connsiteX3497" fmla="*/ 5618321 w 6400800"/>
                <a:gd name="connsiteY3497" fmla="*/ 270034 h 514350"/>
                <a:gd name="connsiteX3498" fmla="*/ 5618321 w 6400800"/>
                <a:gd name="connsiteY3498" fmla="*/ 270034 h 514350"/>
                <a:gd name="connsiteX3499" fmla="*/ 5617369 w 6400800"/>
                <a:gd name="connsiteY3499" fmla="*/ 272891 h 514350"/>
                <a:gd name="connsiteX3500" fmla="*/ 5618321 w 6400800"/>
                <a:gd name="connsiteY3500" fmla="*/ 273844 h 514350"/>
                <a:gd name="connsiteX3501" fmla="*/ 5616417 w 6400800"/>
                <a:gd name="connsiteY3501" fmla="*/ 286226 h 514350"/>
                <a:gd name="connsiteX3502" fmla="*/ 5613559 w 6400800"/>
                <a:gd name="connsiteY3502" fmla="*/ 282416 h 514350"/>
                <a:gd name="connsiteX3503" fmla="*/ 5617369 w 6400800"/>
                <a:gd name="connsiteY3503" fmla="*/ 272891 h 514350"/>
                <a:gd name="connsiteX3504" fmla="*/ 5608796 w 6400800"/>
                <a:gd name="connsiteY3504" fmla="*/ 290989 h 514350"/>
                <a:gd name="connsiteX3505" fmla="*/ 5608796 w 6400800"/>
                <a:gd name="connsiteY3505" fmla="*/ 290989 h 514350"/>
                <a:gd name="connsiteX3506" fmla="*/ 5611654 w 6400800"/>
                <a:gd name="connsiteY3506" fmla="*/ 294799 h 514350"/>
                <a:gd name="connsiteX3507" fmla="*/ 5613559 w 6400800"/>
                <a:gd name="connsiteY3507" fmla="*/ 297656 h 514350"/>
                <a:gd name="connsiteX3508" fmla="*/ 5611654 w 6400800"/>
                <a:gd name="connsiteY3508" fmla="*/ 310991 h 514350"/>
                <a:gd name="connsiteX3509" fmla="*/ 5608796 w 6400800"/>
                <a:gd name="connsiteY3509" fmla="*/ 292894 h 514350"/>
                <a:gd name="connsiteX3510" fmla="*/ 5608796 w 6400800"/>
                <a:gd name="connsiteY3510" fmla="*/ 290989 h 514350"/>
                <a:gd name="connsiteX3511" fmla="*/ 5594509 w 6400800"/>
                <a:gd name="connsiteY3511" fmla="*/ 241459 h 514350"/>
                <a:gd name="connsiteX3512" fmla="*/ 5595462 w 6400800"/>
                <a:gd name="connsiteY3512" fmla="*/ 258604 h 514350"/>
                <a:gd name="connsiteX3513" fmla="*/ 5595462 w 6400800"/>
                <a:gd name="connsiteY3513" fmla="*/ 259556 h 514350"/>
                <a:gd name="connsiteX3514" fmla="*/ 5595462 w 6400800"/>
                <a:gd name="connsiteY3514" fmla="*/ 261461 h 514350"/>
                <a:gd name="connsiteX3515" fmla="*/ 5593556 w 6400800"/>
                <a:gd name="connsiteY3515" fmla="*/ 259556 h 514350"/>
                <a:gd name="connsiteX3516" fmla="*/ 5592604 w 6400800"/>
                <a:gd name="connsiteY3516" fmla="*/ 250031 h 514350"/>
                <a:gd name="connsiteX3517" fmla="*/ 5594509 w 6400800"/>
                <a:gd name="connsiteY3517" fmla="*/ 241459 h 514350"/>
                <a:gd name="connsiteX3518" fmla="*/ 5578317 w 6400800"/>
                <a:gd name="connsiteY3518" fmla="*/ 284321 h 514350"/>
                <a:gd name="connsiteX3519" fmla="*/ 5578317 w 6400800"/>
                <a:gd name="connsiteY3519" fmla="*/ 286226 h 514350"/>
                <a:gd name="connsiteX3520" fmla="*/ 5577364 w 6400800"/>
                <a:gd name="connsiteY3520" fmla="*/ 285274 h 514350"/>
                <a:gd name="connsiteX3521" fmla="*/ 5578317 w 6400800"/>
                <a:gd name="connsiteY3521" fmla="*/ 284321 h 514350"/>
                <a:gd name="connsiteX3522" fmla="*/ 5573554 w 6400800"/>
                <a:gd name="connsiteY3522" fmla="*/ 299561 h 514350"/>
                <a:gd name="connsiteX3523" fmla="*/ 5576412 w 6400800"/>
                <a:gd name="connsiteY3523" fmla="*/ 305276 h 514350"/>
                <a:gd name="connsiteX3524" fmla="*/ 5577364 w 6400800"/>
                <a:gd name="connsiteY3524" fmla="*/ 307181 h 514350"/>
                <a:gd name="connsiteX3525" fmla="*/ 5576412 w 6400800"/>
                <a:gd name="connsiteY3525" fmla="*/ 325279 h 514350"/>
                <a:gd name="connsiteX3526" fmla="*/ 5576412 w 6400800"/>
                <a:gd name="connsiteY3526" fmla="*/ 328136 h 514350"/>
                <a:gd name="connsiteX3527" fmla="*/ 5575459 w 6400800"/>
                <a:gd name="connsiteY3527" fmla="*/ 319564 h 514350"/>
                <a:gd name="connsiteX3528" fmla="*/ 5573554 w 6400800"/>
                <a:gd name="connsiteY3528" fmla="*/ 303371 h 514350"/>
                <a:gd name="connsiteX3529" fmla="*/ 5573554 w 6400800"/>
                <a:gd name="connsiteY3529" fmla="*/ 299561 h 514350"/>
                <a:gd name="connsiteX3530" fmla="*/ 5550694 w 6400800"/>
                <a:gd name="connsiteY3530" fmla="*/ 308134 h 514350"/>
                <a:gd name="connsiteX3531" fmla="*/ 5549742 w 6400800"/>
                <a:gd name="connsiteY3531" fmla="*/ 301466 h 514350"/>
                <a:gd name="connsiteX3532" fmla="*/ 5551646 w 6400800"/>
                <a:gd name="connsiteY3532" fmla="*/ 294799 h 514350"/>
                <a:gd name="connsiteX3533" fmla="*/ 5552599 w 6400800"/>
                <a:gd name="connsiteY3533" fmla="*/ 291941 h 514350"/>
                <a:gd name="connsiteX3534" fmla="*/ 5554504 w 6400800"/>
                <a:gd name="connsiteY3534" fmla="*/ 302419 h 514350"/>
                <a:gd name="connsiteX3535" fmla="*/ 5552599 w 6400800"/>
                <a:gd name="connsiteY3535" fmla="*/ 306229 h 514350"/>
                <a:gd name="connsiteX3536" fmla="*/ 5550694 w 6400800"/>
                <a:gd name="connsiteY3536" fmla="*/ 308134 h 514350"/>
                <a:gd name="connsiteX3537" fmla="*/ 5557362 w 6400800"/>
                <a:gd name="connsiteY3537" fmla="*/ 313849 h 514350"/>
                <a:gd name="connsiteX3538" fmla="*/ 5557362 w 6400800"/>
                <a:gd name="connsiteY3538" fmla="*/ 313849 h 514350"/>
                <a:gd name="connsiteX3539" fmla="*/ 5553551 w 6400800"/>
                <a:gd name="connsiteY3539" fmla="*/ 318611 h 514350"/>
                <a:gd name="connsiteX3540" fmla="*/ 5556409 w 6400800"/>
                <a:gd name="connsiteY3540" fmla="*/ 310039 h 514350"/>
                <a:gd name="connsiteX3541" fmla="*/ 5557362 w 6400800"/>
                <a:gd name="connsiteY3541" fmla="*/ 313849 h 514350"/>
                <a:gd name="connsiteX3542" fmla="*/ 5557362 w 6400800"/>
                <a:gd name="connsiteY3542" fmla="*/ 313849 h 514350"/>
                <a:gd name="connsiteX3543" fmla="*/ 5561171 w 6400800"/>
                <a:gd name="connsiteY3543" fmla="*/ 359569 h 514350"/>
                <a:gd name="connsiteX3544" fmla="*/ 5561171 w 6400800"/>
                <a:gd name="connsiteY3544" fmla="*/ 361474 h 514350"/>
                <a:gd name="connsiteX3545" fmla="*/ 5560219 w 6400800"/>
                <a:gd name="connsiteY3545" fmla="*/ 360521 h 514350"/>
                <a:gd name="connsiteX3546" fmla="*/ 5558314 w 6400800"/>
                <a:gd name="connsiteY3546" fmla="*/ 350996 h 514350"/>
                <a:gd name="connsiteX3547" fmla="*/ 5560219 w 6400800"/>
                <a:gd name="connsiteY3547" fmla="*/ 342424 h 514350"/>
                <a:gd name="connsiteX3548" fmla="*/ 5561171 w 6400800"/>
                <a:gd name="connsiteY3548" fmla="*/ 359569 h 514350"/>
                <a:gd name="connsiteX3549" fmla="*/ 5559267 w 6400800"/>
                <a:gd name="connsiteY3549" fmla="*/ 303371 h 514350"/>
                <a:gd name="connsiteX3550" fmla="*/ 5559267 w 6400800"/>
                <a:gd name="connsiteY3550" fmla="*/ 303371 h 514350"/>
                <a:gd name="connsiteX3551" fmla="*/ 5559267 w 6400800"/>
                <a:gd name="connsiteY3551" fmla="*/ 303371 h 514350"/>
                <a:gd name="connsiteX3552" fmla="*/ 5559267 w 6400800"/>
                <a:gd name="connsiteY3552" fmla="*/ 303371 h 514350"/>
                <a:gd name="connsiteX3553" fmla="*/ 5557362 w 6400800"/>
                <a:gd name="connsiteY3553" fmla="*/ 277654 h 514350"/>
                <a:gd name="connsiteX3554" fmla="*/ 5558314 w 6400800"/>
                <a:gd name="connsiteY3554" fmla="*/ 283369 h 514350"/>
                <a:gd name="connsiteX3555" fmla="*/ 5559267 w 6400800"/>
                <a:gd name="connsiteY3555" fmla="*/ 293846 h 514350"/>
                <a:gd name="connsiteX3556" fmla="*/ 5557362 w 6400800"/>
                <a:gd name="connsiteY3556" fmla="*/ 296704 h 514350"/>
                <a:gd name="connsiteX3557" fmla="*/ 5554504 w 6400800"/>
                <a:gd name="connsiteY3557" fmla="*/ 287179 h 514350"/>
                <a:gd name="connsiteX3558" fmla="*/ 5557362 w 6400800"/>
                <a:gd name="connsiteY3558" fmla="*/ 277654 h 514350"/>
                <a:gd name="connsiteX3559" fmla="*/ 5553551 w 6400800"/>
                <a:gd name="connsiteY3559" fmla="*/ 252889 h 514350"/>
                <a:gd name="connsiteX3560" fmla="*/ 5553551 w 6400800"/>
                <a:gd name="connsiteY3560" fmla="*/ 252889 h 514350"/>
                <a:gd name="connsiteX3561" fmla="*/ 5553551 w 6400800"/>
                <a:gd name="connsiteY3561" fmla="*/ 253841 h 514350"/>
                <a:gd name="connsiteX3562" fmla="*/ 5555456 w 6400800"/>
                <a:gd name="connsiteY3562" fmla="*/ 268129 h 514350"/>
                <a:gd name="connsiteX3563" fmla="*/ 5555456 w 6400800"/>
                <a:gd name="connsiteY3563" fmla="*/ 270986 h 514350"/>
                <a:gd name="connsiteX3564" fmla="*/ 5552599 w 6400800"/>
                <a:gd name="connsiteY3564" fmla="*/ 275749 h 514350"/>
                <a:gd name="connsiteX3565" fmla="*/ 5549742 w 6400800"/>
                <a:gd name="connsiteY3565" fmla="*/ 280511 h 514350"/>
                <a:gd name="connsiteX3566" fmla="*/ 5549742 w 6400800"/>
                <a:gd name="connsiteY3566" fmla="*/ 280511 h 514350"/>
                <a:gd name="connsiteX3567" fmla="*/ 5549742 w 6400800"/>
                <a:gd name="connsiteY3567" fmla="*/ 280511 h 514350"/>
                <a:gd name="connsiteX3568" fmla="*/ 5545931 w 6400800"/>
                <a:gd name="connsiteY3568" fmla="*/ 286226 h 514350"/>
                <a:gd name="connsiteX3569" fmla="*/ 5544979 w 6400800"/>
                <a:gd name="connsiteY3569" fmla="*/ 281464 h 514350"/>
                <a:gd name="connsiteX3570" fmla="*/ 5546884 w 6400800"/>
                <a:gd name="connsiteY3570" fmla="*/ 275749 h 514350"/>
                <a:gd name="connsiteX3571" fmla="*/ 5549742 w 6400800"/>
                <a:gd name="connsiteY3571" fmla="*/ 261461 h 514350"/>
                <a:gd name="connsiteX3572" fmla="*/ 5553551 w 6400800"/>
                <a:gd name="connsiteY3572" fmla="*/ 252889 h 514350"/>
                <a:gd name="connsiteX3573" fmla="*/ 5548789 w 6400800"/>
                <a:gd name="connsiteY3573" fmla="*/ 226219 h 514350"/>
                <a:gd name="connsiteX3574" fmla="*/ 5549742 w 6400800"/>
                <a:gd name="connsiteY3574" fmla="*/ 230029 h 514350"/>
                <a:gd name="connsiteX3575" fmla="*/ 5550694 w 6400800"/>
                <a:gd name="connsiteY3575" fmla="*/ 234791 h 514350"/>
                <a:gd name="connsiteX3576" fmla="*/ 5547837 w 6400800"/>
                <a:gd name="connsiteY3576" fmla="*/ 230029 h 514350"/>
                <a:gd name="connsiteX3577" fmla="*/ 5548789 w 6400800"/>
                <a:gd name="connsiteY3577" fmla="*/ 226219 h 514350"/>
                <a:gd name="connsiteX3578" fmla="*/ 5546884 w 6400800"/>
                <a:gd name="connsiteY3578" fmla="*/ 235744 h 514350"/>
                <a:gd name="connsiteX3579" fmla="*/ 5550694 w 6400800"/>
                <a:gd name="connsiteY3579" fmla="*/ 244316 h 514350"/>
                <a:gd name="connsiteX3580" fmla="*/ 5544979 w 6400800"/>
                <a:gd name="connsiteY3580" fmla="*/ 259556 h 514350"/>
                <a:gd name="connsiteX3581" fmla="*/ 5544026 w 6400800"/>
                <a:gd name="connsiteY3581" fmla="*/ 262414 h 514350"/>
                <a:gd name="connsiteX3582" fmla="*/ 5543074 w 6400800"/>
                <a:gd name="connsiteY3582" fmla="*/ 257651 h 514350"/>
                <a:gd name="connsiteX3583" fmla="*/ 5542121 w 6400800"/>
                <a:gd name="connsiteY3583" fmla="*/ 254794 h 514350"/>
                <a:gd name="connsiteX3584" fmla="*/ 5546884 w 6400800"/>
                <a:gd name="connsiteY3584" fmla="*/ 235744 h 514350"/>
                <a:gd name="connsiteX3585" fmla="*/ 5540217 w 6400800"/>
                <a:gd name="connsiteY3585" fmla="*/ 218599 h 514350"/>
                <a:gd name="connsiteX3586" fmla="*/ 5539264 w 6400800"/>
                <a:gd name="connsiteY3586" fmla="*/ 220504 h 514350"/>
                <a:gd name="connsiteX3587" fmla="*/ 5538312 w 6400800"/>
                <a:gd name="connsiteY3587" fmla="*/ 223361 h 514350"/>
                <a:gd name="connsiteX3588" fmla="*/ 5536406 w 6400800"/>
                <a:gd name="connsiteY3588" fmla="*/ 210026 h 514350"/>
                <a:gd name="connsiteX3589" fmla="*/ 5540217 w 6400800"/>
                <a:gd name="connsiteY3589" fmla="*/ 218599 h 514350"/>
                <a:gd name="connsiteX3590" fmla="*/ 5507831 w 6400800"/>
                <a:gd name="connsiteY3590" fmla="*/ 312896 h 514350"/>
                <a:gd name="connsiteX3591" fmla="*/ 5507831 w 6400800"/>
                <a:gd name="connsiteY3591" fmla="*/ 312896 h 514350"/>
                <a:gd name="connsiteX3592" fmla="*/ 5507831 w 6400800"/>
                <a:gd name="connsiteY3592" fmla="*/ 313849 h 514350"/>
                <a:gd name="connsiteX3593" fmla="*/ 5507831 w 6400800"/>
                <a:gd name="connsiteY3593" fmla="*/ 312896 h 514350"/>
                <a:gd name="connsiteX3594" fmla="*/ 5481162 w 6400800"/>
                <a:gd name="connsiteY3594" fmla="*/ 326231 h 514350"/>
                <a:gd name="connsiteX3595" fmla="*/ 5480209 w 6400800"/>
                <a:gd name="connsiteY3595" fmla="*/ 330994 h 514350"/>
                <a:gd name="connsiteX3596" fmla="*/ 5479256 w 6400800"/>
                <a:gd name="connsiteY3596" fmla="*/ 324326 h 514350"/>
                <a:gd name="connsiteX3597" fmla="*/ 5479256 w 6400800"/>
                <a:gd name="connsiteY3597" fmla="*/ 322421 h 514350"/>
                <a:gd name="connsiteX3598" fmla="*/ 5478304 w 6400800"/>
                <a:gd name="connsiteY3598" fmla="*/ 311944 h 514350"/>
                <a:gd name="connsiteX3599" fmla="*/ 5482114 w 6400800"/>
                <a:gd name="connsiteY3599" fmla="*/ 325279 h 514350"/>
                <a:gd name="connsiteX3600" fmla="*/ 5481162 w 6400800"/>
                <a:gd name="connsiteY3600" fmla="*/ 326231 h 514350"/>
                <a:gd name="connsiteX3601" fmla="*/ 5493544 w 6400800"/>
                <a:gd name="connsiteY3601" fmla="*/ 339566 h 514350"/>
                <a:gd name="connsiteX3602" fmla="*/ 5493544 w 6400800"/>
                <a:gd name="connsiteY3602" fmla="*/ 339566 h 514350"/>
                <a:gd name="connsiteX3603" fmla="*/ 5493544 w 6400800"/>
                <a:gd name="connsiteY3603" fmla="*/ 339566 h 514350"/>
                <a:gd name="connsiteX3604" fmla="*/ 5493544 w 6400800"/>
                <a:gd name="connsiteY3604" fmla="*/ 339566 h 514350"/>
                <a:gd name="connsiteX3605" fmla="*/ 5488781 w 6400800"/>
                <a:gd name="connsiteY3605" fmla="*/ 261461 h 514350"/>
                <a:gd name="connsiteX3606" fmla="*/ 5488781 w 6400800"/>
                <a:gd name="connsiteY3606" fmla="*/ 261461 h 514350"/>
                <a:gd name="connsiteX3607" fmla="*/ 5490687 w 6400800"/>
                <a:gd name="connsiteY3607" fmla="*/ 267176 h 514350"/>
                <a:gd name="connsiteX3608" fmla="*/ 5487829 w 6400800"/>
                <a:gd name="connsiteY3608" fmla="*/ 264319 h 514350"/>
                <a:gd name="connsiteX3609" fmla="*/ 5488781 w 6400800"/>
                <a:gd name="connsiteY3609" fmla="*/ 261461 h 514350"/>
                <a:gd name="connsiteX3610" fmla="*/ 5483067 w 6400800"/>
                <a:gd name="connsiteY3610" fmla="*/ 280511 h 514350"/>
                <a:gd name="connsiteX3611" fmla="*/ 5484971 w 6400800"/>
                <a:gd name="connsiteY3611" fmla="*/ 272891 h 514350"/>
                <a:gd name="connsiteX3612" fmla="*/ 5496401 w 6400800"/>
                <a:gd name="connsiteY3612" fmla="*/ 291941 h 514350"/>
                <a:gd name="connsiteX3613" fmla="*/ 5500212 w 6400800"/>
                <a:gd name="connsiteY3613" fmla="*/ 297656 h 514350"/>
                <a:gd name="connsiteX3614" fmla="*/ 5497354 w 6400800"/>
                <a:gd name="connsiteY3614" fmla="*/ 307181 h 514350"/>
                <a:gd name="connsiteX3615" fmla="*/ 5496401 w 6400800"/>
                <a:gd name="connsiteY3615" fmla="*/ 310991 h 514350"/>
                <a:gd name="connsiteX3616" fmla="*/ 5493544 w 6400800"/>
                <a:gd name="connsiteY3616" fmla="*/ 307181 h 514350"/>
                <a:gd name="connsiteX3617" fmla="*/ 5495449 w 6400800"/>
                <a:gd name="connsiteY3617" fmla="*/ 311944 h 514350"/>
                <a:gd name="connsiteX3618" fmla="*/ 5494496 w 6400800"/>
                <a:gd name="connsiteY3618" fmla="*/ 319564 h 514350"/>
                <a:gd name="connsiteX3619" fmla="*/ 5492592 w 6400800"/>
                <a:gd name="connsiteY3619" fmla="*/ 330041 h 514350"/>
                <a:gd name="connsiteX3620" fmla="*/ 5488781 w 6400800"/>
                <a:gd name="connsiteY3620" fmla="*/ 333851 h 514350"/>
                <a:gd name="connsiteX3621" fmla="*/ 5485924 w 6400800"/>
                <a:gd name="connsiteY3621" fmla="*/ 327184 h 514350"/>
                <a:gd name="connsiteX3622" fmla="*/ 5487829 w 6400800"/>
                <a:gd name="connsiteY3622" fmla="*/ 312896 h 514350"/>
                <a:gd name="connsiteX3623" fmla="*/ 5489734 w 6400800"/>
                <a:gd name="connsiteY3623" fmla="*/ 299561 h 514350"/>
                <a:gd name="connsiteX3624" fmla="*/ 5484019 w 6400800"/>
                <a:gd name="connsiteY3624" fmla="*/ 311944 h 514350"/>
                <a:gd name="connsiteX3625" fmla="*/ 5483067 w 6400800"/>
                <a:gd name="connsiteY3625" fmla="*/ 313849 h 514350"/>
                <a:gd name="connsiteX3626" fmla="*/ 5483067 w 6400800"/>
                <a:gd name="connsiteY3626" fmla="*/ 312896 h 514350"/>
                <a:gd name="connsiteX3627" fmla="*/ 5478304 w 6400800"/>
                <a:gd name="connsiteY3627" fmla="*/ 292894 h 514350"/>
                <a:gd name="connsiteX3628" fmla="*/ 5479256 w 6400800"/>
                <a:gd name="connsiteY3628" fmla="*/ 309086 h 514350"/>
                <a:gd name="connsiteX3629" fmla="*/ 5479256 w 6400800"/>
                <a:gd name="connsiteY3629" fmla="*/ 308134 h 514350"/>
                <a:gd name="connsiteX3630" fmla="*/ 5476399 w 6400800"/>
                <a:gd name="connsiteY3630" fmla="*/ 300514 h 514350"/>
                <a:gd name="connsiteX3631" fmla="*/ 5483067 w 6400800"/>
                <a:gd name="connsiteY3631" fmla="*/ 280511 h 514350"/>
                <a:gd name="connsiteX3632" fmla="*/ 5472589 w 6400800"/>
                <a:gd name="connsiteY3632" fmla="*/ 254794 h 514350"/>
                <a:gd name="connsiteX3633" fmla="*/ 5475446 w 6400800"/>
                <a:gd name="connsiteY3633" fmla="*/ 258604 h 514350"/>
                <a:gd name="connsiteX3634" fmla="*/ 5471637 w 6400800"/>
                <a:gd name="connsiteY3634" fmla="*/ 268129 h 514350"/>
                <a:gd name="connsiteX3635" fmla="*/ 5468779 w 6400800"/>
                <a:gd name="connsiteY3635" fmla="*/ 249079 h 514350"/>
                <a:gd name="connsiteX3636" fmla="*/ 5472589 w 6400800"/>
                <a:gd name="connsiteY3636" fmla="*/ 254794 h 514350"/>
                <a:gd name="connsiteX3637" fmla="*/ 5452587 w 6400800"/>
                <a:gd name="connsiteY3637" fmla="*/ 208121 h 514350"/>
                <a:gd name="connsiteX3638" fmla="*/ 5452587 w 6400800"/>
                <a:gd name="connsiteY3638" fmla="*/ 210026 h 514350"/>
                <a:gd name="connsiteX3639" fmla="*/ 5454492 w 6400800"/>
                <a:gd name="connsiteY3639" fmla="*/ 225266 h 514350"/>
                <a:gd name="connsiteX3640" fmla="*/ 5454492 w 6400800"/>
                <a:gd name="connsiteY3640" fmla="*/ 228124 h 514350"/>
                <a:gd name="connsiteX3641" fmla="*/ 5450681 w 6400800"/>
                <a:gd name="connsiteY3641" fmla="*/ 225266 h 514350"/>
                <a:gd name="connsiteX3642" fmla="*/ 5452587 w 6400800"/>
                <a:gd name="connsiteY3642" fmla="*/ 208121 h 514350"/>
                <a:gd name="connsiteX3643" fmla="*/ 5449729 w 6400800"/>
                <a:gd name="connsiteY3643" fmla="*/ 250031 h 514350"/>
                <a:gd name="connsiteX3644" fmla="*/ 5451634 w 6400800"/>
                <a:gd name="connsiteY3644" fmla="*/ 228124 h 514350"/>
                <a:gd name="connsiteX3645" fmla="*/ 5453539 w 6400800"/>
                <a:gd name="connsiteY3645" fmla="*/ 230029 h 514350"/>
                <a:gd name="connsiteX3646" fmla="*/ 5455444 w 6400800"/>
                <a:gd name="connsiteY3646" fmla="*/ 232886 h 514350"/>
                <a:gd name="connsiteX3647" fmla="*/ 5456396 w 6400800"/>
                <a:gd name="connsiteY3647" fmla="*/ 243364 h 514350"/>
                <a:gd name="connsiteX3648" fmla="*/ 5459254 w 6400800"/>
                <a:gd name="connsiteY3648" fmla="*/ 282416 h 514350"/>
                <a:gd name="connsiteX3649" fmla="*/ 5460206 w 6400800"/>
                <a:gd name="connsiteY3649" fmla="*/ 299561 h 514350"/>
                <a:gd name="connsiteX3650" fmla="*/ 5455444 w 6400800"/>
                <a:gd name="connsiteY3650" fmla="*/ 313849 h 514350"/>
                <a:gd name="connsiteX3651" fmla="*/ 5447824 w 6400800"/>
                <a:gd name="connsiteY3651" fmla="*/ 280511 h 514350"/>
                <a:gd name="connsiteX3652" fmla="*/ 5446871 w 6400800"/>
                <a:gd name="connsiteY3652" fmla="*/ 276701 h 514350"/>
                <a:gd name="connsiteX3653" fmla="*/ 5449729 w 6400800"/>
                <a:gd name="connsiteY3653" fmla="*/ 250031 h 514350"/>
                <a:gd name="connsiteX3654" fmla="*/ 5443062 w 6400800"/>
                <a:gd name="connsiteY3654" fmla="*/ 327184 h 514350"/>
                <a:gd name="connsiteX3655" fmla="*/ 5445919 w 6400800"/>
                <a:gd name="connsiteY3655" fmla="*/ 343376 h 514350"/>
                <a:gd name="connsiteX3656" fmla="*/ 5443062 w 6400800"/>
                <a:gd name="connsiteY3656" fmla="*/ 334804 h 514350"/>
                <a:gd name="connsiteX3657" fmla="*/ 5443062 w 6400800"/>
                <a:gd name="connsiteY3657" fmla="*/ 327184 h 514350"/>
                <a:gd name="connsiteX3658" fmla="*/ 5417344 w 6400800"/>
                <a:gd name="connsiteY3658" fmla="*/ 318611 h 514350"/>
                <a:gd name="connsiteX3659" fmla="*/ 5419249 w 6400800"/>
                <a:gd name="connsiteY3659" fmla="*/ 312896 h 514350"/>
                <a:gd name="connsiteX3660" fmla="*/ 5421154 w 6400800"/>
                <a:gd name="connsiteY3660" fmla="*/ 320516 h 514350"/>
                <a:gd name="connsiteX3661" fmla="*/ 5421154 w 6400800"/>
                <a:gd name="connsiteY3661" fmla="*/ 321469 h 514350"/>
                <a:gd name="connsiteX3662" fmla="*/ 5421154 w 6400800"/>
                <a:gd name="connsiteY3662" fmla="*/ 320516 h 514350"/>
                <a:gd name="connsiteX3663" fmla="*/ 5421154 w 6400800"/>
                <a:gd name="connsiteY3663" fmla="*/ 322421 h 514350"/>
                <a:gd name="connsiteX3664" fmla="*/ 5418296 w 6400800"/>
                <a:gd name="connsiteY3664" fmla="*/ 331946 h 514350"/>
                <a:gd name="connsiteX3665" fmla="*/ 5417344 w 6400800"/>
                <a:gd name="connsiteY3665" fmla="*/ 329089 h 514350"/>
                <a:gd name="connsiteX3666" fmla="*/ 5417344 w 6400800"/>
                <a:gd name="connsiteY3666" fmla="*/ 318611 h 514350"/>
                <a:gd name="connsiteX3667" fmla="*/ 5416392 w 6400800"/>
                <a:gd name="connsiteY3667" fmla="*/ 334804 h 514350"/>
                <a:gd name="connsiteX3668" fmla="*/ 5417344 w 6400800"/>
                <a:gd name="connsiteY3668" fmla="*/ 335756 h 514350"/>
                <a:gd name="connsiteX3669" fmla="*/ 5416392 w 6400800"/>
                <a:gd name="connsiteY3669" fmla="*/ 337661 h 514350"/>
                <a:gd name="connsiteX3670" fmla="*/ 5416392 w 6400800"/>
                <a:gd name="connsiteY3670" fmla="*/ 334804 h 514350"/>
                <a:gd name="connsiteX3671" fmla="*/ 5405914 w 6400800"/>
                <a:gd name="connsiteY3671" fmla="*/ 325279 h 514350"/>
                <a:gd name="connsiteX3672" fmla="*/ 5407819 w 6400800"/>
                <a:gd name="connsiteY3672" fmla="*/ 271939 h 514350"/>
                <a:gd name="connsiteX3673" fmla="*/ 5407819 w 6400800"/>
                <a:gd name="connsiteY3673" fmla="*/ 267176 h 514350"/>
                <a:gd name="connsiteX3674" fmla="*/ 5414487 w 6400800"/>
                <a:gd name="connsiteY3674" fmla="*/ 292894 h 514350"/>
                <a:gd name="connsiteX3675" fmla="*/ 5414487 w 6400800"/>
                <a:gd name="connsiteY3675" fmla="*/ 293846 h 514350"/>
                <a:gd name="connsiteX3676" fmla="*/ 5411629 w 6400800"/>
                <a:gd name="connsiteY3676" fmla="*/ 303371 h 514350"/>
                <a:gd name="connsiteX3677" fmla="*/ 5404962 w 6400800"/>
                <a:gd name="connsiteY3677" fmla="*/ 331946 h 514350"/>
                <a:gd name="connsiteX3678" fmla="*/ 5404962 w 6400800"/>
                <a:gd name="connsiteY3678" fmla="*/ 332899 h 514350"/>
                <a:gd name="connsiteX3679" fmla="*/ 5405914 w 6400800"/>
                <a:gd name="connsiteY3679" fmla="*/ 325279 h 514350"/>
                <a:gd name="connsiteX3680" fmla="*/ 5384006 w 6400800"/>
                <a:gd name="connsiteY3680" fmla="*/ 310991 h 514350"/>
                <a:gd name="connsiteX3681" fmla="*/ 5386864 w 6400800"/>
                <a:gd name="connsiteY3681" fmla="*/ 334804 h 514350"/>
                <a:gd name="connsiteX3682" fmla="*/ 5384959 w 6400800"/>
                <a:gd name="connsiteY3682" fmla="*/ 341471 h 514350"/>
                <a:gd name="connsiteX3683" fmla="*/ 5382101 w 6400800"/>
                <a:gd name="connsiteY3683" fmla="*/ 325279 h 514350"/>
                <a:gd name="connsiteX3684" fmla="*/ 5378292 w 6400800"/>
                <a:gd name="connsiteY3684" fmla="*/ 305276 h 514350"/>
                <a:gd name="connsiteX3685" fmla="*/ 5381149 w 6400800"/>
                <a:gd name="connsiteY3685" fmla="*/ 294799 h 514350"/>
                <a:gd name="connsiteX3686" fmla="*/ 5384006 w 6400800"/>
                <a:gd name="connsiteY3686" fmla="*/ 310991 h 514350"/>
                <a:gd name="connsiteX3687" fmla="*/ 5379244 w 6400800"/>
                <a:gd name="connsiteY3687" fmla="*/ 274796 h 514350"/>
                <a:gd name="connsiteX3688" fmla="*/ 5379244 w 6400800"/>
                <a:gd name="connsiteY3688" fmla="*/ 271939 h 514350"/>
                <a:gd name="connsiteX3689" fmla="*/ 5381149 w 6400800"/>
                <a:gd name="connsiteY3689" fmla="*/ 284321 h 514350"/>
                <a:gd name="connsiteX3690" fmla="*/ 5380196 w 6400800"/>
                <a:gd name="connsiteY3690" fmla="*/ 285274 h 514350"/>
                <a:gd name="connsiteX3691" fmla="*/ 5378292 w 6400800"/>
                <a:gd name="connsiteY3691" fmla="*/ 290036 h 514350"/>
                <a:gd name="connsiteX3692" fmla="*/ 5379244 w 6400800"/>
                <a:gd name="connsiteY3692" fmla="*/ 274796 h 514350"/>
                <a:gd name="connsiteX3693" fmla="*/ 5332571 w 6400800"/>
                <a:gd name="connsiteY3693" fmla="*/ 321469 h 514350"/>
                <a:gd name="connsiteX3694" fmla="*/ 5338287 w 6400800"/>
                <a:gd name="connsiteY3694" fmla="*/ 309086 h 514350"/>
                <a:gd name="connsiteX3695" fmla="*/ 5338287 w 6400800"/>
                <a:gd name="connsiteY3695" fmla="*/ 310039 h 514350"/>
                <a:gd name="connsiteX3696" fmla="*/ 5326856 w 6400800"/>
                <a:gd name="connsiteY3696" fmla="*/ 351949 h 514350"/>
                <a:gd name="connsiteX3697" fmla="*/ 5323999 w 6400800"/>
                <a:gd name="connsiteY3697" fmla="*/ 336709 h 514350"/>
                <a:gd name="connsiteX3698" fmla="*/ 5332571 w 6400800"/>
                <a:gd name="connsiteY3698" fmla="*/ 321469 h 514350"/>
                <a:gd name="connsiteX3699" fmla="*/ 5319237 w 6400800"/>
                <a:gd name="connsiteY3699" fmla="*/ 350996 h 514350"/>
                <a:gd name="connsiteX3700" fmla="*/ 5323046 w 6400800"/>
                <a:gd name="connsiteY3700" fmla="*/ 342424 h 514350"/>
                <a:gd name="connsiteX3701" fmla="*/ 5322094 w 6400800"/>
                <a:gd name="connsiteY3701" fmla="*/ 371951 h 514350"/>
                <a:gd name="connsiteX3702" fmla="*/ 5319237 w 6400800"/>
                <a:gd name="connsiteY3702" fmla="*/ 362426 h 514350"/>
                <a:gd name="connsiteX3703" fmla="*/ 5319237 w 6400800"/>
                <a:gd name="connsiteY3703" fmla="*/ 350996 h 514350"/>
                <a:gd name="connsiteX3704" fmla="*/ 5316379 w 6400800"/>
                <a:gd name="connsiteY3704" fmla="*/ 392906 h 514350"/>
                <a:gd name="connsiteX3705" fmla="*/ 5317331 w 6400800"/>
                <a:gd name="connsiteY3705" fmla="*/ 382429 h 514350"/>
                <a:gd name="connsiteX3706" fmla="*/ 5318284 w 6400800"/>
                <a:gd name="connsiteY3706" fmla="*/ 390049 h 514350"/>
                <a:gd name="connsiteX3707" fmla="*/ 5315426 w 6400800"/>
                <a:gd name="connsiteY3707" fmla="*/ 399574 h 514350"/>
                <a:gd name="connsiteX3708" fmla="*/ 5316379 w 6400800"/>
                <a:gd name="connsiteY3708" fmla="*/ 392906 h 514350"/>
                <a:gd name="connsiteX3709" fmla="*/ 5285899 w 6400800"/>
                <a:gd name="connsiteY3709" fmla="*/ 293846 h 514350"/>
                <a:gd name="connsiteX3710" fmla="*/ 5286851 w 6400800"/>
                <a:gd name="connsiteY3710" fmla="*/ 298609 h 514350"/>
                <a:gd name="connsiteX3711" fmla="*/ 5283994 w 6400800"/>
                <a:gd name="connsiteY3711" fmla="*/ 302419 h 514350"/>
                <a:gd name="connsiteX3712" fmla="*/ 5285899 w 6400800"/>
                <a:gd name="connsiteY3712" fmla="*/ 293846 h 514350"/>
                <a:gd name="connsiteX3713" fmla="*/ 5279231 w 6400800"/>
                <a:gd name="connsiteY3713" fmla="*/ 319564 h 514350"/>
                <a:gd name="connsiteX3714" fmla="*/ 5282089 w 6400800"/>
                <a:gd name="connsiteY3714" fmla="*/ 311944 h 514350"/>
                <a:gd name="connsiteX3715" fmla="*/ 5287804 w 6400800"/>
                <a:gd name="connsiteY3715" fmla="*/ 302419 h 514350"/>
                <a:gd name="connsiteX3716" fmla="*/ 5288756 w 6400800"/>
                <a:gd name="connsiteY3716" fmla="*/ 309086 h 514350"/>
                <a:gd name="connsiteX3717" fmla="*/ 5292567 w 6400800"/>
                <a:gd name="connsiteY3717" fmla="*/ 340519 h 514350"/>
                <a:gd name="connsiteX3718" fmla="*/ 5287804 w 6400800"/>
                <a:gd name="connsiteY3718" fmla="*/ 363379 h 514350"/>
                <a:gd name="connsiteX3719" fmla="*/ 5287804 w 6400800"/>
                <a:gd name="connsiteY3719" fmla="*/ 351949 h 514350"/>
                <a:gd name="connsiteX3720" fmla="*/ 5287804 w 6400800"/>
                <a:gd name="connsiteY3720" fmla="*/ 335756 h 514350"/>
                <a:gd name="connsiteX3721" fmla="*/ 5283994 w 6400800"/>
                <a:gd name="connsiteY3721" fmla="*/ 350996 h 514350"/>
                <a:gd name="connsiteX3722" fmla="*/ 5280184 w 6400800"/>
                <a:gd name="connsiteY3722" fmla="*/ 369094 h 514350"/>
                <a:gd name="connsiteX3723" fmla="*/ 5280184 w 6400800"/>
                <a:gd name="connsiteY3723" fmla="*/ 370046 h 514350"/>
                <a:gd name="connsiteX3724" fmla="*/ 5277326 w 6400800"/>
                <a:gd name="connsiteY3724" fmla="*/ 350044 h 514350"/>
                <a:gd name="connsiteX3725" fmla="*/ 5275421 w 6400800"/>
                <a:gd name="connsiteY3725" fmla="*/ 335756 h 514350"/>
                <a:gd name="connsiteX3726" fmla="*/ 5279231 w 6400800"/>
                <a:gd name="connsiteY3726" fmla="*/ 319564 h 514350"/>
                <a:gd name="connsiteX3727" fmla="*/ 5236369 w 6400800"/>
                <a:gd name="connsiteY3727" fmla="*/ 318611 h 514350"/>
                <a:gd name="connsiteX3728" fmla="*/ 5235417 w 6400800"/>
                <a:gd name="connsiteY3728" fmla="*/ 320516 h 514350"/>
                <a:gd name="connsiteX3729" fmla="*/ 5230654 w 6400800"/>
                <a:gd name="connsiteY3729" fmla="*/ 311944 h 514350"/>
                <a:gd name="connsiteX3730" fmla="*/ 5230654 w 6400800"/>
                <a:gd name="connsiteY3730" fmla="*/ 310991 h 514350"/>
                <a:gd name="connsiteX3731" fmla="*/ 5239226 w 6400800"/>
                <a:gd name="connsiteY3731" fmla="*/ 295751 h 514350"/>
                <a:gd name="connsiteX3732" fmla="*/ 5236369 w 6400800"/>
                <a:gd name="connsiteY3732" fmla="*/ 318611 h 514350"/>
                <a:gd name="connsiteX3733" fmla="*/ 5230654 w 6400800"/>
                <a:gd name="connsiteY3733" fmla="*/ 281464 h 514350"/>
                <a:gd name="connsiteX3734" fmla="*/ 5237321 w 6400800"/>
                <a:gd name="connsiteY3734" fmla="*/ 265271 h 514350"/>
                <a:gd name="connsiteX3735" fmla="*/ 5243989 w 6400800"/>
                <a:gd name="connsiteY3735" fmla="*/ 251936 h 514350"/>
                <a:gd name="connsiteX3736" fmla="*/ 5242084 w 6400800"/>
                <a:gd name="connsiteY3736" fmla="*/ 264319 h 514350"/>
                <a:gd name="connsiteX3737" fmla="*/ 5240179 w 6400800"/>
                <a:gd name="connsiteY3737" fmla="*/ 283369 h 514350"/>
                <a:gd name="connsiteX3738" fmla="*/ 5228749 w 6400800"/>
                <a:gd name="connsiteY3738" fmla="*/ 299561 h 514350"/>
                <a:gd name="connsiteX3739" fmla="*/ 5227796 w 6400800"/>
                <a:gd name="connsiteY3739" fmla="*/ 290036 h 514350"/>
                <a:gd name="connsiteX3740" fmla="*/ 5230654 w 6400800"/>
                <a:gd name="connsiteY3740" fmla="*/ 281464 h 514350"/>
                <a:gd name="connsiteX3741" fmla="*/ 5211604 w 6400800"/>
                <a:gd name="connsiteY3741" fmla="*/ 344329 h 514350"/>
                <a:gd name="connsiteX3742" fmla="*/ 5213509 w 6400800"/>
                <a:gd name="connsiteY3742" fmla="*/ 341471 h 514350"/>
                <a:gd name="connsiteX3743" fmla="*/ 5213509 w 6400800"/>
                <a:gd name="connsiteY3743" fmla="*/ 341471 h 514350"/>
                <a:gd name="connsiteX3744" fmla="*/ 5213509 w 6400800"/>
                <a:gd name="connsiteY3744" fmla="*/ 342424 h 514350"/>
                <a:gd name="connsiteX3745" fmla="*/ 5211604 w 6400800"/>
                <a:gd name="connsiteY3745" fmla="*/ 344329 h 514350"/>
                <a:gd name="connsiteX3746" fmla="*/ 5211604 w 6400800"/>
                <a:gd name="connsiteY3746" fmla="*/ 344329 h 514350"/>
                <a:gd name="connsiteX3747" fmla="*/ 5214462 w 6400800"/>
                <a:gd name="connsiteY3747" fmla="*/ 343376 h 514350"/>
                <a:gd name="connsiteX3748" fmla="*/ 5216367 w 6400800"/>
                <a:gd name="connsiteY3748" fmla="*/ 348139 h 514350"/>
                <a:gd name="connsiteX3749" fmla="*/ 5213509 w 6400800"/>
                <a:gd name="connsiteY3749" fmla="*/ 352901 h 514350"/>
                <a:gd name="connsiteX3750" fmla="*/ 5212556 w 6400800"/>
                <a:gd name="connsiteY3750" fmla="*/ 350996 h 514350"/>
                <a:gd name="connsiteX3751" fmla="*/ 5212556 w 6400800"/>
                <a:gd name="connsiteY3751" fmla="*/ 349091 h 514350"/>
                <a:gd name="connsiteX3752" fmla="*/ 5214462 w 6400800"/>
                <a:gd name="connsiteY3752" fmla="*/ 343376 h 514350"/>
                <a:gd name="connsiteX3753" fmla="*/ 5214462 w 6400800"/>
                <a:gd name="connsiteY3753" fmla="*/ 343376 h 514350"/>
                <a:gd name="connsiteX3754" fmla="*/ 5211604 w 6400800"/>
                <a:gd name="connsiteY3754" fmla="*/ 290989 h 514350"/>
                <a:gd name="connsiteX3755" fmla="*/ 5211604 w 6400800"/>
                <a:gd name="connsiteY3755" fmla="*/ 290989 h 514350"/>
                <a:gd name="connsiteX3756" fmla="*/ 5213509 w 6400800"/>
                <a:gd name="connsiteY3756" fmla="*/ 296704 h 514350"/>
                <a:gd name="connsiteX3757" fmla="*/ 5210651 w 6400800"/>
                <a:gd name="connsiteY3757" fmla="*/ 302419 h 514350"/>
                <a:gd name="connsiteX3758" fmla="*/ 5211604 w 6400800"/>
                <a:gd name="connsiteY3758" fmla="*/ 290989 h 514350"/>
                <a:gd name="connsiteX3759" fmla="*/ 5189696 w 6400800"/>
                <a:gd name="connsiteY3759" fmla="*/ 260509 h 514350"/>
                <a:gd name="connsiteX3760" fmla="*/ 5189696 w 6400800"/>
                <a:gd name="connsiteY3760" fmla="*/ 264319 h 514350"/>
                <a:gd name="connsiteX3761" fmla="*/ 5186839 w 6400800"/>
                <a:gd name="connsiteY3761" fmla="*/ 258604 h 514350"/>
                <a:gd name="connsiteX3762" fmla="*/ 5187792 w 6400800"/>
                <a:gd name="connsiteY3762" fmla="*/ 257651 h 514350"/>
                <a:gd name="connsiteX3763" fmla="*/ 5189696 w 6400800"/>
                <a:gd name="connsiteY3763" fmla="*/ 253841 h 514350"/>
                <a:gd name="connsiteX3764" fmla="*/ 5189696 w 6400800"/>
                <a:gd name="connsiteY3764" fmla="*/ 260509 h 514350"/>
                <a:gd name="connsiteX3765" fmla="*/ 5178267 w 6400800"/>
                <a:gd name="connsiteY3765" fmla="*/ 230981 h 514350"/>
                <a:gd name="connsiteX3766" fmla="*/ 5186839 w 6400800"/>
                <a:gd name="connsiteY3766" fmla="*/ 213836 h 514350"/>
                <a:gd name="connsiteX3767" fmla="*/ 5188744 w 6400800"/>
                <a:gd name="connsiteY3767" fmla="*/ 210026 h 514350"/>
                <a:gd name="connsiteX3768" fmla="*/ 5188744 w 6400800"/>
                <a:gd name="connsiteY3768" fmla="*/ 219551 h 514350"/>
                <a:gd name="connsiteX3769" fmla="*/ 5188744 w 6400800"/>
                <a:gd name="connsiteY3769" fmla="*/ 254794 h 514350"/>
                <a:gd name="connsiteX3770" fmla="*/ 5185887 w 6400800"/>
                <a:gd name="connsiteY3770" fmla="*/ 258604 h 514350"/>
                <a:gd name="connsiteX3771" fmla="*/ 5185887 w 6400800"/>
                <a:gd name="connsiteY3771" fmla="*/ 258604 h 514350"/>
                <a:gd name="connsiteX3772" fmla="*/ 5178267 w 6400800"/>
                <a:gd name="connsiteY3772" fmla="*/ 243364 h 514350"/>
                <a:gd name="connsiteX3773" fmla="*/ 5175409 w 6400800"/>
                <a:gd name="connsiteY3773" fmla="*/ 238601 h 514350"/>
                <a:gd name="connsiteX3774" fmla="*/ 5178267 w 6400800"/>
                <a:gd name="connsiteY3774" fmla="*/ 230981 h 514350"/>
                <a:gd name="connsiteX3775" fmla="*/ 5168742 w 6400800"/>
                <a:gd name="connsiteY3775" fmla="*/ 238601 h 514350"/>
                <a:gd name="connsiteX3776" fmla="*/ 5168742 w 6400800"/>
                <a:gd name="connsiteY3776" fmla="*/ 238601 h 514350"/>
                <a:gd name="connsiteX3777" fmla="*/ 5168742 w 6400800"/>
                <a:gd name="connsiteY3777" fmla="*/ 238601 h 514350"/>
                <a:gd name="connsiteX3778" fmla="*/ 5168742 w 6400800"/>
                <a:gd name="connsiteY3778" fmla="*/ 238601 h 514350"/>
                <a:gd name="connsiteX3779" fmla="*/ 5166837 w 6400800"/>
                <a:gd name="connsiteY3779" fmla="*/ 280511 h 514350"/>
                <a:gd name="connsiteX3780" fmla="*/ 5167789 w 6400800"/>
                <a:gd name="connsiteY3780" fmla="*/ 259556 h 514350"/>
                <a:gd name="connsiteX3781" fmla="*/ 5167789 w 6400800"/>
                <a:gd name="connsiteY3781" fmla="*/ 259556 h 514350"/>
                <a:gd name="connsiteX3782" fmla="*/ 5171599 w 6400800"/>
                <a:gd name="connsiteY3782" fmla="*/ 248126 h 514350"/>
                <a:gd name="connsiteX3783" fmla="*/ 5177314 w 6400800"/>
                <a:gd name="connsiteY3783" fmla="*/ 263366 h 514350"/>
                <a:gd name="connsiteX3784" fmla="*/ 5179219 w 6400800"/>
                <a:gd name="connsiteY3784" fmla="*/ 267176 h 514350"/>
                <a:gd name="connsiteX3785" fmla="*/ 5176362 w 6400800"/>
                <a:gd name="connsiteY3785" fmla="*/ 271939 h 514350"/>
                <a:gd name="connsiteX3786" fmla="*/ 5166837 w 6400800"/>
                <a:gd name="connsiteY3786" fmla="*/ 287179 h 514350"/>
                <a:gd name="connsiteX3787" fmla="*/ 5166837 w 6400800"/>
                <a:gd name="connsiteY3787" fmla="*/ 280511 h 514350"/>
                <a:gd name="connsiteX3788" fmla="*/ 5166837 w 6400800"/>
                <a:gd name="connsiteY3788" fmla="*/ 307181 h 514350"/>
                <a:gd name="connsiteX3789" fmla="*/ 5170646 w 6400800"/>
                <a:gd name="connsiteY3789" fmla="*/ 296704 h 514350"/>
                <a:gd name="connsiteX3790" fmla="*/ 5171599 w 6400800"/>
                <a:gd name="connsiteY3790" fmla="*/ 293846 h 514350"/>
                <a:gd name="connsiteX3791" fmla="*/ 5176362 w 6400800"/>
                <a:gd name="connsiteY3791" fmla="*/ 289084 h 514350"/>
                <a:gd name="connsiteX3792" fmla="*/ 5181124 w 6400800"/>
                <a:gd name="connsiteY3792" fmla="*/ 284321 h 514350"/>
                <a:gd name="connsiteX3793" fmla="*/ 5175409 w 6400800"/>
                <a:gd name="connsiteY3793" fmla="*/ 288131 h 514350"/>
                <a:gd name="connsiteX3794" fmla="*/ 5172551 w 6400800"/>
                <a:gd name="connsiteY3794" fmla="*/ 290036 h 514350"/>
                <a:gd name="connsiteX3795" fmla="*/ 5179219 w 6400800"/>
                <a:gd name="connsiteY3795" fmla="*/ 272891 h 514350"/>
                <a:gd name="connsiteX3796" fmla="*/ 5180171 w 6400800"/>
                <a:gd name="connsiteY3796" fmla="*/ 270034 h 514350"/>
                <a:gd name="connsiteX3797" fmla="*/ 5184934 w 6400800"/>
                <a:gd name="connsiteY3797" fmla="*/ 280511 h 514350"/>
                <a:gd name="connsiteX3798" fmla="*/ 5190649 w 6400800"/>
                <a:gd name="connsiteY3798" fmla="*/ 292894 h 514350"/>
                <a:gd name="connsiteX3799" fmla="*/ 5190649 w 6400800"/>
                <a:gd name="connsiteY3799" fmla="*/ 298609 h 514350"/>
                <a:gd name="connsiteX3800" fmla="*/ 5192554 w 6400800"/>
                <a:gd name="connsiteY3800" fmla="*/ 330041 h 514350"/>
                <a:gd name="connsiteX3801" fmla="*/ 5192554 w 6400800"/>
                <a:gd name="connsiteY3801" fmla="*/ 335756 h 514350"/>
                <a:gd name="connsiteX3802" fmla="*/ 5192554 w 6400800"/>
                <a:gd name="connsiteY3802" fmla="*/ 336709 h 514350"/>
                <a:gd name="connsiteX3803" fmla="*/ 5191601 w 6400800"/>
                <a:gd name="connsiteY3803" fmla="*/ 338614 h 514350"/>
                <a:gd name="connsiteX3804" fmla="*/ 5187792 w 6400800"/>
                <a:gd name="connsiteY3804" fmla="*/ 348139 h 514350"/>
                <a:gd name="connsiteX3805" fmla="*/ 5183981 w 6400800"/>
                <a:gd name="connsiteY3805" fmla="*/ 309086 h 514350"/>
                <a:gd name="connsiteX3806" fmla="*/ 5177314 w 6400800"/>
                <a:gd name="connsiteY3806" fmla="*/ 348139 h 514350"/>
                <a:gd name="connsiteX3807" fmla="*/ 5176362 w 6400800"/>
                <a:gd name="connsiteY3807" fmla="*/ 354806 h 514350"/>
                <a:gd name="connsiteX3808" fmla="*/ 5174456 w 6400800"/>
                <a:gd name="connsiteY3808" fmla="*/ 349091 h 514350"/>
                <a:gd name="connsiteX3809" fmla="*/ 5171599 w 6400800"/>
                <a:gd name="connsiteY3809" fmla="*/ 341471 h 514350"/>
                <a:gd name="connsiteX3810" fmla="*/ 5173504 w 6400800"/>
                <a:gd name="connsiteY3810" fmla="*/ 328136 h 514350"/>
                <a:gd name="connsiteX3811" fmla="*/ 5169694 w 6400800"/>
                <a:gd name="connsiteY3811" fmla="*/ 338614 h 514350"/>
                <a:gd name="connsiteX3812" fmla="*/ 5167789 w 6400800"/>
                <a:gd name="connsiteY3812" fmla="*/ 334804 h 514350"/>
                <a:gd name="connsiteX3813" fmla="*/ 5165884 w 6400800"/>
                <a:gd name="connsiteY3813" fmla="*/ 312896 h 514350"/>
                <a:gd name="connsiteX3814" fmla="*/ 5166837 w 6400800"/>
                <a:gd name="connsiteY3814" fmla="*/ 307181 h 514350"/>
                <a:gd name="connsiteX3815" fmla="*/ 5161121 w 6400800"/>
                <a:gd name="connsiteY3815" fmla="*/ 218599 h 514350"/>
                <a:gd name="connsiteX3816" fmla="*/ 5164931 w 6400800"/>
                <a:gd name="connsiteY3816" fmla="*/ 229076 h 514350"/>
                <a:gd name="connsiteX3817" fmla="*/ 5161121 w 6400800"/>
                <a:gd name="connsiteY3817" fmla="*/ 248126 h 514350"/>
                <a:gd name="connsiteX3818" fmla="*/ 5157312 w 6400800"/>
                <a:gd name="connsiteY3818" fmla="*/ 206216 h 514350"/>
                <a:gd name="connsiteX3819" fmla="*/ 5161121 w 6400800"/>
                <a:gd name="connsiteY3819" fmla="*/ 218599 h 514350"/>
                <a:gd name="connsiteX3820" fmla="*/ 5148739 w 6400800"/>
                <a:gd name="connsiteY3820" fmla="*/ 256699 h 514350"/>
                <a:gd name="connsiteX3821" fmla="*/ 5149692 w 6400800"/>
                <a:gd name="connsiteY3821" fmla="*/ 255746 h 514350"/>
                <a:gd name="connsiteX3822" fmla="*/ 5149692 w 6400800"/>
                <a:gd name="connsiteY3822" fmla="*/ 283369 h 514350"/>
                <a:gd name="connsiteX3823" fmla="*/ 5149692 w 6400800"/>
                <a:gd name="connsiteY3823" fmla="*/ 284321 h 514350"/>
                <a:gd name="connsiteX3824" fmla="*/ 5143024 w 6400800"/>
                <a:gd name="connsiteY3824" fmla="*/ 263366 h 514350"/>
                <a:gd name="connsiteX3825" fmla="*/ 5148739 w 6400800"/>
                <a:gd name="connsiteY3825" fmla="*/ 256699 h 514350"/>
                <a:gd name="connsiteX3826" fmla="*/ 5087779 w 6400800"/>
                <a:gd name="connsiteY3826" fmla="*/ 317659 h 514350"/>
                <a:gd name="connsiteX3827" fmla="*/ 5087779 w 6400800"/>
                <a:gd name="connsiteY3827" fmla="*/ 315754 h 514350"/>
                <a:gd name="connsiteX3828" fmla="*/ 5087779 w 6400800"/>
                <a:gd name="connsiteY3828" fmla="*/ 317659 h 514350"/>
                <a:gd name="connsiteX3829" fmla="*/ 5087779 w 6400800"/>
                <a:gd name="connsiteY3829" fmla="*/ 317659 h 514350"/>
                <a:gd name="connsiteX3830" fmla="*/ 5122069 w 6400800"/>
                <a:gd name="connsiteY3830" fmla="*/ 298609 h 514350"/>
                <a:gd name="connsiteX3831" fmla="*/ 5128737 w 6400800"/>
                <a:gd name="connsiteY3831" fmla="*/ 287179 h 514350"/>
                <a:gd name="connsiteX3832" fmla="*/ 5124926 w 6400800"/>
                <a:gd name="connsiteY3832" fmla="*/ 327184 h 514350"/>
                <a:gd name="connsiteX3833" fmla="*/ 5121117 w 6400800"/>
                <a:gd name="connsiteY3833" fmla="*/ 318611 h 514350"/>
                <a:gd name="connsiteX3834" fmla="*/ 5117306 w 6400800"/>
                <a:gd name="connsiteY3834" fmla="*/ 308134 h 514350"/>
                <a:gd name="connsiteX3835" fmla="*/ 5122069 w 6400800"/>
                <a:gd name="connsiteY3835" fmla="*/ 298609 h 514350"/>
                <a:gd name="connsiteX3836" fmla="*/ 5110639 w 6400800"/>
                <a:gd name="connsiteY3836" fmla="*/ 321469 h 514350"/>
                <a:gd name="connsiteX3837" fmla="*/ 5110639 w 6400800"/>
                <a:gd name="connsiteY3837" fmla="*/ 321469 h 514350"/>
                <a:gd name="connsiteX3838" fmla="*/ 5118259 w 6400800"/>
                <a:gd name="connsiteY3838" fmla="*/ 344329 h 514350"/>
                <a:gd name="connsiteX3839" fmla="*/ 5116354 w 6400800"/>
                <a:gd name="connsiteY3839" fmla="*/ 347186 h 514350"/>
                <a:gd name="connsiteX3840" fmla="*/ 5114449 w 6400800"/>
                <a:gd name="connsiteY3840" fmla="*/ 349091 h 514350"/>
                <a:gd name="connsiteX3841" fmla="*/ 5110639 w 6400800"/>
                <a:gd name="connsiteY3841" fmla="*/ 335756 h 514350"/>
                <a:gd name="connsiteX3842" fmla="*/ 5107781 w 6400800"/>
                <a:gd name="connsiteY3842" fmla="*/ 327184 h 514350"/>
                <a:gd name="connsiteX3843" fmla="*/ 5110639 w 6400800"/>
                <a:gd name="connsiteY3843" fmla="*/ 321469 h 514350"/>
                <a:gd name="connsiteX3844" fmla="*/ 5105876 w 6400800"/>
                <a:gd name="connsiteY3844" fmla="*/ 308134 h 514350"/>
                <a:gd name="connsiteX3845" fmla="*/ 5103019 w 6400800"/>
                <a:gd name="connsiteY3845" fmla="*/ 311944 h 514350"/>
                <a:gd name="connsiteX3846" fmla="*/ 5101114 w 6400800"/>
                <a:gd name="connsiteY3846" fmla="*/ 306229 h 514350"/>
                <a:gd name="connsiteX3847" fmla="*/ 5101114 w 6400800"/>
                <a:gd name="connsiteY3847" fmla="*/ 304324 h 514350"/>
                <a:gd name="connsiteX3848" fmla="*/ 5101114 w 6400800"/>
                <a:gd name="connsiteY3848" fmla="*/ 305276 h 514350"/>
                <a:gd name="connsiteX3849" fmla="*/ 5096351 w 6400800"/>
                <a:gd name="connsiteY3849" fmla="*/ 288131 h 514350"/>
                <a:gd name="connsiteX3850" fmla="*/ 5097304 w 6400800"/>
                <a:gd name="connsiteY3850" fmla="*/ 281464 h 514350"/>
                <a:gd name="connsiteX3851" fmla="*/ 5105876 w 6400800"/>
                <a:gd name="connsiteY3851" fmla="*/ 308134 h 514350"/>
                <a:gd name="connsiteX3852" fmla="*/ 5097304 w 6400800"/>
                <a:gd name="connsiteY3852" fmla="*/ 282416 h 514350"/>
                <a:gd name="connsiteX3853" fmla="*/ 5095399 w 6400800"/>
                <a:gd name="connsiteY3853" fmla="*/ 286226 h 514350"/>
                <a:gd name="connsiteX3854" fmla="*/ 5093494 w 6400800"/>
                <a:gd name="connsiteY3854" fmla="*/ 279559 h 514350"/>
                <a:gd name="connsiteX3855" fmla="*/ 5087779 w 6400800"/>
                <a:gd name="connsiteY3855" fmla="*/ 258604 h 514350"/>
                <a:gd name="connsiteX3856" fmla="*/ 5089684 w 6400800"/>
                <a:gd name="connsiteY3856" fmla="*/ 257651 h 514350"/>
                <a:gd name="connsiteX3857" fmla="*/ 5097304 w 6400800"/>
                <a:gd name="connsiteY3857" fmla="*/ 282416 h 514350"/>
                <a:gd name="connsiteX3858" fmla="*/ 5080159 w 6400800"/>
                <a:gd name="connsiteY3858" fmla="*/ 224314 h 514350"/>
                <a:gd name="connsiteX3859" fmla="*/ 5089684 w 6400800"/>
                <a:gd name="connsiteY3859" fmla="*/ 254794 h 514350"/>
                <a:gd name="connsiteX3860" fmla="*/ 5087779 w 6400800"/>
                <a:gd name="connsiteY3860" fmla="*/ 254794 h 514350"/>
                <a:gd name="connsiteX3861" fmla="*/ 5081112 w 6400800"/>
                <a:gd name="connsiteY3861" fmla="*/ 228124 h 514350"/>
                <a:gd name="connsiteX3862" fmla="*/ 5080159 w 6400800"/>
                <a:gd name="connsiteY3862" fmla="*/ 224314 h 514350"/>
                <a:gd name="connsiteX3863" fmla="*/ 5080159 w 6400800"/>
                <a:gd name="connsiteY3863" fmla="*/ 224314 h 514350"/>
                <a:gd name="connsiteX3864" fmla="*/ 5076349 w 6400800"/>
                <a:gd name="connsiteY3864" fmla="*/ 272891 h 514350"/>
                <a:gd name="connsiteX3865" fmla="*/ 5076349 w 6400800"/>
                <a:gd name="connsiteY3865" fmla="*/ 268129 h 514350"/>
                <a:gd name="connsiteX3866" fmla="*/ 5079206 w 6400800"/>
                <a:gd name="connsiteY3866" fmla="*/ 283369 h 514350"/>
                <a:gd name="connsiteX3867" fmla="*/ 5083017 w 6400800"/>
                <a:gd name="connsiteY3867" fmla="*/ 301466 h 514350"/>
                <a:gd name="connsiteX3868" fmla="*/ 5083017 w 6400800"/>
                <a:gd name="connsiteY3868" fmla="*/ 304324 h 514350"/>
                <a:gd name="connsiteX3869" fmla="*/ 5082064 w 6400800"/>
                <a:gd name="connsiteY3869" fmla="*/ 311944 h 514350"/>
                <a:gd name="connsiteX3870" fmla="*/ 5073492 w 6400800"/>
                <a:gd name="connsiteY3870" fmla="*/ 292894 h 514350"/>
                <a:gd name="connsiteX3871" fmla="*/ 5076349 w 6400800"/>
                <a:gd name="connsiteY3871" fmla="*/ 272891 h 514350"/>
                <a:gd name="connsiteX3872" fmla="*/ 5066824 w 6400800"/>
                <a:gd name="connsiteY3872" fmla="*/ 377666 h 514350"/>
                <a:gd name="connsiteX3873" fmla="*/ 5066824 w 6400800"/>
                <a:gd name="connsiteY3873" fmla="*/ 380524 h 514350"/>
                <a:gd name="connsiteX3874" fmla="*/ 5066824 w 6400800"/>
                <a:gd name="connsiteY3874" fmla="*/ 383381 h 514350"/>
                <a:gd name="connsiteX3875" fmla="*/ 5065871 w 6400800"/>
                <a:gd name="connsiteY3875" fmla="*/ 384334 h 514350"/>
                <a:gd name="connsiteX3876" fmla="*/ 5064919 w 6400800"/>
                <a:gd name="connsiteY3876" fmla="*/ 381476 h 514350"/>
                <a:gd name="connsiteX3877" fmla="*/ 5066824 w 6400800"/>
                <a:gd name="connsiteY3877" fmla="*/ 377666 h 514350"/>
                <a:gd name="connsiteX3878" fmla="*/ 5057299 w 6400800"/>
                <a:gd name="connsiteY3878" fmla="*/ 303371 h 514350"/>
                <a:gd name="connsiteX3879" fmla="*/ 5051584 w 6400800"/>
                <a:gd name="connsiteY3879" fmla="*/ 294799 h 514350"/>
                <a:gd name="connsiteX3880" fmla="*/ 5052537 w 6400800"/>
                <a:gd name="connsiteY3880" fmla="*/ 290989 h 514350"/>
                <a:gd name="connsiteX3881" fmla="*/ 5055394 w 6400800"/>
                <a:gd name="connsiteY3881" fmla="*/ 287179 h 514350"/>
                <a:gd name="connsiteX3882" fmla="*/ 5057299 w 6400800"/>
                <a:gd name="connsiteY3882" fmla="*/ 303371 h 514350"/>
                <a:gd name="connsiteX3883" fmla="*/ 5050631 w 6400800"/>
                <a:gd name="connsiteY3883" fmla="*/ 252889 h 514350"/>
                <a:gd name="connsiteX3884" fmla="*/ 5052537 w 6400800"/>
                <a:gd name="connsiteY3884" fmla="*/ 258604 h 514350"/>
                <a:gd name="connsiteX3885" fmla="*/ 5053489 w 6400800"/>
                <a:gd name="connsiteY3885" fmla="*/ 260509 h 514350"/>
                <a:gd name="connsiteX3886" fmla="*/ 5054442 w 6400800"/>
                <a:gd name="connsiteY3886" fmla="*/ 268129 h 514350"/>
                <a:gd name="connsiteX3887" fmla="*/ 5052537 w 6400800"/>
                <a:gd name="connsiteY3887" fmla="*/ 273844 h 514350"/>
                <a:gd name="connsiteX3888" fmla="*/ 5051584 w 6400800"/>
                <a:gd name="connsiteY3888" fmla="*/ 276701 h 514350"/>
                <a:gd name="connsiteX3889" fmla="*/ 5048726 w 6400800"/>
                <a:gd name="connsiteY3889" fmla="*/ 279559 h 514350"/>
                <a:gd name="connsiteX3890" fmla="*/ 5048726 w 6400800"/>
                <a:gd name="connsiteY3890" fmla="*/ 278606 h 514350"/>
                <a:gd name="connsiteX3891" fmla="*/ 5048726 w 6400800"/>
                <a:gd name="connsiteY3891" fmla="*/ 274796 h 514350"/>
                <a:gd name="connsiteX3892" fmla="*/ 5049679 w 6400800"/>
                <a:gd name="connsiteY3892" fmla="*/ 268129 h 514350"/>
                <a:gd name="connsiteX3893" fmla="*/ 5050631 w 6400800"/>
                <a:gd name="connsiteY3893" fmla="*/ 262414 h 514350"/>
                <a:gd name="connsiteX3894" fmla="*/ 5048726 w 6400800"/>
                <a:gd name="connsiteY3894" fmla="*/ 268129 h 514350"/>
                <a:gd name="connsiteX3895" fmla="*/ 5048726 w 6400800"/>
                <a:gd name="connsiteY3895" fmla="*/ 269081 h 514350"/>
                <a:gd name="connsiteX3896" fmla="*/ 5048726 w 6400800"/>
                <a:gd name="connsiteY3896" fmla="*/ 266224 h 514350"/>
                <a:gd name="connsiteX3897" fmla="*/ 5050631 w 6400800"/>
                <a:gd name="connsiteY3897" fmla="*/ 252889 h 514350"/>
                <a:gd name="connsiteX3898" fmla="*/ 5020151 w 6400800"/>
                <a:gd name="connsiteY3898" fmla="*/ 390049 h 514350"/>
                <a:gd name="connsiteX3899" fmla="*/ 5014437 w 6400800"/>
                <a:gd name="connsiteY3899" fmla="*/ 376714 h 514350"/>
                <a:gd name="connsiteX3900" fmla="*/ 5014437 w 6400800"/>
                <a:gd name="connsiteY3900" fmla="*/ 375761 h 514350"/>
                <a:gd name="connsiteX3901" fmla="*/ 5022056 w 6400800"/>
                <a:gd name="connsiteY3901" fmla="*/ 347186 h 514350"/>
                <a:gd name="connsiteX3902" fmla="*/ 5022056 w 6400800"/>
                <a:gd name="connsiteY3902" fmla="*/ 348139 h 514350"/>
                <a:gd name="connsiteX3903" fmla="*/ 5022056 w 6400800"/>
                <a:gd name="connsiteY3903" fmla="*/ 363379 h 514350"/>
                <a:gd name="connsiteX3904" fmla="*/ 5023009 w 6400800"/>
                <a:gd name="connsiteY3904" fmla="*/ 379571 h 514350"/>
                <a:gd name="connsiteX3905" fmla="*/ 5023962 w 6400800"/>
                <a:gd name="connsiteY3905" fmla="*/ 386239 h 514350"/>
                <a:gd name="connsiteX3906" fmla="*/ 5020151 w 6400800"/>
                <a:gd name="connsiteY3906" fmla="*/ 390049 h 514350"/>
                <a:gd name="connsiteX3907" fmla="*/ 5024914 w 6400800"/>
                <a:gd name="connsiteY3907" fmla="*/ 400526 h 514350"/>
                <a:gd name="connsiteX3908" fmla="*/ 5024914 w 6400800"/>
                <a:gd name="connsiteY3908" fmla="*/ 400526 h 514350"/>
                <a:gd name="connsiteX3909" fmla="*/ 5024914 w 6400800"/>
                <a:gd name="connsiteY3909" fmla="*/ 400526 h 514350"/>
                <a:gd name="connsiteX3910" fmla="*/ 5024914 w 6400800"/>
                <a:gd name="connsiteY3910" fmla="*/ 400526 h 514350"/>
                <a:gd name="connsiteX3911" fmla="*/ 5035392 w 6400800"/>
                <a:gd name="connsiteY3911" fmla="*/ 314801 h 514350"/>
                <a:gd name="connsiteX3912" fmla="*/ 5035392 w 6400800"/>
                <a:gd name="connsiteY3912" fmla="*/ 317659 h 514350"/>
                <a:gd name="connsiteX3913" fmla="*/ 5031581 w 6400800"/>
                <a:gd name="connsiteY3913" fmla="*/ 353854 h 514350"/>
                <a:gd name="connsiteX3914" fmla="*/ 5031581 w 6400800"/>
                <a:gd name="connsiteY3914" fmla="*/ 353854 h 514350"/>
                <a:gd name="connsiteX3915" fmla="*/ 5031581 w 6400800"/>
                <a:gd name="connsiteY3915" fmla="*/ 354806 h 514350"/>
                <a:gd name="connsiteX3916" fmla="*/ 5030629 w 6400800"/>
                <a:gd name="connsiteY3916" fmla="*/ 347186 h 514350"/>
                <a:gd name="connsiteX3917" fmla="*/ 5027771 w 6400800"/>
                <a:gd name="connsiteY3917" fmla="*/ 329089 h 514350"/>
                <a:gd name="connsiteX3918" fmla="*/ 5028724 w 6400800"/>
                <a:gd name="connsiteY3918" fmla="*/ 325279 h 514350"/>
                <a:gd name="connsiteX3919" fmla="*/ 5032534 w 6400800"/>
                <a:gd name="connsiteY3919" fmla="*/ 319564 h 514350"/>
                <a:gd name="connsiteX3920" fmla="*/ 5035392 w 6400800"/>
                <a:gd name="connsiteY3920" fmla="*/ 314801 h 514350"/>
                <a:gd name="connsiteX3921" fmla="*/ 5006817 w 6400800"/>
                <a:gd name="connsiteY3921" fmla="*/ 242411 h 514350"/>
                <a:gd name="connsiteX3922" fmla="*/ 5019199 w 6400800"/>
                <a:gd name="connsiteY3922" fmla="*/ 259556 h 514350"/>
                <a:gd name="connsiteX3923" fmla="*/ 5025867 w 6400800"/>
                <a:gd name="connsiteY3923" fmla="*/ 270034 h 514350"/>
                <a:gd name="connsiteX3924" fmla="*/ 5021104 w 6400800"/>
                <a:gd name="connsiteY3924" fmla="*/ 263366 h 514350"/>
                <a:gd name="connsiteX3925" fmla="*/ 5014437 w 6400800"/>
                <a:gd name="connsiteY3925" fmla="*/ 255746 h 514350"/>
                <a:gd name="connsiteX3926" fmla="*/ 5004912 w 6400800"/>
                <a:gd name="connsiteY3926" fmla="*/ 245269 h 514350"/>
                <a:gd name="connsiteX3927" fmla="*/ 5006817 w 6400800"/>
                <a:gd name="connsiteY3927" fmla="*/ 242411 h 514350"/>
                <a:gd name="connsiteX3928" fmla="*/ 5004912 w 6400800"/>
                <a:gd name="connsiteY3928" fmla="*/ 242411 h 514350"/>
                <a:gd name="connsiteX3929" fmla="*/ 5004912 w 6400800"/>
                <a:gd name="connsiteY3929" fmla="*/ 238601 h 514350"/>
                <a:gd name="connsiteX3930" fmla="*/ 5006817 w 6400800"/>
                <a:gd name="connsiteY3930" fmla="*/ 241459 h 514350"/>
                <a:gd name="connsiteX3931" fmla="*/ 5004912 w 6400800"/>
                <a:gd name="connsiteY3931" fmla="*/ 244316 h 514350"/>
                <a:gd name="connsiteX3932" fmla="*/ 5004912 w 6400800"/>
                <a:gd name="connsiteY3932" fmla="*/ 243364 h 514350"/>
                <a:gd name="connsiteX3933" fmla="*/ 5004912 w 6400800"/>
                <a:gd name="connsiteY3933" fmla="*/ 242411 h 514350"/>
                <a:gd name="connsiteX3934" fmla="*/ 4999196 w 6400800"/>
                <a:gd name="connsiteY3934" fmla="*/ 303371 h 514350"/>
                <a:gd name="connsiteX3935" fmla="*/ 5003006 w 6400800"/>
                <a:gd name="connsiteY3935" fmla="*/ 252889 h 514350"/>
                <a:gd name="connsiteX3936" fmla="*/ 5008721 w 6400800"/>
                <a:gd name="connsiteY3936" fmla="*/ 260509 h 514350"/>
                <a:gd name="connsiteX3937" fmla="*/ 5014437 w 6400800"/>
                <a:gd name="connsiteY3937" fmla="*/ 268129 h 514350"/>
                <a:gd name="connsiteX3938" fmla="*/ 5020151 w 6400800"/>
                <a:gd name="connsiteY3938" fmla="*/ 276701 h 514350"/>
                <a:gd name="connsiteX3939" fmla="*/ 5029676 w 6400800"/>
                <a:gd name="connsiteY3939" fmla="*/ 292894 h 514350"/>
                <a:gd name="connsiteX3940" fmla="*/ 5029676 w 6400800"/>
                <a:gd name="connsiteY3940" fmla="*/ 293846 h 514350"/>
                <a:gd name="connsiteX3941" fmla="*/ 5025867 w 6400800"/>
                <a:gd name="connsiteY3941" fmla="*/ 302419 h 514350"/>
                <a:gd name="connsiteX3942" fmla="*/ 5023009 w 6400800"/>
                <a:gd name="connsiteY3942" fmla="*/ 305276 h 514350"/>
                <a:gd name="connsiteX3943" fmla="*/ 5022056 w 6400800"/>
                <a:gd name="connsiteY3943" fmla="*/ 301466 h 514350"/>
                <a:gd name="connsiteX3944" fmla="*/ 5022056 w 6400800"/>
                <a:gd name="connsiteY3944" fmla="*/ 306229 h 514350"/>
                <a:gd name="connsiteX3945" fmla="*/ 5019199 w 6400800"/>
                <a:gd name="connsiteY3945" fmla="*/ 309086 h 514350"/>
                <a:gd name="connsiteX3946" fmla="*/ 5012531 w 6400800"/>
                <a:gd name="connsiteY3946" fmla="*/ 318611 h 514350"/>
                <a:gd name="connsiteX3947" fmla="*/ 5013484 w 6400800"/>
                <a:gd name="connsiteY3947" fmla="*/ 311944 h 514350"/>
                <a:gd name="connsiteX3948" fmla="*/ 5017294 w 6400800"/>
                <a:gd name="connsiteY3948" fmla="*/ 294799 h 514350"/>
                <a:gd name="connsiteX3949" fmla="*/ 5020151 w 6400800"/>
                <a:gd name="connsiteY3949" fmla="*/ 279559 h 514350"/>
                <a:gd name="connsiteX3950" fmla="*/ 5013484 w 6400800"/>
                <a:gd name="connsiteY3950" fmla="*/ 293846 h 514350"/>
                <a:gd name="connsiteX3951" fmla="*/ 5006817 w 6400800"/>
                <a:gd name="connsiteY3951" fmla="*/ 310039 h 514350"/>
                <a:gd name="connsiteX3952" fmla="*/ 4999196 w 6400800"/>
                <a:gd name="connsiteY3952" fmla="*/ 331946 h 514350"/>
                <a:gd name="connsiteX3953" fmla="*/ 4999196 w 6400800"/>
                <a:gd name="connsiteY3953" fmla="*/ 332899 h 514350"/>
                <a:gd name="connsiteX3954" fmla="*/ 4997292 w 6400800"/>
                <a:gd name="connsiteY3954" fmla="*/ 327184 h 514350"/>
                <a:gd name="connsiteX3955" fmla="*/ 4999196 w 6400800"/>
                <a:gd name="connsiteY3955" fmla="*/ 303371 h 514350"/>
                <a:gd name="connsiteX3956" fmla="*/ 4968717 w 6400800"/>
                <a:gd name="connsiteY3956" fmla="*/ 208121 h 514350"/>
                <a:gd name="connsiteX3957" fmla="*/ 4967764 w 6400800"/>
                <a:gd name="connsiteY3957" fmla="*/ 212884 h 514350"/>
                <a:gd name="connsiteX3958" fmla="*/ 4966812 w 6400800"/>
                <a:gd name="connsiteY3958" fmla="*/ 217646 h 514350"/>
                <a:gd name="connsiteX3959" fmla="*/ 4966812 w 6400800"/>
                <a:gd name="connsiteY3959" fmla="*/ 215741 h 514350"/>
                <a:gd name="connsiteX3960" fmla="*/ 4968717 w 6400800"/>
                <a:gd name="connsiteY3960" fmla="*/ 208121 h 514350"/>
                <a:gd name="connsiteX3961" fmla="*/ 4960144 w 6400800"/>
                <a:gd name="connsiteY3961" fmla="*/ 364331 h 514350"/>
                <a:gd name="connsiteX3962" fmla="*/ 4961096 w 6400800"/>
                <a:gd name="connsiteY3962" fmla="*/ 381476 h 514350"/>
                <a:gd name="connsiteX3963" fmla="*/ 4958239 w 6400800"/>
                <a:gd name="connsiteY3963" fmla="*/ 391001 h 514350"/>
                <a:gd name="connsiteX3964" fmla="*/ 4957287 w 6400800"/>
                <a:gd name="connsiteY3964" fmla="*/ 386239 h 514350"/>
                <a:gd name="connsiteX3965" fmla="*/ 4957287 w 6400800"/>
                <a:gd name="connsiteY3965" fmla="*/ 380524 h 514350"/>
                <a:gd name="connsiteX3966" fmla="*/ 4956334 w 6400800"/>
                <a:gd name="connsiteY3966" fmla="*/ 356711 h 514350"/>
                <a:gd name="connsiteX3967" fmla="*/ 4956334 w 6400800"/>
                <a:gd name="connsiteY3967" fmla="*/ 351949 h 514350"/>
                <a:gd name="connsiteX3968" fmla="*/ 4958239 w 6400800"/>
                <a:gd name="connsiteY3968" fmla="*/ 348139 h 514350"/>
                <a:gd name="connsiteX3969" fmla="*/ 4960144 w 6400800"/>
                <a:gd name="connsiteY3969" fmla="*/ 364331 h 514350"/>
                <a:gd name="connsiteX3970" fmla="*/ 4957287 w 6400800"/>
                <a:gd name="connsiteY3970" fmla="*/ 256699 h 514350"/>
                <a:gd name="connsiteX3971" fmla="*/ 4957287 w 6400800"/>
                <a:gd name="connsiteY3971" fmla="*/ 258604 h 514350"/>
                <a:gd name="connsiteX3972" fmla="*/ 4957287 w 6400800"/>
                <a:gd name="connsiteY3972" fmla="*/ 259556 h 514350"/>
                <a:gd name="connsiteX3973" fmla="*/ 4955381 w 6400800"/>
                <a:gd name="connsiteY3973" fmla="*/ 267176 h 514350"/>
                <a:gd name="connsiteX3974" fmla="*/ 4954429 w 6400800"/>
                <a:gd name="connsiteY3974" fmla="*/ 265271 h 514350"/>
                <a:gd name="connsiteX3975" fmla="*/ 4957287 w 6400800"/>
                <a:gd name="connsiteY3975" fmla="*/ 256699 h 514350"/>
                <a:gd name="connsiteX3976" fmla="*/ 4954429 w 6400800"/>
                <a:gd name="connsiteY3976" fmla="*/ 268129 h 514350"/>
                <a:gd name="connsiteX3977" fmla="*/ 4955381 w 6400800"/>
                <a:gd name="connsiteY3977" fmla="*/ 270986 h 514350"/>
                <a:gd name="connsiteX3978" fmla="*/ 4951571 w 6400800"/>
                <a:gd name="connsiteY3978" fmla="*/ 290036 h 514350"/>
                <a:gd name="connsiteX3979" fmla="*/ 4944904 w 6400800"/>
                <a:gd name="connsiteY3979" fmla="*/ 316706 h 514350"/>
                <a:gd name="connsiteX3980" fmla="*/ 4943951 w 6400800"/>
                <a:gd name="connsiteY3980" fmla="*/ 310991 h 514350"/>
                <a:gd name="connsiteX3981" fmla="*/ 4943951 w 6400800"/>
                <a:gd name="connsiteY3981" fmla="*/ 320516 h 514350"/>
                <a:gd name="connsiteX3982" fmla="*/ 4940142 w 6400800"/>
                <a:gd name="connsiteY3982" fmla="*/ 336709 h 514350"/>
                <a:gd name="connsiteX3983" fmla="*/ 4940142 w 6400800"/>
                <a:gd name="connsiteY3983" fmla="*/ 335756 h 514350"/>
                <a:gd name="connsiteX3984" fmla="*/ 4938237 w 6400800"/>
                <a:gd name="connsiteY3984" fmla="*/ 325279 h 514350"/>
                <a:gd name="connsiteX3985" fmla="*/ 4954429 w 6400800"/>
                <a:gd name="connsiteY3985" fmla="*/ 268129 h 514350"/>
                <a:gd name="connsiteX3986" fmla="*/ 4922044 w 6400800"/>
                <a:gd name="connsiteY3986" fmla="*/ 378619 h 514350"/>
                <a:gd name="connsiteX3987" fmla="*/ 4922044 w 6400800"/>
                <a:gd name="connsiteY3987" fmla="*/ 378619 h 514350"/>
                <a:gd name="connsiteX3988" fmla="*/ 4922044 w 6400800"/>
                <a:gd name="connsiteY3988" fmla="*/ 378619 h 514350"/>
                <a:gd name="connsiteX3989" fmla="*/ 4922044 w 6400800"/>
                <a:gd name="connsiteY3989" fmla="*/ 378619 h 514350"/>
                <a:gd name="connsiteX3990" fmla="*/ 4908709 w 6400800"/>
                <a:gd name="connsiteY3990" fmla="*/ 307181 h 514350"/>
                <a:gd name="connsiteX3991" fmla="*/ 4915376 w 6400800"/>
                <a:gd name="connsiteY3991" fmla="*/ 326231 h 514350"/>
                <a:gd name="connsiteX3992" fmla="*/ 4909662 w 6400800"/>
                <a:gd name="connsiteY3992" fmla="*/ 338614 h 514350"/>
                <a:gd name="connsiteX3993" fmla="*/ 4906804 w 6400800"/>
                <a:gd name="connsiteY3993" fmla="*/ 308134 h 514350"/>
                <a:gd name="connsiteX3994" fmla="*/ 4906804 w 6400800"/>
                <a:gd name="connsiteY3994" fmla="*/ 305276 h 514350"/>
                <a:gd name="connsiteX3995" fmla="*/ 4905851 w 6400800"/>
                <a:gd name="connsiteY3995" fmla="*/ 307181 h 514350"/>
                <a:gd name="connsiteX3996" fmla="*/ 4904899 w 6400800"/>
                <a:gd name="connsiteY3996" fmla="*/ 297656 h 514350"/>
                <a:gd name="connsiteX3997" fmla="*/ 4908709 w 6400800"/>
                <a:gd name="connsiteY3997" fmla="*/ 307181 h 514350"/>
                <a:gd name="connsiteX3998" fmla="*/ 4897279 w 6400800"/>
                <a:gd name="connsiteY3998" fmla="*/ 351949 h 514350"/>
                <a:gd name="connsiteX3999" fmla="*/ 4896326 w 6400800"/>
                <a:gd name="connsiteY3999" fmla="*/ 365284 h 514350"/>
                <a:gd name="connsiteX4000" fmla="*/ 4895374 w 6400800"/>
                <a:gd name="connsiteY4000" fmla="*/ 368141 h 514350"/>
                <a:gd name="connsiteX4001" fmla="*/ 4894421 w 6400800"/>
                <a:gd name="connsiteY4001" fmla="*/ 357664 h 514350"/>
                <a:gd name="connsiteX4002" fmla="*/ 4892517 w 6400800"/>
                <a:gd name="connsiteY4002" fmla="*/ 341471 h 514350"/>
                <a:gd name="connsiteX4003" fmla="*/ 4897279 w 6400800"/>
                <a:gd name="connsiteY4003" fmla="*/ 351949 h 514350"/>
                <a:gd name="connsiteX4004" fmla="*/ 4822984 w 6400800"/>
                <a:gd name="connsiteY4004" fmla="*/ 387191 h 514350"/>
                <a:gd name="connsiteX4005" fmla="*/ 4822984 w 6400800"/>
                <a:gd name="connsiteY4005" fmla="*/ 385286 h 514350"/>
                <a:gd name="connsiteX4006" fmla="*/ 4822984 w 6400800"/>
                <a:gd name="connsiteY4006" fmla="*/ 387191 h 514350"/>
                <a:gd name="connsiteX4007" fmla="*/ 4822984 w 6400800"/>
                <a:gd name="connsiteY4007" fmla="*/ 387191 h 514350"/>
                <a:gd name="connsiteX4008" fmla="*/ 4842987 w 6400800"/>
                <a:gd name="connsiteY4008" fmla="*/ 338614 h 514350"/>
                <a:gd name="connsiteX4009" fmla="*/ 4842987 w 6400800"/>
                <a:gd name="connsiteY4009" fmla="*/ 356711 h 514350"/>
                <a:gd name="connsiteX4010" fmla="*/ 4842987 w 6400800"/>
                <a:gd name="connsiteY4010" fmla="*/ 360521 h 514350"/>
                <a:gd name="connsiteX4011" fmla="*/ 4840129 w 6400800"/>
                <a:gd name="connsiteY4011" fmla="*/ 382429 h 514350"/>
                <a:gd name="connsiteX4012" fmla="*/ 4838224 w 6400800"/>
                <a:gd name="connsiteY4012" fmla="*/ 390049 h 514350"/>
                <a:gd name="connsiteX4013" fmla="*/ 4826794 w 6400800"/>
                <a:gd name="connsiteY4013" fmla="*/ 387191 h 514350"/>
                <a:gd name="connsiteX4014" fmla="*/ 4824889 w 6400800"/>
                <a:gd name="connsiteY4014" fmla="*/ 379571 h 514350"/>
                <a:gd name="connsiteX4015" fmla="*/ 4827747 w 6400800"/>
                <a:gd name="connsiteY4015" fmla="*/ 370999 h 514350"/>
                <a:gd name="connsiteX4016" fmla="*/ 4838224 w 6400800"/>
                <a:gd name="connsiteY4016" fmla="*/ 346234 h 514350"/>
                <a:gd name="connsiteX4017" fmla="*/ 4843939 w 6400800"/>
                <a:gd name="connsiteY4017" fmla="*/ 336709 h 514350"/>
                <a:gd name="connsiteX4018" fmla="*/ 4842987 w 6400800"/>
                <a:gd name="connsiteY4018" fmla="*/ 338614 h 514350"/>
                <a:gd name="connsiteX4019" fmla="*/ 4842987 w 6400800"/>
                <a:gd name="connsiteY4019" fmla="*/ 338614 h 514350"/>
                <a:gd name="connsiteX4020" fmla="*/ 4843939 w 6400800"/>
                <a:gd name="connsiteY4020" fmla="*/ 329089 h 514350"/>
                <a:gd name="connsiteX4021" fmla="*/ 4843939 w 6400800"/>
                <a:gd name="connsiteY4021" fmla="*/ 329089 h 514350"/>
                <a:gd name="connsiteX4022" fmla="*/ 4836319 w 6400800"/>
                <a:gd name="connsiteY4022" fmla="*/ 318611 h 514350"/>
                <a:gd name="connsiteX4023" fmla="*/ 4836319 w 6400800"/>
                <a:gd name="connsiteY4023" fmla="*/ 318611 h 514350"/>
                <a:gd name="connsiteX4024" fmla="*/ 4839176 w 6400800"/>
                <a:gd name="connsiteY4024" fmla="*/ 314801 h 514350"/>
                <a:gd name="connsiteX4025" fmla="*/ 4842987 w 6400800"/>
                <a:gd name="connsiteY4025" fmla="*/ 321469 h 514350"/>
                <a:gd name="connsiteX4026" fmla="*/ 4843939 w 6400800"/>
                <a:gd name="connsiteY4026" fmla="*/ 323374 h 514350"/>
                <a:gd name="connsiteX4027" fmla="*/ 4843939 w 6400800"/>
                <a:gd name="connsiteY4027" fmla="*/ 329089 h 514350"/>
                <a:gd name="connsiteX4028" fmla="*/ 4845844 w 6400800"/>
                <a:gd name="connsiteY4028" fmla="*/ 296704 h 514350"/>
                <a:gd name="connsiteX4029" fmla="*/ 4844891 w 6400800"/>
                <a:gd name="connsiteY4029" fmla="*/ 316706 h 514350"/>
                <a:gd name="connsiteX4030" fmla="*/ 4840129 w 6400800"/>
                <a:gd name="connsiteY4030" fmla="*/ 310039 h 514350"/>
                <a:gd name="connsiteX4031" fmla="*/ 4837272 w 6400800"/>
                <a:gd name="connsiteY4031" fmla="*/ 306229 h 514350"/>
                <a:gd name="connsiteX4032" fmla="*/ 4845844 w 6400800"/>
                <a:gd name="connsiteY4032" fmla="*/ 290989 h 514350"/>
                <a:gd name="connsiteX4033" fmla="*/ 4847749 w 6400800"/>
                <a:gd name="connsiteY4033" fmla="*/ 288131 h 514350"/>
                <a:gd name="connsiteX4034" fmla="*/ 4845844 w 6400800"/>
                <a:gd name="connsiteY4034" fmla="*/ 296704 h 514350"/>
                <a:gd name="connsiteX4035" fmla="*/ 4869656 w 6400800"/>
                <a:gd name="connsiteY4035" fmla="*/ 325279 h 514350"/>
                <a:gd name="connsiteX4036" fmla="*/ 4869656 w 6400800"/>
                <a:gd name="connsiteY4036" fmla="*/ 327184 h 514350"/>
                <a:gd name="connsiteX4037" fmla="*/ 4869656 w 6400800"/>
                <a:gd name="connsiteY4037" fmla="*/ 325279 h 514350"/>
                <a:gd name="connsiteX4038" fmla="*/ 4869656 w 6400800"/>
                <a:gd name="connsiteY4038" fmla="*/ 318611 h 514350"/>
                <a:gd name="connsiteX4039" fmla="*/ 4869656 w 6400800"/>
                <a:gd name="connsiteY4039" fmla="*/ 325279 h 514350"/>
                <a:gd name="connsiteX4040" fmla="*/ 4854416 w 6400800"/>
                <a:gd name="connsiteY4040" fmla="*/ 276701 h 514350"/>
                <a:gd name="connsiteX4041" fmla="*/ 4868704 w 6400800"/>
                <a:gd name="connsiteY4041" fmla="*/ 256699 h 514350"/>
                <a:gd name="connsiteX4042" fmla="*/ 4871562 w 6400800"/>
                <a:gd name="connsiteY4042" fmla="*/ 252889 h 514350"/>
                <a:gd name="connsiteX4043" fmla="*/ 4871562 w 6400800"/>
                <a:gd name="connsiteY4043" fmla="*/ 259556 h 514350"/>
                <a:gd name="connsiteX4044" fmla="*/ 4861084 w 6400800"/>
                <a:gd name="connsiteY4044" fmla="*/ 296704 h 514350"/>
                <a:gd name="connsiteX4045" fmla="*/ 4860131 w 6400800"/>
                <a:gd name="connsiteY4045" fmla="*/ 300514 h 514350"/>
                <a:gd name="connsiteX4046" fmla="*/ 4853464 w 6400800"/>
                <a:gd name="connsiteY4046" fmla="*/ 278606 h 514350"/>
                <a:gd name="connsiteX4047" fmla="*/ 4854416 w 6400800"/>
                <a:gd name="connsiteY4047" fmla="*/ 276701 h 514350"/>
                <a:gd name="connsiteX4048" fmla="*/ 4854416 w 6400800"/>
                <a:gd name="connsiteY4048" fmla="*/ 276701 h 514350"/>
                <a:gd name="connsiteX4049" fmla="*/ 4850606 w 6400800"/>
                <a:gd name="connsiteY4049" fmla="*/ 281464 h 514350"/>
                <a:gd name="connsiteX4050" fmla="*/ 4857274 w 6400800"/>
                <a:gd name="connsiteY4050" fmla="*/ 316706 h 514350"/>
                <a:gd name="connsiteX4051" fmla="*/ 4854416 w 6400800"/>
                <a:gd name="connsiteY4051" fmla="*/ 330041 h 514350"/>
                <a:gd name="connsiteX4052" fmla="*/ 4852512 w 6400800"/>
                <a:gd name="connsiteY4052" fmla="*/ 326231 h 514350"/>
                <a:gd name="connsiteX4053" fmla="*/ 4852512 w 6400800"/>
                <a:gd name="connsiteY4053" fmla="*/ 322421 h 514350"/>
                <a:gd name="connsiteX4054" fmla="*/ 4850606 w 6400800"/>
                <a:gd name="connsiteY4054" fmla="*/ 295751 h 514350"/>
                <a:gd name="connsiteX4055" fmla="*/ 4849654 w 6400800"/>
                <a:gd name="connsiteY4055" fmla="*/ 284321 h 514350"/>
                <a:gd name="connsiteX4056" fmla="*/ 4850606 w 6400800"/>
                <a:gd name="connsiteY4056" fmla="*/ 281464 h 514350"/>
                <a:gd name="connsiteX4057" fmla="*/ 4838224 w 6400800"/>
                <a:gd name="connsiteY4057" fmla="*/ 290036 h 514350"/>
                <a:gd name="connsiteX4058" fmla="*/ 4845844 w 6400800"/>
                <a:gd name="connsiteY4058" fmla="*/ 272891 h 514350"/>
                <a:gd name="connsiteX4059" fmla="*/ 4848701 w 6400800"/>
                <a:gd name="connsiteY4059" fmla="*/ 265271 h 514350"/>
                <a:gd name="connsiteX4060" fmla="*/ 4849654 w 6400800"/>
                <a:gd name="connsiteY4060" fmla="*/ 275749 h 514350"/>
                <a:gd name="connsiteX4061" fmla="*/ 4847749 w 6400800"/>
                <a:gd name="connsiteY4061" fmla="*/ 277654 h 514350"/>
                <a:gd name="connsiteX4062" fmla="*/ 4847749 w 6400800"/>
                <a:gd name="connsiteY4062" fmla="*/ 273844 h 514350"/>
                <a:gd name="connsiteX4063" fmla="*/ 4847749 w 6400800"/>
                <a:gd name="connsiteY4063" fmla="*/ 278606 h 514350"/>
                <a:gd name="connsiteX4064" fmla="*/ 4841081 w 6400800"/>
                <a:gd name="connsiteY4064" fmla="*/ 288131 h 514350"/>
                <a:gd name="connsiteX4065" fmla="*/ 4836319 w 6400800"/>
                <a:gd name="connsiteY4065" fmla="*/ 294799 h 514350"/>
                <a:gd name="connsiteX4066" fmla="*/ 4838224 w 6400800"/>
                <a:gd name="connsiteY4066" fmla="*/ 290036 h 514350"/>
                <a:gd name="connsiteX4067" fmla="*/ 4835366 w 6400800"/>
                <a:gd name="connsiteY4067" fmla="*/ 309086 h 514350"/>
                <a:gd name="connsiteX4068" fmla="*/ 4836319 w 6400800"/>
                <a:gd name="connsiteY4068" fmla="*/ 308134 h 514350"/>
                <a:gd name="connsiteX4069" fmla="*/ 4838224 w 6400800"/>
                <a:gd name="connsiteY4069" fmla="*/ 311944 h 514350"/>
                <a:gd name="connsiteX4070" fmla="*/ 4839176 w 6400800"/>
                <a:gd name="connsiteY4070" fmla="*/ 313849 h 514350"/>
                <a:gd name="connsiteX4071" fmla="*/ 4835366 w 6400800"/>
                <a:gd name="connsiteY4071" fmla="*/ 317659 h 514350"/>
                <a:gd name="connsiteX4072" fmla="*/ 4835366 w 6400800"/>
                <a:gd name="connsiteY4072" fmla="*/ 317659 h 514350"/>
                <a:gd name="connsiteX4073" fmla="*/ 4834414 w 6400800"/>
                <a:gd name="connsiteY4073" fmla="*/ 316706 h 514350"/>
                <a:gd name="connsiteX4074" fmla="*/ 4832509 w 6400800"/>
                <a:gd name="connsiteY4074" fmla="*/ 314801 h 514350"/>
                <a:gd name="connsiteX4075" fmla="*/ 4835366 w 6400800"/>
                <a:gd name="connsiteY4075" fmla="*/ 309086 h 514350"/>
                <a:gd name="connsiteX4076" fmla="*/ 4830604 w 6400800"/>
                <a:gd name="connsiteY4076" fmla="*/ 319564 h 514350"/>
                <a:gd name="connsiteX4077" fmla="*/ 4832509 w 6400800"/>
                <a:gd name="connsiteY4077" fmla="*/ 314801 h 514350"/>
                <a:gd name="connsiteX4078" fmla="*/ 4833462 w 6400800"/>
                <a:gd name="connsiteY4078" fmla="*/ 316706 h 514350"/>
                <a:gd name="connsiteX4079" fmla="*/ 4834414 w 6400800"/>
                <a:gd name="connsiteY4079" fmla="*/ 318611 h 514350"/>
                <a:gd name="connsiteX4080" fmla="*/ 4828699 w 6400800"/>
                <a:gd name="connsiteY4080" fmla="*/ 324326 h 514350"/>
                <a:gd name="connsiteX4081" fmla="*/ 4830604 w 6400800"/>
                <a:gd name="connsiteY4081" fmla="*/ 319564 h 514350"/>
                <a:gd name="connsiteX4082" fmla="*/ 4817269 w 6400800"/>
                <a:gd name="connsiteY4082" fmla="*/ 364331 h 514350"/>
                <a:gd name="connsiteX4083" fmla="*/ 4817269 w 6400800"/>
                <a:gd name="connsiteY4083" fmla="*/ 356711 h 514350"/>
                <a:gd name="connsiteX4084" fmla="*/ 4824889 w 6400800"/>
                <a:gd name="connsiteY4084" fmla="*/ 335756 h 514350"/>
                <a:gd name="connsiteX4085" fmla="*/ 4825841 w 6400800"/>
                <a:gd name="connsiteY4085" fmla="*/ 334804 h 514350"/>
                <a:gd name="connsiteX4086" fmla="*/ 4835366 w 6400800"/>
                <a:gd name="connsiteY4086" fmla="*/ 319564 h 514350"/>
                <a:gd name="connsiteX4087" fmla="*/ 4837272 w 6400800"/>
                <a:gd name="connsiteY4087" fmla="*/ 322421 h 514350"/>
                <a:gd name="connsiteX4088" fmla="*/ 4841081 w 6400800"/>
                <a:gd name="connsiteY4088" fmla="*/ 330994 h 514350"/>
                <a:gd name="connsiteX4089" fmla="*/ 4842987 w 6400800"/>
                <a:gd name="connsiteY4089" fmla="*/ 335756 h 514350"/>
                <a:gd name="connsiteX4090" fmla="*/ 4835366 w 6400800"/>
                <a:gd name="connsiteY4090" fmla="*/ 345281 h 514350"/>
                <a:gd name="connsiteX4091" fmla="*/ 4822984 w 6400800"/>
                <a:gd name="connsiteY4091" fmla="*/ 366236 h 514350"/>
                <a:gd name="connsiteX4092" fmla="*/ 4820126 w 6400800"/>
                <a:gd name="connsiteY4092" fmla="*/ 369094 h 514350"/>
                <a:gd name="connsiteX4093" fmla="*/ 4817269 w 6400800"/>
                <a:gd name="connsiteY4093" fmla="*/ 371951 h 514350"/>
                <a:gd name="connsiteX4094" fmla="*/ 4817269 w 6400800"/>
                <a:gd name="connsiteY4094" fmla="*/ 364331 h 514350"/>
                <a:gd name="connsiteX4095" fmla="*/ 4816316 w 6400800"/>
                <a:gd name="connsiteY4095" fmla="*/ 376714 h 514350"/>
                <a:gd name="connsiteX4096" fmla="*/ 4820126 w 6400800"/>
                <a:gd name="connsiteY4096" fmla="*/ 370046 h 514350"/>
                <a:gd name="connsiteX4097" fmla="*/ 4820126 w 6400800"/>
                <a:gd name="connsiteY4097" fmla="*/ 370046 h 514350"/>
                <a:gd name="connsiteX4098" fmla="*/ 4820126 w 6400800"/>
                <a:gd name="connsiteY4098" fmla="*/ 370046 h 514350"/>
                <a:gd name="connsiteX4099" fmla="*/ 4816316 w 6400800"/>
                <a:gd name="connsiteY4099" fmla="*/ 378619 h 514350"/>
                <a:gd name="connsiteX4100" fmla="*/ 4816316 w 6400800"/>
                <a:gd name="connsiteY4100" fmla="*/ 376714 h 514350"/>
                <a:gd name="connsiteX4101" fmla="*/ 4762024 w 6400800"/>
                <a:gd name="connsiteY4101" fmla="*/ 305276 h 514350"/>
                <a:gd name="connsiteX4102" fmla="*/ 4763929 w 6400800"/>
                <a:gd name="connsiteY4102" fmla="*/ 322421 h 514350"/>
                <a:gd name="connsiteX4103" fmla="*/ 4760119 w 6400800"/>
                <a:gd name="connsiteY4103" fmla="*/ 309086 h 514350"/>
                <a:gd name="connsiteX4104" fmla="*/ 4762024 w 6400800"/>
                <a:gd name="connsiteY4104" fmla="*/ 300514 h 514350"/>
                <a:gd name="connsiteX4105" fmla="*/ 4762024 w 6400800"/>
                <a:gd name="connsiteY4105" fmla="*/ 305276 h 514350"/>
                <a:gd name="connsiteX4106" fmla="*/ 4755356 w 6400800"/>
                <a:gd name="connsiteY4106" fmla="*/ 279559 h 514350"/>
                <a:gd name="connsiteX4107" fmla="*/ 4760119 w 6400800"/>
                <a:gd name="connsiteY4107" fmla="*/ 294799 h 514350"/>
                <a:gd name="connsiteX4108" fmla="*/ 4761072 w 6400800"/>
                <a:gd name="connsiteY4108" fmla="*/ 297656 h 514350"/>
                <a:gd name="connsiteX4109" fmla="*/ 4758214 w 6400800"/>
                <a:gd name="connsiteY4109" fmla="*/ 304324 h 514350"/>
                <a:gd name="connsiteX4110" fmla="*/ 4754404 w 6400800"/>
                <a:gd name="connsiteY4110" fmla="*/ 292894 h 514350"/>
                <a:gd name="connsiteX4111" fmla="*/ 4755356 w 6400800"/>
                <a:gd name="connsiteY4111" fmla="*/ 279559 h 514350"/>
                <a:gd name="connsiteX4112" fmla="*/ 4759166 w 6400800"/>
                <a:gd name="connsiteY4112" fmla="*/ 342424 h 514350"/>
                <a:gd name="connsiteX4113" fmla="*/ 4755356 w 6400800"/>
                <a:gd name="connsiteY4113" fmla="*/ 331946 h 514350"/>
                <a:gd name="connsiteX4114" fmla="*/ 4756309 w 6400800"/>
                <a:gd name="connsiteY4114" fmla="*/ 326231 h 514350"/>
                <a:gd name="connsiteX4115" fmla="*/ 4759166 w 6400800"/>
                <a:gd name="connsiteY4115" fmla="*/ 342424 h 514350"/>
                <a:gd name="connsiteX4116" fmla="*/ 4753451 w 6400800"/>
                <a:gd name="connsiteY4116" fmla="*/ 312896 h 514350"/>
                <a:gd name="connsiteX4117" fmla="*/ 4754404 w 6400800"/>
                <a:gd name="connsiteY4117" fmla="*/ 315754 h 514350"/>
                <a:gd name="connsiteX4118" fmla="*/ 4753451 w 6400800"/>
                <a:gd name="connsiteY4118" fmla="*/ 317659 h 514350"/>
                <a:gd name="connsiteX4119" fmla="*/ 4753451 w 6400800"/>
                <a:gd name="connsiteY4119" fmla="*/ 312896 h 514350"/>
                <a:gd name="connsiteX4120" fmla="*/ 4755356 w 6400800"/>
                <a:gd name="connsiteY4120" fmla="*/ 373856 h 514350"/>
                <a:gd name="connsiteX4121" fmla="*/ 4756309 w 6400800"/>
                <a:gd name="connsiteY4121" fmla="*/ 375761 h 514350"/>
                <a:gd name="connsiteX4122" fmla="*/ 4754404 w 6400800"/>
                <a:gd name="connsiteY4122" fmla="*/ 379571 h 514350"/>
                <a:gd name="connsiteX4123" fmla="*/ 4752499 w 6400800"/>
                <a:gd name="connsiteY4123" fmla="*/ 379571 h 514350"/>
                <a:gd name="connsiteX4124" fmla="*/ 4755356 w 6400800"/>
                <a:gd name="connsiteY4124" fmla="*/ 373856 h 514350"/>
                <a:gd name="connsiteX4125" fmla="*/ 4748689 w 6400800"/>
                <a:gd name="connsiteY4125" fmla="*/ 291941 h 514350"/>
                <a:gd name="connsiteX4126" fmla="*/ 4746784 w 6400800"/>
                <a:gd name="connsiteY4126" fmla="*/ 303371 h 514350"/>
                <a:gd name="connsiteX4127" fmla="*/ 4746784 w 6400800"/>
                <a:gd name="connsiteY4127" fmla="*/ 303371 h 514350"/>
                <a:gd name="connsiteX4128" fmla="*/ 4746784 w 6400800"/>
                <a:gd name="connsiteY4128" fmla="*/ 299561 h 514350"/>
                <a:gd name="connsiteX4129" fmla="*/ 4748689 w 6400800"/>
                <a:gd name="connsiteY4129" fmla="*/ 291941 h 514350"/>
                <a:gd name="connsiteX4130" fmla="*/ 4738212 w 6400800"/>
                <a:gd name="connsiteY4130" fmla="*/ 327184 h 514350"/>
                <a:gd name="connsiteX4131" fmla="*/ 4737259 w 6400800"/>
                <a:gd name="connsiteY4131" fmla="*/ 341471 h 514350"/>
                <a:gd name="connsiteX4132" fmla="*/ 4736306 w 6400800"/>
                <a:gd name="connsiteY4132" fmla="*/ 336709 h 514350"/>
                <a:gd name="connsiteX4133" fmla="*/ 4738212 w 6400800"/>
                <a:gd name="connsiteY4133" fmla="*/ 327184 h 514350"/>
                <a:gd name="connsiteX4134" fmla="*/ 4720114 w 6400800"/>
                <a:gd name="connsiteY4134" fmla="*/ 261461 h 514350"/>
                <a:gd name="connsiteX4135" fmla="*/ 4720114 w 6400800"/>
                <a:gd name="connsiteY4135" fmla="*/ 261461 h 514350"/>
                <a:gd name="connsiteX4136" fmla="*/ 4729639 w 6400800"/>
                <a:gd name="connsiteY4136" fmla="*/ 290989 h 514350"/>
                <a:gd name="connsiteX4137" fmla="*/ 4731544 w 6400800"/>
                <a:gd name="connsiteY4137" fmla="*/ 296704 h 514350"/>
                <a:gd name="connsiteX4138" fmla="*/ 4727734 w 6400800"/>
                <a:gd name="connsiteY4138" fmla="*/ 308134 h 514350"/>
                <a:gd name="connsiteX4139" fmla="*/ 4723924 w 6400800"/>
                <a:gd name="connsiteY4139" fmla="*/ 295751 h 514350"/>
                <a:gd name="connsiteX4140" fmla="*/ 4718209 w 6400800"/>
                <a:gd name="connsiteY4140" fmla="*/ 276701 h 514350"/>
                <a:gd name="connsiteX4141" fmla="*/ 4720114 w 6400800"/>
                <a:gd name="connsiteY4141" fmla="*/ 261461 h 514350"/>
                <a:gd name="connsiteX4142" fmla="*/ 4709637 w 6400800"/>
                <a:gd name="connsiteY4142" fmla="*/ 324326 h 514350"/>
                <a:gd name="connsiteX4143" fmla="*/ 4713447 w 6400800"/>
                <a:gd name="connsiteY4143" fmla="*/ 301466 h 514350"/>
                <a:gd name="connsiteX4144" fmla="*/ 4719162 w 6400800"/>
                <a:gd name="connsiteY4144" fmla="*/ 331946 h 514350"/>
                <a:gd name="connsiteX4145" fmla="*/ 4715351 w 6400800"/>
                <a:gd name="connsiteY4145" fmla="*/ 343376 h 514350"/>
                <a:gd name="connsiteX4146" fmla="*/ 4715351 w 6400800"/>
                <a:gd name="connsiteY4146" fmla="*/ 343376 h 514350"/>
                <a:gd name="connsiteX4147" fmla="*/ 4707731 w 6400800"/>
                <a:gd name="connsiteY4147" fmla="*/ 332899 h 514350"/>
                <a:gd name="connsiteX4148" fmla="*/ 4709637 w 6400800"/>
                <a:gd name="connsiteY4148" fmla="*/ 324326 h 514350"/>
                <a:gd name="connsiteX4149" fmla="*/ 4703922 w 6400800"/>
                <a:gd name="connsiteY4149" fmla="*/ 355759 h 514350"/>
                <a:gd name="connsiteX4150" fmla="*/ 4705826 w 6400800"/>
                <a:gd name="connsiteY4150" fmla="*/ 360521 h 514350"/>
                <a:gd name="connsiteX4151" fmla="*/ 4708684 w 6400800"/>
                <a:gd name="connsiteY4151" fmla="*/ 369094 h 514350"/>
                <a:gd name="connsiteX4152" fmla="*/ 4704874 w 6400800"/>
                <a:gd name="connsiteY4152" fmla="*/ 377666 h 514350"/>
                <a:gd name="connsiteX4153" fmla="*/ 4704874 w 6400800"/>
                <a:gd name="connsiteY4153" fmla="*/ 376714 h 514350"/>
                <a:gd name="connsiteX4154" fmla="*/ 4702016 w 6400800"/>
                <a:gd name="connsiteY4154" fmla="*/ 371951 h 514350"/>
                <a:gd name="connsiteX4155" fmla="*/ 4703922 w 6400800"/>
                <a:gd name="connsiteY4155" fmla="*/ 355759 h 514350"/>
                <a:gd name="connsiteX4156" fmla="*/ 4682966 w 6400800"/>
                <a:gd name="connsiteY4156" fmla="*/ 380524 h 514350"/>
                <a:gd name="connsiteX4157" fmla="*/ 4680109 w 6400800"/>
                <a:gd name="connsiteY4157" fmla="*/ 392906 h 514350"/>
                <a:gd name="connsiteX4158" fmla="*/ 4676299 w 6400800"/>
                <a:gd name="connsiteY4158" fmla="*/ 393859 h 514350"/>
                <a:gd name="connsiteX4159" fmla="*/ 4675347 w 6400800"/>
                <a:gd name="connsiteY4159" fmla="*/ 388144 h 514350"/>
                <a:gd name="connsiteX4160" fmla="*/ 4682966 w 6400800"/>
                <a:gd name="connsiteY4160" fmla="*/ 378619 h 514350"/>
                <a:gd name="connsiteX4161" fmla="*/ 4682966 w 6400800"/>
                <a:gd name="connsiteY4161" fmla="*/ 380524 h 514350"/>
                <a:gd name="connsiteX4162" fmla="*/ 4672489 w 6400800"/>
                <a:gd name="connsiteY4162" fmla="*/ 361474 h 514350"/>
                <a:gd name="connsiteX4163" fmla="*/ 4679156 w 6400800"/>
                <a:gd name="connsiteY4163" fmla="*/ 373856 h 514350"/>
                <a:gd name="connsiteX4164" fmla="*/ 4672489 w 6400800"/>
                <a:gd name="connsiteY4164" fmla="*/ 379571 h 514350"/>
                <a:gd name="connsiteX4165" fmla="*/ 4671537 w 6400800"/>
                <a:gd name="connsiteY4165" fmla="*/ 376714 h 514350"/>
                <a:gd name="connsiteX4166" fmla="*/ 4670584 w 6400800"/>
                <a:gd name="connsiteY4166" fmla="*/ 370999 h 514350"/>
                <a:gd name="connsiteX4167" fmla="*/ 4672489 w 6400800"/>
                <a:gd name="connsiteY4167" fmla="*/ 361474 h 514350"/>
                <a:gd name="connsiteX4168" fmla="*/ 4661059 w 6400800"/>
                <a:gd name="connsiteY4168" fmla="*/ 265271 h 514350"/>
                <a:gd name="connsiteX4169" fmla="*/ 4663916 w 6400800"/>
                <a:gd name="connsiteY4169" fmla="*/ 252889 h 514350"/>
                <a:gd name="connsiteX4170" fmla="*/ 4669631 w 6400800"/>
                <a:gd name="connsiteY4170" fmla="*/ 237649 h 514350"/>
                <a:gd name="connsiteX4171" fmla="*/ 4669631 w 6400800"/>
                <a:gd name="connsiteY4171" fmla="*/ 242411 h 514350"/>
                <a:gd name="connsiteX4172" fmla="*/ 4661059 w 6400800"/>
                <a:gd name="connsiteY4172" fmla="*/ 269081 h 514350"/>
                <a:gd name="connsiteX4173" fmla="*/ 4661059 w 6400800"/>
                <a:gd name="connsiteY4173" fmla="*/ 265271 h 514350"/>
                <a:gd name="connsiteX4174" fmla="*/ 4645819 w 6400800"/>
                <a:gd name="connsiteY4174" fmla="*/ 278606 h 514350"/>
                <a:gd name="connsiteX4175" fmla="*/ 4648676 w 6400800"/>
                <a:gd name="connsiteY4175" fmla="*/ 260509 h 514350"/>
                <a:gd name="connsiteX4176" fmla="*/ 4650581 w 6400800"/>
                <a:gd name="connsiteY4176" fmla="*/ 250984 h 514350"/>
                <a:gd name="connsiteX4177" fmla="*/ 4650581 w 6400800"/>
                <a:gd name="connsiteY4177" fmla="*/ 251936 h 514350"/>
                <a:gd name="connsiteX4178" fmla="*/ 4652487 w 6400800"/>
                <a:gd name="connsiteY4178" fmla="*/ 265271 h 514350"/>
                <a:gd name="connsiteX4179" fmla="*/ 4652487 w 6400800"/>
                <a:gd name="connsiteY4179" fmla="*/ 270034 h 514350"/>
                <a:gd name="connsiteX4180" fmla="*/ 4650581 w 6400800"/>
                <a:gd name="connsiteY4180" fmla="*/ 278606 h 514350"/>
                <a:gd name="connsiteX4181" fmla="*/ 4648676 w 6400800"/>
                <a:gd name="connsiteY4181" fmla="*/ 290989 h 514350"/>
                <a:gd name="connsiteX4182" fmla="*/ 4645819 w 6400800"/>
                <a:gd name="connsiteY4182" fmla="*/ 278606 h 514350"/>
                <a:gd name="connsiteX4183" fmla="*/ 4645819 w 6400800"/>
                <a:gd name="connsiteY4183" fmla="*/ 278606 h 514350"/>
                <a:gd name="connsiteX4184" fmla="*/ 4642962 w 6400800"/>
                <a:gd name="connsiteY4184" fmla="*/ 293846 h 514350"/>
                <a:gd name="connsiteX4185" fmla="*/ 4644866 w 6400800"/>
                <a:gd name="connsiteY4185" fmla="*/ 302419 h 514350"/>
                <a:gd name="connsiteX4186" fmla="*/ 4645819 w 6400800"/>
                <a:gd name="connsiteY4186" fmla="*/ 309086 h 514350"/>
                <a:gd name="connsiteX4187" fmla="*/ 4645819 w 6400800"/>
                <a:gd name="connsiteY4187" fmla="*/ 309086 h 514350"/>
                <a:gd name="connsiteX4188" fmla="*/ 4642962 w 6400800"/>
                <a:gd name="connsiteY4188" fmla="*/ 306229 h 514350"/>
                <a:gd name="connsiteX4189" fmla="*/ 4642009 w 6400800"/>
                <a:gd name="connsiteY4189" fmla="*/ 299561 h 514350"/>
                <a:gd name="connsiteX4190" fmla="*/ 4642962 w 6400800"/>
                <a:gd name="connsiteY4190" fmla="*/ 293846 h 514350"/>
                <a:gd name="connsiteX4191" fmla="*/ 4595337 w 6400800"/>
                <a:gd name="connsiteY4191" fmla="*/ 280511 h 514350"/>
                <a:gd name="connsiteX4192" fmla="*/ 4598194 w 6400800"/>
                <a:gd name="connsiteY4192" fmla="*/ 293846 h 514350"/>
                <a:gd name="connsiteX4193" fmla="*/ 4598194 w 6400800"/>
                <a:gd name="connsiteY4193" fmla="*/ 300514 h 514350"/>
                <a:gd name="connsiteX4194" fmla="*/ 4598194 w 6400800"/>
                <a:gd name="connsiteY4194" fmla="*/ 311944 h 514350"/>
                <a:gd name="connsiteX4195" fmla="*/ 4596289 w 6400800"/>
                <a:gd name="connsiteY4195" fmla="*/ 319564 h 514350"/>
                <a:gd name="connsiteX4196" fmla="*/ 4593431 w 6400800"/>
                <a:gd name="connsiteY4196" fmla="*/ 311944 h 514350"/>
                <a:gd name="connsiteX4197" fmla="*/ 4593431 w 6400800"/>
                <a:gd name="connsiteY4197" fmla="*/ 305276 h 514350"/>
                <a:gd name="connsiteX4198" fmla="*/ 4593431 w 6400800"/>
                <a:gd name="connsiteY4198" fmla="*/ 286226 h 514350"/>
                <a:gd name="connsiteX4199" fmla="*/ 4595337 w 6400800"/>
                <a:gd name="connsiteY4199" fmla="*/ 280511 h 514350"/>
                <a:gd name="connsiteX4200" fmla="*/ 4595337 w 6400800"/>
                <a:gd name="connsiteY4200" fmla="*/ 280511 h 514350"/>
                <a:gd name="connsiteX4201" fmla="*/ 4595337 w 6400800"/>
                <a:gd name="connsiteY4201" fmla="*/ 277654 h 514350"/>
                <a:gd name="connsiteX4202" fmla="*/ 4593431 w 6400800"/>
                <a:gd name="connsiteY4202" fmla="*/ 279559 h 514350"/>
                <a:gd name="connsiteX4203" fmla="*/ 4592479 w 6400800"/>
                <a:gd name="connsiteY4203" fmla="*/ 280511 h 514350"/>
                <a:gd name="connsiteX4204" fmla="*/ 4592479 w 6400800"/>
                <a:gd name="connsiteY4204" fmla="*/ 263366 h 514350"/>
                <a:gd name="connsiteX4205" fmla="*/ 4595337 w 6400800"/>
                <a:gd name="connsiteY4205" fmla="*/ 277654 h 514350"/>
                <a:gd name="connsiteX4206" fmla="*/ 4576287 w 6400800"/>
                <a:gd name="connsiteY4206" fmla="*/ 253841 h 514350"/>
                <a:gd name="connsiteX4207" fmla="*/ 4575334 w 6400800"/>
                <a:gd name="connsiteY4207" fmla="*/ 273844 h 514350"/>
                <a:gd name="connsiteX4208" fmla="*/ 4569619 w 6400800"/>
                <a:gd name="connsiteY4208" fmla="*/ 262414 h 514350"/>
                <a:gd name="connsiteX4209" fmla="*/ 4576287 w 6400800"/>
                <a:gd name="connsiteY4209" fmla="*/ 253841 h 514350"/>
                <a:gd name="connsiteX4210" fmla="*/ 4566762 w 6400800"/>
                <a:gd name="connsiteY4210" fmla="*/ 268129 h 514350"/>
                <a:gd name="connsiteX4211" fmla="*/ 4566762 w 6400800"/>
                <a:gd name="connsiteY4211" fmla="*/ 268129 h 514350"/>
                <a:gd name="connsiteX4212" fmla="*/ 4571524 w 6400800"/>
                <a:gd name="connsiteY4212" fmla="*/ 284321 h 514350"/>
                <a:gd name="connsiteX4213" fmla="*/ 4574381 w 6400800"/>
                <a:gd name="connsiteY4213" fmla="*/ 296704 h 514350"/>
                <a:gd name="connsiteX4214" fmla="*/ 4574381 w 6400800"/>
                <a:gd name="connsiteY4214" fmla="*/ 301466 h 514350"/>
                <a:gd name="connsiteX4215" fmla="*/ 4568666 w 6400800"/>
                <a:gd name="connsiteY4215" fmla="*/ 289084 h 514350"/>
                <a:gd name="connsiteX4216" fmla="*/ 4574381 w 6400800"/>
                <a:gd name="connsiteY4216" fmla="*/ 309086 h 514350"/>
                <a:gd name="connsiteX4217" fmla="*/ 4571524 w 6400800"/>
                <a:gd name="connsiteY4217" fmla="*/ 314801 h 514350"/>
                <a:gd name="connsiteX4218" fmla="*/ 4571524 w 6400800"/>
                <a:gd name="connsiteY4218" fmla="*/ 315754 h 514350"/>
                <a:gd name="connsiteX4219" fmla="*/ 4564856 w 6400800"/>
                <a:gd name="connsiteY4219" fmla="*/ 271939 h 514350"/>
                <a:gd name="connsiteX4220" fmla="*/ 4566762 w 6400800"/>
                <a:gd name="connsiteY4220" fmla="*/ 268129 h 514350"/>
                <a:gd name="connsiteX4221" fmla="*/ 4560094 w 6400800"/>
                <a:gd name="connsiteY4221" fmla="*/ 254794 h 514350"/>
                <a:gd name="connsiteX4222" fmla="*/ 4562951 w 6400800"/>
                <a:gd name="connsiteY4222" fmla="*/ 260509 h 514350"/>
                <a:gd name="connsiteX4223" fmla="*/ 4561047 w 6400800"/>
                <a:gd name="connsiteY4223" fmla="*/ 263366 h 514350"/>
                <a:gd name="connsiteX4224" fmla="*/ 4557237 w 6400800"/>
                <a:gd name="connsiteY4224" fmla="*/ 268129 h 514350"/>
                <a:gd name="connsiteX4225" fmla="*/ 4560094 w 6400800"/>
                <a:gd name="connsiteY4225" fmla="*/ 254794 h 514350"/>
                <a:gd name="connsiteX4226" fmla="*/ 4548664 w 6400800"/>
                <a:gd name="connsiteY4226" fmla="*/ 317659 h 514350"/>
                <a:gd name="connsiteX4227" fmla="*/ 4557237 w 6400800"/>
                <a:gd name="connsiteY4227" fmla="*/ 290036 h 514350"/>
                <a:gd name="connsiteX4228" fmla="*/ 4562951 w 6400800"/>
                <a:gd name="connsiteY4228" fmla="*/ 275749 h 514350"/>
                <a:gd name="connsiteX4229" fmla="*/ 4560094 w 6400800"/>
                <a:gd name="connsiteY4229" fmla="*/ 318611 h 514350"/>
                <a:gd name="connsiteX4230" fmla="*/ 4555331 w 6400800"/>
                <a:gd name="connsiteY4230" fmla="*/ 310991 h 514350"/>
                <a:gd name="connsiteX4231" fmla="*/ 4560094 w 6400800"/>
                <a:gd name="connsiteY4231" fmla="*/ 321469 h 514350"/>
                <a:gd name="connsiteX4232" fmla="*/ 4560094 w 6400800"/>
                <a:gd name="connsiteY4232" fmla="*/ 321469 h 514350"/>
                <a:gd name="connsiteX4233" fmla="*/ 4559141 w 6400800"/>
                <a:gd name="connsiteY4233" fmla="*/ 342424 h 514350"/>
                <a:gd name="connsiteX4234" fmla="*/ 4555331 w 6400800"/>
                <a:gd name="connsiteY4234" fmla="*/ 352901 h 514350"/>
                <a:gd name="connsiteX4235" fmla="*/ 4552474 w 6400800"/>
                <a:gd name="connsiteY4235" fmla="*/ 361474 h 514350"/>
                <a:gd name="connsiteX4236" fmla="*/ 4547712 w 6400800"/>
                <a:gd name="connsiteY4236" fmla="*/ 343376 h 514350"/>
                <a:gd name="connsiteX4237" fmla="*/ 4547712 w 6400800"/>
                <a:gd name="connsiteY4237" fmla="*/ 328136 h 514350"/>
                <a:gd name="connsiteX4238" fmla="*/ 4545806 w 6400800"/>
                <a:gd name="connsiteY4238" fmla="*/ 338614 h 514350"/>
                <a:gd name="connsiteX4239" fmla="*/ 4545806 w 6400800"/>
                <a:gd name="connsiteY4239" fmla="*/ 337661 h 514350"/>
                <a:gd name="connsiteX4240" fmla="*/ 4544854 w 6400800"/>
                <a:gd name="connsiteY4240" fmla="*/ 335756 h 514350"/>
                <a:gd name="connsiteX4241" fmla="*/ 4548664 w 6400800"/>
                <a:gd name="connsiteY4241" fmla="*/ 317659 h 514350"/>
                <a:gd name="connsiteX4242" fmla="*/ 4457224 w 6400800"/>
                <a:gd name="connsiteY4242" fmla="*/ 306229 h 514350"/>
                <a:gd name="connsiteX4243" fmla="*/ 4457224 w 6400800"/>
                <a:gd name="connsiteY4243" fmla="*/ 306229 h 514350"/>
                <a:gd name="connsiteX4244" fmla="*/ 4457224 w 6400800"/>
                <a:gd name="connsiteY4244" fmla="*/ 304324 h 514350"/>
                <a:gd name="connsiteX4245" fmla="*/ 4457224 w 6400800"/>
                <a:gd name="connsiteY4245" fmla="*/ 306229 h 514350"/>
                <a:gd name="connsiteX4246" fmla="*/ 4478179 w 6400800"/>
                <a:gd name="connsiteY4246" fmla="*/ 359569 h 514350"/>
                <a:gd name="connsiteX4247" fmla="*/ 4476274 w 6400800"/>
                <a:gd name="connsiteY4247" fmla="*/ 339566 h 514350"/>
                <a:gd name="connsiteX4248" fmla="*/ 4476274 w 6400800"/>
                <a:gd name="connsiteY4248" fmla="*/ 336709 h 514350"/>
                <a:gd name="connsiteX4249" fmla="*/ 4483894 w 6400800"/>
                <a:gd name="connsiteY4249" fmla="*/ 347186 h 514350"/>
                <a:gd name="connsiteX4250" fmla="*/ 4478179 w 6400800"/>
                <a:gd name="connsiteY4250" fmla="*/ 359569 h 514350"/>
                <a:gd name="connsiteX4251" fmla="*/ 4497229 w 6400800"/>
                <a:gd name="connsiteY4251" fmla="*/ 371951 h 514350"/>
                <a:gd name="connsiteX4252" fmla="*/ 4497229 w 6400800"/>
                <a:gd name="connsiteY4252" fmla="*/ 367189 h 514350"/>
                <a:gd name="connsiteX4253" fmla="*/ 4498181 w 6400800"/>
                <a:gd name="connsiteY4253" fmla="*/ 370046 h 514350"/>
                <a:gd name="connsiteX4254" fmla="*/ 4497229 w 6400800"/>
                <a:gd name="connsiteY4254" fmla="*/ 371951 h 514350"/>
                <a:gd name="connsiteX4255" fmla="*/ 4504849 w 6400800"/>
                <a:gd name="connsiteY4255" fmla="*/ 322421 h 514350"/>
                <a:gd name="connsiteX4256" fmla="*/ 4504849 w 6400800"/>
                <a:gd name="connsiteY4256" fmla="*/ 330994 h 514350"/>
                <a:gd name="connsiteX4257" fmla="*/ 4501991 w 6400800"/>
                <a:gd name="connsiteY4257" fmla="*/ 341471 h 514350"/>
                <a:gd name="connsiteX4258" fmla="*/ 4501039 w 6400800"/>
                <a:gd name="connsiteY4258" fmla="*/ 348139 h 514350"/>
                <a:gd name="connsiteX4259" fmla="*/ 4499134 w 6400800"/>
                <a:gd name="connsiteY4259" fmla="*/ 345281 h 514350"/>
                <a:gd name="connsiteX4260" fmla="*/ 4498181 w 6400800"/>
                <a:gd name="connsiteY4260" fmla="*/ 342424 h 514350"/>
                <a:gd name="connsiteX4261" fmla="*/ 4501991 w 6400800"/>
                <a:gd name="connsiteY4261" fmla="*/ 326231 h 514350"/>
                <a:gd name="connsiteX4262" fmla="*/ 4506754 w 6400800"/>
                <a:gd name="connsiteY4262" fmla="*/ 310991 h 514350"/>
                <a:gd name="connsiteX4263" fmla="*/ 4504849 w 6400800"/>
                <a:gd name="connsiteY4263" fmla="*/ 322421 h 514350"/>
                <a:gd name="connsiteX4264" fmla="*/ 4462939 w 6400800"/>
                <a:gd name="connsiteY4264" fmla="*/ 250984 h 514350"/>
                <a:gd name="connsiteX4265" fmla="*/ 4470559 w 6400800"/>
                <a:gd name="connsiteY4265" fmla="*/ 226219 h 514350"/>
                <a:gd name="connsiteX4266" fmla="*/ 4474369 w 6400800"/>
                <a:gd name="connsiteY4266" fmla="*/ 231934 h 514350"/>
                <a:gd name="connsiteX4267" fmla="*/ 4479131 w 6400800"/>
                <a:gd name="connsiteY4267" fmla="*/ 238601 h 514350"/>
                <a:gd name="connsiteX4268" fmla="*/ 4483894 w 6400800"/>
                <a:gd name="connsiteY4268" fmla="*/ 248126 h 514350"/>
                <a:gd name="connsiteX4269" fmla="*/ 4489609 w 6400800"/>
                <a:gd name="connsiteY4269" fmla="*/ 260509 h 514350"/>
                <a:gd name="connsiteX4270" fmla="*/ 4495324 w 6400800"/>
                <a:gd name="connsiteY4270" fmla="*/ 275749 h 514350"/>
                <a:gd name="connsiteX4271" fmla="*/ 4501039 w 6400800"/>
                <a:gd name="connsiteY4271" fmla="*/ 293846 h 514350"/>
                <a:gd name="connsiteX4272" fmla="*/ 4503897 w 6400800"/>
                <a:gd name="connsiteY4272" fmla="*/ 303371 h 514350"/>
                <a:gd name="connsiteX4273" fmla="*/ 4497229 w 6400800"/>
                <a:gd name="connsiteY4273" fmla="*/ 317659 h 514350"/>
                <a:gd name="connsiteX4274" fmla="*/ 4493419 w 6400800"/>
                <a:gd name="connsiteY4274" fmla="*/ 326231 h 514350"/>
                <a:gd name="connsiteX4275" fmla="*/ 4488656 w 6400800"/>
                <a:gd name="connsiteY4275" fmla="*/ 280511 h 514350"/>
                <a:gd name="connsiteX4276" fmla="*/ 4487704 w 6400800"/>
                <a:gd name="connsiteY4276" fmla="*/ 319564 h 514350"/>
                <a:gd name="connsiteX4277" fmla="*/ 4483894 w 6400800"/>
                <a:gd name="connsiteY4277" fmla="*/ 311944 h 514350"/>
                <a:gd name="connsiteX4278" fmla="*/ 4473416 w 6400800"/>
                <a:gd name="connsiteY4278" fmla="*/ 289084 h 514350"/>
                <a:gd name="connsiteX4279" fmla="*/ 4481037 w 6400800"/>
                <a:gd name="connsiteY4279" fmla="*/ 312896 h 514350"/>
                <a:gd name="connsiteX4280" fmla="*/ 4486751 w 6400800"/>
                <a:gd name="connsiteY4280" fmla="*/ 330041 h 514350"/>
                <a:gd name="connsiteX4281" fmla="*/ 4484847 w 6400800"/>
                <a:gd name="connsiteY4281" fmla="*/ 328136 h 514350"/>
                <a:gd name="connsiteX4282" fmla="*/ 4475322 w 6400800"/>
                <a:gd name="connsiteY4282" fmla="*/ 318611 h 514350"/>
                <a:gd name="connsiteX4283" fmla="*/ 4473416 w 6400800"/>
                <a:gd name="connsiteY4283" fmla="*/ 304324 h 514350"/>
                <a:gd name="connsiteX4284" fmla="*/ 4468654 w 6400800"/>
                <a:gd name="connsiteY4284" fmla="*/ 278606 h 514350"/>
                <a:gd name="connsiteX4285" fmla="*/ 4477226 w 6400800"/>
                <a:gd name="connsiteY4285" fmla="*/ 256699 h 514350"/>
                <a:gd name="connsiteX4286" fmla="*/ 4466749 w 6400800"/>
                <a:gd name="connsiteY4286" fmla="*/ 273844 h 514350"/>
                <a:gd name="connsiteX4287" fmla="*/ 4462939 w 6400800"/>
                <a:gd name="connsiteY4287" fmla="*/ 258604 h 514350"/>
                <a:gd name="connsiteX4288" fmla="*/ 4462939 w 6400800"/>
                <a:gd name="connsiteY4288" fmla="*/ 256699 h 514350"/>
                <a:gd name="connsiteX4289" fmla="*/ 4462939 w 6400800"/>
                <a:gd name="connsiteY4289" fmla="*/ 250984 h 514350"/>
                <a:gd name="connsiteX4290" fmla="*/ 4461034 w 6400800"/>
                <a:gd name="connsiteY4290" fmla="*/ 255746 h 514350"/>
                <a:gd name="connsiteX4291" fmla="*/ 4461034 w 6400800"/>
                <a:gd name="connsiteY4291" fmla="*/ 255746 h 514350"/>
                <a:gd name="connsiteX4292" fmla="*/ 4461034 w 6400800"/>
                <a:gd name="connsiteY4292" fmla="*/ 255746 h 514350"/>
                <a:gd name="connsiteX4293" fmla="*/ 4461034 w 6400800"/>
                <a:gd name="connsiteY4293" fmla="*/ 255746 h 514350"/>
                <a:gd name="connsiteX4294" fmla="*/ 4455319 w 6400800"/>
                <a:gd name="connsiteY4294" fmla="*/ 274796 h 514350"/>
                <a:gd name="connsiteX4295" fmla="*/ 4457224 w 6400800"/>
                <a:gd name="connsiteY4295" fmla="*/ 268129 h 514350"/>
                <a:gd name="connsiteX4296" fmla="*/ 4457224 w 6400800"/>
                <a:gd name="connsiteY4296" fmla="*/ 273844 h 514350"/>
                <a:gd name="connsiteX4297" fmla="*/ 4458176 w 6400800"/>
                <a:gd name="connsiteY4297" fmla="*/ 284321 h 514350"/>
                <a:gd name="connsiteX4298" fmla="*/ 4454366 w 6400800"/>
                <a:gd name="connsiteY4298" fmla="*/ 292894 h 514350"/>
                <a:gd name="connsiteX4299" fmla="*/ 4455319 w 6400800"/>
                <a:gd name="connsiteY4299" fmla="*/ 274796 h 514350"/>
                <a:gd name="connsiteX4300" fmla="*/ 4449604 w 6400800"/>
                <a:gd name="connsiteY4300" fmla="*/ 361474 h 514350"/>
                <a:gd name="connsiteX4301" fmla="*/ 4451509 w 6400800"/>
                <a:gd name="connsiteY4301" fmla="*/ 339566 h 514350"/>
                <a:gd name="connsiteX4302" fmla="*/ 4453414 w 6400800"/>
                <a:gd name="connsiteY4302" fmla="*/ 343376 h 514350"/>
                <a:gd name="connsiteX4303" fmla="*/ 4453414 w 6400800"/>
                <a:gd name="connsiteY4303" fmla="*/ 344329 h 514350"/>
                <a:gd name="connsiteX4304" fmla="*/ 4453414 w 6400800"/>
                <a:gd name="connsiteY4304" fmla="*/ 344329 h 514350"/>
                <a:gd name="connsiteX4305" fmla="*/ 4451509 w 6400800"/>
                <a:gd name="connsiteY4305" fmla="*/ 366236 h 514350"/>
                <a:gd name="connsiteX4306" fmla="*/ 4448651 w 6400800"/>
                <a:gd name="connsiteY4306" fmla="*/ 388144 h 514350"/>
                <a:gd name="connsiteX4307" fmla="*/ 4446747 w 6400800"/>
                <a:gd name="connsiteY4307" fmla="*/ 386239 h 514350"/>
                <a:gd name="connsiteX4308" fmla="*/ 4449604 w 6400800"/>
                <a:gd name="connsiteY4308" fmla="*/ 361474 h 514350"/>
                <a:gd name="connsiteX4309" fmla="*/ 4386739 w 6400800"/>
                <a:gd name="connsiteY4309" fmla="*/ 331946 h 514350"/>
                <a:gd name="connsiteX4310" fmla="*/ 4390549 w 6400800"/>
                <a:gd name="connsiteY4310" fmla="*/ 335756 h 514350"/>
                <a:gd name="connsiteX4311" fmla="*/ 4390549 w 6400800"/>
                <a:gd name="connsiteY4311" fmla="*/ 342424 h 514350"/>
                <a:gd name="connsiteX4312" fmla="*/ 4386739 w 6400800"/>
                <a:gd name="connsiteY4312" fmla="*/ 347186 h 514350"/>
                <a:gd name="connsiteX4313" fmla="*/ 4386739 w 6400800"/>
                <a:gd name="connsiteY4313" fmla="*/ 331946 h 514350"/>
                <a:gd name="connsiteX4314" fmla="*/ 4389597 w 6400800"/>
                <a:gd name="connsiteY4314" fmla="*/ 376714 h 514350"/>
                <a:gd name="connsiteX4315" fmla="*/ 4388644 w 6400800"/>
                <a:gd name="connsiteY4315" fmla="*/ 375761 h 514350"/>
                <a:gd name="connsiteX4316" fmla="*/ 4387691 w 6400800"/>
                <a:gd name="connsiteY4316" fmla="*/ 370046 h 514350"/>
                <a:gd name="connsiteX4317" fmla="*/ 4387691 w 6400800"/>
                <a:gd name="connsiteY4317" fmla="*/ 360521 h 514350"/>
                <a:gd name="connsiteX4318" fmla="*/ 4387691 w 6400800"/>
                <a:gd name="connsiteY4318" fmla="*/ 351949 h 514350"/>
                <a:gd name="connsiteX4319" fmla="*/ 4391501 w 6400800"/>
                <a:gd name="connsiteY4319" fmla="*/ 345281 h 514350"/>
                <a:gd name="connsiteX4320" fmla="*/ 4391501 w 6400800"/>
                <a:gd name="connsiteY4320" fmla="*/ 349091 h 514350"/>
                <a:gd name="connsiteX4321" fmla="*/ 4392454 w 6400800"/>
                <a:gd name="connsiteY4321" fmla="*/ 370046 h 514350"/>
                <a:gd name="connsiteX4322" fmla="*/ 4389597 w 6400800"/>
                <a:gd name="connsiteY4322" fmla="*/ 376714 h 514350"/>
                <a:gd name="connsiteX4323" fmla="*/ 4424839 w 6400800"/>
                <a:gd name="connsiteY4323" fmla="*/ 351949 h 514350"/>
                <a:gd name="connsiteX4324" fmla="*/ 4424839 w 6400800"/>
                <a:gd name="connsiteY4324" fmla="*/ 354806 h 514350"/>
                <a:gd name="connsiteX4325" fmla="*/ 4422934 w 6400800"/>
                <a:gd name="connsiteY4325" fmla="*/ 356711 h 514350"/>
                <a:gd name="connsiteX4326" fmla="*/ 4424839 w 6400800"/>
                <a:gd name="connsiteY4326" fmla="*/ 351949 h 514350"/>
                <a:gd name="connsiteX4327" fmla="*/ 4415314 w 6400800"/>
                <a:gd name="connsiteY4327" fmla="*/ 411004 h 514350"/>
                <a:gd name="connsiteX4328" fmla="*/ 4415314 w 6400800"/>
                <a:gd name="connsiteY4328" fmla="*/ 411956 h 514350"/>
                <a:gd name="connsiteX4329" fmla="*/ 4412456 w 6400800"/>
                <a:gd name="connsiteY4329" fmla="*/ 409099 h 514350"/>
                <a:gd name="connsiteX4330" fmla="*/ 4411504 w 6400800"/>
                <a:gd name="connsiteY4330" fmla="*/ 385286 h 514350"/>
                <a:gd name="connsiteX4331" fmla="*/ 4420076 w 6400800"/>
                <a:gd name="connsiteY4331" fmla="*/ 372904 h 514350"/>
                <a:gd name="connsiteX4332" fmla="*/ 4421029 w 6400800"/>
                <a:gd name="connsiteY4332" fmla="*/ 374809 h 514350"/>
                <a:gd name="connsiteX4333" fmla="*/ 4415314 w 6400800"/>
                <a:gd name="connsiteY4333" fmla="*/ 411004 h 514350"/>
                <a:gd name="connsiteX4334" fmla="*/ 4410551 w 6400800"/>
                <a:gd name="connsiteY4334" fmla="*/ 254794 h 514350"/>
                <a:gd name="connsiteX4335" fmla="*/ 4421029 w 6400800"/>
                <a:gd name="connsiteY4335" fmla="*/ 273844 h 514350"/>
                <a:gd name="connsiteX4336" fmla="*/ 4415314 w 6400800"/>
                <a:gd name="connsiteY4336" fmla="*/ 293846 h 514350"/>
                <a:gd name="connsiteX4337" fmla="*/ 4408647 w 6400800"/>
                <a:gd name="connsiteY4337" fmla="*/ 316706 h 514350"/>
                <a:gd name="connsiteX4338" fmla="*/ 4406741 w 6400800"/>
                <a:gd name="connsiteY4338" fmla="*/ 297656 h 514350"/>
                <a:gd name="connsiteX4339" fmla="*/ 4402931 w 6400800"/>
                <a:gd name="connsiteY4339" fmla="*/ 331946 h 514350"/>
                <a:gd name="connsiteX4340" fmla="*/ 4401026 w 6400800"/>
                <a:gd name="connsiteY4340" fmla="*/ 337661 h 514350"/>
                <a:gd name="connsiteX4341" fmla="*/ 4400074 w 6400800"/>
                <a:gd name="connsiteY4341" fmla="*/ 336709 h 514350"/>
                <a:gd name="connsiteX4342" fmla="*/ 4388644 w 6400800"/>
                <a:gd name="connsiteY4342" fmla="*/ 270034 h 514350"/>
                <a:gd name="connsiteX4343" fmla="*/ 4389597 w 6400800"/>
                <a:gd name="connsiteY4343" fmla="*/ 328136 h 514350"/>
                <a:gd name="connsiteX4344" fmla="*/ 4386739 w 6400800"/>
                <a:gd name="connsiteY4344" fmla="*/ 325279 h 514350"/>
                <a:gd name="connsiteX4345" fmla="*/ 4386739 w 6400800"/>
                <a:gd name="connsiteY4345" fmla="*/ 323374 h 514350"/>
                <a:gd name="connsiteX4346" fmla="*/ 4387691 w 6400800"/>
                <a:gd name="connsiteY4346" fmla="*/ 290989 h 514350"/>
                <a:gd name="connsiteX4347" fmla="*/ 4389597 w 6400800"/>
                <a:gd name="connsiteY4347" fmla="*/ 263366 h 514350"/>
                <a:gd name="connsiteX4348" fmla="*/ 4391501 w 6400800"/>
                <a:gd name="connsiteY4348" fmla="*/ 242411 h 514350"/>
                <a:gd name="connsiteX4349" fmla="*/ 4393406 w 6400800"/>
                <a:gd name="connsiteY4349" fmla="*/ 225266 h 514350"/>
                <a:gd name="connsiteX4350" fmla="*/ 4410551 w 6400800"/>
                <a:gd name="connsiteY4350" fmla="*/ 254794 h 514350"/>
                <a:gd name="connsiteX4351" fmla="*/ 4389597 w 6400800"/>
                <a:gd name="connsiteY4351" fmla="*/ 217646 h 514350"/>
                <a:gd name="connsiteX4352" fmla="*/ 4393406 w 6400800"/>
                <a:gd name="connsiteY4352" fmla="*/ 224314 h 514350"/>
                <a:gd name="connsiteX4353" fmla="*/ 4387691 w 6400800"/>
                <a:gd name="connsiteY4353" fmla="*/ 240506 h 514350"/>
                <a:gd name="connsiteX4354" fmla="*/ 4381976 w 6400800"/>
                <a:gd name="connsiteY4354" fmla="*/ 260509 h 514350"/>
                <a:gd name="connsiteX4355" fmla="*/ 4381976 w 6400800"/>
                <a:gd name="connsiteY4355" fmla="*/ 256699 h 514350"/>
                <a:gd name="connsiteX4356" fmla="*/ 4389597 w 6400800"/>
                <a:gd name="connsiteY4356" fmla="*/ 217646 h 514350"/>
                <a:gd name="connsiteX4357" fmla="*/ 4374356 w 6400800"/>
                <a:gd name="connsiteY4357" fmla="*/ 291941 h 514350"/>
                <a:gd name="connsiteX4358" fmla="*/ 4374356 w 6400800"/>
                <a:gd name="connsiteY4358" fmla="*/ 292894 h 514350"/>
                <a:gd name="connsiteX4359" fmla="*/ 4374356 w 6400800"/>
                <a:gd name="connsiteY4359" fmla="*/ 291941 h 514350"/>
                <a:gd name="connsiteX4360" fmla="*/ 4374356 w 6400800"/>
                <a:gd name="connsiteY4360" fmla="*/ 291941 h 514350"/>
                <a:gd name="connsiteX4361" fmla="*/ 4360069 w 6400800"/>
                <a:gd name="connsiteY4361" fmla="*/ 282416 h 514350"/>
                <a:gd name="connsiteX4362" fmla="*/ 4360069 w 6400800"/>
                <a:gd name="connsiteY4362" fmla="*/ 290036 h 514350"/>
                <a:gd name="connsiteX4363" fmla="*/ 4359116 w 6400800"/>
                <a:gd name="connsiteY4363" fmla="*/ 288131 h 514350"/>
                <a:gd name="connsiteX4364" fmla="*/ 4360069 w 6400800"/>
                <a:gd name="connsiteY4364" fmla="*/ 282416 h 514350"/>
                <a:gd name="connsiteX4365" fmla="*/ 4313397 w 6400800"/>
                <a:gd name="connsiteY4365" fmla="*/ 387191 h 514350"/>
                <a:gd name="connsiteX4366" fmla="*/ 4311491 w 6400800"/>
                <a:gd name="connsiteY4366" fmla="*/ 391001 h 514350"/>
                <a:gd name="connsiteX4367" fmla="*/ 4313397 w 6400800"/>
                <a:gd name="connsiteY4367" fmla="*/ 387191 h 514350"/>
                <a:gd name="connsiteX4368" fmla="*/ 4313397 w 6400800"/>
                <a:gd name="connsiteY4368" fmla="*/ 387191 h 514350"/>
                <a:gd name="connsiteX4369" fmla="*/ 4311491 w 6400800"/>
                <a:gd name="connsiteY4369" fmla="*/ 351949 h 514350"/>
                <a:gd name="connsiteX4370" fmla="*/ 4312444 w 6400800"/>
                <a:gd name="connsiteY4370" fmla="*/ 365284 h 514350"/>
                <a:gd name="connsiteX4371" fmla="*/ 4311491 w 6400800"/>
                <a:gd name="connsiteY4371" fmla="*/ 363379 h 514350"/>
                <a:gd name="connsiteX4372" fmla="*/ 4311491 w 6400800"/>
                <a:gd name="connsiteY4372" fmla="*/ 351949 h 514350"/>
                <a:gd name="connsiteX4373" fmla="*/ 4247674 w 6400800"/>
                <a:gd name="connsiteY4373" fmla="*/ 313849 h 514350"/>
                <a:gd name="connsiteX4374" fmla="*/ 4247674 w 6400800"/>
                <a:gd name="connsiteY4374" fmla="*/ 311944 h 514350"/>
                <a:gd name="connsiteX4375" fmla="*/ 4247674 w 6400800"/>
                <a:gd name="connsiteY4375" fmla="*/ 313849 h 514350"/>
                <a:gd name="connsiteX4376" fmla="*/ 4246722 w 6400800"/>
                <a:gd name="connsiteY4376" fmla="*/ 324326 h 514350"/>
                <a:gd name="connsiteX4377" fmla="*/ 4246722 w 6400800"/>
                <a:gd name="connsiteY4377" fmla="*/ 322421 h 514350"/>
                <a:gd name="connsiteX4378" fmla="*/ 4247674 w 6400800"/>
                <a:gd name="connsiteY4378" fmla="*/ 313849 h 514350"/>
                <a:gd name="connsiteX4379" fmla="*/ 4181951 w 6400800"/>
                <a:gd name="connsiteY4379" fmla="*/ 367189 h 514350"/>
                <a:gd name="connsiteX4380" fmla="*/ 4182904 w 6400800"/>
                <a:gd name="connsiteY4380" fmla="*/ 324326 h 514350"/>
                <a:gd name="connsiteX4381" fmla="*/ 4183856 w 6400800"/>
                <a:gd name="connsiteY4381" fmla="*/ 330041 h 514350"/>
                <a:gd name="connsiteX4382" fmla="*/ 4185761 w 6400800"/>
                <a:gd name="connsiteY4382" fmla="*/ 340519 h 514350"/>
                <a:gd name="connsiteX4383" fmla="*/ 4185761 w 6400800"/>
                <a:gd name="connsiteY4383" fmla="*/ 342424 h 514350"/>
                <a:gd name="connsiteX4384" fmla="*/ 4183856 w 6400800"/>
                <a:gd name="connsiteY4384" fmla="*/ 338614 h 514350"/>
                <a:gd name="connsiteX4385" fmla="*/ 4187666 w 6400800"/>
                <a:gd name="connsiteY4385" fmla="*/ 357664 h 514350"/>
                <a:gd name="connsiteX4386" fmla="*/ 4189571 w 6400800"/>
                <a:gd name="connsiteY4386" fmla="*/ 365284 h 514350"/>
                <a:gd name="connsiteX4387" fmla="*/ 4191476 w 6400800"/>
                <a:gd name="connsiteY4387" fmla="*/ 373856 h 514350"/>
                <a:gd name="connsiteX4388" fmla="*/ 4190524 w 6400800"/>
                <a:gd name="connsiteY4388" fmla="*/ 386239 h 514350"/>
                <a:gd name="connsiteX4389" fmla="*/ 4190524 w 6400800"/>
                <a:gd name="connsiteY4389" fmla="*/ 391954 h 514350"/>
                <a:gd name="connsiteX4390" fmla="*/ 4181951 w 6400800"/>
                <a:gd name="connsiteY4390" fmla="*/ 367189 h 514350"/>
                <a:gd name="connsiteX4391" fmla="*/ 4181951 w 6400800"/>
                <a:gd name="connsiteY4391" fmla="*/ 367189 h 514350"/>
                <a:gd name="connsiteX4392" fmla="*/ 4161949 w 6400800"/>
                <a:gd name="connsiteY4392" fmla="*/ 401479 h 514350"/>
                <a:gd name="connsiteX4393" fmla="*/ 4161949 w 6400800"/>
                <a:gd name="connsiteY4393" fmla="*/ 399574 h 514350"/>
                <a:gd name="connsiteX4394" fmla="*/ 4161949 w 6400800"/>
                <a:gd name="connsiteY4394" fmla="*/ 399574 h 514350"/>
                <a:gd name="connsiteX4395" fmla="*/ 4161949 w 6400800"/>
                <a:gd name="connsiteY4395" fmla="*/ 401479 h 514350"/>
                <a:gd name="connsiteX4396" fmla="*/ 4160044 w 6400800"/>
                <a:gd name="connsiteY4396" fmla="*/ 306229 h 514350"/>
                <a:gd name="connsiteX4397" fmla="*/ 4160996 w 6400800"/>
                <a:gd name="connsiteY4397" fmla="*/ 292894 h 514350"/>
                <a:gd name="connsiteX4398" fmla="*/ 4163854 w 6400800"/>
                <a:gd name="connsiteY4398" fmla="*/ 282416 h 514350"/>
                <a:gd name="connsiteX4399" fmla="*/ 4162901 w 6400800"/>
                <a:gd name="connsiteY4399" fmla="*/ 313849 h 514350"/>
                <a:gd name="connsiteX4400" fmla="*/ 4160044 w 6400800"/>
                <a:gd name="connsiteY4400" fmla="*/ 306229 h 514350"/>
                <a:gd name="connsiteX4401" fmla="*/ 4160044 w 6400800"/>
                <a:gd name="connsiteY4401" fmla="*/ 306229 h 514350"/>
                <a:gd name="connsiteX4402" fmla="*/ 4128611 w 6400800"/>
                <a:gd name="connsiteY4402" fmla="*/ 354806 h 514350"/>
                <a:gd name="connsiteX4403" fmla="*/ 4127659 w 6400800"/>
                <a:gd name="connsiteY4403" fmla="*/ 343376 h 514350"/>
                <a:gd name="connsiteX4404" fmla="*/ 4128611 w 6400800"/>
                <a:gd name="connsiteY4404" fmla="*/ 350044 h 514350"/>
                <a:gd name="connsiteX4405" fmla="*/ 4130516 w 6400800"/>
                <a:gd name="connsiteY4405" fmla="*/ 365284 h 514350"/>
                <a:gd name="connsiteX4406" fmla="*/ 4128611 w 6400800"/>
                <a:gd name="connsiteY4406" fmla="*/ 354806 h 514350"/>
                <a:gd name="connsiteX4407" fmla="*/ 4124801 w 6400800"/>
                <a:gd name="connsiteY4407" fmla="*/ 255746 h 514350"/>
                <a:gd name="connsiteX4408" fmla="*/ 4124801 w 6400800"/>
                <a:gd name="connsiteY4408" fmla="*/ 248126 h 514350"/>
                <a:gd name="connsiteX4409" fmla="*/ 4140041 w 6400800"/>
                <a:gd name="connsiteY4409" fmla="*/ 303371 h 514350"/>
                <a:gd name="connsiteX4410" fmla="*/ 4140994 w 6400800"/>
                <a:gd name="connsiteY4410" fmla="*/ 307181 h 514350"/>
                <a:gd name="connsiteX4411" fmla="*/ 4140994 w 6400800"/>
                <a:gd name="connsiteY4411" fmla="*/ 321469 h 514350"/>
                <a:gd name="connsiteX4412" fmla="*/ 4133374 w 6400800"/>
                <a:gd name="connsiteY4412" fmla="*/ 305276 h 514350"/>
                <a:gd name="connsiteX4413" fmla="*/ 4135279 w 6400800"/>
                <a:gd name="connsiteY4413" fmla="*/ 312896 h 514350"/>
                <a:gd name="connsiteX4414" fmla="*/ 4127659 w 6400800"/>
                <a:gd name="connsiteY4414" fmla="*/ 300514 h 514350"/>
                <a:gd name="connsiteX4415" fmla="*/ 4123849 w 6400800"/>
                <a:gd name="connsiteY4415" fmla="*/ 284321 h 514350"/>
                <a:gd name="connsiteX4416" fmla="*/ 4124801 w 6400800"/>
                <a:gd name="connsiteY4416" fmla="*/ 255746 h 514350"/>
                <a:gd name="connsiteX4417" fmla="*/ 4095274 w 6400800"/>
                <a:gd name="connsiteY4417" fmla="*/ 395764 h 514350"/>
                <a:gd name="connsiteX4418" fmla="*/ 4095274 w 6400800"/>
                <a:gd name="connsiteY4418" fmla="*/ 395764 h 514350"/>
                <a:gd name="connsiteX4419" fmla="*/ 4095274 w 6400800"/>
                <a:gd name="connsiteY4419" fmla="*/ 394811 h 514350"/>
                <a:gd name="connsiteX4420" fmla="*/ 4095274 w 6400800"/>
                <a:gd name="connsiteY4420" fmla="*/ 395764 h 514350"/>
                <a:gd name="connsiteX4421" fmla="*/ 4093369 w 6400800"/>
                <a:gd name="connsiteY4421" fmla="*/ 386239 h 514350"/>
                <a:gd name="connsiteX4422" fmla="*/ 4093369 w 6400800"/>
                <a:gd name="connsiteY4422" fmla="*/ 376714 h 514350"/>
                <a:gd name="connsiteX4423" fmla="*/ 4096226 w 6400800"/>
                <a:gd name="connsiteY4423" fmla="*/ 382429 h 514350"/>
                <a:gd name="connsiteX4424" fmla="*/ 4093369 w 6400800"/>
                <a:gd name="connsiteY4424" fmla="*/ 386239 h 514350"/>
                <a:gd name="connsiteX4425" fmla="*/ 4097179 w 6400800"/>
                <a:gd name="connsiteY4425" fmla="*/ 342424 h 514350"/>
                <a:gd name="connsiteX4426" fmla="*/ 4099084 w 6400800"/>
                <a:gd name="connsiteY4426" fmla="*/ 334804 h 514350"/>
                <a:gd name="connsiteX4427" fmla="*/ 4099084 w 6400800"/>
                <a:gd name="connsiteY4427" fmla="*/ 337661 h 514350"/>
                <a:gd name="connsiteX4428" fmla="*/ 4097179 w 6400800"/>
                <a:gd name="connsiteY4428" fmla="*/ 342424 h 514350"/>
                <a:gd name="connsiteX4429" fmla="*/ 4100989 w 6400800"/>
                <a:gd name="connsiteY4429" fmla="*/ 353854 h 514350"/>
                <a:gd name="connsiteX4430" fmla="*/ 4100989 w 6400800"/>
                <a:gd name="connsiteY4430" fmla="*/ 351949 h 514350"/>
                <a:gd name="connsiteX4431" fmla="*/ 4100989 w 6400800"/>
                <a:gd name="connsiteY4431" fmla="*/ 351949 h 514350"/>
                <a:gd name="connsiteX4432" fmla="*/ 4100989 w 6400800"/>
                <a:gd name="connsiteY4432" fmla="*/ 353854 h 514350"/>
                <a:gd name="connsiteX4433" fmla="*/ 4100989 w 6400800"/>
                <a:gd name="connsiteY4433" fmla="*/ 353854 h 514350"/>
                <a:gd name="connsiteX4434" fmla="*/ 4115276 w 6400800"/>
                <a:gd name="connsiteY4434" fmla="*/ 322421 h 514350"/>
                <a:gd name="connsiteX4435" fmla="*/ 4114324 w 6400800"/>
                <a:gd name="connsiteY4435" fmla="*/ 350996 h 514350"/>
                <a:gd name="connsiteX4436" fmla="*/ 4111466 w 6400800"/>
                <a:gd name="connsiteY4436" fmla="*/ 327184 h 514350"/>
                <a:gd name="connsiteX4437" fmla="*/ 4108609 w 6400800"/>
                <a:gd name="connsiteY4437" fmla="*/ 342424 h 514350"/>
                <a:gd name="connsiteX4438" fmla="*/ 4107656 w 6400800"/>
                <a:gd name="connsiteY4438" fmla="*/ 341471 h 514350"/>
                <a:gd name="connsiteX4439" fmla="*/ 4106704 w 6400800"/>
                <a:gd name="connsiteY4439" fmla="*/ 336709 h 514350"/>
                <a:gd name="connsiteX4440" fmla="*/ 4113371 w 6400800"/>
                <a:gd name="connsiteY4440" fmla="*/ 322421 h 514350"/>
                <a:gd name="connsiteX4441" fmla="*/ 4115276 w 6400800"/>
                <a:gd name="connsiteY4441" fmla="*/ 318611 h 514350"/>
                <a:gd name="connsiteX4442" fmla="*/ 4115276 w 6400800"/>
                <a:gd name="connsiteY4442" fmla="*/ 322421 h 514350"/>
                <a:gd name="connsiteX4443" fmla="*/ 4109561 w 6400800"/>
                <a:gd name="connsiteY4443" fmla="*/ 295751 h 514350"/>
                <a:gd name="connsiteX4444" fmla="*/ 4116229 w 6400800"/>
                <a:gd name="connsiteY4444" fmla="*/ 308134 h 514350"/>
                <a:gd name="connsiteX4445" fmla="*/ 4116229 w 6400800"/>
                <a:gd name="connsiteY4445" fmla="*/ 311944 h 514350"/>
                <a:gd name="connsiteX4446" fmla="*/ 4110514 w 6400800"/>
                <a:gd name="connsiteY4446" fmla="*/ 320516 h 514350"/>
                <a:gd name="connsiteX4447" fmla="*/ 4104799 w 6400800"/>
                <a:gd name="connsiteY4447" fmla="*/ 329089 h 514350"/>
                <a:gd name="connsiteX4448" fmla="*/ 4102894 w 6400800"/>
                <a:gd name="connsiteY4448" fmla="*/ 322421 h 514350"/>
                <a:gd name="connsiteX4449" fmla="*/ 4109561 w 6400800"/>
                <a:gd name="connsiteY4449" fmla="*/ 295751 h 514350"/>
                <a:gd name="connsiteX4450" fmla="*/ 4092416 w 6400800"/>
                <a:gd name="connsiteY4450" fmla="*/ 294799 h 514350"/>
                <a:gd name="connsiteX4451" fmla="*/ 4094321 w 6400800"/>
                <a:gd name="connsiteY4451" fmla="*/ 265271 h 514350"/>
                <a:gd name="connsiteX4452" fmla="*/ 4098131 w 6400800"/>
                <a:gd name="connsiteY4452" fmla="*/ 272891 h 514350"/>
                <a:gd name="connsiteX4453" fmla="*/ 4106704 w 6400800"/>
                <a:gd name="connsiteY4453" fmla="*/ 290989 h 514350"/>
                <a:gd name="connsiteX4454" fmla="*/ 4098131 w 6400800"/>
                <a:gd name="connsiteY4454" fmla="*/ 311944 h 514350"/>
                <a:gd name="connsiteX4455" fmla="*/ 4096226 w 6400800"/>
                <a:gd name="connsiteY4455" fmla="*/ 306229 h 514350"/>
                <a:gd name="connsiteX4456" fmla="*/ 4097179 w 6400800"/>
                <a:gd name="connsiteY4456" fmla="*/ 315754 h 514350"/>
                <a:gd name="connsiteX4457" fmla="*/ 4092416 w 6400800"/>
                <a:gd name="connsiteY4457" fmla="*/ 329089 h 514350"/>
                <a:gd name="connsiteX4458" fmla="*/ 4091464 w 6400800"/>
                <a:gd name="connsiteY4458" fmla="*/ 325279 h 514350"/>
                <a:gd name="connsiteX4459" fmla="*/ 4090511 w 6400800"/>
                <a:gd name="connsiteY4459" fmla="*/ 321469 h 514350"/>
                <a:gd name="connsiteX4460" fmla="*/ 4092416 w 6400800"/>
                <a:gd name="connsiteY4460" fmla="*/ 294799 h 514350"/>
                <a:gd name="connsiteX4461" fmla="*/ 4085749 w 6400800"/>
                <a:gd name="connsiteY4461" fmla="*/ 244316 h 514350"/>
                <a:gd name="connsiteX4462" fmla="*/ 4085749 w 6400800"/>
                <a:gd name="connsiteY4462" fmla="*/ 244316 h 514350"/>
                <a:gd name="connsiteX4463" fmla="*/ 4084796 w 6400800"/>
                <a:gd name="connsiteY4463" fmla="*/ 250031 h 514350"/>
                <a:gd name="connsiteX4464" fmla="*/ 4085749 w 6400800"/>
                <a:gd name="connsiteY4464" fmla="*/ 244316 h 514350"/>
                <a:gd name="connsiteX4465" fmla="*/ 4043839 w 6400800"/>
                <a:gd name="connsiteY4465" fmla="*/ 279559 h 514350"/>
                <a:gd name="connsiteX4466" fmla="*/ 4043839 w 6400800"/>
                <a:gd name="connsiteY4466" fmla="*/ 279559 h 514350"/>
                <a:gd name="connsiteX4467" fmla="*/ 4044791 w 6400800"/>
                <a:gd name="connsiteY4467" fmla="*/ 283369 h 514350"/>
                <a:gd name="connsiteX4468" fmla="*/ 4043839 w 6400800"/>
                <a:gd name="connsiteY4468" fmla="*/ 281464 h 514350"/>
                <a:gd name="connsiteX4469" fmla="*/ 4044791 w 6400800"/>
                <a:gd name="connsiteY4469" fmla="*/ 286226 h 514350"/>
                <a:gd name="connsiteX4470" fmla="*/ 4044791 w 6400800"/>
                <a:gd name="connsiteY4470" fmla="*/ 290036 h 514350"/>
                <a:gd name="connsiteX4471" fmla="*/ 4042886 w 6400800"/>
                <a:gd name="connsiteY4471" fmla="*/ 284321 h 514350"/>
                <a:gd name="connsiteX4472" fmla="*/ 4043839 w 6400800"/>
                <a:gd name="connsiteY4472" fmla="*/ 279559 h 514350"/>
                <a:gd name="connsiteX4473" fmla="*/ 4044791 w 6400800"/>
                <a:gd name="connsiteY4473" fmla="*/ 333851 h 514350"/>
                <a:gd name="connsiteX4474" fmla="*/ 4044791 w 6400800"/>
                <a:gd name="connsiteY4474" fmla="*/ 333851 h 514350"/>
                <a:gd name="connsiteX4475" fmla="*/ 4044791 w 6400800"/>
                <a:gd name="connsiteY4475" fmla="*/ 339566 h 514350"/>
                <a:gd name="connsiteX4476" fmla="*/ 4042886 w 6400800"/>
                <a:gd name="connsiteY4476" fmla="*/ 337661 h 514350"/>
                <a:gd name="connsiteX4477" fmla="*/ 4044791 w 6400800"/>
                <a:gd name="connsiteY4477" fmla="*/ 333851 h 514350"/>
                <a:gd name="connsiteX4478" fmla="*/ 4039076 w 6400800"/>
                <a:gd name="connsiteY4478" fmla="*/ 271939 h 514350"/>
                <a:gd name="connsiteX4479" fmla="*/ 4039076 w 6400800"/>
                <a:gd name="connsiteY4479" fmla="*/ 273844 h 514350"/>
                <a:gd name="connsiteX4480" fmla="*/ 4038124 w 6400800"/>
                <a:gd name="connsiteY4480" fmla="*/ 270034 h 514350"/>
                <a:gd name="connsiteX4481" fmla="*/ 4036219 w 6400800"/>
                <a:gd name="connsiteY4481" fmla="*/ 265271 h 514350"/>
                <a:gd name="connsiteX4482" fmla="*/ 4039076 w 6400800"/>
                <a:gd name="connsiteY4482" fmla="*/ 271939 h 514350"/>
                <a:gd name="connsiteX4483" fmla="*/ 4033361 w 6400800"/>
                <a:gd name="connsiteY4483" fmla="*/ 358616 h 514350"/>
                <a:gd name="connsiteX4484" fmla="*/ 4034314 w 6400800"/>
                <a:gd name="connsiteY4484" fmla="*/ 351949 h 514350"/>
                <a:gd name="connsiteX4485" fmla="*/ 4038124 w 6400800"/>
                <a:gd name="connsiteY4485" fmla="*/ 345281 h 514350"/>
                <a:gd name="connsiteX4486" fmla="*/ 4043839 w 6400800"/>
                <a:gd name="connsiteY4486" fmla="*/ 351949 h 514350"/>
                <a:gd name="connsiteX4487" fmla="*/ 4040981 w 6400800"/>
                <a:gd name="connsiteY4487" fmla="*/ 391954 h 514350"/>
                <a:gd name="connsiteX4488" fmla="*/ 4035266 w 6400800"/>
                <a:gd name="connsiteY4488" fmla="*/ 413861 h 514350"/>
                <a:gd name="connsiteX4489" fmla="*/ 4029551 w 6400800"/>
                <a:gd name="connsiteY4489" fmla="*/ 395764 h 514350"/>
                <a:gd name="connsiteX4490" fmla="*/ 4027646 w 6400800"/>
                <a:gd name="connsiteY4490" fmla="*/ 388144 h 514350"/>
                <a:gd name="connsiteX4491" fmla="*/ 4033361 w 6400800"/>
                <a:gd name="connsiteY4491" fmla="*/ 358616 h 514350"/>
                <a:gd name="connsiteX4492" fmla="*/ 4020026 w 6400800"/>
                <a:gd name="connsiteY4492" fmla="*/ 324326 h 514350"/>
                <a:gd name="connsiteX4493" fmla="*/ 4021931 w 6400800"/>
                <a:gd name="connsiteY4493" fmla="*/ 326231 h 514350"/>
                <a:gd name="connsiteX4494" fmla="*/ 4019074 w 6400800"/>
                <a:gd name="connsiteY4494" fmla="*/ 334804 h 514350"/>
                <a:gd name="connsiteX4495" fmla="*/ 4017169 w 6400800"/>
                <a:gd name="connsiteY4495" fmla="*/ 341471 h 514350"/>
                <a:gd name="connsiteX4496" fmla="*/ 4016216 w 6400800"/>
                <a:gd name="connsiteY4496" fmla="*/ 342424 h 514350"/>
                <a:gd name="connsiteX4497" fmla="*/ 4015264 w 6400800"/>
                <a:gd name="connsiteY4497" fmla="*/ 344329 h 514350"/>
                <a:gd name="connsiteX4498" fmla="*/ 4011454 w 6400800"/>
                <a:gd name="connsiteY4498" fmla="*/ 315754 h 514350"/>
                <a:gd name="connsiteX4499" fmla="*/ 4020026 w 6400800"/>
                <a:gd name="connsiteY4499" fmla="*/ 324326 h 514350"/>
                <a:gd name="connsiteX4500" fmla="*/ 3999071 w 6400800"/>
                <a:gd name="connsiteY4500" fmla="*/ 282416 h 514350"/>
                <a:gd name="connsiteX4501" fmla="*/ 3999071 w 6400800"/>
                <a:gd name="connsiteY4501" fmla="*/ 282416 h 514350"/>
                <a:gd name="connsiteX4502" fmla="*/ 4000024 w 6400800"/>
                <a:gd name="connsiteY4502" fmla="*/ 310991 h 514350"/>
                <a:gd name="connsiteX4503" fmla="*/ 4000024 w 6400800"/>
                <a:gd name="connsiteY4503" fmla="*/ 316706 h 514350"/>
                <a:gd name="connsiteX4504" fmla="*/ 3999071 w 6400800"/>
                <a:gd name="connsiteY4504" fmla="*/ 325279 h 514350"/>
                <a:gd name="connsiteX4505" fmla="*/ 3999071 w 6400800"/>
                <a:gd name="connsiteY4505" fmla="*/ 327184 h 514350"/>
                <a:gd name="connsiteX4506" fmla="*/ 3998119 w 6400800"/>
                <a:gd name="connsiteY4506" fmla="*/ 324326 h 514350"/>
                <a:gd name="connsiteX4507" fmla="*/ 3997166 w 6400800"/>
                <a:gd name="connsiteY4507" fmla="*/ 314801 h 514350"/>
                <a:gd name="connsiteX4508" fmla="*/ 3996214 w 6400800"/>
                <a:gd name="connsiteY4508" fmla="*/ 286226 h 514350"/>
                <a:gd name="connsiteX4509" fmla="*/ 3999071 w 6400800"/>
                <a:gd name="connsiteY4509" fmla="*/ 282416 h 514350"/>
                <a:gd name="connsiteX4510" fmla="*/ 3983831 w 6400800"/>
                <a:gd name="connsiteY4510" fmla="*/ 405289 h 514350"/>
                <a:gd name="connsiteX4511" fmla="*/ 3980021 w 6400800"/>
                <a:gd name="connsiteY4511" fmla="*/ 412909 h 514350"/>
                <a:gd name="connsiteX4512" fmla="*/ 3980021 w 6400800"/>
                <a:gd name="connsiteY4512" fmla="*/ 412909 h 514350"/>
                <a:gd name="connsiteX4513" fmla="*/ 3982879 w 6400800"/>
                <a:gd name="connsiteY4513" fmla="*/ 402431 h 514350"/>
                <a:gd name="connsiteX4514" fmla="*/ 3983831 w 6400800"/>
                <a:gd name="connsiteY4514" fmla="*/ 405289 h 514350"/>
                <a:gd name="connsiteX4515" fmla="*/ 3980974 w 6400800"/>
                <a:gd name="connsiteY4515" fmla="*/ 395764 h 514350"/>
                <a:gd name="connsiteX4516" fmla="*/ 3982879 w 6400800"/>
                <a:gd name="connsiteY4516" fmla="*/ 401479 h 514350"/>
                <a:gd name="connsiteX4517" fmla="*/ 3979069 w 6400800"/>
                <a:gd name="connsiteY4517" fmla="*/ 407194 h 514350"/>
                <a:gd name="connsiteX4518" fmla="*/ 3979069 w 6400800"/>
                <a:gd name="connsiteY4518" fmla="*/ 406241 h 514350"/>
                <a:gd name="connsiteX4519" fmla="*/ 3980974 w 6400800"/>
                <a:gd name="connsiteY4519" fmla="*/ 395764 h 514350"/>
                <a:gd name="connsiteX4520" fmla="*/ 3976211 w 6400800"/>
                <a:gd name="connsiteY4520" fmla="*/ 378619 h 514350"/>
                <a:gd name="connsiteX4521" fmla="*/ 3976211 w 6400800"/>
                <a:gd name="connsiteY4521" fmla="*/ 378619 h 514350"/>
                <a:gd name="connsiteX4522" fmla="*/ 3976211 w 6400800"/>
                <a:gd name="connsiteY4522" fmla="*/ 380524 h 514350"/>
                <a:gd name="connsiteX4523" fmla="*/ 3976211 w 6400800"/>
                <a:gd name="connsiteY4523" fmla="*/ 378619 h 514350"/>
                <a:gd name="connsiteX4524" fmla="*/ 3948589 w 6400800"/>
                <a:gd name="connsiteY4524" fmla="*/ 255746 h 514350"/>
                <a:gd name="connsiteX4525" fmla="*/ 3946684 w 6400800"/>
                <a:gd name="connsiteY4525" fmla="*/ 277654 h 514350"/>
                <a:gd name="connsiteX4526" fmla="*/ 3945731 w 6400800"/>
                <a:gd name="connsiteY4526" fmla="*/ 285274 h 514350"/>
                <a:gd name="connsiteX4527" fmla="*/ 3943826 w 6400800"/>
                <a:gd name="connsiteY4527" fmla="*/ 266224 h 514350"/>
                <a:gd name="connsiteX4528" fmla="*/ 3940016 w 6400800"/>
                <a:gd name="connsiteY4528" fmla="*/ 240506 h 514350"/>
                <a:gd name="connsiteX4529" fmla="*/ 3940016 w 6400800"/>
                <a:gd name="connsiteY4529" fmla="*/ 239554 h 514350"/>
                <a:gd name="connsiteX4530" fmla="*/ 3940016 w 6400800"/>
                <a:gd name="connsiteY4530" fmla="*/ 236696 h 514350"/>
                <a:gd name="connsiteX4531" fmla="*/ 3942874 w 6400800"/>
                <a:gd name="connsiteY4531" fmla="*/ 240506 h 514350"/>
                <a:gd name="connsiteX4532" fmla="*/ 3947636 w 6400800"/>
                <a:gd name="connsiteY4532" fmla="*/ 248126 h 514350"/>
                <a:gd name="connsiteX4533" fmla="*/ 3948589 w 6400800"/>
                <a:gd name="connsiteY4533" fmla="*/ 255746 h 514350"/>
                <a:gd name="connsiteX4534" fmla="*/ 3943826 w 6400800"/>
                <a:gd name="connsiteY4534" fmla="*/ 205264 h 514350"/>
                <a:gd name="connsiteX4535" fmla="*/ 3943826 w 6400800"/>
                <a:gd name="connsiteY4535" fmla="*/ 210979 h 514350"/>
                <a:gd name="connsiteX4536" fmla="*/ 3945731 w 6400800"/>
                <a:gd name="connsiteY4536" fmla="*/ 230981 h 514350"/>
                <a:gd name="connsiteX4537" fmla="*/ 3946684 w 6400800"/>
                <a:gd name="connsiteY4537" fmla="*/ 236696 h 514350"/>
                <a:gd name="connsiteX4538" fmla="*/ 3939064 w 6400800"/>
                <a:gd name="connsiteY4538" fmla="*/ 228124 h 514350"/>
                <a:gd name="connsiteX4539" fmla="*/ 3937159 w 6400800"/>
                <a:gd name="connsiteY4539" fmla="*/ 215741 h 514350"/>
                <a:gd name="connsiteX4540" fmla="*/ 3943826 w 6400800"/>
                <a:gd name="connsiteY4540" fmla="*/ 205264 h 514350"/>
                <a:gd name="connsiteX4541" fmla="*/ 3866674 w 6400800"/>
                <a:gd name="connsiteY4541" fmla="*/ 369094 h 514350"/>
                <a:gd name="connsiteX4542" fmla="*/ 3867626 w 6400800"/>
                <a:gd name="connsiteY4542" fmla="*/ 368141 h 514350"/>
                <a:gd name="connsiteX4543" fmla="*/ 3867626 w 6400800"/>
                <a:gd name="connsiteY4543" fmla="*/ 370999 h 514350"/>
                <a:gd name="connsiteX4544" fmla="*/ 3866674 w 6400800"/>
                <a:gd name="connsiteY4544" fmla="*/ 369094 h 514350"/>
                <a:gd name="connsiteX4545" fmla="*/ 3886676 w 6400800"/>
                <a:gd name="connsiteY4545" fmla="*/ 354806 h 514350"/>
                <a:gd name="connsiteX4546" fmla="*/ 3882866 w 6400800"/>
                <a:gd name="connsiteY4546" fmla="*/ 348139 h 514350"/>
                <a:gd name="connsiteX4547" fmla="*/ 3881914 w 6400800"/>
                <a:gd name="connsiteY4547" fmla="*/ 338614 h 514350"/>
                <a:gd name="connsiteX4548" fmla="*/ 3886676 w 6400800"/>
                <a:gd name="connsiteY4548" fmla="*/ 354806 h 514350"/>
                <a:gd name="connsiteX4549" fmla="*/ 3887629 w 6400800"/>
                <a:gd name="connsiteY4549" fmla="*/ 356711 h 514350"/>
                <a:gd name="connsiteX4550" fmla="*/ 3886676 w 6400800"/>
                <a:gd name="connsiteY4550" fmla="*/ 354806 h 514350"/>
                <a:gd name="connsiteX4551" fmla="*/ 3897154 w 6400800"/>
                <a:gd name="connsiteY4551" fmla="*/ 278606 h 514350"/>
                <a:gd name="connsiteX4552" fmla="*/ 3901916 w 6400800"/>
                <a:gd name="connsiteY4552" fmla="*/ 270986 h 514350"/>
                <a:gd name="connsiteX4553" fmla="*/ 3901916 w 6400800"/>
                <a:gd name="connsiteY4553" fmla="*/ 270986 h 514350"/>
                <a:gd name="connsiteX4554" fmla="*/ 3897154 w 6400800"/>
                <a:gd name="connsiteY4554" fmla="*/ 278606 h 514350"/>
                <a:gd name="connsiteX4555" fmla="*/ 3897154 w 6400800"/>
                <a:gd name="connsiteY4555" fmla="*/ 278606 h 514350"/>
                <a:gd name="connsiteX4556" fmla="*/ 3900011 w 6400800"/>
                <a:gd name="connsiteY4556" fmla="*/ 291941 h 514350"/>
                <a:gd name="connsiteX4557" fmla="*/ 3901916 w 6400800"/>
                <a:gd name="connsiteY4557" fmla="*/ 288131 h 514350"/>
                <a:gd name="connsiteX4558" fmla="*/ 3902869 w 6400800"/>
                <a:gd name="connsiteY4558" fmla="*/ 286226 h 514350"/>
                <a:gd name="connsiteX4559" fmla="*/ 3903821 w 6400800"/>
                <a:gd name="connsiteY4559" fmla="*/ 297656 h 514350"/>
                <a:gd name="connsiteX4560" fmla="*/ 3902869 w 6400800"/>
                <a:gd name="connsiteY4560" fmla="*/ 301466 h 514350"/>
                <a:gd name="connsiteX4561" fmla="*/ 3901916 w 6400800"/>
                <a:gd name="connsiteY4561" fmla="*/ 298609 h 514350"/>
                <a:gd name="connsiteX4562" fmla="*/ 3900011 w 6400800"/>
                <a:gd name="connsiteY4562" fmla="*/ 291941 h 514350"/>
                <a:gd name="connsiteX4563" fmla="*/ 3903821 w 6400800"/>
                <a:gd name="connsiteY4563" fmla="*/ 431006 h 514350"/>
                <a:gd name="connsiteX4564" fmla="*/ 3902869 w 6400800"/>
                <a:gd name="connsiteY4564" fmla="*/ 431959 h 514350"/>
                <a:gd name="connsiteX4565" fmla="*/ 3901916 w 6400800"/>
                <a:gd name="connsiteY4565" fmla="*/ 431959 h 514350"/>
                <a:gd name="connsiteX4566" fmla="*/ 3903821 w 6400800"/>
                <a:gd name="connsiteY4566" fmla="*/ 426244 h 514350"/>
                <a:gd name="connsiteX4567" fmla="*/ 3904774 w 6400800"/>
                <a:gd name="connsiteY4567" fmla="*/ 428149 h 514350"/>
                <a:gd name="connsiteX4568" fmla="*/ 3903821 w 6400800"/>
                <a:gd name="connsiteY4568" fmla="*/ 431006 h 514350"/>
                <a:gd name="connsiteX4569" fmla="*/ 3925729 w 6400800"/>
                <a:gd name="connsiteY4569" fmla="*/ 309086 h 514350"/>
                <a:gd name="connsiteX4570" fmla="*/ 3922871 w 6400800"/>
                <a:gd name="connsiteY4570" fmla="*/ 297656 h 514350"/>
                <a:gd name="connsiteX4571" fmla="*/ 3923824 w 6400800"/>
                <a:gd name="connsiteY4571" fmla="*/ 308134 h 514350"/>
                <a:gd name="connsiteX4572" fmla="*/ 3919061 w 6400800"/>
                <a:gd name="connsiteY4572" fmla="*/ 291941 h 514350"/>
                <a:gd name="connsiteX4573" fmla="*/ 3922871 w 6400800"/>
                <a:gd name="connsiteY4573" fmla="*/ 317659 h 514350"/>
                <a:gd name="connsiteX4574" fmla="*/ 3923824 w 6400800"/>
                <a:gd name="connsiteY4574" fmla="*/ 325279 h 514350"/>
                <a:gd name="connsiteX4575" fmla="*/ 3921919 w 6400800"/>
                <a:gd name="connsiteY4575" fmla="*/ 334804 h 514350"/>
                <a:gd name="connsiteX4576" fmla="*/ 3921919 w 6400800"/>
                <a:gd name="connsiteY4576" fmla="*/ 335756 h 514350"/>
                <a:gd name="connsiteX4577" fmla="*/ 3920966 w 6400800"/>
                <a:gd name="connsiteY4577" fmla="*/ 330041 h 514350"/>
                <a:gd name="connsiteX4578" fmla="*/ 3915251 w 6400800"/>
                <a:gd name="connsiteY4578" fmla="*/ 301466 h 514350"/>
                <a:gd name="connsiteX4579" fmla="*/ 3911441 w 6400800"/>
                <a:gd name="connsiteY4579" fmla="*/ 281464 h 514350"/>
                <a:gd name="connsiteX4580" fmla="*/ 3912394 w 6400800"/>
                <a:gd name="connsiteY4580" fmla="*/ 264319 h 514350"/>
                <a:gd name="connsiteX4581" fmla="*/ 3912394 w 6400800"/>
                <a:gd name="connsiteY4581" fmla="*/ 263366 h 514350"/>
                <a:gd name="connsiteX4582" fmla="*/ 3919061 w 6400800"/>
                <a:gd name="connsiteY4582" fmla="*/ 270986 h 514350"/>
                <a:gd name="connsiteX4583" fmla="*/ 3923824 w 6400800"/>
                <a:gd name="connsiteY4583" fmla="*/ 277654 h 514350"/>
                <a:gd name="connsiteX4584" fmla="*/ 3924776 w 6400800"/>
                <a:gd name="connsiteY4584" fmla="*/ 284321 h 514350"/>
                <a:gd name="connsiteX4585" fmla="*/ 3921919 w 6400800"/>
                <a:gd name="connsiteY4585" fmla="*/ 277654 h 514350"/>
                <a:gd name="connsiteX4586" fmla="*/ 3926681 w 6400800"/>
                <a:gd name="connsiteY4586" fmla="*/ 296704 h 514350"/>
                <a:gd name="connsiteX4587" fmla="*/ 3927634 w 6400800"/>
                <a:gd name="connsiteY4587" fmla="*/ 304324 h 514350"/>
                <a:gd name="connsiteX4588" fmla="*/ 3927634 w 6400800"/>
                <a:gd name="connsiteY4588" fmla="*/ 305276 h 514350"/>
                <a:gd name="connsiteX4589" fmla="*/ 3925729 w 6400800"/>
                <a:gd name="connsiteY4589" fmla="*/ 309086 h 514350"/>
                <a:gd name="connsiteX4590" fmla="*/ 3929539 w 6400800"/>
                <a:gd name="connsiteY4590" fmla="*/ 287179 h 514350"/>
                <a:gd name="connsiteX4591" fmla="*/ 3928586 w 6400800"/>
                <a:gd name="connsiteY4591" fmla="*/ 292894 h 514350"/>
                <a:gd name="connsiteX4592" fmla="*/ 3927634 w 6400800"/>
                <a:gd name="connsiteY4592" fmla="*/ 290036 h 514350"/>
                <a:gd name="connsiteX4593" fmla="*/ 3923824 w 6400800"/>
                <a:gd name="connsiteY4593" fmla="*/ 275749 h 514350"/>
                <a:gd name="connsiteX4594" fmla="*/ 3927634 w 6400800"/>
                <a:gd name="connsiteY4594" fmla="*/ 281464 h 514350"/>
                <a:gd name="connsiteX4595" fmla="*/ 3929539 w 6400800"/>
                <a:gd name="connsiteY4595" fmla="*/ 284321 h 514350"/>
                <a:gd name="connsiteX4596" fmla="*/ 3929539 w 6400800"/>
                <a:gd name="connsiteY4596" fmla="*/ 287179 h 514350"/>
                <a:gd name="connsiteX4597" fmla="*/ 3926681 w 6400800"/>
                <a:gd name="connsiteY4597" fmla="*/ 242411 h 514350"/>
                <a:gd name="connsiteX4598" fmla="*/ 3928586 w 6400800"/>
                <a:gd name="connsiteY4598" fmla="*/ 270986 h 514350"/>
                <a:gd name="connsiteX4599" fmla="*/ 3921919 w 6400800"/>
                <a:gd name="connsiteY4599" fmla="*/ 265271 h 514350"/>
                <a:gd name="connsiteX4600" fmla="*/ 3913346 w 6400800"/>
                <a:gd name="connsiteY4600" fmla="*/ 257651 h 514350"/>
                <a:gd name="connsiteX4601" fmla="*/ 3917156 w 6400800"/>
                <a:gd name="connsiteY4601" fmla="*/ 246221 h 514350"/>
                <a:gd name="connsiteX4602" fmla="*/ 3925729 w 6400800"/>
                <a:gd name="connsiteY4602" fmla="*/ 232886 h 514350"/>
                <a:gd name="connsiteX4603" fmla="*/ 3926681 w 6400800"/>
                <a:gd name="connsiteY4603" fmla="*/ 242411 h 514350"/>
                <a:gd name="connsiteX4604" fmla="*/ 3900964 w 6400800"/>
                <a:gd name="connsiteY4604" fmla="*/ 168116 h 514350"/>
                <a:gd name="connsiteX4605" fmla="*/ 3914299 w 6400800"/>
                <a:gd name="connsiteY4605" fmla="*/ 147161 h 514350"/>
                <a:gd name="connsiteX4606" fmla="*/ 3915251 w 6400800"/>
                <a:gd name="connsiteY4606" fmla="*/ 156686 h 514350"/>
                <a:gd name="connsiteX4607" fmla="*/ 3920966 w 6400800"/>
                <a:gd name="connsiteY4607" fmla="*/ 196691 h 514350"/>
                <a:gd name="connsiteX4608" fmla="*/ 3922871 w 6400800"/>
                <a:gd name="connsiteY4608" fmla="*/ 213836 h 514350"/>
                <a:gd name="connsiteX4609" fmla="*/ 3920014 w 6400800"/>
                <a:gd name="connsiteY4609" fmla="*/ 210979 h 514350"/>
                <a:gd name="connsiteX4610" fmla="*/ 3923824 w 6400800"/>
                <a:gd name="connsiteY4610" fmla="*/ 214789 h 514350"/>
                <a:gd name="connsiteX4611" fmla="*/ 3924776 w 6400800"/>
                <a:gd name="connsiteY4611" fmla="*/ 226219 h 514350"/>
                <a:gd name="connsiteX4612" fmla="*/ 3906679 w 6400800"/>
                <a:gd name="connsiteY4612" fmla="*/ 249079 h 514350"/>
                <a:gd name="connsiteX4613" fmla="*/ 3904774 w 6400800"/>
                <a:gd name="connsiteY4613" fmla="*/ 251936 h 514350"/>
                <a:gd name="connsiteX4614" fmla="*/ 3902869 w 6400800"/>
                <a:gd name="connsiteY4614" fmla="*/ 250984 h 514350"/>
                <a:gd name="connsiteX4615" fmla="*/ 3900964 w 6400800"/>
                <a:gd name="connsiteY4615" fmla="*/ 242411 h 514350"/>
                <a:gd name="connsiteX4616" fmla="*/ 3900964 w 6400800"/>
                <a:gd name="connsiteY4616" fmla="*/ 249079 h 514350"/>
                <a:gd name="connsiteX4617" fmla="*/ 3897154 w 6400800"/>
                <a:gd name="connsiteY4617" fmla="*/ 247174 h 514350"/>
                <a:gd name="connsiteX4618" fmla="*/ 3891439 w 6400800"/>
                <a:gd name="connsiteY4618" fmla="*/ 243364 h 514350"/>
                <a:gd name="connsiteX4619" fmla="*/ 3896201 w 6400800"/>
                <a:gd name="connsiteY4619" fmla="*/ 248126 h 514350"/>
                <a:gd name="connsiteX4620" fmla="*/ 3900964 w 6400800"/>
                <a:gd name="connsiteY4620" fmla="*/ 251936 h 514350"/>
                <a:gd name="connsiteX4621" fmla="*/ 3900964 w 6400800"/>
                <a:gd name="connsiteY4621" fmla="*/ 256699 h 514350"/>
                <a:gd name="connsiteX4622" fmla="*/ 3894296 w 6400800"/>
                <a:gd name="connsiteY4622" fmla="*/ 266224 h 514350"/>
                <a:gd name="connsiteX4623" fmla="*/ 3890486 w 6400800"/>
                <a:gd name="connsiteY4623" fmla="*/ 250984 h 514350"/>
                <a:gd name="connsiteX4624" fmla="*/ 3880009 w 6400800"/>
                <a:gd name="connsiteY4624" fmla="*/ 210026 h 514350"/>
                <a:gd name="connsiteX4625" fmla="*/ 3879056 w 6400800"/>
                <a:gd name="connsiteY4625" fmla="*/ 206216 h 514350"/>
                <a:gd name="connsiteX4626" fmla="*/ 3900964 w 6400800"/>
                <a:gd name="connsiteY4626" fmla="*/ 168116 h 514350"/>
                <a:gd name="connsiteX4627" fmla="*/ 3873341 w 6400800"/>
                <a:gd name="connsiteY4627" fmla="*/ 214789 h 514350"/>
                <a:gd name="connsiteX4628" fmla="*/ 3879056 w 6400800"/>
                <a:gd name="connsiteY4628" fmla="*/ 251936 h 514350"/>
                <a:gd name="connsiteX4629" fmla="*/ 3883819 w 6400800"/>
                <a:gd name="connsiteY4629" fmla="*/ 280511 h 514350"/>
                <a:gd name="connsiteX4630" fmla="*/ 3882866 w 6400800"/>
                <a:gd name="connsiteY4630" fmla="*/ 282416 h 514350"/>
                <a:gd name="connsiteX4631" fmla="*/ 3875246 w 6400800"/>
                <a:gd name="connsiteY4631" fmla="*/ 259556 h 514350"/>
                <a:gd name="connsiteX4632" fmla="*/ 3865721 w 6400800"/>
                <a:gd name="connsiteY4632" fmla="*/ 234791 h 514350"/>
                <a:gd name="connsiteX4633" fmla="*/ 3864769 w 6400800"/>
                <a:gd name="connsiteY4633" fmla="*/ 231934 h 514350"/>
                <a:gd name="connsiteX4634" fmla="*/ 3873341 w 6400800"/>
                <a:gd name="connsiteY4634" fmla="*/ 214789 h 514350"/>
                <a:gd name="connsiteX4635" fmla="*/ 3864769 w 6400800"/>
                <a:gd name="connsiteY4635" fmla="*/ 341471 h 514350"/>
                <a:gd name="connsiteX4636" fmla="*/ 3862864 w 6400800"/>
                <a:gd name="connsiteY4636" fmla="*/ 345281 h 514350"/>
                <a:gd name="connsiteX4637" fmla="*/ 3864769 w 6400800"/>
                <a:gd name="connsiteY4637" fmla="*/ 341471 h 514350"/>
                <a:gd name="connsiteX4638" fmla="*/ 3864769 w 6400800"/>
                <a:gd name="connsiteY4638" fmla="*/ 341471 h 514350"/>
                <a:gd name="connsiteX4639" fmla="*/ 3854291 w 6400800"/>
                <a:gd name="connsiteY4639" fmla="*/ 211931 h 514350"/>
                <a:gd name="connsiteX4640" fmla="*/ 3856196 w 6400800"/>
                <a:gd name="connsiteY4640" fmla="*/ 201454 h 514350"/>
                <a:gd name="connsiteX4641" fmla="*/ 3857149 w 6400800"/>
                <a:gd name="connsiteY4641" fmla="*/ 220504 h 514350"/>
                <a:gd name="connsiteX4642" fmla="*/ 3854291 w 6400800"/>
                <a:gd name="connsiteY4642" fmla="*/ 226219 h 514350"/>
                <a:gd name="connsiteX4643" fmla="*/ 3854291 w 6400800"/>
                <a:gd name="connsiteY4643" fmla="*/ 211931 h 514350"/>
                <a:gd name="connsiteX4644" fmla="*/ 3849529 w 6400800"/>
                <a:gd name="connsiteY4644" fmla="*/ 262414 h 514350"/>
                <a:gd name="connsiteX4645" fmla="*/ 3849529 w 6400800"/>
                <a:gd name="connsiteY4645" fmla="*/ 257651 h 514350"/>
                <a:gd name="connsiteX4646" fmla="*/ 3850481 w 6400800"/>
                <a:gd name="connsiteY4646" fmla="*/ 256699 h 514350"/>
                <a:gd name="connsiteX4647" fmla="*/ 3859054 w 6400800"/>
                <a:gd name="connsiteY4647" fmla="*/ 278606 h 514350"/>
                <a:gd name="connsiteX4648" fmla="*/ 3860006 w 6400800"/>
                <a:gd name="connsiteY4648" fmla="*/ 280511 h 514350"/>
                <a:gd name="connsiteX4649" fmla="*/ 3862864 w 6400800"/>
                <a:gd name="connsiteY4649" fmla="*/ 313849 h 514350"/>
                <a:gd name="connsiteX4650" fmla="*/ 3862864 w 6400800"/>
                <a:gd name="connsiteY4650" fmla="*/ 313849 h 514350"/>
                <a:gd name="connsiteX4651" fmla="*/ 3847624 w 6400800"/>
                <a:gd name="connsiteY4651" fmla="*/ 291941 h 514350"/>
                <a:gd name="connsiteX4652" fmla="*/ 3849529 w 6400800"/>
                <a:gd name="connsiteY4652" fmla="*/ 262414 h 514350"/>
                <a:gd name="connsiteX4653" fmla="*/ 3846671 w 6400800"/>
                <a:gd name="connsiteY4653" fmla="*/ 308134 h 514350"/>
                <a:gd name="connsiteX4654" fmla="*/ 3855244 w 6400800"/>
                <a:gd name="connsiteY4654" fmla="*/ 323374 h 514350"/>
                <a:gd name="connsiteX4655" fmla="*/ 3856196 w 6400800"/>
                <a:gd name="connsiteY4655" fmla="*/ 325279 h 514350"/>
                <a:gd name="connsiteX4656" fmla="*/ 3855244 w 6400800"/>
                <a:gd name="connsiteY4656" fmla="*/ 327184 h 514350"/>
                <a:gd name="connsiteX4657" fmla="*/ 3849529 w 6400800"/>
                <a:gd name="connsiteY4657" fmla="*/ 336709 h 514350"/>
                <a:gd name="connsiteX4658" fmla="*/ 3845719 w 6400800"/>
                <a:gd name="connsiteY4658" fmla="*/ 330041 h 514350"/>
                <a:gd name="connsiteX4659" fmla="*/ 3846671 w 6400800"/>
                <a:gd name="connsiteY4659" fmla="*/ 308134 h 514350"/>
                <a:gd name="connsiteX4660" fmla="*/ 3843814 w 6400800"/>
                <a:gd name="connsiteY4660" fmla="*/ 415766 h 514350"/>
                <a:gd name="connsiteX4661" fmla="*/ 3846671 w 6400800"/>
                <a:gd name="connsiteY4661" fmla="*/ 410051 h 514350"/>
                <a:gd name="connsiteX4662" fmla="*/ 3847624 w 6400800"/>
                <a:gd name="connsiteY4662" fmla="*/ 416719 h 514350"/>
                <a:gd name="connsiteX4663" fmla="*/ 3847624 w 6400800"/>
                <a:gd name="connsiteY4663" fmla="*/ 419576 h 514350"/>
                <a:gd name="connsiteX4664" fmla="*/ 3846671 w 6400800"/>
                <a:gd name="connsiteY4664" fmla="*/ 422434 h 514350"/>
                <a:gd name="connsiteX4665" fmla="*/ 3844766 w 6400800"/>
                <a:gd name="connsiteY4665" fmla="*/ 426244 h 514350"/>
                <a:gd name="connsiteX4666" fmla="*/ 3842861 w 6400800"/>
                <a:gd name="connsiteY4666" fmla="*/ 426244 h 514350"/>
                <a:gd name="connsiteX4667" fmla="*/ 3843814 w 6400800"/>
                <a:gd name="connsiteY4667" fmla="*/ 415766 h 514350"/>
                <a:gd name="connsiteX4668" fmla="*/ 3830479 w 6400800"/>
                <a:gd name="connsiteY4668" fmla="*/ 297656 h 514350"/>
                <a:gd name="connsiteX4669" fmla="*/ 3830479 w 6400800"/>
                <a:gd name="connsiteY4669" fmla="*/ 299561 h 514350"/>
                <a:gd name="connsiteX4670" fmla="*/ 3830479 w 6400800"/>
                <a:gd name="connsiteY4670" fmla="*/ 301466 h 514350"/>
                <a:gd name="connsiteX4671" fmla="*/ 3829526 w 6400800"/>
                <a:gd name="connsiteY4671" fmla="*/ 307181 h 514350"/>
                <a:gd name="connsiteX4672" fmla="*/ 3827621 w 6400800"/>
                <a:gd name="connsiteY4672" fmla="*/ 304324 h 514350"/>
                <a:gd name="connsiteX4673" fmla="*/ 3830479 w 6400800"/>
                <a:gd name="connsiteY4673" fmla="*/ 297656 h 514350"/>
                <a:gd name="connsiteX4674" fmla="*/ 3826669 w 6400800"/>
                <a:gd name="connsiteY4674" fmla="*/ 305276 h 514350"/>
                <a:gd name="connsiteX4675" fmla="*/ 3828574 w 6400800"/>
                <a:gd name="connsiteY4675" fmla="*/ 310039 h 514350"/>
                <a:gd name="connsiteX4676" fmla="*/ 3827621 w 6400800"/>
                <a:gd name="connsiteY4676" fmla="*/ 314801 h 514350"/>
                <a:gd name="connsiteX4677" fmla="*/ 3823811 w 6400800"/>
                <a:gd name="connsiteY4677" fmla="*/ 309086 h 514350"/>
                <a:gd name="connsiteX4678" fmla="*/ 3826669 w 6400800"/>
                <a:gd name="connsiteY4678" fmla="*/ 305276 h 514350"/>
                <a:gd name="connsiteX4679" fmla="*/ 3820001 w 6400800"/>
                <a:gd name="connsiteY4679" fmla="*/ 319564 h 514350"/>
                <a:gd name="connsiteX4680" fmla="*/ 3826669 w 6400800"/>
                <a:gd name="connsiteY4680" fmla="*/ 332899 h 514350"/>
                <a:gd name="connsiteX4681" fmla="*/ 3827621 w 6400800"/>
                <a:gd name="connsiteY4681" fmla="*/ 333851 h 514350"/>
                <a:gd name="connsiteX4682" fmla="*/ 3826669 w 6400800"/>
                <a:gd name="connsiteY4682" fmla="*/ 343376 h 514350"/>
                <a:gd name="connsiteX4683" fmla="*/ 3824764 w 6400800"/>
                <a:gd name="connsiteY4683" fmla="*/ 377666 h 514350"/>
                <a:gd name="connsiteX4684" fmla="*/ 3820954 w 6400800"/>
                <a:gd name="connsiteY4684" fmla="*/ 364331 h 514350"/>
                <a:gd name="connsiteX4685" fmla="*/ 3820001 w 6400800"/>
                <a:gd name="connsiteY4685" fmla="*/ 352901 h 514350"/>
                <a:gd name="connsiteX4686" fmla="*/ 3818096 w 6400800"/>
                <a:gd name="connsiteY4686" fmla="*/ 336709 h 514350"/>
                <a:gd name="connsiteX4687" fmla="*/ 3821906 w 6400800"/>
                <a:gd name="connsiteY4687" fmla="*/ 332899 h 514350"/>
                <a:gd name="connsiteX4688" fmla="*/ 3818096 w 6400800"/>
                <a:gd name="connsiteY4688" fmla="*/ 335756 h 514350"/>
                <a:gd name="connsiteX4689" fmla="*/ 3817144 w 6400800"/>
                <a:gd name="connsiteY4689" fmla="*/ 326231 h 514350"/>
                <a:gd name="connsiteX4690" fmla="*/ 3820001 w 6400800"/>
                <a:gd name="connsiteY4690" fmla="*/ 319564 h 514350"/>
                <a:gd name="connsiteX4691" fmla="*/ 3788569 w 6400800"/>
                <a:gd name="connsiteY4691" fmla="*/ 264319 h 514350"/>
                <a:gd name="connsiteX4692" fmla="*/ 3792379 w 6400800"/>
                <a:gd name="connsiteY4692" fmla="*/ 270986 h 514350"/>
                <a:gd name="connsiteX4693" fmla="*/ 3800951 w 6400800"/>
                <a:gd name="connsiteY4693" fmla="*/ 285274 h 514350"/>
                <a:gd name="connsiteX4694" fmla="*/ 3800951 w 6400800"/>
                <a:gd name="connsiteY4694" fmla="*/ 287179 h 514350"/>
                <a:gd name="connsiteX4695" fmla="*/ 3800951 w 6400800"/>
                <a:gd name="connsiteY4695" fmla="*/ 298609 h 514350"/>
                <a:gd name="connsiteX4696" fmla="*/ 3800951 w 6400800"/>
                <a:gd name="connsiteY4696" fmla="*/ 300514 h 514350"/>
                <a:gd name="connsiteX4697" fmla="*/ 3797141 w 6400800"/>
                <a:gd name="connsiteY4697" fmla="*/ 287179 h 514350"/>
                <a:gd name="connsiteX4698" fmla="*/ 3796189 w 6400800"/>
                <a:gd name="connsiteY4698" fmla="*/ 285274 h 514350"/>
                <a:gd name="connsiteX4699" fmla="*/ 3796189 w 6400800"/>
                <a:gd name="connsiteY4699" fmla="*/ 280511 h 514350"/>
                <a:gd name="connsiteX4700" fmla="*/ 3795236 w 6400800"/>
                <a:gd name="connsiteY4700" fmla="*/ 283369 h 514350"/>
                <a:gd name="connsiteX4701" fmla="*/ 3791426 w 6400800"/>
                <a:gd name="connsiteY4701" fmla="*/ 271939 h 514350"/>
                <a:gd name="connsiteX4702" fmla="*/ 3788569 w 6400800"/>
                <a:gd name="connsiteY4702" fmla="*/ 264319 h 514350"/>
                <a:gd name="connsiteX4703" fmla="*/ 3748564 w 6400800"/>
                <a:gd name="connsiteY4703" fmla="*/ 364331 h 514350"/>
                <a:gd name="connsiteX4704" fmla="*/ 3748564 w 6400800"/>
                <a:gd name="connsiteY4704" fmla="*/ 351949 h 514350"/>
                <a:gd name="connsiteX4705" fmla="*/ 3750469 w 6400800"/>
                <a:gd name="connsiteY4705" fmla="*/ 358616 h 514350"/>
                <a:gd name="connsiteX4706" fmla="*/ 3748564 w 6400800"/>
                <a:gd name="connsiteY4706" fmla="*/ 364331 h 514350"/>
                <a:gd name="connsiteX4707" fmla="*/ 3762851 w 6400800"/>
                <a:gd name="connsiteY4707" fmla="*/ 399574 h 514350"/>
                <a:gd name="connsiteX4708" fmla="*/ 3759994 w 6400800"/>
                <a:gd name="connsiteY4708" fmla="*/ 405289 h 514350"/>
                <a:gd name="connsiteX4709" fmla="*/ 3760946 w 6400800"/>
                <a:gd name="connsiteY4709" fmla="*/ 391954 h 514350"/>
                <a:gd name="connsiteX4710" fmla="*/ 3760946 w 6400800"/>
                <a:gd name="connsiteY4710" fmla="*/ 391001 h 514350"/>
                <a:gd name="connsiteX4711" fmla="*/ 3762851 w 6400800"/>
                <a:gd name="connsiteY4711" fmla="*/ 396716 h 514350"/>
                <a:gd name="connsiteX4712" fmla="*/ 3762851 w 6400800"/>
                <a:gd name="connsiteY4712" fmla="*/ 399574 h 514350"/>
                <a:gd name="connsiteX4713" fmla="*/ 3770471 w 6400800"/>
                <a:gd name="connsiteY4713" fmla="*/ 290036 h 514350"/>
                <a:gd name="connsiteX4714" fmla="*/ 3775234 w 6400800"/>
                <a:gd name="connsiteY4714" fmla="*/ 309086 h 514350"/>
                <a:gd name="connsiteX4715" fmla="*/ 3771424 w 6400800"/>
                <a:gd name="connsiteY4715" fmla="*/ 301466 h 514350"/>
                <a:gd name="connsiteX4716" fmla="*/ 3770471 w 6400800"/>
                <a:gd name="connsiteY4716" fmla="*/ 299561 h 514350"/>
                <a:gd name="connsiteX4717" fmla="*/ 3770471 w 6400800"/>
                <a:gd name="connsiteY4717" fmla="*/ 290989 h 514350"/>
                <a:gd name="connsiteX4718" fmla="*/ 3770471 w 6400800"/>
                <a:gd name="connsiteY4718" fmla="*/ 290036 h 514350"/>
                <a:gd name="connsiteX4719" fmla="*/ 3769519 w 6400800"/>
                <a:gd name="connsiteY4719" fmla="*/ 370046 h 514350"/>
                <a:gd name="connsiteX4720" fmla="*/ 3770471 w 6400800"/>
                <a:gd name="connsiteY4720" fmla="*/ 372904 h 514350"/>
                <a:gd name="connsiteX4721" fmla="*/ 3767614 w 6400800"/>
                <a:gd name="connsiteY4721" fmla="*/ 366236 h 514350"/>
                <a:gd name="connsiteX4722" fmla="*/ 3767614 w 6400800"/>
                <a:gd name="connsiteY4722" fmla="*/ 359569 h 514350"/>
                <a:gd name="connsiteX4723" fmla="*/ 3766661 w 6400800"/>
                <a:gd name="connsiteY4723" fmla="*/ 364331 h 514350"/>
                <a:gd name="connsiteX4724" fmla="*/ 3764756 w 6400800"/>
                <a:gd name="connsiteY4724" fmla="*/ 360521 h 514350"/>
                <a:gd name="connsiteX4725" fmla="*/ 3764756 w 6400800"/>
                <a:gd name="connsiteY4725" fmla="*/ 357664 h 514350"/>
                <a:gd name="connsiteX4726" fmla="*/ 3765709 w 6400800"/>
                <a:gd name="connsiteY4726" fmla="*/ 351949 h 514350"/>
                <a:gd name="connsiteX4727" fmla="*/ 3769519 w 6400800"/>
                <a:gd name="connsiteY4727" fmla="*/ 370046 h 514350"/>
                <a:gd name="connsiteX4728" fmla="*/ 3753326 w 6400800"/>
                <a:gd name="connsiteY4728" fmla="*/ 250031 h 514350"/>
                <a:gd name="connsiteX4729" fmla="*/ 3755231 w 6400800"/>
                <a:gd name="connsiteY4729" fmla="*/ 236696 h 514350"/>
                <a:gd name="connsiteX4730" fmla="*/ 3756184 w 6400800"/>
                <a:gd name="connsiteY4730" fmla="*/ 232886 h 514350"/>
                <a:gd name="connsiteX4731" fmla="*/ 3758089 w 6400800"/>
                <a:gd name="connsiteY4731" fmla="*/ 230029 h 514350"/>
                <a:gd name="connsiteX4732" fmla="*/ 3759994 w 6400800"/>
                <a:gd name="connsiteY4732" fmla="*/ 237649 h 514350"/>
                <a:gd name="connsiteX4733" fmla="*/ 3769519 w 6400800"/>
                <a:gd name="connsiteY4733" fmla="*/ 281464 h 514350"/>
                <a:gd name="connsiteX4734" fmla="*/ 3767614 w 6400800"/>
                <a:gd name="connsiteY4734" fmla="*/ 290036 h 514350"/>
                <a:gd name="connsiteX4735" fmla="*/ 3767614 w 6400800"/>
                <a:gd name="connsiteY4735" fmla="*/ 290989 h 514350"/>
                <a:gd name="connsiteX4736" fmla="*/ 3752374 w 6400800"/>
                <a:gd name="connsiteY4736" fmla="*/ 261461 h 514350"/>
                <a:gd name="connsiteX4737" fmla="*/ 3753326 w 6400800"/>
                <a:gd name="connsiteY4737" fmla="*/ 250031 h 514350"/>
                <a:gd name="connsiteX4738" fmla="*/ 3748564 w 6400800"/>
                <a:gd name="connsiteY4738" fmla="*/ 296704 h 514350"/>
                <a:gd name="connsiteX4739" fmla="*/ 3748564 w 6400800"/>
                <a:gd name="connsiteY4739" fmla="*/ 296704 h 514350"/>
                <a:gd name="connsiteX4740" fmla="*/ 3756184 w 6400800"/>
                <a:gd name="connsiteY4740" fmla="*/ 313849 h 514350"/>
                <a:gd name="connsiteX4741" fmla="*/ 3757136 w 6400800"/>
                <a:gd name="connsiteY4741" fmla="*/ 316706 h 514350"/>
                <a:gd name="connsiteX4742" fmla="*/ 3759041 w 6400800"/>
                <a:gd name="connsiteY4742" fmla="*/ 323374 h 514350"/>
                <a:gd name="connsiteX4743" fmla="*/ 3757136 w 6400800"/>
                <a:gd name="connsiteY4743" fmla="*/ 330041 h 514350"/>
                <a:gd name="connsiteX4744" fmla="*/ 3754279 w 6400800"/>
                <a:gd name="connsiteY4744" fmla="*/ 341471 h 514350"/>
                <a:gd name="connsiteX4745" fmla="*/ 3750469 w 6400800"/>
                <a:gd name="connsiteY4745" fmla="*/ 335756 h 514350"/>
                <a:gd name="connsiteX4746" fmla="*/ 3747611 w 6400800"/>
                <a:gd name="connsiteY4746" fmla="*/ 331946 h 514350"/>
                <a:gd name="connsiteX4747" fmla="*/ 3748564 w 6400800"/>
                <a:gd name="connsiteY4747" fmla="*/ 296704 h 514350"/>
                <a:gd name="connsiteX4748" fmla="*/ 3738086 w 6400800"/>
                <a:gd name="connsiteY4748" fmla="*/ 273844 h 514350"/>
                <a:gd name="connsiteX4749" fmla="*/ 3738086 w 6400800"/>
                <a:gd name="connsiteY4749" fmla="*/ 273844 h 514350"/>
                <a:gd name="connsiteX4750" fmla="*/ 3738086 w 6400800"/>
                <a:gd name="connsiteY4750" fmla="*/ 274796 h 514350"/>
                <a:gd name="connsiteX4751" fmla="*/ 3738086 w 6400800"/>
                <a:gd name="connsiteY4751" fmla="*/ 273844 h 514350"/>
                <a:gd name="connsiteX4752" fmla="*/ 3689509 w 6400800"/>
                <a:gd name="connsiteY4752" fmla="*/ 326231 h 514350"/>
                <a:gd name="connsiteX4753" fmla="*/ 3686651 w 6400800"/>
                <a:gd name="connsiteY4753" fmla="*/ 331946 h 514350"/>
                <a:gd name="connsiteX4754" fmla="*/ 3685699 w 6400800"/>
                <a:gd name="connsiteY4754" fmla="*/ 330994 h 514350"/>
                <a:gd name="connsiteX4755" fmla="*/ 3685699 w 6400800"/>
                <a:gd name="connsiteY4755" fmla="*/ 322421 h 514350"/>
                <a:gd name="connsiteX4756" fmla="*/ 3685699 w 6400800"/>
                <a:gd name="connsiteY4756" fmla="*/ 313849 h 514350"/>
                <a:gd name="connsiteX4757" fmla="*/ 3689509 w 6400800"/>
                <a:gd name="connsiteY4757" fmla="*/ 325279 h 514350"/>
                <a:gd name="connsiteX4758" fmla="*/ 3689509 w 6400800"/>
                <a:gd name="connsiteY4758" fmla="*/ 326231 h 514350"/>
                <a:gd name="connsiteX4759" fmla="*/ 3716179 w 6400800"/>
                <a:gd name="connsiteY4759" fmla="*/ 211931 h 514350"/>
                <a:gd name="connsiteX4760" fmla="*/ 3720941 w 6400800"/>
                <a:gd name="connsiteY4760" fmla="*/ 221456 h 514350"/>
                <a:gd name="connsiteX4761" fmla="*/ 3719036 w 6400800"/>
                <a:gd name="connsiteY4761" fmla="*/ 230029 h 514350"/>
                <a:gd name="connsiteX4762" fmla="*/ 3718084 w 6400800"/>
                <a:gd name="connsiteY4762" fmla="*/ 233839 h 514350"/>
                <a:gd name="connsiteX4763" fmla="*/ 3713321 w 6400800"/>
                <a:gd name="connsiteY4763" fmla="*/ 228124 h 514350"/>
                <a:gd name="connsiteX4764" fmla="*/ 3717131 w 6400800"/>
                <a:gd name="connsiteY4764" fmla="*/ 235744 h 514350"/>
                <a:gd name="connsiteX4765" fmla="*/ 3714274 w 6400800"/>
                <a:gd name="connsiteY4765" fmla="*/ 253841 h 514350"/>
                <a:gd name="connsiteX4766" fmla="*/ 3714274 w 6400800"/>
                <a:gd name="connsiteY4766" fmla="*/ 250984 h 514350"/>
                <a:gd name="connsiteX4767" fmla="*/ 3713321 w 6400800"/>
                <a:gd name="connsiteY4767" fmla="*/ 238601 h 514350"/>
                <a:gd name="connsiteX4768" fmla="*/ 3713321 w 6400800"/>
                <a:gd name="connsiteY4768" fmla="*/ 227171 h 514350"/>
                <a:gd name="connsiteX4769" fmla="*/ 3712369 w 6400800"/>
                <a:gd name="connsiteY4769" fmla="*/ 208121 h 514350"/>
                <a:gd name="connsiteX4770" fmla="*/ 3712369 w 6400800"/>
                <a:gd name="connsiteY4770" fmla="*/ 205264 h 514350"/>
                <a:gd name="connsiteX4771" fmla="*/ 3716179 w 6400800"/>
                <a:gd name="connsiteY4771" fmla="*/ 211931 h 514350"/>
                <a:gd name="connsiteX4772" fmla="*/ 3679984 w 6400800"/>
                <a:gd name="connsiteY4772" fmla="*/ 236696 h 514350"/>
                <a:gd name="connsiteX4773" fmla="*/ 3684746 w 6400800"/>
                <a:gd name="connsiteY4773" fmla="*/ 196691 h 514350"/>
                <a:gd name="connsiteX4774" fmla="*/ 3687604 w 6400800"/>
                <a:gd name="connsiteY4774" fmla="*/ 166211 h 514350"/>
                <a:gd name="connsiteX4775" fmla="*/ 3688556 w 6400800"/>
                <a:gd name="connsiteY4775" fmla="*/ 154781 h 514350"/>
                <a:gd name="connsiteX4776" fmla="*/ 3699034 w 6400800"/>
                <a:gd name="connsiteY4776" fmla="*/ 178594 h 514350"/>
                <a:gd name="connsiteX4777" fmla="*/ 3708559 w 6400800"/>
                <a:gd name="connsiteY4777" fmla="*/ 199549 h 514350"/>
                <a:gd name="connsiteX4778" fmla="*/ 3707606 w 6400800"/>
                <a:gd name="connsiteY4778" fmla="*/ 207169 h 514350"/>
                <a:gd name="connsiteX4779" fmla="*/ 3704749 w 6400800"/>
                <a:gd name="connsiteY4779" fmla="*/ 226219 h 514350"/>
                <a:gd name="connsiteX4780" fmla="*/ 3702844 w 6400800"/>
                <a:gd name="connsiteY4780" fmla="*/ 237649 h 514350"/>
                <a:gd name="connsiteX4781" fmla="*/ 3701891 w 6400800"/>
                <a:gd name="connsiteY4781" fmla="*/ 250984 h 514350"/>
                <a:gd name="connsiteX4782" fmla="*/ 3700939 w 6400800"/>
                <a:gd name="connsiteY4782" fmla="*/ 280511 h 514350"/>
                <a:gd name="connsiteX4783" fmla="*/ 3700939 w 6400800"/>
                <a:gd name="connsiteY4783" fmla="*/ 300514 h 514350"/>
                <a:gd name="connsiteX4784" fmla="*/ 3697129 w 6400800"/>
                <a:gd name="connsiteY4784" fmla="*/ 290036 h 514350"/>
                <a:gd name="connsiteX4785" fmla="*/ 3699034 w 6400800"/>
                <a:gd name="connsiteY4785" fmla="*/ 308134 h 514350"/>
                <a:gd name="connsiteX4786" fmla="*/ 3690461 w 6400800"/>
                <a:gd name="connsiteY4786" fmla="*/ 322421 h 514350"/>
                <a:gd name="connsiteX4787" fmla="*/ 3683794 w 6400800"/>
                <a:gd name="connsiteY4787" fmla="*/ 310991 h 514350"/>
                <a:gd name="connsiteX4788" fmla="*/ 3683794 w 6400800"/>
                <a:gd name="connsiteY4788" fmla="*/ 302419 h 514350"/>
                <a:gd name="connsiteX4789" fmla="*/ 3682841 w 6400800"/>
                <a:gd name="connsiteY4789" fmla="*/ 308134 h 514350"/>
                <a:gd name="connsiteX4790" fmla="*/ 3679031 w 6400800"/>
                <a:gd name="connsiteY4790" fmla="*/ 302419 h 514350"/>
                <a:gd name="connsiteX4791" fmla="*/ 3681889 w 6400800"/>
                <a:gd name="connsiteY4791" fmla="*/ 310991 h 514350"/>
                <a:gd name="connsiteX4792" fmla="*/ 3679984 w 6400800"/>
                <a:gd name="connsiteY4792" fmla="*/ 323374 h 514350"/>
                <a:gd name="connsiteX4793" fmla="*/ 3672364 w 6400800"/>
                <a:gd name="connsiteY4793" fmla="*/ 307181 h 514350"/>
                <a:gd name="connsiteX4794" fmla="*/ 3677126 w 6400800"/>
                <a:gd name="connsiteY4794" fmla="*/ 289084 h 514350"/>
                <a:gd name="connsiteX4795" fmla="*/ 3681889 w 6400800"/>
                <a:gd name="connsiteY4795" fmla="*/ 272891 h 514350"/>
                <a:gd name="connsiteX4796" fmla="*/ 3686651 w 6400800"/>
                <a:gd name="connsiteY4796" fmla="*/ 260509 h 514350"/>
                <a:gd name="connsiteX4797" fmla="*/ 3692366 w 6400800"/>
                <a:gd name="connsiteY4797" fmla="*/ 250031 h 514350"/>
                <a:gd name="connsiteX4798" fmla="*/ 3683794 w 6400800"/>
                <a:gd name="connsiteY4798" fmla="*/ 258604 h 514350"/>
                <a:gd name="connsiteX4799" fmla="*/ 3675221 w 6400800"/>
                <a:gd name="connsiteY4799" fmla="*/ 270034 h 514350"/>
                <a:gd name="connsiteX4800" fmla="*/ 3671411 w 6400800"/>
                <a:gd name="connsiteY4800" fmla="*/ 275749 h 514350"/>
                <a:gd name="connsiteX4801" fmla="*/ 3679984 w 6400800"/>
                <a:gd name="connsiteY4801" fmla="*/ 236696 h 514350"/>
                <a:gd name="connsiteX4802" fmla="*/ 3678079 w 6400800"/>
                <a:gd name="connsiteY4802" fmla="*/ 342424 h 514350"/>
                <a:gd name="connsiteX4803" fmla="*/ 3677126 w 6400800"/>
                <a:gd name="connsiteY4803" fmla="*/ 349091 h 514350"/>
                <a:gd name="connsiteX4804" fmla="*/ 3676174 w 6400800"/>
                <a:gd name="connsiteY4804" fmla="*/ 343376 h 514350"/>
                <a:gd name="connsiteX4805" fmla="*/ 3674269 w 6400800"/>
                <a:gd name="connsiteY4805" fmla="*/ 335756 h 514350"/>
                <a:gd name="connsiteX4806" fmla="*/ 3678079 w 6400800"/>
                <a:gd name="connsiteY4806" fmla="*/ 342424 h 514350"/>
                <a:gd name="connsiteX4807" fmla="*/ 3664744 w 6400800"/>
                <a:gd name="connsiteY4807" fmla="*/ 355759 h 514350"/>
                <a:gd name="connsiteX4808" fmla="*/ 3664744 w 6400800"/>
                <a:gd name="connsiteY4808" fmla="*/ 362426 h 514350"/>
                <a:gd name="connsiteX4809" fmla="*/ 3663791 w 6400800"/>
                <a:gd name="connsiteY4809" fmla="*/ 371951 h 514350"/>
                <a:gd name="connsiteX4810" fmla="*/ 3663791 w 6400800"/>
                <a:gd name="connsiteY4810" fmla="*/ 371951 h 514350"/>
                <a:gd name="connsiteX4811" fmla="*/ 3662839 w 6400800"/>
                <a:gd name="connsiteY4811" fmla="*/ 367189 h 514350"/>
                <a:gd name="connsiteX4812" fmla="*/ 3662839 w 6400800"/>
                <a:gd name="connsiteY4812" fmla="*/ 366236 h 514350"/>
                <a:gd name="connsiteX4813" fmla="*/ 3664744 w 6400800"/>
                <a:gd name="connsiteY4813" fmla="*/ 355759 h 514350"/>
                <a:gd name="connsiteX4814" fmla="*/ 3603784 w 6400800"/>
                <a:gd name="connsiteY4814" fmla="*/ 369094 h 514350"/>
                <a:gd name="connsiteX4815" fmla="*/ 3602831 w 6400800"/>
                <a:gd name="connsiteY4815" fmla="*/ 363379 h 514350"/>
                <a:gd name="connsiteX4816" fmla="*/ 3605689 w 6400800"/>
                <a:gd name="connsiteY4816" fmla="*/ 352901 h 514350"/>
                <a:gd name="connsiteX4817" fmla="*/ 3606641 w 6400800"/>
                <a:gd name="connsiteY4817" fmla="*/ 350044 h 514350"/>
                <a:gd name="connsiteX4818" fmla="*/ 3607594 w 6400800"/>
                <a:gd name="connsiteY4818" fmla="*/ 352901 h 514350"/>
                <a:gd name="connsiteX4819" fmla="*/ 3607594 w 6400800"/>
                <a:gd name="connsiteY4819" fmla="*/ 353854 h 514350"/>
                <a:gd name="connsiteX4820" fmla="*/ 3603784 w 6400800"/>
                <a:gd name="connsiteY4820" fmla="*/ 369094 h 514350"/>
                <a:gd name="connsiteX4821" fmla="*/ 3612356 w 6400800"/>
                <a:gd name="connsiteY4821" fmla="*/ 329089 h 514350"/>
                <a:gd name="connsiteX4822" fmla="*/ 3611404 w 6400800"/>
                <a:gd name="connsiteY4822" fmla="*/ 327184 h 514350"/>
                <a:gd name="connsiteX4823" fmla="*/ 3610451 w 6400800"/>
                <a:gd name="connsiteY4823" fmla="*/ 321469 h 514350"/>
                <a:gd name="connsiteX4824" fmla="*/ 3613309 w 6400800"/>
                <a:gd name="connsiteY4824" fmla="*/ 324326 h 514350"/>
                <a:gd name="connsiteX4825" fmla="*/ 3612356 w 6400800"/>
                <a:gd name="connsiteY4825" fmla="*/ 329089 h 514350"/>
                <a:gd name="connsiteX4826" fmla="*/ 3633311 w 6400800"/>
                <a:gd name="connsiteY4826" fmla="*/ 366236 h 514350"/>
                <a:gd name="connsiteX4827" fmla="*/ 3629501 w 6400800"/>
                <a:gd name="connsiteY4827" fmla="*/ 358616 h 514350"/>
                <a:gd name="connsiteX4828" fmla="*/ 3629501 w 6400800"/>
                <a:gd name="connsiteY4828" fmla="*/ 354806 h 514350"/>
                <a:gd name="connsiteX4829" fmla="*/ 3633311 w 6400800"/>
                <a:gd name="connsiteY4829" fmla="*/ 366236 h 514350"/>
                <a:gd name="connsiteX4830" fmla="*/ 3633311 w 6400800"/>
                <a:gd name="connsiteY4830" fmla="*/ 366236 h 514350"/>
                <a:gd name="connsiteX4831" fmla="*/ 3633311 w 6400800"/>
                <a:gd name="connsiteY4831" fmla="*/ 366236 h 514350"/>
                <a:gd name="connsiteX4832" fmla="*/ 3632359 w 6400800"/>
                <a:gd name="connsiteY4832" fmla="*/ 331946 h 514350"/>
                <a:gd name="connsiteX4833" fmla="*/ 3635216 w 6400800"/>
                <a:gd name="connsiteY4833" fmla="*/ 348139 h 514350"/>
                <a:gd name="connsiteX4834" fmla="*/ 3631406 w 6400800"/>
                <a:gd name="connsiteY4834" fmla="*/ 341471 h 514350"/>
                <a:gd name="connsiteX4835" fmla="*/ 3632359 w 6400800"/>
                <a:gd name="connsiteY4835" fmla="*/ 331946 h 514350"/>
                <a:gd name="connsiteX4836" fmla="*/ 3618071 w 6400800"/>
                <a:gd name="connsiteY4836" fmla="*/ 270034 h 514350"/>
                <a:gd name="connsiteX4837" fmla="*/ 3628549 w 6400800"/>
                <a:gd name="connsiteY4837" fmla="*/ 246221 h 514350"/>
                <a:gd name="connsiteX4838" fmla="*/ 3630454 w 6400800"/>
                <a:gd name="connsiteY4838" fmla="*/ 242411 h 514350"/>
                <a:gd name="connsiteX4839" fmla="*/ 3625691 w 6400800"/>
                <a:gd name="connsiteY4839" fmla="*/ 265271 h 514350"/>
                <a:gd name="connsiteX4840" fmla="*/ 3618071 w 6400800"/>
                <a:gd name="connsiteY4840" fmla="*/ 271939 h 514350"/>
                <a:gd name="connsiteX4841" fmla="*/ 3618071 w 6400800"/>
                <a:gd name="connsiteY4841" fmla="*/ 270034 h 514350"/>
                <a:gd name="connsiteX4842" fmla="*/ 3601879 w 6400800"/>
                <a:gd name="connsiteY4842" fmla="*/ 310039 h 514350"/>
                <a:gd name="connsiteX4843" fmla="*/ 3606641 w 6400800"/>
                <a:gd name="connsiteY4843" fmla="*/ 298609 h 514350"/>
                <a:gd name="connsiteX4844" fmla="*/ 3615214 w 6400800"/>
                <a:gd name="connsiteY4844" fmla="*/ 278606 h 514350"/>
                <a:gd name="connsiteX4845" fmla="*/ 3619976 w 6400800"/>
                <a:gd name="connsiteY4845" fmla="*/ 271939 h 514350"/>
                <a:gd name="connsiteX4846" fmla="*/ 3625691 w 6400800"/>
                <a:gd name="connsiteY4846" fmla="*/ 266224 h 514350"/>
                <a:gd name="connsiteX4847" fmla="*/ 3624739 w 6400800"/>
                <a:gd name="connsiteY4847" fmla="*/ 270986 h 514350"/>
                <a:gd name="connsiteX4848" fmla="*/ 3617119 w 6400800"/>
                <a:gd name="connsiteY4848" fmla="*/ 309086 h 514350"/>
                <a:gd name="connsiteX4849" fmla="*/ 3614261 w 6400800"/>
                <a:gd name="connsiteY4849" fmla="*/ 322421 h 514350"/>
                <a:gd name="connsiteX4850" fmla="*/ 3611404 w 6400800"/>
                <a:gd name="connsiteY4850" fmla="*/ 320516 h 514350"/>
                <a:gd name="connsiteX4851" fmla="*/ 3609499 w 6400800"/>
                <a:gd name="connsiteY4851" fmla="*/ 298609 h 514350"/>
                <a:gd name="connsiteX4852" fmla="*/ 3608546 w 6400800"/>
                <a:gd name="connsiteY4852" fmla="*/ 318611 h 514350"/>
                <a:gd name="connsiteX4853" fmla="*/ 3606641 w 6400800"/>
                <a:gd name="connsiteY4853" fmla="*/ 317659 h 514350"/>
                <a:gd name="connsiteX4854" fmla="*/ 3608546 w 6400800"/>
                <a:gd name="connsiteY4854" fmla="*/ 319564 h 514350"/>
                <a:gd name="connsiteX4855" fmla="*/ 3608546 w 6400800"/>
                <a:gd name="connsiteY4855" fmla="*/ 322421 h 514350"/>
                <a:gd name="connsiteX4856" fmla="*/ 3602831 w 6400800"/>
                <a:gd name="connsiteY4856" fmla="*/ 312896 h 514350"/>
                <a:gd name="connsiteX4857" fmla="*/ 3601879 w 6400800"/>
                <a:gd name="connsiteY4857" fmla="*/ 310039 h 514350"/>
                <a:gd name="connsiteX4858" fmla="*/ 3600926 w 6400800"/>
                <a:gd name="connsiteY4858" fmla="*/ 335756 h 514350"/>
                <a:gd name="connsiteX4859" fmla="*/ 3604736 w 6400800"/>
                <a:gd name="connsiteY4859" fmla="*/ 346234 h 514350"/>
                <a:gd name="connsiteX4860" fmla="*/ 3601879 w 6400800"/>
                <a:gd name="connsiteY4860" fmla="*/ 351949 h 514350"/>
                <a:gd name="connsiteX4861" fmla="*/ 3600926 w 6400800"/>
                <a:gd name="connsiteY4861" fmla="*/ 352901 h 514350"/>
                <a:gd name="connsiteX4862" fmla="*/ 3599974 w 6400800"/>
                <a:gd name="connsiteY4862" fmla="*/ 345281 h 514350"/>
                <a:gd name="connsiteX4863" fmla="*/ 3600926 w 6400800"/>
                <a:gd name="connsiteY4863" fmla="*/ 335756 h 514350"/>
                <a:gd name="connsiteX4864" fmla="*/ 3556159 w 6400800"/>
                <a:gd name="connsiteY4864" fmla="*/ 342424 h 514350"/>
                <a:gd name="connsiteX4865" fmla="*/ 3557111 w 6400800"/>
                <a:gd name="connsiteY4865" fmla="*/ 324326 h 514350"/>
                <a:gd name="connsiteX4866" fmla="*/ 3558064 w 6400800"/>
                <a:gd name="connsiteY4866" fmla="*/ 328136 h 514350"/>
                <a:gd name="connsiteX4867" fmla="*/ 3559016 w 6400800"/>
                <a:gd name="connsiteY4867" fmla="*/ 333851 h 514350"/>
                <a:gd name="connsiteX4868" fmla="*/ 3559016 w 6400800"/>
                <a:gd name="connsiteY4868" fmla="*/ 334804 h 514350"/>
                <a:gd name="connsiteX4869" fmla="*/ 3556159 w 6400800"/>
                <a:gd name="connsiteY4869" fmla="*/ 342424 h 514350"/>
                <a:gd name="connsiteX4870" fmla="*/ 3559969 w 6400800"/>
                <a:gd name="connsiteY4870" fmla="*/ 279559 h 514350"/>
                <a:gd name="connsiteX4871" fmla="*/ 3559016 w 6400800"/>
                <a:gd name="connsiteY4871" fmla="*/ 274796 h 514350"/>
                <a:gd name="connsiteX4872" fmla="*/ 3561874 w 6400800"/>
                <a:gd name="connsiteY4872" fmla="*/ 276701 h 514350"/>
                <a:gd name="connsiteX4873" fmla="*/ 3566636 w 6400800"/>
                <a:gd name="connsiteY4873" fmla="*/ 280511 h 514350"/>
                <a:gd name="connsiteX4874" fmla="*/ 3562826 w 6400800"/>
                <a:gd name="connsiteY4874" fmla="*/ 287179 h 514350"/>
                <a:gd name="connsiteX4875" fmla="*/ 3559969 w 6400800"/>
                <a:gd name="connsiteY4875" fmla="*/ 279559 h 514350"/>
                <a:gd name="connsiteX4876" fmla="*/ 3571399 w 6400800"/>
                <a:gd name="connsiteY4876" fmla="*/ 287179 h 514350"/>
                <a:gd name="connsiteX4877" fmla="*/ 3571399 w 6400800"/>
                <a:gd name="connsiteY4877" fmla="*/ 311944 h 514350"/>
                <a:gd name="connsiteX4878" fmla="*/ 3569494 w 6400800"/>
                <a:gd name="connsiteY4878" fmla="*/ 314801 h 514350"/>
                <a:gd name="connsiteX4879" fmla="*/ 3562826 w 6400800"/>
                <a:gd name="connsiteY4879" fmla="*/ 292894 h 514350"/>
                <a:gd name="connsiteX4880" fmla="*/ 3566636 w 6400800"/>
                <a:gd name="connsiteY4880" fmla="*/ 282416 h 514350"/>
                <a:gd name="connsiteX4881" fmla="*/ 3571399 w 6400800"/>
                <a:gd name="connsiteY4881" fmla="*/ 287179 h 514350"/>
                <a:gd name="connsiteX4882" fmla="*/ 3571399 w 6400800"/>
                <a:gd name="connsiteY4882" fmla="*/ 287179 h 514350"/>
                <a:gd name="connsiteX4883" fmla="*/ 3571399 w 6400800"/>
                <a:gd name="connsiteY4883" fmla="*/ 281464 h 514350"/>
                <a:gd name="connsiteX4884" fmla="*/ 3568541 w 6400800"/>
                <a:gd name="connsiteY4884" fmla="*/ 279559 h 514350"/>
                <a:gd name="connsiteX4885" fmla="*/ 3568541 w 6400800"/>
                <a:gd name="connsiteY4885" fmla="*/ 279559 h 514350"/>
                <a:gd name="connsiteX4886" fmla="*/ 3571399 w 6400800"/>
                <a:gd name="connsiteY4886" fmla="*/ 273844 h 514350"/>
                <a:gd name="connsiteX4887" fmla="*/ 3571399 w 6400800"/>
                <a:gd name="connsiteY4887" fmla="*/ 281464 h 514350"/>
                <a:gd name="connsiteX4888" fmla="*/ 3567589 w 6400800"/>
                <a:gd name="connsiteY4888" fmla="*/ 250031 h 514350"/>
                <a:gd name="connsiteX4889" fmla="*/ 3570446 w 6400800"/>
                <a:gd name="connsiteY4889" fmla="*/ 265271 h 514350"/>
                <a:gd name="connsiteX4890" fmla="*/ 3571399 w 6400800"/>
                <a:gd name="connsiteY4890" fmla="*/ 271939 h 514350"/>
                <a:gd name="connsiteX4891" fmla="*/ 3571399 w 6400800"/>
                <a:gd name="connsiteY4891" fmla="*/ 272891 h 514350"/>
                <a:gd name="connsiteX4892" fmla="*/ 3567589 w 6400800"/>
                <a:gd name="connsiteY4892" fmla="*/ 277654 h 514350"/>
                <a:gd name="connsiteX4893" fmla="*/ 3567589 w 6400800"/>
                <a:gd name="connsiteY4893" fmla="*/ 277654 h 514350"/>
                <a:gd name="connsiteX4894" fmla="*/ 3561874 w 6400800"/>
                <a:gd name="connsiteY4894" fmla="*/ 274796 h 514350"/>
                <a:gd name="connsiteX4895" fmla="*/ 3558064 w 6400800"/>
                <a:gd name="connsiteY4895" fmla="*/ 272891 h 514350"/>
                <a:gd name="connsiteX4896" fmla="*/ 3554254 w 6400800"/>
                <a:gd name="connsiteY4896" fmla="*/ 260509 h 514350"/>
                <a:gd name="connsiteX4897" fmla="*/ 3556159 w 6400800"/>
                <a:gd name="connsiteY4897" fmla="*/ 257651 h 514350"/>
                <a:gd name="connsiteX4898" fmla="*/ 3566636 w 6400800"/>
                <a:gd name="connsiteY4898" fmla="*/ 243364 h 514350"/>
                <a:gd name="connsiteX4899" fmla="*/ 3567589 w 6400800"/>
                <a:gd name="connsiteY4899" fmla="*/ 250031 h 514350"/>
                <a:gd name="connsiteX4900" fmla="*/ 3561874 w 6400800"/>
                <a:gd name="connsiteY4900" fmla="*/ 229076 h 514350"/>
                <a:gd name="connsiteX4901" fmla="*/ 3562826 w 6400800"/>
                <a:gd name="connsiteY4901" fmla="*/ 227171 h 514350"/>
                <a:gd name="connsiteX4902" fmla="*/ 3564731 w 6400800"/>
                <a:gd name="connsiteY4902" fmla="*/ 235744 h 514350"/>
                <a:gd name="connsiteX4903" fmla="*/ 3565684 w 6400800"/>
                <a:gd name="connsiteY4903" fmla="*/ 238601 h 514350"/>
                <a:gd name="connsiteX4904" fmla="*/ 3552349 w 6400800"/>
                <a:gd name="connsiteY4904" fmla="*/ 251936 h 514350"/>
                <a:gd name="connsiteX4905" fmla="*/ 3551396 w 6400800"/>
                <a:gd name="connsiteY4905" fmla="*/ 247174 h 514350"/>
                <a:gd name="connsiteX4906" fmla="*/ 3561874 w 6400800"/>
                <a:gd name="connsiteY4906" fmla="*/ 229076 h 514350"/>
                <a:gd name="connsiteX4907" fmla="*/ 3551396 w 6400800"/>
                <a:gd name="connsiteY4907" fmla="*/ 293846 h 514350"/>
                <a:gd name="connsiteX4908" fmla="*/ 3554254 w 6400800"/>
                <a:gd name="connsiteY4908" fmla="*/ 307181 h 514350"/>
                <a:gd name="connsiteX4909" fmla="*/ 3550444 w 6400800"/>
                <a:gd name="connsiteY4909" fmla="*/ 321469 h 514350"/>
                <a:gd name="connsiteX4910" fmla="*/ 3547586 w 6400800"/>
                <a:gd name="connsiteY4910" fmla="*/ 333851 h 514350"/>
                <a:gd name="connsiteX4911" fmla="*/ 3546634 w 6400800"/>
                <a:gd name="connsiteY4911" fmla="*/ 331946 h 514350"/>
                <a:gd name="connsiteX4912" fmla="*/ 3543776 w 6400800"/>
                <a:gd name="connsiteY4912" fmla="*/ 327184 h 514350"/>
                <a:gd name="connsiteX4913" fmla="*/ 3544729 w 6400800"/>
                <a:gd name="connsiteY4913" fmla="*/ 306229 h 514350"/>
                <a:gd name="connsiteX4914" fmla="*/ 3547586 w 6400800"/>
                <a:gd name="connsiteY4914" fmla="*/ 286226 h 514350"/>
                <a:gd name="connsiteX4915" fmla="*/ 3548539 w 6400800"/>
                <a:gd name="connsiteY4915" fmla="*/ 276701 h 514350"/>
                <a:gd name="connsiteX4916" fmla="*/ 3551396 w 6400800"/>
                <a:gd name="connsiteY4916" fmla="*/ 293846 h 514350"/>
                <a:gd name="connsiteX4917" fmla="*/ 3543776 w 6400800"/>
                <a:gd name="connsiteY4917" fmla="*/ 191929 h 514350"/>
                <a:gd name="connsiteX4918" fmla="*/ 3549491 w 6400800"/>
                <a:gd name="connsiteY4918" fmla="*/ 180499 h 514350"/>
                <a:gd name="connsiteX4919" fmla="*/ 3548539 w 6400800"/>
                <a:gd name="connsiteY4919" fmla="*/ 185261 h 514350"/>
                <a:gd name="connsiteX4920" fmla="*/ 3544729 w 6400800"/>
                <a:gd name="connsiteY4920" fmla="*/ 211931 h 514350"/>
                <a:gd name="connsiteX4921" fmla="*/ 3543776 w 6400800"/>
                <a:gd name="connsiteY4921" fmla="*/ 217646 h 514350"/>
                <a:gd name="connsiteX4922" fmla="*/ 3539014 w 6400800"/>
                <a:gd name="connsiteY4922" fmla="*/ 200501 h 514350"/>
                <a:gd name="connsiteX4923" fmla="*/ 3543776 w 6400800"/>
                <a:gd name="connsiteY4923" fmla="*/ 191929 h 514350"/>
                <a:gd name="connsiteX4924" fmla="*/ 3530441 w 6400800"/>
                <a:gd name="connsiteY4924" fmla="*/ 217646 h 514350"/>
                <a:gd name="connsiteX4925" fmla="*/ 3539014 w 6400800"/>
                <a:gd name="connsiteY4925" fmla="*/ 201454 h 514350"/>
                <a:gd name="connsiteX4926" fmla="*/ 3540919 w 6400800"/>
                <a:gd name="connsiteY4926" fmla="*/ 217646 h 514350"/>
                <a:gd name="connsiteX4927" fmla="*/ 3542824 w 6400800"/>
                <a:gd name="connsiteY4927" fmla="*/ 231934 h 514350"/>
                <a:gd name="connsiteX4928" fmla="*/ 3540919 w 6400800"/>
                <a:gd name="connsiteY4928" fmla="*/ 240506 h 514350"/>
                <a:gd name="connsiteX4929" fmla="*/ 3528536 w 6400800"/>
                <a:gd name="connsiteY4929" fmla="*/ 259556 h 514350"/>
                <a:gd name="connsiteX4930" fmla="*/ 3528536 w 6400800"/>
                <a:gd name="connsiteY4930" fmla="*/ 257651 h 514350"/>
                <a:gd name="connsiteX4931" fmla="*/ 3527584 w 6400800"/>
                <a:gd name="connsiteY4931" fmla="*/ 240506 h 514350"/>
                <a:gd name="connsiteX4932" fmla="*/ 3526631 w 6400800"/>
                <a:gd name="connsiteY4932" fmla="*/ 229076 h 514350"/>
                <a:gd name="connsiteX4933" fmla="*/ 3530441 w 6400800"/>
                <a:gd name="connsiteY4933" fmla="*/ 217646 h 514350"/>
                <a:gd name="connsiteX4934" fmla="*/ 3490436 w 6400800"/>
                <a:gd name="connsiteY4934" fmla="*/ 321469 h 514350"/>
                <a:gd name="connsiteX4935" fmla="*/ 3490436 w 6400800"/>
                <a:gd name="connsiteY4935" fmla="*/ 317659 h 514350"/>
                <a:gd name="connsiteX4936" fmla="*/ 3491389 w 6400800"/>
                <a:gd name="connsiteY4936" fmla="*/ 319564 h 514350"/>
                <a:gd name="connsiteX4937" fmla="*/ 3490436 w 6400800"/>
                <a:gd name="connsiteY4937" fmla="*/ 321469 h 514350"/>
                <a:gd name="connsiteX4938" fmla="*/ 3514249 w 6400800"/>
                <a:gd name="connsiteY4938" fmla="*/ 250984 h 514350"/>
                <a:gd name="connsiteX4939" fmla="*/ 3516154 w 6400800"/>
                <a:gd name="connsiteY4939" fmla="*/ 246221 h 514350"/>
                <a:gd name="connsiteX4940" fmla="*/ 3515201 w 6400800"/>
                <a:gd name="connsiteY4940" fmla="*/ 257651 h 514350"/>
                <a:gd name="connsiteX4941" fmla="*/ 3514249 w 6400800"/>
                <a:gd name="connsiteY4941" fmla="*/ 270986 h 514350"/>
                <a:gd name="connsiteX4942" fmla="*/ 3509486 w 6400800"/>
                <a:gd name="connsiteY4942" fmla="*/ 259556 h 514350"/>
                <a:gd name="connsiteX4943" fmla="*/ 3514249 w 6400800"/>
                <a:gd name="connsiteY4943" fmla="*/ 250984 h 514350"/>
                <a:gd name="connsiteX4944" fmla="*/ 3504724 w 6400800"/>
                <a:gd name="connsiteY4944" fmla="*/ 271939 h 514350"/>
                <a:gd name="connsiteX4945" fmla="*/ 3505676 w 6400800"/>
                <a:gd name="connsiteY4945" fmla="*/ 274796 h 514350"/>
                <a:gd name="connsiteX4946" fmla="*/ 3509486 w 6400800"/>
                <a:gd name="connsiteY4946" fmla="*/ 288131 h 514350"/>
                <a:gd name="connsiteX4947" fmla="*/ 3505676 w 6400800"/>
                <a:gd name="connsiteY4947" fmla="*/ 293846 h 514350"/>
                <a:gd name="connsiteX4948" fmla="*/ 3504724 w 6400800"/>
                <a:gd name="connsiteY4948" fmla="*/ 282416 h 514350"/>
                <a:gd name="connsiteX4949" fmla="*/ 3504724 w 6400800"/>
                <a:gd name="connsiteY4949" fmla="*/ 271939 h 514350"/>
                <a:gd name="connsiteX4950" fmla="*/ 3504724 w 6400800"/>
                <a:gd name="connsiteY4950" fmla="*/ 271939 h 514350"/>
                <a:gd name="connsiteX4951" fmla="*/ 3501866 w 6400800"/>
                <a:gd name="connsiteY4951" fmla="*/ 398621 h 514350"/>
                <a:gd name="connsiteX4952" fmla="*/ 3495199 w 6400800"/>
                <a:gd name="connsiteY4952" fmla="*/ 371951 h 514350"/>
                <a:gd name="connsiteX4953" fmla="*/ 3494246 w 6400800"/>
                <a:gd name="connsiteY4953" fmla="*/ 369094 h 514350"/>
                <a:gd name="connsiteX4954" fmla="*/ 3499961 w 6400800"/>
                <a:gd name="connsiteY4954" fmla="*/ 357664 h 514350"/>
                <a:gd name="connsiteX4955" fmla="*/ 3501866 w 6400800"/>
                <a:gd name="connsiteY4955" fmla="*/ 398621 h 514350"/>
                <a:gd name="connsiteX4956" fmla="*/ 3496151 w 6400800"/>
                <a:gd name="connsiteY4956" fmla="*/ 290036 h 514350"/>
                <a:gd name="connsiteX4957" fmla="*/ 3499009 w 6400800"/>
                <a:gd name="connsiteY4957" fmla="*/ 284321 h 514350"/>
                <a:gd name="connsiteX4958" fmla="*/ 3499009 w 6400800"/>
                <a:gd name="connsiteY4958" fmla="*/ 295751 h 514350"/>
                <a:gd name="connsiteX4959" fmla="*/ 3496151 w 6400800"/>
                <a:gd name="connsiteY4959" fmla="*/ 290036 h 514350"/>
                <a:gd name="connsiteX4960" fmla="*/ 3496151 w 6400800"/>
                <a:gd name="connsiteY4960" fmla="*/ 252889 h 514350"/>
                <a:gd name="connsiteX4961" fmla="*/ 3496151 w 6400800"/>
                <a:gd name="connsiteY4961" fmla="*/ 247174 h 514350"/>
                <a:gd name="connsiteX4962" fmla="*/ 3499009 w 6400800"/>
                <a:gd name="connsiteY4962" fmla="*/ 254794 h 514350"/>
                <a:gd name="connsiteX4963" fmla="*/ 3495199 w 6400800"/>
                <a:gd name="connsiteY4963" fmla="*/ 261461 h 514350"/>
                <a:gd name="connsiteX4964" fmla="*/ 3496151 w 6400800"/>
                <a:gd name="connsiteY4964" fmla="*/ 252889 h 514350"/>
                <a:gd name="connsiteX4965" fmla="*/ 3481864 w 6400800"/>
                <a:gd name="connsiteY4965" fmla="*/ 205264 h 514350"/>
                <a:gd name="connsiteX4966" fmla="*/ 3491389 w 6400800"/>
                <a:gd name="connsiteY4966" fmla="*/ 230029 h 514350"/>
                <a:gd name="connsiteX4967" fmla="*/ 3495199 w 6400800"/>
                <a:gd name="connsiteY4967" fmla="*/ 243364 h 514350"/>
                <a:gd name="connsiteX4968" fmla="*/ 3492341 w 6400800"/>
                <a:gd name="connsiteY4968" fmla="*/ 251936 h 514350"/>
                <a:gd name="connsiteX4969" fmla="*/ 3487579 w 6400800"/>
                <a:gd name="connsiteY4969" fmla="*/ 268129 h 514350"/>
                <a:gd name="connsiteX4970" fmla="*/ 3486626 w 6400800"/>
                <a:gd name="connsiteY4970" fmla="*/ 270034 h 514350"/>
                <a:gd name="connsiteX4971" fmla="*/ 3479959 w 6400800"/>
                <a:gd name="connsiteY4971" fmla="*/ 255746 h 514350"/>
                <a:gd name="connsiteX4972" fmla="*/ 3479959 w 6400800"/>
                <a:gd name="connsiteY4972" fmla="*/ 228124 h 514350"/>
                <a:gd name="connsiteX4973" fmla="*/ 3479959 w 6400800"/>
                <a:gd name="connsiteY4973" fmla="*/ 213836 h 514350"/>
                <a:gd name="connsiteX4974" fmla="*/ 3481864 w 6400800"/>
                <a:gd name="connsiteY4974" fmla="*/ 205264 h 514350"/>
                <a:gd name="connsiteX4975" fmla="*/ 3473291 w 6400800"/>
                <a:gd name="connsiteY4975" fmla="*/ 241459 h 514350"/>
                <a:gd name="connsiteX4976" fmla="*/ 3475196 w 6400800"/>
                <a:gd name="connsiteY4976" fmla="*/ 234791 h 514350"/>
                <a:gd name="connsiteX4977" fmla="*/ 3473291 w 6400800"/>
                <a:gd name="connsiteY4977" fmla="*/ 241459 h 514350"/>
                <a:gd name="connsiteX4978" fmla="*/ 3473291 w 6400800"/>
                <a:gd name="connsiteY4978" fmla="*/ 241459 h 514350"/>
                <a:gd name="connsiteX4979" fmla="*/ 3473291 w 6400800"/>
                <a:gd name="connsiteY4979" fmla="*/ 241459 h 514350"/>
                <a:gd name="connsiteX4980" fmla="*/ 3468529 w 6400800"/>
                <a:gd name="connsiteY4980" fmla="*/ 260509 h 514350"/>
                <a:gd name="connsiteX4981" fmla="*/ 3469481 w 6400800"/>
                <a:gd name="connsiteY4981" fmla="*/ 263366 h 514350"/>
                <a:gd name="connsiteX4982" fmla="*/ 3468529 w 6400800"/>
                <a:gd name="connsiteY4982" fmla="*/ 270986 h 514350"/>
                <a:gd name="connsiteX4983" fmla="*/ 3465671 w 6400800"/>
                <a:gd name="connsiteY4983" fmla="*/ 300514 h 514350"/>
                <a:gd name="connsiteX4984" fmla="*/ 3464719 w 6400800"/>
                <a:gd name="connsiteY4984" fmla="*/ 318611 h 514350"/>
                <a:gd name="connsiteX4985" fmla="*/ 3463766 w 6400800"/>
                <a:gd name="connsiteY4985" fmla="*/ 321469 h 514350"/>
                <a:gd name="connsiteX4986" fmla="*/ 3459956 w 6400800"/>
                <a:gd name="connsiteY4986" fmla="*/ 307181 h 514350"/>
                <a:gd name="connsiteX4987" fmla="*/ 3459956 w 6400800"/>
                <a:gd name="connsiteY4987" fmla="*/ 306229 h 514350"/>
                <a:gd name="connsiteX4988" fmla="*/ 3460909 w 6400800"/>
                <a:gd name="connsiteY4988" fmla="*/ 300514 h 514350"/>
                <a:gd name="connsiteX4989" fmla="*/ 3468529 w 6400800"/>
                <a:gd name="connsiteY4989" fmla="*/ 260509 h 514350"/>
                <a:gd name="connsiteX4990" fmla="*/ 3451384 w 6400800"/>
                <a:gd name="connsiteY4990" fmla="*/ 237649 h 514350"/>
                <a:gd name="connsiteX4991" fmla="*/ 3451384 w 6400800"/>
                <a:gd name="connsiteY4991" fmla="*/ 221456 h 514350"/>
                <a:gd name="connsiteX4992" fmla="*/ 3451384 w 6400800"/>
                <a:gd name="connsiteY4992" fmla="*/ 222409 h 514350"/>
                <a:gd name="connsiteX4993" fmla="*/ 3458051 w 6400800"/>
                <a:gd name="connsiteY4993" fmla="*/ 237649 h 514350"/>
                <a:gd name="connsiteX4994" fmla="*/ 3458051 w 6400800"/>
                <a:gd name="connsiteY4994" fmla="*/ 238601 h 514350"/>
                <a:gd name="connsiteX4995" fmla="*/ 3450431 w 6400800"/>
                <a:gd name="connsiteY4995" fmla="*/ 267176 h 514350"/>
                <a:gd name="connsiteX4996" fmla="*/ 3450431 w 6400800"/>
                <a:gd name="connsiteY4996" fmla="*/ 267176 h 514350"/>
                <a:gd name="connsiteX4997" fmla="*/ 3451384 w 6400800"/>
                <a:gd name="connsiteY4997" fmla="*/ 237649 h 514350"/>
                <a:gd name="connsiteX4998" fmla="*/ 3405664 w 6400800"/>
                <a:gd name="connsiteY4998" fmla="*/ 273844 h 514350"/>
                <a:gd name="connsiteX4999" fmla="*/ 3406616 w 6400800"/>
                <a:gd name="connsiteY4999" fmla="*/ 258604 h 514350"/>
                <a:gd name="connsiteX5000" fmla="*/ 3406616 w 6400800"/>
                <a:gd name="connsiteY5000" fmla="*/ 245269 h 514350"/>
                <a:gd name="connsiteX5001" fmla="*/ 3409474 w 6400800"/>
                <a:gd name="connsiteY5001" fmla="*/ 259556 h 514350"/>
                <a:gd name="connsiteX5002" fmla="*/ 3405664 w 6400800"/>
                <a:gd name="connsiteY5002" fmla="*/ 273844 h 514350"/>
                <a:gd name="connsiteX5003" fmla="*/ 3416141 w 6400800"/>
                <a:gd name="connsiteY5003" fmla="*/ 335756 h 514350"/>
                <a:gd name="connsiteX5004" fmla="*/ 3416141 w 6400800"/>
                <a:gd name="connsiteY5004" fmla="*/ 353854 h 514350"/>
                <a:gd name="connsiteX5005" fmla="*/ 3415189 w 6400800"/>
                <a:gd name="connsiteY5005" fmla="*/ 348139 h 514350"/>
                <a:gd name="connsiteX5006" fmla="*/ 3413284 w 6400800"/>
                <a:gd name="connsiteY5006" fmla="*/ 328136 h 514350"/>
                <a:gd name="connsiteX5007" fmla="*/ 3413284 w 6400800"/>
                <a:gd name="connsiteY5007" fmla="*/ 328136 h 514350"/>
                <a:gd name="connsiteX5008" fmla="*/ 3417094 w 6400800"/>
                <a:gd name="connsiteY5008" fmla="*/ 320516 h 514350"/>
                <a:gd name="connsiteX5009" fmla="*/ 3416141 w 6400800"/>
                <a:gd name="connsiteY5009" fmla="*/ 335756 h 514350"/>
                <a:gd name="connsiteX5010" fmla="*/ 3421856 w 6400800"/>
                <a:gd name="connsiteY5010" fmla="*/ 320516 h 514350"/>
                <a:gd name="connsiteX5011" fmla="*/ 3419951 w 6400800"/>
                <a:gd name="connsiteY5011" fmla="*/ 332899 h 514350"/>
                <a:gd name="connsiteX5012" fmla="*/ 3418046 w 6400800"/>
                <a:gd name="connsiteY5012" fmla="*/ 316706 h 514350"/>
                <a:gd name="connsiteX5013" fmla="*/ 3420904 w 6400800"/>
                <a:gd name="connsiteY5013" fmla="*/ 310991 h 514350"/>
                <a:gd name="connsiteX5014" fmla="*/ 3421856 w 6400800"/>
                <a:gd name="connsiteY5014" fmla="*/ 308134 h 514350"/>
                <a:gd name="connsiteX5015" fmla="*/ 3422809 w 6400800"/>
                <a:gd name="connsiteY5015" fmla="*/ 312896 h 514350"/>
                <a:gd name="connsiteX5016" fmla="*/ 3421856 w 6400800"/>
                <a:gd name="connsiteY5016" fmla="*/ 320516 h 514350"/>
                <a:gd name="connsiteX5017" fmla="*/ 3410426 w 6400800"/>
                <a:gd name="connsiteY5017" fmla="*/ 139541 h 514350"/>
                <a:gd name="connsiteX5018" fmla="*/ 3421856 w 6400800"/>
                <a:gd name="connsiteY5018" fmla="*/ 161449 h 514350"/>
                <a:gd name="connsiteX5019" fmla="*/ 3433286 w 6400800"/>
                <a:gd name="connsiteY5019" fmla="*/ 181451 h 514350"/>
                <a:gd name="connsiteX5020" fmla="*/ 3428524 w 6400800"/>
                <a:gd name="connsiteY5020" fmla="*/ 198596 h 514350"/>
                <a:gd name="connsiteX5021" fmla="*/ 3425666 w 6400800"/>
                <a:gd name="connsiteY5021" fmla="*/ 210026 h 514350"/>
                <a:gd name="connsiteX5022" fmla="*/ 3422809 w 6400800"/>
                <a:gd name="connsiteY5022" fmla="*/ 195739 h 514350"/>
                <a:gd name="connsiteX5023" fmla="*/ 3415189 w 6400800"/>
                <a:gd name="connsiteY5023" fmla="*/ 163354 h 514350"/>
                <a:gd name="connsiteX5024" fmla="*/ 3410426 w 6400800"/>
                <a:gd name="connsiteY5024" fmla="*/ 143351 h 514350"/>
                <a:gd name="connsiteX5025" fmla="*/ 3410426 w 6400800"/>
                <a:gd name="connsiteY5025" fmla="*/ 139541 h 514350"/>
                <a:gd name="connsiteX5026" fmla="*/ 3408521 w 6400800"/>
                <a:gd name="connsiteY5026" fmla="*/ 136684 h 514350"/>
                <a:gd name="connsiteX5027" fmla="*/ 3408521 w 6400800"/>
                <a:gd name="connsiteY5027" fmla="*/ 136684 h 514350"/>
                <a:gd name="connsiteX5028" fmla="*/ 3408521 w 6400800"/>
                <a:gd name="connsiteY5028" fmla="*/ 136684 h 514350"/>
                <a:gd name="connsiteX5029" fmla="*/ 3408521 w 6400800"/>
                <a:gd name="connsiteY5029" fmla="*/ 136684 h 514350"/>
                <a:gd name="connsiteX5030" fmla="*/ 3395186 w 6400800"/>
                <a:gd name="connsiteY5030" fmla="*/ 266224 h 514350"/>
                <a:gd name="connsiteX5031" fmla="*/ 3396139 w 6400800"/>
                <a:gd name="connsiteY5031" fmla="*/ 227171 h 514350"/>
                <a:gd name="connsiteX5032" fmla="*/ 3396139 w 6400800"/>
                <a:gd name="connsiteY5032" fmla="*/ 212884 h 514350"/>
                <a:gd name="connsiteX5033" fmla="*/ 3398996 w 6400800"/>
                <a:gd name="connsiteY5033" fmla="*/ 204311 h 514350"/>
                <a:gd name="connsiteX5034" fmla="*/ 3396139 w 6400800"/>
                <a:gd name="connsiteY5034" fmla="*/ 210026 h 514350"/>
                <a:gd name="connsiteX5035" fmla="*/ 3396139 w 6400800"/>
                <a:gd name="connsiteY5035" fmla="*/ 202406 h 514350"/>
                <a:gd name="connsiteX5036" fmla="*/ 3398044 w 6400800"/>
                <a:gd name="connsiteY5036" fmla="*/ 194786 h 514350"/>
                <a:gd name="connsiteX5037" fmla="*/ 3408521 w 6400800"/>
                <a:gd name="connsiteY5037" fmla="*/ 145256 h 514350"/>
                <a:gd name="connsiteX5038" fmla="*/ 3410426 w 6400800"/>
                <a:gd name="connsiteY5038" fmla="*/ 162401 h 514350"/>
                <a:gd name="connsiteX5039" fmla="*/ 3414236 w 6400800"/>
                <a:gd name="connsiteY5039" fmla="*/ 195739 h 514350"/>
                <a:gd name="connsiteX5040" fmla="*/ 3417094 w 6400800"/>
                <a:gd name="connsiteY5040" fmla="*/ 215741 h 514350"/>
                <a:gd name="connsiteX5041" fmla="*/ 3419951 w 6400800"/>
                <a:gd name="connsiteY5041" fmla="*/ 229076 h 514350"/>
                <a:gd name="connsiteX5042" fmla="*/ 3418046 w 6400800"/>
                <a:gd name="connsiteY5042" fmla="*/ 233839 h 514350"/>
                <a:gd name="connsiteX5043" fmla="*/ 3411379 w 6400800"/>
                <a:gd name="connsiteY5043" fmla="*/ 253841 h 514350"/>
                <a:gd name="connsiteX5044" fmla="*/ 3407569 w 6400800"/>
                <a:gd name="connsiteY5044" fmla="*/ 244316 h 514350"/>
                <a:gd name="connsiteX5045" fmla="*/ 3407569 w 6400800"/>
                <a:gd name="connsiteY5045" fmla="*/ 239554 h 514350"/>
                <a:gd name="connsiteX5046" fmla="*/ 3407569 w 6400800"/>
                <a:gd name="connsiteY5046" fmla="*/ 224314 h 514350"/>
                <a:gd name="connsiteX5047" fmla="*/ 3403759 w 6400800"/>
                <a:gd name="connsiteY5047" fmla="*/ 239554 h 514350"/>
                <a:gd name="connsiteX5048" fmla="*/ 3399949 w 6400800"/>
                <a:gd name="connsiteY5048" fmla="*/ 256699 h 514350"/>
                <a:gd name="connsiteX5049" fmla="*/ 3395186 w 6400800"/>
                <a:gd name="connsiteY5049" fmla="*/ 275749 h 514350"/>
                <a:gd name="connsiteX5050" fmla="*/ 3395186 w 6400800"/>
                <a:gd name="connsiteY5050" fmla="*/ 266224 h 514350"/>
                <a:gd name="connsiteX5051" fmla="*/ 3363754 w 6400800"/>
                <a:gd name="connsiteY5051" fmla="*/ 252889 h 514350"/>
                <a:gd name="connsiteX5052" fmla="*/ 3365659 w 6400800"/>
                <a:gd name="connsiteY5052" fmla="*/ 264319 h 514350"/>
                <a:gd name="connsiteX5053" fmla="*/ 3363754 w 6400800"/>
                <a:gd name="connsiteY5053" fmla="*/ 269081 h 514350"/>
                <a:gd name="connsiteX5054" fmla="*/ 3363754 w 6400800"/>
                <a:gd name="connsiteY5054" fmla="*/ 252889 h 514350"/>
                <a:gd name="connsiteX5055" fmla="*/ 3321844 w 6400800"/>
                <a:gd name="connsiteY5055" fmla="*/ 351949 h 514350"/>
                <a:gd name="connsiteX5056" fmla="*/ 3322796 w 6400800"/>
                <a:gd name="connsiteY5056" fmla="*/ 342424 h 514350"/>
                <a:gd name="connsiteX5057" fmla="*/ 3323749 w 6400800"/>
                <a:gd name="connsiteY5057" fmla="*/ 347186 h 514350"/>
                <a:gd name="connsiteX5058" fmla="*/ 3321844 w 6400800"/>
                <a:gd name="connsiteY5058" fmla="*/ 351949 h 514350"/>
                <a:gd name="connsiteX5059" fmla="*/ 3340894 w 6400800"/>
                <a:gd name="connsiteY5059" fmla="*/ 273844 h 514350"/>
                <a:gd name="connsiteX5060" fmla="*/ 3347561 w 6400800"/>
                <a:gd name="connsiteY5060" fmla="*/ 298609 h 514350"/>
                <a:gd name="connsiteX5061" fmla="*/ 3344704 w 6400800"/>
                <a:gd name="connsiteY5061" fmla="*/ 304324 h 514350"/>
                <a:gd name="connsiteX5062" fmla="*/ 3338989 w 6400800"/>
                <a:gd name="connsiteY5062" fmla="*/ 290989 h 514350"/>
                <a:gd name="connsiteX5063" fmla="*/ 3335179 w 6400800"/>
                <a:gd name="connsiteY5063" fmla="*/ 251936 h 514350"/>
                <a:gd name="connsiteX5064" fmla="*/ 3340894 w 6400800"/>
                <a:gd name="connsiteY5064" fmla="*/ 273844 h 514350"/>
                <a:gd name="connsiteX5065" fmla="*/ 3330416 w 6400800"/>
                <a:gd name="connsiteY5065" fmla="*/ 376714 h 514350"/>
                <a:gd name="connsiteX5066" fmla="*/ 3331369 w 6400800"/>
                <a:gd name="connsiteY5066" fmla="*/ 379571 h 514350"/>
                <a:gd name="connsiteX5067" fmla="*/ 3329464 w 6400800"/>
                <a:gd name="connsiteY5067" fmla="*/ 384334 h 514350"/>
                <a:gd name="connsiteX5068" fmla="*/ 3328511 w 6400800"/>
                <a:gd name="connsiteY5068" fmla="*/ 381476 h 514350"/>
                <a:gd name="connsiteX5069" fmla="*/ 3330416 w 6400800"/>
                <a:gd name="connsiteY5069" fmla="*/ 376714 h 514350"/>
                <a:gd name="connsiteX5070" fmla="*/ 3329464 w 6400800"/>
                <a:gd name="connsiteY5070" fmla="*/ 202406 h 514350"/>
                <a:gd name="connsiteX5071" fmla="*/ 3329464 w 6400800"/>
                <a:gd name="connsiteY5071" fmla="*/ 207169 h 514350"/>
                <a:gd name="connsiteX5072" fmla="*/ 3328511 w 6400800"/>
                <a:gd name="connsiteY5072" fmla="*/ 205264 h 514350"/>
                <a:gd name="connsiteX5073" fmla="*/ 3329464 w 6400800"/>
                <a:gd name="connsiteY5073" fmla="*/ 202406 h 514350"/>
                <a:gd name="connsiteX5074" fmla="*/ 3326606 w 6400800"/>
                <a:gd name="connsiteY5074" fmla="*/ 302419 h 514350"/>
                <a:gd name="connsiteX5075" fmla="*/ 3329464 w 6400800"/>
                <a:gd name="connsiteY5075" fmla="*/ 310039 h 514350"/>
                <a:gd name="connsiteX5076" fmla="*/ 3329464 w 6400800"/>
                <a:gd name="connsiteY5076" fmla="*/ 311944 h 514350"/>
                <a:gd name="connsiteX5077" fmla="*/ 3326606 w 6400800"/>
                <a:gd name="connsiteY5077" fmla="*/ 306229 h 514350"/>
                <a:gd name="connsiteX5078" fmla="*/ 3326606 w 6400800"/>
                <a:gd name="connsiteY5078" fmla="*/ 302419 h 514350"/>
                <a:gd name="connsiteX5079" fmla="*/ 3323749 w 6400800"/>
                <a:gd name="connsiteY5079" fmla="*/ 227171 h 514350"/>
                <a:gd name="connsiteX5080" fmla="*/ 3325654 w 6400800"/>
                <a:gd name="connsiteY5080" fmla="*/ 219551 h 514350"/>
                <a:gd name="connsiteX5081" fmla="*/ 3325654 w 6400800"/>
                <a:gd name="connsiteY5081" fmla="*/ 221456 h 514350"/>
                <a:gd name="connsiteX5082" fmla="*/ 3318034 w 6400800"/>
                <a:gd name="connsiteY5082" fmla="*/ 256699 h 514350"/>
                <a:gd name="connsiteX5083" fmla="*/ 3317081 w 6400800"/>
                <a:gd name="connsiteY5083" fmla="*/ 255746 h 514350"/>
                <a:gd name="connsiteX5084" fmla="*/ 3323749 w 6400800"/>
                <a:gd name="connsiteY5084" fmla="*/ 227171 h 514350"/>
                <a:gd name="connsiteX5085" fmla="*/ 3315176 w 6400800"/>
                <a:gd name="connsiteY5085" fmla="*/ 269081 h 514350"/>
                <a:gd name="connsiteX5086" fmla="*/ 3316129 w 6400800"/>
                <a:gd name="connsiteY5086" fmla="*/ 270986 h 514350"/>
                <a:gd name="connsiteX5087" fmla="*/ 3314224 w 6400800"/>
                <a:gd name="connsiteY5087" fmla="*/ 282416 h 514350"/>
                <a:gd name="connsiteX5088" fmla="*/ 3313271 w 6400800"/>
                <a:gd name="connsiteY5088" fmla="*/ 280511 h 514350"/>
                <a:gd name="connsiteX5089" fmla="*/ 3315176 w 6400800"/>
                <a:gd name="connsiteY5089" fmla="*/ 269081 h 514350"/>
                <a:gd name="connsiteX5090" fmla="*/ 3305651 w 6400800"/>
                <a:gd name="connsiteY5090" fmla="*/ 310991 h 514350"/>
                <a:gd name="connsiteX5091" fmla="*/ 3308509 w 6400800"/>
                <a:gd name="connsiteY5091" fmla="*/ 298609 h 514350"/>
                <a:gd name="connsiteX5092" fmla="*/ 3310414 w 6400800"/>
                <a:gd name="connsiteY5092" fmla="*/ 302419 h 514350"/>
                <a:gd name="connsiteX5093" fmla="*/ 3307556 w 6400800"/>
                <a:gd name="connsiteY5093" fmla="*/ 320516 h 514350"/>
                <a:gd name="connsiteX5094" fmla="*/ 3304699 w 6400800"/>
                <a:gd name="connsiteY5094" fmla="*/ 313849 h 514350"/>
                <a:gd name="connsiteX5095" fmla="*/ 3305651 w 6400800"/>
                <a:gd name="connsiteY5095" fmla="*/ 310991 h 514350"/>
                <a:gd name="connsiteX5096" fmla="*/ 3302794 w 6400800"/>
                <a:gd name="connsiteY5096" fmla="*/ 327184 h 514350"/>
                <a:gd name="connsiteX5097" fmla="*/ 3304699 w 6400800"/>
                <a:gd name="connsiteY5097" fmla="*/ 335756 h 514350"/>
                <a:gd name="connsiteX5098" fmla="*/ 3300889 w 6400800"/>
                <a:gd name="connsiteY5098" fmla="*/ 349091 h 514350"/>
                <a:gd name="connsiteX5099" fmla="*/ 3298984 w 6400800"/>
                <a:gd name="connsiteY5099" fmla="*/ 355759 h 514350"/>
                <a:gd name="connsiteX5100" fmla="*/ 3297079 w 6400800"/>
                <a:gd name="connsiteY5100" fmla="*/ 351949 h 514350"/>
                <a:gd name="connsiteX5101" fmla="*/ 3302794 w 6400800"/>
                <a:gd name="connsiteY5101" fmla="*/ 327184 h 514350"/>
                <a:gd name="connsiteX5102" fmla="*/ 3279934 w 6400800"/>
                <a:gd name="connsiteY5102" fmla="*/ 297656 h 514350"/>
                <a:gd name="connsiteX5103" fmla="*/ 3280886 w 6400800"/>
                <a:gd name="connsiteY5103" fmla="*/ 289084 h 514350"/>
                <a:gd name="connsiteX5104" fmla="*/ 3283744 w 6400800"/>
                <a:gd name="connsiteY5104" fmla="*/ 263366 h 514350"/>
                <a:gd name="connsiteX5105" fmla="*/ 3284696 w 6400800"/>
                <a:gd name="connsiteY5105" fmla="*/ 252889 h 514350"/>
                <a:gd name="connsiteX5106" fmla="*/ 3293269 w 6400800"/>
                <a:gd name="connsiteY5106" fmla="*/ 270034 h 514350"/>
                <a:gd name="connsiteX5107" fmla="*/ 3291364 w 6400800"/>
                <a:gd name="connsiteY5107" fmla="*/ 277654 h 514350"/>
                <a:gd name="connsiteX5108" fmla="*/ 3290411 w 6400800"/>
                <a:gd name="connsiteY5108" fmla="*/ 283369 h 514350"/>
                <a:gd name="connsiteX5109" fmla="*/ 3289459 w 6400800"/>
                <a:gd name="connsiteY5109" fmla="*/ 264319 h 514350"/>
                <a:gd name="connsiteX5110" fmla="*/ 3281839 w 6400800"/>
                <a:gd name="connsiteY5110" fmla="*/ 317659 h 514350"/>
                <a:gd name="connsiteX5111" fmla="*/ 3280886 w 6400800"/>
                <a:gd name="connsiteY5111" fmla="*/ 317659 h 514350"/>
                <a:gd name="connsiteX5112" fmla="*/ 3280886 w 6400800"/>
                <a:gd name="connsiteY5112" fmla="*/ 316706 h 514350"/>
                <a:gd name="connsiteX5113" fmla="*/ 3279934 w 6400800"/>
                <a:gd name="connsiteY5113" fmla="*/ 315754 h 514350"/>
                <a:gd name="connsiteX5114" fmla="*/ 3278981 w 6400800"/>
                <a:gd name="connsiteY5114" fmla="*/ 313849 h 514350"/>
                <a:gd name="connsiteX5115" fmla="*/ 3279934 w 6400800"/>
                <a:gd name="connsiteY5115" fmla="*/ 297656 h 514350"/>
                <a:gd name="connsiteX5116" fmla="*/ 3263741 w 6400800"/>
                <a:gd name="connsiteY5116" fmla="*/ 295751 h 514350"/>
                <a:gd name="connsiteX5117" fmla="*/ 3263741 w 6400800"/>
                <a:gd name="connsiteY5117" fmla="*/ 293846 h 514350"/>
                <a:gd name="connsiteX5118" fmla="*/ 3263741 w 6400800"/>
                <a:gd name="connsiteY5118" fmla="*/ 295751 h 514350"/>
                <a:gd name="connsiteX5119" fmla="*/ 3264694 w 6400800"/>
                <a:gd name="connsiteY5119" fmla="*/ 296704 h 514350"/>
                <a:gd name="connsiteX5120" fmla="*/ 3262789 w 6400800"/>
                <a:gd name="connsiteY5120" fmla="*/ 306229 h 514350"/>
                <a:gd name="connsiteX5121" fmla="*/ 3263741 w 6400800"/>
                <a:gd name="connsiteY5121" fmla="*/ 295751 h 514350"/>
                <a:gd name="connsiteX5122" fmla="*/ 3232309 w 6400800"/>
                <a:gd name="connsiteY5122" fmla="*/ 381476 h 514350"/>
                <a:gd name="connsiteX5123" fmla="*/ 3232309 w 6400800"/>
                <a:gd name="connsiteY5123" fmla="*/ 357664 h 514350"/>
                <a:gd name="connsiteX5124" fmla="*/ 3232309 w 6400800"/>
                <a:gd name="connsiteY5124" fmla="*/ 358616 h 514350"/>
                <a:gd name="connsiteX5125" fmla="*/ 3233261 w 6400800"/>
                <a:gd name="connsiteY5125" fmla="*/ 360521 h 514350"/>
                <a:gd name="connsiteX5126" fmla="*/ 3232309 w 6400800"/>
                <a:gd name="connsiteY5126" fmla="*/ 381476 h 514350"/>
                <a:gd name="connsiteX5127" fmla="*/ 3239929 w 6400800"/>
                <a:gd name="connsiteY5127" fmla="*/ 327184 h 514350"/>
                <a:gd name="connsiteX5128" fmla="*/ 3241834 w 6400800"/>
                <a:gd name="connsiteY5128" fmla="*/ 339566 h 514350"/>
                <a:gd name="connsiteX5129" fmla="*/ 3239929 w 6400800"/>
                <a:gd name="connsiteY5129" fmla="*/ 333851 h 514350"/>
                <a:gd name="connsiteX5130" fmla="*/ 3239929 w 6400800"/>
                <a:gd name="connsiteY5130" fmla="*/ 329089 h 514350"/>
                <a:gd name="connsiteX5131" fmla="*/ 3239929 w 6400800"/>
                <a:gd name="connsiteY5131" fmla="*/ 327184 h 514350"/>
                <a:gd name="connsiteX5132" fmla="*/ 3234214 w 6400800"/>
                <a:gd name="connsiteY5132" fmla="*/ 318611 h 514350"/>
                <a:gd name="connsiteX5133" fmla="*/ 3237071 w 6400800"/>
                <a:gd name="connsiteY5133" fmla="*/ 310039 h 514350"/>
                <a:gd name="connsiteX5134" fmla="*/ 3238024 w 6400800"/>
                <a:gd name="connsiteY5134" fmla="*/ 314801 h 514350"/>
                <a:gd name="connsiteX5135" fmla="*/ 3238024 w 6400800"/>
                <a:gd name="connsiteY5135" fmla="*/ 316706 h 514350"/>
                <a:gd name="connsiteX5136" fmla="*/ 3237071 w 6400800"/>
                <a:gd name="connsiteY5136" fmla="*/ 317659 h 514350"/>
                <a:gd name="connsiteX5137" fmla="*/ 3237071 w 6400800"/>
                <a:gd name="connsiteY5137" fmla="*/ 311944 h 514350"/>
                <a:gd name="connsiteX5138" fmla="*/ 3236119 w 6400800"/>
                <a:gd name="connsiteY5138" fmla="*/ 319564 h 514350"/>
                <a:gd name="connsiteX5139" fmla="*/ 3234214 w 6400800"/>
                <a:gd name="connsiteY5139" fmla="*/ 322421 h 514350"/>
                <a:gd name="connsiteX5140" fmla="*/ 3233261 w 6400800"/>
                <a:gd name="connsiteY5140" fmla="*/ 319564 h 514350"/>
                <a:gd name="connsiteX5141" fmla="*/ 3234214 w 6400800"/>
                <a:gd name="connsiteY5141" fmla="*/ 318611 h 514350"/>
                <a:gd name="connsiteX5142" fmla="*/ 3233261 w 6400800"/>
                <a:gd name="connsiteY5142" fmla="*/ 286226 h 514350"/>
                <a:gd name="connsiteX5143" fmla="*/ 3233261 w 6400800"/>
                <a:gd name="connsiteY5143" fmla="*/ 288131 h 514350"/>
                <a:gd name="connsiteX5144" fmla="*/ 3232309 w 6400800"/>
                <a:gd name="connsiteY5144" fmla="*/ 290036 h 514350"/>
                <a:gd name="connsiteX5145" fmla="*/ 3232309 w 6400800"/>
                <a:gd name="connsiteY5145" fmla="*/ 282416 h 514350"/>
                <a:gd name="connsiteX5146" fmla="*/ 3233261 w 6400800"/>
                <a:gd name="connsiteY5146" fmla="*/ 286226 h 514350"/>
                <a:gd name="connsiteX5147" fmla="*/ 3222784 w 6400800"/>
                <a:gd name="connsiteY5147" fmla="*/ 285274 h 514350"/>
                <a:gd name="connsiteX5148" fmla="*/ 3223736 w 6400800"/>
                <a:gd name="connsiteY5148" fmla="*/ 273844 h 514350"/>
                <a:gd name="connsiteX5149" fmla="*/ 3224689 w 6400800"/>
                <a:gd name="connsiteY5149" fmla="*/ 270034 h 514350"/>
                <a:gd name="connsiteX5150" fmla="*/ 3224689 w 6400800"/>
                <a:gd name="connsiteY5150" fmla="*/ 270986 h 514350"/>
                <a:gd name="connsiteX5151" fmla="*/ 3227546 w 6400800"/>
                <a:gd name="connsiteY5151" fmla="*/ 253841 h 514350"/>
                <a:gd name="connsiteX5152" fmla="*/ 3227546 w 6400800"/>
                <a:gd name="connsiteY5152" fmla="*/ 253841 h 514350"/>
                <a:gd name="connsiteX5153" fmla="*/ 3223736 w 6400800"/>
                <a:gd name="connsiteY5153" fmla="*/ 292894 h 514350"/>
                <a:gd name="connsiteX5154" fmla="*/ 3222784 w 6400800"/>
                <a:gd name="connsiteY5154" fmla="*/ 291941 h 514350"/>
                <a:gd name="connsiteX5155" fmla="*/ 3222784 w 6400800"/>
                <a:gd name="connsiteY5155" fmla="*/ 290989 h 514350"/>
                <a:gd name="connsiteX5156" fmla="*/ 3222784 w 6400800"/>
                <a:gd name="connsiteY5156" fmla="*/ 285274 h 514350"/>
                <a:gd name="connsiteX5157" fmla="*/ 3217069 w 6400800"/>
                <a:gd name="connsiteY5157" fmla="*/ 207169 h 514350"/>
                <a:gd name="connsiteX5158" fmla="*/ 3219926 w 6400800"/>
                <a:gd name="connsiteY5158" fmla="*/ 219551 h 514350"/>
                <a:gd name="connsiteX5159" fmla="*/ 3215164 w 6400800"/>
                <a:gd name="connsiteY5159" fmla="*/ 238601 h 514350"/>
                <a:gd name="connsiteX5160" fmla="*/ 3217069 w 6400800"/>
                <a:gd name="connsiteY5160" fmla="*/ 207169 h 514350"/>
                <a:gd name="connsiteX5161" fmla="*/ 3191351 w 6400800"/>
                <a:gd name="connsiteY5161" fmla="*/ 249079 h 514350"/>
                <a:gd name="connsiteX5162" fmla="*/ 3192304 w 6400800"/>
                <a:gd name="connsiteY5162" fmla="*/ 232886 h 514350"/>
                <a:gd name="connsiteX5163" fmla="*/ 3194209 w 6400800"/>
                <a:gd name="connsiteY5163" fmla="*/ 238601 h 514350"/>
                <a:gd name="connsiteX5164" fmla="*/ 3191351 w 6400800"/>
                <a:gd name="connsiteY5164" fmla="*/ 265271 h 514350"/>
                <a:gd name="connsiteX5165" fmla="*/ 3191351 w 6400800"/>
                <a:gd name="connsiteY5165" fmla="*/ 249079 h 514350"/>
                <a:gd name="connsiteX5166" fmla="*/ 3155156 w 6400800"/>
                <a:gd name="connsiteY5166" fmla="*/ 313849 h 514350"/>
                <a:gd name="connsiteX5167" fmla="*/ 3156109 w 6400800"/>
                <a:gd name="connsiteY5167" fmla="*/ 320516 h 514350"/>
                <a:gd name="connsiteX5168" fmla="*/ 3158014 w 6400800"/>
                <a:gd name="connsiteY5168" fmla="*/ 334804 h 514350"/>
                <a:gd name="connsiteX5169" fmla="*/ 3154204 w 6400800"/>
                <a:gd name="connsiteY5169" fmla="*/ 354806 h 514350"/>
                <a:gd name="connsiteX5170" fmla="*/ 3152299 w 6400800"/>
                <a:gd name="connsiteY5170" fmla="*/ 351949 h 514350"/>
                <a:gd name="connsiteX5171" fmla="*/ 3152299 w 6400800"/>
                <a:gd name="connsiteY5171" fmla="*/ 350044 h 514350"/>
                <a:gd name="connsiteX5172" fmla="*/ 3151346 w 6400800"/>
                <a:gd name="connsiteY5172" fmla="*/ 345281 h 514350"/>
                <a:gd name="connsiteX5173" fmla="*/ 3151346 w 6400800"/>
                <a:gd name="connsiteY5173" fmla="*/ 344329 h 514350"/>
                <a:gd name="connsiteX5174" fmla="*/ 3151346 w 6400800"/>
                <a:gd name="connsiteY5174" fmla="*/ 338614 h 514350"/>
                <a:gd name="connsiteX5175" fmla="*/ 3155156 w 6400800"/>
                <a:gd name="connsiteY5175" fmla="*/ 313849 h 514350"/>
                <a:gd name="connsiteX5176" fmla="*/ 3139916 w 6400800"/>
                <a:gd name="connsiteY5176" fmla="*/ 213836 h 514350"/>
                <a:gd name="connsiteX5177" fmla="*/ 3143726 w 6400800"/>
                <a:gd name="connsiteY5177" fmla="*/ 235744 h 514350"/>
                <a:gd name="connsiteX5178" fmla="*/ 3148489 w 6400800"/>
                <a:gd name="connsiteY5178" fmla="*/ 267176 h 514350"/>
                <a:gd name="connsiteX5179" fmla="*/ 3143726 w 6400800"/>
                <a:gd name="connsiteY5179" fmla="*/ 284321 h 514350"/>
                <a:gd name="connsiteX5180" fmla="*/ 3137059 w 6400800"/>
                <a:gd name="connsiteY5180" fmla="*/ 216694 h 514350"/>
                <a:gd name="connsiteX5181" fmla="*/ 3139916 w 6400800"/>
                <a:gd name="connsiteY5181" fmla="*/ 213836 h 514350"/>
                <a:gd name="connsiteX5182" fmla="*/ 3130391 w 6400800"/>
                <a:gd name="connsiteY5182" fmla="*/ 337661 h 514350"/>
                <a:gd name="connsiteX5183" fmla="*/ 3130391 w 6400800"/>
                <a:gd name="connsiteY5183" fmla="*/ 335756 h 514350"/>
                <a:gd name="connsiteX5184" fmla="*/ 3130391 w 6400800"/>
                <a:gd name="connsiteY5184" fmla="*/ 335756 h 514350"/>
                <a:gd name="connsiteX5185" fmla="*/ 3130391 w 6400800"/>
                <a:gd name="connsiteY5185" fmla="*/ 337661 h 514350"/>
                <a:gd name="connsiteX5186" fmla="*/ 3130391 w 6400800"/>
                <a:gd name="connsiteY5186" fmla="*/ 328136 h 514350"/>
                <a:gd name="connsiteX5187" fmla="*/ 3130391 w 6400800"/>
                <a:gd name="connsiteY5187" fmla="*/ 328136 h 514350"/>
                <a:gd name="connsiteX5188" fmla="*/ 3130391 w 6400800"/>
                <a:gd name="connsiteY5188" fmla="*/ 328136 h 514350"/>
                <a:gd name="connsiteX5189" fmla="*/ 3130391 w 6400800"/>
                <a:gd name="connsiteY5189" fmla="*/ 328136 h 514350"/>
                <a:gd name="connsiteX5190" fmla="*/ 3133249 w 6400800"/>
                <a:gd name="connsiteY5190" fmla="*/ 276701 h 514350"/>
                <a:gd name="connsiteX5191" fmla="*/ 3133249 w 6400800"/>
                <a:gd name="connsiteY5191" fmla="*/ 276701 h 514350"/>
                <a:gd name="connsiteX5192" fmla="*/ 3128486 w 6400800"/>
                <a:gd name="connsiteY5192" fmla="*/ 259556 h 514350"/>
                <a:gd name="connsiteX5193" fmla="*/ 3127534 w 6400800"/>
                <a:gd name="connsiteY5193" fmla="*/ 246221 h 514350"/>
                <a:gd name="connsiteX5194" fmla="*/ 3135154 w 6400800"/>
                <a:gd name="connsiteY5194" fmla="*/ 223361 h 514350"/>
                <a:gd name="connsiteX5195" fmla="*/ 3133249 w 6400800"/>
                <a:gd name="connsiteY5195" fmla="*/ 276701 h 514350"/>
                <a:gd name="connsiteX5196" fmla="*/ 3130391 w 6400800"/>
                <a:gd name="connsiteY5196" fmla="*/ 229076 h 514350"/>
                <a:gd name="connsiteX5197" fmla="*/ 3136106 w 6400800"/>
                <a:gd name="connsiteY5197" fmla="*/ 219551 h 514350"/>
                <a:gd name="connsiteX5198" fmla="*/ 3136106 w 6400800"/>
                <a:gd name="connsiteY5198" fmla="*/ 221456 h 514350"/>
                <a:gd name="connsiteX5199" fmla="*/ 3127534 w 6400800"/>
                <a:gd name="connsiteY5199" fmla="*/ 236696 h 514350"/>
                <a:gd name="connsiteX5200" fmla="*/ 3127534 w 6400800"/>
                <a:gd name="connsiteY5200" fmla="*/ 234791 h 514350"/>
                <a:gd name="connsiteX5201" fmla="*/ 3130391 w 6400800"/>
                <a:gd name="connsiteY5201" fmla="*/ 229076 h 514350"/>
                <a:gd name="connsiteX5202" fmla="*/ 3114199 w 6400800"/>
                <a:gd name="connsiteY5202" fmla="*/ 290036 h 514350"/>
                <a:gd name="connsiteX5203" fmla="*/ 3113246 w 6400800"/>
                <a:gd name="connsiteY5203" fmla="*/ 287179 h 514350"/>
                <a:gd name="connsiteX5204" fmla="*/ 3113246 w 6400800"/>
                <a:gd name="connsiteY5204" fmla="*/ 286226 h 514350"/>
                <a:gd name="connsiteX5205" fmla="*/ 3115151 w 6400800"/>
                <a:gd name="connsiteY5205" fmla="*/ 281464 h 514350"/>
                <a:gd name="connsiteX5206" fmla="*/ 3114199 w 6400800"/>
                <a:gd name="connsiteY5206" fmla="*/ 290036 h 514350"/>
                <a:gd name="connsiteX5207" fmla="*/ 3115151 w 6400800"/>
                <a:gd name="connsiteY5207" fmla="*/ 257651 h 514350"/>
                <a:gd name="connsiteX5208" fmla="*/ 3116104 w 6400800"/>
                <a:gd name="connsiteY5208" fmla="*/ 255746 h 514350"/>
                <a:gd name="connsiteX5209" fmla="*/ 3115151 w 6400800"/>
                <a:gd name="connsiteY5209" fmla="*/ 257651 h 514350"/>
                <a:gd name="connsiteX5210" fmla="*/ 3109436 w 6400800"/>
                <a:gd name="connsiteY5210" fmla="*/ 270034 h 514350"/>
                <a:gd name="connsiteX5211" fmla="*/ 3115151 w 6400800"/>
                <a:gd name="connsiteY5211" fmla="*/ 257651 h 514350"/>
                <a:gd name="connsiteX5212" fmla="*/ 3110389 w 6400800"/>
                <a:gd name="connsiteY5212" fmla="*/ 292894 h 514350"/>
                <a:gd name="connsiteX5213" fmla="*/ 3113246 w 6400800"/>
                <a:gd name="connsiteY5213" fmla="*/ 309086 h 514350"/>
                <a:gd name="connsiteX5214" fmla="*/ 3114199 w 6400800"/>
                <a:gd name="connsiteY5214" fmla="*/ 311944 h 514350"/>
                <a:gd name="connsiteX5215" fmla="*/ 3114199 w 6400800"/>
                <a:gd name="connsiteY5215" fmla="*/ 321469 h 514350"/>
                <a:gd name="connsiteX5216" fmla="*/ 3114199 w 6400800"/>
                <a:gd name="connsiteY5216" fmla="*/ 319564 h 514350"/>
                <a:gd name="connsiteX5217" fmla="*/ 3110389 w 6400800"/>
                <a:gd name="connsiteY5217" fmla="*/ 309086 h 514350"/>
                <a:gd name="connsiteX5218" fmla="*/ 3109436 w 6400800"/>
                <a:gd name="connsiteY5218" fmla="*/ 300514 h 514350"/>
                <a:gd name="connsiteX5219" fmla="*/ 3109436 w 6400800"/>
                <a:gd name="connsiteY5219" fmla="*/ 299561 h 514350"/>
                <a:gd name="connsiteX5220" fmla="*/ 3110389 w 6400800"/>
                <a:gd name="connsiteY5220" fmla="*/ 292894 h 514350"/>
                <a:gd name="connsiteX5221" fmla="*/ 3098006 w 6400800"/>
                <a:gd name="connsiteY5221" fmla="*/ 350996 h 514350"/>
                <a:gd name="connsiteX5222" fmla="*/ 3098006 w 6400800"/>
                <a:gd name="connsiteY5222" fmla="*/ 350996 h 514350"/>
                <a:gd name="connsiteX5223" fmla="*/ 3098006 w 6400800"/>
                <a:gd name="connsiteY5223" fmla="*/ 353854 h 514350"/>
                <a:gd name="connsiteX5224" fmla="*/ 3097054 w 6400800"/>
                <a:gd name="connsiteY5224" fmla="*/ 354806 h 514350"/>
                <a:gd name="connsiteX5225" fmla="*/ 3098006 w 6400800"/>
                <a:gd name="connsiteY5225" fmla="*/ 350996 h 514350"/>
                <a:gd name="connsiteX5226" fmla="*/ 3093244 w 6400800"/>
                <a:gd name="connsiteY5226" fmla="*/ 377666 h 514350"/>
                <a:gd name="connsiteX5227" fmla="*/ 3097054 w 6400800"/>
                <a:gd name="connsiteY5227" fmla="*/ 370046 h 514350"/>
                <a:gd name="connsiteX5228" fmla="*/ 3094196 w 6400800"/>
                <a:gd name="connsiteY5228" fmla="*/ 373856 h 514350"/>
                <a:gd name="connsiteX5229" fmla="*/ 3097054 w 6400800"/>
                <a:gd name="connsiteY5229" fmla="*/ 355759 h 514350"/>
                <a:gd name="connsiteX5230" fmla="*/ 3098006 w 6400800"/>
                <a:gd name="connsiteY5230" fmla="*/ 353854 h 514350"/>
                <a:gd name="connsiteX5231" fmla="*/ 3098006 w 6400800"/>
                <a:gd name="connsiteY5231" fmla="*/ 371951 h 514350"/>
                <a:gd name="connsiteX5232" fmla="*/ 3098006 w 6400800"/>
                <a:gd name="connsiteY5232" fmla="*/ 383381 h 514350"/>
                <a:gd name="connsiteX5233" fmla="*/ 3095149 w 6400800"/>
                <a:gd name="connsiteY5233" fmla="*/ 383381 h 514350"/>
                <a:gd name="connsiteX5234" fmla="*/ 3095149 w 6400800"/>
                <a:gd name="connsiteY5234" fmla="*/ 383381 h 514350"/>
                <a:gd name="connsiteX5235" fmla="*/ 3093244 w 6400800"/>
                <a:gd name="connsiteY5235" fmla="*/ 378619 h 514350"/>
                <a:gd name="connsiteX5236" fmla="*/ 3093244 w 6400800"/>
                <a:gd name="connsiteY5236" fmla="*/ 377666 h 514350"/>
                <a:gd name="connsiteX5237" fmla="*/ 3084671 w 6400800"/>
                <a:gd name="connsiteY5237" fmla="*/ 293846 h 514350"/>
                <a:gd name="connsiteX5238" fmla="*/ 3085624 w 6400800"/>
                <a:gd name="connsiteY5238" fmla="*/ 276701 h 514350"/>
                <a:gd name="connsiteX5239" fmla="*/ 3085624 w 6400800"/>
                <a:gd name="connsiteY5239" fmla="*/ 278606 h 514350"/>
                <a:gd name="connsiteX5240" fmla="*/ 3088481 w 6400800"/>
                <a:gd name="connsiteY5240" fmla="*/ 289084 h 514350"/>
                <a:gd name="connsiteX5241" fmla="*/ 3086576 w 6400800"/>
                <a:gd name="connsiteY5241" fmla="*/ 291941 h 514350"/>
                <a:gd name="connsiteX5242" fmla="*/ 3084671 w 6400800"/>
                <a:gd name="connsiteY5242" fmla="*/ 296704 h 514350"/>
                <a:gd name="connsiteX5243" fmla="*/ 3084671 w 6400800"/>
                <a:gd name="connsiteY5243" fmla="*/ 293846 h 514350"/>
                <a:gd name="connsiteX5244" fmla="*/ 3086576 w 6400800"/>
                <a:gd name="connsiteY5244" fmla="*/ 348139 h 514350"/>
                <a:gd name="connsiteX5245" fmla="*/ 3086576 w 6400800"/>
                <a:gd name="connsiteY5245" fmla="*/ 350044 h 514350"/>
                <a:gd name="connsiteX5246" fmla="*/ 3083719 w 6400800"/>
                <a:gd name="connsiteY5246" fmla="*/ 361474 h 514350"/>
                <a:gd name="connsiteX5247" fmla="*/ 3083719 w 6400800"/>
                <a:gd name="connsiteY5247" fmla="*/ 357664 h 514350"/>
                <a:gd name="connsiteX5248" fmla="*/ 3086576 w 6400800"/>
                <a:gd name="connsiteY5248" fmla="*/ 348139 h 514350"/>
                <a:gd name="connsiteX5249" fmla="*/ 3057049 w 6400800"/>
                <a:gd name="connsiteY5249" fmla="*/ 235744 h 514350"/>
                <a:gd name="connsiteX5250" fmla="*/ 3059906 w 6400800"/>
                <a:gd name="connsiteY5250" fmla="*/ 210979 h 514350"/>
                <a:gd name="connsiteX5251" fmla="*/ 3062764 w 6400800"/>
                <a:gd name="connsiteY5251" fmla="*/ 191929 h 514350"/>
                <a:gd name="connsiteX5252" fmla="*/ 3067526 w 6400800"/>
                <a:gd name="connsiteY5252" fmla="*/ 209074 h 514350"/>
                <a:gd name="connsiteX5253" fmla="*/ 3066574 w 6400800"/>
                <a:gd name="connsiteY5253" fmla="*/ 222409 h 514350"/>
                <a:gd name="connsiteX5254" fmla="*/ 3063716 w 6400800"/>
                <a:gd name="connsiteY5254" fmla="*/ 253841 h 514350"/>
                <a:gd name="connsiteX5255" fmla="*/ 3059906 w 6400800"/>
                <a:gd name="connsiteY5255" fmla="*/ 268129 h 514350"/>
                <a:gd name="connsiteX5256" fmla="*/ 3057049 w 6400800"/>
                <a:gd name="connsiteY5256" fmla="*/ 252889 h 514350"/>
                <a:gd name="connsiteX5257" fmla="*/ 3056096 w 6400800"/>
                <a:gd name="connsiteY5257" fmla="*/ 248126 h 514350"/>
                <a:gd name="connsiteX5258" fmla="*/ 3057049 w 6400800"/>
                <a:gd name="connsiteY5258" fmla="*/ 235744 h 514350"/>
                <a:gd name="connsiteX5259" fmla="*/ 3002756 w 6400800"/>
                <a:gd name="connsiteY5259" fmla="*/ 307181 h 514350"/>
                <a:gd name="connsiteX5260" fmla="*/ 3001804 w 6400800"/>
                <a:gd name="connsiteY5260" fmla="*/ 310039 h 514350"/>
                <a:gd name="connsiteX5261" fmla="*/ 3002756 w 6400800"/>
                <a:gd name="connsiteY5261" fmla="*/ 305276 h 514350"/>
                <a:gd name="connsiteX5262" fmla="*/ 3006566 w 6400800"/>
                <a:gd name="connsiteY5262" fmla="*/ 286226 h 514350"/>
                <a:gd name="connsiteX5263" fmla="*/ 3008471 w 6400800"/>
                <a:gd name="connsiteY5263" fmla="*/ 290036 h 514350"/>
                <a:gd name="connsiteX5264" fmla="*/ 3002756 w 6400800"/>
                <a:gd name="connsiteY5264" fmla="*/ 307181 h 514350"/>
                <a:gd name="connsiteX5265" fmla="*/ 3036094 w 6400800"/>
                <a:gd name="connsiteY5265" fmla="*/ 249079 h 514350"/>
                <a:gd name="connsiteX5266" fmla="*/ 3036094 w 6400800"/>
                <a:gd name="connsiteY5266" fmla="*/ 266224 h 514350"/>
                <a:gd name="connsiteX5267" fmla="*/ 3033236 w 6400800"/>
                <a:gd name="connsiteY5267" fmla="*/ 258604 h 514350"/>
                <a:gd name="connsiteX5268" fmla="*/ 3036094 w 6400800"/>
                <a:gd name="connsiteY5268" fmla="*/ 249079 h 514350"/>
                <a:gd name="connsiteX5269" fmla="*/ 3030379 w 6400800"/>
                <a:gd name="connsiteY5269" fmla="*/ 269081 h 514350"/>
                <a:gd name="connsiteX5270" fmla="*/ 3030379 w 6400800"/>
                <a:gd name="connsiteY5270" fmla="*/ 269081 h 514350"/>
                <a:gd name="connsiteX5271" fmla="*/ 3030379 w 6400800"/>
                <a:gd name="connsiteY5271" fmla="*/ 269081 h 514350"/>
                <a:gd name="connsiteX5272" fmla="*/ 3030379 w 6400800"/>
                <a:gd name="connsiteY5272" fmla="*/ 269081 h 514350"/>
                <a:gd name="connsiteX5273" fmla="*/ 3027521 w 6400800"/>
                <a:gd name="connsiteY5273" fmla="*/ 353854 h 514350"/>
                <a:gd name="connsiteX5274" fmla="*/ 3023711 w 6400800"/>
                <a:gd name="connsiteY5274" fmla="*/ 364331 h 514350"/>
                <a:gd name="connsiteX5275" fmla="*/ 3017996 w 6400800"/>
                <a:gd name="connsiteY5275" fmla="*/ 383381 h 514350"/>
                <a:gd name="connsiteX5276" fmla="*/ 3017044 w 6400800"/>
                <a:gd name="connsiteY5276" fmla="*/ 385286 h 514350"/>
                <a:gd name="connsiteX5277" fmla="*/ 3015139 w 6400800"/>
                <a:gd name="connsiteY5277" fmla="*/ 376714 h 514350"/>
                <a:gd name="connsiteX5278" fmla="*/ 3020854 w 6400800"/>
                <a:gd name="connsiteY5278" fmla="*/ 366236 h 514350"/>
                <a:gd name="connsiteX5279" fmla="*/ 3028474 w 6400800"/>
                <a:gd name="connsiteY5279" fmla="*/ 352901 h 514350"/>
                <a:gd name="connsiteX5280" fmla="*/ 3027521 w 6400800"/>
                <a:gd name="connsiteY5280" fmla="*/ 353854 h 514350"/>
                <a:gd name="connsiteX5281" fmla="*/ 3021806 w 6400800"/>
                <a:gd name="connsiteY5281" fmla="*/ 230029 h 514350"/>
                <a:gd name="connsiteX5282" fmla="*/ 3024664 w 6400800"/>
                <a:gd name="connsiteY5282" fmla="*/ 241459 h 514350"/>
                <a:gd name="connsiteX5283" fmla="*/ 3024664 w 6400800"/>
                <a:gd name="connsiteY5283" fmla="*/ 241459 h 514350"/>
                <a:gd name="connsiteX5284" fmla="*/ 3021806 w 6400800"/>
                <a:gd name="connsiteY5284" fmla="*/ 230029 h 514350"/>
                <a:gd name="connsiteX5285" fmla="*/ 3021806 w 6400800"/>
                <a:gd name="connsiteY5285" fmla="*/ 230029 h 514350"/>
                <a:gd name="connsiteX5286" fmla="*/ 3020854 w 6400800"/>
                <a:gd name="connsiteY5286" fmla="*/ 305276 h 514350"/>
                <a:gd name="connsiteX5287" fmla="*/ 3020854 w 6400800"/>
                <a:gd name="connsiteY5287" fmla="*/ 305276 h 514350"/>
                <a:gd name="connsiteX5288" fmla="*/ 3020854 w 6400800"/>
                <a:gd name="connsiteY5288" fmla="*/ 305276 h 514350"/>
                <a:gd name="connsiteX5289" fmla="*/ 3020854 w 6400800"/>
                <a:gd name="connsiteY5289" fmla="*/ 305276 h 514350"/>
                <a:gd name="connsiteX5290" fmla="*/ 3017996 w 6400800"/>
                <a:gd name="connsiteY5290" fmla="*/ 317659 h 514350"/>
                <a:gd name="connsiteX5291" fmla="*/ 3021806 w 6400800"/>
                <a:gd name="connsiteY5291" fmla="*/ 329089 h 514350"/>
                <a:gd name="connsiteX5292" fmla="*/ 3025616 w 6400800"/>
                <a:gd name="connsiteY5292" fmla="*/ 339566 h 514350"/>
                <a:gd name="connsiteX5293" fmla="*/ 3011329 w 6400800"/>
                <a:gd name="connsiteY5293" fmla="*/ 359569 h 514350"/>
                <a:gd name="connsiteX5294" fmla="*/ 3011329 w 6400800"/>
                <a:gd name="connsiteY5294" fmla="*/ 360521 h 514350"/>
                <a:gd name="connsiteX5295" fmla="*/ 3009424 w 6400800"/>
                <a:gd name="connsiteY5295" fmla="*/ 351949 h 514350"/>
                <a:gd name="connsiteX5296" fmla="*/ 3017996 w 6400800"/>
                <a:gd name="connsiteY5296" fmla="*/ 317659 h 514350"/>
                <a:gd name="connsiteX5297" fmla="*/ 3013234 w 6400800"/>
                <a:gd name="connsiteY5297" fmla="*/ 257651 h 514350"/>
                <a:gd name="connsiteX5298" fmla="*/ 3014186 w 6400800"/>
                <a:gd name="connsiteY5298" fmla="*/ 261461 h 514350"/>
                <a:gd name="connsiteX5299" fmla="*/ 3015139 w 6400800"/>
                <a:gd name="connsiteY5299" fmla="*/ 269081 h 514350"/>
                <a:gd name="connsiteX5300" fmla="*/ 3010376 w 6400800"/>
                <a:gd name="connsiteY5300" fmla="*/ 284321 h 514350"/>
                <a:gd name="connsiteX5301" fmla="*/ 3009424 w 6400800"/>
                <a:gd name="connsiteY5301" fmla="*/ 282416 h 514350"/>
                <a:gd name="connsiteX5302" fmla="*/ 3008471 w 6400800"/>
                <a:gd name="connsiteY5302" fmla="*/ 279559 h 514350"/>
                <a:gd name="connsiteX5303" fmla="*/ 3009424 w 6400800"/>
                <a:gd name="connsiteY5303" fmla="*/ 276701 h 514350"/>
                <a:gd name="connsiteX5304" fmla="*/ 3013234 w 6400800"/>
                <a:gd name="connsiteY5304" fmla="*/ 257651 h 514350"/>
                <a:gd name="connsiteX5305" fmla="*/ 3008471 w 6400800"/>
                <a:gd name="connsiteY5305" fmla="*/ 230029 h 514350"/>
                <a:gd name="connsiteX5306" fmla="*/ 3010376 w 6400800"/>
                <a:gd name="connsiteY5306" fmla="*/ 244316 h 514350"/>
                <a:gd name="connsiteX5307" fmla="*/ 3007519 w 6400800"/>
                <a:gd name="connsiteY5307" fmla="*/ 250984 h 514350"/>
                <a:gd name="connsiteX5308" fmla="*/ 3001804 w 6400800"/>
                <a:gd name="connsiteY5308" fmla="*/ 264319 h 514350"/>
                <a:gd name="connsiteX5309" fmla="*/ 3008471 w 6400800"/>
                <a:gd name="connsiteY5309" fmla="*/ 230029 h 514350"/>
                <a:gd name="connsiteX5310" fmla="*/ 3003709 w 6400800"/>
                <a:gd name="connsiteY5310" fmla="*/ 195739 h 514350"/>
                <a:gd name="connsiteX5311" fmla="*/ 3004661 w 6400800"/>
                <a:gd name="connsiteY5311" fmla="*/ 205264 h 514350"/>
                <a:gd name="connsiteX5312" fmla="*/ 2997994 w 6400800"/>
                <a:gd name="connsiteY5312" fmla="*/ 223361 h 514350"/>
                <a:gd name="connsiteX5313" fmla="*/ 2986564 w 6400800"/>
                <a:gd name="connsiteY5313" fmla="*/ 262414 h 514350"/>
                <a:gd name="connsiteX5314" fmla="*/ 2984659 w 6400800"/>
                <a:gd name="connsiteY5314" fmla="*/ 270986 h 514350"/>
                <a:gd name="connsiteX5315" fmla="*/ 2984659 w 6400800"/>
                <a:gd name="connsiteY5315" fmla="*/ 270986 h 514350"/>
                <a:gd name="connsiteX5316" fmla="*/ 3003709 w 6400800"/>
                <a:gd name="connsiteY5316" fmla="*/ 195739 h 514350"/>
                <a:gd name="connsiteX5317" fmla="*/ 2974181 w 6400800"/>
                <a:gd name="connsiteY5317" fmla="*/ 311944 h 514350"/>
                <a:gd name="connsiteX5318" fmla="*/ 2980849 w 6400800"/>
                <a:gd name="connsiteY5318" fmla="*/ 284321 h 514350"/>
                <a:gd name="connsiteX5319" fmla="*/ 2980849 w 6400800"/>
                <a:gd name="connsiteY5319" fmla="*/ 285274 h 514350"/>
                <a:gd name="connsiteX5320" fmla="*/ 2976086 w 6400800"/>
                <a:gd name="connsiteY5320" fmla="*/ 307181 h 514350"/>
                <a:gd name="connsiteX5321" fmla="*/ 2972276 w 6400800"/>
                <a:gd name="connsiteY5321" fmla="*/ 327184 h 514350"/>
                <a:gd name="connsiteX5322" fmla="*/ 2970371 w 6400800"/>
                <a:gd name="connsiteY5322" fmla="*/ 322421 h 514350"/>
                <a:gd name="connsiteX5323" fmla="*/ 2974181 w 6400800"/>
                <a:gd name="connsiteY5323" fmla="*/ 311944 h 514350"/>
                <a:gd name="connsiteX5324" fmla="*/ 2964656 w 6400800"/>
                <a:gd name="connsiteY5324" fmla="*/ 349091 h 514350"/>
                <a:gd name="connsiteX5325" fmla="*/ 2968466 w 6400800"/>
                <a:gd name="connsiteY5325" fmla="*/ 334804 h 514350"/>
                <a:gd name="connsiteX5326" fmla="*/ 2970371 w 6400800"/>
                <a:gd name="connsiteY5326" fmla="*/ 344329 h 514350"/>
                <a:gd name="connsiteX5327" fmla="*/ 2969419 w 6400800"/>
                <a:gd name="connsiteY5327" fmla="*/ 353854 h 514350"/>
                <a:gd name="connsiteX5328" fmla="*/ 2966561 w 6400800"/>
                <a:gd name="connsiteY5328" fmla="*/ 377666 h 514350"/>
                <a:gd name="connsiteX5329" fmla="*/ 2963704 w 6400800"/>
                <a:gd name="connsiteY5329" fmla="*/ 366236 h 514350"/>
                <a:gd name="connsiteX5330" fmla="*/ 2969419 w 6400800"/>
                <a:gd name="connsiteY5330" fmla="*/ 341471 h 514350"/>
                <a:gd name="connsiteX5331" fmla="*/ 2964656 w 6400800"/>
                <a:gd name="connsiteY5331" fmla="*/ 349091 h 514350"/>
                <a:gd name="connsiteX5332" fmla="*/ 2958941 w 6400800"/>
                <a:gd name="connsiteY5332" fmla="*/ 383381 h 514350"/>
                <a:gd name="connsiteX5333" fmla="*/ 2958941 w 6400800"/>
                <a:gd name="connsiteY5333" fmla="*/ 383381 h 514350"/>
                <a:gd name="connsiteX5334" fmla="*/ 2958941 w 6400800"/>
                <a:gd name="connsiteY5334" fmla="*/ 383381 h 514350"/>
                <a:gd name="connsiteX5335" fmla="*/ 2958941 w 6400800"/>
                <a:gd name="connsiteY5335" fmla="*/ 383381 h 514350"/>
                <a:gd name="connsiteX5336" fmla="*/ 2958941 w 6400800"/>
                <a:gd name="connsiteY5336" fmla="*/ 383381 h 514350"/>
                <a:gd name="connsiteX5337" fmla="*/ 2936081 w 6400800"/>
                <a:gd name="connsiteY5337" fmla="*/ 284321 h 514350"/>
                <a:gd name="connsiteX5338" fmla="*/ 2934176 w 6400800"/>
                <a:gd name="connsiteY5338" fmla="*/ 273844 h 514350"/>
                <a:gd name="connsiteX5339" fmla="*/ 2936081 w 6400800"/>
                <a:gd name="connsiteY5339" fmla="*/ 271939 h 514350"/>
                <a:gd name="connsiteX5340" fmla="*/ 2936081 w 6400800"/>
                <a:gd name="connsiteY5340" fmla="*/ 284321 h 514350"/>
                <a:gd name="connsiteX5341" fmla="*/ 2936081 w 6400800"/>
                <a:gd name="connsiteY5341" fmla="*/ 267176 h 514350"/>
                <a:gd name="connsiteX5342" fmla="*/ 2936081 w 6400800"/>
                <a:gd name="connsiteY5342" fmla="*/ 267176 h 514350"/>
                <a:gd name="connsiteX5343" fmla="*/ 2934176 w 6400800"/>
                <a:gd name="connsiteY5343" fmla="*/ 269081 h 514350"/>
                <a:gd name="connsiteX5344" fmla="*/ 2936081 w 6400800"/>
                <a:gd name="connsiteY5344" fmla="*/ 265271 h 514350"/>
                <a:gd name="connsiteX5345" fmla="*/ 2936081 w 6400800"/>
                <a:gd name="connsiteY5345" fmla="*/ 267176 h 514350"/>
                <a:gd name="connsiteX5346" fmla="*/ 2929414 w 6400800"/>
                <a:gd name="connsiteY5346" fmla="*/ 243364 h 514350"/>
                <a:gd name="connsiteX5347" fmla="*/ 2930366 w 6400800"/>
                <a:gd name="connsiteY5347" fmla="*/ 243364 h 514350"/>
                <a:gd name="connsiteX5348" fmla="*/ 2933224 w 6400800"/>
                <a:gd name="connsiteY5348" fmla="*/ 244316 h 514350"/>
                <a:gd name="connsiteX5349" fmla="*/ 2934176 w 6400800"/>
                <a:gd name="connsiteY5349" fmla="*/ 255746 h 514350"/>
                <a:gd name="connsiteX5350" fmla="*/ 2931319 w 6400800"/>
                <a:gd name="connsiteY5350" fmla="*/ 261461 h 514350"/>
                <a:gd name="connsiteX5351" fmla="*/ 2927509 w 6400800"/>
                <a:gd name="connsiteY5351" fmla="*/ 248126 h 514350"/>
                <a:gd name="connsiteX5352" fmla="*/ 2929414 w 6400800"/>
                <a:gd name="connsiteY5352" fmla="*/ 243364 h 514350"/>
                <a:gd name="connsiteX5353" fmla="*/ 2917984 w 6400800"/>
                <a:gd name="connsiteY5353" fmla="*/ 351949 h 514350"/>
                <a:gd name="connsiteX5354" fmla="*/ 2918936 w 6400800"/>
                <a:gd name="connsiteY5354" fmla="*/ 353854 h 514350"/>
                <a:gd name="connsiteX5355" fmla="*/ 2919889 w 6400800"/>
                <a:gd name="connsiteY5355" fmla="*/ 363379 h 514350"/>
                <a:gd name="connsiteX5356" fmla="*/ 2922746 w 6400800"/>
                <a:gd name="connsiteY5356" fmla="*/ 380524 h 514350"/>
                <a:gd name="connsiteX5357" fmla="*/ 2920841 w 6400800"/>
                <a:gd name="connsiteY5357" fmla="*/ 380524 h 514350"/>
                <a:gd name="connsiteX5358" fmla="*/ 2913221 w 6400800"/>
                <a:gd name="connsiteY5358" fmla="*/ 362426 h 514350"/>
                <a:gd name="connsiteX5359" fmla="*/ 2917984 w 6400800"/>
                <a:gd name="connsiteY5359" fmla="*/ 351949 h 514350"/>
                <a:gd name="connsiteX5360" fmla="*/ 2904649 w 6400800"/>
                <a:gd name="connsiteY5360" fmla="*/ 224314 h 514350"/>
                <a:gd name="connsiteX5361" fmla="*/ 2904649 w 6400800"/>
                <a:gd name="connsiteY5361" fmla="*/ 224314 h 514350"/>
                <a:gd name="connsiteX5362" fmla="*/ 2903696 w 6400800"/>
                <a:gd name="connsiteY5362" fmla="*/ 237649 h 514350"/>
                <a:gd name="connsiteX5363" fmla="*/ 2902744 w 6400800"/>
                <a:gd name="connsiteY5363" fmla="*/ 250031 h 514350"/>
                <a:gd name="connsiteX5364" fmla="*/ 2900839 w 6400800"/>
                <a:gd name="connsiteY5364" fmla="*/ 235744 h 514350"/>
                <a:gd name="connsiteX5365" fmla="*/ 2904649 w 6400800"/>
                <a:gd name="connsiteY5365" fmla="*/ 224314 h 514350"/>
                <a:gd name="connsiteX5366" fmla="*/ 2885599 w 6400800"/>
                <a:gd name="connsiteY5366" fmla="*/ 294799 h 514350"/>
                <a:gd name="connsiteX5367" fmla="*/ 2888456 w 6400800"/>
                <a:gd name="connsiteY5367" fmla="*/ 280511 h 514350"/>
                <a:gd name="connsiteX5368" fmla="*/ 2889409 w 6400800"/>
                <a:gd name="connsiteY5368" fmla="*/ 308134 h 514350"/>
                <a:gd name="connsiteX5369" fmla="*/ 2884646 w 6400800"/>
                <a:gd name="connsiteY5369" fmla="*/ 297656 h 514350"/>
                <a:gd name="connsiteX5370" fmla="*/ 2885599 w 6400800"/>
                <a:gd name="connsiteY5370" fmla="*/ 294799 h 514350"/>
                <a:gd name="connsiteX5371" fmla="*/ 2869406 w 6400800"/>
                <a:gd name="connsiteY5371" fmla="*/ 301466 h 514350"/>
                <a:gd name="connsiteX5372" fmla="*/ 2869406 w 6400800"/>
                <a:gd name="connsiteY5372" fmla="*/ 301466 h 514350"/>
                <a:gd name="connsiteX5373" fmla="*/ 2869406 w 6400800"/>
                <a:gd name="connsiteY5373" fmla="*/ 302419 h 514350"/>
                <a:gd name="connsiteX5374" fmla="*/ 2868454 w 6400800"/>
                <a:gd name="connsiteY5374" fmla="*/ 305276 h 514350"/>
                <a:gd name="connsiteX5375" fmla="*/ 2856071 w 6400800"/>
                <a:gd name="connsiteY5375" fmla="*/ 284321 h 514350"/>
                <a:gd name="connsiteX5376" fmla="*/ 2855119 w 6400800"/>
                <a:gd name="connsiteY5376" fmla="*/ 282416 h 514350"/>
                <a:gd name="connsiteX5377" fmla="*/ 2857976 w 6400800"/>
                <a:gd name="connsiteY5377" fmla="*/ 273844 h 514350"/>
                <a:gd name="connsiteX5378" fmla="*/ 2869406 w 6400800"/>
                <a:gd name="connsiteY5378" fmla="*/ 301466 h 514350"/>
                <a:gd name="connsiteX5379" fmla="*/ 2851309 w 6400800"/>
                <a:gd name="connsiteY5379" fmla="*/ 262414 h 514350"/>
                <a:gd name="connsiteX5380" fmla="*/ 2851309 w 6400800"/>
                <a:gd name="connsiteY5380" fmla="*/ 259556 h 514350"/>
                <a:gd name="connsiteX5381" fmla="*/ 2855119 w 6400800"/>
                <a:gd name="connsiteY5381" fmla="*/ 267176 h 514350"/>
                <a:gd name="connsiteX5382" fmla="*/ 2856071 w 6400800"/>
                <a:gd name="connsiteY5382" fmla="*/ 269081 h 514350"/>
                <a:gd name="connsiteX5383" fmla="*/ 2851309 w 6400800"/>
                <a:gd name="connsiteY5383" fmla="*/ 276701 h 514350"/>
                <a:gd name="connsiteX5384" fmla="*/ 2850356 w 6400800"/>
                <a:gd name="connsiteY5384" fmla="*/ 274796 h 514350"/>
                <a:gd name="connsiteX5385" fmla="*/ 2851309 w 6400800"/>
                <a:gd name="connsiteY5385" fmla="*/ 262414 h 514350"/>
                <a:gd name="connsiteX5386" fmla="*/ 2848451 w 6400800"/>
                <a:gd name="connsiteY5386" fmla="*/ 312896 h 514350"/>
                <a:gd name="connsiteX5387" fmla="*/ 2848451 w 6400800"/>
                <a:gd name="connsiteY5387" fmla="*/ 302419 h 514350"/>
                <a:gd name="connsiteX5388" fmla="*/ 2860834 w 6400800"/>
                <a:gd name="connsiteY5388" fmla="*/ 327184 h 514350"/>
                <a:gd name="connsiteX5389" fmla="*/ 2856071 w 6400800"/>
                <a:gd name="connsiteY5389" fmla="*/ 344329 h 514350"/>
                <a:gd name="connsiteX5390" fmla="*/ 2853214 w 6400800"/>
                <a:gd name="connsiteY5390" fmla="*/ 355759 h 514350"/>
                <a:gd name="connsiteX5391" fmla="*/ 2851309 w 6400800"/>
                <a:gd name="connsiteY5391" fmla="*/ 341471 h 514350"/>
                <a:gd name="connsiteX5392" fmla="*/ 2847499 w 6400800"/>
                <a:gd name="connsiteY5392" fmla="*/ 316706 h 514350"/>
                <a:gd name="connsiteX5393" fmla="*/ 2848451 w 6400800"/>
                <a:gd name="connsiteY5393" fmla="*/ 312896 h 514350"/>
                <a:gd name="connsiteX5394" fmla="*/ 2836069 w 6400800"/>
                <a:gd name="connsiteY5394" fmla="*/ 226219 h 514350"/>
                <a:gd name="connsiteX5395" fmla="*/ 2847499 w 6400800"/>
                <a:gd name="connsiteY5395" fmla="*/ 251936 h 514350"/>
                <a:gd name="connsiteX5396" fmla="*/ 2844641 w 6400800"/>
                <a:gd name="connsiteY5396" fmla="*/ 261461 h 514350"/>
                <a:gd name="connsiteX5397" fmla="*/ 2843689 w 6400800"/>
                <a:gd name="connsiteY5397" fmla="*/ 266224 h 514350"/>
                <a:gd name="connsiteX5398" fmla="*/ 2838926 w 6400800"/>
                <a:gd name="connsiteY5398" fmla="*/ 258604 h 514350"/>
                <a:gd name="connsiteX5399" fmla="*/ 2834164 w 6400800"/>
                <a:gd name="connsiteY5399" fmla="*/ 229076 h 514350"/>
                <a:gd name="connsiteX5400" fmla="*/ 2836069 w 6400800"/>
                <a:gd name="connsiteY5400" fmla="*/ 226219 h 514350"/>
                <a:gd name="connsiteX5401" fmla="*/ 2830354 w 6400800"/>
                <a:gd name="connsiteY5401" fmla="*/ 305276 h 514350"/>
                <a:gd name="connsiteX5402" fmla="*/ 2831306 w 6400800"/>
                <a:gd name="connsiteY5402" fmla="*/ 312896 h 514350"/>
                <a:gd name="connsiteX5403" fmla="*/ 2831306 w 6400800"/>
                <a:gd name="connsiteY5403" fmla="*/ 313849 h 514350"/>
                <a:gd name="connsiteX5404" fmla="*/ 2830354 w 6400800"/>
                <a:gd name="connsiteY5404" fmla="*/ 308134 h 514350"/>
                <a:gd name="connsiteX5405" fmla="*/ 2830354 w 6400800"/>
                <a:gd name="connsiteY5405" fmla="*/ 305276 h 514350"/>
                <a:gd name="connsiteX5406" fmla="*/ 2829401 w 6400800"/>
                <a:gd name="connsiteY5406" fmla="*/ 292894 h 514350"/>
                <a:gd name="connsiteX5407" fmla="*/ 2830354 w 6400800"/>
                <a:gd name="connsiteY5407" fmla="*/ 299561 h 514350"/>
                <a:gd name="connsiteX5408" fmla="*/ 2829401 w 6400800"/>
                <a:gd name="connsiteY5408" fmla="*/ 301466 h 514350"/>
                <a:gd name="connsiteX5409" fmla="*/ 2829401 w 6400800"/>
                <a:gd name="connsiteY5409" fmla="*/ 299561 h 514350"/>
                <a:gd name="connsiteX5410" fmla="*/ 2829401 w 6400800"/>
                <a:gd name="connsiteY5410" fmla="*/ 292894 h 514350"/>
                <a:gd name="connsiteX5411" fmla="*/ 2785586 w 6400800"/>
                <a:gd name="connsiteY5411" fmla="*/ 268129 h 514350"/>
                <a:gd name="connsiteX5412" fmla="*/ 2782729 w 6400800"/>
                <a:gd name="connsiteY5412" fmla="*/ 271939 h 514350"/>
                <a:gd name="connsiteX5413" fmla="*/ 2782729 w 6400800"/>
                <a:gd name="connsiteY5413" fmla="*/ 269081 h 514350"/>
                <a:gd name="connsiteX5414" fmla="*/ 2782729 w 6400800"/>
                <a:gd name="connsiteY5414" fmla="*/ 265271 h 514350"/>
                <a:gd name="connsiteX5415" fmla="*/ 2786539 w 6400800"/>
                <a:gd name="connsiteY5415" fmla="*/ 258604 h 514350"/>
                <a:gd name="connsiteX5416" fmla="*/ 2786539 w 6400800"/>
                <a:gd name="connsiteY5416" fmla="*/ 260509 h 514350"/>
                <a:gd name="connsiteX5417" fmla="*/ 2785586 w 6400800"/>
                <a:gd name="connsiteY5417" fmla="*/ 268129 h 514350"/>
                <a:gd name="connsiteX5418" fmla="*/ 2796064 w 6400800"/>
                <a:gd name="connsiteY5418" fmla="*/ 268129 h 514350"/>
                <a:gd name="connsiteX5419" fmla="*/ 2796064 w 6400800"/>
                <a:gd name="connsiteY5419" fmla="*/ 268129 h 514350"/>
                <a:gd name="connsiteX5420" fmla="*/ 2798921 w 6400800"/>
                <a:gd name="connsiteY5420" fmla="*/ 263366 h 514350"/>
                <a:gd name="connsiteX5421" fmla="*/ 2796064 w 6400800"/>
                <a:gd name="connsiteY5421" fmla="*/ 268129 h 514350"/>
                <a:gd name="connsiteX5422" fmla="*/ 2803684 w 6400800"/>
                <a:gd name="connsiteY5422" fmla="*/ 314801 h 514350"/>
                <a:gd name="connsiteX5423" fmla="*/ 2802731 w 6400800"/>
                <a:gd name="connsiteY5423" fmla="*/ 318611 h 514350"/>
                <a:gd name="connsiteX5424" fmla="*/ 2801779 w 6400800"/>
                <a:gd name="connsiteY5424" fmla="*/ 325279 h 514350"/>
                <a:gd name="connsiteX5425" fmla="*/ 2798921 w 6400800"/>
                <a:gd name="connsiteY5425" fmla="*/ 317659 h 514350"/>
                <a:gd name="connsiteX5426" fmla="*/ 2798921 w 6400800"/>
                <a:gd name="connsiteY5426" fmla="*/ 315754 h 514350"/>
                <a:gd name="connsiteX5427" fmla="*/ 2798921 w 6400800"/>
                <a:gd name="connsiteY5427" fmla="*/ 315754 h 514350"/>
                <a:gd name="connsiteX5428" fmla="*/ 2801779 w 6400800"/>
                <a:gd name="connsiteY5428" fmla="*/ 304324 h 514350"/>
                <a:gd name="connsiteX5429" fmla="*/ 2803684 w 6400800"/>
                <a:gd name="connsiteY5429" fmla="*/ 312896 h 514350"/>
                <a:gd name="connsiteX5430" fmla="*/ 2803684 w 6400800"/>
                <a:gd name="connsiteY5430" fmla="*/ 314801 h 514350"/>
                <a:gd name="connsiteX5431" fmla="*/ 2810351 w 6400800"/>
                <a:gd name="connsiteY5431" fmla="*/ 280511 h 514350"/>
                <a:gd name="connsiteX5432" fmla="*/ 2805589 w 6400800"/>
                <a:gd name="connsiteY5432" fmla="*/ 302419 h 514350"/>
                <a:gd name="connsiteX5433" fmla="*/ 2803684 w 6400800"/>
                <a:gd name="connsiteY5433" fmla="*/ 298609 h 514350"/>
                <a:gd name="connsiteX5434" fmla="*/ 2802731 w 6400800"/>
                <a:gd name="connsiteY5434" fmla="*/ 296704 h 514350"/>
                <a:gd name="connsiteX5435" fmla="*/ 2805589 w 6400800"/>
                <a:gd name="connsiteY5435" fmla="*/ 287179 h 514350"/>
                <a:gd name="connsiteX5436" fmla="*/ 2809399 w 6400800"/>
                <a:gd name="connsiteY5436" fmla="*/ 277654 h 514350"/>
                <a:gd name="connsiteX5437" fmla="*/ 2810351 w 6400800"/>
                <a:gd name="connsiteY5437" fmla="*/ 275749 h 514350"/>
                <a:gd name="connsiteX5438" fmla="*/ 2810351 w 6400800"/>
                <a:gd name="connsiteY5438" fmla="*/ 280511 h 514350"/>
                <a:gd name="connsiteX5439" fmla="*/ 2811304 w 6400800"/>
                <a:gd name="connsiteY5439" fmla="*/ 276701 h 514350"/>
                <a:gd name="connsiteX5440" fmla="*/ 2811304 w 6400800"/>
                <a:gd name="connsiteY5440" fmla="*/ 274796 h 514350"/>
                <a:gd name="connsiteX5441" fmla="*/ 2813209 w 6400800"/>
                <a:gd name="connsiteY5441" fmla="*/ 270986 h 514350"/>
                <a:gd name="connsiteX5442" fmla="*/ 2811304 w 6400800"/>
                <a:gd name="connsiteY5442" fmla="*/ 276701 h 514350"/>
                <a:gd name="connsiteX5443" fmla="*/ 2812256 w 6400800"/>
                <a:gd name="connsiteY5443" fmla="*/ 236696 h 514350"/>
                <a:gd name="connsiteX5444" fmla="*/ 2806541 w 6400800"/>
                <a:gd name="connsiteY5444" fmla="*/ 246221 h 514350"/>
                <a:gd name="connsiteX5445" fmla="*/ 2799874 w 6400800"/>
                <a:gd name="connsiteY5445" fmla="*/ 251936 h 514350"/>
                <a:gd name="connsiteX5446" fmla="*/ 2794159 w 6400800"/>
                <a:gd name="connsiteY5446" fmla="*/ 257651 h 514350"/>
                <a:gd name="connsiteX5447" fmla="*/ 2792254 w 6400800"/>
                <a:gd name="connsiteY5447" fmla="*/ 245269 h 514350"/>
                <a:gd name="connsiteX5448" fmla="*/ 2796064 w 6400800"/>
                <a:gd name="connsiteY5448" fmla="*/ 238601 h 514350"/>
                <a:gd name="connsiteX5449" fmla="*/ 2804636 w 6400800"/>
                <a:gd name="connsiteY5449" fmla="*/ 224314 h 514350"/>
                <a:gd name="connsiteX5450" fmla="*/ 2812256 w 6400800"/>
                <a:gd name="connsiteY5450" fmla="*/ 236696 h 514350"/>
                <a:gd name="connsiteX5451" fmla="*/ 2804636 w 6400800"/>
                <a:gd name="connsiteY5451" fmla="*/ 223361 h 514350"/>
                <a:gd name="connsiteX5452" fmla="*/ 2794159 w 6400800"/>
                <a:gd name="connsiteY5452" fmla="*/ 235744 h 514350"/>
                <a:gd name="connsiteX5453" fmla="*/ 2792254 w 6400800"/>
                <a:gd name="connsiteY5453" fmla="*/ 238601 h 514350"/>
                <a:gd name="connsiteX5454" fmla="*/ 2792254 w 6400800"/>
                <a:gd name="connsiteY5454" fmla="*/ 238601 h 514350"/>
                <a:gd name="connsiteX5455" fmla="*/ 2796064 w 6400800"/>
                <a:gd name="connsiteY5455" fmla="*/ 230981 h 514350"/>
                <a:gd name="connsiteX5456" fmla="*/ 2801779 w 6400800"/>
                <a:gd name="connsiteY5456" fmla="*/ 219551 h 514350"/>
                <a:gd name="connsiteX5457" fmla="*/ 2804636 w 6400800"/>
                <a:gd name="connsiteY5457" fmla="*/ 223361 h 514350"/>
                <a:gd name="connsiteX5458" fmla="*/ 2787491 w 6400800"/>
                <a:gd name="connsiteY5458" fmla="*/ 196691 h 514350"/>
                <a:gd name="connsiteX5459" fmla="*/ 2800826 w 6400800"/>
                <a:gd name="connsiteY5459" fmla="*/ 217646 h 514350"/>
                <a:gd name="connsiteX5460" fmla="*/ 2792254 w 6400800"/>
                <a:gd name="connsiteY5460" fmla="*/ 228124 h 514350"/>
                <a:gd name="connsiteX5461" fmla="*/ 2790349 w 6400800"/>
                <a:gd name="connsiteY5461" fmla="*/ 230981 h 514350"/>
                <a:gd name="connsiteX5462" fmla="*/ 2787491 w 6400800"/>
                <a:gd name="connsiteY5462" fmla="*/ 218599 h 514350"/>
                <a:gd name="connsiteX5463" fmla="*/ 2781776 w 6400800"/>
                <a:gd name="connsiteY5463" fmla="*/ 196691 h 514350"/>
                <a:gd name="connsiteX5464" fmla="*/ 2783681 w 6400800"/>
                <a:gd name="connsiteY5464" fmla="*/ 218599 h 514350"/>
                <a:gd name="connsiteX5465" fmla="*/ 2784634 w 6400800"/>
                <a:gd name="connsiteY5465" fmla="*/ 237649 h 514350"/>
                <a:gd name="connsiteX5466" fmla="*/ 2780824 w 6400800"/>
                <a:gd name="connsiteY5466" fmla="*/ 243364 h 514350"/>
                <a:gd name="connsiteX5467" fmla="*/ 2778919 w 6400800"/>
                <a:gd name="connsiteY5467" fmla="*/ 204311 h 514350"/>
                <a:gd name="connsiteX5468" fmla="*/ 2777966 w 6400800"/>
                <a:gd name="connsiteY5468" fmla="*/ 186214 h 514350"/>
                <a:gd name="connsiteX5469" fmla="*/ 2775109 w 6400800"/>
                <a:gd name="connsiteY5469" fmla="*/ 204311 h 514350"/>
                <a:gd name="connsiteX5470" fmla="*/ 2774156 w 6400800"/>
                <a:gd name="connsiteY5470" fmla="*/ 214789 h 514350"/>
                <a:gd name="connsiteX5471" fmla="*/ 2770346 w 6400800"/>
                <a:gd name="connsiteY5471" fmla="*/ 190976 h 514350"/>
                <a:gd name="connsiteX5472" fmla="*/ 2770346 w 6400800"/>
                <a:gd name="connsiteY5472" fmla="*/ 189071 h 514350"/>
                <a:gd name="connsiteX5473" fmla="*/ 2770346 w 6400800"/>
                <a:gd name="connsiteY5473" fmla="*/ 185261 h 514350"/>
                <a:gd name="connsiteX5474" fmla="*/ 2768441 w 6400800"/>
                <a:gd name="connsiteY5474" fmla="*/ 166211 h 514350"/>
                <a:gd name="connsiteX5475" fmla="*/ 2787491 w 6400800"/>
                <a:gd name="connsiteY5475" fmla="*/ 196691 h 514350"/>
                <a:gd name="connsiteX5476" fmla="*/ 2767489 w 6400800"/>
                <a:gd name="connsiteY5476" fmla="*/ 167164 h 514350"/>
                <a:gd name="connsiteX5477" fmla="*/ 2767489 w 6400800"/>
                <a:gd name="connsiteY5477" fmla="*/ 170974 h 514350"/>
                <a:gd name="connsiteX5478" fmla="*/ 2766536 w 6400800"/>
                <a:gd name="connsiteY5478" fmla="*/ 166211 h 514350"/>
                <a:gd name="connsiteX5479" fmla="*/ 2767489 w 6400800"/>
                <a:gd name="connsiteY5479" fmla="*/ 167164 h 514350"/>
                <a:gd name="connsiteX5480" fmla="*/ 2757964 w 6400800"/>
                <a:gd name="connsiteY5480" fmla="*/ 342424 h 514350"/>
                <a:gd name="connsiteX5481" fmla="*/ 2755106 w 6400800"/>
                <a:gd name="connsiteY5481" fmla="*/ 336709 h 514350"/>
                <a:gd name="connsiteX5482" fmla="*/ 2758916 w 6400800"/>
                <a:gd name="connsiteY5482" fmla="*/ 329089 h 514350"/>
                <a:gd name="connsiteX5483" fmla="*/ 2760821 w 6400800"/>
                <a:gd name="connsiteY5483" fmla="*/ 332899 h 514350"/>
                <a:gd name="connsiteX5484" fmla="*/ 2757964 w 6400800"/>
                <a:gd name="connsiteY5484" fmla="*/ 342424 h 514350"/>
                <a:gd name="connsiteX5485" fmla="*/ 2762726 w 6400800"/>
                <a:gd name="connsiteY5485" fmla="*/ 327184 h 514350"/>
                <a:gd name="connsiteX5486" fmla="*/ 2761774 w 6400800"/>
                <a:gd name="connsiteY5486" fmla="*/ 330994 h 514350"/>
                <a:gd name="connsiteX5487" fmla="*/ 2759869 w 6400800"/>
                <a:gd name="connsiteY5487" fmla="*/ 328136 h 514350"/>
                <a:gd name="connsiteX5488" fmla="*/ 2761774 w 6400800"/>
                <a:gd name="connsiteY5488" fmla="*/ 324326 h 514350"/>
                <a:gd name="connsiteX5489" fmla="*/ 2762726 w 6400800"/>
                <a:gd name="connsiteY5489" fmla="*/ 327184 h 514350"/>
                <a:gd name="connsiteX5490" fmla="*/ 2762726 w 6400800"/>
                <a:gd name="connsiteY5490" fmla="*/ 327184 h 514350"/>
                <a:gd name="connsiteX5491" fmla="*/ 2762726 w 6400800"/>
                <a:gd name="connsiteY5491" fmla="*/ 250031 h 514350"/>
                <a:gd name="connsiteX5492" fmla="*/ 2762726 w 6400800"/>
                <a:gd name="connsiteY5492" fmla="*/ 270034 h 514350"/>
                <a:gd name="connsiteX5493" fmla="*/ 2754154 w 6400800"/>
                <a:gd name="connsiteY5493" fmla="*/ 282416 h 514350"/>
                <a:gd name="connsiteX5494" fmla="*/ 2753201 w 6400800"/>
                <a:gd name="connsiteY5494" fmla="*/ 284321 h 514350"/>
                <a:gd name="connsiteX5495" fmla="*/ 2752249 w 6400800"/>
                <a:gd name="connsiteY5495" fmla="*/ 282416 h 514350"/>
                <a:gd name="connsiteX5496" fmla="*/ 2753201 w 6400800"/>
                <a:gd name="connsiteY5496" fmla="*/ 278606 h 514350"/>
                <a:gd name="connsiteX5497" fmla="*/ 2756059 w 6400800"/>
                <a:gd name="connsiteY5497" fmla="*/ 267176 h 514350"/>
                <a:gd name="connsiteX5498" fmla="*/ 2761774 w 6400800"/>
                <a:gd name="connsiteY5498" fmla="*/ 251936 h 514350"/>
                <a:gd name="connsiteX5499" fmla="*/ 2762726 w 6400800"/>
                <a:gd name="connsiteY5499" fmla="*/ 250031 h 514350"/>
                <a:gd name="connsiteX5500" fmla="*/ 2762726 w 6400800"/>
                <a:gd name="connsiteY5500" fmla="*/ 250031 h 514350"/>
                <a:gd name="connsiteX5501" fmla="*/ 2753201 w 6400800"/>
                <a:gd name="connsiteY5501" fmla="*/ 250031 h 514350"/>
                <a:gd name="connsiteX5502" fmla="*/ 2757011 w 6400800"/>
                <a:gd name="connsiteY5502" fmla="*/ 230981 h 514350"/>
                <a:gd name="connsiteX5503" fmla="*/ 2762726 w 6400800"/>
                <a:gd name="connsiteY5503" fmla="*/ 249079 h 514350"/>
                <a:gd name="connsiteX5504" fmla="*/ 2760821 w 6400800"/>
                <a:gd name="connsiteY5504" fmla="*/ 252889 h 514350"/>
                <a:gd name="connsiteX5505" fmla="*/ 2752249 w 6400800"/>
                <a:gd name="connsiteY5505" fmla="*/ 267176 h 514350"/>
                <a:gd name="connsiteX5506" fmla="*/ 2748439 w 6400800"/>
                <a:gd name="connsiteY5506" fmla="*/ 275749 h 514350"/>
                <a:gd name="connsiteX5507" fmla="*/ 2747486 w 6400800"/>
                <a:gd name="connsiteY5507" fmla="*/ 274796 h 514350"/>
                <a:gd name="connsiteX5508" fmla="*/ 2753201 w 6400800"/>
                <a:gd name="connsiteY5508" fmla="*/ 250031 h 514350"/>
                <a:gd name="connsiteX5509" fmla="*/ 2749391 w 6400800"/>
                <a:gd name="connsiteY5509" fmla="*/ 362426 h 514350"/>
                <a:gd name="connsiteX5510" fmla="*/ 2746534 w 6400800"/>
                <a:gd name="connsiteY5510" fmla="*/ 357664 h 514350"/>
                <a:gd name="connsiteX5511" fmla="*/ 2746534 w 6400800"/>
                <a:gd name="connsiteY5511" fmla="*/ 354806 h 514350"/>
                <a:gd name="connsiteX5512" fmla="*/ 2749391 w 6400800"/>
                <a:gd name="connsiteY5512" fmla="*/ 362426 h 514350"/>
                <a:gd name="connsiteX5513" fmla="*/ 2734151 w 6400800"/>
                <a:gd name="connsiteY5513" fmla="*/ 258604 h 514350"/>
                <a:gd name="connsiteX5514" fmla="*/ 2740819 w 6400800"/>
                <a:gd name="connsiteY5514" fmla="*/ 273844 h 514350"/>
                <a:gd name="connsiteX5515" fmla="*/ 2735104 w 6400800"/>
                <a:gd name="connsiteY5515" fmla="*/ 290036 h 514350"/>
                <a:gd name="connsiteX5516" fmla="*/ 2734151 w 6400800"/>
                <a:gd name="connsiteY5516" fmla="*/ 287179 h 514350"/>
                <a:gd name="connsiteX5517" fmla="*/ 2734151 w 6400800"/>
                <a:gd name="connsiteY5517" fmla="*/ 291941 h 514350"/>
                <a:gd name="connsiteX5518" fmla="*/ 2734151 w 6400800"/>
                <a:gd name="connsiteY5518" fmla="*/ 291941 h 514350"/>
                <a:gd name="connsiteX5519" fmla="*/ 2732246 w 6400800"/>
                <a:gd name="connsiteY5519" fmla="*/ 289084 h 514350"/>
                <a:gd name="connsiteX5520" fmla="*/ 2731294 w 6400800"/>
                <a:gd name="connsiteY5520" fmla="*/ 286226 h 514350"/>
                <a:gd name="connsiteX5521" fmla="*/ 2734151 w 6400800"/>
                <a:gd name="connsiteY5521" fmla="*/ 258604 h 514350"/>
                <a:gd name="connsiteX5522" fmla="*/ 2715101 w 6400800"/>
                <a:gd name="connsiteY5522" fmla="*/ 290989 h 514350"/>
                <a:gd name="connsiteX5523" fmla="*/ 2716054 w 6400800"/>
                <a:gd name="connsiteY5523" fmla="*/ 273844 h 514350"/>
                <a:gd name="connsiteX5524" fmla="*/ 2717959 w 6400800"/>
                <a:gd name="connsiteY5524" fmla="*/ 278606 h 514350"/>
                <a:gd name="connsiteX5525" fmla="*/ 2716054 w 6400800"/>
                <a:gd name="connsiteY5525" fmla="*/ 304324 h 514350"/>
                <a:gd name="connsiteX5526" fmla="*/ 2715101 w 6400800"/>
                <a:gd name="connsiteY5526" fmla="*/ 303371 h 514350"/>
                <a:gd name="connsiteX5527" fmla="*/ 2715101 w 6400800"/>
                <a:gd name="connsiteY5527" fmla="*/ 290989 h 514350"/>
                <a:gd name="connsiteX5528" fmla="*/ 2705576 w 6400800"/>
                <a:gd name="connsiteY5528" fmla="*/ 243364 h 514350"/>
                <a:gd name="connsiteX5529" fmla="*/ 2704624 w 6400800"/>
                <a:gd name="connsiteY5529" fmla="*/ 247174 h 514350"/>
                <a:gd name="connsiteX5530" fmla="*/ 2703671 w 6400800"/>
                <a:gd name="connsiteY5530" fmla="*/ 238601 h 514350"/>
                <a:gd name="connsiteX5531" fmla="*/ 2705576 w 6400800"/>
                <a:gd name="connsiteY5531" fmla="*/ 243364 h 514350"/>
                <a:gd name="connsiteX5532" fmla="*/ 2697956 w 6400800"/>
                <a:gd name="connsiteY5532" fmla="*/ 312896 h 514350"/>
                <a:gd name="connsiteX5533" fmla="*/ 2697956 w 6400800"/>
                <a:gd name="connsiteY5533" fmla="*/ 313849 h 514350"/>
                <a:gd name="connsiteX5534" fmla="*/ 2697956 w 6400800"/>
                <a:gd name="connsiteY5534" fmla="*/ 310991 h 514350"/>
                <a:gd name="connsiteX5535" fmla="*/ 2697956 w 6400800"/>
                <a:gd name="connsiteY5535" fmla="*/ 312896 h 514350"/>
                <a:gd name="connsiteX5536" fmla="*/ 2664619 w 6400800"/>
                <a:gd name="connsiteY5536" fmla="*/ 234791 h 514350"/>
                <a:gd name="connsiteX5537" fmla="*/ 2666524 w 6400800"/>
                <a:gd name="connsiteY5537" fmla="*/ 238601 h 514350"/>
                <a:gd name="connsiteX5538" fmla="*/ 2673191 w 6400800"/>
                <a:gd name="connsiteY5538" fmla="*/ 287179 h 514350"/>
                <a:gd name="connsiteX5539" fmla="*/ 2670334 w 6400800"/>
                <a:gd name="connsiteY5539" fmla="*/ 279559 h 514350"/>
                <a:gd name="connsiteX5540" fmla="*/ 2670334 w 6400800"/>
                <a:gd name="connsiteY5540" fmla="*/ 278606 h 514350"/>
                <a:gd name="connsiteX5541" fmla="*/ 2671286 w 6400800"/>
                <a:gd name="connsiteY5541" fmla="*/ 276701 h 514350"/>
                <a:gd name="connsiteX5542" fmla="*/ 2670334 w 6400800"/>
                <a:gd name="connsiteY5542" fmla="*/ 278606 h 514350"/>
                <a:gd name="connsiteX5543" fmla="*/ 2664619 w 6400800"/>
                <a:gd name="connsiteY5543" fmla="*/ 246221 h 514350"/>
                <a:gd name="connsiteX5544" fmla="*/ 2663666 w 6400800"/>
                <a:gd name="connsiteY5544" fmla="*/ 240506 h 514350"/>
                <a:gd name="connsiteX5545" fmla="*/ 2664619 w 6400800"/>
                <a:gd name="connsiteY5545" fmla="*/ 234791 h 514350"/>
                <a:gd name="connsiteX5546" fmla="*/ 2657951 w 6400800"/>
                <a:gd name="connsiteY5546" fmla="*/ 339566 h 514350"/>
                <a:gd name="connsiteX5547" fmla="*/ 2656046 w 6400800"/>
                <a:gd name="connsiteY5547" fmla="*/ 336709 h 514350"/>
                <a:gd name="connsiteX5548" fmla="*/ 2657951 w 6400800"/>
                <a:gd name="connsiteY5548" fmla="*/ 325279 h 514350"/>
                <a:gd name="connsiteX5549" fmla="*/ 2657951 w 6400800"/>
                <a:gd name="connsiteY5549" fmla="*/ 339566 h 514350"/>
                <a:gd name="connsiteX5550" fmla="*/ 2654141 w 6400800"/>
                <a:gd name="connsiteY5550" fmla="*/ 277654 h 514350"/>
                <a:gd name="connsiteX5551" fmla="*/ 2659856 w 6400800"/>
                <a:gd name="connsiteY5551" fmla="*/ 298609 h 514350"/>
                <a:gd name="connsiteX5552" fmla="*/ 2659856 w 6400800"/>
                <a:gd name="connsiteY5552" fmla="*/ 299561 h 514350"/>
                <a:gd name="connsiteX5553" fmla="*/ 2653189 w 6400800"/>
                <a:gd name="connsiteY5553" fmla="*/ 316706 h 514350"/>
                <a:gd name="connsiteX5554" fmla="*/ 2652236 w 6400800"/>
                <a:gd name="connsiteY5554" fmla="*/ 319564 h 514350"/>
                <a:gd name="connsiteX5555" fmla="*/ 2650331 w 6400800"/>
                <a:gd name="connsiteY5555" fmla="*/ 311944 h 514350"/>
                <a:gd name="connsiteX5556" fmla="*/ 2647474 w 6400800"/>
                <a:gd name="connsiteY5556" fmla="*/ 301466 h 514350"/>
                <a:gd name="connsiteX5557" fmla="*/ 2654141 w 6400800"/>
                <a:gd name="connsiteY5557" fmla="*/ 277654 h 514350"/>
                <a:gd name="connsiteX5558" fmla="*/ 2633186 w 6400800"/>
                <a:gd name="connsiteY5558" fmla="*/ 283369 h 514350"/>
                <a:gd name="connsiteX5559" fmla="*/ 2633186 w 6400800"/>
                <a:gd name="connsiteY5559" fmla="*/ 285274 h 514350"/>
                <a:gd name="connsiteX5560" fmla="*/ 2633186 w 6400800"/>
                <a:gd name="connsiteY5560" fmla="*/ 286226 h 514350"/>
                <a:gd name="connsiteX5561" fmla="*/ 2632234 w 6400800"/>
                <a:gd name="connsiteY5561" fmla="*/ 290036 h 514350"/>
                <a:gd name="connsiteX5562" fmla="*/ 2633186 w 6400800"/>
                <a:gd name="connsiteY5562" fmla="*/ 283369 h 514350"/>
                <a:gd name="connsiteX5563" fmla="*/ 2578894 w 6400800"/>
                <a:gd name="connsiteY5563" fmla="*/ 242411 h 514350"/>
                <a:gd name="connsiteX5564" fmla="*/ 2577941 w 6400800"/>
                <a:gd name="connsiteY5564" fmla="*/ 241459 h 514350"/>
                <a:gd name="connsiteX5565" fmla="*/ 2580799 w 6400800"/>
                <a:gd name="connsiteY5565" fmla="*/ 235744 h 514350"/>
                <a:gd name="connsiteX5566" fmla="*/ 2580799 w 6400800"/>
                <a:gd name="connsiteY5566" fmla="*/ 235744 h 514350"/>
                <a:gd name="connsiteX5567" fmla="*/ 2578894 w 6400800"/>
                <a:gd name="connsiteY5567" fmla="*/ 242411 h 514350"/>
                <a:gd name="connsiteX5568" fmla="*/ 2597944 w 6400800"/>
                <a:gd name="connsiteY5568" fmla="*/ 275749 h 514350"/>
                <a:gd name="connsiteX5569" fmla="*/ 2597944 w 6400800"/>
                <a:gd name="connsiteY5569" fmla="*/ 274796 h 514350"/>
                <a:gd name="connsiteX5570" fmla="*/ 2597944 w 6400800"/>
                <a:gd name="connsiteY5570" fmla="*/ 275749 h 514350"/>
                <a:gd name="connsiteX5571" fmla="*/ 2597944 w 6400800"/>
                <a:gd name="connsiteY5571" fmla="*/ 275749 h 514350"/>
                <a:gd name="connsiteX5572" fmla="*/ 2616041 w 6400800"/>
                <a:gd name="connsiteY5572" fmla="*/ 309086 h 514350"/>
                <a:gd name="connsiteX5573" fmla="*/ 2613184 w 6400800"/>
                <a:gd name="connsiteY5573" fmla="*/ 319564 h 514350"/>
                <a:gd name="connsiteX5574" fmla="*/ 2613184 w 6400800"/>
                <a:gd name="connsiteY5574" fmla="*/ 318611 h 514350"/>
                <a:gd name="connsiteX5575" fmla="*/ 2613184 w 6400800"/>
                <a:gd name="connsiteY5575" fmla="*/ 319564 h 514350"/>
                <a:gd name="connsiteX5576" fmla="*/ 2613184 w 6400800"/>
                <a:gd name="connsiteY5576" fmla="*/ 319564 h 514350"/>
                <a:gd name="connsiteX5577" fmla="*/ 2600801 w 6400800"/>
                <a:gd name="connsiteY5577" fmla="*/ 289084 h 514350"/>
                <a:gd name="connsiteX5578" fmla="*/ 2602706 w 6400800"/>
                <a:gd name="connsiteY5578" fmla="*/ 282416 h 514350"/>
                <a:gd name="connsiteX5579" fmla="*/ 2612231 w 6400800"/>
                <a:gd name="connsiteY5579" fmla="*/ 299561 h 514350"/>
                <a:gd name="connsiteX5580" fmla="*/ 2616041 w 6400800"/>
                <a:gd name="connsiteY5580" fmla="*/ 308134 h 514350"/>
                <a:gd name="connsiteX5581" fmla="*/ 2616041 w 6400800"/>
                <a:gd name="connsiteY5581" fmla="*/ 309086 h 514350"/>
                <a:gd name="connsiteX5582" fmla="*/ 2616041 w 6400800"/>
                <a:gd name="connsiteY5582" fmla="*/ 309086 h 514350"/>
                <a:gd name="connsiteX5583" fmla="*/ 2604611 w 6400800"/>
                <a:gd name="connsiteY5583" fmla="*/ 276701 h 514350"/>
                <a:gd name="connsiteX5584" fmla="*/ 2608421 w 6400800"/>
                <a:gd name="connsiteY5584" fmla="*/ 267176 h 514350"/>
                <a:gd name="connsiteX5585" fmla="*/ 2615089 w 6400800"/>
                <a:gd name="connsiteY5585" fmla="*/ 290036 h 514350"/>
                <a:gd name="connsiteX5586" fmla="*/ 2604611 w 6400800"/>
                <a:gd name="connsiteY5586" fmla="*/ 276701 h 514350"/>
                <a:gd name="connsiteX5587" fmla="*/ 2614136 w 6400800"/>
                <a:gd name="connsiteY5587" fmla="*/ 276701 h 514350"/>
                <a:gd name="connsiteX5588" fmla="*/ 2609374 w 6400800"/>
                <a:gd name="connsiteY5588" fmla="*/ 266224 h 514350"/>
                <a:gd name="connsiteX5589" fmla="*/ 2612231 w 6400800"/>
                <a:gd name="connsiteY5589" fmla="*/ 257651 h 514350"/>
                <a:gd name="connsiteX5590" fmla="*/ 2614136 w 6400800"/>
                <a:gd name="connsiteY5590" fmla="*/ 276701 h 514350"/>
                <a:gd name="connsiteX5591" fmla="*/ 2606516 w 6400800"/>
                <a:gd name="connsiteY5591" fmla="*/ 208121 h 514350"/>
                <a:gd name="connsiteX5592" fmla="*/ 2611279 w 6400800"/>
                <a:gd name="connsiteY5592" fmla="*/ 250984 h 514350"/>
                <a:gd name="connsiteX5593" fmla="*/ 2611279 w 6400800"/>
                <a:gd name="connsiteY5593" fmla="*/ 251936 h 514350"/>
                <a:gd name="connsiteX5594" fmla="*/ 2600801 w 6400800"/>
                <a:gd name="connsiteY5594" fmla="*/ 271939 h 514350"/>
                <a:gd name="connsiteX5595" fmla="*/ 2597944 w 6400800"/>
                <a:gd name="connsiteY5595" fmla="*/ 268129 h 514350"/>
                <a:gd name="connsiteX5596" fmla="*/ 2595086 w 6400800"/>
                <a:gd name="connsiteY5596" fmla="*/ 237649 h 514350"/>
                <a:gd name="connsiteX5597" fmla="*/ 2594134 w 6400800"/>
                <a:gd name="connsiteY5597" fmla="*/ 228124 h 514350"/>
                <a:gd name="connsiteX5598" fmla="*/ 2605564 w 6400800"/>
                <a:gd name="connsiteY5598" fmla="*/ 179546 h 514350"/>
                <a:gd name="connsiteX5599" fmla="*/ 2606516 w 6400800"/>
                <a:gd name="connsiteY5599" fmla="*/ 208121 h 514350"/>
                <a:gd name="connsiteX5600" fmla="*/ 2586514 w 6400800"/>
                <a:gd name="connsiteY5600" fmla="*/ 186214 h 514350"/>
                <a:gd name="connsiteX5601" fmla="*/ 2598896 w 6400800"/>
                <a:gd name="connsiteY5601" fmla="*/ 159544 h 514350"/>
                <a:gd name="connsiteX5602" fmla="*/ 2601754 w 6400800"/>
                <a:gd name="connsiteY5602" fmla="*/ 153829 h 514350"/>
                <a:gd name="connsiteX5603" fmla="*/ 2603659 w 6400800"/>
                <a:gd name="connsiteY5603" fmla="*/ 173831 h 514350"/>
                <a:gd name="connsiteX5604" fmla="*/ 2590324 w 6400800"/>
                <a:gd name="connsiteY5604" fmla="*/ 210979 h 514350"/>
                <a:gd name="connsiteX5605" fmla="*/ 2586514 w 6400800"/>
                <a:gd name="connsiteY5605" fmla="*/ 187166 h 514350"/>
                <a:gd name="connsiteX5606" fmla="*/ 2586514 w 6400800"/>
                <a:gd name="connsiteY5606" fmla="*/ 186214 h 514350"/>
                <a:gd name="connsiteX5607" fmla="*/ 2584609 w 6400800"/>
                <a:gd name="connsiteY5607" fmla="*/ 408146 h 514350"/>
                <a:gd name="connsiteX5608" fmla="*/ 2584609 w 6400800"/>
                <a:gd name="connsiteY5608" fmla="*/ 408146 h 514350"/>
                <a:gd name="connsiteX5609" fmla="*/ 2581751 w 6400800"/>
                <a:gd name="connsiteY5609" fmla="*/ 393859 h 514350"/>
                <a:gd name="connsiteX5610" fmla="*/ 2584609 w 6400800"/>
                <a:gd name="connsiteY5610" fmla="*/ 408146 h 514350"/>
                <a:gd name="connsiteX5611" fmla="*/ 2580799 w 6400800"/>
                <a:gd name="connsiteY5611" fmla="*/ 199549 h 514350"/>
                <a:gd name="connsiteX5612" fmla="*/ 2581751 w 6400800"/>
                <a:gd name="connsiteY5612" fmla="*/ 228124 h 514350"/>
                <a:gd name="connsiteX5613" fmla="*/ 2578894 w 6400800"/>
                <a:gd name="connsiteY5613" fmla="*/ 231934 h 514350"/>
                <a:gd name="connsiteX5614" fmla="*/ 2575084 w 6400800"/>
                <a:gd name="connsiteY5614" fmla="*/ 236696 h 514350"/>
                <a:gd name="connsiteX5615" fmla="*/ 2573179 w 6400800"/>
                <a:gd name="connsiteY5615" fmla="*/ 233839 h 514350"/>
                <a:gd name="connsiteX5616" fmla="*/ 2572226 w 6400800"/>
                <a:gd name="connsiteY5616" fmla="*/ 229076 h 514350"/>
                <a:gd name="connsiteX5617" fmla="*/ 2571274 w 6400800"/>
                <a:gd name="connsiteY5617" fmla="*/ 219551 h 514350"/>
                <a:gd name="connsiteX5618" fmla="*/ 2580799 w 6400800"/>
                <a:gd name="connsiteY5618" fmla="*/ 199549 h 514350"/>
                <a:gd name="connsiteX5619" fmla="*/ 2569369 w 6400800"/>
                <a:gd name="connsiteY5619" fmla="*/ 320516 h 514350"/>
                <a:gd name="connsiteX5620" fmla="*/ 2570321 w 6400800"/>
                <a:gd name="connsiteY5620" fmla="*/ 327184 h 514350"/>
                <a:gd name="connsiteX5621" fmla="*/ 2571274 w 6400800"/>
                <a:gd name="connsiteY5621" fmla="*/ 330041 h 514350"/>
                <a:gd name="connsiteX5622" fmla="*/ 2563654 w 6400800"/>
                <a:gd name="connsiteY5622" fmla="*/ 345281 h 514350"/>
                <a:gd name="connsiteX5623" fmla="*/ 2562701 w 6400800"/>
                <a:gd name="connsiteY5623" fmla="*/ 342424 h 514350"/>
                <a:gd name="connsiteX5624" fmla="*/ 2569369 w 6400800"/>
                <a:gd name="connsiteY5624" fmla="*/ 320516 h 514350"/>
                <a:gd name="connsiteX5625" fmla="*/ 2556034 w 6400800"/>
                <a:gd name="connsiteY5625" fmla="*/ 262414 h 514350"/>
                <a:gd name="connsiteX5626" fmla="*/ 2559844 w 6400800"/>
                <a:gd name="connsiteY5626" fmla="*/ 251936 h 514350"/>
                <a:gd name="connsiteX5627" fmla="*/ 2560796 w 6400800"/>
                <a:gd name="connsiteY5627" fmla="*/ 257651 h 514350"/>
                <a:gd name="connsiteX5628" fmla="*/ 2559844 w 6400800"/>
                <a:gd name="connsiteY5628" fmla="*/ 259556 h 514350"/>
                <a:gd name="connsiteX5629" fmla="*/ 2554129 w 6400800"/>
                <a:gd name="connsiteY5629" fmla="*/ 269081 h 514350"/>
                <a:gd name="connsiteX5630" fmla="*/ 2556034 w 6400800"/>
                <a:gd name="connsiteY5630" fmla="*/ 262414 h 514350"/>
                <a:gd name="connsiteX5631" fmla="*/ 2561749 w 6400800"/>
                <a:gd name="connsiteY5631" fmla="*/ 276701 h 514350"/>
                <a:gd name="connsiteX5632" fmla="*/ 2562701 w 6400800"/>
                <a:gd name="connsiteY5632" fmla="*/ 274796 h 514350"/>
                <a:gd name="connsiteX5633" fmla="*/ 2564606 w 6400800"/>
                <a:gd name="connsiteY5633" fmla="*/ 287179 h 514350"/>
                <a:gd name="connsiteX5634" fmla="*/ 2557939 w 6400800"/>
                <a:gd name="connsiteY5634" fmla="*/ 309086 h 514350"/>
                <a:gd name="connsiteX5635" fmla="*/ 2556034 w 6400800"/>
                <a:gd name="connsiteY5635" fmla="*/ 313849 h 514350"/>
                <a:gd name="connsiteX5636" fmla="*/ 2553176 w 6400800"/>
                <a:gd name="connsiteY5636" fmla="*/ 296704 h 514350"/>
                <a:gd name="connsiteX5637" fmla="*/ 2561749 w 6400800"/>
                <a:gd name="connsiteY5637" fmla="*/ 276701 h 514350"/>
                <a:gd name="connsiteX5638" fmla="*/ 2538889 w 6400800"/>
                <a:gd name="connsiteY5638" fmla="*/ 252889 h 514350"/>
                <a:gd name="connsiteX5639" fmla="*/ 2540794 w 6400800"/>
                <a:gd name="connsiteY5639" fmla="*/ 242411 h 514350"/>
                <a:gd name="connsiteX5640" fmla="*/ 2542699 w 6400800"/>
                <a:gd name="connsiteY5640" fmla="*/ 238601 h 514350"/>
                <a:gd name="connsiteX5641" fmla="*/ 2544604 w 6400800"/>
                <a:gd name="connsiteY5641" fmla="*/ 233839 h 514350"/>
                <a:gd name="connsiteX5642" fmla="*/ 2543651 w 6400800"/>
                <a:gd name="connsiteY5642" fmla="*/ 248126 h 514350"/>
                <a:gd name="connsiteX5643" fmla="*/ 2542699 w 6400800"/>
                <a:gd name="connsiteY5643" fmla="*/ 257651 h 514350"/>
                <a:gd name="connsiteX5644" fmla="*/ 2537936 w 6400800"/>
                <a:gd name="connsiteY5644" fmla="*/ 268129 h 514350"/>
                <a:gd name="connsiteX5645" fmla="*/ 2538889 w 6400800"/>
                <a:gd name="connsiteY5645" fmla="*/ 252889 h 514350"/>
                <a:gd name="connsiteX5646" fmla="*/ 2521744 w 6400800"/>
                <a:gd name="connsiteY5646" fmla="*/ 475774 h 514350"/>
                <a:gd name="connsiteX5647" fmla="*/ 2522696 w 6400800"/>
                <a:gd name="connsiteY5647" fmla="*/ 484346 h 514350"/>
                <a:gd name="connsiteX5648" fmla="*/ 2520791 w 6400800"/>
                <a:gd name="connsiteY5648" fmla="*/ 479584 h 514350"/>
                <a:gd name="connsiteX5649" fmla="*/ 2521744 w 6400800"/>
                <a:gd name="connsiteY5649" fmla="*/ 475774 h 514350"/>
                <a:gd name="connsiteX5650" fmla="*/ 2514124 w 6400800"/>
                <a:gd name="connsiteY5650" fmla="*/ 323374 h 514350"/>
                <a:gd name="connsiteX5651" fmla="*/ 2514124 w 6400800"/>
                <a:gd name="connsiteY5651" fmla="*/ 323374 h 514350"/>
                <a:gd name="connsiteX5652" fmla="*/ 2513171 w 6400800"/>
                <a:gd name="connsiteY5652" fmla="*/ 328136 h 514350"/>
                <a:gd name="connsiteX5653" fmla="*/ 2513171 w 6400800"/>
                <a:gd name="connsiteY5653" fmla="*/ 329089 h 514350"/>
                <a:gd name="connsiteX5654" fmla="*/ 2514124 w 6400800"/>
                <a:gd name="connsiteY5654" fmla="*/ 323374 h 514350"/>
                <a:gd name="connsiteX5655" fmla="*/ 2509361 w 6400800"/>
                <a:gd name="connsiteY5655" fmla="*/ 300514 h 514350"/>
                <a:gd name="connsiteX5656" fmla="*/ 2508409 w 6400800"/>
                <a:gd name="connsiteY5656" fmla="*/ 302419 h 514350"/>
                <a:gd name="connsiteX5657" fmla="*/ 2508409 w 6400800"/>
                <a:gd name="connsiteY5657" fmla="*/ 302419 h 514350"/>
                <a:gd name="connsiteX5658" fmla="*/ 2507456 w 6400800"/>
                <a:gd name="connsiteY5658" fmla="*/ 294799 h 514350"/>
                <a:gd name="connsiteX5659" fmla="*/ 2509361 w 6400800"/>
                <a:gd name="connsiteY5659" fmla="*/ 300514 h 514350"/>
                <a:gd name="connsiteX5660" fmla="*/ 2496979 w 6400800"/>
                <a:gd name="connsiteY5660" fmla="*/ 292894 h 514350"/>
                <a:gd name="connsiteX5661" fmla="*/ 2497931 w 6400800"/>
                <a:gd name="connsiteY5661" fmla="*/ 290036 h 514350"/>
                <a:gd name="connsiteX5662" fmla="*/ 2496979 w 6400800"/>
                <a:gd name="connsiteY5662" fmla="*/ 290989 h 514350"/>
                <a:gd name="connsiteX5663" fmla="*/ 2497931 w 6400800"/>
                <a:gd name="connsiteY5663" fmla="*/ 284321 h 514350"/>
                <a:gd name="connsiteX5664" fmla="*/ 2498884 w 6400800"/>
                <a:gd name="connsiteY5664" fmla="*/ 269081 h 514350"/>
                <a:gd name="connsiteX5665" fmla="*/ 2498884 w 6400800"/>
                <a:gd name="connsiteY5665" fmla="*/ 266224 h 514350"/>
                <a:gd name="connsiteX5666" fmla="*/ 2502694 w 6400800"/>
                <a:gd name="connsiteY5666" fmla="*/ 277654 h 514350"/>
                <a:gd name="connsiteX5667" fmla="*/ 2502694 w 6400800"/>
                <a:gd name="connsiteY5667" fmla="*/ 283369 h 514350"/>
                <a:gd name="connsiteX5668" fmla="*/ 2501741 w 6400800"/>
                <a:gd name="connsiteY5668" fmla="*/ 302419 h 514350"/>
                <a:gd name="connsiteX5669" fmla="*/ 2501741 w 6400800"/>
                <a:gd name="connsiteY5669" fmla="*/ 313849 h 514350"/>
                <a:gd name="connsiteX5670" fmla="*/ 2500789 w 6400800"/>
                <a:gd name="connsiteY5670" fmla="*/ 325279 h 514350"/>
                <a:gd name="connsiteX5671" fmla="*/ 2500789 w 6400800"/>
                <a:gd name="connsiteY5671" fmla="*/ 326231 h 514350"/>
                <a:gd name="connsiteX5672" fmla="*/ 2499836 w 6400800"/>
                <a:gd name="connsiteY5672" fmla="*/ 315754 h 514350"/>
                <a:gd name="connsiteX5673" fmla="*/ 2499836 w 6400800"/>
                <a:gd name="connsiteY5673" fmla="*/ 310039 h 514350"/>
                <a:gd name="connsiteX5674" fmla="*/ 2500789 w 6400800"/>
                <a:gd name="connsiteY5674" fmla="*/ 297656 h 514350"/>
                <a:gd name="connsiteX5675" fmla="*/ 2500789 w 6400800"/>
                <a:gd name="connsiteY5675" fmla="*/ 286226 h 514350"/>
                <a:gd name="connsiteX5676" fmla="*/ 2496979 w 6400800"/>
                <a:gd name="connsiteY5676" fmla="*/ 292894 h 514350"/>
                <a:gd name="connsiteX5677" fmla="*/ 2496979 w 6400800"/>
                <a:gd name="connsiteY5677" fmla="*/ 292894 h 514350"/>
                <a:gd name="connsiteX5678" fmla="*/ 2449354 w 6400800"/>
                <a:gd name="connsiteY5678" fmla="*/ 334804 h 514350"/>
                <a:gd name="connsiteX5679" fmla="*/ 2447449 w 6400800"/>
                <a:gd name="connsiteY5679" fmla="*/ 328136 h 514350"/>
                <a:gd name="connsiteX5680" fmla="*/ 2450306 w 6400800"/>
                <a:gd name="connsiteY5680" fmla="*/ 321469 h 514350"/>
                <a:gd name="connsiteX5681" fmla="*/ 2450306 w 6400800"/>
                <a:gd name="connsiteY5681" fmla="*/ 322421 h 514350"/>
                <a:gd name="connsiteX5682" fmla="*/ 2451259 w 6400800"/>
                <a:gd name="connsiteY5682" fmla="*/ 324326 h 514350"/>
                <a:gd name="connsiteX5683" fmla="*/ 2449354 w 6400800"/>
                <a:gd name="connsiteY5683" fmla="*/ 334804 h 514350"/>
                <a:gd name="connsiteX5684" fmla="*/ 2450306 w 6400800"/>
                <a:gd name="connsiteY5684" fmla="*/ 254794 h 514350"/>
                <a:gd name="connsiteX5685" fmla="*/ 2451259 w 6400800"/>
                <a:gd name="connsiteY5685" fmla="*/ 251936 h 514350"/>
                <a:gd name="connsiteX5686" fmla="*/ 2451259 w 6400800"/>
                <a:gd name="connsiteY5686" fmla="*/ 250984 h 514350"/>
                <a:gd name="connsiteX5687" fmla="*/ 2451259 w 6400800"/>
                <a:gd name="connsiteY5687" fmla="*/ 251936 h 514350"/>
                <a:gd name="connsiteX5688" fmla="*/ 2450306 w 6400800"/>
                <a:gd name="connsiteY5688" fmla="*/ 254794 h 514350"/>
                <a:gd name="connsiteX5689" fmla="*/ 2452211 w 6400800"/>
                <a:gd name="connsiteY5689" fmla="*/ 251936 h 514350"/>
                <a:gd name="connsiteX5690" fmla="*/ 2451259 w 6400800"/>
                <a:gd name="connsiteY5690" fmla="*/ 250984 h 514350"/>
                <a:gd name="connsiteX5691" fmla="*/ 2456021 w 6400800"/>
                <a:gd name="connsiteY5691" fmla="*/ 238601 h 514350"/>
                <a:gd name="connsiteX5692" fmla="*/ 2460784 w 6400800"/>
                <a:gd name="connsiteY5692" fmla="*/ 231934 h 514350"/>
                <a:gd name="connsiteX5693" fmla="*/ 2459831 w 6400800"/>
                <a:gd name="connsiteY5693" fmla="*/ 235744 h 514350"/>
                <a:gd name="connsiteX5694" fmla="*/ 2456021 w 6400800"/>
                <a:gd name="connsiteY5694" fmla="*/ 248126 h 514350"/>
                <a:gd name="connsiteX5695" fmla="*/ 2452211 w 6400800"/>
                <a:gd name="connsiteY5695" fmla="*/ 251936 h 514350"/>
                <a:gd name="connsiteX5696" fmla="*/ 2457926 w 6400800"/>
                <a:gd name="connsiteY5696" fmla="*/ 266224 h 514350"/>
                <a:gd name="connsiteX5697" fmla="*/ 2456974 w 6400800"/>
                <a:gd name="connsiteY5697" fmla="*/ 268129 h 514350"/>
                <a:gd name="connsiteX5698" fmla="*/ 2457926 w 6400800"/>
                <a:gd name="connsiteY5698" fmla="*/ 266224 h 514350"/>
                <a:gd name="connsiteX5699" fmla="*/ 2457926 w 6400800"/>
                <a:gd name="connsiteY5699" fmla="*/ 266224 h 514350"/>
                <a:gd name="connsiteX5700" fmla="*/ 2457926 w 6400800"/>
                <a:gd name="connsiteY5700" fmla="*/ 374809 h 514350"/>
                <a:gd name="connsiteX5701" fmla="*/ 2456021 w 6400800"/>
                <a:gd name="connsiteY5701" fmla="*/ 367189 h 514350"/>
                <a:gd name="connsiteX5702" fmla="*/ 2456021 w 6400800"/>
                <a:gd name="connsiteY5702" fmla="*/ 362426 h 514350"/>
                <a:gd name="connsiteX5703" fmla="*/ 2456021 w 6400800"/>
                <a:gd name="connsiteY5703" fmla="*/ 344329 h 514350"/>
                <a:gd name="connsiteX5704" fmla="*/ 2458879 w 6400800"/>
                <a:gd name="connsiteY5704" fmla="*/ 354806 h 514350"/>
                <a:gd name="connsiteX5705" fmla="*/ 2457926 w 6400800"/>
                <a:gd name="connsiteY5705" fmla="*/ 374809 h 514350"/>
                <a:gd name="connsiteX5706" fmla="*/ 2456974 w 6400800"/>
                <a:gd name="connsiteY5706" fmla="*/ 308134 h 514350"/>
                <a:gd name="connsiteX5707" fmla="*/ 2456974 w 6400800"/>
                <a:gd name="connsiteY5707" fmla="*/ 305276 h 514350"/>
                <a:gd name="connsiteX5708" fmla="*/ 2457926 w 6400800"/>
                <a:gd name="connsiteY5708" fmla="*/ 302419 h 514350"/>
                <a:gd name="connsiteX5709" fmla="*/ 2459831 w 6400800"/>
                <a:gd name="connsiteY5709" fmla="*/ 313849 h 514350"/>
                <a:gd name="connsiteX5710" fmla="*/ 2460784 w 6400800"/>
                <a:gd name="connsiteY5710" fmla="*/ 317659 h 514350"/>
                <a:gd name="connsiteX5711" fmla="*/ 2456974 w 6400800"/>
                <a:gd name="connsiteY5711" fmla="*/ 308134 h 514350"/>
                <a:gd name="connsiteX5712" fmla="*/ 2458879 w 6400800"/>
                <a:gd name="connsiteY5712" fmla="*/ 290036 h 514350"/>
                <a:gd name="connsiteX5713" fmla="*/ 2459831 w 6400800"/>
                <a:gd name="connsiteY5713" fmla="*/ 287179 h 514350"/>
                <a:gd name="connsiteX5714" fmla="*/ 2463641 w 6400800"/>
                <a:gd name="connsiteY5714" fmla="*/ 277654 h 514350"/>
                <a:gd name="connsiteX5715" fmla="*/ 2465546 w 6400800"/>
                <a:gd name="connsiteY5715" fmla="*/ 281464 h 514350"/>
                <a:gd name="connsiteX5716" fmla="*/ 2458879 w 6400800"/>
                <a:gd name="connsiteY5716" fmla="*/ 290036 h 514350"/>
                <a:gd name="connsiteX5717" fmla="*/ 2464594 w 6400800"/>
                <a:gd name="connsiteY5717" fmla="*/ 305276 h 514350"/>
                <a:gd name="connsiteX5718" fmla="*/ 2460784 w 6400800"/>
                <a:gd name="connsiteY5718" fmla="*/ 295751 h 514350"/>
                <a:gd name="connsiteX5719" fmla="*/ 2462689 w 6400800"/>
                <a:gd name="connsiteY5719" fmla="*/ 292894 h 514350"/>
                <a:gd name="connsiteX5720" fmla="*/ 2466499 w 6400800"/>
                <a:gd name="connsiteY5720" fmla="*/ 285274 h 514350"/>
                <a:gd name="connsiteX5721" fmla="*/ 2464594 w 6400800"/>
                <a:gd name="connsiteY5721" fmla="*/ 305276 h 514350"/>
                <a:gd name="connsiteX5722" fmla="*/ 2467451 w 6400800"/>
                <a:gd name="connsiteY5722" fmla="*/ 274796 h 514350"/>
                <a:gd name="connsiteX5723" fmla="*/ 2466499 w 6400800"/>
                <a:gd name="connsiteY5723" fmla="*/ 272891 h 514350"/>
                <a:gd name="connsiteX5724" fmla="*/ 2468404 w 6400800"/>
                <a:gd name="connsiteY5724" fmla="*/ 268129 h 514350"/>
                <a:gd name="connsiteX5725" fmla="*/ 2467451 w 6400800"/>
                <a:gd name="connsiteY5725" fmla="*/ 274796 h 514350"/>
                <a:gd name="connsiteX5726" fmla="*/ 2471261 w 6400800"/>
                <a:gd name="connsiteY5726" fmla="*/ 233839 h 514350"/>
                <a:gd name="connsiteX5727" fmla="*/ 2470309 w 6400800"/>
                <a:gd name="connsiteY5727" fmla="*/ 245269 h 514350"/>
                <a:gd name="connsiteX5728" fmla="*/ 2469356 w 6400800"/>
                <a:gd name="connsiteY5728" fmla="*/ 246221 h 514350"/>
                <a:gd name="connsiteX5729" fmla="*/ 2459831 w 6400800"/>
                <a:gd name="connsiteY5729" fmla="*/ 263366 h 514350"/>
                <a:gd name="connsiteX5730" fmla="*/ 2458879 w 6400800"/>
                <a:gd name="connsiteY5730" fmla="*/ 261461 h 514350"/>
                <a:gd name="connsiteX5731" fmla="*/ 2461736 w 6400800"/>
                <a:gd name="connsiteY5731" fmla="*/ 247174 h 514350"/>
                <a:gd name="connsiteX5732" fmla="*/ 2462689 w 6400800"/>
                <a:gd name="connsiteY5732" fmla="*/ 245269 h 514350"/>
                <a:gd name="connsiteX5733" fmla="*/ 2472214 w 6400800"/>
                <a:gd name="connsiteY5733" fmla="*/ 231934 h 514350"/>
                <a:gd name="connsiteX5734" fmla="*/ 2472214 w 6400800"/>
                <a:gd name="connsiteY5734" fmla="*/ 231934 h 514350"/>
                <a:gd name="connsiteX5735" fmla="*/ 2473166 w 6400800"/>
                <a:gd name="connsiteY5735" fmla="*/ 240506 h 514350"/>
                <a:gd name="connsiteX5736" fmla="*/ 2472214 w 6400800"/>
                <a:gd name="connsiteY5736" fmla="*/ 242411 h 514350"/>
                <a:gd name="connsiteX5737" fmla="*/ 2471261 w 6400800"/>
                <a:gd name="connsiteY5737" fmla="*/ 233839 h 514350"/>
                <a:gd name="connsiteX5738" fmla="*/ 2467451 w 6400800"/>
                <a:gd name="connsiteY5738" fmla="*/ 211931 h 514350"/>
                <a:gd name="connsiteX5739" fmla="*/ 2465546 w 6400800"/>
                <a:gd name="connsiteY5739" fmla="*/ 213836 h 514350"/>
                <a:gd name="connsiteX5740" fmla="*/ 2466499 w 6400800"/>
                <a:gd name="connsiteY5740" fmla="*/ 211931 h 514350"/>
                <a:gd name="connsiteX5741" fmla="*/ 2468404 w 6400800"/>
                <a:gd name="connsiteY5741" fmla="*/ 208121 h 514350"/>
                <a:gd name="connsiteX5742" fmla="*/ 2468404 w 6400800"/>
                <a:gd name="connsiteY5742" fmla="*/ 210979 h 514350"/>
                <a:gd name="connsiteX5743" fmla="*/ 2467451 w 6400800"/>
                <a:gd name="connsiteY5743" fmla="*/ 211931 h 514350"/>
                <a:gd name="connsiteX5744" fmla="*/ 2467451 w 6400800"/>
                <a:gd name="connsiteY5744" fmla="*/ 211931 h 514350"/>
                <a:gd name="connsiteX5745" fmla="*/ 2467451 w 6400800"/>
                <a:gd name="connsiteY5745" fmla="*/ 211931 h 514350"/>
                <a:gd name="connsiteX5746" fmla="*/ 2470309 w 6400800"/>
                <a:gd name="connsiteY5746" fmla="*/ 218599 h 514350"/>
                <a:gd name="connsiteX5747" fmla="*/ 2472214 w 6400800"/>
                <a:gd name="connsiteY5747" fmla="*/ 230029 h 514350"/>
                <a:gd name="connsiteX5748" fmla="*/ 2472214 w 6400800"/>
                <a:gd name="connsiteY5748" fmla="*/ 230029 h 514350"/>
                <a:gd name="connsiteX5749" fmla="*/ 2463641 w 6400800"/>
                <a:gd name="connsiteY5749" fmla="*/ 237649 h 514350"/>
                <a:gd name="connsiteX5750" fmla="*/ 2464594 w 6400800"/>
                <a:gd name="connsiteY5750" fmla="*/ 234791 h 514350"/>
                <a:gd name="connsiteX5751" fmla="*/ 2466499 w 6400800"/>
                <a:gd name="connsiteY5751" fmla="*/ 224314 h 514350"/>
                <a:gd name="connsiteX5752" fmla="*/ 2466499 w 6400800"/>
                <a:gd name="connsiteY5752" fmla="*/ 224314 h 514350"/>
                <a:gd name="connsiteX5753" fmla="*/ 2470309 w 6400800"/>
                <a:gd name="connsiteY5753" fmla="*/ 218599 h 514350"/>
                <a:gd name="connsiteX5754" fmla="*/ 2477929 w 6400800"/>
                <a:gd name="connsiteY5754" fmla="*/ 223361 h 514350"/>
                <a:gd name="connsiteX5755" fmla="*/ 2475071 w 6400800"/>
                <a:gd name="connsiteY5755" fmla="*/ 212884 h 514350"/>
                <a:gd name="connsiteX5756" fmla="*/ 2477929 w 6400800"/>
                <a:gd name="connsiteY5756" fmla="*/ 209074 h 514350"/>
                <a:gd name="connsiteX5757" fmla="*/ 2477929 w 6400800"/>
                <a:gd name="connsiteY5757" fmla="*/ 217646 h 514350"/>
                <a:gd name="connsiteX5758" fmla="*/ 2477929 w 6400800"/>
                <a:gd name="connsiteY5758" fmla="*/ 223361 h 514350"/>
                <a:gd name="connsiteX5759" fmla="*/ 2473166 w 6400800"/>
                <a:gd name="connsiteY5759" fmla="*/ 206216 h 514350"/>
                <a:gd name="connsiteX5760" fmla="*/ 2472214 w 6400800"/>
                <a:gd name="connsiteY5760" fmla="*/ 203359 h 514350"/>
                <a:gd name="connsiteX5761" fmla="*/ 2471261 w 6400800"/>
                <a:gd name="connsiteY5761" fmla="*/ 201454 h 514350"/>
                <a:gd name="connsiteX5762" fmla="*/ 2474119 w 6400800"/>
                <a:gd name="connsiteY5762" fmla="*/ 195739 h 514350"/>
                <a:gd name="connsiteX5763" fmla="*/ 2477929 w 6400800"/>
                <a:gd name="connsiteY5763" fmla="*/ 189071 h 514350"/>
                <a:gd name="connsiteX5764" fmla="*/ 2477929 w 6400800"/>
                <a:gd name="connsiteY5764" fmla="*/ 201454 h 514350"/>
                <a:gd name="connsiteX5765" fmla="*/ 2473166 w 6400800"/>
                <a:gd name="connsiteY5765" fmla="*/ 206216 h 514350"/>
                <a:gd name="connsiteX5766" fmla="*/ 2473166 w 6400800"/>
                <a:gd name="connsiteY5766" fmla="*/ 255746 h 514350"/>
                <a:gd name="connsiteX5767" fmla="*/ 2475071 w 6400800"/>
                <a:gd name="connsiteY5767" fmla="*/ 251936 h 514350"/>
                <a:gd name="connsiteX5768" fmla="*/ 2476976 w 6400800"/>
                <a:gd name="connsiteY5768" fmla="*/ 266224 h 514350"/>
                <a:gd name="connsiteX5769" fmla="*/ 2479834 w 6400800"/>
                <a:gd name="connsiteY5769" fmla="*/ 292894 h 514350"/>
                <a:gd name="connsiteX5770" fmla="*/ 2479834 w 6400800"/>
                <a:gd name="connsiteY5770" fmla="*/ 296704 h 514350"/>
                <a:gd name="connsiteX5771" fmla="*/ 2479834 w 6400800"/>
                <a:gd name="connsiteY5771" fmla="*/ 295751 h 514350"/>
                <a:gd name="connsiteX5772" fmla="*/ 2475071 w 6400800"/>
                <a:gd name="connsiteY5772" fmla="*/ 288131 h 514350"/>
                <a:gd name="connsiteX5773" fmla="*/ 2473166 w 6400800"/>
                <a:gd name="connsiteY5773" fmla="*/ 255746 h 514350"/>
                <a:gd name="connsiteX5774" fmla="*/ 2481739 w 6400800"/>
                <a:gd name="connsiteY5774" fmla="*/ 324326 h 514350"/>
                <a:gd name="connsiteX5775" fmla="*/ 2480786 w 6400800"/>
                <a:gd name="connsiteY5775" fmla="*/ 326231 h 514350"/>
                <a:gd name="connsiteX5776" fmla="*/ 2476024 w 6400800"/>
                <a:gd name="connsiteY5776" fmla="*/ 340519 h 514350"/>
                <a:gd name="connsiteX5777" fmla="*/ 2476024 w 6400800"/>
                <a:gd name="connsiteY5777" fmla="*/ 308134 h 514350"/>
                <a:gd name="connsiteX5778" fmla="*/ 2476024 w 6400800"/>
                <a:gd name="connsiteY5778" fmla="*/ 308134 h 514350"/>
                <a:gd name="connsiteX5779" fmla="*/ 2479834 w 6400800"/>
                <a:gd name="connsiteY5779" fmla="*/ 318611 h 514350"/>
                <a:gd name="connsiteX5780" fmla="*/ 2480786 w 6400800"/>
                <a:gd name="connsiteY5780" fmla="*/ 322421 h 514350"/>
                <a:gd name="connsiteX5781" fmla="*/ 2481739 w 6400800"/>
                <a:gd name="connsiteY5781" fmla="*/ 324326 h 514350"/>
                <a:gd name="connsiteX5782" fmla="*/ 2481739 w 6400800"/>
                <a:gd name="connsiteY5782" fmla="*/ 324326 h 514350"/>
                <a:gd name="connsiteX5783" fmla="*/ 2436971 w 6400800"/>
                <a:gd name="connsiteY5783" fmla="*/ 215741 h 514350"/>
                <a:gd name="connsiteX5784" fmla="*/ 2447449 w 6400800"/>
                <a:gd name="connsiteY5784" fmla="*/ 195739 h 514350"/>
                <a:gd name="connsiteX5785" fmla="*/ 2457926 w 6400800"/>
                <a:gd name="connsiteY5785" fmla="*/ 178594 h 514350"/>
                <a:gd name="connsiteX5786" fmla="*/ 2475071 w 6400800"/>
                <a:gd name="connsiteY5786" fmla="*/ 150971 h 514350"/>
                <a:gd name="connsiteX5787" fmla="*/ 2482691 w 6400800"/>
                <a:gd name="connsiteY5787" fmla="*/ 138589 h 514350"/>
                <a:gd name="connsiteX5788" fmla="*/ 2480786 w 6400800"/>
                <a:gd name="connsiteY5788" fmla="*/ 154781 h 514350"/>
                <a:gd name="connsiteX5789" fmla="*/ 2478881 w 6400800"/>
                <a:gd name="connsiteY5789" fmla="*/ 181451 h 514350"/>
                <a:gd name="connsiteX5790" fmla="*/ 2470309 w 6400800"/>
                <a:gd name="connsiteY5790" fmla="*/ 193834 h 514350"/>
                <a:gd name="connsiteX5791" fmla="*/ 2469356 w 6400800"/>
                <a:gd name="connsiteY5791" fmla="*/ 194786 h 514350"/>
                <a:gd name="connsiteX5792" fmla="*/ 2465546 w 6400800"/>
                <a:gd name="connsiteY5792" fmla="*/ 181451 h 514350"/>
                <a:gd name="connsiteX5793" fmla="*/ 2467451 w 6400800"/>
                <a:gd name="connsiteY5793" fmla="*/ 197644 h 514350"/>
                <a:gd name="connsiteX5794" fmla="*/ 2460784 w 6400800"/>
                <a:gd name="connsiteY5794" fmla="*/ 209074 h 514350"/>
                <a:gd name="connsiteX5795" fmla="*/ 2447449 w 6400800"/>
                <a:gd name="connsiteY5795" fmla="*/ 234791 h 514350"/>
                <a:gd name="connsiteX5796" fmla="*/ 2436971 w 6400800"/>
                <a:gd name="connsiteY5796" fmla="*/ 247174 h 514350"/>
                <a:gd name="connsiteX5797" fmla="*/ 2436019 w 6400800"/>
                <a:gd name="connsiteY5797" fmla="*/ 249079 h 514350"/>
                <a:gd name="connsiteX5798" fmla="*/ 2436019 w 6400800"/>
                <a:gd name="connsiteY5798" fmla="*/ 249079 h 514350"/>
                <a:gd name="connsiteX5799" fmla="*/ 2433161 w 6400800"/>
                <a:gd name="connsiteY5799" fmla="*/ 225266 h 514350"/>
                <a:gd name="connsiteX5800" fmla="*/ 2436971 w 6400800"/>
                <a:gd name="connsiteY5800" fmla="*/ 215741 h 514350"/>
                <a:gd name="connsiteX5801" fmla="*/ 2416016 w 6400800"/>
                <a:gd name="connsiteY5801" fmla="*/ 313849 h 514350"/>
                <a:gd name="connsiteX5802" fmla="*/ 2416016 w 6400800"/>
                <a:gd name="connsiteY5802" fmla="*/ 313849 h 514350"/>
                <a:gd name="connsiteX5803" fmla="*/ 2413159 w 6400800"/>
                <a:gd name="connsiteY5803" fmla="*/ 304324 h 514350"/>
                <a:gd name="connsiteX5804" fmla="*/ 2415064 w 6400800"/>
                <a:gd name="connsiteY5804" fmla="*/ 301466 h 514350"/>
                <a:gd name="connsiteX5805" fmla="*/ 2415064 w 6400800"/>
                <a:gd name="connsiteY5805" fmla="*/ 303371 h 514350"/>
                <a:gd name="connsiteX5806" fmla="*/ 2416016 w 6400800"/>
                <a:gd name="connsiteY5806" fmla="*/ 313849 h 514350"/>
                <a:gd name="connsiteX5807" fmla="*/ 2416016 w 6400800"/>
                <a:gd name="connsiteY5807" fmla="*/ 313849 h 514350"/>
                <a:gd name="connsiteX5808" fmla="*/ 2422684 w 6400800"/>
                <a:gd name="connsiteY5808" fmla="*/ 288131 h 514350"/>
                <a:gd name="connsiteX5809" fmla="*/ 2422684 w 6400800"/>
                <a:gd name="connsiteY5809" fmla="*/ 293846 h 514350"/>
                <a:gd name="connsiteX5810" fmla="*/ 2420779 w 6400800"/>
                <a:gd name="connsiteY5810" fmla="*/ 299561 h 514350"/>
                <a:gd name="connsiteX5811" fmla="*/ 2418874 w 6400800"/>
                <a:gd name="connsiteY5811" fmla="*/ 293846 h 514350"/>
                <a:gd name="connsiteX5812" fmla="*/ 2420779 w 6400800"/>
                <a:gd name="connsiteY5812" fmla="*/ 290989 h 514350"/>
                <a:gd name="connsiteX5813" fmla="*/ 2422684 w 6400800"/>
                <a:gd name="connsiteY5813" fmla="*/ 288131 h 514350"/>
                <a:gd name="connsiteX5814" fmla="*/ 2414111 w 6400800"/>
                <a:gd name="connsiteY5814" fmla="*/ 259556 h 514350"/>
                <a:gd name="connsiteX5815" fmla="*/ 2419826 w 6400800"/>
                <a:gd name="connsiteY5815" fmla="*/ 248126 h 514350"/>
                <a:gd name="connsiteX5816" fmla="*/ 2420779 w 6400800"/>
                <a:gd name="connsiteY5816" fmla="*/ 266224 h 514350"/>
                <a:gd name="connsiteX5817" fmla="*/ 2412206 w 6400800"/>
                <a:gd name="connsiteY5817" fmla="*/ 277654 h 514350"/>
                <a:gd name="connsiteX5818" fmla="*/ 2410301 w 6400800"/>
                <a:gd name="connsiteY5818" fmla="*/ 273844 h 514350"/>
                <a:gd name="connsiteX5819" fmla="*/ 2408396 w 6400800"/>
                <a:gd name="connsiteY5819" fmla="*/ 270986 h 514350"/>
                <a:gd name="connsiteX5820" fmla="*/ 2414111 w 6400800"/>
                <a:gd name="connsiteY5820" fmla="*/ 259556 h 514350"/>
                <a:gd name="connsiteX5821" fmla="*/ 2406491 w 6400800"/>
                <a:gd name="connsiteY5821" fmla="*/ 275749 h 514350"/>
                <a:gd name="connsiteX5822" fmla="*/ 2406491 w 6400800"/>
                <a:gd name="connsiteY5822" fmla="*/ 275749 h 514350"/>
                <a:gd name="connsiteX5823" fmla="*/ 2409349 w 6400800"/>
                <a:gd name="connsiteY5823" fmla="*/ 282416 h 514350"/>
                <a:gd name="connsiteX5824" fmla="*/ 2406491 w 6400800"/>
                <a:gd name="connsiteY5824" fmla="*/ 286226 h 514350"/>
                <a:gd name="connsiteX5825" fmla="*/ 2404586 w 6400800"/>
                <a:gd name="connsiteY5825" fmla="*/ 280511 h 514350"/>
                <a:gd name="connsiteX5826" fmla="*/ 2406491 w 6400800"/>
                <a:gd name="connsiteY5826" fmla="*/ 275749 h 514350"/>
                <a:gd name="connsiteX5827" fmla="*/ 2405539 w 6400800"/>
                <a:gd name="connsiteY5827" fmla="*/ 317659 h 514350"/>
                <a:gd name="connsiteX5828" fmla="*/ 2408396 w 6400800"/>
                <a:gd name="connsiteY5828" fmla="*/ 328136 h 514350"/>
                <a:gd name="connsiteX5829" fmla="*/ 2408396 w 6400800"/>
                <a:gd name="connsiteY5829" fmla="*/ 334804 h 514350"/>
                <a:gd name="connsiteX5830" fmla="*/ 2407444 w 6400800"/>
                <a:gd name="connsiteY5830" fmla="*/ 332899 h 514350"/>
                <a:gd name="connsiteX5831" fmla="*/ 2407444 w 6400800"/>
                <a:gd name="connsiteY5831" fmla="*/ 340519 h 514350"/>
                <a:gd name="connsiteX5832" fmla="*/ 2404586 w 6400800"/>
                <a:gd name="connsiteY5832" fmla="*/ 350996 h 514350"/>
                <a:gd name="connsiteX5833" fmla="*/ 2400776 w 6400800"/>
                <a:gd name="connsiteY5833" fmla="*/ 364331 h 514350"/>
                <a:gd name="connsiteX5834" fmla="*/ 2398871 w 6400800"/>
                <a:gd name="connsiteY5834" fmla="*/ 343376 h 514350"/>
                <a:gd name="connsiteX5835" fmla="*/ 2397919 w 6400800"/>
                <a:gd name="connsiteY5835" fmla="*/ 333851 h 514350"/>
                <a:gd name="connsiteX5836" fmla="*/ 2398871 w 6400800"/>
                <a:gd name="connsiteY5836" fmla="*/ 330994 h 514350"/>
                <a:gd name="connsiteX5837" fmla="*/ 2405539 w 6400800"/>
                <a:gd name="connsiteY5837" fmla="*/ 317659 h 514350"/>
                <a:gd name="connsiteX5838" fmla="*/ 2398871 w 6400800"/>
                <a:gd name="connsiteY5838" fmla="*/ 291941 h 514350"/>
                <a:gd name="connsiteX5839" fmla="*/ 2399824 w 6400800"/>
                <a:gd name="connsiteY5839" fmla="*/ 295751 h 514350"/>
                <a:gd name="connsiteX5840" fmla="*/ 2394109 w 6400800"/>
                <a:gd name="connsiteY5840" fmla="*/ 303371 h 514350"/>
                <a:gd name="connsiteX5841" fmla="*/ 2394109 w 6400800"/>
                <a:gd name="connsiteY5841" fmla="*/ 302419 h 514350"/>
                <a:gd name="connsiteX5842" fmla="*/ 2398871 w 6400800"/>
                <a:gd name="connsiteY5842" fmla="*/ 291941 h 514350"/>
                <a:gd name="connsiteX5843" fmla="*/ 2393156 w 6400800"/>
                <a:gd name="connsiteY5843" fmla="*/ 267176 h 514350"/>
                <a:gd name="connsiteX5844" fmla="*/ 2391251 w 6400800"/>
                <a:gd name="connsiteY5844" fmla="*/ 270034 h 514350"/>
                <a:gd name="connsiteX5845" fmla="*/ 2389346 w 6400800"/>
                <a:gd name="connsiteY5845" fmla="*/ 254794 h 514350"/>
                <a:gd name="connsiteX5846" fmla="*/ 2393156 w 6400800"/>
                <a:gd name="connsiteY5846" fmla="*/ 267176 h 514350"/>
                <a:gd name="connsiteX5847" fmla="*/ 2351246 w 6400800"/>
                <a:gd name="connsiteY5847" fmla="*/ 278606 h 514350"/>
                <a:gd name="connsiteX5848" fmla="*/ 2351246 w 6400800"/>
                <a:gd name="connsiteY5848" fmla="*/ 278606 h 514350"/>
                <a:gd name="connsiteX5849" fmla="*/ 2351246 w 6400800"/>
                <a:gd name="connsiteY5849" fmla="*/ 275749 h 514350"/>
                <a:gd name="connsiteX5850" fmla="*/ 2351246 w 6400800"/>
                <a:gd name="connsiteY5850" fmla="*/ 278606 h 514350"/>
                <a:gd name="connsiteX5851" fmla="*/ 2378869 w 6400800"/>
                <a:gd name="connsiteY5851" fmla="*/ 295751 h 514350"/>
                <a:gd name="connsiteX5852" fmla="*/ 2375059 w 6400800"/>
                <a:gd name="connsiteY5852" fmla="*/ 303371 h 514350"/>
                <a:gd name="connsiteX5853" fmla="*/ 2374106 w 6400800"/>
                <a:gd name="connsiteY5853" fmla="*/ 305276 h 514350"/>
                <a:gd name="connsiteX5854" fmla="*/ 2374106 w 6400800"/>
                <a:gd name="connsiteY5854" fmla="*/ 304324 h 514350"/>
                <a:gd name="connsiteX5855" fmla="*/ 2376011 w 6400800"/>
                <a:gd name="connsiteY5855" fmla="*/ 231934 h 514350"/>
                <a:gd name="connsiteX5856" fmla="*/ 2366486 w 6400800"/>
                <a:gd name="connsiteY5856" fmla="*/ 277654 h 514350"/>
                <a:gd name="connsiteX5857" fmla="*/ 2364581 w 6400800"/>
                <a:gd name="connsiteY5857" fmla="*/ 272891 h 514350"/>
                <a:gd name="connsiteX5858" fmla="*/ 2361724 w 6400800"/>
                <a:gd name="connsiteY5858" fmla="*/ 264319 h 514350"/>
                <a:gd name="connsiteX5859" fmla="*/ 2361724 w 6400800"/>
                <a:gd name="connsiteY5859" fmla="*/ 245269 h 514350"/>
                <a:gd name="connsiteX5860" fmla="*/ 2365534 w 6400800"/>
                <a:gd name="connsiteY5860" fmla="*/ 234791 h 514350"/>
                <a:gd name="connsiteX5861" fmla="*/ 2376011 w 6400800"/>
                <a:gd name="connsiteY5861" fmla="*/ 211931 h 514350"/>
                <a:gd name="connsiteX5862" fmla="*/ 2376011 w 6400800"/>
                <a:gd name="connsiteY5862" fmla="*/ 244316 h 514350"/>
                <a:gd name="connsiteX5863" fmla="*/ 2376964 w 6400800"/>
                <a:gd name="connsiteY5863" fmla="*/ 290989 h 514350"/>
                <a:gd name="connsiteX5864" fmla="*/ 2378869 w 6400800"/>
                <a:gd name="connsiteY5864" fmla="*/ 295751 h 514350"/>
                <a:gd name="connsiteX5865" fmla="*/ 2362676 w 6400800"/>
                <a:gd name="connsiteY5865" fmla="*/ 180499 h 514350"/>
                <a:gd name="connsiteX5866" fmla="*/ 2368391 w 6400800"/>
                <a:gd name="connsiteY5866" fmla="*/ 166211 h 514350"/>
                <a:gd name="connsiteX5867" fmla="*/ 2377916 w 6400800"/>
                <a:gd name="connsiteY5867" fmla="*/ 140494 h 514350"/>
                <a:gd name="connsiteX5868" fmla="*/ 2378869 w 6400800"/>
                <a:gd name="connsiteY5868" fmla="*/ 143351 h 514350"/>
                <a:gd name="connsiteX5869" fmla="*/ 2378869 w 6400800"/>
                <a:gd name="connsiteY5869" fmla="*/ 152876 h 514350"/>
                <a:gd name="connsiteX5870" fmla="*/ 2377916 w 6400800"/>
                <a:gd name="connsiteY5870" fmla="*/ 147161 h 514350"/>
                <a:gd name="connsiteX5871" fmla="*/ 2377916 w 6400800"/>
                <a:gd name="connsiteY5871" fmla="*/ 173831 h 514350"/>
                <a:gd name="connsiteX5872" fmla="*/ 2377916 w 6400800"/>
                <a:gd name="connsiteY5872" fmla="*/ 203359 h 514350"/>
                <a:gd name="connsiteX5873" fmla="*/ 2362676 w 6400800"/>
                <a:gd name="connsiteY5873" fmla="*/ 227171 h 514350"/>
                <a:gd name="connsiteX5874" fmla="*/ 2360771 w 6400800"/>
                <a:gd name="connsiteY5874" fmla="*/ 185261 h 514350"/>
                <a:gd name="connsiteX5875" fmla="*/ 2362676 w 6400800"/>
                <a:gd name="connsiteY5875" fmla="*/ 180499 h 514350"/>
                <a:gd name="connsiteX5876" fmla="*/ 2340769 w 6400800"/>
                <a:gd name="connsiteY5876" fmla="*/ 241459 h 514350"/>
                <a:gd name="connsiteX5877" fmla="*/ 2342674 w 6400800"/>
                <a:gd name="connsiteY5877" fmla="*/ 235744 h 514350"/>
                <a:gd name="connsiteX5878" fmla="*/ 2347436 w 6400800"/>
                <a:gd name="connsiteY5878" fmla="*/ 221456 h 514350"/>
                <a:gd name="connsiteX5879" fmla="*/ 2359819 w 6400800"/>
                <a:gd name="connsiteY5879" fmla="*/ 187166 h 514350"/>
                <a:gd name="connsiteX5880" fmla="*/ 2355056 w 6400800"/>
                <a:gd name="connsiteY5880" fmla="*/ 236696 h 514350"/>
                <a:gd name="connsiteX5881" fmla="*/ 2353151 w 6400800"/>
                <a:gd name="connsiteY5881" fmla="*/ 230029 h 514350"/>
                <a:gd name="connsiteX5882" fmla="*/ 2354104 w 6400800"/>
                <a:gd name="connsiteY5882" fmla="*/ 241459 h 514350"/>
                <a:gd name="connsiteX5883" fmla="*/ 2344579 w 6400800"/>
                <a:gd name="connsiteY5883" fmla="*/ 259556 h 514350"/>
                <a:gd name="connsiteX5884" fmla="*/ 2344579 w 6400800"/>
                <a:gd name="connsiteY5884" fmla="*/ 259556 h 514350"/>
                <a:gd name="connsiteX5885" fmla="*/ 2339816 w 6400800"/>
                <a:gd name="connsiteY5885" fmla="*/ 245269 h 514350"/>
                <a:gd name="connsiteX5886" fmla="*/ 2340769 w 6400800"/>
                <a:gd name="connsiteY5886" fmla="*/ 241459 h 514350"/>
                <a:gd name="connsiteX5887" fmla="*/ 2344579 w 6400800"/>
                <a:gd name="connsiteY5887" fmla="*/ 320516 h 514350"/>
                <a:gd name="connsiteX5888" fmla="*/ 2339816 w 6400800"/>
                <a:gd name="connsiteY5888" fmla="*/ 310991 h 514350"/>
                <a:gd name="connsiteX5889" fmla="*/ 2339816 w 6400800"/>
                <a:gd name="connsiteY5889" fmla="*/ 310039 h 514350"/>
                <a:gd name="connsiteX5890" fmla="*/ 2344579 w 6400800"/>
                <a:gd name="connsiteY5890" fmla="*/ 320516 h 514350"/>
                <a:gd name="connsiteX5891" fmla="*/ 2337911 w 6400800"/>
                <a:gd name="connsiteY5891" fmla="*/ 317659 h 514350"/>
                <a:gd name="connsiteX5892" fmla="*/ 2341721 w 6400800"/>
                <a:gd name="connsiteY5892" fmla="*/ 327184 h 514350"/>
                <a:gd name="connsiteX5893" fmla="*/ 2336959 w 6400800"/>
                <a:gd name="connsiteY5893" fmla="*/ 321469 h 514350"/>
                <a:gd name="connsiteX5894" fmla="*/ 2337911 w 6400800"/>
                <a:gd name="connsiteY5894" fmla="*/ 317659 h 514350"/>
                <a:gd name="connsiteX5895" fmla="*/ 2332196 w 6400800"/>
                <a:gd name="connsiteY5895" fmla="*/ 280511 h 514350"/>
                <a:gd name="connsiteX5896" fmla="*/ 2333149 w 6400800"/>
                <a:gd name="connsiteY5896" fmla="*/ 283369 h 514350"/>
                <a:gd name="connsiteX5897" fmla="*/ 2332196 w 6400800"/>
                <a:gd name="connsiteY5897" fmla="*/ 281464 h 514350"/>
                <a:gd name="connsiteX5898" fmla="*/ 2332196 w 6400800"/>
                <a:gd name="connsiteY5898" fmla="*/ 280511 h 514350"/>
                <a:gd name="connsiteX5899" fmla="*/ 2330291 w 6400800"/>
                <a:gd name="connsiteY5899" fmla="*/ 289084 h 514350"/>
                <a:gd name="connsiteX5900" fmla="*/ 2331244 w 6400800"/>
                <a:gd name="connsiteY5900" fmla="*/ 290989 h 514350"/>
                <a:gd name="connsiteX5901" fmla="*/ 2330291 w 6400800"/>
                <a:gd name="connsiteY5901" fmla="*/ 292894 h 514350"/>
                <a:gd name="connsiteX5902" fmla="*/ 2329339 w 6400800"/>
                <a:gd name="connsiteY5902" fmla="*/ 290989 h 514350"/>
                <a:gd name="connsiteX5903" fmla="*/ 2330291 w 6400800"/>
                <a:gd name="connsiteY5903" fmla="*/ 289084 h 514350"/>
                <a:gd name="connsiteX5904" fmla="*/ 2329339 w 6400800"/>
                <a:gd name="connsiteY5904" fmla="*/ 293846 h 514350"/>
                <a:gd name="connsiteX5905" fmla="*/ 2329339 w 6400800"/>
                <a:gd name="connsiteY5905" fmla="*/ 292894 h 514350"/>
                <a:gd name="connsiteX5906" fmla="*/ 2330291 w 6400800"/>
                <a:gd name="connsiteY5906" fmla="*/ 294799 h 514350"/>
                <a:gd name="connsiteX5907" fmla="*/ 2328386 w 6400800"/>
                <a:gd name="connsiteY5907" fmla="*/ 299561 h 514350"/>
                <a:gd name="connsiteX5908" fmla="*/ 2328386 w 6400800"/>
                <a:gd name="connsiteY5908" fmla="*/ 298609 h 514350"/>
                <a:gd name="connsiteX5909" fmla="*/ 2329339 w 6400800"/>
                <a:gd name="connsiteY5909" fmla="*/ 293846 h 514350"/>
                <a:gd name="connsiteX5910" fmla="*/ 2313146 w 6400800"/>
                <a:gd name="connsiteY5910" fmla="*/ 194786 h 514350"/>
                <a:gd name="connsiteX5911" fmla="*/ 2315051 w 6400800"/>
                <a:gd name="connsiteY5911" fmla="*/ 201454 h 514350"/>
                <a:gd name="connsiteX5912" fmla="*/ 2316004 w 6400800"/>
                <a:gd name="connsiteY5912" fmla="*/ 205264 h 514350"/>
                <a:gd name="connsiteX5913" fmla="*/ 2314099 w 6400800"/>
                <a:gd name="connsiteY5913" fmla="*/ 214789 h 514350"/>
                <a:gd name="connsiteX5914" fmla="*/ 2314099 w 6400800"/>
                <a:gd name="connsiteY5914" fmla="*/ 214789 h 514350"/>
                <a:gd name="connsiteX5915" fmla="*/ 2310289 w 6400800"/>
                <a:gd name="connsiteY5915" fmla="*/ 207169 h 514350"/>
                <a:gd name="connsiteX5916" fmla="*/ 2313146 w 6400800"/>
                <a:gd name="connsiteY5916" fmla="*/ 194786 h 514350"/>
                <a:gd name="connsiteX5917" fmla="*/ 2304574 w 6400800"/>
                <a:gd name="connsiteY5917" fmla="*/ 197644 h 514350"/>
                <a:gd name="connsiteX5918" fmla="*/ 2305526 w 6400800"/>
                <a:gd name="connsiteY5918" fmla="*/ 200501 h 514350"/>
                <a:gd name="connsiteX5919" fmla="*/ 2303621 w 6400800"/>
                <a:gd name="connsiteY5919" fmla="*/ 205264 h 514350"/>
                <a:gd name="connsiteX5920" fmla="*/ 2304574 w 6400800"/>
                <a:gd name="connsiteY5920" fmla="*/ 197644 h 514350"/>
                <a:gd name="connsiteX5921" fmla="*/ 2297906 w 6400800"/>
                <a:gd name="connsiteY5921" fmla="*/ 272891 h 514350"/>
                <a:gd name="connsiteX5922" fmla="*/ 2298859 w 6400800"/>
                <a:gd name="connsiteY5922" fmla="*/ 256699 h 514350"/>
                <a:gd name="connsiteX5923" fmla="*/ 2299811 w 6400800"/>
                <a:gd name="connsiteY5923" fmla="*/ 250984 h 514350"/>
                <a:gd name="connsiteX5924" fmla="*/ 2308384 w 6400800"/>
                <a:gd name="connsiteY5924" fmla="*/ 211931 h 514350"/>
                <a:gd name="connsiteX5925" fmla="*/ 2309336 w 6400800"/>
                <a:gd name="connsiteY5925" fmla="*/ 215741 h 514350"/>
                <a:gd name="connsiteX5926" fmla="*/ 2311241 w 6400800"/>
                <a:gd name="connsiteY5926" fmla="*/ 221456 h 514350"/>
                <a:gd name="connsiteX5927" fmla="*/ 2311241 w 6400800"/>
                <a:gd name="connsiteY5927" fmla="*/ 221456 h 514350"/>
                <a:gd name="connsiteX5928" fmla="*/ 2304574 w 6400800"/>
                <a:gd name="connsiteY5928" fmla="*/ 253841 h 514350"/>
                <a:gd name="connsiteX5929" fmla="*/ 2302669 w 6400800"/>
                <a:gd name="connsiteY5929" fmla="*/ 251936 h 514350"/>
                <a:gd name="connsiteX5930" fmla="*/ 2304574 w 6400800"/>
                <a:gd name="connsiteY5930" fmla="*/ 253841 h 514350"/>
                <a:gd name="connsiteX5931" fmla="*/ 2299811 w 6400800"/>
                <a:gd name="connsiteY5931" fmla="*/ 274796 h 514350"/>
                <a:gd name="connsiteX5932" fmla="*/ 2294096 w 6400800"/>
                <a:gd name="connsiteY5932" fmla="*/ 300514 h 514350"/>
                <a:gd name="connsiteX5933" fmla="*/ 2297906 w 6400800"/>
                <a:gd name="connsiteY5933" fmla="*/ 272891 h 514350"/>
                <a:gd name="connsiteX5934" fmla="*/ 2271236 w 6400800"/>
                <a:gd name="connsiteY5934" fmla="*/ 369094 h 514350"/>
                <a:gd name="connsiteX5935" fmla="*/ 2270284 w 6400800"/>
                <a:gd name="connsiteY5935" fmla="*/ 376714 h 514350"/>
                <a:gd name="connsiteX5936" fmla="*/ 2270284 w 6400800"/>
                <a:gd name="connsiteY5936" fmla="*/ 376714 h 514350"/>
                <a:gd name="connsiteX5937" fmla="*/ 2270284 w 6400800"/>
                <a:gd name="connsiteY5937" fmla="*/ 372904 h 514350"/>
                <a:gd name="connsiteX5938" fmla="*/ 2271236 w 6400800"/>
                <a:gd name="connsiteY5938" fmla="*/ 369094 h 514350"/>
                <a:gd name="connsiteX5939" fmla="*/ 2252186 w 6400800"/>
                <a:gd name="connsiteY5939" fmla="*/ 297656 h 514350"/>
                <a:gd name="connsiteX5940" fmla="*/ 2251234 w 6400800"/>
                <a:gd name="connsiteY5940" fmla="*/ 311944 h 514350"/>
                <a:gd name="connsiteX5941" fmla="*/ 2250281 w 6400800"/>
                <a:gd name="connsiteY5941" fmla="*/ 308134 h 514350"/>
                <a:gd name="connsiteX5942" fmla="*/ 2252186 w 6400800"/>
                <a:gd name="connsiteY5942" fmla="*/ 297656 h 514350"/>
                <a:gd name="connsiteX5943" fmla="*/ 2215991 w 6400800"/>
                <a:gd name="connsiteY5943" fmla="*/ 252889 h 514350"/>
                <a:gd name="connsiteX5944" fmla="*/ 2215991 w 6400800"/>
                <a:gd name="connsiteY5944" fmla="*/ 256699 h 514350"/>
                <a:gd name="connsiteX5945" fmla="*/ 2215991 w 6400800"/>
                <a:gd name="connsiteY5945" fmla="*/ 256699 h 514350"/>
                <a:gd name="connsiteX5946" fmla="*/ 2215991 w 6400800"/>
                <a:gd name="connsiteY5946" fmla="*/ 252889 h 514350"/>
                <a:gd name="connsiteX5947" fmla="*/ 2211229 w 6400800"/>
                <a:gd name="connsiteY5947" fmla="*/ 281464 h 514350"/>
                <a:gd name="connsiteX5948" fmla="*/ 2214086 w 6400800"/>
                <a:gd name="connsiteY5948" fmla="*/ 260509 h 514350"/>
                <a:gd name="connsiteX5949" fmla="*/ 2215039 w 6400800"/>
                <a:gd name="connsiteY5949" fmla="*/ 261461 h 514350"/>
                <a:gd name="connsiteX5950" fmla="*/ 2215039 w 6400800"/>
                <a:gd name="connsiteY5950" fmla="*/ 267176 h 514350"/>
                <a:gd name="connsiteX5951" fmla="*/ 2212181 w 6400800"/>
                <a:gd name="connsiteY5951" fmla="*/ 299561 h 514350"/>
                <a:gd name="connsiteX5952" fmla="*/ 2206466 w 6400800"/>
                <a:gd name="connsiteY5952" fmla="*/ 309086 h 514350"/>
                <a:gd name="connsiteX5953" fmla="*/ 2211229 w 6400800"/>
                <a:gd name="connsiteY5953" fmla="*/ 281464 h 514350"/>
                <a:gd name="connsiteX5954" fmla="*/ 2205514 w 6400800"/>
                <a:gd name="connsiteY5954" fmla="*/ 337661 h 514350"/>
                <a:gd name="connsiteX5955" fmla="*/ 2204561 w 6400800"/>
                <a:gd name="connsiteY5955" fmla="*/ 339566 h 514350"/>
                <a:gd name="connsiteX5956" fmla="*/ 2204561 w 6400800"/>
                <a:gd name="connsiteY5956" fmla="*/ 340519 h 514350"/>
                <a:gd name="connsiteX5957" fmla="*/ 2205514 w 6400800"/>
                <a:gd name="connsiteY5957" fmla="*/ 337661 h 514350"/>
                <a:gd name="connsiteX5958" fmla="*/ 2183606 w 6400800"/>
                <a:gd name="connsiteY5958" fmla="*/ 336709 h 514350"/>
                <a:gd name="connsiteX5959" fmla="*/ 2185511 w 6400800"/>
                <a:gd name="connsiteY5959" fmla="*/ 345281 h 514350"/>
                <a:gd name="connsiteX5960" fmla="*/ 2184559 w 6400800"/>
                <a:gd name="connsiteY5960" fmla="*/ 350044 h 514350"/>
                <a:gd name="connsiteX5961" fmla="*/ 2183606 w 6400800"/>
                <a:gd name="connsiteY5961" fmla="*/ 340519 h 514350"/>
                <a:gd name="connsiteX5962" fmla="*/ 2183606 w 6400800"/>
                <a:gd name="connsiteY5962" fmla="*/ 337661 h 514350"/>
                <a:gd name="connsiteX5963" fmla="*/ 2183606 w 6400800"/>
                <a:gd name="connsiteY5963" fmla="*/ 336709 h 514350"/>
                <a:gd name="connsiteX5964" fmla="*/ 2178844 w 6400800"/>
                <a:gd name="connsiteY5964" fmla="*/ 345281 h 514350"/>
                <a:gd name="connsiteX5965" fmla="*/ 2178844 w 6400800"/>
                <a:gd name="connsiteY5965" fmla="*/ 357664 h 514350"/>
                <a:gd name="connsiteX5966" fmla="*/ 2175986 w 6400800"/>
                <a:gd name="connsiteY5966" fmla="*/ 350996 h 514350"/>
                <a:gd name="connsiteX5967" fmla="*/ 2178844 w 6400800"/>
                <a:gd name="connsiteY5967" fmla="*/ 345281 h 514350"/>
                <a:gd name="connsiteX5968" fmla="*/ 2150269 w 6400800"/>
                <a:gd name="connsiteY5968" fmla="*/ 278606 h 514350"/>
                <a:gd name="connsiteX5969" fmla="*/ 2162651 w 6400800"/>
                <a:gd name="connsiteY5969" fmla="*/ 232886 h 514350"/>
                <a:gd name="connsiteX5970" fmla="*/ 2161699 w 6400800"/>
                <a:gd name="connsiteY5970" fmla="*/ 235744 h 514350"/>
                <a:gd name="connsiteX5971" fmla="*/ 2157889 w 6400800"/>
                <a:gd name="connsiteY5971" fmla="*/ 253841 h 514350"/>
                <a:gd name="connsiteX5972" fmla="*/ 2154079 w 6400800"/>
                <a:gd name="connsiteY5972" fmla="*/ 274796 h 514350"/>
                <a:gd name="connsiteX5973" fmla="*/ 2151221 w 6400800"/>
                <a:gd name="connsiteY5973" fmla="*/ 293846 h 514350"/>
                <a:gd name="connsiteX5974" fmla="*/ 2148364 w 6400800"/>
                <a:gd name="connsiteY5974" fmla="*/ 288131 h 514350"/>
                <a:gd name="connsiteX5975" fmla="*/ 2150269 w 6400800"/>
                <a:gd name="connsiteY5975" fmla="*/ 296704 h 514350"/>
                <a:gd name="connsiteX5976" fmla="*/ 2147411 w 6400800"/>
                <a:gd name="connsiteY5976" fmla="*/ 314801 h 514350"/>
                <a:gd name="connsiteX5977" fmla="*/ 2140744 w 6400800"/>
                <a:gd name="connsiteY5977" fmla="*/ 305276 h 514350"/>
                <a:gd name="connsiteX5978" fmla="*/ 2150269 w 6400800"/>
                <a:gd name="connsiteY5978" fmla="*/ 278606 h 514350"/>
                <a:gd name="connsiteX5979" fmla="*/ 2142649 w 6400800"/>
                <a:gd name="connsiteY5979" fmla="*/ 305276 h 514350"/>
                <a:gd name="connsiteX5980" fmla="*/ 2148364 w 6400800"/>
                <a:gd name="connsiteY5980" fmla="*/ 319564 h 514350"/>
                <a:gd name="connsiteX5981" fmla="*/ 2148364 w 6400800"/>
                <a:gd name="connsiteY5981" fmla="*/ 320516 h 514350"/>
                <a:gd name="connsiteX5982" fmla="*/ 2148364 w 6400800"/>
                <a:gd name="connsiteY5982" fmla="*/ 321469 h 514350"/>
                <a:gd name="connsiteX5983" fmla="*/ 2145506 w 6400800"/>
                <a:gd name="connsiteY5983" fmla="*/ 343376 h 514350"/>
                <a:gd name="connsiteX5984" fmla="*/ 2139791 w 6400800"/>
                <a:gd name="connsiteY5984" fmla="*/ 324326 h 514350"/>
                <a:gd name="connsiteX5985" fmla="*/ 2138839 w 6400800"/>
                <a:gd name="connsiteY5985" fmla="*/ 320516 h 514350"/>
                <a:gd name="connsiteX5986" fmla="*/ 2142649 w 6400800"/>
                <a:gd name="connsiteY5986" fmla="*/ 305276 h 514350"/>
                <a:gd name="connsiteX5987" fmla="*/ 2058829 w 6400800"/>
                <a:gd name="connsiteY5987" fmla="*/ 353854 h 514350"/>
                <a:gd name="connsiteX5988" fmla="*/ 2056924 w 6400800"/>
                <a:gd name="connsiteY5988" fmla="*/ 366236 h 514350"/>
                <a:gd name="connsiteX5989" fmla="*/ 2055971 w 6400800"/>
                <a:gd name="connsiteY5989" fmla="*/ 361474 h 514350"/>
                <a:gd name="connsiteX5990" fmla="*/ 2054066 w 6400800"/>
                <a:gd name="connsiteY5990" fmla="*/ 352901 h 514350"/>
                <a:gd name="connsiteX5991" fmla="*/ 2054066 w 6400800"/>
                <a:gd name="connsiteY5991" fmla="*/ 351949 h 514350"/>
                <a:gd name="connsiteX5992" fmla="*/ 2059781 w 6400800"/>
                <a:gd name="connsiteY5992" fmla="*/ 338614 h 514350"/>
                <a:gd name="connsiteX5993" fmla="*/ 2060734 w 6400800"/>
                <a:gd name="connsiteY5993" fmla="*/ 343376 h 514350"/>
                <a:gd name="connsiteX5994" fmla="*/ 2058829 w 6400800"/>
                <a:gd name="connsiteY5994" fmla="*/ 353854 h 514350"/>
                <a:gd name="connsiteX5995" fmla="*/ 2081689 w 6400800"/>
                <a:gd name="connsiteY5995" fmla="*/ 350044 h 514350"/>
                <a:gd name="connsiteX5996" fmla="*/ 2079784 w 6400800"/>
                <a:gd name="connsiteY5996" fmla="*/ 354806 h 514350"/>
                <a:gd name="connsiteX5997" fmla="*/ 2077879 w 6400800"/>
                <a:gd name="connsiteY5997" fmla="*/ 347186 h 514350"/>
                <a:gd name="connsiteX5998" fmla="*/ 2077879 w 6400800"/>
                <a:gd name="connsiteY5998" fmla="*/ 344329 h 514350"/>
                <a:gd name="connsiteX5999" fmla="*/ 2080736 w 6400800"/>
                <a:gd name="connsiteY5999" fmla="*/ 348139 h 514350"/>
                <a:gd name="connsiteX6000" fmla="*/ 2081689 w 6400800"/>
                <a:gd name="connsiteY6000" fmla="*/ 350044 h 514350"/>
                <a:gd name="connsiteX6001" fmla="*/ 2081689 w 6400800"/>
                <a:gd name="connsiteY6001" fmla="*/ 350044 h 514350"/>
                <a:gd name="connsiteX6002" fmla="*/ 2081689 w 6400800"/>
                <a:gd name="connsiteY6002" fmla="*/ 339566 h 514350"/>
                <a:gd name="connsiteX6003" fmla="*/ 2081689 w 6400800"/>
                <a:gd name="connsiteY6003" fmla="*/ 341471 h 514350"/>
                <a:gd name="connsiteX6004" fmla="*/ 2078831 w 6400800"/>
                <a:gd name="connsiteY6004" fmla="*/ 337661 h 514350"/>
                <a:gd name="connsiteX6005" fmla="*/ 2079784 w 6400800"/>
                <a:gd name="connsiteY6005" fmla="*/ 330041 h 514350"/>
                <a:gd name="connsiteX6006" fmla="*/ 2081689 w 6400800"/>
                <a:gd name="connsiteY6006" fmla="*/ 339566 h 514350"/>
                <a:gd name="connsiteX6007" fmla="*/ 2081689 w 6400800"/>
                <a:gd name="connsiteY6007" fmla="*/ 339566 h 514350"/>
                <a:gd name="connsiteX6008" fmla="*/ 2085499 w 6400800"/>
                <a:gd name="connsiteY6008" fmla="*/ 290036 h 514350"/>
                <a:gd name="connsiteX6009" fmla="*/ 2084546 w 6400800"/>
                <a:gd name="connsiteY6009" fmla="*/ 307181 h 514350"/>
                <a:gd name="connsiteX6010" fmla="*/ 2083594 w 6400800"/>
                <a:gd name="connsiteY6010" fmla="*/ 303371 h 514350"/>
                <a:gd name="connsiteX6011" fmla="*/ 2086451 w 6400800"/>
                <a:gd name="connsiteY6011" fmla="*/ 273844 h 514350"/>
                <a:gd name="connsiteX6012" fmla="*/ 2087404 w 6400800"/>
                <a:gd name="connsiteY6012" fmla="*/ 267176 h 514350"/>
                <a:gd name="connsiteX6013" fmla="*/ 2085499 w 6400800"/>
                <a:gd name="connsiteY6013" fmla="*/ 290036 h 514350"/>
                <a:gd name="connsiteX6014" fmla="*/ 2089309 w 6400800"/>
                <a:gd name="connsiteY6014" fmla="*/ 180499 h 514350"/>
                <a:gd name="connsiteX6015" fmla="*/ 2089309 w 6400800"/>
                <a:gd name="connsiteY6015" fmla="*/ 200501 h 514350"/>
                <a:gd name="connsiteX6016" fmla="*/ 2086451 w 6400800"/>
                <a:gd name="connsiteY6016" fmla="*/ 192881 h 514350"/>
                <a:gd name="connsiteX6017" fmla="*/ 2089309 w 6400800"/>
                <a:gd name="connsiteY6017" fmla="*/ 180499 h 514350"/>
                <a:gd name="connsiteX6018" fmla="*/ 2072164 w 6400800"/>
                <a:gd name="connsiteY6018" fmla="*/ 241459 h 514350"/>
                <a:gd name="connsiteX6019" fmla="*/ 2086451 w 6400800"/>
                <a:gd name="connsiteY6019" fmla="*/ 193834 h 514350"/>
                <a:gd name="connsiteX6020" fmla="*/ 2090261 w 6400800"/>
                <a:gd name="connsiteY6020" fmla="*/ 207169 h 514350"/>
                <a:gd name="connsiteX6021" fmla="*/ 2090261 w 6400800"/>
                <a:gd name="connsiteY6021" fmla="*/ 208121 h 514350"/>
                <a:gd name="connsiteX6022" fmla="*/ 2075974 w 6400800"/>
                <a:gd name="connsiteY6022" fmla="*/ 271939 h 514350"/>
                <a:gd name="connsiteX6023" fmla="*/ 2074069 w 6400800"/>
                <a:gd name="connsiteY6023" fmla="*/ 282416 h 514350"/>
                <a:gd name="connsiteX6024" fmla="*/ 2068354 w 6400800"/>
                <a:gd name="connsiteY6024" fmla="*/ 271939 h 514350"/>
                <a:gd name="connsiteX6025" fmla="*/ 2065496 w 6400800"/>
                <a:gd name="connsiteY6025" fmla="*/ 266224 h 514350"/>
                <a:gd name="connsiteX6026" fmla="*/ 2072164 w 6400800"/>
                <a:gd name="connsiteY6026" fmla="*/ 241459 h 514350"/>
                <a:gd name="connsiteX6027" fmla="*/ 2062639 w 6400800"/>
                <a:gd name="connsiteY6027" fmla="*/ 270034 h 514350"/>
                <a:gd name="connsiteX6028" fmla="*/ 2063591 w 6400800"/>
                <a:gd name="connsiteY6028" fmla="*/ 272891 h 514350"/>
                <a:gd name="connsiteX6029" fmla="*/ 2069306 w 6400800"/>
                <a:gd name="connsiteY6029" fmla="*/ 292894 h 514350"/>
                <a:gd name="connsiteX6030" fmla="*/ 2070259 w 6400800"/>
                <a:gd name="connsiteY6030" fmla="*/ 294799 h 514350"/>
                <a:gd name="connsiteX6031" fmla="*/ 2067401 w 6400800"/>
                <a:gd name="connsiteY6031" fmla="*/ 310039 h 514350"/>
                <a:gd name="connsiteX6032" fmla="*/ 2065496 w 6400800"/>
                <a:gd name="connsiteY6032" fmla="*/ 303371 h 514350"/>
                <a:gd name="connsiteX6033" fmla="*/ 2058829 w 6400800"/>
                <a:gd name="connsiteY6033" fmla="*/ 284321 h 514350"/>
                <a:gd name="connsiteX6034" fmla="*/ 2062639 w 6400800"/>
                <a:gd name="connsiteY6034" fmla="*/ 270034 h 514350"/>
                <a:gd name="connsiteX6035" fmla="*/ 2053114 w 6400800"/>
                <a:gd name="connsiteY6035" fmla="*/ 301466 h 514350"/>
                <a:gd name="connsiteX6036" fmla="*/ 2054066 w 6400800"/>
                <a:gd name="connsiteY6036" fmla="*/ 306229 h 514350"/>
                <a:gd name="connsiteX6037" fmla="*/ 2056924 w 6400800"/>
                <a:gd name="connsiteY6037" fmla="*/ 320516 h 514350"/>
                <a:gd name="connsiteX6038" fmla="*/ 2055971 w 6400800"/>
                <a:gd name="connsiteY6038" fmla="*/ 320516 h 514350"/>
                <a:gd name="connsiteX6039" fmla="*/ 2049304 w 6400800"/>
                <a:gd name="connsiteY6039" fmla="*/ 317659 h 514350"/>
                <a:gd name="connsiteX6040" fmla="*/ 2055971 w 6400800"/>
                <a:gd name="connsiteY6040" fmla="*/ 321469 h 514350"/>
                <a:gd name="connsiteX6041" fmla="*/ 2057876 w 6400800"/>
                <a:gd name="connsiteY6041" fmla="*/ 322421 h 514350"/>
                <a:gd name="connsiteX6042" fmla="*/ 2059781 w 6400800"/>
                <a:gd name="connsiteY6042" fmla="*/ 332899 h 514350"/>
                <a:gd name="connsiteX6043" fmla="*/ 2053114 w 6400800"/>
                <a:gd name="connsiteY6043" fmla="*/ 342424 h 514350"/>
                <a:gd name="connsiteX6044" fmla="*/ 2049304 w 6400800"/>
                <a:gd name="connsiteY6044" fmla="*/ 321469 h 514350"/>
                <a:gd name="connsiteX6045" fmla="*/ 2049304 w 6400800"/>
                <a:gd name="connsiteY6045" fmla="*/ 315754 h 514350"/>
                <a:gd name="connsiteX6046" fmla="*/ 2053114 w 6400800"/>
                <a:gd name="connsiteY6046" fmla="*/ 301466 h 514350"/>
                <a:gd name="connsiteX6047" fmla="*/ 2044541 w 6400800"/>
                <a:gd name="connsiteY6047" fmla="*/ 260509 h 514350"/>
                <a:gd name="connsiteX6048" fmla="*/ 2044541 w 6400800"/>
                <a:gd name="connsiteY6048" fmla="*/ 260509 h 514350"/>
                <a:gd name="connsiteX6049" fmla="*/ 2044541 w 6400800"/>
                <a:gd name="connsiteY6049" fmla="*/ 259556 h 514350"/>
                <a:gd name="connsiteX6050" fmla="*/ 2044541 w 6400800"/>
                <a:gd name="connsiteY6050" fmla="*/ 260509 h 514350"/>
                <a:gd name="connsiteX6051" fmla="*/ 2019776 w 6400800"/>
                <a:gd name="connsiteY6051" fmla="*/ 188119 h 514350"/>
                <a:gd name="connsiteX6052" fmla="*/ 2019776 w 6400800"/>
                <a:gd name="connsiteY6052" fmla="*/ 185261 h 514350"/>
                <a:gd name="connsiteX6053" fmla="*/ 2020729 w 6400800"/>
                <a:gd name="connsiteY6053" fmla="*/ 177641 h 514350"/>
                <a:gd name="connsiteX6054" fmla="*/ 2020729 w 6400800"/>
                <a:gd name="connsiteY6054" fmla="*/ 189071 h 514350"/>
                <a:gd name="connsiteX6055" fmla="*/ 2021681 w 6400800"/>
                <a:gd name="connsiteY6055" fmla="*/ 220504 h 514350"/>
                <a:gd name="connsiteX6056" fmla="*/ 2023586 w 6400800"/>
                <a:gd name="connsiteY6056" fmla="*/ 244316 h 514350"/>
                <a:gd name="connsiteX6057" fmla="*/ 2022634 w 6400800"/>
                <a:gd name="connsiteY6057" fmla="*/ 247174 h 514350"/>
                <a:gd name="connsiteX6058" fmla="*/ 2016919 w 6400800"/>
                <a:gd name="connsiteY6058" fmla="*/ 222409 h 514350"/>
                <a:gd name="connsiteX6059" fmla="*/ 2019776 w 6400800"/>
                <a:gd name="connsiteY6059" fmla="*/ 188119 h 514350"/>
                <a:gd name="connsiteX6060" fmla="*/ 1999774 w 6400800"/>
                <a:gd name="connsiteY6060" fmla="*/ 298609 h 514350"/>
                <a:gd name="connsiteX6061" fmla="*/ 1999774 w 6400800"/>
                <a:gd name="connsiteY6061" fmla="*/ 304324 h 514350"/>
                <a:gd name="connsiteX6062" fmla="*/ 1997869 w 6400800"/>
                <a:gd name="connsiteY6062" fmla="*/ 310039 h 514350"/>
                <a:gd name="connsiteX6063" fmla="*/ 1999774 w 6400800"/>
                <a:gd name="connsiteY6063" fmla="*/ 298609 h 514350"/>
                <a:gd name="connsiteX6064" fmla="*/ 1992154 w 6400800"/>
                <a:gd name="connsiteY6064" fmla="*/ 349091 h 514350"/>
                <a:gd name="connsiteX6065" fmla="*/ 1992154 w 6400800"/>
                <a:gd name="connsiteY6065" fmla="*/ 359569 h 514350"/>
                <a:gd name="connsiteX6066" fmla="*/ 1992154 w 6400800"/>
                <a:gd name="connsiteY6066" fmla="*/ 369094 h 514350"/>
                <a:gd name="connsiteX6067" fmla="*/ 1988344 w 6400800"/>
                <a:gd name="connsiteY6067" fmla="*/ 373856 h 514350"/>
                <a:gd name="connsiteX6068" fmla="*/ 1992154 w 6400800"/>
                <a:gd name="connsiteY6068" fmla="*/ 349091 h 514350"/>
                <a:gd name="connsiteX6069" fmla="*/ 1987391 w 6400800"/>
                <a:gd name="connsiteY6069" fmla="*/ 381476 h 514350"/>
                <a:gd name="connsiteX6070" fmla="*/ 1987391 w 6400800"/>
                <a:gd name="connsiteY6070" fmla="*/ 381476 h 514350"/>
                <a:gd name="connsiteX6071" fmla="*/ 1992154 w 6400800"/>
                <a:gd name="connsiteY6071" fmla="*/ 372904 h 514350"/>
                <a:gd name="connsiteX6072" fmla="*/ 1992154 w 6400800"/>
                <a:gd name="connsiteY6072" fmla="*/ 379571 h 514350"/>
                <a:gd name="connsiteX6073" fmla="*/ 1991201 w 6400800"/>
                <a:gd name="connsiteY6073" fmla="*/ 386239 h 514350"/>
                <a:gd name="connsiteX6074" fmla="*/ 1988344 w 6400800"/>
                <a:gd name="connsiteY6074" fmla="*/ 400526 h 514350"/>
                <a:gd name="connsiteX6075" fmla="*/ 1988344 w 6400800"/>
                <a:gd name="connsiteY6075" fmla="*/ 399574 h 514350"/>
                <a:gd name="connsiteX6076" fmla="*/ 1985486 w 6400800"/>
                <a:gd name="connsiteY6076" fmla="*/ 392906 h 514350"/>
                <a:gd name="connsiteX6077" fmla="*/ 1987391 w 6400800"/>
                <a:gd name="connsiteY6077" fmla="*/ 381476 h 514350"/>
                <a:gd name="connsiteX6078" fmla="*/ 1968341 w 6400800"/>
                <a:gd name="connsiteY6078" fmla="*/ 290989 h 514350"/>
                <a:gd name="connsiteX6079" fmla="*/ 1967389 w 6400800"/>
                <a:gd name="connsiteY6079" fmla="*/ 297656 h 514350"/>
                <a:gd name="connsiteX6080" fmla="*/ 1966436 w 6400800"/>
                <a:gd name="connsiteY6080" fmla="*/ 305276 h 514350"/>
                <a:gd name="connsiteX6081" fmla="*/ 1965484 w 6400800"/>
                <a:gd name="connsiteY6081" fmla="*/ 318611 h 514350"/>
                <a:gd name="connsiteX6082" fmla="*/ 1964531 w 6400800"/>
                <a:gd name="connsiteY6082" fmla="*/ 304324 h 514350"/>
                <a:gd name="connsiteX6083" fmla="*/ 1964531 w 6400800"/>
                <a:gd name="connsiteY6083" fmla="*/ 300514 h 514350"/>
                <a:gd name="connsiteX6084" fmla="*/ 1968341 w 6400800"/>
                <a:gd name="connsiteY6084" fmla="*/ 290989 h 514350"/>
                <a:gd name="connsiteX6085" fmla="*/ 1937861 w 6400800"/>
                <a:gd name="connsiteY6085" fmla="*/ 310039 h 514350"/>
                <a:gd name="connsiteX6086" fmla="*/ 1937861 w 6400800"/>
                <a:gd name="connsiteY6086" fmla="*/ 302419 h 514350"/>
                <a:gd name="connsiteX6087" fmla="*/ 1937861 w 6400800"/>
                <a:gd name="connsiteY6087" fmla="*/ 295751 h 514350"/>
                <a:gd name="connsiteX6088" fmla="*/ 1938814 w 6400800"/>
                <a:gd name="connsiteY6088" fmla="*/ 306229 h 514350"/>
                <a:gd name="connsiteX6089" fmla="*/ 1937861 w 6400800"/>
                <a:gd name="connsiteY6089" fmla="*/ 310039 h 514350"/>
                <a:gd name="connsiteX6090" fmla="*/ 1938814 w 6400800"/>
                <a:gd name="connsiteY6090" fmla="*/ 272891 h 514350"/>
                <a:gd name="connsiteX6091" fmla="*/ 1936909 w 6400800"/>
                <a:gd name="connsiteY6091" fmla="*/ 266224 h 514350"/>
                <a:gd name="connsiteX6092" fmla="*/ 1936909 w 6400800"/>
                <a:gd name="connsiteY6092" fmla="*/ 261461 h 514350"/>
                <a:gd name="connsiteX6093" fmla="*/ 1936909 w 6400800"/>
                <a:gd name="connsiteY6093" fmla="*/ 246221 h 514350"/>
                <a:gd name="connsiteX6094" fmla="*/ 1938814 w 6400800"/>
                <a:gd name="connsiteY6094" fmla="*/ 272891 h 514350"/>
                <a:gd name="connsiteX6095" fmla="*/ 1900714 w 6400800"/>
                <a:gd name="connsiteY6095" fmla="*/ 338614 h 514350"/>
                <a:gd name="connsiteX6096" fmla="*/ 1900714 w 6400800"/>
                <a:gd name="connsiteY6096" fmla="*/ 333851 h 514350"/>
                <a:gd name="connsiteX6097" fmla="*/ 1902619 w 6400800"/>
                <a:gd name="connsiteY6097" fmla="*/ 329089 h 514350"/>
                <a:gd name="connsiteX6098" fmla="*/ 1904524 w 6400800"/>
                <a:gd name="connsiteY6098" fmla="*/ 325279 h 514350"/>
                <a:gd name="connsiteX6099" fmla="*/ 1900714 w 6400800"/>
                <a:gd name="connsiteY6099" fmla="*/ 338614 h 514350"/>
                <a:gd name="connsiteX6100" fmla="*/ 1915954 w 6400800"/>
                <a:gd name="connsiteY6100" fmla="*/ 436721 h 514350"/>
                <a:gd name="connsiteX6101" fmla="*/ 1915954 w 6400800"/>
                <a:gd name="connsiteY6101" fmla="*/ 433864 h 514350"/>
                <a:gd name="connsiteX6102" fmla="*/ 1916906 w 6400800"/>
                <a:gd name="connsiteY6102" fmla="*/ 434816 h 514350"/>
                <a:gd name="connsiteX6103" fmla="*/ 1915954 w 6400800"/>
                <a:gd name="connsiteY6103" fmla="*/ 436721 h 514350"/>
                <a:gd name="connsiteX6104" fmla="*/ 1920716 w 6400800"/>
                <a:gd name="connsiteY6104" fmla="*/ 401479 h 514350"/>
                <a:gd name="connsiteX6105" fmla="*/ 1919764 w 6400800"/>
                <a:gd name="connsiteY6105" fmla="*/ 407194 h 514350"/>
                <a:gd name="connsiteX6106" fmla="*/ 1917859 w 6400800"/>
                <a:gd name="connsiteY6106" fmla="*/ 404336 h 514350"/>
                <a:gd name="connsiteX6107" fmla="*/ 1919764 w 6400800"/>
                <a:gd name="connsiteY6107" fmla="*/ 398621 h 514350"/>
                <a:gd name="connsiteX6108" fmla="*/ 1920716 w 6400800"/>
                <a:gd name="connsiteY6108" fmla="*/ 401479 h 514350"/>
                <a:gd name="connsiteX6109" fmla="*/ 1917859 w 6400800"/>
                <a:gd name="connsiteY6109" fmla="*/ 331946 h 514350"/>
                <a:gd name="connsiteX6110" fmla="*/ 1919764 w 6400800"/>
                <a:gd name="connsiteY6110" fmla="*/ 337661 h 514350"/>
                <a:gd name="connsiteX6111" fmla="*/ 1919764 w 6400800"/>
                <a:gd name="connsiteY6111" fmla="*/ 337661 h 514350"/>
                <a:gd name="connsiteX6112" fmla="*/ 1918811 w 6400800"/>
                <a:gd name="connsiteY6112" fmla="*/ 338614 h 514350"/>
                <a:gd name="connsiteX6113" fmla="*/ 1916906 w 6400800"/>
                <a:gd name="connsiteY6113" fmla="*/ 342424 h 514350"/>
                <a:gd name="connsiteX6114" fmla="*/ 1916906 w 6400800"/>
                <a:gd name="connsiteY6114" fmla="*/ 341471 h 514350"/>
                <a:gd name="connsiteX6115" fmla="*/ 1915954 w 6400800"/>
                <a:gd name="connsiteY6115" fmla="*/ 344329 h 514350"/>
                <a:gd name="connsiteX6116" fmla="*/ 1915001 w 6400800"/>
                <a:gd name="connsiteY6116" fmla="*/ 345281 h 514350"/>
                <a:gd name="connsiteX6117" fmla="*/ 1917859 w 6400800"/>
                <a:gd name="connsiteY6117" fmla="*/ 331946 h 514350"/>
                <a:gd name="connsiteX6118" fmla="*/ 1919764 w 6400800"/>
                <a:gd name="connsiteY6118" fmla="*/ 360521 h 514350"/>
                <a:gd name="connsiteX6119" fmla="*/ 1919764 w 6400800"/>
                <a:gd name="connsiteY6119" fmla="*/ 364331 h 514350"/>
                <a:gd name="connsiteX6120" fmla="*/ 1915001 w 6400800"/>
                <a:gd name="connsiteY6120" fmla="*/ 373856 h 514350"/>
                <a:gd name="connsiteX6121" fmla="*/ 1908334 w 6400800"/>
                <a:gd name="connsiteY6121" fmla="*/ 388144 h 514350"/>
                <a:gd name="connsiteX6122" fmla="*/ 1907381 w 6400800"/>
                <a:gd name="connsiteY6122" fmla="*/ 387191 h 514350"/>
                <a:gd name="connsiteX6123" fmla="*/ 1907381 w 6400800"/>
                <a:gd name="connsiteY6123" fmla="*/ 385286 h 514350"/>
                <a:gd name="connsiteX6124" fmla="*/ 1910239 w 6400800"/>
                <a:gd name="connsiteY6124" fmla="*/ 380524 h 514350"/>
                <a:gd name="connsiteX6125" fmla="*/ 1919764 w 6400800"/>
                <a:gd name="connsiteY6125" fmla="*/ 360521 h 514350"/>
                <a:gd name="connsiteX6126" fmla="*/ 1910239 w 6400800"/>
                <a:gd name="connsiteY6126" fmla="*/ 299561 h 514350"/>
                <a:gd name="connsiteX6127" fmla="*/ 1908334 w 6400800"/>
                <a:gd name="connsiteY6127" fmla="*/ 305276 h 514350"/>
                <a:gd name="connsiteX6128" fmla="*/ 1908334 w 6400800"/>
                <a:gd name="connsiteY6128" fmla="*/ 305276 h 514350"/>
                <a:gd name="connsiteX6129" fmla="*/ 1910239 w 6400800"/>
                <a:gd name="connsiteY6129" fmla="*/ 299561 h 514350"/>
                <a:gd name="connsiteX6130" fmla="*/ 1906429 w 6400800"/>
                <a:gd name="connsiteY6130" fmla="*/ 313849 h 514350"/>
                <a:gd name="connsiteX6131" fmla="*/ 1908334 w 6400800"/>
                <a:gd name="connsiteY6131" fmla="*/ 309086 h 514350"/>
                <a:gd name="connsiteX6132" fmla="*/ 1908334 w 6400800"/>
                <a:gd name="connsiteY6132" fmla="*/ 310039 h 514350"/>
                <a:gd name="connsiteX6133" fmla="*/ 1906429 w 6400800"/>
                <a:gd name="connsiteY6133" fmla="*/ 315754 h 514350"/>
                <a:gd name="connsiteX6134" fmla="*/ 1905476 w 6400800"/>
                <a:gd name="connsiteY6134" fmla="*/ 316706 h 514350"/>
                <a:gd name="connsiteX6135" fmla="*/ 1906429 w 6400800"/>
                <a:gd name="connsiteY6135" fmla="*/ 313849 h 514350"/>
                <a:gd name="connsiteX6136" fmla="*/ 1893094 w 6400800"/>
                <a:gd name="connsiteY6136" fmla="*/ 259556 h 514350"/>
                <a:gd name="connsiteX6137" fmla="*/ 1894046 w 6400800"/>
                <a:gd name="connsiteY6137" fmla="*/ 256699 h 514350"/>
                <a:gd name="connsiteX6138" fmla="*/ 1894999 w 6400800"/>
                <a:gd name="connsiteY6138" fmla="*/ 256699 h 514350"/>
                <a:gd name="connsiteX6139" fmla="*/ 1899761 w 6400800"/>
                <a:gd name="connsiteY6139" fmla="*/ 260509 h 514350"/>
                <a:gd name="connsiteX6140" fmla="*/ 1904524 w 6400800"/>
                <a:gd name="connsiteY6140" fmla="*/ 275749 h 514350"/>
                <a:gd name="connsiteX6141" fmla="*/ 1895951 w 6400800"/>
                <a:gd name="connsiteY6141" fmla="*/ 297656 h 514350"/>
                <a:gd name="connsiteX6142" fmla="*/ 1894046 w 6400800"/>
                <a:gd name="connsiteY6142" fmla="*/ 281464 h 514350"/>
                <a:gd name="connsiteX6143" fmla="*/ 1892141 w 6400800"/>
                <a:gd name="connsiteY6143" fmla="*/ 270034 h 514350"/>
                <a:gd name="connsiteX6144" fmla="*/ 1893094 w 6400800"/>
                <a:gd name="connsiteY6144" fmla="*/ 272891 h 514350"/>
                <a:gd name="connsiteX6145" fmla="*/ 1893094 w 6400800"/>
                <a:gd name="connsiteY6145" fmla="*/ 259556 h 514350"/>
                <a:gd name="connsiteX6146" fmla="*/ 1841659 w 6400800"/>
                <a:gd name="connsiteY6146" fmla="*/ 297656 h 514350"/>
                <a:gd name="connsiteX6147" fmla="*/ 1840706 w 6400800"/>
                <a:gd name="connsiteY6147" fmla="*/ 313849 h 514350"/>
                <a:gd name="connsiteX6148" fmla="*/ 1838801 w 6400800"/>
                <a:gd name="connsiteY6148" fmla="*/ 294799 h 514350"/>
                <a:gd name="connsiteX6149" fmla="*/ 1838801 w 6400800"/>
                <a:gd name="connsiteY6149" fmla="*/ 290989 h 514350"/>
                <a:gd name="connsiteX6150" fmla="*/ 1841659 w 6400800"/>
                <a:gd name="connsiteY6150" fmla="*/ 297656 h 514350"/>
                <a:gd name="connsiteX6151" fmla="*/ 1822609 w 6400800"/>
                <a:gd name="connsiteY6151" fmla="*/ 363379 h 514350"/>
                <a:gd name="connsiteX6152" fmla="*/ 1826419 w 6400800"/>
                <a:gd name="connsiteY6152" fmla="*/ 353854 h 514350"/>
                <a:gd name="connsiteX6153" fmla="*/ 1827371 w 6400800"/>
                <a:gd name="connsiteY6153" fmla="*/ 364331 h 514350"/>
                <a:gd name="connsiteX6154" fmla="*/ 1823561 w 6400800"/>
                <a:gd name="connsiteY6154" fmla="*/ 368141 h 514350"/>
                <a:gd name="connsiteX6155" fmla="*/ 1822609 w 6400800"/>
                <a:gd name="connsiteY6155" fmla="*/ 363379 h 514350"/>
                <a:gd name="connsiteX6156" fmla="*/ 1828324 w 6400800"/>
                <a:gd name="connsiteY6156" fmla="*/ 403384 h 514350"/>
                <a:gd name="connsiteX6157" fmla="*/ 1827371 w 6400800"/>
                <a:gd name="connsiteY6157" fmla="*/ 400526 h 514350"/>
                <a:gd name="connsiteX6158" fmla="*/ 1825466 w 6400800"/>
                <a:gd name="connsiteY6158" fmla="*/ 381476 h 514350"/>
                <a:gd name="connsiteX6159" fmla="*/ 1828324 w 6400800"/>
                <a:gd name="connsiteY6159" fmla="*/ 377666 h 514350"/>
                <a:gd name="connsiteX6160" fmla="*/ 1829276 w 6400800"/>
                <a:gd name="connsiteY6160" fmla="*/ 399574 h 514350"/>
                <a:gd name="connsiteX6161" fmla="*/ 1828324 w 6400800"/>
                <a:gd name="connsiteY6161" fmla="*/ 403384 h 514350"/>
                <a:gd name="connsiteX6162" fmla="*/ 1833086 w 6400800"/>
                <a:gd name="connsiteY6162" fmla="*/ 339566 h 514350"/>
                <a:gd name="connsiteX6163" fmla="*/ 1833086 w 6400800"/>
                <a:gd name="connsiteY6163" fmla="*/ 339566 h 514350"/>
                <a:gd name="connsiteX6164" fmla="*/ 1833086 w 6400800"/>
                <a:gd name="connsiteY6164" fmla="*/ 340519 h 514350"/>
                <a:gd name="connsiteX6165" fmla="*/ 1833086 w 6400800"/>
                <a:gd name="connsiteY6165" fmla="*/ 339566 h 514350"/>
                <a:gd name="connsiteX6166" fmla="*/ 1824514 w 6400800"/>
                <a:gd name="connsiteY6166" fmla="*/ 272891 h 514350"/>
                <a:gd name="connsiteX6167" fmla="*/ 1824514 w 6400800"/>
                <a:gd name="connsiteY6167" fmla="*/ 263366 h 514350"/>
                <a:gd name="connsiteX6168" fmla="*/ 1835944 w 6400800"/>
                <a:gd name="connsiteY6168" fmla="*/ 285274 h 514350"/>
                <a:gd name="connsiteX6169" fmla="*/ 1834991 w 6400800"/>
                <a:gd name="connsiteY6169" fmla="*/ 294799 h 514350"/>
                <a:gd name="connsiteX6170" fmla="*/ 1834039 w 6400800"/>
                <a:gd name="connsiteY6170" fmla="*/ 320516 h 514350"/>
                <a:gd name="connsiteX6171" fmla="*/ 1834039 w 6400800"/>
                <a:gd name="connsiteY6171" fmla="*/ 330994 h 514350"/>
                <a:gd name="connsiteX6172" fmla="*/ 1833086 w 6400800"/>
                <a:gd name="connsiteY6172" fmla="*/ 331946 h 514350"/>
                <a:gd name="connsiteX6173" fmla="*/ 1832134 w 6400800"/>
                <a:gd name="connsiteY6173" fmla="*/ 332899 h 514350"/>
                <a:gd name="connsiteX6174" fmla="*/ 1827371 w 6400800"/>
                <a:gd name="connsiteY6174" fmla="*/ 316706 h 514350"/>
                <a:gd name="connsiteX6175" fmla="*/ 1822609 w 6400800"/>
                <a:gd name="connsiteY6175" fmla="*/ 303371 h 514350"/>
                <a:gd name="connsiteX6176" fmla="*/ 1824514 w 6400800"/>
                <a:gd name="connsiteY6176" fmla="*/ 272891 h 514350"/>
                <a:gd name="connsiteX6177" fmla="*/ 1822609 w 6400800"/>
                <a:gd name="connsiteY6177" fmla="*/ 309086 h 514350"/>
                <a:gd name="connsiteX6178" fmla="*/ 1823561 w 6400800"/>
                <a:gd name="connsiteY6178" fmla="*/ 317659 h 514350"/>
                <a:gd name="connsiteX6179" fmla="*/ 1825466 w 6400800"/>
                <a:gd name="connsiteY6179" fmla="*/ 338614 h 514350"/>
                <a:gd name="connsiteX6180" fmla="*/ 1825466 w 6400800"/>
                <a:gd name="connsiteY6180" fmla="*/ 340519 h 514350"/>
                <a:gd name="connsiteX6181" fmla="*/ 1820704 w 6400800"/>
                <a:gd name="connsiteY6181" fmla="*/ 348139 h 514350"/>
                <a:gd name="connsiteX6182" fmla="*/ 1820704 w 6400800"/>
                <a:gd name="connsiteY6182" fmla="*/ 332899 h 514350"/>
                <a:gd name="connsiteX6183" fmla="*/ 1820704 w 6400800"/>
                <a:gd name="connsiteY6183" fmla="*/ 331946 h 514350"/>
                <a:gd name="connsiteX6184" fmla="*/ 1822609 w 6400800"/>
                <a:gd name="connsiteY6184" fmla="*/ 309086 h 514350"/>
                <a:gd name="connsiteX6185" fmla="*/ 1763554 w 6400800"/>
                <a:gd name="connsiteY6185" fmla="*/ 411956 h 514350"/>
                <a:gd name="connsiteX6186" fmla="*/ 1762601 w 6400800"/>
                <a:gd name="connsiteY6186" fmla="*/ 406241 h 514350"/>
                <a:gd name="connsiteX6187" fmla="*/ 1761649 w 6400800"/>
                <a:gd name="connsiteY6187" fmla="*/ 397669 h 514350"/>
                <a:gd name="connsiteX6188" fmla="*/ 1761649 w 6400800"/>
                <a:gd name="connsiteY6188" fmla="*/ 397669 h 514350"/>
                <a:gd name="connsiteX6189" fmla="*/ 1764506 w 6400800"/>
                <a:gd name="connsiteY6189" fmla="*/ 400526 h 514350"/>
                <a:gd name="connsiteX6190" fmla="*/ 1763554 w 6400800"/>
                <a:gd name="connsiteY6190" fmla="*/ 411956 h 514350"/>
                <a:gd name="connsiteX6191" fmla="*/ 1766411 w 6400800"/>
                <a:gd name="connsiteY6191" fmla="*/ 379571 h 514350"/>
                <a:gd name="connsiteX6192" fmla="*/ 1766411 w 6400800"/>
                <a:gd name="connsiteY6192" fmla="*/ 379571 h 514350"/>
                <a:gd name="connsiteX6193" fmla="*/ 1766411 w 6400800"/>
                <a:gd name="connsiteY6193" fmla="*/ 377666 h 514350"/>
                <a:gd name="connsiteX6194" fmla="*/ 1766411 w 6400800"/>
                <a:gd name="connsiteY6194" fmla="*/ 379571 h 514350"/>
                <a:gd name="connsiteX6195" fmla="*/ 1792129 w 6400800"/>
                <a:gd name="connsiteY6195" fmla="*/ 251936 h 514350"/>
                <a:gd name="connsiteX6196" fmla="*/ 1802606 w 6400800"/>
                <a:gd name="connsiteY6196" fmla="*/ 219551 h 514350"/>
                <a:gd name="connsiteX6197" fmla="*/ 1802606 w 6400800"/>
                <a:gd name="connsiteY6197" fmla="*/ 219551 h 514350"/>
                <a:gd name="connsiteX6198" fmla="*/ 1801654 w 6400800"/>
                <a:gd name="connsiteY6198" fmla="*/ 274796 h 514350"/>
                <a:gd name="connsiteX6199" fmla="*/ 1800701 w 6400800"/>
                <a:gd name="connsiteY6199" fmla="*/ 327184 h 514350"/>
                <a:gd name="connsiteX6200" fmla="*/ 1794034 w 6400800"/>
                <a:gd name="connsiteY6200" fmla="*/ 310991 h 514350"/>
                <a:gd name="connsiteX6201" fmla="*/ 1788319 w 6400800"/>
                <a:gd name="connsiteY6201" fmla="*/ 294799 h 514350"/>
                <a:gd name="connsiteX6202" fmla="*/ 1787366 w 6400800"/>
                <a:gd name="connsiteY6202" fmla="*/ 292894 h 514350"/>
                <a:gd name="connsiteX6203" fmla="*/ 1786414 w 6400800"/>
                <a:gd name="connsiteY6203" fmla="*/ 287179 h 514350"/>
                <a:gd name="connsiteX6204" fmla="*/ 1788319 w 6400800"/>
                <a:gd name="connsiteY6204" fmla="*/ 279559 h 514350"/>
                <a:gd name="connsiteX6205" fmla="*/ 1787366 w 6400800"/>
                <a:gd name="connsiteY6205" fmla="*/ 275749 h 514350"/>
                <a:gd name="connsiteX6206" fmla="*/ 1785461 w 6400800"/>
                <a:gd name="connsiteY6206" fmla="*/ 274796 h 514350"/>
                <a:gd name="connsiteX6207" fmla="*/ 1785461 w 6400800"/>
                <a:gd name="connsiteY6207" fmla="*/ 274796 h 514350"/>
                <a:gd name="connsiteX6208" fmla="*/ 1792129 w 6400800"/>
                <a:gd name="connsiteY6208" fmla="*/ 251936 h 514350"/>
                <a:gd name="connsiteX6209" fmla="*/ 1785461 w 6400800"/>
                <a:gd name="connsiteY6209" fmla="*/ 276701 h 514350"/>
                <a:gd name="connsiteX6210" fmla="*/ 1786414 w 6400800"/>
                <a:gd name="connsiteY6210" fmla="*/ 278606 h 514350"/>
                <a:gd name="connsiteX6211" fmla="*/ 1786414 w 6400800"/>
                <a:gd name="connsiteY6211" fmla="*/ 282416 h 514350"/>
                <a:gd name="connsiteX6212" fmla="*/ 1785461 w 6400800"/>
                <a:gd name="connsiteY6212" fmla="*/ 276701 h 514350"/>
                <a:gd name="connsiteX6213" fmla="*/ 1785461 w 6400800"/>
                <a:gd name="connsiteY6213" fmla="*/ 276701 h 514350"/>
                <a:gd name="connsiteX6214" fmla="*/ 1776889 w 6400800"/>
                <a:gd name="connsiteY6214" fmla="*/ 330994 h 514350"/>
                <a:gd name="connsiteX6215" fmla="*/ 1785461 w 6400800"/>
                <a:gd name="connsiteY6215" fmla="*/ 376714 h 514350"/>
                <a:gd name="connsiteX6216" fmla="*/ 1786414 w 6400800"/>
                <a:gd name="connsiteY6216" fmla="*/ 385286 h 514350"/>
                <a:gd name="connsiteX6217" fmla="*/ 1784509 w 6400800"/>
                <a:gd name="connsiteY6217" fmla="*/ 382429 h 514350"/>
                <a:gd name="connsiteX6218" fmla="*/ 1785461 w 6400800"/>
                <a:gd name="connsiteY6218" fmla="*/ 374809 h 514350"/>
                <a:gd name="connsiteX6219" fmla="*/ 1783556 w 6400800"/>
                <a:gd name="connsiteY6219" fmla="*/ 380524 h 514350"/>
                <a:gd name="connsiteX6220" fmla="*/ 1776889 w 6400800"/>
                <a:gd name="connsiteY6220" fmla="*/ 370999 h 514350"/>
                <a:gd name="connsiteX6221" fmla="*/ 1776889 w 6400800"/>
                <a:gd name="connsiteY6221" fmla="*/ 337661 h 514350"/>
                <a:gd name="connsiteX6222" fmla="*/ 1776889 w 6400800"/>
                <a:gd name="connsiteY6222" fmla="*/ 330994 h 514350"/>
                <a:gd name="connsiteX6223" fmla="*/ 1755934 w 6400800"/>
                <a:gd name="connsiteY6223" fmla="*/ 211931 h 514350"/>
                <a:gd name="connsiteX6224" fmla="*/ 1761649 w 6400800"/>
                <a:gd name="connsiteY6224" fmla="*/ 233839 h 514350"/>
                <a:gd name="connsiteX6225" fmla="*/ 1762601 w 6400800"/>
                <a:gd name="connsiteY6225" fmla="*/ 238601 h 514350"/>
                <a:gd name="connsiteX6226" fmla="*/ 1760696 w 6400800"/>
                <a:gd name="connsiteY6226" fmla="*/ 234791 h 514350"/>
                <a:gd name="connsiteX6227" fmla="*/ 1759744 w 6400800"/>
                <a:gd name="connsiteY6227" fmla="*/ 230981 h 514350"/>
                <a:gd name="connsiteX6228" fmla="*/ 1759744 w 6400800"/>
                <a:gd name="connsiteY6228" fmla="*/ 232886 h 514350"/>
                <a:gd name="connsiteX6229" fmla="*/ 1756886 w 6400800"/>
                <a:gd name="connsiteY6229" fmla="*/ 227171 h 514350"/>
                <a:gd name="connsiteX6230" fmla="*/ 1754981 w 6400800"/>
                <a:gd name="connsiteY6230" fmla="*/ 223361 h 514350"/>
                <a:gd name="connsiteX6231" fmla="*/ 1755934 w 6400800"/>
                <a:gd name="connsiteY6231" fmla="*/ 211931 h 514350"/>
                <a:gd name="connsiteX6232" fmla="*/ 1754981 w 6400800"/>
                <a:gd name="connsiteY6232" fmla="*/ 232886 h 514350"/>
                <a:gd name="connsiteX6233" fmla="*/ 1755934 w 6400800"/>
                <a:gd name="connsiteY6233" fmla="*/ 235744 h 514350"/>
                <a:gd name="connsiteX6234" fmla="*/ 1754981 w 6400800"/>
                <a:gd name="connsiteY6234" fmla="*/ 240506 h 514350"/>
                <a:gd name="connsiteX6235" fmla="*/ 1754981 w 6400800"/>
                <a:gd name="connsiteY6235" fmla="*/ 232886 h 514350"/>
                <a:gd name="connsiteX6236" fmla="*/ 1754029 w 6400800"/>
                <a:gd name="connsiteY6236" fmla="*/ 281464 h 514350"/>
                <a:gd name="connsiteX6237" fmla="*/ 1754981 w 6400800"/>
                <a:gd name="connsiteY6237" fmla="*/ 252889 h 514350"/>
                <a:gd name="connsiteX6238" fmla="*/ 1756886 w 6400800"/>
                <a:gd name="connsiteY6238" fmla="*/ 236696 h 514350"/>
                <a:gd name="connsiteX6239" fmla="*/ 1763554 w 6400800"/>
                <a:gd name="connsiteY6239" fmla="*/ 256699 h 514350"/>
                <a:gd name="connsiteX6240" fmla="*/ 1768316 w 6400800"/>
                <a:gd name="connsiteY6240" fmla="*/ 286226 h 514350"/>
                <a:gd name="connsiteX6241" fmla="*/ 1754981 w 6400800"/>
                <a:gd name="connsiteY6241" fmla="*/ 322421 h 514350"/>
                <a:gd name="connsiteX6242" fmla="*/ 1754029 w 6400800"/>
                <a:gd name="connsiteY6242" fmla="*/ 317659 h 514350"/>
                <a:gd name="connsiteX6243" fmla="*/ 1754029 w 6400800"/>
                <a:gd name="connsiteY6243" fmla="*/ 316706 h 514350"/>
                <a:gd name="connsiteX6244" fmla="*/ 1754029 w 6400800"/>
                <a:gd name="connsiteY6244" fmla="*/ 281464 h 514350"/>
                <a:gd name="connsiteX6245" fmla="*/ 1687354 w 6400800"/>
                <a:gd name="connsiteY6245" fmla="*/ 295751 h 514350"/>
                <a:gd name="connsiteX6246" fmla="*/ 1685449 w 6400800"/>
                <a:gd name="connsiteY6246" fmla="*/ 314801 h 514350"/>
                <a:gd name="connsiteX6247" fmla="*/ 1684496 w 6400800"/>
                <a:gd name="connsiteY6247" fmla="*/ 325279 h 514350"/>
                <a:gd name="connsiteX6248" fmla="*/ 1681639 w 6400800"/>
                <a:gd name="connsiteY6248" fmla="*/ 311944 h 514350"/>
                <a:gd name="connsiteX6249" fmla="*/ 1681639 w 6400800"/>
                <a:gd name="connsiteY6249" fmla="*/ 309086 h 514350"/>
                <a:gd name="connsiteX6250" fmla="*/ 1681639 w 6400800"/>
                <a:gd name="connsiteY6250" fmla="*/ 310039 h 514350"/>
                <a:gd name="connsiteX6251" fmla="*/ 1680686 w 6400800"/>
                <a:gd name="connsiteY6251" fmla="*/ 306229 h 514350"/>
                <a:gd name="connsiteX6252" fmla="*/ 1681639 w 6400800"/>
                <a:gd name="connsiteY6252" fmla="*/ 303371 h 514350"/>
                <a:gd name="connsiteX6253" fmla="*/ 1684496 w 6400800"/>
                <a:gd name="connsiteY6253" fmla="*/ 295751 h 514350"/>
                <a:gd name="connsiteX6254" fmla="*/ 1689259 w 6400800"/>
                <a:gd name="connsiteY6254" fmla="*/ 282416 h 514350"/>
                <a:gd name="connsiteX6255" fmla="*/ 1687354 w 6400800"/>
                <a:gd name="connsiteY6255" fmla="*/ 295751 h 514350"/>
                <a:gd name="connsiteX6256" fmla="*/ 1678781 w 6400800"/>
                <a:gd name="connsiteY6256" fmla="*/ 276701 h 514350"/>
                <a:gd name="connsiteX6257" fmla="*/ 1684496 w 6400800"/>
                <a:gd name="connsiteY6257" fmla="*/ 245269 h 514350"/>
                <a:gd name="connsiteX6258" fmla="*/ 1686401 w 6400800"/>
                <a:gd name="connsiteY6258" fmla="*/ 259556 h 514350"/>
                <a:gd name="connsiteX6259" fmla="*/ 1686401 w 6400800"/>
                <a:gd name="connsiteY6259" fmla="*/ 268129 h 514350"/>
                <a:gd name="connsiteX6260" fmla="*/ 1686401 w 6400800"/>
                <a:gd name="connsiteY6260" fmla="*/ 270986 h 514350"/>
                <a:gd name="connsiteX6261" fmla="*/ 1675924 w 6400800"/>
                <a:gd name="connsiteY6261" fmla="*/ 292894 h 514350"/>
                <a:gd name="connsiteX6262" fmla="*/ 1675924 w 6400800"/>
                <a:gd name="connsiteY6262" fmla="*/ 291941 h 514350"/>
                <a:gd name="connsiteX6263" fmla="*/ 1678781 w 6400800"/>
                <a:gd name="connsiteY6263" fmla="*/ 278606 h 514350"/>
                <a:gd name="connsiteX6264" fmla="*/ 1679734 w 6400800"/>
                <a:gd name="connsiteY6264" fmla="*/ 275749 h 514350"/>
                <a:gd name="connsiteX6265" fmla="*/ 1678781 w 6400800"/>
                <a:gd name="connsiteY6265" fmla="*/ 276701 h 514350"/>
                <a:gd name="connsiteX6266" fmla="*/ 1677829 w 6400800"/>
                <a:gd name="connsiteY6266" fmla="*/ 199549 h 514350"/>
                <a:gd name="connsiteX6267" fmla="*/ 1678781 w 6400800"/>
                <a:gd name="connsiteY6267" fmla="*/ 204311 h 514350"/>
                <a:gd name="connsiteX6268" fmla="*/ 1676876 w 6400800"/>
                <a:gd name="connsiteY6268" fmla="*/ 213836 h 514350"/>
                <a:gd name="connsiteX6269" fmla="*/ 1677829 w 6400800"/>
                <a:gd name="connsiteY6269" fmla="*/ 199549 h 514350"/>
                <a:gd name="connsiteX6270" fmla="*/ 1640681 w 6400800"/>
                <a:gd name="connsiteY6270" fmla="*/ 226219 h 514350"/>
                <a:gd name="connsiteX6271" fmla="*/ 1649254 w 6400800"/>
                <a:gd name="connsiteY6271" fmla="*/ 254794 h 514350"/>
                <a:gd name="connsiteX6272" fmla="*/ 1654016 w 6400800"/>
                <a:gd name="connsiteY6272" fmla="*/ 274796 h 514350"/>
                <a:gd name="connsiteX6273" fmla="*/ 1653064 w 6400800"/>
                <a:gd name="connsiteY6273" fmla="*/ 281464 h 514350"/>
                <a:gd name="connsiteX6274" fmla="*/ 1652111 w 6400800"/>
                <a:gd name="connsiteY6274" fmla="*/ 279559 h 514350"/>
                <a:gd name="connsiteX6275" fmla="*/ 1652111 w 6400800"/>
                <a:gd name="connsiteY6275" fmla="*/ 282416 h 514350"/>
                <a:gd name="connsiteX6276" fmla="*/ 1649254 w 6400800"/>
                <a:gd name="connsiteY6276" fmla="*/ 300514 h 514350"/>
                <a:gd name="connsiteX6277" fmla="*/ 1641634 w 6400800"/>
                <a:gd name="connsiteY6277" fmla="*/ 281464 h 514350"/>
                <a:gd name="connsiteX6278" fmla="*/ 1643539 w 6400800"/>
                <a:gd name="connsiteY6278" fmla="*/ 279559 h 514350"/>
                <a:gd name="connsiteX6279" fmla="*/ 1647349 w 6400800"/>
                <a:gd name="connsiteY6279" fmla="*/ 277654 h 514350"/>
                <a:gd name="connsiteX6280" fmla="*/ 1654016 w 6400800"/>
                <a:gd name="connsiteY6280" fmla="*/ 273844 h 514350"/>
                <a:gd name="connsiteX6281" fmla="*/ 1647349 w 6400800"/>
                <a:gd name="connsiteY6281" fmla="*/ 276701 h 514350"/>
                <a:gd name="connsiteX6282" fmla="*/ 1643539 w 6400800"/>
                <a:gd name="connsiteY6282" fmla="*/ 278606 h 514350"/>
                <a:gd name="connsiteX6283" fmla="*/ 1642586 w 6400800"/>
                <a:gd name="connsiteY6283" fmla="*/ 279559 h 514350"/>
                <a:gd name="connsiteX6284" fmla="*/ 1642586 w 6400800"/>
                <a:gd name="connsiteY6284" fmla="*/ 255746 h 514350"/>
                <a:gd name="connsiteX6285" fmla="*/ 1640681 w 6400800"/>
                <a:gd name="connsiteY6285" fmla="*/ 226219 h 514350"/>
                <a:gd name="connsiteX6286" fmla="*/ 1640681 w 6400800"/>
                <a:gd name="connsiteY6286" fmla="*/ 226219 h 514350"/>
                <a:gd name="connsiteX6287" fmla="*/ 1620679 w 6400800"/>
                <a:gd name="connsiteY6287" fmla="*/ 348139 h 514350"/>
                <a:gd name="connsiteX6288" fmla="*/ 1620679 w 6400800"/>
                <a:gd name="connsiteY6288" fmla="*/ 351949 h 514350"/>
                <a:gd name="connsiteX6289" fmla="*/ 1620679 w 6400800"/>
                <a:gd name="connsiteY6289" fmla="*/ 353854 h 514350"/>
                <a:gd name="connsiteX6290" fmla="*/ 1618774 w 6400800"/>
                <a:gd name="connsiteY6290" fmla="*/ 356711 h 514350"/>
                <a:gd name="connsiteX6291" fmla="*/ 1620679 w 6400800"/>
                <a:gd name="connsiteY6291" fmla="*/ 348139 h 514350"/>
                <a:gd name="connsiteX6292" fmla="*/ 1618774 w 6400800"/>
                <a:gd name="connsiteY6292" fmla="*/ 311944 h 514350"/>
                <a:gd name="connsiteX6293" fmla="*/ 1616869 w 6400800"/>
                <a:gd name="connsiteY6293" fmla="*/ 315754 h 514350"/>
                <a:gd name="connsiteX6294" fmla="*/ 1605439 w 6400800"/>
                <a:gd name="connsiteY6294" fmla="*/ 343376 h 514350"/>
                <a:gd name="connsiteX6295" fmla="*/ 1602581 w 6400800"/>
                <a:gd name="connsiteY6295" fmla="*/ 350996 h 514350"/>
                <a:gd name="connsiteX6296" fmla="*/ 1602581 w 6400800"/>
                <a:gd name="connsiteY6296" fmla="*/ 342424 h 514350"/>
                <a:gd name="connsiteX6297" fmla="*/ 1613059 w 6400800"/>
                <a:gd name="connsiteY6297" fmla="*/ 321469 h 514350"/>
                <a:gd name="connsiteX6298" fmla="*/ 1619726 w 6400800"/>
                <a:gd name="connsiteY6298" fmla="*/ 310039 h 514350"/>
                <a:gd name="connsiteX6299" fmla="*/ 1618774 w 6400800"/>
                <a:gd name="connsiteY6299" fmla="*/ 311944 h 514350"/>
                <a:gd name="connsiteX6300" fmla="*/ 1610201 w 6400800"/>
                <a:gd name="connsiteY6300" fmla="*/ 269081 h 514350"/>
                <a:gd name="connsiteX6301" fmla="*/ 1614011 w 6400800"/>
                <a:gd name="connsiteY6301" fmla="*/ 258604 h 514350"/>
                <a:gd name="connsiteX6302" fmla="*/ 1616869 w 6400800"/>
                <a:gd name="connsiteY6302" fmla="*/ 252889 h 514350"/>
                <a:gd name="connsiteX6303" fmla="*/ 1617821 w 6400800"/>
                <a:gd name="connsiteY6303" fmla="*/ 292894 h 514350"/>
                <a:gd name="connsiteX6304" fmla="*/ 1617821 w 6400800"/>
                <a:gd name="connsiteY6304" fmla="*/ 293846 h 514350"/>
                <a:gd name="connsiteX6305" fmla="*/ 1614011 w 6400800"/>
                <a:gd name="connsiteY6305" fmla="*/ 289084 h 514350"/>
                <a:gd name="connsiteX6306" fmla="*/ 1606391 w 6400800"/>
                <a:gd name="connsiteY6306" fmla="*/ 277654 h 514350"/>
                <a:gd name="connsiteX6307" fmla="*/ 1610201 w 6400800"/>
                <a:gd name="connsiteY6307" fmla="*/ 269081 h 514350"/>
                <a:gd name="connsiteX6308" fmla="*/ 1600676 w 6400800"/>
                <a:gd name="connsiteY6308" fmla="*/ 297656 h 514350"/>
                <a:gd name="connsiteX6309" fmla="*/ 1606391 w 6400800"/>
                <a:gd name="connsiteY6309" fmla="*/ 279559 h 514350"/>
                <a:gd name="connsiteX6310" fmla="*/ 1611154 w 6400800"/>
                <a:gd name="connsiteY6310" fmla="*/ 290989 h 514350"/>
                <a:gd name="connsiteX6311" fmla="*/ 1616869 w 6400800"/>
                <a:gd name="connsiteY6311" fmla="*/ 303371 h 514350"/>
                <a:gd name="connsiteX6312" fmla="*/ 1606391 w 6400800"/>
                <a:gd name="connsiteY6312" fmla="*/ 317659 h 514350"/>
                <a:gd name="connsiteX6313" fmla="*/ 1601629 w 6400800"/>
                <a:gd name="connsiteY6313" fmla="*/ 325279 h 514350"/>
                <a:gd name="connsiteX6314" fmla="*/ 1600676 w 6400800"/>
                <a:gd name="connsiteY6314" fmla="*/ 319564 h 514350"/>
                <a:gd name="connsiteX6315" fmla="*/ 1599724 w 6400800"/>
                <a:gd name="connsiteY6315" fmla="*/ 305276 h 514350"/>
                <a:gd name="connsiteX6316" fmla="*/ 1600676 w 6400800"/>
                <a:gd name="connsiteY6316" fmla="*/ 297656 h 514350"/>
                <a:gd name="connsiteX6317" fmla="*/ 1567339 w 6400800"/>
                <a:gd name="connsiteY6317" fmla="*/ 315754 h 514350"/>
                <a:gd name="connsiteX6318" fmla="*/ 1568291 w 6400800"/>
                <a:gd name="connsiteY6318" fmla="*/ 330041 h 514350"/>
                <a:gd name="connsiteX6319" fmla="*/ 1566386 w 6400800"/>
                <a:gd name="connsiteY6319" fmla="*/ 320516 h 514350"/>
                <a:gd name="connsiteX6320" fmla="*/ 1567339 w 6400800"/>
                <a:gd name="connsiteY6320" fmla="*/ 315754 h 514350"/>
                <a:gd name="connsiteX6321" fmla="*/ 1547336 w 6400800"/>
                <a:gd name="connsiteY6321" fmla="*/ 265271 h 514350"/>
                <a:gd name="connsiteX6322" fmla="*/ 1546384 w 6400800"/>
                <a:gd name="connsiteY6322" fmla="*/ 275749 h 514350"/>
                <a:gd name="connsiteX6323" fmla="*/ 1545431 w 6400800"/>
                <a:gd name="connsiteY6323" fmla="*/ 272891 h 514350"/>
                <a:gd name="connsiteX6324" fmla="*/ 1547336 w 6400800"/>
                <a:gd name="connsiteY6324" fmla="*/ 265271 h 514350"/>
                <a:gd name="connsiteX6325" fmla="*/ 1541621 w 6400800"/>
                <a:gd name="connsiteY6325" fmla="*/ 286226 h 514350"/>
                <a:gd name="connsiteX6326" fmla="*/ 1543526 w 6400800"/>
                <a:gd name="connsiteY6326" fmla="*/ 293846 h 514350"/>
                <a:gd name="connsiteX6327" fmla="*/ 1542574 w 6400800"/>
                <a:gd name="connsiteY6327" fmla="*/ 301466 h 514350"/>
                <a:gd name="connsiteX6328" fmla="*/ 1539716 w 6400800"/>
                <a:gd name="connsiteY6328" fmla="*/ 291941 h 514350"/>
                <a:gd name="connsiteX6329" fmla="*/ 1541621 w 6400800"/>
                <a:gd name="connsiteY6329" fmla="*/ 286226 h 514350"/>
                <a:gd name="connsiteX6330" fmla="*/ 1537811 w 6400800"/>
                <a:gd name="connsiteY6330" fmla="*/ 271939 h 514350"/>
                <a:gd name="connsiteX6331" fmla="*/ 1538764 w 6400800"/>
                <a:gd name="connsiteY6331" fmla="*/ 276701 h 514350"/>
                <a:gd name="connsiteX6332" fmla="*/ 1536859 w 6400800"/>
                <a:gd name="connsiteY6332" fmla="*/ 280511 h 514350"/>
                <a:gd name="connsiteX6333" fmla="*/ 1537811 w 6400800"/>
                <a:gd name="connsiteY6333" fmla="*/ 271939 h 514350"/>
                <a:gd name="connsiteX6334" fmla="*/ 1533049 w 6400800"/>
                <a:gd name="connsiteY6334" fmla="*/ 338614 h 514350"/>
                <a:gd name="connsiteX6335" fmla="*/ 1533049 w 6400800"/>
                <a:gd name="connsiteY6335" fmla="*/ 335756 h 514350"/>
                <a:gd name="connsiteX6336" fmla="*/ 1535906 w 6400800"/>
                <a:gd name="connsiteY6336" fmla="*/ 350044 h 514350"/>
                <a:gd name="connsiteX6337" fmla="*/ 1536859 w 6400800"/>
                <a:gd name="connsiteY6337" fmla="*/ 357664 h 514350"/>
                <a:gd name="connsiteX6338" fmla="*/ 1536859 w 6400800"/>
                <a:gd name="connsiteY6338" fmla="*/ 362426 h 514350"/>
                <a:gd name="connsiteX6339" fmla="*/ 1536859 w 6400800"/>
                <a:gd name="connsiteY6339" fmla="*/ 362426 h 514350"/>
                <a:gd name="connsiteX6340" fmla="*/ 1532096 w 6400800"/>
                <a:gd name="connsiteY6340" fmla="*/ 346234 h 514350"/>
                <a:gd name="connsiteX6341" fmla="*/ 1533049 w 6400800"/>
                <a:gd name="connsiteY6341" fmla="*/ 338614 h 514350"/>
                <a:gd name="connsiteX6342" fmla="*/ 1519714 w 6400800"/>
                <a:gd name="connsiteY6342" fmla="*/ 270986 h 514350"/>
                <a:gd name="connsiteX6343" fmla="*/ 1525429 w 6400800"/>
                <a:gd name="connsiteY6343" fmla="*/ 297656 h 514350"/>
                <a:gd name="connsiteX6344" fmla="*/ 1524476 w 6400800"/>
                <a:gd name="connsiteY6344" fmla="*/ 301466 h 514350"/>
                <a:gd name="connsiteX6345" fmla="*/ 1521619 w 6400800"/>
                <a:gd name="connsiteY6345" fmla="*/ 315754 h 514350"/>
                <a:gd name="connsiteX6346" fmla="*/ 1519714 w 6400800"/>
                <a:gd name="connsiteY6346" fmla="*/ 310991 h 514350"/>
                <a:gd name="connsiteX6347" fmla="*/ 1517809 w 6400800"/>
                <a:gd name="connsiteY6347" fmla="*/ 268129 h 514350"/>
                <a:gd name="connsiteX6348" fmla="*/ 1519714 w 6400800"/>
                <a:gd name="connsiteY6348" fmla="*/ 270986 h 514350"/>
                <a:gd name="connsiteX6349" fmla="*/ 1503521 w 6400800"/>
                <a:gd name="connsiteY6349" fmla="*/ 302419 h 514350"/>
                <a:gd name="connsiteX6350" fmla="*/ 1502569 w 6400800"/>
                <a:gd name="connsiteY6350" fmla="*/ 313849 h 514350"/>
                <a:gd name="connsiteX6351" fmla="*/ 1502569 w 6400800"/>
                <a:gd name="connsiteY6351" fmla="*/ 330041 h 514350"/>
                <a:gd name="connsiteX6352" fmla="*/ 1501616 w 6400800"/>
                <a:gd name="connsiteY6352" fmla="*/ 329089 h 514350"/>
                <a:gd name="connsiteX6353" fmla="*/ 1497806 w 6400800"/>
                <a:gd name="connsiteY6353" fmla="*/ 311944 h 514350"/>
                <a:gd name="connsiteX6354" fmla="*/ 1503521 w 6400800"/>
                <a:gd name="connsiteY6354" fmla="*/ 302419 h 514350"/>
                <a:gd name="connsiteX6355" fmla="*/ 1477804 w 6400800"/>
                <a:gd name="connsiteY6355" fmla="*/ 272891 h 514350"/>
                <a:gd name="connsiteX6356" fmla="*/ 1477804 w 6400800"/>
                <a:gd name="connsiteY6356" fmla="*/ 272891 h 514350"/>
                <a:gd name="connsiteX6357" fmla="*/ 1477804 w 6400800"/>
                <a:gd name="connsiteY6357" fmla="*/ 282416 h 514350"/>
                <a:gd name="connsiteX6358" fmla="*/ 1476851 w 6400800"/>
                <a:gd name="connsiteY6358" fmla="*/ 294799 h 514350"/>
                <a:gd name="connsiteX6359" fmla="*/ 1475899 w 6400800"/>
                <a:gd name="connsiteY6359" fmla="*/ 295751 h 514350"/>
                <a:gd name="connsiteX6360" fmla="*/ 1474946 w 6400800"/>
                <a:gd name="connsiteY6360" fmla="*/ 282416 h 514350"/>
                <a:gd name="connsiteX6361" fmla="*/ 1477804 w 6400800"/>
                <a:gd name="connsiteY6361" fmla="*/ 272891 h 514350"/>
                <a:gd name="connsiteX6362" fmla="*/ 1461611 w 6400800"/>
                <a:gd name="connsiteY6362" fmla="*/ 326231 h 514350"/>
                <a:gd name="connsiteX6363" fmla="*/ 1461611 w 6400800"/>
                <a:gd name="connsiteY6363" fmla="*/ 328136 h 514350"/>
                <a:gd name="connsiteX6364" fmla="*/ 1460659 w 6400800"/>
                <a:gd name="connsiteY6364" fmla="*/ 330041 h 514350"/>
                <a:gd name="connsiteX6365" fmla="*/ 1460659 w 6400800"/>
                <a:gd name="connsiteY6365" fmla="*/ 329089 h 514350"/>
                <a:gd name="connsiteX6366" fmla="*/ 1461611 w 6400800"/>
                <a:gd name="connsiteY6366" fmla="*/ 326231 h 514350"/>
                <a:gd name="connsiteX6367" fmla="*/ 1457801 w 6400800"/>
                <a:gd name="connsiteY6367" fmla="*/ 309086 h 514350"/>
                <a:gd name="connsiteX6368" fmla="*/ 1457801 w 6400800"/>
                <a:gd name="connsiteY6368" fmla="*/ 309086 h 514350"/>
                <a:gd name="connsiteX6369" fmla="*/ 1455896 w 6400800"/>
                <a:gd name="connsiteY6369" fmla="*/ 302419 h 514350"/>
                <a:gd name="connsiteX6370" fmla="*/ 1457801 w 6400800"/>
                <a:gd name="connsiteY6370" fmla="*/ 309086 h 514350"/>
                <a:gd name="connsiteX6371" fmla="*/ 1442561 w 6400800"/>
                <a:gd name="connsiteY6371" fmla="*/ 328136 h 514350"/>
                <a:gd name="connsiteX6372" fmla="*/ 1442561 w 6400800"/>
                <a:gd name="connsiteY6372" fmla="*/ 318611 h 514350"/>
                <a:gd name="connsiteX6373" fmla="*/ 1444466 w 6400800"/>
                <a:gd name="connsiteY6373" fmla="*/ 333851 h 514350"/>
                <a:gd name="connsiteX6374" fmla="*/ 1442561 w 6400800"/>
                <a:gd name="connsiteY6374" fmla="*/ 330041 h 514350"/>
                <a:gd name="connsiteX6375" fmla="*/ 1442561 w 6400800"/>
                <a:gd name="connsiteY6375" fmla="*/ 328136 h 514350"/>
                <a:gd name="connsiteX6376" fmla="*/ 1415891 w 6400800"/>
                <a:gd name="connsiteY6376" fmla="*/ 281464 h 514350"/>
                <a:gd name="connsiteX6377" fmla="*/ 1415891 w 6400800"/>
                <a:gd name="connsiteY6377" fmla="*/ 289084 h 514350"/>
                <a:gd name="connsiteX6378" fmla="*/ 1415891 w 6400800"/>
                <a:gd name="connsiteY6378" fmla="*/ 289084 h 514350"/>
                <a:gd name="connsiteX6379" fmla="*/ 1413034 w 6400800"/>
                <a:gd name="connsiteY6379" fmla="*/ 286226 h 514350"/>
                <a:gd name="connsiteX6380" fmla="*/ 1415891 w 6400800"/>
                <a:gd name="connsiteY6380" fmla="*/ 281464 h 514350"/>
                <a:gd name="connsiteX6381" fmla="*/ 1412081 w 6400800"/>
                <a:gd name="connsiteY6381" fmla="*/ 290036 h 514350"/>
                <a:gd name="connsiteX6382" fmla="*/ 1413986 w 6400800"/>
                <a:gd name="connsiteY6382" fmla="*/ 292894 h 514350"/>
                <a:gd name="connsiteX6383" fmla="*/ 1415891 w 6400800"/>
                <a:gd name="connsiteY6383" fmla="*/ 295751 h 514350"/>
                <a:gd name="connsiteX6384" fmla="*/ 1415891 w 6400800"/>
                <a:gd name="connsiteY6384" fmla="*/ 300514 h 514350"/>
                <a:gd name="connsiteX6385" fmla="*/ 1412081 w 6400800"/>
                <a:gd name="connsiteY6385" fmla="*/ 290036 h 514350"/>
                <a:gd name="connsiteX6386" fmla="*/ 1412081 w 6400800"/>
                <a:gd name="connsiteY6386" fmla="*/ 290036 h 514350"/>
                <a:gd name="connsiteX6387" fmla="*/ 1383506 w 6400800"/>
                <a:gd name="connsiteY6387" fmla="*/ 364331 h 514350"/>
                <a:gd name="connsiteX6388" fmla="*/ 1382554 w 6400800"/>
                <a:gd name="connsiteY6388" fmla="*/ 358616 h 514350"/>
                <a:gd name="connsiteX6389" fmla="*/ 1382554 w 6400800"/>
                <a:gd name="connsiteY6389" fmla="*/ 357664 h 514350"/>
                <a:gd name="connsiteX6390" fmla="*/ 1383506 w 6400800"/>
                <a:gd name="connsiteY6390" fmla="*/ 362426 h 514350"/>
                <a:gd name="connsiteX6391" fmla="*/ 1383506 w 6400800"/>
                <a:gd name="connsiteY6391" fmla="*/ 364331 h 514350"/>
                <a:gd name="connsiteX6392" fmla="*/ 1386364 w 6400800"/>
                <a:gd name="connsiteY6392" fmla="*/ 298609 h 514350"/>
                <a:gd name="connsiteX6393" fmla="*/ 1386364 w 6400800"/>
                <a:gd name="connsiteY6393" fmla="*/ 298609 h 514350"/>
                <a:gd name="connsiteX6394" fmla="*/ 1384459 w 6400800"/>
                <a:gd name="connsiteY6394" fmla="*/ 293846 h 514350"/>
                <a:gd name="connsiteX6395" fmla="*/ 1386364 w 6400800"/>
                <a:gd name="connsiteY6395" fmla="*/ 290989 h 514350"/>
                <a:gd name="connsiteX6396" fmla="*/ 1391126 w 6400800"/>
                <a:gd name="connsiteY6396" fmla="*/ 286226 h 514350"/>
                <a:gd name="connsiteX6397" fmla="*/ 1386364 w 6400800"/>
                <a:gd name="connsiteY6397" fmla="*/ 298609 h 514350"/>
                <a:gd name="connsiteX6398" fmla="*/ 1383506 w 6400800"/>
                <a:gd name="connsiteY6398" fmla="*/ 287179 h 514350"/>
                <a:gd name="connsiteX6399" fmla="*/ 1382554 w 6400800"/>
                <a:gd name="connsiteY6399" fmla="*/ 288131 h 514350"/>
                <a:gd name="connsiteX6400" fmla="*/ 1376839 w 6400800"/>
                <a:gd name="connsiteY6400" fmla="*/ 274796 h 514350"/>
                <a:gd name="connsiteX6401" fmla="*/ 1384459 w 6400800"/>
                <a:gd name="connsiteY6401" fmla="*/ 242411 h 514350"/>
                <a:gd name="connsiteX6402" fmla="*/ 1390174 w 6400800"/>
                <a:gd name="connsiteY6402" fmla="*/ 281464 h 514350"/>
                <a:gd name="connsiteX6403" fmla="*/ 1383506 w 6400800"/>
                <a:gd name="connsiteY6403" fmla="*/ 287179 h 514350"/>
                <a:gd name="connsiteX6404" fmla="*/ 1391126 w 6400800"/>
                <a:gd name="connsiteY6404" fmla="*/ 310991 h 514350"/>
                <a:gd name="connsiteX6405" fmla="*/ 1393031 w 6400800"/>
                <a:gd name="connsiteY6405" fmla="*/ 299561 h 514350"/>
                <a:gd name="connsiteX6406" fmla="*/ 1393031 w 6400800"/>
                <a:gd name="connsiteY6406" fmla="*/ 298609 h 514350"/>
                <a:gd name="connsiteX6407" fmla="*/ 1393984 w 6400800"/>
                <a:gd name="connsiteY6407" fmla="*/ 305276 h 514350"/>
                <a:gd name="connsiteX6408" fmla="*/ 1391126 w 6400800"/>
                <a:gd name="connsiteY6408" fmla="*/ 310991 h 514350"/>
                <a:gd name="connsiteX6409" fmla="*/ 1397794 w 6400800"/>
                <a:gd name="connsiteY6409" fmla="*/ 278606 h 514350"/>
                <a:gd name="connsiteX6410" fmla="*/ 1397794 w 6400800"/>
                <a:gd name="connsiteY6410" fmla="*/ 278606 h 514350"/>
                <a:gd name="connsiteX6411" fmla="*/ 1397794 w 6400800"/>
                <a:gd name="connsiteY6411" fmla="*/ 279559 h 514350"/>
                <a:gd name="connsiteX6412" fmla="*/ 1397794 w 6400800"/>
                <a:gd name="connsiteY6412" fmla="*/ 278606 h 514350"/>
                <a:gd name="connsiteX6413" fmla="*/ 1397794 w 6400800"/>
                <a:gd name="connsiteY6413" fmla="*/ 278606 h 514350"/>
                <a:gd name="connsiteX6414" fmla="*/ 1397794 w 6400800"/>
                <a:gd name="connsiteY6414" fmla="*/ 322421 h 514350"/>
                <a:gd name="connsiteX6415" fmla="*/ 1399699 w 6400800"/>
                <a:gd name="connsiteY6415" fmla="*/ 331946 h 514350"/>
                <a:gd name="connsiteX6416" fmla="*/ 1399699 w 6400800"/>
                <a:gd name="connsiteY6416" fmla="*/ 333851 h 514350"/>
                <a:gd name="connsiteX6417" fmla="*/ 1396841 w 6400800"/>
                <a:gd name="connsiteY6417" fmla="*/ 326231 h 514350"/>
                <a:gd name="connsiteX6418" fmla="*/ 1397794 w 6400800"/>
                <a:gd name="connsiteY6418" fmla="*/ 322421 h 514350"/>
                <a:gd name="connsiteX6419" fmla="*/ 1387316 w 6400800"/>
                <a:gd name="connsiteY6419" fmla="*/ 231934 h 514350"/>
                <a:gd name="connsiteX6420" fmla="*/ 1395889 w 6400800"/>
                <a:gd name="connsiteY6420" fmla="*/ 270986 h 514350"/>
                <a:gd name="connsiteX6421" fmla="*/ 1394936 w 6400800"/>
                <a:gd name="connsiteY6421" fmla="*/ 272891 h 514350"/>
                <a:gd name="connsiteX6422" fmla="*/ 1384459 w 6400800"/>
                <a:gd name="connsiteY6422" fmla="*/ 240506 h 514350"/>
                <a:gd name="connsiteX6423" fmla="*/ 1387316 w 6400800"/>
                <a:gd name="connsiteY6423" fmla="*/ 231934 h 514350"/>
                <a:gd name="connsiteX6424" fmla="*/ 1380649 w 6400800"/>
                <a:gd name="connsiteY6424" fmla="*/ 232886 h 514350"/>
                <a:gd name="connsiteX6425" fmla="*/ 1386364 w 6400800"/>
                <a:gd name="connsiteY6425" fmla="*/ 225266 h 514350"/>
                <a:gd name="connsiteX6426" fmla="*/ 1386364 w 6400800"/>
                <a:gd name="connsiteY6426" fmla="*/ 225266 h 514350"/>
                <a:gd name="connsiteX6427" fmla="*/ 1372076 w 6400800"/>
                <a:gd name="connsiteY6427" fmla="*/ 262414 h 514350"/>
                <a:gd name="connsiteX6428" fmla="*/ 1370171 w 6400800"/>
                <a:gd name="connsiteY6428" fmla="*/ 257651 h 514350"/>
                <a:gd name="connsiteX6429" fmla="*/ 1369219 w 6400800"/>
                <a:gd name="connsiteY6429" fmla="*/ 253841 h 514350"/>
                <a:gd name="connsiteX6430" fmla="*/ 1380649 w 6400800"/>
                <a:gd name="connsiteY6430" fmla="*/ 232886 h 514350"/>
                <a:gd name="connsiteX6431" fmla="*/ 1356836 w 6400800"/>
                <a:gd name="connsiteY6431" fmla="*/ 300514 h 514350"/>
                <a:gd name="connsiteX6432" fmla="*/ 1356836 w 6400800"/>
                <a:gd name="connsiteY6432" fmla="*/ 302419 h 514350"/>
                <a:gd name="connsiteX6433" fmla="*/ 1355884 w 6400800"/>
                <a:gd name="connsiteY6433" fmla="*/ 304324 h 514350"/>
                <a:gd name="connsiteX6434" fmla="*/ 1355884 w 6400800"/>
                <a:gd name="connsiteY6434" fmla="*/ 299561 h 514350"/>
                <a:gd name="connsiteX6435" fmla="*/ 1356836 w 6400800"/>
                <a:gd name="connsiteY6435" fmla="*/ 300514 h 514350"/>
                <a:gd name="connsiteX6436" fmla="*/ 1339691 w 6400800"/>
                <a:gd name="connsiteY6436" fmla="*/ 325279 h 514350"/>
                <a:gd name="connsiteX6437" fmla="*/ 1339691 w 6400800"/>
                <a:gd name="connsiteY6437" fmla="*/ 324326 h 514350"/>
                <a:gd name="connsiteX6438" fmla="*/ 1341596 w 6400800"/>
                <a:gd name="connsiteY6438" fmla="*/ 317659 h 514350"/>
                <a:gd name="connsiteX6439" fmla="*/ 1341596 w 6400800"/>
                <a:gd name="connsiteY6439" fmla="*/ 317659 h 514350"/>
                <a:gd name="connsiteX6440" fmla="*/ 1341596 w 6400800"/>
                <a:gd name="connsiteY6440" fmla="*/ 330994 h 514350"/>
                <a:gd name="connsiteX6441" fmla="*/ 1339691 w 6400800"/>
                <a:gd name="connsiteY6441" fmla="*/ 325279 h 514350"/>
                <a:gd name="connsiteX6442" fmla="*/ 1340644 w 6400800"/>
                <a:gd name="connsiteY6442" fmla="*/ 226219 h 514350"/>
                <a:gd name="connsiteX6443" fmla="*/ 1340644 w 6400800"/>
                <a:gd name="connsiteY6443" fmla="*/ 226219 h 514350"/>
                <a:gd name="connsiteX6444" fmla="*/ 1344454 w 6400800"/>
                <a:gd name="connsiteY6444" fmla="*/ 237649 h 514350"/>
                <a:gd name="connsiteX6445" fmla="*/ 1344454 w 6400800"/>
                <a:gd name="connsiteY6445" fmla="*/ 242411 h 514350"/>
                <a:gd name="connsiteX6446" fmla="*/ 1343501 w 6400800"/>
                <a:gd name="connsiteY6446" fmla="*/ 264319 h 514350"/>
                <a:gd name="connsiteX6447" fmla="*/ 1343501 w 6400800"/>
                <a:gd name="connsiteY6447" fmla="*/ 272891 h 514350"/>
                <a:gd name="connsiteX6448" fmla="*/ 1339691 w 6400800"/>
                <a:gd name="connsiteY6448" fmla="*/ 269081 h 514350"/>
                <a:gd name="connsiteX6449" fmla="*/ 1340644 w 6400800"/>
                <a:gd name="connsiteY6449" fmla="*/ 226219 h 514350"/>
                <a:gd name="connsiteX6450" fmla="*/ 1337786 w 6400800"/>
                <a:gd name="connsiteY6450" fmla="*/ 295751 h 514350"/>
                <a:gd name="connsiteX6451" fmla="*/ 1338739 w 6400800"/>
                <a:gd name="connsiteY6451" fmla="*/ 271939 h 514350"/>
                <a:gd name="connsiteX6452" fmla="*/ 1342549 w 6400800"/>
                <a:gd name="connsiteY6452" fmla="*/ 276701 h 514350"/>
                <a:gd name="connsiteX6453" fmla="*/ 1342549 w 6400800"/>
                <a:gd name="connsiteY6453" fmla="*/ 276701 h 514350"/>
                <a:gd name="connsiteX6454" fmla="*/ 1342549 w 6400800"/>
                <a:gd name="connsiteY6454" fmla="*/ 286226 h 514350"/>
                <a:gd name="connsiteX6455" fmla="*/ 1337786 w 6400800"/>
                <a:gd name="connsiteY6455" fmla="*/ 295751 h 514350"/>
                <a:gd name="connsiteX6456" fmla="*/ 1337786 w 6400800"/>
                <a:gd name="connsiteY6456" fmla="*/ 296704 h 514350"/>
                <a:gd name="connsiteX6457" fmla="*/ 1337786 w 6400800"/>
                <a:gd name="connsiteY6457" fmla="*/ 295751 h 514350"/>
                <a:gd name="connsiteX6458" fmla="*/ 1314926 w 6400800"/>
                <a:gd name="connsiteY6458" fmla="*/ 320516 h 514350"/>
                <a:gd name="connsiteX6459" fmla="*/ 1314926 w 6400800"/>
                <a:gd name="connsiteY6459" fmla="*/ 320516 h 514350"/>
                <a:gd name="connsiteX6460" fmla="*/ 1314926 w 6400800"/>
                <a:gd name="connsiteY6460" fmla="*/ 320516 h 514350"/>
                <a:gd name="connsiteX6461" fmla="*/ 1314926 w 6400800"/>
                <a:gd name="connsiteY6461" fmla="*/ 320516 h 514350"/>
                <a:gd name="connsiteX6462" fmla="*/ 1311116 w 6400800"/>
                <a:gd name="connsiteY6462" fmla="*/ 312896 h 514350"/>
                <a:gd name="connsiteX6463" fmla="*/ 1311116 w 6400800"/>
                <a:gd name="connsiteY6463" fmla="*/ 312896 h 514350"/>
                <a:gd name="connsiteX6464" fmla="*/ 1311116 w 6400800"/>
                <a:gd name="connsiteY6464" fmla="*/ 314801 h 514350"/>
                <a:gd name="connsiteX6465" fmla="*/ 1311116 w 6400800"/>
                <a:gd name="connsiteY6465" fmla="*/ 314801 h 514350"/>
                <a:gd name="connsiteX6466" fmla="*/ 1311116 w 6400800"/>
                <a:gd name="connsiteY6466" fmla="*/ 312896 h 514350"/>
                <a:gd name="connsiteX6467" fmla="*/ 1242536 w 6400800"/>
                <a:gd name="connsiteY6467" fmla="*/ 344329 h 514350"/>
                <a:gd name="connsiteX6468" fmla="*/ 1238726 w 6400800"/>
                <a:gd name="connsiteY6468" fmla="*/ 336709 h 514350"/>
                <a:gd name="connsiteX6469" fmla="*/ 1238726 w 6400800"/>
                <a:gd name="connsiteY6469" fmla="*/ 310991 h 514350"/>
                <a:gd name="connsiteX6470" fmla="*/ 1238726 w 6400800"/>
                <a:gd name="connsiteY6470" fmla="*/ 307181 h 514350"/>
                <a:gd name="connsiteX6471" fmla="*/ 1244441 w 6400800"/>
                <a:gd name="connsiteY6471" fmla="*/ 339566 h 514350"/>
                <a:gd name="connsiteX6472" fmla="*/ 1244441 w 6400800"/>
                <a:gd name="connsiteY6472" fmla="*/ 340519 h 514350"/>
                <a:gd name="connsiteX6473" fmla="*/ 1242536 w 6400800"/>
                <a:gd name="connsiteY6473" fmla="*/ 344329 h 514350"/>
                <a:gd name="connsiteX6474" fmla="*/ 1279684 w 6400800"/>
                <a:gd name="connsiteY6474" fmla="*/ 290989 h 514350"/>
                <a:gd name="connsiteX6475" fmla="*/ 1279684 w 6400800"/>
                <a:gd name="connsiteY6475" fmla="*/ 284321 h 514350"/>
                <a:gd name="connsiteX6476" fmla="*/ 1281589 w 6400800"/>
                <a:gd name="connsiteY6476" fmla="*/ 287179 h 514350"/>
                <a:gd name="connsiteX6477" fmla="*/ 1279684 w 6400800"/>
                <a:gd name="connsiteY6477" fmla="*/ 290989 h 514350"/>
                <a:gd name="connsiteX6478" fmla="*/ 1298734 w 6400800"/>
                <a:gd name="connsiteY6478" fmla="*/ 332899 h 514350"/>
                <a:gd name="connsiteX6479" fmla="*/ 1298734 w 6400800"/>
                <a:gd name="connsiteY6479" fmla="*/ 332899 h 514350"/>
                <a:gd name="connsiteX6480" fmla="*/ 1298734 w 6400800"/>
                <a:gd name="connsiteY6480" fmla="*/ 330994 h 514350"/>
                <a:gd name="connsiteX6481" fmla="*/ 1298734 w 6400800"/>
                <a:gd name="connsiteY6481" fmla="*/ 332899 h 514350"/>
                <a:gd name="connsiteX6482" fmla="*/ 1295876 w 6400800"/>
                <a:gd name="connsiteY6482" fmla="*/ 278606 h 514350"/>
                <a:gd name="connsiteX6483" fmla="*/ 1305401 w 6400800"/>
                <a:gd name="connsiteY6483" fmla="*/ 299561 h 514350"/>
                <a:gd name="connsiteX6484" fmla="*/ 1305401 w 6400800"/>
                <a:gd name="connsiteY6484" fmla="*/ 300514 h 514350"/>
                <a:gd name="connsiteX6485" fmla="*/ 1304449 w 6400800"/>
                <a:gd name="connsiteY6485" fmla="*/ 303371 h 514350"/>
                <a:gd name="connsiteX6486" fmla="*/ 1300639 w 6400800"/>
                <a:gd name="connsiteY6486" fmla="*/ 295751 h 514350"/>
                <a:gd name="connsiteX6487" fmla="*/ 1293971 w 6400800"/>
                <a:gd name="connsiteY6487" fmla="*/ 284321 h 514350"/>
                <a:gd name="connsiteX6488" fmla="*/ 1295876 w 6400800"/>
                <a:gd name="connsiteY6488" fmla="*/ 278606 h 514350"/>
                <a:gd name="connsiteX6489" fmla="*/ 1299686 w 6400800"/>
                <a:gd name="connsiteY6489" fmla="*/ 328136 h 514350"/>
                <a:gd name="connsiteX6490" fmla="*/ 1299686 w 6400800"/>
                <a:gd name="connsiteY6490" fmla="*/ 330041 h 514350"/>
                <a:gd name="connsiteX6491" fmla="*/ 1298734 w 6400800"/>
                <a:gd name="connsiteY6491" fmla="*/ 331946 h 514350"/>
                <a:gd name="connsiteX6492" fmla="*/ 1293019 w 6400800"/>
                <a:gd name="connsiteY6492" fmla="*/ 324326 h 514350"/>
                <a:gd name="connsiteX6493" fmla="*/ 1289209 w 6400800"/>
                <a:gd name="connsiteY6493" fmla="*/ 318611 h 514350"/>
                <a:gd name="connsiteX6494" fmla="*/ 1289209 w 6400800"/>
                <a:gd name="connsiteY6494" fmla="*/ 318611 h 514350"/>
                <a:gd name="connsiteX6495" fmla="*/ 1289209 w 6400800"/>
                <a:gd name="connsiteY6495" fmla="*/ 309086 h 514350"/>
                <a:gd name="connsiteX6496" fmla="*/ 1290161 w 6400800"/>
                <a:gd name="connsiteY6496" fmla="*/ 305276 h 514350"/>
                <a:gd name="connsiteX6497" fmla="*/ 1299686 w 6400800"/>
                <a:gd name="connsiteY6497" fmla="*/ 328136 h 514350"/>
                <a:gd name="connsiteX6498" fmla="*/ 1289209 w 6400800"/>
                <a:gd name="connsiteY6498" fmla="*/ 263366 h 514350"/>
                <a:gd name="connsiteX6499" fmla="*/ 1287304 w 6400800"/>
                <a:gd name="connsiteY6499" fmla="*/ 268129 h 514350"/>
                <a:gd name="connsiteX6500" fmla="*/ 1287304 w 6400800"/>
                <a:gd name="connsiteY6500" fmla="*/ 259556 h 514350"/>
                <a:gd name="connsiteX6501" fmla="*/ 1289209 w 6400800"/>
                <a:gd name="connsiteY6501" fmla="*/ 263366 h 514350"/>
                <a:gd name="connsiteX6502" fmla="*/ 1276826 w 6400800"/>
                <a:gd name="connsiteY6502" fmla="*/ 238601 h 514350"/>
                <a:gd name="connsiteX6503" fmla="*/ 1278731 w 6400800"/>
                <a:gd name="connsiteY6503" fmla="*/ 242411 h 514350"/>
                <a:gd name="connsiteX6504" fmla="*/ 1286351 w 6400800"/>
                <a:gd name="connsiteY6504" fmla="*/ 257651 h 514350"/>
                <a:gd name="connsiteX6505" fmla="*/ 1285399 w 6400800"/>
                <a:gd name="connsiteY6505" fmla="*/ 267176 h 514350"/>
                <a:gd name="connsiteX6506" fmla="*/ 1277779 w 6400800"/>
                <a:gd name="connsiteY6506" fmla="*/ 255746 h 514350"/>
                <a:gd name="connsiteX6507" fmla="*/ 1276826 w 6400800"/>
                <a:gd name="connsiteY6507" fmla="*/ 242411 h 514350"/>
                <a:gd name="connsiteX6508" fmla="*/ 1276826 w 6400800"/>
                <a:gd name="connsiteY6508" fmla="*/ 238601 h 514350"/>
                <a:gd name="connsiteX6509" fmla="*/ 1273016 w 6400800"/>
                <a:gd name="connsiteY6509" fmla="*/ 271939 h 514350"/>
                <a:gd name="connsiteX6510" fmla="*/ 1273969 w 6400800"/>
                <a:gd name="connsiteY6510" fmla="*/ 272891 h 514350"/>
                <a:gd name="connsiteX6511" fmla="*/ 1273016 w 6400800"/>
                <a:gd name="connsiteY6511" fmla="*/ 291941 h 514350"/>
                <a:gd name="connsiteX6512" fmla="*/ 1271111 w 6400800"/>
                <a:gd name="connsiteY6512" fmla="*/ 288131 h 514350"/>
                <a:gd name="connsiteX6513" fmla="*/ 1273016 w 6400800"/>
                <a:gd name="connsiteY6513" fmla="*/ 271939 h 514350"/>
                <a:gd name="connsiteX6514" fmla="*/ 1240631 w 6400800"/>
                <a:gd name="connsiteY6514" fmla="*/ 229076 h 514350"/>
                <a:gd name="connsiteX6515" fmla="*/ 1244441 w 6400800"/>
                <a:gd name="connsiteY6515" fmla="*/ 220504 h 514350"/>
                <a:gd name="connsiteX6516" fmla="*/ 1253966 w 6400800"/>
                <a:gd name="connsiteY6516" fmla="*/ 237649 h 514350"/>
                <a:gd name="connsiteX6517" fmla="*/ 1264444 w 6400800"/>
                <a:gd name="connsiteY6517" fmla="*/ 257651 h 514350"/>
                <a:gd name="connsiteX6518" fmla="*/ 1268254 w 6400800"/>
                <a:gd name="connsiteY6518" fmla="*/ 264319 h 514350"/>
                <a:gd name="connsiteX6519" fmla="*/ 1262539 w 6400800"/>
                <a:gd name="connsiteY6519" fmla="*/ 286226 h 514350"/>
                <a:gd name="connsiteX6520" fmla="*/ 1254919 w 6400800"/>
                <a:gd name="connsiteY6520" fmla="*/ 277654 h 514350"/>
                <a:gd name="connsiteX6521" fmla="*/ 1241584 w 6400800"/>
                <a:gd name="connsiteY6521" fmla="*/ 251936 h 514350"/>
                <a:gd name="connsiteX6522" fmla="*/ 1235869 w 6400800"/>
                <a:gd name="connsiteY6522" fmla="*/ 243364 h 514350"/>
                <a:gd name="connsiteX6523" fmla="*/ 1235869 w 6400800"/>
                <a:gd name="connsiteY6523" fmla="*/ 242411 h 514350"/>
                <a:gd name="connsiteX6524" fmla="*/ 1240631 w 6400800"/>
                <a:gd name="connsiteY6524" fmla="*/ 229076 h 514350"/>
                <a:gd name="connsiteX6525" fmla="*/ 1228249 w 6400800"/>
                <a:gd name="connsiteY6525" fmla="*/ 304324 h 514350"/>
                <a:gd name="connsiteX6526" fmla="*/ 1227296 w 6400800"/>
                <a:gd name="connsiteY6526" fmla="*/ 288131 h 514350"/>
                <a:gd name="connsiteX6527" fmla="*/ 1227296 w 6400800"/>
                <a:gd name="connsiteY6527" fmla="*/ 281464 h 514350"/>
                <a:gd name="connsiteX6528" fmla="*/ 1228249 w 6400800"/>
                <a:gd name="connsiteY6528" fmla="*/ 279559 h 514350"/>
                <a:gd name="connsiteX6529" fmla="*/ 1228249 w 6400800"/>
                <a:gd name="connsiteY6529" fmla="*/ 278606 h 514350"/>
                <a:gd name="connsiteX6530" fmla="*/ 1229201 w 6400800"/>
                <a:gd name="connsiteY6530" fmla="*/ 279559 h 514350"/>
                <a:gd name="connsiteX6531" fmla="*/ 1231106 w 6400800"/>
                <a:gd name="connsiteY6531" fmla="*/ 284321 h 514350"/>
                <a:gd name="connsiteX6532" fmla="*/ 1228249 w 6400800"/>
                <a:gd name="connsiteY6532" fmla="*/ 304324 h 514350"/>
                <a:gd name="connsiteX6533" fmla="*/ 1232059 w 6400800"/>
                <a:gd name="connsiteY6533" fmla="*/ 280511 h 514350"/>
                <a:gd name="connsiteX6534" fmla="*/ 1232059 w 6400800"/>
                <a:gd name="connsiteY6534" fmla="*/ 278606 h 514350"/>
                <a:gd name="connsiteX6535" fmla="*/ 1230154 w 6400800"/>
                <a:gd name="connsiteY6535" fmla="*/ 275749 h 514350"/>
                <a:gd name="connsiteX6536" fmla="*/ 1227296 w 6400800"/>
                <a:gd name="connsiteY6536" fmla="*/ 275749 h 514350"/>
                <a:gd name="connsiteX6537" fmla="*/ 1226344 w 6400800"/>
                <a:gd name="connsiteY6537" fmla="*/ 275749 h 514350"/>
                <a:gd name="connsiteX6538" fmla="*/ 1226344 w 6400800"/>
                <a:gd name="connsiteY6538" fmla="*/ 269081 h 514350"/>
                <a:gd name="connsiteX6539" fmla="*/ 1230154 w 6400800"/>
                <a:gd name="connsiteY6539" fmla="*/ 272891 h 514350"/>
                <a:gd name="connsiteX6540" fmla="*/ 1233011 w 6400800"/>
                <a:gd name="connsiteY6540" fmla="*/ 276701 h 514350"/>
                <a:gd name="connsiteX6541" fmla="*/ 1232059 w 6400800"/>
                <a:gd name="connsiteY6541" fmla="*/ 280511 h 514350"/>
                <a:gd name="connsiteX6542" fmla="*/ 1230154 w 6400800"/>
                <a:gd name="connsiteY6542" fmla="*/ 221456 h 514350"/>
                <a:gd name="connsiteX6543" fmla="*/ 1233964 w 6400800"/>
                <a:gd name="connsiteY6543" fmla="*/ 233839 h 514350"/>
                <a:gd name="connsiteX6544" fmla="*/ 1233964 w 6400800"/>
                <a:gd name="connsiteY6544" fmla="*/ 233839 h 514350"/>
                <a:gd name="connsiteX6545" fmla="*/ 1233011 w 6400800"/>
                <a:gd name="connsiteY6545" fmla="*/ 230029 h 514350"/>
                <a:gd name="connsiteX6546" fmla="*/ 1230154 w 6400800"/>
                <a:gd name="connsiteY6546" fmla="*/ 221456 h 514350"/>
                <a:gd name="connsiteX6547" fmla="*/ 1230154 w 6400800"/>
                <a:gd name="connsiteY6547" fmla="*/ 221456 h 514350"/>
                <a:gd name="connsiteX6548" fmla="*/ 1229201 w 6400800"/>
                <a:gd name="connsiteY6548" fmla="*/ 257651 h 514350"/>
                <a:gd name="connsiteX6549" fmla="*/ 1229201 w 6400800"/>
                <a:gd name="connsiteY6549" fmla="*/ 257651 h 514350"/>
                <a:gd name="connsiteX6550" fmla="*/ 1230154 w 6400800"/>
                <a:gd name="connsiteY6550" fmla="*/ 259556 h 514350"/>
                <a:gd name="connsiteX6551" fmla="*/ 1230154 w 6400800"/>
                <a:gd name="connsiteY6551" fmla="*/ 262414 h 514350"/>
                <a:gd name="connsiteX6552" fmla="*/ 1232059 w 6400800"/>
                <a:gd name="connsiteY6552" fmla="*/ 274796 h 514350"/>
                <a:gd name="connsiteX6553" fmla="*/ 1232059 w 6400800"/>
                <a:gd name="connsiteY6553" fmla="*/ 274796 h 514350"/>
                <a:gd name="connsiteX6554" fmla="*/ 1229201 w 6400800"/>
                <a:gd name="connsiteY6554" fmla="*/ 272891 h 514350"/>
                <a:gd name="connsiteX6555" fmla="*/ 1225391 w 6400800"/>
                <a:gd name="connsiteY6555" fmla="*/ 269081 h 514350"/>
                <a:gd name="connsiteX6556" fmla="*/ 1225391 w 6400800"/>
                <a:gd name="connsiteY6556" fmla="*/ 265271 h 514350"/>
                <a:gd name="connsiteX6557" fmla="*/ 1229201 w 6400800"/>
                <a:gd name="connsiteY6557" fmla="*/ 257651 h 514350"/>
                <a:gd name="connsiteX6558" fmla="*/ 1226344 w 6400800"/>
                <a:gd name="connsiteY6558" fmla="*/ 235744 h 514350"/>
                <a:gd name="connsiteX6559" fmla="*/ 1228249 w 6400800"/>
                <a:gd name="connsiteY6559" fmla="*/ 244316 h 514350"/>
                <a:gd name="connsiteX6560" fmla="*/ 1227296 w 6400800"/>
                <a:gd name="connsiteY6560" fmla="*/ 246221 h 514350"/>
                <a:gd name="connsiteX6561" fmla="*/ 1225391 w 6400800"/>
                <a:gd name="connsiteY6561" fmla="*/ 244316 h 514350"/>
                <a:gd name="connsiteX6562" fmla="*/ 1225391 w 6400800"/>
                <a:gd name="connsiteY6562" fmla="*/ 231934 h 514350"/>
                <a:gd name="connsiteX6563" fmla="*/ 1226344 w 6400800"/>
                <a:gd name="connsiteY6563" fmla="*/ 235744 h 514350"/>
                <a:gd name="connsiteX6564" fmla="*/ 1197769 w 6400800"/>
                <a:gd name="connsiteY6564" fmla="*/ 293846 h 514350"/>
                <a:gd name="connsiteX6565" fmla="*/ 1198721 w 6400800"/>
                <a:gd name="connsiteY6565" fmla="*/ 290036 h 514350"/>
                <a:gd name="connsiteX6566" fmla="*/ 1198721 w 6400800"/>
                <a:gd name="connsiteY6566" fmla="*/ 291941 h 514350"/>
                <a:gd name="connsiteX6567" fmla="*/ 1199674 w 6400800"/>
                <a:gd name="connsiteY6567" fmla="*/ 299561 h 514350"/>
                <a:gd name="connsiteX6568" fmla="*/ 1196816 w 6400800"/>
                <a:gd name="connsiteY6568" fmla="*/ 307181 h 514350"/>
                <a:gd name="connsiteX6569" fmla="*/ 1194911 w 6400800"/>
                <a:gd name="connsiteY6569" fmla="*/ 299561 h 514350"/>
                <a:gd name="connsiteX6570" fmla="*/ 1197769 w 6400800"/>
                <a:gd name="connsiteY6570" fmla="*/ 293846 h 514350"/>
                <a:gd name="connsiteX6571" fmla="*/ 1196816 w 6400800"/>
                <a:gd name="connsiteY6571" fmla="*/ 459581 h 514350"/>
                <a:gd name="connsiteX6572" fmla="*/ 1196816 w 6400800"/>
                <a:gd name="connsiteY6572" fmla="*/ 459581 h 514350"/>
                <a:gd name="connsiteX6573" fmla="*/ 1195864 w 6400800"/>
                <a:gd name="connsiteY6573" fmla="*/ 455771 h 514350"/>
                <a:gd name="connsiteX6574" fmla="*/ 1196816 w 6400800"/>
                <a:gd name="connsiteY6574" fmla="*/ 459581 h 514350"/>
                <a:gd name="connsiteX6575" fmla="*/ 1190149 w 6400800"/>
                <a:gd name="connsiteY6575" fmla="*/ 324326 h 514350"/>
                <a:gd name="connsiteX6576" fmla="*/ 1190149 w 6400800"/>
                <a:gd name="connsiteY6576" fmla="*/ 324326 h 514350"/>
                <a:gd name="connsiteX6577" fmla="*/ 1189196 w 6400800"/>
                <a:gd name="connsiteY6577" fmla="*/ 320516 h 514350"/>
                <a:gd name="connsiteX6578" fmla="*/ 1190149 w 6400800"/>
                <a:gd name="connsiteY6578" fmla="*/ 324326 h 514350"/>
                <a:gd name="connsiteX6579" fmla="*/ 1170146 w 6400800"/>
                <a:gd name="connsiteY6579" fmla="*/ 270986 h 514350"/>
                <a:gd name="connsiteX6580" fmla="*/ 1170146 w 6400800"/>
                <a:gd name="connsiteY6580" fmla="*/ 268129 h 514350"/>
                <a:gd name="connsiteX6581" fmla="*/ 1170146 w 6400800"/>
                <a:gd name="connsiteY6581" fmla="*/ 264319 h 514350"/>
                <a:gd name="connsiteX6582" fmla="*/ 1172051 w 6400800"/>
                <a:gd name="connsiteY6582" fmla="*/ 235744 h 514350"/>
                <a:gd name="connsiteX6583" fmla="*/ 1174909 w 6400800"/>
                <a:gd name="connsiteY6583" fmla="*/ 245269 h 514350"/>
                <a:gd name="connsiteX6584" fmla="*/ 1176814 w 6400800"/>
                <a:gd name="connsiteY6584" fmla="*/ 260509 h 514350"/>
                <a:gd name="connsiteX6585" fmla="*/ 1177766 w 6400800"/>
                <a:gd name="connsiteY6585" fmla="*/ 285274 h 514350"/>
                <a:gd name="connsiteX6586" fmla="*/ 1177766 w 6400800"/>
                <a:gd name="connsiteY6586" fmla="*/ 308134 h 514350"/>
                <a:gd name="connsiteX6587" fmla="*/ 1176814 w 6400800"/>
                <a:gd name="connsiteY6587" fmla="*/ 305276 h 514350"/>
                <a:gd name="connsiteX6588" fmla="*/ 1168241 w 6400800"/>
                <a:gd name="connsiteY6588" fmla="*/ 287179 h 514350"/>
                <a:gd name="connsiteX6589" fmla="*/ 1170146 w 6400800"/>
                <a:gd name="connsiteY6589" fmla="*/ 270986 h 514350"/>
                <a:gd name="connsiteX6590" fmla="*/ 1170146 w 6400800"/>
                <a:gd name="connsiteY6590" fmla="*/ 309086 h 514350"/>
                <a:gd name="connsiteX6591" fmla="*/ 1173956 w 6400800"/>
                <a:gd name="connsiteY6591" fmla="*/ 321469 h 514350"/>
                <a:gd name="connsiteX6592" fmla="*/ 1172051 w 6400800"/>
                <a:gd name="connsiteY6592" fmla="*/ 327184 h 514350"/>
                <a:gd name="connsiteX6593" fmla="*/ 1170146 w 6400800"/>
                <a:gd name="connsiteY6593" fmla="*/ 322421 h 514350"/>
                <a:gd name="connsiteX6594" fmla="*/ 1170146 w 6400800"/>
                <a:gd name="connsiteY6594" fmla="*/ 318611 h 514350"/>
                <a:gd name="connsiteX6595" fmla="*/ 1168241 w 6400800"/>
                <a:gd name="connsiteY6595" fmla="*/ 303371 h 514350"/>
                <a:gd name="connsiteX6596" fmla="*/ 1170146 w 6400800"/>
                <a:gd name="connsiteY6596" fmla="*/ 309086 h 514350"/>
                <a:gd name="connsiteX6597" fmla="*/ 1164431 w 6400800"/>
                <a:gd name="connsiteY6597" fmla="*/ 236696 h 514350"/>
                <a:gd name="connsiteX6598" fmla="*/ 1161574 w 6400800"/>
                <a:gd name="connsiteY6598" fmla="*/ 253841 h 514350"/>
                <a:gd name="connsiteX6599" fmla="*/ 1161574 w 6400800"/>
                <a:gd name="connsiteY6599" fmla="*/ 251936 h 514350"/>
                <a:gd name="connsiteX6600" fmla="*/ 1161574 w 6400800"/>
                <a:gd name="connsiteY6600" fmla="*/ 250984 h 514350"/>
                <a:gd name="connsiteX6601" fmla="*/ 1164431 w 6400800"/>
                <a:gd name="connsiteY6601" fmla="*/ 236696 h 514350"/>
                <a:gd name="connsiteX6602" fmla="*/ 1140619 w 6400800"/>
                <a:gd name="connsiteY6602" fmla="*/ 290036 h 514350"/>
                <a:gd name="connsiteX6603" fmla="*/ 1139666 w 6400800"/>
                <a:gd name="connsiteY6603" fmla="*/ 291941 h 514350"/>
                <a:gd name="connsiteX6604" fmla="*/ 1137761 w 6400800"/>
                <a:gd name="connsiteY6604" fmla="*/ 283369 h 514350"/>
                <a:gd name="connsiteX6605" fmla="*/ 1140619 w 6400800"/>
                <a:gd name="connsiteY6605" fmla="*/ 290036 h 514350"/>
                <a:gd name="connsiteX6606" fmla="*/ 1114901 w 6400800"/>
                <a:gd name="connsiteY6606" fmla="*/ 339566 h 514350"/>
                <a:gd name="connsiteX6607" fmla="*/ 1117759 w 6400800"/>
                <a:gd name="connsiteY6607" fmla="*/ 315754 h 514350"/>
                <a:gd name="connsiteX6608" fmla="*/ 1119664 w 6400800"/>
                <a:gd name="connsiteY6608" fmla="*/ 325279 h 514350"/>
                <a:gd name="connsiteX6609" fmla="*/ 1121569 w 6400800"/>
                <a:gd name="connsiteY6609" fmla="*/ 334804 h 514350"/>
                <a:gd name="connsiteX6610" fmla="*/ 1120616 w 6400800"/>
                <a:gd name="connsiteY6610" fmla="*/ 341471 h 514350"/>
                <a:gd name="connsiteX6611" fmla="*/ 1120616 w 6400800"/>
                <a:gd name="connsiteY6611" fmla="*/ 342424 h 514350"/>
                <a:gd name="connsiteX6612" fmla="*/ 1118711 w 6400800"/>
                <a:gd name="connsiteY6612" fmla="*/ 348139 h 514350"/>
                <a:gd name="connsiteX6613" fmla="*/ 1114901 w 6400800"/>
                <a:gd name="connsiteY6613" fmla="*/ 341471 h 514350"/>
                <a:gd name="connsiteX6614" fmla="*/ 1114901 w 6400800"/>
                <a:gd name="connsiteY6614" fmla="*/ 339566 h 514350"/>
                <a:gd name="connsiteX6615" fmla="*/ 1111091 w 6400800"/>
                <a:gd name="connsiteY6615" fmla="*/ 219551 h 514350"/>
                <a:gd name="connsiteX6616" fmla="*/ 1112044 w 6400800"/>
                <a:gd name="connsiteY6616" fmla="*/ 222409 h 514350"/>
                <a:gd name="connsiteX6617" fmla="*/ 1112996 w 6400800"/>
                <a:gd name="connsiteY6617" fmla="*/ 230029 h 514350"/>
                <a:gd name="connsiteX6618" fmla="*/ 1112996 w 6400800"/>
                <a:gd name="connsiteY6618" fmla="*/ 230029 h 514350"/>
                <a:gd name="connsiteX6619" fmla="*/ 1111091 w 6400800"/>
                <a:gd name="connsiteY6619" fmla="*/ 219551 h 514350"/>
                <a:gd name="connsiteX6620" fmla="*/ 1111091 w 6400800"/>
                <a:gd name="connsiteY6620" fmla="*/ 219551 h 514350"/>
                <a:gd name="connsiteX6621" fmla="*/ 1110139 w 6400800"/>
                <a:gd name="connsiteY6621" fmla="*/ 217646 h 514350"/>
                <a:gd name="connsiteX6622" fmla="*/ 1110139 w 6400800"/>
                <a:gd name="connsiteY6622" fmla="*/ 217646 h 514350"/>
                <a:gd name="connsiteX6623" fmla="*/ 1109186 w 6400800"/>
                <a:gd name="connsiteY6623" fmla="*/ 215741 h 514350"/>
                <a:gd name="connsiteX6624" fmla="*/ 1110139 w 6400800"/>
                <a:gd name="connsiteY6624" fmla="*/ 217646 h 514350"/>
                <a:gd name="connsiteX6625" fmla="*/ 1101566 w 6400800"/>
                <a:gd name="connsiteY6625" fmla="*/ 236696 h 514350"/>
                <a:gd name="connsiteX6626" fmla="*/ 1111091 w 6400800"/>
                <a:gd name="connsiteY6626" fmla="*/ 278606 h 514350"/>
                <a:gd name="connsiteX6627" fmla="*/ 1109186 w 6400800"/>
                <a:gd name="connsiteY6627" fmla="*/ 293846 h 514350"/>
                <a:gd name="connsiteX6628" fmla="*/ 1106329 w 6400800"/>
                <a:gd name="connsiteY6628" fmla="*/ 309086 h 514350"/>
                <a:gd name="connsiteX6629" fmla="*/ 1106329 w 6400800"/>
                <a:gd name="connsiteY6629" fmla="*/ 308134 h 514350"/>
                <a:gd name="connsiteX6630" fmla="*/ 1105376 w 6400800"/>
                <a:gd name="connsiteY6630" fmla="*/ 295751 h 514350"/>
                <a:gd name="connsiteX6631" fmla="*/ 1105376 w 6400800"/>
                <a:gd name="connsiteY6631" fmla="*/ 300514 h 514350"/>
                <a:gd name="connsiteX6632" fmla="*/ 1099661 w 6400800"/>
                <a:gd name="connsiteY6632" fmla="*/ 272891 h 514350"/>
                <a:gd name="connsiteX6633" fmla="*/ 1094899 w 6400800"/>
                <a:gd name="connsiteY6633" fmla="*/ 249079 h 514350"/>
                <a:gd name="connsiteX6634" fmla="*/ 1101566 w 6400800"/>
                <a:gd name="connsiteY6634" fmla="*/ 236696 h 514350"/>
                <a:gd name="connsiteX6635" fmla="*/ 1027271 w 6400800"/>
                <a:gd name="connsiteY6635" fmla="*/ 325279 h 514350"/>
                <a:gd name="connsiteX6636" fmla="*/ 1030129 w 6400800"/>
                <a:gd name="connsiteY6636" fmla="*/ 310991 h 514350"/>
                <a:gd name="connsiteX6637" fmla="*/ 1034891 w 6400800"/>
                <a:gd name="connsiteY6637" fmla="*/ 297656 h 514350"/>
                <a:gd name="connsiteX6638" fmla="*/ 1039654 w 6400800"/>
                <a:gd name="connsiteY6638" fmla="*/ 288131 h 514350"/>
                <a:gd name="connsiteX6639" fmla="*/ 1042511 w 6400800"/>
                <a:gd name="connsiteY6639" fmla="*/ 299561 h 514350"/>
                <a:gd name="connsiteX6640" fmla="*/ 1039654 w 6400800"/>
                <a:gd name="connsiteY6640" fmla="*/ 305276 h 514350"/>
                <a:gd name="connsiteX6641" fmla="*/ 1028224 w 6400800"/>
                <a:gd name="connsiteY6641" fmla="*/ 330994 h 514350"/>
                <a:gd name="connsiteX6642" fmla="*/ 1027271 w 6400800"/>
                <a:gd name="connsiteY6642" fmla="*/ 325279 h 514350"/>
                <a:gd name="connsiteX6643" fmla="*/ 1040606 w 6400800"/>
                <a:gd name="connsiteY6643" fmla="*/ 374809 h 514350"/>
                <a:gd name="connsiteX6644" fmla="*/ 1039654 w 6400800"/>
                <a:gd name="connsiteY6644" fmla="*/ 370999 h 514350"/>
                <a:gd name="connsiteX6645" fmla="*/ 1045369 w 6400800"/>
                <a:gd name="connsiteY6645" fmla="*/ 355759 h 514350"/>
                <a:gd name="connsiteX6646" fmla="*/ 1047274 w 6400800"/>
                <a:gd name="connsiteY6646" fmla="*/ 364331 h 514350"/>
                <a:gd name="connsiteX6647" fmla="*/ 1048226 w 6400800"/>
                <a:gd name="connsiteY6647" fmla="*/ 386239 h 514350"/>
                <a:gd name="connsiteX6648" fmla="*/ 1044416 w 6400800"/>
                <a:gd name="connsiteY6648" fmla="*/ 384334 h 514350"/>
                <a:gd name="connsiteX6649" fmla="*/ 1040606 w 6400800"/>
                <a:gd name="connsiteY6649" fmla="*/ 374809 h 514350"/>
                <a:gd name="connsiteX6650" fmla="*/ 1046321 w 6400800"/>
                <a:gd name="connsiteY6650" fmla="*/ 389096 h 514350"/>
                <a:gd name="connsiteX6651" fmla="*/ 1048226 w 6400800"/>
                <a:gd name="connsiteY6651" fmla="*/ 391001 h 514350"/>
                <a:gd name="connsiteX6652" fmla="*/ 1048226 w 6400800"/>
                <a:gd name="connsiteY6652" fmla="*/ 392906 h 514350"/>
                <a:gd name="connsiteX6653" fmla="*/ 1046321 w 6400800"/>
                <a:gd name="connsiteY6653" fmla="*/ 389096 h 514350"/>
                <a:gd name="connsiteX6654" fmla="*/ 1056799 w 6400800"/>
                <a:gd name="connsiteY6654" fmla="*/ 292894 h 514350"/>
                <a:gd name="connsiteX6655" fmla="*/ 1061561 w 6400800"/>
                <a:gd name="connsiteY6655" fmla="*/ 282416 h 514350"/>
                <a:gd name="connsiteX6656" fmla="*/ 1066324 w 6400800"/>
                <a:gd name="connsiteY6656" fmla="*/ 271939 h 514350"/>
                <a:gd name="connsiteX6657" fmla="*/ 1066324 w 6400800"/>
                <a:gd name="connsiteY6657" fmla="*/ 273844 h 514350"/>
                <a:gd name="connsiteX6658" fmla="*/ 1067276 w 6400800"/>
                <a:gd name="connsiteY6658" fmla="*/ 278606 h 514350"/>
                <a:gd name="connsiteX6659" fmla="*/ 1063466 w 6400800"/>
                <a:gd name="connsiteY6659" fmla="*/ 285274 h 514350"/>
                <a:gd name="connsiteX6660" fmla="*/ 1057751 w 6400800"/>
                <a:gd name="connsiteY6660" fmla="*/ 295751 h 514350"/>
                <a:gd name="connsiteX6661" fmla="*/ 1056799 w 6400800"/>
                <a:gd name="connsiteY6661" fmla="*/ 292894 h 514350"/>
                <a:gd name="connsiteX6662" fmla="*/ 1059656 w 6400800"/>
                <a:gd name="connsiteY6662" fmla="*/ 360521 h 514350"/>
                <a:gd name="connsiteX6663" fmla="*/ 1059656 w 6400800"/>
                <a:gd name="connsiteY6663" fmla="*/ 360521 h 514350"/>
                <a:gd name="connsiteX6664" fmla="*/ 1059656 w 6400800"/>
                <a:gd name="connsiteY6664" fmla="*/ 360521 h 514350"/>
                <a:gd name="connsiteX6665" fmla="*/ 1059656 w 6400800"/>
                <a:gd name="connsiteY6665" fmla="*/ 360521 h 514350"/>
                <a:gd name="connsiteX6666" fmla="*/ 1064419 w 6400800"/>
                <a:gd name="connsiteY6666" fmla="*/ 383381 h 514350"/>
                <a:gd name="connsiteX6667" fmla="*/ 1062514 w 6400800"/>
                <a:gd name="connsiteY6667" fmla="*/ 379571 h 514350"/>
                <a:gd name="connsiteX6668" fmla="*/ 1063466 w 6400800"/>
                <a:gd name="connsiteY6668" fmla="*/ 374809 h 514350"/>
                <a:gd name="connsiteX6669" fmla="*/ 1064419 w 6400800"/>
                <a:gd name="connsiteY6669" fmla="*/ 378619 h 514350"/>
                <a:gd name="connsiteX6670" fmla="*/ 1064419 w 6400800"/>
                <a:gd name="connsiteY6670" fmla="*/ 380524 h 514350"/>
                <a:gd name="connsiteX6671" fmla="*/ 1065371 w 6400800"/>
                <a:gd name="connsiteY6671" fmla="*/ 386239 h 514350"/>
                <a:gd name="connsiteX6672" fmla="*/ 1064419 w 6400800"/>
                <a:gd name="connsiteY6672" fmla="*/ 383381 h 514350"/>
                <a:gd name="connsiteX6673" fmla="*/ 1069181 w 6400800"/>
                <a:gd name="connsiteY6673" fmla="*/ 330994 h 514350"/>
                <a:gd name="connsiteX6674" fmla="*/ 1063466 w 6400800"/>
                <a:gd name="connsiteY6674" fmla="*/ 312896 h 514350"/>
                <a:gd name="connsiteX6675" fmla="*/ 1069181 w 6400800"/>
                <a:gd name="connsiteY6675" fmla="*/ 300514 h 514350"/>
                <a:gd name="connsiteX6676" fmla="*/ 1070134 w 6400800"/>
                <a:gd name="connsiteY6676" fmla="*/ 326231 h 514350"/>
                <a:gd name="connsiteX6677" fmla="*/ 1069181 w 6400800"/>
                <a:gd name="connsiteY6677" fmla="*/ 330994 h 514350"/>
                <a:gd name="connsiteX6678" fmla="*/ 1077754 w 6400800"/>
                <a:gd name="connsiteY6678" fmla="*/ 262414 h 514350"/>
                <a:gd name="connsiteX6679" fmla="*/ 1075849 w 6400800"/>
                <a:gd name="connsiteY6679" fmla="*/ 264319 h 514350"/>
                <a:gd name="connsiteX6680" fmla="*/ 1073944 w 6400800"/>
                <a:gd name="connsiteY6680" fmla="*/ 256699 h 514350"/>
                <a:gd name="connsiteX6681" fmla="*/ 1074896 w 6400800"/>
                <a:gd name="connsiteY6681" fmla="*/ 256699 h 514350"/>
                <a:gd name="connsiteX6682" fmla="*/ 1075849 w 6400800"/>
                <a:gd name="connsiteY6682" fmla="*/ 256699 h 514350"/>
                <a:gd name="connsiteX6683" fmla="*/ 1077754 w 6400800"/>
                <a:gd name="connsiteY6683" fmla="*/ 262414 h 514350"/>
                <a:gd name="connsiteX6684" fmla="*/ 1045369 w 6400800"/>
                <a:gd name="connsiteY6684" fmla="*/ 175736 h 514350"/>
                <a:gd name="connsiteX6685" fmla="*/ 1054894 w 6400800"/>
                <a:gd name="connsiteY6685" fmla="*/ 153829 h 514350"/>
                <a:gd name="connsiteX6686" fmla="*/ 1055846 w 6400800"/>
                <a:gd name="connsiteY6686" fmla="*/ 155734 h 514350"/>
                <a:gd name="connsiteX6687" fmla="*/ 1059656 w 6400800"/>
                <a:gd name="connsiteY6687" fmla="*/ 171926 h 514350"/>
                <a:gd name="connsiteX6688" fmla="*/ 1064419 w 6400800"/>
                <a:gd name="connsiteY6688" fmla="*/ 193834 h 514350"/>
                <a:gd name="connsiteX6689" fmla="*/ 1069181 w 6400800"/>
                <a:gd name="connsiteY6689" fmla="*/ 215741 h 514350"/>
                <a:gd name="connsiteX6690" fmla="*/ 1076801 w 6400800"/>
                <a:gd name="connsiteY6690" fmla="*/ 253841 h 514350"/>
                <a:gd name="connsiteX6691" fmla="*/ 1074896 w 6400800"/>
                <a:gd name="connsiteY6691" fmla="*/ 252889 h 514350"/>
                <a:gd name="connsiteX6692" fmla="*/ 1067276 w 6400800"/>
                <a:gd name="connsiteY6692" fmla="*/ 216694 h 514350"/>
                <a:gd name="connsiteX6693" fmla="*/ 1068229 w 6400800"/>
                <a:gd name="connsiteY6693" fmla="*/ 257651 h 514350"/>
                <a:gd name="connsiteX6694" fmla="*/ 1067276 w 6400800"/>
                <a:gd name="connsiteY6694" fmla="*/ 259556 h 514350"/>
                <a:gd name="connsiteX6695" fmla="*/ 1065371 w 6400800"/>
                <a:gd name="connsiteY6695" fmla="*/ 252889 h 514350"/>
                <a:gd name="connsiteX6696" fmla="*/ 1066324 w 6400800"/>
                <a:gd name="connsiteY6696" fmla="*/ 261461 h 514350"/>
                <a:gd name="connsiteX6697" fmla="*/ 1055846 w 6400800"/>
                <a:gd name="connsiteY6697" fmla="*/ 278606 h 514350"/>
                <a:gd name="connsiteX6698" fmla="*/ 1054894 w 6400800"/>
                <a:gd name="connsiteY6698" fmla="*/ 280511 h 514350"/>
                <a:gd name="connsiteX6699" fmla="*/ 1053941 w 6400800"/>
                <a:gd name="connsiteY6699" fmla="*/ 277654 h 514350"/>
                <a:gd name="connsiteX6700" fmla="*/ 1043464 w 6400800"/>
                <a:gd name="connsiteY6700" fmla="*/ 245269 h 514350"/>
                <a:gd name="connsiteX6701" fmla="*/ 1035844 w 6400800"/>
                <a:gd name="connsiteY6701" fmla="*/ 220504 h 514350"/>
                <a:gd name="connsiteX6702" fmla="*/ 1032034 w 6400800"/>
                <a:gd name="connsiteY6702" fmla="*/ 209074 h 514350"/>
                <a:gd name="connsiteX6703" fmla="*/ 1045369 w 6400800"/>
                <a:gd name="connsiteY6703" fmla="*/ 175736 h 514350"/>
                <a:gd name="connsiteX6704" fmla="*/ 1019651 w 6400800"/>
                <a:gd name="connsiteY6704" fmla="*/ 267176 h 514350"/>
                <a:gd name="connsiteX6705" fmla="*/ 1023461 w 6400800"/>
                <a:gd name="connsiteY6705" fmla="*/ 221456 h 514350"/>
                <a:gd name="connsiteX6706" fmla="*/ 1024414 w 6400800"/>
                <a:gd name="connsiteY6706" fmla="*/ 218599 h 514350"/>
                <a:gd name="connsiteX6707" fmla="*/ 1032034 w 6400800"/>
                <a:gd name="connsiteY6707" fmla="*/ 253841 h 514350"/>
                <a:gd name="connsiteX6708" fmla="*/ 1038701 w 6400800"/>
                <a:gd name="connsiteY6708" fmla="*/ 283369 h 514350"/>
                <a:gd name="connsiteX6709" fmla="*/ 1037749 w 6400800"/>
                <a:gd name="connsiteY6709" fmla="*/ 284321 h 514350"/>
                <a:gd name="connsiteX6710" fmla="*/ 1031081 w 6400800"/>
                <a:gd name="connsiteY6710" fmla="*/ 294799 h 514350"/>
                <a:gd name="connsiteX6711" fmla="*/ 1025366 w 6400800"/>
                <a:gd name="connsiteY6711" fmla="*/ 306229 h 514350"/>
                <a:gd name="connsiteX6712" fmla="*/ 1023461 w 6400800"/>
                <a:gd name="connsiteY6712" fmla="*/ 284321 h 514350"/>
                <a:gd name="connsiteX6713" fmla="*/ 1022509 w 6400800"/>
                <a:gd name="connsiteY6713" fmla="*/ 269081 h 514350"/>
                <a:gd name="connsiteX6714" fmla="*/ 1019651 w 6400800"/>
                <a:gd name="connsiteY6714" fmla="*/ 284321 h 514350"/>
                <a:gd name="connsiteX6715" fmla="*/ 1015841 w 6400800"/>
                <a:gd name="connsiteY6715" fmla="*/ 314801 h 514350"/>
                <a:gd name="connsiteX6716" fmla="*/ 1015841 w 6400800"/>
                <a:gd name="connsiteY6716" fmla="*/ 315754 h 514350"/>
                <a:gd name="connsiteX6717" fmla="*/ 1015841 w 6400800"/>
                <a:gd name="connsiteY6717" fmla="*/ 315754 h 514350"/>
                <a:gd name="connsiteX6718" fmla="*/ 1022509 w 6400800"/>
                <a:gd name="connsiteY6718" fmla="*/ 251936 h 514350"/>
                <a:gd name="connsiteX6719" fmla="*/ 1019651 w 6400800"/>
                <a:gd name="connsiteY6719" fmla="*/ 267176 h 514350"/>
                <a:gd name="connsiteX6720" fmla="*/ 1011079 w 6400800"/>
                <a:gd name="connsiteY6720" fmla="*/ 364331 h 514350"/>
                <a:gd name="connsiteX6721" fmla="*/ 1012031 w 6400800"/>
                <a:gd name="connsiteY6721" fmla="*/ 355759 h 514350"/>
                <a:gd name="connsiteX6722" fmla="*/ 1013936 w 6400800"/>
                <a:gd name="connsiteY6722" fmla="*/ 342424 h 514350"/>
                <a:gd name="connsiteX6723" fmla="*/ 1013936 w 6400800"/>
                <a:gd name="connsiteY6723" fmla="*/ 342424 h 514350"/>
                <a:gd name="connsiteX6724" fmla="*/ 1012031 w 6400800"/>
                <a:gd name="connsiteY6724" fmla="*/ 364331 h 514350"/>
                <a:gd name="connsiteX6725" fmla="*/ 1011079 w 6400800"/>
                <a:gd name="connsiteY6725" fmla="*/ 366236 h 514350"/>
                <a:gd name="connsiteX6726" fmla="*/ 1011079 w 6400800"/>
                <a:gd name="connsiteY6726" fmla="*/ 366236 h 514350"/>
                <a:gd name="connsiteX6727" fmla="*/ 1011079 w 6400800"/>
                <a:gd name="connsiteY6727" fmla="*/ 364331 h 514350"/>
                <a:gd name="connsiteX6728" fmla="*/ 1004411 w 6400800"/>
                <a:gd name="connsiteY6728" fmla="*/ 257651 h 514350"/>
                <a:gd name="connsiteX6729" fmla="*/ 1001554 w 6400800"/>
                <a:gd name="connsiteY6729" fmla="*/ 281464 h 514350"/>
                <a:gd name="connsiteX6730" fmla="*/ 996791 w 6400800"/>
                <a:gd name="connsiteY6730" fmla="*/ 271939 h 514350"/>
                <a:gd name="connsiteX6731" fmla="*/ 1004411 w 6400800"/>
                <a:gd name="connsiteY6731" fmla="*/ 257651 h 514350"/>
                <a:gd name="connsiteX6732" fmla="*/ 991076 w 6400800"/>
                <a:gd name="connsiteY6732" fmla="*/ 283369 h 514350"/>
                <a:gd name="connsiteX6733" fmla="*/ 995839 w 6400800"/>
                <a:gd name="connsiteY6733" fmla="*/ 273844 h 514350"/>
                <a:gd name="connsiteX6734" fmla="*/ 999649 w 6400800"/>
                <a:gd name="connsiteY6734" fmla="*/ 291941 h 514350"/>
                <a:gd name="connsiteX6735" fmla="*/ 995839 w 6400800"/>
                <a:gd name="connsiteY6735" fmla="*/ 326231 h 514350"/>
                <a:gd name="connsiteX6736" fmla="*/ 993934 w 6400800"/>
                <a:gd name="connsiteY6736" fmla="*/ 330994 h 514350"/>
                <a:gd name="connsiteX6737" fmla="*/ 992981 w 6400800"/>
                <a:gd name="connsiteY6737" fmla="*/ 320516 h 514350"/>
                <a:gd name="connsiteX6738" fmla="*/ 991076 w 6400800"/>
                <a:gd name="connsiteY6738" fmla="*/ 338614 h 514350"/>
                <a:gd name="connsiteX6739" fmla="*/ 990124 w 6400800"/>
                <a:gd name="connsiteY6739" fmla="*/ 341471 h 514350"/>
                <a:gd name="connsiteX6740" fmla="*/ 981551 w 6400800"/>
                <a:gd name="connsiteY6740" fmla="*/ 365284 h 514350"/>
                <a:gd name="connsiteX6741" fmla="*/ 980599 w 6400800"/>
                <a:gd name="connsiteY6741" fmla="*/ 363379 h 514350"/>
                <a:gd name="connsiteX6742" fmla="*/ 977741 w 6400800"/>
                <a:gd name="connsiteY6742" fmla="*/ 331946 h 514350"/>
                <a:gd name="connsiteX6743" fmla="*/ 975836 w 6400800"/>
                <a:gd name="connsiteY6743" fmla="*/ 311944 h 514350"/>
                <a:gd name="connsiteX6744" fmla="*/ 991076 w 6400800"/>
                <a:gd name="connsiteY6744" fmla="*/ 283369 h 514350"/>
                <a:gd name="connsiteX6745" fmla="*/ 960596 w 6400800"/>
                <a:gd name="connsiteY6745" fmla="*/ 298609 h 514350"/>
                <a:gd name="connsiteX6746" fmla="*/ 968216 w 6400800"/>
                <a:gd name="connsiteY6746" fmla="*/ 280511 h 514350"/>
                <a:gd name="connsiteX6747" fmla="*/ 967264 w 6400800"/>
                <a:gd name="connsiteY6747" fmla="*/ 294799 h 514350"/>
                <a:gd name="connsiteX6748" fmla="*/ 961549 w 6400800"/>
                <a:gd name="connsiteY6748" fmla="*/ 304324 h 514350"/>
                <a:gd name="connsiteX6749" fmla="*/ 961549 w 6400800"/>
                <a:gd name="connsiteY6749" fmla="*/ 303371 h 514350"/>
                <a:gd name="connsiteX6750" fmla="*/ 960596 w 6400800"/>
                <a:gd name="connsiteY6750" fmla="*/ 301466 h 514350"/>
                <a:gd name="connsiteX6751" fmla="*/ 960596 w 6400800"/>
                <a:gd name="connsiteY6751" fmla="*/ 298609 h 514350"/>
                <a:gd name="connsiteX6752" fmla="*/ 939641 w 6400800"/>
                <a:gd name="connsiteY6752" fmla="*/ 258604 h 514350"/>
                <a:gd name="connsiteX6753" fmla="*/ 939641 w 6400800"/>
                <a:gd name="connsiteY6753" fmla="*/ 258604 h 514350"/>
                <a:gd name="connsiteX6754" fmla="*/ 943451 w 6400800"/>
                <a:gd name="connsiteY6754" fmla="*/ 246221 h 514350"/>
                <a:gd name="connsiteX6755" fmla="*/ 943451 w 6400800"/>
                <a:gd name="connsiteY6755" fmla="*/ 251936 h 514350"/>
                <a:gd name="connsiteX6756" fmla="*/ 939641 w 6400800"/>
                <a:gd name="connsiteY6756" fmla="*/ 258604 h 514350"/>
                <a:gd name="connsiteX6757" fmla="*/ 939641 w 6400800"/>
                <a:gd name="connsiteY6757" fmla="*/ 258604 h 514350"/>
                <a:gd name="connsiteX6758" fmla="*/ 944404 w 6400800"/>
                <a:gd name="connsiteY6758" fmla="*/ 280511 h 514350"/>
                <a:gd name="connsiteX6759" fmla="*/ 943451 w 6400800"/>
                <a:gd name="connsiteY6759" fmla="*/ 273844 h 514350"/>
                <a:gd name="connsiteX6760" fmla="*/ 944404 w 6400800"/>
                <a:gd name="connsiteY6760" fmla="*/ 270986 h 514350"/>
                <a:gd name="connsiteX6761" fmla="*/ 944404 w 6400800"/>
                <a:gd name="connsiteY6761" fmla="*/ 271939 h 514350"/>
                <a:gd name="connsiteX6762" fmla="*/ 944404 w 6400800"/>
                <a:gd name="connsiteY6762" fmla="*/ 275749 h 514350"/>
                <a:gd name="connsiteX6763" fmla="*/ 944404 w 6400800"/>
                <a:gd name="connsiteY6763" fmla="*/ 280511 h 514350"/>
                <a:gd name="connsiteX6764" fmla="*/ 944404 w 6400800"/>
                <a:gd name="connsiteY6764" fmla="*/ 270986 h 514350"/>
                <a:gd name="connsiteX6765" fmla="*/ 944404 w 6400800"/>
                <a:gd name="connsiteY6765" fmla="*/ 270986 h 514350"/>
                <a:gd name="connsiteX6766" fmla="*/ 944404 w 6400800"/>
                <a:gd name="connsiteY6766" fmla="*/ 270986 h 514350"/>
                <a:gd name="connsiteX6767" fmla="*/ 944404 w 6400800"/>
                <a:gd name="connsiteY6767" fmla="*/ 270986 h 514350"/>
                <a:gd name="connsiteX6768" fmla="*/ 933926 w 6400800"/>
                <a:gd name="connsiteY6768" fmla="*/ 227171 h 514350"/>
                <a:gd name="connsiteX6769" fmla="*/ 958691 w 6400800"/>
                <a:gd name="connsiteY6769" fmla="*/ 138589 h 514350"/>
                <a:gd name="connsiteX6770" fmla="*/ 958691 w 6400800"/>
                <a:gd name="connsiteY6770" fmla="*/ 146209 h 514350"/>
                <a:gd name="connsiteX6771" fmla="*/ 953929 w 6400800"/>
                <a:gd name="connsiteY6771" fmla="*/ 203359 h 514350"/>
                <a:gd name="connsiteX6772" fmla="*/ 950119 w 6400800"/>
                <a:gd name="connsiteY6772" fmla="*/ 242411 h 514350"/>
                <a:gd name="connsiteX6773" fmla="*/ 948214 w 6400800"/>
                <a:gd name="connsiteY6773" fmla="*/ 246221 h 514350"/>
                <a:gd name="connsiteX6774" fmla="*/ 947261 w 6400800"/>
                <a:gd name="connsiteY6774" fmla="*/ 240506 h 514350"/>
                <a:gd name="connsiteX6775" fmla="*/ 949166 w 6400800"/>
                <a:gd name="connsiteY6775" fmla="*/ 233839 h 514350"/>
                <a:gd name="connsiteX6776" fmla="*/ 946309 w 6400800"/>
                <a:gd name="connsiteY6776" fmla="*/ 238601 h 514350"/>
                <a:gd name="connsiteX6777" fmla="*/ 944404 w 6400800"/>
                <a:gd name="connsiteY6777" fmla="*/ 230029 h 514350"/>
                <a:gd name="connsiteX6778" fmla="*/ 944404 w 6400800"/>
                <a:gd name="connsiteY6778" fmla="*/ 241459 h 514350"/>
                <a:gd name="connsiteX6779" fmla="*/ 939641 w 6400800"/>
                <a:gd name="connsiteY6779" fmla="*/ 251936 h 514350"/>
                <a:gd name="connsiteX6780" fmla="*/ 938689 w 6400800"/>
                <a:gd name="connsiteY6780" fmla="*/ 248126 h 514350"/>
                <a:gd name="connsiteX6781" fmla="*/ 936784 w 6400800"/>
                <a:gd name="connsiteY6781" fmla="*/ 241459 h 514350"/>
                <a:gd name="connsiteX6782" fmla="*/ 943451 w 6400800"/>
                <a:gd name="connsiteY6782" fmla="*/ 217646 h 514350"/>
                <a:gd name="connsiteX6783" fmla="*/ 934879 w 6400800"/>
                <a:gd name="connsiteY6783" fmla="*/ 235744 h 514350"/>
                <a:gd name="connsiteX6784" fmla="*/ 932974 w 6400800"/>
                <a:gd name="connsiteY6784" fmla="*/ 230029 h 514350"/>
                <a:gd name="connsiteX6785" fmla="*/ 933926 w 6400800"/>
                <a:gd name="connsiteY6785" fmla="*/ 227171 h 514350"/>
                <a:gd name="connsiteX6786" fmla="*/ 921544 w 6400800"/>
                <a:gd name="connsiteY6786" fmla="*/ 452914 h 514350"/>
                <a:gd name="connsiteX6787" fmla="*/ 920591 w 6400800"/>
                <a:gd name="connsiteY6787" fmla="*/ 451961 h 514350"/>
                <a:gd name="connsiteX6788" fmla="*/ 919639 w 6400800"/>
                <a:gd name="connsiteY6788" fmla="*/ 438626 h 514350"/>
                <a:gd name="connsiteX6789" fmla="*/ 921544 w 6400800"/>
                <a:gd name="connsiteY6789" fmla="*/ 452914 h 514350"/>
                <a:gd name="connsiteX6790" fmla="*/ 912019 w 6400800"/>
                <a:gd name="connsiteY6790" fmla="*/ 210979 h 514350"/>
                <a:gd name="connsiteX6791" fmla="*/ 915829 w 6400800"/>
                <a:gd name="connsiteY6791" fmla="*/ 227171 h 514350"/>
                <a:gd name="connsiteX6792" fmla="*/ 914876 w 6400800"/>
                <a:gd name="connsiteY6792" fmla="*/ 230029 h 514350"/>
                <a:gd name="connsiteX6793" fmla="*/ 912971 w 6400800"/>
                <a:gd name="connsiteY6793" fmla="*/ 236696 h 514350"/>
                <a:gd name="connsiteX6794" fmla="*/ 912019 w 6400800"/>
                <a:gd name="connsiteY6794" fmla="*/ 232886 h 514350"/>
                <a:gd name="connsiteX6795" fmla="*/ 912019 w 6400800"/>
                <a:gd name="connsiteY6795" fmla="*/ 228124 h 514350"/>
                <a:gd name="connsiteX6796" fmla="*/ 911066 w 6400800"/>
                <a:gd name="connsiteY6796" fmla="*/ 210979 h 514350"/>
                <a:gd name="connsiteX6797" fmla="*/ 911066 w 6400800"/>
                <a:gd name="connsiteY6797" fmla="*/ 204311 h 514350"/>
                <a:gd name="connsiteX6798" fmla="*/ 912019 w 6400800"/>
                <a:gd name="connsiteY6798" fmla="*/ 210979 h 514350"/>
                <a:gd name="connsiteX6799" fmla="*/ 833914 w 6400800"/>
                <a:gd name="connsiteY6799" fmla="*/ 333851 h 514350"/>
                <a:gd name="connsiteX6800" fmla="*/ 834866 w 6400800"/>
                <a:gd name="connsiteY6800" fmla="*/ 331946 h 514350"/>
                <a:gd name="connsiteX6801" fmla="*/ 834866 w 6400800"/>
                <a:gd name="connsiteY6801" fmla="*/ 337661 h 514350"/>
                <a:gd name="connsiteX6802" fmla="*/ 833914 w 6400800"/>
                <a:gd name="connsiteY6802" fmla="*/ 333851 h 514350"/>
                <a:gd name="connsiteX6803" fmla="*/ 847249 w 6400800"/>
                <a:gd name="connsiteY6803" fmla="*/ 304324 h 514350"/>
                <a:gd name="connsiteX6804" fmla="*/ 846296 w 6400800"/>
                <a:gd name="connsiteY6804" fmla="*/ 301466 h 514350"/>
                <a:gd name="connsiteX6805" fmla="*/ 846296 w 6400800"/>
                <a:gd name="connsiteY6805" fmla="*/ 299561 h 514350"/>
                <a:gd name="connsiteX6806" fmla="*/ 851059 w 6400800"/>
                <a:gd name="connsiteY6806" fmla="*/ 286226 h 514350"/>
                <a:gd name="connsiteX6807" fmla="*/ 847249 w 6400800"/>
                <a:gd name="connsiteY6807" fmla="*/ 304324 h 514350"/>
                <a:gd name="connsiteX6808" fmla="*/ 880586 w 6400800"/>
                <a:gd name="connsiteY6808" fmla="*/ 300514 h 514350"/>
                <a:gd name="connsiteX6809" fmla="*/ 876776 w 6400800"/>
                <a:gd name="connsiteY6809" fmla="*/ 319564 h 514350"/>
                <a:gd name="connsiteX6810" fmla="*/ 872966 w 6400800"/>
                <a:gd name="connsiteY6810" fmla="*/ 343376 h 514350"/>
                <a:gd name="connsiteX6811" fmla="*/ 869156 w 6400800"/>
                <a:gd name="connsiteY6811" fmla="*/ 350996 h 514350"/>
                <a:gd name="connsiteX6812" fmla="*/ 868204 w 6400800"/>
                <a:gd name="connsiteY6812" fmla="*/ 349091 h 514350"/>
                <a:gd name="connsiteX6813" fmla="*/ 867251 w 6400800"/>
                <a:gd name="connsiteY6813" fmla="*/ 348139 h 514350"/>
                <a:gd name="connsiteX6814" fmla="*/ 867251 w 6400800"/>
                <a:gd name="connsiteY6814" fmla="*/ 335756 h 514350"/>
                <a:gd name="connsiteX6815" fmla="*/ 866299 w 6400800"/>
                <a:gd name="connsiteY6815" fmla="*/ 301466 h 514350"/>
                <a:gd name="connsiteX6816" fmla="*/ 863441 w 6400800"/>
                <a:gd name="connsiteY6816" fmla="*/ 272891 h 514350"/>
                <a:gd name="connsiteX6817" fmla="*/ 861536 w 6400800"/>
                <a:gd name="connsiteY6817" fmla="*/ 257651 h 514350"/>
                <a:gd name="connsiteX6818" fmla="*/ 862489 w 6400800"/>
                <a:gd name="connsiteY6818" fmla="*/ 255746 h 514350"/>
                <a:gd name="connsiteX6819" fmla="*/ 862489 w 6400800"/>
                <a:gd name="connsiteY6819" fmla="*/ 255746 h 514350"/>
                <a:gd name="connsiteX6820" fmla="*/ 876776 w 6400800"/>
                <a:gd name="connsiteY6820" fmla="*/ 286226 h 514350"/>
                <a:gd name="connsiteX6821" fmla="*/ 881539 w 6400800"/>
                <a:gd name="connsiteY6821" fmla="*/ 296704 h 514350"/>
                <a:gd name="connsiteX6822" fmla="*/ 880586 w 6400800"/>
                <a:gd name="connsiteY6822" fmla="*/ 300514 h 514350"/>
                <a:gd name="connsiteX6823" fmla="*/ 885349 w 6400800"/>
                <a:gd name="connsiteY6823" fmla="*/ 318611 h 514350"/>
                <a:gd name="connsiteX6824" fmla="*/ 884396 w 6400800"/>
                <a:gd name="connsiteY6824" fmla="*/ 319564 h 514350"/>
                <a:gd name="connsiteX6825" fmla="*/ 883444 w 6400800"/>
                <a:gd name="connsiteY6825" fmla="*/ 320516 h 514350"/>
                <a:gd name="connsiteX6826" fmla="*/ 884396 w 6400800"/>
                <a:gd name="connsiteY6826" fmla="*/ 303371 h 514350"/>
                <a:gd name="connsiteX6827" fmla="*/ 887254 w 6400800"/>
                <a:gd name="connsiteY6827" fmla="*/ 310039 h 514350"/>
                <a:gd name="connsiteX6828" fmla="*/ 885349 w 6400800"/>
                <a:gd name="connsiteY6828" fmla="*/ 318611 h 514350"/>
                <a:gd name="connsiteX6829" fmla="*/ 900589 w 6400800"/>
                <a:gd name="connsiteY6829" fmla="*/ 246221 h 514350"/>
                <a:gd name="connsiteX6830" fmla="*/ 900589 w 6400800"/>
                <a:gd name="connsiteY6830" fmla="*/ 246221 h 514350"/>
                <a:gd name="connsiteX6831" fmla="*/ 898684 w 6400800"/>
                <a:gd name="connsiteY6831" fmla="*/ 234791 h 514350"/>
                <a:gd name="connsiteX6832" fmla="*/ 897731 w 6400800"/>
                <a:gd name="connsiteY6832" fmla="*/ 252889 h 514350"/>
                <a:gd name="connsiteX6833" fmla="*/ 897731 w 6400800"/>
                <a:gd name="connsiteY6833" fmla="*/ 253841 h 514350"/>
                <a:gd name="connsiteX6834" fmla="*/ 894874 w 6400800"/>
                <a:gd name="connsiteY6834" fmla="*/ 250031 h 514350"/>
                <a:gd name="connsiteX6835" fmla="*/ 897731 w 6400800"/>
                <a:gd name="connsiteY6835" fmla="*/ 254794 h 514350"/>
                <a:gd name="connsiteX6836" fmla="*/ 897731 w 6400800"/>
                <a:gd name="connsiteY6836" fmla="*/ 257651 h 514350"/>
                <a:gd name="connsiteX6837" fmla="*/ 896779 w 6400800"/>
                <a:gd name="connsiteY6837" fmla="*/ 264319 h 514350"/>
                <a:gd name="connsiteX6838" fmla="*/ 896779 w 6400800"/>
                <a:gd name="connsiteY6838" fmla="*/ 264319 h 514350"/>
                <a:gd name="connsiteX6839" fmla="*/ 896779 w 6400800"/>
                <a:gd name="connsiteY6839" fmla="*/ 264319 h 514350"/>
                <a:gd name="connsiteX6840" fmla="*/ 896779 w 6400800"/>
                <a:gd name="connsiteY6840" fmla="*/ 265271 h 514350"/>
                <a:gd name="connsiteX6841" fmla="*/ 896779 w 6400800"/>
                <a:gd name="connsiteY6841" fmla="*/ 270986 h 514350"/>
                <a:gd name="connsiteX6842" fmla="*/ 896779 w 6400800"/>
                <a:gd name="connsiteY6842" fmla="*/ 272891 h 514350"/>
                <a:gd name="connsiteX6843" fmla="*/ 895826 w 6400800"/>
                <a:gd name="connsiteY6843" fmla="*/ 285274 h 514350"/>
                <a:gd name="connsiteX6844" fmla="*/ 895826 w 6400800"/>
                <a:gd name="connsiteY6844" fmla="*/ 287179 h 514350"/>
                <a:gd name="connsiteX6845" fmla="*/ 891064 w 6400800"/>
                <a:gd name="connsiteY6845" fmla="*/ 279559 h 514350"/>
                <a:gd name="connsiteX6846" fmla="*/ 873919 w 6400800"/>
                <a:gd name="connsiteY6846" fmla="*/ 250984 h 514350"/>
                <a:gd name="connsiteX6847" fmla="*/ 869156 w 6400800"/>
                <a:gd name="connsiteY6847" fmla="*/ 243364 h 514350"/>
                <a:gd name="connsiteX6848" fmla="*/ 869156 w 6400800"/>
                <a:gd name="connsiteY6848" fmla="*/ 242411 h 514350"/>
                <a:gd name="connsiteX6849" fmla="*/ 878681 w 6400800"/>
                <a:gd name="connsiteY6849" fmla="*/ 215741 h 514350"/>
                <a:gd name="connsiteX6850" fmla="*/ 887254 w 6400800"/>
                <a:gd name="connsiteY6850" fmla="*/ 200501 h 514350"/>
                <a:gd name="connsiteX6851" fmla="*/ 895826 w 6400800"/>
                <a:gd name="connsiteY6851" fmla="*/ 223361 h 514350"/>
                <a:gd name="connsiteX6852" fmla="*/ 901541 w 6400800"/>
                <a:gd name="connsiteY6852" fmla="*/ 240506 h 514350"/>
                <a:gd name="connsiteX6853" fmla="*/ 900589 w 6400800"/>
                <a:gd name="connsiteY6853" fmla="*/ 246221 h 514350"/>
                <a:gd name="connsiteX6854" fmla="*/ 891064 w 6400800"/>
                <a:gd name="connsiteY6854" fmla="*/ 190976 h 514350"/>
                <a:gd name="connsiteX6855" fmla="*/ 892969 w 6400800"/>
                <a:gd name="connsiteY6855" fmla="*/ 187166 h 514350"/>
                <a:gd name="connsiteX6856" fmla="*/ 896779 w 6400800"/>
                <a:gd name="connsiteY6856" fmla="*/ 202406 h 514350"/>
                <a:gd name="connsiteX6857" fmla="*/ 891064 w 6400800"/>
                <a:gd name="connsiteY6857" fmla="*/ 190976 h 514350"/>
                <a:gd name="connsiteX6858" fmla="*/ 904399 w 6400800"/>
                <a:gd name="connsiteY6858" fmla="*/ 181451 h 514350"/>
                <a:gd name="connsiteX6859" fmla="*/ 904399 w 6400800"/>
                <a:gd name="connsiteY6859" fmla="*/ 183356 h 514350"/>
                <a:gd name="connsiteX6860" fmla="*/ 903446 w 6400800"/>
                <a:gd name="connsiteY6860" fmla="*/ 210979 h 514350"/>
                <a:gd name="connsiteX6861" fmla="*/ 903446 w 6400800"/>
                <a:gd name="connsiteY6861" fmla="*/ 210026 h 514350"/>
                <a:gd name="connsiteX6862" fmla="*/ 894874 w 6400800"/>
                <a:gd name="connsiteY6862" fmla="*/ 188119 h 514350"/>
                <a:gd name="connsiteX6863" fmla="*/ 903446 w 6400800"/>
                <a:gd name="connsiteY6863" fmla="*/ 173831 h 514350"/>
                <a:gd name="connsiteX6864" fmla="*/ 904399 w 6400800"/>
                <a:gd name="connsiteY6864" fmla="*/ 181451 h 514350"/>
                <a:gd name="connsiteX6865" fmla="*/ 888206 w 6400800"/>
                <a:gd name="connsiteY6865" fmla="*/ 137636 h 514350"/>
                <a:gd name="connsiteX6866" fmla="*/ 890111 w 6400800"/>
                <a:gd name="connsiteY6866" fmla="*/ 132874 h 514350"/>
                <a:gd name="connsiteX6867" fmla="*/ 898684 w 6400800"/>
                <a:gd name="connsiteY6867" fmla="*/ 161449 h 514350"/>
                <a:gd name="connsiteX6868" fmla="*/ 893921 w 6400800"/>
                <a:gd name="connsiteY6868" fmla="*/ 168116 h 514350"/>
                <a:gd name="connsiteX6869" fmla="*/ 885349 w 6400800"/>
                <a:gd name="connsiteY6869" fmla="*/ 180499 h 514350"/>
                <a:gd name="connsiteX6870" fmla="*/ 874871 w 6400800"/>
                <a:gd name="connsiteY6870" fmla="*/ 163354 h 514350"/>
                <a:gd name="connsiteX6871" fmla="*/ 888206 w 6400800"/>
                <a:gd name="connsiteY6871" fmla="*/ 137636 h 514350"/>
                <a:gd name="connsiteX6872" fmla="*/ 872966 w 6400800"/>
                <a:gd name="connsiteY6872" fmla="*/ 169069 h 514350"/>
                <a:gd name="connsiteX6873" fmla="*/ 881539 w 6400800"/>
                <a:gd name="connsiteY6873" fmla="*/ 188119 h 514350"/>
                <a:gd name="connsiteX6874" fmla="*/ 878681 w 6400800"/>
                <a:gd name="connsiteY6874" fmla="*/ 191929 h 514350"/>
                <a:gd name="connsiteX6875" fmla="*/ 856774 w 6400800"/>
                <a:gd name="connsiteY6875" fmla="*/ 226219 h 514350"/>
                <a:gd name="connsiteX6876" fmla="*/ 851059 w 6400800"/>
                <a:gd name="connsiteY6876" fmla="*/ 217646 h 514350"/>
                <a:gd name="connsiteX6877" fmla="*/ 872966 w 6400800"/>
                <a:gd name="connsiteY6877" fmla="*/ 169069 h 514350"/>
                <a:gd name="connsiteX6878" fmla="*/ 847249 w 6400800"/>
                <a:gd name="connsiteY6878" fmla="*/ 225266 h 514350"/>
                <a:gd name="connsiteX6879" fmla="*/ 848201 w 6400800"/>
                <a:gd name="connsiteY6879" fmla="*/ 223361 h 514350"/>
                <a:gd name="connsiteX6880" fmla="*/ 852011 w 6400800"/>
                <a:gd name="connsiteY6880" fmla="*/ 232886 h 514350"/>
                <a:gd name="connsiteX6881" fmla="*/ 845344 w 6400800"/>
                <a:gd name="connsiteY6881" fmla="*/ 243364 h 514350"/>
                <a:gd name="connsiteX6882" fmla="*/ 837724 w 6400800"/>
                <a:gd name="connsiteY6882" fmla="*/ 256699 h 514350"/>
                <a:gd name="connsiteX6883" fmla="*/ 836771 w 6400800"/>
                <a:gd name="connsiteY6883" fmla="*/ 250984 h 514350"/>
                <a:gd name="connsiteX6884" fmla="*/ 847249 w 6400800"/>
                <a:gd name="connsiteY6884" fmla="*/ 225266 h 514350"/>
                <a:gd name="connsiteX6885" fmla="*/ 835819 w 6400800"/>
                <a:gd name="connsiteY6885" fmla="*/ 195739 h 514350"/>
                <a:gd name="connsiteX6886" fmla="*/ 835819 w 6400800"/>
                <a:gd name="connsiteY6886" fmla="*/ 195739 h 514350"/>
                <a:gd name="connsiteX6887" fmla="*/ 840581 w 6400800"/>
                <a:gd name="connsiteY6887" fmla="*/ 206216 h 514350"/>
                <a:gd name="connsiteX6888" fmla="*/ 833914 w 6400800"/>
                <a:gd name="connsiteY6888" fmla="*/ 219551 h 514350"/>
                <a:gd name="connsiteX6889" fmla="*/ 832961 w 6400800"/>
                <a:gd name="connsiteY6889" fmla="*/ 221456 h 514350"/>
                <a:gd name="connsiteX6890" fmla="*/ 835819 w 6400800"/>
                <a:gd name="connsiteY6890" fmla="*/ 195739 h 514350"/>
                <a:gd name="connsiteX6891" fmla="*/ 826294 w 6400800"/>
                <a:gd name="connsiteY6891" fmla="*/ 274796 h 514350"/>
                <a:gd name="connsiteX6892" fmla="*/ 828199 w 6400800"/>
                <a:gd name="connsiteY6892" fmla="*/ 270986 h 514350"/>
                <a:gd name="connsiteX6893" fmla="*/ 828199 w 6400800"/>
                <a:gd name="connsiteY6893" fmla="*/ 272891 h 514350"/>
                <a:gd name="connsiteX6894" fmla="*/ 826294 w 6400800"/>
                <a:gd name="connsiteY6894" fmla="*/ 276701 h 514350"/>
                <a:gd name="connsiteX6895" fmla="*/ 826294 w 6400800"/>
                <a:gd name="connsiteY6895" fmla="*/ 274796 h 514350"/>
                <a:gd name="connsiteX6896" fmla="*/ 812006 w 6400800"/>
                <a:gd name="connsiteY6896" fmla="*/ 448151 h 514350"/>
                <a:gd name="connsiteX6897" fmla="*/ 812006 w 6400800"/>
                <a:gd name="connsiteY6897" fmla="*/ 448151 h 514350"/>
                <a:gd name="connsiteX6898" fmla="*/ 812006 w 6400800"/>
                <a:gd name="connsiteY6898" fmla="*/ 448151 h 514350"/>
                <a:gd name="connsiteX6899" fmla="*/ 812006 w 6400800"/>
                <a:gd name="connsiteY6899" fmla="*/ 448151 h 514350"/>
                <a:gd name="connsiteX6900" fmla="*/ 785336 w 6400800"/>
                <a:gd name="connsiteY6900" fmla="*/ 330041 h 514350"/>
                <a:gd name="connsiteX6901" fmla="*/ 782479 w 6400800"/>
                <a:gd name="connsiteY6901" fmla="*/ 325279 h 514350"/>
                <a:gd name="connsiteX6902" fmla="*/ 782479 w 6400800"/>
                <a:gd name="connsiteY6902" fmla="*/ 315754 h 514350"/>
                <a:gd name="connsiteX6903" fmla="*/ 786289 w 6400800"/>
                <a:gd name="connsiteY6903" fmla="*/ 326231 h 514350"/>
                <a:gd name="connsiteX6904" fmla="*/ 785336 w 6400800"/>
                <a:gd name="connsiteY6904" fmla="*/ 330041 h 514350"/>
                <a:gd name="connsiteX6905" fmla="*/ 797719 w 6400800"/>
                <a:gd name="connsiteY6905" fmla="*/ 271939 h 514350"/>
                <a:gd name="connsiteX6906" fmla="*/ 803434 w 6400800"/>
                <a:gd name="connsiteY6906" fmla="*/ 286226 h 514350"/>
                <a:gd name="connsiteX6907" fmla="*/ 802481 w 6400800"/>
                <a:gd name="connsiteY6907" fmla="*/ 288131 h 514350"/>
                <a:gd name="connsiteX6908" fmla="*/ 792956 w 6400800"/>
                <a:gd name="connsiteY6908" fmla="*/ 310039 h 514350"/>
                <a:gd name="connsiteX6909" fmla="*/ 792956 w 6400800"/>
                <a:gd name="connsiteY6909" fmla="*/ 309086 h 514350"/>
                <a:gd name="connsiteX6910" fmla="*/ 787241 w 6400800"/>
                <a:gd name="connsiteY6910" fmla="*/ 296704 h 514350"/>
                <a:gd name="connsiteX6911" fmla="*/ 795814 w 6400800"/>
                <a:gd name="connsiteY6911" fmla="*/ 266224 h 514350"/>
                <a:gd name="connsiteX6912" fmla="*/ 797719 w 6400800"/>
                <a:gd name="connsiteY6912" fmla="*/ 271939 h 514350"/>
                <a:gd name="connsiteX6913" fmla="*/ 790099 w 6400800"/>
                <a:gd name="connsiteY6913" fmla="*/ 253841 h 514350"/>
                <a:gd name="connsiteX6914" fmla="*/ 793909 w 6400800"/>
                <a:gd name="connsiteY6914" fmla="*/ 261461 h 514350"/>
                <a:gd name="connsiteX6915" fmla="*/ 793909 w 6400800"/>
                <a:gd name="connsiteY6915" fmla="*/ 262414 h 514350"/>
                <a:gd name="connsiteX6916" fmla="*/ 784384 w 6400800"/>
                <a:gd name="connsiteY6916" fmla="*/ 286226 h 514350"/>
                <a:gd name="connsiteX6917" fmla="*/ 785336 w 6400800"/>
                <a:gd name="connsiteY6917" fmla="*/ 273844 h 514350"/>
                <a:gd name="connsiteX6918" fmla="*/ 790099 w 6400800"/>
                <a:gd name="connsiteY6918" fmla="*/ 253841 h 514350"/>
                <a:gd name="connsiteX6919" fmla="*/ 773906 w 6400800"/>
                <a:gd name="connsiteY6919" fmla="*/ 236696 h 514350"/>
                <a:gd name="connsiteX6920" fmla="*/ 776764 w 6400800"/>
                <a:gd name="connsiteY6920" fmla="*/ 213836 h 514350"/>
                <a:gd name="connsiteX6921" fmla="*/ 783431 w 6400800"/>
                <a:gd name="connsiteY6921" fmla="*/ 229076 h 514350"/>
                <a:gd name="connsiteX6922" fmla="*/ 780574 w 6400800"/>
                <a:gd name="connsiteY6922" fmla="*/ 235744 h 514350"/>
                <a:gd name="connsiteX6923" fmla="*/ 777716 w 6400800"/>
                <a:gd name="connsiteY6923" fmla="*/ 231934 h 514350"/>
                <a:gd name="connsiteX6924" fmla="*/ 780574 w 6400800"/>
                <a:gd name="connsiteY6924" fmla="*/ 236696 h 514350"/>
                <a:gd name="connsiteX6925" fmla="*/ 773906 w 6400800"/>
                <a:gd name="connsiteY6925" fmla="*/ 255746 h 514350"/>
                <a:gd name="connsiteX6926" fmla="*/ 773906 w 6400800"/>
                <a:gd name="connsiteY6926" fmla="*/ 236696 h 514350"/>
                <a:gd name="connsiteX6927" fmla="*/ 724376 w 6400800"/>
                <a:gd name="connsiteY6927" fmla="*/ 219551 h 514350"/>
                <a:gd name="connsiteX6928" fmla="*/ 726281 w 6400800"/>
                <a:gd name="connsiteY6928" fmla="*/ 203359 h 514350"/>
                <a:gd name="connsiteX6929" fmla="*/ 726281 w 6400800"/>
                <a:gd name="connsiteY6929" fmla="*/ 229076 h 514350"/>
                <a:gd name="connsiteX6930" fmla="*/ 723424 w 6400800"/>
                <a:gd name="connsiteY6930" fmla="*/ 223361 h 514350"/>
                <a:gd name="connsiteX6931" fmla="*/ 724376 w 6400800"/>
                <a:gd name="connsiteY6931" fmla="*/ 219551 h 514350"/>
                <a:gd name="connsiteX6932" fmla="*/ 723424 w 6400800"/>
                <a:gd name="connsiteY6932" fmla="*/ 224314 h 514350"/>
                <a:gd name="connsiteX6933" fmla="*/ 724376 w 6400800"/>
                <a:gd name="connsiteY6933" fmla="*/ 235744 h 514350"/>
                <a:gd name="connsiteX6934" fmla="*/ 726281 w 6400800"/>
                <a:gd name="connsiteY6934" fmla="*/ 250984 h 514350"/>
                <a:gd name="connsiteX6935" fmla="*/ 726281 w 6400800"/>
                <a:gd name="connsiteY6935" fmla="*/ 251936 h 514350"/>
                <a:gd name="connsiteX6936" fmla="*/ 727234 w 6400800"/>
                <a:gd name="connsiteY6936" fmla="*/ 276701 h 514350"/>
                <a:gd name="connsiteX6937" fmla="*/ 727234 w 6400800"/>
                <a:gd name="connsiteY6937" fmla="*/ 288131 h 514350"/>
                <a:gd name="connsiteX6938" fmla="*/ 725329 w 6400800"/>
                <a:gd name="connsiteY6938" fmla="*/ 284321 h 514350"/>
                <a:gd name="connsiteX6939" fmla="*/ 717709 w 6400800"/>
                <a:gd name="connsiteY6939" fmla="*/ 260509 h 514350"/>
                <a:gd name="connsiteX6940" fmla="*/ 723424 w 6400800"/>
                <a:gd name="connsiteY6940" fmla="*/ 224314 h 514350"/>
                <a:gd name="connsiteX6941" fmla="*/ 710089 w 6400800"/>
                <a:gd name="connsiteY6941" fmla="*/ 308134 h 514350"/>
                <a:gd name="connsiteX6942" fmla="*/ 711041 w 6400800"/>
                <a:gd name="connsiteY6942" fmla="*/ 320516 h 514350"/>
                <a:gd name="connsiteX6943" fmla="*/ 717709 w 6400800"/>
                <a:gd name="connsiteY6943" fmla="*/ 373856 h 514350"/>
                <a:gd name="connsiteX6944" fmla="*/ 711041 w 6400800"/>
                <a:gd name="connsiteY6944" fmla="*/ 389096 h 514350"/>
                <a:gd name="connsiteX6945" fmla="*/ 709136 w 6400800"/>
                <a:gd name="connsiteY6945" fmla="*/ 383381 h 514350"/>
                <a:gd name="connsiteX6946" fmla="*/ 711041 w 6400800"/>
                <a:gd name="connsiteY6946" fmla="*/ 372904 h 514350"/>
                <a:gd name="connsiteX6947" fmla="*/ 713899 w 6400800"/>
                <a:gd name="connsiteY6947" fmla="*/ 352901 h 514350"/>
                <a:gd name="connsiteX6948" fmla="*/ 707231 w 6400800"/>
                <a:gd name="connsiteY6948" fmla="*/ 372904 h 514350"/>
                <a:gd name="connsiteX6949" fmla="*/ 706279 w 6400800"/>
                <a:gd name="connsiteY6949" fmla="*/ 374809 h 514350"/>
                <a:gd name="connsiteX6950" fmla="*/ 701516 w 6400800"/>
                <a:gd name="connsiteY6950" fmla="*/ 357664 h 514350"/>
                <a:gd name="connsiteX6951" fmla="*/ 701516 w 6400800"/>
                <a:gd name="connsiteY6951" fmla="*/ 357664 h 514350"/>
                <a:gd name="connsiteX6952" fmla="*/ 710089 w 6400800"/>
                <a:gd name="connsiteY6952" fmla="*/ 308134 h 514350"/>
                <a:gd name="connsiteX6953" fmla="*/ 676751 w 6400800"/>
                <a:gd name="connsiteY6953" fmla="*/ 253841 h 514350"/>
                <a:gd name="connsiteX6954" fmla="*/ 676751 w 6400800"/>
                <a:gd name="connsiteY6954" fmla="*/ 246221 h 514350"/>
                <a:gd name="connsiteX6955" fmla="*/ 679609 w 6400800"/>
                <a:gd name="connsiteY6955" fmla="*/ 220504 h 514350"/>
                <a:gd name="connsiteX6956" fmla="*/ 682466 w 6400800"/>
                <a:gd name="connsiteY6956" fmla="*/ 181451 h 514350"/>
                <a:gd name="connsiteX6957" fmla="*/ 682466 w 6400800"/>
                <a:gd name="connsiteY6957" fmla="*/ 178594 h 514350"/>
                <a:gd name="connsiteX6958" fmla="*/ 696754 w 6400800"/>
                <a:gd name="connsiteY6958" fmla="*/ 231934 h 514350"/>
                <a:gd name="connsiteX6959" fmla="*/ 705326 w 6400800"/>
                <a:gd name="connsiteY6959" fmla="*/ 267176 h 514350"/>
                <a:gd name="connsiteX6960" fmla="*/ 703421 w 6400800"/>
                <a:gd name="connsiteY6960" fmla="*/ 273844 h 514350"/>
                <a:gd name="connsiteX6961" fmla="*/ 694849 w 6400800"/>
                <a:gd name="connsiteY6961" fmla="*/ 307181 h 514350"/>
                <a:gd name="connsiteX6962" fmla="*/ 692944 w 6400800"/>
                <a:gd name="connsiteY6962" fmla="*/ 313849 h 514350"/>
                <a:gd name="connsiteX6963" fmla="*/ 690086 w 6400800"/>
                <a:gd name="connsiteY6963" fmla="*/ 322421 h 514350"/>
                <a:gd name="connsiteX6964" fmla="*/ 673894 w 6400800"/>
                <a:gd name="connsiteY6964" fmla="*/ 274796 h 514350"/>
                <a:gd name="connsiteX6965" fmla="*/ 676751 w 6400800"/>
                <a:gd name="connsiteY6965" fmla="*/ 253841 h 514350"/>
                <a:gd name="connsiteX6966" fmla="*/ 668179 w 6400800"/>
                <a:gd name="connsiteY6966" fmla="*/ 331946 h 514350"/>
                <a:gd name="connsiteX6967" fmla="*/ 668179 w 6400800"/>
                <a:gd name="connsiteY6967" fmla="*/ 330041 h 514350"/>
                <a:gd name="connsiteX6968" fmla="*/ 669131 w 6400800"/>
                <a:gd name="connsiteY6968" fmla="*/ 334804 h 514350"/>
                <a:gd name="connsiteX6969" fmla="*/ 671989 w 6400800"/>
                <a:gd name="connsiteY6969" fmla="*/ 346234 h 514350"/>
                <a:gd name="connsiteX6970" fmla="*/ 674846 w 6400800"/>
                <a:gd name="connsiteY6970" fmla="*/ 359569 h 514350"/>
                <a:gd name="connsiteX6971" fmla="*/ 676751 w 6400800"/>
                <a:gd name="connsiteY6971" fmla="*/ 370999 h 514350"/>
                <a:gd name="connsiteX6972" fmla="*/ 675799 w 6400800"/>
                <a:gd name="connsiteY6972" fmla="*/ 373856 h 514350"/>
                <a:gd name="connsiteX6973" fmla="*/ 674846 w 6400800"/>
                <a:gd name="connsiteY6973" fmla="*/ 377666 h 514350"/>
                <a:gd name="connsiteX6974" fmla="*/ 670084 w 6400800"/>
                <a:gd name="connsiteY6974" fmla="*/ 368141 h 514350"/>
                <a:gd name="connsiteX6975" fmla="*/ 664369 w 6400800"/>
                <a:gd name="connsiteY6975" fmla="*/ 358616 h 514350"/>
                <a:gd name="connsiteX6976" fmla="*/ 668179 w 6400800"/>
                <a:gd name="connsiteY6976" fmla="*/ 331946 h 514350"/>
                <a:gd name="connsiteX6977" fmla="*/ 656749 w 6400800"/>
                <a:gd name="connsiteY6977" fmla="*/ 266224 h 514350"/>
                <a:gd name="connsiteX6978" fmla="*/ 656749 w 6400800"/>
                <a:gd name="connsiteY6978" fmla="*/ 267176 h 514350"/>
                <a:gd name="connsiteX6979" fmla="*/ 656749 w 6400800"/>
                <a:gd name="connsiteY6979" fmla="*/ 269081 h 514350"/>
                <a:gd name="connsiteX6980" fmla="*/ 656749 w 6400800"/>
                <a:gd name="connsiteY6980" fmla="*/ 266224 h 514350"/>
                <a:gd name="connsiteX6981" fmla="*/ 608171 w 6400800"/>
                <a:gd name="connsiteY6981" fmla="*/ 318611 h 514350"/>
                <a:gd name="connsiteX6982" fmla="*/ 611981 w 6400800"/>
                <a:gd name="connsiteY6982" fmla="*/ 279559 h 514350"/>
                <a:gd name="connsiteX6983" fmla="*/ 613886 w 6400800"/>
                <a:gd name="connsiteY6983" fmla="*/ 288131 h 514350"/>
                <a:gd name="connsiteX6984" fmla="*/ 615791 w 6400800"/>
                <a:gd name="connsiteY6984" fmla="*/ 327184 h 514350"/>
                <a:gd name="connsiteX6985" fmla="*/ 615791 w 6400800"/>
                <a:gd name="connsiteY6985" fmla="*/ 331946 h 514350"/>
                <a:gd name="connsiteX6986" fmla="*/ 615791 w 6400800"/>
                <a:gd name="connsiteY6986" fmla="*/ 337661 h 514350"/>
                <a:gd name="connsiteX6987" fmla="*/ 613886 w 6400800"/>
                <a:gd name="connsiteY6987" fmla="*/ 333851 h 514350"/>
                <a:gd name="connsiteX6988" fmla="*/ 607219 w 6400800"/>
                <a:gd name="connsiteY6988" fmla="*/ 321469 h 514350"/>
                <a:gd name="connsiteX6989" fmla="*/ 608171 w 6400800"/>
                <a:gd name="connsiteY6989" fmla="*/ 318611 h 514350"/>
                <a:gd name="connsiteX6990" fmla="*/ 606266 w 6400800"/>
                <a:gd name="connsiteY6990" fmla="*/ 341471 h 514350"/>
                <a:gd name="connsiteX6991" fmla="*/ 615791 w 6400800"/>
                <a:gd name="connsiteY6991" fmla="*/ 364331 h 514350"/>
                <a:gd name="connsiteX6992" fmla="*/ 615791 w 6400800"/>
                <a:gd name="connsiteY6992" fmla="*/ 365284 h 514350"/>
                <a:gd name="connsiteX6993" fmla="*/ 611029 w 6400800"/>
                <a:gd name="connsiteY6993" fmla="*/ 375761 h 514350"/>
                <a:gd name="connsiteX6994" fmla="*/ 608171 w 6400800"/>
                <a:gd name="connsiteY6994" fmla="*/ 363379 h 514350"/>
                <a:gd name="connsiteX6995" fmla="*/ 605314 w 6400800"/>
                <a:gd name="connsiteY6995" fmla="*/ 350996 h 514350"/>
                <a:gd name="connsiteX6996" fmla="*/ 606266 w 6400800"/>
                <a:gd name="connsiteY6996" fmla="*/ 341471 h 514350"/>
                <a:gd name="connsiteX6997" fmla="*/ 606266 w 6400800"/>
                <a:gd name="connsiteY6997" fmla="*/ 424339 h 514350"/>
                <a:gd name="connsiteX6998" fmla="*/ 609124 w 6400800"/>
                <a:gd name="connsiteY6998" fmla="*/ 433864 h 514350"/>
                <a:gd name="connsiteX6999" fmla="*/ 607219 w 6400800"/>
                <a:gd name="connsiteY6999" fmla="*/ 436721 h 514350"/>
                <a:gd name="connsiteX7000" fmla="*/ 601504 w 6400800"/>
                <a:gd name="connsiteY7000" fmla="*/ 435769 h 514350"/>
                <a:gd name="connsiteX7001" fmla="*/ 606266 w 6400800"/>
                <a:gd name="connsiteY7001" fmla="*/ 424339 h 514350"/>
                <a:gd name="connsiteX7002" fmla="*/ 599599 w 6400800"/>
                <a:gd name="connsiteY7002" fmla="*/ 401479 h 514350"/>
                <a:gd name="connsiteX7003" fmla="*/ 599599 w 6400800"/>
                <a:gd name="connsiteY7003" fmla="*/ 401479 h 514350"/>
                <a:gd name="connsiteX7004" fmla="*/ 599599 w 6400800"/>
                <a:gd name="connsiteY7004" fmla="*/ 403384 h 514350"/>
                <a:gd name="connsiteX7005" fmla="*/ 599599 w 6400800"/>
                <a:gd name="connsiteY7005" fmla="*/ 401479 h 514350"/>
                <a:gd name="connsiteX7006" fmla="*/ 587216 w 6400800"/>
                <a:gd name="connsiteY7006" fmla="*/ 300514 h 514350"/>
                <a:gd name="connsiteX7007" fmla="*/ 591979 w 6400800"/>
                <a:gd name="connsiteY7007" fmla="*/ 310039 h 514350"/>
                <a:gd name="connsiteX7008" fmla="*/ 591026 w 6400800"/>
                <a:gd name="connsiteY7008" fmla="*/ 316706 h 514350"/>
                <a:gd name="connsiteX7009" fmla="*/ 591026 w 6400800"/>
                <a:gd name="connsiteY7009" fmla="*/ 316706 h 514350"/>
                <a:gd name="connsiteX7010" fmla="*/ 590074 w 6400800"/>
                <a:gd name="connsiteY7010" fmla="*/ 319564 h 514350"/>
                <a:gd name="connsiteX7011" fmla="*/ 587216 w 6400800"/>
                <a:gd name="connsiteY7011" fmla="*/ 311944 h 514350"/>
                <a:gd name="connsiteX7012" fmla="*/ 586264 w 6400800"/>
                <a:gd name="connsiteY7012" fmla="*/ 299561 h 514350"/>
                <a:gd name="connsiteX7013" fmla="*/ 587216 w 6400800"/>
                <a:gd name="connsiteY7013" fmla="*/ 300514 h 514350"/>
                <a:gd name="connsiteX7014" fmla="*/ 553879 w 6400800"/>
                <a:gd name="connsiteY7014" fmla="*/ 257651 h 514350"/>
                <a:gd name="connsiteX7015" fmla="*/ 555784 w 6400800"/>
                <a:gd name="connsiteY7015" fmla="*/ 233839 h 514350"/>
                <a:gd name="connsiteX7016" fmla="*/ 558641 w 6400800"/>
                <a:gd name="connsiteY7016" fmla="*/ 249079 h 514350"/>
                <a:gd name="connsiteX7017" fmla="*/ 556736 w 6400800"/>
                <a:gd name="connsiteY7017" fmla="*/ 247174 h 514350"/>
                <a:gd name="connsiteX7018" fmla="*/ 558641 w 6400800"/>
                <a:gd name="connsiteY7018" fmla="*/ 250984 h 514350"/>
                <a:gd name="connsiteX7019" fmla="*/ 570071 w 6400800"/>
                <a:gd name="connsiteY7019" fmla="*/ 297656 h 514350"/>
                <a:gd name="connsiteX7020" fmla="*/ 571976 w 6400800"/>
                <a:gd name="connsiteY7020" fmla="*/ 303371 h 514350"/>
                <a:gd name="connsiteX7021" fmla="*/ 569119 w 6400800"/>
                <a:gd name="connsiteY7021" fmla="*/ 312896 h 514350"/>
                <a:gd name="connsiteX7022" fmla="*/ 564356 w 6400800"/>
                <a:gd name="connsiteY7022" fmla="*/ 295751 h 514350"/>
                <a:gd name="connsiteX7023" fmla="*/ 553879 w 6400800"/>
                <a:gd name="connsiteY7023" fmla="*/ 266224 h 514350"/>
                <a:gd name="connsiteX7024" fmla="*/ 553879 w 6400800"/>
                <a:gd name="connsiteY7024" fmla="*/ 257651 h 514350"/>
                <a:gd name="connsiteX7025" fmla="*/ 551974 w 6400800"/>
                <a:gd name="connsiteY7025" fmla="*/ 295751 h 514350"/>
                <a:gd name="connsiteX7026" fmla="*/ 551974 w 6400800"/>
                <a:gd name="connsiteY7026" fmla="*/ 295751 h 514350"/>
                <a:gd name="connsiteX7027" fmla="*/ 552926 w 6400800"/>
                <a:gd name="connsiteY7027" fmla="*/ 298609 h 514350"/>
                <a:gd name="connsiteX7028" fmla="*/ 556736 w 6400800"/>
                <a:gd name="connsiteY7028" fmla="*/ 317659 h 514350"/>
                <a:gd name="connsiteX7029" fmla="*/ 557689 w 6400800"/>
                <a:gd name="connsiteY7029" fmla="*/ 321469 h 514350"/>
                <a:gd name="connsiteX7030" fmla="*/ 557689 w 6400800"/>
                <a:gd name="connsiteY7030" fmla="*/ 322421 h 514350"/>
                <a:gd name="connsiteX7031" fmla="*/ 557689 w 6400800"/>
                <a:gd name="connsiteY7031" fmla="*/ 326231 h 514350"/>
                <a:gd name="connsiteX7032" fmla="*/ 552926 w 6400800"/>
                <a:gd name="connsiteY7032" fmla="*/ 306229 h 514350"/>
                <a:gd name="connsiteX7033" fmla="*/ 551974 w 6400800"/>
                <a:gd name="connsiteY7033" fmla="*/ 295751 h 514350"/>
                <a:gd name="connsiteX7034" fmla="*/ 529114 w 6400800"/>
                <a:gd name="connsiteY7034" fmla="*/ 290036 h 514350"/>
                <a:gd name="connsiteX7035" fmla="*/ 529114 w 6400800"/>
                <a:gd name="connsiteY7035" fmla="*/ 290036 h 514350"/>
                <a:gd name="connsiteX7036" fmla="*/ 529114 w 6400800"/>
                <a:gd name="connsiteY7036" fmla="*/ 290036 h 514350"/>
                <a:gd name="connsiteX7037" fmla="*/ 529114 w 6400800"/>
                <a:gd name="connsiteY7037" fmla="*/ 290036 h 514350"/>
                <a:gd name="connsiteX7038" fmla="*/ 522446 w 6400800"/>
                <a:gd name="connsiteY7038" fmla="*/ 336709 h 514350"/>
                <a:gd name="connsiteX7039" fmla="*/ 523399 w 6400800"/>
                <a:gd name="connsiteY7039" fmla="*/ 329089 h 514350"/>
                <a:gd name="connsiteX7040" fmla="*/ 526256 w 6400800"/>
                <a:gd name="connsiteY7040" fmla="*/ 336709 h 514350"/>
                <a:gd name="connsiteX7041" fmla="*/ 531019 w 6400800"/>
                <a:gd name="connsiteY7041" fmla="*/ 350996 h 514350"/>
                <a:gd name="connsiteX7042" fmla="*/ 531971 w 6400800"/>
                <a:gd name="connsiteY7042" fmla="*/ 374809 h 514350"/>
                <a:gd name="connsiteX7043" fmla="*/ 533876 w 6400800"/>
                <a:gd name="connsiteY7043" fmla="*/ 403384 h 514350"/>
                <a:gd name="connsiteX7044" fmla="*/ 528161 w 6400800"/>
                <a:gd name="connsiteY7044" fmla="*/ 394811 h 514350"/>
                <a:gd name="connsiteX7045" fmla="*/ 532924 w 6400800"/>
                <a:gd name="connsiteY7045" fmla="*/ 410051 h 514350"/>
                <a:gd name="connsiteX7046" fmla="*/ 534829 w 6400800"/>
                <a:gd name="connsiteY7046" fmla="*/ 417671 h 514350"/>
                <a:gd name="connsiteX7047" fmla="*/ 535781 w 6400800"/>
                <a:gd name="connsiteY7047" fmla="*/ 430054 h 514350"/>
                <a:gd name="connsiteX7048" fmla="*/ 523399 w 6400800"/>
                <a:gd name="connsiteY7048" fmla="*/ 428149 h 514350"/>
                <a:gd name="connsiteX7049" fmla="*/ 522446 w 6400800"/>
                <a:gd name="connsiteY7049" fmla="*/ 427196 h 514350"/>
                <a:gd name="connsiteX7050" fmla="*/ 522446 w 6400800"/>
                <a:gd name="connsiteY7050" fmla="*/ 423386 h 514350"/>
                <a:gd name="connsiteX7051" fmla="*/ 527209 w 6400800"/>
                <a:gd name="connsiteY7051" fmla="*/ 410051 h 514350"/>
                <a:gd name="connsiteX7052" fmla="*/ 522446 w 6400800"/>
                <a:gd name="connsiteY7052" fmla="*/ 418624 h 514350"/>
                <a:gd name="connsiteX7053" fmla="*/ 521494 w 6400800"/>
                <a:gd name="connsiteY7053" fmla="*/ 405289 h 514350"/>
                <a:gd name="connsiteX7054" fmla="*/ 517684 w 6400800"/>
                <a:gd name="connsiteY7054" fmla="*/ 369094 h 514350"/>
                <a:gd name="connsiteX7055" fmla="*/ 522446 w 6400800"/>
                <a:gd name="connsiteY7055" fmla="*/ 336709 h 514350"/>
                <a:gd name="connsiteX7056" fmla="*/ 512921 w 6400800"/>
                <a:gd name="connsiteY7056" fmla="*/ 271939 h 514350"/>
                <a:gd name="connsiteX7057" fmla="*/ 509111 w 6400800"/>
                <a:gd name="connsiteY7057" fmla="*/ 287179 h 514350"/>
                <a:gd name="connsiteX7058" fmla="*/ 509111 w 6400800"/>
                <a:gd name="connsiteY7058" fmla="*/ 288131 h 514350"/>
                <a:gd name="connsiteX7059" fmla="*/ 507206 w 6400800"/>
                <a:gd name="connsiteY7059" fmla="*/ 275749 h 514350"/>
                <a:gd name="connsiteX7060" fmla="*/ 508159 w 6400800"/>
                <a:gd name="connsiteY7060" fmla="*/ 262414 h 514350"/>
                <a:gd name="connsiteX7061" fmla="*/ 509111 w 6400800"/>
                <a:gd name="connsiteY7061" fmla="*/ 262414 h 514350"/>
                <a:gd name="connsiteX7062" fmla="*/ 512921 w 6400800"/>
                <a:gd name="connsiteY7062" fmla="*/ 271939 h 514350"/>
                <a:gd name="connsiteX7063" fmla="*/ 497681 w 6400800"/>
                <a:gd name="connsiteY7063" fmla="*/ 207169 h 514350"/>
                <a:gd name="connsiteX7064" fmla="*/ 506254 w 6400800"/>
                <a:gd name="connsiteY7064" fmla="*/ 245269 h 514350"/>
                <a:gd name="connsiteX7065" fmla="*/ 509111 w 6400800"/>
                <a:gd name="connsiteY7065" fmla="*/ 256699 h 514350"/>
                <a:gd name="connsiteX7066" fmla="*/ 506254 w 6400800"/>
                <a:gd name="connsiteY7066" fmla="*/ 256699 h 514350"/>
                <a:gd name="connsiteX7067" fmla="*/ 505301 w 6400800"/>
                <a:gd name="connsiteY7067" fmla="*/ 256699 h 514350"/>
                <a:gd name="connsiteX7068" fmla="*/ 505301 w 6400800"/>
                <a:gd name="connsiteY7068" fmla="*/ 256699 h 514350"/>
                <a:gd name="connsiteX7069" fmla="*/ 497681 w 6400800"/>
                <a:gd name="connsiteY7069" fmla="*/ 207169 h 514350"/>
                <a:gd name="connsiteX7070" fmla="*/ 497681 w 6400800"/>
                <a:gd name="connsiteY7070" fmla="*/ 207169 h 514350"/>
                <a:gd name="connsiteX7071" fmla="*/ 487204 w 6400800"/>
                <a:gd name="connsiteY7071" fmla="*/ 419576 h 514350"/>
                <a:gd name="connsiteX7072" fmla="*/ 486251 w 6400800"/>
                <a:gd name="connsiteY7072" fmla="*/ 422434 h 514350"/>
                <a:gd name="connsiteX7073" fmla="*/ 483394 w 6400800"/>
                <a:gd name="connsiteY7073" fmla="*/ 422434 h 514350"/>
                <a:gd name="connsiteX7074" fmla="*/ 483394 w 6400800"/>
                <a:gd name="connsiteY7074" fmla="*/ 418624 h 514350"/>
                <a:gd name="connsiteX7075" fmla="*/ 481489 w 6400800"/>
                <a:gd name="connsiteY7075" fmla="*/ 401479 h 514350"/>
                <a:gd name="connsiteX7076" fmla="*/ 487204 w 6400800"/>
                <a:gd name="connsiteY7076" fmla="*/ 419576 h 514350"/>
                <a:gd name="connsiteX7077" fmla="*/ 437674 w 6400800"/>
                <a:gd name="connsiteY7077" fmla="*/ 390049 h 514350"/>
                <a:gd name="connsiteX7078" fmla="*/ 437674 w 6400800"/>
                <a:gd name="connsiteY7078" fmla="*/ 390049 h 514350"/>
                <a:gd name="connsiteX7079" fmla="*/ 437674 w 6400800"/>
                <a:gd name="connsiteY7079" fmla="*/ 388144 h 514350"/>
                <a:gd name="connsiteX7080" fmla="*/ 437674 w 6400800"/>
                <a:gd name="connsiteY7080" fmla="*/ 388144 h 514350"/>
                <a:gd name="connsiteX7081" fmla="*/ 437674 w 6400800"/>
                <a:gd name="connsiteY7081" fmla="*/ 390049 h 514350"/>
                <a:gd name="connsiteX7082" fmla="*/ 437674 w 6400800"/>
                <a:gd name="connsiteY7082" fmla="*/ 390049 h 514350"/>
                <a:gd name="connsiteX7083" fmla="*/ 448151 w 6400800"/>
                <a:gd name="connsiteY7083" fmla="*/ 362426 h 514350"/>
                <a:gd name="connsiteX7084" fmla="*/ 446246 w 6400800"/>
                <a:gd name="connsiteY7084" fmla="*/ 356711 h 514350"/>
                <a:gd name="connsiteX7085" fmla="*/ 449104 w 6400800"/>
                <a:gd name="connsiteY7085" fmla="*/ 347186 h 514350"/>
                <a:gd name="connsiteX7086" fmla="*/ 448151 w 6400800"/>
                <a:gd name="connsiteY7086" fmla="*/ 362426 h 514350"/>
                <a:gd name="connsiteX7087" fmla="*/ 436721 w 6400800"/>
                <a:gd name="connsiteY7087" fmla="*/ 227171 h 514350"/>
                <a:gd name="connsiteX7088" fmla="*/ 440531 w 6400800"/>
                <a:gd name="connsiteY7088" fmla="*/ 246221 h 514350"/>
                <a:gd name="connsiteX7089" fmla="*/ 434816 w 6400800"/>
                <a:gd name="connsiteY7089" fmla="*/ 234791 h 514350"/>
                <a:gd name="connsiteX7090" fmla="*/ 436721 w 6400800"/>
                <a:gd name="connsiteY7090" fmla="*/ 227171 h 514350"/>
                <a:gd name="connsiteX7091" fmla="*/ 428149 w 6400800"/>
                <a:gd name="connsiteY7091" fmla="*/ 280511 h 514350"/>
                <a:gd name="connsiteX7092" fmla="*/ 431959 w 6400800"/>
                <a:gd name="connsiteY7092" fmla="*/ 253841 h 514350"/>
                <a:gd name="connsiteX7093" fmla="*/ 432911 w 6400800"/>
                <a:gd name="connsiteY7093" fmla="*/ 258604 h 514350"/>
                <a:gd name="connsiteX7094" fmla="*/ 438626 w 6400800"/>
                <a:gd name="connsiteY7094" fmla="*/ 284321 h 514350"/>
                <a:gd name="connsiteX7095" fmla="*/ 439579 w 6400800"/>
                <a:gd name="connsiteY7095" fmla="*/ 290036 h 514350"/>
                <a:gd name="connsiteX7096" fmla="*/ 432911 w 6400800"/>
                <a:gd name="connsiteY7096" fmla="*/ 281464 h 514350"/>
                <a:gd name="connsiteX7097" fmla="*/ 439579 w 6400800"/>
                <a:gd name="connsiteY7097" fmla="*/ 295751 h 514350"/>
                <a:gd name="connsiteX7098" fmla="*/ 441484 w 6400800"/>
                <a:gd name="connsiteY7098" fmla="*/ 299561 h 514350"/>
                <a:gd name="connsiteX7099" fmla="*/ 443389 w 6400800"/>
                <a:gd name="connsiteY7099" fmla="*/ 312896 h 514350"/>
                <a:gd name="connsiteX7100" fmla="*/ 446246 w 6400800"/>
                <a:gd name="connsiteY7100" fmla="*/ 328136 h 514350"/>
                <a:gd name="connsiteX7101" fmla="*/ 447199 w 6400800"/>
                <a:gd name="connsiteY7101" fmla="*/ 335756 h 514350"/>
                <a:gd name="connsiteX7102" fmla="*/ 445294 w 6400800"/>
                <a:gd name="connsiteY7102" fmla="*/ 341471 h 514350"/>
                <a:gd name="connsiteX7103" fmla="*/ 442436 w 6400800"/>
                <a:gd name="connsiteY7103" fmla="*/ 349091 h 514350"/>
                <a:gd name="connsiteX7104" fmla="*/ 434816 w 6400800"/>
                <a:gd name="connsiteY7104" fmla="*/ 331946 h 514350"/>
                <a:gd name="connsiteX7105" fmla="*/ 434816 w 6400800"/>
                <a:gd name="connsiteY7105" fmla="*/ 317659 h 514350"/>
                <a:gd name="connsiteX7106" fmla="*/ 432911 w 6400800"/>
                <a:gd name="connsiteY7106" fmla="*/ 328136 h 514350"/>
                <a:gd name="connsiteX7107" fmla="*/ 423386 w 6400800"/>
                <a:gd name="connsiteY7107" fmla="*/ 303371 h 514350"/>
                <a:gd name="connsiteX7108" fmla="*/ 428149 w 6400800"/>
                <a:gd name="connsiteY7108" fmla="*/ 280511 h 514350"/>
                <a:gd name="connsiteX7109" fmla="*/ 418624 w 6400800"/>
                <a:gd name="connsiteY7109" fmla="*/ 345281 h 514350"/>
                <a:gd name="connsiteX7110" fmla="*/ 422434 w 6400800"/>
                <a:gd name="connsiteY7110" fmla="*/ 322421 h 514350"/>
                <a:gd name="connsiteX7111" fmla="*/ 427196 w 6400800"/>
                <a:gd name="connsiteY7111" fmla="*/ 339566 h 514350"/>
                <a:gd name="connsiteX7112" fmla="*/ 430054 w 6400800"/>
                <a:gd name="connsiteY7112" fmla="*/ 350996 h 514350"/>
                <a:gd name="connsiteX7113" fmla="*/ 428149 w 6400800"/>
                <a:gd name="connsiteY7113" fmla="*/ 362426 h 514350"/>
                <a:gd name="connsiteX7114" fmla="*/ 426244 w 6400800"/>
                <a:gd name="connsiteY7114" fmla="*/ 356711 h 514350"/>
                <a:gd name="connsiteX7115" fmla="*/ 420529 w 6400800"/>
                <a:gd name="connsiteY7115" fmla="*/ 344329 h 514350"/>
                <a:gd name="connsiteX7116" fmla="*/ 422434 w 6400800"/>
                <a:gd name="connsiteY7116" fmla="*/ 357664 h 514350"/>
                <a:gd name="connsiteX7117" fmla="*/ 424339 w 6400800"/>
                <a:gd name="connsiteY7117" fmla="*/ 372904 h 514350"/>
                <a:gd name="connsiteX7118" fmla="*/ 425291 w 6400800"/>
                <a:gd name="connsiteY7118" fmla="*/ 377666 h 514350"/>
                <a:gd name="connsiteX7119" fmla="*/ 424339 w 6400800"/>
                <a:gd name="connsiteY7119" fmla="*/ 375761 h 514350"/>
                <a:gd name="connsiteX7120" fmla="*/ 424339 w 6400800"/>
                <a:gd name="connsiteY7120" fmla="*/ 374809 h 514350"/>
                <a:gd name="connsiteX7121" fmla="*/ 418624 w 6400800"/>
                <a:gd name="connsiteY7121" fmla="*/ 351949 h 514350"/>
                <a:gd name="connsiteX7122" fmla="*/ 418624 w 6400800"/>
                <a:gd name="connsiteY7122" fmla="*/ 345281 h 514350"/>
                <a:gd name="connsiteX7123" fmla="*/ 406241 w 6400800"/>
                <a:gd name="connsiteY7123" fmla="*/ 261461 h 514350"/>
                <a:gd name="connsiteX7124" fmla="*/ 411956 w 6400800"/>
                <a:gd name="connsiteY7124" fmla="*/ 285274 h 514350"/>
                <a:gd name="connsiteX7125" fmla="*/ 407194 w 6400800"/>
                <a:gd name="connsiteY7125" fmla="*/ 310039 h 514350"/>
                <a:gd name="connsiteX7126" fmla="*/ 405289 w 6400800"/>
                <a:gd name="connsiteY7126" fmla="*/ 302419 h 514350"/>
                <a:gd name="connsiteX7127" fmla="*/ 406241 w 6400800"/>
                <a:gd name="connsiteY7127" fmla="*/ 261461 h 514350"/>
                <a:gd name="connsiteX7128" fmla="*/ 382429 w 6400800"/>
                <a:gd name="connsiteY7128" fmla="*/ 290036 h 514350"/>
                <a:gd name="connsiteX7129" fmla="*/ 381476 w 6400800"/>
                <a:gd name="connsiteY7129" fmla="*/ 293846 h 514350"/>
                <a:gd name="connsiteX7130" fmla="*/ 381476 w 6400800"/>
                <a:gd name="connsiteY7130" fmla="*/ 285274 h 514350"/>
                <a:gd name="connsiteX7131" fmla="*/ 382429 w 6400800"/>
                <a:gd name="connsiteY7131" fmla="*/ 290036 h 514350"/>
                <a:gd name="connsiteX7132" fmla="*/ 361474 w 6400800"/>
                <a:gd name="connsiteY7132" fmla="*/ 394811 h 514350"/>
                <a:gd name="connsiteX7133" fmla="*/ 361474 w 6400800"/>
                <a:gd name="connsiteY7133" fmla="*/ 404336 h 514350"/>
                <a:gd name="connsiteX7134" fmla="*/ 361474 w 6400800"/>
                <a:gd name="connsiteY7134" fmla="*/ 407194 h 514350"/>
                <a:gd name="connsiteX7135" fmla="*/ 354806 w 6400800"/>
                <a:gd name="connsiteY7135" fmla="*/ 383381 h 514350"/>
                <a:gd name="connsiteX7136" fmla="*/ 354806 w 6400800"/>
                <a:gd name="connsiteY7136" fmla="*/ 382429 h 514350"/>
                <a:gd name="connsiteX7137" fmla="*/ 352901 w 6400800"/>
                <a:gd name="connsiteY7137" fmla="*/ 373856 h 514350"/>
                <a:gd name="connsiteX7138" fmla="*/ 361474 w 6400800"/>
                <a:gd name="connsiteY7138" fmla="*/ 394811 h 514350"/>
                <a:gd name="connsiteX7139" fmla="*/ 347186 w 6400800"/>
                <a:gd name="connsiteY7139" fmla="*/ 307181 h 514350"/>
                <a:gd name="connsiteX7140" fmla="*/ 349091 w 6400800"/>
                <a:gd name="connsiteY7140" fmla="*/ 311944 h 514350"/>
                <a:gd name="connsiteX7141" fmla="*/ 347186 w 6400800"/>
                <a:gd name="connsiteY7141" fmla="*/ 309086 h 514350"/>
                <a:gd name="connsiteX7142" fmla="*/ 347186 w 6400800"/>
                <a:gd name="connsiteY7142" fmla="*/ 307181 h 514350"/>
                <a:gd name="connsiteX7143" fmla="*/ 347186 w 6400800"/>
                <a:gd name="connsiteY7143" fmla="*/ 429101 h 514350"/>
                <a:gd name="connsiteX7144" fmla="*/ 348139 w 6400800"/>
                <a:gd name="connsiteY7144" fmla="*/ 432911 h 514350"/>
                <a:gd name="connsiteX7145" fmla="*/ 346234 w 6400800"/>
                <a:gd name="connsiteY7145" fmla="*/ 432911 h 514350"/>
                <a:gd name="connsiteX7146" fmla="*/ 347186 w 6400800"/>
                <a:gd name="connsiteY7146" fmla="*/ 429101 h 514350"/>
                <a:gd name="connsiteX7147" fmla="*/ 310991 w 6400800"/>
                <a:gd name="connsiteY7147" fmla="*/ 439579 h 514350"/>
                <a:gd name="connsiteX7148" fmla="*/ 311944 w 6400800"/>
                <a:gd name="connsiteY7148" fmla="*/ 424339 h 514350"/>
                <a:gd name="connsiteX7149" fmla="*/ 317659 w 6400800"/>
                <a:gd name="connsiteY7149" fmla="*/ 438626 h 514350"/>
                <a:gd name="connsiteX7150" fmla="*/ 310991 w 6400800"/>
                <a:gd name="connsiteY7150" fmla="*/ 439579 h 514350"/>
                <a:gd name="connsiteX7151" fmla="*/ 302419 w 6400800"/>
                <a:gd name="connsiteY7151" fmla="*/ 230981 h 514350"/>
                <a:gd name="connsiteX7152" fmla="*/ 304324 w 6400800"/>
                <a:gd name="connsiteY7152" fmla="*/ 237649 h 514350"/>
                <a:gd name="connsiteX7153" fmla="*/ 307181 w 6400800"/>
                <a:gd name="connsiteY7153" fmla="*/ 252889 h 514350"/>
                <a:gd name="connsiteX7154" fmla="*/ 300514 w 6400800"/>
                <a:gd name="connsiteY7154" fmla="*/ 244316 h 514350"/>
                <a:gd name="connsiteX7155" fmla="*/ 302419 w 6400800"/>
                <a:gd name="connsiteY7155" fmla="*/ 230981 h 514350"/>
                <a:gd name="connsiteX7156" fmla="*/ 295751 w 6400800"/>
                <a:gd name="connsiteY7156" fmla="*/ 269081 h 514350"/>
                <a:gd name="connsiteX7157" fmla="*/ 297656 w 6400800"/>
                <a:gd name="connsiteY7157" fmla="*/ 262414 h 514350"/>
                <a:gd name="connsiteX7158" fmla="*/ 295751 w 6400800"/>
                <a:gd name="connsiteY7158" fmla="*/ 265271 h 514350"/>
                <a:gd name="connsiteX7159" fmla="*/ 297656 w 6400800"/>
                <a:gd name="connsiteY7159" fmla="*/ 251936 h 514350"/>
                <a:gd name="connsiteX7160" fmla="*/ 299561 w 6400800"/>
                <a:gd name="connsiteY7160" fmla="*/ 243364 h 514350"/>
                <a:gd name="connsiteX7161" fmla="*/ 301466 w 6400800"/>
                <a:gd name="connsiteY7161" fmla="*/ 247174 h 514350"/>
                <a:gd name="connsiteX7162" fmla="*/ 310039 w 6400800"/>
                <a:gd name="connsiteY7162" fmla="*/ 270986 h 514350"/>
                <a:gd name="connsiteX7163" fmla="*/ 319564 w 6400800"/>
                <a:gd name="connsiteY7163" fmla="*/ 312896 h 514350"/>
                <a:gd name="connsiteX7164" fmla="*/ 330041 w 6400800"/>
                <a:gd name="connsiteY7164" fmla="*/ 358616 h 514350"/>
                <a:gd name="connsiteX7165" fmla="*/ 330041 w 6400800"/>
                <a:gd name="connsiteY7165" fmla="*/ 362426 h 514350"/>
                <a:gd name="connsiteX7166" fmla="*/ 327184 w 6400800"/>
                <a:gd name="connsiteY7166" fmla="*/ 404336 h 514350"/>
                <a:gd name="connsiteX7167" fmla="*/ 327184 w 6400800"/>
                <a:gd name="connsiteY7167" fmla="*/ 404336 h 514350"/>
                <a:gd name="connsiteX7168" fmla="*/ 321469 w 6400800"/>
                <a:gd name="connsiteY7168" fmla="*/ 392906 h 514350"/>
                <a:gd name="connsiteX7169" fmla="*/ 310991 w 6400800"/>
                <a:gd name="connsiteY7169" fmla="*/ 362426 h 514350"/>
                <a:gd name="connsiteX7170" fmla="*/ 296704 w 6400800"/>
                <a:gd name="connsiteY7170" fmla="*/ 318611 h 514350"/>
                <a:gd name="connsiteX7171" fmla="*/ 291941 w 6400800"/>
                <a:gd name="connsiteY7171" fmla="*/ 302419 h 514350"/>
                <a:gd name="connsiteX7172" fmla="*/ 295751 w 6400800"/>
                <a:gd name="connsiteY7172" fmla="*/ 269081 h 514350"/>
                <a:gd name="connsiteX7173" fmla="*/ 283369 w 6400800"/>
                <a:gd name="connsiteY7173" fmla="*/ 378619 h 514350"/>
                <a:gd name="connsiteX7174" fmla="*/ 284321 w 6400800"/>
                <a:gd name="connsiteY7174" fmla="*/ 365284 h 514350"/>
                <a:gd name="connsiteX7175" fmla="*/ 285274 w 6400800"/>
                <a:gd name="connsiteY7175" fmla="*/ 363379 h 514350"/>
                <a:gd name="connsiteX7176" fmla="*/ 295751 w 6400800"/>
                <a:gd name="connsiteY7176" fmla="*/ 387191 h 514350"/>
                <a:gd name="connsiteX7177" fmla="*/ 302419 w 6400800"/>
                <a:gd name="connsiteY7177" fmla="*/ 400526 h 514350"/>
                <a:gd name="connsiteX7178" fmla="*/ 303371 w 6400800"/>
                <a:gd name="connsiteY7178" fmla="*/ 404336 h 514350"/>
                <a:gd name="connsiteX7179" fmla="*/ 301466 w 6400800"/>
                <a:gd name="connsiteY7179" fmla="*/ 412909 h 514350"/>
                <a:gd name="connsiteX7180" fmla="*/ 295751 w 6400800"/>
                <a:gd name="connsiteY7180" fmla="*/ 442436 h 514350"/>
                <a:gd name="connsiteX7181" fmla="*/ 283369 w 6400800"/>
                <a:gd name="connsiteY7181" fmla="*/ 444341 h 514350"/>
                <a:gd name="connsiteX7182" fmla="*/ 281464 w 6400800"/>
                <a:gd name="connsiteY7182" fmla="*/ 435769 h 514350"/>
                <a:gd name="connsiteX7183" fmla="*/ 281464 w 6400800"/>
                <a:gd name="connsiteY7183" fmla="*/ 407194 h 514350"/>
                <a:gd name="connsiteX7184" fmla="*/ 283369 w 6400800"/>
                <a:gd name="connsiteY7184" fmla="*/ 378619 h 514350"/>
                <a:gd name="connsiteX7185" fmla="*/ 237649 w 6400800"/>
                <a:gd name="connsiteY7185" fmla="*/ 415766 h 514350"/>
                <a:gd name="connsiteX7186" fmla="*/ 228124 w 6400800"/>
                <a:gd name="connsiteY7186" fmla="*/ 395764 h 514350"/>
                <a:gd name="connsiteX7187" fmla="*/ 229076 w 6400800"/>
                <a:gd name="connsiteY7187" fmla="*/ 383381 h 514350"/>
                <a:gd name="connsiteX7188" fmla="*/ 239554 w 6400800"/>
                <a:gd name="connsiteY7188" fmla="*/ 406241 h 514350"/>
                <a:gd name="connsiteX7189" fmla="*/ 237649 w 6400800"/>
                <a:gd name="connsiteY7189" fmla="*/ 415766 h 514350"/>
                <a:gd name="connsiteX7190" fmla="*/ 247174 w 6400800"/>
                <a:gd name="connsiteY7190" fmla="*/ 431006 h 514350"/>
                <a:gd name="connsiteX7191" fmla="*/ 248126 w 6400800"/>
                <a:gd name="connsiteY7191" fmla="*/ 425291 h 514350"/>
                <a:gd name="connsiteX7192" fmla="*/ 248126 w 6400800"/>
                <a:gd name="connsiteY7192" fmla="*/ 425291 h 514350"/>
                <a:gd name="connsiteX7193" fmla="*/ 247174 w 6400800"/>
                <a:gd name="connsiteY7193" fmla="*/ 431006 h 514350"/>
                <a:gd name="connsiteX7194" fmla="*/ 264319 w 6400800"/>
                <a:gd name="connsiteY7194" fmla="*/ 204311 h 514350"/>
                <a:gd name="connsiteX7195" fmla="*/ 270986 w 6400800"/>
                <a:gd name="connsiteY7195" fmla="*/ 185261 h 514350"/>
                <a:gd name="connsiteX7196" fmla="*/ 267176 w 6400800"/>
                <a:gd name="connsiteY7196" fmla="*/ 214789 h 514350"/>
                <a:gd name="connsiteX7197" fmla="*/ 266224 w 6400800"/>
                <a:gd name="connsiteY7197" fmla="*/ 210026 h 514350"/>
                <a:gd name="connsiteX7198" fmla="*/ 264319 w 6400800"/>
                <a:gd name="connsiteY7198" fmla="*/ 204311 h 514350"/>
                <a:gd name="connsiteX7199" fmla="*/ 264319 w 6400800"/>
                <a:gd name="connsiteY7199" fmla="*/ 204311 h 514350"/>
                <a:gd name="connsiteX7200" fmla="*/ 254794 w 6400800"/>
                <a:gd name="connsiteY7200" fmla="*/ 235744 h 514350"/>
                <a:gd name="connsiteX7201" fmla="*/ 258604 w 6400800"/>
                <a:gd name="connsiteY7201" fmla="*/ 220504 h 514350"/>
                <a:gd name="connsiteX7202" fmla="*/ 261461 w 6400800"/>
                <a:gd name="connsiteY7202" fmla="*/ 242411 h 514350"/>
                <a:gd name="connsiteX7203" fmla="*/ 262414 w 6400800"/>
                <a:gd name="connsiteY7203" fmla="*/ 245269 h 514350"/>
                <a:gd name="connsiteX7204" fmla="*/ 260509 w 6400800"/>
                <a:gd name="connsiteY7204" fmla="*/ 270034 h 514350"/>
                <a:gd name="connsiteX7205" fmla="*/ 257651 w 6400800"/>
                <a:gd name="connsiteY7205" fmla="*/ 264319 h 514350"/>
                <a:gd name="connsiteX7206" fmla="*/ 250984 w 6400800"/>
                <a:gd name="connsiteY7206" fmla="*/ 249079 h 514350"/>
                <a:gd name="connsiteX7207" fmla="*/ 254794 w 6400800"/>
                <a:gd name="connsiteY7207" fmla="*/ 235744 h 514350"/>
                <a:gd name="connsiteX7208" fmla="*/ 245269 w 6400800"/>
                <a:gd name="connsiteY7208" fmla="*/ 276701 h 514350"/>
                <a:gd name="connsiteX7209" fmla="*/ 249079 w 6400800"/>
                <a:gd name="connsiteY7209" fmla="*/ 260509 h 514350"/>
                <a:gd name="connsiteX7210" fmla="*/ 250984 w 6400800"/>
                <a:gd name="connsiteY7210" fmla="*/ 268129 h 514350"/>
                <a:gd name="connsiteX7211" fmla="*/ 258604 w 6400800"/>
                <a:gd name="connsiteY7211" fmla="*/ 292894 h 514350"/>
                <a:gd name="connsiteX7212" fmla="*/ 259556 w 6400800"/>
                <a:gd name="connsiteY7212" fmla="*/ 294799 h 514350"/>
                <a:gd name="connsiteX7213" fmla="*/ 259556 w 6400800"/>
                <a:gd name="connsiteY7213" fmla="*/ 297656 h 514350"/>
                <a:gd name="connsiteX7214" fmla="*/ 257651 w 6400800"/>
                <a:gd name="connsiteY7214" fmla="*/ 333851 h 514350"/>
                <a:gd name="connsiteX7215" fmla="*/ 250984 w 6400800"/>
                <a:gd name="connsiteY7215" fmla="*/ 309086 h 514350"/>
                <a:gd name="connsiteX7216" fmla="*/ 253841 w 6400800"/>
                <a:gd name="connsiteY7216" fmla="*/ 301466 h 514350"/>
                <a:gd name="connsiteX7217" fmla="*/ 250984 w 6400800"/>
                <a:gd name="connsiteY7217" fmla="*/ 307181 h 514350"/>
                <a:gd name="connsiteX7218" fmla="*/ 244316 w 6400800"/>
                <a:gd name="connsiteY7218" fmla="*/ 284321 h 514350"/>
                <a:gd name="connsiteX7219" fmla="*/ 245269 w 6400800"/>
                <a:gd name="connsiteY7219" fmla="*/ 276701 h 514350"/>
                <a:gd name="connsiteX7220" fmla="*/ 236696 w 6400800"/>
                <a:gd name="connsiteY7220" fmla="*/ 325279 h 514350"/>
                <a:gd name="connsiteX7221" fmla="*/ 237649 w 6400800"/>
                <a:gd name="connsiteY7221" fmla="*/ 322421 h 514350"/>
                <a:gd name="connsiteX7222" fmla="*/ 238601 w 6400800"/>
                <a:gd name="connsiteY7222" fmla="*/ 329089 h 514350"/>
                <a:gd name="connsiteX7223" fmla="*/ 235744 w 6400800"/>
                <a:gd name="connsiteY7223" fmla="*/ 335756 h 514350"/>
                <a:gd name="connsiteX7224" fmla="*/ 236696 w 6400800"/>
                <a:gd name="connsiteY7224" fmla="*/ 325279 h 514350"/>
                <a:gd name="connsiteX7225" fmla="*/ 234791 w 6400800"/>
                <a:gd name="connsiteY7225" fmla="*/ 353854 h 514350"/>
                <a:gd name="connsiteX7226" fmla="*/ 240506 w 6400800"/>
                <a:gd name="connsiteY7226" fmla="*/ 337661 h 514350"/>
                <a:gd name="connsiteX7227" fmla="*/ 241459 w 6400800"/>
                <a:gd name="connsiteY7227" fmla="*/ 342424 h 514350"/>
                <a:gd name="connsiteX7228" fmla="*/ 248126 w 6400800"/>
                <a:gd name="connsiteY7228" fmla="*/ 372904 h 514350"/>
                <a:gd name="connsiteX7229" fmla="*/ 247174 w 6400800"/>
                <a:gd name="connsiteY7229" fmla="*/ 378619 h 514350"/>
                <a:gd name="connsiteX7230" fmla="*/ 242411 w 6400800"/>
                <a:gd name="connsiteY7230" fmla="*/ 369094 h 514350"/>
                <a:gd name="connsiteX7231" fmla="*/ 234791 w 6400800"/>
                <a:gd name="connsiteY7231" fmla="*/ 353854 h 514350"/>
                <a:gd name="connsiteX7232" fmla="*/ 234791 w 6400800"/>
                <a:gd name="connsiteY7232" fmla="*/ 353854 h 514350"/>
                <a:gd name="connsiteX7233" fmla="*/ 222409 w 6400800"/>
                <a:gd name="connsiteY7233" fmla="*/ 297656 h 514350"/>
                <a:gd name="connsiteX7234" fmla="*/ 227171 w 6400800"/>
                <a:gd name="connsiteY7234" fmla="*/ 278606 h 514350"/>
                <a:gd name="connsiteX7235" fmla="*/ 228124 w 6400800"/>
                <a:gd name="connsiteY7235" fmla="*/ 284321 h 514350"/>
                <a:gd name="connsiteX7236" fmla="*/ 230029 w 6400800"/>
                <a:gd name="connsiteY7236" fmla="*/ 290989 h 514350"/>
                <a:gd name="connsiteX7237" fmla="*/ 222409 w 6400800"/>
                <a:gd name="connsiteY7237" fmla="*/ 324326 h 514350"/>
                <a:gd name="connsiteX7238" fmla="*/ 221456 w 6400800"/>
                <a:gd name="connsiteY7238" fmla="*/ 330041 h 514350"/>
                <a:gd name="connsiteX7239" fmla="*/ 220504 w 6400800"/>
                <a:gd name="connsiteY7239" fmla="*/ 329089 h 514350"/>
                <a:gd name="connsiteX7240" fmla="*/ 218599 w 6400800"/>
                <a:gd name="connsiteY7240" fmla="*/ 312896 h 514350"/>
                <a:gd name="connsiteX7241" fmla="*/ 222409 w 6400800"/>
                <a:gd name="connsiteY7241" fmla="*/ 297656 h 514350"/>
                <a:gd name="connsiteX7242" fmla="*/ 169069 w 6400800"/>
                <a:gd name="connsiteY7242" fmla="*/ 411956 h 514350"/>
                <a:gd name="connsiteX7243" fmla="*/ 169069 w 6400800"/>
                <a:gd name="connsiteY7243" fmla="*/ 412909 h 514350"/>
                <a:gd name="connsiteX7244" fmla="*/ 165259 w 6400800"/>
                <a:gd name="connsiteY7244" fmla="*/ 396716 h 514350"/>
                <a:gd name="connsiteX7245" fmla="*/ 164306 w 6400800"/>
                <a:gd name="connsiteY7245" fmla="*/ 375761 h 514350"/>
                <a:gd name="connsiteX7246" fmla="*/ 161449 w 6400800"/>
                <a:gd name="connsiteY7246" fmla="*/ 345281 h 514350"/>
                <a:gd name="connsiteX7247" fmla="*/ 158591 w 6400800"/>
                <a:gd name="connsiteY7247" fmla="*/ 321469 h 514350"/>
                <a:gd name="connsiteX7248" fmla="*/ 159544 w 6400800"/>
                <a:gd name="connsiteY7248" fmla="*/ 323374 h 514350"/>
                <a:gd name="connsiteX7249" fmla="*/ 162401 w 6400800"/>
                <a:gd name="connsiteY7249" fmla="*/ 328136 h 514350"/>
                <a:gd name="connsiteX7250" fmla="*/ 167164 w 6400800"/>
                <a:gd name="connsiteY7250" fmla="*/ 376714 h 514350"/>
                <a:gd name="connsiteX7251" fmla="*/ 170021 w 6400800"/>
                <a:gd name="connsiteY7251" fmla="*/ 402431 h 514350"/>
                <a:gd name="connsiteX7252" fmla="*/ 169069 w 6400800"/>
                <a:gd name="connsiteY7252" fmla="*/ 411956 h 514350"/>
                <a:gd name="connsiteX7253" fmla="*/ 209074 w 6400800"/>
                <a:gd name="connsiteY7253" fmla="*/ 350044 h 514350"/>
                <a:gd name="connsiteX7254" fmla="*/ 209074 w 6400800"/>
                <a:gd name="connsiteY7254" fmla="*/ 359569 h 514350"/>
                <a:gd name="connsiteX7255" fmla="*/ 207169 w 6400800"/>
                <a:gd name="connsiteY7255" fmla="*/ 356711 h 514350"/>
                <a:gd name="connsiteX7256" fmla="*/ 209074 w 6400800"/>
                <a:gd name="connsiteY7256" fmla="*/ 350044 h 514350"/>
                <a:gd name="connsiteX7257" fmla="*/ 170974 w 6400800"/>
                <a:gd name="connsiteY7257" fmla="*/ 259556 h 514350"/>
                <a:gd name="connsiteX7258" fmla="*/ 178594 w 6400800"/>
                <a:gd name="connsiteY7258" fmla="*/ 274796 h 514350"/>
                <a:gd name="connsiteX7259" fmla="*/ 187166 w 6400800"/>
                <a:gd name="connsiteY7259" fmla="*/ 291941 h 514350"/>
                <a:gd name="connsiteX7260" fmla="*/ 205264 w 6400800"/>
                <a:gd name="connsiteY7260" fmla="*/ 330041 h 514350"/>
                <a:gd name="connsiteX7261" fmla="*/ 200501 w 6400800"/>
                <a:gd name="connsiteY7261" fmla="*/ 343376 h 514350"/>
                <a:gd name="connsiteX7262" fmla="*/ 199549 w 6400800"/>
                <a:gd name="connsiteY7262" fmla="*/ 342424 h 514350"/>
                <a:gd name="connsiteX7263" fmla="*/ 180499 w 6400800"/>
                <a:gd name="connsiteY7263" fmla="*/ 310039 h 514350"/>
                <a:gd name="connsiteX7264" fmla="*/ 176689 w 6400800"/>
                <a:gd name="connsiteY7264" fmla="*/ 296704 h 514350"/>
                <a:gd name="connsiteX7265" fmla="*/ 176689 w 6400800"/>
                <a:gd name="connsiteY7265" fmla="*/ 305276 h 514350"/>
                <a:gd name="connsiteX7266" fmla="*/ 172879 w 6400800"/>
                <a:gd name="connsiteY7266" fmla="*/ 299561 h 514350"/>
                <a:gd name="connsiteX7267" fmla="*/ 171926 w 6400800"/>
                <a:gd name="connsiteY7267" fmla="*/ 298609 h 514350"/>
                <a:gd name="connsiteX7268" fmla="*/ 168116 w 6400800"/>
                <a:gd name="connsiteY7268" fmla="*/ 279559 h 514350"/>
                <a:gd name="connsiteX7269" fmla="*/ 158591 w 6400800"/>
                <a:gd name="connsiteY7269" fmla="*/ 235744 h 514350"/>
                <a:gd name="connsiteX7270" fmla="*/ 170974 w 6400800"/>
                <a:gd name="connsiteY7270" fmla="*/ 259556 h 514350"/>
                <a:gd name="connsiteX7271" fmla="*/ 161449 w 6400800"/>
                <a:gd name="connsiteY7271" fmla="*/ 307181 h 514350"/>
                <a:gd name="connsiteX7272" fmla="*/ 156686 w 6400800"/>
                <a:gd name="connsiteY7272" fmla="*/ 301466 h 514350"/>
                <a:gd name="connsiteX7273" fmla="*/ 155734 w 6400800"/>
                <a:gd name="connsiteY7273" fmla="*/ 297656 h 514350"/>
                <a:gd name="connsiteX7274" fmla="*/ 161449 w 6400800"/>
                <a:gd name="connsiteY7274" fmla="*/ 307181 h 514350"/>
                <a:gd name="connsiteX7275" fmla="*/ 130969 w 6400800"/>
                <a:gd name="connsiteY7275" fmla="*/ 280511 h 514350"/>
                <a:gd name="connsiteX7276" fmla="*/ 133826 w 6400800"/>
                <a:gd name="connsiteY7276" fmla="*/ 284321 h 514350"/>
                <a:gd name="connsiteX7277" fmla="*/ 145256 w 6400800"/>
                <a:gd name="connsiteY7277" fmla="*/ 301466 h 514350"/>
                <a:gd name="connsiteX7278" fmla="*/ 150971 w 6400800"/>
                <a:gd name="connsiteY7278" fmla="*/ 310039 h 514350"/>
                <a:gd name="connsiteX7279" fmla="*/ 150019 w 6400800"/>
                <a:gd name="connsiteY7279" fmla="*/ 341471 h 514350"/>
                <a:gd name="connsiteX7280" fmla="*/ 149066 w 6400800"/>
                <a:gd name="connsiteY7280" fmla="*/ 339566 h 514350"/>
                <a:gd name="connsiteX7281" fmla="*/ 145256 w 6400800"/>
                <a:gd name="connsiteY7281" fmla="*/ 328136 h 514350"/>
                <a:gd name="connsiteX7282" fmla="*/ 140494 w 6400800"/>
                <a:gd name="connsiteY7282" fmla="*/ 317659 h 514350"/>
                <a:gd name="connsiteX7283" fmla="*/ 132874 w 6400800"/>
                <a:gd name="connsiteY7283" fmla="*/ 301466 h 514350"/>
                <a:gd name="connsiteX7284" fmla="*/ 127159 w 6400800"/>
                <a:gd name="connsiteY7284" fmla="*/ 290989 h 514350"/>
                <a:gd name="connsiteX7285" fmla="*/ 130969 w 6400800"/>
                <a:gd name="connsiteY7285" fmla="*/ 280511 h 514350"/>
                <a:gd name="connsiteX7286" fmla="*/ 121444 w 6400800"/>
                <a:gd name="connsiteY7286" fmla="*/ 318611 h 514350"/>
                <a:gd name="connsiteX7287" fmla="*/ 127159 w 6400800"/>
                <a:gd name="connsiteY7287" fmla="*/ 294799 h 514350"/>
                <a:gd name="connsiteX7288" fmla="*/ 127159 w 6400800"/>
                <a:gd name="connsiteY7288" fmla="*/ 293846 h 514350"/>
                <a:gd name="connsiteX7289" fmla="*/ 129064 w 6400800"/>
                <a:gd name="connsiteY7289" fmla="*/ 303371 h 514350"/>
                <a:gd name="connsiteX7290" fmla="*/ 133826 w 6400800"/>
                <a:gd name="connsiteY7290" fmla="*/ 320516 h 514350"/>
                <a:gd name="connsiteX7291" fmla="*/ 138589 w 6400800"/>
                <a:gd name="connsiteY7291" fmla="*/ 342424 h 514350"/>
                <a:gd name="connsiteX7292" fmla="*/ 143351 w 6400800"/>
                <a:gd name="connsiteY7292" fmla="*/ 369094 h 514350"/>
                <a:gd name="connsiteX7293" fmla="*/ 148114 w 6400800"/>
                <a:gd name="connsiteY7293" fmla="*/ 398621 h 514350"/>
                <a:gd name="connsiteX7294" fmla="*/ 149066 w 6400800"/>
                <a:gd name="connsiteY7294" fmla="*/ 403384 h 514350"/>
                <a:gd name="connsiteX7295" fmla="*/ 149066 w 6400800"/>
                <a:gd name="connsiteY7295" fmla="*/ 411004 h 514350"/>
                <a:gd name="connsiteX7296" fmla="*/ 149066 w 6400800"/>
                <a:gd name="connsiteY7296" fmla="*/ 416719 h 514350"/>
                <a:gd name="connsiteX7297" fmla="*/ 138589 w 6400800"/>
                <a:gd name="connsiteY7297" fmla="*/ 388144 h 514350"/>
                <a:gd name="connsiteX7298" fmla="*/ 129064 w 6400800"/>
                <a:gd name="connsiteY7298" fmla="*/ 363379 h 514350"/>
                <a:gd name="connsiteX7299" fmla="*/ 131921 w 6400800"/>
                <a:gd name="connsiteY7299" fmla="*/ 358616 h 514350"/>
                <a:gd name="connsiteX7300" fmla="*/ 129064 w 6400800"/>
                <a:gd name="connsiteY7300" fmla="*/ 361474 h 514350"/>
                <a:gd name="connsiteX7301" fmla="*/ 124301 w 6400800"/>
                <a:gd name="connsiteY7301" fmla="*/ 350044 h 514350"/>
                <a:gd name="connsiteX7302" fmla="*/ 125254 w 6400800"/>
                <a:gd name="connsiteY7302" fmla="*/ 344329 h 514350"/>
                <a:gd name="connsiteX7303" fmla="*/ 129064 w 6400800"/>
                <a:gd name="connsiteY7303" fmla="*/ 328136 h 514350"/>
                <a:gd name="connsiteX7304" fmla="*/ 121444 w 6400800"/>
                <a:gd name="connsiteY7304" fmla="*/ 343376 h 514350"/>
                <a:gd name="connsiteX7305" fmla="*/ 121444 w 6400800"/>
                <a:gd name="connsiteY7305" fmla="*/ 343376 h 514350"/>
                <a:gd name="connsiteX7306" fmla="*/ 120491 w 6400800"/>
                <a:gd name="connsiteY7306" fmla="*/ 341471 h 514350"/>
                <a:gd name="connsiteX7307" fmla="*/ 117634 w 6400800"/>
                <a:gd name="connsiteY7307" fmla="*/ 334804 h 514350"/>
                <a:gd name="connsiteX7308" fmla="*/ 121444 w 6400800"/>
                <a:gd name="connsiteY7308" fmla="*/ 318611 h 514350"/>
                <a:gd name="connsiteX7309" fmla="*/ 116681 w 6400800"/>
                <a:gd name="connsiteY7309" fmla="*/ 393859 h 514350"/>
                <a:gd name="connsiteX7310" fmla="*/ 127159 w 6400800"/>
                <a:gd name="connsiteY7310" fmla="*/ 419576 h 514350"/>
                <a:gd name="connsiteX7311" fmla="*/ 113824 w 6400800"/>
                <a:gd name="connsiteY7311" fmla="*/ 414814 h 514350"/>
                <a:gd name="connsiteX7312" fmla="*/ 116681 w 6400800"/>
                <a:gd name="connsiteY7312" fmla="*/ 393859 h 514350"/>
                <a:gd name="connsiteX7313" fmla="*/ 91916 w 6400800"/>
                <a:gd name="connsiteY7313" fmla="*/ 341471 h 514350"/>
                <a:gd name="connsiteX7314" fmla="*/ 92869 w 6400800"/>
                <a:gd name="connsiteY7314" fmla="*/ 335756 h 514350"/>
                <a:gd name="connsiteX7315" fmla="*/ 94774 w 6400800"/>
                <a:gd name="connsiteY7315" fmla="*/ 340519 h 514350"/>
                <a:gd name="connsiteX7316" fmla="*/ 102394 w 6400800"/>
                <a:gd name="connsiteY7316" fmla="*/ 358616 h 514350"/>
                <a:gd name="connsiteX7317" fmla="*/ 96679 w 6400800"/>
                <a:gd name="connsiteY7317" fmla="*/ 384334 h 514350"/>
                <a:gd name="connsiteX7318" fmla="*/ 94774 w 6400800"/>
                <a:gd name="connsiteY7318" fmla="*/ 399574 h 514350"/>
                <a:gd name="connsiteX7319" fmla="*/ 93821 w 6400800"/>
                <a:gd name="connsiteY7319" fmla="*/ 400526 h 514350"/>
                <a:gd name="connsiteX7320" fmla="*/ 90964 w 6400800"/>
                <a:gd name="connsiteY7320" fmla="*/ 404336 h 514350"/>
                <a:gd name="connsiteX7321" fmla="*/ 88106 w 6400800"/>
                <a:gd name="connsiteY7321" fmla="*/ 382429 h 514350"/>
                <a:gd name="connsiteX7322" fmla="*/ 85249 w 6400800"/>
                <a:gd name="connsiteY7322" fmla="*/ 365284 h 514350"/>
                <a:gd name="connsiteX7323" fmla="*/ 91916 w 6400800"/>
                <a:gd name="connsiteY7323" fmla="*/ 341471 h 514350"/>
                <a:gd name="connsiteX7324" fmla="*/ 72866 w 6400800"/>
                <a:gd name="connsiteY7324" fmla="*/ 407194 h 514350"/>
                <a:gd name="connsiteX7325" fmla="*/ 72866 w 6400800"/>
                <a:gd name="connsiteY7325" fmla="*/ 409099 h 514350"/>
                <a:gd name="connsiteX7326" fmla="*/ 71914 w 6400800"/>
                <a:gd name="connsiteY7326" fmla="*/ 409099 h 514350"/>
                <a:gd name="connsiteX7327" fmla="*/ 72866 w 6400800"/>
                <a:gd name="connsiteY7327" fmla="*/ 407194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Lst>
              <a:rect l="l" t="t" r="r" b="b"/>
              <a:pathLst>
                <a:path w="6400800" h="514350">
                  <a:moveTo>
                    <a:pt x="7144" y="511016"/>
                  </a:moveTo>
                  <a:lnTo>
                    <a:pt x="6354604" y="511016"/>
                  </a:lnTo>
                  <a:lnTo>
                    <a:pt x="6354604" y="409099"/>
                  </a:lnTo>
                  <a:cubicBezTo>
                    <a:pt x="6346031" y="411004"/>
                    <a:pt x="6337459" y="413861"/>
                    <a:pt x="6327934" y="415766"/>
                  </a:cubicBezTo>
                  <a:cubicBezTo>
                    <a:pt x="6327934" y="411956"/>
                    <a:pt x="6327934" y="408146"/>
                    <a:pt x="6327934" y="404336"/>
                  </a:cubicBezTo>
                  <a:cubicBezTo>
                    <a:pt x="6328887" y="396716"/>
                    <a:pt x="6327934" y="389096"/>
                    <a:pt x="6328887" y="383381"/>
                  </a:cubicBezTo>
                  <a:cubicBezTo>
                    <a:pt x="6329839" y="371951"/>
                    <a:pt x="6329839" y="365284"/>
                    <a:pt x="6329839" y="365284"/>
                  </a:cubicBezTo>
                  <a:cubicBezTo>
                    <a:pt x="6329839" y="365284"/>
                    <a:pt x="6327934" y="371951"/>
                    <a:pt x="6324124" y="383381"/>
                  </a:cubicBezTo>
                  <a:cubicBezTo>
                    <a:pt x="6322219" y="389096"/>
                    <a:pt x="6321267" y="395764"/>
                    <a:pt x="6319362" y="404336"/>
                  </a:cubicBezTo>
                  <a:cubicBezTo>
                    <a:pt x="6318409" y="409099"/>
                    <a:pt x="6317456" y="413861"/>
                    <a:pt x="6316504" y="419576"/>
                  </a:cubicBezTo>
                  <a:cubicBezTo>
                    <a:pt x="6311742" y="420529"/>
                    <a:pt x="6306979" y="421481"/>
                    <a:pt x="6303169" y="423386"/>
                  </a:cubicBezTo>
                  <a:cubicBezTo>
                    <a:pt x="6303169" y="416719"/>
                    <a:pt x="6303169" y="411004"/>
                    <a:pt x="6304121" y="405289"/>
                  </a:cubicBezTo>
                  <a:cubicBezTo>
                    <a:pt x="6308884" y="390049"/>
                    <a:pt x="6314599" y="373856"/>
                    <a:pt x="6319362" y="358616"/>
                  </a:cubicBezTo>
                  <a:cubicBezTo>
                    <a:pt x="6320314" y="355759"/>
                    <a:pt x="6321267" y="352901"/>
                    <a:pt x="6322219" y="349091"/>
                  </a:cubicBezTo>
                  <a:cubicBezTo>
                    <a:pt x="6326029" y="336709"/>
                    <a:pt x="6330792" y="325279"/>
                    <a:pt x="6334601" y="312896"/>
                  </a:cubicBezTo>
                  <a:cubicBezTo>
                    <a:pt x="6340317" y="297656"/>
                    <a:pt x="6345079" y="283369"/>
                    <a:pt x="6349842" y="269081"/>
                  </a:cubicBezTo>
                  <a:cubicBezTo>
                    <a:pt x="6354604" y="254794"/>
                    <a:pt x="6359367" y="240506"/>
                    <a:pt x="6363176" y="228124"/>
                  </a:cubicBezTo>
                  <a:cubicBezTo>
                    <a:pt x="6367939" y="214789"/>
                    <a:pt x="6371749" y="202406"/>
                    <a:pt x="6375559" y="190976"/>
                  </a:cubicBezTo>
                  <a:cubicBezTo>
                    <a:pt x="6383179" y="168116"/>
                    <a:pt x="6388894" y="149066"/>
                    <a:pt x="6393656" y="134779"/>
                  </a:cubicBezTo>
                  <a:cubicBezTo>
                    <a:pt x="6397467" y="121444"/>
                    <a:pt x="6400324" y="113824"/>
                    <a:pt x="6400324" y="113824"/>
                  </a:cubicBezTo>
                  <a:cubicBezTo>
                    <a:pt x="6400324" y="113824"/>
                    <a:pt x="6396514" y="121444"/>
                    <a:pt x="6389846" y="133826"/>
                  </a:cubicBezTo>
                  <a:cubicBezTo>
                    <a:pt x="6386989" y="139541"/>
                    <a:pt x="6384131" y="146209"/>
                    <a:pt x="6380321" y="153829"/>
                  </a:cubicBezTo>
                  <a:cubicBezTo>
                    <a:pt x="6385084" y="136684"/>
                    <a:pt x="6389846" y="121444"/>
                    <a:pt x="6392704" y="110966"/>
                  </a:cubicBezTo>
                  <a:cubicBezTo>
                    <a:pt x="6396514" y="95726"/>
                    <a:pt x="6399371" y="87154"/>
                    <a:pt x="6399371" y="87154"/>
                  </a:cubicBezTo>
                  <a:cubicBezTo>
                    <a:pt x="6399371" y="87154"/>
                    <a:pt x="6395562" y="95726"/>
                    <a:pt x="6388894" y="109061"/>
                  </a:cubicBezTo>
                  <a:cubicBezTo>
                    <a:pt x="6386037" y="115729"/>
                    <a:pt x="6382226" y="125254"/>
                    <a:pt x="6377464" y="134779"/>
                  </a:cubicBezTo>
                  <a:cubicBezTo>
                    <a:pt x="6372701" y="144304"/>
                    <a:pt x="6367939" y="155734"/>
                    <a:pt x="6364129" y="168116"/>
                  </a:cubicBezTo>
                  <a:cubicBezTo>
                    <a:pt x="6354604" y="192881"/>
                    <a:pt x="6343174" y="222409"/>
                    <a:pt x="6332696" y="253841"/>
                  </a:cubicBezTo>
                  <a:cubicBezTo>
                    <a:pt x="6326981" y="270034"/>
                    <a:pt x="6321267" y="286226"/>
                    <a:pt x="6316504" y="302419"/>
                  </a:cubicBezTo>
                  <a:cubicBezTo>
                    <a:pt x="6315551" y="304324"/>
                    <a:pt x="6315551" y="306229"/>
                    <a:pt x="6314599" y="308134"/>
                  </a:cubicBezTo>
                  <a:cubicBezTo>
                    <a:pt x="6315551" y="300514"/>
                    <a:pt x="6316504" y="293846"/>
                    <a:pt x="6317456" y="287179"/>
                  </a:cubicBezTo>
                  <a:cubicBezTo>
                    <a:pt x="6318409" y="279559"/>
                    <a:pt x="6319362" y="272891"/>
                    <a:pt x="6319362" y="267176"/>
                  </a:cubicBezTo>
                  <a:cubicBezTo>
                    <a:pt x="6320314" y="256699"/>
                    <a:pt x="6320314" y="250031"/>
                    <a:pt x="6320314" y="250031"/>
                  </a:cubicBezTo>
                  <a:cubicBezTo>
                    <a:pt x="6320314" y="250031"/>
                    <a:pt x="6318409" y="255746"/>
                    <a:pt x="6314599" y="266224"/>
                  </a:cubicBezTo>
                  <a:cubicBezTo>
                    <a:pt x="6311742" y="276701"/>
                    <a:pt x="6306979" y="291941"/>
                    <a:pt x="6302217" y="310039"/>
                  </a:cubicBezTo>
                  <a:cubicBezTo>
                    <a:pt x="6299359" y="318611"/>
                    <a:pt x="6296501" y="329089"/>
                    <a:pt x="6293644" y="339566"/>
                  </a:cubicBezTo>
                  <a:cubicBezTo>
                    <a:pt x="6291739" y="347186"/>
                    <a:pt x="6288881" y="354806"/>
                    <a:pt x="6286976" y="362426"/>
                  </a:cubicBezTo>
                  <a:cubicBezTo>
                    <a:pt x="6286024" y="352901"/>
                    <a:pt x="6285071" y="343376"/>
                    <a:pt x="6284119" y="335756"/>
                  </a:cubicBezTo>
                  <a:cubicBezTo>
                    <a:pt x="6286024" y="330041"/>
                    <a:pt x="6286976" y="324326"/>
                    <a:pt x="6288881" y="318611"/>
                  </a:cubicBezTo>
                  <a:cubicBezTo>
                    <a:pt x="6293644" y="303371"/>
                    <a:pt x="6298406" y="289084"/>
                    <a:pt x="6302217" y="274796"/>
                  </a:cubicBezTo>
                  <a:cubicBezTo>
                    <a:pt x="6304121" y="268129"/>
                    <a:pt x="6306026" y="261461"/>
                    <a:pt x="6307931" y="255746"/>
                  </a:cubicBezTo>
                  <a:cubicBezTo>
                    <a:pt x="6309837" y="250031"/>
                    <a:pt x="6311742" y="244316"/>
                    <a:pt x="6313646" y="238601"/>
                  </a:cubicBezTo>
                  <a:cubicBezTo>
                    <a:pt x="6317456" y="228124"/>
                    <a:pt x="6320314" y="218599"/>
                    <a:pt x="6323171" y="210026"/>
                  </a:cubicBezTo>
                  <a:cubicBezTo>
                    <a:pt x="6327934" y="193834"/>
                    <a:pt x="6330792" y="185261"/>
                    <a:pt x="6330792" y="185261"/>
                  </a:cubicBezTo>
                  <a:cubicBezTo>
                    <a:pt x="6330792" y="185261"/>
                    <a:pt x="6326981" y="193834"/>
                    <a:pt x="6319362" y="208121"/>
                  </a:cubicBezTo>
                  <a:cubicBezTo>
                    <a:pt x="6315551" y="215741"/>
                    <a:pt x="6311742" y="224314"/>
                    <a:pt x="6306026" y="234791"/>
                  </a:cubicBezTo>
                  <a:cubicBezTo>
                    <a:pt x="6303169" y="239554"/>
                    <a:pt x="6301264" y="245269"/>
                    <a:pt x="6298406" y="250984"/>
                  </a:cubicBezTo>
                  <a:cubicBezTo>
                    <a:pt x="6295549" y="256699"/>
                    <a:pt x="6293644" y="263366"/>
                    <a:pt x="6290787" y="270034"/>
                  </a:cubicBezTo>
                  <a:cubicBezTo>
                    <a:pt x="6286976" y="279559"/>
                    <a:pt x="6282214" y="290036"/>
                    <a:pt x="6278404" y="301466"/>
                  </a:cubicBezTo>
                  <a:cubicBezTo>
                    <a:pt x="6277451" y="295751"/>
                    <a:pt x="6277451" y="292894"/>
                    <a:pt x="6277451" y="292894"/>
                  </a:cubicBezTo>
                  <a:cubicBezTo>
                    <a:pt x="6277451" y="292894"/>
                    <a:pt x="6277451" y="297656"/>
                    <a:pt x="6276499" y="306229"/>
                  </a:cubicBezTo>
                  <a:cubicBezTo>
                    <a:pt x="6275546" y="308134"/>
                    <a:pt x="6274594" y="310991"/>
                    <a:pt x="6273642" y="312896"/>
                  </a:cubicBezTo>
                  <a:cubicBezTo>
                    <a:pt x="6272689" y="315754"/>
                    <a:pt x="6271737" y="319564"/>
                    <a:pt x="6269831" y="322421"/>
                  </a:cubicBezTo>
                  <a:cubicBezTo>
                    <a:pt x="6270784" y="314801"/>
                    <a:pt x="6272689" y="308134"/>
                    <a:pt x="6273642" y="300514"/>
                  </a:cubicBezTo>
                  <a:cubicBezTo>
                    <a:pt x="6277451" y="283369"/>
                    <a:pt x="6280309" y="267176"/>
                    <a:pt x="6283167" y="252889"/>
                  </a:cubicBezTo>
                  <a:cubicBezTo>
                    <a:pt x="6285071" y="245269"/>
                    <a:pt x="6286024" y="238601"/>
                    <a:pt x="6287929" y="231934"/>
                  </a:cubicBezTo>
                  <a:cubicBezTo>
                    <a:pt x="6289834" y="225266"/>
                    <a:pt x="6290787" y="218599"/>
                    <a:pt x="6292692" y="212884"/>
                  </a:cubicBezTo>
                  <a:cubicBezTo>
                    <a:pt x="6295549" y="200501"/>
                    <a:pt x="6298406" y="190024"/>
                    <a:pt x="6300312" y="181451"/>
                  </a:cubicBezTo>
                  <a:cubicBezTo>
                    <a:pt x="6304121" y="164306"/>
                    <a:pt x="6306026" y="153829"/>
                    <a:pt x="6306026" y="153829"/>
                  </a:cubicBezTo>
                  <a:cubicBezTo>
                    <a:pt x="6306026" y="153829"/>
                    <a:pt x="6302217" y="163354"/>
                    <a:pt x="6296501" y="180499"/>
                  </a:cubicBezTo>
                  <a:cubicBezTo>
                    <a:pt x="6293644" y="189071"/>
                    <a:pt x="6289834" y="199549"/>
                    <a:pt x="6286024" y="210979"/>
                  </a:cubicBezTo>
                  <a:cubicBezTo>
                    <a:pt x="6284119" y="216694"/>
                    <a:pt x="6282214" y="223361"/>
                    <a:pt x="6279356" y="230029"/>
                  </a:cubicBezTo>
                  <a:cubicBezTo>
                    <a:pt x="6277451" y="236696"/>
                    <a:pt x="6275546" y="243364"/>
                    <a:pt x="6273642" y="250984"/>
                  </a:cubicBezTo>
                  <a:cubicBezTo>
                    <a:pt x="6269831" y="265271"/>
                    <a:pt x="6265069" y="281464"/>
                    <a:pt x="6260306" y="298609"/>
                  </a:cubicBezTo>
                  <a:cubicBezTo>
                    <a:pt x="6255544" y="315754"/>
                    <a:pt x="6251734" y="333851"/>
                    <a:pt x="6246971" y="351949"/>
                  </a:cubicBezTo>
                  <a:cubicBezTo>
                    <a:pt x="6244114" y="366236"/>
                    <a:pt x="6240304" y="381476"/>
                    <a:pt x="6236494" y="396716"/>
                  </a:cubicBezTo>
                  <a:cubicBezTo>
                    <a:pt x="6236494" y="395764"/>
                    <a:pt x="6235542" y="395764"/>
                    <a:pt x="6235542" y="394811"/>
                  </a:cubicBezTo>
                  <a:cubicBezTo>
                    <a:pt x="6235542" y="379571"/>
                    <a:pt x="6234589" y="370046"/>
                    <a:pt x="6234589" y="370046"/>
                  </a:cubicBezTo>
                  <a:cubicBezTo>
                    <a:pt x="6234589" y="370046"/>
                    <a:pt x="6233637" y="376714"/>
                    <a:pt x="6230779" y="389096"/>
                  </a:cubicBezTo>
                  <a:cubicBezTo>
                    <a:pt x="6229826" y="387191"/>
                    <a:pt x="6228874" y="386239"/>
                    <a:pt x="6227921" y="384334"/>
                  </a:cubicBezTo>
                  <a:cubicBezTo>
                    <a:pt x="6224112" y="378619"/>
                    <a:pt x="6220301" y="372904"/>
                    <a:pt x="6216492" y="367189"/>
                  </a:cubicBezTo>
                  <a:cubicBezTo>
                    <a:pt x="6218396" y="360521"/>
                    <a:pt x="6220301" y="354806"/>
                    <a:pt x="6223159" y="348139"/>
                  </a:cubicBezTo>
                  <a:cubicBezTo>
                    <a:pt x="6227921" y="334804"/>
                    <a:pt x="6232684" y="322421"/>
                    <a:pt x="6236494" y="310991"/>
                  </a:cubicBezTo>
                  <a:cubicBezTo>
                    <a:pt x="6240304" y="299561"/>
                    <a:pt x="6244114" y="289084"/>
                    <a:pt x="6247924" y="279559"/>
                  </a:cubicBezTo>
                  <a:cubicBezTo>
                    <a:pt x="6251734" y="270034"/>
                    <a:pt x="6254592" y="262414"/>
                    <a:pt x="6256496" y="254794"/>
                  </a:cubicBezTo>
                  <a:cubicBezTo>
                    <a:pt x="6261259" y="241459"/>
                    <a:pt x="6264117" y="233839"/>
                    <a:pt x="6264117" y="233839"/>
                  </a:cubicBezTo>
                  <a:cubicBezTo>
                    <a:pt x="6264117" y="233839"/>
                    <a:pt x="6260306" y="241459"/>
                    <a:pt x="6252687" y="253841"/>
                  </a:cubicBezTo>
                  <a:cubicBezTo>
                    <a:pt x="6248876" y="260509"/>
                    <a:pt x="6245067" y="268129"/>
                    <a:pt x="6240304" y="276701"/>
                  </a:cubicBezTo>
                  <a:cubicBezTo>
                    <a:pt x="6235542" y="285274"/>
                    <a:pt x="6230779" y="295751"/>
                    <a:pt x="6225064" y="307181"/>
                  </a:cubicBezTo>
                  <a:cubicBezTo>
                    <a:pt x="6220301" y="318611"/>
                    <a:pt x="6214587" y="330994"/>
                    <a:pt x="6208871" y="343376"/>
                  </a:cubicBezTo>
                  <a:cubicBezTo>
                    <a:pt x="6207919" y="346234"/>
                    <a:pt x="6206014" y="349091"/>
                    <a:pt x="6205062" y="351949"/>
                  </a:cubicBezTo>
                  <a:cubicBezTo>
                    <a:pt x="6205062" y="351949"/>
                    <a:pt x="6204109" y="350996"/>
                    <a:pt x="6204109" y="350996"/>
                  </a:cubicBezTo>
                  <a:cubicBezTo>
                    <a:pt x="6206967" y="340519"/>
                    <a:pt x="6208871" y="330041"/>
                    <a:pt x="6210776" y="320516"/>
                  </a:cubicBezTo>
                  <a:cubicBezTo>
                    <a:pt x="6214587" y="298609"/>
                    <a:pt x="6219349" y="280511"/>
                    <a:pt x="6222206" y="268129"/>
                  </a:cubicBezTo>
                  <a:cubicBezTo>
                    <a:pt x="6225064" y="255746"/>
                    <a:pt x="6226017" y="248126"/>
                    <a:pt x="6226017" y="248126"/>
                  </a:cubicBezTo>
                  <a:cubicBezTo>
                    <a:pt x="6226017" y="248126"/>
                    <a:pt x="6223159" y="254794"/>
                    <a:pt x="6218396" y="267176"/>
                  </a:cubicBezTo>
                  <a:cubicBezTo>
                    <a:pt x="6216492" y="272891"/>
                    <a:pt x="6213634" y="280511"/>
                    <a:pt x="6209824" y="289084"/>
                  </a:cubicBezTo>
                  <a:cubicBezTo>
                    <a:pt x="6206967" y="297656"/>
                    <a:pt x="6203156" y="307181"/>
                    <a:pt x="6199346" y="317659"/>
                  </a:cubicBezTo>
                  <a:cubicBezTo>
                    <a:pt x="6197442" y="323374"/>
                    <a:pt x="6195537" y="330041"/>
                    <a:pt x="6193631" y="335756"/>
                  </a:cubicBezTo>
                  <a:cubicBezTo>
                    <a:pt x="6190774" y="330994"/>
                    <a:pt x="6186964" y="326231"/>
                    <a:pt x="6184106" y="322421"/>
                  </a:cubicBezTo>
                  <a:cubicBezTo>
                    <a:pt x="6183154" y="321469"/>
                    <a:pt x="6182201" y="320516"/>
                    <a:pt x="6181249" y="318611"/>
                  </a:cubicBezTo>
                  <a:cubicBezTo>
                    <a:pt x="6182201" y="312896"/>
                    <a:pt x="6183154" y="307181"/>
                    <a:pt x="6184106" y="302419"/>
                  </a:cubicBezTo>
                  <a:cubicBezTo>
                    <a:pt x="6186012" y="291941"/>
                    <a:pt x="6186964" y="282416"/>
                    <a:pt x="6189821" y="274796"/>
                  </a:cubicBezTo>
                  <a:cubicBezTo>
                    <a:pt x="6193631" y="259556"/>
                    <a:pt x="6195537" y="250984"/>
                    <a:pt x="6195537" y="250984"/>
                  </a:cubicBezTo>
                  <a:cubicBezTo>
                    <a:pt x="6195537" y="250984"/>
                    <a:pt x="6191726" y="259556"/>
                    <a:pt x="6186012" y="273844"/>
                  </a:cubicBezTo>
                  <a:cubicBezTo>
                    <a:pt x="6183154" y="280511"/>
                    <a:pt x="6180296" y="290036"/>
                    <a:pt x="6176487" y="300514"/>
                  </a:cubicBezTo>
                  <a:cubicBezTo>
                    <a:pt x="6175534" y="303371"/>
                    <a:pt x="6174581" y="306229"/>
                    <a:pt x="6173629" y="309086"/>
                  </a:cubicBezTo>
                  <a:cubicBezTo>
                    <a:pt x="6173629" y="309086"/>
                    <a:pt x="6172676" y="308134"/>
                    <a:pt x="6172676" y="308134"/>
                  </a:cubicBezTo>
                  <a:cubicBezTo>
                    <a:pt x="6173629" y="303371"/>
                    <a:pt x="6174581" y="298609"/>
                    <a:pt x="6174581" y="294799"/>
                  </a:cubicBezTo>
                  <a:cubicBezTo>
                    <a:pt x="6176487" y="283369"/>
                    <a:pt x="6178392" y="272891"/>
                    <a:pt x="6180296" y="263366"/>
                  </a:cubicBezTo>
                  <a:cubicBezTo>
                    <a:pt x="6182201" y="253841"/>
                    <a:pt x="6184106" y="244316"/>
                    <a:pt x="6185059" y="236696"/>
                  </a:cubicBezTo>
                  <a:cubicBezTo>
                    <a:pt x="6186964" y="229076"/>
                    <a:pt x="6187917" y="221456"/>
                    <a:pt x="6188869" y="215741"/>
                  </a:cubicBezTo>
                  <a:cubicBezTo>
                    <a:pt x="6190774" y="204311"/>
                    <a:pt x="6192679" y="197644"/>
                    <a:pt x="6192679" y="197644"/>
                  </a:cubicBezTo>
                  <a:cubicBezTo>
                    <a:pt x="6192679" y="197644"/>
                    <a:pt x="6189821" y="203359"/>
                    <a:pt x="6185059" y="214789"/>
                  </a:cubicBezTo>
                  <a:cubicBezTo>
                    <a:pt x="6180296" y="225266"/>
                    <a:pt x="6174581" y="241459"/>
                    <a:pt x="6168867" y="260509"/>
                  </a:cubicBezTo>
                  <a:cubicBezTo>
                    <a:pt x="6166962" y="267176"/>
                    <a:pt x="6165056" y="273844"/>
                    <a:pt x="6163151" y="280511"/>
                  </a:cubicBezTo>
                  <a:cubicBezTo>
                    <a:pt x="6161246" y="270034"/>
                    <a:pt x="6160294" y="261461"/>
                    <a:pt x="6159342" y="253841"/>
                  </a:cubicBezTo>
                  <a:cubicBezTo>
                    <a:pt x="6156484" y="235744"/>
                    <a:pt x="6154579" y="225266"/>
                    <a:pt x="6154579" y="225266"/>
                  </a:cubicBezTo>
                  <a:cubicBezTo>
                    <a:pt x="6154579" y="225266"/>
                    <a:pt x="6155531" y="248126"/>
                    <a:pt x="6156484" y="285274"/>
                  </a:cubicBezTo>
                  <a:cubicBezTo>
                    <a:pt x="6151721" y="278606"/>
                    <a:pt x="6146959" y="272891"/>
                    <a:pt x="6143149" y="268129"/>
                  </a:cubicBezTo>
                  <a:cubicBezTo>
                    <a:pt x="6143149" y="268129"/>
                    <a:pt x="6143149" y="267176"/>
                    <a:pt x="6143149" y="267176"/>
                  </a:cubicBezTo>
                  <a:cubicBezTo>
                    <a:pt x="6144101" y="263366"/>
                    <a:pt x="6145054" y="259556"/>
                    <a:pt x="6146006" y="256699"/>
                  </a:cubicBezTo>
                  <a:cubicBezTo>
                    <a:pt x="6156484" y="210026"/>
                    <a:pt x="6161246" y="178594"/>
                    <a:pt x="6161246" y="178594"/>
                  </a:cubicBezTo>
                  <a:cubicBezTo>
                    <a:pt x="6161246" y="178594"/>
                    <a:pt x="6158389" y="186214"/>
                    <a:pt x="6152674" y="200501"/>
                  </a:cubicBezTo>
                  <a:cubicBezTo>
                    <a:pt x="6152674" y="199549"/>
                    <a:pt x="6152674" y="198596"/>
                    <a:pt x="6152674" y="197644"/>
                  </a:cubicBezTo>
                  <a:cubicBezTo>
                    <a:pt x="6154579" y="188119"/>
                    <a:pt x="6155531" y="179546"/>
                    <a:pt x="6156484" y="172879"/>
                  </a:cubicBezTo>
                  <a:cubicBezTo>
                    <a:pt x="6158389" y="158591"/>
                    <a:pt x="6160294" y="150971"/>
                    <a:pt x="6160294" y="150971"/>
                  </a:cubicBezTo>
                  <a:cubicBezTo>
                    <a:pt x="6160294" y="150971"/>
                    <a:pt x="6157437" y="158591"/>
                    <a:pt x="6152674" y="171926"/>
                  </a:cubicBezTo>
                  <a:cubicBezTo>
                    <a:pt x="6150769" y="178594"/>
                    <a:pt x="6147912" y="187166"/>
                    <a:pt x="6145054" y="196691"/>
                  </a:cubicBezTo>
                  <a:cubicBezTo>
                    <a:pt x="6143149" y="204311"/>
                    <a:pt x="6140292" y="211931"/>
                    <a:pt x="6138387" y="220504"/>
                  </a:cubicBezTo>
                  <a:cubicBezTo>
                    <a:pt x="6136481" y="209074"/>
                    <a:pt x="6135529" y="202406"/>
                    <a:pt x="6135529" y="202406"/>
                  </a:cubicBezTo>
                  <a:cubicBezTo>
                    <a:pt x="6135529" y="202406"/>
                    <a:pt x="6135529" y="209074"/>
                    <a:pt x="6134576" y="221456"/>
                  </a:cubicBezTo>
                  <a:cubicBezTo>
                    <a:pt x="6134576" y="227171"/>
                    <a:pt x="6132671" y="234791"/>
                    <a:pt x="6132671" y="242411"/>
                  </a:cubicBezTo>
                  <a:cubicBezTo>
                    <a:pt x="6132671" y="244316"/>
                    <a:pt x="6131719" y="246221"/>
                    <a:pt x="6131719" y="249079"/>
                  </a:cubicBezTo>
                  <a:cubicBezTo>
                    <a:pt x="6131719" y="250984"/>
                    <a:pt x="6130767" y="251936"/>
                    <a:pt x="6130767" y="253841"/>
                  </a:cubicBezTo>
                  <a:cubicBezTo>
                    <a:pt x="6129814" y="252889"/>
                    <a:pt x="6129814" y="251936"/>
                    <a:pt x="6129814" y="251936"/>
                  </a:cubicBezTo>
                  <a:cubicBezTo>
                    <a:pt x="6129814" y="251936"/>
                    <a:pt x="6129814" y="252889"/>
                    <a:pt x="6130767" y="254794"/>
                  </a:cubicBezTo>
                  <a:cubicBezTo>
                    <a:pt x="6130767" y="256699"/>
                    <a:pt x="6129814" y="258604"/>
                    <a:pt x="6129814" y="261461"/>
                  </a:cubicBezTo>
                  <a:cubicBezTo>
                    <a:pt x="6129814" y="250031"/>
                    <a:pt x="6129814" y="243364"/>
                    <a:pt x="6129814" y="243364"/>
                  </a:cubicBezTo>
                  <a:cubicBezTo>
                    <a:pt x="6129814" y="243364"/>
                    <a:pt x="6127909" y="254794"/>
                    <a:pt x="6126004" y="274796"/>
                  </a:cubicBezTo>
                  <a:cubicBezTo>
                    <a:pt x="6126004" y="276701"/>
                    <a:pt x="6126004" y="279559"/>
                    <a:pt x="6125051" y="281464"/>
                  </a:cubicBezTo>
                  <a:cubicBezTo>
                    <a:pt x="6124099" y="275749"/>
                    <a:pt x="6123146" y="270986"/>
                    <a:pt x="6122194" y="267176"/>
                  </a:cubicBezTo>
                  <a:cubicBezTo>
                    <a:pt x="6119337" y="251936"/>
                    <a:pt x="6117431" y="243364"/>
                    <a:pt x="6117431" y="243364"/>
                  </a:cubicBezTo>
                  <a:cubicBezTo>
                    <a:pt x="6117431" y="243364"/>
                    <a:pt x="6117431" y="251936"/>
                    <a:pt x="6118384" y="267176"/>
                  </a:cubicBezTo>
                  <a:cubicBezTo>
                    <a:pt x="6118384" y="275749"/>
                    <a:pt x="6119337" y="287179"/>
                    <a:pt x="6119337" y="300514"/>
                  </a:cubicBezTo>
                  <a:cubicBezTo>
                    <a:pt x="6117431" y="306229"/>
                    <a:pt x="6115526" y="311944"/>
                    <a:pt x="6114574" y="317659"/>
                  </a:cubicBezTo>
                  <a:cubicBezTo>
                    <a:pt x="6114574" y="313849"/>
                    <a:pt x="6114574" y="310991"/>
                    <a:pt x="6114574" y="307181"/>
                  </a:cubicBezTo>
                  <a:cubicBezTo>
                    <a:pt x="6113621" y="299561"/>
                    <a:pt x="6113621" y="292894"/>
                    <a:pt x="6112669" y="286226"/>
                  </a:cubicBezTo>
                  <a:cubicBezTo>
                    <a:pt x="6111717" y="279559"/>
                    <a:pt x="6110764" y="274796"/>
                    <a:pt x="6109812" y="270986"/>
                  </a:cubicBezTo>
                  <a:cubicBezTo>
                    <a:pt x="6106954" y="262414"/>
                    <a:pt x="6105049" y="258604"/>
                    <a:pt x="6105049" y="258604"/>
                  </a:cubicBezTo>
                  <a:cubicBezTo>
                    <a:pt x="6105049" y="258604"/>
                    <a:pt x="6105049" y="263366"/>
                    <a:pt x="6106001" y="272891"/>
                  </a:cubicBezTo>
                  <a:cubicBezTo>
                    <a:pt x="6106001" y="275749"/>
                    <a:pt x="6106001" y="278606"/>
                    <a:pt x="6106001" y="282416"/>
                  </a:cubicBezTo>
                  <a:cubicBezTo>
                    <a:pt x="6105049" y="279559"/>
                    <a:pt x="6105049" y="276701"/>
                    <a:pt x="6104096" y="273844"/>
                  </a:cubicBezTo>
                  <a:cubicBezTo>
                    <a:pt x="6103144" y="271939"/>
                    <a:pt x="6103144" y="270034"/>
                    <a:pt x="6102192" y="268129"/>
                  </a:cubicBezTo>
                  <a:cubicBezTo>
                    <a:pt x="6102192" y="263366"/>
                    <a:pt x="6101239" y="258604"/>
                    <a:pt x="6101239" y="253841"/>
                  </a:cubicBezTo>
                  <a:cubicBezTo>
                    <a:pt x="6102192" y="251936"/>
                    <a:pt x="6102192" y="249079"/>
                    <a:pt x="6103144" y="247174"/>
                  </a:cubicBezTo>
                  <a:cubicBezTo>
                    <a:pt x="6105049" y="238601"/>
                    <a:pt x="6106954" y="230981"/>
                    <a:pt x="6107906" y="225266"/>
                  </a:cubicBezTo>
                  <a:cubicBezTo>
                    <a:pt x="6110764" y="212884"/>
                    <a:pt x="6111717" y="205264"/>
                    <a:pt x="6111717" y="205264"/>
                  </a:cubicBezTo>
                  <a:cubicBezTo>
                    <a:pt x="6111717" y="205264"/>
                    <a:pt x="6108859" y="211931"/>
                    <a:pt x="6104096" y="223361"/>
                  </a:cubicBezTo>
                  <a:cubicBezTo>
                    <a:pt x="6103144" y="227171"/>
                    <a:pt x="6101239" y="230981"/>
                    <a:pt x="6099334" y="234791"/>
                  </a:cubicBezTo>
                  <a:cubicBezTo>
                    <a:pt x="6098381" y="220504"/>
                    <a:pt x="6097429" y="210026"/>
                    <a:pt x="6096476" y="206216"/>
                  </a:cubicBezTo>
                  <a:cubicBezTo>
                    <a:pt x="6096476" y="204311"/>
                    <a:pt x="6097429" y="201454"/>
                    <a:pt x="6097429" y="199549"/>
                  </a:cubicBezTo>
                  <a:cubicBezTo>
                    <a:pt x="6099334" y="191929"/>
                    <a:pt x="6100287" y="184309"/>
                    <a:pt x="6101239" y="177641"/>
                  </a:cubicBezTo>
                  <a:cubicBezTo>
                    <a:pt x="6102192" y="170974"/>
                    <a:pt x="6103144" y="163354"/>
                    <a:pt x="6104096" y="157639"/>
                  </a:cubicBezTo>
                  <a:cubicBezTo>
                    <a:pt x="6106001" y="145256"/>
                    <a:pt x="6106954" y="133826"/>
                    <a:pt x="6107906" y="124301"/>
                  </a:cubicBezTo>
                  <a:cubicBezTo>
                    <a:pt x="6109812" y="106204"/>
                    <a:pt x="6110764" y="95726"/>
                    <a:pt x="6110764" y="95726"/>
                  </a:cubicBezTo>
                  <a:cubicBezTo>
                    <a:pt x="6110764" y="95726"/>
                    <a:pt x="6107906" y="106204"/>
                    <a:pt x="6104096" y="124301"/>
                  </a:cubicBezTo>
                  <a:cubicBezTo>
                    <a:pt x="6102192" y="132874"/>
                    <a:pt x="6099334" y="144304"/>
                    <a:pt x="6096476" y="156686"/>
                  </a:cubicBezTo>
                  <a:cubicBezTo>
                    <a:pt x="6095524" y="163354"/>
                    <a:pt x="6093619" y="170021"/>
                    <a:pt x="6091714" y="176689"/>
                  </a:cubicBezTo>
                  <a:cubicBezTo>
                    <a:pt x="6089809" y="183356"/>
                    <a:pt x="6087904" y="190976"/>
                    <a:pt x="6085999" y="198596"/>
                  </a:cubicBezTo>
                  <a:cubicBezTo>
                    <a:pt x="6085046" y="203359"/>
                    <a:pt x="6083142" y="209074"/>
                    <a:pt x="6081237" y="214789"/>
                  </a:cubicBezTo>
                  <a:cubicBezTo>
                    <a:pt x="6077426" y="206216"/>
                    <a:pt x="6074569" y="201454"/>
                    <a:pt x="6074569" y="201454"/>
                  </a:cubicBezTo>
                  <a:cubicBezTo>
                    <a:pt x="6074569" y="201454"/>
                    <a:pt x="6076474" y="208121"/>
                    <a:pt x="6079331" y="219551"/>
                  </a:cubicBezTo>
                  <a:cubicBezTo>
                    <a:pt x="6078379" y="222409"/>
                    <a:pt x="6076474" y="225266"/>
                    <a:pt x="6073617" y="230029"/>
                  </a:cubicBezTo>
                  <a:cubicBezTo>
                    <a:pt x="6072664" y="231934"/>
                    <a:pt x="6071712" y="234791"/>
                    <a:pt x="6069806" y="237649"/>
                  </a:cubicBezTo>
                  <a:cubicBezTo>
                    <a:pt x="6069806" y="233839"/>
                    <a:pt x="6069806" y="230981"/>
                    <a:pt x="6069806" y="228124"/>
                  </a:cubicBezTo>
                  <a:cubicBezTo>
                    <a:pt x="6069806" y="213836"/>
                    <a:pt x="6069806" y="205264"/>
                    <a:pt x="6069806" y="205264"/>
                  </a:cubicBezTo>
                  <a:cubicBezTo>
                    <a:pt x="6069806" y="205264"/>
                    <a:pt x="6067901" y="213836"/>
                    <a:pt x="6065996" y="228124"/>
                  </a:cubicBezTo>
                  <a:cubicBezTo>
                    <a:pt x="6065044" y="235744"/>
                    <a:pt x="6063139" y="243364"/>
                    <a:pt x="6061234" y="253841"/>
                  </a:cubicBezTo>
                  <a:cubicBezTo>
                    <a:pt x="6060281" y="256699"/>
                    <a:pt x="6060281" y="259556"/>
                    <a:pt x="6059329" y="263366"/>
                  </a:cubicBezTo>
                  <a:cubicBezTo>
                    <a:pt x="6058376" y="265271"/>
                    <a:pt x="6058376" y="267176"/>
                    <a:pt x="6057424" y="268129"/>
                  </a:cubicBezTo>
                  <a:cubicBezTo>
                    <a:pt x="6054567" y="275749"/>
                    <a:pt x="6051709" y="285274"/>
                    <a:pt x="6048851" y="294799"/>
                  </a:cubicBezTo>
                  <a:cubicBezTo>
                    <a:pt x="6045994" y="304324"/>
                    <a:pt x="6044089" y="313849"/>
                    <a:pt x="6041231" y="324326"/>
                  </a:cubicBezTo>
                  <a:cubicBezTo>
                    <a:pt x="6041231" y="324326"/>
                    <a:pt x="6041231" y="325279"/>
                    <a:pt x="6041231" y="325279"/>
                  </a:cubicBezTo>
                  <a:cubicBezTo>
                    <a:pt x="6038374" y="318611"/>
                    <a:pt x="6036469" y="311944"/>
                    <a:pt x="6033612" y="306229"/>
                  </a:cubicBezTo>
                  <a:cubicBezTo>
                    <a:pt x="6032659" y="303371"/>
                    <a:pt x="6030754" y="299561"/>
                    <a:pt x="6029801" y="296704"/>
                  </a:cubicBezTo>
                  <a:cubicBezTo>
                    <a:pt x="6029801" y="296704"/>
                    <a:pt x="6029801" y="295751"/>
                    <a:pt x="6029801" y="295751"/>
                  </a:cubicBezTo>
                  <a:cubicBezTo>
                    <a:pt x="6030754" y="290036"/>
                    <a:pt x="6031706" y="285274"/>
                    <a:pt x="6031706" y="281464"/>
                  </a:cubicBezTo>
                  <a:cubicBezTo>
                    <a:pt x="6032659" y="272891"/>
                    <a:pt x="6033612" y="269081"/>
                    <a:pt x="6033612" y="269081"/>
                  </a:cubicBezTo>
                  <a:cubicBezTo>
                    <a:pt x="6033612" y="269081"/>
                    <a:pt x="6031706" y="272891"/>
                    <a:pt x="6027896" y="280511"/>
                  </a:cubicBezTo>
                  <a:cubicBezTo>
                    <a:pt x="6026944" y="282416"/>
                    <a:pt x="6025992" y="284321"/>
                    <a:pt x="6025039" y="286226"/>
                  </a:cubicBezTo>
                  <a:cubicBezTo>
                    <a:pt x="6023134" y="281464"/>
                    <a:pt x="6021229" y="276701"/>
                    <a:pt x="6020276" y="272891"/>
                  </a:cubicBezTo>
                  <a:cubicBezTo>
                    <a:pt x="6013609" y="254794"/>
                    <a:pt x="6008846" y="244316"/>
                    <a:pt x="6008846" y="244316"/>
                  </a:cubicBezTo>
                  <a:cubicBezTo>
                    <a:pt x="6008846" y="244316"/>
                    <a:pt x="6011704" y="254794"/>
                    <a:pt x="6016467" y="273844"/>
                  </a:cubicBezTo>
                  <a:cubicBezTo>
                    <a:pt x="6018371" y="279559"/>
                    <a:pt x="6020276" y="286226"/>
                    <a:pt x="6022181" y="293846"/>
                  </a:cubicBezTo>
                  <a:cubicBezTo>
                    <a:pt x="6021229" y="296704"/>
                    <a:pt x="6020276" y="299561"/>
                    <a:pt x="6019324" y="302419"/>
                  </a:cubicBezTo>
                  <a:cubicBezTo>
                    <a:pt x="6018371" y="305276"/>
                    <a:pt x="6017419" y="309086"/>
                    <a:pt x="6016467" y="311944"/>
                  </a:cubicBezTo>
                  <a:cubicBezTo>
                    <a:pt x="6014562" y="318611"/>
                    <a:pt x="6012656" y="326231"/>
                    <a:pt x="6010751" y="333851"/>
                  </a:cubicBezTo>
                  <a:cubicBezTo>
                    <a:pt x="6010751" y="333851"/>
                    <a:pt x="6010751" y="334804"/>
                    <a:pt x="6010751" y="334804"/>
                  </a:cubicBezTo>
                  <a:cubicBezTo>
                    <a:pt x="6007894" y="330041"/>
                    <a:pt x="6005989" y="325279"/>
                    <a:pt x="6003131" y="320516"/>
                  </a:cubicBezTo>
                  <a:cubicBezTo>
                    <a:pt x="6001226" y="316706"/>
                    <a:pt x="5999321" y="312896"/>
                    <a:pt x="5996464" y="308134"/>
                  </a:cubicBezTo>
                  <a:cubicBezTo>
                    <a:pt x="5997417" y="306229"/>
                    <a:pt x="5998369" y="304324"/>
                    <a:pt x="5999321" y="302419"/>
                  </a:cubicBezTo>
                  <a:cubicBezTo>
                    <a:pt x="6002179" y="294799"/>
                    <a:pt x="6005037" y="289084"/>
                    <a:pt x="6007894" y="283369"/>
                  </a:cubicBezTo>
                  <a:cubicBezTo>
                    <a:pt x="6012656" y="272891"/>
                    <a:pt x="6014562" y="267176"/>
                    <a:pt x="6014562" y="267176"/>
                  </a:cubicBezTo>
                  <a:cubicBezTo>
                    <a:pt x="6014562" y="267176"/>
                    <a:pt x="6010751" y="272891"/>
                    <a:pt x="6004084" y="281464"/>
                  </a:cubicBezTo>
                  <a:cubicBezTo>
                    <a:pt x="6001226" y="286226"/>
                    <a:pt x="5997417" y="291941"/>
                    <a:pt x="5993606" y="297656"/>
                  </a:cubicBezTo>
                  <a:cubicBezTo>
                    <a:pt x="5992654" y="289084"/>
                    <a:pt x="5990749" y="281464"/>
                    <a:pt x="5989796" y="273844"/>
                  </a:cubicBezTo>
                  <a:cubicBezTo>
                    <a:pt x="5990749" y="266224"/>
                    <a:pt x="5990749" y="258604"/>
                    <a:pt x="5991701" y="250984"/>
                  </a:cubicBezTo>
                  <a:cubicBezTo>
                    <a:pt x="5992654" y="235744"/>
                    <a:pt x="5995512" y="223361"/>
                    <a:pt x="5997417" y="212884"/>
                  </a:cubicBezTo>
                  <a:cubicBezTo>
                    <a:pt x="6001226" y="191929"/>
                    <a:pt x="6003131" y="179546"/>
                    <a:pt x="6003131" y="179546"/>
                  </a:cubicBezTo>
                  <a:cubicBezTo>
                    <a:pt x="6003131" y="179546"/>
                    <a:pt x="5999321" y="190976"/>
                    <a:pt x="5993606" y="211931"/>
                  </a:cubicBezTo>
                  <a:cubicBezTo>
                    <a:pt x="5990749" y="222409"/>
                    <a:pt x="5986939" y="233839"/>
                    <a:pt x="5985034" y="248126"/>
                  </a:cubicBezTo>
                  <a:cubicBezTo>
                    <a:pt x="5981224" y="233839"/>
                    <a:pt x="5978367" y="219551"/>
                    <a:pt x="5974556" y="206216"/>
                  </a:cubicBezTo>
                  <a:cubicBezTo>
                    <a:pt x="5974556" y="206216"/>
                    <a:pt x="5974556" y="206216"/>
                    <a:pt x="5974556" y="206216"/>
                  </a:cubicBezTo>
                  <a:cubicBezTo>
                    <a:pt x="5975509" y="195739"/>
                    <a:pt x="5976462" y="186214"/>
                    <a:pt x="5977414" y="178594"/>
                  </a:cubicBezTo>
                  <a:cubicBezTo>
                    <a:pt x="5978367" y="163354"/>
                    <a:pt x="5979319" y="153829"/>
                    <a:pt x="5979319" y="153829"/>
                  </a:cubicBezTo>
                  <a:cubicBezTo>
                    <a:pt x="5979319" y="153829"/>
                    <a:pt x="5977414" y="162401"/>
                    <a:pt x="5973604" y="177641"/>
                  </a:cubicBezTo>
                  <a:cubicBezTo>
                    <a:pt x="5972651" y="181451"/>
                    <a:pt x="5971699" y="186214"/>
                    <a:pt x="5969794" y="191929"/>
                  </a:cubicBezTo>
                  <a:cubicBezTo>
                    <a:pt x="5965984" y="180499"/>
                    <a:pt x="5963126" y="170021"/>
                    <a:pt x="5959317" y="160496"/>
                  </a:cubicBezTo>
                  <a:cubicBezTo>
                    <a:pt x="5954554" y="148114"/>
                    <a:pt x="5950744" y="137636"/>
                    <a:pt x="5946934" y="130016"/>
                  </a:cubicBezTo>
                  <a:cubicBezTo>
                    <a:pt x="5939314" y="112871"/>
                    <a:pt x="5934551" y="104299"/>
                    <a:pt x="5934551" y="104299"/>
                  </a:cubicBezTo>
                  <a:cubicBezTo>
                    <a:pt x="5934551" y="104299"/>
                    <a:pt x="5937409" y="113824"/>
                    <a:pt x="5943124" y="131921"/>
                  </a:cubicBezTo>
                  <a:cubicBezTo>
                    <a:pt x="5945981" y="140494"/>
                    <a:pt x="5948839" y="150971"/>
                    <a:pt x="5951696" y="163354"/>
                  </a:cubicBezTo>
                  <a:cubicBezTo>
                    <a:pt x="5955506" y="175736"/>
                    <a:pt x="5957412" y="189071"/>
                    <a:pt x="5961221" y="204311"/>
                  </a:cubicBezTo>
                  <a:cubicBezTo>
                    <a:pt x="5962174" y="208121"/>
                    <a:pt x="5963126" y="212884"/>
                    <a:pt x="5964079" y="216694"/>
                  </a:cubicBezTo>
                  <a:cubicBezTo>
                    <a:pt x="5964079" y="218599"/>
                    <a:pt x="5963126" y="220504"/>
                    <a:pt x="5962174" y="222409"/>
                  </a:cubicBezTo>
                  <a:cubicBezTo>
                    <a:pt x="5961221" y="226219"/>
                    <a:pt x="5959317" y="230981"/>
                    <a:pt x="5958364" y="235744"/>
                  </a:cubicBezTo>
                  <a:cubicBezTo>
                    <a:pt x="5957412" y="234791"/>
                    <a:pt x="5957412" y="233839"/>
                    <a:pt x="5956459" y="232886"/>
                  </a:cubicBezTo>
                  <a:cubicBezTo>
                    <a:pt x="5956459" y="231934"/>
                    <a:pt x="5956459" y="231934"/>
                    <a:pt x="5956459" y="231934"/>
                  </a:cubicBezTo>
                  <a:cubicBezTo>
                    <a:pt x="5956459" y="231934"/>
                    <a:pt x="5956459" y="231934"/>
                    <a:pt x="5956459" y="232886"/>
                  </a:cubicBezTo>
                  <a:cubicBezTo>
                    <a:pt x="5948839" y="219551"/>
                    <a:pt x="5943124" y="208121"/>
                    <a:pt x="5938362" y="199549"/>
                  </a:cubicBezTo>
                  <a:cubicBezTo>
                    <a:pt x="5931694" y="187166"/>
                    <a:pt x="5927884" y="180499"/>
                    <a:pt x="5927884" y="180499"/>
                  </a:cubicBezTo>
                  <a:cubicBezTo>
                    <a:pt x="5927884" y="180499"/>
                    <a:pt x="5937409" y="209074"/>
                    <a:pt x="5953601" y="250984"/>
                  </a:cubicBezTo>
                  <a:cubicBezTo>
                    <a:pt x="5953601" y="252889"/>
                    <a:pt x="5952649" y="253841"/>
                    <a:pt x="5952649" y="255746"/>
                  </a:cubicBezTo>
                  <a:cubicBezTo>
                    <a:pt x="5949792" y="264319"/>
                    <a:pt x="5947887" y="272891"/>
                    <a:pt x="5945029" y="282416"/>
                  </a:cubicBezTo>
                  <a:cubicBezTo>
                    <a:pt x="5945029" y="283369"/>
                    <a:pt x="5944076" y="284321"/>
                    <a:pt x="5944076" y="285274"/>
                  </a:cubicBezTo>
                  <a:cubicBezTo>
                    <a:pt x="5943124" y="280511"/>
                    <a:pt x="5941219" y="275749"/>
                    <a:pt x="5940267" y="271939"/>
                  </a:cubicBezTo>
                  <a:cubicBezTo>
                    <a:pt x="5936456" y="259556"/>
                    <a:pt x="5932646" y="247174"/>
                    <a:pt x="5928837" y="237649"/>
                  </a:cubicBezTo>
                  <a:cubicBezTo>
                    <a:pt x="5925979" y="230981"/>
                    <a:pt x="5924074" y="225266"/>
                    <a:pt x="5922169" y="220504"/>
                  </a:cubicBezTo>
                  <a:cubicBezTo>
                    <a:pt x="5923121" y="217646"/>
                    <a:pt x="5923121" y="216694"/>
                    <a:pt x="5923121" y="216694"/>
                  </a:cubicBezTo>
                  <a:cubicBezTo>
                    <a:pt x="5923121" y="216694"/>
                    <a:pt x="5922169" y="217646"/>
                    <a:pt x="5921217" y="219551"/>
                  </a:cubicBezTo>
                  <a:cubicBezTo>
                    <a:pt x="5920264" y="216694"/>
                    <a:pt x="5919312" y="213836"/>
                    <a:pt x="5917406" y="211931"/>
                  </a:cubicBezTo>
                  <a:cubicBezTo>
                    <a:pt x="5913596" y="204311"/>
                    <a:pt x="5910739" y="198596"/>
                    <a:pt x="5908834" y="194786"/>
                  </a:cubicBezTo>
                  <a:cubicBezTo>
                    <a:pt x="5908834" y="190976"/>
                    <a:pt x="5907881" y="187166"/>
                    <a:pt x="5907881" y="183356"/>
                  </a:cubicBezTo>
                  <a:cubicBezTo>
                    <a:pt x="5905976" y="168116"/>
                    <a:pt x="5905024" y="159544"/>
                    <a:pt x="5905024" y="159544"/>
                  </a:cubicBezTo>
                  <a:cubicBezTo>
                    <a:pt x="5905024" y="159544"/>
                    <a:pt x="5904071" y="168116"/>
                    <a:pt x="5904071" y="184309"/>
                  </a:cubicBezTo>
                  <a:cubicBezTo>
                    <a:pt x="5904071" y="191929"/>
                    <a:pt x="5903119" y="201454"/>
                    <a:pt x="5903119" y="211931"/>
                  </a:cubicBezTo>
                  <a:cubicBezTo>
                    <a:pt x="5903119" y="217646"/>
                    <a:pt x="5903119" y="223361"/>
                    <a:pt x="5902167" y="229076"/>
                  </a:cubicBezTo>
                  <a:cubicBezTo>
                    <a:pt x="5902167" y="234791"/>
                    <a:pt x="5902167" y="241459"/>
                    <a:pt x="5902167" y="248126"/>
                  </a:cubicBezTo>
                  <a:cubicBezTo>
                    <a:pt x="5902167" y="254794"/>
                    <a:pt x="5902167" y="262414"/>
                    <a:pt x="5903119" y="270034"/>
                  </a:cubicBezTo>
                  <a:cubicBezTo>
                    <a:pt x="5902167" y="274796"/>
                    <a:pt x="5901214" y="279559"/>
                    <a:pt x="5900262" y="285274"/>
                  </a:cubicBezTo>
                  <a:cubicBezTo>
                    <a:pt x="5900262" y="284321"/>
                    <a:pt x="5900262" y="283369"/>
                    <a:pt x="5899309" y="282416"/>
                  </a:cubicBezTo>
                  <a:cubicBezTo>
                    <a:pt x="5897404" y="274796"/>
                    <a:pt x="5896451" y="268129"/>
                    <a:pt x="5895499" y="263366"/>
                  </a:cubicBezTo>
                  <a:cubicBezTo>
                    <a:pt x="5893594" y="255746"/>
                    <a:pt x="5892642" y="250031"/>
                    <a:pt x="5891689" y="248126"/>
                  </a:cubicBezTo>
                  <a:cubicBezTo>
                    <a:pt x="5891689" y="246221"/>
                    <a:pt x="5891689" y="245269"/>
                    <a:pt x="5891689" y="245269"/>
                  </a:cubicBezTo>
                  <a:cubicBezTo>
                    <a:pt x="5891689" y="245269"/>
                    <a:pt x="5891689" y="246221"/>
                    <a:pt x="5890737" y="247174"/>
                  </a:cubicBezTo>
                  <a:cubicBezTo>
                    <a:pt x="5890737" y="247174"/>
                    <a:pt x="5890737" y="247174"/>
                    <a:pt x="5890737" y="247174"/>
                  </a:cubicBezTo>
                  <a:cubicBezTo>
                    <a:pt x="5890737" y="247174"/>
                    <a:pt x="5890737" y="247174"/>
                    <a:pt x="5890737" y="248126"/>
                  </a:cubicBezTo>
                  <a:cubicBezTo>
                    <a:pt x="5889784" y="251936"/>
                    <a:pt x="5885974" y="261461"/>
                    <a:pt x="5881212" y="275749"/>
                  </a:cubicBezTo>
                  <a:cubicBezTo>
                    <a:pt x="5880259" y="270986"/>
                    <a:pt x="5879306" y="266224"/>
                    <a:pt x="5878354" y="262414"/>
                  </a:cubicBezTo>
                  <a:cubicBezTo>
                    <a:pt x="5875496" y="248126"/>
                    <a:pt x="5874544" y="240506"/>
                    <a:pt x="5874544" y="240506"/>
                  </a:cubicBezTo>
                  <a:cubicBezTo>
                    <a:pt x="5874544" y="240506"/>
                    <a:pt x="5874544" y="248126"/>
                    <a:pt x="5874544" y="262414"/>
                  </a:cubicBezTo>
                  <a:cubicBezTo>
                    <a:pt x="5874544" y="270034"/>
                    <a:pt x="5875496" y="279559"/>
                    <a:pt x="5875496" y="290989"/>
                  </a:cubicBezTo>
                  <a:cubicBezTo>
                    <a:pt x="5874544" y="293846"/>
                    <a:pt x="5873592" y="295751"/>
                    <a:pt x="5873592" y="298609"/>
                  </a:cubicBezTo>
                  <a:cubicBezTo>
                    <a:pt x="5872639" y="290036"/>
                    <a:pt x="5872639" y="280511"/>
                    <a:pt x="5870734" y="271939"/>
                  </a:cubicBezTo>
                  <a:cubicBezTo>
                    <a:pt x="5869781" y="278606"/>
                    <a:pt x="5868829" y="286226"/>
                    <a:pt x="5867876" y="292894"/>
                  </a:cubicBezTo>
                  <a:cubicBezTo>
                    <a:pt x="5867876" y="285274"/>
                    <a:pt x="5867876" y="276701"/>
                    <a:pt x="5866924" y="269081"/>
                  </a:cubicBezTo>
                  <a:cubicBezTo>
                    <a:pt x="5866924" y="260509"/>
                    <a:pt x="5865971" y="251936"/>
                    <a:pt x="5865971" y="243364"/>
                  </a:cubicBezTo>
                  <a:cubicBezTo>
                    <a:pt x="5870734" y="231934"/>
                    <a:pt x="5873592" y="225266"/>
                    <a:pt x="5873592" y="225266"/>
                  </a:cubicBezTo>
                  <a:cubicBezTo>
                    <a:pt x="5873592" y="225266"/>
                    <a:pt x="5870734" y="230029"/>
                    <a:pt x="5865971" y="237649"/>
                  </a:cubicBezTo>
                  <a:cubicBezTo>
                    <a:pt x="5865971" y="234791"/>
                    <a:pt x="5865971" y="232886"/>
                    <a:pt x="5865971" y="230029"/>
                  </a:cubicBezTo>
                  <a:cubicBezTo>
                    <a:pt x="5865971" y="217646"/>
                    <a:pt x="5865019" y="205264"/>
                    <a:pt x="5865019" y="194786"/>
                  </a:cubicBezTo>
                  <a:cubicBezTo>
                    <a:pt x="5864067" y="172879"/>
                    <a:pt x="5863114" y="154781"/>
                    <a:pt x="5863114" y="141446"/>
                  </a:cubicBezTo>
                  <a:cubicBezTo>
                    <a:pt x="5862162" y="128111"/>
                    <a:pt x="5862162" y="121444"/>
                    <a:pt x="5862162" y="121444"/>
                  </a:cubicBezTo>
                  <a:cubicBezTo>
                    <a:pt x="5862162" y="121444"/>
                    <a:pt x="5861209" y="129064"/>
                    <a:pt x="5859304" y="141446"/>
                  </a:cubicBezTo>
                  <a:cubicBezTo>
                    <a:pt x="5858351" y="147161"/>
                    <a:pt x="5857399" y="153829"/>
                    <a:pt x="5856446" y="161449"/>
                  </a:cubicBezTo>
                  <a:cubicBezTo>
                    <a:pt x="5855494" y="145256"/>
                    <a:pt x="5854542" y="130969"/>
                    <a:pt x="5853589" y="120491"/>
                  </a:cubicBezTo>
                  <a:cubicBezTo>
                    <a:pt x="5852637" y="106204"/>
                    <a:pt x="5851684" y="98584"/>
                    <a:pt x="5851684" y="98584"/>
                  </a:cubicBezTo>
                  <a:cubicBezTo>
                    <a:pt x="5851684" y="98584"/>
                    <a:pt x="5850731" y="106204"/>
                    <a:pt x="5849779" y="120491"/>
                  </a:cubicBezTo>
                  <a:cubicBezTo>
                    <a:pt x="5848826" y="127159"/>
                    <a:pt x="5848826" y="135731"/>
                    <a:pt x="5847874" y="146209"/>
                  </a:cubicBezTo>
                  <a:cubicBezTo>
                    <a:pt x="5846921" y="155734"/>
                    <a:pt x="5846921" y="167164"/>
                    <a:pt x="5846921" y="179546"/>
                  </a:cubicBezTo>
                  <a:cubicBezTo>
                    <a:pt x="5845969" y="203359"/>
                    <a:pt x="5845969" y="231934"/>
                    <a:pt x="5846921" y="262414"/>
                  </a:cubicBezTo>
                  <a:cubicBezTo>
                    <a:pt x="5846921" y="264319"/>
                    <a:pt x="5846921" y="267176"/>
                    <a:pt x="5846921" y="269081"/>
                  </a:cubicBezTo>
                  <a:cubicBezTo>
                    <a:pt x="5845969" y="270986"/>
                    <a:pt x="5844064" y="272891"/>
                    <a:pt x="5843112" y="274796"/>
                  </a:cubicBezTo>
                  <a:cubicBezTo>
                    <a:pt x="5842159" y="270034"/>
                    <a:pt x="5841206" y="265271"/>
                    <a:pt x="5840254" y="261461"/>
                  </a:cubicBezTo>
                  <a:cubicBezTo>
                    <a:pt x="5840254" y="254794"/>
                    <a:pt x="5840254" y="248126"/>
                    <a:pt x="5841206" y="242411"/>
                  </a:cubicBezTo>
                  <a:cubicBezTo>
                    <a:pt x="5841206" y="230029"/>
                    <a:pt x="5841206" y="223361"/>
                    <a:pt x="5841206" y="223361"/>
                  </a:cubicBezTo>
                  <a:cubicBezTo>
                    <a:pt x="5841206" y="223361"/>
                    <a:pt x="5839301" y="230029"/>
                    <a:pt x="5837396" y="242411"/>
                  </a:cubicBezTo>
                  <a:cubicBezTo>
                    <a:pt x="5837396" y="243364"/>
                    <a:pt x="5837396" y="244316"/>
                    <a:pt x="5836444" y="245269"/>
                  </a:cubicBezTo>
                  <a:cubicBezTo>
                    <a:pt x="5833587" y="233839"/>
                    <a:pt x="5831681" y="224314"/>
                    <a:pt x="5829776" y="215741"/>
                  </a:cubicBezTo>
                  <a:cubicBezTo>
                    <a:pt x="5825967" y="198596"/>
                    <a:pt x="5824062" y="189071"/>
                    <a:pt x="5824062" y="189071"/>
                  </a:cubicBezTo>
                  <a:cubicBezTo>
                    <a:pt x="5824062" y="189071"/>
                    <a:pt x="5825014" y="198596"/>
                    <a:pt x="5825967" y="215741"/>
                  </a:cubicBezTo>
                  <a:cubicBezTo>
                    <a:pt x="5826919" y="224314"/>
                    <a:pt x="5827871" y="234791"/>
                    <a:pt x="5828824" y="246221"/>
                  </a:cubicBezTo>
                  <a:cubicBezTo>
                    <a:pt x="5829776" y="252889"/>
                    <a:pt x="5830729" y="260509"/>
                    <a:pt x="5831681" y="268129"/>
                  </a:cubicBezTo>
                  <a:cubicBezTo>
                    <a:pt x="5830729" y="270034"/>
                    <a:pt x="5828824" y="272891"/>
                    <a:pt x="5826919" y="276701"/>
                  </a:cubicBezTo>
                  <a:cubicBezTo>
                    <a:pt x="5826919" y="274796"/>
                    <a:pt x="5825967" y="272891"/>
                    <a:pt x="5825967" y="270986"/>
                  </a:cubicBezTo>
                  <a:cubicBezTo>
                    <a:pt x="5825014" y="263366"/>
                    <a:pt x="5823109" y="255746"/>
                    <a:pt x="5822156" y="250031"/>
                  </a:cubicBezTo>
                  <a:cubicBezTo>
                    <a:pt x="5820251" y="238601"/>
                    <a:pt x="5818346" y="231934"/>
                    <a:pt x="5818346" y="231934"/>
                  </a:cubicBezTo>
                  <a:cubicBezTo>
                    <a:pt x="5818346" y="231934"/>
                    <a:pt x="5818346" y="238601"/>
                    <a:pt x="5818346" y="250031"/>
                  </a:cubicBezTo>
                  <a:cubicBezTo>
                    <a:pt x="5818346" y="255746"/>
                    <a:pt x="5818346" y="262414"/>
                    <a:pt x="5818346" y="270986"/>
                  </a:cubicBezTo>
                  <a:cubicBezTo>
                    <a:pt x="5816442" y="267176"/>
                    <a:pt x="5814537" y="264319"/>
                    <a:pt x="5812631" y="262414"/>
                  </a:cubicBezTo>
                  <a:lnTo>
                    <a:pt x="5812631" y="246221"/>
                  </a:lnTo>
                  <a:lnTo>
                    <a:pt x="5814537" y="220504"/>
                  </a:lnTo>
                  <a:cubicBezTo>
                    <a:pt x="5815489" y="220504"/>
                    <a:pt x="5815489" y="220504"/>
                    <a:pt x="5816442" y="221456"/>
                  </a:cubicBezTo>
                  <a:cubicBezTo>
                    <a:pt x="5817394" y="222409"/>
                    <a:pt x="5818346" y="222409"/>
                    <a:pt x="5819299" y="224314"/>
                  </a:cubicBezTo>
                  <a:cubicBezTo>
                    <a:pt x="5821204" y="226219"/>
                    <a:pt x="5821204" y="229076"/>
                    <a:pt x="5822156" y="231934"/>
                  </a:cubicBezTo>
                  <a:cubicBezTo>
                    <a:pt x="5822156" y="229076"/>
                    <a:pt x="5822156" y="226219"/>
                    <a:pt x="5821204" y="223361"/>
                  </a:cubicBezTo>
                  <a:cubicBezTo>
                    <a:pt x="5820251" y="222409"/>
                    <a:pt x="5819299" y="220504"/>
                    <a:pt x="5818346" y="219551"/>
                  </a:cubicBezTo>
                  <a:cubicBezTo>
                    <a:pt x="5817394" y="218599"/>
                    <a:pt x="5815489" y="217646"/>
                    <a:pt x="5813584" y="217646"/>
                  </a:cubicBezTo>
                  <a:lnTo>
                    <a:pt x="5811679" y="217646"/>
                  </a:lnTo>
                  <a:lnTo>
                    <a:pt x="5811679" y="219551"/>
                  </a:lnTo>
                  <a:cubicBezTo>
                    <a:pt x="5809774" y="228124"/>
                    <a:pt x="5806917" y="237649"/>
                    <a:pt x="5805012" y="246221"/>
                  </a:cubicBezTo>
                  <a:cubicBezTo>
                    <a:pt x="5804059" y="250031"/>
                    <a:pt x="5804059" y="252889"/>
                    <a:pt x="5803106" y="256699"/>
                  </a:cubicBezTo>
                  <a:cubicBezTo>
                    <a:pt x="5801201" y="258604"/>
                    <a:pt x="5799296" y="261461"/>
                    <a:pt x="5796439" y="264319"/>
                  </a:cubicBezTo>
                  <a:cubicBezTo>
                    <a:pt x="5796439" y="259556"/>
                    <a:pt x="5795487" y="256699"/>
                    <a:pt x="5795487" y="253841"/>
                  </a:cubicBezTo>
                  <a:cubicBezTo>
                    <a:pt x="5794534" y="250031"/>
                    <a:pt x="5794534" y="248126"/>
                    <a:pt x="5794534" y="248126"/>
                  </a:cubicBezTo>
                  <a:cubicBezTo>
                    <a:pt x="5794534" y="248126"/>
                    <a:pt x="5794534" y="250031"/>
                    <a:pt x="5794534" y="253841"/>
                  </a:cubicBezTo>
                  <a:cubicBezTo>
                    <a:pt x="5794534" y="257651"/>
                    <a:pt x="5794534" y="262414"/>
                    <a:pt x="5793581" y="268129"/>
                  </a:cubicBezTo>
                  <a:cubicBezTo>
                    <a:pt x="5792629" y="269081"/>
                    <a:pt x="5792629" y="269081"/>
                    <a:pt x="5791676" y="270034"/>
                  </a:cubicBezTo>
                  <a:cubicBezTo>
                    <a:pt x="5791676" y="270034"/>
                    <a:pt x="5791676" y="270034"/>
                    <a:pt x="5791676" y="270034"/>
                  </a:cubicBezTo>
                  <a:lnTo>
                    <a:pt x="5787867" y="239554"/>
                  </a:lnTo>
                  <a:cubicBezTo>
                    <a:pt x="5791676" y="229076"/>
                    <a:pt x="5793581" y="224314"/>
                    <a:pt x="5793581" y="224314"/>
                  </a:cubicBezTo>
                  <a:cubicBezTo>
                    <a:pt x="5793581" y="224314"/>
                    <a:pt x="5791676" y="228124"/>
                    <a:pt x="5786914" y="234791"/>
                  </a:cubicBezTo>
                  <a:lnTo>
                    <a:pt x="5785009" y="205264"/>
                  </a:lnTo>
                  <a:cubicBezTo>
                    <a:pt x="5788819" y="197644"/>
                    <a:pt x="5791676" y="190024"/>
                    <a:pt x="5795487" y="183356"/>
                  </a:cubicBezTo>
                  <a:cubicBezTo>
                    <a:pt x="5795487" y="183356"/>
                    <a:pt x="5795487" y="184309"/>
                    <a:pt x="5795487" y="184309"/>
                  </a:cubicBezTo>
                  <a:cubicBezTo>
                    <a:pt x="5795487" y="184309"/>
                    <a:pt x="5795487" y="183356"/>
                    <a:pt x="5795487" y="183356"/>
                  </a:cubicBezTo>
                  <a:cubicBezTo>
                    <a:pt x="5796439" y="181451"/>
                    <a:pt x="5797392" y="179546"/>
                    <a:pt x="5797392" y="178594"/>
                  </a:cubicBezTo>
                  <a:cubicBezTo>
                    <a:pt x="5803106" y="165259"/>
                    <a:pt x="5808821" y="153829"/>
                    <a:pt x="5812631" y="145256"/>
                  </a:cubicBezTo>
                  <a:cubicBezTo>
                    <a:pt x="5821204" y="126206"/>
                    <a:pt x="5825967" y="115729"/>
                    <a:pt x="5825967" y="115729"/>
                  </a:cubicBezTo>
                  <a:cubicBezTo>
                    <a:pt x="5825967" y="115729"/>
                    <a:pt x="5820251" y="125254"/>
                    <a:pt x="5809774" y="143351"/>
                  </a:cubicBezTo>
                  <a:cubicBezTo>
                    <a:pt x="5805012" y="151924"/>
                    <a:pt x="5798344" y="162401"/>
                    <a:pt x="5791676" y="173831"/>
                  </a:cubicBezTo>
                  <a:cubicBezTo>
                    <a:pt x="5790724" y="172879"/>
                    <a:pt x="5789771" y="171926"/>
                    <a:pt x="5788819" y="170974"/>
                  </a:cubicBezTo>
                  <a:cubicBezTo>
                    <a:pt x="5786914" y="170021"/>
                    <a:pt x="5785009" y="169069"/>
                    <a:pt x="5783104" y="169069"/>
                  </a:cubicBezTo>
                  <a:lnTo>
                    <a:pt x="5781199" y="169069"/>
                  </a:lnTo>
                  <a:lnTo>
                    <a:pt x="5781199" y="170974"/>
                  </a:lnTo>
                  <a:lnTo>
                    <a:pt x="5777389" y="197644"/>
                  </a:lnTo>
                  <a:cubicBezTo>
                    <a:pt x="5774531" y="204311"/>
                    <a:pt x="5770721" y="210026"/>
                    <a:pt x="5766912" y="217646"/>
                  </a:cubicBezTo>
                  <a:cubicBezTo>
                    <a:pt x="5762149" y="226219"/>
                    <a:pt x="5757387" y="234791"/>
                    <a:pt x="5752624" y="244316"/>
                  </a:cubicBezTo>
                  <a:cubicBezTo>
                    <a:pt x="5752624" y="240506"/>
                    <a:pt x="5751671" y="236696"/>
                    <a:pt x="5751671" y="233839"/>
                  </a:cubicBezTo>
                  <a:cubicBezTo>
                    <a:pt x="5750719" y="228124"/>
                    <a:pt x="5749767" y="222409"/>
                    <a:pt x="5749767" y="216694"/>
                  </a:cubicBezTo>
                  <a:cubicBezTo>
                    <a:pt x="5754529" y="199549"/>
                    <a:pt x="5757387" y="190024"/>
                    <a:pt x="5757387" y="190024"/>
                  </a:cubicBezTo>
                  <a:cubicBezTo>
                    <a:pt x="5757387" y="190024"/>
                    <a:pt x="5754529" y="197644"/>
                    <a:pt x="5749767" y="210979"/>
                  </a:cubicBezTo>
                  <a:cubicBezTo>
                    <a:pt x="5749767" y="209074"/>
                    <a:pt x="5748814" y="206216"/>
                    <a:pt x="5748814" y="204311"/>
                  </a:cubicBezTo>
                  <a:cubicBezTo>
                    <a:pt x="5746909" y="188119"/>
                    <a:pt x="5745004" y="178594"/>
                    <a:pt x="5745004" y="178594"/>
                  </a:cubicBezTo>
                  <a:cubicBezTo>
                    <a:pt x="5745004" y="178594"/>
                    <a:pt x="5745004" y="188119"/>
                    <a:pt x="5745004" y="204311"/>
                  </a:cubicBezTo>
                  <a:cubicBezTo>
                    <a:pt x="5745004" y="210026"/>
                    <a:pt x="5745004" y="215741"/>
                    <a:pt x="5745004" y="222409"/>
                  </a:cubicBezTo>
                  <a:cubicBezTo>
                    <a:pt x="5745004" y="223361"/>
                    <a:pt x="5744051" y="224314"/>
                    <a:pt x="5744051" y="225266"/>
                  </a:cubicBezTo>
                  <a:cubicBezTo>
                    <a:pt x="5740242" y="234791"/>
                    <a:pt x="5736431" y="247174"/>
                    <a:pt x="5731669" y="259556"/>
                  </a:cubicBezTo>
                  <a:cubicBezTo>
                    <a:pt x="5731669" y="259556"/>
                    <a:pt x="5731669" y="258604"/>
                    <a:pt x="5731669" y="258604"/>
                  </a:cubicBezTo>
                  <a:cubicBezTo>
                    <a:pt x="5733574" y="245269"/>
                    <a:pt x="5734526" y="238601"/>
                    <a:pt x="5734526" y="238601"/>
                  </a:cubicBezTo>
                  <a:cubicBezTo>
                    <a:pt x="5734526" y="238601"/>
                    <a:pt x="5732621" y="246221"/>
                    <a:pt x="5727859" y="258604"/>
                  </a:cubicBezTo>
                  <a:cubicBezTo>
                    <a:pt x="5726906" y="260509"/>
                    <a:pt x="5726906" y="262414"/>
                    <a:pt x="5725954" y="264319"/>
                  </a:cubicBezTo>
                  <a:cubicBezTo>
                    <a:pt x="5725954" y="264319"/>
                    <a:pt x="5725954" y="263366"/>
                    <a:pt x="5725954" y="263366"/>
                  </a:cubicBezTo>
                  <a:cubicBezTo>
                    <a:pt x="5725954" y="263366"/>
                    <a:pt x="5725954" y="262414"/>
                    <a:pt x="5725954" y="262414"/>
                  </a:cubicBezTo>
                  <a:cubicBezTo>
                    <a:pt x="5725954" y="260509"/>
                    <a:pt x="5726906" y="258604"/>
                    <a:pt x="5726906" y="256699"/>
                  </a:cubicBezTo>
                  <a:cubicBezTo>
                    <a:pt x="5727859" y="251936"/>
                    <a:pt x="5728812" y="247174"/>
                    <a:pt x="5729764" y="242411"/>
                  </a:cubicBezTo>
                  <a:cubicBezTo>
                    <a:pt x="5730717" y="237649"/>
                    <a:pt x="5731669" y="233839"/>
                    <a:pt x="5732621" y="230029"/>
                  </a:cubicBezTo>
                  <a:cubicBezTo>
                    <a:pt x="5734526" y="222409"/>
                    <a:pt x="5736431" y="215741"/>
                    <a:pt x="5737384" y="210026"/>
                  </a:cubicBezTo>
                  <a:cubicBezTo>
                    <a:pt x="5740242" y="198596"/>
                    <a:pt x="5741194" y="191929"/>
                    <a:pt x="5741194" y="191929"/>
                  </a:cubicBezTo>
                  <a:cubicBezTo>
                    <a:pt x="5741194" y="191929"/>
                    <a:pt x="5740242" y="193834"/>
                    <a:pt x="5739289" y="196691"/>
                  </a:cubicBezTo>
                  <a:cubicBezTo>
                    <a:pt x="5740242" y="192881"/>
                    <a:pt x="5740242" y="190024"/>
                    <a:pt x="5740242" y="190024"/>
                  </a:cubicBezTo>
                  <a:cubicBezTo>
                    <a:pt x="5740242" y="190024"/>
                    <a:pt x="5737384" y="197644"/>
                    <a:pt x="5731669" y="211931"/>
                  </a:cubicBezTo>
                  <a:cubicBezTo>
                    <a:pt x="5730717" y="215741"/>
                    <a:pt x="5728812" y="219551"/>
                    <a:pt x="5726906" y="224314"/>
                  </a:cubicBezTo>
                  <a:cubicBezTo>
                    <a:pt x="5725954" y="225266"/>
                    <a:pt x="5725954" y="227171"/>
                    <a:pt x="5725001" y="228124"/>
                  </a:cubicBezTo>
                  <a:cubicBezTo>
                    <a:pt x="5723096" y="231934"/>
                    <a:pt x="5722144" y="235744"/>
                    <a:pt x="5720239" y="240506"/>
                  </a:cubicBezTo>
                  <a:cubicBezTo>
                    <a:pt x="5719287" y="243364"/>
                    <a:pt x="5718334" y="246221"/>
                    <a:pt x="5717381" y="250031"/>
                  </a:cubicBezTo>
                  <a:cubicBezTo>
                    <a:pt x="5716429" y="251936"/>
                    <a:pt x="5716429" y="252889"/>
                    <a:pt x="5715476" y="254794"/>
                  </a:cubicBezTo>
                  <a:cubicBezTo>
                    <a:pt x="5713571" y="260509"/>
                    <a:pt x="5711667" y="266224"/>
                    <a:pt x="5709762" y="272891"/>
                  </a:cubicBezTo>
                  <a:cubicBezTo>
                    <a:pt x="5707856" y="278606"/>
                    <a:pt x="5705951" y="284321"/>
                    <a:pt x="5704046" y="290989"/>
                  </a:cubicBezTo>
                  <a:cubicBezTo>
                    <a:pt x="5701189" y="285274"/>
                    <a:pt x="5699284" y="280511"/>
                    <a:pt x="5696426" y="275749"/>
                  </a:cubicBezTo>
                  <a:cubicBezTo>
                    <a:pt x="5695474" y="271939"/>
                    <a:pt x="5695474" y="269081"/>
                    <a:pt x="5695474" y="269081"/>
                  </a:cubicBezTo>
                  <a:cubicBezTo>
                    <a:pt x="5695474" y="269081"/>
                    <a:pt x="5695474" y="270034"/>
                    <a:pt x="5695474" y="272891"/>
                  </a:cubicBezTo>
                  <a:cubicBezTo>
                    <a:pt x="5692617" y="268129"/>
                    <a:pt x="5690712" y="263366"/>
                    <a:pt x="5688806" y="259556"/>
                  </a:cubicBezTo>
                  <a:cubicBezTo>
                    <a:pt x="5683092" y="249079"/>
                    <a:pt x="5680234" y="243364"/>
                    <a:pt x="5680234" y="243364"/>
                  </a:cubicBezTo>
                  <a:cubicBezTo>
                    <a:pt x="5680234" y="243364"/>
                    <a:pt x="5682139" y="250031"/>
                    <a:pt x="5684996" y="260509"/>
                  </a:cubicBezTo>
                  <a:cubicBezTo>
                    <a:pt x="5687854" y="269081"/>
                    <a:pt x="5690712" y="279559"/>
                    <a:pt x="5694521" y="292894"/>
                  </a:cubicBezTo>
                  <a:cubicBezTo>
                    <a:pt x="5694521" y="297656"/>
                    <a:pt x="5694521" y="302419"/>
                    <a:pt x="5694521" y="309086"/>
                  </a:cubicBezTo>
                  <a:cubicBezTo>
                    <a:pt x="5694521" y="313849"/>
                    <a:pt x="5694521" y="318611"/>
                    <a:pt x="5694521" y="323374"/>
                  </a:cubicBezTo>
                  <a:cubicBezTo>
                    <a:pt x="5693569" y="326231"/>
                    <a:pt x="5692617" y="329089"/>
                    <a:pt x="5691664" y="331946"/>
                  </a:cubicBezTo>
                  <a:cubicBezTo>
                    <a:pt x="5690712" y="330994"/>
                    <a:pt x="5690712" y="330041"/>
                    <a:pt x="5689759" y="329089"/>
                  </a:cubicBezTo>
                  <a:lnTo>
                    <a:pt x="5689759" y="320516"/>
                  </a:lnTo>
                  <a:cubicBezTo>
                    <a:pt x="5688806" y="309086"/>
                    <a:pt x="5688806" y="297656"/>
                    <a:pt x="5687854" y="286226"/>
                  </a:cubicBezTo>
                  <a:cubicBezTo>
                    <a:pt x="5686901" y="297656"/>
                    <a:pt x="5685949" y="308134"/>
                    <a:pt x="5684996" y="319564"/>
                  </a:cubicBezTo>
                  <a:cubicBezTo>
                    <a:pt x="5684044" y="317659"/>
                    <a:pt x="5683092" y="315754"/>
                    <a:pt x="5681187" y="312896"/>
                  </a:cubicBezTo>
                  <a:cubicBezTo>
                    <a:pt x="5679281" y="299561"/>
                    <a:pt x="5677376" y="286226"/>
                    <a:pt x="5675471" y="273844"/>
                  </a:cubicBezTo>
                  <a:cubicBezTo>
                    <a:pt x="5674519" y="267176"/>
                    <a:pt x="5673567" y="260509"/>
                    <a:pt x="5672614" y="253841"/>
                  </a:cubicBezTo>
                  <a:cubicBezTo>
                    <a:pt x="5671662" y="247174"/>
                    <a:pt x="5671662" y="241459"/>
                    <a:pt x="5670709" y="235744"/>
                  </a:cubicBezTo>
                  <a:cubicBezTo>
                    <a:pt x="5669756" y="224314"/>
                    <a:pt x="5668804" y="214789"/>
                    <a:pt x="5667851" y="207169"/>
                  </a:cubicBezTo>
                  <a:cubicBezTo>
                    <a:pt x="5666899" y="198596"/>
                    <a:pt x="5665946" y="192881"/>
                    <a:pt x="5665946" y="188119"/>
                  </a:cubicBezTo>
                  <a:cubicBezTo>
                    <a:pt x="5666899" y="185261"/>
                    <a:pt x="5666899" y="183356"/>
                    <a:pt x="5666899" y="183356"/>
                  </a:cubicBezTo>
                  <a:cubicBezTo>
                    <a:pt x="5666899" y="183356"/>
                    <a:pt x="5665946" y="184309"/>
                    <a:pt x="5665946" y="186214"/>
                  </a:cubicBezTo>
                  <a:cubicBezTo>
                    <a:pt x="5665946" y="183356"/>
                    <a:pt x="5664994" y="181451"/>
                    <a:pt x="5664994" y="181451"/>
                  </a:cubicBezTo>
                  <a:cubicBezTo>
                    <a:pt x="5664994" y="181451"/>
                    <a:pt x="5664994" y="184309"/>
                    <a:pt x="5664994" y="188119"/>
                  </a:cubicBezTo>
                  <a:cubicBezTo>
                    <a:pt x="5663089" y="192881"/>
                    <a:pt x="5659279" y="201454"/>
                    <a:pt x="5654517" y="211931"/>
                  </a:cubicBezTo>
                  <a:cubicBezTo>
                    <a:pt x="5654517" y="210026"/>
                    <a:pt x="5654517" y="207169"/>
                    <a:pt x="5653564" y="205264"/>
                  </a:cubicBezTo>
                  <a:cubicBezTo>
                    <a:pt x="5652612" y="199549"/>
                    <a:pt x="5652612" y="193834"/>
                    <a:pt x="5652612" y="189071"/>
                  </a:cubicBezTo>
                  <a:cubicBezTo>
                    <a:pt x="5655469" y="183356"/>
                    <a:pt x="5657374" y="179546"/>
                    <a:pt x="5657374" y="179546"/>
                  </a:cubicBezTo>
                  <a:cubicBezTo>
                    <a:pt x="5657374" y="179546"/>
                    <a:pt x="5655469" y="182404"/>
                    <a:pt x="5652612" y="187166"/>
                  </a:cubicBezTo>
                  <a:cubicBezTo>
                    <a:pt x="5652612" y="186214"/>
                    <a:pt x="5652612" y="186214"/>
                    <a:pt x="5652612" y="185261"/>
                  </a:cubicBezTo>
                  <a:cubicBezTo>
                    <a:pt x="5651659" y="173831"/>
                    <a:pt x="5651659" y="167164"/>
                    <a:pt x="5651659" y="167164"/>
                  </a:cubicBezTo>
                  <a:cubicBezTo>
                    <a:pt x="5651659" y="167164"/>
                    <a:pt x="5650706" y="171926"/>
                    <a:pt x="5649754" y="179546"/>
                  </a:cubicBezTo>
                  <a:cubicBezTo>
                    <a:pt x="5649754" y="179546"/>
                    <a:pt x="5649754" y="178594"/>
                    <a:pt x="5649754" y="178594"/>
                  </a:cubicBezTo>
                  <a:cubicBezTo>
                    <a:pt x="5648801" y="171926"/>
                    <a:pt x="5648801" y="166211"/>
                    <a:pt x="5647849" y="159544"/>
                  </a:cubicBezTo>
                  <a:cubicBezTo>
                    <a:pt x="5647849" y="153829"/>
                    <a:pt x="5646896" y="148114"/>
                    <a:pt x="5646896" y="142399"/>
                  </a:cubicBezTo>
                  <a:cubicBezTo>
                    <a:pt x="5645944" y="131921"/>
                    <a:pt x="5644992" y="122396"/>
                    <a:pt x="5645944" y="114776"/>
                  </a:cubicBezTo>
                  <a:cubicBezTo>
                    <a:pt x="5645944" y="99536"/>
                    <a:pt x="5644992" y="90011"/>
                    <a:pt x="5644992" y="90011"/>
                  </a:cubicBezTo>
                  <a:cubicBezTo>
                    <a:pt x="5644992" y="90011"/>
                    <a:pt x="5644039" y="98584"/>
                    <a:pt x="5641181" y="113824"/>
                  </a:cubicBezTo>
                  <a:cubicBezTo>
                    <a:pt x="5640229" y="121444"/>
                    <a:pt x="5639276" y="130969"/>
                    <a:pt x="5639276" y="141446"/>
                  </a:cubicBezTo>
                  <a:cubicBezTo>
                    <a:pt x="5639276" y="147161"/>
                    <a:pt x="5638324" y="152876"/>
                    <a:pt x="5638324" y="158591"/>
                  </a:cubicBezTo>
                  <a:cubicBezTo>
                    <a:pt x="5638324" y="164306"/>
                    <a:pt x="5638324" y="170974"/>
                    <a:pt x="5638324" y="177641"/>
                  </a:cubicBezTo>
                  <a:cubicBezTo>
                    <a:pt x="5638324" y="186214"/>
                    <a:pt x="5638324" y="195739"/>
                    <a:pt x="5639276" y="205264"/>
                  </a:cubicBezTo>
                  <a:cubicBezTo>
                    <a:pt x="5638324" y="206216"/>
                    <a:pt x="5638324" y="207169"/>
                    <a:pt x="5637371" y="208121"/>
                  </a:cubicBezTo>
                  <a:cubicBezTo>
                    <a:pt x="5637371" y="208121"/>
                    <a:pt x="5636419" y="209074"/>
                    <a:pt x="5636419" y="209074"/>
                  </a:cubicBezTo>
                  <a:cubicBezTo>
                    <a:pt x="5636419" y="208121"/>
                    <a:pt x="5636419" y="208121"/>
                    <a:pt x="5636419" y="208121"/>
                  </a:cubicBezTo>
                  <a:cubicBezTo>
                    <a:pt x="5636419" y="208121"/>
                    <a:pt x="5636419" y="208121"/>
                    <a:pt x="5636419" y="209074"/>
                  </a:cubicBezTo>
                  <a:cubicBezTo>
                    <a:pt x="5635467" y="210979"/>
                    <a:pt x="5633562" y="212884"/>
                    <a:pt x="5631656" y="215741"/>
                  </a:cubicBezTo>
                  <a:cubicBezTo>
                    <a:pt x="5628799" y="201454"/>
                    <a:pt x="5626894" y="192881"/>
                    <a:pt x="5626894" y="192881"/>
                  </a:cubicBezTo>
                  <a:cubicBezTo>
                    <a:pt x="5626894" y="192881"/>
                    <a:pt x="5626894" y="204311"/>
                    <a:pt x="5626894" y="222409"/>
                  </a:cubicBezTo>
                  <a:cubicBezTo>
                    <a:pt x="5626894" y="222409"/>
                    <a:pt x="5626894" y="222409"/>
                    <a:pt x="5626894" y="223361"/>
                  </a:cubicBezTo>
                  <a:cubicBezTo>
                    <a:pt x="5624037" y="219551"/>
                    <a:pt x="5621179" y="215741"/>
                    <a:pt x="5618321" y="211931"/>
                  </a:cubicBezTo>
                  <a:cubicBezTo>
                    <a:pt x="5608796" y="199549"/>
                    <a:pt x="5601176" y="189071"/>
                    <a:pt x="5593556" y="181451"/>
                  </a:cubicBezTo>
                  <a:cubicBezTo>
                    <a:pt x="5579269" y="165259"/>
                    <a:pt x="5570696" y="155734"/>
                    <a:pt x="5570696" y="155734"/>
                  </a:cubicBezTo>
                  <a:cubicBezTo>
                    <a:pt x="5570696" y="155734"/>
                    <a:pt x="5577364" y="166211"/>
                    <a:pt x="5590699" y="184309"/>
                  </a:cubicBezTo>
                  <a:cubicBezTo>
                    <a:pt x="5597367" y="192881"/>
                    <a:pt x="5604034" y="204311"/>
                    <a:pt x="5612606" y="217646"/>
                  </a:cubicBezTo>
                  <a:cubicBezTo>
                    <a:pt x="5613559" y="219551"/>
                    <a:pt x="5614512" y="221456"/>
                    <a:pt x="5616417" y="223361"/>
                  </a:cubicBezTo>
                  <a:cubicBezTo>
                    <a:pt x="5617369" y="226219"/>
                    <a:pt x="5618321" y="230029"/>
                    <a:pt x="5620226" y="233839"/>
                  </a:cubicBezTo>
                  <a:cubicBezTo>
                    <a:pt x="5620226" y="233839"/>
                    <a:pt x="5620226" y="233839"/>
                    <a:pt x="5620226" y="234791"/>
                  </a:cubicBezTo>
                  <a:cubicBezTo>
                    <a:pt x="5619274" y="236696"/>
                    <a:pt x="5618321" y="238601"/>
                    <a:pt x="5616417" y="241459"/>
                  </a:cubicBezTo>
                  <a:cubicBezTo>
                    <a:pt x="5616417" y="241459"/>
                    <a:pt x="5616417" y="240506"/>
                    <a:pt x="5616417" y="240506"/>
                  </a:cubicBezTo>
                  <a:cubicBezTo>
                    <a:pt x="5616417" y="240506"/>
                    <a:pt x="5616417" y="240506"/>
                    <a:pt x="5616417" y="241459"/>
                  </a:cubicBezTo>
                  <a:cubicBezTo>
                    <a:pt x="5615464" y="242411"/>
                    <a:pt x="5614512" y="244316"/>
                    <a:pt x="5614512" y="245269"/>
                  </a:cubicBezTo>
                  <a:cubicBezTo>
                    <a:pt x="5608796" y="255746"/>
                    <a:pt x="5602129" y="267176"/>
                    <a:pt x="5594509" y="280511"/>
                  </a:cubicBezTo>
                  <a:cubicBezTo>
                    <a:pt x="5594509" y="278606"/>
                    <a:pt x="5594509" y="277654"/>
                    <a:pt x="5594509" y="275749"/>
                  </a:cubicBezTo>
                  <a:cubicBezTo>
                    <a:pt x="5594509" y="272891"/>
                    <a:pt x="5594509" y="270986"/>
                    <a:pt x="5594509" y="268129"/>
                  </a:cubicBezTo>
                  <a:cubicBezTo>
                    <a:pt x="5595462" y="260509"/>
                    <a:pt x="5596414" y="256699"/>
                    <a:pt x="5596414" y="256699"/>
                  </a:cubicBezTo>
                  <a:cubicBezTo>
                    <a:pt x="5596414" y="256699"/>
                    <a:pt x="5595462" y="258604"/>
                    <a:pt x="5594509" y="263366"/>
                  </a:cubicBezTo>
                  <a:cubicBezTo>
                    <a:pt x="5594509" y="263366"/>
                    <a:pt x="5594509" y="262414"/>
                    <a:pt x="5594509" y="262414"/>
                  </a:cubicBezTo>
                  <a:cubicBezTo>
                    <a:pt x="5593556" y="257651"/>
                    <a:pt x="5593556" y="253841"/>
                    <a:pt x="5592604" y="250031"/>
                  </a:cubicBezTo>
                  <a:cubicBezTo>
                    <a:pt x="5591651" y="243364"/>
                    <a:pt x="5590699" y="238601"/>
                    <a:pt x="5590699" y="232886"/>
                  </a:cubicBezTo>
                  <a:cubicBezTo>
                    <a:pt x="5594509" y="223361"/>
                    <a:pt x="5596414" y="217646"/>
                    <a:pt x="5596414" y="217646"/>
                  </a:cubicBezTo>
                  <a:cubicBezTo>
                    <a:pt x="5596414" y="217646"/>
                    <a:pt x="5593556" y="221456"/>
                    <a:pt x="5589746" y="230029"/>
                  </a:cubicBezTo>
                  <a:cubicBezTo>
                    <a:pt x="5589746" y="230029"/>
                    <a:pt x="5589746" y="230029"/>
                    <a:pt x="5589746" y="230029"/>
                  </a:cubicBezTo>
                  <a:cubicBezTo>
                    <a:pt x="5587842" y="218599"/>
                    <a:pt x="5586889" y="211931"/>
                    <a:pt x="5586889" y="211931"/>
                  </a:cubicBezTo>
                  <a:cubicBezTo>
                    <a:pt x="5586889" y="211931"/>
                    <a:pt x="5585937" y="218599"/>
                    <a:pt x="5585937" y="230029"/>
                  </a:cubicBezTo>
                  <a:cubicBezTo>
                    <a:pt x="5585937" y="230029"/>
                    <a:pt x="5585937" y="230981"/>
                    <a:pt x="5585937" y="230981"/>
                  </a:cubicBezTo>
                  <a:cubicBezTo>
                    <a:pt x="5584984" y="225266"/>
                    <a:pt x="5584031" y="219551"/>
                    <a:pt x="5583079" y="213836"/>
                  </a:cubicBezTo>
                  <a:cubicBezTo>
                    <a:pt x="5583079" y="223361"/>
                    <a:pt x="5583079" y="232886"/>
                    <a:pt x="5583079" y="242411"/>
                  </a:cubicBezTo>
                  <a:cubicBezTo>
                    <a:pt x="5582126" y="243364"/>
                    <a:pt x="5582126" y="245269"/>
                    <a:pt x="5581174" y="246221"/>
                  </a:cubicBezTo>
                  <a:cubicBezTo>
                    <a:pt x="5580221" y="247174"/>
                    <a:pt x="5579269" y="249079"/>
                    <a:pt x="5579269" y="250031"/>
                  </a:cubicBezTo>
                  <a:cubicBezTo>
                    <a:pt x="5576412" y="235744"/>
                    <a:pt x="5574506" y="221456"/>
                    <a:pt x="5571649" y="209074"/>
                  </a:cubicBezTo>
                  <a:cubicBezTo>
                    <a:pt x="5570696" y="202406"/>
                    <a:pt x="5568792" y="194786"/>
                    <a:pt x="5567839" y="189071"/>
                  </a:cubicBezTo>
                  <a:cubicBezTo>
                    <a:pt x="5565934" y="182404"/>
                    <a:pt x="5564981" y="176689"/>
                    <a:pt x="5563076" y="170974"/>
                  </a:cubicBezTo>
                  <a:cubicBezTo>
                    <a:pt x="5560219" y="159544"/>
                    <a:pt x="5557362" y="150019"/>
                    <a:pt x="5555456" y="141446"/>
                  </a:cubicBezTo>
                  <a:cubicBezTo>
                    <a:pt x="5550694" y="125254"/>
                    <a:pt x="5548789" y="115729"/>
                    <a:pt x="5548789" y="115729"/>
                  </a:cubicBezTo>
                  <a:cubicBezTo>
                    <a:pt x="5548789" y="115729"/>
                    <a:pt x="5549742" y="125254"/>
                    <a:pt x="5551646" y="142399"/>
                  </a:cubicBezTo>
                  <a:cubicBezTo>
                    <a:pt x="5552599" y="150971"/>
                    <a:pt x="5554504" y="160496"/>
                    <a:pt x="5555456" y="172879"/>
                  </a:cubicBezTo>
                  <a:cubicBezTo>
                    <a:pt x="5556409" y="178594"/>
                    <a:pt x="5557362" y="185261"/>
                    <a:pt x="5558314" y="190976"/>
                  </a:cubicBezTo>
                  <a:cubicBezTo>
                    <a:pt x="5559267" y="197644"/>
                    <a:pt x="5559267" y="204311"/>
                    <a:pt x="5560219" y="211931"/>
                  </a:cubicBezTo>
                  <a:cubicBezTo>
                    <a:pt x="5561171" y="226219"/>
                    <a:pt x="5563076" y="241459"/>
                    <a:pt x="5564981" y="257651"/>
                  </a:cubicBezTo>
                  <a:cubicBezTo>
                    <a:pt x="5565934" y="263366"/>
                    <a:pt x="5565934" y="269081"/>
                    <a:pt x="5565934" y="274796"/>
                  </a:cubicBezTo>
                  <a:cubicBezTo>
                    <a:pt x="5564981" y="275749"/>
                    <a:pt x="5564981" y="277654"/>
                    <a:pt x="5564029" y="278606"/>
                  </a:cubicBezTo>
                  <a:cubicBezTo>
                    <a:pt x="5563076" y="280511"/>
                    <a:pt x="5562124" y="282416"/>
                    <a:pt x="5561171" y="284321"/>
                  </a:cubicBezTo>
                  <a:cubicBezTo>
                    <a:pt x="5557362" y="277654"/>
                    <a:pt x="5553551" y="270034"/>
                    <a:pt x="5549742" y="264319"/>
                  </a:cubicBezTo>
                  <a:cubicBezTo>
                    <a:pt x="5549742" y="263366"/>
                    <a:pt x="5548789" y="262414"/>
                    <a:pt x="5548789" y="261461"/>
                  </a:cubicBezTo>
                  <a:cubicBezTo>
                    <a:pt x="5546884" y="255746"/>
                    <a:pt x="5545931" y="250984"/>
                    <a:pt x="5544026" y="247174"/>
                  </a:cubicBezTo>
                  <a:cubicBezTo>
                    <a:pt x="5545931" y="234791"/>
                    <a:pt x="5547837" y="228124"/>
                    <a:pt x="5547837" y="228124"/>
                  </a:cubicBezTo>
                  <a:cubicBezTo>
                    <a:pt x="5547837" y="228124"/>
                    <a:pt x="5545931" y="232886"/>
                    <a:pt x="5542121" y="241459"/>
                  </a:cubicBezTo>
                  <a:cubicBezTo>
                    <a:pt x="5542121" y="240506"/>
                    <a:pt x="5541169" y="239554"/>
                    <a:pt x="5541169" y="238601"/>
                  </a:cubicBezTo>
                  <a:cubicBezTo>
                    <a:pt x="5540217" y="235744"/>
                    <a:pt x="5539264" y="232886"/>
                    <a:pt x="5538312" y="230029"/>
                  </a:cubicBezTo>
                  <a:cubicBezTo>
                    <a:pt x="5546884" y="192881"/>
                    <a:pt x="5551646" y="167164"/>
                    <a:pt x="5551646" y="167164"/>
                  </a:cubicBezTo>
                  <a:cubicBezTo>
                    <a:pt x="5551646" y="167164"/>
                    <a:pt x="5542121" y="190024"/>
                    <a:pt x="5528787" y="225266"/>
                  </a:cubicBezTo>
                  <a:cubicBezTo>
                    <a:pt x="5526881" y="221456"/>
                    <a:pt x="5524976" y="219551"/>
                    <a:pt x="5524976" y="217646"/>
                  </a:cubicBezTo>
                  <a:cubicBezTo>
                    <a:pt x="5524024" y="213836"/>
                    <a:pt x="5524024" y="210026"/>
                    <a:pt x="5524024" y="207169"/>
                  </a:cubicBezTo>
                  <a:cubicBezTo>
                    <a:pt x="5522119" y="192881"/>
                    <a:pt x="5521167" y="185261"/>
                    <a:pt x="5521167" y="185261"/>
                  </a:cubicBezTo>
                  <a:cubicBezTo>
                    <a:pt x="5521167" y="185261"/>
                    <a:pt x="5521167" y="192881"/>
                    <a:pt x="5520214" y="207169"/>
                  </a:cubicBezTo>
                  <a:cubicBezTo>
                    <a:pt x="5520214" y="213836"/>
                    <a:pt x="5520214" y="222409"/>
                    <a:pt x="5520214" y="232886"/>
                  </a:cubicBezTo>
                  <a:cubicBezTo>
                    <a:pt x="5520214" y="237649"/>
                    <a:pt x="5520214" y="243364"/>
                    <a:pt x="5520214" y="248126"/>
                  </a:cubicBezTo>
                  <a:cubicBezTo>
                    <a:pt x="5520214" y="249079"/>
                    <a:pt x="5520214" y="250031"/>
                    <a:pt x="5520214" y="250984"/>
                  </a:cubicBezTo>
                  <a:cubicBezTo>
                    <a:pt x="5515451" y="264319"/>
                    <a:pt x="5510689" y="277654"/>
                    <a:pt x="5505926" y="291941"/>
                  </a:cubicBezTo>
                  <a:cubicBezTo>
                    <a:pt x="5504974" y="294799"/>
                    <a:pt x="5504021" y="297656"/>
                    <a:pt x="5503069" y="300514"/>
                  </a:cubicBezTo>
                  <a:cubicBezTo>
                    <a:pt x="5501164" y="297656"/>
                    <a:pt x="5500212" y="293846"/>
                    <a:pt x="5498306" y="290989"/>
                  </a:cubicBezTo>
                  <a:cubicBezTo>
                    <a:pt x="5498306" y="289084"/>
                    <a:pt x="5498306" y="287179"/>
                    <a:pt x="5498306" y="285274"/>
                  </a:cubicBezTo>
                  <a:cubicBezTo>
                    <a:pt x="5499259" y="274796"/>
                    <a:pt x="5499259" y="269081"/>
                    <a:pt x="5499259" y="269081"/>
                  </a:cubicBezTo>
                  <a:cubicBezTo>
                    <a:pt x="5499259" y="269081"/>
                    <a:pt x="5497354" y="274796"/>
                    <a:pt x="5494496" y="284321"/>
                  </a:cubicBezTo>
                  <a:cubicBezTo>
                    <a:pt x="5489734" y="273844"/>
                    <a:pt x="5484971" y="265271"/>
                    <a:pt x="5481162" y="257651"/>
                  </a:cubicBezTo>
                  <a:cubicBezTo>
                    <a:pt x="5482114" y="255746"/>
                    <a:pt x="5482114" y="253841"/>
                    <a:pt x="5483067" y="251936"/>
                  </a:cubicBezTo>
                  <a:cubicBezTo>
                    <a:pt x="5486876" y="241459"/>
                    <a:pt x="5489734" y="231934"/>
                    <a:pt x="5492592" y="224314"/>
                  </a:cubicBezTo>
                  <a:cubicBezTo>
                    <a:pt x="5497354" y="209074"/>
                    <a:pt x="5500212" y="200501"/>
                    <a:pt x="5500212" y="200501"/>
                  </a:cubicBezTo>
                  <a:cubicBezTo>
                    <a:pt x="5500212" y="200501"/>
                    <a:pt x="5498306" y="205264"/>
                    <a:pt x="5493544" y="212884"/>
                  </a:cubicBezTo>
                  <a:cubicBezTo>
                    <a:pt x="5496401" y="203359"/>
                    <a:pt x="5500212" y="194786"/>
                    <a:pt x="5502117" y="188119"/>
                  </a:cubicBezTo>
                  <a:cubicBezTo>
                    <a:pt x="5507831" y="170974"/>
                    <a:pt x="5511642" y="160496"/>
                    <a:pt x="5511642" y="160496"/>
                  </a:cubicBezTo>
                  <a:cubicBezTo>
                    <a:pt x="5511642" y="160496"/>
                    <a:pt x="5506879" y="170021"/>
                    <a:pt x="5498306" y="186214"/>
                  </a:cubicBezTo>
                  <a:cubicBezTo>
                    <a:pt x="5494496" y="194786"/>
                    <a:pt x="5489734" y="204311"/>
                    <a:pt x="5484019" y="215741"/>
                  </a:cubicBezTo>
                  <a:cubicBezTo>
                    <a:pt x="5481162" y="221456"/>
                    <a:pt x="5478304" y="227171"/>
                    <a:pt x="5475446" y="233839"/>
                  </a:cubicBezTo>
                  <a:cubicBezTo>
                    <a:pt x="5474494" y="236696"/>
                    <a:pt x="5473542" y="238601"/>
                    <a:pt x="5472589" y="241459"/>
                  </a:cubicBezTo>
                  <a:cubicBezTo>
                    <a:pt x="5465921" y="228124"/>
                    <a:pt x="5461159" y="221456"/>
                    <a:pt x="5461159" y="221456"/>
                  </a:cubicBezTo>
                  <a:cubicBezTo>
                    <a:pt x="5461159" y="221456"/>
                    <a:pt x="5464017" y="231934"/>
                    <a:pt x="5469731" y="248126"/>
                  </a:cubicBezTo>
                  <a:cubicBezTo>
                    <a:pt x="5468779" y="250031"/>
                    <a:pt x="5467826" y="252889"/>
                    <a:pt x="5466874" y="254794"/>
                  </a:cubicBezTo>
                  <a:cubicBezTo>
                    <a:pt x="5466874" y="255746"/>
                    <a:pt x="5465921" y="256699"/>
                    <a:pt x="5465921" y="257651"/>
                  </a:cubicBezTo>
                  <a:cubicBezTo>
                    <a:pt x="5465921" y="257651"/>
                    <a:pt x="5464969" y="256699"/>
                    <a:pt x="5464969" y="256699"/>
                  </a:cubicBezTo>
                  <a:cubicBezTo>
                    <a:pt x="5461159" y="252889"/>
                    <a:pt x="5458301" y="249079"/>
                    <a:pt x="5455444" y="246221"/>
                  </a:cubicBezTo>
                  <a:cubicBezTo>
                    <a:pt x="5454492" y="240506"/>
                    <a:pt x="5453539" y="234791"/>
                    <a:pt x="5452587" y="230029"/>
                  </a:cubicBezTo>
                  <a:cubicBezTo>
                    <a:pt x="5451634" y="224314"/>
                    <a:pt x="5449729" y="219551"/>
                    <a:pt x="5448776" y="214789"/>
                  </a:cubicBezTo>
                  <a:cubicBezTo>
                    <a:pt x="5445919" y="205264"/>
                    <a:pt x="5444014" y="196691"/>
                    <a:pt x="5442109" y="190024"/>
                  </a:cubicBezTo>
                  <a:cubicBezTo>
                    <a:pt x="5442109" y="190024"/>
                    <a:pt x="5442109" y="190024"/>
                    <a:pt x="5442109" y="190024"/>
                  </a:cubicBezTo>
                  <a:cubicBezTo>
                    <a:pt x="5442109" y="184309"/>
                    <a:pt x="5442109" y="180499"/>
                    <a:pt x="5442109" y="180499"/>
                  </a:cubicBezTo>
                  <a:cubicBezTo>
                    <a:pt x="5442109" y="180499"/>
                    <a:pt x="5442109" y="182404"/>
                    <a:pt x="5441156" y="186214"/>
                  </a:cubicBezTo>
                  <a:cubicBezTo>
                    <a:pt x="5438299" y="174784"/>
                    <a:pt x="5436394" y="169069"/>
                    <a:pt x="5436394" y="169069"/>
                  </a:cubicBezTo>
                  <a:cubicBezTo>
                    <a:pt x="5436394" y="169069"/>
                    <a:pt x="5437346" y="176689"/>
                    <a:pt x="5438299" y="190976"/>
                  </a:cubicBezTo>
                  <a:cubicBezTo>
                    <a:pt x="5438299" y="192881"/>
                    <a:pt x="5438299" y="193834"/>
                    <a:pt x="5439251" y="195739"/>
                  </a:cubicBezTo>
                  <a:cubicBezTo>
                    <a:pt x="5437346" y="203359"/>
                    <a:pt x="5435442" y="212884"/>
                    <a:pt x="5433537" y="225266"/>
                  </a:cubicBezTo>
                  <a:cubicBezTo>
                    <a:pt x="5430679" y="223361"/>
                    <a:pt x="5429726" y="221456"/>
                    <a:pt x="5429726" y="221456"/>
                  </a:cubicBezTo>
                  <a:cubicBezTo>
                    <a:pt x="5429726" y="221456"/>
                    <a:pt x="5430679" y="223361"/>
                    <a:pt x="5433537" y="225266"/>
                  </a:cubicBezTo>
                  <a:cubicBezTo>
                    <a:pt x="5432584" y="230029"/>
                    <a:pt x="5431631" y="235744"/>
                    <a:pt x="5430679" y="240506"/>
                  </a:cubicBezTo>
                  <a:cubicBezTo>
                    <a:pt x="5429726" y="232886"/>
                    <a:pt x="5428774" y="228124"/>
                    <a:pt x="5428774" y="228124"/>
                  </a:cubicBezTo>
                  <a:cubicBezTo>
                    <a:pt x="5428774" y="228124"/>
                    <a:pt x="5428774" y="232886"/>
                    <a:pt x="5428774" y="242411"/>
                  </a:cubicBezTo>
                  <a:cubicBezTo>
                    <a:pt x="5426869" y="234791"/>
                    <a:pt x="5425917" y="228124"/>
                    <a:pt x="5424012" y="222409"/>
                  </a:cubicBezTo>
                  <a:cubicBezTo>
                    <a:pt x="5421154" y="208121"/>
                    <a:pt x="5419249" y="200501"/>
                    <a:pt x="5419249" y="200501"/>
                  </a:cubicBezTo>
                  <a:cubicBezTo>
                    <a:pt x="5419249" y="200501"/>
                    <a:pt x="5419249" y="209074"/>
                    <a:pt x="5420201" y="223361"/>
                  </a:cubicBezTo>
                  <a:cubicBezTo>
                    <a:pt x="5421154" y="235744"/>
                    <a:pt x="5422106" y="253841"/>
                    <a:pt x="5424964" y="274796"/>
                  </a:cubicBezTo>
                  <a:cubicBezTo>
                    <a:pt x="5424012" y="282416"/>
                    <a:pt x="5422106" y="290989"/>
                    <a:pt x="5420201" y="299561"/>
                  </a:cubicBezTo>
                  <a:cubicBezTo>
                    <a:pt x="5419249" y="301466"/>
                    <a:pt x="5419249" y="303371"/>
                    <a:pt x="5418296" y="305276"/>
                  </a:cubicBezTo>
                  <a:cubicBezTo>
                    <a:pt x="5417344" y="302419"/>
                    <a:pt x="5416392" y="300514"/>
                    <a:pt x="5415439" y="298609"/>
                  </a:cubicBezTo>
                  <a:cubicBezTo>
                    <a:pt x="5416392" y="294799"/>
                    <a:pt x="5417344" y="291941"/>
                    <a:pt x="5417344" y="291941"/>
                  </a:cubicBezTo>
                  <a:cubicBezTo>
                    <a:pt x="5417344" y="291941"/>
                    <a:pt x="5416392" y="293846"/>
                    <a:pt x="5414487" y="296704"/>
                  </a:cubicBezTo>
                  <a:cubicBezTo>
                    <a:pt x="5414487" y="296704"/>
                    <a:pt x="5414487" y="295751"/>
                    <a:pt x="5414487" y="295751"/>
                  </a:cubicBezTo>
                  <a:cubicBezTo>
                    <a:pt x="5413534" y="292894"/>
                    <a:pt x="5412581" y="290036"/>
                    <a:pt x="5411629" y="287179"/>
                  </a:cubicBezTo>
                  <a:cubicBezTo>
                    <a:pt x="5413534" y="274796"/>
                    <a:pt x="5414487" y="268129"/>
                    <a:pt x="5414487" y="268129"/>
                  </a:cubicBezTo>
                  <a:cubicBezTo>
                    <a:pt x="5414487" y="268129"/>
                    <a:pt x="5412581" y="272891"/>
                    <a:pt x="5409724" y="282416"/>
                  </a:cubicBezTo>
                  <a:cubicBezTo>
                    <a:pt x="5407819" y="276701"/>
                    <a:pt x="5405914" y="271939"/>
                    <a:pt x="5404009" y="267176"/>
                  </a:cubicBezTo>
                  <a:cubicBezTo>
                    <a:pt x="5402104" y="262414"/>
                    <a:pt x="5401151" y="258604"/>
                    <a:pt x="5399246" y="253841"/>
                  </a:cubicBezTo>
                  <a:cubicBezTo>
                    <a:pt x="5400199" y="240506"/>
                    <a:pt x="5400199" y="232886"/>
                    <a:pt x="5400199" y="232886"/>
                  </a:cubicBezTo>
                  <a:cubicBezTo>
                    <a:pt x="5400199" y="232886"/>
                    <a:pt x="5399246" y="237649"/>
                    <a:pt x="5396389" y="247174"/>
                  </a:cubicBezTo>
                  <a:cubicBezTo>
                    <a:pt x="5396389" y="246221"/>
                    <a:pt x="5395437" y="245269"/>
                    <a:pt x="5395437" y="244316"/>
                  </a:cubicBezTo>
                  <a:cubicBezTo>
                    <a:pt x="5390674" y="231934"/>
                    <a:pt x="5387817" y="224314"/>
                    <a:pt x="5387817" y="224314"/>
                  </a:cubicBezTo>
                  <a:cubicBezTo>
                    <a:pt x="5387817" y="224314"/>
                    <a:pt x="5388769" y="231934"/>
                    <a:pt x="5391626" y="245269"/>
                  </a:cubicBezTo>
                  <a:cubicBezTo>
                    <a:pt x="5392579" y="249079"/>
                    <a:pt x="5393531" y="252889"/>
                    <a:pt x="5394484" y="257651"/>
                  </a:cubicBezTo>
                  <a:cubicBezTo>
                    <a:pt x="5391626" y="269081"/>
                    <a:pt x="5388769" y="283369"/>
                    <a:pt x="5384959" y="300514"/>
                  </a:cubicBezTo>
                  <a:cubicBezTo>
                    <a:pt x="5384959" y="299561"/>
                    <a:pt x="5384959" y="298609"/>
                    <a:pt x="5384006" y="297656"/>
                  </a:cubicBezTo>
                  <a:cubicBezTo>
                    <a:pt x="5383054" y="288131"/>
                    <a:pt x="5382101" y="283369"/>
                    <a:pt x="5382101" y="283369"/>
                  </a:cubicBezTo>
                  <a:cubicBezTo>
                    <a:pt x="5382101" y="283369"/>
                    <a:pt x="5382101" y="284321"/>
                    <a:pt x="5382101" y="287179"/>
                  </a:cubicBezTo>
                  <a:cubicBezTo>
                    <a:pt x="5381149" y="283369"/>
                    <a:pt x="5380196" y="280511"/>
                    <a:pt x="5380196" y="276701"/>
                  </a:cubicBezTo>
                  <a:cubicBezTo>
                    <a:pt x="5380196" y="275749"/>
                    <a:pt x="5379244" y="273844"/>
                    <a:pt x="5379244" y="272891"/>
                  </a:cubicBezTo>
                  <a:cubicBezTo>
                    <a:pt x="5380196" y="270986"/>
                    <a:pt x="5380196" y="269081"/>
                    <a:pt x="5380196" y="269081"/>
                  </a:cubicBezTo>
                  <a:cubicBezTo>
                    <a:pt x="5380196" y="269081"/>
                    <a:pt x="5380196" y="270034"/>
                    <a:pt x="5379244" y="271939"/>
                  </a:cubicBezTo>
                  <a:cubicBezTo>
                    <a:pt x="5376387" y="260509"/>
                    <a:pt x="5374481" y="250984"/>
                    <a:pt x="5372576" y="241459"/>
                  </a:cubicBezTo>
                  <a:cubicBezTo>
                    <a:pt x="5372576" y="238601"/>
                    <a:pt x="5372576" y="235744"/>
                    <a:pt x="5373529" y="232886"/>
                  </a:cubicBezTo>
                  <a:cubicBezTo>
                    <a:pt x="5374481" y="217646"/>
                    <a:pt x="5376387" y="203359"/>
                    <a:pt x="5378292" y="190024"/>
                  </a:cubicBezTo>
                  <a:cubicBezTo>
                    <a:pt x="5379244" y="176689"/>
                    <a:pt x="5382101" y="165259"/>
                    <a:pt x="5384006" y="153829"/>
                  </a:cubicBezTo>
                  <a:cubicBezTo>
                    <a:pt x="5384959" y="148114"/>
                    <a:pt x="5385912" y="143351"/>
                    <a:pt x="5386864" y="138589"/>
                  </a:cubicBezTo>
                  <a:cubicBezTo>
                    <a:pt x="5387817" y="133826"/>
                    <a:pt x="5388769" y="130016"/>
                    <a:pt x="5389721" y="126206"/>
                  </a:cubicBezTo>
                  <a:cubicBezTo>
                    <a:pt x="5392579" y="110966"/>
                    <a:pt x="5394484" y="102394"/>
                    <a:pt x="5394484" y="102394"/>
                  </a:cubicBezTo>
                  <a:cubicBezTo>
                    <a:pt x="5394484" y="102394"/>
                    <a:pt x="5391626" y="110966"/>
                    <a:pt x="5385912" y="125254"/>
                  </a:cubicBezTo>
                  <a:cubicBezTo>
                    <a:pt x="5384959" y="129064"/>
                    <a:pt x="5383054" y="132874"/>
                    <a:pt x="5381149" y="137636"/>
                  </a:cubicBezTo>
                  <a:cubicBezTo>
                    <a:pt x="5379244" y="142399"/>
                    <a:pt x="5378292" y="147161"/>
                    <a:pt x="5376387" y="151924"/>
                  </a:cubicBezTo>
                  <a:cubicBezTo>
                    <a:pt x="5373529" y="162401"/>
                    <a:pt x="5369719" y="174784"/>
                    <a:pt x="5366862" y="188119"/>
                  </a:cubicBezTo>
                  <a:cubicBezTo>
                    <a:pt x="5365909" y="193834"/>
                    <a:pt x="5364004" y="199549"/>
                    <a:pt x="5363051" y="205264"/>
                  </a:cubicBezTo>
                  <a:cubicBezTo>
                    <a:pt x="5361146" y="199549"/>
                    <a:pt x="5360194" y="196691"/>
                    <a:pt x="5360194" y="196691"/>
                  </a:cubicBezTo>
                  <a:cubicBezTo>
                    <a:pt x="5360194" y="196691"/>
                    <a:pt x="5361146" y="201454"/>
                    <a:pt x="5361146" y="210979"/>
                  </a:cubicBezTo>
                  <a:cubicBezTo>
                    <a:pt x="5360194" y="217646"/>
                    <a:pt x="5358289" y="224314"/>
                    <a:pt x="5357337" y="230981"/>
                  </a:cubicBezTo>
                  <a:cubicBezTo>
                    <a:pt x="5356384" y="235744"/>
                    <a:pt x="5355431" y="240506"/>
                    <a:pt x="5355431" y="245269"/>
                  </a:cubicBezTo>
                  <a:cubicBezTo>
                    <a:pt x="5355431" y="241459"/>
                    <a:pt x="5354479" y="238601"/>
                    <a:pt x="5354479" y="235744"/>
                  </a:cubicBezTo>
                  <a:cubicBezTo>
                    <a:pt x="5354479" y="233839"/>
                    <a:pt x="5354479" y="231934"/>
                    <a:pt x="5354479" y="230029"/>
                  </a:cubicBezTo>
                  <a:cubicBezTo>
                    <a:pt x="5355431" y="217646"/>
                    <a:pt x="5355431" y="210979"/>
                    <a:pt x="5355431" y="210979"/>
                  </a:cubicBezTo>
                  <a:cubicBezTo>
                    <a:pt x="5355431" y="210979"/>
                    <a:pt x="5354479" y="214789"/>
                    <a:pt x="5352574" y="222409"/>
                  </a:cubicBezTo>
                  <a:cubicBezTo>
                    <a:pt x="5350669" y="210026"/>
                    <a:pt x="5348764" y="199549"/>
                    <a:pt x="5347812" y="190024"/>
                  </a:cubicBezTo>
                  <a:cubicBezTo>
                    <a:pt x="5347812" y="186214"/>
                    <a:pt x="5347812" y="182404"/>
                    <a:pt x="5347812" y="179546"/>
                  </a:cubicBezTo>
                  <a:cubicBezTo>
                    <a:pt x="5347812" y="167164"/>
                    <a:pt x="5347812" y="160496"/>
                    <a:pt x="5347812" y="160496"/>
                  </a:cubicBezTo>
                  <a:cubicBezTo>
                    <a:pt x="5347812" y="160496"/>
                    <a:pt x="5346859" y="165259"/>
                    <a:pt x="5344954" y="173831"/>
                  </a:cubicBezTo>
                  <a:cubicBezTo>
                    <a:pt x="5342096" y="158591"/>
                    <a:pt x="5341144" y="150019"/>
                    <a:pt x="5341144" y="150019"/>
                  </a:cubicBezTo>
                  <a:cubicBezTo>
                    <a:pt x="5341144" y="150019"/>
                    <a:pt x="5341144" y="160496"/>
                    <a:pt x="5342096" y="177641"/>
                  </a:cubicBezTo>
                  <a:cubicBezTo>
                    <a:pt x="5342096" y="180499"/>
                    <a:pt x="5342096" y="184309"/>
                    <a:pt x="5342096" y="187166"/>
                  </a:cubicBezTo>
                  <a:cubicBezTo>
                    <a:pt x="5341144" y="190976"/>
                    <a:pt x="5341144" y="195739"/>
                    <a:pt x="5340192" y="200501"/>
                  </a:cubicBezTo>
                  <a:cubicBezTo>
                    <a:pt x="5339239" y="209074"/>
                    <a:pt x="5337334" y="218599"/>
                    <a:pt x="5337334" y="229076"/>
                  </a:cubicBezTo>
                  <a:cubicBezTo>
                    <a:pt x="5337334" y="239554"/>
                    <a:pt x="5336381" y="250984"/>
                    <a:pt x="5336381" y="263366"/>
                  </a:cubicBezTo>
                  <a:cubicBezTo>
                    <a:pt x="5336381" y="269081"/>
                    <a:pt x="5336381" y="275749"/>
                    <a:pt x="5336381" y="282416"/>
                  </a:cubicBezTo>
                  <a:cubicBezTo>
                    <a:pt x="5336381" y="282416"/>
                    <a:pt x="5336381" y="282416"/>
                    <a:pt x="5336381" y="282416"/>
                  </a:cubicBezTo>
                  <a:cubicBezTo>
                    <a:pt x="5335429" y="286226"/>
                    <a:pt x="5334476" y="290036"/>
                    <a:pt x="5333524" y="293846"/>
                  </a:cubicBezTo>
                  <a:cubicBezTo>
                    <a:pt x="5333524" y="292894"/>
                    <a:pt x="5332571" y="291941"/>
                    <a:pt x="5332571" y="291941"/>
                  </a:cubicBezTo>
                  <a:cubicBezTo>
                    <a:pt x="5330667" y="287179"/>
                    <a:pt x="5329714" y="282416"/>
                    <a:pt x="5327809" y="278606"/>
                  </a:cubicBezTo>
                  <a:cubicBezTo>
                    <a:pt x="5323999" y="269081"/>
                    <a:pt x="5321142" y="259556"/>
                    <a:pt x="5319237" y="252889"/>
                  </a:cubicBezTo>
                  <a:cubicBezTo>
                    <a:pt x="5313521" y="238601"/>
                    <a:pt x="5310664" y="230029"/>
                    <a:pt x="5310664" y="230029"/>
                  </a:cubicBezTo>
                  <a:cubicBezTo>
                    <a:pt x="5310664" y="230029"/>
                    <a:pt x="5312569" y="238601"/>
                    <a:pt x="5315426" y="253841"/>
                  </a:cubicBezTo>
                  <a:cubicBezTo>
                    <a:pt x="5316379" y="257651"/>
                    <a:pt x="5317331" y="262414"/>
                    <a:pt x="5318284" y="267176"/>
                  </a:cubicBezTo>
                  <a:cubicBezTo>
                    <a:pt x="5316379" y="264319"/>
                    <a:pt x="5315426" y="263366"/>
                    <a:pt x="5315426" y="263366"/>
                  </a:cubicBezTo>
                  <a:cubicBezTo>
                    <a:pt x="5315426" y="263366"/>
                    <a:pt x="5317331" y="268129"/>
                    <a:pt x="5320189" y="276701"/>
                  </a:cubicBezTo>
                  <a:cubicBezTo>
                    <a:pt x="5320189" y="278606"/>
                    <a:pt x="5321142" y="279559"/>
                    <a:pt x="5321142" y="281464"/>
                  </a:cubicBezTo>
                  <a:cubicBezTo>
                    <a:pt x="5322094" y="286226"/>
                    <a:pt x="5323046" y="291941"/>
                    <a:pt x="5324951" y="297656"/>
                  </a:cubicBezTo>
                  <a:cubicBezTo>
                    <a:pt x="5325904" y="300514"/>
                    <a:pt x="5326856" y="303371"/>
                    <a:pt x="5326856" y="306229"/>
                  </a:cubicBezTo>
                  <a:cubicBezTo>
                    <a:pt x="5323999" y="310991"/>
                    <a:pt x="5320189" y="316706"/>
                    <a:pt x="5316379" y="322421"/>
                  </a:cubicBezTo>
                  <a:cubicBezTo>
                    <a:pt x="5313521" y="327184"/>
                    <a:pt x="5309712" y="332899"/>
                    <a:pt x="5306854" y="338614"/>
                  </a:cubicBezTo>
                  <a:cubicBezTo>
                    <a:pt x="5303996" y="343376"/>
                    <a:pt x="5301139" y="349091"/>
                    <a:pt x="5298281" y="354806"/>
                  </a:cubicBezTo>
                  <a:cubicBezTo>
                    <a:pt x="5298281" y="350996"/>
                    <a:pt x="5298281" y="347186"/>
                    <a:pt x="5298281" y="344329"/>
                  </a:cubicBezTo>
                  <a:cubicBezTo>
                    <a:pt x="5299234" y="334804"/>
                    <a:pt x="5300187" y="326231"/>
                    <a:pt x="5301139" y="318611"/>
                  </a:cubicBezTo>
                  <a:cubicBezTo>
                    <a:pt x="5303044" y="308134"/>
                    <a:pt x="5303996" y="299561"/>
                    <a:pt x="5305901" y="291941"/>
                  </a:cubicBezTo>
                  <a:cubicBezTo>
                    <a:pt x="5309712" y="276701"/>
                    <a:pt x="5311617" y="269081"/>
                    <a:pt x="5311617" y="269081"/>
                  </a:cubicBezTo>
                  <a:cubicBezTo>
                    <a:pt x="5311617" y="269081"/>
                    <a:pt x="5307806" y="276701"/>
                    <a:pt x="5302092" y="290989"/>
                  </a:cubicBezTo>
                  <a:cubicBezTo>
                    <a:pt x="5301139" y="293846"/>
                    <a:pt x="5300187" y="295751"/>
                    <a:pt x="5299234" y="298609"/>
                  </a:cubicBezTo>
                  <a:cubicBezTo>
                    <a:pt x="5299234" y="276701"/>
                    <a:pt x="5299234" y="263366"/>
                    <a:pt x="5299234" y="263366"/>
                  </a:cubicBezTo>
                  <a:cubicBezTo>
                    <a:pt x="5299234" y="263366"/>
                    <a:pt x="5295424" y="284321"/>
                    <a:pt x="5290662" y="317659"/>
                  </a:cubicBezTo>
                  <a:cubicBezTo>
                    <a:pt x="5290662" y="315754"/>
                    <a:pt x="5289709" y="314801"/>
                    <a:pt x="5289709" y="312896"/>
                  </a:cubicBezTo>
                  <a:cubicBezTo>
                    <a:pt x="5287804" y="306229"/>
                    <a:pt x="5286851" y="300514"/>
                    <a:pt x="5284946" y="295751"/>
                  </a:cubicBezTo>
                  <a:cubicBezTo>
                    <a:pt x="5284946" y="295751"/>
                    <a:pt x="5284946" y="295751"/>
                    <a:pt x="5284946" y="295751"/>
                  </a:cubicBezTo>
                  <a:cubicBezTo>
                    <a:pt x="5284946" y="295751"/>
                    <a:pt x="5284946" y="295751"/>
                    <a:pt x="5284946" y="295751"/>
                  </a:cubicBezTo>
                  <a:cubicBezTo>
                    <a:pt x="5283994" y="291941"/>
                    <a:pt x="5283042" y="288131"/>
                    <a:pt x="5282089" y="284321"/>
                  </a:cubicBezTo>
                  <a:cubicBezTo>
                    <a:pt x="5282089" y="283369"/>
                    <a:pt x="5282089" y="283369"/>
                    <a:pt x="5281137" y="282416"/>
                  </a:cubicBezTo>
                  <a:cubicBezTo>
                    <a:pt x="5285899" y="264319"/>
                    <a:pt x="5288756" y="252889"/>
                    <a:pt x="5288756" y="252889"/>
                  </a:cubicBezTo>
                  <a:cubicBezTo>
                    <a:pt x="5288756" y="252889"/>
                    <a:pt x="5284946" y="260509"/>
                    <a:pt x="5279231" y="273844"/>
                  </a:cubicBezTo>
                  <a:cubicBezTo>
                    <a:pt x="5278279" y="269081"/>
                    <a:pt x="5276374" y="265271"/>
                    <a:pt x="5275421" y="262414"/>
                  </a:cubicBezTo>
                  <a:cubicBezTo>
                    <a:pt x="5270659" y="250031"/>
                    <a:pt x="5268754" y="243364"/>
                    <a:pt x="5268754" y="243364"/>
                  </a:cubicBezTo>
                  <a:cubicBezTo>
                    <a:pt x="5268754" y="243364"/>
                    <a:pt x="5269706" y="250031"/>
                    <a:pt x="5271612" y="262414"/>
                  </a:cubicBezTo>
                  <a:cubicBezTo>
                    <a:pt x="5272564" y="268129"/>
                    <a:pt x="5273517" y="275749"/>
                    <a:pt x="5274469" y="283369"/>
                  </a:cubicBezTo>
                  <a:cubicBezTo>
                    <a:pt x="5270659" y="290989"/>
                    <a:pt x="5266849" y="300514"/>
                    <a:pt x="5263039" y="310039"/>
                  </a:cubicBezTo>
                  <a:cubicBezTo>
                    <a:pt x="5263039" y="305276"/>
                    <a:pt x="5263039" y="302419"/>
                    <a:pt x="5263039" y="302419"/>
                  </a:cubicBezTo>
                  <a:cubicBezTo>
                    <a:pt x="5263039" y="302419"/>
                    <a:pt x="5262087" y="305276"/>
                    <a:pt x="5260181" y="310039"/>
                  </a:cubicBezTo>
                  <a:cubicBezTo>
                    <a:pt x="5260181" y="310039"/>
                    <a:pt x="5260181" y="309086"/>
                    <a:pt x="5260181" y="309086"/>
                  </a:cubicBezTo>
                  <a:cubicBezTo>
                    <a:pt x="5260181" y="306229"/>
                    <a:pt x="5260181" y="303371"/>
                    <a:pt x="5261134" y="301466"/>
                  </a:cubicBezTo>
                  <a:cubicBezTo>
                    <a:pt x="5261134" y="294799"/>
                    <a:pt x="5262087" y="289084"/>
                    <a:pt x="5262087" y="284321"/>
                  </a:cubicBezTo>
                  <a:cubicBezTo>
                    <a:pt x="5263039" y="274796"/>
                    <a:pt x="5263039" y="269081"/>
                    <a:pt x="5263039" y="269081"/>
                  </a:cubicBezTo>
                  <a:cubicBezTo>
                    <a:pt x="5263039" y="269081"/>
                    <a:pt x="5261134" y="273844"/>
                    <a:pt x="5258276" y="283369"/>
                  </a:cubicBezTo>
                  <a:cubicBezTo>
                    <a:pt x="5258276" y="284321"/>
                    <a:pt x="5257324" y="286226"/>
                    <a:pt x="5257324" y="287179"/>
                  </a:cubicBezTo>
                  <a:cubicBezTo>
                    <a:pt x="5256371" y="282416"/>
                    <a:pt x="5256371" y="277654"/>
                    <a:pt x="5255419" y="273844"/>
                  </a:cubicBezTo>
                  <a:cubicBezTo>
                    <a:pt x="5255419" y="272891"/>
                    <a:pt x="5255419" y="271939"/>
                    <a:pt x="5255419" y="271939"/>
                  </a:cubicBezTo>
                  <a:cubicBezTo>
                    <a:pt x="5255419" y="271939"/>
                    <a:pt x="5255419" y="271939"/>
                    <a:pt x="5255419" y="270986"/>
                  </a:cubicBezTo>
                  <a:cubicBezTo>
                    <a:pt x="5256371" y="268129"/>
                    <a:pt x="5256371" y="266224"/>
                    <a:pt x="5256371" y="266224"/>
                  </a:cubicBezTo>
                  <a:cubicBezTo>
                    <a:pt x="5256371" y="266224"/>
                    <a:pt x="5256371" y="267176"/>
                    <a:pt x="5255419" y="268129"/>
                  </a:cubicBezTo>
                  <a:cubicBezTo>
                    <a:pt x="5256371" y="255746"/>
                    <a:pt x="5257324" y="244316"/>
                    <a:pt x="5258276" y="232886"/>
                  </a:cubicBezTo>
                  <a:cubicBezTo>
                    <a:pt x="5262087" y="188119"/>
                    <a:pt x="5263039" y="158591"/>
                    <a:pt x="5263039" y="158591"/>
                  </a:cubicBezTo>
                  <a:cubicBezTo>
                    <a:pt x="5263039" y="158591"/>
                    <a:pt x="5258276" y="175736"/>
                    <a:pt x="5252562" y="204311"/>
                  </a:cubicBezTo>
                  <a:cubicBezTo>
                    <a:pt x="5253514" y="193834"/>
                    <a:pt x="5254467" y="183356"/>
                    <a:pt x="5255419" y="173831"/>
                  </a:cubicBezTo>
                  <a:cubicBezTo>
                    <a:pt x="5256371" y="160496"/>
                    <a:pt x="5257324" y="150019"/>
                    <a:pt x="5258276" y="140494"/>
                  </a:cubicBezTo>
                  <a:cubicBezTo>
                    <a:pt x="5260181" y="121444"/>
                    <a:pt x="5260181" y="110966"/>
                    <a:pt x="5260181" y="110966"/>
                  </a:cubicBezTo>
                  <a:cubicBezTo>
                    <a:pt x="5260181" y="110966"/>
                    <a:pt x="5257324" y="121444"/>
                    <a:pt x="5254467" y="139541"/>
                  </a:cubicBezTo>
                  <a:cubicBezTo>
                    <a:pt x="5252562" y="149066"/>
                    <a:pt x="5250656" y="159544"/>
                    <a:pt x="5247799" y="172879"/>
                  </a:cubicBezTo>
                  <a:cubicBezTo>
                    <a:pt x="5246846" y="179546"/>
                    <a:pt x="5244942" y="186214"/>
                    <a:pt x="5243989" y="192881"/>
                  </a:cubicBezTo>
                  <a:cubicBezTo>
                    <a:pt x="5243989" y="195739"/>
                    <a:pt x="5243037" y="198596"/>
                    <a:pt x="5243037" y="201454"/>
                  </a:cubicBezTo>
                  <a:cubicBezTo>
                    <a:pt x="5242084" y="197644"/>
                    <a:pt x="5241131" y="194786"/>
                    <a:pt x="5241131" y="194786"/>
                  </a:cubicBezTo>
                  <a:cubicBezTo>
                    <a:pt x="5241131" y="194786"/>
                    <a:pt x="5241131" y="199549"/>
                    <a:pt x="5241131" y="209074"/>
                  </a:cubicBezTo>
                  <a:cubicBezTo>
                    <a:pt x="5241131" y="210979"/>
                    <a:pt x="5240179" y="213836"/>
                    <a:pt x="5240179" y="215741"/>
                  </a:cubicBezTo>
                  <a:cubicBezTo>
                    <a:pt x="5239226" y="225266"/>
                    <a:pt x="5237321" y="235744"/>
                    <a:pt x="5235417" y="246221"/>
                  </a:cubicBezTo>
                  <a:cubicBezTo>
                    <a:pt x="5234464" y="248126"/>
                    <a:pt x="5232559" y="250984"/>
                    <a:pt x="5230654" y="252889"/>
                  </a:cubicBezTo>
                  <a:cubicBezTo>
                    <a:pt x="5227796" y="256699"/>
                    <a:pt x="5225892" y="261461"/>
                    <a:pt x="5222081" y="266224"/>
                  </a:cubicBezTo>
                  <a:cubicBezTo>
                    <a:pt x="5220176" y="270034"/>
                    <a:pt x="5217319" y="274796"/>
                    <a:pt x="5215414" y="279559"/>
                  </a:cubicBezTo>
                  <a:cubicBezTo>
                    <a:pt x="5215414" y="279559"/>
                    <a:pt x="5215414" y="279559"/>
                    <a:pt x="5215414" y="278606"/>
                  </a:cubicBezTo>
                  <a:cubicBezTo>
                    <a:pt x="5216367" y="276701"/>
                    <a:pt x="5216367" y="275749"/>
                    <a:pt x="5216367" y="275749"/>
                  </a:cubicBezTo>
                  <a:cubicBezTo>
                    <a:pt x="5216367" y="275749"/>
                    <a:pt x="5216367" y="276701"/>
                    <a:pt x="5215414" y="277654"/>
                  </a:cubicBezTo>
                  <a:cubicBezTo>
                    <a:pt x="5213509" y="267176"/>
                    <a:pt x="5212556" y="257651"/>
                    <a:pt x="5211604" y="249079"/>
                  </a:cubicBezTo>
                  <a:cubicBezTo>
                    <a:pt x="5210651" y="239554"/>
                    <a:pt x="5209699" y="230981"/>
                    <a:pt x="5208746" y="224314"/>
                  </a:cubicBezTo>
                  <a:cubicBezTo>
                    <a:pt x="5206842" y="210979"/>
                    <a:pt x="5205889" y="202406"/>
                    <a:pt x="5205889" y="202406"/>
                  </a:cubicBezTo>
                  <a:cubicBezTo>
                    <a:pt x="5205889" y="202406"/>
                    <a:pt x="5205889" y="210026"/>
                    <a:pt x="5204937" y="224314"/>
                  </a:cubicBezTo>
                  <a:cubicBezTo>
                    <a:pt x="5204937" y="230981"/>
                    <a:pt x="5204937" y="239554"/>
                    <a:pt x="5204937" y="249079"/>
                  </a:cubicBezTo>
                  <a:cubicBezTo>
                    <a:pt x="5204937" y="253841"/>
                    <a:pt x="5204937" y="258604"/>
                    <a:pt x="5204937" y="264319"/>
                  </a:cubicBezTo>
                  <a:cubicBezTo>
                    <a:pt x="5204937" y="270034"/>
                    <a:pt x="5204937" y="275749"/>
                    <a:pt x="5205889" y="281464"/>
                  </a:cubicBezTo>
                  <a:cubicBezTo>
                    <a:pt x="5205889" y="284321"/>
                    <a:pt x="5205889" y="286226"/>
                    <a:pt x="5205889" y="289084"/>
                  </a:cubicBezTo>
                  <a:cubicBezTo>
                    <a:pt x="5204937" y="287179"/>
                    <a:pt x="5203984" y="286226"/>
                    <a:pt x="5203984" y="286226"/>
                  </a:cubicBezTo>
                  <a:cubicBezTo>
                    <a:pt x="5203984" y="286226"/>
                    <a:pt x="5204937" y="288131"/>
                    <a:pt x="5205889" y="290989"/>
                  </a:cubicBezTo>
                  <a:cubicBezTo>
                    <a:pt x="5205889" y="290989"/>
                    <a:pt x="5205889" y="290989"/>
                    <a:pt x="5205889" y="291941"/>
                  </a:cubicBezTo>
                  <a:cubicBezTo>
                    <a:pt x="5204937" y="290036"/>
                    <a:pt x="5203984" y="289084"/>
                    <a:pt x="5203984" y="287179"/>
                  </a:cubicBezTo>
                  <a:cubicBezTo>
                    <a:pt x="5203984" y="287179"/>
                    <a:pt x="5203984" y="287179"/>
                    <a:pt x="5203984" y="287179"/>
                  </a:cubicBezTo>
                  <a:cubicBezTo>
                    <a:pt x="5203984" y="287179"/>
                    <a:pt x="5203984" y="287179"/>
                    <a:pt x="5203984" y="287179"/>
                  </a:cubicBezTo>
                  <a:cubicBezTo>
                    <a:pt x="5201126" y="281464"/>
                    <a:pt x="5199221" y="278606"/>
                    <a:pt x="5199221" y="278606"/>
                  </a:cubicBezTo>
                  <a:cubicBezTo>
                    <a:pt x="5199221" y="278606"/>
                    <a:pt x="5200174" y="283369"/>
                    <a:pt x="5202079" y="290989"/>
                  </a:cubicBezTo>
                  <a:cubicBezTo>
                    <a:pt x="5201126" y="292894"/>
                    <a:pt x="5200174" y="295751"/>
                    <a:pt x="5198269" y="300514"/>
                  </a:cubicBezTo>
                  <a:cubicBezTo>
                    <a:pt x="5197317" y="298609"/>
                    <a:pt x="5196364" y="297656"/>
                    <a:pt x="5195412" y="295751"/>
                  </a:cubicBezTo>
                  <a:cubicBezTo>
                    <a:pt x="5193506" y="284321"/>
                    <a:pt x="5192554" y="273844"/>
                    <a:pt x="5191601" y="263366"/>
                  </a:cubicBezTo>
                  <a:cubicBezTo>
                    <a:pt x="5187792" y="232886"/>
                    <a:pt x="5185887" y="208121"/>
                    <a:pt x="5184934" y="190024"/>
                  </a:cubicBezTo>
                  <a:cubicBezTo>
                    <a:pt x="5183981" y="181451"/>
                    <a:pt x="5183981" y="173831"/>
                    <a:pt x="5183981" y="169069"/>
                  </a:cubicBezTo>
                  <a:cubicBezTo>
                    <a:pt x="5183981" y="164306"/>
                    <a:pt x="5183981" y="161449"/>
                    <a:pt x="5183981" y="161449"/>
                  </a:cubicBezTo>
                  <a:cubicBezTo>
                    <a:pt x="5183981" y="161449"/>
                    <a:pt x="5183981" y="164306"/>
                    <a:pt x="5183029" y="169069"/>
                  </a:cubicBezTo>
                  <a:cubicBezTo>
                    <a:pt x="5182076" y="173831"/>
                    <a:pt x="5182076" y="180499"/>
                    <a:pt x="5181124" y="190024"/>
                  </a:cubicBezTo>
                  <a:cubicBezTo>
                    <a:pt x="5181124" y="196691"/>
                    <a:pt x="5180171" y="204311"/>
                    <a:pt x="5180171" y="211931"/>
                  </a:cubicBezTo>
                  <a:cubicBezTo>
                    <a:pt x="5179219" y="212884"/>
                    <a:pt x="5178267" y="213836"/>
                    <a:pt x="5177314" y="215741"/>
                  </a:cubicBezTo>
                  <a:cubicBezTo>
                    <a:pt x="5174456" y="219551"/>
                    <a:pt x="5170646" y="224314"/>
                    <a:pt x="5165884" y="231934"/>
                  </a:cubicBezTo>
                  <a:cubicBezTo>
                    <a:pt x="5164931" y="232886"/>
                    <a:pt x="5163979" y="234791"/>
                    <a:pt x="5163979" y="235744"/>
                  </a:cubicBezTo>
                  <a:cubicBezTo>
                    <a:pt x="5163026" y="233839"/>
                    <a:pt x="5162074" y="231934"/>
                    <a:pt x="5161121" y="230029"/>
                  </a:cubicBezTo>
                  <a:cubicBezTo>
                    <a:pt x="5161121" y="230029"/>
                    <a:pt x="5161121" y="229076"/>
                    <a:pt x="5161121" y="229076"/>
                  </a:cubicBezTo>
                  <a:cubicBezTo>
                    <a:pt x="5162074" y="222409"/>
                    <a:pt x="5162074" y="217646"/>
                    <a:pt x="5163026" y="213836"/>
                  </a:cubicBezTo>
                  <a:cubicBezTo>
                    <a:pt x="5163979" y="210026"/>
                    <a:pt x="5163979" y="208121"/>
                    <a:pt x="5163979" y="208121"/>
                  </a:cubicBezTo>
                  <a:cubicBezTo>
                    <a:pt x="5163979" y="208121"/>
                    <a:pt x="5161121" y="213836"/>
                    <a:pt x="5158264" y="224314"/>
                  </a:cubicBezTo>
                  <a:cubicBezTo>
                    <a:pt x="5157312" y="222409"/>
                    <a:pt x="5156359" y="221456"/>
                    <a:pt x="5156359" y="220504"/>
                  </a:cubicBezTo>
                  <a:cubicBezTo>
                    <a:pt x="5152549" y="213836"/>
                    <a:pt x="5149692" y="208121"/>
                    <a:pt x="5147787" y="205264"/>
                  </a:cubicBezTo>
                  <a:cubicBezTo>
                    <a:pt x="5146834" y="195739"/>
                    <a:pt x="5145881" y="186214"/>
                    <a:pt x="5144929" y="178594"/>
                  </a:cubicBezTo>
                  <a:cubicBezTo>
                    <a:pt x="5143024" y="159544"/>
                    <a:pt x="5141119" y="149066"/>
                    <a:pt x="5141119" y="149066"/>
                  </a:cubicBezTo>
                  <a:cubicBezTo>
                    <a:pt x="5141119" y="149066"/>
                    <a:pt x="5141119" y="159544"/>
                    <a:pt x="5141119" y="178594"/>
                  </a:cubicBezTo>
                  <a:cubicBezTo>
                    <a:pt x="5141119" y="197644"/>
                    <a:pt x="5141119" y="224314"/>
                    <a:pt x="5141119" y="255746"/>
                  </a:cubicBezTo>
                  <a:cubicBezTo>
                    <a:pt x="5141119" y="256699"/>
                    <a:pt x="5141119" y="257651"/>
                    <a:pt x="5141119" y="258604"/>
                  </a:cubicBezTo>
                  <a:cubicBezTo>
                    <a:pt x="5140167" y="259556"/>
                    <a:pt x="5140167" y="259556"/>
                    <a:pt x="5139214" y="260509"/>
                  </a:cubicBezTo>
                  <a:cubicBezTo>
                    <a:pt x="5138262" y="261461"/>
                    <a:pt x="5136356" y="263366"/>
                    <a:pt x="5134451" y="265271"/>
                  </a:cubicBezTo>
                  <a:cubicBezTo>
                    <a:pt x="5131594" y="216694"/>
                    <a:pt x="5128737" y="184309"/>
                    <a:pt x="5128737" y="184309"/>
                  </a:cubicBezTo>
                  <a:cubicBezTo>
                    <a:pt x="5128737" y="184309"/>
                    <a:pt x="5126831" y="204311"/>
                    <a:pt x="5124926" y="236696"/>
                  </a:cubicBezTo>
                  <a:cubicBezTo>
                    <a:pt x="5121117" y="225266"/>
                    <a:pt x="5119212" y="219551"/>
                    <a:pt x="5119212" y="219551"/>
                  </a:cubicBezTo>
                  <a:cubicBezTo>
                    <a:pt x="5119212" y="219551"/>
                    <a:pt x="5121117" y="230029"/>
                    <a:pt x="5123974" y="249079"/>
                  </a:cubicBezTo>
                  <a:cubicBezTo>
                    <a:pt x="5123974" y="251936"/>
                    <a:pt x="5123974" y="255746"/>
                    <a:pt x="5123021" y="258604"/>
                  </a:cubicBezTo>
                  <a:cubicBezTo>
                    <a:pt x="5122069" y="263366"/>
                    <a:pt x="5121117" y="270034"/>
                    <a:pt x="5120164" y="279559"/>
                  </a:cubicBezTo>
                  <a:cubicBezTo>
                    <a:pt x="5119212" y="281464"/>
                    <a:pt x="5117306" y="283369"/>
                    <a:pt x="5116354" y="285274"/>
                  </a:cubicBezTo>
                  <a:cubicBezTo>
                    <a:pt x="5113496" y="289084"/>
                    <a:pt x="5109687" y="293846"/>
                    <a:pt x="5106829" y="298609"/>
                  </a:cubicBezTo>
                  <a:cubicBezTo>
                    <a:pt x="5105876" y="299561"/>
                    <a:pt x="5104924" y="301466"/>
                    <a:pt x="5103971" y="303371"/>
                  </a:cubicBezTo>
                  <a:cubicBezTo>
                    <a:pt x="5097304" y="287179"/>
                    <a:pt x="5090637" y="272891"/>
                    <a:pt x="5085874" y="261461"/>
                  </a:cubicBezTo>
                  <a:cubicBezTo>
                    <a:pt x="5085874" y="261461"/>
                    <a:pt x="5085874" y="261461"/>
                    <a:pt x="5086826" y="261461"/>
                  </a:cubicBezTo>
                  <a:cubicBezTo>
                    <a:pt x="5089684" y="260509"/>
                    <a:pt x="5091589" y="260509"/>
                    <a:pt x="5091589" y="260509"/>
                  </a:cubicBezTo>
                  <a:cubicBezTo>
                    <a:pt x="5091589" y="260509"/>
                    <a:pt x="5089684" y="260509"/>
                    <a:pt x="5086826" y="260509"/>
                  </a:cubicBezTo>
                  <a:cubicBezTo>
                    <a:pt x="5086826" y="260509"/>
                    <a:pt x="5085874" y="260509"/>
                    <a:pt x="5085874" y="260509"/>
                  </a:cubicBezTo>
                  <a:cubicBezTo>
                    <a:pt x="5078254" y="243364"/>
                    <a:pt x="5073492" y="232886"/>
                    <a:pt x="5071587" y="230029"/>
                  </a:cubicBezTo>
                  <a:cubicBezTo>
                    <a:pt x="5071587" y="225266"/>
                    <a:pt x="5071587" y="222409"/>
                    <a:pt x="5071587" y="222409"/>
                  </a:cubicBezTo>
                  <a:cubicBezTo>
                    <a:pt x="5071587" y="222409"/>
                    <a:pt x="5070634" y="224314"/>
                    <a:pt x="5069681" y="227171"/>
                  </a:cubicBezTo>
                  <a:cubicBezTo>
                    <a:pt x="5066824" y="214789"/>
                    <a:pt x="5063967" y="203359"/>
                    <a:pt x="5062062" y="192881"/>
                  </a:cubicBezTo>
                  <a:cubicBezTo>
                    <a:pt x="5061109" y="186214"/>
                    <a:pt x="5059204" y="180499"/>
                    <a:pt x="5058251" y="174784"/>
                  </a:cubicBezTo>
                  <a:cubicBezTo>
                    <a:pt x="5057299" y="169069"/>
                    <a:pt x="5056346" y="164306"/>
                    <a:pt x="5055394" y="159544"/>
                  </a:cubicBezTo>
                  <a:cubicBezTo>
                    <a:pt x="5051584" y="140494"/>
                    <a:pt x="5049679" y="130016"/>
                    <a:pt x="5049679" y="130016"/>
                  </a:cubicBezTo>
                  <a:cubicBezTo>
                    <a:pt x="5049679" y="130016"/>
                    <a:pt x="5050631" y="140494"/>
                    <a:pt x="5050631" y="159544"/>
                  </a:cubicBezTo>
                  <a:cubicBezTo>
                    <a:pt x="5050631" y="164306"/>
                    <a:pt x="5051584" y="169069"/>
                    <a:pt x="5051584" y="174784"/>
                  </a:cubicBezTo>
                  <a:cubicBezTo>
                    <a:pt x="5052537" y="180499"/>
                    <a:pt x="5052537" y="186214"/>
                    <a:pt x="5053489" y="192881"/>
                  </a:cubicBezTo>
                  <a:cubicBezTo>
                    <a:pt x="5055394" y="206216"/>
                    <a:pt x="5056346" y="220504"/>
                    <a:pt x="5059204" y="236696"/>
                  </a:cubicBezTo>
                  <a:cubicBezTo>
                    <a:pt x="5060156" y="240506"/>
                    <a:pt x="5061109" y="245269"/>
                    <a:pt x="5061109" y="249079"/>
                  </a:cubicBezTo>
                  <a:cubicBezTo>
                    <a:pt x="5059204" y="254794"/>
                    <a:pt x="5057299" y="262414"/>
                    <a:pt x="5055394" y="270034"/>
                  </a:cubicBezTo>
                  <a:cubicBezTo>
                    <a:pt x="5054442" y="270986"/>
                    <a:pt x="5053489" y="270986"/>
                    <a:pt x="5052537" y="271939"/>
                  </a:cubicBezTo>
                  <a:cubicBezTo>
                    <a:pt x="5052537" y="271939"/>
                    <a:pt x="5052537" y="271939"/>
                    <a:pt x="5052537" y="271939"/>
                  </a:cubicBezTo>
                  <a:cubicBezTo>
                    <a:pt x="5051584" y="269081"/>
                    <a:pt x="5051584" y="267176"/>
                    <a:pt x="5051584" y="267176"/>
                  </a:cubicBezTo>
                  <a:cubicBezTo>
                    <a:pt x="5051584" y="267176"/>
                    <a:pt x="5051584" y="268129"/>
                    <a:pt x="5051584" y="269081"/>
                  </a:cubicBezTo>
                  <a:cubicBezTo>
                    <a:pt x="5050631" y="266224"/>
                    <a:pt x="5049679" y="264319"/>
                    <a:pt x="5048726" y="261461"/>
                  </a:cubicBezTo>
                  <a:cubicBezTo>
                    <a:pt x="5048726" y="261461"/>
                    <a:pt x="5048726" y="261461"/>
                    <a:pt x="5048726" y="261461"/>
                  </a:cubicBezTo>
                  <a:cubicBezTo>
                    <a:pt x="5049679" y="255746"/>
                    <a:pt x="5050631" y="252889"/>
                    <a:pt x="5050631" y="252889"/>
                  </a:cubicBezTo>
                  <a:cubicBezTo>
                    <a:pt x="5050631" y="252889"/>
                    <a:pt x="5049679" y="254794"/>
                    <a:pt x="5047774" y="259556"/>
                  </a:cubicBezTo>
                  <a:cubicBezTo>
                    <a:pt x="5043964" y="250984"/>
                    <a:pt x="5041106" y="243364"/>
                    <a:pt x="5039201" y="236696"/>
                  </a:cubicBezTo>
                  <a:cubicBezTo>
                    <a:pt x="5034439" y="222409"/>
                    <a:pt x="5031581" y="214789"/>
                    <a:pt x="5031581" y="214789"/>
                  </a:cubicBezTo>
                  <a:cubicBezTo>
                    <a:pt x="5031581" y="214789"/>
                    <a:pt x="5033487" y="223361"/>
                    <a:pt x="5035392" y="237649"/>
                  </a:cubicBezTo>
                  <a:cubicBezTo>
                    <a:pt x="5036344" y="243364"/>
                    <a:pt x="5037296" y="249079"/>
                    <a:pt x="5039201" y="256699"/>
                  </a:cubicBezTo>
                  <a:cubicBezTo>
                    <a:pt x="5038249" y="258604"/>
                    <a:pt x="5036344" y="261461"/>
                    <a:pt x="5034439" y="265271"/>
                  </a:cubicBezTo>
                  <a:cubicBezTo>
                    <a:pt x="5034439" y="264319"/>
                    <a:pt x="5034439" y="263366"/>
                    <a:pt x="5034439" y="262414"/>
                  </a:cubicBezTo>
                  <a:cubicBezTo>
                    <a:pt x="5033487" y="253841"/>
                    <a:pt x="5031581" y="247174"/>
                    <a:pt x="5030629" y="241459"/>
                  </a:cubicBezTo>
                  <a:cubicBezTo>
                    <a:pt x="5028724" y="230029"/>
                    <a:pt x="5026819" y="223361"/>
                    <a:pt x="5026819" y="223361"/>
                  </a:cubicBezTo>
                  <a:cubicBezTo>
                    <a:pt x="5026819" y="223361"/>
                    <a:pt x="5026819" y="230029"/>
                    <a:pt x="5025867" y="242411"/>
                  </a:cubicBezTo>
                  <a:cubicBezTo>
                    <a:pt x="5025867" y="248126"/>
                    <a:pt x="5025867" y="255746"/>
                    <a:pt x="5025867" y="263366"/>
                  </a:cubicBezTo>
                  <a:cubicBezTo>
                    <a:pt x="5025867" y="267176"/>
                    <a:pt x="5025867" y="271939"/>
                    <a:pt x="5025867" y="276701"/>
                  </a:cubicBezTo>
                  <a:cubicBezTo>
                    <a:pt x="5025867" y="277654"/>
                    <a:pt x="5025867" y="279559"/>
                    <a:pt x="5025867" y="281464"/>
                  </a:cubicBezTo>
                  <a:cubicBezTo>
                    <a:pt x="5020151" y="274796"/>
                    <a:pt x="5015389" y="268129"/>
                    <a:pt x="5010626" y="263366"/>
                  </a:cubicBezTo>
                  <a:cubicBezTo>
                    <a:pt x="5003006" y="255746"/>
                    <a:pt x="4998244" y="250984"/>
                    <a:pt x="4995387" y="248126"/>
                  </a:cubicBezTo>
                  <a:cubicBezTo>
                    <a:pt x="4996339" y="245269"/>
                    <a:pt x="4997292" y="243364"/>
                    <a:pt x="4997292" y="243364"/>
                  </a:cubicBezTo>
                  <a:cubicBezTo>
                    <a:pt x="4997292" y="243364"/>
                    <a:pt x="4996339" y="245269"/>
                    <a:pt x="4994434" y="248126"/>
                  </a:cubicBezTo>
                  <a:cubicBezTo>
                    <a:pt x="4993481" y="247174"/>
                    <a:pt x="4992529" y="246221"/>
                    <a:pt x="4992529" y="246221"/>
                  </a:cubicBezTo>
                  <a:cubicBezTo>
                    <a:pt x="4994434" y="211931"/>
                    <a:pt x="4994434" y="190024"/>
                    <a:pt x="4994434" y="190024"/>
                  </a:cubicBezTo>
                  <a:cubicBezTo>
                    <a:pt x="4994434" y="190024"/>
                    <a:pt x="4988719" y="210026"/>
                    <a:pt x="4983004" y="240506"/>
                  </a:cubicBezTo>
                  <a:cubicBezTo>
                    <a:pt x="4982051" y="239554"/>
                    <a:pt x="4981099" y="238601"/>
                    <a:pt x="4981099" y="238601"/>
                  </a:cubicBezTo>
                  <a:cubicBezTo>
                    <a:pt x="4967764" y="226219"/>
                    <a:pt x="4959192" y="219551"/>
                    <a:pt x="4959192" y="219551"/>
                  </a:cubicBezTo>
                  <a:cubicBezTo>
                    <a:pt x="4959192" y="219551"/>
                    <a:pt x="4965859" y="227171"/>
                    <a:pt x="4978242" y="241459"/>
                  </a:cubicBezTo>
                  <a:cubicBezTo>
                    <a:pt x="4979194" y="243364"/>
                    <a:pt x="4981099" y="244316"/>
                    <a:pt x="4982051" y="246221"/>
                  </a:cubicBezTo>
                  <a:cubicBezTo>
                    <a:pt x="4982051" y="247174"/>
                    <a:pt x="4982051" y="248126"/>
                    <a:pt x="4982051" y="248126"/>
                  </a:cubicBezTo>
                  <a:cubicBezTo>
                    <a:pt x="4980146" y="257651"/>
                    <a:pt x="4978242" y="268129"/>
                    <a:pt x="4976337" y="279559"/>
                  </a:cubicBezTo>
                  <a:cubicBezTo>
                    <a:pt x="4974431" y="283369"/>
                    <a:pt x="4971574" y="287179"/>
                    <a:pt x="4969669" y="290989"/>
                  </a:cubicBezTo>
                  <a:cubicBezTo>
                    <a:pt x="4965859" y="281464"/>
                    <a:pt x="4963001" y="272891"/>
                    <a:pt x="4960144" y="265271"/>
                  </a:cubicBezTo>
                  <a:cubicBezTo>
                    <a:pt x="4960144" y="265271"/>
                    <a:pt x="4960144" y="264319"/>
                    <a:pt x="4960144" y="264319"/>
                  </a:cubicBezTo>
                  <a:cubicBezTo>
                    <a:pt x="4960144" y="253841"/>
                    <a:pt x="4960144" y="245269"/>
                    <a:pt x="4959192" y="237649"/>
                  </a:cubicBezTo>
                  <a:cubicBezTo>
                    <a:pt x="4958239" y="223361"/>
                    <a:pt x="4958239" y="215741"/>
                    <a:pt x="4958239" y="214789"/>
                  </a:cubicBezTo>
                  <a:cubicBezTo>
                    <a:pt x="4963001" y="194786"/>
                    <a:pt x="4965859" y="177641"/>
                    <a:pt x="4968717" y="164306"/>
                  </a:cubicBezTo>
                  <a:cubicBezTo>
                    <a:pt x="4972526" y="145256"/>
                    <a:pt x="4974431" y="134779"/>
                    <a:pt x="4974431" y="134779"/>
                  </a:cubicBezTo>
                  <a:cubicBezTo>
                    <a:pt x="4974431" y="134779"/>
                    <a:pt x="4970621" y="145256"/>
                    <a:pt x="4964906" y="163354"/>
                  </a:cubicBezTo>
                  <a:cubicBezTo>
                    <a:pt x="4962049" y="171926"/>
                    <a:pt x="4959192" y="181451"/>
                    <a:pt x="4955381" y="191929"/>
                  </a:cubicBezTo>
                  <a:cubicBezTo>
                    <a:pt x="4955381" y="182404"/>
                    <a:pt x="4955381" y="176689"/>
                    <a:pt x="4955381" y="176689"/>
                  </a:cubicBezTo>
                  <a:cubicBezTo>
                    <a:pt x="4955381" y="176689"/>
                    <a:pt x="4954429" y="186214"/>
                    <a:pt x="4952524" y="202406"/>
                  </a:cubicBezTo>
                  <a:cubicBezTo>
                    <a:pt x="4952524" y="202406"/>
                    <a:pt x="4952524" y="203359"/>
                    <a:pt x="4952524" y="203359"/>
                  </a:cubicBezTo>
                  <a:cubicBezTo>
                    <a:pt x="4949667" y="210979"/>
                    <a:pt x="4947762" y="218599"/>
                    <a:pt x="4944904" y="227171"/>
                  </a:cubicBezTo>
                  <a:cubicBezTo>
                    <a:pt x="4944904" y="227171"/>
                    <a:pt x="4944904" y="226219"/>
                    <a:pt x="4944904" y="226219"/>
                  </a:cubicBezTo>
                  <a:cubicBezTo>
                    <a:pt x="4939189" y="209074"/>
                    <a:pt x="4936331" y="199549"/>
                    <a:pt x="4936331" y="199549"/>
                  </a:cubicBezTo>
                  <a:cubicBezTo>
                    <a:pt x="4936331" y="199549"/>
                    <a:pt x="4938237" y="213836"/>
                    <a:pt x="4942046" y="236696"/>
                  </a:cubicBezTo>
                  <a:cubicBezTo>
                    <a:pt x="4942046" y="237649"/>
                    <a:pt x="4941094" y="238601"/>
                    <a:pt x="4941094" y="239554"/>
                  </a:cubicBezTo>
                  <a:cubicBezTo>
                    <a:pt x="4935379" y="255746"/>
                    <a:pt x="4929664" y="273844"/>
                    <a:pt x="4922996" y="292894"/>
                  </a:cubicBezTo>
                  <a:cubicBezTo>
                    <a:pt x="4922996" y="291941"/>
                    <a:pt x="4922996" y="290036"/>
                    <a:pt x="4922996" y="289084"/>
                  </a:cubicBezTo>
                  <a:cubicBezTo>
                    <a:pt x="4921092" y="275749"/>
                    <a:pt x="4920139" y="269081"/>
                    <a:pt x="4920139" y="269081"/>
                  </a:cubicBezTo>
                  <a:cubicBezTo>
                    <a:pt x="4920139" y="269081"/>
                    <a:pt x="4919187" y="276701"/>
                    <a:pt x="4919187" y="290036"/>
                  </a:cubicBezTo>
                  <a:cubicBezTo>
                    <a:pt x="4919187" y="291941"/>
                    <a:pt x="4919187" y="293846"/>
                    <a:pt x="4919187" y="296704"/>
                  </a:cubicBezTo>
                  <a:cubicBezTo>
                    <a:pt x="4918234" y="293846"/>
                    <a:pt x="4918234" y="290989"/>
                    <a:pt x="4917281" y="289084"/>
                  </a:cubicBezTo>
                  <a:cubicBezTo>
                    <a:pt x="4915376" y="279559"/>
                    <a:pt x="4913471" y="271939"/>
                    <a:pt x="4911567" y="266224"/>
                  </a:cubicBezTo>
                  <a:cubicBezTo>
                    <a:pt x="4907756" y="253841"/>
                    <a:pt x="4904899" y="246221"/>
                    <a:pt x="4904899" y="246221"/>
                  </a:cubicBezTo>
                  <a:cubicBezTo>
                    <a:pt x="4904899" y="246221"/>
                    <a:pt x="4905851" y="253841"/>
                    <a:pt x="4907756" y="267176"/>
                  </a:cubicBezTo>
                  <a:cubicBezTo>
                    <a:pt x="4908709" y="273844"/>
                    <a:pt x="4908709" y="281464"/>
                    <a:pt x="4909662" y="290989"/>
                  </a:cubicBezTo>
                  <a:cubicBezTo>
                    <a:pt x="4910614" y="299561"/>
                    <a:pt x="4910614" y="310039"/>
                    <a:pt x="4911567" y="321469"/>
                  </a:cubicBezTo>
                  <a:cubicBezTo>
                    <a:pt x="4910614" y="323374"/>
                    <a:pt x="4909662" y="325279"/>
                    <a:pt x="4908709" y="327184"/>
                  </a:cubicBezTo>
                  <a:cubicBezTo>
                    <a:pt x="4906804" y="322421"/>
                    <a:pt x="4903946" y="317659"/>
                    <a:pt x="4902042" y="313849"/>
                  </a:cubicBezTo>
                  <a:cubicBezTo>
                    <a:pt x="4899184" y="308134"/>
                    <a:pt x="4896326" y="302419"/>
                    <a:pt x="4894421" y="298609"/>
                  </a:cubicBezTo>
                  <a:cubicBezTo>
                    <a:pt x="4893469" y="290036"/>
                    <a:pt x="4892517" y="285274"/>
                    <a:pt x="4892517" y="285274"/>
                  </a:cubicBezTo>
                  <a:cubicBezTo>
                    <a:pt x="4892517" y="285274"/>
                    <a:pt x="4892517" y="288131"/>
                    <a:pt x="4891564" y="293846"/>
                  </a:cubicBezTo>
                  <a:cubicBezTo>
                    <a:pt x="4889659" y="290989"/>
                    <a:pt x="4888706" y="289084"/>
                    <a:pt x="4888706" y="289084"/>
                  </a:cubicBezTo>
                  <a:cubicBezTo>
                    <a:pt x="4888706" y="289084"/>
                    <a:pt x="4889659" y="291941"/>
                    <a:pt x="4891564" y="295751"/>
                  </a:cubicBezTo>
                  <a:cubicBezTo>
                    <a:pt x="4890612" y="306229"/>
                    <a:pt x="4888706" y="324326"/>
                    <a:pt x="4887754" y="348139"/>
                  </a:cubicBezTo>
                  <a:cubicBezTo>
                    <a:pt x="4887754" y="350996"/>
                    <a:pt x="4887754" y="354806"/>
                    <a:pt x="4887754" y="357664"/>
                  </a:cubicBezTo>
                  <a:cubicBezTo>
                    <a:pt x="4885849" y="354806"/>
                    <a:pt x="4883944" y="352901"/>
                    <a:pt x="4882991" y="350996"/>
                  </a:cubicBezTo>
                  <a:cubicBezTo>
                    <a:pt x="4882991" y="347186"/>
                    <a:pt x="4882039" y="343376"/>
                    <a:pt x="4882039" y="338614"/>
                  </a:cubicBezTo>
                  <a:cubicBezTo>
                    <a:pt x="4882039" y="338614"/>
                    <a:pt x="4882039" y="337661"/>
                    <a:pt x="4882039" y="337661"/>
                  </a:cubicBezTo>
                  <a:cubicBezTo>
                    <a:pt x="4882991" y="333851"/>
                    <a:pt x="4882991" y="330041"/>
                    <a:pt x="4883944" y="327184"/>
                  </a:cubicBezTo>
                  <a:cubicBezTo>
                    <a:pt x="4884896" y="324326"/>
                    <a:pt x="4884896" y="321469"/>
                    <a:pt x="4885849" y="319564"/>
                  </a:cubicBezTo>
                  <a:cubicBezTo>
                    <a:pt x="4886801" y="315754"/>
                    <a:pt x="4887754" y="312896"/>
                    <a:pt x="4887754" y="312896"/>
                  </a:cubicBezTo>
                  <a:cubicBezTo>
                    <a:pt x="4887754" y="312896"/>
                    <a:pt x="4886801" y="314801"/>
                    <a:pt x="4884896" y="318611"/>
                  </a:cubicBezTo>
                  <a:cubicBezTo>
                    <a:pt x="4883944" y="320516"/>
                    <a:pt x="4882991" y="323374"/>
                    <a:pt x="4882039" y="326231"/>
                  </a:cubicBezTo>
                  <a:cubicBezTo>
                    <a:pt x="4882039" y="327184"/>
                    <a:pt x="4882039" y="327184"/>
                    <a:pt x="4882039" y="328136"/>
                  </a:cubicBezTo>
                  <a:cubicBezTo>
                    <a:pt x="4882039" y="327184"/>
                    <a:pt x="4882039" y="326231"/>
                    <a:pt x="4882039" y="326231"/>
                  </a:cubicBezTo>
                  <a:cubicBezTo>
                    <a:pt x="4880134" y="312896"/>
                    <a:pt x="4878229" y="300514"/>
                    <a:pt x="4877276" y="288131"/>
                  </a:cubicBezTo>
                  <a:cubicBezTo>
                    <a:pt x="4876324" y="279559"/>
                    <a:pt x="4874419" y="270986"/>
                    <a:pt x="4873466" y="263366"/>
                  </a:cubicBezTo>
                  <a:cubicBezTo>
                    <a:pt x="4875372" y="253841"/>
                    <a:pt x="4876324" y="245269"/>
                    <a:pt x="4878229" y="238601"/>
                  </a:cubicBezTo>
                  <a:cubicBezTo>
                    <a:pt x="4881087" y="221456"/>
                    <a:pt x="4882039" y="211931"/>
                    <a:pt x="4882039" y="211931"/>
                  </a:cubicBezTo>
                  <a:cubicBezTo>
                    <a:pt x="4882039" y="211931"/>
                    <a:pt x="4879181" y="221456"/>
                    <a:pt x="4874419" y="237649"/>
                  </a:cubicBezTo>
                  <a:cubicBezTo>
                    <a:pt x="4873466" y="241459"/>
                    <a:pt x="4872514" y="245269"/>
                    <a:pt x="4870609" y="249079"/>
                  </a:cubicBezTo>
                  <a:cubicBezTo>
                    <a:pt x="4869656" y="242411"/>
                    <a:pt x="4867751" y="236696"/>
                    <a:pt x="4866799" y="231934"/>
                  </a:cubicBezTo>
                  <a:cubicBezTo>
                    <a:pt x="4863941" y="218599"/>
                    <a:pt x="4862037" y="210979"/>
                    <a:pt x="4862037" y="210979"/>
                  </a:cubicBezTo>
                  <a:cubicBezTo>
                    <a:pt x="4862037" y="210979"/>
                    <a:pt x="4862037" y="218599"/>
                    <a:pt x="4862989" y="232886"/>
                  </a:cubicBezTo>
                  <a:cubicBezTo>
                    <a:pt x="4862989" y="237649"/>
                    <a:pt x="4863941" y="242411"/>
                    <a:pt x="4863941" y="248126"/>
                  </a:cubicBezTo>
                  <a:cubicBezTo>
                    <a:pt x="4863941" y="250984"/>
                    <a:pt x="4863941" y="255746"/>
                    <a:pt x="4863941" y="261461"/>
                  </a:cubicBezTo>
                  <a:cubicBezTo>
                    <a:pt x="4862989" y="262414"/>
                    <a:pt x="4862037" y="263366"/>
                    <a:pt x="4860131" y="264319"/>
                  </a:cubicBezTo>
                  <a:cubicBezTo>
                    <a:pt x="4856322" y="268129"/>
                    <a:pt x="4850606" y="272891"/>
                    <a:pt x="4843939" y="281464"/>
                  </a:cubicBezTo>
                  <a:cubicBezTo>
                    <a:pt x="4842987" y="277654"/>
                    <a:pt x="4842034" y="273844"/>
                    <a:pt x="4841081" y="270986"/>
                  </a:cubicBezTo>
                  <a:cubicBezTo>
                    <a:pt x="4842034" y="268129"/>
                    <a:pt x="4842987" y="266224"/>
                    <a:pt x="4842987" y="266224"/>
                  </a:cubicBezTo>
                  <a:cubicBezTo>
                    <a:pt x="4842987" y="266224"/>
                    <a:pt x="4842034" y="267176"/>
                    <a:pt x="4841081" y="269081"/>
                  </a:cubicBezTo>
                  <a:cubicBezTo>
                    <a:pt x="4840129" y="265271"/>
                    <a:pt x="4840129" y="262414"/>
                    <a:pt x="4840129" y="262414"/>
                  </a:cubicBezTo>
                  <a:cubicBezTo>
                    <a:pt x="4840129" y="262414"/>
                    <a:pt x="4840129" y="265271"/>
                    <a:pt x="4840129" y="270034"/>
                  </a:cubicBezTo>
                  <a:cubicBezTo>
                    <a:pt x="4838224" y="271939"/>
                    <a:pt x="4836319" y="274796"/>
                    <a:pt x="4833462" y="278606"/>
                  </a:cubicBezTo>
                  <a:cubicBezTo>
                    <a:pt x="4830604" y="283369"/>
                    <a:pt x="4826794" y="288131"/>
                    <a:pt x="4822984" y="294799"/>
                  </a:cubicBezTo>
                  <a:cubicBezTo>
                    <a:pt x="4821079" y="297656"/>
                    <a:pt x="4819174" y="301466"/>
                    <a:pt x="4816316" y="304324"/>
                  </a:cubicBezTo>
                  <a:cubicBezTo>
                    <a:pt x="4814412" y="308134"/>
                    <a:pt x="4812506" y="311944"/>
                    <a:pt x="4809649" y="315754"/>
                  </a:cubicBezTo>
                  <a:cubicBezTo>
                    <a:pt x="4809649" y="316706"/>
                    <a:pt x="4808697" y="317659"/>
                    <a:pt x="4807744" y="318611"/>
                  </a:cubicBezTo>
                  <a:cubicBezTo>
                    <a:pt x="4807744" y="309086"/>
                    <a:pt x="4807744" y="304324"/>
                    <a:pt x="4807744" y="304324"/>
                  </a:cubicBezTo>
                  <a:cubicBezTo>
                    <a:pt x="4807744" y="304324"/>
                    <a:pt x="4805839" y="312896"/>
                    <a:pt x="4803934" y="327184"/>
                  </a:cubicBezTo>
                  <a:cubicBezTo>
                    <a:pt x="4801076" y="331946"/>
                    <a:pt x="4798219" y="336709"/>
                    <a:pt x="4795362" y="342424"/>
                  </a:cubicBezTo>
                  <a:cubicBezTo>
                    <a:pt x="4795362" y="335756"/>
                    <a:pt x="4795362" y="330041"/>
                    <a:pt x="4795362" y="324326"/>
                  </a:cubicBezTo>
                  <a:cubicBezTo>
                    <a:pt x="4795362" y="319564"/>
                    <a:pt x="4795362" y="315754"/>
                    <a:pt x="4795362" y="311944"/>
                  </a:cubicBezTo>
                  <a:cubicBezTo>
                    <a:pt x="4796314" y="308134"/>
                    <a:pt x="4796314" y="305276"/>
                    <a:pt x="4796314" y="302419"/>
                  </a:cubicBezTo>
                  <a:cubicBezTo>
                    <a:pt x="4796314" y="300514"/>
                    <a:pt x="4796314" y="299561"/>
                    <a:pt x="4797266" y="297656"/>
                  </a:cubicBezTo>
                  <a:cubicBezTo>
                    <a:pt x="4799172" y="286226"/>
                    <a:pt x="4802029" y="274796"/>
                    <a:pt x="4803934" y="264319"/>
                  </a:cubicBezTo>
                  <a:cubicBezTo>
                    <a:pt x="4811554" y="221456"/>
                    <a:pt x="4815364" y="192881"/>
                    <a:pt x="4815364" y="192881"/>
                  </a:cubicBezTo>
                  <a:cubicBezTo>
                    <a:pt x="4815364" y="192881"/>
                    <a:pt x="4804887" y="220504"/>
                    <a:pt x="4792504" y="262414"/>
                  </a:cubicBezTo>
                  <a:cubicBezTo>
                    <a:pt x="4791551" y="264319"/>
                    <a:pt x="4791551" y="266224"/>
                    <a:pt x="4790599" y="268129"/>
                  </a:cubicBezTo>
                  <a:cubicBezTo>
                    <a:pt x="4788694" y="256699"/>
                    <a:pt x="4788694" y="250031"/>
                    <a:pt x="4788694" y="250031"/>
                  </a:cubicBezTo>
                  <a:cubicBezTo>
                    <a:pt x="4788694" y="250031"/>
                    <a:pt x="4788694" y="257651"/>
                    <a:pt x="4787741" y="270986"/>
                  </a:cubicBezTo>
                  <a:cubicBezTo>
                    <a:pt x="4787741" y="273844"/>
                    <a:pt x="4787741" y="277654"/>
                    <a:pt x="4787741" y="281464"/>
                  </a:cubicBezTo>
                  <a:cubicBezTo>
                    <a:pt x="4785837" y="287179"/>
                    <a:pt x="4783931" y="292894"/>
                    <a:pt x="4782979" y="299561"/>
                  </a:cubicBezTo>
                  <a:cubicBezTo>
                    <a:pt x="4782979" y="297656"/>
                    <a:pt x="4782979" y="295751"/>
                    <a:pt x="4782979" y="293846"/>
                  </a:cubicBezTo>
                  <a:cubicBezTo>
                    <a:pt x="4783931" y="282416"/>
                    <a:pt x="4783931" y="271939"/>
                    <a:pt x="4784884" y="263366"/>
                  </a:cubicBezTo>
                  <a:cubicBezTo>
                    <a:pt x="4785837" y="253841"/>
                    <a:pt x="4785837" y="246221"/>
                    <a:pt x="4786789" y="239554"/>
                  </a:cubicBezTo>
                  <a:cubicBezTo>
                    <a:pt x="4788694" y="226219"/>
                    <a:pt x="4789647" y="218599"/>
                    <a:pt x="4789647" y="218599"/>
                  </a:cubicBezTo>
                  <a:cubicBezTo>
                    <a:pt x="4789647" y="218599"/>
                    <a:pt x="4787741" y="226219"/>
                    <a:pt x="4782979" y="238601"/>
                  </a:cubicBezTo>
                  <a:cubicBezTo>
                    <a:pt x="4781074" y="245269"/>
                    <a:pt x="4779169" y="252889"/>
                    <a:pt x="4777264" y="262414"/>
                  </a:cubicBezTo>
                  <a:cubicBezTo>
                    <a:pt x="4776312" y="264319"/>
                    <a:pt x="4776312" y="266224"/>
                    <a:pt x="4776312" y="269081"/>
                  </a:cubicBezTo>
                  <a:cubicBezTo>
                    <a:pt x="4774406" y="257651"/>
                    <a:pt x="4773454" y="251936"/>
                    <a:pt x="4773454" y="251936"/>
                  </a:cubicBezTo>
                  <a:cubicBezTo>
                    <a:pt x="4773454" y="251936"/>
                    <a:pt x="4773454" y="264319"/>
                    <a:pt x="4773454" y="284321"/>
                  </a:cubicBezTo>
                  <a:cubicBezTo>
                    <a:pt x="4772501" y="287179"/>
                    <a:pt x="4772501" y="290989"/>
                    <a:pt x="4771549" y="293846"/>
                  </a:cubicBezTo>
                  <a:cubicBezTo>
                    <a:pt x="4771549" y="294799"/>
                    <a:pt x="4771549" y="294799"/>
                    <a:pt x="4771549" y="295751"/>
                  </a:cubicBezTo>
                  <a:cubicBezTo>
                    <a:pt x="4769644" y="273844"/>
                    <a:pt x="4767739" y="260509"/>
                    <a:pt x="4767739" y="260509"/>
                  </a:cubicBezTo>
                  <a:cubicBezTo>
                    <a:pt x="4767739" y="260509"/>
                    <a:pt x="4765834" y="274796"/>
                    <a:pt x="4764881" y="297656"/>
                  </a:cubicBezTo>
                  <a:cubicBezTo>
                    <a:pt x="4762024" y="290036"/>
                    <a:pt x="4758214" y="283369"/>
                    <a:pt x="4755356" y="276701"/>
                  </a:cubicBezTo>
                  <a:cubicBezTo>
                    <a:pt x="4753451" y="273844"/>
                    <a:pt x="4752499" y="271939"/>
                    <a:pt x="4750594" y="270034"/>
                  </a:cubicBezTo>
                  <a:cubicBezTo>
                    <a:pt x="4753451" y="260509"/>
                    <a:pt x="4755356" y="251936"/>
                    <a:pt x="4758214" y="243364"/>
                  </a:cubicBezTo>
                  <a:cubicBezTo>
                    <a:pt x="4767739" y="209074"/>
                    <a:pt x="4774406" y="180499"/>
                    <a:pt x="4780122" y="161449"/>
                  </a:cubicBezTo>
                  <a:cubicBezTo>
                    <a:pt x="4784884" y="141446"/>
                    <a:pt x="4787741" y="130016"/>
                    <a:pt x="4787741" y="130016"/>
                  </a:cubicBezTo>
                  <a:cubicBezTo>
                    <a:pt x="4787741" y="130016"/>
                    <a:pt x="4782979" y="140494"/>
                    <a:pt x="4776312" y="160496"/>
                  </a:cubicBezTo>
                  <a:cubicBezTo>
                    <a:pt x="4769644" y="179546"/>
                    <a:pt x="4759166" y="207169"/>
                    <a:pt x="4747737" y="240506"/>
                  </a:cubicBezTo>
                  <a:cubicBezTo>
                    <a:pt x="4745831" y="246221"/>
                    <a:pt x="4743926" y="251936"/>
                    <a:pt x="4742022" y="257651"/>
                  </a:cubicBezTo>
                  <a:cubicBezTo>
                    <a:pt x="4742022" y="257651"/>
                    <a:pt x="4742022" y="257651"/>
                    <a:pt x="4742022" y="257651"/>
                  </a:cubicBezTo>
                  <a:cubicBezTo>
                    <a:pt x="4737259" y="251936"/>
                    <a:pt x="4732497" y="248126"/>
                    <a:pt x="4727734" y="244316"/>
                  </a:cubicBezTo>
                  <a:cubicBezTo>
                    <a:pt x="4725829" y="242411"/>
                    <a:pt x="4722972" y="241459"/>
                    <a:pt x="4721066" y="240506"/>
                  </a:cubicBezTo>
                  <a:cubicBezTo>
                    <a:pt x="4719162" y="239554"/>
                    <a:pt x="4717256" y="238601"/>
                    <a:pt x="4716304" y="238601"/>
                  </a:cubicBezTo>
                  <a:cubicBezTo>
                    <a:pt x="4713447" y="237649"/>
                    <a:pt x="4712494" y="237649"/>
                    <a:pt x="4712494" y="237649"/>
                  </a:cubicBezTo>
                  <a:cubicBezTo>
                    <a:pt x="4712494" y="237649"/>
                    <a:pt x="4713447" y="238601"/>
                    <a:pt x="4716304" y="239554"/>
                  </a:cubicBezTo>
                  <a:cubicBezTo>
                    <a:pt x="4719162" y="240506"/>
                    <a:pt x="4722019" y="243364"/>
                    <a:pt x="4725829" y="246221"/>
                  </a:cubicBezTo>
                  <a:cubicBezTo>
                    <a:pt x="4729639" y="250031"/>
                    <a:pt x="4733449" y="254794"/>
                    <a:pt x="4736306" y="260509"/>
                  </a:cubicBezTo>
                  <a:cubicBezTo>
                    <a:pt x="4737259" y="262414"/>
                    <a:pt x="4738212" y="264319"/>
                    <a:pt x="4739164" y="266224"/>
                  </a:cubicBezTo>
                  <a:cubicBezTo>
                    <a:pt x="4736306" y="274796"/>
                    <a:pt x="4732497" y="284321"/>
                    <a:pt x="4729639" y="293846"/>
                  </a:cubicBezTo>
                  <a:cubicBezTo>
                    <a:pt x="4729639" y="294799"/>
                    <a:pt x="4729639" y="294799"/>
                    <a:pt x="4728687" y="295751"/>
                  </a:cubicBezTo>
                  <a:cubicBezTo>
                    <a:pt x="4728687" y="295751"/>
                    <a:pt x="4728687" y="295751"/>
                    <a:pt x="4728687" y="294799"/>
                  </a:cubicBezTo>
                  <a:cubicBezTo>
                    <a:pt x="4728687" y="291941"/>
                    <a:pt x="4728687" y="290989"/>
                    <a:pt x="4728687" y="290989"/>
                  </a:cubicBezTo>
                  <a:cubicBezTo>
                    <a:pt x="4728687" y="290989"/>
                    <a:pt x="4728687" y="291941"/>
                    <a:pt x="4727734" y="293846"/>
                  </a:cubicBezTo>
                  <a:cubicBezTo>
                    <a:pt x="4723924" y="285274"/>
                    <a:pt x="4720114" y="277654"/>
                    <a:pt x="4717256" y="270986"/>
                  </a:cubicBezTo>
                  <a:cubicBezTo>
                    <a:pt x="4716304" y="269081"/>
                    <a:pt x="4715351" y="267176"/>
                    <a:pt x="4714399" y="265271"/>
                  </a:cubicBezTo>
                  <a:cubicBezTo>
                    <a:pt x="4715351" y="257651"/>
                    <a:pt x="4716304" y="252889"/>
                    <a:pt x="4716304" y="252889"/>
                  </a:cubicBezTo>
                  <a:cubicBezTo>
                    <a:pt x="4716304" y="252889"/>
                    <a:pt x="4715351" y="256699"/>
                    <a:pt x="4713447" y="262414"/>
                  </a:cubicBezTo>
                  <a:cubicBezTo>
                    <a:pt x="4708684" y="252889"/>
                    <a:pt x="4706779" y="248126"/>
                    <a:pt x="4706779" y="248126"/>
                  </a:cubicBezTo>
                  <a:cubicBezTo>
                    <a:pt x="4706779" y="248126"/>
                    <a:pt x="4708684" y="254794"/>
                    <a:pt x="4712494" y="267176"/>
                  </a:cubicBezTo>
                  <a:cubicBezTo>
                    <a:pt x="4711541" y="270034"/>
                    <a:pt x="4710589" y="273844"/>
                    <a:pt x="4708684" y="277654"/>
                  </a:cubicBezTo>
                  <a:cubicBezTo>
                    <a:pt x="4700112" y="251936"/>
                    <a:pt x="4694397" y="236696"/>
                    <a:pt x="4694397" y="236696"/>
                  </a:cubicBezTo>
                  <a:cubicBezTo>
                    <a:pt x="4694397" y="236696"/>
                    <a:pt x="4697254" y="258604"/>
                    <a:pt x="4702969" y="293846"/>
                  </a:cubicBezTo>
                  <a:cubicBezTo>
                    <a:pt x="4700112" y="304324"/>
                    <a:pt x="4696301" y="317659"/>
                    <a:pt x="4691539" y="331946"/>
                  </a:cubicBezTo>
                  <a:cubicBezTo>
                    <a:pt x="4691539" y="330994"/>
                    <a:pt x="4690587" y="330041"/>
                    <a:pt x="4690587" y="329089"/>
                  </a:cubicBezTo>
                  <a:cubicBezTo>
                    <a:pt x="4685824" y="319564"/>
                    <a:pt x="4682966" y="313849"/>
                    <a:pt x="4682966" y="313849"/>
                  </a:cubicBezTo>
                  <a:cubicBezTo>
                    <a:pt x="4682966" y="313849"/>
                    <a:pt x="4683919" y="316706"/>
                    <a:pt x="4684872" y="322421"/>
                  </a:cubicBezTo>
                  <a:cubicBezTo>
                    <a:pt x="4684872" y="322421"/>
                    <a:pt x="4684872" y="322421"/>
                    <a:pt x="4684872" y="322421"/>
                  </a:cubicBezTo>
                  <a:cubicBezTo>
                    <a:pt x="4676299" y="310991"/>
                    <a:pt x="4671537" y="304324"/>
                    <a:pt x="4671537" y="304324"/>
                  </a:cubicBezTo>
                  <a:cubicBezTo>
                    <a:pt x="4671537" y="304324"/>
                    <a:pt x="4675347" y="311944"/>
                    <a:pt x="4682014" y="324326"/>
                  </a:cubicBezTo>
                  <a:cubicBezTo>
                    <a:pt x="4683919" y="328136"/>
                    <a:pt x="4686776" y="332899"/>
                    <a:pt x="4688681" y="337661"/>
                  </a:cubicBezTo>
                  <a:cubicBezTo>
                    <a:pt x="4688681" y="338614"/>
                    <a:pt x="4688681" y="339566"/>
                    <a:pt x="4689634" y="340519"/>
                  </a:cubicBezTo>
                  <a:cubicBezTo>
                    <a:pt x="4687729" y="349091"/>
                    <a:pt x="4684872" y="356711"/>
                    <a:pt x="4682966" y="366236"/>
                  </a:cubicBezTo>
                  <a:cubicBezTo>
                    <a:pt x="4681062" y="364331"/>
                    <a:pt x="4680109" y="361474"/>
                    <a:pt x="4678204" y="359569"/>
                  </a:cubicBezTo>
                  <a:cubicBezTo>
                    <a:pt x="4675347" y="355759"/>
                    <a:pt x="4671537" y="351949"/>
                    <a:pt x="4669631" y="349091"/>
                  </a:cubicBezTo>
                  <a:cubicBezTo>
                    <a:pt x="4669631" y="349091"/>
                    <a:pt x="4669631" y="349091"/>
                    <a:pt x="4668679" y="348139"/>
                  </a:cubicBezTo>
                  <a:cubicBezTo>
                    <a:pt x="4669631" y="341471"/>
                    <a:pt x="4669631" y="335756"/>
                    <a:pt x="4669631" y="330994"/>
                  </a:cubicBezTo>
                  <a:cubicBezTo>
                    <a:pt x="4670584" y="318611"/>
                    <a:pt x="4669631" y="310991"/>
                    <a:pt x="4669631" y="310991"/>
                  </a:cubicBezTo>
                  <a:cubicBezTo>
                    <a:pt x="4669631" y="310991"/>
                    <a:pt x="4669631" y="311944"/>
                    <a:pt x="4669631" y="313849"/>
                  </a:cubicBezTo>
                  <a:cubicBezTo>
                    <a:pt x="4669631" y="310039"/>
                    <a:pt x="4670584" y="305276"/>
                    <a:pt x="4670584" y="301466"/>
                  </a:cubicBezTo>
                  <a:cubicBezTo>
                    <a:pt x="4670584" y="296704"/>
                    <a:pt x="4670584" y="291941"/>
                    <a:pt x="4670584" y="287179"/>
                  </a:cubicBezTo>
                  <a:cubicBezTo>
                    <a:pt x="4672489" y="282416"/>
                    <a:pt x="4673441" y="278606"/>
                    <a:pt x="4675347" y="274796"/>
                  </a:cubicBezTo>
                  <a:cubicBezTo>
                    <a:pt x="4683919" y="259556"/>
                    <a:pt x="4689634" y="250984"/>
                    <a:pt x="4689634" y="250984"/>
                  </a:cubicBezTo>
                  <a:cubicBezTo>
                    <a:pt x="4689634" y="250984"/>
                    <a:pt x="4686776" y="254794"/>
                    <a:pt x="4681062" y="262414"/>
                  </a:cubicBezTo>
                  <a:cubicBezTo>
                    <a:pt x="4684872" y="252889"/>
                    <a:pt x="4686776" y="248126"/>
                    <a:pt x="4686776" y="248126"/>
                  </a:cubicBezTo>
                  <a:cubicBezTo>
                    <a:pt x="4686776" y="248126"/>
                    <a:pt x="4682966" y="254794"/>
                    <a:pt x="4675347" y="265271"/>
                  </a:cubicBezTo>
                  <a:cubicBezTo>
                    <a:pt x="4673441" y="267176"/>
                    <a:pt x="4672489" y="270034"/>
                    <a:pt x="4670584" y="272891"/>
                  </a:cubicBezTo>
                  <a:cubicBezTo>
                    <a:pt x="4670584" y="270986"/>
                    <a:pt x="4670584" y="270034"/>
                    <a:pt x="4670584" y="268129"/>
                  </a:cubicBezTo>
                  <a:cubicBezTo>
                    <a:pt x="4669631" y="261461"/>
                    <a:pt x="4669631" y="255746"/>
                    <a:pt x="4668679" y="250984"/>
                  </a:cubicBezTo>
                  <a:cubicBezTo>
                    <a:pt x="4668679" y="250031"/>
                    <a:pt x="4668679" y="248126"/>
                    <a:pt x="4669631" y="247174"/>
                  </a:cubicBezTo>
                  <a:cubicBezTo>
                    <a:pt x="4671537" y="230981"/>
                    <a:pt x="4671537" y="222409"/>
                    <a:pt x="4671537" y="222409"/>
                  </a:cubicBezTo>
                  <a:cubicBezTo>
                    <a:pt x="4671537" y="222409"/>
                    <a:pt x="4671537" y="224314"/>
                    <a:pt x="4670584" y="229076"/>
                  </a:cubicBezTo>
                  <a:cubicBezTo>
                    <a:pt x="4669631" y="231934"/>
                    <a:pt x="4668679" y="236696"/>
                    <a:pt x="4666774" y="242411"/>
                  </a:cubicBezTo>
                  <a:cubicBezTo>
                    <a:pt x="4666774" y="242411"/>
                    <a:pt x="4666774" y="242411"/>
                    <a:pt x="4666774" y="241459"/>
                  </a:cubicBezTo>
                  <a:cubicBezTo>
                    <a:pt x="4666774" y="241459"/>
                    <a:pt x="4666774" y="241459"/>
                    <a:pt x="4666774" y="241459"/>
                  </a:cubicBezTo>
                  <a:cubicBezTo>
                    <a:pt x="4666774" y="241459"/>
                    <a:pt x="4666774" y="241459"/>
                    <a:pt x="4666774" y="241459"/>
                  </a:cubicBezTo>
                  <a:cubicBezTo>
                    <a:pt x="4665822" y="235744"/>
                    <a:pt x="4663916" y="230981"/>
                    <a:pt x="4662012" y="228124"/>
                  </a:cubicBezTo>
                  <a:cubicBezTo>
                    <a:pt x="4661059" y="224314"/>
                    <a:pt x="4660106" y="222409"/>
                    <a:pt x="4660106" y="222409"/>
                  </a:cubicBezTo>
                  <a:cubicBezTo>
                    <a:pt x="4660106" y="222409"/>
                    <a:pt x="4660106" y="224314"/>
                    <a:pt x="4661059" y="228124"/>
                  </a:cubicBezTo>
                  <a:cubicBezTo>
                    <a:pt x="4662012" y="231934"/>
                    <a:pt x="4662964" y="237649"/>
                    <a:pt x="4662964" y="244316"/>
                  </a:cubicBezTo>
                  <a:cubicBezTo>
                    <a:pt x="4662964" y="245269"/>
                    <a:pt x="4662964" y="245269"/>
                    <a:pt x="4662964" y="246221"/>
                  </a:cubicBezTo>
                  <a:cubicBezTo>
                    <a:pt x="4662964" y="246221"/>
                    <a:pt x="4662964" y="246221"/>
                    <a:pt x="4662964" y="246221"/>
                  </a:cubicBezTo>
                  <a:cubicBezTo>
                    <a:pt x="4660106" y="250031"/>
                    <a:pt x="4657249" y="254794"/>
                    <a:pt x="4654391" y="262414"/>
                  </a:cubicBezTo>
                  <a:cubicBezTo>
                    <a:pt x="4653439" y="265271"/>
                    <a:pt x="4652487" y="268129"/>
                    <a:pt x="4650581" y="271939"/>
                  </a:cubicBezTo>
                  <a:cubicBezTo>
                    <a:pt x="4649629" y="267176"/>
                    <a:pt x="4647724" y="264319"/>
                    <a:pt x="4646772" y="261461"/>
                  </a:cubicBezTo>
                  <a:cubicBezTo>
                    <a:pt x="4646772" y="260509"/>
                    <a:pt x="4645819" y="259556"/>
                    <a:pt x="4645819" y="259556"/>
                  </a:cubicBezTo>
                  <a:cubicBezTo>
                    <a:pt x="4645819" y="257651"/>
                    <a:pt x="4646772" y="255746"/>
                    <a:pt x="4646772" y="253841"/>
                  </a:cubicBezTo>
                  <a:cubicBezTo>
                    <a:pt x="4648676" y="243364"/>
                    <a:pt x="4650581" y="234791"/>
                    <a:pt x="4653439" y="227171"/>
                  </a:cubicBezTo>
                  <a:cubicBezTo>
                    <a:pt x="4657249" y="212884"/>
                    <a:pt x="4660106" y="204311"/>
                    <a:pt x="4660106" y="204311"/>
                  </a:cubicBezTo>
                  <a:cubicBezTo>
                    <a:pt x="4660106" y="204311"/>
                    <a:pt x="4656297" y="211931"/>
                    <a:pt x="4650581" y="226219"/>
                  </a:cubicBezTo>
                  <a:cubicBezTo>
                    <a:pt x="4647724" y="232886"/>
                    <a:pt x="4643914" y="241459"/>
                    <a:pt x="4641056" y="251936"/>
                  </a:cubicBezTo>
                  <a:cubicBezTo>
                    <a:pt x="4639151" y="256699"/>
                    <a:pt x="4637247" y="261461"/>
                    <a:pt x="4636294" y="267176"/>
                  </a:cubicBezTo>
                  <a:cubicBezTo>
                    <a:pt x="4636294" y="264319"/>
                    <a:pt x="4636294" y="261461"/>
                    <a:pt x="4636294" y="259556"/>
                  </a:cubicBezTo>
                  <a:cubicBezTo>
                    <a:pt x="4636294" y="251936"/>
                    <a:pt x="4637247" y="246221"/>
                    <a:pt x="4638199" y="242411"/>
                  </a:cubicBezTo>
                  <a:cubicBezTo>
                    <a:pt x="4639151" y="238601"/>
                    <a:pt x="4639151" y="235744"/>
                    <a:pt x="4639151" y="235744"/>
                  </a:cubicBezTo>
                  <a:cubicBezTo>
                    <a:pt x="4639151" y="235744"/>
                    <a:pt x="4638199" y="237649"/>
                    <a:pt x="4637247" y="241459"/>
                  </a:cubicBezTo>
                  <a:cubicBezTo>
                    <a:pt x="4636294" y="245269"/>
                    <a:pt x="4633437" y="250984"/>
                    <a:pt x="4632484" y="258604"/>
                  </a:cubicBezTo>
                  <a:cubicBezTo>
                    <a:pt x="4632484" y="258604"/>
                    <a:pt x="4632484" y="258604"/>
                    <a:pt x="4632484" y="258604"/>
                  </a:cubicBezTo>
                  <a:cubicBezTo>
                    <a:pt x="4631531" y="255746"/>
                    <a:pt x="4631531" y="254794"/>
                    <a:pt x="4631531" y="254794"/>
                  </a:cubicBezTo>
                  <a:cubicBezTo>
                    <a:pt x="4631531" y="254794"/>
                    <a:pt x="4631531" y="256699"/>
                    <a:pt x="4632484" y="259556"/>
                  </a:cubicBezTo>
                  <a:cubicBezTo>
                    <a:pt x="4630579" y="267176"/>
                    <a:pt x="4629626" y="275749"/>
                    <a:pt x="4628674" y="285274"/>
                  </a:cubicBezTo>
                  <a:cubicBezTo>
                    <a:pt x="4628674" y="288131"/>
                    <a:pt x="4628674" y="290989"/>
                    <a:pt x="4628674" y="293846"/>
                  </a:cubicBezTo>
                  <a:cubicBezTo>
                    <a:pt x="4627722" y="296704"/>
                    <a:pt x="4626769" y="300514"/>
                    <a:pt x="4625816" y="303371"/>
                  </a:cubicBezTo>
                  <a:cubicBezTo>
                    <a:pt x="4619149" y="298609"/>
                    <a:pt x="4614387" y="295751"/>
                    <a:pt x="4610576" y="293846"/>
                  </a:cubicBezTo>
                  <a:cubicBezTo>
                    <a:pt x="4606766" y="291941"/>
                    <a:pt x="4604862" y="290989"/>
                    <a:pt x="4604862" y="290989"/>
                  </a:cubicBezTo>
                  <a:cubicBezTo>
                    <a:pt x="4604862" y="290989"/>
                    <a:pt x="4606766" y="291941"/>
                    <a:pt x="4610576" y="294799"/>
                  </a:cubicBezTo>
                  <a:cubicBezTo>
                    <a:pt x="4614387" y="296704"/>
                    <a:pt x="4619149" y="301466"/>
                    <a:pt x="4624864" y="307181"/>
                  </a:cubicBezTo>
                  <a:cubicBezTo>
                    <a:pt x="4624864" y="307181"/>
                    <a:pt x="4624864" y="307181"/>
                    <a:pt x="4625816" y="308134"/>
                  </a:cubicBezTo>
                  <a:cubicBezTo>
                    <a:pt x="4624864" y="313849"/>
                    <a:pt x="4622959" y="319564"/>
                    <a:pt x="4622006" y="325279"/>
                  </a:cubicBezTo>
                  <a:cubicBezTo>
                    <a:pt x="4621054" y="330994"/>
                    <a:pt x="4620101" y="337661"/>
                    <a:pt x="4619149" y="343376"/>
                  </a:cubicBezTo>
                  <a:cubicBezTo>
                    <a:pt x="4615339" y="330041"/>
                    <a:pt x="4611529" y="317659"/>
                    <a:pt x="4607719" y="306229"/>
                  </a:cubicBezTo>
                  <a:cubicBezTo>
                    <a:pt x="4605814" y="300514"/>
                    <a:pt x="4604862" y="295751"/>
                    <a:pt x="4602956" y="290989"/>
                  </a:cubicBezTo>
                  <a:cubicBezTo>
                    <a:pt x="4602004" y="282416"/>
                    <a:pt x="4601051" y="274796"/>
                    <a:pt x="4601051" y="269081"/>
                  </a:cubicBezTo>
                  <a:cubicBezTo>
                    <a:pt x="4599147" y="255746"/>
                    <a:pt x="4599147" y="248126"/>
                    <a:pt x="4599147" y="248126"/>
                  </a:cubicBezTo>
                  <a:cubicBezTo>
                    <a:pt x="4599147" y="248126"/>
                    <a:pt x="4598194" y="255746"/>
                    <a:pt x="4597241" y="269081"/>
                  </a:cubicBezTo>
                  <a:cubicBezTo>
                    <a:pt x="4597241" y="270034"/>
                    <a:pt x="4597241" y="270986"/>
                    <a:pt x="4597241" y="271939"/>
                  </a:cubicBezTo>
                  <a:cubicBezTo>
                    <a:pt x="4594384" y="263366"/>
                    <a:pt x="4591526" y="255746"/>
                    <a:pt x="4589622" y="250031"/>
                  </a:cubicBezTo>
                  <a:cubicBezTo>
                    <a:pt x="4589622" y="247174"/>
                    <a:pt x="4589622" y="244316"/>
                    <a:pt x="4589622" y="240506"/>
                  </a:cubicBezTo>
                  <a:cubicBezTo>
                    <a:pt x="4590574" y="225266"/>
                    <a:pt x="4590574" y="210979"/>
                    <a:pt x="4590574" y="197644"/>
                  </a:cubicBezTo>
                  <a:cubicBezTo>
                    <a:pt x="4591526" y="144304"/>
                    <a:pt x="4590574" y="109061"/>
                    <a:pt x="4590574" y="109061"/>
                  </a:cubicBezTo>
                  <a:cubicBezTo>
                    <a:pt x="4590574" y="109061"/>
                    <a:pt x="4584859" y="144304"/>
                    <a:pt x="4579144" y="197644"/>
                  </a:cubicBezTo>
                  <a:cubicBezTo>
                    <a:pt x="4578191" y="210979"/>
                    <a:pt x="4576287" y="225266"/>
                    <a:pt x="4574381" y="240506"/>
                  </a:cubicBezTo>
                  <a:cubicBezTo>
                    <a:pt x="4573429" y="245269"/>
                    <a:pt x="4573429" y="250984"/>
                    <a:pt x="4573429" y="256699"/>
                  </a:cubicBezTo>
                  <a:cubicBezTo>
                    <a:pt x="4573429" y="256699"/>
                    <a:pt x="4572476" y="257651"/>
                    <a:pt x="4572476" y="257651"/>
                  </a:cubicBezTo>
                  <a:cubicBezTo>
                    <a:pt x="4569619" y="259556"/>
                    <a:pt x="4566762" y="262414"/>
                    <a:pt x="4563904" y="265271"/>
                  </a:cubicBezTo>
                  <a:cubicBezTo>
                    <a:pt x="4563904" y="265271"/>
                    <a:pt x="4563904" y="264319"/>
                    <a:pt x="4563904" y="264319"/>
                  </a:cubicBezTo>
                  <a:cubicBezTo>
                    <a:pt x="4561999" y="261461"/>
                    <a:pt x="4560094" y="258604"/>
                    <a:pt x="4559141" y="255746"/>
                  </a:cubicBezTo>
                  <a:cubicBezTo>
                    <a:pt x="4559141" y="253841"/>
                    <a:pt x="4560094" y="250984"/>
                    <a:pt x="4560094" y="249079"/>
                  </a:cubicBezTo>
                  <a:cubicBezTo>
                    <a:pt x="4570572" y="195739"/>
                    <a:pt x="4576287" y="159544"/>
                    <a:pt x="4576287" y="159544"/>
                  </a:cubicBezTo>
                  <a:cubicBezTo>
                    <a:pt x="4576287" y="159544"/>
                    <a:pt x="4564856" y="192881"/>
                    <a:pt x="4550569" y="243364"/>
                  </a:cubicBezTo>
                  <a:cubicBezTo>
                    <a:pt x="4550569" y="243364"/>
                    <a:pt x="4550569" y="243364"/>
                    <a:pt x="4550569" y="243364"/>
                  </a:cubicBezTo>
                  <a:cubicBezTo>
                    <a:pt x="4550569" y="243364"/>
                    <a:pt x="4550569" y="243364"/>
                    <a:pt x="4550569" y="243364"/>
                  </a:cubicBezTo>
                  <a:cubicBezTo>
                    <a:pt x="4550569" y="244316"/>
                    <a:pt x="4549616" y="245269"/>
                    <a:pt x="4549616" y="246221"/>
                  </a:cubicBezTo>
                  <a:cubicBezTo>
                    <a:pt x="4549616" y="247174"/>
                    <a:pt x="4549616" y="248126"/>
                    <a:pt x="4548664" y="248126"/>
                  </a:cubicBezTo>
                  <a:cubicBezTo>
                    <a:pt x="4548664" y="248126"/>
                    <a:pt x="4548664" y="248126"/>
                    <a:pt x="4548664" y="248126"/>
                  </a:cubicBezTo>
                  <a:cubicBezTo>
                    <a:pt x="4548664" y="248126"/>
                    <a:pt x="4548664" y="248126"/>
                    <a:pt x="4548664" y="248126"/>
                  </a:cubicBezTo>
                  <a:cubicBezTo>
                    <a:pt x="4544854" y="261461"/>
                    <a:pt x="4540091" y="276701"/>
                    <a:pt x="4536281" y="292894"/>
                  </a:cubicBezTo>
                  <a:cubicBezTo>
                    <a:pt x="4534376" y="261461"/>
                    <a:pt x="4531519" y="241459"/>
                    <a:pt x="4531519" y="241459"/>
                  </a:cubicBezTo>
                  <a:cubicBezTo>
                    <a:pt x="4531519" y="241459"/>
                    <a:pt x="4527709" y="266224"/>
                    <a:pt x="4525804" y="303371"/>
                  </a:cubicBezTo>
                  <a:cubicBezTo>
                    <a:pt x="4525804" y="305276"/>
                    <a:pt x="4525804" y="307181"/>
                    <a:pt x="4525804" y="309086"/>
                  </a:cubicBezTo>
                  <a:cubicBezTo>
                    <a:pt x="4524851" y="308134"/>
                    <a:pt x="4524851" y="308134"/>
                    <a:pt x="4524851" y="308134"/>
                  </a:cubicBezTo>
                  <a:cubicBezTo>
                    <a:pt x="4524851" y="308134"/>
                    <a:pt x="4524851" y="309086"/>
                    <a:pt x="4525804" y="310039"/>
                  </a:cubicBezTo>
                  <a:cubicBezTo>
                    <a:pt x="4524851" y="317659"/>
                    <a:pt x="4524851" y="325279"/>
                    <a:pt x="4523899" y="333851"/>
                  </a:cubicBezTo>
                  <a:cubicBezTo>
                    <a:pt x="4523899" y="334804"/>
                    <a:pt x="4523899" y="336709"/>
                    <a:pt x="4523899" y="337661"/>
                  </a:cubicBezTo>
                  <a:cubicBezTo>
                    <a:pt x="4523899" y="338614"/>
                    <a:pt x="4523899" y="338614"/>
                    <a:pt x="4522947" y="339566"/>
                  </a:cubicBezTo>
                  <a:cubicBezTo>
                    <a:pt x="4521041" y="333851"/>
                    <a:pt x="4519137" y="328136"/>
                    <a:pt x="4517231" y="322421"/>
                  </a:cubicBezTo>
                  <a:cubicBezTo>
                    <a:pt x="4516279" y="314801"/>
                    <a:pt x="4515326" y="307181"/>
                    <a:pt x="4514374" y="301466"/>
                  </a:cubicBezTo>
                  <a:cubicBezTo>
                    <a:pt x="4515326" y="299561"/>
                    <a:pt x="4516279" y="298609"/>
                    <a:pt x="4517231" y="297656"/>
                  </a:cubicBezTo>
                  <a:cubicBezTo>
                    <a:pt x="4520089" y="293846"/>
                    <a:pt x="4521041" y="291941"/>
                    <a:pt x="4521041" y="291941"/>
                  </a:cubicBezTo>
                  <a:cubicBezTo>
                    <a:pt x="4521041" y="291941"/>
                    <a:pt x="4519137" y="293846"/>
                    <a:pt x="4516279" y="297656"/>
                  </a:cubicBezTo>
                  <a:cubicBezTo>
                    <a:pt x="4515326" y="298609"/>
                    <a:pt x="4515326" y="299561"/>
                    <a:pt x="4514374" y="300514"/>
                  </a:cubicBezTo>
                  <a:cubicBezTo>
                    <a:pt x="4514374" y="299561"/>
                    <a:pt x="4514374" y="299561"/>
                    <a:pt x="4514374" y="298609"/>
                  </a:cubicBezTo>
                  <a:cubicBezTo>
                    <a:pt x="4515326" y="296704"/>
                    <a:pt x="4516279" y="294799"/>
                    <a:pt x="4517231" y="293846"/>
                  </a:cubicBezTo>
                  <a:cubicBezTo>
                    <a:pt x="4519137" y="290036"/>
                    <a:pt x="4520089" y="288131"/>
                    <a:pt x="4520089" y="288131"/>
                  </a:cubicBezTo>
                  <a:cubicBezTo>
                    <a:pt x="4520089" y="288131"/>
                    <a:pt x="4519137" y="290036"/>
                    <a:pt x="4516279" y="292894"/>
                  </a:cubicBezTo>
                  <a:cubicBezTo>
                    <a:pt x="4515326" y="293846"/>
                    <a:pt x="4515326" y="294799"/>
                    <a:pt x="4514374" y="295751"/>
                  </a:cubicBezTo>
                  <a:cubicBezTo>
                    <a:pt x="4513422" y="290036"/>
                    <a:pt x="4512469" y="285274"/>
                    <a:pt x="4512469" y="281464"/>
                  </a:cubicBezTo>
                  <a:cubicBezTo>
                    <a:pt x="4511516" y="272891"/>
                    <a:pt x="4511516" y="268129"/>
                    <a:pt x="4511516" y="268129"/>
                  </a:cubicBezTo>
                  <a:cubicBezTo>
                    <a:pt x="4511516" y="268129"/>
                    <a:pt x="4511516" y="270034"/>
                    <a:pt x="4510564" y="272891"/>
                  </a:cubicBezTo>
                  <a:cubicBezTo>
                    <a:pt x="4508659" y="259556"/>
                    <a:pt x="4506754" y="250984"/>
                    <a:pt x="4506754" y="250984"/>
                  </a:cubicBezTo>
                  <a:cubicBezTo>
                    <a:pt x="4506754" y="250984"/>
                    <a:pt x="4506754" y="267176"/>
                    <a:pt x="4506754" y="292894"/>
                  </a:cubicBezTo>
                  <a:cubicBezTo>
                    <a:pt x="4504849" y="289084"/>
                    <a:pt x="4502944" y="285274"/>
                    <a:pt x="4501991" y="282416"/>
                  </a:cubicBezTo>
                  <a:cubicBezTo>
                    <a:pt x="4499134" y="276701"/>
                    <a:pt x="4496276" y="271939"/>
                    <a:pt x="4494372" y="267176"/>
                  </a:cubicBezTo>
                  <a:cubicBezTo>
                    <a:pt x="4491514" y="262414"/>
                    <a:pt x="4489609" y="258604"/>
                    <a:pt x="4486751" y="254794"/>
                  </a:cubicBezTo>
                  <a:cubicBezTo>
                    <a:pt x="4483894" y="250984"/>
                    <a:pt x="4481989" y="248126"/>
                    <a:pt x="4480084" y="245269"/>
                  </a:cubicBezTo>
                  <a:cubicBezTo>
                    <a:pt x="4478179" y="242411"/>
                    <a:pt x="4476274" y="240506"/>
                    <a:pt x="4474369" y="238601"/>
                  </a:cubicBezTo>
                  <a:cubicBezTo>
                    <a:pt x="4471512" y="235744"/>
                    <a:pt x="4470559" y="233839"/>
                    <a:pt x="4469606" y="233839"/>
                  </a:cubicBezTo>
                  <a:cubicBezTo>
                    <a:pt x="4470559" y="230981"/>
                    <a:pt x="4471512" y="228124"/>
                    <a:pt x="4471512" y="225266"/>
                  </a:cubicBezTo>
                  <a:cubicBezTo>
                    <a:pt x="4474369" y="214789"/>
                    <a:pt x="4476274" y="206216"/>
                    <a:pt x="4477226" y="198596"/>
                  </a:cubicBezTo>
                  <a:cubicBezTo>
                    <a:pt x="4480084" y="184309"/>
                    <a:pt x="4481037" y="175736"/>
                    <a:pt x="4481037" y="175736"/>
                  </a:cubicBezTo>
                  <a:cubicBezTo>
                    <a:pt x="4481037" y="175736"/>
                    <a:pt x="4478179" y="183356"/>
                    <a:pt x="4473416" y="197644"/>
                  </a:cubicBezTo>
                  <a:cubicBezTo>
                    <a:pt x="4471512" y="204311"/>
                    <a:pt x="4467701" y="212884"/>
                    <a:pt x="4463891" y="222409"/>
                  </a:cubicBezTo>
                  <a:cubicBezTo>
                    <a:pt x="4461034" y="229076"/>
                    <a:pt x="4458176" y="236696"/>
                    <a:pt x="4455319" y="244316"/>
                  </a:cubicBezTo>
                  <a:cubicBezTo>
                    <a:pt x="4454366" y="240506"/>
                    <a:pt x="4453414" y="237649"/>
                    <a:pt x="4453414" y="237649"/>
                  </a:cubicBezTo>
                  <a:cubicBezTo>
                    <a:pt x="4453414" y="237649"/>
                    <a:pt x="4453414" y="240506"/>
                    <a:pt x="4454366" y="247174"/>
                  </a:cubicBezTo>
                  <a:cubicBezTo>
                    <a:pt x="4453414" y="249079"/>
                    <a:pt x="4452462" y="251936"/>
                    <a:pt x="4451509" y="253841"/>
                  </a:cubicBezTo>
                  <a:cubicBezTo>
                    <a:pt x="4446747" y="265271"/>
                    <a:pt x="4441984" y="276701"/>
                    <a:pt x="4436269" y="289084"/>
                  </a:cubicBezTo>
                  <a:cubicBezTo>
                    <a:pt x="4436269" y="288131"/>
                    <a:pt x="4435316" y="288131"/>
                    <a:pt x="4435316" y="287179"/>
                  </a:cubicBezTo>
                  <a:cubicBezTo>
                    <a:pt x="4436269" y="283369"/>
                    <a:pt x="4437222" y="278606"/>
                    <a:pt x="4438174" y="274796"/>
                  </a:cubicBezTo>
                  <a:cubicBezTo>
                    <a:pt x="4440079" y="265271"/>
                    <a:pt x="4441984" y="255746"/>
                    <a:pt x="4444841" y="247174"/>
                  </a:cubicBezTo>
                  <a:cubicBezTo>
                    <a:pt x="4449604" y="229076"/>
                    <a:pt x="4452462" y="211931"/>
                    <a:pt x="4454366" y="195739"/>
                  </a:cubicBezTo>
                  <a:cubicBezTo>
                    <a:pt x="4457224" y="179546"/>
                    <a:pt x="4459129" y="165259"/>
                    <a:pt x="4460081" y="151924"/>
                  </a:cubicBezTo>
                  <a:cubicBezTo>
                    <a:pt x="4461034" y="145256"/>
                    <a:pt x="4461987" y="139541"/>
                    <a:pt x="4461987" y="133826"/>
                  </a:cubicBezTo>
                  <a:cubicBezTo>
                    <a:pt x="4461987" y="128111"/>
                    <a:pt x="4462939" y="123349"/>
                    <a:pt x="4462939" y="118586"/>
                  </a:cubicBezTo>
                  <a:cubicBezTo>
                    <a:pt x="4463891" y="99536"/>
                    <a:pt x="4463891" y="89059"/>
                    <a:pt x="4463891" y="89059"/>
                  </a:cubicBezTo>
                  <a:cubicBezTo>
                    <a:pt x="4463891" y="89059"/>
                    <a:pt x="4461987" y="99536"/>
                    <a:pt x="4458176" y="118586"/>
                  </a:cubicBezTo>
                  <a:cubicBezTo>
                    <a:pt x="4457224" y="123349"/>
                    <a:pt x="4456272" y="128111"/>
                    <a:pt x="4455319" y="133826"/>
                  </a:cubicBezTo>
                  <a:cubicBezTo>
                    <a:pt x="4454366" y="139541"/>
                    <a:pt x="4452462" y="145256"/>
                    <a:pt x="4451509" y="151924"/>
                  </a:cubicBezTo>
                  <a:cubicBezTo>
                    <a:pt x="4448651" y="164306"/>
                    <a:pt x="4445794" y="178594"/>
                    <a:pt x="4441984" y="194786"/>
                  </a:cubicBezTo>
                  <a:cubicBezTo>
                    <a:pt x="4438174" y="210026"/>
                    <a:pt x="4434364" y="227171"/>
                    <a:pt x="4428649" y="245269"/>
                  </a:cubicBezTo>
                  <a:cubicBezTo>
                    <a:pt x="4426744" y="252889"/>
                    <a:pt x="4423887" y="261461"/>
                    <a:pt x="4421981" y="269081"/>
                  </a:cubicBezTo>
                  <a:cubicBezTo>
                    <a:pt x="4419124" y="265271"/>
                    <a:pt x="4417219" y="261461"/>
                    <a:pt x="4414362" y="258604"/>
                  </a:cubicBezTo>
                  <a:cubicBezTo>
                    <a:pt x="4406741" y="247174"/>
                    <a:pt x="4400074" y="237649"/>
                    <a:pt x="4394359" y="230029"/>
                  </a:cubicBezTo>
                  <a:cubicBezTo>
                    <a:pt x="4391501" y="227171"/>
                    <a:pt x="4389597" y="224314"/>
                    <a:pt x="4387691" y="221456"/>
                  </a:cubicBezTo>
                  <a:cubicBezTo>
                    <a:pt x="4392454" y="195739"/>
                    <a:pt x="4395312" y="180499"/>
                    <a:pt x="4395312" y="180499"/>
                  </a:cubicBezTo>
                  <a:cubicBezTo>
                    <a:pt x="4395312" y="180499"/>
                    <a:pt x="4390549" y="193834"/>
                    <a:pt x="4382929" y="215741"/>
                  </a:cubicBezTo>
                  <a:cubicBezTo>
                    <a:pt x="4378166" y="209074"/>
                    <a:pt x="4375309" y="206216"/>
                    <a:pt x="4375309" y="206216"/>
                  </a:cubicBezTo>
                  <a:cubicBezTo>
                    <a:pt x="4375309" y="206216"/>
                    <a:pt x="4378166" y="210979"/>
                    <a:pt x="4381976" y="218599"/>
                  </a:cubicBezTo>
                  <a:cubicBezTo>
                    <a:pt x="4378166" y="230029"/>
                    <a:pt x="4374356" y="244316"/>
                    <a:pt x="4369594" y="259556"/>
                  </a:cubicBezTo>
                  <a:cubicBezTo>
                    <a:pt x="4368641" y="248126"/>
                    <a:pt x="4368641" y="241459"/>
                    <a:pt x="4368641" y="241459"/>
                  </a:cubicBezTo>
                  <a:cubicBezTo>
                    <a:pt x="4368641" y="241459"/>
                    <a:pt x="4367689" y="249079"/>
                    <a:pt x="4366737" y="263366"/>
                  </a:cubicBezTo>
                  <a:cubicBezTo>
                    <a:pt x="4366737" y="267176"/>
                    <a:pt x="4365784" y="270986"/>
                    <a:pt x="4365784" y="274796"/>
                  </a:cubicBezTo>
                  <a:cubicBezTo>
                    <a:pt x="4364831" y="277654"/>
                    <a:pt x="4363879" y="281464"/>
                    <a:pt x="4362926" y="285274"/>
                  </a:cubicBezTo>
                  <a:cubicBezTo>
                    <a:pt x="4362926" y="284321"/>
                    <a:pt x="4362926" y="283369"/>
                    <a:pt x="4362926" y="282416"/>
                  </a:cubicBezTo>
                  <a:cubicBezTo>
                    <a:pt x="4361974" y="269081"/>
                    <a:pt x="4361022" y="261461"/>
                    <a:pt x="4361022" y="261461"/>
                  </a:cubicBezTo>
                  <a:cubicBezTo>
                    <a:pt x="4361022" y="261461"/>
                    <a:pt x="4360069" y="269081"/>
                    <a:pt x="4359116" y="283369"/>
                  </a:cubicBezTo>
                  <a:cubicBezTo>
                    <a:pt x="4359116" y="285274"/>
                    <a:pt x="4359116" y="288131"/>
                    <a:pt x="4359116" y="290989"/>
                  </a:cubicBezTo>
                  <a:cubicBezTo>
                    <a:pt x="4358164" y="291941"/>
                    <a:pt x="4358164" y="293846"/>
                    <a:pt x="4357212" y="295751"/>
                  </a:cubicBezTo>
                  <a:cubicBezTo>
                    <a:pt x="4355306" y="291941"/>
                    <a:pt x="4353401" y="288131"/>
                    <a:pt x="4351497" y="284321"/>
                  </a:cubicBezTo>
                  <a:cubicBezTo>
                    <a:pt x="4351497" y="274796"/>
                    <a:pt x="4351497" y="266224"/>
                    <a:pt x="4351497" y="257651"/>
                  </a:cubicBezTo>
                  <a:cubicBezTo>
                    <a:pt x="4351497" y="250984"/>
                    <a:pt x="4351497" y="245269"/>
                    <a:pt x="4351497" y="238601"/>
                  </a:cubicBezTo>
                  <a:cubicBezTo>
                    <a:pt x="4351497" y="232886"/>
                    <a:pt x="4350544" y="227171"/>
                    <a:pt x="4349591" y="221456"/>
                  </a:cubicBezTo>
                  <a:cubicBezTo>
                    <a:pt x="4348639" y="210979"/>
                    <a:pt x="4346734" y="201454"/>
                    <a:pt x="4345781" y="194786"/>
                  </a:cubicBezTo>
                  <a:cubicBezTo>
                    <a:pt x="4343876" y="179546"/>
                    <a:pt x="4342924" y="170974"/>
                    <a:pt x="4342924" y="170974"/>
                  </a:cubicBezTo>
                  <a:cubicBezTo>
                    <a:pt x="4342924" y="170974"/>
                    <a:pt x="4342924" y="179546"/>
                    <a:pt x="4341972" y="194786"/>
                  </a:cubicBezTo>
                  <a:cubicBezTo>
                    <a:pt x="4341972" y="201454"/>
                    <a:pt x="4341972" y="209074"/>
                    <a:pt x="4341972" y="217646"/>
                  </a:cubicBezTo>
                  <a:cubicBezTo>
                    <a:pt x="4341019" y="210026"/>
                    <a:pt x="4340066" y="205264"/>
                    <a:pt x="4340066" y="205264"/>
                  </a:cubicBezTo>
                  <a:cubicBezTo>
                    <a:pt x="4340066" y="205264"/>
                    <a:pt x="4340066" y="212884"/>
                    <a:pt x="4339114" y="226219"/>
                  </a:cubicBezTo>
                  <a:cubicBezTo>
                    <a:pt x="4339114" y="232886"/>
                    <a:pt x="4339114" y="240506"/>
                    <a:pt x="4338162" y="250031"/>
                  </a:cubicBezTo>
                  <a:cubicBezTo>
                    <a:pt x="4338162" y="250984"/>
                    <a:pt x="4338162" y="251936"/>
                    <a:pt x="4338162" y="252889"/>
                  </a:cubicBezTo>
                  <a:cubicBezTo>
                    <a:pt x="4338162" y="251936"/>
                    <a:pt x="4337209" y="250984"/>
                    <a:pt x="4337209" y="250984"/>
                  </a:cubicBezTo>
                  <a:cubicBezTo>
                    <a:pt x="4330541" y="231934"/>
                    <a:pt x="4324826" y="213836"/>
                    <a:pt x="4318159" y="196691"/>
                  </a:cubicBezTo>
                  <a:cubicBezTo>
                    <a:pt x="4306729" y="163354"/>
                    <a:pt x="4296251" y="135731"/>
                    <a:pt x="4289584" y="116681"/>
                  </a:cubicBezTo>
                  <a:cubicBezTo>
                    <a:pt x="4282916" y="97631"/>
                    <a:pt x="4278154" y="86201"/>
                    <a:pt x="4278154" y="86201"/>
                  </a:cubicBezTo>
                  <a:cubicBezTo>
                    <a:pt x="4278154" y="86201"/>
                    <a:pt x="4281012" y="97631"/>
                    <a:pt x="4285774" y="117634"/>
                  </a:cubicBezTo>
                  <a:cubicBezTo>
                    <a:pt x="4291489" y="137636"/>
                    <a:pt x="4298156" y="166211"/>
                    <a:pt x="4307681" y="199549"/>
                  </a:cubicBezTo>
                  <a:cubicBezTo>
                    <a:pt x="4315301" y="228124"/>
                    <a:pt x="4324826" y="261461"/>
                    <a:pt x="4334351" y="295751"/>
                  </a:cubicBezTo>
                  <a:cubicBezTo>
                    <a:pt x="4334351" y="295751"/>
                    <a:pt x="4334351" y="296704"/>
                    <a:pt x="4334351" y="296704"/>
                  </a:cubicBezTo>
                  <a:cubicBezTo>
                    <a:pt x="4334351" y="295751"/>
                    <a:pt x="4334351" y="294799"/>
                    <a:pt x="4334351" y="294799"/>
                  </a:cubicBezTo>
                  <a:cubicBezTo>
                    <a:pt x="4334351" y="294799"/>
                    <a:pt x="4334351" y="296704"/>
                    <a:pt x="4334351" y="301466"/>
                  </a:cubicBezTo>
                  <a:cubicBezTo>
                    <a:pt x="4334351" y="306229"/>
                    <a:pt x="4333399" y="310991"/>
                    <a:pt x="4333399" y="315754"/>
                  </a:cubicBezTo>
                  <a:cubicBezTo>
                    <a:pt x="4332447" y="325279"/>
                    <a:pt x="4331494" y="334804"/>
                    <a:pt x="4329589" y="344329"/>
                  </a:cubicBezTo>
                  <a:cubicBezTo>
                    <a:pt x="4329589" y="344329"/>
                    <a:pt x="4328637" y="343376"/>
                    <a:pt x="4328637" y="343376"/>
                  </a:cubicBezTo>
                  <a:cubicBezTo>
                    <a:pt x="4327684" y="342424"/>
                    <a:pt x="4327684" y="341471"/>
                    <a:pt x="4326731" y="340519"/>
                  </a:cubicBezTo>
                  <a:cubicBezTo>
                    <a:pt x="4326731" y="338614"/>
                    <a:pt x="4325779" y="335756"/>
                    <a:pt x="4325779" y="333851"/>
                  </a:cubicBezTo>
                  <a:cubicBezTo>
                    <a:pt x="4321969" y="309086"/>
                    <a:pt x="4318159" y="286226"/>
                    <a:pt x="4315301" y="267176"/>
                  </a:cubicBezTo>
                  <a:cubicBezTo>
                    <a:pt x="4308634" y="228124"/>
                    <a:pt x="4301966" y="202406"/>
                    <a:pt x="4301966" y="202406"/>
                  </a:cubicBezTo>
                  <a:cubicBezTo>
                    <a:pt x="4301966" y="202406"/>
                    <a:pt x="4301966" y="229076"/>
                    <a:pt x="4303872" y="268129"/>
                  </a:cubicBezTo>
                  <a:cubicBezTo>
                    <a:pt x="4303872" y="270034"/>
                    <a:pt x="4303872" y="271939"/>
                    <a:pt x="4303872" y="274796"/>
                  </a:cubicBezTo>
                  <a:cubicBezTo>
                    <a:pt x="4302919" y="279559"/>
                    <a:pt x="4302919" y="284321"/>
                    <a:pt x="4301966" y="290036"/>
                  </a:cubicBezTo>
                  <a:cubicBezTo>
                    <a:pt x="4301966" y="292894"/>
                    <a:pt x="4301014" y="296704"/>
                    <a:pt x="4300062" y="300514"/>
                  </a:cubicBezTo>
                  <a:cubicBezTo>
                    <a:pt x="4296251" y="295751"/>
                    <a:pt x="4292441" y="290989"/>
                    <a:pt x="4288631" y="286226"/>
                  </a:cubicBezTo>
                  <a:cubicBezTo>
                    <a:pt x="4292441" y="292894"/>
                    <a:pt x="4295299" y="298609"/>
                    <a:pt x="4299109" y="305276"/>
                  </a:cubicBezTo>
                  <a:cubicBezTo>
                    <a:pt x="4298156" y="310991"/>
                    <a:pt x="4297204" y="316706"/>
                    <a:pt x="4296251" y="323374"/>
                  </a:cubicBezTo>
                  <a:cubicBezTo>
                    <a:pt x="4295299" y="330041"/>
                    <a:pt x="4293394" y="337661"/>
                    <a:pt x="4292441" y="346234"/>
                  </a:cubicBezTo>
                  <a:cubicBezTo>
                    <a:pt x="4291489" y="345281"/>
                    <a:pt x="4291489" y="344329"/>
                    <a:pt x="4290537" y="343376"/>
                  </a:cubicBezTo>
                  <a:cubicBezTo>
                    <a:pt x="4289584" y="330994"/>
                    <a:pt x="4289584" y="319564"/>
                    <a:pt x="4288631" y="308134"/>
                  </a:cubicBezTo>
                  <a:cubicBezTo>
                    <a:pt x="4285774" y="262414"/>
                    <a:pt x="4281964" y="231934"/>
                    <a:pt x="4281964" y="231934"/>
                  </a:cubicBezTo>
                  <a:cubicBezTo>
                    <a:pt x="4281964" y="231934"/>
                    <a:pt x="4279106" y="262414"/>
                    <a:pt x="4277201" y="309086"/>
                  </a:cubicBezTo>
                  <a:cubicBezTo>
                    <a:pt x="4277201" y="311944"/>
                    <a:pt x="4277201" y="315754"/>
                    <a:pt x="4277201" y="318611"/>
                  </a:cubicBezTo>
                  <a:cubicBezTo>
                    <a:pt x="4276249" y="315754"/>
                    <a:pt x="4274344" y="312896"/>
                    <a:pt x="4273391" y="310039"/>
                  </a:cubicBezTo>
                  <a:cubicBezTo>
                    <a:pt x="4273391" y="308134"/>
                    <a:pt x="4272439" y="305276"/>
                    <a:pt x="4272439" y="303371"/>
                  </a:cubicBezTo>
                  <a:cubicBezTo>
                    <a:pt x="4271487" y="292894"/>
                    <a:pt x="4271487" y="283369"/>
                    <a:pt x="4270534" y="273844"/>
                  </a:cubicBezTo>
                  <a:cubicBezTo>
                    <a:pt x="4270534" y="269081"/>
                    <a:pt x="4269581" y="265271"/>
                    <a:pt x="4269581" y="260509"/>
                  </a:cubicBezTo>
                  <a:cubicBezTo>
                    <a:pt x="4269581" y="258604"/>
                    <a:pt x="4269581" y="257651"/>
                    <a:pt x="4269581" y="255746"/>
                  </a:cubicBezTo>
                  <a:cubicBezTo>
                    <a:pt x="4269581" y="248126"/>
                    <a:pt x="4270534" y="241459"/>
                    <a:pt x="4270534" y="234791"/>
                  </a:cubicBezTo>
                  <a:cubicBezTo>
                    <a:pt x="4273391" y="187166"/>
                    <a:pt x="4273391" y="155734"/>
                    <a:pt x="4273391" y="155734"/>
                  </a:cubicBezTo>
                  <a:cubicBezTo>
                    <a:pt x="4273391" y="155734"/>
                    <a:pt x="4265772" y="187166"/>
                    <a:pt x="4259104" y="233839"/>
                  </a:cubicBezTo>
                  <a:cubicBezTo>
                    <a:pt x="4257199" y="245269"/>
                    <a:pt x="4255294" y="258604"/>
                    <a:pt x="4253389" y="271939"/>
                  </a:cubicBezTo>
                  <a:cubicBezTo>
                    <a:pt x="4253389" y="270986"/>
                    <a:pt x="4252437" y="270986"/>
                    <a:pt x="4252437" y="270034"/>
                  </a:cubicBezTo>
                  <a:cubicBezTo>
                    <a:pt x="4252437" y="267176"/>
                    <a:pt x="4253389" y="264319"/>
                    <a:pt x="4253389" y="262414"/>
                  </a:cubicBezTo>
                  <a:cubicBezTo>
                    <a:pt x="4255294" y="248126"/>
                    <a:pt x="4255294" y="240506"/>
                    <a:pt x="4255294" y="240506"/>
                  </a:cubicBezTo>
                  <a:cubicBezTo>
                    <a:pt x="4255294" y="240506"/>
                    <a:pt x="4253389" y="248126"/>
                    <a:pt x="4249579" y="262414"/>
                  </a:cubicBezTo>
                  <a:cubicBezTo>
                    <a:pt x="4249579" y="263366"/>
                    <a:pt x="4249579" y="264319"/>
                    <a:pt x="4248626" y="264319"/>
                  </a:cubicBezTo>
                  <a:cubicBezTo>
                    <a:pt x="4247674" y="263366"/>
                    <a:pt x="4247674" y="262414"/>
                    <a:pt x="4246722" y="261461"/>
                  </a:cubicBezTo>
                  <a:cubicBezTo>
                    <a:pt x="4245769" y="260509"/>
                    <a:pt x="4244816" y="259556"/>
                    <a:pt x="4244816" y="257651"/>
                  </a:cubicBezTo>
                  <a:cubicBezTo>
                    <a:pt x="4244816" y="253841"/>
                    <a:pt x="4244816" y="251936"/>
                    <a:pt x="4244816" y="251936"/>
                  </a:cubicBezTo>
                  <a:cubicBezTo>
                    <a:pt x="4244816" y="251936"/>
                    <a:pt x="4244816" y="253841"/>
                    <a:pt x="4243864" y="256699"/>
                  </a:cubicBezTo>
                  <a:cubicBezTo>
                    <a:pt x="4242912" y="254794"/>
                    <a:pt x="4241959" y="252889"/>
                    <a:pt x="4240054" y="251936"/>
                  </a:cubicBezTo>
                  <a:cubicBezTo>
                    <a:pt x="4236244" y="246221"/>
                    <a:pt x="4232434" y="240506"/>
                    <a:pt x="4229576" y="235744"/>
                  </a:cubicBezTo>
                  <a:cubicBezTo>
                    <a:pt x="4223862" y="227171"/>
                    <a:pt x="4220051" y="222409"/>
                    <a:pt x="4220051" y="222409"/>
                  </a:cubicBezTo>
                  <a:cubicBezTo>
                    <a:pt x="4220051" y="222409"/>
                    <a:pt x="4221956" y="228124"/>
                    <a:pt x="4226719" y="237649"/>
                  </a:cubicBezTo>
                  <a:cubicBezTo>
                    <a:pt x="4228624" y="242411"/>
                    <a:pt x="4231481" y="248126"/>
                    <a:pt x="4234339" y="254794"/>
                  </a:cubicBezTo>
                  <a:cubicBezTo>
                    <a:pt x="4235291" y="255746"/>
                    <a:pt x="4235291" y="257651"/>
                    <a:pt x="4236244" y="258604"/>
                  </a:cubicBezTo>
                  <a:cubicBezTo>
                    <a:pt x="4234339" y="256699"/>
                    <a:pt x="4233387" y="253841"/>
                    <a:pt x="4231481" y="251936"/>
                  </a:cubicBezTo>
                  <a:cubicBezTo>
                    <a:pt x="4227672" y="246221"/>
                    <a:pt x="4223862" y="242411"/>
                    <a:pt x="4220051" y="237649"/>
                  </a:cubicBezTo>
                  <a:cubicBezTo>
                    <a:pt x="4213384" y="229076"/>
                    <a:pt x="4206716" y="223361"/>
                    <a:pt x="4202906" y="219551"/>
                  </a:cubicBezTo>
                  <a:cubicBezTo>
                    <a:pt x="4199097" y="215741"/>
                    <a:pt x="4196239" y="213836"/>
                    <a:pt x="4196239" y="213836"/>
                  </a:cubicBezTo>
                  <a:cubicBezTo>
                    <a:pt x="4196239" y="213836"/>
                    <a:pt x="4198144" y="216694"/>
                    <a:pt x="4201954" y="220504"/>
                  </a:cubicBezTo>
                  <a:cubicBezTo>
                    <a:pt x="4205764" y="225266"/>
                    <a:pt x="4211479" y="230981"/>
                    <a:pt x="4216241" y="240506"/>
                  </a:cubicBezTo>
                  <a:cubicBezTo>
                    <a:pt x="4219099" y="245269"/>
                    <a:pt x="4222909" y="250031"/>
                    <a:pt x="4225766" y="255746"/>
                  </a:cubicBezTo>
                  <a:cubicBezTo>
                    <a:pt x="4228624" y="261461"/>
                    <a:pt x="4232434" y="267176"/>
                    <a:pt x="4235291" y="273844"/>
                  </a:cubicBezTo>
                  <a:cubicBezTo>
                    <a:pt x="4235291" y="273844"/>
                    <a:pt x="4235291" y="273844"/>
                    <a:pt x="4235291" y="274796"/>
                  </a:cubicBezTo>
                  <a:cubicBezTo>
                    <a:pt x="4235291" y="276701"/>
                    <a:pt x="4235291" y="279559"/>
                    <a:pt x="4235291" y="282416"/>
                  </a:cubicBezTo>
                  <a:cubicBezTo>
                    <a:pt x="4235291" y="282416"/>
                    <a:pt x="4234339" y="281464"/>
                    <a:pt x="4234339" y="281464"/>
                  </a:cubicBezTo>
                  <a:cubicBezTo>
                    <a:pt x="4231481" y="277654"/>
                    <a:pt x="4229576" y="276701"/>
                    <a:pt x="4229576" y="276701"/>
                  </a:cubicBezTo>
                  <a:cubicBezTo>
                    <a:pt x="4229576" y="276701"/>
                    <a:pt x="4231481" y="278606"/>
                    <a:pt x="4233387" y="282416"/>
                  </a:cubicBezTo>
                  <a:cubicBezTo>
                    <a:pt x="4233387" y="283369"/>
                    <a:pt x="4234339" y="283369"/>
                    <a:pt x="4235291" y="284321"/>
                  </a:cubicBezTo>
                  <a:cubicBezTo>
                    <a:pt x="4235291" y="284321"/>
                    <a:pt x="4235291" y="284321"/>
                    <a:pt x="4235291" y="285274"/>
                  </a:cubicBezTo>
                  <a:cubicBezTo>
                    <a:pt x="4233387" y="292894"/>
                    <a:pt x="4231481" y="301466"/>
                    <a:pt x="4229576" y="310039"/>
                  </a:cubicBezTo>
                  <a:cubicBezTo>
                    <a:pt x="4225766" y="301466"/>
                    <a:pt x="4222909" y="295751"/>
                    <a:pt x="4222909" y="295751"/>
                  </a:cubicBezTo>
                  <a:cubicBezTo>
                    <a:pt x="4222909" y="295751"/>
                    <a:pt x="4224814" y="303371"/>
                    <a:pt x="4228624" y="316706"/>
                  </a:cubicBezTo>
                  <a:cubicBezTo>
                    <a:pt x="4227672" y="319564"/>
                    <a:pt x="4227672" y="323374"/>
                    <a:pt x="4226719" y="327184"/>
                  </a:cubicBezTo>
                  <a:cubicBezTo>
                    <a:pt x="4225766" y="331946"/>
                    <a:pt x="4224814" y="336709"/>
                    <a:pt x="4223862" y="341471"/>
                  </a:cubicBezTo>
                  <a:cubicBezTo>
                    <a:pt x="4223862" y="338614"/>
                    <a:pt x="4222909" y="336709"/>
                    <a:pt x="4222909" y="334804"/>
                  </a:cubicBezTo>
                  <a:cubicBezTo>
                    <a:pt x="4221004" y="320516"/>
                    <a:pt x="4219099" y="311944"/>
                    <a:pt x="4219099" y="311944"/>
                  </a:cubicBezTo>
                  <a:cubicBezTo>
                    <a:pt x="4219099" y="311944"/>
                    <a:pt x="4219099" y="319564"/>
                    <a:pt x="4219099" y="331946"/>
                  </a:cubicBezTo>
                  <a:cubicBezTo>
                    <a:pt x="4218147" y="329089"/>
                    <a:pt x="4218147" y="326231"/>
                    <a:pt x="4217194" y="322421"/>
                  </a:cubicBezTo>
                  <a:cubicBezTo>
                    <a:pt x="4206716" y="272891"/>
                    <a:pt x="4198144" y="240506"/>
                    <a:pt x="4198144" y="240506"/>
                  </a:cubicBezTo>
                  <a:cubicBezTo>
                    <a:pt x="4198144" y="240506"/>
                    <a:pt x="4200049" y="273844"/>
                    <a:pt x="4205764" y="323374"/>
                  </a:cubicBezTo>
                  <a:cubicBezTo>
                    <a:pt x="4206716" y="335756"/>
                    <a:pt x="4208622" y="350044"/>
                    <a:pt x="4210526" y="364331"/>
                  </a:cubicBezTo>
                  <a:cubicBezTo>
                    <a:pt x="4210526" y="364331"/>
                    <a:pt x="4210526" y="363379"/>
                    <a:pt x="4210526" y="363379"/>
                  </a:cubicBezTo>
                  <a:cubicBezTo>
                    <a:pt x="4209574" y="357664"/>
                    <a:pt x="4207669" y="353854"/>
                    <a:pt x="4206716" y="350044"/>
                  </a:cubicBezTo>
                  <a:cubicBezTo>
                    <a:pt x="4204812" y="342424"/>
                    <a:pt x="4202906" y="338614"/>
                    <a:pt x="4202906" y="338614"/>
                  </a:cubicBezTo>
                  <a:cubicBezTo>
                    <a:pt x="4202906" y="338614"/>
                    <a:pt x="4202906" y="343376"/>
                    <a:pt x="4202906" y="350996"/>
                  </a:cubicBezTo>
                  <a:cubicBezTo>
                    <a:pt x="4202906" y="354806"/>
                    <a:pt x="4202906" y="359569"/>
                    <a:pt x="4202906" y="365284"/>
                  </a:cubicBezTo>
                  <a:cubicBezTo>
                    <a:pt x="4202906" y="368141"/>
                    <a:pt x="4202906" y="370999"/>
                    <a:pt x="4202906" y="373856"/>
                  </a:cubicBezTo>
                  <a:cubicBezTo>
                    <a:pt x="4202906" y="375761"/>
                    <a:pt x="4202906" y="377666"/>
                    <a:pt x="4202906" y="380524"/>
                  </a:cubicBezTo>
                  <a:cubicBezTo>
                    <a:pt x="4202906" y="379571"/>
                    <a:pt x="4202906" y="379571"/>
                    <a:pt x="4201954" y="378619"/>
                  </a:cubicBezTo>
                  <a:cubicBezTo>
                    <a:pt x="4201954" y="372904"/>
                    <a:pt x="4201001" y="367189"/>
                    <a:pt x="4201001" y="361474"/>
                  </a:cubicBezTo>
                  <a:cubicBezTo>
                    <a:pt x="4199097" y="318611"/>
                    <a:pt x="4196239" y="290989"/>
                    <a:pt x="4196239" y="290989"/>
                  </a:cubicBezTo>
                  <a:cubicBezTo>
                    <a:pt x="4196239" y="290989"/>
                    <a:pt x="4193381" y="310991"/>
                    <a:pt x="4191476" y="343376"/>
                  </a:cubicBezTo>
                  <a:cubicBezTo>
                    <a:pt x="4190524" y="340519"/>
                    <a:pt x="4189571" y="338614"/>
                    <a:pt x="4188619" y="335756"/>
                  </a:cubicBezTo>
                  <a:cubicBezTo>
                    <a:pt x="4185761" y="329089"/>
                    <a:pt x="4183856" y="323374"/>
                    <a:pt x="4181951" y="319564"/>
                  </a:cubicBezTo>
                  <a:cubicBezTo>
                    <a:pt x="4181951" y="318611"/>
                    <a:pt x="4180999" y="317659"/>
                    <a:pt x="4180999" y="316706"/>
                  </a:cubicBezTo>
                  <a:cubicBezTo>
                    <a:pt x="4180999" y="291941"/>
                    <a:pt x="4180999" y="271939"/>
                    <a:pt x="4180999" y="256699"/>
                  </a:cubicBezTo>
                  <a:cubicBezTo>
                    <a:pt x="4180999" y="239554"/>
                    <a:pt x="4180999" y="230029"/>
                    <a:pt x="4180999" y="230029"/>
                  </a:cubicBezTo>
                  <a:cubicBezTo>
                    <a:pt x="4180999" y="230029"/>
                    <a:pt x="4180046" y="239554"/>
                    <a:pt x="4177189" y="256699"/>
                  </a:cubicBezTo>
                  <a:cubicBezTo>
                    <a:pt x="4177189" y="260509"/>
                    <a:pt x="4176236" y="265271"/>
                    <a:pt x="4175284" y="270034"/>
                  </a:cubicBezTo>
                  <a:cubicBezTo>
                    <a:pt x="4175284" y="263366"/>
                    <a:pt x="4174331" y="257651"/>
                    <a:pt x="4174331" y="251936"/>
                  </a:cubicBezTo>
                  <a:cubicBezTo>
                    <a:pt x="4172426" y="207169"/>
                    <a:pt x="4168616" y="176689"/>
                    <a:pt x="4168616" y="176689"/>
                  </a:cubicBezTo>
                  <a:cubicBezTo>
                    <a:pt x="4168616" y="176689"/>
                    <a:pt x="4164806" y="207169"/>
                    <a:pt x="4162901" y="251936"/>
                  </a:cubicBezTo>
                  <a:cubicBezTo>
                    <a:pt x="4161949" y="263366"/>
                    <a:pt x="4161949" y="274796"/>
                    <a:pt x="4160996" y="287179"/>
                  </a:cubicBezTo>
                  <a:cubicBezTo>
                    <a:pt x="4158139" y="292894"/>
                    <a:pt x="4156234" y="298609"/>
                    <a:pt x="4154329" y="303371"/>
                  </a:cubicBezTo>
                  <a:cubicBezTo>
                    <a:pt x="4151471" y="295751"/>
                    <a:pt x="4149566" y="288131"/>
                    <a:pt x="4146709" y="280511"/>
                  </a:cubicBezTo>
                  <a:cubicBezTo>
                    <a:pt x="4144804" y="267176"/>
                    <a:pt x="4141946" y="255746"/>
                    <a:pt x="4140041" y="246221"/>
                  </a:cubicBezTo>
                  <a:cubicBezTo>
                    <a:pt x="4137184" y="231934"/>
                    <a:pt x="4133374" y="224314"/>
                    <a:pt x="4133374" y="224314"/>
                  </a:cubicBezTo>
                  <a:cubicBezTo>
                    <a:pt x="4133374" y="224314"/>
                    <a:pt x="4134326" y="226219"/>
                    <a:pt x="4134326" y="230029"/>
                  </a:cubicBezTo>
                  <a:cubicBezTo>
                    <a:pt x="4135279" y="233839"/>
                    <a:pt x="4135279" y="239554"/>
                    <a:pt x="4136231" y="247174"/>
                  </a:cubicBezTo>
                  <a:cubicBezTo>
                    <a:pt x="4136231" y="248126"/>
                    <a:pt x="4136231" y="249079"/>
                    <a:pt x="4136231" y="250031"/>
                  </a:cubicBezTo>
                  <a:cubicBezTo>
                    <a:pt x="4130516" y="230981"/>
                    <a:pt x="4123849" y="213836"/>
                    <a:pt x="4118134" y="197644"/>
                  </a:cubicBezTo>
                  <a:cubicBezTo>
                    <a:pt x="4108609" y="166211"/>
                    <a:pt x="4100036" y="139541"/>
                    <a:pt x="4093369" y="121444"/>
                  </a:cubicBezTo>
                  <a:cubicBezTo>
                    <a:pt x="4087654" y="103346"/>
                    <a:pt x="4083844" y="92869"/>
                    <a:pt x="4083844" y="92869"/>
                  </a:cubicBezTo>
                  <a:cubicBezTo>
                    <a:pt x="4083844" y="92869"/>
                    <a:pt x="4085749" y="103346"/>
                    <a:pt x="4089559" y="122396"/>
                  </a:cubicBezTo>
                  <a:cubicBezTo>
                    <a:pt x="4093369" y="141446"/>
                    <a:pt x="4099084" y="168116"/>
                    <a:pt x="4106704" y="200501"/>
                  </a:cubicBezTo>
                  <a:cubicBezTo>
                    <a:pt x="4110514" y="215741"/>
                    <a:pt x="4115276" y="231934"/>
                    <a:pt x="4119086" y="248126"/>
                  </a:cubicBezTo>
                  <a:cubicBezTo>
                    <a:pt x="4118134" y="251936"/>
                    <a:pt x="4118134" y="256699"/>
                    <a:pt x="4117181" y="262414"/>
                  </a:cubicBezTo>
                  <a:cubicBezTo>
                    <a:pt x="4116229" y="270034"/>
                    <a:pt x="4115276" y="279559"/>
                    <a:pt x="4114324" y="290036"/>
                  </a:cubicBezTo>
                  <a:cubicBezTo>
                    <a:pt x="4113371" y="288131"/>
                    <a:pt x="4111466" y="286226"/>
                    <a:pt x="4110514" y="284321"/>
                  </a:cubicBezTo>
                  <a:cubicBezTo>
                    <a:pt x="4113371" y="274796"/>
                    <a:pt x="4114324" y="269081"/>
                    <a:pt x="4114324" y="269081"/>
                  </a:cubicBezTo>
                  <a:cubicBezTo>
                    <a:pt x="4114324" y="269081"/>
                    <a:pt x="4112419" y="273844"/>
                    <a:pt x="4108609" y="282416"/>
                  </a:cubicBezTo>
                  <a:cubicBezTo>
                    <a:pt x="4106704" y="279559"/>
                    <a:pt x="4104799" y="276701"/>
                    <a:pt x="4102894" y="273844"/>
                  </a:cubicBezTo>
                  <a:cubicBezTo>
                    <a:pt x="4100989" y="270034"/>
                    <a:pt x="4098131" y="266224"/>
                    <a:pt x="4096226" y="263366"/>
                  </a:cubicBezTo>
                  <a:cubicBezTo>
                    <a:pt x="4097179" y="262414"/>
                    <a:pt x="4097179" y="262414"/>
                    <a:pt x="4097179" y="262414"/>
                  </a:cubicBezTo>
                  <a:cubicBezTo>
                    <a:pt x="4097179" y="262414"/>
                    <a:pt x="4097179" y="262414"/>
                    <a:pt x="4096226" y="263366"/>
                  </a:cubicBezTo>
                  <a:cubicBezTo>
                    <a:pt x="4094321" y="259556"/>
                    <a:pt x="4092416" y="256699"/>
                    <a:pt x="4090511" y="253841"/>
                  </a:cubicBezTo>
                  <a:cubicBezTo>
                    <a:pt x="4090511" y="253841"/>
                    <a:pt x="4090511" y="252889"/>
                    <a:pt x="4090511" y="252889"/>
                  </a:cubicBezTo>
                  <a:cubicBezTo>
                    <a:pt x="4090511" y="248126"/>
                    <a:pt x="4090511" y="243364"/>
                    <a:pt x="4090511" y="238601"/>
                  </a:cubicBezTo>
                  <a:cubicBezTo>
                    <a:pt x="4090511" y="230029"/>
                    <a:pt x="4090511" y="222409"/>
                    <a:pt x="4090511" y="215741"/>
                  </a:cubicBezTo>
                  <a:cubicBezTo>
                    <a:pt x="4090511" y="203359"/>
                    <a:pt x="4089559" y="195739"/>
                    <a:pt x="4089559" y="195739"/>
                  </a:cubicBezTo>
                  <a:cubicBezTo>
                    <a:pt x="4089559" y="195739"/>
                    <a:pt x="4088606" y="202406"/>
                    <a:pt x="4086701" y="214789"/>
                  </a:cubicBezTo>
                  <a:cubicBezTo>
                    <a:pt x="4085749" y="221456"/>
                    <a:pt x="4084796" y="228124"/>
                    <a:pt x="4083844" y="236696"/>
                  </a:cubicBezTo>
                  <a:cubicBezTo>
                    <a:pt x="4083844" y="237649"/>
                    <a:pt x="4083844" y="238601"/>
                    <a:pt x="4083844" y="239554"/>
                  </a:cubicBezTo>
                  <a:cubicBezTo>
                    <a:pt x="4082891" y="238601"/>
                    <a:pt x="4082891" y="237649"/>
                    <a:pt x="4081939" y="236696"/>
                  </a:cubicBezTo>
                  <a:cubicBezTo>
                    <a:pt x="4081939" y="235744"/>
                    <a:pt x="4081939" y="235744"/>
                    <a:pt x="4081939" y="234791"/>
                  </a:cubicBezTo>
                  <a:cubicBezTo>
                    <a:pt x="4081939" y="225266"/>
                    <a:pt x="4081939" y="216694"/>
                    <a:pt x="4081939" y="210026"/>
                  </a:cubicBezTo>
                  <a:cubicBezTo>
                    <a:pt x="4081939" y="195739"/>
                    <a:pt x="4081939" y="188119"/>
                    <a:pt x="4081939" y="188119"/>
                  </a:cubicBezTo>
                  <a:cubicBezTo>
                    <a:pt x="4081939" y="188119"/>
                    <a:pt x="4080034" y="195739"/>
                    <a:pt x="4078129" y="210026"/>
                  </a:cubicBezTo>
                  <a:cubicBezTo>
                    <a:pt x="4077176" y="214789"/>
                    <a:pt x="4076224" y="220504"/>
                    <a:pt x="4075271" y="227171"/>
                  </a:cubicBezTo>
                  <a:cubicBezTo>
                    <a:pt x="4065746" y="210979"/>
                    <a:pt x="4059079" y="202406"/>
                    <a:pt x="4059079" y="202406"/>
                  </a:cubicBezTo>
                  <a:cubicBezTo>
                    <a:pt x="4059079" y="202406"/>
                    <a:pt x="4063841" y="214789"/>
                    <a:pt x="4073366" y="236696"/>
                  </a:cubicBezTo>
                  <a:cubicBezTo>
                    <a:pt x="4072414" y="241459"/>
                    <a:pt x="4071461" y="246221"/>
                    <a:pt x="4071461" y="250984"/>
                  </a:cubicBezTo>
                  <a:cubicBezTo>
                    <a:pt x="4070509" y="256699"/>
                    <a:pt x="4069556" y="261461"/>
                    <a:pt x="4067651" y="268129"/>
                  </a:cubicBezTo>
                  <a:cubicBezTo>
                    <a:pt x="4066699" y="271939"/>
                    <a:pt x="4065746" y="275749"/>
                    <a:pt x="4064794" y="279559"/>
                  </a:cubicBezTo>
                  <a:cubicBezTo>
                    <a:pt x="4063841" y="270986"/>
                    <a:pt x="4062889" y="262414"/>
                    <a:pt x="4061936" y="253841"/>
                  </a:cubicBezTo>
                  <a:cubicBezTo>
                    <a:pt x="4059079" y="237649"/>
                    <a:pt x="4057174" y="221456"/>
                    <a:pt x="4054316" y="207169"/>
                  </a:cubicBezTo>
                  <a:cubicBezTo>
                    <a:pt x="4053364" y="199549"/>
                    <a:pt x="4052411" y="192881"/>
                    <a:pt x="4050506" y="186214"/>
                  </a:cubicBezTo>
                  <a:cubicBezTo>
                    <a:pt x="4049554" y="179546"/>
                    <a:pt x="4047649" y="173831"/>
                    <a:pt x="4046696" y="168116"/>
                  </a:cubicBezTo>
                  <a:cubicBezTo>
                    <a:pt x="4043839" y="156686"/>
                    <a:pt x="4041934" y="146209"/>
                    <a:pt x="4040029" y="137636"/>
                  </a:cubicBezTo>
                  <a:cubicBezTo>
                    <a:pt x="4036219" y="121444"/>
                    <a:pt x="4034314" y="111919"/>
                    <a:pt x="4034314" y="111919"/>
                  </a:cubicBezTo>
                  <a:cubicBezTo>
                    <a:pt x="4034314" y="111919"/>
                    <a:pt x="4035266" y="121444"/>
                    <a:pt x="4036219" y="138589"/>
                  </a:cubicBezTo>
                  <a:cubicBezTo>
                    <a:pt x="4037171" y="147161"/>
                    <a:pt x="4038124" y="157639"/>
                    <a:pt x="4039076" y="169069"/>
                  </a:cubicBezTo>
                  <a:cubicBezTo>
                    <a:pt x="4040029" y="180499"/>
                    <a:pt x="4040981" y="193834"/>
                    <a:pt x="4042886" y="208121"/>
                  </a:cubicBezTo>
                  <a:cubicBezTo>
                    <a:pt x="4043839" y="217646"/>
                    <a:pt x="4044791" y="228124"/>
                    <a:pt x="4044791" y="238601"/>
                  </a:cubicBezTo>
                  <a:cubicBezTo>
                    <a:pt x="4037171" y="196691"/>
                    <a:pt x="4031456" y="170021"/>
                    <a:pt x="4031456" y="170021"/>
                  </a:cubicBezTo>
                  <a:cubicBezTo>
                    <a:pt x="4031456" y="170021"/>
                    <a:pt x="4032409" y="203359"/>
                    <a:pt x="4036219" y="252889"/>
                  </a:cubicBezTo>
                  <a:cubicBezTo>
                    <a:pt x="4036219" y="256699"/>
                    <a:pt x="4037171" y="260509"/>
                    <a:pt x="4037171" y="264319"/>
                  </a:cubicBezTo>
                  <a:cubicBezTo>
                    <a:pt x="4036219" y="266224"/>
                    <a:pt x="4036219" y="269081"/>
                    <a:pt x="4035266" y="271939"/>
                  </a:cubicBezTo>
                  <a:cubicBezTo>
                    <a:pt x="4033361" y="270034"/>
                    <a:pt x="4031456" y="268129"/>
                    <a:pt x="4030504" y="266224"/>
                  </a:cubicBezTo>
                  <a:cubicBezTo>
                    <a:pt x="4027646" y="263366"/>
                    <a:pt x="4025741" y="260509"/>
                    <a:pt x="4023836" y="258604"/>
                  </a:cubicBezTo>
                  <a:cubicBezTo>
                    <a:pt x="4018121" y="247174"/>
                    <a:pt x="4013359" y="237649"/>
                    <a:pt x="4009549" y="229076"/>
                  </a:cubicBezTo>
                  <a:cubicBezTo>
                    <a:pt x="4000976" y="212884"/>
                    <a:pt x="3996214" y="203359"/>
                    <a:pt x="3996214" y="203359"/>
                  </a:cubicBezTo>
                  <a:cubicBezTo>
                    <a:pt x="3996214" y="203359"/>
                    <a:pt x="4000024" y="212884"/>
                    <a:pt x="4005739" y="230981"/>
                  </a:cubicBezTo>
                  <a:cubicBezTo>
                    <a:pt x="4008596" y="237649"/>
                    <a:pt x="4011454" y="246221"/>
                    <a:pt x="4014311" y="255746"/>
                  </a:cubicBezTo>
                  <a:cubicBezTo>
                    <a:pt x="4010501" y="248126"/>
                    <a:pt x="4007644" y="243364"/>
                    <a:pt x="4007644" y="243364"/>
                  </a:cubicBezTo>
                  <a:cubicBezTo>
                    <a:pt x="4007644" y="243364"/>
                    <a:pt x="4010501" y="251936"/>
                    <a:pt x="4015264" y="267176"/>
                  </a:cubicBezTo>
                  <a:cubicBezTo>
                    <a:pt x="4018121" y="274796"/>
                    <a:pt x="4020979" y="284321"/>
                    <a:pt x="4024789" y="294799"/>
                  </a:cubicBezTo>
                  <a:cubicBezTo>
                    <a:pt x="4025741" y="296704"/>
                    <a:pt x="4026694" y="299561"/>
                    <a:pt x="4026694" y="301466"/>
                  </a:cubicBezTo>
                  <a:cubicBezTo>
                    <a:pt x="4023836" y="310039"/>
                    <a:pt x="4020026" y="319564"/>
                    <a:pt x="4017169" y="329089"/>
                  </a:cubicBezTo>
                  <a:cubicBezTo>
                    <a:pt x="4017169" y="329089"/>
                    <a:pt x="4016216" y="328136"/>
                    <a:pt x="4016216" y="328136"/>
                  </a:cubicBezTo>
                  <a:cubicBezTo>
                    <a:pt x="4011454" y="325279"/>
                    <a:pt x="4008596" y="322421"/>
                    <a:pt x="4005739" y="320516"/>
                  </a:cubicBezTo>
                  <a:cubicBezTo>
                    <a:pt x="4005739" y="319564"/>
                    <a:pt x="4005739" y="318611"/>
                    <a:pt x="4005739" y="318611"/>
                  </a:cubicBezTo>
                  <a:cubicBezTo>
                    <a:pt x="4005739" y="315754"/>
                    <a:pt x="4004786" y="313849"/>
                    <a:pt x="4004786" y="310991"/>
                  </a:cubicBezTo>
                  <a:cubicBezTo>
                    <a:pt x="4004786" y="285274"/>
                    <a:pt x="4002881" y="269081"/>
                    <a:pt x="4002881" y="269081"/>
                  </a:cubicBezTo>
                  <a:cubicBezTo>
                    <a:pt x="4002881" y="269081"/>
                    <a:pt x="4001929" y="274796"/>
                    <a:pt x="4000024" y="284321"/>
                  </a:cubicBezTo>
                  <a:cubicBezTo>
                    <a:pt x="3996214" y="261461"/>
                    <a:pt x="3993356" y="248126"/>
                    <a:pt x="3993356" y="248126"/>
                  </a:cubicBezTo>
                  <a:cubicBezTo>
                    <a:pt x="3993356" y="248126"/>
                    <a:pt x="3993356" y="262414"/>
                    <a:pt x="3993356" y="286226"/>
                  </a:cubicBezTo>
                  <a:cubicBezTo>
                    <a:pt x="3993356" y="286226"/>
                    <a:pt x="3992404" y="286226"/>
                    <a:pt x="3992404" y="286226"/>
                  </a:cubicBezTo>
                  <a:cubicBezTo>
                    <a:pt x="3991451" y="286226"/>
                    <a:pt x="3990499" y="287179"/>
                    <a:pt x="3990499" y="287179"/>
                  </a:cubicBezTo>
                  <a:cubicBezTo>
                    <a:pt x="3988594" y="289084"/>
                    <a:pt x="3986689" y="290989"/>
                    <a:pt x="3985736" y="292894"/>
                  </a:cubicBezTo>
                  <a:lnTo>
                    <a:pt x="3985736" y="292894"/>
                  </a:lnTo>
                  <a:lnTo>
                    <a:pt x="3985736" y="293846"/>
                  </a:lnTo>
                  <a:cubicBezTo>
                    <a:pt x="3984784" y="300514"/>
                    <a:pt x="3983831" y="307181"/>
                    <a:pt x="3983831" y="313849"/>
                  </a:cubicBezTo>
                  <a:cubicBezTo>
                    <a:pt x="3981926" y="310039"/>
                    <a:pt x="3980021" y="307181"/>
                    <a:pt x="3978116" y="303371"/>
                  </a:cubicBezTo>
                  <a:cubicBezTo>
                    <a:pt x="3983831" y="284321"/>
                    <a:pt x="3987641" y="272891"/>
                    <a:pt x="3987641" y="272891"/>
                  </a:cubicBezTo>
                  <a:cubicBezTo>
                    <a:pt x="3987641" y="272891"/>
                    <a:pt x="3982879" y="282416"/>
                    <a:pt x="3976211" y="298609"/>
                  </a:cubicBezTo>
                  <a:cubicBezTo>
                    <a:pt x="3975259" y="296704"/>
                    <a:pt x="3974306" y="295751"/>
                    <a:pt x="3973354" y="293846"/>
                  </a:cubicBezTo>
                  <a:cubicBezTo>
                    <a:pt x="3973354" y="291941"/>
                    <a:pt x="3973354" y="290036"/>
                    <a:pt x="3973354" y="288131"/>
                  </a:cubicBezTo>
                  <a:cubicBezTo>
                    <a:pt x="3973354" y="288131"/>
                    <a:pt x="3973354" y="288131"/>
                    <a:pt x="3973354" y="287179"/>
                  </a:cubicBezTo>
                  <a:cubicBezTo>
                    <a:pt x="3975259" y="283369"/>
                    <a:pt x="3976211" y="280511"/>
                    <a:pt x="3977164" y="278606"/>
                  </a:cubicBezTo>
                  <a:cubicBezTo>
                    <a:pt x="3979069" y="273844"/>
                    <a:pt x="3980974" y="270986"/>
                    <a:pt x="3980974" y="270986"/>
                  </a:cubicBezTo>
                  <a:cubicBezTo>
                    <a:pt x="3980974" y="270986"/>
                    <a:pt x="3979069" y="272891"/>
                    <a:pt x="3976211" y="277654"/>
                  </a:cubicBezTo>
                  <a:cubicBezTo>
                    <a:pt x="3975259" y="278606"/>
                    <a:pt x="3974306" y="280511"/>
                    <a:pt x="3973354" y="282416"/>
                  </a:cubicBezTo>
                  <a:cubicBezTo>
                    <a:pt x="3973354" y="271939"/>
                    <a:pt x="3974306" y="262414"/>
                    <a:pt x="3974306" y="254794"/>
                  </a:cubicBezTo>
                  <a:cubicBezTo>
                    <a:pt x="3975259" y="238601"/>
                    <a:pt x="3975259" y="230029"/>
                    <a:pt x="3975259" y="230029"/>
                  </a:cubicBezTo>
                  <a:cubicBezTo>
                    <a:pt x="3975259" y="230029"/>
                    <a:pt x="3973354" y="238601"/>
                    <a:pt x="3970496" y="254794"/>
                  </a:cubicBezTo>
                  <a:cubicBezTo>
                    <a:pt x="3969544" y="262414"/>
                    <a:pt x="3967639" y="271939"/>
                    <a:pt x="3965734" y="281464"/>
                  </a:cubicBezTo>
                  <a:cubicBezTo>
                    <a:pt x="3964781" y="278606"/>
                    <a:pt x="3962876" y="276701"/>
                    <a:pt x="3961924" y="274796"/>
                  </a:cubicBezTo>
                  <a:cubicBezTo>
                    <a:pt x="3961924" y="272891"/>
                    <a:pt x="3962876" y="270986"/>
                    <a:pt x="3962876" y="269081"/>
                  </a:cubicBezTo>
                  <a:cubicBezTo>
                    <a:pt x="3965734" y="253841"/>
                    <a:pt x="3966686" y="245269"/>
                    <a:pt x="3966686" y="245269"/>
                  </a:cubicBezTo>
                  <a:cubicBezTo>
                    <a:pt x="3966686" y="245269"/>
                    <a:pt x="3963829" y="253841"/>
                    <a:pt x="3959066" y="268129"/>
                  </a:cubicBezTo>
                  <a:cubicBezTo>
                    <a:pt x="3959066" y="268129"/>
                    <a:pt x="3959066" y="269081"/>
                    <a:pt x="3959066" y="269081"/>
                  </a:cubicBezTo>
                  <a:cubicBezTo>
                    <a:pt x="3959066" y="268129"/>
                    <a:pt x="3958114" y="267176"/>
                    <a:pt x="3958114" y="267176"/>
                  </a:cubicBezTo>
                  <a:cubicBezTo>
                    <a:pt x="3958114" y="267176"/>
                    <a:pt x="3958114" y="268129"/>
                    <a:pt x="3958114" y="269081"/>
                  </a:cubicBezTo>
                  <a:cubicBezTo>
                    <a:pt x="3957161" y="267176"/>
                    <a:pt x="3956209" y="266224"/>
                    <a:pt x="3955256" y="264319"/>
                  </a:cubicBezTo>
                  <a:cubicBezTo>
                    <a:pt x="3955256" y="258604"/>
                    <a:pt x="3955256" y="252889"/>
                    <a:pt x="3954304" y="247174"/>
                  </a:cubicBezTo>
                  <a:cubicBezTo>
                    <a:pt x="3954304" y="235744"/>
                    <a:pt x="3952399" y="224314"/>
                    <a:pt x="3951446" y="214789"/>
                  </a:cubicBezTo>
                  <a:cubicBezTo>
                    <a:pt x="3950494" y="205264"/>
                    <a:pt x="3949541" y="196691"/>
                    <a:pt x="3947636" y="190024"/>
                  </a:cubicBezTo>
                  <a:cubicBezTo>
                    <a:pt x="3944779" y="176689"/>
                    <a:pt x="3943826" y="169069"/>
                    <a:pt x="3943826" y="169069"/>
                  </a:cubicBezTo>
                  <a:cubicBezTo>
                    <a:pt x="3943826" y="169069"/>
                    <a:pt x="3943826" y="176689"/>
                    <a:pt x="3943826" y="190024"/>
                  </a:cubicBezTo>
                  <a:cubicBezTo>
                    <a:pt x="3943826" y="196691"/>
                    <a:pt x="3943826" y="205264"/>
                    <a:pt x="3943826" y="214789"/>
                  </a:cubicBezTo>
                  <a:cubicBezTo>
                    <a:pt x="3943826" y="218599"/>
                    <a:pt x="3943826" y="222409"/>
                    <a:pt x="3943826" y="225266"/>
                  </a:cubicBezTo>
                  <a:cubicBezTo>
                    <a:pt x="3942874" y="221456"/>
                    <a:pt x="3941921" y="218599"/>
                    <a:pt x="3940969" y="215741"/>
                  </a:cubicBezTo>
                  <a:cubicBezTo>
                    <a:pt x="3940016" y="212884"/>
                    <a:pt x="3939064" y="210026"/>
                    <a:pt x="3939064" y="207169"/>
                  </a:cubicBezTo>
                  <a:cubicBezTo>
                    <a:pt x="3940016" y="206216"/>
                    <a:pt x="3940016" y="205264"/>
                    <a:pt x="3940016" y="205264"/>
                  </a:cubicBezTo>
                  <a:cubicBezTo>
                    <a:pt x="3940016" y="205264"/>
                    <a:pt x="3940016" y="206216"/>
                    <a:pt x="3939064" y="206216"/>
                  </a:cubicBezTo>
                  <a:cubicBezTo>
                    <a:pt x="3937159" y="201454"/>
                    <a:pt x="3936206" y="197644"/>
                    <a:pt x="3936206" y="197644"/>
                  </a:cubicBezTo>
                  <a:cubicBezTo>
                    <a:pt x="3936206" y="197644"/>
                    <a:pt x="3936206" y="201454"/>
                    <a:pt x="3937159" y="208121"/>
                  </a:cubicBezTo>
                  <a:cubicBezTo>
                    <a:pt x="3935254" y="210026"/>
                    <a:pt x="3932396" y="212884"/>
                    <a:pt x="3929539" y="216694"/>
                  </a:cubicBezTo>
                  <a:cubicBezTo>
                    <a:pt x="3928586" y="210026"/>
                    <a:pt x="3926681" y="204311"/>
                    <a:pt x="3925729" y="197644"/>
                  </a:cubicBezTo>
                  <a:cubicBezTo>
                    <a:pt x="3922871" y="183356"/>
                    <a:pt x="3919061" y="170021"/>
                    <a:pt x="3916204" y="158591"/>
                  </a:cubicBezTo>
                  <a:cubicBezTo>
                    <a:pt x="3915251" y="153829"/>
                    <a:pt x="3913346" y="148114"/>
                    <a:pt x="3912394" y="144304"/>
                  </a:cubicBezTo>
                  <a:cubicBezTo>
                    <a:pt x="3913346" y="142399"/>
                    <a:pt x="3914299" y="141446"/>
                    <a:pt x="3915251" y="139541"/>
                  </a:cubicBezTo>
                  <a:cubicBezTo>
                    <a:pt x="3927634" y="121444"/>
                    <a:pt x="3935254" y="110966"/>
                    <a:pt x="3935254" y="110966"/>
                  </a:cubicBezTo>
                  <a:cubicBezTo>
                    <a:pt x="3935254" y="110966"/>
                    <a:pt x="3926681" y="120491"/>
                    <a:pt x="3912394" y="136684"/>
                  </a:cubicBezTo>
                  <a:cubicBezTo>
                    <a:pt x="3911441" y="137636"/>
                    <a:pt x="3911441" y="138589"/>
                    <a:pt x="3910489" y="138589"/>
                  </a:cubicBezTo>
                  <a:cubicBezTo>
                    <a:pt x="3909536" y="134779"/>
                    <a:pt x="3908584" y="131921"/>
                    <a:pt x="3906679" y="128111"/>
                  </a:cubicBezTo>
                  <a:cubicBezTo>
                    <a:pt x="3900964" y="111919"/>
                    <a:pt x="3898106" y="102394"/>
                    <a:pt x="3898106" y="102394"/>
                  </a:cubicBezTo>
                  <a:cubicBezTo>
                    <a:pt x="3898106" y="102394"/>
                    <a:pt x="3900011" y="111919"/>
                    <a:pt x="3902869" y="129064"/>
                  </a:cubicBezTo>
                  <a:cubicBezTo>
                    <a:pt x="3903821" y="132874"/>
                    <a:pt x="3904774" y="137636"/>
                    <a:pt x="3905726" y="143351"/>
                  </a:cubicBezTo>
                  <a:cubicBezTo>
                    <a:pt x="3905726" y="143351"/>
                    <a:pt x="3905726" y="143351"/>
                    <a:pt x="3905726" y="143351"/>
                  </a:cubicBezTo>
                  <a:cubicBezTo>
                    <a:pt x="3900011" y="150019"/>
                    <a:pt x="3894296" y="158591"/>
                    <a:pt x="3887629" y="167164"/>
                  </a:cubicBezTo>
                  <a:cubicBezTo>
                    <a:pt x="3880961" y="175736"/>
                    <a:pt x="3874294" y="185261"/>
                    <a:pt x="3866674" y="195739"/>
                  </a:cubicBezTo>
                  <a:cubicBezTo>
                    <a:pt x="3864769" y="190976"/>
                    <a:pt x="3863816" y="186214"/>
                    <a:pt x="3862864" y="182404"/>
                  </a:cubicBezTo>
                  <a:cubicBezTo>
                    <a:pt x="3857149" y="165259"/>
                    <a:pt x="3854291" y="155734"/>
                    <a:pt x="3854291" y="155734"/>
                  </a:cubicBezTo>
                  <a:cubicBezTo>
                    <a:pt x="3854291" y="155734"/>
                    <a:pt x="3856196" y="166211"/>
                    <a:pt x="3859054" y="183356"/>
                  </a:cubicBezTo>
                  <a:cubicBezTo>
                    <a:pt x="3860006" y="189071"/>
                    <a:pt x="3861911" y="195739"/>
                    <a:pt x="3862864" y="202406"/>
                  </a:cubicBezTo>
                  <a:cubicBezTo>
                    <a:pt x="3860959" y="204311"/>
                    <a:pt x="3860006" y="207169"/>
                    <a:pt x="3858101" y="209074"/>
                  </a:cubicBezTo>
                  <a:cubicBezTo>
                    <a:pt x="3856196" y="211931"/>
                    <a:pt x="3855244" y="213836"/>
                    <a:pt x="3853339" y="216694"/>
                  </a:cubicBezTo>
                  <a:cubicBezTo>
                    <a:pt x="3851434" y="208121"/>
                    <a:pt x="3850481" y="200501"/>
                    <a:pt x="3849529" y="195739"/>
                  </a:cubicBezTo>
                  <a:cubicBezTo>
                    <a:pt x="3850481" y="189071"/>
                    <a:pt x="3851434" y="183356"/>
                    <a:pt x="3852386" y="178594"/>
                  </a:cubicBezTo>
                  <a:cubicBezTo>
                    <a:pt x="3854291" y="166211"/>
                    <a:pt x="3855244" y="158591"/>
                    <a:pt x="3855244" y="158591"/>
                  </a:cubicBezTo>
                  <a:cubicBezTo>
                    <a:pt x="3855244" y="158591"/>
                    <a:pt x="3853339" y="165259"/>
                    <a:pt x="3848576" y="177641"/>
                  </a:cubicBezTo>
                  <a:cubicBezTo>
                    <a:pt x="3846671" y="184309"/>
                    <a:pt x="3844766" y="190976"/>
                    <a:pt x="3841909" y="199549"/>
                  </a:cubicBezTo>
                  <a:cubicBezTo>
                    <a:pt x="3840956" y="204311"/>
                    <a:pt x="3839051" y="208121"/>
                    <a:pt x="3838099" y="212884"/>
                  </a:cubicBezTo>
                  <a:cubicBezTo>
                    <a:pt x="3837146" y="216694"/>
                    <a:pt x="3836194" y="221456"/>
                    <a:pt x="3835241" y="225266"/>
                  </a:cubicBezTo>
                  <a:cubicBezTo>
                    <a:pt x="3835241" y="224314"/>
                    <a:pt x="3834289" y="223361"/>
                    <a:pt x="3834289" y="222409"/>
                  </a:cubicBezTo>
                  <a:cubicBezTo>
                    <a:pt x="3831431" y="217646"/>
                    <a:pt x="3828574" y="212884"/>
                    <a:pt x="3825716" y="209074"/>
                  </a:cubicBezTo>
                  <a:cubicBezTo>
                    <a:pt x="3815239" y="193834"/>
                    <a:pt x="3809524" y="184309"/>
                    <a:pt x="3809524" y="184309"/>
                  </a:cubicBezTo>
                  <a:cubicBezTo>
                    <a:pt x="3809524" y="184309"/>
                    <a:pt x="3814286" y="193834"/>
                    <a:pt x="3821906" y="210979"/>
                  </a:cubicBezTo>
                  <a:cubicBezTo>
                    <a:pt x="3823811" y="214789"/>
                    <a:pt x="3825716" y="219551"/>
                    <a:pt x="3828574" y="224314"/>
                  </a:cubicBezTo>
                  <a:cubicBezTo>
                    <a:pt x="3829526" y="227171"/>
                    <a:pt x="3831431" y="230981"/>
                    <a:pt x="3832384" y="234791"/>
                  </a:cubicBezTo>
                  <a:cubicBezTo>
                    <a:pt x="3831431" y="241459"/>
                    <a:pt x="3829526" y="248126"/>
                    <a:pt x="3828574" y="254794"/>
                  </a:cubicBezTo>
                  <a:cubicBezTo>
                    <a:pt x="3827621" y="256699"/>
                    <a:pt x="3826669" y="257651"/>
                    <a:pt x="3825716" y="259556"/>
                  </a:cubicBezTo>
                  <a:cubicBezTo>
                    <a:pt x="3823811" y="262414"/>
                    <a:pt x="3821906" y="266224"/>
                    <a:pt x="3820954" y="269081"/>
                  </a:cubicBezTo>
                  <a:cubicBezTo>
                    <a:pt x="3820954" y="268129"/>
                    <a:pt x="3820001" y="268129"/>
                    <a:pt x="3820001" y="267176"/>
                  </a:cubicBezTo>
                  <a:cubicBezTo>
                    <a:pt x="3810476" y="255746"/>
                    <a:pt x="3804761" y="249079"/>
                    <a:pt x="3804761" y="249079"/>
                  </a:cubicBezTo>
                  <a:cubicBezTo>
                    <a:pt x="3804761" y="249079"/>
                    <a:pt x="3809524" y="256699"/>
                    <a:pt x="3817144" y="270034"/>
                  </a:cubicBezTo>
                  <a:cubicBezTo>
                    <a:pt x="3818096" y="270986"/>
                    <a:pt x="3818096" y="271939"/>
                    <a:pt x="3819049" y="272891"/>
                  </a:cubicBezTo>
                  <a:cubicBezTo>
                    <a:pt x="3815239" y="280511"/>
                    <a:pt x="3811429" y="287179"/>
                    <a:pt x="3806666" y="294799"/>
                  </a:cubicBezTo>
                  <a:cubicBezTo>
                    <a:pt x="3806666" y="294799"/>
                    <a:pt x="3806666" y="294799"/>
                    <a:pt x="3806666" y="294799"/>
                  </a:cubicBezTo>
                  <a:cubicBezTo>
                    <a:pt x="3805714" y="293846"/>
                    <a:pt x="3804761" y="291941"/>
                    <a:pt x="3803809" y="290989"/>
                  </a:cubicBezTo>
                  <a:cubicBezTo>
                    <a:pt x="3803809" y="290036"/>
                    <a:pt x="3803809" y="289084"/>
                    <a:pt x="3802856" y="287179"/>
                  </a:cubicBezTo>
                  <a:cubicBezTo>
                    <a:pt x="3801904" y="283369"/>
                    <a:pt x="3800951" y="280511"/>
                    <a:pt x="3799999" y="276701"/>
                  </a:cubicBezTo>
                  <a:cubicBezTo>
                    <a:pt x="3798094" y="270034"/>
                    <a:pt x="3796189" y="265271"/>
                    <a:pt x="3795236" y="260509"/>
                  </a:cubicBezTo>
                  <a:cubicBezTo>
                    <a:pt x="3792379" y="250984"/>
                    <a:pt x="3790474" y="246221"/>
                    <a:pt x="3790474" y="246221"/>
                  </a:cubicBezTo>
                  <a:cubicBezTo>
                    <a:pt x="3790474" y="246221"/>
                    <a:pt x="3790474" y="251936"/>
                    <a:pt x="3791426" y="260509"/>
                  </a:cubicBezTo>
                  <a:cubicBezTo>
                    <a:pt x="3791426" y="264319"/>
                    <a:pt x="3792379" y="269081"/>
                    <a:pt x="3792379" y="273844"/>
                  </a:cubicBezTo>
                  <a:cubicBezTo>
                    <a:pt x="3790474" y="271939"/>
                    <a:pt x="3789521" y="270034"/>
                    <a:pt x="3787616" y="268129"/>
                  </a:cubicBezTo>
                  <a:cubicBezTo>
                    <a:pt x="3783806" y="263366"/>
                    <a:pt x="3779996" y="259556"/>
                    <a:pt x="3777139" y="255746"/>
                  </a:cubicBezTo>
                  <a:cubicBezTo>
                    <a:pt x="3776186" y="251936"/>
                    <a:pt x="3774281" y="249079"/>
                    <a:pt x="3773329" y="246221"/>
                  </a:cubicBezTo>
                  <a:cubicBezTo>
                    <a:pt x="3767614" y="231934"/>
                    <a:pt x="3764756" y="224314"/>
                    <a:pt x="3764756" y="224314"/>
                  </a:cubicBezTo>
                  <a:cubicBezTo>
                    <a:pt x="3764756" y="224314"/>
                    <a:pt x="3766661" y="232886"/>
                    <a:pt x="3769519" y="247174"/>
                  </a:cubicBezTo>
                  <a:cubicBezTo>
                    <a:pt x="3771424" y="254794"/>
                    <a:pt x="3773329" y="263366"/>
                    <a:pt x="3776186" y="273844"/>
                  </a:cubicBezTo>
                  <a:cubicBezTo>
                    <a:pt x="3778091" y="281464"/>
                    <a:pt x="3779996" y="290989"/>
                    <a:pt x="3781901" y="299561"/>
                  </a:cubicBezTo>
                  <a:cubicBezTo>
                    <a:pt x="3775234" y="275749"/>
                    <a:pt x="3767614" y="253841"/>
                    <a:pt x="3760946" y="234791"/>
                  </a:cubicBezTo>
                  <a:cubicBezTo>
                    <a:pt x="3759041" y="229076"/>
                    <a:pt x="3757136" y="224314"/>
                    <a:pt x="3755231" y="218599"/>
                  </a:cubicBezTo>
                  <a:cubicBezTo>
                    <a:pt x="3758089" y="214789"/>
                    <a:pt x="3759041" y="211931"/>
                    <a:pt x="3759041" y="211931"/>
                  </a:cubicBezTo>
                  <a:cubicBezTo>
                    <a:pt x="3759041" y="211931"/>
                    <a:pt x="3757136" y="213836"/>
                    <a:pt x="3754279" y="217646"/>
                  </a:cubicBezTo>
                  <a:cubicBezTo>
                    <a:pt x="3753326" y="213836"/>
                    <a:pt x="3752374" y="210979"/>
                    <a:pt x="3750469" y="208121"/>
                  </a:cubicBezTo>
                  <a:cubicBezTo>
                    <a:pt x="3752374" y="201454"/>
                    <a:pt x="3752374" y="197644"/>
                    <a:pt x="3752374" y="197644"/>
                  </a:cubicBezTo>
                  <a:cubicBezTo>
                    <a:pt x="3752374" y="197644"/>
                    <a:pt x="3751421" y="200501"/>
                    <a:pt x="3748564" y="205264"/>
                  </a:cubicBezTo>
                  <a:cubicBezTo>
                    <a:pt x="3739991" y="181451"/>
                    <a:pt x="3734276" y="167164"/>
                    <a:pt x="3734276" y="167164"/>
                  </a:cubicBezTo>
                  <a:cubicBezTo>
                    <a:pt x="3734276" y="167164"/>
                    <a:pt x="3737134" y="186214"/>
                    <a:pt x="3742849" y="217646"/>
                  </a:cubicBezTo>
                  <a:cubicBezTo>
                    <a:pt x="3740944" y="222409"/>
                    <a:pt x="3738086" y="229076"/>
                    <a:pt x="3736181" y="236696"/>
                  </a:cubicBezTo>
                  <a:cubicBezTo>
                    <a:pt x="3736181" y="237649"/>
                    <a:pt x="3736181" y="237649"/>
                    <a:pt x="3735229" y="238601"/>
                  </a:cubicBezTo>
                  <a:cubicBezTo>
                    <a:pt x="3733324" y="240506"/>
                    <a:pt x="3731419" y="243364"/>
                    <a:pt x="3730466" y="245269"/>
                  </a:cubicBezTo>
                  <a:cubicBezTo>
                    <a:pt x="3728561" y="242411"/>
                    <a:pt x="3727609" y="239554"/>
                    <a:pt x="3726656" y="236696"/>
                  </a:cubicBezTo>
                  <a:cubicBezTo>
                    <a:pt x="3726656" y="235744"/>
                    <a:pt x="3726656" y="234791"/>
                    <a:pt x="3726656" y="232886"/>
                  </a:cubicBezTo>
                  <a:cubicBezTo>
                    <a:pt x="3726656" y="221456"/>
                    <a:pt x="3725704" y="214789"/>
                    <a:pt x="3725704" y="214789"/>
                  </a:cubicBezTo>
                  <a:cubicBezTo>
                    <a:pt x="3725704" y="214789"/>
                    <a:pt x="3724751" y="220504"/>
                    <a:pt x="3722846" y="230029"/>
                  </a:cubicBezTo>
                  <a:cubicBezTo>
                    <a:pt x="3722846" y="230029"/>
                    <a:pt x="3722846" y="229076"/>
                    <a:pt x="3721894" y="229076"/>
                  </a:cubicBezTo>
                  <a:cubicBezTo>
                    <a:pt x="3721894" y="229076"/>
                    <a:pt x="3721894" y="229076"/>
                    <a:pt x="3721894" y="229076"/>
                  </a:cubicBezTo>
                  <a:cubicBezTo>
                    <a:pt x="3723799" y="215741"/>
                    <a:pt x="3724751" y="203359"/>
                    <a:pt x="3725704" y="190976"/>
                  </a:cubicBezTo>
                  <a:cubicBezTo>
                    <a:pt x="3726656" y="184309"/>
                    <a:pt x="3726656" y="178594"/>
                    <a:pt x="3727609" y="172879"/>
                  </a:cubicBezTo>
                  <a:cubicBezTo>
                    <a:pt x="3728561" y="167164"/>
                    <a:pt x="3729514" y="161449"/>
                    <a:pt x="3730466" y="155734"/>
                  </a:cubicBezTo>
                  <a:cubicBezTo>
                    <a:pt x="3732371" y="145256"/>
                    <a:pt x="3733324" y="135731"/>
                    <a:pt x="3734276" y="128111"/>
                  </a:cubicBezTo>
                  <a:cubicBezTo>
                    <a:pt x="3736181" y="112871"/>
                    <a:pt x="3737134" y="104299"/>
                    <a:pt x="3737134" y="104299"/>
                  </a:cubicBezTo>
                  <a:cubicBezTo>
                    <a:pt x="3737134" y="104299"/>
                    <a:pt x="3734276" y="112871"/>
                    <a:pt x="3730466" y="127159"/>
                  </a:cubicBezTo>
                  <a:cubicBezTo>
                    <a:pt x="3728561" y="134779"/>
                    <a:pt x="3725704" y="143351"/>
                    <a:pt x="3722846" y="153829"/>
                  </a:cubicBezTo>
                  <a:cubicBezTo>
                    <a:pt x="3720941" y="158591"/>
                    <a:pt x="3719989" y="164306"/>
                    <a:pt x="3718084" y="170021"/>
                  </a:cubicBezTo>
                  <a:cubicBezTo>
                    <a:pt x="3717131" y="175736"/>
                    <a:pt x="3715226" y="182404"/>
                    <a:pt x="3714274" y="188119"/>
                  </a:cubicBezTo>
                  <a:cubicBezTo>
                    <a:pt x="3713321" y="194786"/>
                    <a:pt x="3711416" y="201454"/>
                    <a:pt x="3710464" y="208121"/>
                  </a:cubicBezTo>
                  <a:cubicBezTo>
                    <a:pt x="3710464" y="208121"/>
                    <a:pt x="3710464" y="208121"/>
                    <a:pt x="3710464" y="207169"/>
                  </a:cubicBezTo>
                  <a:cubicBezTo>
                    <a:pt x="3702844" y="194786"/>
                    <a:pt x="3697129" y="184309"/>
                    <a:pt x="3691414" y="174784"/>
                  </a:cubicBezTo>
                  <a:cubicBezTo>
                    <a:pt x="3684746" y="164306"/>
                    <a:pt x="3679984" y="155734"/>
                    <a:pt x="3677126" y="150971"/>
                  </a:cubicBezTo>
                  <a:cubicBezTo>
                    <a:pt x="3678079" y="142399"/>
                    <a:pt x="3678079" y="137636"/>
                    <a:pt x="3678079" y="137636"/>
                  </a:cubicBezTo>
                  <a:cubicBezTo>
                    <a:pt x="3678079" y="137636"/>
                    <a:pt x="3677126" y="141446"/>
                    <a:pt x="3675221" y="149066"/>
                  </a:cubicBezTo>
                  <a:cubicBezTo>
                    <a:pt x="3674269" y="148114"/>
                    <a:pt x="3674269" y="147161"/>
                    <a:pt x="3674269" y="147161"/>
                  </a:cubicBezTo>
                  <a:cubicBezTo>
                    <a:pt x="3674269" y="147161"/>
                    <a:pt x="3674269" y="148114"/>
                    <a:pt x="3675221" y="150019"/>
                  </a:cubicBezTo>
                  <a:cubicBezTo>
                    <a:pt x="3674269" y="153829"/>
                    <a:pt x="3673316" y="158591"/>
                    <a:pt x="3672364" y="164306"/>
                  </a:cubicBezTo>
                  <a:cubicBezTo>
                    <a:pt x="3670459" y="172879"/>
                    <a:pt x="3668554" y="182404"/>
                    <a:pt x="3665696" y="194786"/>
                  </a:cubicBezTo>
                  <a:cubicBezTo>
                    <a:pt x="3664744" y="199549"/>
                    <a:pt x="3663791" y="204311"/>
                    <a:pt x="3662839" y="209074"/>
                  </a:cubicBezTo>
                  <a:cubicBezTo>
                    <a:pt x="3662839" y="209074"/>
                    <a:pt x="3662839" y="210026"/>
                    <a:pt x="3661886" y="210026"/>
                  </a:cubicBezTo>
                  <a:cubicBezTo>
                    <a:pt x="3660934" y="211931"/>
                    <a:pt x="3659029" y="214789"/>
                    <a:pt x="3658076" y="216694"/>
                  </a:cubicBezTo>
                  <a:cubicBezTo>
                    <a:pt x="3659029" y="190976"/>
                    <a:pt x="3658076" y="174784"/>
                    <a:pt x="3658076" y="174784"/>
                  </a:cubicBezTo>
                  <a:cubicBezTo>
                    <a:pt x="3658076" y="174784"/>
                    <a:pt x="3652361" y="200501"/>
                    <a:pt x="3645694" y="239554"/>
                  </a:cubicBezTo>
                  <a:cubicBezTo>
                    <a:pt x="3645694" y="241459"/>
                    <a:pt x="3644741" y="244316"/>
                    <a:pt x="3644741" y="246221"/>
                  </a:cubicBezTo>
                  <a:cubicBezTo>
                    <a:pt x="3644741" y="247174"/>
                    <a:pt x="3643789" y="248126"/>
                    <a:pt x="3643789" y="249079"/>
                  </a:cubicBezTo>
                  <a:cubicBezTo>
                    <a:pt x="3642836" y="251936"/>
                    <a:pt x="3641884" y="255746"/>
                    <a:pt x="3640931" y="259556"/>
                  </a:cubicBezTo>
                  <a:cubicBezTo>
                    <a:pt x="3636169" y="249079"/>
                    <a:pt x="3633311" y="243364"/>
                    <a:pt x="3633311" y="243364"/>
                  </a:cubicBezTo>
                  <a:cubicBezTo>
                    <a:pt x="3633311" y="243364"/>
                    <a:pt x="3635216" y="250984"/>
                    <a:pt x="3639979" y="265271"/>
                  </a:cubicBezTo>
                  <a:cubicBezTo>
                    <a:pt x="3639026" y="268129"/>
                    <a:pt x="3638074" y="271939"/>
                    <a:pt x="3637121" y="275749"/>
                  </a:cubicBezTo>
                  <a:cubicBezTo>
                    <a:pt x="3631406" y="266224"/>
                    <a:pt x="3627596" y="261461"/>
                    <a:pt x="3627596" y="261461"/>
                  </a:cubicBezTo>
                  <a:cubicBezTo>
                    <a:pt x="3627596" y="261461"/>
                    <a:pt x="3630454" y="268129"/>
                    <a:pt x="3635216" y="280511"/>
                  </a:cubicBezTo>
                  <a:cubicBezTo>
                    <a:pt x="3635216" y="280511"/>
                    <a:pt x="3635216" y="280511"/>
                    <a:pt x="3635216" y="281464"/>
                  </a:cubicBezTo>
                  <a:cubicBezTo>
                    <a:pt x="3633311" y="290036"/>
                    <a:pt x="3631406" y="299561"/>
                    <a:pt x="3630454" y="309086"/>
                  </a:cubicBezTo>
                  <a:cubicBezTo>
                    <a:pt x="3629501" y="316706"/>
                    <a:pt x="3628549" y="324326"/>
                    <a:pt x="3627596" y="332899"/>
                  </a:cubicBezTo>
                  <a:cubicBezTo>
                    <a:pt x="3624739" y="325279"/>
                    <a:pt x="3622834" y="318611"/>
                    <a:pt x="3620929" y="312896"/>
                  </a:cubicBezTo>
                  <a:cubicBezTo>
                    <a:pt x="3620929" y="310991"/>
                    <a:pt x="3620929" y="309086"/>
                    <a:pt x="3620929" y="309086"/>
                  </a:cubicBezTo>
                  <a:cubicBezTo>
                    <a:pt x="3620929" y="309086"/>
                    <a:pt x="3620929" y="310039"/>
                    <a:pt x="3619976" y="310991"/>
                  </a:cubicBezTo>
                  <a:cubicBezTo>
                    <a:pt x="3619976" y="310039"/>
                    <a:pt x="3619024" y="309086"/>
                    <a:pt x="3619024" y="308134"/>
                  </a:cubicBezTo>
                  <a:cubicBezTo>
                    <a:pt x="3620929" y="295751"/>
                    <a:pt x="3621881" y="284321"/>
                    <a:pt x="3622834" y="272891"/>
                  </a:cubicBezTo>
                  <a:cubicBezTo>
                    <a:pt x="3624739" y="252889"/>
                    <a:pt x="3625691" y="234791"/>
                    <a:pt x="3626644" y="221456"/>
                  </a:cubicBezTo>
                  <a:cubicBezTo>
                    <a:pt x="3629501" y="215741"/>
                    <a:pt x="3630454" y="211931"/>
                    <a:pt x="3630454" y="211931"/>
                  </a:cubicBezTo>
                  <a:cubicBezTo>
                    <a:pt x="3630454" y="211931"/>
                    <a:pt x="3629501" y="213836"/>
                    <a:pt x="3626644" y="216694"/>
                  </a:cubicBezTo>
                  <a:cubicBezTo>
                    <a:pt x="3626644" y="215741"/>
                    <a:pt x="3626644" y="214789"/>
                    <a:pt x="3626644" y="214789"/>
                  </a:cubicBezTo>
                  <a:cubicBezTo>
                    <a:pt x="3626644" y="200501"/>
                    <a:pt x="3626644" y="192881"/>
                    <a:pt x="3626644" y="192881"/>
                  </a:cubicBezTo>
                  <a:cubicBezTo>
                    <a:pt x="3626644" y="192881"/>
                    <a:pt x="3624739" y="200501"/>
                    <a:pt x="3622834" y="214789"/>
                  </a:cubicBezTo>
                  <a:cubicBezTo>
                    <a:pt x="3621881" y="217646"/>
                    <a:pt x="3621881" y="221456"/>
                    <a:pt x="3620929" y="226219"/>
                  </a:cubicBezTo>
                  <a:cubicBezTo>
                    <a:pt x="3620929" y="226219"/>
                    <a:pt x="3620929" y="226219"/>
                    <a:pt x="3620929" y="227171"/>
                  </a:cubicBezTo>
                  <a:cubicBezTo>
                    <a:pt x="3618071" y="231934"/>
                    <a:pt x="3614261" y="237649"/>
                    <a:pt x="3609499" y="243364"/>
                  </a:cubicBezTo>
                  <a:cubicBezTo>
                    <a:pt x="3607594" y="246221"/>
                    <a:pt x="3605689" y="249079"/>
                    <a:pt x="3603784" y="251936"/>
                  </a:cubicBezTo>
                  <a:cubicBezTo>
                    <a:pt x="3607594" y="242411"/>
                    <a:pt x="3610451" y="233839"/>
                    <a:pt x="3613309" y="225266"/>
                  </a:cubicBezTo>
                  <a:cubicBezTo>
                    <a:pt x="3615214" y="219551"/>
                    <a:pt x="3617119" y="213836"/>
                    <a:pt x="3619024" y="208121"/>
                  </a:cubicBezTo>
                  <a:cubicBezTo>
                    <a:pt x="3620929" y="202406"/>
                    <a:pt x="3622834" y="197644"/>
                    <a:pt x="3624739" y="192881"/>
                  </a:cubicBezTo>
                  <a:cubicBezTo>
                    <a:pt x="3628549" y="183356"/>
                    <a:pt x="3631406" y="174784"/>
                    <a:pt x="3634264" y="168116"/>
                  </a:cubicBezTo>
                  <a:cubicBezTo>
                    <a:pt x="3639026" y="153829"/>
                    <a:pt x="3642836" y="146209"/>
                    <a:pt x="3642836" y="146209"/>
                  </a:cubicBezTo>
                  <a:cubicBezTo>
                    <a:pt x="3642836" y="146209"/>
                    <a:pt x="3639026" y="153829"/>
                    <a:pt x="3631406" y="166211"/>
                  </a:cubicBezTo>
                  <a:cubicBezTo>
                    <a:pt x="3627596" y="172879"/>
                    <a:pt x="3623786" y="180499"/>
                    <a:pt x="3618071" y="189071"/>
                  </a:cubicBezTo>
                  <a:cubicBezTo>
                    <a:pt x="3615214" y="193834"/>
                    <a:pt x="3613309" y="198596"/>
                    <a:pt x="3610451" y="203359"/>
                  </a:cubicBezTo>
                  <a:cubicBezTo>
                    <a:pt x="3607594" y="209074"/>
                    <a:pt x="3605689" y="213836"/>
                    <a:pt x="3602831" y="219551"/>
                  </a:cubicBezTo>
                  <a:cubicBezTo>
                    <a:pt x="3598069" y="229076"/>
                    <a:pt x="3593306" y="238601"/>
                    <a:pt x="3588544" y="250031"/>
                  </a:cubicBezTo>
                  <a:cubicBezTo>
                    <a:pt x="3588544" y="245269"/>
                    <a:pt x="3588544" y="242411"/>
                    <a:pt x="3588544" y="242411"/>
                  </a:cubicBezTo>
                  <a:cubicBezTo>
                    <a:pt x="3588544" y="242411"/>
                    <a:pt x="3587591" y="248126"/>
                    <a:pt x="3585686" y="256699"/>
                  </a:cubicBezTo>
                  <a:cubicBezTo>
                    <a:pt x="3585686" y="256699"/>
                    <a:pt x="3585686" y="256699"/>
                    <a:pt x="3585686" y="257651"/>
                  </a:cubicBezTo>
                  <a:cubicBezTo>
                    <a:pt x="3583781" y="261461"/>
                    <a:pt x="3581876" y="266224"/>
                    <a:pt x="3579971" y="270986"/>
                  </a:cubicBezTo>
                  <a:cubicBezTo>
                    <a:pt x="3578066" y="274796"/>
                    <a:pt x="3576161" y="278606"/>
                    <a:pt x="3573304" y="282416"/>
                  </a:cubicBezTo>
                  <a:cubicBezTo>
                    <a:pt x="3571399" y="275749"/>
                    <a:pt x="3569494" y="269081"/>
                    <a:pt x="3568541" y="263366"/>
                  </a:cubicBezTo>
                  <a:cubicBezTo>
                    <a:pt x="3566636" y="257651"/>
                    <a:pt x="3565684" y="252889"/>
                    <a:pt x="3564731" y="248126"/>
                  </a:cubicBezTo>
                  <a:cubicBezTo>
                    <a:pt x="3564731" y="248126"/>
                    <a:pt x="3564731" y="248126"/>
                    <a:pt x="3564731" y="248126"/>
                  </a:cubicBezTo>
                  <a:cubicBezTo>
                    <a:pt x="3563779" y="244316"/>
                    <a:pt x="3563779" y="241459"/>
                    <a:pt x="3562826" y="237649"/>
                  </a:cubicBezTo>
                  <a:cubicBezTo>
                    <a:pt x="3562826" y="236696"/>
                    <a:pt x="3562826" y="235744"/>
                    <a:pt x="3561874" y="233839"/>
                  </a:cubicBezTo>
                  <a:cubicBezTo>
                    <a:pt x="3564731" y="230029"/>
                    <a:pt x="3566636" y="227171"/>
                    <a:pt x="3566636" y="227171"/>
                  </a:cubicBezTo>
                  <a:cubicBezTo>
                    <a:pt x="3566636" y="227171"/>
                    <a:pt x="3564731" y="229076"/>
                    <a:pt x="3561874" y="230981"/>
                  </a:cubicBezTo>
                  <a:cubicBezTo>
                    <a:pt x="3559969" y="222409"/>
                    <a:pt x="3559016" y="218599"/>
                    <a:pt x="3559016" y="218599"/>
                  </a:cubicBezTo>
                  <a:cubicBezTo>
                    <a:pt x="3559016" y="218599"/>
                    <a:pt x="3559016" y="223361"/>
                    <a:pt x="3559016" y="231934"/>
                  </a:cubicBezTo>
                  <a:cubicBezTo>
                    <a:pt x="3557111" y="228124"/>
                    <a:pt x="3556159" y="224314"/>
                    <a:pt x="3554254" y="220504"/>
                  </a:cubicBezTo>
                  <a:cubicBezTo>
                    <a:pt x="3559969" y="211931"/>
                    <a:pt x="3564731" y="204311"/>
                    <a:pt x="3569494" y="197644"/>
                  </a:cubicBezTo>
                  <a:cubicBezTo>
                    <a:pt x="3576161" y="189071"/>
                    <a:pt x="3580924" y="180499"/>
                    <a:pt x="3585686" y="174784"/>
                  </a:cubicBezTo>
                  <a:cubicBezTo>
                    <a:pt x="3595211" y="162401"/>
                    <a:pt x="3600926" y="154781"/>
                    <a:pt x="3600926" y="154781"/>
                  </a:cubicBezTo>
                  <a:cubicBezTo>
                    <a:pt x="3600926" y="154781"/>
                    <a:pt x="3594259" y="160496"/>
                    <a:pt x="3582829" y="171926"/>
                  </a:cubicBezTo>
                  <a:cubicBezTo>
                    <a:pt x="3577114" y="176689"/>
                    <a:pt x="3570446" y="184309"/>
                    <a:pt x="3562826" y="192881"/>
                  </a:cubicBezTo>
                  <a:cubicBezTo>
                    <a:pt x="3558064" y="197644"/>
                    <a:pt x="3553301" y="203359"/>
                    <a:pt x="3549491" y="209074"/>
                  </a:cubicBezTo>
                  <a:cubicBezTo>
                    <a:pt x="3545681" y="199549"/>
                    <a:pt x="3542824" y="193834"/>
                    <a:pt x="3542824" y="193834"/>
                  </a:cubicBezTo>
                  <a:cubicBezTo>
                    <a:pt x="3542824" y="193834"/>
                    <a:pt x="3543776" y="200501"/>
                    <a:pt x="3546634" y="212884"/>
                  </a:cubicBezTo>
                  <a:cubicBezTo>
                    <a:pt x="3544729" y="215741"/>
                    <a:pt x="3541871" y="218599"/>
                    <a:pt x="3539966" y="222409"/>
                  </a:cubicBezTo>
                  <a:cubicBezTo>
                    <a:pt x="3539966" y="222409"/>
                    <a:pt x="3539014" y="223361"/>
                    <a:pt x="3539014" y="223361"/>
                  </a:cubicBezTo>
                  <a:cubicBezTo>
                    <a:pt x="3539014" y="219551"/>
                    <a:pt x="3539014" y="214789"/>
                    <a:pt x="3539014" y="210979"/>
                  </a:cubicBezTo>
                  <a:cubicBezTo>
                    <a:pt x="3539014" y="200501"/>
                    <a:pt x="3539014" y="191929"/>
                    <a:pt x="3539014" y="184309"/>
                  </a:cubicBezTo>
                  <a:cubicBezTo>
                    <a:pt x="3539014" y="180499"/>
                    <a:pt x="3539014" y="176689"/>
                    <a:pt x="3539014" y="173831"/>
                  </a:cubicBezTo>
                  <a:cubicBezTo>
                    <a:pt x="3539966" y="170974"/>
                    <a:pt x="3540919" y="170021"/>
                    <a:pt x="3540919" y="170021"/>
                  </a:cubicBezTo>
                  <a:cubicBezTo>
                    <a:pt x="3540919" y="170021"/>
                    <a:pt x="3539966" y="170974"/>
                    <a:pt x="3539014" y="172879"/>
                  </a:cubicBezTo>
                  <a:cubicBezTo>
                    <a:pt x="3539014" y="166211"/>
                    <a:pt x="3539014" y="162401"/>
                    <a:pt x="3539014" y="162401"/>
                  </a:cubicBezTo>
                  <a:cubicBezTo>
                    <a:pt x="3539014" y="162401"/>
                    <a:pt x="3538061" y="167164"/>
                    <a:pt x="3537109" y="176689"/>
                  </a:cubicBezTo>
                  <a:cubicBezTo>
                    <a:pt x="3535204" y="180499"/>
                    <a:pt x="3531394" y="184309"/>
                    <a:pt x="3527584" y="190976"/>
                  </a:cubicBezTo>
                  <a:cubicBezTo>
                    <a:pt x="3522821" y="197644"/>
                    <a:pt x="3518059" y="205264"/>
                    <a:pt x="3511391" y="214789"/>
                  </a:cubicBezTo>
                  <a:cubicBezTo>
                    <a:pt x="3511391" y="214789"/>
                    <a:pt x="3511391" y="215741"/>
                    <a:pt x="3510439" y="215741"/>
                  </a:cubicBezTo>
                  <a:cubicBezTo>
                    <a:pt x="3509486" y="210026"/>
                    <a:pt x="3509486" y="205264"/>
                    <a:pt x="3508534" y="201454"/>
                  </a:cubicBezTo>
                  <a:cubicBezTo>
                    <a:pt x="3506629" y="188119"/>
                    <a:pt x="3505676" y="180499"/>
                    <a:pt x="3505676" y="180499"/>
                  </a:cubicBezTo>
                  <a:cubicBezTo>
                    <a:pt x="3505676" y="180499"/>
                    <a:pt x="3505676" y="188119"/>
                    <a:pt x="3504724" y="202406"/>
                  </a:cubicBezTo>
                  <a:cubicBezTo>
                    <a:pt x="3504724" y="209074"/>
                    <a:pt x="3504724" y="216694"/>
                    <a:pt x="3503771" y="226219"/>
                  </a:cubicBezTo>
                  <a:cubicBezTo>
                    <a:pt x="3502819" y="228124"/>
                    <a:pt x="3501866" y="229076"/>
                    <a:pt x="3500914" y="230981"/>
                  </a:cubicBezTo>
                  <a:cubicBezTo>
                    <a:pt x="3498056" y="235744"/>
                    <a:pt x="3495199" y="241459"/>
                    <a:pt x="3491389" y="247174"/>
                  </a:cubicBezTo>
                  <a:cubicBezTo>
                    <a:pt x="3488531" y="241459"/>
                    <a:pt x="3486626" y="235744"/>
                    <a:pt x="3483769" y="230029"/>
                  </a:cubicBezTo>
                  <a:cubicBezTo>
                    <a:pt x="3479006" y="218599"/>
                    <a:pt x="3474244" y="209074"/>
                    <a:pt x="3469481" y="200501"/>
                  </a:cubicBezTo>
                  <a:cubicBezTo>
                    <a:pt x="3470434" y="197644"/>
                    <a:pt x="3471386" y="193834"/>
                    <a:pt x="3471386" y="190976"/>
                  </a:cubicBezTo>
                  <a:cubicBezTo>
                    <a:pt x="3473291" y="182404"/>
                    <a:pt x="3475196" y="174784"/>
                    <a:pt x="3477101" y="167164"/>
                  </a:cubicBezTo>
                  <a:cubicBezTo>
                    <a:pt x="3479006" y="159544"/>
                    <a:pt x="3480911" y="152876"/>
                    <a:pt x="3482816" y="146209"/>
                  </a:cubicBezTo>
                  <a:cubicBezTo>
                    <a:pt x="3486626" y="132874"/>
                    <a:pt x="3489484" y="121444"/>
                    <a:pt x="3492341" y="111919"/>
                  </a:cubicBezTo>
                  <a:cubicBezTo>
                    <a:pt x="3497104" y="92869"/>
                    <a:pt x="3499961" y="82391"/>
                    <a:pt x="3499961" y="82391"/>
                  </a:cubicBezTo>
                  <a:cubicBezTo>
                    <a:pt x="3499961" y="82391"/>
                    <a:pt x="3496151" y="92869"/>
                    <a:pt x="3488531" y="110966"/>
                  </a:cubicBezTo>
                  <a:cubicBezTo>
                    <a:pt x="3484721" y="120491"/>
                    <a:pt x="3480911" y="130969"/>
                    <a:pt x="3476149" y="144304"/>
                  </a:cubicBezTo>
                  <a:cubicBezTo>
                    <a:pt x="3473291" y="150971"/>
                    <a:pt x="3471386" y="157639"/>
                    <a:pt x="3468529" y="164306"/>
                  </a:cubicBezTo>
                  <a:cubicBezTo>
                    <a:pt x="3466624" y="170974"/>
                    <a:pt x="3464719" y="177641"/>
                    <a:pt x="3461861" y="185261"/>
                  </a:cubicBezTo>
                  <a:cubicBezTo>
                    <a:pt x="3456146" y="173831"/>
                    <a:pt x="3452336" y="168116"/>
                    <a:pt x="3452336" y="168116"/>
                  </a:cubicBezTo>
                  <a:cubicBezTo>
                    <a:pt x="3452336" y="168116"/>
                    <a:pt x="3455194" y="175736"/>
                    <a:pt x="3460909" y="189071"/>
                  </a:cubicBezTo>
                  <a:cubicBezTo>
                    <a:pt x="3457099" y="200501"/>
                    <a:pt x="3454241" y="211931"/>
                    <a:pt x="3450431" y="225266"/>
                  </a:cubicBezTo>
                  <a:cubicBezTo>
                    <a:pt x="3447574" y="220504"/>
                    <a:pt x="3444716" y="214789"/>
                    <a:pt x="3441859" y="210026"/>
                  </a:cubicBezTo>
                  <a:cubicBezTo>
                    <a:pt x="3441859" y="209074"/>
                    <a:pt x="3441859" y="208121"/>
                    <a:pt x="3442811" y="208121"/>
                  </a:cubicBezTo>
                  <a:cubicBezTo>
                    <a:pt x="3444716" y="197644"/>
                    <a:pt x="3445669" y="190976"/>
                    <a:pt x="3445669" y="190976"/>
                  </a:cubicBezTo>
                  <a:cubicBezTo>
                    <a:pt x="3445669" y="190976"/>
                    <a:pt x="3442811" y="196691"/>
                    <a:pt x="3439001" y="205264"/>
                  </a:cubicBezTo>
                  <a:cubicBezTo>
                    <a:pt x="3439001" y="205264"/>
                    <a:pt x="3439001" y="205264"/>
                    <a:pt x="3439001" y="205264"/>
                  </a:cubicBezTo>
                  <a:cubicBezTo>
                    <a:pt x="3439001" y="190976"/>
                    <a:pt x="3439001" y="177641"/>
                    <a:pt x="3438049" y="165259"/>
                  </a:cubicBezTo>
                  <a:cubicBezTo>
                    <a:pt x="3438049" y="153829"/>
                    <a:pt x="3437096" y="144304"/>
                    <a:pt x="3437096" y="135731"/>
                  </a:cubicBezTo>
                  <a:cubicBezTo>
                    <a:pt x="3436144" y="127159"/>
                    <a:pt x="3436144" y="119539"/>
                    <a:pt x="3435191" y="112871"/>
                  </a:cubicBezTo>
                  <a:cubicBezTo>
                    <a:pt x="3434239" y="100489"/>
                    <a:pt x="3433286" y="92869"/>
                    <a:pt x="3433286" y="92869"/>
                  </a:cubicBezTo>
                  <a:cubicBezTo>
                    <a:pt x="3433286" y="92869"/>
                    <a:pt x="3432334" y="100489"/>
                    <a:pt x="3431381" y="112871"/>
                  </a:cubicBezTo>
                  <a:cubicBezTo>
                    <a:pt x="3430429" y="122396"/>
                    <a:pt x="3429476" y="134779"/>
                    <a:pt x="3428524" y="149066"/>
                  </a:cubicBezTo>
                  <a:cubicBezTo>
                    <a:pt x="3428524" y="149066"/>
                    <a:pt x="3428524" y="150019"/>
                    <a:pt x="3428524" y="150019"/>
                  </a:cubicBezTo>
                  <a:cubicBezTo>
                    <a:pt x="3427571" y="143351"/>
                    <a:pt x="3426619" y="137636"/>
                    <a:pt x="3426619" y="131921"/>
                  </a:cubicBezTo>
                  <a:cubicBezTo>
                    <a:pt x="3424714" y="120491"/>
                    <a:pt x="3423761" y="113824"/>
                    <a:pt x="3423761" y="113824"/>
                  </a:cubicBezTo>
                  <a:cubicBezTo>
                    <a:pt x="3423761" y="113824"/>
                    <a:pt x="3422809" y="120491"/>
                    <a:pt x="3422809" y="131921"/>
                  </a:cubicBezTo>
                  <a:cubicBezTo>
                    <a:pt x="3422809" y="142399"/>
                    <a:pt x="3421856" y="157639"/>
                    <a:pt x="3420904" y="174784"/>
                  </a:cubicBezTo>
                  <a:cubicBezTo>
                    <a:pt x="3418046" y="170021"/>
                    <a:pt x="3415189" y="166211"/>
                    <a:pt x="3412331" y="162401"/>
                  </a:cubicBezTo>
                  <a:cubicBezTo>
                    <a:pt x="3405664" y="152876"/>
                    <a:pt x="3400901" y="146209"/>
                    <a:pt x="3398044" y="141446"/>
                  </a:cubicBezTo>
                  <a:cubicBezTo>
                    <a:pt x="3398996" y="135731"/>
                    <a:pt x="3400901" y="129064"/>
                    <a:pt x="3401854" y="123349"/>
                  </a:cubicBezTo>
                  <a:cubicBezTo>
                    <a:pt x="3399949" y="128111"/>
                    <a:pt x="3398044" y="133826"/>
                    <a:pt x="3396139" y="139541"/>
                  </a:cubicBezTo>
                  <a:cubicBezTo>
                    <a:pt x="3393281" y="135731"/>
                    <a:pt x="3391376" y="132874"/>
                    <a:pt x="3391376" y="132874"/>
                  </a:cubicBezTo>
                  <a:cubicBezTo>
                    <a:pt x="3391376" y="132874"/>
                    <a:pt x="3392329" y="134779"/>
                    <a:pt x="3395186" y="139541"/>
                  </a:cubicBezTo>
                  <a:cubicBezTo>
                    <a:pt x="3395186" y="140494"/>
                    <a:pt x="3395186" y="140494"/>
                    <a:pt x="3395186" y="141446"/>
                  </a:cubicBezTo>
                  <a:cubicBezTo>
                    <a:pt x="3391376" y="153829"/>
                    <a:pt x="3386614" y="166211"/>
                    <a:pt x="3382804" y="177641"/>
                  </a:cubicBezTo>
                  <a:cubicBezTo>
                    <a:pt x="3382804" y="175736"/>
                    <a:pt x="3382804" y="174784"/>
                    <a:pt x="3382804" y="172879"/>
                  </a:cubicBezTo>
                  <a:cubicBezTo>
                    <a:pt x="3381851" y="158591"/>
                    <a:pt x="3381851" y="150971"/>
                    <a:pt x="3381851" y="150971"/>
                  </a:cubicBezTo>
                  <a:cubicBezTo>
                    <a:pt x="3381851" y="150971"/>
                    <a:pt x="3380899" y="158591"/>
                    <a:pt x="3378994" y="172879"/>
                  </a:cubicBezTo>
                  <a:cubicBezTo>
                    <a:pt x="3378041" y="179546"/>
                    <a:pt x="3377089" y="188119"/>
                    <a:pt x="3376136" y="197644"/>
                  </a:cubicBezTo>
                  <a:cubicBezTo>
                    <a:pt x="3372326" y="210026"/>
                    <a:pt x="3368516" y="222409"/>
                    <a:pt x="3365659" y="234791"/>
                  </a:cubicBezTo>
                  <a:cubicBezTo>
                    <a:pt x="3363754" y="240506"/>
                    <a:pt x="3361849" y="247174"/>
                    <a:pt x="3358991" y="253841"/>
                  </a:cubicBezTo>
                  <a:cubicBezTo>
                    <a:pt x="3358991" y="254794"/>
                    <a:pt x="3358039" y="256699"/>
                    <a:pt x="3358039" y="257651"/>
                  </a:cubicBezTo>
                  <a:cubicBezTo>
                    <a:pt x="3355181" y="250984"/>
                    <a:pt x="3353276" y="244316"/>
                    <a:pt x="3351371" y="239554"/>
                  </a:cubicBezTo>
                  <a:cubicBezTo>
                    <a:pt x="3351371" y="238601"/>
                    <a:pt x="3351371" y="237649"/>
                    <a:pt x="3351371" y="237649"/>
                  </a:cubicBezTo>
                  <a:cubicBezTo>
                    <a:pt x="3351371" y="237649"/>
                    <a:pt x="3351371" y="237649"/>
                    <a:pt x="3351371" y="238601"/>
                  </a:cubicBezTo>
                  <a:cubicBezTo>
                    <a:pt x="3347561" y="228124"/>
                    <a:pt x="3344704" y="221456"/>
                    <a:pt x="3344704" y="221456"/>
                  </a:cubicBezTo>
                  <a:cubicBezTo>
                    <a:pt x="3344704" y="221456"/>
                    <a:pt x="3346609" y="230981"/>
                    <a:pt x="3349466" y="248126"/>
                  </a:cubicBezTo>
                  <a:cubicBezTo>
                    <a:pt x="3348514" y="252889"/>
                    <a:pt x="3348514" y="258604"/>
                    <a:pt x="3347561" y="265271"/>
                  </a:cubicBezTo>
                  <a:cubicBezTo>
                    <a:pt x="3346609" y="270986"/>
                    <a:pt x="3346609" y="276701"/>
                    <a:pt x="3345656" y="283369"/>
                  </a:cubicBezTo>
                  <a:cubicBezTo>
                    <a:pt x="3344704" y="284321"/>
                    <a:pt x="3344704" y="285274"/>
                    <a:pt x="3343751" y="287179"/>
                  </a:cubicBezTo>
                  <a:cubicBezTo>
                    <a:pt x="3341846" y="283369"/>
                    <a:pt x="3340894" y="278606"/>
                    <a:pt x="3339941" y="274796"/>
                  </a:cubicBezTo>
                  <a:cubicBezTo>
                    <a:pt x="3335179" y="259556"/>
                    <a:pt x="3329464" y="245269"/>
                    <a:pt x="3325654" y="231934"/>
                  </a:cubicBezTo>
                  <a:cubicBezTo>
                    <a:pt x="3326606" y="227171"/>
                    <a:pt x="3327559" y="221456"/>
                    <a:pt x="3328511" y="216694"/>
                  </a:cubicBezTo>
                  <a:cubicBezTo>
                    <a:pt x="3332321" y="199549"/>
                    <a:pt x="3334226" y="184309"/>
                    <a:pt x="3338036" y="170974"/>
                  </a:cubicBezTo>
                  <a:cubicBezTo>
                    <a:pt x="3340894" y="157639"/>
                    <a:pt x="3343751" y="145256"/>
                    <a:pt x="3346609" y="136684"/>
                  </a:cubicBezTo>
                  <a:cubicBezTo>
                    <a:pt x="3352324" y="117634"/>
                    <a:pt x="3355181" y="106204"/>
                    <a:pt x="3355181" y="106204"/>
                  </a:cubicBezTo>
                  <a:cubicBezTo>
                    <a:pt x="3355181" y="106204"/>
                    <a:pt x="3350419" y="116681"/>
                    <a:pt x="3342799" y="134779"/>
                  </a:cubicBezTo>
                  <a:cubicBezTo>
                    <a:pt x="3338989" y="144304"/>
                    <a:pt x="3335179" y="155734"/>
                    <a:pt x="3330416" y="169069"/>
                  </a:cubicBezTo>
                  <a:cubicBezTo>
                    <a:pt x="3325654" y="180499"/>
                    <a:pt x="3322796" y="193834"/>
                    <a:pt x="3318986" y="208121"/>
                  </a:cubicBezTo>
                  <a:cubicBezTo>
                    <a:pt x="3318986" y="206216"/>
                    <a:pt x="3318986" y="205264"/>
                    <a:pt x="3318986" y="203359"/>
                  </a:cubicBezTo>
                  <a:cubicBezTo>
                    <a:pt x="3319939" y="200501"/>
                    <a:pt x="3319939" y="198596"/>
                    <a:pt x="3320891" y="195739"/>
                  </a:cubicBezTo>
                  <a:cubicBezTo>
                    <a:pt x="3323749" y="185261"/>
                    <a:pt x="3325654" y="176689"/>
                    <a:pt x="3327559" y="170021"/>
                  </a:cubicBezTo>
                  <a:cubicBezTo>
                    <a:pt x="3330416" y="155734"/>
                    <a:pt x="3332321" y="147161"/>
                    <a:pt x="3332321" y="147161"/>
                  </a:cubicBezTo>
                  <a:cubicBezTo>
                    <a:pt x="3332321" y="147161"/>
                    <a:pt x="3329464" y="154781"/>
                    <a:pt x="3323749" y="169069"/>
                  </a:cubicBezTo>
                  <a:cubicBezTo>
                    <a:pt x="3323749" y="170021"/>
                    <a:pt x="3322796" y="170974"/>
                    <a:pt x="3322796" y="171926"/>
                  </a:cubicBezTo>
                  <a:cubicBezTo>
                    <a:pt x="3322796" y="170021"/>
                    <a:pt x="3323749" y="167164"/>
                    <a:pt x="3323749" y="165259"/>
                  </a:cubicBezTo>
                  <a:cubicBezTo>
                    <a:pt x="3325654" y="158591"/>
                    <a:pt x="3326606" y="152876"/>
                    <a:pt x="3328511" y="147161"/>
                  </a:cubicBezTo>
                  <a:cubicBezTo>
                    <a:pt x="3331369" y="135731"/>
                    <a:pt x="3334226" y="125254"/>
                    <a:pt x="3336131" y="116681"/>
                  </a:cubicBezTo>
                  <a:cubicBezTo>
                    <a:pt x="3339941" y="99536"/>
                    <a:pt x="3341846" y="90011"/>
                    <a:pt x="3341846" y="90011"/>
                  </a:cubicBezTo>
                  <a:cubicBezTo>
                    <a:pt x="3341846" y="90011"/>
                    <a:pt x="3338036" y="99536"/>
                    <a:pt x="3332321" y="114776"/>
                  </a:cubicBezTo>
                  <a:cubicBezTo>
                    <a:pt x="3329464" y="122396"/>
                    <a:pt x="3325654" y="132874"/>
                    <a:pt x="3321844" y="143351"/>
                  </a:cubicBezTo>
                  <a:cubicBezTo>
                    <a:pt x="3319939" y="149066"/>
                    <a:pt x="3318034" y="154781"/>
                    <a:pt x="3315176" y="161449"/>
                  </a:cubicBezTo>
                  <a:cubicBezTo>
                    <a:pt x="3313271" y="168116"/>
                    <a:pt x="3311366" y="174784"/>
                    <a:pt x="3308509" y="181451"/>
                  </a:cubicBezTo>
                  <a:cubicBezTo>
                    <a:pt x="3308509" y="181451"/>
                    <a:pt x="3308509" y="181451"/>
                    <a:pt x="3308509" y="181451"/>
                  </a:cubicBezTo>
                  <a:cubicBezTo>
                    <a:pt x="3307556" y="179546"/>
                    <a:pt x="3307556" y="178594"/>
                    <a:pt x="3306604" y="176689"/>
                  </a:cubicBezTo>
                  <a:cubicBezTo>
                    <a:pt x="3298031" y="153829"/>
                    <a:pt x="3292316" y="140494"/>
                    <a:pt x="3292316" y="140494"/>
                  </a:cubicBezTo>
                  <a:cubicBezTo>
                    <a:pt x="3292316" y="140494"/>
                    <a:pt x="3297079" y="158591"/>
                    <a:pt x="3305651" y="189071"/>
                  </a:cubicBezTo>
                  <a:cubicBezTo>
                    <a:pt x="3301841" y="201454"/>
                    <a:pt x="3298031" y="213836"/>
                    <a:pt x="3294221" y="227171"/>
                  </a:cubicBezTo>
                  <a:cubicBezTo>
                    <a:pt x="3294221" y="228124"/>
                    <a:pt x="3293269" y="230029"/>
                    <a:pt x="3293269" y="230981"/>
                  </a:cubicBezTo>
                  <a:cubicBezTo>
                    <a:pt x="3293269" y="230029"/>
                    <a:pt x="3292316" y="230029"/>
                    <a:pt x="3292316" y="229076"/>
                  </a:cubicBezTo>
                  <a:cubicBezTo>
                    <a:pt x="3282791" y="209074"/>
                    <a:pt x="3277076" y="197644"/>
                    <a:pt x="3277076" y="197644"/>
                  </a:cubicBezTo>
                  <a:cubicBezTo>
                    <a:pt x="3277076" y="197644"/>
                    <a:pt x="3282791" y="211931"/>
                    <a:pt x="3291364" y="237649"/>
                  </a:cubicBezTo>
                  <a:cubicBezTo>
                    <a:pt x="3289459" y="244316"/>
                    <a:pt x="3287554" y="250984"/>
                    <a:pt x="3285649" y="257651"/>
                  </a:cubicBezTo>
                  <a:cubicBezTo>
                    <a:pt x="3282791" y="253841"/>
                    <a:pt x="3279934" y="249079"/>
                    <a:pt x="3277076" y="246221"/>
                  </a:cubicBezTo>
                  <a:cubicBezTo>
                    <a:pt x="3276124" y="245269"/>
                    <a:pt x="3275171" y="243364"/>
                    <a:pt x="3274219" y="242411"/>
                  </a:cubicBezTo>
                  <a:cubicBezTo>
                    <a:pt x="3276124" y="215741"/>
                    <a:pt x="3277076" y="199549"/>
                    <a:pt x="3277076" y="199549"/>
                  </a:cubicBezTo>
                  <a:cubicBezTo>
                    <a:pt x="3277076" y="199549"/>
                    <a:pt x="3275171" y="206216"/>
                    <a:pt x="3272314" y="217646"/>
                  </a:cubicBezTo>
                  <a:cubicBezTo>
                    <a:pt x="3271361" y="222409"/>
                    <a:pt x="3269456" y="228124"/>
                    <a:pt x="3268504" y="234791"/>
                  </a:cubicBezTo>
                  <a:cubicBezTo>
                    <a:pt x="3265646" y="230029"/>
                    <a:pt x="3261836" y="226219"/>
                    <a:pt x="3258979" y="223361"/>
                  </a:cubicBezTo>
                  <a:cubicBezTo>
                    <a:pt x="3247549" y="210979"/>
                    <a:pt x="3241834" y="203359"/>
                    <a:pt x="3241834" y="203359"/>
                  </a:cubicBezTo>
                  <a:cubicBezTo>
                    <a:pt x="3241834" y="203359"/>
                    <a:pt x="3247549" y="211931"/>
                    <a:pt x="3256121" y="226219"/>
                  </a:cubicBezTo>
                  <a:cubicBezTo>
                    <a:pt x="3259931" y="230981"/>
                    <a:pt x="3262789" y="236696"/>
                    <a:pt x="3266599" y="243364"/>
                  </a:cubicBezTo>
                  <a:cubicBezTo>
                    <a:pt x="3264694" y="250031"/>
                    <a:pt x="3262789" y="256699"/>
                    <a:pt x="3260884" y="265271"/>
                  </a:cubicBezTo>
                  <a:cubicBezTo>
                    <a:pt x="3258979" y="271939"/>
                    <a:pt x="3257074" y="279559"/>
                    <a:pt x="3256121" y="288131"/>
                  </a:cubicBezTo>
                  <a:cubicBezTo>
                    <a:pt x="3256121" y="287179"/>
                    <a:pt x="3256121" y="287179"/>
                    <a:pt x="3256121" y="287179"/>
                  </a:cubicBezTo>
                  <a:cubicBezTo>
                    <a:pt x="3256121" y="287179"/>
                    <a:pt x="3256121" y="288131"/>
                    <a:pt x="3256121" y="289084"/>
                  </a:cubicBezTo>
                  <a:cubicBezTo>
                    <a:pt x="3256121" y="290989"/>
                    <a:pt x="3255169" y="291941"/>
                    <a:pt x="3255169" y="293846"/>
                  </a:cubicBezTo>
                  <a:cubicBezTo>
                    <a:pt x="3254216" y="292894"/>
                    <a:pt x="3254216" y="291941"/>
                    <a:pt x="3253264" y="290036"/>
                  </a:cubicBezTo>
                  <a:cubicBezTo>
                    <a:pt x="3253264" y="284321"/>
                    <a:pt x="3254216" y="280511"/>
                    <a:pt x="3254216" y="280511"/>
                  </a:cubicBezTo>
                  <a:cubicBezTo>
                    <a:pt x="3254216" y="280511"/>
                    <a:pt x="3253264" y="282416"/>
                    <a:pt x="3252311" y="287179"/>
                  </a:cubicBezTo>
                  <a:cubicBezTo>
                    <a:pt x="3248501" y="280511"/>
                    <a:pt x="3246596" y="276701"/>
                    <a:pt x="3246596" y="276701"/>
                  </a:cubicBezTo>
                  <a:cubicBezTo>
                    <a:pt x="3246596" y="276701"/>
                    <a:pt x="3248501" y="281464"/>
                    <a:pt x="3251359" y="290989"/>
                  </a:cubicBezTo>
                  <a:cubicBezTo>
                    <a:pt x="3250406" y="292894"/>
                    <a:pt x="3250406" y="295751"/>
                    <a:pt x="3249454" y="298609"/>
                  </a:cubicBezTo>
                  <a:cubicBezTo>
                    <a:pt x="3248501" y="300514"/>
                    <a:pt x="3248501" y="302419"/>
                    <a:pt x="3247549" y="304324"/>
                  </a:cubicBezTo>
                  <a:cubicBezTo>
                    <a:pt x="3247549" y="302419"/>
                    <a:pt x="3246596" y="301466"/>
                    <a:pt x="3246596" y="301466"/>
                  </a:cubicBezTo>
                  <a:cubicBezTo>
                    <a:pt x="3246596" y="301466"/>
                    <a:pt x="3246596" y="303371"/>
                    <a:pt x="3246596" y="306229"/>
                  </a:cubicBezTo>
                  <a:cubicBezTo>
                    <a:pt x="3245644" y="310039"/>
                    <a:pt x="3244691" y="313849"/>
                    <a:pt x="3243739" y="317659"/>
                  </a:cubicBezTo>
                  <a:cubicBezTo>
                    <a:pt x="3242786" y="312896"/>
                    <a:pt x="3240881" y="308134"/>
                    <a:pt x="3239929" y="304324"/>
                  </a:cubicBezTo>
                  <a:cubicBezTo>
                    <a:pt x="3241834" y="299561"/>
                    <a:pt x="3242786" y="296704"/>
                    <a:pt x="3242786" y="296704"/>
                  </a:cubicBezTo>
                  <a:cubicBezTo>
                    <a:pt x="3242786" y="296704"/>
                    <a:pt x="3241834" y="298609"/>
                    <a:pt x="3238976" y="302419"/>
                  </a:cubicBezTo>
                  <a:cubicBezTo>
                    <a:pt x="3238024" y="299561"/>
                    <a:pt x="3237071" y="296704"/>
                    <a:pt x="3236119" y="293846"/>
                  </a:cubicBezTo>
                  <a:cubicBezTo>
                    <a:pt x="3236119" y="292894"/>
                    <a:pt x="3235166" y="291941"/>
                    <a:pt x="3235166" y="290036"/>
                  </a:cubicBezTo>
                  <a:cubicBezTo>
                    <a:pt x="3238024" y="284321"/>
                    <a:pt x="3239929" y="278606"/>
                    <a:pt x="3241834" y="273844"/>
                  </a:cubicBezTo>
                  <a:cubicBezTo>
                    <a:pt x="3244691" y="267176"/>
                    <a:pt x="3247549" y="261461"/>
                    <a:pt x="3249454" y="256699"/>
                  </a:cubicBezTo>
                  <a:cubicBezTo>
                    <a:pt x="3254216" y="247174"/>
                    <a:pt x="3256121" y="242411"/>
                    <a:pt x="3256121" y="242411"/>
                  </a:cubicBezTo>
                  <a:cubicBezTo>
                    <a:pt x="3256121" y="242411"/>
                    <a:pt x="3252311" y="247174"/>
                    <a:pt x="3245644" y="254794"/>
                  </a:cubicBezTo>
                  <a:cubicBezTo>
                    <a:pt x="3242786" y="258604"/>
                    <a:pt x="3238976" y="263366"/>
                    <a:pt x="3235166" y="270034"/>
                  </a:cubicBezTo>
                  <a:cubicBezTo>
                    <a:pt x="3233261" y="271939"/>
                    <a:pt x="3232309" y="274796"/>
                    <a:pt x="3230404" y="276701"/>
                  </a:cubicBezTo>
                  <a:cubicBezTo>
                    <a:pt x="3230404" y="275749"/>
                    <a:pt x="3229451" y="273844"/>
                    <a:pt x="3229451" y="272891"/>
                  </a:cubicBezTo>
                  <a:cubicBezTo>
                    <a:pt x="3227546" y="266224"/>
                    <a:pt x="3224689" y="260509"/>
                    <a:pt x="3222784" y="253841"/>
                  </a:cubicBezTo>
                  <a:cubicBezTo>
                    <a:pt x="3220879" y="250031"/>
                    <a:pt x="3219926" y="245269"/>
                    <a:pt x="3218021" y="241459"/>
                  </a:cubicBezTo>
                  <a:cubicBezTo>
                    <a:pt x="3218021" y="239554"/>
                    <a:pt x="3218021" y="238601"/>
                    <a:pt x="3218021" y="236696"/>
                  </a:cubicBezTo>
                  <a:cubicBezTo>
                    <a:pt x="3219926" y="226219"/>
                    <a:pt x="3221831" y="215741"/>
                    <a:pt x="3222784" y="206216"/>
                  </a:cubicBezTo>
                  <a:cubicBezTo>
                    <a:pt x="3225641" y="191929"/>
                    <a:pt x="3227546" y="178594"/>
                    <a:pt x="3229451" y="166211"/>
                  </a:cubicBezTo>
                  <a:cubicBezTo>
                    <a:pt x="3231356" y="154781"/>
                    <a:pt x="3233261" y="144304"/>
                    <a:pt x="3235166" y="135731"/>
                  </a:cubicBezTo>
                  <a:cubicBezTo>
                    <a:pt x="3238024" y="118586"/>
                    <a:pt x="3239929" y="109061"/>
                    <a:pt x="3239929" y="109061"/>
                  </a:cubicBezTo>
                  <a:cubicBezTo>
                    <a:pt x="3239929" y="109061"/>
                    <a:pt x="3237071" y="118586"/>
                    <a:pt x="3231356" y="134779"/>
                  </a:cubicBezTo>
                  <a:cubicBezTo>
                    <a:pt x="3226594" y="150971"/>
                    <a:pt x="3218974" y="175736"/>
                    <a:pt x="3212306" y="204311"/>
                  </a:cubicBezTo>
                  <a:cubicBezTo>
                    <a:pt x="3211354" y="208121"/>
                    <a:pt x="3210401" y="211931"/>
                    <a:pt x="3209449" y="215741"/>
                  </a:cubicBezTo>
                  <a:cubicBezTo>
                    <a:pt x="3207544" y="210979"/>
                    <a:pt x="3206591" y="207169"/>
                    <a:pt x="3204686" y="204311"/>
                  </a:cubicBezTo>
                  <a:cubicBezTo>
                    <a:pt x="3204686" y="186214"/>
                    <a:pt x="3203734" y="175736"/>
                    <a:pt x="3203734" y="175736"/>
                  </a:cubicBezTo>
                  <a:cubicBezTo>
                    <a:pt x="3203734" y="175736"/>
                    <a:pt x="3202781" y="187166"/>
                    <a:pt x="3200876" y="206216"/>
                  </a:cubicBezTo>
                  <a:cubicBezTo>
                    <a:pt x="3199924" y="215741"/>
                    <a:pt x="3198019" y="227171"/>
                    <a:pt x="3196114" y="240506"/>
                  </a:cubicBezTo>
                  <a:cubicBezTo>
                    <a:pt x="3196114" y="241459"/>
                    <a:pt x="3196114" y="242411"/>
                    <a:pt x="3195161" y="243364"/>
                  </a:cubicBezTo>
                  <a:cubicBezTo>
                    <a:pt x="3195161" y="234791"/>
                    <a:pt x="3196114" y="226219"/>
                    <a:pt x="3196114" y="217646"/>
                  </a:cubicBezTo>
                  <a:cubicBezTo>
                    <a:pt x="3197066" y="204311"/>
                    <a:pt x="3197066" y="191929"/>
                    <a:pt x="3198019" y="180499"/>
                  </a:cubicBezTo>
                  <a:cubicBezTo>
                    <a:pt x="3198971" y="169069"/>
                    <a:pt x="3198971" y="159544"/>
                    <a:pt x="3199924" y="151924"/>
                  </a:cubicBezTo>
                  <a:cubicBezTo>
                    <a:pt x="3200876" y="135731"/>
                    <a:pt x="3200876" y="127159"/>
                    <a:pt x="3200876" y="127159"/>
                  </a:cubicBezTo>
                  <a:cubicBezTo>
                    <a:pt x="3200876" y="127159"/>
                    <a:pt x="3198971" y="135731"/>
                    <a:pt x="3195161" y="151924"/>
                  </a:cubicBezTo>
                  <a:cubicBezTo>
                    <a:pt x="3192304" y="168116"/>
                    <a:pt x="3187541" y="190976"/>
                    <a:pt x="3184684" y="217646"/>
                  </a:cubicBezTo>
                  <a:cubicBezTo>
                    <a:pt x="3183731" y="223361"/>
                    <a:pt x="3182779" y="230029"/>
                    <a:pt x="3181826" y="235744"/>
                  </a:cubicBezTo>
                  <a:cubicBezTo>
                    <a:pt x="3180874" y="233839"/>
                    <a:pt x="3179921" y="232886"/>
                    <a:pt x="3179921" y="231934"/>
                  </a:cubicBezTo>
                  <a:cubicBezTo>
                    <a:pt x="3179921" y="227171"/>
                    <a:pt x="3179921" y="224314"/>
                    <a:pt x="3179921" y="224314"/>
                  </a:cubicBezTo>
                  <a:cubicBezTo>
                    <a:pt x="3179921" y="224314"/>
                    <a:pt x="3179921" y="226219"/>
                    <a:pt x="3178969" y="230029"/>
                  </a:cubicBezTo>
                  <a:cubicBezTo>
                    <a:pt x="3178016" y="228124"/>
                    <a:pt x="3177064" y="227171"/>
                    <a:pt x="3177064" y="227171"/>
                  </a:cubicBezTo>
                  <a:cubicBezTo>
                    <a:pt x="3177064" y="227171"/>
                    <a:pt x="3178016" y="229076"/>
                    <a:pt x="3178016" y="231934"/>
                  </a:cubicBezTo>
                  <a:cubicBezTo>
                    <a:pt x="3177064" y="236696"/>
                    <a:pt x="3176111" y="243364"/>
                    <a:pt x="3174206" y="250984"/>
                  </a:cubicBezTo>
                  <a:cubicBezTo>
                    <a:pt x="3173254" y="258604"/>
                    <a:pt x="3171349" y="267176"/>
                    <a:pt x="3170396" y="277654"/>
                  </a:cubicBezTo>
                  <a:cubicBezTo>
                    <a:pt x="3170396" y="276701"/>
                    <a:pt x="3170396" y="276701"/>
                    <a:pt x="3169444" y="275749"/>
                  </a:cubicBezTo>
                  <a:cubicBezTo>
                    <a:pt x="3168491" y="254794"/>
                    <a:pt x="3165634" y="234791"/>
                    <a:pt x="3163729" y="215741"/>
                  </a:cubicBezTo>
                  <a:cubicBezTo>
                    <a:pt x="3163729" y="212884"/>
                    <a:pt x="3162776" y="210026"/>
                    <a:pt x="3162776" y="207169"/>
                  </a:cubicBezTo>
                  <a:cubicBezTo>
                    <a:pt x="3162776" y="206216"/>
                    <a:pt x="3163729" y="204311"/>
                    <a:pt x="3163729" y="203359"/>
                  </a:cubicBezTo>
                  <a:cubicBezTo>
                    <a:pt x="3169444" y="174784"/>
                    <a:pt x="3172301" y="150019"/>
                    <a:pt x="3174206" y="132874"/>
                  </a:cubicBezTo>
                  <a:cubicBezTo>
                    <a:pt x="3176111" y="115729"/>
                    <a:pt x="3178016" y="106204"/>
                    <a:pt x="3178016" y="106204"/>
                  </a:cubicBezTo>
                  <a:cubicBezTo>
                    <a:pt x="3178016" y="106204"/>
                    <a:pt x="3175159" y="115729"/>
                    <a:pt x="3170396" y="131921"/>
                  </a:cubicBezTo>
                  <a:cubicBezTo>
                    <a:pt x="3167539" y="143351"/>
                    <a:pt x="3162776" y="159544"/>
                    <a:pt x="3158014" y="177641"/>
                  </a:cubicBezTo>
                  <a:cubicBezTo>
                    <a:pt x="3157061" y="171926"/>
                    <a:pt x="3156109" y="165259"/>
                    <a:pt x="3154204" y="159544"/>
                  </a:cubicBezTo>
                  <a:cubicBezTo>
                    <a:pt x="3152299" y="150971"/>
                    <a:pt x="3150394" y="142399"/>
                    <a:pt x="3149441" y="134779"/>
                  </a:cubicBezTo>
                  <a:cubicBezTo>
                    <a:pt x="3147536" y="127159"/>
                    <a:pt x="3145631" y="119539"/>
                    <a:pt x="3143726" y="112871"/>
                  </a:cubicBezTo>
                  <a:cubicBezTo>
                    <a:pt x="3139916" y="99536"/>
                    <a:pt x="3137059" y="87154"/>
                    <a:pt x="3133249" y="77629"/>
                  </a:cubicBezTo>
                  <a:cubicBezTo>
                    <a:pt x="3126581" y="58579"/>
                    <a:pt x="3122771" y="47149"/>
                    <a:pt x="3122771" y="47149"/>
                  </a:cubicBezTo>
                  <a:cubicBezTo>
                    <a:pt x="3122771" y="47149"/>
                    <a:pt x="3125629" y="58579"/>
                    <a:pt x="3129439" y="78581"/>
                  </a:cubicBezTo>
                  <a:cubicBezTo>
                    <a:pt x="3132296" y="88106"/>
                    <a:pt x="3134201" y="100489"/>
                    <a:pt x="3136106" y="114776"/>
                  </a:cubicBezTo>
                  <a:cubicBezTo>
                    <a:pt x="3137059" y="121444"/>
                    <a:pt x="3138964" y="129064"/>
                    <a:pt x="3139916" y="136684"/>
                  </a:cubicBezTo>
                  <a:cubicBezTo>
                    <a:pt x="3140869" y="144304"/>
                    <a:pt x="3141821" y="152876"/>
                    <a:pt x="3142774" y="161449"/>
                  </a:cubicBezTo>
                  <a:cubicBezTo>
                    <a:pt x="3145631" y="177641"/>
                    <a:pt x="3146584" y="195739"/>
                    <a:pt x="3147536" y="213836"/>
                  </a:cubicBezTo>
                  <a:cubicBezTo>
                    <a:pt x="3147536" y="214789"/>
                    <a:pt x="3146584" y="215741"/>
                    <a:pt x="3146584" y="217646"/>
                  </a:cubicBezTo>
                  <a:cubicBezTo>
                    <a:pt x="3145631" y="214789"/>
                    <a:pt x="3144679" y="211931"/>
                    <a:pt x="3143726" y="210026"/>
                  </a:cubicBezTo>
                  <a:cubicBezTo>
                    <a:pt x="3141821" y="205264"/>
                    <a:pt x="3139916" y="201454"/>
                    <a:pt x="3138964" y="196691"/>
                  </a:cubicBezTo>
                  <a:cubicBezTo>
                    <a:pt x="3137059" y="190024"/>
                    <a:pt x="3136106" y="184309"/>
                    <a:pt x="3134201" y="179546"/>
                  </a:cubicBezTo>
                  <a:cubicBezTo>
                    <a:pt x="3129439" y="164306"/>
                    <a:pt x="3126581" y="155734"/>
                    <a:pt x="3126581" y="155734"/>
                  </a:cubicBezTo>
                  <a:cubicBezTo>
                    <a:pt x="3126581" y="155734"/>
                    <a:pt x="3127534" y="161449"/>
                    <a:pt x="3129439" y="172879"/>
                  </a:cubicBezTo>
                  <a:cubicBezTo>
                    <a:pt x="3125629" y="164306"/>
                    <a:pt x="3121819" y="155734"/>
                    <a:pt x="3118961" y="150019"/>
                  </a:cubicBezTo>
                  <a:cubicBezTo>
                    <a:pt x="3116104" y="144304"/>
                    <a:pt x="3114199" y="139541"/>
                    <a:pt x="3112294" y="136684"/>
                  </a:cubicBezTo>
                  <a:cubicBezTo>
                    <a:pt x="3108484" y="128111"/>
                    <a:pt x="3105626" y="120491"/>
                    <a:pt x="3102769" y="113824"/>
                  </a:cubicBezTo>
                  <a:cubicBezTo>
                    <a:pt x="3095149" y="96679"/>
                    <a:pt x="3090386" y="87154"/>
                    <a:pt x="3090386" y="87154"/>
                  </a:cubicBezTo>
                  <a:cubicBezTo>
                    <a:pt x="3090386" y="87154"/>
                    <a:pt x="3093244" y="97631"/>
                    <a:pt x="3099911" y="114776"/>
                  </a:cubicBezTo>
                  <a:cubicBezTo>
                    <a:pt x="3102769" y="123349"/>
                    <a:pt x="3105626" y="133826"/>
                    <a:pt x="3109436" y="146209"/>
                  </a:cubicBezTo>
                  <a:cubicBezTo>
                    <a:pt x="3111341" y="152876"/>
                    <a:pt x="3113246" y="159544"/>
                    <a:pt x="3115151" y="167164"/>
                  </a:cubicBezTo>
                  <a:cubicBezTo>
                    <a:pt x="3111341" y="159544"/>
                    <a:pt x="3109436" y="155734"/>
                    <a:pt x="3109436" y="155734"/>
                  </a:cubicBezTo>
                  <a:cubicBezTo>
                    <a:pt x="3109436" y="155734"/>
                    <a:pt x="3111341" y="163354"/>
                    <a:pt x="3116104" y="176689"/>
                  </a:cubicBezTo>
                  <a:cubicBezTo>
                    <a:pt x="3118009" y="181451"/>
                    <a:pt x="3119914" y="188119"/>
                    <a:pt x="3121819" y="194786"/>
                  </a:cubicBezTo>
                  <a:cubicBezTo>
                    <a:pt x="3122771" y="200501"/>
                    <a:pt x="3124676" y="207169"/>
                    <a:pt x="3125629" y="213836"/>
                  </a:cubicBezTo>
                  <a:cubicBezTo>
                    <a:pt x="3124676" y="214789"/>
                    <a:pt x="3124676" y="215741"/>
                    <a:pt x="3123724" y="215741"/>
                  </a:cubicBezTo>
                  <a:cubicBezTo>
                    <a:pt x="3123724" y="212884"/>
                    <a:pt x="3122771" y="210979"/>
                    <a:pt x="3122771" y="210979"/>
                  </a:cubicBezTo>
                  <a:cubicBezTo>
                    <a:pt x="3122771" y="210979"/>
                    <a:pt x="3122771" y="212884"/>
                    <a:pt x="3122771" y="216694"/>
                  </a:cubicBezTo>
                  <a:cubicBezTo>
                    <a:pt x="3119914" y="219551"/>
                    <a:pt x="3117056" y="223361"/>
                    <a:pt x="3113246" y="228124"/>
                  </a:cubicBezTo>
                  <a:cubicBezTo>
                    <a:pt x="3113246" y="228124"/>
                    <a:pt x="3113246" y="228124"/>
                    <a:pt x="3113246" y="228124"/>
                  </a:cubicBezTo>
                  <a:cubicBezTo>
                    <a:pt x="3112294" y="213836"/>
                    <a:pt x="3111341" y="201454"/>
                    <a:pt x="3110389" y="191929"/>
                  </a:cubicBezTo>
                  <a:cubicBezTo>
                    <a:pt x="3109436" y="178594"/>
                    <a:pt x="3108484" y="171926"/>
                    <a:pt x="3108484" y="171926"/>
                  </a:cubicBezTo>
                  <a:cubicBezTo>
                    <a:pt x="3108484" y="171926"/>
                    <a:pt x="3107531" y="179546"/>
                    <a:pt x="3106579" y="192881"/>
                  </a:cubicBezTo>
                  <a:cubicBezTo>
                    <a:pt x="3105626" y="202406"/>
                    <a:pt x="3105626" y="213836"/>
                    <a:pt x="3104674" y="228124"/>
                  </a:cubicBezTo>
                  <a:cubicBezTo>
                    <a:pt x="3104674" y="228124"/>
                    <a:pt x="3104674" y="227171"/>
                    <a:pt x="3104674" y="227171"/>
                  </a:cubicBezTo>
                  <a:cubicBezTo>
                    <a:pt x="3099911" y="214789"/>
                    <a:pt x="3097054" y="208121"/>
                    <a:pt x="3097054" y="208121"/>
                  </a:cubicBezTo>
                  <a:cubicBezTo>
                    <a:pt x="3097054" y="208121"/>
                    <a:pt x="3098006" y="215741"/>
                    <a:pt x="3100864" y="228124"/>
                  </a:cubicBezTo>
                  <a:cubicBezTo>
                    <a:pt x="3101816" y="232886"/>
                    <a:pt x="3102769" y="238601"/>
                    <a:pt x="3103721" y="244316"/>
                  </a:cubicBezTo>
                  <a:cubicBezTo>
                    <a:pt x="3100864" y="248126"/>
                    <a:pt x="3098959" y="251936"/>
                    <a:pt x="3096101" y="255746"/>
                  </a:cubicBezTo>
                  <a:cubicBezTo>
                    <a:pt x="3093244" y="260509"/>
                    <a:pt x="3090386" y="264319"/>
                    <a:pt x="3087529" y="270034"/>
                  </a:cubicBezTo>
                  <a:cubicBezTo>
                    <a:pt x="3085624" y="263366"/>
                    <a:pt x="3083719" y="257651"/>
                    <a:pt x="3082766" y="252889"/>
                  </a:cubicBezTo>
                  <a:cubicBezTo>
                    <a:pt x="3078956" y="241459"/>
                    <a:pt x="3077051" y="233839"/>
                    <a:pt x="3077051" y="233839"/>
                  </a:cubicBezTo>
                  <a:cubicBezTo>
                    <a:pt x="3077051" y="233839"/>
                    <a:pt x="3078004" y="240506"/>
                    <a:pt x="3078956" y="252889"/>
                  </a:cubicBezTo>
                  <a:cubicBezTo>
                    <a:pt x="3078956" y="256699"/>
                    <a:pt x="3079909" y="260509"/>
                    <a:pt x="3079909" y="264319"/>
                  </a:cubicBezTo>
                  <a:cubicBezTo>
                    <a:pt x="3078956" y="261461"/>
                    <a:pt x="3078004" y="258604"/>
                    <a:pt x="3077051" y="255746"/>
                  </a:cubicBezTo>
                  <a:cubicBezTo>
                    <a:pt x="3076099" y="252889"/>
                    <a:pt x="3075146" y="250984"/>
                    <a:pt x="3074194" y="248126"/>
                  </a:cubicBezTo>
                  <a:cubicBezTo>
                    <a:pt x="3074194" y="246221"/>
                    <a:pt x="3074194" y="244316"/>
                    <a:pt x="3074194" y="242411"/>
                  </a:cubicBezTo>
                  <a:cubicBezTo>
                    <a:pt x="3074194" y="237649"/>
                    <a:pt x="3075146" y="232886"/>
                    <a:pt x="3075146" y="229076"/>
                  </a:cubicBezTo>
                  <a:cubicBezTo>
                    <a:pt x="3076099" y="226219"/>
                    <a:pt x="3077051" y="223361"/>
                    <a:pt x="3077051" y="220504"/>
                  </a:cubicBezTo>
                  <a:cubicBezTo>
                    <a:pt x="3080861" y="208121"/>
                    <a:pt x="3082766" y="197644"/>
                    <a:pt x="3086576" y="189071"/>
                  </a:cubicBezTo>
                  <a:cubicBezTo>
                    <a:pt x="3092291" y="171926"/>
                    <a:pt x="3096101" y="161449"/>
                    <a:pt x="3096101" y="161449"/>
                  </a:cubicBezTo>
                  <a:cubicBezTo>
                    <a:pt x="3096101" y="161449"/>
                    <a:pt x="3091339" y="170974"/>
                    <a:pt x="3083719" y="188119"/>
                  </a:cubicBezTo>
                  <a:cubicBezTo>
                    <a:pt x="3079909" y="196691"/>
                    <a:pt x="3076099" y="207169"/>
                    <a:pt x="3071336" y="218599"/>
                  </a:cubicBezTo>
                  <a:cubicBezTo>
                    <a:pt x="3070384" y="220504"/>
                    <a:pt x="3069431" y="222409"/>
                    <a:pt x="3068479" y="224314"/>
                  </a:cubicBezTo>
                  <a:cubicBezTo>
                    <a:pt x="3068479" y="221456"/>
                    <a:pt x="3068479" y="218599"/>
                    <a:pt x="3068479" y="216694"/>
                  </a:cubicBezTo>
                  <a:cubicBezTo>
                    <a:pt x="3068479" y="213836"/>
                    <a:pt x="3069431" y="211931"/>
                    <a:pt x="3069431" y="209074"/>
                  </a:cubicBezTo>
                  <a:cubicBezTo>
                    <a:pt x="3070384" y="198596"/>
                    <a:pt x="3071336" y="189071"/>
                    <a:pt x="3072289" y="181451"/>
                  </a:cubicBezTo>
                  <a:cubicBezTo>
                    <a:pt x="3073241" y="166211"/>
                    <a:pt x="3073241" y="157639"/>
                    <a:pt x="3073241" y="157639"/>
                  </a:cubicBezTo>
                  <a:cubicBezTo>
                    <a:pt x="3073241" y="157639"/>
                    <a:pt x="3071336" y="166211"/>
                    <a:pt x="3067526" y="180499"/>
                  </a:cubicBezTo>
                  <a:cubicBezTo>
                    <a:pt x="3067526" y="181451"/>
                    <a:pt x="3067526" y="182404"/>
                    <a:pt x="3066574" y="183356"/>
                  </a:cubicBezTo>
                  <a:cubicBezTo>
                    <a:pt x="3065621" y="169069"/>
                    <a:pt x="3065621" y="157639"/>
                    <a:pt x="3064669" y="148114"/>
                  </a:cubicBezTo>
                  <a:cubicBezTo>
                    <a:pt x="3064669" y="146209"/>
                    <a:pt x="3064669" y="145256"/>
                    <a:pt x="3064669" y="145256"/>
                  </a:cubicBezTo>
                  <a:cubicBezTo>
                    <a:pt x="3064669" y="145256"/>
                    <a:pt x="3064669" y="145256"/>
                    <a:pt x="3064669" y="146209"/>
                  </a:cubicBezTo>
                  <a:cubicBezTo>
                    <a:pt x="3063716" y="136684"/>
                    <a:pt x="3063716" y="131921"/>
                    <a:pt x="3063716" y="131921"/>
                  </a:cubicBezTo>
                  <a:cubicBezTo>
                    <a:pt x="3063716" y="131921"/>
                    <a:pt x="3061811" y="148114"/>
                    <a:pt x="3058954" y="174784"/>
                  </a:cubicBezTo>
                  <a:cubicBezTo>
                    <a:pt x="3058001" y="179546"/>
                    <a:pt x="3057049" y="185261"/>
                    <a:pt x="3056096" y="190976"/>
                  </a:cubicBezTo>
                  <a:cubicBezTo>
                    <a:pt x="3055144" y="193834"/>
                    <a:pt x="3055144" y="197644"/>
                    <a:pt x="3054191" y="201454"/>
                  </a:cubicBezTo>
                  <a:cubicBezTo>
                    <a:pt x="3052286" y="196691"/>
                    <a:pt x="3050381" y="192881"/>
                    <a:pt x="3049429" y="189071"/>
                  </a:cubicBezTo>
                  <a:cubicBezTo>
                    <a:pt x="3049429" y="189071"/>
                    <a:pt x="3049429" y="189071"/>
                    <a:pt x="3049429" y="188119"/>
                  </a:cubicBezTo>
                  <a:cubicBezTo>
                    <a:pt x="3052286" y="174784"/>
                    <a:pt x="3053239" y="162401"/>
                    <a:pt x="3056096" y="151924"/>
                  </a:cubicBezTo>
                  <a:cubicBezTo>
                    <a:pt x="3060859" y="131921"/>
                    <a:pt x="3062764" y="120491"/>
                    <a:pt x="3062764" y="120491"/>
                  </a:cubicBezTo>
                  <a:cubicBezTo>
                    <a:pt x="3062764" y="120491"/>
                    <a:pt x="3058954" y="130969"/>
                    <a:pt x="3052286" y="150971"/>
                  </a:cubicBezTo>
                  <a:cubicBezTo>
                    <a:pt x="3048476" y="160496"/>
                    <a:pt x="3045619" y="172879"/>
                    <a:pt x="3041809" y="186214"/>
                  </a:cubicBezTo>
                  <a:cubicBezTo>
                    <a:pt x="3039904" y="192881"/>
                    <a:pt x="3037999" y="200501"/>
                    <a:pt x="3036094" y="208121"/>
                  </a:cubicBezTo>
                  <a:cubicBezTo>
                    <a:pt x="3035141" y="210979"/>
                    <a:pt x="3035141" y="213836"/>
                    <a:pt x="3034189" y="215741"/>
                  </a:cubicBezTo>
                  <a:cubicBezTo>
                    <a:pt x="3033236" y="211931"/>
                    <a:pt x="3032284" y="209074"/>
                    <a:pt x="3032284" y="205264"/>
                  </a:cubicBezTo>
                  <a:cubicBezTo>
                    <a:pt x="3038951" y="181451"/>
                    <a:pt x="3044666" y="162401"/>
                    <a:pt x="3048476" y="148114"/>
                  </a:cubicBezTo>
                  <a:cubicBezTo>
                    <a:pt x="3053239" y="131921"/>
                    <a:pt x="3057049" y="123349"/>
                    <a:pt x="3057049" y="123349"/>
                  </a:cubicBezTo>
                  <a:cubicBezTo>
                    <a:pt x="3057049" y="123349"/>
                    <a:pt x="3056096" y="125254"/>
                    <a:pt x="3054191" y="129064"/>
                  </a:cubicBezTo>
                  <a:cubicBezTo>
                    <a:pt x="3052286" y="132874"/>
                    <a:pt x="3049429" y="138589"/>
                    <a:pt x="3045619" y="146209"/>
                  </a:cubicBezTo>
                  <a:cubicBezTo>
                    <a:pt x="3040856" y="155734"/>
                    <a:pt x="3035141" y="169069"/>
                    <a:pt x="3029426" y="184309"/>
                  </a:cubicBezTo>
                  <a:cubicBezTo>
                    <a:pt x="3029426" y="177641"/>
                    <a:pt x="3028474" y="171926"/>
                    <a:pt x="3029426" y="167164"/>
                  </a:cubicBezTo>
                  <a:cubicBezTo>
                    <a:pt x="3030379" y="150019"/>
                    <a:pt x="3030379" y="140494"/>
                    <a:pt x="3030379" y="140494"/>
                  </a:cubicBezTo>
                  <a:cubicBezTo>
                    <a:pt x="3030379" y="140494"/>
                    <a:pt x="3028474" y="150019"/>
                    <a:pt x="3025616" y="166211"/>
                  </a:cubicBezTo>
                  <a:cubicBezTo>
                    <a:pt x="3023711" y="174784"/>
                    <a:pt x="3023711" y="184309"/>
                    <a:pt x="3022759" y="196691"/>
                  </a:cubicBezTo>
                  <a:cubicBezTo>
                    <a:pt x="3022759" y="198596"/>
                    <a:pt x="3022759" y="200501"/>
                    <a:pt x="3022759" y="202406"/>
                  </a:cubicBezTo>
                  <a:cubicBezTo>
                    <a:pt x="3021806" y="205264"/>
                    <a:pt x="3020854" y="208121"/>
                    <a:pt x="3019901" y="210979"/>
                  </a:cubicBezTo>
                  <a:cubicBezTo>
                    <a:pt x="3017044" y="218599"/>
                    <a:pt x="3014186" y="226219"/>
                    <a:pt x="3011329" y="234791"/>
                  </a:cubicBezTo>
                  <a:cubicBezTo>
                    <a:pt x="3009424" y="230981"/>
                    <a:pt x="3008471" y="228124"/>
                    <a:pt x="3007519" y="226219"/>
                  </a:cubicBezTo>
                  <a:cubicBezTo>
                    <a:pt x="3009424" y="219551"/>
                    <a:pt x="3011329" y="215741"/>
                    <a:pt x="3011329" y="215741"/>
                  </a:cubicBezTo>
                  <a:cubicBezTo>
                    <a:pt x="3011329" y="215741"/>
                    <a:pt x="3009424" y="218599"/>
                    <a:pt x="3006566" y="222409"/>
                  </a:cubicBezTo>
                  <a:cubicBezTo>
                    <a:pt x="3004661" y="215741"/>
                    <a:pt x="3003709" y="209074"/>
                    <a:pt x="3001804" y="202406"/>
                  </a:cubicBezTo>
                  <a:cubicBezTo>
                    <a:pt x="3001804" y="200501"/>
                    <a:pt x="3000851" y="199549"/>
                    <a:pt x="3000851" y="197644"/>
                  </a:cubicBezTo>
                  <a:cubicBezTo>
                    <a:pt x="3001804" y="194786"/>
                    <a:pt x="3002756" y="191929"/>
                    <a:pt x="3003709" y="189071"/>
                  </a:cubicBezTo>
                  <a:cubicBezTo>
                    <a:pt x="3006566" y="179546"/>
                    <a:pt x="3008471" y="170974"/>
                    <a:pt x="3011329" y="164306"/>
                  </a:cubicBezTo>
                  <a:cubicBezTo>
                    <a:pt x="3016091" y="150971"/>
                    <a:pt x="3018949" y="142399"/>
                    <a:pt x="3018949" y="142399"/>
                  </a:cubicBezTo>
                  <a:cubicBezTo>
                    <a:pt x="3018949" y="142399"/>
                    <a:pt x="3015139" y="150019"/>
                    <a:pt x="3007519" y="162401"/>
                  </a:cubicBezTo>
                  <a:cubicBezTo>
                    <a:pt x="3004661" y="168116"/>
                    <a:pt x="3001804" y="174784"/>
                    <a:pt x="2997994" y="182404"/>
                  </a:cubicBezTo>
                  <a:cubicBezTo>
                    <a:pt x="2997041" y="177641"/>
                    <a:pt x="2996089" y="172879"/>
                    <a:pt x="2995136" y="169069"/>
                  </a:cubicBezTo>
                  <a:cubicBezTo>
                    <a:pt x="3002756" y="140494"/>
                    <a:pt x="3009424" y="117634"/>
                    <a:pt x="3014186" y="100489"/>
                  </a:cubicBezTo>
                  <a:cubicBezTo>
                    <a:pt x="3017044" y="90011"/>
                    <a:pt x="3019901" y="82391"/>
                    <a:pt x="3021806" y="76676"/>
                  </a:cubicBezTo>
                  <a:cubicBezTo>
                    <a:pt x="3023711" y="70961"/>
                    <a:pt x="3024664" y="68104"/>
                    <a:pt x="3024664" y="68104"/>
                  </a:cubicBezTo>
                  <a:cubicBezTo>
                    <a:pt x="3024664" y="68104"/>
                    <a:pt x="3023711" y="70961"/>
                    <a:pt x="3020854" y="75724"/>
                  </a:cubicBezTo>
                  <a:cubicBezTo>
                    <a:pt x="3017996" y="80486"/>
                    <a:pt x="3015139" y="88106"/>
                    <a:pt x="3010376" y="98584"/>
                  </a:cubicBezTo>
                  <a:cubicBezTo>
                    <a:pt x="3006566" y="108109"/>
                    <a:pt x="3001804" y="120491"/>
                    <a:pt x="2996089" y="134779"/>
                  </a:cubicBezTo>
                  <a:cubicBezTo>
                    <a:pt x="2994184" y="139541"/>
                    <a:pt x="2993231" y="143351"/>
                    <a:pt x="2991326" y="148114"/>
                  </a:cubicBezTo>
                  <a:cubicBezTo>
                    <a:pt x="2989421" y="138589"/>
                    <a:pt x="2988469" y="130016"/>
                    <a:pt x="2987516" y="122396"/>
                  </a:cubicBezTo>
                  <a:cubicBezTo>
                    <a:pt x="2985611" y="103346"/>
                    <a:pt x="2984659" y="91916"/>
                    <a:pt x="2984659" y="91916"/>
                  </a:cubicBezTo>
                  <a:cubicBezTo>
                    <a:pt x="2984659" y="91916"/>
                    <a:pt x="2984659" y="103346"/>
                    <a:pt x="2983706" y="122396"/>
                  </a:cubicBezTo>
                  <a:cubicBezTo>
                    <a:pt x="2983706" y="131921"/>
                    <a:pt x="2984659" y="144304"/>
                    <a:pt x="2985611" y="157639"/>
                  </a:cubicBezTo>
                  <a:cubicBezTo>
                    <a:pt x="2985611" y="159544"/>
                    <a:pt x="2985611" y="161449"/>
                    <a:pt x="2985611" y="163354"/>
                  </a:cubicBezTo>
                  <a:cubicBezTo>
                    <a:pt x="2983706" y="169069"/>
                    <a:pt x="2981801" y="175736"/>
                    <a:pt x="2978944" y="182404"/>
                  </a:cubicBezTo>
                  <a:cubicBezTo>
                    <a:pt x="2973229" y="199549"/>
                    <a:pt x="2967514" y="218599"/>
                    <a:pt x="2960846" y="238601"/>
                  </a:cubicBezTo>
                  <a:cubicBezTo>
                    <a:pt x="2959894" y="236696"/>
                    <a:pt x="2959894" y="234791"/>
                    <a:pt x="2959894" y="234791"/>
                  </a:cubicBezTo>
                  <a:cubicBezTo>
                    <a:pt x="2959894" y="234791"/>
                    <a:pt x="2959894" y="236696"/>
                    <a:pt x="2960846" y="239554"/>
                  </a:cubicBezTo>
                  <a:cubicBezTo>
                    <a:pt x="2957036" y="250984"/>
                    <a:pt x="2954179" y="262414"/>
                    <a:pt x="2950369" y="274796"/>
                  </a:cubicBezTo>
                  <a:cubicBezTo>
                    <a:pt x="2951321" y="268129"/>
                    <a:pt x="2952274" y="264319"/>
                    <a:pt x="2952274" y="264319"/>
                  </a:cubicBezTo>
                  <a:cubicBezTo>
                    <a:pt x="2952274" y="264319"/>
                    <a:pt x="2949416" y="271939"/>
                    <a:pt x="2944654" y="284321"/>
                  </a:cubicBezTo>
                  <a:cubicBezTo>
                    <a:pt x="2944654" y="284321"/>
                    <a:pt x="2944654" y="283369"/>
                    <a:pt x="2944654" y="283369"/>
                  </a:cubicBezTo>
                  <a:cubicBezTo>
                    <a:pt x="2944654" y="281464"/>
                    <a:pt x="2944654" y="279559"/>
                    <a:pt x="2945606" y="277654"/>
                  </a:cubicBezTo>
                  <a:cubicBezTo>
                    <a:pt x="2947511" y="263366"/>
                    <a:pt x="2948464" y="250984"/>
                    <a:pt x="2949416" y="238601"/>
                  </a:cubicBezTo>
                  <a:cubicBezTo>
                    <a:pt x="2950369" y="232886"/>
                    <a:pt x="2950369" y="226219"/>
                    <a:pt x="2951321" y="221456"/>
                  </a:cubicBezTo>
                  <a:cubicBezTo>
                    <a:pt x="2952274" y="215741"/>
                    <a:pt x="2953226" y="210979"/>
                    <a:pt x="2953226" y="205264"/>
                  </a:cubicBezTo>
                  <a:cubicBezTo>
                    <a:pt x="2954179" y="195739"/>
                    <a:pt x="2955131" y="186214"/>
                    <a:pt x="2956084" y="179546"/>
                  </a:cubicBezTo>
                  <a:cubicBezTo>
                    <a:pt x="2957989" y="165259"/>
                    <a:pt x="2958941" y="156686"/>
                    <a:pt x="2958941" y="156686"/>
                  </a:cubicBezTo>
                  <a:cubicBezTo>
                    <a:pt x="2958941" y="156686"/>
                    <a:pt x="2957036" y="164306"/>
                    <a:pt x="2952274" y="178594"/>
                  </a:cubicBezTo>
                  <a:cubicBezTo>
                    <a:pt x="2950369" y="185261"/>
                    <a:pt x="2948464" y="193834"/>
                    <a:pt x="2945606" y="203359"/>
                  </a:cubicBezTo>
                  <a:cubicBezTo>
                    <a:pt x="2944654" y="208121"/>
                    <a:pt x="2942749" y="212884"/>
                    <a:pt x="2941796" y="218599"/>
                  </a:cubicBezTo>
                  <a:cubicBezTo>
                    <a:pt x="2940844" y="224314"/>
                    <a:pt x="2939891" y="230029"/>
                    <a:pt x="2937986" y="235744"/>
                  </a:cubicBezTo>
                  <a:cubicBezTo>
                    <a:pt x="2936081" y="246221"/>
                    <a:pt x="2933224" y="257651"/>
                    <a:pt x="2931319" y="270034"/>
                  </a:cubicBezTo>
                  <a:cubicBezTo>
                    <a:pt x="2930366" y="266224"/>
                    <a:pt x="2930366" y="263366"/>
                    <a:pt x="2929414" y="260509"/>
                  </a:cubicBezTo>
                  <a:cubicBezTo>
                    <a:pt x="2929414" y="258604"/>
                    <a:pt x="2928461" y="257651"/>
                    <a:pt x="2928461" y="256699"/>
                  </a:cubicBezTo>
                  <a:cubicBezTo>
                    <a:pt x="2930366" y="253841"/>
                    <a:pt x="2931319" y="251936"/>
                    <a:pt x="2931319" y="251936"/>
                  </a:cubicBezTo>
                  <a:cubicBezTo>
                    <a:pt x="2931319" y="251936"/>
                    <a:pt x="2930366" y="252889"/>
                    <a:pt x="2927509" y="254794"/>
                  </a:cubicBezTo>
                  <a:cubicBezTo>
                    <a:pt x="2926556" y="251936"/>
                    <a:pt x="2925604" y="249079"/>
                    <a:pt x="2925604" y="247174"/>
                  </a:cubicBezTo>
                  <a:cubicBezTo>
                    <a:pt x="2929414" y="237649"/>
                    <a:pt x="2931319" y="231934"/>
                    <a:pt x="2931319" y="231934"/>
                  </a:cubicBezTo>
                  <a:cubicBezTo>
                    <a:pt x="2931319" y="231934"/>
                    <a:pt x="2928461" y="235744"/>
                    <a:pt x="2924651" y="243364"/>
                  </a:cubicBezTo>
                  <a:cubicBezTo>
                    <a:pt x="2923699" y="241459"/>
                    <a:pt x="2923699" y="239554"/>
                    <a:pt x="2922746" y="237649"/>
                  </a:cubicBezTo>
                  <a:lnTo>
                    <a:pt x="2922746" y="236696"/>
                  </a:lnTo>
                  <a:lnTo>
                    <a:pt x="2921794" y="236696"/>
                  </a:lnTo>
                  <a:cubicBezTo>
                    <a:pt x="2919889" y="236696"/>
                    <a:pt x="2917984" y="236696"/>
                    <a:pt x="2916079" y="236696"/>
                  </a:cubicBezTo>
                  <a:lnTo>
                    <a:pt x="2916079" y="236696"/>
                  </a:lnTo>
                  <a:cubicBezTo>
                    <a:pt x="2928461" y="200501"/>
                    <a:pt x="2935129" y="176689"/>
                    <a:pt x="2935129" y="176689"/>
                  </a:cubicBezTo>
                  <a:cubicBezTo>
                    <a:pt x="2935129" y="176689"/>
                    <a:pt x="2924651" y="196691"/>
                    <a:pt x="2909411" y="230029"/>
                  </a:cubicBezTo>
                  <a:cubicBezTo>
                    <a:pt x="2907506" y="222409"/>
                    <a:pt x="2904649" y="216694"/>
                    <a:pt x="2902744" y="211931"/>
                  </a:cubicBezTo>
                  <a:cubicBezTo>
                    <a:pt x="2901791" y="206216"/>
                    <a:pt x="2900839" y="201454"/>
                    <a:pt x="2900839" y="195739"/>
                  </a:cubicBezTo>
                  <a:cubicBezTo>
                    <a:pt x="2899886" y="188119"/>
                    <a:pt x="2898934" y="180499"/>
                    <a:pt x="2897981" y="173831"/>
                  </a:cubicBezTo>
                  <a:cubicBezTo>
                    <a:pt x="2897029" y="167164"/>
                    <a:pt x="2897029" y="160496"/>
                    <a:pt x="2896076" y="153829"/>
                  </a:cubicBezTo>
                  <a:cubicBezTo>
                    <a:pt x="2895124" y="141446"/>
                    <a:pt x="2894171" y="130969"/>
                    <a:pt x="2893219" y="121444"/>
                  </a:cubicBezTo>
                  <a:cubicBezTo>
                    <a:pt x="2891314" y="103346"/>
                    <a:pt x="2890361" y="93821"/>
                    <a:pt x="2890361" y="93821"/>
                  </a:cubicBezTo>
                  <a:cubicBezTo>
                    <a:pt x="2890361" y="93821"/>
                    <a:pt x="2890361" y="104299"/>
                    <a:pt x="2889409" y="121444"/>
                  </a:cubicBezTo>
                  <a:cubicBezTo>
                    <a:pt x="2889409" y="130016"/>
                    <a:pt x="2889409" y="141446"/>
                    <a:pt x="2889409" y="153829"/>
                  </a:cubicBezTo>
                  <a:cubicBezTo>
                    <a:pt x="2889409" y="160496"/>
                    <a:pt x="2889409" y="166211"/>
                    <a:pt x="2889409" y="173831"/>
                  </a:cubicBezTo>
                  <a:cubicBezTo>
                    <a:pt x="2889409" y="180499"/>
                    <a:pt x="2890361" y="188119"/>
                    <a:pt x="2890361" y="195739"/>
                  </a:cubicBezTo>
                  <a:cubicBezTo>
                    <a:pt x="2890361" y="200501"/>
                    <a:pt x="2891314" y="206216"/>
                    <a:pt x="2891314" y="211931"/>
                  </a:cubicBezTo>
                  <a:cubicBezTo>
                    <a:pt x="2890361" y="213836"/>
                    <a:pt x="2889409" y="215741"/>
                    <a:pt x="2887504" y="217646"/>
                  </a:cubicBezTo>
                  <a:cubicBezTo>
                    <a:pt x="2886551" y="218599"/>
                    <a:pt x="2885599" y="220504"/>
                    <a:pt x="2885599" y="221456"/>
                  </a:cubicBezTo>
                  <a:cubicBezTo>
                    <a:pt x="2883694" y="212884"/>
                    <a:pt x="2882741" y="204311"/>
                    <a:pt x="2880836" y="195739"/>
                  </a:cubicBezTo>
                  <a:cubicBezTo>
                    <a:pt x="2878931" y="185261"/>
                    <a:pt x="2877026" y="174784"/>
                    <a:pt x="2874169" y="166211"/>
                  </a:cubicBezTo>
                  <a:cubicBezTo>
                    <a:pt x="2872264" y="157639"/>
                    <a:pt x="2870359" y="150019"/>
                    <a:pt x="2867501" y="144304"/>
                  </a:cubicBezTo>
                  <a:cubicBezTo>
                    <a:pt x="2863691" y="131921"/>
                    <a:pt x="2860834" y="125254"/>
                    <a:pt x="2860834" y="125254"/>
                  </a:cubicBezTo>
                  <a:cubicBezTo>
                    <a:pt x="2860834" y="125254"/>
                    <a:pt x="2861786" y="132874"/>
                    <a:pt x="2863691" y="145256"/>
                  </a:cubicBezTo>
                  <a:cubicBezTo>
                    <a:pt x="2864644" y="151924"/>
                    <a:pt x="2865596" y="159544"/>
                    <a:pt x="2866549" y="168116"/>
                  </a:cubicBezTo>
                  <a:cubicBezTo>
                    <a:pt x="2867501" y="176689"/>
                    <a:pt x="2868454" y="187166"/>
                    <a:pt x="2869406" y="197644"/>
                  </a:cubicBezTo>
                  <a:cubicBezTo>
                    <a:pt x="2870359" y="208121"/>
                    <a:pt x="2871311" y="220504"/>
                    <a:pt x="2872264" y="232886"/>
                  </a:cubicBezTo>
                  <a:cubicBezTo>
                    <a:pt x="2872264" y="237649"/>
                    <a:pt x="2873216" y="242411"/>
                    <a:pt x="2873216" y="247174"/>
                  </a:cubicBezTo>
                  <a:cubicBezTo>
                    <a:pt x="2870359" y="253841"/>
                    <a:pt x="2867501" y="262414"/>
                    <a:pt x="2864644" y="270034"/>
                  </a:cubicBezTo>
                  <a:cubicBezTo>
                    <a:pt x="2863691" y="270986"/>
                    <a:pt x="2863691" y="272891"/>
                    <a:pt x="2863691" y="274796"/>
                  </a:cubicBezTo>
                  <a:cubicBezTo>
                    <a:pt x="2860834" y="269081"/>
                    <a:pt x="2857976" y="263366"/>
                    <a:pt x="2855119" y="257651"/>
                  </a:cubicBezTo>
                  <a:cubicBezTo>
                    <a:pt x="2850356" y="248126"/>
                    <a:pt x="2845594" y="239554"/>
                    <a:pt x="2841784" y="230029"/>
                  </a:cubicBezTo>
                  <a:cubicBezTo>
                    <a:pt x="2855119" y="229076"/>
                    <a:pt x="2855119" y="226219"/>
                    <a:pt x="2855119" y="226219"/>
                  </a:cubicBezTo>
                  <a:cubicBezTo>
                    <a:pt x="2855119" y="226219"/>
                    <a:pt x="2854166" y="228124"/>
                    <a:pt x="2853214" y="231934"/>
                  </a:cubicBezTo>
                  <a:cubicBezTo>
                    <a:pt x="2849404" y="224314"/>
                    <a:pt x="2844641" y="215741"/>
                    <a:pt x="2840831" y="209074"/>
                  </a:cubicBezTo>
                  <a:cubicBezTo>
                    <a:pt x="2857024" y="174784"/>
                    <a:pt x="2866549" y="150971"/>
                    <a:pt x="2866549" y="150971"/>
                  </a:cubicBezTo>
                  <a:cubicBezTo>
                    <a:pt x="2866549" y="150971"/>
                    <a:pt x="2853214" y="169069"/>
                    <a:pt x="2835116" y="198596"/>
                  </a:cubicBezTo>
                  <a:cubicBezTo>
                    <a:pt x="2833211" y="194786"/>
                    <a:pt x="2831306" y="191929"/>
                    <a:pt x="2829401" y="188119"/>
                  </a:cubicBezTo>
                  <a:cubicBezTo>
                    <a:pt x="2826544" y="170021"/>
                    <a:pt x="2823686" y="151924"/>
                    <a:pt x="2820829" y="132874"/>
                  </a:cubicBezTo>
                  <a:cubicBezTo>
                    <a:pt x="2820829" y="146209"/>
                    <a:pt x="2820829" y="160496"/>
                    <a:pt x="2821781" y="173831"/>
                  </a:cubicBezTo>
                  <a:cubicBezTo>
                    <a:pt x="2817019" y="166211"/>
                    <a:pt x="2812256" y="158591"/>
                    <a:pt x="2807494" y="151924"/>
                  </a:cubicBezTo>
                  <a:cubicBezTo>
                    <a:pt x="2797969" y="137636"/>
                    <a:pt x="2790349" y="125254"/>
                    <a:pt x="2782729" y="115729"/>
                  </a:cubicBezTo>
                  <a:cubicBezTo>
                    <a:pt x="2768441" y="95726"/>
                    <a:pt x="2759869" y="85249"/>
                    <a:pt x="2759869" y="85249"/>
                  </a:cubicBezTo>
                  <a:cubicBezTo>
                    <a:pt x="2759869" y="85249"/>
                    <a:pt x="2766536" y="97631"/>
                    <a:pt x="2778919" y="118586"/>
                  </a:cubicBezTo>
                  <a:cubicBezTo>
                    <a:pt x="2785586" y="129064"/>
                    <a:pt x="2792254" y="142399"/>
                    <a:pt x="2799874" y="156686"/>
                  </a:cubicBezTo>
                  <a:cubicBezTo>
                    <a:pt x="2803684" y="164306"/>
                    <a:pt x="2808446" y="171926"/>
                    <a:pt x="2812256" y="180499"/>
                  </a:cubicBezTo>
                  <a:cubicBezTo>
                    <a:pt x="2815114" y="186214"/>
                    <a:pt x="2817971" y="191929"/>
                    <a:pt x="2820829" y="197644"/>
                  </a:cubicBezTo>
                  <a:cubicBezTo>
                    <a:pt x="2820829" y="199549"/>
                    <a:pt x="2820829" y="202406"/>
                    <a:pt x="2820829" y="204311"/>
                  </a:cubicBezTo>
                  <a:cubicBezTo>
                    <a:pt x="2820829" y="209074"/>
                    <a:pt x="2821781" y="213836"/>
                    <a:pt x="2821781" y="218599"/>
                  </a:cubicBezTo>
                  <a:cubicBezTo>
                    <a:pt x="2819876" y="221456"/>
                    <a:pt x="2818924" y="224314"/>
                    <a:pt x="2817019" y="227171"/>
                  </a:cubicBezTo>
                  <a:cubicBezTo>
                    <a:pt x="2813209" y="222409"/>
                    <a:pt x="2810351" y="216694"/>
                    <a:pt x="2806541" y="211931"/>
                  </a:cubicBezTo>
                  <a:cubicBezTo>
                    <a:pt x="2806541" y="210979"/>
                    <a:pt x="2805589" y="210979"/>
                    <a:pt x="2805589" y="210026"/>
                  </a:cubicBezTo>
                  <a:cubicBezTo>
                    <a:pt x="2806541" y="209074"/>
                    <a:pt x="2806541" y="208121"/>
                    <a:pt x="2806541" y="208121"/>
                  </a:cubicBezTo>
                  <a:cubicBezTo>
                    <a:pt x="2806541" y="208121"/>
                    <a:pt x="2806541" y="208121"/>
                    <a:pt x="2805589" y="209074"/>
                  </a:cubicBezTo>
                  <a:cubicBezTo>
                    <a:pt x="2800826" y="202406"/>
                    <a:pt x="2796064" y="196691"/>
                    <a:pt x="2792254" y="191929"/>
                  </a:cubicBezTo>
                  <a:cubicBezTo>
                    <a:pt x="2782729" y="179546"/>
                    <a:pt x="2775109" y="169069"/>
                    <a:pt x="2767489" y="161449"/>
                  </a:cubicBezTo>
                  <a:cubicBezTo>
                    <a:pt x="2766536" y="160496"/>
                    <a:pt x="2766536" y="159544"/>
                    <a:pt x="2765584" y="158591"/>
                  </a:cubicBezTo>
                  <a:cubicBezTo>
                    <a:pt x="2765584" y="157639"/>
                    <a:pt x="2765584" y="156686"/>
                    <a:pt x="2765584" y="155734"/>
                  </a:cubicBezTo>
                  <a:cubicBezTo>
                    <a:pt x="2764631" y="145256"/>
                    <a:pt x="2762726" y="135731"/>
                    <a:pt x="2762726" y="128111"/>
                  </a:cubicBezTo>
                  <a:cubicBezTo>
                    <a:pt x="2760821" y="112871"/>
                    <a:pt x="2759869" y="103346"/>
                    <a:pt x="2759869" y="103346"/>
                  </a:cubicBezTo>
                  <a:cubicBezTo>
                    <a:pt x="2759869" y="103346"/>
                    <a:pt x="2759869" y="111919"/>
                    <a:pt x="2758916" y="128111"/>
                  </a:cubicBezTo>
                  <a:cubicBezTo>
                    <a:pt x="2758916" y="134779"/>
                    <a:pt x="2758916" y="141446"/>
                    <a:pt x="2758916" y="150019"/>
                  </a:cubicBezTo>
                  <a:cubicBezTo>
                    <a:pt x="2750344" y="140494"/>
                    <a:pt x="2745581" y="135731"/>
                    <a:pt x="2745581" y="135731"/>
                  </a:cubicBezTo>
                  <a:cubicBezTo>
                    <a:pt x="2745581" y="135731"/>
                    <a:pt x="2750344" y="142399"/>
                    <a:pt x="2758916" y="153829"/>
                  </a:cubicBezTo>
                  <a:cubicBezTo>
                    <a:pt x="2758916" y="154781"/>
                    <a:pt x="2758916" y="155734"/>
                    <a:pt x="2758916" y="155734"/>
                  </a:cubicBezTo>
                  <a:cubicBezTo>
                    <a:pt x="2758916" y="161449"/>
                    <a:pt x="2758916" y="167164"/>
                    <a:pt x="2758916" y="172879"/>
                  </a:cubicBezTo>
                  <a:cubicBezTo>
                    <a:pt x="2758916" y="178594"/>
                    <a:pt x="2759869" y="185261"/>
                    <a:pt x="2759869" y="191929"/>
                  </a:cubicBezTo>
                  <a:cubicBezTo>
                    <a:pt x="2759869" y="200501"/>
                    <a:pt x="2760821" y="210026"/>
                    <a:pt x="2761774" y="219551"/>
                  </a:cubicBezTo>
                  <a:cubicBezTo>
                    <a:pt x="2761774" y="218599"/>
                    <a:pt x="2760821" y="217646"/>
                    <a:pt x="2760821" y="217646"/>
                  </a:cubicBezTo>
                  <a:cubicBezTo>
                    <a:pt x="2760821" y="216694"/>
                    <a:pt x="2760821" y="216694"/>
                    <a:pt x="2760821" y="216694"/>
                  </a:cubicBezTo>
                  <a:cubicBezTo>
                    <a:pt x="2760821" y="216694"/>
                    <a:pt x="2760821" y="216694"/>
                    <a:pt x="2760821" y="217646"/>
                  </a:cubicBezTo>
                  <a:cubicBezTo>
                    <a:pt x="2749391" y="189071"/>
                    <a:pt x="2741771" y="172879"/>
                    <a:pt x="2741771" y="172879"/>
                  </a:cubicBezTo>
                  <a:cubicBezTo>
                    <a:pt x="2741771" y="172879"/>
                    <a:pt x="2747486" y="193834"/>
                    <a:pt x="2757011" y="228124"/>
                  </a:cubicBezTo>
                  <a:cubicBezTo>
                    <a:pt x="2754154" y="236696"/>
                    <a:pt x="2749391" y="250984"/>
                    <a:pt x="2743676" y="268129"/>
                  </a:cubicBezTo>
                  <a:cubicBezTo>
                    <a:pt x="2740819" y="262414"/>
                    <a:pt x="2737961" y="258604"/>
                    <a:pt x="2736056" y="254794"/>
                  </a:cubicBezTo>
                  <a:cubicBezTo>
                    <a:pt x="2737009" y="241459"/>
                    <a:pt x="2737009" y="232886"/>
                    <a:pt x="2737009" y="232886"/>
                  </a:cubicBezTo>
                  <a:cubicBezTo>
                    <a:pt x="2737009" y="232886"/>
                    <a:pt x="2735104" y="238601"/>
                    <a:pt x="2732246" y="249079"/>
                  </a:cubicBezTo>
                  <a:cubicBezTo>
                    <a:pt x="2731294" y="247174"/>
                    <a:pt x="2730341" y="246221"/>
                    <a:pt x="2730341" y="246221"/>
                  </a:cubicBezTo>
                  <a:cubicBezTo>
                    <a:pt x="2730341" y="246221"/>
                    <a:pt x="2730341" y="247174"/>
                    <a:pt x="2731294" y="250031"/>
                  </a:cubicBezTo>
                  <a:cubicBezTo>
                    <a:pt x="2730341" y="252889"/>
                    <a:pt x="2730341" y="254794"/>
                    <a:pt x="2729389" y="258604"/>
                  </a:cubicBezTo>
                  <a:lnTo>
                    <a:pt x="2729389" y="247174"/>
                  </a:lnTo>
                  <a:lnTo>
                    <a:pt x="2731294" y="218599"/>
                  </a:lnTo>
                  <a:cubicBezTo>
                    <a:pt x="2732246" y="218599"/>
                    <a:pt x="2732246" y="218599"/>
                    <a:pt x="2733199" y="219551"/>
                  </a:cubicBezTo>
                  <a:cubicBezTo>
                    <a:pt x="2734151" y="220504"/>
                    <a:pt x="2735104" y="221456"/>
                    <a:pt x="2736056" y="222409"/>
                  </a:cubicBezTo>
                  <a:cubicBezTo>
                    <a:pt x="2737961" y="224314"/>
                    <a:pt x="2737961" y="228124"/>
                    <a:pt x="2738914" y="230981"/>
                  </a:cubicBezTo>
                  <a:cubicBezTo>
                    <a:pt x="2738914" y="228124"/>
                    <a:pt x="2738914" y="225266"/>
                    <a:pt x="2737961" y="222409"/>
                  </a:cubicBezTo>
                  <a:cubicBezTo>
                    <a:pt x="2737009" y="220504"/>
                    <a:pt x="2736056" y="219551"/>
                    <a:pt x="2735104" y="218599"/>
                  </a:cubicBezTo>
                  <a:cubicBezTo>
                    <a:pt x="2734151" y="217646"/>
                    <a:pt x="2732246" y="216694"/>
                    <a:pt x="2730341" y="216694"/>
                  </a:cubicBezTo>
                  <a:lnTo>
                    <a:pt x="2728436" y="216694"/>
                  </a:lnTo>
                  <a:lnTo>
                    <a:pt x="2728436" y="218599"/>
                  </a:lnTo>
                  <a:cubicBezTo>
                    <a:pt x="2726531" y="228124"/>
                    <a:pt x="2723674" y="238601"/>
                    <a:pt x="2721769" y="248126"/>
                  </a:cubicBezTo>
                  <a:cubicBezTo>
                    <a:pt x="2720816" y="251936"/>
                    <a:pt x="2720816" y="256699"/>
                    <a:pt x="2719864" y="260509"/>
                  </a:cubicBezTo>
                  <a:cubicBezTo>
                    <a:pt x="2718911" y="258604"/>
                    <a:pt x="2717959" y="256699"/>
                    <a:pt x="2717006" y="254794"/>
                  </a:cubicBezTo>
                  <a:cubicBezTo>
                    <a:pt x="2717006" y="254794"/>
                    <a:pt x="2717006" y="253841"/>
                    <a:pt x="2717006" y="253841"/>
                  </a:cubicBezTo>
                  <a:cubicBezTo>
                    <a:pt x="2717959" y="244316"/>
                    <a:pt x="2718911" y="238601"/>
                    <a:pt x="2718911" y="238601"/>
                  </a:cubicBezTo>
                  <a:cubicBezTo>
                    <a:pt x="2718911" y="238601"/>
                    <a:pt x="2717959" y="241459"/>
                    <a:pt x="2716054" y="247174"/>
                  </a:cubicBezTo>
                  <a:cubicBezTo>
                    <a:pt x="2717006" y="204311"/>
                    <a:pt x="2716054" y="176689"/>
                    <a:pt x="2716054" y="176689"/>
                  </a:cubicBezTo>
                  <a:cubicBezTo>
                    <a:pt x="2716054" y="176689"/>
                    <a:pt x="2715101" y="185261"/>
                    <a:pt x="2713196" y="198596"/>
                  </a:cubicBezTo>
                  <a:cubicBezTo>
                    <a:pt x="2712244" y="207169"/>
                    <a:pt x="2710339" y="217646"/>
                    <a:pt x="2709386" y="230029"/>
                  </a:cubicBezTo>
                  <a:cubicBezTo>
                    <a:pt x="2707481" y="226219"/>
                    <a:pt x="2706529" y="221456"/>
                    <a:pt x="2704624" y="218599"/>
                  </a:cubicBezTo>
                  <a:lnTo>
                    <a:pt x="2703671" y="199549"/>
                  </a:lnTo>
                  <a:lnTo>
                    <a:pt x="2703671" y="163354"/>
                  </a:lnTo>
                  <a:cubicBezTo>
                    <a:pt x="2704624" y="163354"/>
                    <a:pt x="2705576" y="163354"/>
                    <a:pt x="2706529" y="164306"/>
                  </a:cubicBezTo>
                  <a:cubicBezTo>
                    <a:pt x="2708434" y="165259"/>
                    <a:pt x="2709386" y="166211"/>
                    <a:pt x="2710339" y="167164"/>
                  </a:cubicBezTo>
                  <a:cubicBezTo>
                    <a:pt x="2712244" y="170021"/>
                    <a:pt x="2713196" y="173831"/>
                    <a:pt x="2714149" y="176689"/>
                  </a:cubicBezTo>
                  <a:cubicBezTo>
                    <a:pt x="2714149" y="172879"/>
                    <a:pt x="2713196" y="169069"/>
                    <a:pt x="2712244" y="166211"/>
                  </a:cubicBezTo>
                  <a:cubicBezTo>
                    <a:pt x="2711291" y="164306"/>
                    <a:pt x="2710339" y="163354"/>
                    <a:pt x="2708434" y="161449"/>
                  </a:cubicBezTo>
                  <a:cubicBezTo>
                    <a:pt x="2706529" y="160496"/>
                    <a:pt x="2704624" y="159544"/>
                    <a:pt x="2702719" y="159544"/>
                  </a:cubicBezTo>
                  <a:lnTo>
                    <a:pt x="2700814" y="159544"/>
                  </a:lnTo>
                  <a:lnTo>
                    <a:pt x="2700814" y="161449"/>
                  </a:lnTo>
                  <a:lnTo>
                    <a:pt x="2697004" y="193834"/>
                  </a:lnTo>
                  <a:cubicBezTo>
                    <a:pt x="2694146" y="186214"/>
                    <a:pt x="2693194" y="181451"/>
                    <a:pt x="2693194" y="181451"/>
                  </a:cubicBezTo>
                  <a:cubicBezTo>
                    <a:pt x="2693194" y="181451"/>
                    <a:pt x="2694146" y="187166"/>
                    <a:pt x="2697004" y="198596"/>
                  </a:cubicBezTo>
                  <a:lnTo>
                    <a:pt x="2697004" y="198596"/>
                  </a:lnTo>
                  <a:cubicBezTo>
                    <a:pt x="2696051" y="210979"/>
                    <a:pt x="2696051" y="224314"/>
                    <a:pt x="2696051" y="236696"/>
                  </a:cubicBezTo>
                  <a:cubicBezTo>
                    <a:pt x="2696051" y="245269"/>
                    <a:pt x="2696051" y="253841"/>
                    <a:pt x="2697004" y="262414"/>
                  </a:cubicBezTo>
                  <a:cubicBezTo>
                    <a:pt x="2697004" y="262414"/>
                    <a:pt x="2697004" y="263366"/>
                    <a:pt x="2697004" y="263366"/>
                  </a:cubicBezTo>
                  <a:cubicBezTo>
                    <a:pt x="2697004" y="264319"/>
                    <a:pt x="2696051" y="265271"/>
                    <a:pt x="2696051" y="265271"/>
                  </a:cubicBezTo>
                  <a:cubicBezTo>
                    <a:pt x="2695099" y="264319"/>
                    <a:pt x="2694146" y="262414"/>
                    <a:pt x="2694146" y="261461"/>
                  </a:cubicBezTo>
                  <a:cubicBezTo>
                    <a:pt x="2691289" y="255746"/>
                    <a:pt x="2688431" y="250984"/>
                    <a:pt x="2685574" y="246221"/>
                  </a:cubicBezTo>
                  <a:cubicBezTo>
                    <a:pt x="2682716" y="233839"/>
                    <a:pt x="2680811" y="221456"/>
                    <a:pt x="2677954" y="210979"/>
                  </a:cubicBezTo>
                  <a:cubicBezTo>
                    <a:pt x="2677001" y="207169"/>
                    <a:pt x="2677001" y="204311"/>
                    <a:pt x="2676049" y="200501"/>
                  </a:cubicBezTo>
                  <a:cubicBezTo>
                    <a:pt x="2677954" y="190976"/>
                    <a:pt x="2679859" y="182404"/>
                    <a:pt x="2681764" y="173831"/>
                  </a:cubicBezTo>
                  <a:cubicBezTo>
                    <a:pt x="2683669" y="162401"/>
                    <a:pt x="2685574" y="152876"/>
                    <a:pt x="2687479" y="144304"/>
                  </a:cubicBezTo>
                  <a:cubicBezTo>
                    <a:pt x="2690336" y="128111"/>
                    <a:pt x="2691289" y="118586"/>
                    <a:pt x="2691289" y="118586"/>
                  </a:cubicBezTo>
                  <a:cubicBezTo>
                    <a:pt x="2691289" y="118586"/>
                    <a:pt x="2688431" y="128111"/>
                    <a:pt x="2683669" y="143351"/>
                  </a:cubicBezTo>
                  <a:cubicBezTo>
                    <a:pt x="2681764" y="149066"/>
                    <a:pt x="2679859" y="155734"/>
                    <a:pt x="2677954" y="162401"/>
                  </a:cubicBezTo>
                  <a:cubicBezTo>
                    <a:pt x="2677001" y="166211"/>
                    <a:pt x="2675096" y="170974"/>
                    <a:pt x="2673191" y="176689"/>
                  </a:cubicBezTo>
                  <a:cubicBezTo>
                    <a:pt x="2673191" y="176689"/>
                    <a:pt x="2673191" y="177641"/>
                    <a:pt x="2673191" y="177641"/>
                  </a:cubicBezTo>
                  <a:cubicBezTo>
                    <a:pt x="2673191" y="176689"/>
                    <a:pt x="2672239" y="174784"/>
                    <a:pt x="2672239" y="173831"/>
                  </a:cubicBezTo>
                  <a:cubicBezTo>
                    <a:pt x="2670334" y="163354"/>
                    <a:pt x="2668429" y="153829"/>
                    <a:pt x="2666524" y="146209"/>
                  </a:cubicBezTo>
                  <a:cubicBezTo>
                    <a:pt x="2663666" y="130969"/>
                    <a:pt x="2661761" y="121444"/>
                    <a:pt x="2661761" y="121444"/>
                  </a:cubicBezTo>
                  <a:cubicBezTo>
                    <a:pt x="2661761" y="121444"/>
                    <a:pt x="2661761" y="130016"/>
                    <a:pt x="2662714" y="146209"/>
                  </a:cubicBezTo>
                  <a:cubicBezTo>
                    <a:pt x="2663666" y="158591"/>
                    <a:pt x="2664619" y="176689"/>
                    <a:pt x="2666524" y="196691"/>
                  </a:cubicBezTo>
                  <a:cubicBezTo>
                    <a:pt x="2666524" y="197644"/>
                    <a:pt x="2665571" y="199549"/>
                    <a:pt x="2665571" y="200501"/>
                  </a:cubicBezTo>
                  <a:cubicBezTo>
                    <a:pt x="2665571" y="201454"/>
                    <a:pt x="2664619" y="203359"/>
                    <a:pt x="2664619" y="204311"/>
                  </a:cubicBezTo>
                  <a:cubicBezTo>
                    <a:pt x="2658904" y="192881"/>
                    <a:pt x="2653189" y="183356"/>
                    <a:pt x="2649379" y="174784"/>
                  </a:cubicBezTo>
                  <a:cubicBezTo>
                    <a:pt x="2639854" y="152876"/>
                    <a:pt x="2634139" y="141446"/>
                    <a:pt x="2634139" y="141446"/>
                  </a:cubicBezTo>
                  <a:cubicBezTo>
                    <a:pt x="2634139" y="141446"/>
                    <a:pt x="2637949" y="153829"/>
                    <a:pt x="2646521" y="176689"/>
                  </a:cubicBezTo>
                  <a:cubicBezTo>
                    <a:pt x="2650331" y="187166"/>
                    <a:pt x="2656046" y="199549"/>
                    <a:pt x="2661761" y="214789"/>
                  </a:cubicBezTo>
                  <a:cubicBezTo>
                    <a:pt x="2661761" y="215741"/>
                    <a:pt x="2661761" y="215741"/>
                    <a:pt x="2660809" y="216694"/>
                  </a:cubicBezTo>
                  <a:cubicBezTo>
                    <a:pt x="2656999" y="210026"/>
                    <a:pt x="2655094" y="204311"/>
                    <a:pt x="2652236" y="201454"/>
                  </a:cubicBezTo>
                  <a:cubicBezTo>
                    <a:pt x="2649379" y="197644"/>
                    <a:pt x="2648426" y="196691"/>
                    <a:pt x="2648426" y="196691"/>
                  </a:cubicBezTo>
                  <a:cubicBezTo>
                    <a:pt x="2648426" y="196691"/>
                    <a:pt x="2649379" y="198596"/>
                    <a:pt x="2651284" y="202406"/>
                  </a:cubicBezTo>
                  <a:cubicBezTo>
                    <a:pt x="2654141" y="206216"/>
                    <a:pt x="2655094" y="211931"/>
                    <a:pt x="2657951" y="218599"/>
                  </a:cubicBezTo>
                  <a:cubicBezTo>
                    <a:pt x="2657951" y="220504"/>
                    <a:pt x="2658904" y="222409"/>
                    <a:pt x="2658904" y="223361"/>
                  </a:cubicBezTo>
                  <a:cubicBezTo>
                    <a:pt x="2658904" y="224314"/>
                    <a:pt x="2657951" y="225266"/>
                    <a:pt x="2657951" y="226219"/>
                  </a:cubicBezTo>
                  <a:cubicBezTo>
                    <a:pt x="2654141" y="214789"/>
                    <a:pt x="2650331" y="203359"/>
                    <a:pt x="2647474" y="193834"/>
                  </a:cubicBezTo>
                  <a:cubicBezTo>
                    <a:pt x="2644616" y="184309"/>
                    <a:pt x="2640806" y="175736"/>
                    <a:pt x="2638901" y="169069"/>
                  </a:cubicBezTo>
                  <a:cubicBezTo>
                    <a:pt x="2634139" y="154781"/>
                    <a:pt x="2631281" y="147161"/>
                    <a:pt x="2631281" y="147161"/>
                  </a:cubicBezTo>
                  <a:cubicBezTo>
                    <a:pt x="2631281" y="147161"/>
                    <a:pt x="2632234" y="155734"/>
                    <a:pt x="2635091" y="170021"/>
                  </a:cubicBezTo>
                  <a:cubicBezTo>
                    <a:pt x="2637949" y="184309"/>
                    <a:pt x="2641759" y="205264"/>
                    <a:pt x="2647474" y="230029"/>
                  </a:cubicBezTo>
                  <a:cubicBezTo>
                    <a:pt x="2648426" y="235744"/>
                    <a:pt x="2650331" y="241459"/>
                    <a:pt x="2651284" y="247174"/>
                  </a:cubicBezTo>
                  <a:cubicBezTo>
                    <a:pt x="2648426" y="255746"/>
                    <a:pt x="2645569" y="264319"/>
                    <a:pt x="2642711" y="273844"/>
                  </a:cubicBezTo>
                  <a:cubicBezTo>
                    <a:pt x="2641759" y="272891"/>
                    <a:pt x="2641759" y="271939"/>
                    <a:pt x="2640806" y="270034"/>
                  </a:cubicBezTo>
                  <a:cubicBezTo>
                    <a:pt x="2640806" y="269081"/>
                    <a:pt x="2639854" y="269081"/>
                    <a:pt x="2639854" y="268129"/>
                  </a:cubicBezTo>
                  <a:cubicBezTo>
                    <a:pt x="2642711" y="238601"/>
                    <a:pt x="2643664" y="220504"/>
                    <a:pt x="2643664" y="220504"/>
                  </a:cubicBezTo>
                  <a:cubicBezTo>
                    <a:pt x="2643664" y="220504"/>
                    <a:pt x="2640806" y="230029"/>
                    <a:pt x="2636996" y="247174"/>
                  </a:cubicBezTo>
                  <a:cubicBezTo>
                    <a:pt x="2636996" y="220504"/>
                    <a:pt x="2636044" y="204311"/>
                    <a:pt x="2636044" y="204311"/>
                  </a:cubicBezTo>
                  <a:cubicBezTo>
                    <a:pt x="2636044" y="204311"/>
                    <a:pt x="2633186" y="217646"/>
                    <a:pt x="2630329" y="240506"/>
                  </a:cubicBezTo>
                  <a:cubicBezTo>
                    <a:pt x="2628424" y="228124"/>
                    <a:pt x="2625566" y="216694"/>
                    <a:pt x="2623661" y="206216"/>
                  </a:cubicBezTo>
                  <a:cubicBezTo>
                    <a:pt x="2618899" y="182404"/>
                    <a:pt x="2614136" y="162401"/>
                    <a:pt x="2610326" y="147161"/>
                  </a:cubicBezTo>
                  <a:cubicBezTo>
                    <a:pt x="2613184" y="141446"/>
                    <a:pt x="2615089" y="137636"/>
                    <a:pt x="2615089" y="137636"/>
                  </a:cubicBezTo>
                  <a:cubicBezTo>
                    <a:pt x="2615089" y="137636"/>
                    <a:pt x="2613184" y="140494"/>
                    <a:pt x="2610326" y="145256"/>
                  </a:cubicBezTo>
                  <a:cubicBezTo>
                    <a:pt x="2610326" y="144304"/>
                    <a:pt x="2610326" y="144304"/>
                    <a:pt x="2609374" y="143351"/>
                  </a:cubicBezTo>
                  <a:cubicBezTo>
                    <a:pt x="2605564" y="128111"/>
                    <a:pt x="2603659" y="119539"/>
                    <a:pt x="2603659" y="119539"/>
                  </a:cubicBezTo>
                  <a:cubicBezTo>
                    <a:pt x="2603659" y="119539"/>
                    <a:pt x="2604611" y="128111"/>
                    <a:pt x="2605564" y="144304"/>
                  </a:cubicBezTo>
                  <a:cubicBezTo>
                    <a:pt x="2605564" y="146209"/>
                    <a:pt x="2605564" y="149066"/>
                    <a:pt x="2606516" y="150971"/>
                  </a:cubicBezTo>
                  <a:cubicBezTo>
                    <a:pt x="2604611" y="153829"/>
                    <a:pt x="2602706" y="155734"/>
                    <a:pt x="2600801" y="158591"/>
                  </a:cubicBezTo>
                  <a:cubicBezTo>
                    <a:pt x="2596991" y="163354"/>
                    <a:pt x="2594134" y="169069"/>
                    <a:pt x="2589371" y="175736"/>
                  </a:cubicBezTo>
                  <a:cubicBezTo>
                    <a:pt x="2589371" y="174784"/>
                    <a:pt x="2589371" y="172879"/>
                    <a:pt x="2588419" y="171926"/>
                  </a:cubicBezTo>
                  <a:cubicBezTo>
                    <a:pt x="2585561" y="155734"/>
                    <a:pt x="2583656" y="147161"/>
                    <a:pt x="2583656" y="147161"/>
                  </a:cubicBezTo>
                  <a:cubicBezTo>
                    <a:pt x="2583656" y="147161"/>
                    <a:pt x="2583656" y="156686"/>
                    <a:pt x="2584609" y="171926"/>
                  </a:cubicBezTo>
                  <a:cubicBezTo>
                    <a:pt x="2584609" y="174784"/>
                    <a:pt x="2584609" y="178594"/>
                    <a:pt x="2585561" y="182404"/>
                  </a:cubicBezTo>
                  <a:cubicBezTo>
                    <a:pt x="2585561" y="182404"/>
                    <a:pt x="2585561" y="182404"/>
                    <a:pt x="2585561" y="182404"/>
                  </a:cubicBezTo>
                  <a:cubicBezTo>
                    <a:pt x="2582704" y="187166"/>
                    <a:pt x="2579846" y="192881"/>
                    <a:pt x="2576036" y="198596"/>
                  </a:cubicBezTo>
                  <a:cubicBezTo>
                    <a:pt x="2575084" y="190976"/>
                    <a:pt x="2575084" y="183356"/>
                    <a:pt x="2574131" y="177641"/>
                  </a:cubicBezTo>
                  <a:cubicBezTo>
                    <a:pt x="2573179" y="165259"/>
                    <a:pt x="2573179" y="157639"/>
                    <a:pt x="2573179" y="157639"/>
                  </a:cubicBezTo>
                  <a:cubicBezTo>
                    <a:pt x="2573179" y="157639"/>
                    <a:pt x="2572226" y="162401"/>
                    <a:pt x="2571274" y="170974"/>
                  </a:cubicBezTo>
                  <a:cubicBezTo>
                    <a:pt x="2571274" y="170974"/>
                    <a:pt x="2571274" y="170021"/>
                    <a:pt x="2571274" y="170021"/>
                  </a:cubicBezTo>
                  <a:cubicBezTo>
                    <a:pt x="2570321" y="162401"/>
                    <a:pt x="2570321" y="155734"/>
                    <a:pt x="2569369" y="149066"/>
                  </a:cubicBezTo>
                  <a:cubicBezTo>
                    <a:pt x="2569369" y="142399"/>
                    <a:pt x="2568416" y="135731"/>
                    <a:pt x="2568416" y="130016"/>
                  </a:cubicBezTo>
                  <a:cubicBezTo>
                    <a:pt x="2567464" y="118586"/>
                    <a:pt x="2566511" y="108109"/>
                    <a:pt x="2567464" y="99536"/>
                  </a:cubicBezTo>
                  <a:cubicBezTo>
                    <a:pt x="2567464" y="82391"/>
                    <a:pt x="2566511" y="72866"/>
                    <a:pt x="2566511" y="72866"/>
                  </a:cubicBezTo>
                  <a:cubicBezTo>
                    <a:pt x="2566511" y="72866"/>
                    <a:pt x="2565559" y="82391"/>
                    <a:pt x="2562701" y="99536"/>
                  </a:cubicBezTo>
                  <a:cubicBezTo>
                    <a:pt x="2561749" y="108109"/>
                    <a:pt x="2560796" y="118586"/>
                    <a:pt x="2560796" y="130016"/>
                  </a:cubicBezTo>
                  <a:cubicBezTo>
                    <a:pt x="2560796" y="135731"/>
                    <a:pt x="2559844" y="142399"/>
                    <a:pt x="2559844" y="149066"/>
                  </a:cubicBezTo>
                  <a:cubicBezTo>
                    <a:pt x="2559844" y="155734"/>
                    <a:pt x="2559844" y="162401"/>
                    <a:pt x="2559844" y="170021"/>
                  </a:cubicBezTo>
                  <a:cubicBezTo>
                    <a:pt x="2559844" y="178594"/>
                    <a:pt x="2559844" y="187166"/>
                    <a:pt x="2560796" y="195739"/>
                  </a:cubicBezTo>
                  <a:cubicBezTo>
                    <a:pt x="2559844" y="192881"/>
                    <a:pt x="2558891" y="191929"/>
                    <a:pt x="2558891" y="191929"/>
                  </a:cubicBezTo>
                  <a:cubicBezTo>
                    <a:pt x="2558891" y="191929"/>
                    <a:pt x="2559844" y="194786"/>
                    <a:pt x="2561749" y="200501"/>
                  </a:cubicBezTo>
                  <a:cubicBezTo>
                    <a:pt x="2561749" y="206216"/>
                    <a:pt x="2562701" y="211931"/>
                    <a:pt x="2562701" y="217646"/>
                  </a:cubicBezTo>
                  <a:cubicBezTo>
                    <a:pt x="2562701" y="219551"/>
                    <a:pt x="2562701" y="221456"/>
                    <a:pt x="2562701" y="223361"/>
                  </a:cubicBezTo>
                  <a:cubicBezTo>
                    <a:pt x="2558891" y="230981"/>
                    <a:pt x="2555081" y="238601"/>
                    <a:pt x="2551271" y="247174"/>
                  </a:cubicBezTo>
                  <a:cubicBezTo>
                    <a:pt x="2550319" y="239554"/>
                    <a:pt x="2550319" y="233839"/>
                    <a:pt x="2549366" y="230029"/>
                  </a:cubicBezTo>
                  <a:cubicBezTo>
                    <a:pt x="2553176" y="219551"/>
                    <a:pt x="2555081" y="212884"/>
                    <a:pt x="2555081" y="212884"/>
                  </a:cubicBezTo>
                  <a:cubicBezTo>
                    <a:pt x="2555081" y="212884"/>
                    <a:pt x="2552224" y="218599"/>
                    <a:pt x="2546509" y="228124"/>
                  </a:cubicBezTo>
                  <a:cubicBezTo>
                    <a:pt x="2546509" y="226219"/>
                    <a:pt x="2547461" y="224314"/>
                    <a:pt x="2547461" y="222409"/>
                  </a:cubicBezTo>
                  <a:cubicBezTo>
                    <a:pt x="2551271" y="206216"/>
                    <a:pt x="2553176" y="196691"/>
                    <a:pt x="2553176" y="196691"/>
                  </a:cubicBezTo>
                  <a:cubicBezTo>
                    <a:pt x="2553176" y="196691"/>
                    <a:pt x="2549366" y="205264"/>
                    <a:pt x="2543651" y="221456"/>
                  </a:cubicBezTo>
                  <a:cubicBezTo>
                    <a:pt x="2541746" y="228124"/>
                    <a:pt x="2538889" y="236696"/>
                    <a:pt x="2536984" y="246221"/>
                  </a:cubicBezTo>
                  <a:cubicBezTo>
                    <a:pt x="2536984" y="245269"/>
                    <a:pt x="2536984" y="245269"/>
                    <a:pt x="2536984" y="244316"/>
                  </a:cubicBezTo>
                  <a:cubicBezTo>
                    <a:pt x="2535079" y="230029"/>
                    <a:pt x="2534126" y="221456"/>
                    <a:pt x="2534126" y="221456"/>
                  </a:cubicBezTo>
                  <a:cubicBezTo>
                    <a:pt x="2534126" y="221456"/>
                    <a:pt x="2534126" y="230029"/>
                    <a:pt x="2533174" y="244316"/>
                  </a:cubicBezTo>
                  <a:cubicBezTo>
                    <a:pt x="2533174" y="246221"/>
                    <a:pt x="2533174" y="249079"/>
                    <a:pt x="2533174" y="250984"/>
                  </a:cubicBezTo>
                  <a:cubicBezTo>
                    <a:pt x="2533174" y="249079"/>
                    <a:pt x="2532221" y="247174"/>
                    <a:pt x="2532221" y="245269"/>
                  </a:cubicBezTo>
                  <a:cubicBezTo>
                    <a:pt x="2529364" y="233839"/>
                    <a:pt x="2527459" y="223361"/>
                    <a:pt x="2524601" y="213836"/>
                  </a:cubicBezTo>
                  <a:cubicBezTo>
                    <a:pt x="2521744" y="204311"/>
                    <a:pt x="2519839" y="196691"/>
                    <a:pt x="2517934" y="190024"/>
                  </a:cubicBezTo>
                  <a:cubicBezTo>
                    <a:pt x="2513171" y="176689"/>
                    <a:pt x="2511266" y="169069"/>
                    <a:pt x="2511266" y="169069"/>
                  </a:cubicBezTo>
                  <a:cubicBezTo>
                    <a:pt x="2511266" y="169069"/>
                    <a:pt x="2512219" y="176689"/>
                    <a:pt x="2514124" y="190976"/>
                  </a:cubicBezTo>
                  <a:cubicBezTo>
                    <a:pt x="2515076" y="197644"/>
                    <a:pt x="2516029" y="206216"/>
                    <a:pt x="2516981" y="215741"/>
                  </a:cubicBezTo>
                  <a:cubicBezTo>
                    <a:pt x="2517934" y="225266"/>
                    <a:pt x="2518886" y="235744"/>
                    <a:pt x="2520791" y="248126"/>
                  </a:cubicBezTo>
                  <a:cubicBezTo>
                    <a:pt x="2521744" y="257651"/>
                    <a:pt x="2522696" y="267176"/>
                    <a:pt x="2523649" y="277654"/>
                  </a:cubicBezTo>
                  <a:cubicBezTo>
                    <a:pt x="2522696" y="279559"/>
                    <a:pt x="2521744" y="281464"/>
                    <a:pt x="2521744" y="282416"/>
                  </a:cubicBezTo>
                  <a:cubicBezTo>
                    <a:pt x="2519839" y="274796"/>
                    <a:pt x="2517934" y="269081"/>
                    <a:pt x="2516981" y="263366"/>
                  </a:cubicBezTo>
                  <a:cubicBezTo>
                    <a:pt x="2513171" y="250031"/>
                    <a:pt x="2511266" y="243364"/>
                    <a:pt x="2511266" y="243364"/>
                  </a:cubicBezTo>
                  <a:cubicBezTo>
                    <a:pt x="2511266" y="243364"/>
                    <a:pt x="2512219" y="250984"/>
                    <a:pt x="2513171" y="264319"/>
                  </a:cubicBezTo>
                  <a:cubicBezTo>
                    <a:pt x="2513171" y="268129"/>
                    <a:pt x="2514124" y="272891"/>
                    <a:pt x="2514124" y="277654"/>
                  </a:cubicBezTo>
                  <a:cubicBezTo>
                    <a:pt x="2510314" y="269081"/>
                    <a:pt x="2507456" y="262414"/>
                    <a:pt x="2504599" y="256699"/>
                  </a:cubicBezTo>
                  <a:cubicBezTo>
                    <a:pt x="2504599" y="254794"/>
                    <a:pt x="2504599" y="253841"/>
                    <a:pt x="2504599" y="253841"/>
                  </a:cubicBezTo>
                  <a:cubicBezTo>
                    <a:pt x="2504599" y="253841"/>
                    <a:pt x="2504599" y="254794"/>
                    <a:pt x="2503646" y="255746"/>
                  </a:cubicBezTo>
                  <a:cubicBezTo>
                    <a:pt x="2499836" y="248126"/>
                    <a:pt x="2497931" y="243364"/>
                    <a:pt x="2497931" y="243364"/>
                  </a:cubicBezTo>
                  <a:cubicBezTo>
                    <a:pt x="2497931" y="243364"/>
                    <a:pt x="2499836" y="249079"/>
                    <a:pt x="2502694" y="259556"/>
                  </a:cubicBezTo>
                  <a:cubicBezTo>
                    <a:pt x="2501741" y="261461"/>
                    <a:pt x="2500789" y="264319"/>
                    <a:pt x="2499836" y="267176"/>
                  </a:cubicBezTo>
                  <a:cubicBezTo>
                    <a:pt x="2499836" y="268129"/>
                    <a:pt x="2498884" y="269081"/>
                    <a:pt x="2498884" y="270034"/>
                  </a:cubicBezTo>
                  <a:cubicBezTo>
                    <a:pt x="2496979" y="253841"/>
                    <a:pt x="2496026" y="237649"/>
                    <a:pt x="2494121" y="223361"/>
                  </a:cubicBezTo>
                  <a:cubicBezTo>
                    <a:pt x="2495074" y="222409"/>
                    <a:pt x="2495074" y="221456"/>
                    <a:pt x="2496026" y="220504"/>
                  </a:cubicBezTo>
                  <a:cubicBezTo>
                    <a:pt x="2500789" y="212884"/>
                    <a:pt x="2504599" y="207169"/>
                    <a:pt x="2506504" y="203359"/>
                  </a:cubicBezTo>
                  <a:cubicBezTo>
                    <a:pt x="2509361" y="199549"/>
                    <a:pt x="2510314" y="197644"/>
                    <a:pt x="2510314" y="197644"/>
                  </a:cubicBezTo>
                  <a:cubicBezTo>
                    <a:pt x="2510314" y="197644"/>
                    <a:pt x="2508409" y="199549"/>
                    <a:pt x="2505551" y="203359"/>
                  </a:cubicBezTo>
                  <a:cubicBezTo>
                    <a:pt x="2502694" y="206216"/>
                    <a:pt x="2497931" y="210979"/>
                    <a:pt x="2493169" y="217646"/>
                  </a:cubicBezTo>
                  <a:cubicBezTo>
                    <a:pt x="2493169" y="217646"/>
                    <a:pt x="2493169" y="216694"/>
                    <a:pt x="2493169" y="216694"/>
                  </a:cubicBezTo>
                  <a:cubicBezTo>
                    <a:pt x="2492216" y="210026"/>
                    <a:pt x="2492216" y="203359"/>
                    <a:pt x="2491264" y="196691"/>
                  </a:cubicBezTo>
                  <a:cubicBezTo>
                    <a:pt x="2497931" y="188119"/>
                    <a:pt x="2501741" y="183356"/>
                    <a:pt x="2501741" y="183356"/>
                  </a:cubicBezTo>
                  <a:cubicBezTo>
                    <a:pt x="2501741" y="183356"/>
                    <a:pt x="2497931" y="187166"/>
                    <a:pt x="2490311" y="192881"/>
                  </a:cubicBezTo>
                  <a:cubicBezTo>
                    <a:pt x="2489359" y="187166"/>
                    <a:pt x="2489359" y="181451"/>
                    <a:pt x="2489359" y="176689"/>
                  </a:cubicBezTo>
                  <a:cubicBezTo>
                    <a:pt x="2492216" y="171926"/>
                    <a:pt x="2495074" y="168116"/>
                    <a:pt x="2497931" y="165259"/>
                  </a:cubicBezTo>
                  <a:cubicBezTo>
                    <a:pt x="2500789" y="161449"/>
                    <a:pt x="2502694" y="159544"/>
                    <a:pt x="2502694" y="159544"/>
                  </a:cubicBezTo>
                  <a:cubicBezTo>
                    <a:pt x="2502694" y="159544"/>
                    <a:pt x="2500789" y="161449"/>
                    <a:pt x="2496979" y="164306"/>
                  </a:cubicBezTo>
                  <a:cubicBezTo>
                    <a:pt x="2495074" y="166211"/>
                    <a:pt x="2492216" y="169069"/>
                    <a:pt x="2489359" y="171926"/>
                  </a:cubicBezTo>
                  <a:cubicBezTo>
                    <a:pt x="2489359" y="165259"/>
                    <a:pt x="2488406" y="158591"/>
                    <a:pt x="2488406" y="153829"/>
                  </a:cubicBezTo>
                  <a:cubicBezTo>
                    <a:pt x="2488406" y="146209"/>
                    <a:pt x="2487454" y="139541"/>
                    <a:pt x="2487454" y="135731"/>
                  </a:cubicBezTo>
                  <a:cubicBezTo>
                    <a:pt x="2491264" y="129064"/>
                    <a:pt x="2494121" y="125254"/>
                    <a:pt x="2494121" y="125254"/>
                  </a:cubicBezTo>
                  <a:cubicBezTo>
                    <a:pt x="2494121" y="125254"/>
                    <a:pt x="2492216" y="128111"/>
                    <a:pt x="2487454" y="132874"/>
                  </a:cubicBezTo>
                  <a:cubicBezTo>
                    <a:pt x="2487454" y="130969"/>
                    <a:pt x="2487454" y="129064"/>
                    <a:pt x="2487454" y="129064"/>
                  </a:cubicBezTo>
                  <a:cubicBezTo>
                    <a:pt x="2487454" y="129064"/>
                    <a:pt x="2487454" y="130969"/>
                    <a:pt x="2486501" y="132874"/>
                  </a:cubicBezTo>
                  <a:cubicBezTo>
                    <a:pt x="2483644" y="136684"/>
                    <a:pt x="2479834" y="140494"/>
                    <a:pt x="2475071" y="146209"/>
                  </a:cubicBezTo>
                  <a:cubicBezTo>
                    <a:pt x="2469356" y="152876"/>
                    <a:pt x="2462689" y="161449"/>
                    <a:pt x="2455069" y="171926"/>
                  </a:cubicBezTo>
                  <a:cubicBezTo>
                    <a:pt x="2451259" y="176689"/>
                    <a:pt x="2447449" y="182404"/>
                    <a:pt x="2442686" y="188119"/>
                  </a:cubicBezTo>
                  <a:cubicBezTo>
                    <a:pt x="2439829" y="192881"/>
                    <a:pt x="2436019" y="197644"/>
                    <a:pt x="2433161" y="203359"/>
                  </a:cubicBezTo>
                  <a:cubicBezTo>
                    <a:pt x="2433161" y="199549"/>
                    <a:pt x="2432209" y="195739"/>
                    <a:pt x="2432209" y="191929"/>
                  </a:cubicBezTo>
                  <a:cubicBezTo>
                    <a:pt x="2428399" y="158591"/>
                    <a:pt x="2426494" y="130969"/>
                    <a:pt x="2425541" y="110966"/>
                  </a:cubicBezTo>
                  <a:cubicBezTo>
                    <a:pt x="2425541" y="101441"/>
                    <a:pt x="2424589" y="93821"/>
                    <a:pt x="2424589" y="88106"/>
                  </a:cubicBezTo>
                  <a:cubicBezTo>
                    <a:pt x="2424589" y="82391"/>
                    <a:pt x="2424589" y="80486"/>
                    <a:pt x="2424589" y="80486"/>
                  </a:cubicBezTo>
                  <a:cubicBezTo>
                    <a:pt x="2424589" y="80486"/>
                    <a:pt x="2424589" y="83344"/>
                    <a:pt x="2423636" y="88106"/>
                  </a:cubicBezTo>
                  <a:cubicBezTo>
                    <a:pt x="2422684" y="92869"/>
                    <a:pt x="2422684" y="101441"/>
                    <a:pt x="2421731" y="110966"/>
                  </a:cubicBezTo>
                  <a:cubicBezTo>
                    <a:pt x="2420779" y="120491"/>
                    <a:pt x="2420779" y="132874"/>
                    <a:pt x="2420779" y="146209"/>
                  </a:cubicBezTo>
                  <a:cubicBezTo>
                    <a:pt x="2420779" y="159544"/>
                    <a:pt x="2420779" y="175736"/>
                    <a:pt x="2421731" y="191929"/>
                  </a:cubicBezTo>
                  <a:cubicBezTo>
                    <a:pt x="2421731" y="200501"/>
                    <a:pt x="2422684" y="210026"/>
                    <a:pt x="2422684" y="220504"/>
                  </a:cubicBezTo>
                  <a:cubicBezTo>
                    <a:pt x="2416969" y="230029"/>
                    <a:pt x="2411254" y="239554"/>
                    <a:pt x="2405539" y="250031"/>
                  </a:cubicBezTo>
                  <a:cubicBezTo>
                    <a:pt x="2404586" y="251936"/>
                    <a:pt x="2403634" y="254794"/>
                    <a:pt x="2401729" y="256699"/>
                  </a:cubicBezTo>
                  <a:cubicBezTo>
                    <a:pt x="2401729" y="256699"/>
                    <a:pt x="2400776" y="255746"/>
                    <a:pt x="2400776" y="255746"/>
                  </a:cubicBezTo>
                  <a:cubicBezTo>
                    <a:pt x="2397919" y="247174"/>
                    <a:pt x="2395061" y="239554"/>
                    <a:pt x="2392204" y="233839"/>
                  </a:cubicBezTo>
                  <a:cubicBezTo>
                    <a:pt x="2389346" y="208121"/>
                    <a:pt x="2386489" y="186214"/>
                    <a:pt x="2385536" y="170974"/>
                  </a:cubicBezTo>
                  <a:cubicBezTo>
                    <a:pt x="2384584" y="162401"/>
                    <a:pt x="2383631" y="155734"/>
                    <a:pt x="2382679" y="150971"/>
                  </a:cubicBezTo>
                  <a:cubicBezTo>
                    <a:pt x="2383631" y="147161"/>
                    <a:pt x="2384584" y="144304"/>
                    <a:pt x="2384584" y="140494"/>
                  </a:cubicBezTo>
                  <a:cubicBezTo>
                    <a:pt x="2384584" y="138589"/>
                    <a:pt x="2383631" y="137636"/>
                    <a:pt x="2382679" y="135731"/>
                  </a:cubicBezTo>
                  <a:cubicBezTo>
                    <a:pt x="2385536" y="129064"/>
                    <a:pt x="2388394" y="121444"/>
                    <a:pt x="2390299" y="114776"/>
                  </a:cubicBezTo>
                  <a:cubicBezTo>
                    <a:pt x="2413159" y="53816"/>
                    <a:pt x="2427446" y="12859"/>
                    <a:pt x="2427446" y="12859"/>
                  </a:cubicBezTo>
                  <a:cubicBezTo>
                    <a:pt x="2427446" y="12859"/>
                    <a:pt x="2407444" y="50959"/>
                    <a:pt x="2380774" y="110014"/>
                  </a:cubicBezTo>
                  <a:cubicBezTo>
                    <a:pt x="2374106" y="124301"/>
                    <a:pt x="2366486" y="140494"/>
                    <a:pt x="2358866" y="157639"/>
                  </a:cubicBezTo>
                  <a:cubicBezTo>
                    <a:pt x="2357914" y="160496"/>
                    <a:pt x="2356009" y="163354"/>
                    <a:pt x="2355056" y="166211"/>
                  </a:cubicBezTo>
                  <a:cubicBezTo>
                    <a:pt x="2356009" y="162401"/>
                    <a:pt x="2356961" y="158591"/>
                    <a:pt x="2357914" y="155734"/>
                  </a:cubicBezTo>
                  <a:cubicBezTo>
                    <a:pt x="2360771" y="141446"/>
                    <a:pt x="2362676" y="132874"/>
                    <a:pt x="2362676" y="132874"/>
                  </a:cubicBezTo>
                  <a:cubicBezTo>
                    <a:pt x="2362676" y="132874"/>
                    <a:pt x="2359819" y="140494"/>
                    <a:pt x="2354104" y="154781"/>
                  </a:cubicBezTo>
                  <a:cubicBezTo>
                    <a:pt x="2351246" y="161449"/>
                    <a:pt x="2348389" y="170021"/>
                    <a:pt x="2344579" y="179546"/>
                  </a:cubicBezTo>
                  <a:cubicBezTo>
                    <a:pt x="2340769" y="189071"/>
                    <a:pt x="2336959" y="200501"/>
                    <a:pt x="2334101" y="211931"/>
                  </a:cubicBezTo>
                  <a:cubicBezTo>
                    <a:pt x="2334101" y="211931"/>
                    <a:pt x="2334101" y="211931"/>
                    <a:pt x="2334101" y="211931"/>
                  </a:cubicBezTo>
                  <a:cubicBezTo>
                    <a:pt x="2336006" y="197644"/>
                    <a:pt x="2338864" y="184309"/>
                    <a:pt x="2340769" y="171926"/>
                  </a:cubicBezTo>
                  <a:cubicBezTo>
                    <a:pt x="2343626" y="156686"/>
                    <a:pt x="2344579" y="143351"/>
                    <a:pt x="2347436" y="130969"/>
                  </a:cubicBezTo>
                  <a:cubicBezTo>
                    <a:pt x="2350294" y="118586"/>
                    <a:pt x="2352199" y="108109"/>
                    <a:pt x="2354104" y="99536"/>
                  </a:cubicBezTo>
                  <a:cubicBezTo>
                    <a:pt x="2357914" y="82391"/>
                    <a:pt x="2358866" y="71914"/>
                    <a:pt x="2358866" y="71914"/>
                  </a:cubicBezTo>
                  <a:cubicBezTo>
                    <a:pt x="2358866" y="71914"/>
                    <a:pt x="2355056" y="81439"/>
                    <a:pt x="2350294" y="98584"/>
                  </a:cubicBezTo>
                  <a:cubicBezTo>
                    <a:pt x="2347436" y="107156"/>
                    <a:pt x="2344579" y="117634"/>
                    <a:pt x="2340769" y="129064"/>
                  </a:cubicBezTo>
                  <a:cubicBezTo>
                    <a:pt x="2336959" y="140494"/>
                    <a:pt x="2333149" y="154781"/>
                    <a:pt x="2330291" y="170021"/>
                  </a:cubicBezTo>
                  <a:cubicBezTo>
                    <a:pt x="2328386" y="177641"/>
                    <a:pt x="2326481" y="185261"/>
                    <a:pt x="2324576" y="193834"/>
                  </a:cubicBezTo>
                  <a:cubicBezTo>
                    <a:pt x="2323624" y="190976"/>
                    <a:pt x="2321719" y="188119"/>
                    <a:pt x="2320766" y="185261"/>
                  </a:cubicBezTo>
                  <a:cubicBezTo>
                    <a:pt x="2324576" y="168116"/>
                    <a:pt x="2326481" y="157639"/>
                    <a:pt x="2326481" y="157639"/>
                  </a:cubicBezTo>
                  <a:cubicBezTo>
                    <a:pt x="2326481" y="157639"/>
                    <a:pt x="2323624" y="165259"/>
                    <a:pt x="2318861" y="179546"/>
                  </a:cubicBezTo>
                  <a:cubicBezTo>
                    <a:pt x="2316004" y="173831"/>
                    <a:pt x="2315051" y="170974"/>
                    <a:pt x="2315051" y="170974"/>
                  </a:cubicBezTo>
                  <a:cubicBezTo>
                    <a:pt x="2315051" y="170974"/>
                    <a:pt x="2316004" y="174784"/>
                    <a:pt x="2317909" y="181451"/>
                  </a:cubicBezTo>
                  <a:cubicBezTo>
                    <a:pt x="2316956" y="185261"/>
                    <a:pt x="2315051" y="189071"/>
                    <a:pt x="2313146" y="193834"/>
                  </a:cubicBezTo>
                  <a:cubicBezTo>
                    <a:pt x="2312194" y="192881"/>
                    <a:pt x="2312194" y="191929"/>
                    <a:pt x="2311241" y="190976"/>
                  </a:cubicBezTo>
                  <a:cubicBezTo>
                    <a:pt x="2314099" y="161449"/>
                    <a:pt x="2314099" y="141446"/>
                    <a:pt x="2314099" y="141446"/>
                  </a:cubicBezTo>
                  <a:cubicBezTo>
                    <a:pt x="2314099" y="141446"/>
                    <a:pt x="2306479" y="165259"/>
                    <a:pt x="2298859" y="202406"/>
                  </a:cubicBezTo>
                  <a:cubicBezTo>
                    <a:pt x="2296954" y="211931"/>
                    <a:pt x="2294096" y="221456"/>
                    <a:pt x="2292191" y="231934"/>
                  </a:cubicBezTo>
                  <a:cubicBezTo>
                    <a:pt x="2291239" y="237649"/>
                    <a:pt x="2290286" y="244316"/>
                    <a:pt x="2289334" y="250031"/>
                  </a:cubicBezTo>
                  <a:cubicBezTo>
                    <a:pt x="2288381" y="252889"/>
                    <a:pt x="2287429" y="255746"/>
                    <a:pt x="2285524" y="259556"/>
                  </a:cubicBezTo>
                  <a:cubicBezTo>
                    <a:pt x="2282666" y="267176"/>
                    <a:pt x="2279809" y="276701"/>
                    <a:pt x="2275999" y="287179"/>
                  </a:cubicBezTo>
                  <a:cubicBezTo>
                    <a:pt x="2275999" y="287179"/>
                    <a:pt x="2275999" y="288131"/>
                    <a:pt x="2275999" y="288131"/>
                  </a:cubicBezTo>
                  <a:cubicBezTo>
                    <a:pt x="2275999" y="286226"/>
                    <a:pt x="2275999" y="284321"/>
                    <a:pt x="2275999" y="282416"/>
                  </a:cubicBezTo>
                  <a:cubicBezTo>
                    <a:pt x="2276951" y="271939"/>
                    <a:pt x="2276951" y="265271"/>
                    <a:pt x="2276951" y="265271"/>
                  </a:cubicBezTo>
                  <a:cubicBezTo>
                    <a:pt x="2276951" y="265271"/>
                    <a:pt x="2275046" y="270986"/>
                    <a:pt x="2272189" y="281464"/>
                  </a:cubicBezTo>
                  <a:cubicBezTo>
                    <a:pt x="2271236" y="284321"/>
                    <a:pt x="2270284" y="287179"/>
                    <a:pt x="2269331" y="290989"/>
                  </a:cubicBezTo>
                  <a:cubicBezTo>
                    <a:pt x="2269331" y="290989"/>
                    <a:pt x="2269331" y="290989"/>
                    <a:pt x="2269331" y="290989"/>
                  </a:cubicBezTo>
                  <a:cubicBezTo>
                    <a:pt x="2269331" y="280511"/>
                    <a:pt x="2268379" y="270034"/>
                    <a:pt x="2269331" y="261461"/>
                  </a:cubicBezTo>
                  <a:cubicBezTo>
                    <a:pt x="2270284" y="252889"/>
                    <a:pt x="2269331" y="245269"/>
                    <a:pt x="2270284" y="238601"/>
                  </a:cubicBezTo>
                  <a:cubicBezTo>
                    <a:pt x="2271236" y="232886"/>
                    <a:pt x="2271236" y="228124"/>
                    <a:pt x="2272189" y="225266"/>
                  </a:cubicBezTo>
                  <a:cubicBezTo>
                    <a:pt x="2275046" y="215741"/>
                    <a:pt x="2275999" y="210979"/>
                    <a:pt x="2275999" y="210979"/>
                  </a:cubicBezTo>
                  <a:cubicBezTo>
                    <a:pt x="2275999" y="210979"/>
                    <a:pt x="2272189" y="218599"/>
                    <a:pt x="2266474" y="232886"/>
                  </a:cubicBezTo>
                  <a:cubicBezTo>
                    <a:pt x="2267426" y="230029"/>
                    <a:pt x="2267426" y="228124"/>
                    <a:pt x="2267426" y="228124"/>
                  </a:cubicBezTo>
                  <a:cubicBezTo>
                    <a:pt x="2267426" y="228124"/>
                    <a:pt x="2265521" y="230981"/>
                    <a:pt x="2263616" y="235744"/>
                  </a:cubicBezTo>
                  <a:cubicBezTo>
                    <a:pt x="2264569" y="226219"/>
                    <a:pt x="2265521" y="220504"/>
                    <a:pt x="2265521" y="220504"/>
                  </a:cubicBezTo>
                  <a:cubicBezTo>
                    <a:pt x="2265521" y="220504"/>
                    <a:pt x="2262664" y="230029"/>
                    <a:pt x="2256949" y="247174"/>
                  </a:cubicBezTo>
                  <a:cubicBezTo>
                    <a:pt x="2255044" y="250984"/>
                    <a:pt x="2253139" y="253841"/>
                    <a:pt x="2252186" y="258604"/>
                  </a:cubicBezTo>
                  <a:cubicBezTo>
                    <a:pt x="2251234" y="259556"/>
                    <a:pt x="2251234" y="260509"/>
                    <a:pt x="2250281" y="262414"/>
                  </a:cubicBezTo>
                  <a:cubicBezTo>
                    <a:pt x="2252186" y="255746"/>
                    <a:pt x="2253139" y="249079"/>
                    <a:pt x="2255044" y="243364"/>
                  </a:cubicBezTo>
                  <a:cubicBezTo>
                    <a:pt x="2260759" y="216694"/>
                    <a:pt x="2264569" y="194786"/>
                    <a:pt x="2267426" y="178594"/>
                  </a:cubicBezTo>
                  <a:cubicBezTo>
                    <a:pt x="2269331" y="163354"/>
                    <a:pt x="2270284" y="153829"/>
                    <a:pt x="2270284" y="153829"/>
                  </a:cubicBezTo>
                  <a:cubicBezTo>
                    <a:pt x="2270284" y="153829"/>
                    <a:pt x="2267426" y="162401"/>
                    <a:pt x="2262664" y="177641"/>
                  </a:cubicBezTo>
                  <a:cubicBezTo>
                    <a:pt x="2260759" y="185261"/>
                    <a:pt x="2257901" y="194786"/>
                    <a:pt x="2254091" y="205264"/>
                  </a:cubicBezTo>
                  <a:cubicBezTo>
                    <a:pt x="2251234" y="212884"/>
                    <a:pt x="2249329" y="221456"/>
                    <a:pt x="2246471" y="230981"/>
                  </a:cubicBezTo>
                  <a:cubicBezTo>
                    <a:pt x="2244566" y="234791"/>
                    <a:pt x="2243614" y="239554"/>
                    <a:pt x="2241709" y="244316"/>
                  </a:cubicBezTo>
                  <a:cubicBezTo>
                    <a:pt x="2240756" y="240506"/>
                    <a:pt x="2239804" y="236696"/>
                    <a:pt x="2239804" y="233839"/>
                  </a:cubicBezTo>
                  <a:cubicBezTo>
                    <a:pt x="2235994" y="215741"/>
                    <a:pt x="2233136" y="205264"/>
                    <a:pt x="2233136" y="205264"/>
                  </a:cubicBezTo>
                  <a:cubicBezTo>
                    <a:pt x="2233136" y="205264"/>
                    <a:pt x="2235041" y="224314"/>
                    <a:pt x="2237899" y="255746"/>
                  </a:cubicBezTo>
                  <a:cubicBezTo>
                    <a:pt x="2236946" y="259556"/>
                    <a:pt x="2235041" y="264319"/>
                    <a:pt x="2234089" y="269081"/>
                  </a:cubicBezTo>
                  <a:cubicBezTo>
                    <a:pt x="2234089" y="269081"/>
                    <a:pt x="2233136" y="270034"/>
                    <a:pt x="2233136" y="270034"/>
                  </a:cubicBezTo>
                  <a:cubicBezTo>
                    <a:pt x="2233136" y="268129"/>
                    <a:pt x="2233136" y="265271"/>
                    <a:pt x="2233136" y="263366"/>
                  </a:cubicBezTo>
                  <a:cubicBezTo>
                    <a:pt x="2233136" y="253841"/>
                    <a:pt x="2232184" y="244316"/>
                    <a:pt x="2231231" y="234791"/>
                  </a:cubicBezTo>
                  <a:cubicBezTo>
                    <a:pt x="2230279" y="225266"/>
                    <a:pt x="2229326" y="216694"/>
                    <a:pt x="2228374" y="207169"/>
                  </a:cubicBezTo>
                  <a:cubicBezTo>
                    <a:pt x="2229326" y="198596"/>
                    <a:pt x="2230279" y="193834"/>
                    <a:pt x="2230279" y="193834"/>
                  </a:cubicBezTo>
                  <a:cubicBezTo>
                    <a:pt x="2230279" y="193834"/>
                    <a:pt x="2229326" y="197644"/>
                    <a:pt x="2226469" y="204311"/>
                  </a:cubicBezTo>
                  <a:cubicBezTo>
                    <a:pt x="2225516" y="202406"/>
                    <a:pt x="2224564" y="201454"/>
                    <a:pt x="2222659" y="200501"/>
                  </a:cubicBezTo>
                  <a:cubicBezTo>
                    <a:pt x="2221706" y="200501"/>
                    <a:pt x="2221706" y="199549"/>
                    <a:pt x="2220754" y="199549"/>
                  </a:cubicBezTo>
                  <a:cubicBezTo>
                    <a:pt x="2219801" y="199549"/>
                    <a:pt x="2218849" y="199549"/>
                    <a:pt x="2217896" y="199549"/>
                  </a:cubicBezTo>
                  <a:cubicBezTo>
                    <a:pt x="2215991" y="200501"/>
                    <a:pt x="2215991" y="201454"/>
                    <a:pt x="2215039" y="202406"/>
                  </a:cubicBezTo>
                  <a:cubicBezTo>
                    <a:pt x="2213134" y="206216"/>
                    <a:pt x="2213134" y="210979"/>
                    <a:pt x="2213134" y="214789"/>
                  </a:cubicBezTo>
                  <a:cubicBezTo>
                    <a:pt x="2214086" y="210979"/>
                    <a:pt x="2215039" y="206216"/>
                    <a:pt x="2217896" y="203359"/>
                  </a:cubicBezTo>
                  <a:cubicBezTo>
                    <a:pt x="2218849" y="202406"/>
                    <a:pt x="2218849" y="201454"/>
                    <a:pt x="2219801" y="201454"/>
                  </a:cubicBezTo>
                  <a:cubicBezTo>
                    <a:pt x="2219801" y="201454"/>
                    <a:pt x="2220754" y="201454"/>
                    <a:pt x="2220754" y="202406"/>
                  </a:cubicBezTo>
                  <a:cubicBezTo>
                    <a:pt x="2221706" y="203359"/>
                    <a:pt x="2222659" y="205264"/>
                    <a:pt x="2223611" y="207169"/>
                  </a:cubicBezTo>
                  <a:lnTo>
                    <a:pt x="2223611" y="215741"/>
                  </a:lnTo>
                  <a:cubicBezTo>
                    <a:pt x="2223611" y="215741"/>
                    <a:pt x="2223611" y="215741"/>
                    <a:pt x="2223611" y="215741"/>
                  </a:cubicBezTo>
                  <a:cubicBezTo>
                    <a:pt x="2221706" y="222409"/>
                    <a:pt x="2218849" y="230981"/>
                    <a:pt x="2215991" y="241459"/>
                  </a:cubicBezTo>
                  <a:cubicBezTo>
                    <a:pt x="2213134" y="250984"/>
                    <a:pt x="2209324" y="262414"/>
                    <a:pt x="2206466" y="274796"/>
                  </a:cubicBezTo>
                  <a:cubicBezTo>
                    <a:pt x="2203609" y="287179"/>
                    <a:pt x="2199799" y="299561"/>
                    <a:pt x="2196941" y="313849"/>
                  </a:cubicBezTo>
                  <a:cubicBezTo>
                    <a:pt x="2195989" y="308134"/>
                    <a:pt x="2195989" y="305276"/>
                    <a:pt x="2195989" y="305276"/>
                  </a:cubicBezTo>
                  <a:cubicBezTo>
                    <a:pt x="2195989" y="305276"/>
                    <a:pt x="2195989" y="310039"/>
                    <a:pt x="2195036" y="317659"/>
                  </a:cubicBezTo>
                  <a:cubicBezTo>
                    <a:pt x="2194084" y="315754"/>
                    <a:pt x="2193131" y="314801"/>
                    <a:pt x="2193131" y="314801"/>
                  </a:cubicBezTo>
                  <a:cubicBezTo>
                    <a:pt x="2193131" y="314801"/>
                    <a:pt x="2194084" y="315754"/>
                    <a:pt x="2195036" y="318611"/>
                  </a:cubicBezTo>
                  <a:cubicBezTo>
                    <a:pt x="2195036" y="320516"/>
                    <a:pt x="2195036" y="321469"/>
                    <a:pt x="2195036" y="323374"/>
                  </a:cubicBezTo>
                  <a:cubicBezTo>
                    <a:pt x="2194084" y="327184"/>
                    <a:pt x="2193131" y="330994"/>
                    <a:pt x="2192179" y="334804"/>
                  </a:cubicBezTo>
                  <a:cubicBezTo>
                    <a:pt x="2191226" y="332899"/>
                    <a:pt x="2191226" y="331946"/>
                    <a:pt x="2190274" y="330994"/>
                  </a:cubicBezTo>
                  <a:cubicBezTo>
                    <a:pt x="2190274" y="330041"/>
                    <a:pt x="2191226" y="330041"/>
                    <a:pt x="2191226" y="330041"/>
                  </a:cubicBezTo>
                  <a:cubicBezTo>
                    <a:pt x="2191226" y="330041"/>
                    <a:pt x="2191226" y="330041"/>
                    <a:pt x="2190274" y="330994"/>
                  </a:cubicBezTo>
                  <a:cubicBezTo>
                    <a:pt x="2189321" y="328136"/>
                    <a:pt x="2188369" y="326231"/>
                    <a:pt x="2188369" y="326231"/>
                  </a:cubicBezTo>
                  <a:cubicBezTo>
                    <a:pt x="2188369" y="326231"/>
                    <a:pt x="2188369" y="328136"/>
                    <a:pt x="2189321" y="331946"/>
                  </a:cubicBezTo>
                  <a:cubicBezTo>
                    <a:pt x="2189321" y="331946"/>
                    <a:pt x="2188369" y="332899"/>
                    <a:pt x="2188369" y="332899"/>
                  </a:cubicBezTo>
                  <a:cubicBezTo>
                    <a:pt x="2186464" y="321469"/>
                    <a:pt x="2185511" y="315754"/>
                    <a:pt x="2185511" y="315754"/>
                  </a:cubicBezTo>
                  <a:cubicBezTo>
                    <a:pt x="2185511" y="315754"/>
                    <a:pt x="2185511" y="323374"/>
                    <a:pt x="2184559" y="336709"/>
                  </a:cubicBezTo>
                  <a:cubicBezTo>
                    <a:pt x="2184559" y="336709"/>
                    <a:pt x="2184559" y="336709"/>
                    <a:pt x="2184559" y="337661"/>
                  </a:cubicBezTo>
                  <a:cubicBezTo>
                    <a:pt x="2183606" y="339566"/>
                    <a:pt x="2181701" y="341471"/>
                    <a:pt x="2179796" y="343376"/>
                  </a:cubicBezTo>
                  <a:cubicBezTo>
                    <a:pt x="2179796" y="342424"/>
                    <a:pt x="2178844" y="341471"/>
                    <a:pt x="2178844" y="340519"/>
                  </a:cubicBezTo>
                  <a:cubicBezTo>
                    <a:pt x="2183606" y="320516"/>
                    <a:pt x="2188369" y="301466"/>
                    <a:pt x="2192179" y="283369"/>
                  </a:cubicBezTo>
                  <a:cubicBezTo>
                    <a:pt x="2205514" y="228124"/>
                    <a:pt x="2212181" y="190024"/>
                    <a:pt x="2212181" y="190024"/>
                  </a:cubicBezTo>
                  <a:cubicBezTo>
                    <a:pt x="2212181" y="190024"/>
                    <a:pt x="2199799" y="222409"/>
                    <a:pt x="2183606" y="272891"/>
                  </a:cubicBezTo>
                  <a:cubicBezTo>
                    <a:pt x="2184559" y="266224"/>
                    <a:pt x="2186464" y="259556"/>
                    <a:pt x="2187416" y="253841"/>
                  </a:cubicBezTo>
                  <a:cubicBezTo>
                    <a:pt x="2189321" y="246221"/>
                    <a:pt x="2190274" y="239554"/>
                    <a:pt x="2192179" y="231934"/>
                  </a:cubicBezTo>
                  <a:cubicBezTo>
                    <a:pt x="2194084" y="224314"/>
                    <a:pt x="2195989" y="216694"/>
                    <a:pt x="2196941" y="210026"/>
                  </a:cubicBezTo>
                  <a:cubicBezTo>
                    <a:pt x="2197894" y="204311"/>
                    <a:pt x="2199799" y="198596"/>
                    <a:pt x="2200751" y="193834"/>
                  </a:cubicBezTo>
                  <a:cubicBezTo>
                    <a:pt x="2201704" y="189071"/>
                    <a:pt x="2203609" y="184309"/>
                    <a:pt x="2204561" y="179546"/>
                  </a:cubicBezTo>
                  <a:cubicBezTo>
                    <a:pt x="2207419" y="170021"/>
                    <a:pt x="2209324" y="162401"/>
                    <a:pt x="2211229" y="155734"/>
                  </a:cubicBezTo>
                  <a:cubicBezTo>
                    <a:pt x="2215039" y="142399"/>
                    <a:pt x="2217896" y="134779"/>
                    <a:pt x="2217896" y="134779"/>
                  </a:cubicBezTo>
                  <a:cubicBezTo>
                    <a:pt x="2217896" y="134779"/>
                    <a:pt x="2215039" y="139541"/>
                    <a:pt x="2211229" y="148114"/>
                  </a:cubicBezTo>
                  <a:cubicBezTo>
                    <a:pt x="2211229" y="148114"/>
                    <a:pt x="2211229" y="147161"/>
                    <a:pt x="2211229" y="147161"/>
                  </a:cubicBezTo>
                  <a:cubicBezTo>
                    <a:pt x="2213134" y="139541"/>
                    <a:pt x="2215039" y="131921"/>
                    <a:pt x="2216944" y="125254"/>
                  </a:cubicBezTo>
                  <a:cubicBezTo>
                    <a:pt x="2218849" y="118586"/>
                    <a:pt x="2220754" y="111919"/>
                    <a:pt x="2222659" y="105251"/>
                  </a:cubicBezTo>
                  <a:cubicBezTo>
                    <a:pt x="2226469" y="92869"/>
                    <a:pt x="2229326" y="81439"/>
                    <a:pt x="2233136" y="72866"/>
                  </a:cubicBezTo>
                  <a:cubicBezTo>
                    <a:pt x="2238851" y="54769"/>
                    <a:pt x="2242661" y="45244"/>
                    <a:pt x="2242661" y="45244"/>
                  </a:cubicBezTo>
                  <a:cubicBezTo>
                    <a:pt x="2242661" y="45244"/>
                    <a:pt x="2237899" y="54769"/>
                    <a:pt x="2229326" y="71914"/>
                  </a:cubicBezTo>
                  <a:cubicBezTo>
                    <a:pt x="2224564" y="80486"/>
                    <a:pt x="2220754" y="90964"/>
                    <a:pt x="2215991" y="103346"/>
                  </a:cubicBezTo>
                  <a:cubicBezTo>
                    <a:pt x="2213134" y="109061"/>
                    <a:pt x="2211229" y="115729"/>
                    <a:pt x="2208371" y="122396"/>
                  </a:cubicBezTo>
                  <a:cubicBezTo>
                    <a:pt x="2205514" y="129064"/>
                    <a:pt x="2203609" y="136684"/>
                    <a:pt x="2200751" y="144304"/>
                  </a:cubicBezTo>
                  <a:cubicBezTo>
                    <a:pt x="2195036" y="159544"/>
                    <a:pt x="2190274" y="176689"/>
                    <a:pt x="2184559" y="193834"/>
                  </a:cubicBezTo>
                  <a:cubicBezTo>
                    <a:pt x="2181701" y="204311"/>
                    <a:pt x="2177891" y="215741"/>
                    <a:pt x="2175034" y="228124"/>
                  </a:cubicBezTo>
                  <a:cubicBezTo>
                    <a:pt x="2175986" y="218599"/>
                    <a:pt x="2176939" y="210026"/>
                    <a:pt x="2177891" y="203359"/>
                  </a:cubicBezTo>
                  <a:cubicBezTo>
                    <a:pt x="2178844" y="198596"/>
                    <a:pt x="2178844" y="193834"/>
                    <a:pt x="2178844" y="190024"/>
                  </a:cubicBezTo>
                  <a:cubicBezTo>
                    <a:pt x="2179796" y="186214"/>
                    <a:pt x="2180749" y="184309"/>
                    <a:pt x="2180749" y="184309"/>
                  </a:cubicBezTo>
                  <a:cubicBezTo>
                    <a:pt x="2180749" y="184309"/>
                    <a:pt x="2179796" y="185261"/>
                    <a:pt x="2179796" y="187166"/>
                  </a:cubicBezTo>
                  <a:cubicBezTo>
                    <a:pt x="2180749" y="180499"/>
                    <a:pt x="2180749" y="176689"/>
                    <a:pt x="2180749" y="176689"/>
                  </a:cubicBezTo>
                  <a:cubicBezTo>
                    <a:pt x="2180749" y="176689"/>
                    <a:pt x="2178844" y="183356"/>
                    <a:pt x="2175986" y="194786"/>
                  </a:cubicBezTo>
                  <a:cubicBezTo>
                    <a:pt x="2174081" y="198596"/>
                    <a:pt x="2172176" y="202406"/>
                    <a:pt x="2170271" y="208121"/>
                  </a:cubicBezTo>
                  <a:cubicBezTo>
                    <a:pt x="2163604" y="223361"/>
                    <a:pt x="2155031" y="245269"/>
                    <a:pt x="2144554" y="271939"/>
                  </a:cubicBezTo>
                  <a:cubicBezTo>
                    <a:pt x="2141696" y="279559"/>
                    <a:pt x="2137886" y="288131"/>
                    <a:pt x="2135029" y="296704"/>
                  </a:cubicBezTo>
                  <a:cubicBezTo>
                    <a:pt x="2135029" y="296704"/>
                    <a:pt x="2135029" y="296704"/>
                    <a:pt x="2135029" y="295751"/>
                  </a:cubicBezTo>
                  <a:cubicBezTo>
                    <a:pt x="2133124" y="290989"/>
                    <a:pt x="2131219" y="286226"/>
                    <a:pt x="2129314" y="282416"/>
                  </a:cubicBezTo>
                  <a:cubicBezTo>
                    <a:pt x="2133124" y="261461"/>
                    <a:pt x="2135981" y="244316"/>
                    <a:pt x="2137886" y="231934"/>
                  </a:cubicBezTo>
                  <a:cubicBezTo>
                    <a:pt x="2139791" y="217646"/>
                    <a:pt x="2141696" y="210026"/>
                    <a:pt x="2141696" y="210026"/>
                  </a:cubicBezTo>
                  <a:cubicBezTo>
                    <a:pt x="2141696" y="210026"/>
                    <a:pt x="2138839" y="217646"/>
                    <a:pt x="2134076" y="230981"/>
                  </a:cubicBezTo>
                  <a:cubicBezTo>
                    <a:pt x="2131219" y="239554"/>
                    <a:pt x="2127409" y="250984"/>
                    <a:pt x="2123599" y="263366"/>
                  </a:cubicBezTo>
                  <a:cubicBezTo>
                    <a:pt x="2123599" y="260509"/>
                    <a:pt x="2122646" y="257651"/>
                    <a:pt x="2122646" y="253841"/>
                  </a:cubicBezTo>
                  <a:cubicBezTo>
                    <a:pt x="2120741" y="238601"/>
                    <a:pt x="2118836" y="225266"/>
                    <a:pt x="2117884" y="211931"/>
                  </a:cubicBezTo>
                  <a:cubicBezTo>
                    <a:pt x="2115979" y="198596"/>
                    <a:pt x="2114074" y="187166"/>
                    <a:pt x="2112169" y="176689"/>
                  </a:cubicBezTo>
                  <a:cubicBezTo>
                    <a:pt x="2110264" y="166211"/>
                    <a:pt x="2108359" y="157639"/>
                    <a:pt x="2107406" y="150019"/>
                  </a:cubicBezTo>
                  <a:cubicBezTo>
                    <a:pt x="2104549" y="134779"/>
                    <a:pt x="2102644" y="127159"/>
                    <a:pt x="2102644" y="127159"/>
                  </a:cubicBezTo>
                  <a:cubicBezTo>
                    <a:pt x="2102644" y="127159"/>
                    <a:pt x="2102644" y="135731"/>
                    <a:pt x="2103596" y="150971"/>
                  </a:cubicBezTo>
                  <a:cubicBezTo>
                    <a:pt x="2103596" y="155734"/>
                    <a:pt x="2104549" y="161449"/>
                    <a:pt x="2104549" y="168116"/>
                  </a:cubicBezTo>
                  <a:cubicBezTo>
                    <a:pt x="2104549" y="171926"/>
                    <a:pt x="2104549" y="176689"/>
                    <a:pt x="2104549" y="183356"/>
                  </a:cubicBezTo>
                  <a:cubicBezTo>
                    <a:pt x="2104549" y="190024"/>
                    <a:pt x="2105501" y="197644"/>
                    <a:pt x="2105501" y="207169"/>
                  </a:cubicBezTo>
                  <a:cubicBezTo>
                    <a:pt x="2105501" y="212884"/>
                    <a:pt x="2106454" y="218599"/>
                    <a:pt x="2106454" y="225266"/>
                  </a:cubicBezTo>
                  <a:cubicBezTo>
                    <a:pt x="2105501" y="224314"/>
                    <a:pt x="2105501" y="222409"/>
                    <a:pt x="2104549" y="221456"/>
                  </a:cubicBezTo>
                  <a:cubicBezTo>
                    <a:pt x="2104549" y="221456"/>
                    <a:pt x="2104549" y="221456"/>
                    <a:pt x="2104549" y="221456"/>
                  </a:cubicBezTo>
                  <a:lnTo>
                    <a:pt x="2104549" y="221456"/>
                  </a:lnTo>
                  <a:cubicBezTo>
                    <a:pt x="2103596" y="219551"/>
                    <a:pt x="2102644" y="217646"/>
                    <a:pt x="2102644" y="215741"/>
                  </a:cubicBezTo>
                  <a:cubicBezTo>
                    <a:pt x="2102644" y="211931"/>
                    <a:pt x="2101691" y="208121"/>
                    <a:pt x="2101691" y="205264"/>
                  </a:cubicBezTo>
                  <a:cubicBezTo>
                    <a:pt x="2100739" y="193834"/>
                    <a:pt x="2099786" y="184309"/>
                    <a:pt x="2098834" y="176689"/>
                  </a:cubicBezTo>
                  <a:cubicBezTo>
                    <a:pt x="2098834" y="173831"/>
                    <a:pt x="2097881" y="170974"/>
                    <a:pt x="2097881" y="168116"/>
                  </a:cubicBezTo>
                  <a:cubicBezTo>
                    <a:pt x="2100739" y="155734"/>
                    <a:pt x="2102644" y="149066"/>
                    <a:pt x="2102644" y="149066"/>
                  </a:cubicBezTo>
                  <a:cubicBezTo>
                    <a:pt x="2102644" y="149066"/>
                    <a:pt x="2100739" y="153829"/>
                    <a:pt x="2096929" y="162401"/>
                  </a:cubicBezTo>
                  <a:cubicBezTo>
                    <a:pt x="2095976" y="155734"/>
                    <a:pt x="2095024" y="151924"/>
                    <a:pt x="2095024" y="151924"/>
                  </a:cubicBezTo>
                  <a:cubicBezTo>
                    <a:pt x="2095024" y="151924"/>
                    <a:pt x="2095024" y="157639"/>
                    <a:pt x="2095024" y="167164"/>
                  </a:cubicBezTo>
                  <a:cubicBezTo>
                    <a:pt x="2088356" y="182404"/>
                    <a:pt x="2078831" y="206216"/>
                    <a:pt x="2066449" y="235744"/>
                  </a:cubicBezTo>
                  <a:cubicBezTo>
                    <a:pt x="2063591" y="243364"/>
                    <a:pt x="2060734" y="250984"/>
                    <a:pt x="2056924" y="259556"/>
                  </a:cubicBezTo>
                  <a:cubicBezTo>
                    <a:pt x="2061686" y="234791"/>
                    <a:pt x="2063591" y="219551"/>
                    <a:pt x="2063591" y="219551"/>
                  </a:cubicBezTo>
                  <a:cubicBezTo>
                    <a:pt x="2063591" y="219551"/>
                    <a:pt x="2058829" y="231934"/>
                    <a:pt x="2052161" y="252889"/>
                  </a:cubicBezTo>
                  <a:cubicBezTo>
                    <a:pt x="2051209" y="250984"/>
                    <a:pt x="2050256" y="249079"/>
                    <a:pt x="2050256" y="248126"/>
                  </a:cubicBezTo>
                  <a:cubicBezTo>
                    <a:pt x="2050256" y="238601"/>
                    <a:pt x="2050256" y="233839"/>
                    <a:pt x="2050256" y="233839"/>
                  </a:cubicBezTo>
                  <a:cubicBezTo>
                    <a:pt x="2050256" y="233839"/>
                    <a:pt x="2049304" y="237649"/>
                    <a:pt x="2048351" y="244316"/>
                  </a:cubicBezTo>
                  <a:cubicBezTo>
                    <a:pt x="2047399" y="241459"/>
                    <a:pt x="2046446" y="240506"/>
                    <a:pt x="2046446" y="240506"/>
                  </a:cubicBezTo>
                  <a:cubicBezTo>
                    <a:pt x="2046446" y="240506"/>
                    <a:pt x="2047399" y="242411"/>
                    <a:pt x="2047399" y="247174"/>
                  </a:cubicBezTo>
                  <a:cubicBezTo>
                    <a:pt x="2046446" y="251936"/>
                    <a:pt x="2045494" y="258604"/>
                    <a:pt x="2044541" y="266224"/>
                  </a:cubicBezTo>
                  <a:cubicBezTo>
                    <a:pt x="2044541" y="264319"/>
                    <a:pt x="2043589" y="261461"/>
                    <a:pt x="2043589" y="259556"/>
                  </a:cubicBezTo>
                  <a:cubicBezTo>
                    <a:pt x="2042636" y="255746"/>
                    <a:pt x="2042636" y="252889"/>
                    <a:pt x="2041684" y="249079"/>
                  </a:cubicBezTo>
                  <a:cubicBezTo>
                    <a:pt x="2046446" y="210026"/>
                    <a:pt x="2048351" y="184309"/>
                    <a:pt x="2048351" y="184309"/>
                  </a:cubicBezTo>
                  <a:cubicBezTo>
                    <a:pt x="2048351" y="184309"/>
                    <a:pt x="2044541" y="196691"/>
                    <a:pt x="2039779" y="216694"/>
                  </a:cubicBezTo>
                  <a:cubicBezTo>
                    <a:pt x="2038826" y="218599"/>
                    <a:pt x="2037874" y="220504"/>
                    <a:pt x="2036921" y="223361"/>
                  </a:cubicBezTo>
                  <a:cubicBezTo>
                    <a:pt x="2036921" y="221456"/>
                    <a:pt x="2035969" y="220504"/>
                    <a:pt x="2035969" y="218599"/>
                  </a:cubicBezTo>
                  <a:cubicBezTo>
                    <a:pt x="2034064" y="206216"/>
                    <a:pt x="2032159" y="195739"/>
                    <a:pt x="2031206" y="187166"/>
                  </a:cubicBezTo>
                  <a:cubicBezTo>
                    <a:pt x="2030254" y="179546"/>
                    <a:pt x="2029301" y="173831"/>
                    <a:pt x="2028349" y="169069"/>
                  </a:cubicBezTo>
                  <a:cubicBezTo>
                    <a:pt x="2030254" y="154781"/>
                    <a:pt x="2031206" y="147161"/>
                    <a:pt x="2031206" y="147161"/>
                  </a:cubicBezTo>
                  <a:cubicBezTo>
                    <a:pt x="2031206" y="147161"/>
                    <a:pt x="2030254" y="150971"/>
                    <a:pt x="2028349" y="157639"/>
                  </a:cubicBezTo>
                  <a:cubicBezTo>
                    <a:pt x="2029301" y="145256"/>
                    <a:pt x="2030254" y="138589"/>
                    <a:pt x="2030254" y="138589"/>
                  </a:cubicBezTo>
                  <a:cubicBezTo>
                    <a:pt x="2030254" y="138589"/>
                    <a:pt x="2028349" y="146209"/>
                    <a:pt x="2023586" y="160496"/>
                  </a:cubicBezTo>
                  <a:cubicBezTo>
                    <a:pt x="2021681" y="167164"/>
                    <a:pt x="2019776" y="176689"/>
                    <a:pt x="2017871" y="186214"/>
                  </a:cubicBezTo>
                  <a:cubicBezTo>
                    <a:pt x="2017871" y="188119"/>
                    <a:pt x="2016919" y="190024"/>
                    <a:pt x="2016919" y="191929"/>
                  </a:cubicBezTo>
                  <a:cubicBezTo>
                    <a:pt x="2016919" y="191929"/>
                    <a:pt x="2016919" y="190976"/>
                    <a:pt x="2016919" y="190976"/>
                  </a:cubicBezTo>
                  <a:cubicBezTo>
                    <a:pt x="2018824" y="170021"/>
                    <a:pt x="2019776" y="158591"/>
                    <a:pt x="2019776" y="158591"/>
                  </a:cubicBezTo>
                  <a:cubicBezTo>
                    <a:pt x="2019776" y="158591"/>
                    <a:pt x="2017871" y="166211"/>
                    <a:pt x="2015014" y="178594"/>
                  </a:cubicBezTo>
                  <a:cubicBezTo>
                    <a:pt x="2015014" y="176689"/>
                    <a:pt x="2014061" y="174784"/>
                    <a:pt x="2014061" y="174784"/>
                  </a:cubicBezTo>
                  <a:cubicBezTo>
                    <a:pt x="2014061" y="174784"/>
                    <a:pt x="2014061" y="175736"/>
                    <a:pt x="2014061" y="177641"/>
                  </a:cubicBezTo>
                  <a:cubicBezTo>
                    <a:pt x="2013109" y="172879"/>
                    <a:pt x="2012156" y="168116"/>
                    <a:pt x="2011204" y="163354"/>
                  </a:cubicBezTo>
                  <a:cubicBezTo>
                    <a:pt x="2008346" y="148114"/>
                    <a:pt x="2006441" y="135731"/>
                    <a:pt x="2003584" y="125254"/>
                  </a:cubicBezTo>
                  <a:cubicBezTo>
                    <a:pt x="1999774" y="104299"/>
                    <a:pt x="1996916" y="91916"/>
                    <a:pt x="1996916" y="91916"/>
                  </a:cubicBezTo>
                  <a:cubicBezTo>
                    <a:pt x="1996916" y="91916"/>
                    <a:pt x="1997869" y="104299"/>
                    <a:pt x="1999774" y="125254"/>
                  </a:cubicBezTo>
                  <a:cubicBezTo>
                    <a:pt x="2000726" y="135731"/>
                    <a:pt x="2001679" y="149066"/>
                    <a:pt x="2003584" y="164306"/>
                  </a:cubicBezTo>
                  <a:cubicBezTo>
                    <a:pt x="2004536" y="175736"/>
                    <a:pt x="2006441" y="189071"/>
                    <a:pt x="2008346" y="203359"/>
                  </a:cubicBezTo>
                  <a:cubicBezTo>
                    <a:pt x="2005489" y="213836"/>
                    <a:pt x="2002631" y="227171"/>
                    <a:pt x="1999774" y="240506"/>
                  </a:cubicBezTo>
                  <a:cubicBezTo>
                    <a:pt x="1995011" y="262414"/>
                    <a:pt x="1990249" y="288131"/>
                    <a:pt x="1984534" y="314801"/>
                  </a:cubicBezTo>
                  <a:cubicBezTo>
                    <a:pt x="1984534" y="303371"/>
                    <a:pt x="1984534" y="292894"/>
                    <a:pt x="1984534" y="283369"/>
                  </a:cubicBezTo>
                  <a:cubicBezTo>
                    <a:pt x="1984534" y="277654"/>
                    <a:pt x="1984534" y="271939"/>
                    <a:pt x="1984534" y="267176"/>
                  </a:cubicBezTo>
                  <a:cubicBezTo>
                    <a:pt x="1985486" y="265271"/>
                    <a:pt x="1986439" y="263366"/>
                    <a:pt x="1986439" y="263366"/>
                  </a:cubicBezTo>
                  <a:cubicBezTo>
                    <a:pt x="1986439" y="263366"/>
                    <a:pt x="1985486" y="264319"/>
                    <a:pt x="1984534" y="265271"/>
                  </a:cubicBezTo>
                  <a:cubicBezTo>
                    <a:pt x="1984534" y="257651"/>
                    <a:pt x="1984534" y="250031"/>
                    <a:pt x="1985486" y="243364"/>
                  </a:cubicBezTo>
                  <a:cubicBezTo>
                    <a:pt x="1986439" y="231934"/>
                    <a:pt x="1986439" y="221456"/>
                    <a:pt x="1987391" y="212884"/>
                  </a:cubicBezTo>
                  <a:cubicBezTo>
                    <a:pt x="1988344" y="195739"/>
                    <a:pt x="1989296" y="186214"/>
                    <a:pt x="1989296" y="186214"/>
                  </a:cubicBezTo>
                  <a:cubicBezTo>
                    <a:pt x="1989296" y="186214"/>
                    <a:pt x="1987391" y="195739"/>
                    <a:pt x="1983581" y="211931"/>
                  </a:cubicBezTo>
                  <a:cubicBezTo>
                    <a:pt x="1981676" y="220504"/>
                    <a:pt x="1979771" y="230029"/>
                    <a:pt x="1978819" y="242411"/>
                  </a:cubicBezTo>
                  <a:cubicBezTo>
                    <a:pt x="1976914" y="253841"/>
                    <a:pt x="1975961" y="267176"/>
                    <a:pt x="1974056" y="281464"/>
                  </a:cubicBezTo>
                  <a:cubicBezTo>
                    <a:pt x="1974056" y="281464"/>
                    <a:pt x="1973104" y="282416"/>
                    <a:pt x="1973104" y="282416"/>
                  </a:cubicBezTo>
                  <a:cubicBezTo>
                    <a:pt x="1971199" y="284321"/>
                    <a:pt x="1970246" y="286226"/>
                    <a:pt x="1968341" y="289084"/>
                  </a:cubicBezTo>
                  <a:cubicBezTo>
                    <a:pt x="1968341" y="287179"/>
                    <a:pt x="1968341" y="285274"/>
                    <a:pt x="1968341" y="283369"/>
                  </a:cubicBezTo>
                  <a:cubicBezTo>
                    <a:pt x="1971199" y="277654"/>
                    <a:pt x="1973104" y="274796"/>
                    <a:pt x="1973104" y="274796"/>
                  </a:cubicBezTo>
                  <a:cubicBezTo>
                    <a:pt x="1973104" y="274796"/>
                    <a:pt x="1971199" y="276701"/>
                    <a:pt x="1968341" y="280511"/>
                  </a:cubicBezTo>
                  <a:cubicBezTo>
                    <a:pt x="1970246" y="255746"/>
                    <a:pt x="1972151" y="235744"/>
                    <a:pt x="1973104" y="224314"/>
                  </a:cubicBezTo>
                  <a:cubicBezTo>
                    <a:pt x="1975961" y="201454"/>
                    <a:pt x="1976914" y="187166"/>
                    <a:pt x="1976914" y="187166"/>
                  </a:cubicBezTo>
                  <a:cubicBezTo>
                    <a:pt x="1976914" y="187166"/>
                    <a:pt x="1973104" y="198596"/>
                    <a:pt x="1967389" y="218599"/>
                  </a:cubicBezTo>
                  <a:cubicBezTo>
                    <a:pt x="1967389" y="217646"/>
                    <a:pt x="1967389" y="216694"/>
                    <a:pt x="1967389" y="216694"/>
                  </a:cubicBezTo>
                  <a:cubicBezTo>
                    <a:pt x="1967389" y="216694"/>
                    <a:pt x="1967389" y="217646"/>
                    <a:pt x="1966436" y="220504"/>
                  </a:cubicBezTo>
                  <a:cubicBezTo>
                    <a:pt x="1963579" y="229076"/>
                    <a:pt x="1960721" y="238601"/>
                    <a:pt x="1957864" y="250031"/>
                  </a:cubicBezTo>
                  <a:cubicBezTo>
                    <a:pt x="1955959" y="256699"/>
                    <a:pt x="1954054" y="264319"/>
                    <a:pt x="1952149" y="271939"/>
                  </a:cubicBezTo>
                  <a:cubicBezTo>
                    <a:pt x="1947386" y="250031"/>
                    <a:pt x="1944529" y="232886"/>
                    <a:pt x="1941671" y="221456"/>
                  </a:cubicBezTo>
                  <a:cubicBezTo>
                    <a:pt x="1941671" y="218599"/>
                    <a:pt x="1942624" y="215741"/>
                    <a:pt x="1942624" y="213836"/>
                  </a:cubicBezTo>
                  <a:cubicBezTo>
                    <a:pt x="1946434" y="203359"/>
                    <a:pt x="1949291" y="193834"/>
                    <a:pt x="1952149" y="186214"/>
                  </a:cubicBezTo>
                  <a:cubicBezTo>
                    <a:pt x="1958816" y="168116"/>
                    <a:pt x="1962626" y="157639"/>
                    <a:pt x="1962626" y="157639"/>
                  </a:cubicBezTo>
                  <a:cubicBezTo>
                    <a:pt x="1962626" y="157639"/>
                    <a:pt x="1957864" y="167164"/>
                    <a:pt x="1948339" y="185261"/>
                  </a:cubicBezTo>
                  <a:cubicBezTo>
                    <a:pt x="1947386" y="187166"/>
                    <a:pt x="1946434" y="189071"/>
                    <a:pt x="1945481" y="190976"/>
                  </a:cubicBezTo>
                  <a:cubicBezTo>
                    <a:pt x="1945481" y="190024"/>
                    <a:pt x="1945481" y="189071"/>
                    <a:pt x="1945481" y="189071"/>
                  </a:cubicBezTo>
                  <a:cubicBezTo>
                    <a:pt x="1945481" y="189071"/>
                    <a:pt x="1945481" y="190024"/>
                    <a:pt x="1944529" y="192881"/>
                  </a:cubicBezTo>
                  <a:cubicBezTo>
                    <a:pt x="1942624" y="196691"/>
                    <a:pt x="1940719" y="201454"/>
                    <a:pt x="1938814" y="205264"/>
                  </a:cubicBezTo>
                  <a:cubicBezTo>
                    <a:pt x="1936909" y="170021"/>
                    <a:pt x="1935004" y="148114"/>
                    <a:pt x="1935004" y="148114"/>
                  </a:cubicBezTo>
                  <a:cubicBezTo>
                    <a:pt x="1935004" y="148114"/>
                    <a:pt x="1931194" y="178594"/>
                    <a:pt x="1928336" y="224314"/>
                  </a:cubicBezTo>
                  <a:cubicBezTo>
                    <a:pt x="1928336" y="225266"/>
                    <a:pt x="1928336" y="227171"/>
                    <a:pt x="1928336" y="229076"/>
                  </a:cubicBezTo>
                  <a:cubicBezTo>
                    <a:pt x="1927384" y="231934"/>
                    <a:pt x="1925479" y="234791"/>
                    <a:pt x="1924526" y="236696"/>
                  </a:cubicBezTo>
                  <a:cubicBezTo>
                    <a:pt x="1921669" y="243364"/>
                    <a:pt x="1918811" y="250984"/>
                    <a:pt x="1915001" y="258604"/>
                  </a:cubicBezTo>
                  <a:cubicBezTo>
                    <a:pt x="1914049" y="261461"/>
                    <a:pt x="1912144" y="265271"/>
                    <a:pt x="1911191" y="268129"/>
                  </a:cubicBezTo>
                  <a:cubicBezTo>
                    <a:pt x="1910239" y="265271"/>
                    <a:pt x="1908334" y="262414"/>
                    <a:pt x="1907381" y="259556"/>
                  </a:cubicBezTo>
                  <a:lnTo>
                    <a:pt x="1907381" y="258604"/>
                  </a:lnTo>
                  <a:lnTo>
                    <a:pt x="1907381" y="258604"/>
                  </a:lnTo>
                  <a:cubicBezTo>
                    <a:pt x="1905476" y="256699"/>
                    <a:pt x="1903571" y="254794"/>
                    <a:pt x="1900714" y="253841"/>
                  </a:cubicBezTo>
                  <a:cubicBezTo>
                    <a:pt x="1899761" y="253841"/>
                    <a:pt x="1898809" y="252889"/>
                    <a:pt x="1897856" y="252889"/>
                  </a:cubicBezTo>
                  <a:cubicBezTo>
                    <a:pt x="1897856" y="252889"/>
                    <a:pt x="1896904" y="252889"/>
                    <a:pt x="1896904" y="252889"/>
                  </a:cubicBezTo>
                  <a:cubicBezTo>
                    <a:pt x="1896904" y="251936"/>
                    <a:pt x="1896904" y="251936"/>
                    <a:pt x="1896904" y="250984"/>
                  </a:cubicBezTo>
                  <a:cubicBezTo>
                    <a:pt x="1896904" y="249079"/>
                    <a:pt x="1897856" y="247174"/>
                    <a:pt x="1897856" y="246221"/>
                  </a:cubicBezTo>
                  <a:cubicBezTo>
                    <a:pt x="1899761" y="240506"/>
                    <a:pt x="1900714" y="234791"/>
                    <a:pt x="1902619" y="230029"/>
                  </a:cubicBezTo>
                  <a:cubicBezTo>
                    <a:pt x="1903571" y="228124"/>
                    <a:pt x="1903571" y="226219"/>
                    <a:pt x="1903571" y="226219"/>
                  </a:cubicBezTo>
                  <a:cubicBezTo>
                    <a:pt x="1903571" y="226219"/>
                    <a:pt x="1903571" y="226219"/>
                    <a:pt x="1902619" y="227171"/>
                  </a:cubicBezTo>
                  <a:cubicBezTo>
                    <a:pt x="1903571" y="222409"/>
                    <a:pt x="1905476" y="218599"/>
                    <a:pt x="1906429" y="214789"/>
                  </a:cubicBezTo>
                  <a:cubicBezTo>
                    <a:pt x="1909286" y="205264"/>
                    <a:pt x="1912144" y="196691"/>
                    <a:pt x="1915001" y="190976"/>
                  </a:cubicBezTo>
                  <a:cubicBezTo>
                    <a:pt x="1919764" y="177641"/>
                    <a:pt x="1922621" y="170021"/>
                    <a:pt x="1922621" y="170021"/>
                  </a:cubicBezTo>
                  <a:cubicBezTo>
                    <a:pt x="1922621" y="170021"/>
                    <a:pt x="1918811" y="176689"/>
                    <a:pt x="1911191" y="189071"/>
                  </a:cubicBezTo>
                  <a:cubicBezTo>
                    <a:pt x="1907381" y="194786"/>
                    <a:pt x="1903571" y="203359"/>
                    <a:pt x="1899761" y="211931"/>
                  </a:cubicBezTo>
                  <a:cubicBezTo>
                    <a:pt x="1897856" y="216694"/>
                    <a:pt x="1894999" y="221456"/>
                    <a:pt x="1893094" y="226219"/>
                  </a:cubicBezTo>
                  <a:cubicBezTo>
                    <a:pt x="1892141" y="229076"/>
                    <a:pt x="1890236" y="231934"/>
                    <a:pt x="1889284" y="235744"/>
                  </a:cubicBezTo>
                  <a:cubicBezTo>
                    <a:pt x="1889284" y="234791"/>
                    <a:pt x="1889284" y="233839"/>
                    <a:pt x="1888331" y="232886"/>
                  </a:cubicBezTo>
                  <a:cubicBezTo>
                    <a:pt x="1888331" y="227171"/>
                    <a:pt x="1888331" y="221456"/>
                    <a:pt x="1889284" y="216694"/>
                  </a:cubicBezTo>
                  <a:cubicBezTo>
                    <a:pt x="1889284" y="210979"/>
                    <a:pt x="1890236" y="205264"/>
                    <a:pt x="1891189" y="200501"/>
                  </a:cubicBezTo>
                  <a:cubicBezTo>
                    <a:pt x="1892141" y="195739"/>
                    <a:pt x="1893094" y="190976"/>
                    <a:pt x="1894046" y="187166"/>
                  </a:cubicBezTo>
                  <a:cubicBezTo>
                    <a:pt x="1895951" y="179546"/>
                    <a:pt x="1897856" y="172879"/>
                    <a:pt x="1899761" y="169069"/>
                  </a:cubicBezTo>
                  <a:cubicBezTo>
                    <a:pt x="1901666" y="165259"/>
                    <a:pt x="1902619" y="162401"/>
                    <a:pt x="1902619" y="162401"/>
                  </a:cubicBezTo>
                  <a:cubicBezTo>
                    <a:pt x="1902619" y="162401"/>
                    <a:pt x="1901666" y="164306"/>
                    <a:pt x="1898809" y="168116"/>
                  </a:cubicBezTo>
                  <a:cubicBezTo>
                    <a:pt x="1895951" y="171926"/>
                    <a:pt x="1893094" y="177641"/>
                    <a:pt x="1890236" y="186214"/>
                  </a:cubicBezTo>
                  <a:cubicBezTo>
                    <a:pt x="1889284" y="190024"/>
                    <a:pt x="1887379" y="194786"/>
                    <a:pt x="1885474" y="199549"/>
                  </a:cubicBezTo>
                  <a:cubicBezTo>
                    <a:pt x="1884521" y="204311"/>
                    <a:pt x="1883569" y="209074"/>
                    <a:pt x="1882616" y="213836"/>
                  </a:cubicBezTo>
                  <a:cubicBezTo>
                    <a:pt x="1882616" y="211931"/>
                    <a:pt x="1882616" y="210026"/>
                    <a:pt x="1882616" y="210026"/>
                  </a:cubicBezTo>
                  <a:cubicBezTo>
                    <a:pt x="1882616" y="210026"/>
                    <a:pt x="1880711" y="216694"/>
                    <a:pt x="1878806" y="228124"/>
                  </a:cubicBezTo>
                  <a:cubicBezTo>
                    <a:pt x="1877854" y="232886"/>
                    <a:pt x="1876901" y="237649"/>
                    <a:pt x="1874996" y="243364"/>
                  </a:cubicBezTo>
                  <a:cubicBezTo>
                    <a:pt x="1874996" y="239554"/>
                    <a:pt x="1874996" y="237649"/>
                    <a:pt x="1874996" y="237649"/>
                  </a:cubicBezTo>
                  <a:cubicBezTo>
                    <a:pt x="1874996" y="237649"/>
                    <a:pt x="1874044" y="244316"/>
                    <a:pt x="1872139" y="255746"/>
                  </a:cubicBezTo>
                  <a:cubicBezTo>
                    <a:pt x="1871186" y="260509"/>
                    <a:pt x="1870234" y="266224"/>
                    <a:pt x="1868329" y="270986"/>
                  </a:cubicBezTo>
                  <a:cubicBezTo>
                    <a:pt x="1868329" y="267176"/>
                    <a:pt x="1869281" y="263366"/>
                    <a:pt x="1869281" y="259556"/>
                  </a:cubicBezTo>
                  <a:cubicBezTo>
                    <a:pt x="1871186" y="243364"/>
                    <a:pt x="1873091" y="228124"/>
                    <a:pt x="1874996" y="213836"/>
                  </a:cubicBezTo>
                  <a:cubicBezTo>
                    <a:pt x="1875949" y="207169"/>
                    <a:pt x="1876901" y="200501"/>
                    <a:pt x="1877854" y="193834"/>
                  </a:cubicBezTo>
                  <a:cubicBezTo>
                    <a:pt x="1878806" y="187166"/>
                    <a:pt x="1880711" y="181451"/>
                    <a:pt x="1881664" y="175736"/>
                  </a:cubicBezTo>
                  <a:cubicBezTo>
                    <a:pt x="1883569" y="164306"/>
                    <a:pt x="1885474" y="154781"/>
                    <a:pt x="1888331" y="146209"/>
                  </a:cubicBezTo>
                  <a:cubicBezTo>
                    <a:pt x="1892141" y="130016"/>
                    <a:pt x="1894999" y="120491"/>
                    <a:pt x="1894999" y="120491"/>
                  </a:cubicBezTo>
                  <a:cubicBezTo>
                    <a:pt x="1894999" y="120491"/>
                    <a:pt x="1891189" y="129064"/>
                    <a:pt x="1885474" y="144304"/>
                  </a:cubicBezTo>
                  <a:cubicBezTo>
                    <a:pt x="1882616" y="151924"/>
                    <a:pt x="1878806" y="161449"/>
                    <a:pt x="1875949" y="172879"/>
                  </a:cubicBezTo>
                  <a:cubicBezTo>
                    <a:pt x="1874044" y="178594"/>
                    <a:pt x="1872139" y="184309"/>
                    <a:pt x="1870234" y="190976"/>
                  </a:cubicBezTo>
                  <a:cubicBezTo>
                    <a:pt x="1868329" y="197644"/>
                    <a:pt x="1867376" y="204311"/>
                    <a:pt x="1865471" y="210979"/>
                  </a:cubicBezTo>
                  <a:cubicBezTo>
                    <a:pt x="1863566" y="219551"/>
                    <a:pt x="1860709" y="229076"/>
                    <a:pt x="1858804" y="238601"/>
                  </a:cubicBezTo>
                  <a:cubicBezTo>
                    <a:pt x="1858804" y="221456"/>
                    <a:pt x="1857851" y="206216"/>
                    <a:pt x="1856899" y="194786"/>
                  </a:cubicBezTo>
                  <a:cubicBezTo>
                    <a:pt x="1855946" y="181451"/>
                    <a:pt x="1854994" y="172879"/>
                    <a:pt x="1854994" y="172879"/>
                  </a:cubicBezTo>
                  <a:cubicBezTo>
                    <a:pt x="1854994" y="172879"/>
                    <a:pt x="1854041" y="180499"/>
                    <a:pt x="1853089" y="194786"/>
                  </a:cubicBezTo>
                  <a:cubicBezTo>
                    <a:pt x="1852136" y="208121"/>
                    <a:pt x="1850231" y="228124"/>
                    <a:pt x="1848326" y="250984"/>
                  </a:cubicBezTo>
                  <a:cubicBezTo>
                    <a:pt x="1847374" y="260509"/>
                    <a:pt x="1846421" y="271939"/>
                    <a:pt x="1845469" y="282416"/>
                  </a:cubicBezTo>
                  <a:cubicBezTo>
                    <a:pt x="1843564" y="279559"/>
                    <a:pt x="1841659" y="276701"/>
                    <a:pt x="1839754" y="273844"/>
                  </a:cubicBezTo>
                  <a:cubicBezTo>
                    <a:pt x="1839754" y="270986"/>
                    <a:pt x="1838801" y="269081"/>
                    <a:pt x="1838801" y="269081"/>
                  </a:cubicBezTo>
                  <a:cubicBezTo>
                    <a:pt x="1838801" y="269081"/>
                    <a:pt x="1838801" y="270034"/>
                    <a:pt x="1838801" y="272891"/>
                  </a:cubicBezTo>
                  <a:cubicBezTo>
                    <a:pt x="1834039" y="266224"/>
                    <a:pt x="1830229" y="260509"/>
                    <a:pt x="1827371" y="256699"/>
                  </a:cubicBezTo>
                  <a:cubicBezTo>
                    <a:pt x="1829276" y="216694"/>
                    <a:pt x="1828324" y="190976"/>
                    <a:pt x="1828324" y="190976"/>
                  </a:cubicBezTo>
                  <a:cubicBezTo>
                    <a:pt x="1828324" y="190976"/>
                    <a:pt x="1826419" y="202406"/>
                    <a:pt x="1822609" y="222409"/>
                  </a:cubicBezTo>
                  <a:cubicBezTo>
                    <a:pt x="1822609" y="219551"/>
                    <a:pt x="1822609" y="217646"/>
                    <a:pt x="1822609" y="214789"/>
                  </a:cubicBezTo>
                  <a:cubicBezTo>
                    <a:pt x="1822609" y="196691"/>
                    <a:pt x="1821656" y="178594"/>
                    <a:pt x="1822609" y="161449"/>
                  </a:cubicBezTo>
                  <a:cubicBezTo>
                    <a:pt x="1823561" y="144304"/>
                    <a:pt x="1823561" y="129064"/>
                    <a:pt x="1823561" y="113824"/>
                  </a:cubicBezTo>
                  <a:cubicBezTo>
                    <a:pt x="1824514" y="54769"/>
                    <a:pt x="1823561" y="15716"/>
                    <a:pt x="1823561" y="15716"/>
                  </a:cubicBezTo>
                  <a:cubicBezTo>
                    <a:pt x="1823561" y="15716"/>
                    <a:pt x="1817846" y="54769"/>
                    <a:pt x="1812131" y="112871"/>
                  </a:cubicBezTo>
                  <a:cubicBezTo>
                    <a:pt x="1811179" y="127159"/>
                    <a:pt x="1809274" y="143351"/>
                    <a:pt x="1807369" y="160496"/>
                  </a:cubicBezTo>
                  <a:cubicBezTo>
                    <a:pt x="1805464" y="175736"/>
                    <a:pt x="1805464" y="191929"/>
                    <a:pt x="1805464" y="209074"/>
                  </a:cubicBezTo>
                  <a:cubicBezTo>
                    <a:pt x="1803559" y="210026"/>
                    <a:pt x="1802606" y="210979"/>
                    <a:pt x="1801654" y="211931"/>
                  </a:cubicBezTo>
                  <a:lnTo>
                    <a:pt x="1801654" y="211931"/>
                  </a:lnTo>
                  <a:lnTo>
                    <a:pt x="1801654" y="212884"/>
                  </a:lnTo>
                  <a:cubicBezTo>
                    <a:pt x="1797844" y="221456"/>
                    <a:pt x="1794034" y="229076"/>
                    <a:pt x="1790224" y="237649"/>
                  </a:cubicBezTo>
                  <a:cubicBezTo>
                    <a:pt x="1790224" y="217646"/>
                    <a:pt x="1790224" y="207169"/>
                    <a:pt x="1790224" y="207169"/>
                  </a:cubicBezTo>
                  <a:cubicBezTo>
                    <a:pt x="1790224" y="207169"/>
                    <a:pt x="1788319" y="218599"/>
                    <a:pt x="1786414" y="239554"/>
                  </a:cubicBezTo>
                  <a:cubicBezTo>
                    <a:pt x="1786414" y="243364"/>
                    <a:pt x="1785461" y="246221"/>
                    <a:pt x="1784509" y="250984"/>
                  </a:cubicBezTo>
                  <a:cubicBezTo>
                    <a:pt x="1784509" y="251936"/>
                    <a:pt x="1784509" y="251936"/>
                    <a:pt x="1783556" y="252889"/>
                  </a:cubicBezTo>
                  <a:cubicBezTo>
                    <a:pt x="1779746" y="236696"/>
                    <a:pt x="1776889" y="226219"/>
                    <a:pt x="1776889" y="226219"/>
                  </a:cubicBezTo>
                  <a:cubicBezTo>
                    <a:pt x="1776889" y="226219"/>
                    <a:pt x="1776889" y="236696"/>
                    <a:pt x="1777841" y="253841"/>
                  </a:cubicBezTo>
                  <a:cubicBezTo>
                    <a:pt x="1774031" y="244316"/>
                    <a:pt x="1771174" y="236696"/>
                    <a:pt x="1768316" y="230029"/>
                  </a:cubicBezTo>
                  <a:cubicBezTo>
                    <a:pt x="1763554" y="219551"/>
                    <a:pt x="1760696" y="211931"/>
                    <a:pt x="1759744" y="209074"/>
                  </a:cubicBezTo>
                  <a:cubicBezTo>
                    <a:pt x="1759744" y="209074"/>
                    <a:pt x="1759744" y="208121"/>
                    <a:pt x="1759744" y="208121"/>
                  </a:cubicBezTo>
                  <a:cubicBezTo>
                    <a:pt x="1761649" y="202406"/>
                    <a:pt x="1761649" y="198596"/>
                    <a:pt x="1761649" y="198596"/>
                  </a:cubicBezTo>
                  <a:cubicBezTo>
                    <a:pt x="1761649" y="198596"/>
                    <a:pt x="1760696" y="200501"/>
                    <a:pt x="1759744" y="203359"/>
                  </a:cubicBezTo>
                  <a:cubicBezTo>
                    <a:pt x="1759744" y="200501"/>
                    <a:pt x="1759744" y="197644"/>
                    <a:pt x="1759744" y="195739"/>
                  </a:cubicBezTo>
                  <a:cubicBezTo>
                    <a:pt x="1760696" y="187166"/>
                    <a:pt x="1760696" y="178594"/>
                    <a:pt x="1761649" y="171926"/>
                  </a:cubicBezTo>
                  <a:cubicBezTo>
                    <a:pt x="1762601" y="158591"/>
                    <a:pt x="1762601" y="151924"/>
                    <a:pt x="1762601" y="151924"/>
                  </a:cubicBezTo>
                  <a:cubicBezTo>
                    <a:pt x="1762601" y="151924"/>
                    <a:pt x="1760696" y="159544"/>
                    <a:pt x="1756886" y="171926"/>
                  </a:cubicBezTo>
                  <a:cubicBezTo>
                    <a:pt x="1754981" y="180499"/>
                    <a:pt x="1752124" y="191929"/>
                    <a:pt x="1749266" y="205264"/>
                  </a:cubicBezTo>
                  <a:cubicBezTo>
                    <a:pt x="1746409" y="200501"/>
                    <a:pt x="1745456" y="197644"/>
                    <a:pt x="1745456" y="197644"/>
                  </a:cubicBezTo>
                  <a:cubicBezTo>
                    <a:pt x="1745456" y="197644"/>
                    <a:pt x="1746409" y="201454"/>
                    <a:pt x="1749266" y="208121"/>
                  </a:cubicBezTo>
                  <a:cubicBezTo>
                    <a:pt x="1748314" y="213836"/>
                    <a:pt x="1747361" y="219551"/>
                    <a:pt x="1746409" y="225266"/>
                  </a:cubicBezTo>
                  <a:cubicBezTo>
                    <a:pt x="1746409" y="226219"/>
                    <a:pt x="1746409" y="227171"/>
                    <a:pt x="1746409" y="228124"/>
                  </a:cubicBezTo>
                  <a:cubicBezTo>
                    <a:pt x="1741646" y="193834"/>
                    <a:pt x="1737836" y="171926"/>
                    <a:pt x="1737836" y="171926"/>
                  </a:cubicBezTo>
                  <a:cubicBezTo>
                    <a:pt x="1737836" y="171926"/>
                    <a:pt x="1736884" y="204311"/>
                    <a:pt x="1738789" y="252889"/>
                  </a:cubicBezTo>
                  <a:cubicBezTo>
                    <a:pt x="1737836" y="253841"/>
                    <a:pt x="1737836" y="255746"/>
                    <a:pt x="1736884" y="256699"/>
                  </a:cubicBezTo>
                  <a:cubicBezTo>
                    <a:pt x="1735931" y="253841"/>
                    <a:pt x="1735931" y="252889"/>
                    <a:pt x="1735931" y="252889"/>
                  </a:cubicBezTo>
                  <a:cubicBezTo>
                    <a:pt x="1735931" y="252889"/>
                    <a:pt x="1735931" y="254794"/>
                    <a:pt x="1735931" y="257651"/>
                  </a:cubicBezTo>
                  <a:cubicBezTo>
                    <a:pt x="1734979" y="259556"/>
                    <a:pt x="1734026" y="261461"/>
                    <a:pt x="1733074" y="264319"/>
                  </a:cubicBezTo>
                  <a:cubicBezTo>
                    <a:pt x="1731169" y="270034"/>
                    <a:pt x="1729264" y="276701"/>
                    <a:pt x="1727359" y="283369"/>
                  </a:cubicBezTo>
                  <a:cubicBezTo>
                    <a:pt x="1725454" y="288131"/>
                    <a:pt x="1723549" y="293846"/>
                    <a:pt x="1722596" y="299561"/>
                  </a:cubicBezTo>
                  <a:cubicBezTo>
                    <a:pt x="1720691" y="278606"/>
                    <a:pt x="1718786" y="267176"/>
                    <a:pt x="1718786" y="267176"/>
                  </a:cubicBezTo>
                  <a:cubicBezTo>
                    <a:pt x="1718786" y="267176"/>
                    <a:pt x="1717834" y="286226"/>
                    <a:pt x="1716881" y="317659"/>
                  </a:cubicBezTo>
                  <a:cubicBezTo>
                    <a:pt x="1716881" y="317659"/>
                    <a:pt x="1716881" y="318611"/>
                    <a:pt x="1716881" y="318611"/>
                  </a:cubicBezTo>
                  <a:cubicBezTo>
                    <a:pt x="1715929" y="317659"/>
                    <a:pt x="1715929" y="316706"/>
                    <a:pt x="1714976" y="316706"/>
                  </a:cubicBezTo>
                  <a:cubicBezTo>
                    <a:pt x="1712119" y="307181"/>
                    <a:pt x="1710214" y="297656"/>
                    <a:pt x="1707356" y="288131"/>
                  </a:cubicBezTo>
                  <a:cubicBezTo>
                    <a:pt x="1708309" y="270034"/>
                    <a:pt x="1709261" y="252889"/>
                    <a:pt x="1709261" y="237649"/>
                  </a:cubicBezTo>
                  <a:cubicBezTo>
                    <a:pt x="1711166" y="192881"/>
                    <a:pt x="1710214" y="163354"/>
                    <a:pt x="1710214" y="163354"/>
                  </a:cubicBezTo>
                  <a:cubicBezTo>
                    <a:pt x="1710214" y="163354"/>
                    <a:pt x="1705451" y="189071"/>
                    <a:pt x="1698784" y="229076"/>
                  </a:cubicBezTo>
                  <a:cubicBezTo>
                    <a:pt x="1696879" y="219551"/>
                    <a:pt x="1695926" y="210979"/>
                    <a:pt x="1694021" y="203359"/>
                  </a:cubicBezTo>
                  <a:cubicBezTo>
                    <a:pt x="1695926" y="191929"/>
                    <a:pt x="1697831" y="180499"/>
                    <a:pt x="1699736" y="170021"/>
                  </a:cubicBezTo>
                  <a:cubicBezTo>
                    <a:pt x="1702594" y="151924"/>
                    <a:pt x="1705451" y="134779"/>
                    <a:pt x="1706404" y="119539"/>
                  </a:cubicBezTo>
                  <a:cubicBezTo>
                    <a:pt x="1708309" y="104299"/>
                    <a:pt x="1709261" y="91916"/>
                    <a:pt x="1710214" y="80486"/>
                  </a:cubicBezTo>
                  <a:cubicBezTo>
                    <a:pt x="1712119" y="59531"/>
                    <a:pt x="1713071" y="47149"/>
                    <a:pt x="1713071" y="47149"/>
                  </a:cubicBezTo>
                  <a:cubicBezTo>
                    <a:pt x="1713071" y="47149"/>
                    <a:pt x="1710214" y="59531"/>
                    <a:pt x="1706404" y="80486"/>
                  </a:cubicBezTo>
                  <a:cubicBezTo>
                    <a:pt x="1704499" y="90964"/>
                    <a:pt x="1701641" y="104299"/>
                    <a:pt x="1698784" y="118586"/>
                  </a:cubicBezTo>
                  <a:cubicBezTo>
                    <a:pt x="1695926" y="133826"/>
                    <a:pt x="1692116" y="150019"/>
                    <a:pt x="1688306" y="168116"/>
                  </a:cubicBezTo>
                  <a:cubicBezTo>
                    <a:pt x="1688306" y="169069"/>
                    <a:pt x="1687354" y="170974"/>
                    <a:pt x="1687354" y="171926"/>
                  </a:cubicBezTo>
                  <a:cubicBezTo>
                    <a:pt x="1685449" y="164306"/>
                    <a:pt x="1684496" y="160496"/>
                    <a:pt x="1684496" y="160496"/>
                  </a:cubicBezTo>
                  <a:cubicBezTo>
                    <a:pt x="1684496" y="160496"/>
                    <a:pt x="1684496" y="167164"/>
                    <a:pt x="1685449" y="179546"/>
                  </a:cubicBezTo>
                  <a:cubicBezTo>
                    <a:pt x="1684496" y="185261"/>
                    <a:pt x="1682591" y="191929"/>
                    <a:pt x="1681639" y="197644"/>
                  </a:cubicBezTo>
                  <a:cubicBezTo>
                    <a:pt x="1680686" y="195739"/>
                    <a:pt x="1680686" y="194786"/>
                    <a:pt x="1680686" y="192881"/>
                  </a:cubicBezTo>
                  <a:cubicBezTo>
                    <a:pt x="1681639" y="186214"/>
                    <a:pt x="1681639" y="180499"/>
                    <a:pt x="1681639" y="174784"/>
                  </a:cubicBezTo>
                  <a:cubicBezTo>
                    <a:pt x="1681639" y="162401"/>
                    <a:pt x="1682591" y="151924"/>
                    <a:pt x="1682591" y="143351"/>
                  </a:cubicBezTo>
                  <a:cubicBezTo>
                    <a:pt x="1682591" y="126206"/>
                    <a:pt x="1683544" y="115729"/>
                    <a:pt x="1683544" y="115729"/>
                  </a:cubicBezTo>
                  <a:cubicBezTo>
                    <a:pt x="1683544" y="115729"/>
                    <a:pt x="1681639" y="125254"/>
                    <a:pt x="1678781" y="143351"/>
                  </a:cubicBezTo>
                  <a:cubicBezTo>
                    <a:pt x="1677829" y="151924"/>
                    <a:pt x="1675924" y="162401"/>
                    <a:pt x="1674019" y="174784"/>
                  </a:cubicBezTo>
                  <a:cubicBezTo>
                    <a:pt x="1672114" y="187166"/>
                    <a:pt x="1669256" y="200501"/>
                    <a:pt x="1666399" y="215741"/>
                  </a:cubicBezTo>
                  <a:cubicBezTo>
                    <a:pt x="1665446" y="220504"/>
                    <a:pt x="1664494" y="226219"/>
                    <a:pt x="1663541" y="231934"/>
                  </a:cubicBezTo>
                  <a:cubicBezTo>
                    <a:pt x="1662589" y="228124"/>
                    <a:pt x="1661636" y="225266"/>
                    <a:pt x="1661636" y="225266"/>
                  </a:cubicBezTo>
                  <a:cubicBezTo>
                    <a:pt x="1661636" y="225266"/>
                    <a:pt x="1661636" y="229076"/>
                    <a:pt x="1662589" y="236696"/>
                  </a:cubicBezTo>
                  <a:cubicBezTo>
                    <a:pt x="1661636" y="242411"/>
                    <a:pt x="1660684" y="248126"/>
                    <a:pt x="1659731" y="253841"/>
                  </a:cubicBezTo>
                  <a:cubicBezTo>
                    <a:pt x="1659731" y="252889"/>
                    <a:pt x="1658779" y="251936"/>
                    <a:pt x="1658779" y="251936"/>
                  </a:cubicBezTo>
                  <a:cubicBezTo>
                    <a:pt x="1654969" y="240506"/>
                    <a:pt x="1650206" y="230981"/>
                    <a:pt x="1646396" y="223361"/>
                  </a:cubicBezTo>
                  <a:cubicBezTo>
                    <a:pt x="1645444" y="220504"/>
                    <a:pt x="1643539" y="218599"/>
                    <a:pt x="1642586" y="215741"/>
                  </a:cubicBezTo>
                  <a:cubicBezTo>
                    <a:pt x="1642586" y="210979"/>
                    <a:pt x="1642586" y="207169"/>
                    <a:pt x="1642586" y="202406"/>
                  </a:cubicBezTo>
                  <a:cubicBezTo>
                    <a:pt x="1641634" y="186214"/>
                    <a:pt x="1641634" y="170021"/>
                    <a:pt x="1640681" y="154781"/>
                  </a:cubicBezTo>
                  <a:cubicBezTo>
                    <a:pt x="1639729" y="139541"/>
                    <a:pt x="1637824" y="125254"/>
                    <a:pt x="1635919" y="111919"/>
                  </a:cubicBezTo>
                  <a:cubicBezTo>
                    <a:pt x="1630204" y="58579"/>
                    <a:pt x="1624489" y="23336"/>
                    <a:pt x="1624489" y="23336"/>
                  </a:cubicBezTo>
                  <a:cubicBezTo>
                    <a:pt x="1624489" y="23336"/>
                    <a:pt x="1623536" y="58579"/>
                    <a:pt x="1624489" y="111919"/>
                  </a:cubicBezTo>
                  <a:cubicBezTo>
                    <a:pt x="1624489" y="125254"/>
                    <a:pt x="1624489" y="139541"/>
                    <a:pt x="1625441" y="154781"/>
                  </a:cubicBezTo>
                  <a:cubicBezTo>
                    <a:pt x="1626394" y="170021"/>
                    <a:pt x="1624489" y="186214"/>
                    <a:pt x="1625441" y="202406"/>
                  </a:cubicBezTo>
                  <a:cubicBezTo>
                    <a:pt x="1625441" y="210026"/>
                    <a:pt x="1625441" y="217646"/>
                    <a:pt x="1625441" y="225266"/>
                  </a:cubicBezTo>
                  <a:cubicBezTo>
                    <a:pt x="1625441" y="227171"/>
                    <a:pt x="1625441" y="229076"/>
                    <a:pt x="1625441" y="230981"/>
                  </a:cubicBezTo>
                  <a:cubicBezTo>
                    <a:pt x="1624489" y="230029"/>
                    <a:pt x="1624489" y="228124"/>
                    <a:pt x="1623536" y="227171"/>
                  </a:cubicBezTo>
                  <a:cubicBezTo>
                    <a:pt x="1620679" y="211931"/>
                    <a:pt x="1619726" y="203359"/>
                    <a:pt x="1619726" y="203359"/>
                  </a:cubicBezTo>
                  <a:cubicBezTo>
                    <a:pt x="1619726" y="203359"/>
                    <a:pt x="1619726" y="208121"/>
                    <a:pt x="1619726" y="217646"/>
                  </a:cubicBezTo>
                  <a:cubicBezTo>
                    <a:pt x="1613059" y="201454"/>
                    <a:pt x="1608296" y="190976"/>
                    <a:pt x="1608296" y="190976"/>
                  </a:cubicBezTo>
                  <a:cubicBezTo>
                    <a:pt x="1608296" y="190976"/>
                    <a:pt x="1612106" y="207169"/>
                    <a:pt x="1619726" y="233839"/>
                  </a:cubicBezTo>
                  <a:cubicBezTo>
                    <a:pt x="1619726" y="236696"/>
                    <a:pt x="1619726" y="239554"/>
                    <a:pt x="1619726" y="242411"/>
                  </a:cubicBezTo>
                  <a:cubicBezTo>
                    <a:pt x="1615916" y="236696"/>
                    <a:pt x="1613059" y="233839"/>
                    <a:pt x="1613059" y="233839"/>
                  </a:cubicBezTo>
                  <a:cubicBezTo>
                    <a:pt x="1613059" y="233839"/>
                    <a:pt x="1614964" y="238601"/>
                    <a:pt x="1619726" y="247174"/>
                  </a:cubicBezTo>
                  <a:cubicBezTo>
                    <a:pt x="1616869" y="250984"/>
                    <a:pt x="1614011" y="256699"/>
                    <a:pt x="1610201" y="264319"/>
                  </a:cubicBezTo>
                  <a:cubicBezTo>
                    <a:pt x="1609249" y="266224"/>
                    <a:pt x="1608296" y="268129"/>
                    <a:pt x="1607344" y="270034"/>
                  </a:cubicBezTo>
                  <a:cubicBezTo>
                    <a:pt x="1607344" y="269081"/>
                    <a:pt x="1606391" y="269081"/>
                    <a:pt x="1606391" y="269081"/>
                  </a:cubicBezTo>
                  <a:cubicBezTo>
                    <a:pt x="1606391" y="269081"/>
                    <a:pt x="1606391" y="269081"/>
                    <a:pt x="1607344" y="270034"/>
                  </a:cubicBezTo>
                  <a:cubicBezTo>
                    <a:pt x="1605439" y="273844"/>
                    <a:pt x="1603534" y="277654"/>
                    <a:pt x="1601629" y="282416"/>
                  </a:cubicBezTo>
                  <a:cubicBezTo>
                    <a:pt x="1601629" y="277654"/>
                    <a:pt x="1600676" y="273844"/>
                    <a:pt x="1600676" y="269081"/>
                  </a:cubicBezTo>
                  <a:cubicBezTo>
                    <a:pt x="1598771" y="243364"/>
                    <a:pt x="1596866" y="221456"/>
                    <a:pt x="1595914" y="207169"/>
                  </a:cubicBezTo>
                  <a:cubicBezTo>
                    <a:pt x="1594961" y="191929"/>
                    <a:pt x="1594009" y="183356"/>
                    <a:pt x="1594009" y="183356"/>
                  </a:cubicBezTo>
                  <a:cubicBezTo>
                    <a:pt x="1594009" y="183356"/>
                    <a:pt x="1593056" y="191929"/>
                    <a:pt x="1592104" y="207169"/>
                  </a:cubicBezTo>
                  <a:cubicBezTo>
                    <a:pt x="1592104" y="212884"/>
                    <a:pt x="1591151" y="219551"/>
                    <a:pt x="1591151" y="227171"/>
                  </a:cubicBezTo>
                  <a:cubicBezTo>
                    <a:pt x="1589246" y="216694"/>
                    <a:pt x="1586389" y="207169"/>
                    <a:pt x="1583531" y="197644"/>
                  </a:cubicBezTo>
                  <a:cubicBezTo>
                    <a:pt x="1581626" y="190976"/>
                    <a:pt x="1579721" y="185261"/>
                    <a:pt x="1578769" y="179546"/>
                  </a:cubicBezTo>
                  <a:cubicBezTo>
                    <a:pt x="1576864" y="173831"/>
                    <a:pt x="1574959" y="168116"/>
                    <a:pt x="1573054" y="163354"/>
                  </a:cubicBezTo>
                  <a:cubicBezTo>
                    <a:pt x="1569244" y="152876"/>
                    <a:pt x="1566386" y="144304"/>
                    <a:pt x="1563529" y="137636"/>
                  </a:cubicBezTo>
                  <a:cubicBezTo>
                    <a:pt x="1556861" y="123349"/>
                    <a:pt x="1554004" y="115729"/>
                    <a:pt x="1554004" y="115729"/>
                  </a:cubicBezTo>
                  <a:cubicBezTo>
                    <a:pt x="1554004" y="115729"/>
                    <a:pt x="1555909" y="124301"/>
                    <a:pt x="1560671" y="138589"/>
                  </a:cubicBezTo>
                  <a:cubicBezTo>
                    <a:pt x="1562576" y="146209"/>
                    <a:pt x="1564481" y="154781"/>
                    <a:pt x="1567339" y="165259"/>
                  </a:cubicBezTo>
                  <a:cubicBezTo>
                    <a:pt x="1568291" y="170021"/>
                    <a:pt x="1569244" y="175736"/>
                    <a:pt x="1571149" y="181451"/>
                  </a:cubicBezTo>
                  <a:cubicBezTo>
                    <a:pt x="1572101" y="187166"/>
                    <a:pt x="1573054" y="192881"/>
                    <a:pt x="1574006" y="199549"/>
                  </a:cubicBezTo>
                  <a:cubicBezTo>
                    <a:pt x="1576864" y="211931"/>
                    <a:pt x="1577816" y="226219"/>
                    <a:pt x="1579721" y="240506"/>
                  </a:cubicBezTo>
                  <a:cubicBezTo>
                    <a:pt x="1581626" y="253841"/>
                    <a:pt x="1582579" y="269081"/>
                    <a:pt x="1584484" y="283369"/>
                  </a:cubicBezTo>
                  <a:cubicBezTo>
                    <a:pt x="1581626" y="274796"/>
                    <a:pt x="1579721" y="266224"/>
                    <a:pt x="1576864" y="258604"/>
                  </a:cubicBezTo>
                  <a:cubicBezTo>
                    <a:pt x="1575911" y="255746"/>
                    <a:pt x="1574959" y="252889"/>
                    <a:pt x="1573054" y="249079"/>
                  </a:cubicBezTo>
                  <a:cubicBezTo>
                    <a:pt x="1573054" y="249079"/>
                    <a:pt x="1573054" y="248126"/>
                    <a:pt x="1573054" y="247174"/>
                  </a:cubicBezTo>
                  <a:cubicBezTo>
                    <a:pt x="1573054" y="243364"/>
                    <a:pt x="1573054" y="238601"/>
                    <a:pt x="1572101" y="234791"/>
                  </a:cubicBezTo>
                  <a:cubicBezTo>
                    <a:pt x="1571149" y="221456"/>
                    <a:pt x="1569244" y="209074"/>
                    <a:pt x="1567339" y="198596"/>
                  </a:cubicBezTo>
                  <a:cubicBezTo>
                    <a:pt x="1566386" y="192881"/>
                    <a:pt x="1564481" y="188119"/>
                    <a:pt x="1563529" y="184309"/>
                  </a:cubicBezTo>
                  <a:cubicBezTo>
                    <a:pt x="1561624" y="179546"/>
                    <a:pt x="1560671" y="175736"/>
                    <a:pt x="1558766" y="171926"/>
                  </a:cubicBezTo>
                  <a:cubicBezTo>
                    <a:pt x="1555909" y="164306"/>
                    <a:pt x="1553051" y="159544"/>
                    <a:pt x="1550194" y="155734"/>
                  </a:cubicBezTo>
                  <a:cubicBezTo>
                    <a:pt x="1548289" y="151924"/>
                    <a:pt x="1546384" y="150019"/>
                    <a:pt x="1546384" y="150019"/>
                  </a:cubicBezTo>
                  <a:cubicBezTo>
                    <a:pt x="1546384" y="150019"/>
                    <a:pt x="1547336" y="151924"/>
                    <a:pt x="1549241" y="155734"/>
                  </a:cubicBezTo>
                  <a:cubicBezTo>
                    <a:pt x="1551146" y="159544"/>
                    <a:pt x="1553051" y="165259"/>
                    <a:pt x="1554956" y="171926"/>
                  </a:cubicBezTo>
                  <a:cubicBezTo>
                    <a:pt x="1555909" y="175736"/>
                    <a:pt x="1556861" y="179546"/>
                    <a:pt x="1557814" y="184309"/>
                  </a:cubicBezTo>
                  <a:cubicBezTo>
                    <a:pt x="1557814" y="189071"/>
                    <a:pt x="1558766" y="193834"/>
                    <a:pt x="1559719" y="198596"/>
                  </a:cubicBezTo>
                  <a:cubicBezTo>
                    <a:pt x="1559719" y="203359"/>
                    <a:pt x="1560671" y="208121"/>
                    <a:pt x="1560671" y="213836"/>
                  </a:cubicBezTo>
                  <a:cubicBezTo>
                    <a:pt x="1560671" y="214789"/>
                    <a:pt x="1560671" y="215741"/>
                    <a:pt x="1559719" y="216694"/>
                  </a:cubicBezTo>
                  <a:cubicBezTo>
                    <a:pt x="1558766" y="213836"/>
                    <a:pt x="1556861" y="210979"/>
                    <a:pt x="1555909" y="208121"/>
                  </a:cubicBezTo>
                  <a:cubicBezTo>
                    <a:pt x="1554004" y="203359"/>
                    <a:pt x="1551146" y="199549"/>
                    <a:pt x="1549241" y="194786"/>
                  </a:cubicBezTo>
                  <a:cubicBezTo>
                    <a:pt x="1545431" y="186214"/>
                    <a:pt x="1541621" y="179546"/>
                    <a:pt x="1537811" y="173831"/>
                  </a:cubicBezTo>
                  <a:cubicBezTo>
                    <a:pt x="1530191" y="162401"/>
                    <a:pt x="1526381" y="156686"/>
                    <a:pt x="1526381" y="156686"/>
                  </a:cubicBezTo>
                  <a:cubicBezTo>
                    <a:pt x="1526381" y="156686"/>
                    <a:pt x="1529239" y="163354"/>
                    <a:pt x="1534001" y="175736"/>
                  </a:cubicBezTo>
                  <a:cubicBezTo>
                    <a:pt x="1536859" y="181451"/>
                    <a:pt x="1539716" y="189071"/>
                    <a:pt x="1542574" y="197644"/>
                  </a:cubicBezTo>
                  <a:cubicBezTo>
                    <a:pt x="1543526" y="201454"/>
                    <a:pt x="1545431" y="205264"/>
                    <a:pt x="1546384" y="209074"/>
                  </a:cubicBezTo>
                  <a:cubicBezTo>
                    <a:pt x="1546384" y="208121"/>
                    <a:pt x="1545431" y="208121"/>
                    <a:pt x="1545431" y="208121"/>
                  </a:cubicBezTo>
                  <a:cubicBezTo>
                    <a:pt x="1545431" y="208121"/>
                    <a:pt x="1546384" y="209074"/>
                    <a:pt x="1546384" y="210979"/>
                  </a:cubicBezTo>
                  <a:cubicBezTo>
                    <a:pt x="1548289" y="215741"/>
                    <a:pt x="1549241" y="220504"/>
                    <a:pt x="1551146" y="226219"/>
                  </a:cubicBezTo>
                  <a:cubicBezTo>
                    <a:pt x="1552099" y="228124"/>
                    <a:pt x="1552099" y="229076"/>
                    <a:pt x="1552099" y="230981"/>
                  </a:cubicBezTo>
                  <a:cubicBezTo>
                    <a:pt x="1552099" y="232886"/>
                    <a:pt x="1553051" y="233839"/>
                    <a:pt x="1553051" y="235744"/>
                  </a:cubicBezTo>
                  <a:cubicBezTo>
                    <a:pt x="1553051" y="237649"/>
                    <a:pt x="1553051" y="239554"/>
                    <a:pt x="1554004" y="241459"/>
                  </a:cubicBezTo>
                  <a:cubicBezTo>
                    <a:pt x="1554004" y="242411"/>
                    <a:pt x="1554004" y="243364"/>
                    <a:pt x="1554004" y="244316"/>
                  </a:cubicBezTo>
                  <a:cubicBezTo>
                    <a:pt x="1554004" y="246221"/>
                    <a:pt x="1553051" y="248126"/>
                    <a:pt x="1553051" y="250031"/>
                  </a:cubicBezTo>
                  <a:cubicBezTo>
                    <a:pt x="1551146" y="253841"/>
                    <a:pt x="1549241" y="257651"/>
                    <a:pt x="1547336" y="263366"/>
                  </a:cubicBezTo>
                  <a:cubicBezTo>
                    <a:pt x="1545431" y="258604"/>
                    <a:pt x="1543526" y="254794"/>
                    <a:pt x="1542574" y="251936"/>
                  </a:cubicBezTo>
                  <a:cubicBezTo>
                    <a:pt x="1542574" y="249079"/>
                    <a:pt x="1542574" y="245269"/>
                    <a:pt x="1542574" y="243364"/>
                  </a:cubicBezTo>
                  <a:cubicBezTo>
                    <a:pt x="1542574" y="230029"/>
                    <a:pt x="1542574" y="222409"/>
                    <a:pt x="1542574" y="222409"/>
                  </a:cubicBezTo>
                  <a:cubicBezTo>
                    <a:pt x="1542574" y="222409"/>
                    <a:pt x="1541621" y="230029"/>
                    <a:pt x="1538764" y="243364"/>
                  </a:cubicBezTo>
                  <a:cubicBezTo>
                    <a:pt x="1538764" y="243364"/>
                    <a:pt x="1538764" y="243364"/>
                    <a:pt x="1538764" y="243364"/>
                  </a:cubicBezTo>
                  <a:cubicBezTo>
                    <a:pt x="1534001" y="232886"/>
                    <a:pt x="1531144" y="226219"/>
                    <a:pt x="1531144" y="226219"/>
                  </a:cubicBezTo>
                  <a:cubicBezTo>
                    <a:pt x="1531144" y="226219"/>
                    <a:pt x="1533049" y="234791"/>
                    <a:pt x="1537811" y="250031"/>
                  </a:cubicBezTo>
                  <a:cubicBezTo>
                    <a:pt x="1537811" y="252889"/>
                    <a:pt x="1536859" y="255746"/>
                    <a:pt x="1536859" y="258604"/>
                  </a:cubicBezTo>
                  <a:cubicBezTo>
                    <a:pt x="1534954" y="251936"/>
                    <a:pt x="1533049" y="245269"/>
                    <a:pt x="1531144" y="239554"/>
                  </a:cubicBezTo>
                  <a:cubicBezTo>
                    <a:pt x="1529239" y="232886"/>
                    <a:pt x="1527334" y="227171"/>
                    <a:pt x="1525429" y="220504"/>
                  </a:cubicBezTo>
                  <a:cubicBezTo>
                    <a:pt x="1524476" y="217646"/>
                    <a:pt x="1523524" y="214789"/>
                    <a:pt x="1521619" y="211931"/>
                  </a:cubicBezTo>
                  <a:cubicBezTo>
                    <a:pt x="1518761" y="173831"/>
                    <a:pt x="1515904" y="150019"/>
                    <a:pt x="1515904" y="150019"/>
                  </a:cubicBezTo>
                  <a:cubicBezTo>
                    <a:pt x="1515904" y="150019"/>
                    <a:pt x="1514951" y="166211"/>
                    <a:pt x="1513046" y="192881"/>
                  </a:cubicBezTo>
                  <a:cubicBezTo>
                    <a:pt x="1510189" y="187166"/>
                    <a:pt x="1508284" y="182404"/>
                    <a:pt x="1506379" y="177641"/>
                  </a:cubicBezTo>
                  <a:cubicBezTo>
                    <a:pt x="1499711" y="163354"/>
                    <a:pt x="1495901" y="154781"/>
                    <a:pt x="1495901" y="154781"/>
                  </a:cubicBezTo>
                  <a:cubicBezTo>
                    <a:pt x="1495901" y="154781"/>
                    <a:pt x="1497806" y="163354"/>
                    <a:pt x="1502569" y="178594"/>
                  </a:cubicBezTo>
                  <a:cubicBezTo>
                    <a:pt x="1503521" y="182404"/>
                    <a:pt x="1504474" y="186214"/>
                    <a:pt x="1505426" y="190024"/>
                  </a:cubicBezTo>
                  <a:cubicBezTo>
                    <a:pt x="1505426" y="189071"/>
                    <a:pt x="1504474" y="189071"/>
                    <a:pt x="1504474" y="189071"/>
                  </a:cubicBezTo>
                  <a:cubicBezTo>
                    <a:pt x="1504474" y="189071"/>
                    <a:pt x="1506379" y="196691"/>
                    <a:pt x="1510189" y="210026"/>
                  </a:cubicBezTo>
                  <a:cubicBezTo>
                    <a:pt x="1510189" y="210979"/>
                    <a:pt x="1511141" y="212884"/>
                    <a:pt x="1511141" y="213836"/>
                  </a:cubicBezTo>
                  <a:cubicBezTo>
                    <a:pt x="1511141" y="220504"/>
                    <a:pt x="1510189" y="227171"/>
                    <a:pt x="1510189" y="233839"/>
                  </a:cubicBezTo>
                  <a:cubicBezTo>
                    <a:pt x="1510189" y="241459"/>
                    <a:pt x="1509236" y="250031"/>
                    <a:pt x="1509236" y="258604"/>
                  </a:cubicBezTo>
                  <a:cubicBezTo>
                    <a:pt x="1503521" y="241459"/>
                    <a:pt x="1498759" y="230981"/>
                    <a:pt x="1498759" y="230981"/>
                  </a:cubicBezTo>
                  <a:cubicBezTo>
                    <a:pt x="1498759" y="230981"/>
                    <a:pt x="1501616" y="248126"/>
                    <a:pt x="1508284" y="275749"/>
                  </a:cubicBezTo>
                  <a:cubicBezTo>
                    <a:pt x="1508284" y="279559"/>
                    <a:pt x="1508284" y="283369"/>
                    <a:pt x="1507331" y="288131"/>
                  </a:cubicBezTo>
                  <a:cubicBezTo>
                    <a:pt x="1506379" y="290036"/>
                    <a:pt x="1505426" y="290989"/>
                    <a:pt x="1504474" y="292894"/>
                  </a:cubicBezTo>
                  <a:cubicBezTo>
                    <a:pt x="1503521" y="294799"/>
                    <a:pt x="1501616" y="296704"/>
                    <a:pt x="1500664" y="298609"/>
                  </a:cubicBezTo>
                  <a:cubicBezTo>
                    <a:pt x="1497806" y="287179"/>
                    <a:pt x="1495901" y="275749"/>
                    <a:pt x="1493044" y="266224"/>
                  </a:cubicBezTo>
                  <a:cubicBezTo>
                    <a:pt x="1495901" y="253841"/>
                    <a:pt x="1497806" y="246221"/>
                    <a:pt x="1497806" y="246221"/>
                  </a:cubicBezTo>
                  <a:cubicBezTo>
                    <a:pt x="1497806" y="246221"/>
                    <a:pt x="1495901" y="251936"/>
                    <a:pt x="1491139" y="260509"/>
                  </a:cubicBezTo>
                  <a:cubicBezTo>
                    <a:pt x="1491139" y="260509"/>
                    <a:pt x="1491139" y="259556"/>
                    <a:pt x="1491139" y="259556"/>
                  </a:cubicBezTo>
                  <a:cubicBezTo>
                    <a:pt x="1491139" y="253841"/>
                    <a:pt x="1490186" y="249079"/>
                    <a:pt x="1490186" y="244316"/>
                  </a:cubicBezTo>
                  <a:cubicBezTo>
                    <a:pt x="1490186" y="242411"/>
                    <a:pt x="1490186" y="240506"/>
                    <a:pt x="1489234" y="238601"/>
                  </a:cubicBezTo>
                  <a:cubicBezTo>
                    <a:pt x="1489234" y="237649"/>
                    <a:pt x="1489234" y="237649"/>
                    <a:pt x="1489234" y="237649"/>
                  </a:cubicBezTo>
                  <a:cubicBezTo>
                    <a:pt x="1489234" y="237649"/>
                    <a:pt x="1489234" y="237649"/>
                    <a:pt x="1489234" y="238601"/>
                  </a:cubicBezTo>
                  <a:cubicBezTo>
                    <a:pt x="1488281" y="230981"/>
                    <a:pt x="1488281" y="225266"/>
                    <a:pt x="1486376" y="219551"/>
                  </a:cubicBezTo>
                  <a:cubicBezTo>
                    <a:pt x="1483519" y="206216"/>
                    <a:pt x="1482566" y="198596"/>
                    <a:pt x="1482566" y="198596"/>
                  </a:cubicBezTo>
                  <a:cubicBezTo>
                    <a:pt x="1482566" y="198596"/>
                    <a:pt x="1482566" y="206216"/>
                    <a:pt x="1482566" y="220504"/>
                  </a:cubicBezTo>
                  <a:cubicBezTo>
                    <a:pt x="1482566" y="222409"/>
                    <a:pt x="1482566" y="225266"/>
                    <a:pt x="1482566" y="228124"/>
                  </a:cubicBezTo>
                  <a:cubicBezTo>
                    <a:pt x="1476851" y="206216"/>
                    <a:pt x="1473041" y="193834"/>
                    <a:pt x="1473041" y="193834"/>
                  </a:cubicBezTo>
                  <a:cubicBezTo>
                    <a:pt x="1473041" y="193834"/>
                    <a:pt x="1474946" y="220504"/>
                    <a:pt x="1479709" y="259556"/>
                  </a:cubicBezTo>
                  <a:cubicBezTo>
                    <a:pt x="1479709" y="260509"/>
                    <a:pt x="1478756" y="261461"/>
                    <a:pt x="1478756" y="262414"/>
                  </a:cubicBezTo>
                  <a:cubicBezTo>
                    <a:pt x="1477804" y="263366"/>
                    <a:pt x="1477804" y="265271"/>
                    <a:pt x="1476851" y="266224"/>
                  </a:cubicBezTo>
                  <a:cubicBezTo>
                    <a:pt x="1476851" y="263366"/>
                    <a:pt x="1475899" y="260509"/>
                    <a:pt x="1475899" y="257651"/>
                  </a:cubicBezTo>
                  <a:cubicBezTo>
                    <a:pt x="1473994" y="244316"/>
                    <a:pt x="1473041" y="232886"/>
                    <a:pt x="1471136" y="221456"/>
                  </a:cubicBezTo>
                  <a:cubicBezTo>
                    <a:pt x="1469231" y="210979"/>
                    <a:pt x="1468279" y="201454"/>
                    <a:pt x="1466374" y="193834"/>
                  </a:cubicBezTo>
                  <a:cubicBezTo>
                    <a:pt x="1462564" y="178594"/>
                    <a:pt x="1460659" y="170021"/>
                    <a:pt x="1460659" y="170021"/>
                  </a:cubicBezTo>
                  <a:cubicBezTo>
                    <a:pt x="1460659" y="170021"/>
                    <a:pt x="1461611" y="178594"/>
                    <a:pt x="1462564" y="193834"/>
                  </a:cubicBezTo>
                  <a:cubicBezTo>
                    <a:pt x="1463516" y="201454"/>
                    <a:pt x="1463516" y="210979"/>
                    <a:pt x="1464469" y="221456"/>
                  </a:cubicBezTo>
                  <a:cubicBezTo>
                    <a:pt x="1465421" y="231934"/>
                    <a:pt x="1465421" y="244316"/>
                    <a:pt x="1465421" y="257651"/>
                  </a:cubicBezTo>
                  <a:cubicBezTo>
                    <a:pt x="1465421" y="263366"/>
                    <a:pt x="1465421" y="269081"/>
                    <a:pt x="1465421" y="275749"/>
                  </a:cubicBezTo>
                  <a:cubicBezTo>
                    <a:pt x="1462564" y="265271"/>
                    <a:pt x="1458754" y="254794"/>
                    <a:pt x="1455896" y="246221"/>
                  </a:cubicBezTo>
                  <a:cubicBezTo>
                    <a:pt x="1453039" y="235744"/>
                    <a:pt x="1450181" y="226219"/>
                    <a:pt x="1447324" y="218599"/>
                  </a:cubicBezTo>
                  <a:cubicBezTo>
                    <a:pt x="1442561" y="203359"/>
                    <a:pt x="1439704" y="194786"/>
                    <a:pt x="1439704" y="194786"/>
                  </a:cubicBezTo>
                  <a:cubicBezTo>
                    <a:pt x="1439704" y="194786"/>
                    <a:pt x="1440656" y="202406"/>
                    <a:pt x="1442561" y="215741"/>
                  </a:cubicBezTo>
                  <a:cubicBezTo>
                    <a:pt x="1439704" y="203359"/>
                    <a:pt x="1437799" y="193834"/>
                    <a:pt x="1435894" y="185261"/>
                  </a:cubicBezTo>
                  <a:cubicBezTo>
                    <a:pt x="1435894" y="169069"/>
                    <a:pt x="1435894" y="159544"/>
                    <a:pt x="1435894" y="159544"/>
                  </a:cubicBezTo>
                  <a:cubicBezTo>
                    <a:pt x="1435894" y="159544"/>
                    <a:pt x="1434941" y="164306"/>
                    <a:pt x="1433036" y="173831"/>
                  </a:cubicBezTo>
                  <a:cubicBezTo>
                    <a:pt x="1431131" y="165259"/>
                    <a:pt x="1430179" y="160496"/>
                    <a:pt x="1430179" y="160496"/>
                  </a:cubicBezTo>
                  <a:cubicBezTo>
                    <a:pt x="1430179" y="160496"/>
                    <a:pt x="1430179" y="162401"/>
                    <a:pt x="1430179" y="166211"/>
                  </a:cubicBezTo>
                  <a:cubicBezTo>
                    <a:pt x="1428274" y="158591"/>
                    <a:pt x="1427321" y="151924"/>
                    <a:pt x="1425416" y="147161"/>
                  </a:cubicBezTo>
                  <a:cubicBezTo>
                    <a:pt x="1421606" y="134779"/>
                    <a:pt x="1418749" y="127159"/>
                    <a:pt x="1418749" y="127159"/>
                  </a:cubicBezTo>
                  <a:cubicBezTo>
                    <a:pt x="1418749" y="127159"/>
                    <a:pt x="1419701" y="134779"/>
                    <a:pt x="1421606" y="148114"/>
                  </a:cubicBezTo>
                  <a:cubicBezTo>
                    <a:pt x="1422559" y="154781"/>
                    <a:pt x="1423511" y="162401"/>
                    <a:pt x="1423511" y="171926"/>
                  </a:cubicBezTo>
                  <a:cubicBezTo>
                    <a:pt x="1424464" y="181451"/>
                    <a:pt x="1424464" y="190976"/>
                    <a:pt x="1425416" y="202406"/>
                  </a:cubicBezTo>
                  <a:cubicBezTo>
                    <a:pt x="1425416" y="208121"/>
                    <a:pt x="1426369" y="212884"/>
                    <a:pt x="1426369" y="218599"/>
                  </a:cubicBezTo>
                  <a:cubicBezTo>
                    <a:pt x="1425416" y="224314"/>
                    <a:pt x="1424464" y="230029"/>
                    <a:pt x="1424464" y="235744"/>
                  </a:cubicBezTo>
                  <a:cubicBezTo>
                    <a:pt x="1423511" y="231934"/>
                    <a:pt x="1422559" y="229076"/>
                    <a:pt x="1421606" y="226219"/>
                  </a:cubicBezTo>
                  <a:cubicBezTo>
                    <a:pt x="1419701" y="219551"/>
                    <a:pt x="1416844" y="214789"/>
                    <a:pt x="1415891" y="210026"/>
                  </a:cubicBezTo>
                  <a:cubicBezTo>
                    <a:pt x="1412081" y="201454"/>
                    <a:pt x="1410176" y="195739"/>
                    <a:pt x="1410176" y="195739"/>
                  </a:cubicBezTo>
                  <a:cubicBezTo>
                    <a:pt x="1410176" y="195739"/>
                    <a:pt x="1411129" y="201454"/>
                    <a:pt x="1412081" y="210979"/>
                  </a:cubicBezTo>
                  <a:cubicBezTo>
                    <a:pt x="1413034" y="215741"/>
                    <a:pt x="1413986" y="221456"/>
                    <a:pt x="1414939" y="228124"/>
                  </a:cubicBezTo>
                  <a:cubicBezTo>
                    <a:pt x="1415891" y="234791"/>
                    <a:pt x="1416844" y="241459"/>
                    <a:pt x="1416844" y="250031"/>
                  </a:cubicBezTo>
                  <a:cubicBezTo>
                    <a:pt x="1416844" y="255746"/>
                    <a:pt x="1417796" y="261461"/>
                    <a:pt x="1418749" y="268129"/>
                  </a:cubicBezTo>
                  <a:cubicBezTo>
                    <a:pt x="1416844" y="270986"/>
                    <a:pt x="1414939" y="273844"/>
                    <a:pt x="1413034" y="277654"/>
                  </a:cubicBezTo>
                  <a:cubicBezTo>
                    <a:pt x="1412081" y="275749"/>
                    <a:pt x="1412081" y="273844"/>
                    <a:pt x="1411129" y="271939"/>
                  </a:cubicBezTo>
                  <a:cubicBezTo>
                    <a:pt x="1406366" y="237649"/>
                    <a:pt x="1401604" y="215741"/>
                    <a:pt x="1401604" y="215741"/>
                  </a:cubicBezTo>
                  <a:cubicBezTo>
                    <a:pt x="1401604" y="215741"/>
                    <a:pt x="1401604" y="226219"/>
                    <a:pt x="1400651" y="243364"/>
                  </a:cubicBezTo>
                  <a:cubicBezTo>
                    <a:pt x="1397794" y="233839"/>
                    <a:pt x="1394936" y="226219"/>
                    <a:pt x="1392079" y="219551"/>
                  </a:cubicBezTo>
                  <a:cubicBezTo>
                    <a:pt x="1392079" y="217646"/>
                    <a:pt x="1393031" y="215741"/>
                    <a:pt x="1393031" y="213836"/>
                  </a:cubicBezTo>
                  <a:cubicBezTo>
                    <a:pt x="1393984" y="212884"/>
                    <a:pt x="1394936" y="211931"/>
                    <a:pt x="1395889" y="210979"/>
                  </a:cubicBezTo>
                  <a:cubicBezTo>
                    <a:pt x="1399699" y="207169"/>
                    <a:pt x="1400651" y="205264"/>
                    <a:pt x="1400651" y="205264"/>
                  </a:cubicBezTo>
                  <a:cubicBezTo>
                    <a:pt x="1400651" y="205264"/>
                    <a:pt x="1398746" y="207169"/>
                    <a:pt x="1394936" y="210026"/>
                  </a:cubicBezTo>
                  <a:cubicBezTo>
                    <a:pt x="1394936" y="210026"/>
                    <a:pt x="1393984" y="210979"/>
                    <a:pt x="1393031" y="210979"/>
                  </a:cubicBezTo>
                  <a:cubicBezTo>
                    <a:pt x="1393984" y="205264"/>
                    <a:pt x="1394936" y="202406"/>
                    <a:pt x="1394936" y="202406"/>
                  </a:cubicBezTo>
                  <a:cubicBezTo>
                    <a:pt x="1394936" y="202406"/>
                    <a:pt x="1393031" y="206216"/>
                    <a:pt x="1391126" y="212884"/>
                  </a:cubicBezTo>
                  <a:cubicBezTo>
                    <a:pt x="1391126" y="212884"/>
                    <a:pt x="1390174" y="213836"/>
                    <a:pt x="1390174" y="213836"/>
                  </a:cubicBezTo>
                  <a:cubicBezTo>
                    <a:pt x="1386364" y="204311"/>
                    <a:pt x="1384459" y="199549"/>
                    <a:pt x="1384459" y="199549"/>
                  </a:cubicBezTo>
                  <a:cubicBezTo>
                    <a:pt x="1384459" y="199549"/>
                    <a:pt x="1385411" y="205264"/>
                    <a:pt x="1387316" y="215741"/>
                  </a:cubicBezTo>
                  <a:cubicBezTo>
                    <a:pt x="1384459" y="218599"/>
                    <a:pt x="1382554" y="220504"/>
                    <a:pt x="1378744" y="224314"/>
                  </a:cubicBezTo>
                  <a:cubicBezTo>
                    <a:pt x="1374934" y="229076"/>
                    <a:pt x="1371124" y="233839"/>
                    <a:pt x="1367314" y="240506"/>
                  </a:cubicBezTo>
                  <a:cubicBezTo>
                    <a:pt x="1363504" y="230029"/>
                    <a:pt x="1358741" y="219551"/>
                    <a:pt x="1354931" y="209074"/>
                  </a:cubicBezTo>
                  <a:cubicBezTo>
                    <a:pt x="1354931" y="199549"/>
                    <a:pt x="1354931" y="191929"/>
                    <a:pt x="1354931" y="185261"/>
                  </a:cubicBezTo>
                  <a:cubicBezTo>
                    <a:pt x="1354931" y="167164"/>
                    <a:pt x="1354931" y="157639"/>
                    <a:pt x="1354931" y="157639"/>
                  </a:cubicBezTo>
                  <a:cubicBezTo>
                    <a:pt x="1354931" y="157639"/>
                    <a:pt x="1353026" y="168116"/>
                    <a:pt x="1351121" y="185261"/>
                  </a:cubicBezTo>
                  <a:cubicBezTo>
                    <a:pt x="1350169" y="189071"/>
                    <a:pt x="1350169" y="192881"/>
                    <a:pt x="1349216" y="197644"/>
                  </a:cubicBezTo>
                  <a:cubicBezTo>
                    <a:pt x="1347311" y="193834"/>
                    <a:pt x="1345406" y="190024"/>
                    <a:pt x="1343501" y="186214"/>
                  </a:cubicBezTo>
                  <a:cubicBezTo>
                    <a:pt x="1343501" y="181451"/>
                    <a:pt x="1344454" y="175736"/>
                    <a:pt x="1344454" y="171926"/>
                  </a:cubicBezTo>
                  <a:cubicBezTo>
                    <a:pt x="1344454" y="166211"/>
                    <a:pt x="1344454" y="161449"/>
                    <a:pt x="1344454" y="157639"/>
                  </a:cubicBezTo>
                  <a:cubicBezTo>
                    <a:pt x="1344454" y="151924"/>
                    <a:pt x="1345406" y="147161"/>
                    <a:pt x="1345406" y="142399"/>
                  </a:cubicBezTo>
                  <a:cubicBezTo>
                    <a:pt x="1346359" y="129064"/>
                    <a:pt x="1346359" y="120491"/>
                    <a:pt x="1346359" y="120491"/>
                  </a:cubicBezTo>
                  <a:cubicBezTo>
                    <a:pt x="1346359" y="120491"/>
                    <a:pt x="1344454" y="128111"/>
                    <a:pt x="1341596" y="141446"/>
                  </a:cubicBezTo>
                  <a:cubicBezTo>
                    <a:pt x="1340644" y="148114"/>
                    <a:pt x="1338739" y="156686"/>
                    <a:pt x="1336834" y="166211"/>
                  </a:cubicBezTo>
                  <a:cubicBezTo>
                    <a:pt x="1336834" y="167164"/>
                    <a:pt x="1336834" y="168116"/>
                    <a:pt x="1335881" y="169069"/>
                  </a:cubicBezTo>
                  <a:cubicBezTo>
                    <a:pt x="1333024" y="162401"/>
                    <a:pt x="1330166" y="156686"/>
                    <a:pt x="1327309" y="150971"/>
                  </a:cubicBezTo>
                  <a:cubicBezTo>
                    <a:pt x="1299686" y="91916"/>
                    <a:pt x="1280636" y="53816"/>
                    <a:pt x="1280636" y="53816"/>
                  </a:cubicBezTo>
                  <a:cubicBezTo>
                    <a:pt x="1280636" y="53816"/>
                    <a:pt x="1293971" y="94774"/>
                    <a:pt x="1317784" y="155734"/>
                  </a:cubicBezTo>
                  <a:cubicBezTo>
                    <a:pt x="1322546" y="168116"/>
                    <a:pt x="1327309" y="180499"/>
                    <a:pt x="1332071" y="193834"/>
                  </a:cubicBezTo>
                  <a:cubicBezTo>
                    <a:pt x="1332071" y="195739"/>
                    <a:pt x="1332071" y="196691"/>
                    <a:pt x="1331119" y="197644"/>
                  </a:cubicBezTo>
                  <a:cubicBezTo>
                    <a:pt x="1329214" y="209074"/>
                    <a:pt x="1327309" y="222409"/>
                    <a:pt x="1326356" y="235744"/>
                  </a:cubicBezTo>
                  <a:cubicBezTo>
                    <a:pt x="1324451" y="249079"/>
                    <a:pt x="1323499" y="263366"/>
                    <a:pt x="1321594" y="277654"/>
                  </a:cubicBezTo>
                  <a:cubicBezTo>
                    <a:pt x="1321594" y="283369"/>
                    <a:pt x="1320641" y="288131"/>
                    <a:pt x="1319689" y="293846"/>
                  </a:cubicBezTo>
                  <a:cubicBezTo>
                    <a:pt x="1318736" y="292894"/>
                    <a:pt x="1318736" y="291941"/>
                    <a:pt x="1317784" y="290989"/>
                  </a:cubicBezTo>
                  <a:cubicBezTo>
                    <a:pt x="1317784" y="289084"/>
                    <a:pt x="1317784" y="289084"/>
                    <a:pt x="1317784" y="289084"/>
                  </a:cubicBezTo>
                  <a:cubicBezTo>
                    <a:pt x="1317784" y="289084"/>
                    <a:pt x="1317784" y="290036"/>
                    <a:pt x="1316831" y="290989"/>
                  </a:cubicBezTo>
                  <a:cubicBezTo>
                    <a:pt x="1316831" y="290036"/>
                    <a:pt x="1315879" y="289084"/>
                    <a:pt x="1315879" y="288131"/>
                  </a:cubicBezTo>
                  <a:cubicBezTo>
                    <a:pt x="1314926" y="287179"/>
                    <a:pt x="1314926" y="286226"/>
                    <a:pt x="1313974" y="285274"/>
                  </a:cubicBezTo>
                  <a:cubicBezTo>
                    <a:pt x="1315879" y="259556"/>
                    <a:pt x="1316831" y="244316"/>
                    <a:pt x="1316831" y="244316"/>
                  </a:cubicBezTo>
                  <a:cubicBezTo>
                    <a:pt x="1316831" y="244316"/>
                    <a:pt x="1313974" y="256699"/>
                    <a:pt x="1309211" y="277654"/>
                  </a:cubicBezTo>
                  <a:cubicBezTo>
                    <a:pt x="1305401" y="271939"/>
                    <a:pt x="1302544" y="266224"/>
                    <a:pt x="1298734" y="260509"/>
                  </a:cubicBezTo>
                  <a:cubicBezTo>
                    <a:pt x="1304449" y="235744"/>
                    <a:pt x="1310164" y="213836"/>
                    <a:pt x="1313974" y="199549"/>
                  </a:cubicBezTo>
                  <a:cubicBezTo>
                    <a:pt x="1317784" y="182404"/>
                    <a:pt x="1319689" y="172879"/>
                    <a:pt x="1319689" y="172879"/>
                  </a:cubicBezTo>
                  <a:cubicBezTo>
                    <a:pt x="1319689" y="172879"/>
                    <a:pt x="1307306" y="202406"/>
                    <a:pt x="1291114" y="249079"/>
                  </a:cubicBezTo>
                  <a:cubicBezTo>
                    <a:pt x="1287304" y="243364"/>
                    <a:pt x="1284446" y="238601"/>
                    <a:pt x="1281589" y="234791"/>
                  </a:cubicBezTo>
                  <a:cubicBezTo>
                    <a:pt x="1273016" y="222409"/>
                    <a:pt x="1267301" y="215741"/>
                    <a:pt x="1267301" y="215741"/>
                  </a:cubicBezTo>
                  <a:cubicBezTo>
                    <a:pt x="1267301" y="215741"/>
                    <a:pt x="1270159" y="222409"/>
                    <a:pt x="1275874" y="232886"/>
                  </a:cubicBezTo>
                  <a:cubicBezTo>
                    <a:pt x="1274921" y="234791"/>
                    <a:pt x="1273969" y="238601"/>
                    <a:pt x="1272064" y="243364"/>
                  </a:cubicBezTo>
                  <a:cubicBezTo>
                    <a:pt x="1268254" y="237649"/>
                    <a:pt x="1264444" y="231934"/>
                    <a:pt x="1261586" y="227171"/>
                  </a:cubicBezTo>
                  <a:cubicBezTo>
                    <a:pt x="1257776" y="221456"/>
                    <a:pt x="1253014" y="215741"/>
                    <a:pt x="1249204" y="210979"/>
                  </a:cubicBezTo>
                  <a:cubicBezTo>
                    <a:pt x="1248251" y="210026"/>
                    <a:pt x="1248251" y="209074"/>
                    <a:pt x="1247299" y="208121"/>
                  </a:cubicBezTo>
                  <a:cubicBezTo>
                    <a:pt x="1250156" y="203359"/>
                    <a:pt x="1251109" y="199549"/>
                    <a:pt x="1251109" y="199549"/>
                  </a:cubicBezTo>
                  <a:cubicBezTo>
                    <a:pt x="1251109" y="199549"/>
                    <a:pt x="1249204" y="202406"/>
                    <a:pt x="1246346" y="206216"/>
                  </a:cubicBezTo>
                  <a:cubicBezTo>
                    <a:pt x="1239679" y="197644"/>
                    <a:pt x="1233964" y="190024"/>
                    <a:pt x="1229201" y="184309"/>
                  </a:cubicBezTo>
                  <a:cubicBezTo>
                    <a:pt x="1217771" y="170974"/>
                    <a:pt x="1211104" y="162401"/>
                    <a:pt x="1211104" y="162401"/>
                  </a:cubicBezTo>
                  <a:cubicBezTo>
                    <a:pt x="1211104" y="162401"/>
                    <a:pt x="1216819" y="170974"/>
                    <a:pt x="1226344" y="186214"/>
                  </a:cubicBezTo>
                  <a:cubicBezTo>
                    <a:pt x="1231106" y="192881"/>
                    <a:pt x="1235869" y="202406"/>
                    <a:pt x="1242536" y="211931"/>
                  </a:cubicBezTo>
                  <a:cubicBezTo>
                    <a:pt x="1240631" y="214789"/>
                    <a:pt x="1238726" y="217646"/>
                    <a:pt x="1236821" y="220504"/>
                  </a:cubicBezTo>
                  <a:cubicBezTo>
                    <a:pt x="1235869" y="222409"/>
                    <a:pt x="1234916" y="224314"/>
                    <a:pt x="1233011" y="226219"/>
                  </a:cubicBezTo>
                  <a:cubicBezTo>
                    <a:pt x="1233011" y="221456"/>
                    <a:pt x="1232059" y="217646"/>
                    <a:pt x="1231106" y="212884"/>
                  </a:cubicBezTo>
                  <a:cubicBezTo>
                    <a:pt x="1231106" y="211931"/>
                    <a:pt x="1230154" y="210026"/>
                    <a:pt x="1228249" y="209074"/>
                  </a:cubicBezTo>
                  <a:cubicBezTo>
                    <a:pt x="1228249" y="209074"/>
                    <a:pt x="1227296" y="209074"/>
                    <a:pt x="1226344" y="209074"/>
                  </a:cubicBezTo>
                  <a:cubicBezTo>
                    <a:pt x="1225391" y="206216"/>
                    <a:pt x="1224439" y="202406"/>
                    <a:pt x="1223486" y="199549"/>
                  </a:cubicBezTo>
                  <a:cubicBezTo>
                    <a:pt x="1218724" y="187166"/>
                    <a:pt x="1215866" y="179546"/>
                    <a:pt x="1215866" y="179546"/>
                  </a:cubicBezTo>
                  <a:cubicBezTo>
                    <a:pt x="1215866" y="179546"/>
                    <a:pt x="1216819" y="187166"/>
                    <a:pt x="1219676" y="200501"/>
                  </a:cubicBezTo>
                  <a:cubicBezTo>
                    <a:pt x="1220629" y="204311"/>
                    <a:pt x="1220629" y="208121"/>
                    <a:pt x="1221581" y="211931"/>
                  </a:cubicBezTo>
                  <a:cubicBezTo>
                    <a:pt x="1221581" y="212884"/>
                    <a:pt x="1220629" y="212884"/>
                    <a:pt x="1220629" y="213836"/>
                  </a:cubicBezTo>
                  <a:cubicBezTo>
                    <a:pt x="1214914" y="208121"/>
                    <a:pt x="1211104" y="203359"/>
                    <a:pt x="1207294" y="200501"/>
                  </a:cubicBezTo>
                  <a:cubicBezTo>
                    <a:pt x="1203484" y="197644"/>
                    <a:pt x="1201579" y="195739"/>
                    <a:pt x="1201579" y="195739"/>
                  </a:cubicBezTo>
                  <a:cubicBezTo>
                    <a:pt x="1201579" y="195739"/>
                    <a:pt x="1203484" y="197644"/>
                    <a:pt x="1206341" y="201454"/>
                  </a:cubicBezTo>
                  <a:cubicBezTo>
                    <a:pt x="1209199" y="205264"/>
                    <a:pt x="1213009" y="210979"/>
                    <a:pt x="1217771" y="217646"/>
                  </a:cubicBezTo>
                  <a:lnTo>
                    <a:pt x="1217771" y="217646"/>
                  </a:lnTo>
                  <a:cubicBezTo>
                    <a:pt x="1216819" y="222409"/>
                    <a:pt x="1216819" y="227171"/>
                    <a:pt x="1216819" y="231934"/>
                  </a:cubicBezTo>
                  <a:cubicBezTo>
                    <a:pt x="1207294" y="223361"/>
                    <a:pt x="1202531" y="219551"/>
                    <a:pt x="1202531" y="219551"/>
                  </a:cubicBezTo>
                  <a:cubicBezTo>
                    <a:pt x="1202531" y="219551"/>
                    <a:pt x="1207294" y="226219"/>
                    <a:pt x="1215866" y="236696"/>
                  </a:cubicBezTo>
                  <a:cubicBezTo>
                    <a:pt x="1215866" y="240506"/>
                    <a:pt x="1214914" y="245269"/>
                    <a:pt x="1214914" y="249079"/>
                  </a:cubicBezTo>
                  <a:cubicBezTo>
                    <a:pt x="1214914" y="250984"/>
                    <a:pt x="1214914" y="252889"/>
                    <a:pt x="1214914" y="255746"/>
                  </a:cubicBezTo>
                  <a:cubicBezTo>
                    <a:pt x="1214914" y="253841"/>
                    <a:pt x="1213961" y="252889"/>
                    <a:pt x="1213961" y="250984"/>
                  </a:cubicBezTo>
                  <a:cubicBezTo>
                    <a:pt x="1213961" y="250984"/>
                    <a:pt x="1213961" y="250031"/>
                    <a:pt x="1213961" y="250031"/>
                  </a:cubicBezTo>
                  <a:cubicBezTo>
                    <a:pt x="1213961" y="249079"/>
                    <a:pt x="1214914" y="249079"/>
                    <a:pt x="1214914" y="249079"/>
                  </a:cubicBezTo>
                  <a:cubicBezTo>
                    <a:pt x="1214914" y="249079"/>
                    <a:pt x="1214914" y="249079"/>
                    <a:pt x="1213961" y="250031"/>
                  </a:cubicBezTo>
                  <a:cubicBezTo>
                    <a:pt x="1212056" y="242411"/>
                    <a:pt x="1209199" y="235744"/>
                    <a:pt x="1207294" y="229076"/>
                  </a:cubicBezTo>
                  <a:cubicBezTo>
                    <a:pt x="1204436" y="222409"/>
                    <a:pt x="1202531" y="216694"/>
                    <a:pt x="1200626" y="212884"/>
                  </a:cubicBezTo>
                  <a:cubicBezTo>
                    <a:pt x="1195864" y="204311"/>
                    <a:pt x="1193959" y="198596"/>
                    <a:pt x="1193959" y="198596"/>
                  </a:cubicBezTo>
                  <a:cubicBezTo>
                    <a:pt x="1193959" y="198596"/>
                    <a:pt x="1194911" y="204311"/>
                    <a:pt x="1196816" y="213836"/>
                  </a:cubicBezTo>
                  <a:cubicBezTo>
                    <a:pt x="1197769" y="218599"/>
                    <a:pt x="1198721" y="224314"/>
                    <a:pt x="1200626" y="230981"/>
                  </a:cubicBezTo>
                  <a:cubicBezTo>
                    <a:pt x="1201579" y="237649"/>
                    <a:pt x="1202531" y="245269"/>
                    <a:pt x="1204436" y="252889"/>
                  </a:cubicBezTo>
                  <a:cubicBezTo>
                    <a:pt x="1204436" y="254794"/>
                    <a:pt x="1205389" y="256699"/>
                    <a:pt x="1205389" y="258604"/>
                  </a:cubicBezTo>
                  <a:cubicBezTo>
                    <a:pt x="1202531" y="251936"/>
                    <a:pt x="1199674" y="245269"/>
                    <a:pt x="1196816" y="239554"/>
                  </a:cubicBezTo>
                  <a:cubicBezTo>
                    <a:pt x="1193959" y="233839"/>
                    <a:pt x="1191101" y="229076"/>
                    <a:pt x="1189196" y="224314"/>
                  </a:cubicBezTo>
                  <a:cubicBezTo>
                    <a:pt x="1184434" y="216694"/>
                    <a:pt x="1181576" y="211931"/>
                    <a:pt x="1181576" y="211931"/>
                  </a:cubicBezTo>
                  <a:cubicBezTo>
                    <a:pt x="1181576" y="211931"/>
                    <a:pt x="1183481" y="216694"/>
                    <a:pt x="1185386" y="225266"/>
                  </a:cubicBezTo>
                  <a:cubicBezTo>
                    <a:pt x="1187291" y="230029"/>
                    <a:pt x="1188244" y="234791"/>
                    <a:pt x="1190149" y="241459"/>
                  </a:cubicBezTo>
                  <a:cubicBezTo>
                    <a:pt x="1192054" y="247174"/>
                    <a:pt x="1193006" y="254794"/>
                    <a:pt x="1194911" y="262414"/>
                  </a:cubicBezTo>
                  <a:cubicBezTo>
                    <a:pt x="1195864" y="267176"/>
                    <a:pt x="1196816" y="271939"/>
                    <a:pt x="1197769" y="276701"/>
                  </a:cubicBezTo>
                  <a:cubicBezTo>
                    <a:pt x="1196816" y="279559"/>
                    <a:pt x="1194911" y="281464"/>
                    <a:pt x="1193959" y="284321"/>
                  </a:cubicBezTo>
                  <a:cubicBezTo>
                    <a:pt x="1193959" y="284321"/>
                    <a:pt x="1193959" y="283369"/>
                    <a:pt x="1193959" y="283369"/>
                  </a:cubicBezTo>
                  <a:cubicBezTo>
                    <a:pt x="1193959" y="282416"/>
                    <a:pt x="1193006" y="280511"/>
                    <a:pt x="1193006" y="279559"/>
                  </a:cubicBezTo>
                  <a:cubicBezTo>
                    <a:pt x="1193959" y="277654"/>
                    <a:pt x="1193959" y="276701"/>
                    <a:pt x="1193959" y="276701"/>
                  </a:cubicBezTo>
                  <a:cubicBezTo>
                    <a:pt x="1193959" y="276701"/>
                    <a:pt x="1193959" y="277654"/>
                    <a:pt x="1193006" y="278606"/>
                  </a:cubicBezTo>
                  <a:cubicBezTo>
                    <a:pt x="1190149" y="268129"/>
                    <a:pt x="1187291" y="258604"/>
                    <a:pt x="1184434" y="250984"/>
                  </a:cubicBezTo>
                  <a:cubicBezTo>
                    <a:pt x="1179671" y="239554"/>
                    <a:pt x="1176814" y="231934"/>
                    <a:pt x="1174909" y="227171"/>
                  </a:cubicBezTo>
                  <a:cubicBezTo>
                    <a:pt x="1174909" y="226219"/>
                    <a:pt x="1174909" y="224314"/>
                    <a:pt x="1174909" y="223361"/>
                  </a:cubicBezTo>
                  <a:cubicBezTo>
                    <a:pt x="1174909" y="212884"/>
                    <a:pt x="1175861" y="204311"/>
                    <a:pt x="1175861" y="196691"/>
                  </a:cubicBezTo>
                  <a:cubicBezTo>
                    <a:pt x="1175861" y="182404"/>
                    <a:pt x="1174909" y="173831"/>
                    <a:pt x="1174909" y="173831"/>
                  </a:cubicBezTo>
                  <a:cubicBezTo>
                    <a:pt x="1174909" y="173831"/>
                    <a:pt x="1173956" y="182404"/>
                    <a:pt x="1172051" y="196691"/>
                  </a:cubicBezTo>
                  <a:cubicBezTo>
                    <a:pt x="1171099" y="204311"/>
                    <a:pt x="1169194" y="212884"/>
                    <a:pt x="1168241" y="223361"/>
                  </a:cubicBezTo>
                  <a:cubicBezTo>
                    <a:pt x="1168241" y="224314"/>
                    <a:pt x="1168241" y="225266"/>
                    <a:pt x="1168241" y="226219"/>
                  </a:cubicBezTo>
                  <a:cubicBezTo>
                    <a:pt x="1167289" y="229076"/>
                    <a:pt x="1165384" y="232886"/>
                    <a:pt x="1162526" y="238601"/>
                  </a:cubicBezTo>
                  <a:cubicBezTo>
                    <a:pt x="1161574" y="230981"/>
                    <a:pt x="1160621" y="223361"/>
                    <a:pt x="1158716" y="215741"/>
                  </a:cubicBezTo>
                  <a:cubicBezTo>
                    <a:pt x="1156811" y="206216"/>
                    <a:pt x="1153954" y="197644"/>
                    <a:pt x="1152049" y="189071"/>
                  </a:cubicBezTo>
                  <a:cubicBezTo>
                    <a:pt x="1143476" y="155734"/>
                    <a:pt x="1136809" y="133826"/>
                    <a:pt x="1136809" y="133826"/>
                  </a:cubicBezTo>
                  <a:cubicBezTo>
                    <a:pt x="1136809" y="133826"/>
                    <a:pt x="1137761" y="156686"/>
                    <a:pt x="1140619" y="190024"/>
                  </a:cubicBezTo>
                  <a:cubicBezTo>
                    <a:pt x="1141571" y="198596"/>
                    <a:pt x="1142524" y="208121"/>
                    <a:pt x="1143476" y="217646"/>
                  </a:cubicBezTo>
                  <a:cubicBezTo>
                    <a:pt x="1144429" y="227171"/>
                    <a:pt x="1144429" y="237649"/>
                    <a:pt x="1146334" y="248126"/>
                  </a:cubicBezTo>
                  <a:cubicBezTo>
                    <a:pt x="1146334" y="252889"/>
                    <a:pt x="1147286" y="256699"/>
                    <a:pt x="1147286" y="261461"/>
                  </a:cubicBezTo>
                  <a:cubicBezTo>
                    <a:pt x="1147286" y="261461"/>
                    <a:pt x="1147286" y="261461"/>
                    <a:pt x="1147286" y="261461"/>
                  </a:cubicBezTo>
                  <a:cubicBezTo>
                    <a:pt x="1147286" y="259556"/>
                    <a:pt x="1147286" y="258604"/>
                    <a:pt x="1147286" y="258604"/>
                  </a:cubicBezTo>
                  <a:cubicBezTo>
                    <a:pt x="1147286" y="258604"/>
                    <a:pt x="1147286" y="259556"/>
                    <a:pt x="1147286" y="260509"/>
                  </a:cubicBezTo>
                  <a:cubicBezTo>
                    <a:pt x="1146334" y="257651"/>
                    <a:pt x="1144429" y="254794"/>
                    <a:pt x="1143476" y="251936"/>
                  </a:cubicBezTo>
                  <a:cubicBezTo>
                    <a:pt x="1142524" y="250984"/>
                    <a:pt x="1142524" y="250031"/>
                    <a:pt x="1141571" y="249079"/>
                  </a:cubicBezTo>
                  <a:cubicBezTo>
                    <a:pt x="1141571" y="242411"/>
                    <a:pt x="1141571" y="237649"/>
                    <a:pt x="1141571" y="237649"/>
                  </a:cubicBezTo>
                  <a:cubicBezTo>
                    <a:pt x="1141571" y="237649"/>
                    <a:pt x="1140619" y="240506"/>
                    <a:pt x="1139666" y="246221"/>
                  </a:cubicBezTo>
                  <a:cubicBezTo>
                    <a:pt x="1136809" y="241459"/>
                    <a:pt x="1134904" y="236696"/>
                    <a:pt x="1132046" y="231934"/>
                  </a:cubicBezTo>
                  <a:cubicBezTo>
                    <a:pt x="1132046" y="231934"/>
                    <a:pt x="1132046" y="230981"/>
                    <a:pt x="1132046" y="230981"/>
                  </a:cubicBezTo>
                  <a:cubicBezTo>
                    <a:pt x="1128236" y="211931"/>
                    <a:pt x="1124426" y="193834"/>
                    <a:pt x="1120616" y="177641"/>
                  </a:cubicBezTo>
                  <a:cubicBezTo>
                    <a:pt x="1116806" y="161449"/>
                    <a:pt x="1113949" y="146209"/>
                    <a:pt x="1110139" y="132874"/>
                  </a:cubicBezTo>
                  <a:cubicBezTo>
                    <a:pt x="1106329" y="119539"/>
                    <a:pt x="1103471" y="108109"/>
                    <a:pt x="1100614" y="98584"/>
                  </a:cubicBezTo>
                  <a:cubicBezTo>
                    <a:pt x="1094899" y="79534"/>
                    <a:pt x="1092041" y="69056"/>
                    <a:pt x="1092041" y="69056"/>
                  </a:cubicBezTo>
                  <a:cubicBezTo>
                    <a:pt x="1092041" y="69056"/>
                    <a:pt x="1093946" y="80486"/>
                    <a:pt x="1096804" y="99536"/>
                  </a:cubicBezTo>
                  <a:cubicBezTo>
                    <a:pt x="1098709" y="109061"/>
                    <a:pt x="1100614" y="121444"/>
                    <a:pt x="1103471" y="134779"/>
                  </a:cubicBezTo>
                  <a:cubicBezTo>
                    <a:pt x="1106329" y="148114"/>
                    <a:pt x="1108234" y="163354"/>
                    <a:pt x="1110139" y="180499"/>
                  </a:cubicBezTo>
                  <a:cubicBezTo>
                    <a:pt x="1111091" y="186214"/>
                    <a:pt x="1112044" y="192881"/>
                    <a:pt x="1112996" y="199549"/>
                  </a:cubicBezTo>
                  <a:cubicBezTo>
                    <a:pt x="1112044" y="197644"/>
                    <a:pt x="1111091" y="196691"/>
                    <a:pt x="1110139" y="194786"/>
                  </a:cubicBezTo>
                  <a:cubicBezTo>
                    <a:pt x="1109186" y="192881"/>
                    <a:pt x="1107281" y="190976"/>
                    <a:pt x="1106329" y="190024"/>
                  </a:cubicBezTo>
                  <a:cubicBezTo>
                    <a:pt x="1106329" y="189071"/>
                    <a:pt x="1106329" y="189071"/>
                    <a:pt x="1105376" y="188119"/>
                  </a:cubicBezTo>
                  <a:cubicBezTo>
                    <a:pt x="1101566" y="177641"/>
                    <a:pt x="1098709" y="168116"/>
                    <a:pt x="1095851" y="160496"/>
                  </a:cubicBezTo>
                  <a:cubicBezTo>
                    <a:pt x="1090136" y="145256"/>
                    <a:pt x="1087279" y="136684"/>
                    <a:pt x="1087279" y="136684"/>
                  </a:cubicBezTo>
                  <a:cubicBezTo>
                    <a:pt x="1087279" y="136684"/>
                    <a:pt x="1089184" y="145256"/>
                    <a:pt x="1092041" y="161449"/>
                  </a:cubicBezTo>
                  <a:cubicBezTo>
                    <a:pt x="1093946" y="169069"/>
                    <a:pt x="1095851" y="178594"/>
                    <a:pt x="1098709" y="190024"/>
                  </a:cubicBezTo>
                  <a:cubicBezTo>
                    <a:pt x="1100614" y="197644"/>
                    <a:pt x="1102519" y="207169"/>
                    <a:pt x="1103471" y="215741"/>
                  </a:cubicBezTo>
                  <a:cubicBezTo>
                    <a:pt x="1099661" y="206216"/>
                    <a:pt x="1097756" y="200501"/>
                    <a:pt x="1097756" y="200501"/>
                  </a:cubicBezTo>
                  <a:cubicBezTo>
                    <a:pt x="1097756" y="200501"/>
                    <a:pt x="1099661" y="209074"/>
                    <a:pt x="1102519" y="224314"/>
                  </a:cubicBezTo>
                  <a:cubicBezTo>
                    <a:pt x="1100614" y="227171"/>
                    <a:pt x="1097756" y="230981"/>
                    <a:pt x="1094899" y="233839"/>
                  </a:cubicBezTo>
                  <a:cubicBezTo>
                    <a:pt x="1092994" y="225266"/>
                    <a:pt x="1091089" y="216694"/>
                    <a:pt x="1089184" y="209074"/>
                  </a:cubicBezTo>
                  <a:cubicBezTo>
                    <a:pt x="1086326" y="182404"/>
                    <a:pt x="1084421" y="166211"/>
                    <a:pt x="1084421" y="166211"/>
                  </a:cubicBezTo>
                  <a:cubicBezTo>
                    <a:pt x="1084421" y="166211"/>
                    <a:pt x="1084421" y="172879"/>
                    <a:pt x="1083469" y="184309"/>
                  </a:cubicBezTo>
                  <a:cubicBezTo>
                    <a:pt x="1080611" y="171926"/>
                    <a:pt x="1077754" y="160496"/>
                    <a:pt x="1073944" y="149066"/>
                  </a:cubicBezTo>
                  <a:cubicBezTo>
                    <a:pt x="1071086" y="140494"/>
                    <a:pt x="1069181" y="131921"/>
                    <a:pt x="1066324" y="123349"/>
                  </a:cubicBezTo>
                  <a:cubicBezTo>
                    <a:pt x="1072991" y="105251"/>
                    <a:pt x="1075849" y="94774"/>
                    <a:pt x="1075849" y="94774"/>
                  </a:cubicBezTo>
                  <a:cubicBezTo>
                    <a:pt x="1075849" y="94774"/>
                    <a:pt x="1072039" y="103346"/>
                    <a:pt x="1064419" y="119539"/>
                  </a:cubicBezTo>
                  <a:cubicBezTo>
                    <a:pt x="1062514" y="112871"/>
                    <a:pt x="1059656" y="106204"/>
                    <a:pt x="1057751" y="100489"/>
                  </a:cubicBezTo>
                  <a:cubicBezTo>
                    <a:pt x="1054894" y="92869"/>
                    <a:pt x="1052036" y="85249"/>
                    <a:pt x="1050131" y="78581"/>
                  </a:cubicBezTo>
                  <a:cubicBezTo>
                    <a:pt x="1047274" y="71914"/>
                    <a:pt x="1044416" y="65246"/>
                    <a:pt x="1042511" y="59531"/>
                  </a:cubicBezTo>
                  <a:cubicBezTo>
                    <a:pt x="1037749" y="47149"/>
                    <a:pt x="1032986" y="36671"/>
                    <a:pt x="1029176" y="28099"/>
                  </a:cubicBezTo>
                  <a:cubicBezTo>
                    <a:pt x="1017746" y="16669"/>
                    <a:pt x="1012984" y="7144"/>
                    <a:pt x="1012984" y="7144"/>
                  </a:cubicBezTo>
                  <a:cubicBezTo>
                    <a:pt x="1012984" y="7144"/>
                    <a:pt x="1016794" y="17621"/>
                    <a:pt x="1022509" y="34766"/>
                  </a:cubicBezTo>
                  <a:cubicBezTo>
                    <a:pt x="1025366" y="43339"/>
                    <a:pt x="1029176" y="54769"/>
                    <a:pt x="1032986" y="67151"/>
                  </a:cubicBezTo>
                  <a:cubicBezTo>
                    <a:pt x="1034891" y="73819"/>
                    <a:pt x="1036796" y="79534"/>
                    <a:pt x="1038701" y="87154"/>
                  </a:cubicBezTo>
                  <a:cubicBezTo>
                    <a:pt x="1040606" y="93821"/>
                    <a:pt x="1042511" y="101441"/>
                    <a:pt x="1044416" y="109061"/>
                  </a:cubicBezTo>
                  <a:cubicBezTo>
                    <a:pt x="1044416" y="109061"/>
                    <a:pt x="1044416" y="110014"/>
                    <a:pt x="1044416" y="110014"/>
                  </a:cubicBezTo>
                  <a:cubicBezTo>
                    <a:pt x="1039654" y="101441"/>
                    <a:pt x="1037749" y="96679"/>
                    <a:pt x="1037749" y="96679"/>
                  </a:cubicBezTo>
                  <a:cubicBezTo>
                    <a:pt x="1037749" y="96679"/>
                    <a:pt x="1039654" y="104299"/>
                    <a:pt x="1044416" y="117634"/>
                  </a:cubicBezTo>
                  <a:cubicBezTo>
                    <a:pt x="1046321" y="124301"/>
                    <a:pt x="1049179" y="131921"/>
                    <a:pt x="1051084" y="141446"/>
                  </a:cubicBezTo>
                  <a:cubicBezTo>
                    <a:pt x="1051084" y="143351"/>
                    <a:pt x="1052036" y="144304"/>
                    <a:pt x="1052036" y="146209"/>
                  </a:cubicBezTo>
                  <a:cubicBezTo>
                    <a:pt x="1048226" y="153829"/>
                    <a:pt x="1043464" y="163354"/>
                    <a:pt x="1037749" y="172879"/>
                  </a:cubicBezTo>
                  <a:cubicBezTo>
                    <a:pt x="1033939" y="180499"/>
                    <a:pt x="1029176" y="188119"/>
                    <a:pt x="1024414" y="195739"/>
                  </a:cubicBezTo>
                  <a:cubicBezTo>
                    <a:pt x="1024414" y="194786"/>
                    <a:pt x="1023461" y="193834"/>
                    <a:pt x="1023461" y="192881"/>
                  </a:cubicBezTo>
                  <a:cubicBezTo>
                    <a:pt x="1023461" y="190024"/>
                    <a:pt x="1023461" y="187166"/>
                    <a:pt x="1023461" y="184309"/>
                  </a:cubicBezTo>
                  <a:cubicBezTo>
                    <a:pt x="1024414" y="169069"/>
                    <a:pt x="1024414" y="154781"/>
                    <a:pt x="1024414" y="142399"/>
                  </a:cubicBezTo>
                  <a:cubicBezTo>
                    <a:pt x="1024414" y="130016"/>
                    <a:pt x="1024414" y="119539"/>
                    <a:pt x="1023461" y="110014"/>
                  </a:cubicBezTo>
                  <a:cubicBezTo>
                    <a:pt x="1023461" y="101441"/>
                    <a:pt x="1022509" y="93821"/>
                    <a:pt x="1021556" y="89059"/>
                  </a:cubicBezTo>
                  <a:cubicBezTo>
                    <a:pt x="1020604" y="84296"/>
                    <a:pt x="1020604" y="81439"/>
                    <a:pt x="1020604" y="81439"/>
                  </a:cubicBezTo>
                  <a:cubicBezTo>
                    <a:pt x="1020604" y="81439"/>
                    <a:pt x="1020604" y="84296"/>
                    <a:pt x="1020604" y="89059"/>
                  </a:cubicBezTo>
                  <a:cubicBezTo>
                    <a:pt x="1020604" y="93821"/>
                    <a:pt x="1019651" y="100489"/>
                    <a:pt x="1019651" y="110014"/>
                  </a:cubicBezTo>
                  <a:cubicBezTo>
                    <a:pt x="1018699" y="124301"/>
                    <a:pt x="1016794" y="142399"/>
                    <a:pt x="1014889" y="165259"/>
                  </a:cubicBezTo>
                  <a:cubicBezTo>
                    <a:pt x="1013936" y="162401"/>
                    <a:pt x="1013936" y="161449"/>
                    <a:pt x="1013936" y="161449"/>
                  </a:cubicBezTo>
                  <a:cubicBezTo>
                    <a:pt x="1013936" y="161449"/>
                    <a:pt x="1013936" y="163354"/>
                    <a:pt x="1014889" y="168116"/>
                  </a:cubicBezTo>
                  <a:cubicBezTo>
                    <a:pt x="1013936" y="172879"/>
                    <a:pt x="1013936" y="178594"/>
                    <a:pt x="1012984" y="183356"/>
                  </a:cubicBezTo>
                  <a:cubicBezTo>
                    <a:pt x="1011079" y="196691"/>
                    <a:pt x="1009174" y="210026"/>
                    <a:pt x="1007269" y="224314"/>
                  </a:cubicBezTo>
                  <a:cubicBezTo>
                    <a:pt x="996791" y="242411"/>
                    <a:pt x="984409" y="262414"/>
                    <a:pt x="972026" y="283369"/>
                  </a:cubicBezTo>
                  <a:cubicBezTo>
                    <a:pt x="972026" y="277654"/>
                    <a:pt x="971074" y="273844"/>
                    <a:pt x="971074" y="269081"/>
                  </a:cubicBezTo>
                  <a:cubicBezTo>
                    <a:pt x="972979" y="263366"/>
                    <a:pt x="975836" y="256699"/>
                    <a:pt x="977741" y="251936"/>
                  </a:cubicBezTo>
                  <a:cubicBezTo>
                    <a:pt x="983456" y="235744"/>
                    <a:pt x="989171" y="220504"/>
                    <a:pt x="992981" y="206216"/>
                  </a:cubicBezTo>
                  <a:cubicBezTo>
                    <a:pt x="996791" y="192881"/>
                    <a:pt x="1000601" y="180499"/>
                    <a:pt x="1002506" y="170974"/>
                  </a:cubicBezTo>
                  <a:cubicBezTo>
                    <a:pt x="1007269" y="150971"/>
                    <a:pt x="1009174" y="139541"/>
                    <a:pt x="1009174" y="139541"/>
                  </a:cubicBezTo>
                  <a:cubicBezTo>
                    <a:pt x="1009174" y="139541"/>
                    <a:pt x="1005364" y="150971"/>
                    <a:pt x="998696" y="170021"/>
                  </a:cubicBezTo>
                  <a:cubicBezTo>
                    <a:pt x="995839" y="179546"/>
                    <a:pt x="990124" y="190976"/>
                    <a:pt x="985361" y="204311"/>
                  </a:cubicBezTo>
                  <a:cubicBezTo>
                    <a:pt x="980599" y="217646"/>
                    <a:pt x="972979" y="231934"/>
                    <a:pt x="966311" y="248126"/>
                  </a:cubicBezTo>
                  <a:cubicBezTo>
                    <a:pt x="964406" y="251936"/>
                    <a:pt x="962501" y="255746"/>
                    <a:pt x="960596" y="260509"/>
                  </a:cubicBezTo>
                  <a:cubicBezTo>
                    <a:pt x="961549" y="248126"/>
                    <a:pt x="961549" y="236696"/>
                    <a:pt x="961549" y="225266"/>
                  </a:cubicBezTo>
                  <a:cubicBezTo>
                    <a:pt x="966311" y="212884"/>
                    <a:pt x="969169" y="206216"/>
                    <a:pt x="969169" y="206216"/>
                  </a:cubicBezTo>
                  <a:cubicBezTo>
                    <a:pt x="969169" y="206216"/>
                    <a:pt x="966311" y="210979"/>
                    <a:pt x="961549" y="218599"/>
                  </a:cubicBezTo>
                  <a:cubicBezTo>
                    <a:pt x="961549" y="213836"/>
                    <a:pt x="961549" y="210026"/>
                    <a:pt x="961549" y="206216"/>
                  </a:cubicBezTo>
                  <a:cubicBezTo>
                    <a:pt x="961549" y="182404"/>
                    <a:pt x="960596" y="162401"/>
                    <a:pt x="958691" y="149066"/>
                  </a:cubicBezTo>
                  <a:cubicBezTo>
                    <a:pt x="957739" y="143351"/>
                    <a:pt x="957739" y="138589"/>
                    <a:pt x="956786" y="134779"/>
                  </a:cubicBezTo>
                  <a:cubicBezTo>
                    <a:pt x="956786" y="132874"/>
                    <a:pt x="957739" y="131921"/>
                    <a:pt x="957739" y="131921"/>
                  </a:cubicBezTo>
                  <a:cubicBezTo>
                    <a:pt x="957739" y="131921"/>
                    <a:pt x="957739" y="132874"/>
                    <a:pt x="956786" y="133826"/>
                  </a:cubicBezTo>
                  <a:cubicBezTo>
                    <a:pt x="956786" y="133826"/>
                    <a:pt x="956786" y="132874"/>
                    <a:pt x="956786" y="132874"/>
                  </a:cubicBezTo>
                  <a:cubicBezTo>
                    <a:pt x="955834" y="129064"/>
                    <a:pt x="955834" y="127159"/>
                    <a:pt x="955834" y="127159"/>
                  </a:cubicBezTo>
                  <a:cubicBezTo>
                    <a:pt x="955834" y="127159"/>
                    <a:pt x="955834" y="130969"/>
                    <a:pt x="955834" y="136684"/>
                  </a:cubicBezTo>
                  <a:cubicBezTo>
                    <a:pt x="951071" y="147161"/>
                    <a:pt x="940594" y="171926"/>
                    <a:pt x="927259" y="206216"/>
                  </a:cubicBezTo>
                  <a:cubicBezTo>
                    <a:pt x="927259" y="206216"/>
                    <a:pt x="927259" y="205264"/>
                    <a:pt x="927259" y="205264"/>
                  </a:cubicBezTo>
                  <a:cubicBezTo>
                    <a:pt x="928211" y="196691"/>
                    <a:pt x="929164" y="189071"/>
                    <a:pt x="930116" y="183356"/>
                  </a:cubicBezTo>
                  <a:cubicBezTo>
                    <a:pt x="932021" y="170974"/>
                    <a:pt x="932974" y="164306"/>
                    <a:pt x="932974" y="164306"/>
                  </a:cubicBezTo>
                  <a:cubicBezTo>
                    <a:pt x="932974" y="164306"/>
                    <a:pt x="930116" y="170974"/>
                    <a:pt x="926306" y="183356"/>
                  </a:cubicBezTo>
                  <a:cubicBezTo>
                    <a:pt x="924401" y="189071"/>
                    <a:pt x="922496" y="195739"/>
                    <a:pt x="920591" y="203359"/>
                  </a:cubicBezTo>
                  <a:cubicBezTo>
                    <a:pt x="916781" y="192881"/>
                    <a:pt x="913924" y="182404"/>
                    <a:pt x="910114" y="171926"/>
                  </a:cubicBezTo>
                  <a:cubicBezTo>
                    <a:pt x="909161" y="169069"/>
                    <a:pt x="908209" y="167164"/>
                    <a:pt x="907256" y="164306"/>
                  </a:cubicBezTo>
                  <a:cubicBezTo>
                    <a:pt x="909161" y="161449"/>
                    <a:pt x="910114" y="159544"/>
                    <a:pt x="912019" y="157639"/>
                  </a:cubicBezTo>
                  <a:cubicBezTo>
                    <a:pt x="920591" y="145256"/>
                    <a:pt x="927259" y="133826"/>
                    <a:pt x="933926" y="124301"/>
                  </a:cubicBezTo>
                  <a:cubicBezTo>
                    <a:pt x="946309" y="106204"/>
                    <a:pt x="953929" y="95726"/>
                    <a:pt x="953929" y="95726"/>
                  </a:cubicBezTo>
                  <a:cubicBezTo>
                    <a:pt x="953929" y="95726"/>
                    <a:pt x="945356" y="105251"/>
                    <a:pt x="931069" y="121444"/>
                  </a:cubicBezTo>
                  <a:cubicBezTo>
                    <a:pt x="923449" y="129064"/>
                    <a:pt x="915829" y="140494"/>
                    <a:pt x="906304" y="151924"/>
                  </a:cubicBezTo>
                  <a:cubicBezTo>
                    <a:pt x="905351" y="152876"/>
                    <a:pt x="904399" y="153829"/>
                    <a:pt x="904399" y="154781"/>
                  </a:cubicBezTo>
                  <a:cubicBezTo>
                    <a:pt x="901541" y="147161"/>
                    <a:pt x="898684" y="139541"/>
                    <a:pt x="894874" y="131921"/>
                  </a:cubicBezTo>
                  <a:lnTo>
                    <a:pt x="892016" y="126206"/>
                  </a:lnTo>
                  <a:cubicBezTo>
                    <a:pt x="893921" y="122396"/>
                    <a:pt x="895826" y="118586"/>
                    <a:pt x="897731" y="115729"/>
                  </a:cubicBezTo>
                  <a:cubicBezTo>
                    <a:pt x="905351" y="100489"/>
                    <a:pt x="912019" y="87154"/>
                    <a:pt x="918686" y="77629"/>
                  </a:cubicBezTo>
                  <a:cubicBezTo>
                    <a:pt x="931069" y="56674"/>
                    <a:pt x="937736" y="44291"/>
                    <a:pt x="937736" y="44291"/>
                  </a:cubicBezTo>
                  <a:cubicBezTo>
                    <a:pt x="937736" y="44291"/>
                    <a:pt x="929164" y="55721"/>
                    <a:pt x="914876" y="74771"/>
                  </a:cubicBezTo>
                  <a:cubicBezTo>
                    <a:pt x="907256" y="84296"/>
                    <a:pt x="899636" y="96679"/>
                    <a:pt x="890111" y="110966"/>
                  </a:cubicBezTo>
                  <a:cubicBezTo>
                    <a:pt x="889159" y="112871"/>
                    <a:pt x="887254" y="114776"/>
                    <a:pt x="886301" y="116681"/>
                  </a:cubicBezTo>
                  <a:lnTo>
                    <a:pt x="874871" y="92869"/>
                  </a:lnTo>
                  <a:lnTo>
                    <a:pt x="873919" y="90964"/>
                  </a:lnTo>
                  <a:lnTo>
                    <a:pt x="872966" y="91916"/>
                  </a:lnTo>
                  <a:cubicBezTo>
                    <a:pt x="871061" y="92869"/>
                    <a:pt x="869156" y="93821"/>
                    <a:pt x="868204" y="95726"/>
                  </a:cubicBezTo>
                  <a:cubicBezTo>
                    <a:pt x="867251" y="97631"/>
                    <a:pt x="866299" y="99536"/>
                    <a:pt x="866299" y="101441"/>
                  </a:cubicBezTo>
                  <a:cubicBezTo>
                    <a:pt x="866299" y="105251"/>
                    <a:pt x="867251" y="110014"/>
                    <a:pt x="868204" y="113824"/>
                  </a:cubicBezTo>
                  <a:cubicBezTo>
                    <a:pt x="867251" y="110014"/>
                    <a:pt x="867251" y="106204"/>
                    <a:pt x="868204" y="102394"/>
                  </a:cubicBezTo>
                  <a:cubicBezTo>
                    <a:pt x="868204" y="100489"/>
                    <a:pt x="869156" y="99536"/>
                    <a:pt x="870109" y="97631"/>
                  </a:cubicBezTo>
                  <a:cubicBezTo>
                    <a:pt x="871061" y="96679"/>
                    <a:pt x="872014" y="96679"/>
                    <a:pt x="872966" y="95726"/>
                  </a:cubicBezTo>
                  <a:lnTo>
                    <a:pt x="882491" y="122396"/>
                  </a:lnTo>
                  <a:cubicBezTo>
                    <a:pt x="880586" y="126206"/>
                    <a:pt x="877729" y="129064"/>
                    <a:pt x="875824" y="132874"/>
                  </a:cubicBezTo>
                  <a:cubicBezTo>
                    <a:pt x="871061" y="141446"/>
                    <a:pt x="866299" y="150019"/>
                    <a:pt x="860584" y="159544"/>
                  </a:cubicBezTo>
                  <a:cubicBezTo>
                    <a:pt x="852964" y="172879"/>
                    <a:pt x="845344" y="188119"/>
                    <a:pt x="837724" y="203359"/>
                  </a:cubicBezTo>
                  <a:cubicBezTo>
                    <a:pt x="834866" y="198596"/>
                    <a:pt x="832961" y="195739"/>
                    <a:pt x="832009" y="194786"/>
                  </a:cubicBezTo>
                  <a:cubicBezTo>
                    <a:pt x="834866" y="170974"/>
                    <a:pt x="836771" y="151924"/>
                    <a:pt x="838676" y="137636"/>
                  </a:cubicBezTo>
                  <a:cubicBezTo>
                    <a:pt x="839629" y="123349"/>
                    <a:pt x="840581" y="115729"/>
                    <a:pt x="840581" y="115729"/>
                  </a:cubicBezTo>
                  <a:cubicBezTo>
                    <a:pt x="840581" y="115729"/>
                    <a:pt x="838676" y="123349"/>
                    <a:pt x="834866" y="137636"/>
                  </a:cubicBezTo>
                  <a:cubicBezTo>
                    <a:pt x="831056" y="151924"/>
                    <a:pt x="826294" y="170974"/>
                    <a:pt x="820579" y="194786"/>
                  </a:cubicBezTo>
                  <a:cubicBezTo>
                    <a:pt x="819626" y="197644"/>
                    <a:pt x="819626" y="200501"/>
                    <a:pt x="818674" y="204311"/>
                  </a:cubicBezTo>
                  <a:cubicBezTo>
                    <a:pt x="817721" y="202406"/>
                    <a:pt x="816769" y="199549"/>
                    <a:pt x="815816" y="197644"/>
                  </a:cubicBezTo>
                  <a:cubicBezTo>
                    <a:pt x="810101" y="183356"/>
                    <a:pt x="807244" y="174784"/>
                    <a:pt x="807244" y="174784"/>
                  </a:cubicBezTo>
                  <a:cubicBezTo>
                    <a:pt x="807244" y="174784"/>
                    <a:pt x="809149" y="183356"/>
                    <a:pt x="812006" y="198596"/>
                  </a:cubicBezTo>
                  <a:cubicBezTo>
                    <a:pt x="812959" y="202406"/>
                    <a:pt x="813911" y="206216"/>
                    <a:pt x="814864" y="210979"/>
                  </a:cubicBezTo>
                  <a:cubicBezTo>
                    <a:pt x="814864" y="212884"/>
                    <a:pt x="815816" y="214789"/>
                    <a:pt x="815816" y="216694"/>
                  </a:cubicBezTo>
                  <a:cubicBezTo>
                    <a:pt x="813911" y="224314"/>
                    <a:pt x="812959" y="231934"/>
                    <a:pt x="811054" y="239554"/>
                  </a:cubicBezTo>
                  <a:cubicBezTo>
                    <a:pt x="809149" y="226219"/>
                    <a:pt x="808196" y="219551"/>
                    <a:pt x="808196" y="219551"/>
                  </a:cubicBezTo>
                  <a:cubicBezTo>
                    <a:pt x="808196" y="219551"/>
                    <a:pt x="807244" y="236696"/>
                    <a:pt x="807244" y="264319"/>
                  </a:cubicBezTo>
                  <a:cubicBezTo>
                    <a:pt x="807244" y="265271"/>
                    <a:pt x="807244" y="265271"/>
                    <a:pt x="807244" y="266224"/>
                  </a:cubicBezTo>
                  <a:cubicBezTo>
                    <a:pt x="804386" y="259556"/>
                    <a:pt x="801529" y="252889"/>
                    <a:pt x="798671" y="246221"/>
                  </a:cubicBezTo>
                  <a:cubicBezTo>
                    <a:pt x="799624" y="241459"/>
                    <a:pt x="800576" y="239554"/>
                    <a:pt x="800576" y="239554"/>
                  </a:cubicBezTo>
                  <a:cubicBezTo>
                    <a:pt x="800576" y="239554"/>
                    <a:pt x="799624" y="241459"/>
                    <a:pt x="797719" y="245269"/>
                  </a:cubicBezTo>
                  <a:cubicBezTo>
                    <a:pt x="797719" y="244316"/>
                    <a:pt x="796766" y="243364"/>
                    <a:pt x="796766" y="242411"/>
                  </a:cubicBezTo>
                  <a:cubicBezTo>
                    <a:pt x="795814" y="239554"/>
                    <a:pt x="793909" y="236696"/>
                    <a:pt x="792956" y="233839"/>
                  </a:cubicBezTo>
                  <a:cubicBezTo>
                    <a:pt x="794861" y="229076"/>
                    <a:pt x="795814" y="223361"/>
                    <a:pt x="796766" y="218599"/>
                  </a:cubicBezTo>
                  <a:cubicBezTo>
                    <a:pt x="802481" y="196691"/>
                    <a:pt x="806291" y="177641"/>
                    <a:pt x="809149" y="164306"/>
                  </a:cubicBezTo>
                  <a:cubicBezTo>
                    <a:pt x="811054" y="150971"/>
                    <a:pt x="812959" y="143351"/>
                    <a:pt x="812959" y="143351"/>
                  </a:cubicBezTo>
                  <a:cubicBezTo>
                    <a:pt x="812959" y="143351"/>
                    <a:pt x="810101" y="150971"/>
                    <a:pt x="805339" y="163354"/>
                  </a:cubicBezTo>
                  <a:cubicBezTo>
                    <a:pt x="803434" y="170021"/>
                    <a:pt x="800576" y="177641"/>
                    <a:pt x="796766" y="186214"/>
                  </a:cubicBezTo>
                  <a:cubicBezTo>
                    <a:pt x="793909" y="194786"/>
                    <a:pt x="790099" y="205264"/>
                    <a:pt x="785336" y="215741"/>
                  </a:cubicBezTo>
                  <a:cubicBezTo>
                    <a:pt x="785336" y="216694"/>
                    <a:pt x="784384" y="217646"/>
                    <a:pt x="784384" y="218599"/>
                  </a:cubicBezTo>
                  <a:cubicBezTo>
                    <a:pt x="781526" y="213836"/>
                    <a:pt x="779621" y="209074"/>
                    <a:pt x="776764" y="205264"/>
                  </a:cubicBezTo>
                  <a:cubicBezTo>
                    <a:pt x="775811" y="204311"/>
                    <a:pt x="775811" y="203359"/>
                    <a:pt x="774859" y="202406"/>
                  </a:cubicBezTo>
                  <a:cubicBezTo>
                    <a:pt x="774859" y="202406"/>
                    <a:pt x="774859" y="202406"/>
                    <a:pt x="774859" y="201454"/>
                  </a:cubicBezTo>
                  <a:cubicBezTo>
                    <a:pt x="777716" y="176689"/>
                    <a:pt x="779621" y="156686"/>
                    <a:pt x="780574" y="142399"/>
                  </a:cubicBezTo>
                  <a:cubicBezTo>
                    <a:pt x="781526" y="128111"/>
                    <a:pt x="781526" y="119539"/>
                    <a:pt x="781526" y="119539"/>
                  </a:cubicBezTo>
                  <a:cubicBezTo>
                    <a:pt x="781526" y="119539"/>
                    <a:pt x="779621" y="127159"/>
                    <a:pt x="776764" y="141446"/>
                  </a:cubicBezTo>
                  <a:cubicBezTo>
                    <a:pt x="775811" y="148114"/>
                    <a:pt x="772954" y="156686"/>
                    <a:pt x="771049" y="167164"/>
                  </a:cubicBezTo>
                  <a:cubicBezTo>
                    <a:pt x="769144" y="173831"/>
                    <a:pt x="768191" y="181451"/>
                    <a:pt x="766286" y="189071"/>
                  </a:cubicBezTo>
                  <a:cubicBezTo>
                    <a:pt x="763429" y="185261"/>
                    <a:pt x="760571" y="181451"/>
                    <a:pt x="758666" y="178594"/>
                  </a:cubicBezTo>
                  <a:cubicBezTo>
                    <a:pt x="753904" y="171926"/>
                    <a:pt x="748189" y="166211"/>
                    <a:pt x="745331" y="163354"/>
                  </a:cubicBezTo>
                  <a:cubicBezTo>
                    <a:pt x="742474" y="159544"/>
                    <a:pt x="740569" y="157639"/>
                    <a:pt x="740569" y="157639"/>
                  </a:cubicBezTo>
                  <a:cubicBezTo>
                    <a:pt x="740569" y="157639"/>
                    <a:pt x="741521" y="159544"/>
                    <a:pt x="744379" y="163354"/>
                  </a:cubicBezTo>
                  <a:cubicBezTo>
                    <a:pt x="747236" y="167164"/>
                    <a:pt x="751046" y="172879"/>
                    <a:pt x="754856" y="180499"/>
                  </a:cubicBezTo>
                  <a:cubicBezTo>
                    <a:pt x="757714" y="185261"/>
                    <a:pt x="760571" y="190976"/>
                    <a:pt x="763429" y="196691"/>
                  </a:cubicBezTo>
                  <a:cubicBezTo>
                    <a:pt x="763429" y="197644"/>
                    <a:pt x="763429" y="198596"/>
                    <a:pt x="762476" y="199549"/>
                  </a:cubicBezTo>
                  <a:cubicBezTo>
                    <a:pt x="759619" y="211931"/>
                    <a:pt x="756761" y="224314"/>
                    <a:pt x="753904" y="238601"/>
                  </a:cubicBezTo>
                  <a:cubicBezTo>
                    <a:pt x="749141" y="230029"/>
                    <a:pt x="747236" y="224314"/>
                    <a:pt x="747236" y="224314"/>
                  </a:cubicBezTo>
                  <a:cubicBezTo>
                    <a:pt x="747236" y="224314"/>
                    <a:pt x="749141" y="230981"/>
                    <a:pt x="752951" y="241459"/>
                  </a:cubicBezTo>
                  <a:cubicBezTo>
                    <a:pt x="751999" y="242411"/>
                    <a:pt x="751999" y="242411"/>
                    <a:pt x="751046" y="243364"/>
                  </a:cubicBezTo>
                  <a:cubicBezTo>
                    <a:pt x="749141" y="246221"/>
                    <a:pt x="749141" y="250031"/>
                    <a:pt x="749141" y="252889"/>
                  </a:cubicBezTo>
                  <a:cubicBezTo>
                    <a:pt x="750094" y="250031"/>
                    <a:pt x="751046" y="246221"/>
                    <a:pt x="752951" y="244316"/>
                  </a:cubicBezTo>
                  <a:cubicBezTo>
                    <a:pt x="752951" y="244316"/>
                    <a:pt x="752951" y="244316"/>
                    <a:pt x="752951" y="244316"/>
                  </a:cubicBezTo>
                  <a:cubicBezTo>
                    <a:pt x="750094" y="256699"/>
                    <a:pt x="747236" y="269081"/>
                    <a:pt x="744379" y="282416"/>
                  </a:cubicBezTo>
                  <a:cubicBezTo>
                    <a:pt x="743426" y="287179"/>
                    <a:pt x="742474" y="291941"/>
                    <a:pt x="741521" y="296704"/>
                  </a:cubicBezTo>
                  <a:cubicBezTo>
                    <a:pt x="740569" y="299561"/>
                    <a:pt x="739616" y="302419"/>
                    <a:pt x="738664" y="306229"/>
                  </a:cubicBezTo>
                  <a:cubicBezTo>
                    <a:pt x="738664" y="306229"/>
                    <a:pt x="738664" y="306229"/>
                    <a:pt x="738664" y="306229"/>
                  </a:cubicBezTo>
                  <a:cubicBezTo>
                    <a:pt x="738664" y="302419"/>
                    <a:pt x="737711" y="297656"/>
                    <a:pt x="737711" y="293846"/>
                  </a:cubicBezTo>
                  <a:cubicBezTo>
                    <a:pt x="736759" y="285274"/>
                    <a:pt x="735806" y="277654"/>
                    <a:pt x="733901" y="270034"/>
                  </a:cubicBezTo>
                  <a:cubicBezTo>
                    <a:pt x="732949" y="266224"/>
                    <a:pt x="731996" y="263366"/>
                    <a:pt x="731996" y="259556"/>
                  </a:cubicBezTo>
                  <a:cubicBezTo>
                    <a:pt x="731996" y="258604"/>
                    <a:pt x="731996" y="258604"/>
                    <a:pt x="731044" y="257651"/>
                  </a:cubicBezTo>
                  <a:cubicBezTo>
                    <a:pt x="729139" y="238601"/>
                    <a:pt x="727234" y="223361"/>
                    <a:pt x="725329" y="210979"/>
                  </a:cubicBezTo>
                  <a:cubicBezTo>
                    <a:pt x="723424" y="195739"/>
                    <a:pt x="722471" y="186214"/>
                    <a:pt x="722471" y="186214"/>
                  </a:cubicBezTo>
                  <a:cubicBezTo>
                    <a:pt x="722471" y="186214"/>
                    <a:pt x="722471" y="190976"/>
                    <a:pt x="722471" y="199549"/>
                  </a:cubicBezTo>
                  <a:cubicBezTo>
                    <a:pt x="720566" y="204311"/>
                    <a:pt x="715804" y="220504"/>
                    <a:pt x="709136" y="243364"/>
                  </a:cubicBezTo>
                  <a:cubicBezTo>
                    <a:pt x="707231" y="238601"/>
                    <a:pt x="706279" y="233839"/>
                    <a:pt x="704374" y="229076"/>
                  </a:cubicBezTo>
                  <a:cubicBezTo>
                    <a:pt x="698659" y="211931"/>
                    <a:pt x="692944" y="195739"/>
                    <a:pt x="687229" y="181451"/>
                  </a:cubicBezTo>
                  <a:cubicBezTo>
                    <a:pt x="684371" y="174784"/>
                    <a:pt x="682466" y="168116"/>
                    <a:pt x="679609" y="161449"/>
                  </a:cubicBezTo>
                  <a:cubicBezTo>
                    <a:pt x="679609" y="156686"/>
                    <a:pt x="679609" y="151924"/>
                    <a:pt x="679609" y="148114"/>
                  </a:cubicBezTo>
                  <a:cubicBezTo>
                    <a:pt x="679609" y="138589"/>
                    <a:pt x="679609" y="130016"/>
                    <a:pt x="679609" y="122396"/>
                  </a:cubicBezTo>
                  <a:cubicBezTo>
                    <a:pt x="679609" y="108109"/>
                    <a:pt x="678656" y="100489"/>
                    <a:pt x="678656" y="100489"/>
                  </a:cubicBezTo>
                  <a:cubicBezTo>
                    <a:pt x="678656" y="100489"/>
                    <a:pt x="677704" y="108109"/>
                    <a:pt x="675799" y="122396"/>
                  </a:cubicBezTo>
                  <a:cubicBezTo>
                    <a:pt x="674846" y="128111"/>
                    <a:pt x="673894" y="135731"/>
                    <a:pt x="672941" y="144304"/>
                  </a:cubicBezTo>
                  <a:cubicBezTo>
                    <a:pt x="669131" y="134779"/>
                    <a:pt x="665321" y="127159"/>
                    <a:pt x="663416" y="122396"/>
                  </a:cubicBezTo>
                  <a:cubicBezTo>
                    <a:pt x="660559" y="117634"/>
                    <a:pt x="659606" y="114776"/>
                    <a:pt x="659606" y="114776"/>
                  </a:cubicBezTo>
                  <a:cubicBezTo>
                    <a:pt x="659606" y="114776"/>
                    <a:pt x="660559" y="117634"/>
                    <a:pt x="662464" y="123349"/>
                  </a:cubicBezTo>
                  <a:cubicBezTo>
                    <a:pt x="664369" y="129064"/>
                    <a:pt x="667226" y="136684"/>
                    <a:pt x="670084" y="147161"/>
                  </a:cubicBezTo>
                  <a:cubicBezTo>
                    <a:pt x="671036" y="149066"/>
                    <a:pt x="671036" y="151924"/>
                    <a:pt x="671989" y="153829"/>
                  </a:cubicBezTo>
                  <a:cubicBezTo>
                    <a:pt x="671989" y="157639"/>
                    <a:pt x="671036" y="160496"/>
                    <a:pt x="671036" y="164306"/>
                  </a:cubicBezTo>
                  <a:cubicBezTo>
                    <a:pt x="670084" y="170021"/>
                    <a:pt x="669131" y="175736"/>
                    <a:pt x="668179" y="181451"/>
                  </a:cubicBezTo>
                  <a:cubicBezTo>
                    <a:pt x="666274" y="193834"/>
                    <a:pt x="664369" y="206216"/>
                    <a:pt x="662464" y="219551"/>
                  </a:cubicBezTo>
                  <a:cubicBezTo>
                    <a:pt x="661511" y="226219"/>
                    <a:pt x="660559" y="232886"/>
                    <a:pt x="658654" y="239554"/>
                  </a:cubicBezTo>
                  <a:cubicBezTo>
                    <a:pt x="657701" y="236696"/>
                    <a:pt x="656749" y="233839"/>
                    <a:pt x="655796" y="231934"/>
                  </a:cubicBezTo>
                  <a:cubicBezTo>
                    <a:pt x="656749" y="218599"/>
                    <a:pt x="657701" y="210026"/>
                    <a:pt x="657701" y="210026"/>
                  </a:cubicBezTo>
                  <a:cubicBezTo>
                    <a:pt x="657701" y="210026"/>
                    <a:pt x="655796" y="215741"/>
                    <a:pt x="653891" y="226219"/>
                  </a:cubicBezTo>
                  <a:cubicBezTo>
                    <a:pt x="648176" y="212884"/>
                    <a:pt x="643414" y="201454"/>
                    <a:pt x="638651" y="191929"/>
                  </a:cubicBezTo>
                  <a:cubicBezTo>
                    <a:pt x="634841" y="184309"/>
                    <a:pt x="631984" y="178594"/>
                    <a:pt x="630079" y="174784"/>
                  </a:cubicBezTo>
                  <a:cubicBezTo>
                    <a:pt x="628174" y="170974"/>
                    <a:pt x="627221" y="169069"/>
                    <a:pt x="627221" y="169069"/>
                  </a:cubicBezTo>
                  <a:cubicBezTo>
                    <a:pt x="627221" y="169069"/>
                    <a:pt x="630079" y="178594"/>
                    <a:pt x="635794" y="193834"/>
                  </a:cubicBezTo>
                  <a:cubicBezTo>
                    <a:pt x="639604" y="205264"/>
                    <a:pt x="644366" y="221456"/>
                    <a:pt x="649129" y="240506"/>
                  </a:cubicBezTo>
                  <a:cubicBezTo>
                    <a:pt x="649129" y="241459"/>
                    <a:pt x="649129" y="242411"/>
                    <a:pt x="650081" y="244316"/>
                  </a:cubicBezTo>
                  <a:cubicBezTo>
                    <a:pt x="649129" y="250031"/>
                    <a:pt x="648176" y="255746"/>
                    <a:pt x="647224" y="262414"/>
                  </a:cubicBezTo>
                  <a:cubicBezTo>
                    <a:pt x="646271" y="268129"/>
                    <a:pt x="645319" y="273844"/>
                    <a:pt x="644366" y="279559"/>
                  </a:cubicBezTo>
                  <a:cubicBezTo>
                    <a:pt x="643414" y="285274"/>
                    <a:pt x="643414" y="291941"/>
                    <a:pt x="642461" y="298609"/>
                  </a:cubicBezTo>
                  <a:cubicBezTo>
                    <a:pt x="642461" y="298609"/>
                    <a:pt x="642461" y="298609"/>
                    <a:pt x="642461" y="298609"/>
                  </a:cubicBezTo>
                  <a:cubicBezTo>
                    <a:pt x="642461" y="296704"/>
                    <a:pt x="642461" y="294799"/>
                    <a:pt x="642461" y="294799"/>
                  </a:cubicBezTo>
                  <a:cubicBezTo>
                    <a:pt x="642461" y="294799"/>
                    <a:pt x="642461" y="302419"/>
                    <a:pt x="641509" y="315754"/>
                  </a:cubicBezTo>
                  <a:cubicBezTo>
                    <a:pt x="641509" y="316706"/>
                    <a:pt x="641509" y="316706"/>
                    <a:pt x="641509" y="317659"/>
                  </a:cubicBezTo>
                  <a:cubicBezTo>
                    <a:pt x="640556" y="314801"/>
                    <a:pt x="639604" y="311944"/>
                    <a:pt x="639604" y="309086"/>
                  </a:cubicBezTo>
                  <a:cubicBezTo>
                    <a:pt x="640556" y="306229"/>
                    <a:pt x="640556" y="304324"/>
                    <a:pt x="640556" y="304324"/>
                  </a:cubicBezTo>
                  <a:cubicBezTo>
                    <a:pt x="640556" y="304324"/>
                    <a:pt x="639604" y="305276"/>
                    <a:pt x="638651" y="307181"/>
                  </a:cubicBezTo>
                  <a:cubicBezTo>
                    <a:pt x="636746" y="299561"/>
                    <a:pt x="634841" y="291941"/>
                    <a:pt x="632936" y="284321"/>
                  </a:cubicBezTo>
                  <a:cubicBezTo>
                    <a:pt x="630079" y="271939"/>
                    <a:pt x="626269" y="260509"/>
                    <a:pt x="624364" y="250031"/>
                  </a:cubicBezTo>
                  <a:cubicBezTo>
                    <a:pt x="622459" y="239554"/>
                    <a:pt x="619601" y="230981"/>
                    <a:pt x="617696" y="223361"/>
                  </a:cubicBezTo>
                  <a:cubicBezTo>
                    <a:pt x="616744" y="218599"/>
                    <a:pt x="615791" y="214789"/>
                    <a:pt x="614839" y="210979"/>
                  </a:cubicBezTo>
                  <a:cubicBezTo>
                    <a:pt x="615791" y="204311"/>
                    <a:pt x="615791" y="197644"/>
                    <a:pt x="615791" y="190024"/>
                  </a:cubicBezTo>
                  <a:cubicBezTo>
                    <a:pt x="616744" y="169069"/>
                    <a:pt x="617696" y="148114"/>
                    <a:pt x="617696" y="126206"/>
                  </a:cubicBezTo>
                  <a:cubicBezTo>
                    <a:pt x="613886" y="146209"/>
                    <a:pt x="610076" y="166211"/>
                    <a:pt x="607219" y="187166"/>
                  </a:cubicBezTo>
                  <a:cubicBezTo>
                    <a:pt x="607219" y="186214"/>
                    <a:pt x="607219" y="185261"/>
                    <a:pt x="606266" y="184309"/>
                  </a:cubicBezTo>
                  <a:cubicBezTo>
                    <a:pt x="606266" y="186214"/>
                    <a:pt x="606266" y="188119"/>
                    <a:pt x="606266" y="189071"/>
                  </a:cubicBezTo>
                  <a:cubicBezTo>
                    <a:pt x="604361" y="197644"/>
                    <a:pt x="603409" y="207169"/>
                    <a:pt x="601504" y="215741"/>
                  </a:cubicBezTo>
                  <a:cubicBezTo>
                    <a:pt x="600551" y="213836"/>
                    <a:pt x="600551" y="211931"/>
                    <a:pt x="599599" y="210979"/>
                  </a:cubicBezTo>
                  <a:cubicBezTo>
                    <a:pt x="593884" y="198596"/>
                    <a:pt x="591026" y="191929"/>
                    <a:pt x="591026" y="191929"/>
                  </a:cubicBezTo>
                  <a:cubicBezTo>
                    <a:pt x="591026" y="191929"/>
                    <a:pt x="592931" y="199549"/>
                    <a:pt x="595789" y="212884"/>
                  </a:cubicBezTo>
                  <a:cubicBezTo>
                    <a:pt x="596741" y="217646"/>
                    <a:pt x="597694" y="223361"/>
                    <a:pt x="599599" y="230029"/>
                  </a:cubicBezTo>
                  <a:cubicBezTo>
                    <a:pt x="598646" y="237649"/>
                    <a:pt x="596741" y="244316"/>
                    <a:pt x="595789" y="251936"/>
                  </a:cubicBezTo>
                  <a:cubicBezTo>
                    <a:pt x="592931" y="266224"/>
                    <a:pt x="591026" y="280511"/>
                    <a:pt x="589121" y="294799"/>
                  </a:cubicBezTo>
                  <a:cubicBezTo>
                    <a:pt x="586264" y="290989"/>
                    <a:pt x="584359" y="288131"/>
                    <a:pt x="582454" y="284321"/>
                  </a:cubicBezTo>
                  <a:cubicBezTo>
                    <a:pt x="583406" y="277654"/>
                    <a:pt x="584359" y="270986"/>
                    <a:pt x="585311" y="265271"/>
                  </a:cubicBezTo>
                  <a:cubicBezTo>
                    <a:pt x="586264" y="256699"/>
                    <a:pt x="587216" y="250031"/>
                    <a:pt x="588169" y="244316"/>
                  </a:cubicBezTo>
                  <a:cubicBezTo>
                    <a:pt x="590074" y="232886"/>
                    <a:pt x="591026" y="225266"/>
                    <a:pt x="591026" y="225266"/>
                  </a:cubicBezTo>
                  <a:cubicBezTo>
                    <a:pt x="591026" y="225266"/>
                    <a:pt x="588169" y="231934"/>
                    <a:pt x="584359" y="243364"/>
                  </a:cubicBezTo>
                  <a:cubicBezTo>
                    <a:pt x="583406" y="247174"/>
                    <a:pt x="581501" y="252889"/>
                    <a:pt x="579596" y="258604"/>
                  </a:cubicBezTo>
                  <a:cubicBezTo>
                    <a:pt x="578644" y="248126"/>
                    <a:pt x="578644" y="239554"/>
                    <a:pt x="577691" y="231934"/>
                  </a:cubicBezTo>
                  <a:cubicBezTo>
                    <a:pt x="576739" y="218599"/>
                    <a:pt x="575786" y="210979"/>
                    <a:pt x="575786" y="210979"/>
                  </a:cubicBezTo>
                  <a:cubicBezTo>
                    <a:pt x="575786" y="210979"/>
                    <a:pt x="574834" y="218599"/>
                    <a:pt x="573881" y="230981"/>
                  </a:cubicBezTo>
                  <a:cubicBezTo>
                    <a:pt x="572929" y="240506"/>
                    <a:pt x="571976" y="252889"/>
                    <a:pt x="571024" y="267176"/>
                  </a:cubicBezTo>
                  <a:cubicBezTo>
                    <a:pt x="571024" y="267176"/>
                    <a:pt x="571024" y="267176"/>
                    <a:pt x="571024" y="267176"/>
                  </a:cubicBezTo>
                  <a:cubicBezTo>
                    <a:pt x="570071" y="265271"/>
                    <a:pt x="568166" y="264319"/>
                    <a:pt x="567214" y="262414"/>
                  </a:cubicBezTo>
                  <a:cubicBezTo>
                    <a:pt x="561499" y="245269"/>
                    <a:pt x="556736" y="230981"/>
                    <a:pt x="552926" y="219551"/>
                  </a:cubicBezTo>
                  <a:cubicBezTo>
                    <a:pt x="552926" y="219551"/>
                    <a:pt x="552926" y="218599"/>
                    <a:pt x="552926" y="218599"/>
                  </a:cubicBezTo>
                  <a:cubicBezTo>
                    <a:pt x="553879" y="208121"/>
                    <a:pt x="554831" y="198596"/>
                    <a:pt x="555784" y="189071"/>
                  </a:cubicBezTo>
                  <a:cubicBezTo>
                    <a:pt x="556736" y="179546"/>
                    <a:pt x="557689" y="170021"/>
                    <a:pt x="558641" y="162401"/>
                  </a:cubicBezTo>
                  <a:cubicBezTo>
                    <a:pt x="559594" y="154781"/>
                    <a:pt x="560546" y="147161"/>
                    <a:pt x="561499" y="141446"/>
                  </a:cubicBezTo>
                  <a:cubicBezTo>
                    <a:pt x="563404" y="130016"/>
                    <a:pt x="564356" y="123349"/>
                    <a:pt x="564356" y="123349"/>
                  </a:cubicBezTo>
                  <a:cubicBezTo>
                    <a:pt x="564356" y="123349"/>
                    <a:pt x="561499" y="130016"/>
                    <a:pt x="557689" y="140494"/>
                  </a:cubicBezTo>
                  <a:cubicBezTo>
                    <a:pt x="555784" y="146209"/>
                    <a:pt x="553879" y="152876"/>
                    <a:pt x="551021" y="160496"/>
                  </a:cubicBezTo>
                  <a:cubicBezTo>
                    <a:pt x="548164" y="168116"/>
                    <a:pt x="546259" y="177641"/>
                    <a:pt x="544354" y="187166"/>
                  </a:cubicBezTo>
                  <a:cubicBezTo>
                    <a:pt x="542449" y="196691"/>
                    <a:pt x="540544" y="207169"/>
                    <a:pt x="537686" y="218599"/>
                  </a:cubicBezTo>
                  <a:cubicBezTo>
                    <a:pt x="536734" y="222409"/>
                    <a:pt x="536734" y="227171"/>
                    <a:pt x="535781" y="231934"/>
                  </a:cubicBezTo>
                  <a:cubicBezTo>
                    <a:pt x="535781" y="228124"/>
                    <a:pt x="534829" y="224314"/>
                    <a:pt x="534829" y="220504"/>
                  </a:cubicBezTo>
                  <a:cubicBezTo>
                    <a:pt x="534829" y="214789"/>
                    <a:pt x="533876" y="210026"/>
                    <a:pt x="532924" y="205264"/>
                  </a:cubicBezTo>
                  <a:cubicBezTo>
                    <a:pt x="532924" y="198596"/>
                    <a:pt x="533876" y="192881"/>
                    <a:pt x="533876" y="186214"/>
                  </a:cubicBezTo>
                  <a:cubicBezTo>
                    <a:pt x="533876" y="179546"/>
                    <a:pt x="534829" y="172879"/>
                    <a:pt x="534829" y="166211"/>
                  </a:cubicBezTo>
                  <a:cubicBezTo>
                    <a:pt x="534829" y="159544"/>
                    <a:pt x="534829" y="153829"/>
                    <a:pt x="534829" y="148114"/>
                  </a:cubicBezTo>
                  <a:cubicBezTo>
                    <a:pt x="534829" y="136684"/>
                    <a:pt x="534829" y="127159"/>
                    <a:pt x="534829" y="118586"/>
                  </a:cubicBezTo>
                  <a:cubicBezTo>
                    <a:pt x="534829" y="102394"/>
                    <a:pt x="533876" y="92869"/>
                    <a:pt x="533876" y="92869"/>
                  </a:cubicBezTo>
                  <a:cubicBezTo>
                    <a:pt x="533876" y="92869"/>
                    <a:pt x="532924" y="102394"/>
                    <a:pt x="531019" y="118586"/>
                  </a:cubicBezTo>
                  <a:cubicBezTo>
                    <a:pt x="530066" y="126206"/>
                    <a:pt x="529114" y="136684"/>
                    <a:pt x="528161" y="147161"/>
                  </a:cubicBezTo>
                  <a:cubicBezTo>
                    <a:pt x="527209" y="152876"/>
                    <a:pt x="527209" y="158591"/>
                    <a:pt x="526256" y="165259"/>
                  </a:cubicBezTo>
                  <a:cubicBezTo>
                    <a:pt x="525304" y="171926"/>
                    <a:pt x="524351" y="177641"/>
                    <a:pt x="523399" y="185261"/>
                  </a:cubicBezTo>
                  <a:cubicBezTo>
                    <a:pt x="522446" y="189071"/>
                    <a:pt x="522446" y="192881"/>
                    <a:pt x="521494" y="197644"/>
                  </a:cubicBezTo>
                  <a:cubicBezTo>
                    <a:pt x="518636" y="187166"/>
                    <a:pt x="516731" y="177641"/>
                    <a:pt x="513874" y="170021"/>
                  </a:cubicBezTo>
                  <a:cubicBezTo>
                    <a:pt x="509111" y="153829"/>
                    <a:pt x="506254" y="144304"/>
                    <a:pt x="506254" y="144304"/>
                  </a:cubicBezTo>
                  <a:cubicBezTo>
                    <a:pt x="506254" y="144304"/>
                    <a:pt x="507206" y="153829"/>
                    <a:pt x="510064" y="170974"/>
                  </a:cubicBezTo>
                  <a:cubicBezTo>
                    <a:pt x="511969" y="184309"/>
                    <a:pt x="513874" y="201454"/>
                    <a:pt x="517684" y="222409"/>
                  </a:cubicBezTo>
                  <a:cubicBezTo>
                    <a:pt x="517684" y="225266"/>
                    <a:pt x="516731" y="227171"/>
                    <a:pt x="516731" y="230029"/>
                  </a:cubicBezTo>
                  <a:cubicBezTo>
                    <a:pt x="515779" y="237649"/>
                    <a:pt x="514826" y="244316"/>
                    <a:pt x="512921" y="251936"/>
                  </a:cubicBezTo>
                  <a:cubicBezTo>
                    <a:pt x="499586" y="210026"/>
                    <a:pt x="490061" y="181451"/>
                    <a:pt x="487204" y="172879"/>
                  </a:cubicBezTo>
                  <a:cubicBezTo>
                    <a:pt x="486251" y="167164"/>
                    <a:pt x="485299" y="164306"/>
                    <a:pt x="485299" y="164306"/>
                  </a:cubicBezTo>
                  <a:cubicBezTo>
                    <a:pt x="485299" y="164306"/>
                    <a:pt x="486251" y="173831"/>
                    <a:pt x="486251" y="189071"/>
                  </a:cubicBezTo>
                  <a:cubicBezTo>
                    <a:pt x="487204" y="196691"/>
                    <a:pt x="487204" y="207169"/>
                    <a:pt x="488156" y="217646"/>
                  </a:cubicBezTo>
                  <a:cubicBezTo>
                    <a:pt x="488156" y="224314"/>
                    <a:pt x="489109" y="230981"/>
                    <a:pt x="489109" y="238601"/>
                  </a:cubicBezTo>
                  <a:cubicBezTo>
                    <a:pt x="488156" y="232886"/>
                    <a:pt x="487204" y="228124"/>
                    <a:pt x="486251" y="223361"/>
                  </a:cubicBezTo>
                  <a:cubicBezTo>
                    <a:pt x="485299" y="217646"/>
                    <a:pt x="484346" y="212884"/>
                    <a:pt x="482441" y="207169"/>
                  </a:cubicBezTo>
                  <a:cubicBezTo>
                    <a:pt x="480536" y="202406"/>
                    <a:pt x="479584" y="197644"/>
                    <a:pt x="478631" y="192881"/>
                  </a:cubicBezTo>
                  <a:cubicBezTo>
                    <a:pt x="475774" y="184309"/>
                    <a:pt x="473869" y="176689"/>
                    <a:pt x="471964" y="170021"/>
                  </a:cubicBezTo>
                  <a:cubicBezTo>
                    <a:pt x="468154" y="157639"/>
                    <a:pt x="465296" y="150019"/>
                    <a:pt x="465296" y="150019"/>
                  </a:cubicBezTo>
                  <a:cubicBezTo>
                    <a:pt x="465296" y="150019"/>
                    <a:pt x="466249" y="157639"/>
                    <a:pt x="468154" y="170021"/>
                  </a:cubicBezTo>
                  <a:cubicBezTo>
                    <a:pt x="469106" y="176689"/>
                    <a:pt x="470059" y="184309"/>
                    <a:pt x="471011" y="193834"/>
                  </a:cubicBezTo>
                  <a:cubicBezTo>
                    <a:pt x="471964" y="198596"/>
                    <a:pt x="471964" y="203359"/>
                    <a:pt x="472916" y="208121"/>
                  </a:cubicBezTo>
                  <a:cubicBezTo>
                    <a:pt x="473869" y="212884"/>
                    <a:pt x="473869" y="218599"/>
                    <a:pt x="474821" y="224314"/>
                  </a:cubicBezTo>
                  <a:cubicBezTo>
                    <a:pt x="475774" y="233839"/>
                    <a:pt x="476726" y="244316"/>
                    <a:pt x="478631" y="255746"/>
                  </a:cubicBezTo>
                  <a:cubicBezTo>
                    <a:pt x="477679" y="250031"/>
                    <a:pt x="475774" y="245269"/>
                    <a:pt x="474821" y="240506"/>
                  </a:cubicBezTo>
                  <a:cubicBezTo>
                    <a:pt x="467201" y="211931"/>
                    <a:pt x="460534" y="188119"/>
                    <a:pt x="455771" y="170974"/>
                  </a:cubicBezTo>
                  <a:cubicBezTo>
                    <a:pt x="450056" y="154781"/>
                    <a:pt x="447199" y="145256"/>
                    <a:pt x="447199" y="145256"/>
                  </a:cubicBezTo>
                  <a:cubicBezTo>
                    <a:pt x="447199" y="145256"/>
                    <a:pt x="449104" y="154781"/>
                    <a:pt x="451961" y="171926"/>
                  </a:cubicBezTo>
                  <a:cubicBezTo>
                    <a:pt x="453866" y="180499"/>
                    <a:pt x="454819" y="190976"/>
                    <a:pt x="457676" y="202406"/>
                  </a:cubicBezTo>
                  <a:cubicBezTo>
                    <a:pt x="459581" y="213836"/>
                    <a:pt x="462439" y="227171"/>
                    <a:pt x="464344" y="242411"/>
                  </a:cubicBezTo>
                  <a:cubicBezTo>
                    <a:pt x="466249" y="254794"/>
                    <a:pt x="469106" y="268129"/>
                    <a:pt x="471011" y="282416"/>
                  </a:cubicBezTo>
                  <a:cubicBezTo>
                    <a:pt x="469106" y="278606"/>
                    <a:pt x="468154" y="275749"/>
                    <a:pt x="467201" y="272891"/>
                  </a:cubicBezTo>
                  <a:cubicBezTo>
                    <a:pt x="462439" y="262414"/>
                    <a:pt x="459581" y="255746"/>
                    <a:pt x="459581" y="255746"/>
                  </a:cubicBezTo>
                  <a:cubicBezTo>
                    <a:pt x="459581" y="255746"/>
                    <a:pt x="460534" y="262414"/>
                    <a:pt x="463391" y="273844"/>
                  </a:cubicBezTo>
                  <a:cubicBezTo>
                    <a:pt x="464344" y="279559"/>
                    <a:pt x="466249" y="286226"/>
                    <a:pt x="468154" y="293846"/>
                  </a:cubicBezTo>
                  <a:cubicBezTo>
                    <a:pt x="469106" y="297656"/>
                    <a:pt x="470059" y="302419"/>
                    <a:pt x="471011" y="306229"/>
                  </a:cubicBezTo>
                  <a:cubicBezTo>
                    <a:pt x="471964" y="310991"/>
                    <a:pt x="472916" y="315754"/>
                    <a:pt x="473869" y="320516"/>
                  </a:cubicBezTo>
                  <a:cubicBezTo>
                    <a:pt x="475774" y="330041"/>
                    <a:pt x="477679" y="340519"/>
                    <a:pt x="479584" y="351949"/>
                  </a:cubicBezTo>
                  <a:cubicBezTo>
                    <a:pt x="479584" y="352901"/>
                    <a:pt x="479584" y="352901"/>
                    <a:pt x="479584" y="353854"/>
                  </a:cubicBezTo>
                  <a:cubicBezTo>
                    <a:pt x="479584" y="353854"/>
                    <a:pt x="479584" y="352901"/>
                    <a:pt x="478631" y="351949"/>
                  </a:cubicBezTo>
                  <a:cubicBezTo>
                    <a:pt x="476726" y="347186"/>
                    <a:pt x="473869" y="343376"/>
                    <a:pt x="471964" y="338614"/>
                  </a:cubicBezTo>
                  <a:cubicBezTo>
                    <a:pt x="471011" y="333851"/>
                    <a:pt x="471011" y="329089"/>
                    <a:pt x="470059" y="324326"/>
                  </a:cubicBezTo>
                  <a:cubicBezTo>
                    <a:pt x="468154" y="309086"/>
                    <a:pt x="465296" y="294799"/>
                    <a:pt x="462439" y="280511"/>
                  </a:cubicBezTo>
                  <a:cubicBezTo>
                    <a:pt x="459581" y="266224"/>
                    <a:pt x="455771" y="252889"/>
                    <a:pt x="452914" y="240506"/>
                  </a:cubicBezTo>
                  <a:cubicBezTo>
                    <a:pt x="449104" y="228124"/>
                    <a:pt x="445294" y="215741"/>
                    <a:pt x="441484" y="205264"/>
                  </a:cubicBezTo>
                  <a:cubicBezTo>
                    <a:pt x="440531" y="201454"/>
                    <a:pt x="438626" y="198596"/>
                    <a:pt x="437674" y="194786"/>
                  </a:cubicBezTo>
                  <a:cubicBezTo>
                    <a:pt x="438626" y="185261"/>
                    <a:pt x="439579" y="175736"/>
                    <a:pt x="440531" y="167164"/>
                  </a:cubicBezTo>
                  <a:cubicBezTo>
                    <a:pt x="441484" y="151924"/>
                    <a:pt x="442436" y="139541"/>
                    <a:pt x="442436" y="128111"/>
                  </a:cubicBezTo>
                  <a:cubicBezTo>
                    <a:pt x="442436" y="106204"/>
                    <a:pt x="441484" y="94774"/>
                    <a:pt x="441484" y="94774"/>
                  </a:cubicBezTo>
                  <a:cubicBezTo>
                    <a:pt x="441484" y="94774"/>
                    <a:pt x="440531" y="107156"/>
                    <a:pt x="438626" y="128111"/>
                  </a:cubicBezTo>
                  <a:cubicBezTo>
                    <a:pt x="437674" y="138589"/>
                    <a:pt x="435769" y="151924"/>
                    <a:pt x="433864" y="166211"/>
                  </a:cubicBezTo>
                  <a:cubicBezTo>
                    <a:pt x="432911" y="170021"/>
                    <a:pt x="432911" y="173831"/>
                    <a:pt x="431959" y="178594"/>
                  </a:cubicBezTo>
                  <a:cubicBezTo>
                    <a:pt x="431959" y="177641"/>
                    <a:pt x="431006" y="176689"/>
                    <a:pt x="431006" y="175736"/>
                  </a:cubicBezTo>
                  <a:cubicBezTo>
                    <a:pt x="427196" y="167164"/>
                    <a:pt x="423386" y="159544"/>
                    <a:pt x="419576" y="153829"/>
                  </a:cubicBezTo>
                  <a:cubicBezTo>
                    <a:pt x="412909" y="142399"/>
                    <a:pt x="408146" y="135731"/>
                    <a:pt x="408146" y="135731"/>
                  </a:cubicBezTo>
                  <a:cubicBezTo>
                    <a:pt x="408146" y="135731"/>
                    <a:pt x="411004" y="143351"/>
                    <a:pt x="415766" y="155734"/>
                  </a:cubicBezTo>
                  <a:cubicBezTo>
                    <a:pt x="418624" y="161449"/>
                    <a:pt x="420529" y="170021"/>
                    <a:pt x="423386" y="178594"/>
                  </a:cubicBezTo>
                  <a:cubicBezTo>
                    <a:pt x="425291" y="184309"/>
                    <a:pt x="427196" y="190024"/>
                    <a:pt x="428149" y="195739"/>
                  </a:cubicBezTo>
                  <a:cubicBezTo>
                    <a:pt x="427196" y="201454"/>
                    <a:pt x="425291" y="208121"/>
                    <a:pt x="424339" y="214789"/>
                  </a:cubicBezTo>
                  <a:cubicBezTo>
                    <a:pt x="424339" y="214789"/>
                    <a:pt x="424339" y="214789"/>
                    <a:pt x="424339" y="214789"/>
                  </a:cubicBezTo>
                  <a:cubicBezTo>
                    <a:pt x="418624" y="206216"/>
                    <a:pt x="415766" y="202406"/>
                    <a:pt x="415766" y="202406"/>
                  </a:cubicBezTo>
                  <a:cubicBezTo>
                    <a:pt x="415766" y="202406"/>
                    <a:pt x="417671" y="208121"/>
                    <a:pt x="421481" y="216694"/>
                  </a:cubicBezTo>
                  <a:cubicBezTo>
                    <a:pt x="422434" y="218599"/>
                    <a:pt x="423386" y="220504"/>
                    <a:pt x="423386" y="223361"/>
                  </a:cubicBezTo>
                  <a:cubicBezTo>
                    <a:pt x="420529" y="238601"/>
                    <a:pt x="416719" y="255746"/>
                    <a:pt x="412909" y="272891"/>
                  </a:cubicBezTo>
                  <a:cubicBezTo>
                    <a:pt x="410051" y="264319"/>
                    <a:pt x="407194" y="257651"/>
                    <a:pt x="405289" y="253841"/>
                  </a:cubicBezTo>
                  <a:cubicBezTo>
                    <a:pt x="405289" y="253841"/>
                    <a:pt x="405289" y="253841"/>
                    <a:pt x="405289" y="253841"/>
                  </a:cubicBezTo>
                  <a:cubicBezTo>
                    <a:pt x="405289" y="237649"/>
                    <a:pt x="405289" y="223361"/>
                    <a:pt x="404336" y="210026"/>
                  </a:cubicBezTo>
                  <a:cubicBezTo>
                    <a:pt x="403384" y="196691"/>
                    <a:pt x="403384" y="185261"/>
                    <a:pt x="401479" y="176689"/>
                  </a:cubicBezTo>
                  <a:cubicBezTo>
                    <a:pt x="398621" y="158591"/>
                    <a:pt x="396716" y="148114"/>
                    <a:pt x="396716" y="148114"/>
                  </a:cubicBezTo>
                  <a:cubicBezTo>
                    <a:pt x="396716" y="148114"/>
                    <a:pt x="396716" y="158591"/>
                    <a:pt x="397669" y="177641"/>
                  </a:cubicBezTo>
                  <a:cubicBezTo>
                    <a:pt x="397669" y="186214"/>
                    <a:pt x="397669" y="195739"/>
                    <a:pt x="396716" y="206216"/>
                  </a:cubicBezTo>
                  <a:cubicBezTo>
                    <a:pt x="394811" y="214789"/>
                    <a:pt x="391954" y="228124"/>
                    <a:pt x="389096" y="244316"/>
                  </a:cubicBezTo>
                  <a:cubicBezTo>
                    <a:pt x="386239" y="235744"/>
                    <a:pt x="384334" y="227171"/>
                    <a:pt x="381476" y="219551"/>
                  </a:cubicBezTo>
                  <a:cubicBezTo>
                    <a:pt x="379571" y="212884"/>
                    <a:pt x="377666" y="205264"/>
                    <a:pt x="374809" y="199549"/>
                  </a:cubicBezTo>
                  <a:cubicBezTo>
                    <a:pt x="373856" y="197644"/>
                    <a:pt x="373856" y="196691"/>
                    <a:pt x="372904" y="194786"/>
                  </a:cubicBezTo>
                  <a:cubicBezTo>
                    <a:pt x="372904" y="193834"/>
                    <a:pt x="372904" y="192881"/>
                    <a:pt x="372904" y="190976"/>
                  </a:cubicBezTo>
                  <a:cubicBezTo>
                    <a:pt x="371951" y="186214"/>
                    <a:pt x="370999" y="181451"/>
                    <a:pt x="370046" y="177641"/>
                  </a:cubicBezTo>
                  <a:cubicBezTo>
                    <a:pt x="368141" y="169069"/>
                    <a:pt x="367189" y="162401"/>
                    <a:pt x="366236" y="155734"/>
                  </a:cubicBezTo>
                  <a:cubicBezTo>
                    <a:pt x="365284" y="152876"/>
                    <a:pt x="365284" y="150019"/>
                    <a:pt x="364331" y="148114"/>
                  </a:cubicBezTo>
                  <a:cubicBezTo>
                    <a:pt x="363379" y="140494"/>
                    <a:pt x="363379" y="135731"/>
                    <a:pt x="363379" y="135731"/>
                  </a:cubicBezTo>
                  <a:cubicBezTo>
                    <a:pt x="363379" y="135731"/>
                    <a:pt x="363379" y="137636"/>
                    <a:pt x="363379" y="140494"/>
                  </a:cubicBezTo>
                  <a:cubicBezTo>
                    <a:pt x="362426" y="138589"/>
                    <a:pt x="362426" y="136684"/>
                    <a:pt x="362426" y="136684"/>
                  </a:cubicBezTo>
                  <a:cubicBezTo>
                    <a:pt x="362426" y="136684"/>
                    <a:pt x="362426" y="142399"/>
                    <a:pt x="362426" y="151924"/>
                  </a:cubicBezTo>
                  <a:cubicBezTo>
                    <a:pt x="362426" y="154781"/>
                    <a:pt x="362426" y="158591"/>
                    <a:pt x="361474" y="163354"/>
                  </a:cubicBezTo>
                  <a:cubicBezTo>
                    <a:pt x="359569" y="159544"/>
                    <a:pt x="358616" y="155734"/>
                    <a:pt x="357664" y="151924"/>
                  </a:cubicBezTo>
                  <a:cubicBezTo>
                    <a:pt x="350996" y="135731"/>
                    <a:pt x="348139" y="127159"/>
                    <a:pt x="348139" y="127159"/>
                  </a:cubicBezTo>
                  <a:cubicBezTo>
                    <a:pt x="348139" y="127159"/>
                    <a:pt x="350044" y="136684"/>
                    <a:pt x="353854" y="153829"/>
                  </a:cubicBezTo>
                  <a:cubicBezTo>
                    <a:pt x="355759" y="162401"/>
                    <a:pt x="358616" y="171926"/>
                    <a:pt x="361474" y="183356"/>
                  </a:cubicBezTo>
                  <a:cubicBezTo>
                    <a:pt x="361474" y="186214"/>
                    <a:pt x="361474" y="189071"/>
                    <a:pt x="361474" y="192881"/>
                  </a:cubicBezTo>
                  <a:cubicBezTo>
                    <a:pt x="359569" y="187166"/>
                    <a:pt x="357664" y="184309"/>
                    <a:pt x="357664" y="184309"/>
                  </a:cubicBezTo>
                  <a:cubicBezTo>
                    <a:pt x="357664" y="184309"/>
                    <a:pt x="358616" y="189071"/>
                    <a:pt x="360521" y="198596"/>
                  </a:cubicBezTo>
                  <a:cubicBezTo>
                    <a:pt x="360521" y="205264"/>
                    <a:pt x="360521" y="212884"/>
                    <a:pt x="359569" y="221456"/>
                  </a:cubicBezTo>
                  <a:cubicBezTo>
                    <a:pt x="357664" y="216694"/>
                    <a:pt x="356711" y="211931"/>
                    <a:pt x="355759" y="208121"/>
                  </a:cubicBezTo>
                  <a:cubicBezTo>
                    <a:pt x="352901" y="199549"/>
                    <a:pt x="350996" y="193834"/>
                    <a:pt x="350996" y="193834"/>
                  </a:cubicBezTo>
                  <a:cubicBezTo>
                    <a:pt x="350996" y="193834"/>
                    <a:pt x="350996" y="199549"/>
                    <a:pt x="351949" y="208121"/>
                  </a:cubicBezTo>
                  <a:cubicBezTo>
                    <a:pt x="351949" y="212884"/>
                    <a:pt x="352901" y="218599"/>
                    <a:pt x="352901" y="224314"/>
                  </a:cubicBezTo>
                  <a:cubicBezTo>
                    <a:pt x="353854" y="230981"/>
                    <a:pt x="353854" y="237649"/>
                    <a:pt x="353854" y="246221"/>
                  </a:cubicBezTo>
                  <a:cubicBezTo>
                    <a:pt x="353854" y="253841"/>
                    <a:pt x="354806" y="262414"/>
                    <a:pt x="354806" y="270986"/>
                  </a:cubicBezTo>
                  <a:cubicBezTo>
                    <a:pt x="355759" y="279559"/>
                    <a:pt x="355759" y="289084"/>
                    <a:pt x="355759" y="299561"/>
                  </a:cubicBezTo>
                  <a:cubicBezTo>
                    <a:pt x="355759" y="305276"/>
                    <a:pt x="356711" y="310991"/>
                    <a:pt x="356711" y="316706"/>
                  </a:cubicBezTo>
                  <a:cubicBezTo>
                    <a:pt x="352901" y="310039"/>
                    <a:pt x="349091" y="303371"/>
                    <a:pt x="346234" y="298609"/>
                  </a:cubicBezTo>
                  <a:cubicBezTo>
                    <a:pt x="346234" y="297656"/>
                    <a:pt x="345281" y="297656"/>
                    <a:pt x="345281" y="296704"/>
                  </a:cubicBezTo>
                  <a:cubicBezTo>
                    <a:pt x="345281" y="294799"/>
                    <a:pt x="345281" y="293846"/>
                    <a:pt x="345281" y="291941"/>
                  </a:cubicBezTo>
                  <a:cubicBezTo>
                    <a:pt x="346234" y="282416"/>
                    <a:pt x="347186" y="274796"/>
                    <a:pt x="348139" y="267176"/>
                  </a:cubicBezTo>
                  <a:cubicBezTo>
                    <a:pt x="349091" y="253841"/>
                    <a:pt x="350044" y="246221"/>
                    <a:pt x="350044" y="246221"/>
                  </a:cubicBezTo>
                  <a:cubicBezTo>
                    <a:pt x="350044" y="246221"/>
                    <a:pt x="348139" y="253841"/>
                    <a:pt x="344329" y="267176"/>
                  </a:cubicBezTo>
                  <a:cubicBezTo>
                    <a:pt x="342424" y="272891"/>
                    <a:pt x="341471" y="279559"/>
                    <a:pt x="339566" y="287179"/>
                  </a:cubicBezTo>
                  <a:cubicBezTo>
                    <a:pt x="339566" y="287179"/>
                    <a:pt x="339566" y="287179"/>
                    <a:pt x="339566" y="287179"/>
                  </a:cubicBezTo>
                  <a:cubicBezTo>
                    <a:pt x="339566" y="287179"/>
                    <a:pt x="339566" y="287179"/>
                    <a:pt x="339566" y="288131"/>
                  </a:cubicBezTo>
                  <a:cubicBezTo>
                    <a:pt x="339566" y="289084"/>
                    <a:pt x="338614" y="290036"/>
                    <a:pt x="338614" y="291941"/>
                  </a:cubicBezTo>
                  <a:cubicBezTo>
                    <a:pt x="338614" y="293846"/>
                    <a:pt x="337661" y="295751"/>
                    <a:pt x="337661" y="297656"/>
                  </a:cubicBezTo>
                  <a:cubicBezTo>
                    <a:pt x="332899" y="290036"/>
                    <a:pt x="328136" y="283369"/>
                    <a:pt x="324326" y="277654"/>
                  </a:cubicBezTo>
                  <a:cubicBezTo>
                    <a:pt x="320516" y="263366"/>
                    <a:pt x="315754" y="249079"/>
                    <a:pt x="310991" y="233839"/>
                  </a:cubicBezTo>
                  <a:cubicBezTo>
                    <a:pt x="308134" y="226219"/>
                    <a:pt x="306229" y="219551"/>
                    <a:pt x="303371" y="211931"/>
                  </a:cubicBezTo>
                  <a:cubicBezTo>
                    <a:pt x="304324" y="206216"/>
                    <a:pt x="305276" y="201454"/>
                    <a:pt x="306229" y="196691"/>
                  </a:cubicBezTo>
                  <a:cubicBezTo>
                    <a:pt x="310039" y="179546"/>
                    <a:pt x="312896" y="164306"/>
                    <a:pt x="316706" y="150971"/>
                  </a:cubicBezTo>
                  <a:cubicBezTo>
                    <a:pt x="320516" y="137636"/>
                    <a:pt x="322421" y="125254"/>
                    <a:pt x="326231" y="115729"/>
                  </a:cubicBezTo>
                  <a:cubicBezTo>
                    <a:pt x="331946" y="96679"/>
                    <a:pt x="335756" y="85249"/>
                    <a:pt x="335756" y="85249"/>
                  </a:cubicBezTo>
                  <a:cubicBezTo>
                    <a:pt x="335756" y="85249"/>
                    <a:pt x="330994" y="95726"/>
                    <a:pt x="323374" y="113824"/>
                  </a:cubicBezTo>
                  <a:cubicBezTo>
                    <a:pt x="319564" y="123349"/>
                    <a:pt x="315754" y="134779"/>
                    <a:pt x="310991" y="148114"/>
                  </a:cubicBezTo>
                  <a:cubicBezTo>
                    <a:pt x="309086" y="154781"/>
                    <a:pt x="306229" y="161449"/>
                    <a:pt x="303371" y="169069"/>
                  </a:cubicBezTo>
                  <a:cubicBezTo>
                    <a:pt x="301466" y="175736"/>
                    <a:pt x="299561" y="183356"/>
                    <a:pt x="297656" y="190024"/>
                  </a:cubicBezTo>
                  <a:cubicBezTo>
                    <a:pt x="293846" y="179546"/>
                    <a:pt x="290989" y="170021"/>
                    <a:pt x="287179" y="159544"/>
                  </a:cubicBezTo>
                  <a:cubicBezTo>
                    <a:pt x="290036" y="172879"/>
                    <a:pt x="291941" y="185261"/>
                    <a:pt x="294799" y="198596"/>
                  </a:cubicBezTo>
                  <a:cubicBezTo>
                    <a:pt x="290989" y="213836"/>
                    <a:pt x="287179" y="230029"/>
                    <a:pt x="283369" y="247174"/>
                  </a:cubicBezTo>
                  <a:cubicBezTo>
                    <a:pt x="282416" y="252889"/>
                    <a:pt x="281464" y="258604"/>
                    <a:pt x="279559" y="264319"/>
                  </a:cubicBezTo>
                  <a:cubicBezTo>
                    <a:pt x="278606" y="260509"/>
                    <a:pt x="277654" y="257651"/>
                    <a:pt x="276701" y="253841"/>
                  </a:cubicBezTo>
                  <a:cubicBezTo>
                    <a:pt x="276701" y="245269"/>
                    <a:pt x="277654" y="235744"/>
                    <a:pt x="278606" y="227171"/>
                  </a:cubicBezTo>
                  <a:cubicBezTo>
                    <a:pt x="280511" y="205264"/>
                    <a:pt x="281464" y="185261"/>
                    <a:pt x="284321" y="166211"/>
                  </a:cubicBezTo>
                  <a:cubicBezTo>
                    <a:pt x="285274" y="156686"/>
                    <a:pt x="286226" y="148114"/>
                    <a:pt x="287179" y="139541"/>
                  </a:cubicBezTo>
                  <a:cubicBezTo>
                    <a:pt x="288131" y="130969"/>
                    <a:pt x="290036" y="123349"/>
                    <a:pt x="290989" y="115729"/>
                  </a:cubicBezTo>
                  <a:cubicBezTo>
                    <a:pt x="293846" y="100489"/>
                    <a:pt x="294799" y="87154"/>
                    <a:pt x="297656" y="76676"/>
                  </a:cubicBezTo>
                  <a:cubicBezTo>
                    <a:pt x="302419" y="54769"/>
                    <a:pt x="304324" y="42386"/>
                    <a:pt x="304324" y="42386"/>
                  </a:cubicBezTo>
                  <a:cubicBezTo>
                    <a:pt x="304324" y="42386"/>
                    <a:pt x="300514" y="54769"/>
                    <a:pt x="293846" y="75724"/>
                  </a:cubicBezTo>
                  <a:cubicBezTo>
                    <a:pt x="290036" y="86201"/>
                    <a:pt x="287179" y="99536"/>
                    <a:pt x="283369" y="114776"/>
                  </a:cubicBezTo>
                  <a:cubicBezTo>
                    <a:pt x="281464" y="122396"/>
                    <a:pt x="279559" y="130016"/>
                    <a:pt x="277654" y="138589"/>
                  </a:cubicBezTo>
                  <a:cubicBezTo>
                    <a:pt x="275749" y="147161"/>
                    <a:pt x="274796" y="156686"/>
                    <a:pt x="272891" y="165259"/>
                  </a:cubicBezTo>
                  <a:cubicBezTo>
                    <a:pt x="271939" y="170021"/>
                    <a:pt x="270986" y="173831"/>
                    <a:pt x="270034" y="178594"/>
                  </a:cubicBezTo>
                  <a:cubicBezTo>
                    <a:pt x="268129" y="182404"/>
                    <a:pt x="265271" y="188119"/>
                    <a:pt x="261461" y="196691"/>
                  </a:cubicBezTo>
                  <a:cubicBezTo>
                    <a:pt x="260509" y="191929"/>
                    <a:pt x="258604" y="187166"/>
                    <a:pt x="258604" y="183356"/>
                  </a:cubicBezTo>
                  <a:cubicBezTo>
                    <a:pt x="255746" y="170021"/>
                    <a:pt x="253841" y="161449"/>
                    <a:pt x="253841" y="161449"/>
                  </a:cubicBezTo>
                  <a:cubicBezTo>
                    <a:pt x="253841" y="161449"/>
                    <a:pt x="253841" y="169069"/>
                    <a:pt x="254794" y="183356"/>
                  </a:cubicBezTo>
                  <a:cubicBezTo>
                    <a:pt x="254794" y="190024"/>
                    <a:pt x="255746" y="197644"/>
                    <a:pt x="256699" y="207169"/>
                  </a:cubicBezTo>
                  <a:cubicBezTo>
                    <a:pt x="253841" y="213836"/>
                    <a:pt x="250984" y="222409"/>
                    <a:pt x="247174" y="231934"/>
                  </a:cubicBezTo>
                  <a:cubicBezTo>
                    <a:pt x="246221" y="232886"/>
                    <a:pt x="246221" y="234791"/>
                    <a:pt x="245269" y="236696"/>
                  </a:cubicBezTo>
                  <a:cubicBezTo>
                    <a:pt x="243364" y="231934"/>
                    <a:pt x="242411" y="230029"/>
                    <a:pt x="242411" y="230029"/>
                  </a:cubicBezTo>
                  <a:cubicBezTo>
                    <a:pt x="242411" y="230029"/>
                    <a:pt x="243364" y="233839"/>
                    <a:pt x="244316" y="240506"/>
                  </a:cubicBezTo>
                  <a:cubicBezTo>
                    <a:pt x="241459" y="247174"/>
                    <a:pt x="239554" y="254794"/>
                    <a:pt x="236696" y="262414"/>
                  </a:cubicBezTo>
                  <a:cubicBezTo>
                    <a:pt x="232886" y="250031"/>
                    <a:pt x="229076" y="238601"/>
                    <a:pt x="226219" y="227171"/>
                  </a:cubicBezTo>
                  <a:cubicBezTo>
                    <a:pt x="223361" y="219551"/>
                    <a:pt x="221456" y="210979"/>
                    <a:pt x="218599" y="204311"/>
                  </a:cubicBezTo>
                  <a:cubicBezTo>
                    <a:pt x="215741" y="196691"/>
                    <a:pt x="213836" y="190024"/>
                    <a:pt x="210979" y="184309"/>
                  </a:cubicBezTo>
                  <a:cubicBezTo>
                    <a:pt x="206216" y="171926"/>
                    <a:pt x="202406" y="160496"/>
                    <a:pt x="198596" y="150971"/>
                  </a:cubicBezTo>
                  <a:cubicBezTo>
                    <a:pt x="191929" y="132874"/>
                    <a:pt x="187166" y="122396"/>
                    <a:pt x="187166" y="122396"/>
                  </a:cubicBezTo>
                  <a:cubicBezTo>
                    <a:pt x="187166" y="122396"/>
                    <a:pt x="190024" y="132874"/>
                    <a:pt x="194786" y="151924"/>
                  </a:cubicBezTo>
                  <a:cubicBezTo>
                    <a:pt x="197644" y="161449"/>
                    <a:pt x="200501" y="172879"/>
                    <a:pt x="204311" y="186214"/>
                  </a:cubicBezTo>
                  <a:cubicBezTo>
                    <a:pt x="206216" y="192881"/>
                    <a:pt x="208121" y="199549"/>
                    <a:pt x="210026" y="207169"/>
                  </a:cubicBezTo>
                  <a:cubicBezTo>
                    <a:pt x="211931" y="214789"/>
                    <a:pt x="213836" y="222409"/>
                    <a:pt x="215741" y="230981"/>
                  </a:cubicBezTo>
                  <a:cubicBezTo>
                    <a:pt x="218599" y="245269"/>
                    <a:pt x="222409" y="260509"/>
                    <a:pt x="226219" y="275749"/>
                  </a:cubicBezTo>
                  <a:cubicBezTo>
                    <a:pt x="224314" y="280511"/>
                    <a:pt x="221456" y="287179"/>
                    <a:pt x="218599" y="295751"/>
                  </a:cubicBezTo>
                  <a:cubicBezTo>
                    <a:pt x="218599" y="296704"/>
                    <a:pt x="217646" y="297656"/>
                    <a:pt x="217646" y="298609"/>
                  </a:cubicBezTo>
                  <a:cubicBezTo>
                    <a:pt x="216694" y="286226"/>
                    <a:pt x="215741" y="274796"/>
                    <a:pt x="214789" y="266224"/>
                  </a:cubicBezTo>
                  <a:cubicBezTo>
                    <a:pt x="213836" y="250984"/>
                    <a:pt x="212884" y="241459"/>
                    <a:pt x="212884" y="241459"/>
                  </a:cubicBezTo>
                  <a:cubicBezTo>
                    <a:pt x="212884" y="241459"/>
                    <a:pt x="211931" y="250031"/>
                    <a:pt x="210979" y="266224"/>
                  </a:cubicBezTo>
                  <a:cubicBezTo>
                    <a:pt x="210026" y="277654"/>
                    <a:pt x="210026" y="291941"/>
                    <a:pt x="209074" y="309086"/>
                  </a:cubicBezTo>
                  <a:cubicBezTo>
                    <a:pt x="204311" y="301466"/>
                    <a:pt x="200501" y="293846"/>
                    <a:pt x="196691" y="287179"/>
                  </a:cubicBezTo>
                  <a:cubicBezTo>
                    <a:pt x="192881" y="281464"/>
                    <a:pt x="190024" y="275749"/>
                    <a:pt x="187166" y="270034"/>
                  </a:cubicBezTo>
                  <a:cubicBezTo>
                    <a:pt x="183356" y="265271"/>
                    <a:pt x="180499" y="260509"/>
                    <a:pt x="177641" y="255746"/>
                  </a:cubicBezTo>
                  <a:cubicBezTo>
                    <a:pt x="171926" y="246221"/>
                    <a:pt x="166211" y="238601"/>
                    <a:pt x="161449" y="231934"/>
                  </a:cubicBezTo>
                  <a:cubicBezTo>
                    <a:pt x="159544" y="230029"/>
                    <a:pt x="158591" y="227171"/>
                    <a:pt x="156686" y="225266"/>
                  </a:cubicBezTo>
                  <a:cubicBezTo>
                    <a:pt x="154781" y="214789"/>
                    <a:pt x="152876" y="209074"/>
                    <a:pt x="152876" y="209074"/>
                  </a:cubicBezTo>
                  <a:cubicBezTo>
                    <a:pt x="152876" y="209074"/>
                    <a:pt x="152876" y="212884"/>
                    <a:pt x="152876" y="219551"/>
                  </a:cubicBezTo>
                  <a:cubicBezTo>
                    <a:pt x="149066" y="213836"/>
                    <a:pt x="146209" y="210979"/>
                    <a:pt x="146209" y="210979"/>
                  </a:cubicBezTo>
                  <a:cubicBezTo>
                    <a:pt x="146209" y="210979"/>
                    <a:pt x="148114" y="215741"/>
                    <a:pt x="152876" y="224314"/>
                  </a:cubicBezTo>
                  <a:cubicBezTo>
                    <a:pt x="153829" y="235744"/>
                    <a:pt x="154781" y="253841"/>
                    <a:pt x="156686" y="275749"/>
                  </a:cubicBezTo>
                  <a:cubicBezTo>
                    <a:pt x="153829" y="271939"/>
                    <a:pt x="150971" y="267176"/>
                    <a:pt x="148114" y="263366"/>
                  </a:cubicBezTo>
                  <a:cubicBezTo>
                    <a:pt x="139541" y="252889"/>
                    <a:pt x="131921" y="242411"/>
                    <a:pt x="124301" y="233839"/>
                  </a:cubicBezTo>
                  <a:cubicBezTo>
                    <a:pt x="116681" y="225266"/>
                    <a:pt x="110966" y="217646"/>
                    <a:pt x="104299" y="212884"/>
                  </a:cubicBezTo>
                  <a:cubicBezTo>
                    <a:pt x="94774" y="203359"/>
                    <a:pt x="88106" y="197644"/>
                    <a:pt x="88106" y="197644"/>
                  </a:cubicBezTo>
                  <a:cubicBezTo>
                    <a:pt x="88106" y="197644"/>
                    <a:pt x="93821" y="205264"/>
                    <a:pt x="103346" y="217646"/>
                  </a:cubicBezTo>
                  <a:cubicBezTo>
                    <a:pt x="108109" y="223361"/>
                    <a:pt x="113824" y="231934"/>
                    <a:pt x="119539" y="240506"/>
                  </a:cubicBezTo>
                  <a:cubicBezTo>
                    <a:pt x="126206" y="249079"/>
                    <a:pt x="131921" y="260509"/>
                    <a:pt x="139541" y="271939"/>
                  </a:cubicBezTo>
                  <a:cubicBezTo>
                    <a:pt x="143351" y="278606"/>
                    <a:pt x="148114" y="285274"/>
                    <a:pt x="151924" y="292894"/>
                  </a:cubicBezTo>
                  <a:cubicBezTo>
                    <a:pt x="151924" y="294799"/>
                    <a:pt x="151924" y="295751"/>
                    <a:pt x="151924" y="297656"/>
                  </a:cubicBezTo>
                  <a:cubicBezTo>
                    <a:pt x="151924" y="297656"/>
                    <a:pt x="150971" y="296704"/>
                    <a:pt x="150971" y="296704"/>
                  </a:cubicBezTo>
                  <a:cubicBezTo>
                    <a:pt x="145256" y="290989"/>
                    <a:pt x="140494" y="285274"/>
                    <a:pt x="136684" y="282416"/>
                  </a:cubicBezTo>
                  <a:cubicBezTo>
                    <a:pt x="134779" y="280511"/>
                    <a:pt x="133826" y="279559"/>
                    <a:pt x="131921" y="278606"/>
                  </a:cubicBezTo>
                  <a:cubicBezTo>
                    <a:pt x="132874" y="275749"/>
                    <a:pt x="132874" y="274796"/>
                    <a:pt x="132874" y="274796"/>
                  </a:cubicBezTo>
                  <a:cubicBezTo>
                    <a:pt x="132874" y="274796"/>
                    <a:pt x="131921" y="275749"/>
                    <a:pt x="130969" y="278606"/>
                  </a:cubicBezTo>
                  <a:cubicBezTo>
                    <a:pt x="125254" y="273844"/>
                    <a:pt x="122396" y="270986"/>
                    <a:pt x="122396" y="270986"/>
                  </a:cubicBezTo>
                  <a:cubicBezTo>
                    <a:pt x="122396" y="270986"/>
                    <a:pt x="125254" y="274796"/>
                    <a:pt x="130016" y="280511"/>
                  </a:cubicBezTo>
                  <a:cubicBezTo>
                    <a:pt x="128111" y="283369"/>
                    <a:pt x="126206" y="288131"/>
                    <a:pt x="123349" y="293846"/>
                  </a:cubicBezTo>
                  <a:cubicBezTo>
                    <a:pt x="120491" y="299561"/>
                    <a:pt x="117634" y="308134"/>
                    <a:pt x="114776" y="316706"/>
                  </a:cubicBezTo>
                  <a:cubicBezTo>
                    <a:pt x="113824" y="318611"/>
                    <a:pt x="113824" y="319564"/>
                    <a:pt x="112871" y="321469"/>
                  </a:cubicBezTo>
                  <a:cubicBezTo>
                    <a:pt x="110014" y="313849"/>
                    <a:pt x="107156" y="306229"/>
                    <a:pt x="103346" y="299561"/>
                  </a:cubicBezTo>
                  <a:cubicBezTo>
                    <a:pt x="97631" y="286226"/>
                    <a:pt x="91916" y="273844"/>
                    <a:pt x="86201" y="262414"/>
                  </a:cubicBezTo>
                  <a:cubicBezTo>
                    <a:pt x="83344" y="255746"/>
                    <a:pt x="80486" y="250984"/>
                    <a:pt x="78581" y="245269"/>
                  </a:cubicBezTo>
                  <a:cubicBezTo>
                    <a:pt x="75724" y="240506"/>
                    <a:pt x="72866" y="235744"/>
                    <a:pt x="70961" y="230981"/>
                  </a:cubicBezTo>
                  <a:cubicBezTo>
                    <a:pt x="66199" y="222409"/>
                    <a:pt x="61436" y="213836"/>
                    <a:pt x="57626" y="208121"/>
                  </a:cubicBezTo>
                  <a:cubicBezTo>
                    <a:pt x="50006" y="195739"/>
                    <a:pt x="46196" y="188119"/>
                    <a:pt x="46196" y="188119"/>
                  </a:cubicBezTo>
                  <a:cubicBezTo>
                    <a:pt x="46196" y="188119"/>
                    <a:pt x="49054" y="195739"/>
                    <a:pt x="54769" y="210026"/>
                  </a:cubicBezTo>
                  <a:cubicBezTo>
                    <a:pt x="57626" y="216694"/>
                    <a:pt x="60484" y="225266"/>
                    <a:pt x="64294" y="234791"/>
                  </a:cubicBezTo>
                  <a:cubicBezTo>
                    <a:pt x="66199" y="239554"/>
                    <a:pt x="68104" y="244316"/>
                    <a:pt x="70009" y="250031"/>
                  </a:cubicBezTo>
                  <a:cubicBezTo>
                    <a:pt x="71914" y="254794"/>
                    <a:pt x="73819" y="260509"/>
                    <a:pt x="75724" y="266224"/>
                  </a:cubicBezTo>
                  <a:cubicBezTo>
                    <a:pt x="78581" y="274796"/>
                    <a:pt x="82391" y="283369"/>
                    <a:pt x="85249" y="292894"/>
                  </a:cubicBezTo>
                  <a:cubicBezTo>
                    <a:pt x="83344" y="290036"/>
                    <a:pt x="81439" y="286226"/>
                    <a:pt x="79534" y="284321"/>
                  </a:cubicBezTo>
                  <a:cubicBezTo>
                    <a:pt x="74771" y="277654"/>
                    <a:pt x="71914" y="271939"/>
                    <a:pt x="68104" y="268129"/>
                  </a:cubicBezTo>
                  <a:cubicBezTo>
                    <a:pt x="61436" y="258604"/>
                    <a:pt x="57626" y="253841"/>
                    <a:pt x="57626" y="253841"/>
                  </a:cubicBezTo>
                  <a:cubicBezTo>
                    <a:pt x="57626" y="253841"/>
                    <a:pt x="59531" y="259556"/>
                    <a:pt x="64294" y="270034"/>
                  </a:cubicBezTo>
                  <a:cubicBezTo>
                    <a:pt x="66199" y="274796"/>
                    <a:pt x="69056" y="281464"/>
                    <a:pt x="71914" y="288131"/>
                  </a:cubicBezTo>
                  <a:cubicBezTo>
                    <a:pt x="76676" y="295751"/>
                    <a:pt x="79534" y="303371"/>
                    <a:pt x="83344" y="311944"/>
                  </a:cubicBezTo>
                  <a:cubicBezTo>
                    <a:pt x="86201" y="317659"/>
                    <a:pt x="88106" y="324326"/>
                    <a:pt x="90964" y="330994"/>
                  </a:cubicBezTo>
                  <a:cubicBezTo>
                    <a:pt x="90011" y="333851"/>
                    <a:pt x="89059" y="336709"/>
                    <a:pt x="87154" y="339566"/>
                  </a:cubicBezTo>
                  <a:cubicBezTo>
                    <a:pt x="85249" y="343376"/>
                    <a:pt x="83344" y="348139"/>
                    <a:pt x="81439" y="352901"/>
                  </a:cubicBezTo>
                  <a:cubicBezTo>
                    <a:pt x="80486" y="348139"/>
                    <a:pt x="79534" y="343376"/>
                    <a:pt x="78581" y="339566"/>
                  </a:cubicBezTo>
                  <a:cubicBezTo>
                    <a:pt x="75724" y="326231"/>
                    <a:pt x="72866" y="312896"/>
                    <a:pt x="70009" y="301466"/>
                  </a:cubicBezTo>
                  <a:cubicBezTo>
                    <a:pt x="67151" y="290036"/>
                    <a:pt x="64294" y="278606"/>
                    <a:pt x="61436" y="269081"/>
                  </a:cubicBezTo>
                  <a:cubicBezTo>
                    <a:pt x="58579" y="259556"/>
                    <a:pt x="56674" y="250984"/>
                    <a:pt x="53816" y="244316"/>
                  </a:cubicBezTo>
                  <a:cubicBezTo>
                    <a:pt x="49054" y="230981"/>
                    <a:pt x="46196" y="223361"/>
                    <a:pt x="46196" y="223361"/>
                  </a:cubicBezTo>
                  <a:cubicBezTo>
                    <a:pt x="46196" y="223361"/>
                    <a:pt x="47149" y="230981"/>
                    <a:pt x="50006" y="245269"/>
                  </a:cubicBezTo>
                  <a:cubicBezTo>
                    <a:pt x="50959" y="251936"/>
                    <a:pt x="51911" y="260509"/>
                    <a:pt x="53816" y="270034"/>
                  </a:cubicBezTo>
                  <a:cubicBezTo>
                    <a:pt x="55721" y="279559"/>
                    <a:pt x="56674" y="290989"/>
                    <a:pt x="58579" y="302419"/>
                  </a:cubicBezTo>
                  <a:cubicBezTo>
                    <a:pt x="60484" y="314801"/>
                    <a:pt x="61436" y="327184"/>
                    <a:pt x="64294" y="340519"/>
                  </a:cubicBezTo>
                  <a:cubicBezTo>
                    <a:pt x="66199" y="353854"/>
                    <a:pt x="67151" y="367189"/>
                    <a:pt x="69056" y="381476"/>
                  </a:cubicBezTo>
                  <a:cubicBezTo>
                    <a:pt x="68104" y="382429"/>
                    <a:pt x="68104" y="383381"/>
                    <a:pt x="67151" y="385286"/>
                  </a:cubicBezTo>
                  <a:cubicBezTo>
                    <a:pt x="64294" y="391954"/>
                    <a:pt x="62389" y="398621"/>
                    <a:pt x="60484" y="405289"/>
                  </a:cubicBezTo>
                  <a:cubicBezTo>
                    <a:pt x="60484" y="406241"/>
                    <a:pt x="60484" y="406241"/>
                    <a:pt x="59531" y="407194"/>
                  </a:cubicBezTo>
                  <a:cubicBezTo>
                    <a:pt x="58579" y="407194"/>
                    <a:pt x="57626" y="407194"/>
                    <a:pt x="56674" y="407194"/>
                  </a:cubicBezTo>
                  <a:cubicBezTo>
                    <a:pt x="55721" y="404336"/>
                    <a:pt x="55721" y="402431"/>
                    <a:pt x="54769" y="399574"/>
                  </a:cubicBezTo>
                  <a:cubicBezTo>
                    <a:pt x="51911" y="387191"/>
                    <a:pt x="49054" y="375761"/>
                    <a:pt x="46196" y="364331"/>
                  </a:cubicBezTo>
                  <a:cubicBezTo>
                    <a:pt x="43339" y="352901"/>
                    <a:pt x="40481" y="342424"/>
                    <a:pt x="37624" y="332899"/>
                  </a:cubicBezTo>
                  <a:cubicBezTo>
                    <a:pt x="31909" y="313849"/>
                    <a:pt x="26194" y="297656"/>
                    <a:pt x="21431" y="287179"/>
                  </a:cubicBezTo>
                  <a:cubicBezTo>
                    <a:pt x="16669" y="276701"/>
                    <a:pt x="13811" y="270034"/>
                    <a:pt x="13811" y="270034"/>
                  </a:cubicBezTo>
                  <a:cubicBezTo>
                    <a:pt x="13811" y="270034"/>
                    <a:pt x="14764" y="276701"/>
                    <a:pt x="17621" y="288131"/>
                  </a:cubicBezTo>
                  <a:cubicBezTo>
                    <a:pt x="18574" y="293846"/>
                    <a:pt x="20479" y="300514"/>
                    <a:pt x="21431" y="309086"/>
                  </a:cubicBezTo>
                  <a:cubicBezTo>
                    <a:pt x="23336" y="316706"/>
                    <a:pt x="24289" y="326231"/>
                    <a:pt x="26194" y="335756"/>
                  </a:cubicBezTo>
                  <a:cubicBezTo>
                    <a:pt x="28099" y="345281"/>
                    <a:pt x="30004" y="355759"/>
                    <a:pt x="31909" y="367189"/>
                  </a:cubicBezTo>
                  <a:cubicBezTo>
                    <a:pt x="35719" y="378619"/>
                    <a:pt x="37624" y="390049"/>
                    <a:pt x="39529" y="402431"/>
                  </a:cubicBezTo>
                  <a:cubicBezTo>
                    <a:pt x="39529" y="403384"/>
                    <a:pt x="39529" y="403384"/>
                    <a:pt x="39529" y="404336"/>
                  </a:cubicBezTo>
                  <a:cubicBezTo>
                    <a:pt x="29051" y="402431"/>
                    <a:pt x="18574" y="401479"/>
                    <a:pt x="7144" y="399574"/>
                  </a:cubicBezTo>
                  <a:lnTo>
                    <a:pt x="7144" y="511016"/>
                  </a:lnTo>
                  <a:close/>
                  <a:moveTo>
                    <a:pt x="6277451" y="364331"/>
                  </a:moveTo>
                  <a:cubicBezTo>
                    <a:pt x="6278404" y="362426"/>
                    <a:pt x="6278404" y="359569"/>
                    <a:pt x="6279356" y="357664"/>
                  </a:cubicBezTo>
                  <a:cubicBezTo>
                    <a:pt x="6279356" y="358616"/>
                    <a:pt x="6279356" y="360521"/>
                    <a:pt x="6279356" y="361474"/>
                  </a:cubicBezTo>
                  <a:cubicBezTo>
                    <a:pt x="6278404" y="370999"/>
                    <a:pt x="6278404" y="384334"/>
                    <a:pt x="6277451" y="399574"/>
                  </a:cubicBezTo>
                  <a:cubicBezTo>
                    <a:pt x="6274594" y="409099"/>
                    <a:pt x="6270784" y="419576"/>
                    <a:pt x="6267926" y="430054"/>
                  </a:cubicBezTo>
                  <a:cubicBezTo>
                    <a:pt x="6266974" y="430054"/>
                    <a:pt x="6266974" y="430054"/>
                    <a:pt x="6266021" y="430054"/>
                  </a:cubicBezTo>
                  <a:cubicBezTo>
                    <a:pt x="6264117" y="427196"/>
                    <a:pt x="6262212" y="424339"/>
                    <a:pt x="6260306" y="421481"/>
                  </a:cubicBezTo>
                  <a:cubicBezTo>
                    <a:pt x="6266021" y="402431"/>
                    <a:pt x="6271737" y="383381"/>
                    <a:pt x="6277451" y="364331"/>
                  </a:cubicBezTo>
                  <a:close/>
                  <a:moveTo>
                    <a:pt x="6211729" y="425291"/>
                  </a:moveTo>
                  <a:cubicBezTo>
                    <a:pt x="6211729" y="415766"/>
                    <a:pt x="6212681" y="406241"/>
                    <a:pt x="6212681" y="398621"/>
                  </a:cubicBezTo>
                  <a:cubicBezTo>
                    <a:pt x="6212681" y="395764"/>
                    <a:pt x="6212681" y="392906"/>
                    <a:pt x="6213634" y="390049"/>
                  </a:cubicBezTo>
                  <a:cubicBezTo>
                    <a:pt x="6214587" y="391001"/>
                    <a:pt x="6215539" y="392906"/>
                    <a:pt x="6216492" y="393859"/>
                  </a:cubicBezTo>
                  <a:cubicBezTo>
                    <a:pt x="6220301" y="398621"/>
                    <a:pt x="6224112" y="403384"/>
                    <a:pt x="6227921" y="408146"/>
                  </a:cubicBezTo>
                  <a:cubicBezTo>
                    <a:pt x="6226969" y="410051"/>
                    <a:pt x="6226017" y="411956"/>
                    <a:pt x="6225064" y="412909"/>
                  </a:cubicBezTo>
                  <a:cubicBezTo>
                    <a:pt x="6224112" y="414814"/>
                    <a:pt x="6222206" y="417671"/>
                    <a:pt x="6221254" y="420529"/>
                  </a:cubicBezTo>
                  <a:cubicBezTo>
                    <a:pt x="6220301" y="423386"/>
                    <a:pt x="6219349" y="426244"/>
                    <a:pt x="6218396" y="429101"/>
                  </a:cubicBezTo>
                  <a:cubicBezTo>
                    <a:pt x="6218396" y="430054"/>
                    <a:pt x="6218396" y="430054"/>
                    <a:pt x="6217444" y="431006"/>
                  </a:cubicBezTo>
                  <a:cubicBezTo>
                    <a:pt x="6217444" y="430054"/>
                    <a:pt x="6217444" y="429101"/>
                    <a:pt x="6217444" y="429101"/>
                  </a:cubicBezTo>
                  <a:cubicBezTo>
                    <a:pt x="6216492" y="419576"/>
                    <a:pt x="6215539" y="413861"/>
                    <a:pt x="6215539" y="413861"/>
                  </a:cubicBezTo>
                  <a:cubicBezTo>
                    <a:pt x="6215539" y="413861"/>
                    <a:pt x="6214587" y="419576"/>
                    <a:pt x="6213634" y="429101"/>
                  </a:cubicBezTo>
                  <a:cubicBezTo>
                    <a:pt x="6213634" y="432911"/>
                    <a:pt x="6212681" y="436721"/>
                    <a:pt x="6211729" y="441484"/>
                  </a:cubicBezTo>
                  <a:cubicBezTo>
                    <a:pt x="6211729" y="435769"/>
                    <a:pt x="6211729" y="430054"/>
                    <a:pt x="6211729" y="425291"/>
                  </a:cubicBezTo>
                  <a:close/>
                  <a:moveTo>
                    <a:pt x="6183154" y="343376"/>
                  </a:moveTo>
                  <a:cubicBezTo>
                    <a:pt x="6185059" y="346234"/>
                    <a:pt x="6186012" y="348139"/>
                    <a:pt x="6187917" y="350996"/>
                  </a:cubicBezTo>
                  <a:cubicBezTo>
                    <a:pt x="6188869" y="352901"/>
                    <a:pt x="6190774" y="354806"/>
                    <a:pt x="6191726" y="356711"/>
                  </a:cubicBezTo>
                  <a:cubicBezTo>
                    <a:pt x="6188869" y="366236"/>
                    <a:pt x="6186012" y="376714"/>
                    <a:pt x="6183154" y="388144"/>
                  </a:cubicBezTo>
                  <a:cubicBezTo>
                    <a:pt x="6183154" y="389096"/>
                    <a:pt x="6182201" y="391001"/>
                    <a:pt x="6182201" y="391954"/>
                  </a:cubicBezTo>
                  <a:cubicBezTo>
                    <a:pt x="6182201" y="386239"/>
                    <a:pt x="6181249" y="381476"/>
                    <a:pt x="6181249" y="375761"/>
                  </a:cubicBezTo>
                  <a:cubicBezTo>
                    <a:pt x="6181249" y="374809"/>
                    <a:pt x="6181249" y="373856"/>
                    <a:pt x="6181249" y="372904"/>
                  </a:cubicBezTo>
                  <a:cubicBezTo>
                    <a:pt x="6181249" y="362426"/>
                    <a:pt x="6182201" y="352901"/>
                    <a:pt x="6183154" y="343376"/>
                  </a:cubicBezTo>
                  <a:close/>
                  <a:moveTo>
                    <a:pt x="6144101" y="308134"/>
                  </a:moveTo>
                  <a:cubicBezTo>
                    <a:pt x="6145054" y="297656"/>
                    <a:pt x="6146959" y="287179"/>
                    <a:pt x="6147912" y="276701"/>
                  </a:cubicBezTo>
                  <a:cubicBezTo>
                    <a:pt x="6149817" y="280511"/>
                    <a:pt x="6151721" y="284321"/>
                    <a:pt x="6153626" y="289084"/>
                  </a:cubicBezTo>
                  <a:cubicBezTo>
                    <a:pt x="6156484" y="293846"/>
                    <a:pt x="6158389" y="299561"/>
                    <a:pt x="6161246" y="305276"/>
                  </a:cubicBezTo>
                  <a:cubicBezTo>
                    <a:pt x="6160294" y="308134"/>
                    <a:pt x="6159342" y="313849"/>
                    <a:pt x="6157437" y="319564"/>
                  </a:cubicBezTo>
                  <a:cubicBezTo>
                    <a:pt x="6155531" y="325279"/>
                    <a:pt x="6154579" y="332899"/>
                    <a:pt x="6152674" y="342424"/>
                  </a:cubicBezTo>
                  <a:cubicBezTo>
                    <a:pt x="6151721" y="347186"/>
                    <a:pt x="6150769" y="351949"/>
                    <a:pt x="6150769" y="356711"/>
                  </a:cubicBezTo>
                  <a:cubicBezTo>
                    <a:pt x="6150769" y="358616"/>
                    <a:pt x="6149817" y="359569"/>
                    <a:pt x="6149817" y="360521"/>
                  </a:cubicBezTo>
                  <a:cubicBezTo>
                    <a:pt x="6149817" y="362426"/>
                    <a:pt x="6148864" y="363379"/>
                    <a:pt x="6148864" y="365284"/>
                  </a:cubicBezTo>
                  <a:cubicBezTo>
                    <a:pt x="6146959" y="362426"/>
                    <a:pt x="6146006" y="360521"/>
                    <a:pt x="6146006" y="360521"/>
                  </a:cubicBezTo>
                  <a:cubicBezTo>
                    <a:pt x="6146006" y="360521"/>
                    <a:pt x="6146959" y="363379"/>
                    <a:pt x="6147912" y="368141"/>
                  </a:cubicBezTo>
                  <a:cubicBezTo>
                    <a:pt x="6146959" y="374809"/>
                    <a:pt x="6146006" y="382429"/>
                    <a:pt x="6145054" y="389096"/>
                  </a:cubicBezTo>
                  <a:cubicBezTo>
                    <a:pt x="6145054" y="388144"/>
                    <a:pt x="6144101" y="387191"/>
                    <a:pt x="6144101" y="386239"/>
                  </a:cubicBezTo>
                  <a:cubicBezTo>
                    <a:pt x="6144101" y="385286"/>
                    <a:pt x="6143149" y="385286"/>
                    <a:pt x="6143149" y="384334"/>
                  </a:cubicBezTo>
                  <a:cubicBezTo>
                    <a:pt x="6143149" y="379571"/>
                    <a:pt x="6142196" y="373856"/>
                    <a:pt x="6142196" y="369094"/>
                  </a:cubicBezTo>
                  <a:cubicBezTo>
                    <a:pt x="6141244" y="360521"/>
                    <a:pt x="6140292" y="351949"/>
                    <a:pt x="6139339" y="343376"/>
                  </a:cubicBezTo>
                  <a:cubicBezTo>
                    <a:pt x="6142196" y="331946"/>
                    <a:pt x="6143149" y="319564"/>
                    <a:pt x="6144101" y="308134"/>
                  </a:cubicBezTo>
                  <a:close/>
                  <a:moveTo>
                    <a:pt x="6095524" y="384334"/>
                  </a:moveTo>
                  <a:cubicBezTo>
                    <a:pt x="6093619" y="393859"/>
                    <a:pt x="6090762" y="403384"/>
                    <a:pt x="6088856" y="412909"/>
                  </a:cubicBezTo>
                  <a:cubicBezTo>
                    <a:pt x="6086951" y="420529"/>
                    <a:pt x="6085046" y="428149"/>
                    <a:pt x="6083142" y="435769"/>
                  </a:cubicBezTo>
                  <a:cubicBezTo>
                    <a:pt x="6081237" y="428149"/>
                    <a:pt x="6079331" y="419576"/>
                    <a:pt x="6076474" y="411956"/>
                  </a:cubicBezTo>
                  <a:cubicBezTo>
                    <a:pt x="6077426" y="405289"/>
                    <a:pt x="6078379" y="397669"/>
                    <a:pt x="6079331" y="391001"/>
                  </a:cubicBezTo>
                  <a:cubicBezTo>
                    <a:pt x="6080284" y="383381"/>
                    <a:pt x="6082189" y="375761"/>
                    <a:pt x="6084094" y="368141"/>
                  </a:cubicBezTo>
                  <a:lnTo>
                    <a:pt x="6088856" y="347186"/>
                  </a:lnTo>
                  <a:cubicBezTo>
                    <a:pt x="6089809" y="347186"/>
                    <a:pt x="6090762" y="347186"/>
                    <a:pt x="6091714" y="348139"/>
                  </a:cubicBezTo>
                  <a:cubicBezTo>
                    <a:pt x="6093619" y="349091"/>
                    <a:pt x="6094571" y="350044"/>
                    <a:pt x="6095524" y="350996"/>
                  </a:cubicBezTo>
                  <a:cubicBezTo>
                    <a:pt x="6098381" y="352901"/>
                    <a:pt x="6099334" y="356711"/>
                    <a:pt x="6100287" y="359569"/>
                  </a:cubicBezTo>
                  <a:cubicBezTo>
                    <a:pt x="6099334" y="367189"/>
                    <a:pt x="6097429" y="375761"/>
                    <a:pt x="6095524" y="384334"/>
                  </a:cubicBezTo>
                  <a:close/>
                  <a:moveTo>
                    <a:pt x="6102192" y="206216"/>
                  </a:moveTo>
                  <a:cubicBezTo>
                    <a:pt x="6102192" y="211931"/>
                    <a:pt x="6102192" y="222409"/>
                    <a:pt x="6101239" y="235744"/>
                  </a:cubicBezTo>
                  <a:cubicBezTo>
                    <a:pt x="6101239" y="237649"/>
                    <a:pt x="6101239" y="239554"/>
                    <a:pt x="6101239" y="241459"/>
                  </a:cubicBezTo>
                  <a:cubicBezTo>
                    <a:pt x="6101239" y="241459"/>
                    <a:pt x="6101239" y="242411"/>
                    <a:pt x="6101239" y="242411"/>
                  </a:cubicBezTo>
                  <a:cubicBezTo>
                    <a:pt x="6101239" y="242411"/>
                    <a:pt x="6101239" y="242411"/>
                    <a:pt x="6101239" y="242411"/>
                  </a:cubicBezTo>
                  <a:cubicBezTo>
                    <a:pt x="6101239" y="241459"/>
                    <a:pt x="6100287" y="240506"/>
                    <a:pt x="6100287" y="239554"/>
                  </a:cubicBezTo>
                  <a:cubicBezTo>
                    <a:pt x="6099334" y="236696"/>
                    <a:pt x="6098381" y="233839"/>
                    <a:pt x="6097429" y="230981"/>
                  </a:cubicBezTo>
                  <a:cubicBezTo>
                    <a:pt x="6099334" y="222409"/>
                    <a:pt x="6100287" y="213836"/>
                    <a:pt x="6102192" y="206216"/>
                  </a:cubicBezTo>
                  <a:close/>
                  <a:moveTo>
                    <a:pt x="6100287" y="284321"/>
                  </a:moveTo>
                  <a:cubicBezTo>
                    <a:pt x="6099334" y="282416"/>
                    <a:pt x="6099334" y="281464"/>
                    <a:pt x="6098381" y="279559"/>
                  </a:cubicBezTo>
                  <a:cubicBezTo>
                    <a:pt x="6098381" y="278606"/>
                    <a:pt x="6099334" y="277654"/>
                    <a:pt x="6099334" y="277654"/>
                  </a:cubicBezTo>
                  <a:cubicBezTo>
                    <a:pt x="6099334" y="279559"/>
                    <a:pt x="6099334" y="281464"/>
                    <a:pt x="6100287" y="284321"/>
                  </a:cubicBezTo>
                  <a:close/>
                  <a:moveTo>
                    <a:pt x="6093619" y="247174"/>
                  </a:moveTo>
                  <a:cubicBezTo>
                    <a:pt x="6094571" y="250031"/>
                    <a:pt x="6094571" y="252889"/>
                    <a:pt x="6095524" y="255746"/>
                  </a:cubicBezTo>
                  <a:cubicBezTo>
                    <a:pt x="6094571" y="258604"/>
                    <a:pt x="6092667" y="261461"/>
                    <a:pt x="6091714" y="264319"/>
                  </a:cubicBezTo>
                  <a:cubicBezTo>
                    <a:pt x="6091714" y="263366"/>
                    <a:pt x="6090762" y="262414"/>
                    <a:pt x="6090762" y="262414"/>
                  </a:cubicBezTo>
                  <a:cubicBezTo>
                    <a:pt x="6091714" y="257651"/>
                    <a:pt x="6092667" y="251936"/>
                    <a:pt x="6093619" y="247174"/>
                  </a:cubicBezTo>
                  <a:close/>
                  <a:moveTo>
                    <a:pt x="6088856" y="269081"/>
                  </a:moveTo>
                  <a:cubicBezTo>
                    <a:pt x="6088856" y="269081"/>
                    <a:pt x="6088856" y="270034"/>
                    <a:pt x="6088856" y="270034"/>
                  </a:cubicBezTo>
                  <a:cubicBezTo>
                    <a:pt x="6088856" y="270034"/>
                    <a:pt x="6088856" y="270034"/>
                    <a:pt x="6088856" y="270034"/>
                  </a:cubicBezTo>
                  <a:cubicBezTo>
                    <a:pt x="6088856" y="270986"/>
                    <a:pt x="6087904" y="271939"/>
                    <a:pt x="6087904" y="272891"/>
                  </a:cubicBezTo>
                  <a:cubicBezTo>
                    <a:pt x="6088856" y="270986"/>
                    <a:pt x="6088856" y="270034"/>
                    <a:pt x="6088856" y="269081"/>
                  </a:cubicBezTo>
                  <a:close/>
                  <a:moveTo>
                    <a:pt x="6067901" y="369094"/>
                  </a:moveTo>
                  <a:cubicBezTo>
                    <a:pt x="6072664" y="358616"/>
                    <a:pt x="6076474" y="349091"/>
                    <a:pt x="6080284" y="339566"/>
                  </a:cubicBezTo>
                  <a:cubicBezTo>
                    <a:pt x="6082189" y="334804"/>
                    <a:pt x="6084094" y="330041"/>
                    <a:pt x="6085046" y="326231"/>
                  </a:cubicBezTo>
                  <a:cubicBezTo>
                    <a:pt x="6085999" y="321469"/>
                    <a:pt x="6087904" y="317659"/>
                    <a:pt x="6088856" y="313849"/>
                  </a:cubicBezTo>
                  <a:cubicBezTo>
                    <a:pt x="6090762" y="306229"/>
                    <a:pt x="6092667" y="299561"/>
                    <a:pt x="6093619" y="293846"/>
                  </a:cubicBezTo>
                  <a:cubicBezTo>
                    <a:pt x="6093619" y="293846"/>
                    <a:pt x="6093619" y="293846"/>
                    <a:pt x="6093619" y="293846"/>
                  </a:cubicBezTo>
                  <a:cubicBezTo>
                    <a:pt x="6094571" y="299561"/>
                    <a:pt x="6095524" y="305276"/>
                    <a:pt x="6096476" y="310991"/>
                  </a:cubicBezTo>
                  <a:cubicBezTo>
                    <a:pt x="6098381" y="319564"/>
                    <a:pt x="6098381" y="329089"/>
                    <a:pt x="6100287" y="339566"/>
                  </a:cubicBezTo>
                  <a:cubicBezTo>
                    <a:pt x="6100287" y="345281"/>
                    <a:pt x="6101239" y="350044"/>
                    <a:pt x="6101239" y="355759"/>
                  </a:cubicBezTo>
                  <a:cubicBezTo>
                    <a:pt x="6101239" y="355759"/>
                    <a:pt x="6101239" y="355759"/>
                    <a:pt x="6101239" y="355759"/>
                  </a:cubicBezTo>
                  <a:cubicBezTo>
                    <a:pt x="6101239" y="356711"/>
                    <a:pt x="6100287" y="358616"/>
                    <a:pt x="6100287" y="359569"/>
                  </a:cubicBezTo>
                  <a:cubicBezTo>
                    <a:pt x="6100287" y="355759"/>
                    <a:pt x="6099334" y="352901"/>
                    <a:pt x="6097429" y="350044"/>
                  </a:cubicBezTo>
                  <a:cubicBezTo>
                    <a:pt x="6096476" y="348139"/>
                    <a:pt x="6094571" y="347186"/>
                    <a:pt x="6093619" y="345281"/>
                  </a:cubicBezTo>
                  <a:cubicBezTo>
                    <a:pt x="6091714" y="344329"/>
                    <a:pt x="6089809" y="343376"/>
                    <a:pt x="6087904" y="342424"/>
                  </a:cubicBezTo>
                  <a:lnTo>
                    <a:pt x="6085999" y="341471"/>
                  </a:lnTo>
                  <a:lnTo>
                    <a:pt x="6085046" y="343376"/>
                  </a:lnTo>
                  <a:cubicBezTo>
                    <a:pt x="6082189" y="350996"/>
                    <a:pt x="6079331" y="357664"/>
                    <a:pt x="6076474" y="365284"/>
                  </a:cubicBezTo>
                  <a:cubicBezTo>
                    <a:pt x="6074569" y="371951"/>
                    <a:pt x="6071712" y="377666"/>
                    <a:pt x="6069806" y="384334"/>
                  </a:cubicBezTo>
                  <a:cubicBezTo>
                    <a:pt x="6068854" y="380524"/>
                    <a:pt x="6067901" y="376714"/>
                    <a:pt x="6065996" y="372904"/>
                  </a:cubicBezTo>
                  <a:cubicBezTo>
                    <a:pt x="6066949" y="371951"/>
                    <a:pt x="6067901" y="370999"/>
                    <a:pt x="6067901" y="369094"/>
                  </a:cubicBezTo>
                  <a:close/>
                  <a:moveTo>
                    <a:pt x="6035517" y="310039"/>
                  </a:moveTo>
                  <a:cubicBezTo>
                    <a:pt x="6035517" y="309086"/>
                    <a:pt x="6035517" y="309086"/>
                    <a:pt x="6035517" y="308134"/>
                  </a:cubicBezTo>
                  <a:cubicBezTo>
                    <a:pt x="6036469" y="312896"/>
                    <a:pt x="6038374" y="318611"/>
                    <a:pt x="6040279" y="324326"/>
                  </a:cubicBezTo>
                  <a:cubicBezTo>
                    <a:pt x="6041231" y="329089"/>
                    <a:pt x="6042184" y="333851"/>
                    <a:pt x="6044089" y="338614"/>
                  </a:cubicBezTo>
                  <a:cubicBezTo>
                    <a:pt x="6042184" y="344329"/>
                    <a:pt x="6040279" y="350044"/>
                    <a:pt x="6038374" y="355759"/>
                  </a:cubicBezTo>
                  <a:cubicBezTo>
                    <a:pt x="6036469" y="345281"/>
                    <a:pt x="6035517" y="336709"/>
                    <a:pt x="6033612" y="330041"/>
                  </a:cubicBezTo>
                  <a:cubicBezTo>
                    <a:pt x="6034564" y="323374"/>
                    <a:pt x="6034564" y="315754"/>
                    <a:pt x="6035517" y="310039"/>
                  </a:cubicBezTo>
                  <a:close/>
                  <a:moveTo>
                    <a:pt x="6012656" y="361474"/>
                  </a:moveTo>
                  <a:cubicBezTo>
                    <a:pt x="6012656" y="362426"/>
                    <a:pt x="6012656" y="363379"/>
                    <a:pt x="6012656" y="363379"/>
                  </a:cubicBezTo>
                  <a:cubicBezTo>
                    <a:pt x="6012656" y="362426"/>
                    <a:pt x="6012656" y="361474"/>
                    <a:pt x="6012656" y="359569"/>
                  </a:cubicBezTo>
                  <a:cubicBezTo>
                    <a:pt x="6012656" y="360521"/>
                    <a:pt x="6012656" y="360521"/>
                    <a:pt x="6012656" y="361474"/>
                  </a:cubicBezTo>
                  <a:close/>
                  <a:moveTo>
                    <a:pt x="6007894" y="351949"/>
                  </a:moveTo>
                  <a:cubicBezTo>
                    <a:pt x="6007894" y="351949"/>
                    <a:pt x="6007894" y="352901"/>
                    <a:pt x="6007894" y="352901"/>
                  </a:cubicBezTo>
                  <a:cubicBezTo>
                    <a:pt x="6007894" y="351949"/>
                    <a:pt x="6007894" y="351949"/>
                    <a:pt x="6007894" y="351949"/>
                  </a:cubicBezTo>
                  <a:cubicBezTo>
                    <a:pt x="6007894" y="350996"/>
                    <a:pt x="6007894" y="351949"/>
                    <a:pt x="6007894" y="351949"/>
                  </a:cubicBezTo>
                  <a:close/>
                  <a:moveTo>
                    <a:pt x="5976462" y="410051"/>
                  </a:moveTo>
                  <a:cubicBezTo>
                    <a:pt x="5975509" y="407194"/>
                    <a:pt x="5974556" y="404336"/>
                    <a:pt x="5973604" y="402431"/>
                  </a:cubicBezTo>
                  <a:cubicBezTo>
                    <a:pt x="5973604" y="401479"/>
                    <a:pt x="5972651" y="399574"/>
                    <a:pt x="5972651" y="398621"/>
                  </a:cubicBezTo>
                  <a:cubicBezTo>
                    <a:pt x="5972651" y="395764"/>
                    <a:pt x="5971699" y="392906"/>
                    <a:pt x="5971699" y="391001"/>
                  </a:cubicBezTo>
                  <a:cubicBezTo>
                    <a:pt x="5972651" y="389096"/>
                    <a:pt x="5972651" y="387191"/>
                    <a:pt x="5973604" y="386239"/>
                  </a:cubicBezTo>
                  <a:cubicBezTo>
                    <a:pt x="5975509" y="382429"/>
                    <a:pt x="5976462" y="378619"/>
                    <a:pt x="5977414" y="374809"/>
                  </a:cubicBezTo>
                  <a:cubicBezTo>
                    <a:pt x="5977414" y="385286"/>
                    <a:pt x="5976462" y="397669"/>
                    <a:pt x="5976462" y="410051"/>
                  </a:cubicBezTo>
                  <a:close/>
                  <a:moveTo>
                    <a:pt x="5976462" y="239554"/>
                  </a:moveTo>
                  <a:cubicBezTo>
                    <a:pt x="5977414" y="243364"/>
                    <a:pt x="5977414" y="246221"/>
                    <a:pt x="5978367" y="250031"/>
                  </a:cubicBezTo>
                  <a:cubicBezTo>
                    <a:pt x="5978367" y="251936"/>
                    <a:pt x="5979319" y="254794"/>
                    <a:pt x="5979319" y="256699"/>
                  </a:cubicBezTo>
                  <a:cubicBezTo>
                    <a:pt x="5977414" y="253841"/>
                    <a:pt x="5976462" y="250984"/>
                    <a:pt x="5974556" y="248126"/>
                  </a:cubicBezTo>
                  <a:cubicBezTo>
                    <a:pt x="5975509" y="245269"/>
                    <a:pt x="5975509" y="242411"/>
                    <a:pt x="5976462" y="239554"/>
                  </a:cubicBezTo>
                  <a:close/>
                  <a:moveTo>
                    <a:pt x="5965984" y="291941"/>
                  </a:moveTo>
                  <a:cubicBezTo>
                    <a:pt x="5965984" y="290036"/>
                    <a:pt x="5966937" y="288131"/>
                    <a:pt x="5966937" y="286226"/>
                  </a:cubicBezTo>
                  <a:cubicBezTo>
                    <a:pt x="5966937" y="285274"/>
                    <a:pt x="5967889" y="283369"/>
                    <a:pt x="5967889" y="282416"/>
                  </a:cubicBezTo>
                  <a:cubicBezTo>
                    <a:pt x="5968842" y="277654"/>
                    <a:pt x="5969794" y="273844"/>
                    <a:pt x="5970746" y="269081"/>
                  </a:cubicBezTo>
                  <a:cubicBezTo>
                    <a:pt x="5974556" y="278606"/>
                    <a:pt x="5979319" y="289084"/>
                    <a:pt x="5983129" y="298609"/>
                  </a:cubicBezTo>
                  <a:cubicBezTo>
                    <a:pt x="5982176" y="309086"/>
                    <a:pt x="5981224" y="319564"/>
                    <a:pt x="5980271" y="330994"/>
                  </a:cubicBezTo>
                  <a:cubicBezTo>
                    <a:pt x="5980271" y="330994"/>
                    <a:pt x="5980271" y="331946"/>
                    <a:pt x="5979319" y="331946"/>
                  </a:cubicBezTo>
                  <a:cubicBezTo>
                    <a:pt x="5977414" y="329089"/>
                    <a:pt x="5976462" y="328136"/>
                    <a:pt x="5976462" y="328136"/>
                  </a:cubicBezTo>
                  <a:cubicBezTo>
                    <a:pt x="5976462" y="328136"/>
                    <a:pt x="5977414" y="330041"/>
                    <a:pt x="5979319" y="332899"/>
                  </a:cubicBezTo>
                  <a:cubicBezTo>
                    <a:pt x="5977414" y="336709"/>
                    <a:pt x="5974556" y="341471"/>
                    <a:pt x="5972651" y="346234"/>
                  </a:cubicBezTo>
                  <a:cubicBezTo>
                    <a:pt x="5970746" y="349091"/>
                    <a:pt x="5969794" y="352901"/>
                    <a:pt x="5967889" y="355759"/>
                  </a:cubicBezTo>
                  <a:cubicBezTo>
                    <a:pt x="5967889" y="355759"/>
                    <a:pt x="5967889" y="355759"/>
                    <a:pt x="5967889" y="355759"/>
                  </a:cubicBezTo>
                  <a:cubicBezTo>
                    <a:pt x="5967889" y="353854"/>
                    <a:pt x="5967889" y="352901"/>
                    <a:pt x="5966937" y="351949"/>
                  </a:cubicBezTo>
                  <a:cubicBezTo>
                    <a:pt x="5965984" y="346234"/>
                    <a:pt x="5965984" y="339566"/>
                    <a:pt x="5965031" y="333851"/>
                  </a:cubicBezTo>
                  <a:cubicBezTo>
                    <a:pt x="5964079" y="321469"/>
                    <a:pt x="5964079" y="310039"/>
                    <a:pt x="5963126" y="299561"/>
                  </a:cubicBezTo>
                  <a:cubicBezTo>
                    <a:pt x="5964079" y="296704"/>
                    <a:pt x="5965031" y="294799"/>
                    <a:pt x="5965984" y="291941"/>
                  </a:cubicBezTo>
                  <a:close/>
                  <a:moveTo>
                    <a:pt x="5952649" y="385286"/>
                  </a:moveTo>
                  <a:cubicBezTo>
                    <a:pt x="5952649" y="385286"/>
                    <a:pt x="5952649" y="385286"/>
                    <a:pt x="5952649" y="385286"/>
                  </a:cubicBezTo>
                  <a:cubicBezTo>
                    <a:pt x="5952649" y="385286"/>
                    <a:pt x="5952649" y="385286"/>
                    <a:pt x="5952649" y="385286"/>
                  </a:cubicBezTo>
                  <a:cubicBezTo>
                    <a:pt x="5952649" y="385286"/>
                    <a:pt x="5952649" y="385286"/>
                    <a:pt x="5952649" y="385286"/>
                  </a:cubicBezTo>
                  <a:close/>
                  <a:moveTo>
                    <a:pt x="5934551" y="339566"/>
                  </a:moveTo>
                  <a:cubicBezTo>
                    <a:pt x="5934551" y="337661"/>
                    <a:pt x="5933599" y="334804"/>
                    <a:pt x="5933599" y="332899"/>
                  </a:cubicBezTo>
                  <a:cubicBezTo>
                    <a:pt x="5933599" y="331946"/>
                    <a:pt x="5933599" y="331946"/>
                    <a:pt x="5933599" y="330994"/>
                  </a:cubicBezTo>
                  <a:cubicBezTo>
                    <a:pt x="5934551" y="332899"/>
                    <a:pt x="5934551" y="334804"/>
                    <a:pt x="5935504" y="336709"/>
                  </a:cubicBezTo>
                  <a:cubicBezTo>
                    <a:pt x="5935504" y="337661"/>
                    <a:pt x="5934551" y="338614"/>
                    <a:pt x="5934551" y="339566"/>
                  </a:cubicBezTo>
                  <a:close/>
                  <a:moveTo>
                    <a:pt x="5948839" y="371951"/>
                  </a:moveTo>
                  <a:cubicBezTo>
                    <a:pt x="5947887" y="374809"/>
                    <a:pt x="5946934" y="378619"/>
                    <a:pt x="5945981" y="382429"/>
                  </a:cubicBezTo>
                  <a:cubicBezTo>
                    <a:pt x="5945029" y="386239"/>
                    <a:pt x="5944076" y="389096"/>
                    <a:pt x="5943124" y="392906"/>
                  </a:cubicBezTo>
                  <a:cubicBezTo>
                    <a:pt x="5943124" y="387191"/>
                    <a:pt x="5943124" y="382429"/>
                    <a:pt x="5943124" y="378619"/>
                  </a:cubicBezTo>
                  <a:cubicBezTo>
                    <a:pt x="5943124" y="378619"/>
                    <a:pt x="5943124" y="378619"/>
                    <a:pt x="5943124" y="378619"/>
                  </a:cubicBezTo>
                  <a:cubicBezTo>
                    <a:pt x="5945029" y="373856"/>
                    <a:pt x="5945981" y="370046"/>
                    <a:pt x="5946934" y="365284"/>
                  </a:cubicBezTo>
                  <a:cubicBezTo>
                    <a:pt x="5946934" y="367189"/>
                    <a:pt x="5947887" y="370046"/>
                    <a:pt x="5948839" y="371951"/>
                  </a:cubicBezTo>
                  <a:close/>
                  <a:moveTo>
                    <a:pt x="5930742" y="234791"/>
                  </a:moveTo>
                  <a:cubicBezTo>
                    <a:pt x="5933599" y="245269"/>
                    <a:pt x="5935504" y="256699"/>
                    <a:pt x="5938362" y="269081"/>
                  </a:cubicBezTo>
                  <a:cubicBezTo>
                    <a:pt x="5941219" y="280511"/>
                    <a:pt x="5942171" y="293846"/>
                    <a:pt x="5945029" y="307181"/>
                  </a:cubicBezTo>
                  <a:cubicBezTo>
                    <a:pt x="5943124" y="312896"/>
                    <a:pt x="5941219" y="317659"/>
                    <a:pt x="5940267" y="323374"/>
                  </a:cubicBezTo>
                  <a:cubicBezTo>
                    <a:pt x="5940267" y="323374"/>
                    <a:pt x="5940267" y="324326"/>
                    <a:pt x="5940267" y="324326"/>
                  </a:cubicBezTo>
                  <a:cubicBezTo>
                    <a:pt x="5937409" y="318611"/>
                    <a:pt x="5934551" y="312896"/>
                    <a:pt x="5931694" y="307181"/>
                  </a:cubicBezTo>
                  <a:cubicBezTo>
                    <a:pt x="5930742" y="299561"/>
                    <a:pt x="5929789" y="291941"/>
                    <a:pt x="5928837" y="284321"/>
                  </a:cubicBezTo>
                  <a:cubicBezTo>
                    <a:pt x="5927884" y="277654"/>
                    <a:pt x="5927884" y="271939"/>
                    <a:pt x="5926931" y="266224"/>
                  </a:cubicBezTo>
                  <a:cubicBezTo>
                    <a:pt x="5928837" y="261461"/>
                    <a:pt x="5929789" y="259556"/>
                    <a:pt x="5929789" y="259556"/>
                  </a:cubicBezTo>
                  <a:cubicBezTo>
                    <a:pt x="5929789" y="259556"/>
                    <a:pt x="5928837" y="261461"/>
                    <a:pt x="5926931" y="264319"/>
                  </a:cubicBezTo>
                  <a:cubicBezTo>
                    <a:pt x="5925979" y="257651"/>
                    <a:pt x="5925026" y="251936"/>
                    <a:pt x="5925026" y="245269"/>
                  </a:cubicBezTo>
                  <a:cubicBezTo>
                    <a:pt x="5925979" y="241459"/>
                    <a:pt x="5926931" y="237649"/>
                    <a:pt x="5926931" y="233839"/>
                  </a:cubicBezTo>
                  <a:cubicBezTo>
                    <a:pt x="5927884" y="230981"/>
                    <a:pt x="5927884" y="228124"/>
                    <a:pt x="5928837" y="226219"/>
                  </a:cubicBezTo>
                  <a:cubicBezTo>
                    <a:pt x="5928837" y="229076"/>
                    <a:pt x="5929789" y="231934"/>
                    <a:pt x="5930742" y="234791"/>
                  </a:cubicBezTo>
                  <a:close/>
                  <a:moveTo>
                    <a:pt x="5923121" y="209074"/>
                  </a:moveTo>
                  <a:cubicBezTo>
                    <a:pt x="5924074" y="212884"/>
                    <a:pt x="5925979" y="217646"/>
                    <a:pt x="5926931" y="222409"/>
                  </a:cubicBezTo>
                  <a:cubicBezTo>
                    <a:pt x="5925026" y="225266"/>
                    <a:pt x="5924074" y="229076"/>
                    <a:pt x="5922169" y="232886"/>
                  </a:cubicBezTo>
                  <a:cubicBezTo>
                    <a:pt x="5921217" y="223361"/>
                    <a:pt x="5920264" y="214789"/>
                    <a:pt x="5919312" y="206216"/>
                  </a:cubicBezTo>
                  <a:cubicBezTo>
                    <a:pt x="5919312" y="201454"/>
                    <a:pt x="5918359" y="197644"/>
                    <a:pt x="5918359" y="193834"/>
                  </a:cubicBezTo>
                  <a:cubicBezTo>
                    <a:pt x="5920264" y="197644"/>
                    <a:pt x="5921217" y="202406"/>
                    <a:pt x="5923121" y="209074"/>
                  </a:cubicBezTo>
                  <a:close/>
                  <a:moveTo>
                    <a:pt x="5901214" y="244316"/>
                  </a:moveTo>
                  <a:cubicBezTo>
                    <a:pt x="5901214" y="247174"/>
                    <a:pt x="5901214" y="251936"/>
                    <a:pt x="5901214" y="258604"/>
                  </a:cubicBezTo>
                  <a:cubicBezTo>
                    <a:pt x="5901214" y="264319"/>
                    <a:pt x="5901214" y="270986"/>
                    <a:pt x="5902167" y="278606"/>
                  </a:cubicBezTo>
                  <a:cubicBezTo>
                    <a:pt x="5902167" y="286226"/>
                    <a:pt x="5903119" y="293846"/>
                    <a:pt x="5904071" y="302419"/>
                  </a:cubicBezTo>
                  <a:cubicBezTo>
                    <a:pt x="5903119" y="304324"/>
                    <a:pt x="5901214" y="307181"/>
                    <a:pt x="5900262" y="310039"/>
                  </a:cubicBezTo>
                  <a:cubicBezTo>
                    <a:pt x="5898356" y="300514"/>
                    <a:pt x="5896451" y="291941"/>
                    <a:pt x="5895499" y="284321"/>
                  </a:cubicBezTo>
                  <a:cubicBezTo>
                    <a:pt x="5897404" y="264319"/>
                    <a:pt x="5900262" y="250984"/>
                    <a:pt x="5901214" y="244316"/>
                  </a:cubicBezTo>
                  <a:close/>
                  <a:moveTo>
                    <a:pt x="5903119" y="324326"/>
                  </a:moveTo>
                  <a:cubicBezTo>
                    <a:pt x="5903119" y="325279"/>
                    <a:pt x="5903119" y="327184"/>
                    <a:pt x="5903119" y="328136"/>
                  </a:cubicBezTo>
                  <a:cubicBezTo>
                    <a:pt x="5903119" y="327184"/>
                    <a:pt x="5903119" y="326231"/>
                    <a:pt x="5902167" y="325279"/>
                  </a:cubicBezTo>
                  <a:cubicBezTo>
                    <a:pt x="5903119" y="325279"/>
                    <a:pt x="5903119" y="324326"/>
                    <a:pt x="5903119" y="324326"/>
                  </a:cubicBezTo>
                  <a:close/>
                  <a:moveTo>
                    <a:pt x="5892642" y="348139"/>
                  </a:moveTo>
                  <a:cubicBezTo>
                    <a:pt x="5892642" y="350044"/>
                    <a:pt x="5892642" y="350996"/>
                    <a:pt x="5893594" y="352901"/>
                  </a:cubicBezTo>
                  <a:cubicBezTo>
                    <a:pt x="5893594" y="353854"/>
                    <a:pt x="5893594" y="354806"/>
                    <a:pt x="5893594" y="355759"/>
                  </a:cubicBezTo>
                  <a:cubicBezTo>
                    <a:pt x="5892642" y="353854"/>
                    <a:pt x="5892642" y="351949"/>
                    <a:pt x="5891689" y="350996"/>
                  </a:cubicBezTo>
                  <a:cubicBezTo>
                    <a:pt x="5892642" y="350044"/>
                    <a:pt x="5892642" y="349091"/>
                    <a:pt x="5892642" y="348139"/>
                  </a:cubicBezTo>
                  <a:close/>
                  <a:moveTo>
                    <a:pt x="5893594" y="373856"/>
                  </a:moveTo>
                  <a:cubicBezTo>
                    <a:pt x="5895499" y="379571"/>
                    <a:pt x="5897404" y="385286"/>
                    <a:pt x="5898356" y="391954"/>
                  </a:cubicBezTo>
                  <a:cubicBezTo>
                    <a:pt x="5899309" y="396716"/>
                    <a:pt x="5901214" y="402431"/>
                    <a:pt x="5902167" y="408146"/>
                  </a:cubicBezTo>
                  <a:cubicBezTo>
                    <a:pt x="5903119" y="411004"/>
                    <a:pt x="5903119" y="414814"/>
                    <a:pt x="5904071" y="417671"/>
                  </a:cubicBezTo>
                  <a:cubicBezTo>
                    <a:pt x="5904071" y="417671"/>
                    <a:pt x="5904071" y="417671"/>
                    <a:pt x="5904071" y="417671"/>
                  </a:cubicBezTo>
                  <a:cubicBezTo>
                    <a:pt x="5899309" y="407194"/>
                    <a:pt x="5895499" y="397669"/>
                    <a:pt x="5890737" y="387191"/>
                  </a:cubicBezTo>
                  <a:cubicBezTo>
                    <a:pt x="5889784" y="386239"/>
                    <a:pt x="5889784" y="385286"/>
                    <a:pt x="5888831" y="383381"/>
                  </a:cubicBezTo>
                  <a:lnTo>
                    <a:pt x="5887879" y="357664"/>
                  </a:lnTo>
                  <a:cubicBezTo>
                    <a:pt x="5887879" y="357664"/>
                    <a:pt x="5887879" y="356711"/>
                    <a:pt x="5888831" y="356711"/>
                  </a:cubicBezTo>
                  <a:cubicBezTo>
                    <a:pt x="5889784" y="363379"/>
                    <a:pt x="5891689" y="368141"/>
                    <a:pt x="5893594" y="373856"/>
                  </a:cubicBezTo>
                  <a:close/>
                  <a:moveTo>
                    <a:pt x="5886926" y="321469"/>
                  </a:moveTo>
                  <a:cubicBezTo>
                    <a:pt x="5887879" y="317659"/>
                    <a:pt x="5887879" y="314801"/>
                    <a:pt x="5888831" y="311944"/>
                  </a:cubicBezTo>
                  <a:cubicBezTo>
                    <a:pt x="5888831" y="312896"/>
                    <a:pt x="5888831" y="313849"/>
                    <a:pt x="5888831" y="314801"/>
                  </a:cubicBezTo>
                  <a:cubicBezTo>
                    <a:pt x="5888831" y="318611"/>
                    <a:pt x="5889784" y="322421"/>
                    <a:pt x="5889784" y="326231"/>
                  </a:cubicBezTo>
                  <a:cubicBezTo>
                    <a:pt x="5888831" y="328136"/>
                    <a:pt x="5887879" y="330041"/>
                    <a:pt x="5885974" y="332899"/>
                  </a:cubicBezTo>
                  <a:cubicBezTo>
                    <a:pt x="5885974" y="330041"/>
                    <a:pt x="5885974" y="327184"/>
                    <a:pt x="5885974" y="325279"/>
                  </a:cubicBezTo>
                  <a:cubicBezTo>
                    <a:pt x="5885974" y="323374"/>
                    <a:pt x="5886926" y="322421"/>
                    <a:pt x="5886926" y="321469"/>
                  </a:cubicBezTo>
                  <a:close/>
                  <a:moveTo>
                    <a:pt x="5858351" y="279559"/>
                  </a:moveTo>
                  <a:cubicBezTo>
                    <a:pt x="5858351" y="281464"/>
                    <a:pt x="5858351" y="282416"/>
                    <a:pt x="5858351" y="284321"/>
                  </a:cubicBezTo>
                  <a:cubicBezTo>
                    <a:pt x="5858351" y="284321"/>
                    <a:pt x="5858351" y="285274"/>
                    <a:pt x="5858351" y="285274"/>
                  </a:cubicBezTo>
                  <a:cubicBezTo>
                    <a:pt x="5858351" y="284321"/>
                    <a:pt x="5857399" y="283369"/>
                    <a:pt x="5857399" y="281464"/>
                  </a:cubicBezTo>
                  <a:cubicBezTo>
                    <a:pt x="5857399" y="281464"/>
                    <a:pt x="5857399" y="280511"/>
                    <a:pt x="5858351" y="279559"/>
                  </a:cubicBezTo>
                  <a:close/>
                  <a:moveTo>
                    <a:pt x="5841206" y="264319"/>
                  </a:moveTo>
                  <a:cubicBezTo>
                    <a:pt x="5841206" y="266224"/>
                    <a:pt x="5840254" y="268129"/>
                    <a:pt x="5840254" y="270034"/>
                  </a:cubicBezTo>
                  <a:cubicBezTo>
                    <a:pt x="5840254" y="272891"/>
                    <a:pt x="5839301" y="274796"/>
                    <a:pt x="5839301" y="277654"/>
                  </a:cubicBezTo>
                  <a:cubicBezTo>
                    <a:pt x="5839301" y="275749"/>
                    <a:pt x="5838349" y="273844"/>
                    <a:pt x="5838349" y="271939"/>
                  </a:cubicBezTo>
                  <a:cubicBezTo>
                    <a:pt x="5840254" y="269081"/>
                    <a:pt x="5840254" y="267176"/>
                    <a:pt x="5841206" y="264319"/>
                  </a:cubicBezTo>
                  <a:close/>
                  <a:moveTo>
                    <a:pt x="5828824" y="305276"/>
                  </a:moveTo>
                  <a:cubicBezTo>
                    <a:pt x="5827871" y="306229"/>
                    <a:pt x="5827871" y="307181"/>
                    <a:pt x="5826919" y="308134"/>
                  </a:cubicBezTo>
                  <a:cubicBezTo>
                    <a:pt x="5826919" y="307181"/>
                    <a:pt x="5826919" y="307181"/>
                    <a:pt x="5826919" y="306229"/>
                  </a:cubicBezTo>
                  <a:cubicBezTo>
                    <a:pt x="5827871" y="304324"/>
                    <a:pt x="5828824" y="301466"/>
                    <a:pt x="5829776" y="299561"/>
                  </a:cubicBezTo>
                  <a:cubicBezTo>
                    <a:pt x="5828824" y="302419"/>
                    <a:pt x="5828824" y="303371"/>
                    <a:pt x="5828824" y="305276"/>
                  </a:cubicBezTo>
                  <a:close/>
                  <a:moveTo>
                    <a:pt x="5823109" y="259556"/>
                  </a:moveTo>
                  <a:cubicBezTo>
                    <a:pt x="5824062" y="262414"/>
                    <a:pt x="5825967" y="266224"/>
                    <a:pt x="5827871" y="270986"/>
                  </a:cubicBezTo>
                  <a:cubicBezTo>
                    <a:pt x="5827871" y="271939"/>
                    <a:pt x="5828824" y="272891"/>
                    <a:pt x="5828824" y="273844"/>
                  </a:cubicBezTo>
                  <a:cubicBezTo>
                    <a:pt x="5828824" y="277654"/>
                    <a:pt x="5828824" y="281464"/>
                    <a:pt x="5828824" y="286226"/>
                  </a:cubicBezTo>
                  <a:cubicBezTo>
                    <a:pt x="5826919" y="289084"/>
                    <a:pt x="5825967" y="291941"/>
                    <a:pt x="5824062" y="295751"/>
                  </a:cubicBezTo>
                  <a:lnTo>
                    <a:pt x="5824062" y="294799"/>
                  </a:lnTo>
                  <a:lnTo>
                    <a:pt x="5823109" y="267176"/>
                  </a:lnTo>
                  <a:lnTo>
                    <a:pt x="5823109" y="259556"/>
                  </a:lnTo>
                  <a:close/>
                  <a:moveTo>
                    <a:pt x="5813584" y="252889"/>
                  </a:moveTo>
                  <a:cubicBezTo>
                    <a:pt x="5813584" y="254794"/>
                    <a:pt x="5812631" y="256699"/>
                    <a:pt x="5812631" y="258604"/>
                  </a:cubicBezTo>
                  <a:cubicBezTo>
                    <a:pt x="5811679" y="256699"/>
                    <a:pt x="5811679" y="255746"/>
                    <a:pt x="5811679" y="255746"/>
                  </a:cubicBezTo>
                  <a:cubicBezTo>
                    <a:pt x="5811679" y="255746"/>
                    <a:pt x="5811679" y="258604"/>
                    <a:pt x="5811679" y="262414"/>
                  </a:cubicBezTo>
                  <a:cubicBezTo>
                    <a:pt x="5811679" y="264319"/>
                    <a:pt x="5810726" y="265271"/>
                    <a:pt x="5810726" y="267176"/>
                  </a:cubicBezTo>
                  <a:cubicBezTo>
                    <a:pt x="5809774" y="276701"/>
                    <a:pt x="5808821" y="285274"/>
                    <a:pt x="5808821" y="294799"/>
                  </a:cubicBezTo>
                  <a:lnTo>
                    <a:pt x="5808821" y="304324"/>
                  </a:lnTo>
                  <a:lnTo>
                    <a:pt x="5807869" y="300514"/>
                  </a:lnTo>
                  <a:cubicBezTo>
                    <a:pt x="5808821" y="286226"/>
                    <a:pt x="5807869" y="273844"/>
                    <a:pt x="5806917" y="264319"/>
                  </a:cubicBezTo>
                  <a:cubicBezTo>
                    <a:pt x="5806917" y="263366"/>
                    <a:pt x="5806917" y="263366"/>
                    <a:pt x="5806917" y="262414"/>
                  </a:cubicBezTo>
                  <a:cubicBezTo>
                    <a:pt x="5809774" y="258604"/>
                    <a:pt x="5812631" y="254794"/>
                    <a:pt x="5813584" y="252889"/>
                  </a:cubicBezTo>
                  <a:close/>
                  <a:moveTo>
                    <a:pt x="5804059" y="268129"/>
                  </a:moveTo>
                  <a:cubicBezTo>
                    <a:pt x="5804059" y="268129"/>
                    <a:pt x="5804059" y="269081"/>
                    <a:pt x="5804059" y="269081"/>
                  </a:cubicBezTo>
                  <a:lnTo>
                    <a:pt x="5804059" y="268129"/>
                  </a:lnTo>
                  <a:cubicBezTo>
                    <a:pt x="5804059" y="268129"/>
                    <a:pt x="5804059" y="268129"/>
                    <a:pt x="5804059" y="268129"/>
                  </a:cubicBezTo>
                  <a:close/>
                  <a:moveTo>
                    <a:pt x="5799296" y="164306"/>
                  </a:moveTo>
                  <a:cubicBezTo>
                    <a:pt x="5800249" y="165259"/>
                    <a:pt x="5801201" y="165259"/>
                    <a:pt x="5802154" y="166211"/>
                  </a:cubicBezTo>
                  <a:cubicBezTo>
                    <a:pt x="5800249" y="170021"/>
                    <a:pt x="5798344" y="172879"/>
                    <a:pt x="5796439" y="176689"/>
                  </a:cubicBezTo>
                  <a:lnTo>
                    <a:pt x="5796439" y="163354"/>
                  </a:lnTo>
                  <a:cubicBezTo>
                    <a:pt x="5797392" y="163354"/>
                    <a:pt x="5798344" y="163354"/>
                    <a:pt x="5799296" y="164306"/>
                  </a:cubicBezTo>
                  <a:close/>
                  <a:moveTo>
                    <a:pt x="5770721" y="386239"/>
                  </a:moveTo>
                  <a:cubicBezTo>
                    <a:pt x="5770721" y="385286"/>
                    <a:pt x="5770721" y="384334"/>
                    <a:pt x="5770721" y="383381"/>
                  </a:cubicBezTo>
                  <a:cubicBezTo>
                    <a:pt x="5770721" y="383381"/>
                    <a:pt x="5770721" y="382429"/>
                    <a:pt x="5770721" y="382429"/>
                  </a:cubicBezTo>
                  <a:cubicBezTo>
                    <a:pt x="5770721" y="384334"/>
                    <a:pt x="5770721" y="385286"/>
                    <a:pt x="5771674" y="387191"/>
                  </a:cubicBezTo>
                  <a:cubicBezTo>
                    <a:pt x="5771674" y="386239"/>
                    <a:pt x="5771674" y="386239"/>
                    <a:pt x="5770721" y="386239"/>
                  </a:cubicBezTo>
                  <a:close/>
                  <a:moveTo>
                    <a:pt x="5782151" y="253841"/>
                  </a:moveTo>
                  <a:cubicBezTo>
                    <a:pt x="5781199" y="254794"/>
                    <a:pt x="5781199" y="256699"/>
                    <a:pt x="5780246" y="258604"/>
                  </a:cubicBezTo>
                  <a:cubicBezTo>
                    <a:pt x="5779294" y="261461"/>
                    <a:pt x="5778342" y="264319"/>
                    <a:pt x="5777389" y="267176"/>
                  </a:cubicBezTo>
                  <a:cubicBezTo>
                    <a:pt x="5776437" y="270034"/>
                    <a:pt x="5775484" y="272891"/>
                    <a:pt x="5773579" y="275749"/>
                  </a:cubicBezTo>
                  <a:cubicBezTo>
                    <a:pt x="5773579" y="274796"/>
                    <a:pt x="5772626" y="274796"/>
                    <a:pt x="5772626" y="273844"/>
                  </a:cubicBezTo>
                  <a:cubicBezTo>
                    <a:pt x="5772626" y="273844"/>
                    <a:pt x="5772626" y="272891"/>
                    <a:pt x="5771674" y="272891"/>
                  </a:cubicBezTo>
                  <a:cubicBezTo>
                    <a:pt x="5777389" y="256699"/>
                    <a:pt x="5781199" y="246221"/>
                    <a:pt x="5783104" y="241459"/>
                  </a:cubicBezTo>
                  <a:cubicBezTo>
                    <a:pt x="5783104" y="245269"/>
                    <a:pt x="5783104" y="250031"/>
                    <a:pt x="5782151" y="253841"/>
                  </a:cubicBezTo>
                  <a:close/>
                  <a:moveTo>
                    <a:pt x="5785962" y="221456"/>
                  </a:moveTo>
                  <a:cubicBezTo>
                    <a:pt x="5785009" y="227171"/>
                    <a:pt x="5785009" y="232886"/>
                    <a:pt x="5784056" y="239554"/>
                  </a:cubicBezTo>
                  <a:cubicBezTo>
                    <a:pt x="5784056" y="239554"/>
                    <a:pt x="5784056" y="240506"/>
                    <a:pt x="5784056" y="240506"/>
                  </a:cubicBezTo>
                  <a:cubicBezTo>
                    <a:pt x="5782151" y="244316"/>
                    <a:pt x="5777389" y="253841"/>
                    <a:pt x="5770721" y="267176"/>
                  </a:cubicBezTo>
                  <a:cubicBezTo>
                    <a:pt x="5770721" y="265271"/>
                    <a:pt x="5769769" y="263366"/>
                    <a:pt x="5769769" y="261461"/>
                  </a:cubicBezTo>
                  <a:cubicBezTo>
                    <a:pt x="5769769" y="260509"/>
                    <a:pt x="5769769" y="259556"/>
                    <a:pt x="5769769" y="258604"/>
                  </a:cubicBezTo>
                  <a:cubicBezTo>
                    <a:pt x="5775484" y="246221"/>
                    <a:pt x="5781199" y="233839"/>
                    <a:pt x="5785962" y="221456"/>
                  </a:cubicBezTo>
                  <a:close/>
                  <a:moveTo>
                    <a:pt x="5754529" y="333851"/>
                  </a:moveTo>
                  <a:cubicBezTo>
                    <a:pt x="5751671" y="338614"/>
                    <a:pt x="5749767" y="343376"/>
                    <a:pt x="5746909" y="348139"/>
                  </a:cubicBezTo>
                  <a:cubicBezTo>
                    <a:pt x="5746909" y="347186"/>
                    <a:pt x="5745956" y="347186"/>
                    <a:pt x="5745956" y="346234"/>
                  </a:cubicBezTo>
                  <a:cubicBezTo>
                    <a:pt x="5748814" y="337661"/>
                    <a:pt x="5751671" y="330041"/>
                    <a:pt x="5754529" y="322421"/>
                  </a:cubicBezTo>
                  <a:cubicBezTo>
                    <a:pt x="5754529" y="325279"/>
                    <a:pt x="5754529" y="329089"/>
                    <a:pt x="5754529" y="333851"/>
                  </a:cubicBezTo>
                  <a:cubicBezTo>
                    <a:pt x="5754529" y="333851"/>
                    <a:pt x="5754529" y="333851"/>
                    <a:pt x="5754529" y="333851"/>
                  </a:cubicBezTo>
                  <a:close/>
                  <a:moveTo>
                    <a:pt x="5762149" y="302419"/>
                  </a:moveTo>
                  <a:cubicBezTo>
                    <a:pt x="5762149" y="303371"/>
                    <a:pt x="5762149" y="303371"/>
                    <a:pt x="5762149" y="302419"/>
                  </a:cubicBezTo>
                  <a:cubicBezTo>
                    <a:pt x="5762149" y="303371"/>
                    <a:pt x="5761196" y="303371"/>
                    <a:pt x="5762149" y="302419"/>
                  </a:cubicBezTo>
                  <a:cubicBezTo>
                    <a:pt x="5761196" y="303371"/>
                    <a:pt x="5761196" y="303371"/>
                    <a:pt x="5762149" y="302419"/>
                  </a:cubicBezTo>
                  <a:close/>
                  <a:moveTo>
                    <a:pt x="5761196" y="304324"/>
                  </a:moveTo>
                  <a:cubicBezTo>
                    <a:pt x="5761196" y="304324"/>
                    <a:pt x="5761196" y="305276"/>
                    <a:pt x="5762149" y="305276"/>
                  </a:cubicBezTo>
                  <a:cubicBezTo>
                    <a:pt x="5762149" y="306229"/>
                    <a:pt x="5762149" y="307181"/>
                    <a:pt x="5762149" y="308134"/>
                  </a:cubicBezTo>
                  <a:cubicBezTo>
                    <a:pt x="5762149" y="309086"/>
                    <a:pt x="5762149" y="309086"/>
                    <a:pt x="5762149" y="310039"/>
                  </a:cubicBezTo>
                  <a:cubicBezTo>
                    <a:pt x="5761196" y="313849"/>
                    <a:pt x="5760244" y="316706"/>
                    <a:pt x="5759292" y="320516"/>
                  </a:cubicBezTo>
                  <a:cubicBezTo>
                    <a:pt x="5758339" y="323374"/>
                    <a:pt x="5758339" y="325279"/>
                    <a:pt x="5757387" y="328136"/>
                  </a:cubicBezTo>
                  <a:cubicBezTo>
                    <a:pt x="5756434" y="324326"/>
                    <a:pt x="5755481" y="321469"/>
                    <a:pt x="5755481" y="320516"/>
                  </a:cubicBezTo>
                  <a:cubicBezTo>
                    <a:pt x="5757387" y="314801"/>
                    <a:pt x="5759292" y="309086"/>
                    <a:pt x="5761196" y="304324"/>
                  </a:cubicBezTo>
                  <a:close/>
                  <a:moveTo>
                    <a:pt x="5760244" y="289084"/>
                  </a:moveTo>
                  <a:cubicBezTo>
                    <a:pt x="5760244" y="290036"/>
                    <a:pt x="5759292" y="290036"/>
                    <a:pt x="5759292" y="290989"/>
                  </a:cubicBezTo>
                  <a:cubicBezTo>
                    <a:pt x="5757387" y="293846"/>
                    <a:pt x="5754529" y="297656"/>
                    <a:pt x="5751671" y="301466"/>
                  </a:cubicBezTo>
                  <a:cubicBezTo>
                    <a:pt x="5750719" y="302419"/>
                    <a:pt x="5749767" y="304324"/>
                    <a:pt x="5748814" y="305276"/>
                  </a:cubicBezTo>
                  <a:cubicBezTo>
                    <a:pt x="5752624" y="296704"/>
                    <a:pt x="5755481" y="288131"/>
                    <a:pt x="5759292" y="280511"/>
                  </a:cubicBezTo>
                  <a:cubicBezTo>
                    <a:pt x="5760244" y="284321"/>
                    <a:pt x="5760244" y="286226"/>
                    <a:pt x="5760244" y="289084"/>
                  </a:cubicBezTo>
                  <a:close/>
                  <a:moveTo>
                    <a:pt x="5756434" y="227171"/>
                  </a:moveTo>
                  <a:cubicBezTo>
                    <a:pt x="5756434" y="231934"/>
                    <a:pt x="5756434" y="237649"/>
                    <a:pt x="5756434" y="243364"/>
                  </a:cubicBezTo>
                  <a:cubicBezTo>
                    <a:pt x="5756434" y="246221"/>
                    <a:pt x="5756434" y="248126"/>
                    <a:pt x="5757387" y="250984"/>
                  </a:cubicBezTo>
                  <a:cubicBezTo>
                    <a:pt x="5756434" y="253841"/>
                    <a:pt x="5754529" y="256699"/>
                    <a:pt x="5753576" y="259556"/>
                  </a:cubicBezTo>
                  <a:cubicBezTo>
                    <a:pt x="5749767" y="268129"/>
                    <a:pt x="5745004" y="276701"/>
                    <a:pt x="5741194" y="285274"/>
                  </a:cubicBezTo>
                  <a:cubicBezTo>
                    <a:pt x="5746909" y="262414"/>
                    <a:pt x="5752624" y="243364"/>
                    <a:pt x="5756434" y="227171"/>
                  </a:cubicBezTo>
                  <a:close/>
                  <a:moveTo>
                    <a:pt x="5676424" y="184309"/>
                  </a:moveTo>
                  <a:cubicBezTo>
                    <a:pt x="5676424" y="188119"/>
                    <a:pt x="5676424" y="192881"/>
                    <a:pt x="5676424" y="198596"/>
                  </a:cubicBezTo>
                  <a:cubicBezTo>
                    <a:pt x="5676424" y="206216"/>
                    <a:pt x="5676424" y="216694"/>
                    <a:pt x="5676424" y="228124"/>
                  </a:cubicBezTo>
                  <a:cubicBezTo>
                    <a:pt x="5676424" y="233839"/>
                    <a:pt x="5676424" y="239554"/>
                    <a:pt x="5676424" y="246221"/>
                  </a:cubicBezTo>
                  <a:cubicBezTo>
                    <a:pt x="5676424" y="252889"/>
                    <a:pt x="5677376" y="259556"/>
                    <a:pt x="5677376" y="266224"/>
                  </a:cubicBezTo>
                  <a:cubicBezTo>
                    <a:pt x="5677376" y="270034"/>
                    <a:pt x="5677376" y="273844"/>
                    <a:pt x="5678329" y="276701"/>
                  </a:cubicBezTo>
                  <a:cubicBezTo>
                    <a:pt x="5678329" y="276701"/>
                    <a:pt x="5678329" y="276701"/>
                    <a:pt x="5678329" y="276701"/>
                  </a:cubicBezTo>
                  <a:cubicBezTo>
                    <a:pt x="5677376" y="270986"/>
                    <a:pt x="5676424" y="265271"/>
                    <a:pt x="5675471" y="259556"/>
                  </a:cubicBezTo>
                  <a:cubicBezTo>
                    <a:pt x="5674519" y="253841"/>
                    <a:pt x="5673567" y="248126"/>
                    <a:pt x="5672614" y="242411"/>
                  </a:cubicBezTo>
                  <a:cubicBezTo>
                    <a:pt x="5671662" y="235744"/>
                    <a:pt x="5670709" y="229076"/>
                    <a:pt x="5669756" y="223361"/>
                  </a:cubicBezTo>
                  <a:cubicBezTo>
                    <a:pt x="5669756" y="221456"/>
                    <a:pt x="5668804" y="218599"/>
                    <a:pt x="5668804" y="216694"/>
                  </a:cubicBezTo>
                  <a:cubicBezTo>
                    <a:pt x="5671662" y="202406"/>
                    <a:pt x="5674519" y="190976"/>
                    <a:pt x="5676424" y="184309"/>
                  </a:cubicBezTo>
                  <a:close/>
                  <a:moveTo>
                    <a:pt x="5652612" y="263366"/>
                  </a:moveTo>
                  <a:cubicBezTo>
                    <a:pt x="5652612" y="262414"/>
                    <a:pt x="5652612" y="262414"/>
                    <a:pt x="5653564" y="261461"/>
                  </a:cubicBezTo>
                  <a:cubicBezTo>
                    <a:pt x="5654517" y="262414"/>
                    <a:pt x="5654517" y="263366"/>
                    <a:pt x="5655469" y="264319"/>
                  </a:cubicBezTo>
                  <a:cubicBezTo>
                    <a:pt x="5655469" y="265271"/>
                    <a:pt x="5655469" y="266224"/>
                    <a:pt x="5655469" y="268129"/>
                  </a:cubicBezTo>
                  <a:cubicBezTo>
                    <a:pt x="5656421" y="273844"/>
                    <a:pt x="5656421" y="279559"/>
                    <a:pt x="5657374" y="286226"/>
                  </a:cubicBezTo>
                  <a:cubicBezTo>
                    <a:pt x="5655469" y="280511"/>
                    <a:pt x="5654517" y="274796"/>
                    <a:pt x="5652612" y="269081"/>
                  </a:cubicBezTo>
                  <a:cubicBezTo>
                    <a:pt x="5652612" y="268129"/>
                    <a:pt x="5652612" y="268129"/>
                    <a:pt x="5651659" y="267176"/>
                  </a:cubicBezTo>
                  <a:cubicBezTo>
                    <a:pt x="5652612" y="265271"/>
                    <a:pt x="5652612" y="264319"/>
                    <a:pt x="5652612" y="263366"/>
                  </a:cubicBezTo>
                  <a:close/>
                  <a:moveTo>
                    <a:pt x="5650706" y="205264"/>
                  </a:moveTo>
                  <a:cubicBezTo>
                    <a:pt x="5650706" y="208121"/>
                    <a:pt x="5650706" y="210979"/>
                    <a:pt x="5651659" y="212884"/>
                  </a:cubicBezTo>
                  <a:cubicBezTo>
                    <a:pt x="5650706" y="210979"/>
                    <a:pt x="5649754" y="209074"/>
                    <a:pt x="5649754" y="207169"/>
                  </a:cubicBezTo>
                  <a:cubicBezTo>
                    <a:pt x="5649754" y="206216"/>
                    <a:pt x="5649754" y="205264"/>
                    <a:pt x="5650706" y="205264"/>
                  </a:cubicBezTo>
                  <a:close/>
                  <a:moveTo>
                    <a:pt x="5647849" y="209074"/>
                  </a:moveTo>
                  <a:cubicBezTo>
                    <a:pt x="5647849" y="211931"/>
                    <a:pt x="5648801" y="215741"/>
                    <a:pt x="5649754" y="219551"/>
                  </a:cubicBezTo>
                  <a:cubicBezTo>
                    <a:pt x="5650706" y="224314"/>
                    <a:pt x="5650706" y="230029"/>
                    <a:pt x="5651659" y="235744"/>
                  </a:cubicBezTo>
                  <a:cubicBezTo>
                    <a:pt x="5651659" y="235744"/>
                    <a:pt x="5651659" y="235744"/>
                    <a:pt x="5651659" y="236696"/>
                  </a:cubicBezTo>
                  <a:cubicBezTo>
                    <a:pt x="5649754" y="233839"/>
                    <a:pt x="5647849" y="230981"/>
                    <a:pt x="5645944" y="228124"/>
                  </a:cubicBezTo>
                  <a:cubicBezTo>
                    <a:pt x="5644992" y="224314"/>
                    <a:pt x="5644992" y="220504"/>
                    <a:pt x="5644039" y="216694"/>
                  </a:cubicBezTo>
                  <a:cubicBezTo>
                    <a:pt x="5644992" y="213836"/>
                    <a:pt x="5646896" y="211931"/>
                    <a:pt x="5647849" y="209074"/>
                  </a:cubicBezTo>
                  <a:close/>
                  <a:moveTo>
                    <a:pt x="5642134" y="370046"/>
                  </a:moveTo>
                  <a:cubicBezTo>
                    <a:pt x="5642134" y="372904"/>
                    <a:pt x="5643087" y="374809"/>
                    <a:pt x="5643087" y="377666"/>
                  </a:cubicBezTo>
                  <a:cubicBezTo>
                    <a:pt x="5642134" y="379571"/>
                    <a:pt x="5642134" y="382429"/>
                    <a:pt x="5641181" y="385286"/>
                  </a:cubicBezTo>
                  <a:cubicBezTo>
                    <a:pt x="5641181" y="379571"/>
                    <a:pt x="5641181" y="374809"/>
                    <a:pt x="5642134" y="370046"/>
                  </a:cubicBezTo>
                  <a:close/>
                  <a:moveTo>
                    <a:pt x="5624037" y="272891"/>
                  </a:moveTo>
                  <a:cubicBezTo>
                    <a:pt x="5624989" y="268129"/>
                    <a:pt x="5624989" y="263366"/>
                    <a:pt x="5625942" y="258604"/>
                  </a:cubicBezTo>
                  <a:cubicBezTo>
                    <a:pt x="5625942" y="256699"/>
                    <a:pt x="5625942" y="255746"/>
                    <a:pt x="5625942" y="254794"/>
                  </a:cubicBezTo>
                  <a:cubicBezTo>
                    <a:pt x="5627846" y="250031"/>
                    <a:pt x="5629751" y="245269"/>
                    <a:pt x="5632609" y="241459"/>
                  </a:cubicBezTo>
                  <a:cubicBezTo>
                    <a:pt x="5633562" y="239554"/>
                    <a:pt x="5634514" y="238601"/>
                    <a:pt x="5634514" y="236696"/>
                  </a:cubicBezTo>
                  <a:cubicBezTo>
                    <a:pt x="5635467" y="239554"/>
                    <a:pt x="5636419" y="242411"/>
                    <a:pt x="5637371" y="245269"/>
                  </a:cubicBezTo>
                  <a:cubicBezTo>
                    <a:pt x="5638324" y="249079"/>
                    <a:pt x="5639276" y="253841"/>
                    <a:pt x="5640229" y="259556"/>
                  </a:cubicBezTo>
                  <a:cubicBezTo>
                    <a:pt x="5640229" y="261461"/>
                    <a:pt x="5640229" y="264319"/>
                    <a:pt x="5640229" y="266224"/>
                  </a:cubicBezTo>
                  <a:cubicBezTo>
                    <a:pt x="5637371" y="272891"/>
                    <a:pt x="5634514" y="280511"/>
                    <a:pt x="5631656" y="288131"/>
                  </a:cubicBezTo>
                  <a:cubicBezTo>
                    <a:pt x="5628799" y="284321"/>
                    <a:pt x="5626894" y="280511"/>
                    <a:pt x="5624037" y="277654"/>
                  </a:cubicBezTo>
                  <a:cubicBezTo>
                    <a:pt x="5623084" y="275749"/>
                    <a:pt x="5624037" y="273844"/>
                    <a:pt x="5624037" y="272891"/>
                  </a:cubicBezTo>
                  <a:close/>
                  <a:moveTo>
                    <a:pt x="5623084" y="289084"/>
                  </a:moveTo>
                  <a:cubicBezTo>
                    <a:pt x="5623084" y="288131"/>
                    <a:pt x="5623084" y="288131"/>
                    <a:pt x="5623084" y="287179"/>
                  </a:cubicBezTo>
                  <a:cubicBezTo>
                    <a:pt x="5624037" y="288131"/>
                    <a:pt x="5624037" y="290036"/>
                    <a:pt x="5624989" y="290989"/>
                  </a:cubicBezTo>
                  <a:cubicBezTo>
                    <a:pt x="5625942" y="292894"/>
                    <a:pt x="5626894" y="295751"/>
                    <a:pt x="5626894" y="298609"/>
                  </a:cubicBezTo>
                  <a:cubicBezTo>
                    <a:pt x="5626894" y="299561"/>
                    <a:pt x="5626894" y="299561"/>
                    <a:pt x="5625942" y="300514"/>
                  </a:cubicBezTo>
                  <a:cubicBezTo>
                    <a:pt x="5625942" y="300514"/>
                    <a:pt x="5625942" y="300514"/>
                    <a:pt x="5625942" y="300514"/>
                  </a:cubicBezTo>
                  <a:cubicBezTo>
                    <a:pt x="5624989" y="298609"/>
                    <a:pt x="5624037" y="297656"/>
                    <a:pt x="5622131" y="295751"/>
                  </a:cubicBezTo>
                  <a:cubicBezTo>
                    <a:pt x="5622131" y="293846"/>
                    <a:pt x="5622131" y="290989"/>
                    <a:pt x="5623084" y="289084"/>
                  </a:cubicBezTo>
                  <a:close/>
                  <a:moveTo>
                    <a:pt x="5621179" y="310991"/>
                  </a:moveTo>
                  <a:cubicBezTo>
                    <a:pt x="5621179" y="310991"/>
                    <a:pt x="5621179" y="310991"/>
                    <a:pt x="5621179" y="310991"/>
                  </a:cubicBezTo>
                  <a:cubicBezTo>
                    <a:pt x="5621179" y="310991"/>
                    <a:pt x="5621179" y="310991"/>
                    <a:pt x="5621179" y="310991"/>
                  </a:cubicBezTo>
                  <a:cubicBezTo>
                    <a:pt x="5621179" y="310991"/>
                    <a:pt x="5621179" y="310991"/>
                    <a:pt x="5621179" y="310991"/>
                  </a:cubicBezTo>
                  <a:close/>
                  <a:moveTo>
                    <a:pt x="5618321" y="270034"/>
                  </a:moveTo>
                  <a:cubicBezTo>
                    <a:pt x="5618321" y="270034"/>
                    <a:pt x="5618321" y="270986"/>
                    <a:pt x="5618321" y="270034"/>
                  </a:cubicBezTo>
                  <a:cubicBezTo>
                    <a:pt x="5618321" y="270986"/>
                    <a:pt x="5618321" y="270986"/>
                    <a:pt x="5618321" y="270034"/>
                  </a:cubicBezTo>
                  <a:cubicBezTo>
                    <a:pt x="5618321" y="270986"/>
                    <a:pt x="5618321" y="270034"/>
                    <a:pt x="5618321" y="270034"/>
                  </a:cubicBezTo>
                  <a:close/>
                  <a:moveTo>
                    <a:pt x="5617369" y="272891"/>
                  </a:moveTo>
                  <a:cubicBezTo>
                    <a:pt x="5617369" y="272891"/>
                    <a:pt x="5617369" y="273844"/>
                    <a:pt x="5618321" y="273844"/>
                  </a:cubicBezTo>
                  <a:cubicBezTo>
                    <a:pt x="5617369" y="277654"/>
                    <a:pt x="5617369" y="282416"/>
                    <a:pt x="5616417" y="286226"/>
                  </a:cubicBezTo>
                  <a:cubicBezTo>
                    <a:pt x="5615464" y="285274"/>
                    <a:pt x="5614512" y="283369"/>
                    <a:pt x="5613559" y="282416"/>
                  </a:cubicBezTo>
                  <a:cubicBezTo>
                    <a:pt x="5614512" y="279559"/>
                    <a:pt x="5615464" y="276701"/>
                    <a:pt x="5617369" y="272891"/>
                  </a:cubicBezTo>
                  <a:close/>
                  <a:moveTo>
                    <a:pt x="5608796" y="290989"/>
                  </a:moveTo>
                  <a:cubicBezTo>
                    <a:pt x="5608796" y="290989"/>
                    <a:pt x="5609749" y="290989"/>
                    <a:pt x="5608796" y="290989"/>
                  </a:cubicBezTo>
                  <a:cubicBezTo>
                    <a:pt x="5609749" y="291941"/>
                    <a:pt x="5610701" y="293846"/>
                    <a:pt x="5611654" y="294799"/>
                  </a:cubicBezTo>
                  <a:cubicBezTo>
                    <a:pt x="5612606" y="295751"/>
                    <a:pt x="5612606" y="296704"/>
                    <a:pt x="5613559" y="297656"/>
                  </a:cubicBezTo>
                  <a:cubicBezTo>
                    <a:pt x="5612606" y="302419"/>
                    <a:pt x="5612606" y="306229"/>
                    <a:pt x="5611654" y="310991"/>
                  </a:cubicBezTo>
                  <a:cubicBezTo>
                    <a:pt x="5610701" y="305276"/>
                    <a:pt x="5609749" y="298609"/>
                    <a:pt x="5608796" y="292894"/>
                  </a:cubicBezTo>
                  <a:cubicBezTo>
                    <a:pt x="5608796" y="291941"/>
                    <a:pt x="5608796" y="291941"/>
                    <a:pt x="5608796" y="290989"/>
                  </a:cubicBezTo>
                  <a:close/>
                  <a:moveTo>
                    <a:pt x="5594509" y="241459"/>
                  </a:moveTo>
                  <a:cubicBezTo>
                    <a:pt x="5594509" y="247174"/>
                    <a:pt x="5594509" y="252889"/>
                    <a:pt x="5595462" y="258604"/>
                  </a:cubicBezTo>
                  <a:cubicBezTo>
                    <a:pt x="5595462" y="258604"/>
                    <a:pt x="5595462" y="259556"/>
                    <a:pt x="5595462" y="259556"/>
                  </a:cubicBezTo>
                  <a:cubicBezTo>
                    <a:pt x="5595462" y="260509"/>
                    <a:pt x="5595462" y="260509"/>
                    <a:pt x="5595462" y="261461"/>
                  </a:cubicBezTo>
                  <a:cubicBezTo>
                    <a:pt x="5594509" y="260509"/>
                    <a:pt x="5594509" y="260509"/>
                    <a:pt x="5593556" y="259556"/>
                  </a:cubicBezTo>
                  <a:cubicBezTo>
                    <a:pt x="5593556" y="256699"/>
                    <a:pt x="5592604" y="252889"/>
                    <a:pt x="5592604" y="250031"/>
                  </a:cubicBezTo>
                  <a:cubicBezTo>
                    <a:pt x="5591651" y="246221"/>
                    <a:pt x="5593556" y="244316"/>
                    <a:pt x="5594509" y="241459"/>
                  </a:cubicBezTo>
                  <a:close/>
                  <a:moveTo>
                    <a:pt x="5578317" y="284321"/>
                  </a:moveTo>
                  <a:cubicBezTo>
                    <a:pt x="5578317" y="285274"/>
                    <a:pt x="5578317" y="285274"/>
                    <a:pt x="5578317" y="286226"/>
                  </a:cubicBezTo>
                  <a:cubicBezTo>
                    <a:pt x="5578317" y="286226"/>
                    <a:pt x="5578317" y="285274"/>
                    <a:pt x="5577364" y="285274"/>
                  </a:cubicBezTo>
                  <a:cubicBezTo>
                    <a:pt x="5578317" y="284321"/>
                    <a:pt x="5578317" y="284321"/>
                    <a:pt x="5578317" y="284321"/>
                  </a:cubicBezTo>
                  <a:close/>
                  <a:moveTo>
                    <a:pt x="5573554" y="299561"/>
                  </a:moveTo>
                  <a:cubicBezTo>
                    <a:pt x="5574506" y="301466"/>
                    <a:pt x="5575459" y="303371"/>
                    <a:pt x="5576412" y="305276"/>
                  </a:cubicBezTo>
                  <a:cubicBezTo>
                    <a:pt x="5576412" y="306229"/>
                    <a:pt x="5577364" y="306229"/>
                    <a:pt x="5577364" y="307181"/>
                  </a:cubicBezTo>
                  <a:cubicBezTo>
                    <a:pt x="5577364" y="311944"/>
                    <a:pt x="5576412" y="317659"/>
                    <a:pt x="5576412" y="325279"/>
                  </a:cubicBezTo>
                  <a:cubicBezTo>
                    <a:pt x="5576412" y="326231"/>
                    <a:pt x="5576412" y="327184"/>
                    <a:pt x="5576412" y="328136"/>
                  </a:cubicBezTo>
                  <a:cubicBezTo>
                    <a:pt x="5576412" y="325279"/>
                    <a:pt x="5575459" y="322421"/>
                    <a:pt x="5575459" y="319564"/>
                  </a:cubicBezTo>
                  <a:cubicBezTo>
                    <a:pt x="5574506" y="313849"/>
                    <a:pt x="5573554" y="309086"/>
                    <a:pt x="5573554" y="303371"/>
                  </a:cubicBezTo>
                  <a:cubicBezTo>
                    <a:pt x="5572601" y="301466"/>
                    <a:pt x="5573554" y="300514"/>
                    <a:pt x="5573554" y="299561"/>
                  </a:cubicBezTo>
                  <a:close/>
                  <a:moveTo>
                    <a:pt x="5550694" y="308134"/>
                  </a:moveTo>
                  <a:cubicBezTo>
                    <a:pt x="5550694" y="305276"/>
                    <a:pt x="5549742" y="303371"/>
                    <a:pt x="5549742" y="301466"/>
                  </a:cubicBezTo>
                  <a:cubicBezTo>
                    <a:pt x="5550694" y="299561"/>
                    <a:pt x="5550694" y="296704"/>
                    <a:pt x="5551646" y="294799"/>
                  </a:cubicBezTo>
                  <a:cubicBezTo>
                    <a:pt x="5551646" y="293846"/>
                    <a:pt x="5552599" y="292894"/>
                    <a:pt x="5552599" y="291941"/>
                  </a:cubicBezTo>
                  <a:cubicBezTo>
                    <a:pt x="5553551" y="294799"/>
                    <a:pt x="5553551" y="298609"/>
                    <a:pt x="5554504" y="302419"/>
                  </a:cubicBezTo>
                  <a:cubicBezTo>
                    <a:pt x="5553551" y="303371"/>
                    <a:pt x="5553551" y="304324"/>
                    <a:pt x="5552599" y="306229"/>
                  </a:cubicBezTo>
                  <a:cubicBezTo>
                    <a:pt x="5551646" y="306229"/>
                    <a:pt x="5551646" y="307181"/>
                    <a:pt x="5550694" y="308134"/>
                  </a:cubicBezTo>
                  <a:close/>
                  <a:moveTo>
                    <a:pt x="5557362" y="313849"/>
                  </a:moveTo>
                  <a:cubicBezTo>
                    <a:pt x="5557362" y="313849"/>
                    <a:pt x="5557362" y="314801"/>
                    <a:pt x="5557362" y="313849"/>
                  </a:cubicBezTo>
                  <a:cubicBezTo>
                    <a:pt x="5556409" y="315754"/>
                    <a:pt x="5554504" y="317659"/>
                    <a:pt x="5553551" y="318611"/>
                  </a:cubicBezTo>
                  <a:cubicBezTo>
                    <a:pt x="5554504" y="315754"/>
                    <a:pt x="5555456" y="312896"/>
                    <a:pt x="5556409" y="310039"/>
                  </a:cubicBezTo>
                  <a:cubicBezTo>
                    <a:pt x="5556409" y="311944"/>
                    <a:pt x="5557362" y="312896"/>
                    <a:pt x="5557362" y="313849"/>
                  </a:cubicBezTo>
                  <a:cubicBezTo>
                    <a:pt x="5557362" y="313849"/>
                    <a:pt x="5557362" y="313849"/>
                    <a:pt x="5557362" y="313849"/>
                  </a:cubicBezTo>
                  <a:close/>
                  <a:moveTo>
                    <a:pt x="5561171" y="359569"/>
                  </a:moveTo>
                  <a:cubicBezTo>
                    <a:pt x="5561171" y="360521"/>
                    <a:pt x="5561171" y="360521"/>
                    <a:pt x="5561171" y="361474"/>
                  </a:cubicBezTo>
                  <a:cubicBezTo>
                    <a:pt x="5561171" y="361474"/>
                    <a:pt x="5560219" y="360521"/>
                    <a:pt x="5560219" y="360521"/>
                  </a:cubicBezTo>
                  <a:cubicBezTo>
                    <a:pt x="5559267" y="357664"/>
                    <a:pt x="5559267" y="353854"/>
                    <a:pt x="5558314" y="350996"/>
                  </a:cubicBezTo>
                  <a:cubicBezTo>
                    <a:pt x="5559267" y="348139"/>
                    <a:pt x="5560219" y="345281"/>
                    <a:pt x="5560219" y="342424"/>
                  </a:cubicBezTo>
                  <a:cubicBezTo>
                    <a:pt x="5561171" y="348139"/>
                    <a:pt x="5561171" y="353854"/>
                    <a:pt x="5561171" y="359569"/>
                  </a:cubicBezTo>
                  <a:close/>
                  <a:moveTo>
                    <a:pt x="5559267" y="303371"/>
                  </a:moveTo>
                  <a:cubicBezTo>
                    <a:pt x="5559267" y="303371"/>
                    <a:pt x="5559267" y="304324"/>
                    <a:pt x="5559267" y="303371"/>
                  </a:cubicBezTo>
                  <a:cubicBezTo>
                    <a:pt x="5559267" y="304324"/>
                    <a:pt x="5559267" y="304324"/>
                    <a:pt x="5559267" y="303371"/>
                  </a:cubicBezTo>
                  <a:cubicBezTo>
                    <a:pt x="5559267" y="303371"/>
                    <a:pt x="5559267" y="303371"/>
                    <a:pt x="5559267" y="303371"/>
                  </a:cubicBezTo>
                  <a:close/>
                  <a:moveTo>
                    <a:pt x="5557362" y="277654"/>
                  </a:moveTo>
                  <a:cubicBezTo>
                    <a:pt x="5557362" y="279559"/>
                    <a:pt x="5557362" y="281464"/>
                    <a:pt x="5558314" y="283369"/>
                  </a:cubicBezTo>
                  <a:cubicBezTo>
                    <a:pt x="5558314" y="287179"/>
                    <a:pt x="5559267" y="290989"/>
                    <a:pt x="5559267" y="293846"/>
                  </a:cubicBezTo>
                  <a:cubicBezTo>
                    <a:pt x="5558314" y="294799"/>
                    <a:pt x="5558314" y="295751"/>
                    <a:pt x="5557362" y="296704"/>
                  </a:cubicBezTo>
                  <a:cubicBezTo>
                    <a:pt x="5556409" y="292894"/>
                    <a:pt x="5555456" y="290036"/>
                    <a:pt x="5554504" y="287179"/>
                  </a:cubicBezTo>
                  <a:cubicBezTo>
                    <a:pt x="5554504" y="284321"/>
                    <a:pt x="5556409" y="281464"/>
                    <a:pt x="5557362" y="277654"/>
                  </a:cubicBezTo>
                  <a:close/>
                  <a:moveTo>
                    <a:pt x="5553551" y="252889"/>
                  </a:moveTo>
                  <a:cubicBezTo>
                    <a:pt x="5553551" y="252889"/>
                    <a:pt x="5553551" y="252889"/>
                    <a:pt x="5553551" y="252889"/>
                  </a:cubicBezTo>
                  <a:cubicBezTo>
                    <a:pt x="5553551" y="253841"/>
                    <a:pt x="5553551" y="253841"/>
                    <a:pt x="5553551" y="253841"/>
                  </a:cubicBezTo>
                  <a:cubicBezTo>
                    <a:pt x="5554504" y="258604"/>
                    <a:pt x="5554504" y="263366"/>
                    <a:pt x="5555456" y="268129"/>
                  </a:cubicBezTo>
                  <a:cubicBezTo>
                    <a:pt x="5555456" y="269081"/>
                    <a:pt x="5555456" y="270034"/>
                    <a:pt x="5555456" y="270986"/>
                  </a:cubicBezTo>
                  <a:cubicBezTo>
                    <a:pt x="5554504" y="272891"/>
                    <a:pt x="5553551" y="273844"/>
                    <a:pt x="5552599" y="275749"/>
                  </a:cubicBezTo>
                  <a:cubicBezTo>
                    <a:pt x="5551646" y="276701"/>
                    <a:pt x="5550694" y="278606"/>
                    <a:pt x="5549742" y="280511"/>
                  </a:cubicBezTo>
                  <a:cubicBezTo>
                    <a:pt x="5549742" y="280511"/>
                    <a:pt x="5549742" y="280511"/>
                    <a:pt x="5549742" y="280511"/>
                  </a:cubicBezTo>
                  <a:cubicBezTo>
                    <a:pt x="5549742" y="280511"/>
                    <a:pt x="5549742" y="280511"/>
                    <a:pt x="5549742" y="280511"/>
                  </a:cubicBezTo>
                  <a:cubicBezTo>
                    <a:pt x="5548789" y="282416"/>
                    <a:pt x="5547837" y="284321"/>
                    <a:pt x="5545931" y="286226"/>
                  </a:cubicBezTo>
                  <a:cubicBezTo>
                    <a:pt x="5545931" y="284321"/>
                    <a:pt x="5544979" y="282416"/>
                    <a:pt x="5544979" y="281464"/>
                  </a:cubicBezTo>
                  <a:cubicBezTo>
                    <a:pt x="5545931" y="279559"/>
                    <a:pt x="5545931" y="277654"/>
                    <a:pt x="5546884" y="275749"/>
                  </a:cubicBezTo>
                  <a:cubicBezTo>
                    <a:pt x="5547837" y="270986"/>
                    <a:pt x="5548789" y="266224"/>
                    <a:pt x="5549742" y="261461"/>
                  </a:cubicBezTo>
                  <a:cubicBezTo>
                    <a:pt x="5552599" y="258604"/>
                    <a:pt x="5553551" y="255746"/>
                    <a:pt x="5553551" y="252889"/>
                  </a:cubicBezTo>
                  <a:close/>
                  <a:moveTo>
                    <a:pt x="5548789" y="226219"/>
                  </a:moveTo>
                  <a:cubicBezTo>
                    <a:pt x="5548789" y="227171"/>
                    <a:pt x="5549742" y="229076"/>
                    <a:pt x="5549742" y="230029"/>
                  </a:cubicBezTo>
                  <a:cubicBezTo>
                    <a:pt x="5549742" y="231934"/>
                    <a:pt x="5550694" y="232886"/>
                    <a:pt x="5550694" y="234791"/>
                  </a:cubicBezTo>
                  <a:cubicBezTo>
                    <a:pt x="5549742" y="232886"/>
                    <a:pt x="5548789" y="230981"/>
                    <a:pt x="5547837" y="230029"/>
                  </a:cubicBezTo>
                  <a:cubicBezTo>
                    <a:pt x="5548789" y="229076"/>
                    <a:pt x="5548789" y="227171"/>
                    <a:pt x="5548789" y="226219"/>
                  </a:cubicBezTo>
                  <a:close/>
                  <a:moveTo>
                    <a:pt x="5546884" y="235744"/>
                  </a:moveTo>
                  <a:cubicBezTo>
                    <a:pt x="5547837" y="238601"/>
                    <a:pt x="5548789" y="241459"/>
                    <a:pt x="5550694" y="244316"/>
                  </a:cubicBezTo>
                  <a:cubicBezTo>
                    <a:pt x="5548789" y="249079"/>
                    <a:pt x="5546884" y="253841"/>
                    <a:pt x="5544979" y="259556"/>
                  </a:cubicBezTo>
                  <a:cubicBezTo>
                    <a:pt x="5544979" y="260509"/>
                    <a:pt x="5544026" y="261461"/>
                    <a:pt x="5544026" y="262414"/>
                  </a:cubicBezTo>
                  <a:cubicBezTo>
                    <a:pt x="5544026" y="260509"/>
                    <a:pt x="5543074" y="258604"/>
                    <a:pt x="5543074" y="257651"/>
                  </a:cubicBezTo>
                  <a:cubicBezTo>
                    <a:pt x="5543074" y="256699"/>
                    <a:pt x="5543074" y="255746"/>
                    <a:pt x="5542121" y="254794"/>
                  </a:cubicBezTo>
                  <a:cubicBezTo>
                    <a:pt x="5544026" y="248126"/>
                    <a:pt x="5545931" y="241459"/>
                    <a:pt x="5546884" y="235744"/>
                  </a:cubicBezTo>
                  <a:close/>
                  <a:moveTo>
                    <a:pt x="5540217" y="218599"/>
                  </a:moveTo>
                  <a:cubicBezTo>
                    <a:pt x="5540217" y="219551"/>
                    <a:pt x="5540217" y="219551"/>
                    <a:pt x="5539264" y="220504"/>
                  </a:cubicBezTo>
                  <a:cubicBezTo>
                    <a:pt x="5539264" y="221456"/>
                    <a:pt x="5538312" y="222409"/>
                    <a:pt x="5538312" y="223361"/>
                  </a:cubicBezTo>
                  <a:cubicBezTo>
                    <a:pt x="5537359" y="218599"/>
                    <a:pt x="5537359" y="214789"/>
                    <a:pt x="5536406" y="210026"/>
                  </a:cubicBezTo>
                  <a:cubicBezTo>
                    <a:pt x="5537359" y="211931"/>
                    <a:pt x="5538312" y="214789"/>
                    <a:pt x="5540217" y="218599"/>
                  </a:cubicBezTo>
                  <a:close/>
                  <a:moveTo>
                    <a:pt x="5507831" y="312896"/>
                  </a:moveTo>
                  <a:cubicBezTo>
                    <a:pt x="5507831" y="313849"/>
                    <a:pt x="5507831" y="313849"/>
                    <a:pt x="5507831" y="312896"/>
                  </a:cubicBezTo>
                  <a:cubicBezTo>
                    <a:pt x="5507831" y="313849"/>
                    <a:pt x="5507831" y="313849"/>
                    <a:pt x="5507831" y="313849"/>
                  </a:cubicBezTo>
                  <a:cubicBezTo>
                    <a:pt x="5507831" y="313849"/>
                    <a:pt x="5507831" y="313849"/>
                    <a:pt x="5507831" y="312896"/>
                  </a:cubicBezTo>
                  <a:close/>
                  <a:moveTo>
                    <a:pt x="5481162" y="326231"/>
                  </a:moveTo>
                  <a:cubicBezTo>
                    <a:pt x="5481162" y="327184"/>
                    <a:pt x="5480209" y="329089"/>
                    <a:pt x="5480209" y="330994"/>
                  </a:cubicBezTo>
                  <a:cubicBezTo>
                    <a:pt x="5480209" y="329089"/>
                    <a:pt x="5480209" y="326231"/>
                    <a:pt x="5479256" y="324326"/>
                  </a:cubicBezTo>
                  <a:cubicBezTo>
                    <a:pt x="5479256" y="323374"/>
                    <a:pt x="5479256" y="323374"/>
                    <a:pt x="5479256" y="322421"/>
                  </a:cubicBezTo>
                  <a:cubicBezTo>
                    <a:pt x="5479256" y="318611"/>
                    <a:pt x="5478304" y="315754"/>
                    <a:pt x="5478304" y="311944"/>
                  </a:cubicBezTo>
                  <a:cubicBezTo>
                    <a:pt x="5479256" y="315754"/>
                    <a:pt x="5480209" y="320516"/>
                    <a:pt x="5482114" y="325279"/>
                  </a:cubicBezTo>
                  <a:cubicBezTo>
                    <a:pt x="5481162" y="325279"/>
                    <a:pt x="5481162" y="325279"/>
                    <a:pt x="5481162" y="326231"/>
                  </a:cubicBezTo>
                  <a:close/>
                  <a:moveTo>
                    <a:pt x="5493544" y="339566"/>
                  </a:moveTo>
                  <a:cubicBezTo>
                    <a:pt x="5493544" y="339566"/>
                    <a:pt x="5493544" y="339566"/>
                    <a:pt x="5493544" y="339566"/>
                  </a:cubicBezTo>
                  <a:cubicBezTo>
                    <a:pt x="5493544" y="339566"/>
                    <a:pt x="5493544" y="339566"/>
                    <a:pt x="5493544" y="339566"/>
                  </a:cubicBezTo>
                  <a:cubicBezTo>
                    <a:pt x="5493544" y="339566"/>
                    <a:pt x="5493544" y="339566"/>
                    <a:pt x="5493544" y="339566"/>
                  </a:cubicBezTo>
                  <a:close/>
                  <a:moveTo>
                    <a:pt x="5488781" y="261461"/>
                  </a:moveTo>
                  <a:cubicBezTo>
                    <a:pt x="5488781" y="261461"/>
                    <a:pt x="5488781" y="261461"/>
                    <a:pt x="5488781" y="261461"/>
                  </a:cubicBezTo>
                  <a:cubicBezTo>
                    <a:pt x="5489734" y="263366"/>
                    <a:pt x="5489734" y="265271"/>
                    <a:pt x="5490687" y="267176"/>
                  </a:cubicBezTo>
                  <a:cubicBezTo>
                    <a:pt x="5489734" y="266224"/>
                    <a:pt x="5488781" y="265271"/>
                    <a:pt x="5487829" y="264319"/>
                  </a:cubicBezTo>
                  <a:cubicBezTo>
                    <a:pt x="5487829" y="263366"/>
                    <a:pt x="5487829" y="262414"/>
                    <a:pt x="5488781" y="261461"/>
                  </a:cubicBezTo>
                  <a:close/>
                  <a:moveTo>
                    <a:pt x="5483067" y="280511"/>
                  </a:moveTo>
                  <a:cubicBezTo>
                    <a:pt x="5484019" y="277654"/>
                    <a:pt x="5484971" y="275749"/>
                    <a:pt x="5484971" y="272891"/>
                  </a:cubicBezTo>
                  <a:cubicBezTo>
                    <a:pt x="5488781" y="278606"/>
                    <a:pt x="5492592" y="285274"/>
                    <a:pt x="5496401" y="291941"/>
                  </a:cubicBezTo>
                  <a:cubicBezTo>
                    <a:pt x="5497354" y="293846"/>
                    <a:pt x="5498306" y="295751"/>
                    <a:pt x="5500212" y="297656"/>
                  </a:cubicBezTo>
                  <a:cubicBezTo>
                    <a:pt x="5499259" y="300514"/>
                    <a:pt x="5498306" y="303371"/>
                    <a:pt x="5497354" y="307181"/>
                  </a:cubicBezTo>
                  <a:cubicBezTo>
                    <a:pt x="5497354" y="308134"/>
                    <a:pt x="5497354" y="310039"/>
                    <a:pt x="5496401" y="310991"/>
                  </a:cubicBezTo>
                  <a:cubicBezTo>
                    <a:pt x="5494496" y="309086"/>
                    <a:pt x="5493544" y="307181"/>
                    <a:pt x="5493544" y="307181"/>
                  </a:cubicBezTo>
                  <a:cubicBezTo>
                    <a:pt x="5493544" y="307181"/>
                    <a:pt x="5494496" y="309086"/>
                    <a:pt x="5495449" y="311944"/>
                  </a:cubicBezTo>
                  <a:cubicBezTo>
                    <a:pt x="5495449" y="314801"/>
                    <a:pt x="5494496" y="316706"/>
                    <a:pt x="5494496" y="319564"/>
                  </a:cubicBezTo>
                  <a:cubicBezTo>
                    <a:pt x="5493544" y="323374"/>
                    <a:pt x="5493544" y="326231"/>
                    <a:pt x="5492592" y="330041"/>
                  </a:cubicBezTo>
                  <a:cubicBezTo>
                    <a:pt x="5491639" y="330994"/>
                    <a:pt x="5490687" y="331946"/>
                    <a:pt x="5488781" y="333851"/>
                  </a:cubicBezTo>
                  <a:cubicBezTo>
                    <a:pt x="5487829" y="330994"/>
                    <a:pt x="5486876" y="329089"/>
                    <a:pt x="5485924" y="327184"/>
                  </a:cubicBezTo>
                  <a:cubicBezTo>
                    <a:pt x="5485924" y="321469"/>
                    <a:pt x="5486876" y="316706"/>
                    <a:pt x="5487829" y="312896"/>
                  </a:cubicBezTo>
                  <a:cubicBezTo>
                    <a:pt x="5488781" y="304324"/>
                    <a:pt x="5489734" y="299561"/>
                    <a:pt x="5489734" y="299561"/>
                  </a:cubicBezTo>
                  <a:cubicBezTo>
                    <a:pt x="5489734" y="299561"/>
                    <a:pt x="5487829" y="304324"/>
                    <a:pt x="5484019" y="311944"/>
                  </a:cubicBezTo>
                  <a:cubicBezTo>
                    <a:pt x="5484019" y="312896"/>
                    <a:pt x="5484019" y="312896"/>
                    <a:pt x="5483067" y="313849"/>
                  </a:cubicBezTo>
                  <a:cubicBezTo>
                    <a:pt x="5483067" y="313849"/>
                    <a:pt x="5483067" y="312896"/>
                    <a:pt x="5483067" y="312896"/>
                  </a:cubicBezTo>
                  <a:cubicBezTo>
                    <a:pt x="5480209" y="300514"/>
                    <a:pt x="5478304" y="292894"/>
                    <a:pt x="5478304" y="292894"/>
                  </a:cubicBezTo>
                  <a:cubicBezTo>
                    <a:pt x="5478304" y="292894"/>
                    <a:pt x="5478304" y="298609"/>
                    <a:pt x="5479256" y="309086"/>
                  </a:cubicBezTo>
                  <a:cubicBezTo>
                    <a:pt x="5479256" y="309086"/>
                    <a:pt x="5479256" y="308134"/>
                    <a:pt x="5479256" y="308134"/>
                  </a:cubicBezTo>
                  <a:cubicBezTo>
                    <a:pt x="5478304" y="305276"/>
                    <a:pt x="5477351" y="303371"/>
                    <a:pt x="5476399" y="300514"/>
                  </a:cubicBezTo>
                  <a:cubicBezTo>
                    <a:pt x="5479256" y="293846"/>
                    <a:pt x="5481162" y="287179"/>
                    <a:pt x="5483067" y="280511"/>
                  </a:cubicBezTo>
                  <a:close/>
                  <a:moveTo>
                    <a:pt x="5472589" y="254794"/>
                  </a:moveTo>
                  <a:cubicBezTo>
                    <a:pt x="5473542" y="255746"/>
                    <a:pt x="5474494" y="256699"/>
                    <a:pt x="5475446" y="258604"/>
                  </a:cubicBezTo>
                  <a:cubicBezTo>
                    <a:pt x="5474494" y="261461"/>
                    <a:pt x="5472589" y="265271"/>
                    <a:pt x="5471637" y="268129"/>
                  </a:cubicBezTo>
                  <a:cubicBezTo>
                    <a:pt x="5470684" y="261461"/>
                    <a:pt x="5469731" y="255746"/>
                    <a:pt x="5468779" y="249079"/>
                  </a:cubicBezTo>
                  <a:cubicBezTo>
                    <a:pt x="5469731" y="250984"/>
                    <a:pt x="5471637" y="252889"/>
                    <a:pt x="5472589" y="254794"/>
                  </a:cubicBezTo>
                  <a:close/>
                  <a:moveTo>
                    <a:pt x="5452587" y="208121"/>
                  </a:moveTo>
                  <a:cubicBezTo>
                    <a:pt x="5452587" y="209074"/>
                    <a:pt x="5452587" y="210026"/>
                    <a:pt x="5452587" y="210026"/>
                  </a:cubicBezTo>
                  <a:cubicBezTo>
                    <a:pt x="5453539" y="214789"/>
                    <a:pt x="5454492" y="220504"/>
                    <a:pt x="5454492" y="225266"/>
                  </a:cubicBezTo>
                  <a:cubicBezTo>
                    <a:pt x="5454492" y="226219"/>
                    <a:pt x="5454492" y="227171"/>
                    <a:pt x="5454492" y="228124"/>
                  </a:cubicBezTo>
                  <a:cubicBezTo>
                    <a:pt x="5453539" y="227171"/>
                    <a:pt x="5451634" y="226219"/>
                    <a:pt x="5450681" y="225266"/>
                  </a:cubicBezTo>
                  <a:cubicBezTo>
                    <a:pt x="5451634" y="219551"/>
                    <a:pt x="5452587" y="212884"/>
                    <a:pt x="5452587" y="208121"/>
                  </a:cubicBezTo>
                  <a:close/>
                  <a:moveTo>
                    <a:pt x="5449729" y="250031"/>
                  </a:moveTo>
                  <a:cubicBezTo>
                    <a:pt x="5450681" y="242411"/>
                    <a:pt x="5450681" y="234791"/>
                    <a:pt x="5451634" y="228124"/>
                  </a:cubicBezTo>
                  <a:cubicBezTo>
                    <a:pt x="5452587" y="229076"/>
                    <a:pt x="5452587" y="229076"/>
                    <a:pt x="5453539" y="230029"/>
                  </a:cubicBezTo>
                  <a:cubicBezTo>
                    <a:pt x="5454492" y="230981"/>
                    <a:pt x="5455444" y="231934"/>
                    <a:pt x="5455444" y="232886"/>
                  </a:cubicBezTo>
                  <a:cubicBezTo>
                    <a:pt x="5455444" y="236696"/>
                    <a:pt x="5456396" y="239554"/>
                    <a:pt x="5456396" y="243364"/>
                  </a:cubicBezTo>
                  <a:cubicBezTo>
                    <a:pt x="5457349" y="255746"/>
                    <a:pt x="5458301" y="268129"/>
                    <a:pt x="5459254" y="282416"/>
                  </a:cubicBezTo>
                  <a:cubicBezTo>
                    <a:pt x="5460206" y="288131"/>
                    <a:pt x="5460206" y="293846"/>
                    <a:pt x="5460206" y="299561"/>
                  </a:cubicBezTo>
                  <a:cubicBezTo>
                    <a:pt x="5458301" y="304324"/>
                    <a:pt x="5457349" y="309086"/>
                    <a:pt x="5455444" y="313849"/>
                  </a:cubicBezTo>
                  <a:cubicBezTo>
                    <a:pt x="5452587" y="302419"/>
                    <a:pt x="5450681" y="290989"/>
                    <a:pt x="5447824" y="280511"/>
                  </a:cubicBezTo>
                  <a:cubicBezTo>
                    <a:pt x="5447824" y="279559"/>
                    <a:pt x="5447824" y="277654"/>
                    <a:pt x="5446871" y="276701"/>
                  </a:cubicBezTo>
                  <a:cubicBezTo>
                    <a:pt x="5448776" y="267176"/>
                    <a:pt x="5448776" y="257651"/>
                    <a:pt x="5449729" y="250031"/>
                  </a:cubicBezTo>
                  <a:close/>
                  <a:moveTo>
                    <a:pt x="5443062" y="327184"/>
                  </a:moveTo>
                  <a:cubicBezTo>
                    <a:pt x="5444014" y="332899"/>
                    <a:pt x="5444967" y="338614"/>
                    <a:pt x="5445919" y="343376"/>
                  </a:cubicBezTo>
                  <a:cubicBezTo>
                    <a:pt x="5444967" y="340519"/>
                    <a:pt x="5444014" y="337661"/>
                    <a:pt x="5443062" y="334804"/>
                  </a:cubicBezTo>
                  <a:cubicBezTo>
                    <a:pt x="5442109" y="332899"/>
                    <a:pt x="5443062" y="330041"/>
                    <a:pt x="5443062" y="327184"/>
                  </a:cubicBezTo>
                  <a:close/>
                  <a:moveTo>
                    <a:pt x="5417344" y="318611"/>
                  </a:moveTo>
                  <a:cubicBezTo>
                    <a:pt x="5418296" y="316706"/>
                    <a:pt x="5418296" y="314801"/>
                    <a:pt x="5419249" y="312896"/>
                  </a:cubicBezTo>
                  <a:cubicBezTo>
                    <a:pt x="5420201" y="315754"/>
                    <a:pt x="5421154" y="318611"/>
                    <a:pt x="5421154" y="320516"/>
                  </a:cubicBezTo>
                  <a:cubicBezTo>
                    <a:pt x="5421154" y="320516"/>
                    <a:pt x="5421154" y="321469"/>
                    <a:pt x="5421154" y="321469"/>
                  </a:cubicBezTo>
                  <a:cubicBezTo>
                    <a:pt x="5421154" y="320516"/>
                    <a:pt x="5421154" y="320516"/>
                    <a:pt x="5421154" y="320516"/>
                  </a:cubicBezTo>
                  <a:cubicBezTo>
                    <a:pt x="5421154" y="320516"/>
                    <a:pt x="5421154" y="321469"/>
                    <a:pt x="5421154" y="322421"/>
                  </a:cubicBezTo>
                  <a:cubicBezTo>
                    <a:pt x="5420201" y="325279"/>
                    <a:pt x="5419249" y="329089"/>
                    <a:pt x="5418296" y="331946"/>
                  </a:cubicBezTo>
                  <a:cubicBezTo>
                    <a:pt x="5417344" y="330994"/>
                    <a:pt x="5417344" y="330041"/>
                    <a:pt x="5417344" y="329089"/>
                  </a:cubicBezTo>
                  <a:cubicBezTo>
                    <a:pt x="5417344" y="326231"/>
                    <a:pt x="5417344" y="322421"/>
                    <a:pt x="5417344" y="318611"/>
                  </a:cubicBezTo>
                  <a:close/>
                  <a:moveTo>
                    <a:pt x="5416392" y="334804"/>
                  </a:moveTo>
                  <a:cubicBezTo>
                    <a:pt x="5416392" y="335756"/>
                    <a:pt x="5416392" y="335756"/>
                    <a:pt x="5417344" y="335756"/>
                  </a:cubicBezTo>
                  <a:cubicBezTo>
                    <a:pt x="5417344" y="336709"/>
                    <a:pt x="5416392" y="337661"/>
                    <a:pt x="5416392" y="337661"/>
                  </a:cubicBezTo>
                  <a:cubicBezTo>
                    <a:pt x="5416392" y="336709"/>
                    <a:pt x="5416392" y="335756"/>
                    <a:pt x="5416392" y="334804"/>
                  </a:cubicBezTo>
                  <a:close/>
                  <a:moveTo>
                    <a:pt x="5405914" y="325279"/>
                  </a:moveTo>
                  <a:cubicBezTo>
                    <a:pt x="5406867" y="302419"/>
                    <a:pt x="5407819" y="284321"/>
                    <a:pt x="5407819" y="271939"/>
                  </a:cubicBezTo>
                  <a:cubicBezTo>
                    <a:pt x="5407819" y="270034"/>
                    <a:pt x="5407819" y="269081"/>
                    <a:pt x="5407819" y="267176"/>
                  </a:cubicBezTo>
                  <a:cubicBezTo>
                    <a:pt x="5409724" y="274796"/>
                    <a:pt x="5411629" y="283369"/>
                    <a:pt x="5414487" y="292894"/>
                  </a:cubicBezTo>
                  <a:cubicBezTo>
                    <a:pt x="5414487" y="292894"/>
                    <a:pt x="5414487" y="292894"/>
                    <a:pt x="5414487" y="293846"/>
                  </a:cubicBezTo>
                  <a:cubicBezTo>
                    <a:pt x="5413534" y="296704"/>
                    <a:pt x="5412581" y="299561"/>
                    <a:pt x="5411629" y="303371"/>
                  </a:cubicBezTo>
                  <a:cubicBezTo>
                    <a:pt x="5408771" y="311944"/>
                    <a:pt x="5406867" y="321469"/>
                    <a:pt x="5404962" y="331946"/>
                  </a:cubicBezTo>
                  <a:cubicBezTo>
                    <a:pt x="5404962" y="331946"/>
                    <a:pt x="5404962" y="332899"/>
                    <a:pt x="5404962" y="332899"/>
                  </a:cubicBezTo>
                  <a:cubicBezTo>
                    <a:pt x="5404962" y="330994"/>
                    <a:pt x="5404962" y="328136"/>
                    <a:pt x="5405914" y="325279"/>
                  </a:cubicBezTo>
                  <a:close/>
                  <a:moveTo>
                    <a:pt x="5384006" y="310991"/>
                  </a:moveTo>
                  <a:cubicBezTo>
                    <a:pt x="5384959" y="318611"/>
                    <a:pt x="5385912" y="326231"/>
                    <a:pt x="5386864" y="334804"/>
                  </a:cubicBezTo>
                  <a:cubicBezTo>
                    <a:pt x="5385912" y="336709"/>
                    <a:pt x="5385912" y="339566"/>
                    <a:pt x="5384959" y="341471"/>
                  </a:cubicBezTo>
                  <a:cubicBezTo>
                    <a:pt x="5384006" y="335756"/>
                    <a:pt x="5383054" y="330041"/>
                    <a:pt x="5382101" y="325279"/>
                  </a:cubicBezTo>
                  <a:cubicBezTo>
                    <a:pt x="5381149" y="317659"/>
                    <a:pt x="5380196" y="310991"/>
                    <a:pt x="5378292" y="305276"/>
                  </a:cubicBezTo>
                  <a:cubicBezTo>
                    <a:pt x="5379244" y="301466"/>
                    <a:pt x="5380196" y="298609"/>
                    <a:pt x="5381149" y="294799"/>
                  </a:cubicBezTo>
                  <a:cubicBezTo>
                    <a:pt x="5382101" y="299561"/>
                    <a:pt x="5383054" y="305276"/>
                    <a:pt x="5384006" y="310991"/>
                  </a:cubicBezTo>
                  <a:close/>
                  <a:moveTo>
                    <a:pt x="5379244" y="274796"/>
                  </a:moveTo>
                  <a:cubicBezTo>
                    <a:pt x="5379244" y="273844"/>
                    <a:pt x="5379244" y="272891"/>
                    <a:pt x="5379244" y="271939"/>
                  </a:cubicBezTo>
                  <a:cubicBezTo>
                    <a:pt x="5379244" y="275749"/>
                    <a:pt x="5380196" y="280511"/>
                    <a:pt x="5381149" y="284321"/>
                  </a:cubicBezTo>
                  <a:cubicBezTo>
                    <a:pt x="5381149" y="284321"/>
                    <a:pt x="5381149" y="285274"/>
                    <a:pt x="5380196" y="285274"/>
                  </a:cubicBezTo>
                  <a:cubicBezTo>
                    <a:pt x="5379244" y="287179"/>
                    <a:pt x="5379244" y="288131"/>
                    <a:pt x="5378292" y="290036"/>
                  </a:cubicBezTo>
                  <a:cubicBezTo>
                    <a:pt x="5378292" y="285274"/>
                    <a:pt x="5378292" y="280511"/>
                    <a:pt x="5379244" y="274796"/>
                  </a:cubicBezTo>
                  <a:close/>
                  <a:moveTo>
                    <a:pt x="5332571" y="321469"/>
                  </a:moveTo>
                  <a:cubicBezTo>
                    <a:pt x="5334476" y="316706"/>
                    <a:pt x="5336381" y="312896"/>
                    <a:pt x="5338287" y="309086"/>
                  </a:cubicBezTo>
                  <a:cubicBezTo>
                    <a:pt x="5338287" y="309086"/>
                    <a:pt x="5338287" y="310039"/>
                    <a:pt x="5338287" y="310039"/>
                  </a:cubicBezTo>
                  <a:cubicBezTo>
                    <a:pt x="5334476" y="323374"/>
                    <a:pt x="5330667" y="337661"/>
                    <a:pt x="5326856" y="351949"/>
                  </a:cubicBezTo>
                  <a:cubicBezTo>
                    <a:pt x="5325904" y="345281"/>
                    <a:pt x="5324951" y="340519"/>
                    <a:pt x="5323999" y="336709"/>
                  </a:cubicBezTo>
                  <a:cubicBezTo>
                    <a:pt x="5327809" y="330994"/>
                    <a:pt x="5330667" y="326231"/>
                    <a:pt x="5332571" y="321469"/>
                  </a:cubicBezTo>
                  <a:close/>
                  <a:moveTo>
                    <a:pt x="5319237" y="350996"/>
                  </a:moveTo>
                  <a:cubicBezTo>
                    <a:pt x="5320189" y="348139"/>
                    <a:pt x="5322094" y="345281"/>
                    <a:pt x="5323046" y="342424"/>
                  </a:cubicBezTo>
                  <a:cubicBezTo>
                    <a:pt x="5323046" y="350044"/>
                    <a:pt x="5322094" y="359569"/>
                    <a:pt x="5322094" y="371951"/>
                  </a:cubicBezTo>
                  <a:cubicBezTo>
                    <a:pt x="5321142" y="368141"/>
                    <a:pt x="5320189" y="365284"/>
                    <a:pt x="5319237" y="362426"/>
                  </a:cubicBezTo>
                  <a:cubicBezTo>
                    <a:pt x="5319237" y="357664"/>
                    <a:pt x="5319237" y="353854"/>
                    <a:pt x="5319237" y="350996"/>
                  </a:cubicBezTo>
                  <a:close/>
                  <a:moveTo>
                    <a:pt x="5316379" y="392906"/>
                  </a:moveTo>
                  <a:cubicBezTo>
                    <a:pt x="5316379" y="389096"/>
                    <a:pt x="5317331" y="386239"/>
                    <a:pt x="5317331" y="382429"/>
                  </a:cubicBezTo>
                  <a:cubicBezTo>
                    <a:pt x="5317331" y="384334"/>
                    <a:pt x="5318284" y="387191"/>
                    <a:pt x="5318284" y="390049"/>
                  </a:cubicBezTo>
                  <a:cubicBezTo>
                    <a:pt x="5317331" y="392906"/>
                    <a:pt x="5316379" y="395764"/>
                    <a:pt x="5315426" y="399574"/>
                  </a:cubicBezTo>
                  <a:cubicBezTo>
                    <a:pt x="5316379" y="396716"/>
                    <a:pt x="5316379" y="394811"/>
                    <a:pt x="5316379" y="392906"/>
                  </a:cubicBezTo>
                  <a:close/>
                  <a:moveTo>
                    <a:pt x="5285899" y="293846"/>
                  </a:moveTo>
                  <a:cubicBezTo>
                    <a:pt x="5285899" y="295751"/>
                    <a:pt x="5285899" y="296704"/>
                    <a:pt x="5286851" y="298609"/>
                  </a:cubicBezTo>
                  <a:cubicBezTo>
                    <a:pt x="5285899" y="299561"/>
                    <a:pt x="5284946" y="300514"/>
                    <a:pt x="5283994" y="302419"/>
                  </a:cubicBezTo>
                  <a:cubicBezTo>
                    <a:pt x="5284946" y="299561"/>
                    <a:pt x="5285899" y="296704"/>
                    <a:pt x="5285899" y="293846"/>
                  </a:cubicBezTo>
                  <a:close/>
                  <a:moveTo>
                    <a:pt x="5279231" y="319564"/>
                  </a:moveTo>
                  <a:cubicBezTo>
                    <a:pt x="5280184" y="316706"/>
                    <a:pt x="5281137" y="313849"/>
                    <a:pt x="5282089" y="311944"/>
                  </a:cubicBezTo>
                  <a:cubicBezTo>
                    <a:pt x="5283994" y="308134"/>
                    <a:pt x="5285899" y="305276"/>
                    <a:pt x="5287804" y="302419"/>
                  </a:cubicBezTo>
                  <a:cubicBezTo>
                    <a:pt x="5287804" y="304324"/>
                    <a:pt x="5288756" y="307181"/>
                    <a:pt x="5288756" y="309086"/>
                  </a:cubicBezTo>
                  <a:cubicBezTo>
                    <a:pt x="5289709" y="318611"/>
                    <a:pt x="5290662" y="329089"/>
                    <a:pt x="5292567" y="340519"/>
                  </a:cubicBezTo>
                  <a:cubicBezTo>
                    <a:pt x="5290662" y="347186"/>
                    <a:pt x="5288756" y="354806"/>
                    <a:pt x="5287804" y="363379"/>
                  </a:cubicBezTo>
                  <a:cubicBezTo>
                    <a:pt x="5287804" y="359569"/>
                    <a:pt x="5287804" y="354806"/>
                    <a:pt x="5287804" y="351949"/>
                  </a:cubicBezTo>
                  <a:cubicBezTo>
                    <a:pt x="5287804" y="341471"/>
                    <a:pt x="5287804" y="335756"/>
                    <a:pt x="5287804" y="335756"/>
                  </a:cubicBezTo>
                  <a:cubicBezTo>
                    <a:pt x="5287804" y="335756"/>
                    <a:pt x="5286851" y="341471"/>
                    <a:pt x="5283994" y="350996"/>
                  </a:cubicBezTo>
                  <a:cubicBezTo>
                    <a:pt x="5283042" y="355759"/>
                    <a:pt x="5282089" y="362426"/>
                    <a:pt x="5280184" y="369094"/>
                  </a:cubicBezTo>
                  <a:cubicBezTo>
                    <a:pt x="5280184" y="369094"/>
                    <a:pt x="5280184" y="369094"/>
                    <a:pt x="5280184" y="370046"/>
                  </a:cubicBezTo>
                  <a:cubicBezTo>
                    <a:pt x="5279231" y="363379"/>
                    <a:pt x="5278279" y="356711"/>
                    <a:pt x="5277326" y="350044"/>
                  </a:cubicBezTo>
                  <a:cubicBezTo>
                    <a:pt x="5276374" y="345281"/>
                    <a:pt x="5276374" y="340519"/>
                    <a:pt x="5275421" y="335756"/>
                  </a:cubicBezTo>
                  <a:cubicBezTo>
                    <a:pt x="5275421" y="330041"/>
                    <a:pt x="5277326" y="324326"/>
                    <a:pt x="5279231" y="319564"/>
                  </a:cubicBezTo>
                  <a:close/>
                  <a:moveTo>
                    <a:pt x="5236369" y="318611"/>
                  </a:moveTo>
                  <a:cubicBezTo>
                    <a:pt x="5236369" y="319564"/>
                    <a:pt x="5235417" y="319564"/>
                    <a:pt x="5235417" y="320516"/>
                  </a:cubicBezTo>
                  <a:cubicBezTo>
                    <a:pt x="5233512" y="317659"/>
                    <a:pt x="5232559" y="314801"/>
                    <a:pt x="5230654" y="311944"/>
                  </a:cubicBezTo>
                  <a:cubicBezTo>
                    <a:pt x="5230654" y="311944"/>
                    <a:pt x="5230654" y="310991"/>
                    <a:pt x="5230654" y="310991"/>
                  </a:cubicBezTo>
                  <a:cubicBezTo>
                    <a:pt x="5233512" y="305276"/>
                    <a:pt x="5236369" y="300514"/>
                    <a:pt x="5239226" y="295751"/>
                  </a:cubicBezTo>
                  <a:cubicBezTo>
                    <a:pt x="5238274" y="303371"/>
                    <a:pt x="5237321" y="310991"/>
                    <a:pt x="5236369" y="318611"/>
                  </a:cubicBezTo>
                  <a:close/>
                  <a:moveTo>
                    <a:pt x="5230654" y="281464"/>
                  </a:moveTo>
                  <a:cubicBezTo>
                    <a:pt x="5233512" y="275749"/>
                    <a:pt x="5235417" y="270034"/>
                    <a:pt x="5237321" y="265271"/>
                  </a:cubicBezTo>
                  <a:cubicBezTo>
                    <a:pt x="5239226" y="260509"/>
                    <a:pt x="5242084" y="255746"/>
                    <a:pt x="5243989" y="251936"/>
                  </a:cubicBezTo>
                  <a:cubicBezTo>
                    <a:pt x="5243037" y="255746"/>
                    <a:pt x="5243037" y="259556"/>
                    <a:pt x="5242084" y="264319"/>
                  </a:cubicBezTo>
                  <a:cubicBezTo>
                    <a:pt x="5241131" y="270034"/>
                    <a:pt x="5240179" y="276701"/>
                    <a:pt x="5240179" y="283369"/>
                  </a:cubicBezTo>
                  <a:cubicBezTo>
                    <a:pt x="5236369" y="288131"/>
                    <a:pt x="5232559" y="293846"/>
                    <a:pt x="5228749" y="299561"/>
                  </a:cubicBezTo>
                  <a:cubicBezTo>
                    <a:pt x="5228749" y="296704"/>
                    <a:pt x="5227796" y="292894"/>
                    <a:pt x="5227796" y="290036"/>
                  </a:cubicBezTo>
                  <a:cubicBezTo>
                    <a:pt x="5227796" y="286226"/>
                    <a:pt x="5228749" y="284321"/>
                    <a:pt x="5230654" y="281464"/>
                  </a:cubicBezTo>
                  <a:close/>
                  <a:moveTo>
                    <a:pt x="5211604" y="344329"/>
                  </a:moveTo>
                  <a:cubicBezTo>
                    <a:pt x="5212556" y="343376"/>
                    <a:pt x="5212556" y="342424"/>
                    <a:pt x="5213509" y="341471"/>
                  </a:cubicBezTo>
                  <a:cubicBezTo>
                    <a:pt x="5213509" y="341471"/>
                    <a:pt x="5213509" y="341471"/>
                    <a:pt x="5213509" y="341471"/>
                  </a:cubicBezTo>
                  <a:cubicBezTo>
                    <a:pt x="5213509" y="341471"/>
                    <a:pt x="5213509" y="342424"/>
                    <a:pt x="5213509" y="342424"/>
                  </a:cubicBezTo>
                  <a:cubicBezTo>
                    <a:pt x="5212556" y="343376"/>
                    <a:pt x="5212556" y="344329"/>
                    <a:pt x="5211604" y="344329"/>
                  </a:cubicBezTo>
                  <a:cubicBezTo>
                    <a:pt x="5211604" y="345281"/>
                    <a:pt x="5211604" y="345281"/>
                    <a:pt x="5211604" y="344329"/>
                  </a:cubicBezTo>
                  <a:close/>
                  <a:moveTo>
                    <a:pt x="5214462" y="343376"/>
                  </a:moveTo>
                  <a:cubicBezTo>
                    <a:pt x="5215414" y="345281"/>
                    <a:pt x="5216367" y="346234"/>
                    <a:pt x="5216367" y="348139"/>
                  </a:cubicBezTo>
                  <a:cubicBezTo>
                    <a:pt x="5215414" y="350044"/>
                    <a:pt x="5214462" y="350996"/>
                    <a:pt x="5213509" y="352901"/>
                  </a:cubicBezTo>
                  <a:cubicBezTo>
                    <a:pt x="5213509" y="351949"/>
                    <a:pt x="5212556" y="351949"/>
                    <a:pt x="5212556" y="350996"/>
                  </a:cubicBezTo>
                  <a:cubicBezTo>
                    <a:pt x="5212556" y="350044"/>
                    <a:pt x="5212556" y="350044"/>
                    <a:pt x="5212556" y="349091"/>
                  </a:cubicBezTo>
                  <a:cubicBezTo>
                    <a:pt x="5212556" y="347186"/>
                    <a:pt x="5213509" y="345281"/>
                    <a:pt x="5214462" y="343376"/>
                  </a:cubicBezTo>
                  <a:cubicBezTo>
                    <a:pt x="5213509" y="343376"/>
                    <a:pt x="5213509" y="343376"/>
                    <a:pt x="5214462" y="343376"/>
                  </a:cubicBezTo>
                  <a:close/>
                  <a:moveTo>
                    <a:pt x="5211604" y="290989"/>
                  </a:moveTo>
                  <a:cubicBezTo>
                    <a:pt x="5211604" y="290989"/>
                    <a:pt x="5211604" y="291941"/>
                    <a:pt x="5211604" y="290989"/>
                  </a:cubicBezTo>
                  <a:cubicBezTo>
                    <a:pt x="5212556" y="292894"/>
                    <a:pt x="5212556" y="294799"/>
                    <a:pt x="5213509" y="296704"/>
                  </a:cubicBezTo>
                  <a:cubicBezTo>
                    <a:pt x="5212556" y="298609"/>
                    <a:pt x="5211604" y="300514"/>
                    <a:pt x="5210651" y="302419"/>
                  </a:cubicBezTo>
                  <a:cubicBezTo>
                    <a:pt x="5211604" y="297656"/>
                    <a:pt x="5211604" y="293846"/>
                    <a:pt x="5211604" y="290989"/>
                  </a:cubicBezTo>
                  <a:close/>
                  <a:moveTo>
                    <a:pt x="5189696" y="260509"/>
                  </a:moveTo>
                  <a:cubicBezTo>
                    <a:pt x="5189696" y="261461"/>
                    <a:pt x="5189696" y="263366"/>
                    <a:pt x="5189696" y="264319"/>
                  </a:cubicBezTo>
                  <a:cubicBezTo>
                    <a:pt x="5188744" y="262414"/>
                    <a:pt x="5187792" y="260509"/>
                    <a:pt x="5186839" y="258604"/>
                  </a:cubicBezTo>
                  <a:cubicBezTo>
                    <a:pt x="5186839" y="258604"/>
                    <a:pt x="5186839" y="257651"/>
                    <a:pt x="5187792" y="257651"/>
                  </a:cubicBezTo>
                  <a:cubicBezTo>
                    <a:pt x="5188744" y="255746"/>
                    <a:pt x="5189696" y="254794"/>
                    <a:pt x="5189696" y="253841"/>
                  </a:cubicBezTo>
                  <a:cubicBezTo>
                    <a:pt x="5189696" y="255746"/>
                    <a:pt x="5189696" y="258604"/>
                    <a:pt x="5189696" y="260509"/>
                  </a:cubicBezTo>
                  <a:close/>
                  <a:moveTo>
                    <a:pt x="5178267" y="230981"/>
                  </a:moveTo>
                  <a:cubicBezTo>
                    <a:pt x="5181124" y="223361"/>
                    <a:pt x="5184934" y="217646"/>
                    <a:pt x="5186839" y="213836"/>
                  </a:cubicBezTo>
                  <a:cubicBezTo>
                    <a:pt x="5187792" y="212884"/>
                    <a:pt x="5187792" y="210979"/>
                    <a:pt x="5188744" y="210026"/>
                  </a:cubicBezTo>
                  <a:cubicBezTo>
                    <a:pt x="5188744" y="212884"/>
                    <a:pt x="5188744" y="215741"/>
                    <a:pt x="5188744" y="219551"/>
                  </a:cubicBezTo>
                  <a:cubicBezTo>
                    <a:pt x="5188744" y="230029"/>
                    <a:pt x="5188744" y="241459"/>
                    <a:pt x="5188744" y="254794"/>
                  </a:cubicBezTo>
                  <a:cubicBezTo>
                    <a:pt x="5187792" y="255746"/>
                    <a:pt x="5186839" y="256699"/>
                    <a:pt x="5185887" y="258604"/>
                  </a:cubicBezTo>
                  <a:cubicBezTo>
                    <a:pt x="5185887" y="258604"/>
                    <a:pt x="5185887" y="258604"/>
                    <a:pt x="5185887" y="258604"/>
                  </a:cubicBezTo>
                  <a:cubicBezTo>
                    <a:pt x="5183029" y="252889"/>
                    <a:pt x="5180171" y="248126"/>
                    <a:pt x="5178267" y="243364"/>
                  </a:cubicBezTo>
                  <a:cubicBezTo>
                    <a:pt x="5177314" y="241459"/>
                    <a:pt x="5176362" y="240506"/>
                    <a:pt x="5175409" y="238601"/>
                  </a:cubicBezTo>
                  <a:cubicBezTo>
                    <a:pt x="5176362" y="234791"/>
                    <a:pt x="5177314" y="232886"/>
                    <a:pt x="5178267" y="230981"/>
                  </a:cubicBezTo>
                  <a:close/>
                  <a:moveTo>
                    <a:pt x="5168742" y="238601"/>
                  </a:moveTo>
                  <a:cubicBezTo>
                    <a:pt x="5168742" y="239554"/>
                    <a:pt x="5168742" y="239554"/>
                    <a:pt x="5168742" y="238601"/>
                  </a:cubicBezTo>
                  <a:cubicBezTo>
                    <a:pt x="5168742" y="239554"/>
                    <a:pt x="5168742" y="239554"/>
                    <a:pt x="5168742" y="238601"/>
                  </a:cubicBezTo>
                  <a:cubicBezTo>
                    <a:pt x="5168742" y="239554"/>
                    <a:pt x="5168742" y="239554"/>
                    <a:pt x="5168742" y="238601"/>
                  </a:cubicBezTo>
                  <a:close/>
                  <a:moveTo>
                    <a:pt x="5166837" y="280511"/>
                  </a:moveTo>
                  <a:cubicBezTo>
                    <a:pt x="5166837" y="272891"/>
                    <a:pt x="5167789" y="266224"/>
                    <a:pt x="5167789" y="259556"/>
                  </a:cubicBezTo>
                  <a:cubicBezTo>
                    <a:pt x="5167789" y="259556"/>
                    <a:pt x="5167789" y="259556"/>
                    <a:pt x="5167789" y="259556"/>
                  </a:cubicBezTo>
                  <a:cubicBezTo>
                    <a:pt x="5168742" y="255746"/>
                    <a:pt x="5170646" y="251936"/>
                    <a:pt x="5171599" y="248126"/>
                  </a:cubicBezTo>
                  <a:cubicBezTo>
                    <a:pt x="5173504" y="252889"/>
                    <a:pt x="5175409" y="257651"/>
                    <a:pt x="5177314" y="263366"/>
                  </a:cubicBezTo>
                  <a:cubicBezTo>
                    <a:pt x="5178267" y="264319"/>
                    <a:pt x="5178267" y="266224"/>
                    <a:pt x="5179219" y="267176"/>
                  </a:cubicBezTo>
                  <a:cubicBezTo>
                    <a:pt x="5178267" y="268129"/>
                    <a:pt x="5177314" y="270034"/>
                    <a:pt x="5176362" y="271939"/>
                  </a:cubicBezTo>
                  <a:cubicBezTo>
                    <a:pt x="5173504" y="275749"/>
                    <a:pt x="5170646" y="281464"/>
                    <a:pt x="5166837" y="287179"/>
                  </a:cubicBezTo>
                  <a:cubicBezTo>
                    <a:pt x="5166837" y="283369"/>
                    <a:pt x="5166837" y="281464"/>
                    <a:pt x="5166837" y="280511"/>
                  </a:cubicBezTo>
                  <a:close/>
                  <a:moveTo>
                    <a:pt x="5166837" y="307181"/>
                  </a:moveTo>
                  <a:cubicBezTo>
                    <a:pt x="5167789" y="303371"/>
                    <a:pt x="5168742" y="299561"/>
                    <a:pt x="5170646" y="296704"/>
                  </a:cubicBezTo>
                  <a:cubicBezTo>
                    <a:pt x="5170646" y="295751"/>
                    <a:pt x="5171599" y="294799"/>
                    <a:pt x="5171599" y="293846"/>
                  </a:cubicBezTo>
                  <a:cubicBezTo>
                    <a:pt x="5173504" y="291941"/>
                    <a:pt x="5175409" y="290036"/>
                    <a:pt x="5176362" y="289084"/>
                  </a:cubicBezTo>
                  <a:cubicBezTo>
                    <a:pt x="5179219" y="286226"/>
                    <a:pt x="5181124" y="284321"/>
                    <a:pt x="5181124" y="284321"/>
                  </a:cubicBezTo>
                  <a:cubicBezTo>
                    <a:pt x="5181124" y="284321"/>
                    <a:pt x="5179219" y="285274"/>
                    <a:pt x="5175409" y="288131"/>
                  </a:cubicBezTo>
                  <a:cubicBezTo>
                    <a:pt x="5174456" y="289084"/>
                    <a:pt x="5173504" y="289084"/>
                    <a:pt x="5172551" y="290036"/>
                  </a:cubicBezTo>
                  <a:cubicBezTo>
                    <a:pt x="5175409" y="283369"/>
                    <a:pt x="5177314" y="277654"/>
                    <a:pt x="5179219" y="272891"/>
                  </a:cubicBezTo>
                  <a:cubicBezTo>
                    <a:pt x="5179219" y="271939"/>
                    <a:pt x="5180171" y="270986"/>
                    <a:pt x="5180171" y="270034"/>
                  </a:cubicBezTo>
                  <a:cubicBezTo>
                    <a:pt x="5182076" y="273844"/>
                    <a:pt x="5183029" y="276701"/>
                    <a:pt x="5184934" y="280511"/>
                  </a:cubicBezTo>
                  <a:cubicBezTo>
                    <a:pt x="5186839" y="284321"/>
                    <a:pt x="5188744" y="289084"/>
                    <a:pt x="5190649" y="292894"/>
                  </a:cubicBezTo>
                  <a:cubicBezTo>
                    <a:pt x="5190649" y="294799"/>
                    <a:pt x="5190649" y="296704"/>
                    <a:pt x="5190649" y="298609"/>
                  </a:cubicBezTo>
                  <a:cubicBezTo>
                    <a:pt x="5191601" y="308134"/>
                    <a:pt x="5191601" y="318611"/>
                    <a:pt x="5192554" y="330041"/>
                  </a:cubicBezTo>
                  <a:cubicBezTo>
                    <a:pt x="5192554" y="331946"/>
                    <a:pt x="5192554" y="333851"/>
                    <a:pt x="5192554" y="335756"/>
                  </a:cubicBezTo>
                  <a:cubicBezTo>
                    <a:pt x="5192554" y="335756"/>
                    <a:pt x="5192554" y="336709"/>
                    <a:pt x="5192554" y="336709"/>
                  </a:cubicBezTo>
                  <a:cubicBezTo>
                    <a:pt x="5192554" y="337661"/>
                    <a:pt x="5191601" y="337661"/>
                    <a:pt x="5191601" y="338614"/>
                  </a:cubicBezTo>
                  <a:cubicBezTo>
                    <a:pt x="5190649" y="341471"/>
                    <a:pt x="5188744" y="345281"/>
                    <a:pt x="5187792" y="348139"/>
                  </a:cubicBezTo>
                  <a:cubicBezTo>
                    <a:pt x="5185887" y="324326"/>
                    <a:pt x="5183981" y="309086"/>
                    <a:pt x="5183981" y="309086"/>
                  </a:cubicBezTo>
                  <a:cubicBezTo>
                    <a:pt x="5183981" y="309086"/>
                    <a:pt x="5180171" y="324326"/>
                    <a:pt x="5177314" y="348139"/>
                  </a:cubicBezTo>
                  <a:cubicBezTo>
                    <a:pt x="5177314" y="350044"/>
                    <a:pt x="5176362" y="352901"/>
                    <a:pt x="5176362" y="354806"/>
                  </a:cubicBezTo>
                  <a:cubicBezTo>
                    <a:pt x="5175409" y="352901"/>
                    <a:pt x="5174456" y="350996"/>
                    <a:pt x="5174456" y="349091"/>
                  </a:cubicBezTo>
                  <a:cubicBezTo>
                    <a:pt x="5173504" y="346234"/>
                    <a:pt x="5172551" y="344329"/>
                    <a:pt x="5171599" y="341471"/>
                  </a:cubicBezTo>
                  <a:cubicBezTo>
                    <a:pt x="5172551" y="336709"/>
                    <a:pt x="5173504" y="332899"/>
                    <a:pt x="5173504" y="328136"/>
                  </a:cubicBezTo>
                  <a:cubicBezTo>
                    <a:pt x="5172551" y="331946"/>
                    <a:pt x="5171599" y="334804"/>
                    <a:pt x="5169694" y="338614"/>
                  </a:cubicBezTo>
                  <a:cubicBezTo>
                    <a:pt x="5168742" y="337661"/>
                    <a:pt x="5168742" y="335756"/>
                    <a:pt x="5167789" y="334804"/>
                  </a:cubicBezTo>
                  <a:cubicBezTo>
                    <a:pt x="5166837" y="327184"/>
                    <a:pt x="5166837" y="320516"/>
                    <a:pt x="5165884" y="312896"/>
                  </a:cubicBezTo>
                  <a:cubicBezTo>
                    <a:pt x="5166837" y="310991"/>
                    <a:pt x="5166837" y="309086"/>
                    <a:pt x="5166837" y="307181"/>
                  </a:cubicBezTo>
                  <a:close/>
                  <a:moveTo>
                    <a:pt x="5161121" y="218599"/>
                  </a:moveTo>
                  <a:cubicBezTo>
                    <a:pt x="5162074" y="221456"/>
                    <a:pt x="5163979" y="225266"/>
                    <a:pt x="5164931" y="229076"/>
                  </a:cubicBezTo>
                  <a:cubicBezTo>
                    <a:pt x="5163979" y="234791"/>
                    <a:pt x="5162074" y="240506"/>
                    <a:pt x="5161121" y="248126"/>
                  </a:cubicBezTo>
                  <a:cubicBezTo>
                    <a:pt x="5160169" y="232886"/>
                    <a:pt x="5158264" y="218599"/>
                    <a:pt x="5157312" y="206216"/>
                  </a:cubicBezTo>
                  <a:cubicBezTo>
                    <a:pt x="5158264" y="209074"/>
                    <a:pt x="5159217" y="213836"/>
                    <a:pt x="5161121" y="218599"/>
                  </a:cubicBezTo>
                  <a:close/>
                  <a:moveTo>
                    <a:pt x="5148739" y="256699"/>
                  </a:moveTo>
                  <a:cubicBezTo>
                    <a:pt x="5148739" y="255746"/>
                    <a:pt x="5149692" y="255746"/>
                    <a:pt x="5149692" y="255746"/>
                  </a:cubicBezTo>
                  <a:cubicBezTo>
                    <a:pt x="5149692" y="264319"/>
                    <a:pt x="5149692" y="273844"/>
                    <a:pt x="5149692" y="283369"/>
                  </a:cubicBezTo>
                  <a:cubicBezTo>
                    <a:pt x="5149692" y="283369"/>
                    <a:pt x="5149692" y="284321"/>
                    <a:pt x="5149692" y="284321"/>
                  </a:cubicBezTo>
                  <a:cubicBezTo>
                    <a:pt x="5147787" y="276701"/>
                    <a:pt x="5144929" y="270034"/>
                    <a:pt x="5143024" y="263366"/>
                  </a:cubicBezTo>
                  <a:cubicBezTo>
                    <a:pt x="5145881" y="261461"/>
                    <a:pt x="5147787" y="258604"/>
                    <a:pt x="5148739" y="256699"/>
                  </a:cubicBezTo>
                  <a:close/>
                  <a:moveTo>
                    <a:pt x="5087779" y="317659"/>
                  </a:moveTo>
                  <a:cubicBezTo>
                    <a:pt x="5087779" y="316706"/>
                    <a:pt x="5087779" y="316706"/>
                    <a:pt x="5087779" y="315754"/>
                  </a:cubicBezTo>
                  <a:cubicBezTo>
                    <a:pt x="5087779" y="316706"/>
                    <a:pt x="5087779" y="316706"/>
                    <a:pt x="5087779" y="317659"/>
                  </a:cubicBezTo>
                  <a:cubicBezTo>
                    <a:pt x="5087779" y="317659"/>
                    <a:pt x="5087779" y="317659"/>
                    <a:pt x="5087779" y="317659"/>
                  </a:cubicBezTo>
                  <a:close/>
                  <a:moveTo>
                    <a:pt x="5122069" y="298609"/>
                  </a:moveTo>
                  <a:cubicBezTo>
                    <a:pt x="5123974" y="294799"/>
                    <a:pt x="5126831" y="290989"/>
                    <a:pt x="5128737" y="287179"/>
                  </a:cubicBezTo>
                  <a:cubicBezTo>
                    <a:pt x="5127784" y="298609"/>
                    <a:pt x="5125879" y="311944"/>
                    <a:pt x="5124926" y="327184"/>
                  </a:cubicBezTo>
                  <a:cubicBezTo>
                    <a:pt x="5123974" y="324326"/>
                    <a:pt x="5122069" y="321469"/>
                    <a:pt x="5121117" y="318611"/>
                  </a:cubicBezTo>
                  <a:cubicBezTo>
                    <a:pt x="5119212" y="314801"/>
                    <a:pt x="5118259" y="311944"/>
                    <a:pt x="5117306" y="308134"/>
                  </a:cubicBezTo>
                  <a:cubicBezTo>
                    <a:pt x="5118259" y="304324"/>
                    <a:pt x="5120164" y="301466"/>
                    <a:pt x="5122069" y="298609"/>
                  </a:cubicBezTo>
                  <a:close/>
                  <a:moveTo>
                    <a:pt x="5110639" y="321469"/>
                  </a:moveTo>
                  <a:cubicBezTo>
                    <a:pt x="5110639" y="321469"/>
                    <a:pt x="5110639" y="321469"/>
                    <a:pt x="5110639" y="321469"/>
                  </a:cubicBezTo>
                  <a:cubicBezTo>
                    <a:pt x="5113496" y="329089"/>
                    <a:pt x="5115401" y="336709"/>
                    <a:pt x="5118259" y="344329"/>
                  </a:cubicBezTo>
                  <a:cubicBezTo>
                    <a:pt x="5117306" y="345281"/>
                    <a:pt x="5117306" y="346234"/>
                    <a:pt x="5116354" y="347186"/>
                  </a:cubicBezTo>
                  <a:cubicBezTo>
                    <a:pt x="5115401" y="348139"/>
                    <a:pt x="5115401" y="349091"/>
                    <a:pt x="5114449" y="349091"/>
                  </a:cubicBezTo>
                  <a:cubicBezTo>
                    <a:pt x="5113496" y="344329"/>
                    <a:pt x="5111592" y="339566"/>
                    <a:pt x="5110639" y="335756"/>
                  </a:cubicBezTo>
                  <a:cubicBezTo>
                    <a:pt x="5109687" y="332899"/>
                    <a:pt x="5108734" y="330041"/>
                    <a:pt x="5107781" y="327184"/>
                  </a:cubicBezTo>
                  <a:cubicBezTo>
                    <a:pt x="5108734" y="325279"/>
                    <a:pt x="5109687" y="323374"/>
                    <a:pt x="5110639" y="321469"/>
                  </a:cubicBezTo>
                  <a:close/>
                  <a:moveTo>
                    <a:pt x="5105876" y="308134"/>
                  </a:moveTo>
                  <a:cubicBezTo>
                    <a:pt x="5104924" y="309086"/>
                    <a:pt x="5103971" y="310991"/>
                    <a:pt x="5103019" y="311944"/>
                  </a:cubicBezTo>
                  <a:cubicBezTo>
                    <a:pt x="5102067" y="310039"/>
                    <a:pt x="5102067" y="308134"/>
                    <a:pt x="5101114" y="306229"/>
                  </a:cubicBezTo>
                  <a:cubicBezTo>
                    <a:pt x="5101114" y="305276"/>
                    <a:pt x="5101114" y="304324"/>
                    <a:pt x="5101114" y="304324"/>
                  </a:cubicBezTo>
                  <a:cubicBezTo>
                    <a:pt x="5101114" y="304324"/>
                    <a:pt x="5101114" y="304324"/>
                    <a:pt x="5101114" y="305276"/>
                  </a:cubicBezTo>
                  <a:cubicBezTo>
                    <a:pt x="5099209" y="299561"/>
                    <a:pt x="5098256" y="293846"/>
                    <a:pt x="5096351" y="288131"/>
                  </a:cubicBezTo>
                  <a:cubicBezTo>
                    <a:pt x="5096351" y="285274"/>
                    <a:pt x="5097304" y="282416"/>
                    <a:pt x="5097304" y="281464"/>
                  </a:cubicBezTo>
                  <a:cubicBezTo>
                    <a:pt x="5100162" y="290989"/>
                    <a:pt x="5103019" y="299561"/>
                    <a:pt x="5105876" y="308134"/>
                  </a:cubicBezTo>
                  <a:close/>
                  <a:moveTo>
                    <a:pt x="5097304" y="282416"/>
                  </a:moveTo>
                  <a:cubicBezTo>
                    <a:pt x="5097304" y="283369"/>
                    <a:pt x="5096351" y="284321"/>
                    <a:pt x="5095399" y="286226"/>
                  </a:cubicBezTo>
                  <a:cubicBezTo>
                    <a:pt x="5094446" y="284321"/>
                    <a:pt x="5094446" y="281464"/>
                    <a:pt x="5093494" y="279559"/>
                  </a:cubicBezTo>
                  <a:cubicBezTo>
                    <a:pt x="5091589" y="271939"/>
                    <a:pt x="5089684" y="265271"/>
                    <a:pt x="5087779" y="258604"/>
                  </a:cubicBezTo>
                  <a:cubicBezTo>
                    <a:pt x="5087779" y="258604"/>
                    <a:pt x="5088731" y="257651"/>
                    <a:pt x="5089684" y="257651"/>
                  </a:cubicBezTo>
                  <a:cubicBezTo>
                    <a:pt x="5092542" y="265271"/>
                    <a:pt x="5094446" y="273844"/>
                    <a:pt x="5097304" y="282416"/>
                  </a:cubicBezTo>
                  <a:close/>
                  <a:moveTo>
                    <a:pt x="5080159" y="224314"/>
                  </a:moveTo>
                  <a:cubicBezTo>
                    <a:pt x="5081112" y="228124"/>
                    <a:pt x="5083969" y="238601"/>
                    <a:pt x="5089684" y="254794"/>
                  </a:cubicBezTo>
                  <a:cubicBezTo>
                    <a:pt x="5089684" y="254794"/>
                    <a:pt x="5088731" y="254794"/>
                    <a:pt x="5087779" y="254794"/>
                  </a:cubicBezTo>
                  <a:cubicBezTo>
                    <a:pt x="5085874" y="245269"/>
                    <a:pt x="5083017" y="236696"/>
                    <a:pt x="5081112" y="228124"/>
                  </a:cubicBezTo>
                  <a:cubicBezTo>
                    <a:pt x="5081112" y="228124"/>
                    <a:pt x="5080159" y="227171"/>
                    <a:pt x="5080159" y="224314"/>
                  </a:cubicBezTo>
                  <a:cubicBezTo>
                    <a:pt x="5080159" y="225266"/>
                    <a:pt x="5080159" y="225266"/>
                    <a:pt x="5080159" y="224314"/>
                  </a:cubicBezTo>
                  <a:close/>
                  <a:moveTo>
                    <a:pt x="5076349" y="272891"/>
                  </a:moveTo>
                  <a:cubicBezTo>
                    <a:pt x="5076349" y="270986"/>
                    <a:pt x="5076349" y="270034"/>
                    <a:pt x="5076349" y="268129"/>
                  </a:cubicBezTo>
                  <a:cubicBezTo>
                    <a:pt x="5077301" y="272891"/>
                    <a:pt x="5078254" y="277654"/>
                    <a:pt x="5079206" y="283369"/>
                  </a:cubicBezTo>
                  <a:cubicBezTo>
                    <a:pt x="5080159" y="289084"/>
                    <a:pt x="5082064" y="295751"/>
                    <a:pt x="5083017" y="301466"/>
                  </a:cubicBezTo>
                  <a:cubicBezTo>
                    <a:pt x="5083017" y="302419"/>
                    <a:pt x="5083017" y="303371"/>
                    <a:pt x="5083017" y="304324"/>
                  </a:cubicBezTo>
                  <a:cubicBezTo>
                    <a:pt x="5083017" y="306229"/>
                    <a:pt x="5082064" y="309086"/>
                    <a:pt x="5082064" y="311944"/>
                  </a:cubicBezTo>
                  <a:cubicBezTo>
                    <a:pt x="5079206" y="305276"/>
                    <a:pt x="5076349" y="298609"/>
                    <a:pt x="5073492" y="292894"/>
                  </a:cubicBezTo>
                  <a:cubicBezTo>
                    <a:pt x="5074444" y="285274"/>
                    <a:pt x="5075396" y="278606"/>
                    <a:pt x="5076349" y="272891"/>
                  </a:cubicBezTo>
                  <a:close/>
                  <a:moveTo>
                    <a:pt x="5066824" y="377666"/>
                  </a:moveTo>
                  <a:cubicBezTo>
                    <a:pt x="5066824" y="378619"/>
                    <a:pt x="5066824" y="379571"/>
                    <a:pt x="5066824" y="380524"/>
                  </a:cubicBezTo>
                  <a:cubicBezTo>
                    <a:pt x="5066824" y="381476"/>
                    <a:pt x="5066824" y="382429"/>
                    <a:pt x="5066824" y="383381"/>
                  </a:cubicBezTo>
                  <a:cubicBezTo>
                    <a:pt x="5066824" y="383381"/>
                    <a:pt x="5066824" y="384334"/>
                    <a:pt x="5065871" y="384334"/>
                  </a:cubicBezTo>
                  <a:cubicBezTo>
                    <a:pt x="5065871" y="383381"/>
                    <a:pt x="5064919" y="382429"/>
                    <a:pt x="5064919" y="381476"/>
                  </a:cubicBezTo>
                  <a:cubicBezTo>
                    <a:pt x="5065871" y="380524"/>
                    <a:pt x="5065871" y="379571"/>
                    <a:pt x="5066824" y="377666"/>
                  </a:cubicBezTo>
                  <a:close/>
                  <a:moveTo>
                    <a:pt x="5057299" y="303371"/>
                  </a:moveTo>
                  <a:cubicBezTo>
                    <a:pt x="5055394" y="300514"/>
                    <a:pt x="5053489" y="297656"/>
                    <a:pt x="5051584" y="294799"/>
                  </a:cubicBezTo>
                  <a:cubicBezTo>
                    <a:pt x="5051584" y="293846"/>
                    <a:pt x="5051584" y="291941"/>
                    <a:pt x="5052537" y="290989"/>
                  </a:cubicBezTo>
                  <a:cubicBezTo>
                    <a:pt x="5053489" y="290036"/>
                    <a:pt x="5054442" y="288131"/>
                    <a:pt x="5055394" y="287179"/>
                  </a:cubicBezTo>
                  <a:cubicBezTo>
                    <a:pt x="5056346" y="291941"/>
                    <a:pt x="5056346" y="297656"/>
                    <a:pt x="5057299" y="303371"/>
                  </a:cubicBezTo>
                  <a:close/>
                  <a:moveTo>
                    <a:pt x="5050631" y="252889"/>
                  </a:moveTo>
                  <a:cubicBezTo>
                    <a:pt x="5051584" y="254794"/>
                    <a:pt x="5051584" y="256699"/>
                    <a:pt x="5052537" y="258604"/>
                  </a:cubicBezTo>
                  <a:cubicBezTo>
                    <a:pt x="5052537" y="259556"/>
                    <a:pt x="5052537" y="260509"/>
                    <a:pt x="5053489" y="260509"/>
                  </a:cubicBezTo>
                  <a:cubicBezTo>
                    <a:pt x="5053489" y="262414"/>
                    <a:pt x="5053489" y="265271"/>
                    <a:pt x="5054442" y="268129"/>
                  </a:cubicBezTo>
                  <a:cubicBezTo>
                    <a:pt x="5053489" y="270034"/>
                    <a:pt x="5053489" y="271939"/>
                    <a:pt x="5052537" y="273844"/>
                  </a:cubicBezTo>
                  <a:cubicBezTo>
                    <a:pt x="5052537" y="274796"/>
                    <a:pt x="5051584" y="275749"/>
                    <a:pt x="5051584" y="276701"/>
                  </a:cubicBezTo>
                  <a:cubicBezTo>
                    <a:pt x="5050631" y="277654"/>
                    <a:pt x="5049679" y="278606"/>
                    <a:pt x="5048726" y="279559"/>
                  </a:cubicBezTo>
                  <a:cubicBezTo>
                    <a:pt x="5048726" y="279559"/>
                    <a:pt x="5048726" y="278606"/>
                    <a:pt x="5048726" y="278606"/>
                  </a:cubicBezTo>
                  <a:cubicBezTo>
                    <a:pt x="5048726" y="277654"/>
                    <a:pt x="5048726" y="275749"/>
                    <a:pt x="5048726" y="274796"/>
                  </a:cubicBezTo>
                  <a:cubicBezTo>
                    <a:pt x="5048726" y="271939"/>
                    <a:pt x="5048726" y="270034"/>
                    <a:pt x="5049679" y="268129"/>
                  </a:cubicBezTo>
                  <a:cubicBezTo>
                    <a:pt x="5049679" y="264319"/>
                    <a:pt x="5050631" y="262414"/>
                    <a:pt x="5050631" y="262414"/>
                  </a:cubicBezTo>
                  <a:cubicBezTo>
                    <a:pt x="5050631" y="262414"/>
                    <a:pt x="5049679" y="264319"/>
                    <a:pt x="5048726" y="268129"/>
                  </a:cubicBezTo>
                  <a:cubicBezTo>
                    <a:pt x="5048726" y="268129"/>
                    <a:pt x="5048726" y="269081"/>
                    <a:pt x="5048726" y="269081"/>
                  </a:cubicBezTo>
                  <a:cubicBezTo>
                    <a:pt x="5048726" y="268129"/>
                    <a:pt x="5048726" y="267176"/>
                    <a:pt x="5048726" y="266224"/>
                  </a:cubicBezTo>
                  <a:cubicBezTo>
                    <a:pt x="5048726" y="260509"/>
                    <a:pt x="5049679" y="256699"/>
                    <a:pt x="5050631" y="252889"/>
                  </a:cubicBezTo>
                  <a:close/>
                  <a:moveTo>
                    <a:pt x="5020151" y="390049"/>
                  </a:moveTo>
                  <a:cubicBezTo>
                    <a:pt x="5018246" y="385286"/>
                    <a:pt x="5016342" y="380524"/>
                    <a:pt x="5014437" y="376714"/>
                  </a:cubicBezTo>
                  <a:cubicBezTo>
                    <a:pt x="5014437" y="376714"/>
                    <a:pt x="5014437" y="375761"/>
                    <a:pt x="5014437" y="375761"/>
                  </a:cubicBezTo>
                  <a:cubicBezTo>
                    <a:pt x="5017294" y="365284"/>
                    <a:pt x="5020151" y="355759"/>
                    <a:pt x="5022056" y="347186"/>
                  </a:cubicBezTo>
                  <a:cubicBezTo>
                    <a:pt x="5022056" y="347186"/>
                    <a:pt x="5022056" y="348139"/>
                    <a:pt x="5022056" y="348139"/>
                  </a:cubicBezTo>
                  <a:cubicBezTo>
                    <a:pt x="5022056" y="352901"/>
                    <a:pt x="5022056" y="357664"/>
                    <a:pt x="5022056" y="363379"/>
                  </a:cubicBezTo>
                  <a:cubicBezTo>
                    <a:pt x="5022056" y="368141"/>
                    <a:pt x="5023009" y="373856"/>
                    <a:pt x="5023009" y="379571"/>
                  </a:cubicBezTo>
                  <a:cubicBezTo>
                    <a:pt x="5023009" y="381476"/>
                    <a:pt x="5023009" y="384334"/>
                    <a:pt x="5023962" y="386239"/>
                  </a:cubicBezTo>
                  <a:cubicBezTo>
                    <a:pt x="5023009" y="386239"/>
                    <a:pt x="5022056" y="388144"/>
                    <a:pt x="5020151" y="390049"/>
                  </a:cubicBezTo>
                  <a:close/>
                  <a:moveTo>
                    <a:pt x="5024914" y="400526"/>
                  </a:moveTo>
                  <a:cubicBezTo>
                    <a:pt x="5024914" y="400526"/>
                    <a:pt x="5024914" y="400526"/>
                    <a:pt x="5024914" y="400526"/>
                  </a:cubicBezTo>
                  <a:cubicBezTo>
                    <a:pt x="5024914" y="400526"/>
                    <a:pt x="5024914" y="400526"/>
                    <a:pt x="5024914" y="400526"/>
                  </a:cubicBezTo>
                  <a:cubicBezTo>
                    <a:pt x="5024914" y="400526"/>
                    <a:pt x="5024914" y="400526"/>
                    <a:pt x="5024914" y="400526"/>
                  </a:cubicBezTo>
                  <a:close/>
                  <a:moveTo>
                    <a:pt x="5035392" y="314801"/>
                  </a:moveTo>
                  <a:cubicBezTo>
                    <a:pt x="5035392" y="315754"/>
                    <a:pt x="5035392" y="316706"/>
                    <a:pt x="5035392" y="317659"/>
                  </a:cubicBezTo>
                  <a:cubicBezTo>
                    <a:pt x="5034439" y="329089"/>
                    <a:pt x="5032534" y="341471"/>
                    <a:pt x="5031581" y="353854"/>
                  </a:cubicBezTo>
                  <a:cubicBezTo>
                    <a:pt x="5031581" y="353854"/>
                    <a:pt x="5031581" y="353854"/>
                    <a:pt x="5031581" y="353854"/>
                  </a:cubicBezTo>
                  <a:cubicBezTo>
                    <a:pt x="5031581" y="353854"/>
                    <a:pt x="5031581" y="354806"/>
                    <a:pt x="5031581" y="354806"/>
                  </a:cubicBezTo>
                  <a:cubicBezTo>
                    <a:pt x="5031581" y="351949"/>
                    <a:pt x="5030629" y="349091"/>
                    <a:pt x="5030629" y="347186"/>
                  </a:cubicBezTo>
                  <a:cubicBezTo>
                    <a:pt x="5029676" y="340519"/>
                    <a:pt x="5028724" y="334804"/>
                    <a:pt x="5027771" y="329089"/>
                  </a:cubicBezTo>
                  <a:cubicBezTo>
                    <a:pt x="5027771" y="328136"/>
                    <a:pt x="5028724" y="326231"/>
                    <a:pt x="5028724" y="325279"/>
                  </a:cubicBezTo>
                  <a:cubicBezTo>
                    <a:pt x="5029676" y="323374"/>
                    <a:pt x="5030629" y="321469"/>
                    <a:pt x="5032534" y="319564"/>
                  </a:cubicBezTo>
                  <a:cubicBezTo>
                    <a:pt x="5033487" y="317659"/>
                    <a:pt x="5034439" y="315754"/>
                    <a:pt x="5035392" y="314801"/>
                  </a:cubicBezTo>
                  <a:close/>
                  <a:moveTo>
                    <a:pt x="5006817" y="242411"/>
                  </a:moveTo>
                  <a:cubicBezTo>
                    <a:pt x="5009674" y="246221"/>
                    <a:pt x="5013484" y="251936"/>
                    <a:pt x="5019199" y="259556"/>
                  </a:cubicBezTo>
                  <a:cubicBezTo>
                    <a:pt x="5022056" y="262414"/>
                    <a:pt x="5023962" y="266224"/>
                    <a:pt x="5025867" y="270034"/>
                  </a:cubicBezTo>
                  <a:cubicBezTo>
                    <a:pt x="5023962" y="268129"/>
                    <a:pt x="5022056" y="265271"/>
                    <a:pt x="5021104" y="263366"/>
                  </a:cubicBezTo>
                  <a:cubicBezTo>
                    <a:pt x="5019199" y="260509"/>
                    <a:pt x="5016342" y="258604"/>
                    <a:pt x="5014437" y="255746"/>
                  </a:cubicBezTo>
                  <a:cubicBezTo>
                    <a:pt x="5011579" y="251936"/>
                    <a:pt x="5007769" y="249079"/>
                    <a:pt x="5004912" y="245269"/>
                  </a:cubicBezTo>
                  <a:cubicBezTo>
                    <a:pt x="5006817" y="244316"/>
                    <a:pt x="5006817" y="243364"/>
                    <a:pt x="5006817" y="242411"/>
                  </a:cubicBezTo>
                  <a:close/>
                  <a:moveTo>
                    <a:pt x="5004912" y="242411"/>
                  </a:moveTo>
                  <a:cubicBezTo>
                    <a:pt x="5004912" y="241459"/>
                    <a:pt x="5004912" y="240506"/>
                    <a:pt x="5004912" y="238601"/>
                  </a:cubicBezTo>
                  <a:cubicBezTo>
                    <a:pt x="5004912" y="238601"/>
                    <a:pt x="5005864" y="239554"/>
                    <a:pt x="5006817" y="241459"/>
                  </a:cubicBezTo>
                  <a:cubicBezTo>
                    <a:pt x="5005864" y="242411"/>
                    <a:pt x="5005864" y="243364"/>
                    <a:pt x="5004912" y="244316"/>
                  </a:cubicBezTo>
                  <a:cubicBezTo>
                    <a:pt x="5004912" y="244316"/>
                    <a:pt x="5004912" y="244316"/>
                    <a:pt x="5004912" y="243364"/>
                  </a:cubicBezTo>
                  <a:cubicBezTo>
                    <a:pt x="5003959" y="243364"/>
                    <a:pt x="5003959" y="242411"/>
                    <a:pt x="5004912" y="242411"/>
                  </a:cubicBezTo>
                  <a:close/>
                  <a:moveTo>
                    <a:pt x="4999196" y="303371"/>
                  </a:moveTo>
                  <a:cubicBezTo>
                    <a:pt x="5001101" y="285274"/>
                    <a:pt x="5002054" y="268129"/>
                    <a:pt x="5003006" y="252889"/>
                  </a:cubicBezTo>
                  <a:cubicBezTo>
                    <a:pt x="5004912" y="255746"/>
                    <a:pt x="5006817" y="257651"/>
                    <a:pt x="5008721" y="260509"/>
                  </a:cubicBezTo>
                  <a:cubicBezTo>
                    <a:pt x="5010626" y="263366"/>
                    <a:pt x="5012531" y="266224"/>
                    <a:pt x="5014437" y="268129"/>
                  </a:cubicBezTo>
                  <a:cubicBezTo>
                    <a:pt x="5016342" y="270986"/>
                    <a:pt x="5018246" y="273844"/>
                    <a:pt x="5020151" y="276701"/>
                  </a:cubicBezTo>
                  <a:cubicBezTo>
                    <a:pt x="5023009" y="281464"/>
                    <a:pt x="5026819" y="287179"/>
                    <a:pt x="5029676" y="292894"/>
                  </a:cubicBezTo>
                  <a:cubicBezTo>
                    <a:pt x="5029676" y="292894"/>
                    <a:pt x="5029676" y="293846"/>
                    <a:pt x="5029676" y="293846"/>
                  </a:cubicBezTo>
                  <a:cubicBezTo>
                    <a:pt x="5028724" y="296704"/>
                    <a:pt x="5026819" y="299561"/>
                    <a:pt x="5025867" y="302419"/>
                  </a:cubicBezTo>
                  <a:cubicBezTo>
                    <a:pt x="5024914" y="303371"/>
                    <a:pt x="5023962" y="304324"/>
                    <a:pt x="5023009" y="305276"/>
                  </a:cubicBezTo>
                  <a:cubicBezTo>
                    <a:pt x="5023009" y="302419"/>
                    <a:pt x="5022056" y="301466"/>
                    <a:pt x="5022056" y="301466"/>
                  </a:cubicBezTo>
                  <a:cubicBezTo>
                    <a:pt x="5022056" y="301466"/>
                    <a:pt x="5022056" y="303371"/>
                    <a:pt x="5022056" y="306229"/>
                  </a:cubicBezTo>
                  <a:cubicBezTo>
                    <a:pt x="5021104" y="307181"/>
                    <a:pt x="5020151" y="308134"/>
                    <a:pt x="5019199" y="309086"/>
                  </a:cubicBezTo>
                  <a:cubicBezTo>
                    <a:pt x="5017294" y="311944"/>
                    <a:pt x="5014437" y="314801"/>
                    <a:pt x="5012531" y="318611"/>
                  </a:cubicBezTo>
                  <a:cubicBezTo>
                    <a:pt x="5012531" y="316706"/>
                    <a:pt x="5013484" y="313849"/>
                    <a:pt x="5013484" y="311944"/>
                  </a:cubicBezTo>
                  <a:cubicBezTo>
                    <a:pt x="5014437" y="305276"/>
                    <a:pt x="5015389" y="299561"/>
                    <a:pt x="5017294" y="294799"/>
                  </a:cubicBezTo>
                  <a:cubicBezTo>
                    <a:pt x="5019199" y="285274"/>
                    <a:pt x="5020151" y="279559"/>
                    <a:pt x="5020151" y="279559"/>
                  </a:cubicBezTo>
                  <a:cubicBezTo>
                    <a:pt x="5020151" y="279559"/>
                    <a:pt x="5017294" y="284321"/>
                    <a:pt x="5013484" y="293846"/>
                  </a:cubicBezTo>
                  <a:cubicBezTo>
                    <a:pt x="5011579" y="298609"/>
                    <a:pt x="5008721" y="304324"/>
                    <a:pt x="5006817" y="310039"/>
                  </a:cubicBezTo>
                  <a:cubicBezTo>
                    <a:pt x="5003959" y="316706"/>
                    <a:pt x="5002054" y="324326"/>
                    <a:pt x="4999196" y="331946"/>
                  </a:cubicBezTo>
                  <a:cubicBezTo>
                    <a:pt x="4999196" y="331946"/>
                    <a:pt x="4999196" y="332899"/>
                    <a:pt x="4999196" y="332899"/>
                  </a:cubicBezTo>
                  <a:cubicBezTo>
                    <a:pt x="4998244" y="330994"/>
                    <a:pt x="4997292" y="329089"/>
                    <a:pt x="4997292" y="327184"/>
                  </a:cubicBezTo>
                  <a:cubicBezTo>
                    <a:pt x="4998244" y="320516"/>
                    <a:pt x="4998244" y="311944"/>
                    <a:pt x="4999196" y="303371"/>
                  </a:cubicBezTo>
                  <a:close/>
                  <a:moveTo>
                    <a:pt x="4968717" y="208121"/>
                  </a:moveTo>
                  <a:cubicBezTo>
                    <a:pt x="4968717" y="209074"/>
                    <a:pt x="4968717" y="210026"/>
                    <a:pt x="4967764" y="212884"/>
                  </a:cubicBezTo>
                  <a:cubicBezTo>
                    <a:pt x="4967764" y="213836"/>
                    <a:pt x="4966812" y="215741"/>
                    <a:pt x="4966812" y="217646"/>
                  </a:cubicBezTo>
                  <a:cubicBezTo>
                    <a:pt x="4966812" y="216694"/>
                    <a:pt x="4966812" y="216694"/>
                    <a:pt x="4966812" y="215741"/>
                  </a:cubicBezTo>
                  <a:cubicBezTo>
                    <a:pt x="4967764" y="213836"/>
                    <a:pt x="4968717" y="210979"/>
                    <a:pt x="4968717" y="208121"/>
                  </a:cubicBezTo>
                  <a:close/>
                  <a:moveTo>
                    <a:pt x="4960144" y="364331"/>
                  </a:moveTo>
                  <a:cubicBezTo>
                    <a:pt x="4960144" y="370046"/>
                    <a:pt x="4961096" y="375761"/>
                    <a:pt x="4961096" y="381476"/>
                  </a:cubicBezTo>
                  <a:cubicBezTo>
                    <a:pt x="4960144" y="384334"/>
                    <a:pt x="4959192" y="388144"/>
                    <a:pt x="4958239" y="391001"/>
                  </a:cubicBezTo>
                  <a:cubicBezTo>
                    <a:pt x="4958239" y="389096"/>
                    <a:pt x="4957287" y="387191"/>
                    <a:pt x="4957287" y="386239"/>
                  </a:cubicBezTo>
                  <a:cubicBezTo>
                    <a:pt x="4957287" y="384334"/>
                    <a:pt x="4957287" y="382429"/>
                    <a:pt x="4957287" y="380524"/>
                  </a:cubicBezTo>
                  <a:cubicBezTo>
                    <a:pt x="4957287" y="371951"/>
                    <a:pt x="4957287" y="363379"/>
                    <a:pt x="4956334" y="356711"/>
                  </a:cubicBezTo>
                  <a:cubicBezTo>
                    <a:pt x="4956334" y="354806"/>
                    <a:pt x="4956334" y="353854"/>
                    <a:pt x="4956334" y="351949"/>
                  </a:cubicBezTo>
                  <a:cubicBezTo>
                    <a:pt x="4957287" y="350996"/>
                    <a:pt x="4958239" y="349091"/>
                    <a:pt x="4958239" y="348139"/>
                  </a:cubicBezTo>
                  <a:cubicBezTo>
                    <a:pt x="4959192" y="352901"/>
                    <a:pt x="4959192" y="358616"/>
                    <a:pt x="4960144" y="364331"/>
                  </a:cubicBezTo>
                  <a:close/>
                  <a:moveTo>
                    <a:pt x="4957287" y="256699"/>
                  </a:moveTo>
                  <a:cubicBezTo>
                    <a:pt x="4957287" y="257651"/>
                    <a:pt x="4957287" y="258604"/>
                    <a:pt x="4957287" y="258604"/>
                  </a:cubicBezTo>
                  <a:cubicBezTo>
                    <a:pt x="4957287" y="258604"/>
                    <a:pt x="4957287" y="259556"/>
                    <a:pt x="4957287" y="259556"/>
                  </a:cubicBezTo>
                  <a:cubicBezTo>
                    <a:pt x="4956334" y="262414"/>
                    <a:pt x="4956334" y="264319"/>
                    <a:pt x="4955381" y="267176"/>
                  </a:cubicBezTo>
                  <a:cubicBezTo>
                    <a:pt x="4955381" y="266224"/>
                    <a:pt x="4954429" y="266224"/>
                    <a:pt x="4954429" y="265271"/>
                  </a:cubicBezTo>
                  <a:cubicBezTo>
                    <a:pt x="4955381" y="263366"/>
                    <a:pt x="4956334" y="259556"/>
                    <a:pt x="4957287" y="256699"/>
                  </a:cubicBezTo>
                  <a:close/>
                  <a:moveTo>
                    <a:pt x="4954429" y="268129"/>
                  </a:moveTo>
                  <a:cubicBezTo>
                    <a:pt x="4954429" y="269081"/>
                    <a:pt x="4955381" y="270034"/>
                    <a:pt x="4955381" y="270986"/>
                  </a:cubicBezTo>
                  <a:cubicBezTo>
                    <a:pt x="4954429" y="276701"/>
                    <a:pt x="4952524" y="283369"/>
                    <a:pt x="4951571" y="290036"/>
                  </a:cubicBezTo>
                  <a:cubicBezTo>
                    <a:pt x="4949667" y="298609"/>
                    <a:pt x="4947762" y="307181"/>
                    <a:pt x="4944904" y="316706"/>
                  </a:cubicBezTo>
                  <a:cubicBezTo>
                    <a:pt x="4943951" y="312896"/>
                    <a:pt x="4943951" y="310991"/>
                    <a:pt x="4943951" y="310991"/>
                  </a:cubicBezTo>
                  <a:cubicBezTo>
                    <a:pt x="4943951" y="310991"/>
                    <a:pt x="4943951" y="314801"/>
                    <a:pt x="4943951" y="320516"/>
                  </a:cubicBezTo>
                  <a:cubicBezTo>
                    <a:pt x="4942999" y="326231"/>
                    <a:pt x="4941094" y="330994"/>
                    <a:pt x="4940142" y="336709"/>
                  </a:cubicBezTo>
                  <a:cubicBezTo>
                    <a:pt x="4940142" y="336709"/>
                    <a:pt x="4940142" y="335756"/>
                    <a:pt x="4940142" y="335756"/>
                  </a:cubicBezTo>
                  <a:cubicBezTo>
                    <a:pt x="4939189" y="331946"/>
                    <a:pt x="4939189" y="329089"/>
                    <a:pt x="4938237" y="325279"/>
                  </a:cubicBezTo>
                  <a:cubicBezTo>
                    <a:pt x="4943951" y="306229"/>
                    <a:pt x="4949667" y="286226"/>
                    <a:pt x="4954429" y="268129"/>
                  </a:cubicBezTo>
                  <a:close/>
                  <a:moveTo>
                    <a:pt x="4922044" y="378619"/>
                  </a:moveTo>
                  <a:cubicBezTo>
                    <a:pt x="4922044" y="378619"/>
                    <a:pt x="4922044" y="378619"/>
                    <a:pt x="4922044" y="378619"/>
                  </a:cubicBezTo>
                  <a:cubicBezTo>
                    <a:pt x="4922044" y="379571"/>
                    <a:pt x="4922044" y="379571"/>
                    <a:pt x="4922044" y="378619"/>
                  </a:cubicBezTo>
                  <a:cubicBezTo>
                    <a:pt x="4922044" y="379571"/>
                    <a:pt x="4922044" y="378619"/>
                    <a:pt x="4922044" y="378619"/>
                  </a:cubicBezTo>
                  <a:close/>
                  <a:moveTo>
                    <a:pt x="4908709" y="307181"/>
                  </a:moveTo>
                  <a:cubicBezTo>
                    <a:pt x="4910614" y="312896"/>
                    <a:pt x="4912519" y="318611"/>
                    <a:pt x="4915376" y="326231"/>
                  </a:cubicBezTo>
                  <a:cubicBezTo>
                    <a:pt x="4913471" y="330041"/>
                    <a:pt x="4911567" y="334804"/>
                    <a:pt x="4909662" y="338614"/>
                  </a:cubicBezTo>
                  <a:cubicBezTo>
                    <a:pt x="4908709" y="327184"/>
                    <a:pt x="4907756" y="316706"/>
                    <a:pt x="4906804" y="308134"/>
                  </a:cubicBezTo>
                  <a:cubicBezTo>
                    <a:pt x="4906804" y="306229"/>
                    <a:pt x="4906804" y="305276"/>
                    <a:pt x="4906804" y="305276"/>
                  </a:cubicBezTo>
                  <a:cubicBezTo>
                    <a:pt x="4906804" y="305276"/>
                    <a:pt x="4906804" y="306229"/>
                    <a:pt x="4905851" y="307181"/>
                  </a:cubicBezTo>
                  <a:cubicBezTo>
                    <a:pt x="4905851" y="303371"/>
                    <a:pt x="4904899" y="300514"/>
                    <a:pt x="4904899" y="297656"/>
                  </a:cubicBezTo>
                  <a:cubicBezTo>
                    <a:pt x="4906804" y="300514"/>
                    <a:pt x="4907756" y="303371"/>
                    <a:pt x="4908709" y="307181"/>
                  </a:cubicBezTo>
                  <a:close/>
                  <a:moveTo>
                    <a:pt x="4897279" y="351949"/>
                  </a:moveTo>
                  <a:cubicBezTo>
                    <a:pt x="4897279" y="356711"/>
                    <a:pt x="4897279" y="360521"/>
                    <a:pt x="4896326" y="365284"/>
                  </a:cubicBezTo>
                  <a:cubicBezTo>
                    <a:pt x="4896326" y="366236"/>
                    <a:pt x="4895374" y="367189"/>
                    <a:pt x="4895374" y="368141"/>
                  </a:cubicBezTo>
                  <a:cubicBezTo>
                    <a:pt x="4895374" y="365284"/>
                    <a:pt x="4894421" y="361474"/>
                    <a:pt x="4894421" y="357664"/>
                  </a:cubicBezTo>
                  <a:cubicBezTo>
                    <a:pt x="4893469" y="351949"/>
                    <a:pt x="4893469" y="347186"/>
                    <a:pt x="4892517" y="341471"/>
                  </a:cubicBezTo>
                  <a:cubicBezTo>
                    <a:pt x="4894421" y="345281"/>
                    <a:pt x="4895374" y="348139"/>
                    <a:pt x="4897279" y="351949"/>
                  </a:cubicBezTo>
                  <a:close/>
                  <a:moveTo>
                    <a:pt x="4822984" y="387191"/>
                  </a:moveTo>
                  <a:cubicBezTo>
                    <a:pt x="4822984" y="386239"/>
                    <a:pt x="4822984" y="386239"/>
                    <a:pt x="4822984" y="385286"/>
                  </a:cubicBezTo>
                  <a:cubicBezTo>
                    <a:pt x="4822984" y="386239"/>
                    <a:pt x="4822984" y="387191"/>
                    <a:pt x="4822984" y="387191"/>
                  </a:cubicBezTo>
                  <a:cubicBezTo>
                    <a:pt x="4822984" y="387191"/>
                    <a:pt x="4822984" y="387191"/>
                    <a:pt x="4822984" y="387191"/>
                  </a:cubicBezTo>
                  <a:close/>
                  <a:moveTo>
                    <a:pt x="4842987" y="338614"/>
                  </a:moveTo>
                  <a:cubicBezTo>
                    <a:pt x="4842987" y="344329"/>
                    <a:pt x="4842987" y="350044"/>
                    <a:pt x="4842987" y="356711"/>
                  </a:cubicBezTo>
                  <a:cubicBezTo>
                    <a:pt x="4842987" y="357664"/>
                    <a:pt x="4842987" y="359569"/>
                    <a:pt x="4842987" y="360521"/>
                  </a:cubicBezTo>
                  <a:cubicBezTo>
                    <a:pt x="4842034" y="366236"/>
                    <a:pt x="4841081" y="373856"/>
                    <a:pt x="4840129" y="382429"/>
                  </a:cubicBezTo>
                  <a:cubicBezTo>
                    <a:pt x="4839176" y="385286"/>
                    <a:pt x="4839176" y="387191"/>
                    <a:pt x="4838224" y="390049"/>
                  </a:cubicBezTo>
                  <a:cubicBezTo>
                    <a:pt x="4834414" y="389096"/>
                    <a:pt x="4830604" y="388144"/>
                    <a:pt x="4826794" y="387191"/>
                  </a:cubicBezTo>
                  <a:cubicBezTo>
                    <a:pt x="4825841" y="384334"/>
                    <a:pt x="4824889" y="381476"/>
                    <a:pt x="4824889" y="379571"/>
                  </a:cubicBezTo>
                  <a:cubicBezTo>
                    <a:pt x="4825841" y="376714"/>
                    <a:pt x="4826794" y="373856"/>
                    <a:pt x="4827747" y="370999"/>
                  </a:cubicBezTo>
                  <a:cubicBezTo>
                    <a:pt x="4830604" y="361474"/>
                    <a:pt x="4834414" y="352901"/>
                    <a:pt x="4838224" y="346234"/>
                  </a:cubicBezTo>
                  <a:cubicBezTo>
                    <a:pt x="4840129" y="342424"/>
                    <a:pt x="4842034" y="339566"/>
                    <a:pt x="4843939" y="336709"/>
                  </a:cubicBezTo>
                  <a:cubicBezTo>
                    <a:pt x="4842987" y="337661"/>
                    <a:pt x="4842987" y="338614"/>
                    <a:pt x="4842987" y="338614"/>
                  </a:cubicBezTo>
                  <a:cubicBezTo>
                    <a:pt x="4842987" y="338614"/>
                    <a:pt x="4842987" y="338614"/>
                    <a:pt x="4842987" y="338614"/>
                  </a:cubicBezTo>
                  <a:close/>
                  <a:moveTo>
                    <a:pt x="4843939" y="329089"/>
                  </a:moveTo>
                  <a:cubicBezTo>
                    <a:pt x="4843939" y="329089"/>
                    <a:pt x="4843939" y="329089"/>
                    <a:pt x="4843939" y="329089"/>
                  </a:cubicBezTo>
                  <a:cubicBezTo>
                    <a:pt x="4841081" y="324326"/>
                    <a:pt x="4838224" y="320516"/>
                    <a:pt x="4836319" y="318611"/>
                  </a:cubicBezTo>
                  <a:cubicBezTo>
                    <a:pt x="4836319" y="318611"/>
                    <a:pt x="4836319" y="318611"/>
                    <a:pt x="4836319" y="318611"/>
                  </a:cubicBezTo>
                  <a:cubicBezTo>
                    <a:pt x="4837272" y="316706"/>
                    <a:pt x="4838224" y="315754"/>
                    <a:pt x="4839176" y="314801"/>
                  </a:cubicBezTo>
                  <a:cubicBezTo>
                    <a:pt x="4840129" y="316706"/>
                    <a:pt x="4841081" y="319564"/>
                    <a:pt x="4842987" y="321469"/>
                  </a:cubicBezTo>
                  <a:cubicBezTo>
                    <a:pt x="4842987" y="322421"/>
                    <a:pt x="4843939" y="323374"/>
                    <a:pt x="4843939" y="323374"/>
                  </a:cubicBezTo>
                  <a:cubicBezTo>
                    <a:pt x="4843939" y="325279"/>
                    <a:pt x="4843939" y="327184"/>
                    <a:pt x="4843939" y="329089"/>
                  </a:cubicBezTo>
                  <a:close/>
                  <a:moveTo>
                    <a:pt x="4845844" y="296704"/>
                  </a:moveTo>
                  <a:cubicBezTo>
                    <a:pt x="4845844" y="302419"/>
                    <a:pt x="4844891" y="309086"/>
                    <a:pt x="4844891" y="316706"/>
                  </a:cubicBezTo>
                  <a:cubicBezTo>
                    <a:pt x="4842987" y="314801"/>
                    <a:pt x="4842034" y="311944"/>
                    <a:pt x="4840129" y="310039"/>
                  </a:cubicBezTo>
                  <a:cubicBezTo>
                    <a:pt x="4839176" y="309086"/>
                    <a:pt x="4838224" y="307181"/>
                    <a:pt x="4837272" y="306229"/>
                  </a:cubicBezTo>
                  <a:cubicBezTo>
                    <a:pt x="4840129" y="300514"/>
                    <a:pt x="4842987" y="295751"/>
                    <a:pt x="4845844" y="290989"/>
                  </a:cubicBezTo>
                  <a:cubicBezTo>
                    <a:pt x="4846797" y="290036"/>
                    <a:pt x="4846797" y="289084"/>
                    <a:pt x="4847749" y="288131"/>
                  </a:cubicBezTo>
                  <a:cubicBezTo>
                    <a:pt x="4846797" y="290989"/>
                    <a:pt x="4845844" y="293846"/>
                    <a:pt x="4845844" y="296704"/>
                  </a:cubicBezTo>
                  <a:close/>
                  <a:moveTo>
                    <a:pt x="4869656" y="325279"/>
                  </a:moveTo>
                  <a:cubicBezTo>
                    <a:pt x="4869656" y="326231"/>
                    <a:pt x="4869656" y="326231"/>
                    <a:pt x="4869656" y="327184"/>
                  </a:cubicBezTo>
                  <a:cubicBezTo>
                    <a:pt x="4869656" y="327184"/>
                    <a:pt x="4869656" y="326231"/>
                    <a:pt x="4869656" y="325279"/>
                  </a:cubicBezTo>
                  <a:cubicBezTo>
                    <a:pt x="4869656" y="323374"/>
                    <a:pt x="4869656" y="320516"/>
                    <a:pt x="4869656" y="318611"/>
                  </a:cubicBezTo>
                  <a:cubicBezTo>
                    <a:pt x="4869656" y="320516"/>
                    <a:pt x="4869656" y="323374"/>
                    <a:pt x="4869656" y="325279"/>
                  </a:cubicBezTo>
                  <a:close/>
                  <a:moveTo>
                    <a:pt x="4854416" y="276701"/>
                  </a:moveTo>
                  <a:cubicBezTo>
                    <a:pt x="4860131" y="267176"/>
                    <a:pt x="4865847" y="261461"/>
                    <a:pt x="4868704" y="256699"/>
                  </a:cubicBezTo>
                  <a:cubicBezTo>
                    <a:pt x="4869656" y="255746"/>
                    <a:pt x="4870609" y="253841"/>
                    <a:pt x="4871562" y="252889"/>
                  </a:cubicBezTo>
                  <a:cubicBezTo>
                    <a:pt x="4871562" y="254794"/>
                    <a:pt x="4871562" y="257651"/>
                    <a:pt x="4871562" y="259556"/>
                  </a:cubicBezTo>
                  <a:cubicBezTo>
                    <a:pt x="4868704" y="270986"/>
                    <a:pt x="4864894" y="283369"/>
                    <a:pt x="4861084" y="296704"/>
                  </a:cubicBezTo>
                  <a:cubicBezTo>
                    <a:pt x="4861084" y="297656"/>
                    <a:pt x="4860131" y="299561"/>
                    <a:pt x="4860131" y="300514"/>
                  </a:cubicBezTo>
                  <a:cubicBezTo>
                    <a:pt x="4857274" y="291941"/>
                    <a:pt x="4855369" y="284321"/>
                    <a:pt x="4853464" y="278606"/>
                  </a:cubicBezTo>
                  <a:cubicBezTo>
                    <a:pt x="4854416" y="277654"/>
                    <a:pt x="4854416" y="277654"/>
                    <a:pt x="4854416" y="276701"/>
                  </a:cubicBezTo>
                  <a:cubicBezTo>
                    <a:pt x="4854416" y="276701"/>
                    <a:pt x="4854416" y="276701"/>
                    <a:pt x="4854416" y="276701"/>
                  </a:cubicBezTo>
                  <a:close/>
                  <a:moveTo>
                    <a:pt x="4850606" y="281464"/>
                  </a:moveTo>
                  <a:cubicBezTo>
                    <a:pt x="4852512" y="290989"/>
                    <a:pt x="4854416" y="303371"/>
                    <a:pt x="4857274" y="316706"/>
                  </a:cubicBezTo>
                  <a:cubicBezTo>
                    <a:pt x="4856322" y="321469"/>
                    <a:pt x="4855369" y="325279"/>
                    <a:pt x="4854416" y="330041"/>
                  </a:cubicBezTo>
                  <a:cubicBezTo>
                    <a:pt x="4853464" y="329089"/>
                    <a:pt x="4852512" y="327184"/>
                    <a:pt x="4852512" y="326231"/>
                  </a:cubicBezTo>
                  <a:cubicBezTo>
                    <a:pt x="4852512" y="325279"/>
                    <a:pt x="4852512" y="323374"/>
                    <a:pt x="4852512" y="322421"/>
                  </a:cubicBezTo>
                  <a:cubicBezTo>
                    <a:pt x="4851559" y="311944"/>
                    <a:pt x="4851559" y="303371"/>
                    <a:pt x="4850606" y="295751"/>
                  </a:cubicBezTo>
                  <a:cubicBezTo>
                    <a:pt x="4850606" y="290989"/>
                    <a:pt x="4849654" y="287179"/>
                    <a:pt x="4849654" y="284321"/>
                  </a:cubicBezTo>
                  <a:cubicBezTo>
                    <a:pt x="4849654" y="283369"/>
                    <a:pt x="4849654" y="282416"/>
                    <a:pt x="4850606" y="281464"/>
                  </a:cubicBezTo>
                  <a:close/>
                  <a:moveTo>
                    <a:pt x="4838224" y="290036"/>
                  </a:moveTo>
                  <a:cubicBezTo>
                    <a:pt x="4841081" y="283369"/>
                    <a:pt x="4843939" y="277654"/>
                    <a:pt x="4845844" y="272891"/>
                  </a:cubicBezTo>
                  <a:cubicBezTo>
                    <a:pt x="4846797" y="270034"/>
                    <a:pt x="4847749" y="267176"/>
                    <a:pt x="4848701" y="265271"/>
                  </a:cubicBezTo>
                  <a:cubicBezTo>
                    <a:pt x="4848701" y="268129"/>
                    <a:pt x="4849654" y="271939"/>
                    <a:pt x="4849654" y="275749"/>
                  </a:cubicBezTo>
                  <a:cubicBezTo>
                    <a:pt x="4848701" y="276701"/>
                    <a:pt x="4848701" y="277654"/>
                    <a:pt x="4847749" y="277654"/>
                  </a:cubicBezTo>
                  <a:cubicBezTo>
                    <a:pt x="4847749" y="274796"/>
                    <a:pt x="4847749" y="273844"/>
                    <a:pt x="4847749" y="273844"/>
                  </a:cubicBezTo>
                  <a:cubicBezTo>
                    <a:pt x="4847749" y="273844"/>
                    <a:pt x="4847749" y="275749"/>
                    <a:pt x="4847749" y="278606"/>
                  </a:cubicBezTo>
                  <a:cubicBezTo>
                    <a:pt x="4845844" y="281464"/>
                    <a:pt x="4842987" y="284321"/>
                    <a:pt x="4841081" y="288131"/>
                  </a:cubicBezTo>
                  <a:cubicBezTo>
                    <a:pt x="4840129" y="290036"/>
                    <a:pt x="4838224" y="291941"/>
                    <a:pt x="4836319" y="294799"/>
                  </a:cubicBezTo>
                  <a:cubicBezTo>
                    <a:pt x="4836319" y="292894"/>
                    <a:pt x="4837272" y="291941"/>
                    <a:pt x="4838224" y="290036"/>
                  </a:cubicBezTo>
                  <a:close/>
                  <a:moveTo>
                    <a:pt x="4835366" y="309086"/>
                  </a:moveTo>
                  <a:cubicBezTo>
                    <a:pt x="4835366" y="309086"/>
                    <a:pt x="4835366" y="308134"/>
                    <a:pt x="4836319" y="308134"/>
                  </a:cubicBezTo>
                  <a:cubicBezTo>
                    <a:pt x="4837272" y="309086"/>
                    <a:pt x="4837272" y="310039"/>
                    <a:pt x="4838224" y="311944"/>
                  </a:cubicBezTo>
                  <a:cubicBezTo>
                    <a:pt x="4838224" y="312896"/>
                    <a:pt x="4839176" y="312896"/>
                    <a:pt x="4839176" y="313849"/>
                  </a:cubicBezTo>
                  <a:cubicBezTo>
                    <a:pt x="4838224" y="314801"/>
                    <a:pt x="4837272" y="315754"/>
                    <a:pt x="4835366" y="317659"/>
                  </a:cubicBezTo>
                  <a:cubicBezTo>
                    <a:pt x="4835366" y="317659"/>
                    <a:pt x="4835366" y="317659"/>
                    <a:pt x="4835366" y="317659"/>
                  </a:cubicBezTo>
                  <a:cubicBezTo>
                    <a:pt x="4835366" y="317659"/>
                    <a:pt x="4834414" y="316706"/>
                    <a:pt x="4834414" y="316706"/>
                  </a:cubicBezTo>
                  <a:cubicBezTo>
                    <a:pt x="4833462" y="315754"/>
                    <a:pt x="4833462" y="315754"/>
                    <a:pt x="4832509" y="314801"/>
                  </a:cubicBezTo>
                  <a:cubicBezTo>
                    <a:pt x="4833462" y="312896"/>
                    <a:pt x="4834414" y="310991"/>
                    <a:pt x="4835366" y="309086"/>
                  </a:cubicBezTo>
                  <a:close/>
                  <a:moveTo>
                    <a:pt x="4830604" y="319564"/>
                  </a:moveTo>
                  <a:cubicBezTo>
                    <a:pt x="4831556" y="317659"/>
                    <a:pt x="4831556" y="316706"/>
                    <a:pt x="4832509" y="314801"/>
                  </a:cubicBezTo>
                  <a:cubicBezTo>
                    <a:pt x="4832509" y="315754"/>
                    <a:pt x="4833462" y="315754"/>
                    <a:pt x="4833462" y="316706"/>
                  </a:cubicBezTo>
                  <a:cubicBezTo>
                    <a:pt x="4833462" y="317659"/>
                    <a:pt x="4834414" y="317659"/>
                    <a:pt x="4834414" y="318611"/>
                  </a:cubicBezTo>
                  <a:cubicBezTo>
                    <a:pt x="4832509" y="320516"/>
                    <a:pt x="4830604" y="322421"/>
                    <a:pt x="4828699" y="324326"/>
                  </a:cubicBezTo>
                  <a:cubicBezTo>
                    <a:pt x="4829651" y="322421"/>
                    <a:pt x="4829651" y="320516"/>
                    <a:pt x="4830604" y="319564"/>
                  </a:cubicBezTo>
                  <a:close/>
                  <a:moveTo>
                    <a:pt x="4817269" y="364331"/>
                  </a:moveTo>
                  <a:cubicBezTo>
                    <a:pt x="4817269" y="361474"/>
                    <a:pt x="4817269" y="359569"/>
                    <a:pt x="4817269" y="356711"/>
                  </a:cubicBezTo>
                  <a:cubicBezTo>
                    <a:pt x="4820126" y="349091"/>
                    <a:pt x="4822984" y="342424"/>
                    <a:pt x="4824889" y="335756"/>
                  </a:cubicBezTo>
                  <a:cubicBezTo>
                    <a:pt x="4824889" y="335756"/>
                    <a:pt x="4825841" y="334804"/>
                    <a:pt x="4825841" y="334804"/>
                  </a:cubicBezTo>
                  <a:cubicBezTo>
                    <a:pt x="4829651" y="328136"/>
                    <a:pt x="4833462" y="323374"/>
                    <a:pt x="4835366" y="319564"/>
                  </a:cubicBezTo>
                  <a:cubicBezTo>
                    <a:pt x="4835366" y="320516"/>
                    <a:pt x="4836319" y="321469"/>
                    <a:pt x="4837272" y="322421"/>
                  </a:cubicBezTo>
                  <a:cubicBezTo>
                    <a:pt x="4838224" y="324326"/>
                    <a:pt x="4839176" y="327184"/>
                    <a:pt x="4841081" y="330994"/>
                  </a:cubicBezTo>
                  <a:cubicBezTo>
                    <a:pt x="4842034" y="332899"/>
                    <a:pt x="4842034" y="333851"/>
                    <a:pt x="4842987" y="335756"/>
                  </a:cubicBezTo>
                  <a:cubicBezTo>
                    <a:pt x="4840129" y="338614"/>
                    <a:pt x="4838224" y="341471"/>
                    <a:pt x="4835366" y="345281"/>
                  </a:cubicBezTo>
                  <a:cubicBezTo>
                    <a:pt x="4831556" y="350996"/>
                    <a:pt x="4826794" y="357664"/>
                    <a:pt x="4822984" y="366236"/>
                  </a:cubicBezTo>
                  <a:cubicBezTo>
                    <a:pt x="4822031" y="367189"/>
                    <a:pt x="4821079" y="368141"/>
                    <a:pt x="4820126" y="369094"/>
                  </a:cubicBezTo>
                  <a:cubicBezTo>
                    <a:pt x="4819174" y="370046"/>
                    <a:pt x="4818222" y="370999"/>
                    <a:pt x="4817269" y="371951"/>
                  </a:cubicBezTo>
                  <a:cubicBezTo>
                    <a:pt x="4816316" y="369094"/>
                    <a:pt x="4817269" y="366236"/>
                    <a:pt x="4817269" y="364331"/>
                  </a:cubicBezTo>
                  <a:close/>
                  <a:moveTo>
                    <a:pt x="4816316" y="376714"/>
                  </a:moveTo>
                  <a:cubicBezTo>
                    <a:pt x="4817269" y="373856"/>
                    <a:pt x="4819174" y="370999"/>
                    <a:pt x="4820126" y="370046"/>
                  </a:cubicBezTo>
                  <a:cubicBezTo>
                    <a:pt x="4820126" y="370046"/>
                    <a:pt x="4820126" y="370046"/>
                    <a:pt x="4820126" y="370046"/>
                  </a:cubicBezTo>
                  <a:cubicBezTo>
                    <a:pt x="4820126" y="370046"/>
                    <a:pt x="4820126" y="370046"/>
                    <a:pt x="4820126" y="370046"/>
                  </a:cubicBezTo>
                  <a:cubicBezTo>
                    <a:pt x="4819174" y="372904"/>
                    <a:pt x="4817269" y="375761"/>
                    <a:pt x="4816316" y="378619"/>
                  </a:cubicBezTo>
                  <a:cubicBezTo>
                    <a:pt x="4816316" y="376714"/>
                    <a:pt x="4816316" y="376714"/>
                    <a:pt x="4816316" y="376714"/>
                  </a:cubicBezTo>
                  <a:close/>
                  <a:moveTo>
                    <a:pt x="4762024" y="305276"/>
                  </a:moveTo>
                  <a:cubicBezTo>
                    <a:pt x="4762024" y="306229"/>
                    <a:pt x="4762976" y="312896"/>
                    <a:pt x="4763929" y="322421"/>
                  </a:cubicBezTo>
                  <a:cubicBezTo>
                    <a:pt x="4762024" y="317659"/>
                    <a:pt x="4761072" y="313849"/>
                    <a:pt x="4760119" y="309086"/>
                  </a:cubicBezTo>
                  <a:cubicBezTo>
                    <a:pt x="4761072" y="306229"/>
                    <a:pt x="4761072" y="303371"/>
                    <a:pt x="4762024" y="300514"/>
                  </a:cubicBezTo>
                  <a:cubicBezTo>
                    <a:pt x="4762024" y="302419"/>
                    <a:pt x="4762024" y="303371"/>
                    <a:pt x="4762024" y="305276"/>
                  </a:cubicBezTo>
                  <a:close/>
                  <a:moveTo>
                    <a:pt x="4755356" y="279559"/>
                  </a:moveTo>
                  <a:cubicBezTo>
                    <a:pt x="4757262" y="284321"/>
                    <a:pt x="4758214" y="289084"/>
                    <a:pt x="4760119" y="294799"/>
                  </a:cubicBezTo>
                  <a:cubicBezTo>
                    <a:pt x="4760119" y="295751"/>
                    <a:pt x="4760119" y="296704"/>
                    <a:pt x="4761072" y="297656"/>
                  </a:cubicBezTo>
                  <a:cubicBezTo>
                    <a:pt x="4760119" y="299561"/>
                    <a:pt x="4759166" y="301466"/>
                    <a:pt x="4758214" y="304324"/>
                  </a:cubicBezTo>
                  <a:cubicBezTo>
                    <a:pt x="4757262" y="300514"/>
                    <a:pt x="4755356" y="296704"/>
                    <a:pt x="4754404" y="292894"/>
                  </a:cubicBezTo>
                  <a:cubicBezTo>
                    <a:pt x="4754404" y="288131"/>
                    <a:pt x="4754404" y="284321"/>
                    <a:pt x="4755356" y="279559"/>
                  </a:cubicBezTo>
                  <a:close/>
                  <a:moveTo>
                    <a:pt x="4759166" y="342424"/>
                  </a:moveTo>
                  <a:cubicBezTo>
                    <a:pt x="4757262" y="338614"/>
                    <a:pt x="4756309" y="335756"/>
                    <a:pt x="4755356" y="331946"/>
                  </a:cubicBezTo>
                  <a:cubicBezTo>
                    <a:pt x="4755356" y="330041"/>
                    <a:pt x="4756309" y="328136"/>
                    <a:pt x="4756309" y="326231"/>
                  </a:cubicBezTo>
                  <a:cubicBezTo>
                    <a:pt x="4757262" y="330994"/>
                    <a:pt x="4758214" y="336709"/>
                    <a:pt x="4759166" y="342424"/>
                  </a:cubicBezTo>
                  <a:close/>
                  <a:moveTo>
                    <a:pt x="4753451" y="312896"/>
                  </a:moveTo>
                  <a:cubicBezTo>
                    <a:pt x="4753451" y="313849"/>
                    <a:pt x="4753451" y="314801"/>
                    <a:pt x="4754404" y="315754"/>
                  </a:cubicBezTo>
                  <a:cubicBezTo>
                    <a:pt x="4754404" y="316706"/>
                    <a:pt x="4754404" y="316706"/>
                    <a:pt x="4753451" y="317659"/>
                  </a:cubicBezTo>
                  <a:cubicBezTo>
                    <a:pt x="4753451" y="315754"/>
                    <a:pt x="4753451" y="313849"/>
                    <a:pt x="4753451" y="312896"/>
                  </a:cubicBezTo>
                  <a:close/>
                  <a:moveTo>
                    <a:pt x="4755356" y="373856"/>
                  </a:moveTo>
                  <a:cubicBezTo>
                    <a:pt x="4755356" y="374809"/>
                    <a:pt x="4755356" y="374809"/>
                    <a:pt x="4756309" y="375761"/>
                  </a:cubicBezTo>
                  <a:cubicBezTo>
                    <a:pt x="4755356" y="376714"/>
                    <a:pt x="4755356" y="378619"/>
                    <a:pt x="4754404" y="379571"/>
                  </a:cubicBezTo>
                  <a:cubicBezTo>
                    <a:pt x="4753451" y="379571"/>
                    <a:pt x="4753451" y="379571"/>
                    <a:pt x="4752499" y="379571"/>
                  </a:cubicBezTo>
                  <a:cubicBezTo>
                    <a:pt x="4753451" y="377666"/>
                    <a:pt x="4754404" y="375761"/>
                    <a:pt x="4755356" y="373856"/>
                  </a:cubicBezTo>
                  <a:close/>
                  <a:moveTo>
                    <a:pt x="4748689" y="291941"/>
                  </a:moveTo>
                  <a:cubicBezTo>
                    <a:pt x="4747737" y="295751"/>
                    <a:pt x="4747737" y="299561"/>
                    <a:pt x="4746784" y="303371"/>
                  </a:cubicBezTo>
                  <a:cubicBezTo>
                    <a:pt x="4746784" y="303371"/>
                    <a:pt x="4746784" y="303371"/>
                    <a:pt x="4746784" y="303371"/>
                  </a:cubicBezTo>
                  <a:cubicBezTo>
                    <a:pt x="4746784" y="302419"/>
                    <a:pt x="4746784" y="300514"/>
                    <a:pt x="4746784" y="299561"/>
                  </a:cubicBezTo>
                  <a:cubicBezTo>
                    <a:pt x="4746784" y="296704"/>
                    <a:pt x="4747737" y="293846"/>
                    <a:pt x="4748689" y="291941"/>
                  </a:cubicBezTo>
                  <a:close/>
                  <a:moveTo>
                    <a:pt x="4738212" y="327184"/>
                  </a:moveTo>
                  <a:cubicBezTo>
                    <a:pt x="4738212" y="331946"/>
                    <a:pt x="4737259" y="335756"/>
                    <a:pt x="4737259" y="341471"/>
                  </a:cubicBezTo>
                  <a:cubicBezTo>
                    <a:pt x="4737259" y="339566"/>
                    <a:pt x="4736306" y="338614"/>
                    <a:pt x="4736306" y="336709"/>
                  </a:cubicBezTo>
                  <a:cubicBezTo>
                    <a:pt x="4737259" y="332899"/>
                    <a:pt x="4737259" y="330041"/>
                    <a:pt x="4738212" y="327184"/>
                  </a:cubicBezTo>
                  <a:close/>
                  <a:moveTo>
                    <a:pt x="4720114" y="261461"/>
                  </a:moveTo>
                  <a:cubicBezTo>
                    <a:pt x="4720114" y="261461"/>
                    <a:pt x="4720114" y="261461"/>
                    <a:pt x="4720114" y="261461"/>
                  </a:cubicBezTo>
                  <a:cubicBezTo>
                    <a:pt x="4722972" y="270034"/>
                    <a:pt x="4725829" y="279559"/>
                    <a:pt x="4729639" y="290989"/>
                  </a:cubicBezTo>
                  <a:cubicBezTo>
                    <a:pt x="4730591" y="292894"/>
                    <a:pt x="4730591" y="294799"/>
                    <a:pt x="4731544" y="296704"/>
                  </a:cubicBezTo>
                  <a:cubicBezTo>
                    <a:pt x="4730591" y="300514"/>
                    <a:pt x="4728687" y="304324"/>
                    <a:pt x="4727734" y="308134"/>
                  </a:cubicBezTo>
                  <a:cubicBezTo>
                    <a:pt x="4726781" y="304324"/>
                    <a:pt x="4724876" y="299561"/>
                    <a:pt x="4723924" y="295751"/>
                  </a:cubicBezTo>
                  <a:cubicBezTo>
                    <a:pt x="4722019" y="289084"/>
                    <a:pt x="4720114" y="282416"/>
                    <a:pt x="4718209" y="276701"/>
                  </a:cubicBezTo>
                  <a:cubicBezTo>
                    <a:pt x="4718209" y="270034"/>
                    <a:pt x="4719162" y="265271"/>
                    <a:pt x="4720114" y="261461"/>
                  </a:cubicBezTo>
                  <a:close/>
                  <a:moveTo>
                    <a:pt x="4709637" y="324326"/>
                  </a:moveTo>
                  <a:cubicBezTo>
                    <a:pt x="4711541" y="315754"/>
                    <a:pt x="4712494" y="308134"/>
                    <a:pt x="4713447" y="301466"/>
                  </a:cubicBezTo>
                  <a:cubicBezTo>
                    <a:pt x="4715351" y="310991"/>
                    <a:pt x="4717256" y="321469"/>
                    <a:pt x="4719162" y="331946"/>
                  </a:cubicBezTo>
                  <a:cubicBezTo>
                    <a:pt x="4718209" y="335756"/>
                    <a:pt x="4716304" y="339566"/>
                    <a:pt x="4715351" y="343376"/>
                  </a:cubicBezTo>
                  <a:cubicBezTo>
                    <a:pt x="4715351" y="343376"/>
                    <a:pt x="4715351" y="343376"/>
                    <a:pt x="4715351" y="343376"/>
                  </a:cubicBezTo>
                  <a:cubicBezTo>
                    <a:pt x="4712494" y="339566"/>
                    <a:pt x="4709637" y="335756"/>
                    <a:pt x="4707731" y="332899"/>
                  </a:cubicBezTo>
                  <a:cubicBezTo>
                    <a:pt x="4708684" y="330041"/>
                    <a:pt x="4708684" y="327184"/>
                    <a:pt x="4709637" y="324326"/>
                  </a:cubicBezTo>
                  <a:close/>
                  <a:moveTo>
                    <a:pt x="4703922" y="355759"/>
                  </a:moveTo>
                  <a:cubicBezTo>
                    <a:pt x="4704874" y="357664"/>
                    <a:pt x="4704874" y="358616"/>
                    <a:pt x="4705826" y="360521"/>
                  </a:cubicBezTo>
                  <a:cubicBezTo>
                    <a:pt x="4706779" y="363379"/>
                    <a:pt x="4707731" y="366236"/>
                    <a:pt x="4708684" y="369094"/>
                  </a:cubicBezTo>
                  <a:cubicBezTo>
                    <a:pt x="4707731" y="371951"/>
                    <a:pt x="4705826" y="374809"/>
                    <a:pt x="4704874" y="377666"/>
                  </a:cubicBezTo>
                  <a:cubicBezTo>
                    <a:pt x="4704874" y="377666"/>
                    <a:pt x="4704874" y="376714"/>
                    <a:pt x="4704874" y="376714"/>
                  </a:cubicBezTo>
                  <a:cubicBezTo>
                    <a:pt x="4703922" y="374809"/>
                    <a:pt x="4702969" y="373856"/>
                    <a:pt x="4702016" y="371951"/>
                  </a:cubicBezTo>
                  <a:cubicBezTo>
                    <a:pt x="4702016" y="366236"/>
                    <a:pt x="4702969" y="361474"/>
                    <a:pt x="4703922" y="355759"/>
                  </a:cubicBezTo>
                  <a:close/>
                  <a:moveTo>
                    <a:pt x="4682966" y="380524"/>
                  </a:moveTo>
                  <a:cubicBezTo>
                    <a:pt x="4682014" y="384334"/>
                    <a:pt x="4681062" y="388144"/>
                    <a:pt x="4680109" y="392906"/>
                  </a:cubicBezTo>
                  <a:cubicBezTo>
                    <a:pt x="4679156" y="392906"/>
                    <a:pt x="4677251" y="393859"/>
                    <a:pt x="4676299" y="393859"/>
                  </a:cubicBezTo>
                  <a:cubicBezTo>
                    <a:pt x="4676299" y="391954"/>
                    <a:pt x="4675347" y="390049"/>
                    <a:pt x="4675347" y="388144"/>
                  </a:cubicBezTo>
                  <a:cubicBezTo>
                    <a:pt x="4678204" y="384334"/>
                    <a:pt x="4681062" y="381476"/>
                    <a:pt x="4682966" y="378619"/>
                  </a:cubicBezTo>
                  <a:cubicBezTo>
                    <a:pt x="4682014" y="379571"/>
                    <a:pt x="4682966" y="380524"/>
                    <a:pt x="4682966" y="380524"/>
                  </a:cubicBezTo>
                  <a:close/>
                  <a:moveTo>
                    <a:pt x="4672489" y="361474"/>
                  </a:moveTo>
                  <a:cubicBezTo>
                    <a:pt x="4674394" y="365284"/>
                    <a:pt x="4677251" y="370046"/>
                    <a:pt x="4679156" y="373856"/>
                  </a:cubicBezTo>
                  <a:cubicBezTo>
                    <a:pt x="4677251" y="375761"/>
                    <a:pt x="4674394" y="377666"/>
                    <a:pt x="4672489" y="379571"/>
                  </a:cubicBezTo>
                  <a:cubicBezTo>
                    <a:pt x="4672489" y="378619"/>
                    <a:pt x="4672489" y="377666"/>
                    <a:pt x="4671537" y="376714"/>
                  </a:cubicBezTo>
                  <a:cubicBezTo>
                    <a:pt x="4671537" y="374809"/>
                    <a:pt x="4670584" y="372904"/>
                    <a:pt x="4670584" y="370999"/>
                  </a:cubicBezTo>
                  <a:cubicBezTo>
                    <a:pt x="4671537" y="368141"/>
                    <a:pt x="4671537" y="364331"/>
                    <a:pt x="4672489" y="361474"/>
                  </a:cubicBezTo>
                  <a:close/>
                  <a:moveTo>
                    <a:pt x="4661059" y="265271"/>
                  </a:moveTo>
                  <a:cubicBezTo>
                    <a:pt x="4662012" y="260509"/>
                    <a:pt x="4662964" y="256699"/>
                    <a:pt x="4663916" y="252889"/>
                  </a:cubicBezTo>
                  <a:cubicBezTo>
                    <a:pt x="4665822" y="246221"/>
                    <a:pt x="4667726" y="241459"/>
                    <a:pt x="4669631" y="237649"/>
                  </a:cubicBezTo>
                  <a:cubicBezTo>
                    <a:pt x="4669631" y="239554"/>
                    <a:pt x="4669631" y="240506"/>
                    <a:pt x="4669631" y="242411"/>
                  </a:cubicBezTo>
                  <a:cubicBezTo>
                    <a:pt x="4667726" y="250031"/>
                    <a:pt x="4664869" y="259556"/>
                    <a:pt x="4661059" y="269081"/>
                  </a:cubicBezTo>
                  <a:cubicBezTo>
                    <a:pt x="4661059" y="268129"/>
                    <a:pt x="4661059" y="266224"/>
                    <a:pt x="4661059" y="265271"/>
                  </a:cubicBezTo>
                  <a:close/>
                  <a:moveTo>
                    <a:pt x="4645819" y="278606"/>
                  </a:moveTo>
                  <a:cubicBezTo>
                    <a:pt x="4646772" y="271939"/>
                    <a:pt x="4647724" y="266224"/>
                    <a:pt x="4648676" y="260509"/>
                  </a:cubicBezTo>
                  <a:cubicBezTo>
                    <a:pt x="4649629" y="257651"/>
                    <a:pt x="4649629" y="253841"/>
                    <a:pt x="4650581" y="250984"/>
                  </a:cubicBezTo>
                  <a:cubicBezTo>
                    <a:pt x="4650581" y="250984"/>
                    <a:pt x="4650581" y="251936"/>
                    <a:pt x="4650581" y="251936"/>
                  </a:cubicBezTo>
                  <a:cubicBezTo>
                    <a:pt x="4651534" y="254794"/>
                    <a:pt x="4652487" y="259556"/>
                    <a:pt x="4652487" y="265271"/>
                  </a:cubicBezTo>
                  <a:cubicBezTo>
                    <a:pt x="4652487" y="267176"/>
                    <a:pt x="4652487" y="269081"/>
                    <a:pt x="4652487" y="270034"/>
                  </a:cubicBezTo>
                  <a:cubicBezTo>
                    <a:pt x="4651534" y="272891"/>
                    <a:pt x="4651534" y="275749"/>
                    <a:pt x="4650581" y="278606"/>
                  </a:cubicBezTo>
                  <a:cubicBezTo>
                    <a:pt x="4649629" y="282416"/>
                    <a:pt x="4648676" y="287179"/>
                    <a:pt x="4648676" y="290989"/>
                  </a:cubicBezTo>
                  <a:cubicBezTo>
                    <a:pt x="4648676" y="287179"/>
                    <a:pt x="4646772" y="283369"/>
                    <a:pt x="4645819" y="278606"/>
                  </a:cubicBezTo>
                  <a:cubicBezTo>
                    <a:pt x="4645819" y="278606"/>
                    <a:pt x="4645819" y="278606"/>
                    <a:pt x="4645819" y="278606"/>
                  </a:cubicBezTo>
                  <a:close/>
                  <a:moveTo>
                    <a:pt x="4642962" y="293846"/>
                  </a:moveTo>
                  <a:cubicBezTo>
                    <a:pt x="4643914" y="296704"/>
                    <a:pt x="4643914" y="299561"/>
                    <a:pt x="4644866" y="302419"/>
                  </a:cubicBezTo>
                  <a:cubicBezTo>
                    <a:pt x="4644866" y="304324"/>
                    <a:pt x="4645819" y="307181"/>
                    <a:pt x="4645819" y="309086"/>
                  </a:cubicBezTo>
                  <a:cubicBezTo>
                    <a:pt x="4645819" y="309086"/>
                    <a:pt x="4645819" y="309086"/>
                    <a:pt x="4645819" y="309086"/>
                  </a:cubicBezTo>
                  <a:cubicBezTo>
                    <a:pt x="4644866" y="308134"/>
                    <a:pt x="4643914" y="307181"/>
                    <a:pt x="4642962" y="306229"/>
                  </a:cubicBezTo>
                  <a:cubicBezTo>
                    <a:pt x="4642962" y="304324"/>
                    <a:pt x="4642009" y="302419"/>
                    <a:pt x="4642009" y="299561"/>
                  </a:cubicBezTo>
                  <a:cubicBezTo>
                    <a:pt x="4642962" y="297656"/>
                    <a:pt x="4642962" y="295751"/>
                    <a:pt x="4642962" y="293846"/>
                  </a:cubicBezTo>
                  <a:close/>
                  <a:moveTo>
                    <a:pt x="4595337" y="280511"/>
                  </a:moveTo>
                  <a:cubicBezTo>
                    <a:pt x="4596289" y="284321"/>
                    <a:pt x="4597241" y="289084"/>
                    <a:pt x="4598194" y="293846"/>
                  </a:cubicBezTo>
                  <a:cubicBezTo>
                    <a:pt x="4598194" y="295751"/>
                    <a:pt x="4598194" y="298609"/>
                    <a:pt x="4598194" y="300514"/>
                  </a:cubicBezTo>
                  <a:cubicBezTo>
                    <a:pt x="4598194" y="304324"/>
                    <a:pt x="4598194" y="308134"/>
                    <a:pt x="4598194" y="311944"/>
                  </a:cubicBezTo>
                  <a:cubicBezTo>
                    <a:pt x="4597241" y="313849"/>
                    <a:pt x="4597241" y="316706"/>
                    <a:pt x="4596289" y="319564"/>
                  </a:cubicBezTo>
                  <a:cubicBezTo>
                    <a:pt x="4595337" y="316706"/>
                    <a:pt x="4594384" y="314801"/>
                    <a:pt x="4593431" y="311944"/>
                  </a:cubicBezTo>
                  <a:cubicBezTo>
                    <a:pt x="4593431" y="310039"/>
                    <a:pt x="4593431" y="307181"/>
                    <a:pt x="4593431" y="305276"/>
                  </a:cubicBezTo>
                  <a:cubicBezTo>
                    <a:pt x="4593431" y="298609"/>
                    <a:pt x="4593431" y="292894"/>
                    <a:pt x="4593431" y="286226"/>
                  </a:cubicBezTo>
                  <a:cubicBezTo>
                    <a:pt x="4593431" y="284321"/>
                    <a:pt x="4594384" y="282416"/>
                    <a:pt x="4595337" y="280511"/>
                  </a:cubicBezTo>
                  <a:cubicBezTo>
                    <a:pt x="4595337" y="280511"/>
                    <a:pt x="4595337" y="280511"/>
                    <a:pt x="4595337" y="280511"/>
                  </a:cubicBezTo>
                  <a:close/>
                  <a:moveTo>
                    <a:pt x="4595337" y="277654"/>
                  </a:moveTo>
                  <a:cubicBezTo>
                    <a:pt x="4594384" y="278606"/>
                    <a:pt x="4594384" y="278606"/>
                    <a:pt x="4593431" y="279559"/>
                  </a:cubicBezTo>
                  <a:cubicBezTo>
                    <a:pt x="4593431" y="279559"/>
                    <a:pt x="4593431" y="280511"/>
                    <a:pt x="4592479" y="280511"/>
                  </a:cubicBezTo>
                  <a:cubicBezTo>
                    <a:pt x="4592479" y="274796"/>
                    <a:pt x="4592479" y="269081"/>
                    <a:pt x="4592479" y="263366"/>
                  </a:cubicBezTo>
                  <a:cubicBezTo>
                    <a:pt x="4593431" y="267176"/>
                    <a:pt x="4594384" y="271939"/>
                    <a:pt x="4595337" y="277654"/>
                  </a:cubicBezTo>
                  <a:close/>
                  <a:moveTo>
                    <a:pt x="4576287" y="253841"/>
                  </a:moveTo>
                  <a:cubicBezTo>
                    <a:pt x="4576287" y="260509"/>
                    <a:pt x="4576287" y="267176"/>
                    <a:pt x="4575334" y="273844"/>
                  </a:cubicBezTo>
                  <a:cubicBezTo>
                    <a:pt x="4573429" y="270034"/>
                    <a:pt x="4571524" y="266224"/>
                    <a:pt x="4569619" y="262414"/>
                  </a:cubicBezTo>
                  <a:cubicBezTo>
                    <a:pt x="4572476" y="259556"/>
                    <a:pt x="4574381" y="256699"/>
                    <a:pt x="4576287" y="253841"/>
                  </a:cubicBezTo>
                  <a:close/>
                  <a:moveTo>
                    <a:pt x="4566762" y="268129"/>
                  </a:moveTo>
                  <a:cubicBezTo>
                    <a:pt x="4566762" y="268129"/>
                    <a:pt x="4566762" y="269081"/>
                    <a:pt x="4566762" y="268129"/>
                  </a:cubicBezTo>
                  <a:cubicBezTo>
                    <a:pt x="4568666" y="273844"/>
                    <a:pt x="4570572" y="278606"/>
                    <a:pt x="4571524" y="284321"/>
                  </a:cubicBezTo>
                  <a:cubicBezTo>
                    <a:pt x="4572476" y="288131"/>
                    <a:pt x="4573429" y="292894"/>
                    <a:pt x="4574381" y="296704"/>
                  </a:cubicBezTo>
                  <a:cubicBezTo>
                    <a:pt x="4574381" y="298609"/>
                    <a:pt x="4574381" y="299561"/>
                    <a:pt x="4574381" y="301466"/>
                  </a:cubicBezTo>
                  <a:cubicBezTo>
                    <a:pt x="4570572" y="293846"/>
                    <a:pt x="4568666" y="289084"/>
                    <a:pt x="4568666" y="289084"/>
                  </a:cubicBezTo>
                  <a:cubicBezTo>
                    <a:pt x="4568666" y="289084"/>
                    <a:pt x="4570572" y="296704"/>
                    <a:pt x="4574381" y="309086"/>
                  </a:cubicBezTo>
                  <a:cubicBezTo>
                    <a:pt x="4573429" y="310991"/>
                    <a:pt x="4572476" y="312896"/>
                    <a:pt x="4571524" y="314801"/>
                  </a:cubicBezTo>
                  <a:cubicBezTo>
                    <a:pt x="4571524" y="314801"/>
                    <a:pt x="4571524" y="314801"/>
                    <a:pt x="4571524" y="315754"/>
                  </a:cubicBezTo>
                  <a:cubicBezTo>
                    <a:pt x="4568666" y="293846"/>
                    <a:pt x="4566762" y="278606"/>
                    <a:pt x="4564856" y="271939"/>
                  </a:cubicBezTo>
                  <a:cubicBezTo>
                    <a:pt x="4564856" y="270986"/>
                    <a:pt x="4565809" y="270034"/>
                    <a:pt x="4566762" y="268129"/>
                  </a:cubicBezTo>
                  <a:close/>
                  <a:moveTo>
                    <a:pt x="4560094" y="254794"/>
                  </a:moveTo>
                  <a:cubicBezTo>
                    <a:pt x="4561047" y="256699"/>
                    <a:pt x="4561999" y="258604"/>
                    <a:pt x="4562951" y="260509"/>
                  </a:cubicBezTo>
                  <a:cubicBezTo>
                    <a:pt x="4561999" y="261461"/>
                    <a:pt x="4561047" y="262414"/>
                    <a:pt x="4561047" y="263366"/>
                  </a:cubicBezTo>
                  <a:cubicBezTo>
                    <a:pt x="4560094" y="265271"/>
                    <a:pt x="4558189" y="266224"/>
                    <a:pt x="4557237" y="268129"/>
                  </a:cubicBezTo>
                  <a:cubicBezTo>
                    <a:pt x="4558189" y="263366"/>
                    <a:pt x="4559141" y="258604"/>
                    <a:pt x="4560094" y="254794"/>
                  </a:cubicBezTo>
                  <a:close/>
                  <a:moveTo>
                    <a:pt x="4548664" y="317659"/>
                  </a:moveTo>
                  <a:cubicBezTo>
                    <a:pt x="4551522" y="307181"/>
                    <a:pt x="4554379" y="298609"/>
                    <a:pt x="4557237" y="290036"/>
                  </a:cubicBezTo>
                  <a:cubicBezTo>
                    <a:pt x="4559141" y="284321"/>
                    <a:pt x="4561047" y="279559"/>
                    <a:pt x="4562951" y="275749"/>
                  </a:cubicBezTo>
                  <a:cubicBezTo>
                    <a:pt x="4561999" y="283369"/>
                    <a:pt x="4561047" y="298609"/>
                    <a:pt x="4560094" y="318611"/>
                  </a:cubicBezTo>
                  <a:cubicBezTo>
                    <a:pt x="4557237" y="313849"/>
                    <a:pt x="4555331" y="310991"/>
                    <a:pt x="4555331" y="310991"/>
                  </a:cubicBezTo>
                  <a:cubicBezTo>
                    <a:pt x="4555331" y="310991"/>
                    <a:pt x="4557237" y="314801"/>
                    <a:pt x="4560094" y="321469"/>
                  </a:cubicBezTo>
                  <a:cubicBezTo>
                    <a:pt x="4560094" y="321469"/>
                    <a:pt x="4560094" y="321469"/>
                    <a:pt x="4560094" y="321469"/>
                  </a:cubicBezTo>
                  <a:cubicBezTo>
                    <a:pt x="4560094" y="328136"/>
                    <a:pt x="4559141" y="334804"/>
                    <a:pt x="4559141" y="342424"/>
                  </a:cubicBezTo>
                  <a:cubicBezTo>
                    <a:pt x="4558189" y="346234"/>
                    <a:pt x="4556284" y="349091"/>
                    <a:pt x="4555331" y="352901"/>
                  </a:cubicBezTo>
                  <a:cubicBezTo>
                    <a:pt x="4554379" y="355759"/>
                    <a:pt x="4553426" y="358616"/>
                    <a:pt x="4552474" y="361474"/>
                  </a:cubicBezTo>
                  <a:cubicBezTo>
                    <a:pt x="4550569" y="354806"/>
                    <a:pt x="4549616" y="349091"/>
                    <a:pt x="4547712" y="343376"/>
                  </a:cubicBezTo>
                  <a:cubicBezTo>
                    <a:pt x="4547712" y="333851"/>
                    <a:pt x="4547712" y="328136"/>
                    <a:pt x="4547712" y="328136"/>
                  </a:cubicBezTo>
                  <a:cubicBezTo>
                    <a:pt x="4547712" y="328136"/>
                    <a:pt x="4546759" y="331946"/>
                    <a:pt x="4545806" y="338614"/>
                  </a:cubicBezTo>
                  <a:cubicBezTo>
                    <a:pt x="4545806" y="338614"/>
                    <a:pt x="4545806" y="337661"/>
                    <a:pt x="4545806" y="337661"/>
                  </a:cubicBezTo>
                  <a:cubicBezTo>
                    <a:pt x="4545806" y="336709"/>
                    <a:pt x="4545806" y="336709"/>
                    <a:pt x="4544854" y="335756"/>
                  </a:cubicBezTo>
                  <a:cubicBezTo>
                    <a:pt x="4546759" y="329089"/>
                    <a:pt x="4547712" y="323374"/>
                    <a:pt x="4548664" y="317659"/>
                  </a:cubicBezTo>
                  <a:close/>
                  <a:moveTo>
                    <a:pt x="4457224" y="306229"/>
                  </a:moveTo>
                  <a:cubicBezTo>
                    <a:pt x="4457224" y="306229"/>
                    <a:pt x="4456272" y="306229"/>
                    <a:pt x="4457224" y="306229"/>
                  </a:cubicBezTo>
                  <a:cubicBezTo>
                    <a:pt x="4457224" y="305276"/>
                    <a:pt x="4457224" y="305276"/>
                    <a:pt x="4457224" y="304324"/>
                  </a:cubicBezTo>
                  <a:cubicBezTo>
                    <a:pt x="4457224" y="305276"/>
                    <a:pt x="4457224" y="306229"/>
                    <a:pt x="4457224" y="306229"/>
                  </a:cubicBezTo>
                  <a:close/>
                  <a:moveTo>
                    <a:pt x="4478179" y="359569"/>
                  </a:moveTo>
                  <a:cubicBezTo>
                    <a:pt x="4477226" y="352901"/>
                    <a:pt x="4476274" y="346234"/>
                    <a:pt x="4476274" y="339566"/>
                  </a:cubicBezTo>
                  <a:cubicBezTo>
                    <a:pt x="4476274" y="338614"/>
                    <a:pt x="4476274" y="337661"/>
                    <a:pt x="4476274" y="336709"/>
                  </a:cubicBezTo>
                  <a:cubicBezTo>
                    <a:pt x="4479131" y="340519"/>
                    <a:pt x="4481037" y="343376"/>
                    <a:pt x="4483894" y="347186"/>
                  </a:cubicBezTo>
                  <a:cubicBezTo>
                    <a:pt x="4481037" y="350996"/>
                    <a:pt x="4480084" y="355759"/>
                    <a:pt x="4478179" y="359569"/>
                  </a:cubicBezTo>
                  <a:close/>
                  <a:moveTo>
                    <a:pt x="4497229" y="371951"/>
                  </a:moveTo>
                  <a:cubicBezTo>
                    <a:pt x="4497229" y="370046"/>
                    <a:pt x="4497229" y="369094"/>
                    <a:pt x="4497229" y="367189"/>
                  </a:cubicBezTo>
                  <a:cubicBezTo>
                    <a:pt x="4497229" y="368141"/>
                    <a:pt x="4497229" y="369094"/>
                    <a:pt x="4498181" y="370046"/>
                  </a:cubicBezTo>
                  <a:cubicBezTo>
                    <a:pt x="4497229" y="370999"/>
                    <a:pt x="4497229" y="370999"/>
                    <a:pt x="4497229" y="371951"/>
                  </a:cubicBezTo>
                  <a:close/>
                  <a:moveTo>
                    <a:pt x="4504849" y="322421"/>
                  </a:moveTo>
                  <a:cubicBezTo>
                    <a:pt x="4504849" y="325279"/>
                    <a:pt x="4504849" y="328136"/>
                    <a:pt x="4504849" y="330994"/>
                  </a:cubicBezTo>
                  <a:cubicBezTo>
                    <a:pt x="4503897" y="333851"/>
                    <a:pt x="4502944" y="337661"/>
                    <a:pt x="4501991" y="341471"/>
                  </a:cubicBezTo>
                  <a:cubicBezTo>
                    <a:pt x="4501991" y="343376"/>
                    <a:pt x="4501039" y="346234"/>
                    <a:pt x="4501039" y="348139"/>
                  </a:cubicBezTo>
                  <a:cubicBezTo>
                    <a:pt x="4500087" y="347186"/>
                    <a:pt x="4499134" y="346234"/>
                    <a:pt x="4499134" y="345281"/>
                  </a:cubicBezTo>
                  <a:cubicBezTo>
                    <a:pt x="4499134" y="344329"/>
                    <a:pt x="4498181" y="343376"/>
                    <a:pt x="4498181" y="342424"/>
                  </a:cubicBezTo>
                  <a:cubicBezTo>
                    <a:pt x="4499134" y="336709"/>
                    <a:pt x="4501039" y="330994"/>
                    <a:pt x="4501991" y="326231"/>
                  </a:cubicBezTo>
                  <a:cubicBezTo>
                    <a:pt x="4502944" y="320516"/>
                    <a:pt x="4504849" y="315754"/>
                    <a:pt x="4506754" y="310991"/>
                  </a:cubicBezTo>
                  <a:cubicBezTo>
                    <a:pt x="4505801" y="314801"/>
                    <a:pt x="4505801" y="318611"/>
                    <a:pt x="4504849" y="322421"/>
                  </a:cubicBezTo>
                  <a:close/>
                  <a:moveTo>
                    <a:pt x="4462939" y="250984"/>
                  </a:moveTo>
                  <a:cubicBezTo>
                    <a:pt x="4465797" y="242411"/>
                    <a:pt x="4468654" y="233839"/>
                    <a:pt x="4470559" y="226219"/>
                  </a:cubicBezTo>
                  <a:cubicBezTo>
                    <a:pt x="4470559" y="227171"/>
                    <a:pt x="4472464" y="229076"/>
                    <a:pt x="4474369" y="231934"/>
                  </a:cubicBezTo>
                  <a:cubicBezTo>
                    <a:pt x="4475322" y="233839"/>
                    <a:pt x="4477226" y="235744"/>
                    <a:pt x="4479131" y="238601"/>
                  </a:cubicBezTo>
                  <a:cubicBezTo>
                    <a:pt x="4481037" y="241459"/>
                    <a:pt x="4481989" y="245269"/>
                    <a:pt x="4483894" y="248126"/>
                  </a:cubicBezTo>
                  <a:cubicBezTo>
                    <a:pt x="4485799" y="251936"/>
                    <a:pt x="4487704" y="255746"/>
                    <a:pt x="4489609" y="260509"/>
                  </a:cubicBezTo>
                  <a:cubicBezTo>
                    <a:pt x="4491514" y="265271"/>
                    <a:pt x="4493419" y="270034"/>
                    <a:pt x="4495324" y="275749"/>
                  </a:cubicBezTo>
                  <a:cubicBezTo>
                    <a:pt x="4497229" y="281464"/>
                    <a:pt x="4499134" y="287179"/>
                    <a:pt x="4501039" y="293846"/>
                  </a:cubicBezTo>
                  <a:cubicBezTo>
                    <a:pt x="4501991" y="296704"/>
                    <a:pt x="4502944" y="299561"/>
                    <a:pt x="4503897" y="303371"/>
                  </a:cubicBezTo>
                  <a:cubicBezTo>
                    <a:pt x="4501991" y="308134"/>
                    <a:pt x="4499134" y="312896"/>
                    <a:pt x="4497229" y="317659"/>
                  </a:cubicBezTo>
                  <a:cubicBezTo>
                    <a:pt x="4496276" y="320516"/>
                    <a:pt x="4494372" y="323374"/>
                    <a:pt x="4493419" y="326231"/>
                  </a:cubicBezTo>
                  <a:cubicBezTo>
                    <a:pt x="4490562" y="297656"/>
                    <a:pt x="4488656" y="280511"/>
                    <a:pt x="4488656" y="280511"/>
                  </a:cubicBezTo>
                  <a:cubicBezTo>
                    <a:pt x="4488656" y="280511"/>
                    <a:pt x="4487704" y="294799"/>
                    <a:pt x="4487704" y="319564"/>
                  </a:cubicBezTo>
                  <a:cubicBezTo>
                    <a:pt x="4486751" y="316706"/>
                    <a:pt x="4484847" y="313849"/>
                    <a:pt x="4483894" y="311944"/>
                  </a:cubicBezTo>
                  <a:cubicBezTo>
                    <a:pt x="4477226" y="297656"/>
                    <a:pt x="4473416" y="289084"/>
                    <a:pt x="4473416" y="289084"/>
                  </a:cubicBezTo>
                  <a:cubicBezTo>
                    <a:pt x="4473416" y="289084"/>
                    <a:pt x="4476274" y="297656"/>
                    <a:pt x="4481037" y="312896"/>
                  </a:cubicBezTo>
                  <a:cubicBezTo>
                    <a:pt x="4482941" y="317659"/>
                    <a:pt x="4484847" y="323374"/>
                    <a:pt x="4486751" y="330041"/>
                  </a:cubicBezTo>
                  <a:cubicBezTo>
                    <a:pt x="4485799" y="329089"/>
                    <a:pt x="4485799" y="328136"/>
                    <a:pt x="4484847" y="328136"/>
                  </a:cubicBezTo>
                  <a:cubicBezTo>
                    <a:pt x="4481037" y="324326"/>
                    <a:pt x="4478179" y="321469"/>
                    <a:pt x="4475322" y="318611"/>
                  </a:cubicBezTo>
                  <a:cubicBezTo>
                    <a:pt x="4474369" y="313849"/>
                    <a:pt x="4473416" y="309086"/>
                    <a:pt x="4473416" y="304324"/>
                  </a:cubicBezTo>
                  <a:cubicBezTo>
                    <a:pt x="4471512" y="294799"/>
                    <a:pt x="4470559" y="286226"/>
                    <a:pt x="4468654" y="278606"/>
                  </a:cubicBezTo>
                  <a:cubicBezTo>
                    <a:pt x="4474369" y="264319"/>
                    <a:pt x="4477226" y="256699"/>
                    <a:pt x="4477226" y="256699"/>
                  </a:cubicBezTo>
                  <a:cubicBezTo>
                    <a:pt x="4477226" y="256699"/>
                    <a:pt x="4473416" y="262414"/>
                    <a:pt x="4466749" y="273844"/>
                  </a:cubicBezTo>
                  <a:cubicBezTo>
                    <a:pt x="4465797" y="268129"/>
                    <a:pt x="4464844" y="263366"/>
                    <a:pt x="4462939" y="258604"/>
                  </a:cubicBezTo>
                  <a:cubicBezTo>
                    <a:pt x="4462939" y="257651"/>
                    <a:pt x="4462939" y="256699"/>
                    <a:pt x="4462939" y="256699"/>
                  </a:cubicBezTo>
                  <a:cubicBezTo>
                    <a:pt x="4461987" y="253841"/>
                    <a:pt x="4461987" y="252889"/>
                    <a:pt x="4462939" y="250984"/>
                  </a:cubicBezTo>
                  <a:close/>
                  <a:moveTo>
                    <a:pt x="4461034" y="255746"/>
                  </a:moveTo>
                  <a:cubicBezTo>
                    <a:pt x="4461034" y="255746"/>
                    <a:pt x="4461034" y="256699"/>
                    <a:pt x="4461034" y="255746"/>
                  </a:cubicBezTo>
                  <a:cubicBezTo>
                    <a:pt x="4461034" y="256699"/>
                    <a:pt x="4461034" y="256699"/>
                    <a:pt x="4461034" y="255746"/>
                  </a:cubicBezTo>
                  <a:cubicBezTo>
                    <a:pt x="4461034" y="255746"/>
                    <a:pt x="4461034" y="255746"/>
                    <a:pt x="4461034" y="255746"/>
                  </a:cubicBezTo>
                  <a:close/>
                  <a:moveTo>
                    <a:pt x="4455319" y="274796"/>
                  </a:moveTo>
                  <a:cubicBezTo>
                    <a:pt x="4456272" y="272891"/>
                    <a:pt x="4457224" y="270034"/>
                    <a:pt x="4457224" y="268129"/>
                  </a:cubicBezTo>
                  <a:cubicBezTo>
                    <a:pt x="4457224" y="270034"/>
                    <a:pt x="4457224" y="271939"/>
                    <a:pt x="4457224" y="273844"/>
                  </a:cubicBezTo>
                  <a:cubicBezTo>
                    <a:pt x="4457224" y="277654"/>
                    <a:pt x="4457224" y="280511"/>
                    <a:pt x="4458176" y="284321"/>
                  </a:cubicBezTo>
                  <a:cubicBezTo>
                    <a:pt x="4457224" y="287179"/>
                    <a:pt x="4455319" y="290036"/>
                    <a:pt x="4454366" y="292894"/>
                  </a:cubicBezTo>
                  <a:cubicBezTo>
                    <a:pt x="4454366" y="287179"/>
                    <a:pt x="4454366" y="280511"/>
                    <a:pt x="4455319" y="274796"/>
                  </a:cubicBezTo>
                  <a:close/>
                  <a:moveTo>
                    <a:pt x="4449604" y="361474"/>
                  </a:moveTo>
                  <a:cubicBezTo>
                    <a:pt x="4450556" y="353854"/>
                    <a:pt x="4450556" y="346234"/>
                    <a:pt x="4451509" y="339566"/>
                  </a:cubicBezTo>
                  <a:cubicBezTo>
                    <a:pt x="4452462" y="340519"/>
                    <a:pt x="4452462" y="342424"/>
                    <a:pt x="4453414" y="343376"/>
                  </a:cubicBezTo>
                  <a:cubicBezTo>
                    <a:pt x="4453414" y="343376"/>
                    <a:pt x="4453414" y="343376"/>
                    <a:pt x="4453414" y="344329"/>
                  </a:cubicBezTo>
                  <a:cubicBezTo>
                    <a:pt x="4453414" y="344329"/>
                    <a:pt x="4453414" y="344329"/>
                    <a:pt x="4453414" y="344329"/>
                  </a:cubicBezTo>
                  <a:cubicBezTo>
                    <a:pt x="4452462" y="350996"/>
                    <a:pt x="4451509" y="358616"/>
                    <a:pt x="4451509" y="366236"/>
                  </a:cubicBezTo>
                  <a:cubicBezTo>
                    <a:pt x="4450556" y="372904"/>
                    <a:pt x="4449604" y="380524"/>
                    <a:pt x="4448651" y="388144"/>
                  </a:cubicBezTo>
                  <a:cubicBezTo>
                    <a:pt x="4447699" y="387191"/>
                    <a:pt x="4447699" y="387191"/>
                    <a:pt x="4446747" y="386239"/>
                  </a:cubicBezTo>
                  <a:cubicBezTo>
                    <a:pt x="4447699" y="377666"/>
                    <a:pt x="4448651" y="370046"/>
                    <a:pt x="4449604" y="361474"/>
                  </a:cubicBezTo>
                  <a:close/>
                  <a:moveTo>
                    <a:pt x="4386739" y="331946"/>
                  </a:moveTo>
                  <a:cubicBezTo>
                    <a:pt x="4387691" y="332899"/>
                    <a:pt x="4388644" y="334804"/>
                    <a:pt x="4390549" y="335756"/>
                  </a:cubicBezTo>
                  <a:cubicBezTo>
                    <a:pt x="4390549" y="337661"/>
                    <a:pt x="4390549" y="339566"/>
                    <a:pt x="4390549" y="342424"/>
                  </a:cubicBezTo>
                  <a:cubicBezTo>
                    <a:pt x="4389597" y="343376"/>
                    <a:pt x="4388644" y="345281"/>
                    <a:pt x="4386739" y="347186"/>
                  </a:cubicBezTo>
                  <a:cubicBezTo>
                    <a:pt x="4386739" y="341471"/>
                    <a:pt x="4386739" y="336709"/>
                    <a:pt x="4386739" y="331946"/>
                  </a:cubicBezTo>
                  <a:close/>
                  <a:moveTo>
                    <a:pt x="4389597" y="376714"/>
                  </a:moveTo>
                  <a:cubicBezTo>
                    <a:pt x="4389597" y="376714"/>
                    <a:pt x="4389597" y="375761"/>
                    <a:pt x="4388644" y="375761"/>
                  </a:cubicBezTo>
                  <a:cubicBezTo>
                    <a:pt x="4388644" y="373856"/>
                    <a:pt x="4387691" y="371951"/>
                    <a:pt x="4387691" y="370046"/>
                  </a:cubicBezTo>
                  <a:cubicBezTo>
                    <a:pt x="4387691" y="367189"/>
                    <a:pt x="4387691" y="363379"/>
                    <a:pt x="4387691" y="360521"/>
                  </a:cubicBezTo>
                  <a:cubicBezTo>
                    <a:pt x="4387691" y="357664"/>
                    <a:pt x="4387691" y="354806"/>
                    <a:pt x="4387691" y="351949"/>
                  </a:cubicBezTo>
                  <a:cubicBezTo>
                    <a:pt x="4388644" y="349091"/>
                    <a:pt x="4390549" y="347186"/>
                    <a:pt x="4391501" y="345281"/>
                  </a:cubicBezTo>
                  <a:cubicBezTo>
                    <a:pt x="4391501" y="346234"/>
                    <a:pt x="4391501" y="348139"/>
                    <a:pt x="4391501" y="349091"/>
                  </a:cubicBezTo>
                  <a:cubicBezTo>
                    <a:pt x="4391501" y="355759"/>
                    <a:pt x="4392454" y="362426"/>
                    <a:pt x="4392454" y="370046"/>
                  </a:cubicBezTo>
                  <a:cubicBezTo>
                    <a:pt x="4390549" y="371951"/>
                    <a:pt x="4389597" y="374809"/>
                    <a:pt x="4389597" y="376714"/>
                  </a:cubicBezTo>
                  <a:close/>
                  <a:moveTo>
                    <a:pt x="4424839" y="351949"/>
                  </a:moveTo>
                  <a:cubicBezTo>
                    <a:pt x="4424839" y="352901"/>
                    <a:pt x="4424839" y="353854"/>
                    <a:pt x="4424839" y="354806"/>
                  </a:cubicBezTo>
                  <a:cubicBezTo>
                    <a:pt x="4423887" y="355759"/>
                    <a:pt x="4423887" y="356711"/>
                    <a:pt x="4422934" y="356711"/>
                  </a:cubicBezTo>
                  <a:cubicBezTo>
                    <a:pt x="4422934" y="354806"/>
                    <a:pt x="4423887" y="353854"/>
                    <a:pt x="4424839" y="351949"/>
                  </a:cubicBezTo>
                  <a:close/>
                  <a:moveTo>
                    <a:pt x="4415314" y="411004"/>
                  </a:moveTo>
                  <a:cubicBezTo>
                    <a:pt x="4415314" y="411004"/>
                    <a:pt x="4415314" y="411956"/>
                    <a:pt x="4415314" y="411956"/>
                  </a:cubicBezTo>
                  <a:cubicBezTo>
                    <a:pt x="4414362" y="411004"/>
                    <a:pt x="4413409" y="410051"/>
                    <a:pt x="4412456" y="409099"/>
                  </a:cubicBezTo>
                  <a:cubicBezTo>
                    <a:pt x="4412456" y="401479"/>
                    <a:pt x="4412456" y="392906"/>
                    <a:pt x="4411504" y="385286"/>
                  </a:cubicBezTo>
                  <a:cubicBezTo>
                    <a:pt x="4414362" y="380524"/>
                    <a:pt x="4417219" y="376714"/>
                    <a:pt x="4420076" y="372904"/>
                  </a:cubicBezTo>
                  <a:cubicBezTo>
                    <a:pt x="4420076" y="373856"/>
                    <a:pt x="4421029" y="373856"/>
                    <a:pt x="4421029" y="374809"/>
                  </a:cubicBezTo>
                  <a:cubicBezTo>
                    <a:pt x="4419124" y="386239"/>
                    <a:pt x="4417219" y="397669"/>
                    <a:pt x="4415314" y="411004"/>
                  </a:cubicBezTo>
                  <a:close/>
                  <a:moveTo>
                    <a:pt x="4410551" y="254794"/>
                  </a:moveTo>
                  <a:cubicBezTo>
                    <a:pt x="4413409" y="260509"/>
                    <a:pt x="4417219" y="267176"/>
                    <a:pt x="4421029" y="273844"/>
                  </a:cubicBezTo>
                  <a:cubicBezTo>
                    <a:pt x="4419124" y="280511"/>
                    <a:pt x="4417219" y="287179"/>
                    <a:pt x="4415314" y="293846"/>
                  </a:cubicBezTo>
                  <a:cubicBezTo>
                    <a:pt x="4413409" y="301466"/>
                    <a:pt x="4410551" y="309086"/>
                    <a:pt x="4408647" y="316706"/>
                  </a:cubicBezTo>
                  <a:cubicBezTo>
                    <a:pt x="4407694" y="305276"/>
                    <a:pt x="4406741" y="297656"/>
                    <a:pt x="4406741" y="297656"/>
                  </a:cubicBezTo>
                  <a:cubicBezTo>
                    <a:pt x="4406741" y="297656"/>
                    <a:pt x="4404837" y="310991"/>
                    <a:pt x="4402931" y="331946"/>
                  </a:cubicBezTo>
                  <a:cubicBezTo>
                    <a:pt x="4402931" y="333851"/>
                    <a:pt x="4401979" y="335756"/>
                    <a:pt x="4401026" y="337661"/>
                  </a:cubicBezTo>
                  <a:cubicBezTo>
                    <a:pt x="4401026" y="337661"/>
                    <a:pt x="4400074" y="336709"/>
                    <a:pt x="4400074" y="336709"/>
                  </a:cubicBezTo>
                  <a:cubicBezTo>
                    <a:pt x="4393406" y="295751"/>
                    <a:pt x="4388644" y="270034"/>
                    <a:pt x="4388644" y="270034"/>
                  </a:cubicBezTo>
                  <a:cubicBezTo>
                    <a:pt x="4388644" y="270034"/>
                    <a:pt x="4388644" y="292894"/>
                    <a:pt x="4389597" y="328136"/>
                  </a:cubicBezTo>
                  <a:cubicBezTo>
                    <a:pt x="4388644" y="327184"/>
                    <a:pt x="4387691" y="326231"/>
                    <a:pt x="4386739" y="325279"/>
                  </a:cubicBezTo>
                  <a:cubicBezTo>
                    <a:pt x="4386739" y="324326"/>
                    <a:pt x="4386739" y="324326"/>
                    <a:pt x="4386739" y="323374"/>
                  </a:cubicBezTo>
                  <a:cubicBezTo>
                    <a:pt x="4387691" y="311944"/>
                    <a:pt x="4386739" y="300514"/>
                    <a:pt x="4387691" y="290989"/>
                  </a:cubicBezTo>
                  <a:cubicBezTo>
                    <a:pt x="4388644" y="280511"/>
                    <a:pt x="4388644" y="271939"/>
                    <a:pt x="4389597" y="263366"/>
                  </a:cubicBezTo>
                  <a:cubicBezTo>
                    <a:pt x="4390549" y="254794"/>
                    <a:pt x="4390549" y="248126"/>
                    <a:pt x="4391501" y="242411"/>
                  </a:cubicBezTo>
                  <a:cubicBezTo>
                    <a:pt x="4392454" y="233839"/>
                    <a:pt x="4393406" y="228124"/>
                    <a:pt x="4393406" y="225266"/>
                  </a:cubicBezTo>
                  <a:cubicBezTo>
                    <a:pt x="4399122" y="232886"/>
                    <a:pt x="4403884" y="243364"/>
                    <a:pt x="4410551" y="254794"/>
                  </a:cubicBezTo>
                  <a:close/>
                  <a:moveTo>
                    <a:pt x="4389597" y="217646"/>
                  </a:moveTo>
                  <a:cubicBezTo>
                    <a:pt x="4390549" y="219551"/>
                    <a:pt x="4392454" y="221456"/>
                    <a:pt x="4393406" y="224314"/>
                  </a:cubicBezTo>
                  <a:cubicBezTo>
                    <a:pt x="4392454" y="227171"/>
                    <a:pt x="4390549" y="232886"/>
                    <a:pt x="4387691" y="240506"/>
                  </a:cubicBezTo>
                  <a:cubicBezTo>
                    <a:pt x="4385787" y="246221"/>
                    <a:pt x="4383881" y="252889"/>
                    <a:pt x="4381976" y="260509"/>
                  </a:cubicBezTo>
                  <a:cubicBezTo>
                    <a:pt x="4381976" y="259556"/>
                    <a:pt x="4381976" y="257651"/>
                    <a:pt x="4381976" y="256699"/>
                  </a:cubicBezTo>
                  <a:cubicBezTo>
                    <a:pt x="4384834" y="242411"/>
                    <a:pt x="4386739" y="229076"/>
                    <a:pt x="4389597" y="217646"/>
                  </a:cubicBezTo>
                  <a:close/>
                  <a:moveTo>
                    <a:pt x="4374356" y="291941"/>
                  </a:moveTo>
                  <a:cubicBezTo>
                    <a:pt x="4374356" y="291941"/>
                    <a:pt x="4374356" y="292894"/>
                    <a:pt x="4374356" y="292894"/>
                  </a:cubicBezTo>
                  <a:cubicBezTo>
                    <a:pt x="4374356" y="292894"/>
                    <a:pt x="4374356" y="292894"/>
                    <a:pt x="4374356" y="291941"/>
                  </a:cubicBezTo>
                  <a:cubicBezTo>
                    <a:pt x="4374356" y="291941"/>
                    <a:pt x="4374356" y="291941"/>
                    <a:pt x="4374356" y="291941"/>
                  </a:cubicBezTo>
                  <a:close/>
                  <a:moveTo>
                    <a:pt x="4360069" y="282416"/>
                  </a:moveTo>
                  <a:cubicBezTo>
                    <a:pt x="4360069" y="284321"/>
                    <a:pt x="4360069" y="287179"/>
                    <a:pt x="4360069" y="290036"/>
                  </a:cubicBezTo>
                  <a:cubicBezTo>
                    <a:pt x="4360069" y="289084"/>
                    <a:pt x="4359116" y="288131"/>
                    <a:pt x="4359116" y="288131"/>
                  </a:cubicBezTo>
                  <a:cubicBezTo>
                    <a:pt x="4359116" y="285274"/>
                    <a:pt x="4359116" y="283369"/>
                    <a:pt x="4360069" y="282416"/>
                  </a:cubicBezTo>
                  <a:close/>
                  <a:moveTo>
                    <a:pt x="4313397" y="387191"/>
                  </a:moveTo>
                  <a:cubicBezTo>
                    <a:pt x="4312444" y="388144"/>
                    <a:pt x="4312444" y="390049"/>
                    <a:pt x="4311491" y="391001"/>
                  </a:cubicBezTo>
                  <a:cubicBezTo>
                    <a:pt x="4312444" y="389096"/>
                    <a:pt x="4312444" y="388144"/>
                    <a:pt x="4313397" y="387191"/>
                  </a:cubicBezTo>
                  <a:cubicBezTo>
                    <a:pt x="4313397" y="386239"/>
                    <a:pt x="4313397" y="387191"/>
                    <a:pt x="4313397" y="387191"/>
                  </a:cubicBezTo>
                  <a:close/>
                  <a:moveTo>
                    <a:pt x="4311491" y="351949"/>
                  </a:moveTo>
                  <a:cubicBezTo>
                    <a:pt x="4311491" y="356711"/>
                    <a:pt x="4312444" y="360521"/>
                    <a:pt x="4312444" y="365284"/>
                  </a:cubicBezTo>
                  <a:cubicBezTo>
                    <a:pt x="4311491" y="364331"/>
                    <a:pt x="4311491" y="364331"/>
                    <a:pt x="4311491" y="363379"/>
                  </a:cubicBezTo>
                  <a:cubicBezTo>
                    <a:pt x="4311491" y="358616"/>
                    <a:pt x="4311491" y="355759"/>
                    <a:pt x="4311491" y="351949"/>
                  </a:cubicBezTo>
                  <a:close/>
                  <a:moveTo>
                    <a:pt x="4247674" y="313849"/>
                  </a:moveTo>
                  <a:cubicBezTo>
                    <a:pt x="4247674" y="312896"/>
                    <a:pt x="4247674" y="312896"/>
                    <a:pt x="4247674" y="311944"/>
                  </a:cubicBezTo>
                  <a:cubicBezTo>
                    <a:pt x="4247674" y="312896"/>
                    <a:pt x="4247674" y="312896"/>
                    <a:pt x="4247674" y="313849"/>
                  </a:cubicBezTo>
                  <a:cubicBezTo>
                    <a:pt x="4247674" y="317659"/>
                    <a:pt x="4247674" y="320516"/>
                    <a:pt x="4246722" y="324326"/>
                  </a:cubicBezTo>
                  <a:cubicBezTo>
                    <a:pt x="4246722" y="323374"/>
                    <a:pt x="4246722" y="322421"/>
                    <a:pt x="4246722" y="322421"/>
                  </a:cubicBezTo>
                  <a:cubicBezTo>
                    <a:pt x="4246722" y="318611"/>
                    <a:pt x="4247674" y="315754"/>
                    <a:pt x="4247674" y="313849"/>
                  </a:cubicBezTo>
                  <a:close/>
                  <a:moveTo>
                    <a:pt x="4181951" y="367189"/>
                  </a:moveTo>
                  <a:cubicBezTo>
                    <a:pt x="4181951" y="351949"/>
                    <a:pt x="4182904" y="337661"/>
                    <a:pt x="4182904" y="324326"/>
                  </a:cubicBezTo>
                  <a:cubicBezTo>
                    <a:pt x="4182904" y="326231"/>
                    <a:pt x="4183856" y="328136"/>
                    <a:pt x="4183856" y="330041"/>
                  </a:cubicBezTo>
                  <a:cubicBezTo>
                    <a:pt x="4184809" y="333851"/>
                    <a:pt x="4185761" y="336709"/>
                    <a:pt x="4185761" y="340519"/>
                  </a:cubicBezTo>
                  <a:cubicBezTo>
                    <a:pt x="4185761" y="341471"/>
                    <a:pt x="4185761" y="342424"/>
                    <a:pt x="4185761" y="342424"/>
                  </a:cubicBezTo>
                  <a:cubicBezTo>
                    <a:pt x="4184809" y="339566"/>
                    <a:pt x="4183856" y="338614"/>
                    <a:pt x="4183856" y="338614"/>
                  </a:cubicBezTo>
                  <a:cubicBezTo>
                    <a:pt x="4183856" y="338614"/>
                    <a:pt x="4184809" y="345281"/>
                    <a:pt x="4187666" y="357664"/>
                  </a:cubicBezTo>
                  <a:cubicBezTo>
                    <a:pt x="4187666" y="360521"/>
                    <a:pt x="4188619" y="362426"/>
                    <a:pt x="4189571" y="365284"/>
                  </a:cubicBezTo>
                  <a:cubicBezTo>
                    <a:pt x="4189571" y="368141"/>
                    <a:pt x="4190524" y="370999"/>
                    <a:pt x="4191476" y="373856"/>
                  </a:cubicBezTo>
                  <a:cubicBezTo>
                    <a:pt x="4191476" y="377666"/>
                    <a:pt x="4190524" y="382429"/>
                    <a:pt x="4190524" y="386239"/>
                  </a:cubicBezTo>
                  <a:cubicBezTo>
                    <a:pt x="4190524" y="388144"/>
                    <a:pt x="4190524" y="390049"/>
                    <a:pt x="4190524" y="391954"/>
                  </a:cubicBezTo>
                  <a:cubicBezTo>
                    <a:pt x="4187666" y="383381"/>
                    <a:pt x="4184809" y="374809"/>
                    <a:pt x="4181951" y="367189"/>
                  </a:cubicBezTo>
                  <a:cubicBezTo>
                    <a:pt x="4181951" y="369094"/>
                    <a:pt x="4181951" y="368141"/>
                    <a:pt x="4181951" y="367189"/>
                  </a:cubicBezTo>
                  <a:close/>
                  <a:moveTo>
                    <a:pt x="4161949" y="401479"/>
                  </a:moveTo>
                  <a:cubicBezTo>
                    <a:pt x="4161949" y="400526"/>
                    <a:pt x="4161949" y="400526"/>
                    <a:pt x="4161949" y="399574"/>
                  </a:cubicBezTo>
                  <a:cubicBezTo>
                    <a:pt x="4161949" y="399574"/>
                    <a:pt x="4161949" y="399574"/>
                    <a:pt x="4161949" y="399574"/>
                  </a:cubicBezTo>
                  <a:cubicBezTo>
                    <a:pt x="4161949" y="400526"/>
                    <a:pt x="4161949" y="401479"/>
                    <a:pt x="4161949" y="401479"/>
                  </a:cubicBezTo>
                  <a:close/>
                  <a:moveTo>
                    <a:pt x="4160044" y="306229"/>
                  </a:moveTo>
                  <a:cubicBezTo>
                    <a:pt x="4160044" y="299561"/>
                    <a:pt x="4160996" y="295751"/>
                    <a:pt x="4160996" y="292894"/>
                  </a:cubicBezTo>
                  <a:cubicBezTo>
                    <a:pt x="4161949" y="289084"/>
                    <a:pt x="4162901" y="286226"/>
                    <a:pt x="4163854" y="282416"/>
                  </a:cubicBezTo>
                  <a:cubicBezTo>
                    <a:pt x="4163854" y="292894"/>
                    <a:pt x="4162901" y="303371"/>
                    <a:pt x="4162901" y="313849"/>
                  </a:cubicBezTo>
                  <a:cubicBezTo>
                    <a:pt x="4161949" y="310991"/>
                    <a:pt x="4160996" y="309086"/>
                    <a:pt x="4160044" y="306229"/>
                  </a:cubicBezTo>
                  <a:cubicBezTo>
                    <a:pt x="4160044" y="306229"/>
                    <a:pt x="4160044" y="306229"/>
                    <a:pt x="4160044" y="306229"/>
                  </a:cubicBezTo>
                  <a:close/>
                  <a:moveTo>
                    <a:pt x="4128611" y="354806"/>
                  </a:moveTo>
                  <a:cubicBezTo>
                    <a:pt x="4128611" y="350996"/>
                    <a:pt x="4128611" y="347186"/>
                    <a:pt x="4127659" y="343376"/>
                  </a:cubicBezTo>
                  <a:cubicBezTo>
                    <a:pt x="4127659" y="345281"/>
                    <a:pt x="4127659" y="347186"/>
                    <a:pt x="4128611" y="350044"/>
                  </a:cubicBezTo>
                  <a:cubicBezTo>
                    <a:pt x="4129564" y="354806"/>
                    <a:pt x="4129564" y="360521"/>
                    <a:pt x="4130516" y="365284"/>
                  </a:cubicBezTo>
                  <a:cubicBezTo>
                    <a:pt x="4129564" y="361474"/>
                    <a:pt x="4129564" y="358616"/>
                    <a:pt x="4128611" y="354806"/>
                  </a:cubicBezTo>
                  <a:close/>
                  <a:moveTo>
                    <a:pt x="4124801" y="255746"/>
                  </a:moveTo>
                  <a:cubicBezTo>
                    <a:pt x="4124801" y="252889"/>
                    <a:pt x="4124801" y="250031"/>
                    <a:pt x="4124801" y="248126"/>
                  </a:cubicBezTo>
                  <a:cubicBezTo>
                    <a:pt x="4129564" y="265271"/>
                    <a:pt x="4134326" y="284321"/>
                    <a:pt x="4140041" y="303371"/>
                  </a:cubicBezTo>
                  <a:cubicBezTo>
                    <a:pt x="4140041" y="304324"/>
                    <a:pt x="4140994" y="306229"/>
                    <a:pt x="4140994" y="307181"/>
                  </a:cubicBezTo>
                  <a:cubicBezTo>
                    <a:pt x="4140994" y="311944"/>
                    <a:pt x="4140994" y="316706"/>
                    <a:pt x="4140994" y="321469"/>
                  </a:cubicBezTo>
                  <a:cubicBezTo>
                    <a:pt x="4136231" y="310991"/>
                    <a:pt x="4133374" y="305276"/>
                    <a:pt x="4133374" y="305276"/>
                  </a:cubicBezTo>
                  <a:cubicBezTo>
                    <a:pt x="4133374" y="305276"/>
                    <a:pt x="4134326" y="308134"/>
                    <a:pt x="4135279" y="312896"/>
                  </a:cubicBezTo>
                  <a:cubicBezTo>
                    <a:pt x="4132421" y="309086"/>
                    <a:pt x="4130516" y="304324"/>
                    <a:pt x="4127659" y="300514"/>
                  </a:cubicBezTo>
                  <a:cubicBezTo>
                    <a:pt x="4125754" y="293846"/>
                    <a:pt x="4124801" y="288131"/>
                    <a:pt x="4123849" y="284321"/>
                  </a:cubicBezTo>
                  <a:cubicBezTo>
                    <a:pt x="4124801" y="273844"/>
                    <a:pt x="4124801" y="264319"/>
                    <a:pt x="4124801" y="255746"/>
                  </a:cubicBezTo>
                  <a:close/>
                  <a:moveTo>
                    <a:pt x="4095274" y="395764"/>
                  </a:moveTo>
                  <a:cubicBezTo>
                    <a:pt x="4094321" y="395764"/>
                    <a:pt x="4094321" y="395764"/>
                    <a:pt x="4095274" y="395764"/>
                  </a:cubicBezTo>
                  <a:cubicBezTo>
                    <a:pt x="4095274" y="394811"/>
                    <a:pt x="4095274" y="394811"/>
                    <a:pt x="4095274" y="394811"/>
                  </a:cubicBezTo>
                  <a:cubicBezTo>
                    <a:pt x="4095274" y="394811"/>
                    <a:pt x="4095274" y="395764"/>
                    <a:pt x="4095274" y="395764"/>
                  </a:cubicBezTo>
                  <a:close/>
                  <a:moveTo>
                    <a:pt x="4093369" y="386239"/>
                  </a:moveTo>
                  <a:cubicBezTo>
                    <a:pt x="4093369" y="383381"/>
                    <a:pt x="4093369" y="379571"/>
                    <a:pt x="4093369" y="376714"/>
                  </a:cubicBezTo>
                  <a:cubicBezTo>
                    <a:pt x="4094321" y="378619"/>
                    <a:pt x="4095274" y="380524"/>
                    <a:pt x="4096226" y="382429"/>
                  </a:cubicBezTo>
                  <a:cubicBezTo>
                    <a:pt x="4094321" y="384334"/>
                    <a:pt x="4094321" y="385286"/>
                    <a:pt x="4093369" y="386239"/>
                  </a:cubicBezTo>
                  <a:close/>
                  <a:moveTo>
                    <a:pt x="4097179" y="342424"/>
                  </a:moveTo>
                  <a:cubicBezTo>
                    <a:pt x="4098131" y="339566"/>
                    <a:pt x="4098131" y="337661"/>
                    <a:pt x="4099084" y="334804"/>
                  </a:cubicBezTo>
                  <a:cubicBezTo>
                    <a:pt x="4099084" y="335756"/>
                    <a:pt x="4099084" y="336709"/>
                    <a:pt x="4099084" y="337661"/>
                  </a:cubicBezTo>
                  <a:cubicBezTo>
                    <a:pt x="4099084" y="339566"/>
                    <a:pt x="4098131" y="340519"/>
                    <a:pt x="4097179" y="342424"/>
                  </a:cubicBezTo>
                  <a:close/>
                  <a:moveTo>
                    <a:pt x="4100989" y="353854"/>
                  </a:moveTo>
                  <a:cubicBezTo>
                    <a:pt x="4100989" y="352901"/>
                    <a:pt x="4100989" y="351949"/>
                    <a:pt x="4100989" y="351949"/>
                  </a:cubicBezTo>
                  <a:cubicBezTo>
                    <a:pt x="4100989" y="351949"/>
                    <a:pt x="4100989" y="351949"/>
                    <a:pt x="4100989" y="351949"/>
                  </a:cubicBezTo>
                  <a:cubicBezTo>
                    <a:pt x="4100989" y="352901"/>
                    <a:pt x="4100989" y="353854"/>
                    <a:pt x="4100989" y="353854"/>
                  </a:cubicBezTo>
                  <a:cubicBezTo>
                    <a:pt x="4100989" y="354806"/>
                    <a:pt x="4100989" y="353854"/>
                    <a:pt x="4100989" y="353854"/>
                  </a:cubicBezTo>
                  <a:close/>
                  <a:moveTo>
                    <a:pt x="4115276" y="322421"/>
                  </a:moveTo>
                  <a:cubicBezTo>
                    <a:pt x="4115276" y="330994"/>
                    <a:pt x="4114324" y="341471"/>
                    <a:pt x="4114324" y="350996"/>
                  </a:cubicBezTo>
                  <a:cubicBezTo>
                    <a:pt x="4113371" y="336709"/>
                    <a:pt x="4111466" y="327184"/>
                    <a:pt x="4111466" y="327184"/>
                  </a:cubicBezTo>
                  <a:cubicBezTo>
                    <a:pt x="4111466" y="327184"/>
                    <a:pt x="4110514" y="332899"/>
                    <a:pt x="4108609" y="342424"/>
                  </a:cubicBezTo>
                  <a:cubicBezTo>
                    <a:pt x="4108609" y="342424"/>
                    <a:pt x="4107656" y="341471"/>
                    <a:pt x="4107656" y="341471"/>
                  </a:cubicBezTo>
                  <a:cubicBezTo>
                    <a:pt x="4107656" y="339566"/>
                    <a:pt x="4106704" y="338614"/>
                    <a:pt x="4106704" y="336709"/>
                  </a:cubicBezTo>
                  <a:cubicBezTo>
                    <a:pt x="4108609" y="330994"/>
                    <a:pt x="4111466" y="326231"/>
                    <a:pt x="4113371" y="322421"/>
                  </a:cubicBezTo>
                  <a:cubicBezTo>
                    <a:pt x="4114324" y="321469"/>
                    <a:pt x="4114324" y="319564"/>
                    <a:pt x="4115276" y="318611"/>
                  </a:cubicBezTo>
                  <a:cubicBezTo>
                    <a:pt x="4115276" y="319564"/>
                    <a:pt x="4115276" y="320516"/>
                    <a:pt x="4115276" y="322421"/>
                  </a:cubicBezTo>
                  <a:close/>
                  <a:moveTo>
                    <a:pt x="4109561" y="295751"/>
                  </a:moveTo>
                  <a:cubicBezTo>
                    <a:pt x="4111466" y="299561"/>
                    <a:pt x="4113371" y="303371"/>
                    <a:pt x="4116229" y="308134"/>
                  </a:cubicBezTo>
                  <a:cubicBezTo>
                    <a:pt x="4116229" y="309086"/>
                    <a:pt x="4116229" y="310991"/>
                    <a:pt x="4116229" y="311944"/>
                  </a:cubicBezTo>
                  <a:cubicBezTo>
                    <a:pt x="4114324" y="314801"/>
                    <a:pt x="4112419" y="316706"/>
                    <a:pt x="4110514" y="320516"/>
                  </a:cubicBezTo>
                  <a:cubicBezTo>
                    <a:pt x="4108609" y="323374"/>
                    <a:pt x="4106704" y="326231"/>
                    <a:pt x="4104799" y="329089"/>
                  </a:cubicBezTo>
                  <a:cubicBezTo>
                    <a:pt x="4103846" y="326231"/>
                    <a:pt x="4102894" y="324326"/>
                    <a:pt x="4102894" y="322421"/>
                  </a:cubicBezTo>
                  <a:cubicBezTo>
                    <a:pt x="4105751" y="311944"/>
                    <a:pt x="4107656" y="303371"/>
                    <a:pt x="4109561" y="295751"/>
                  </a:cubicBezTo>
                  <a:close/>
                  <a:moveTo>
                    <a:pt x="4092416" y="294799"/>
                  </a:moveTo>
                  <a:cubicBezTo>
                    <a:pt x="4093369" y="284321"/>
                    <a:pt x="4093369" y="274796"/>
                    <a:pt x="4094321" y="265271"/>
                  </a:cubicBezTo>
                  <a:cubicBezTo>
                    <a:pt x="4095274" y="268129"/>
                    <a:pt x="4096226" y="270034"/>
                    <a:pt x="4098131" y="272891"/>
                  </a:cubicBezTo>
                  <a:cubicBezTo>
                    <a:pt x="4100989" y="278606"/>
                    <a:pt x="4103846" y="284321"/>
                    <a:pt x="4106704" y="290989"/>
                  </a:cubicBezTo>
                  <a:cubicBezTo>
                    <a:pt x="4103846" y="296704"/>
                    <a:pt x="4101941" y="304324"/>
                    <a:pt x="4098131" y="311944"/>
                  </a:cubicBezTo>
                  <a:cubicBezTo>
                    <a:pt x="4097179" y="308134"/>
                    <a:pt x="4096226" y="306229"/>
                    <a:pt x="4096226" y="306229"/>
                  </a:cubicBezTo>
                  <a:cubicBezTo>
                    <a:pt x="4096226" y="306229"/>
                    <a:pt x="4096226" y="310039"/>
                    <a:pt x="4097179" y="315754"/>
                  </a:cubicBezTo>
                  <a:cubicBezTo>
                    <a:pt x="4095274" y="320516"/>
                    <a:pt x="4093369" y="324326"/>
                    <a:pt x="4092416" y="329089"/>
                  </a:cubicBezTo>
                  <a:cubicBezTo>
                    <a:pt x="4092416" y="328136"/>
                    <a:pt x="4091464" y="326231"/>
                    <a:pt x="4091464" y="325279"/>
                  </a:cubicBezTo>
                  <a:cubicBezTo>
                    <a:pt x="4091464" y="324326"/>
                    <a:pt x="4090511" y="323374"/>
                    <a:pt x="4090511" y="321469"/>
                  </a:cubicBezTo>
                  <a:cubicBezTo>
                    <a:pt x="4091464" y="311944"/>
                    <a:pt x="4092416" y="303371"/>
                    <a:pt x="4092416" y="294799"/>
                  </a:cubicBezTo>
                  <a:close/>
                  <a:moveTo>
                    <a:pt x="4085749" y="244316"/>
                  </a:moveTo>
                  <a:cubicBezTo>
                    <a:pt x="4085749" y="245269"/>
                    <a:pt x="4085749" y="245269"/>
                    <a:pt x="4085749" y="244316"/>
                  </a:cubicBezTo>
                  <a:cubicBezTo>
                    <a:pt x="4085749" y="247174"/>
                    <a:pt x="4085749" y="248126"/>
                    <a:pt x="4084796" y="250031"/>
                  </a:cubicBezTo>
                  <a:cubicBezTo>
                    <a:pt x="4084796" y="249079"/>
                    <a:pt x="4084796" y="246221"/>
                    <a:pt x="4085749" y="244316"/>
                  </a:cubicBezTo>
                  <a:close/>
                  <a:moveTo>
                    <a:pt x="4043839" y="279559"/>
                  </a:moveTo>
                  <a:cubicBezTo>
                    <a:pt x="4044791" y="280511"/>
                    <a:pt x="4044791" y="280511"/>
                    <a:pt x="4043839" y="279559"/>
                  </a:cubicBezTo>
                  <a:cubicBezTo>
                    <a:pt x="4044791" y="281464"/>
                    <a:pt x="4044791" y="282416"/>
                    <a:pt x="4044791" y="283369"/>
                  </a:cubicBezTo>
                  <a:cubicBezTo>
                    <a:pt x="4043839" y="282416"/>
                    <a:pt x="4043839" y="281464"/>
                    <a:pt x="4043839" y="281464"/>
                  </a:cubicBezTo>
                  <a:cubicBezTo>
                    <a:pt x="4043839" y="281464"/>
                    <a:pt x="4043839" y="283369"/>
                    <a:pt x="4044791" y="286226"/>
                  </a:cubicBezTo>
                  <a:cubicBezTo>
                    <a:pt x="4044791" y="287179"/>
                    <a:pt x="4044791" y="288131"/>
                    <a:pt x="4044791" y="290036"/>
                  </a:cubicBezTo>
                  <a:cubicBezTo>
                    <a:pt x="4043839" y="288131"/>
                    <a:pt x="4042886" y="286226"/>
                    <a:pt x="4042886" y="284321"/>
                  </a:cubicBezTo>
                  <a:cubicBezTo>
                    <a:pt x="4043839" y="282416"/>
                    <a:pt x="4043839" y="281464"/>
                    <a:pt x="4043839" y="279559"/>
                  </a:cubicBezTo>
                  <a:close/>
                  <a:moveTo>
                    <a:pt x="4044791" y="333851"/>
                  </a:moveTo>
                  <a:cubicBezTo>
                    <a:pt x="4044791" y="333851"/>
                    <a:pt x="4044791" y="333851"/>
                    <a:pt x="4044791" y="333851"/>
                  </a:cubicBezTo>
                  <a:cubicBezTo>
                    <a:pt x="4044791" y="335756"/>
                    <a:pt x="4044791" y="337661"/>
                    <a:pt x="4044791" y="339566"/>
                  </a:cubicBezTo>
                  <a:cubicBezTo>
                    <a:pt x="4043839" y="338614"/>
                    <a:pt x="4043839" y="338614"/>
                    <a:pt x="4042886" y="337661"/>
                  </a:cubicBezTo>
                  <a:cubicBezTo>
                    <a:pt x="4042886" y="335756"/>
                    <a:pt x="4043839" y="334804"/>
                    <a:pt x="4044791" y="333851"/>
                  </a:cubicBezTo>
                  <a:close/>
                  <a:moveTo>
                    <a:pt x="4039076" y="271939"/>
                  </a:moveTo>
                  <a:cubicBezTo>
                    <a:pt x="4039076" y="272891"/>
                    <a:pt x="4039076" y="272891"/>
                    <a:pt x="4039076" y="273844"/>
                  </a:cubicBezTo>
                  <a:cubicBezTo>
                    <a:pt x="4039076" y="272891"/>
                    <a:pt x="4038124" y="271939"/>
                    <a:pt x="4038124" y="270034"/>
                  </a:cubicBezTo>
                  <a:cubicBezTo>
                    <a:pt x="4037171" y="268129"/>
                    <a:pt x="4037171" y="267176"/>
                    <a:pt x="4036219" y="265271"/>
                  </a:cubicBezTo>
                  <a:cubicBezTo>
                    <a:pt x="4037171" y="267176"/>
                    <a:pt x="4038124" y="269081"/>
                    <a:pt x="4039076" y="271939"/>
                  </a:cubicBezTo>
                  <a:close/>
                  <a:moveTo>
                    <a:pt x="4033361" y="358616"/>
                  </a:moveTo>
                  <a:cubicBezTo>
                    <a:pt x="4033361" y="355759"/>
                    <a:pt x="4034314" y="353854"/>
                    <a:pt x="4034314" y="351949"/>
                  </a:cubicBezTo>
                  <a:cubicBezTo>
                    <a:pt x="4035266" y="350044"/>
                    <a:pt x="4037171" y="347186"/>
                    <a:pt x="4038124" y="345281"/>
                  </a:cubicBezTo>
                  <a:cubicBezTo>
                    <a:pt x="4040029" y="347186"/>
                    <a:pt x="4041934" y="350044"/>
                    <a:pt x="4043839" y="351949"/>
                  </a:cubicBezTo>
                  <a:cubicBezTo>
                    <a:pt x="4042886" y="363379"/>
                    <a:pt x="4041934" y="376714"/>
                    <a:pt x="4040981" y="391954"/>
                  </a:cubicBezTo>
                  <a:cubicBezTo>
                    <a:pt x="4039076" y="398621"/>
                    <a:pt x="4037171" y="406241"/>
                    <a:pt x="4035266" y="413861"/>
                  </a:cubicBezTo>
                  <a:cubicBezTo>
                    <a:pt x="4033361" y="407194"/>
                    <a:pt x="4030504" y="401479"/>
                    <a:pt x="4029551" y="395764"/>
                  </a:cubicBezTo>
                  <a:cubicBezTo>
                    <a:pt x="4028599" y="392906"/>
                    <a:pt x="4027646" y="391001"/>
                    <a:pt x="4027646" y="388144"/>
                  </a:cubicBezTo>
                  <a:cubicBezTo>
                    <a:pt x="4029551" y="377666"/>
                    <a:pt x="4031456" y="368141"/>
                    <a:pt x="4033361" y="358616"/>
                  </a:cubicBezTo>
                  <a:close/>
                  <a:moveTo>
                    <a:pt x="4020026" y="324326"/>
                  </a:moveTo>
                  <a:cubicBezTo>
                    <a:pt x="4020979" y="325279"/>
                    <a:pt x="4020979" y="325279"/>
                    <a:pt x="4021931" y="326231"/>
                  </a:cubicBezTo>
                  <a:cubicBezTo>
                    <a:pt x="4020979" y="329089"/>
                    <a:pt x="4020026" y="331946"/>
                    <a:pt x="4019074" y="334804"/>
                  </a:cubicBezTo>
                  <a:cubicBezTo>
                    <a:pt x="4018121" y="336709"/>
                    <a:pt x="4018121" y="339566"/>
                    <a:pt x="4017169" y="341471"/>
                  </a:cubicBezTo>
                  <a:cubicBezTo>
                    <a:pt x="4017169" y="341471"/>
                    <a:pt x="4017169" y="342424"/>
                    <a:pt x="4016216" y="342424"/>
                  </a:cubicBezTo>
                  <a:cubicBezTo>
                    <a:pt x="4016216" y="343376"/>
                    <a:pt x="4015264" y="343376"/>
                    <a:pt x="4015264" y="344329"/>
                  </a:cubicBezTo>
                  <a:cubicBezTo>
                    <a:pt x="4014311" y="333851"/>
                    <a:pt x="4012406" y="324326"/>
                    <a:pt x="4011454" y="315754"/>
                  </a:cubicBezTo>
                  <a:cubicBezTo>
                    <a:pt x="4014311" y="317659"/>
                    <a:pt x="4017169" y="320516"/>
                    <a:pt x="4020026" y="324326"/>
                  </a:cubicBezTo>
                  <a:close/>
                  <a:moveTo>
                    <a:pt x="3999071" y="282416"/>
                  </a:moveTo>
                  <a:cubicBezTo>
                    <a:pt x="4000024" y="282416"/>
                    <a:pt x="4000024" y="282416"/>
                    <a:pt x="3999071" y="282416"/>
                  </a:cubicBezTo>
                  <a:cubicBezTo>
                    <a:pt x="4000024" y="290989"/>
                    <a:pt x="4000024" y="300514"/>
                    <a:pt x="4000024" y="310991"/>
                  </a:cubicBezTo>
                  <a:cubicBezTo>
                    <a:pt x="4000024" y="312896"/>
                    <a:pt x="4000024" y="314801"/>
                    <a:pt x="4000024" y="316706"/>
                  </a:cubicBezTo>
                  <a:cubicBezTo>
                    <a:pt x="4000024" y="319564"/>
                    <a:pt x="3999071" y="322421"/>
                    <a:pt x="3999071" y="325279"/>
                  </a:cubicBezTo>
                  <a:cubicBezTo>
                    <a:pt x="3999071" y="325279"/>
                    <a:pt x="3999071" y="326231"/>
                    <a:pt x="3999071" y="327184"/>
                  </a:cubicBezTo>
                  <a:cubicBezTo>
                    <a:pt x="3999071" y="326231"/>
                    <a:pt x="3998119" y="325279"/>
                    <a:pt x="3998119" y="324326"/>
                  </a:cubicBezTo>
                  <a:lnTo>
                    <a:pt x="3997166" y="314801"/>
                  </a:lnTo>
                  <a:lnTo>
                    <a:pt x="3996214" y="286226"/>
                  </a:lnTo>
                  <a:cubicBezTo>
                    <a:pt x="3997166" y="285274"/>
                    <a:pt x="3998119" y="284321"/>
                    <a:pt x="3999071" y="282416"/>
                  </a:cubicBezTo>
                  <a:close/>
                  <a:moveTo>
                    <a:pt x="3983831" y="405289"/>
                  </a:moveTo>
                  <a:cubicBezTo>
                    <a:pt x="3982879" y="408146"/>
                    <a:pt x="3981926" y="410051"/>
                    <a:pt x="3980021" y="412909"/>
                  </a:cubicBezTo>
                  <a:cubicBezTo>
                    <a:pt x="3980021" y="412909"/>
                    <a:pt x="3980021" y="412909"/>
                    <a:pt x="3980021" y="412909"/>
                  </a:cubicBezTo>
                  <a:cubicBezTo>
                    <a:pt x="3981926" y="407194"/>
                    <a:pt x="3981926" y="404336"/>
                    <a:pt x="3982879" y="402431"/>
                  </a:cubicBezTo>
                  <a:cubicBezTo>
                    <a:pt x="3982879" y="403384"/>
                    <a:pt x="3982879" y="404336"/>
                    <a:pt x="3983831" y="405289"/>
                  </a:cubicBezTo>
                  <a:close/>
                  <a:moveTo>
                    <a:pt x="3980974" y="395764"/>
                  </a:moveTo>
                  <a:cubicBezTo>
                    <a:pt x="3981926" y="397669"/>
                    <a:pt x="3981926" y="399574"/>
                    <a:pt x="3982879" y="401479"/>
                  </a:cubicBezTo>
                  <a:cubicBezTo>
                    <a:pt x="3982879" y="402431"/>
                    <a:pt x="3980974" y="404336"/>
                    <a:pt x="3979069" y="407194"/>
                  </a:cubicBezTo>
                  <a:cubicBezTo>
                    <a:pt x="3979069" y="407194"/>
                    <a:pt x="3979069" y="406241"/>
                    <a:pt x="3979069" y="406241"/>
                  </a:cubicBezTo>
                  <a:cubicBezTo>
                    <a:pt x="3980021" y="403384"/>
                    <a:pt x="3980021" y="399574"/>
                    <a:pt x="3980974" y="395764"/>
                  </a:cubicBezTo>
                  <a:close/>
                  <a:moveTo>
                    <a:pt x="3976211" y="378619"/>
                  </a:moveTo>
                  <a:cubicBezTo>
                    <a:pt x="3976211" y="378619"/>
                    <a:pt x="3976211" y="378619"/>
                    <a:pt x="3976211" y="378619"/>
                  </a:cubicBezTo>
                  <a:cubicBezTo>
                    <a:pt x="3976211" y="379571"/>
                    <a:pt x="3976211" y="379571"/>
                    <a:pt x="3976211" y="380524"/>
                  </a:cubicBezTo>
                  <a:cubicBezTo>
                    <a:pt x="3976211" y="379571"/>
                    <a:pt x="3976211" y="378619"/>
                    <a:pt x="3976211" y="378619"/>
                  </a:cubicBezTo>
                  <a:close/>
                  <a:moveTo>
                    <a:pt x="3948589" y="255746"/>
                  </a:moveTo>
                  <a:cubicBezTo>
                    <a:pt x="3948589" y="262414"/>
                    <a:pt x="3947636" y="270034"/>
                    <a:pt x="3946684" y="277654"/>
                  </a:cubicBezTo>
                  <a:cubicBezTo>
                    <a:pt x="3946684" y="279559"/>
                    <a:pt x="3946684" y="282416"/>
                    <a:pt x="3945731" y="285274"/>
                  </a:cubicBezTo>
                  <a:cubicBezTo>
                    <a:pt x="3944779" y="278606"/>
                    <a:pt x="3944779" y="272891"/>
                    <a:pt x="3943826" y="266224"/>
                  </a:cubicBezTo>
                  <a:cubicBezTo>
                    <a:pt x="3942874" y="257651"/>
                    <a:pt x="3940969" y="249079"/>
                    <a:pt x="3940016" y="240506"/>
                  </a:cubicBezTo>
                  <a:cubicBezTo>
                    <a:pt x="3940016" y="240506"/>
                    <a:pt x="3940016" y="240506"/>
                    <a:pt x="3940016" y="239554"/>
                  </a:cubicBezTo>
                  <a:cubicBezTo>
                    <a:pt x="3940016" y="238601"/>
                    <a:pt x="3940016" y="237649"/>
                    <a:pt x="3940016" y="236696"/>
                  </a:cubicBezTo>
                  <a:cubicBezTo>
                    <a:pt x="3940969" y="237649"/>
                    <a:pt x="3941921" y="239554"/>
                    <a:pt x="3942874" y="240506"/>
                  </a:cubicBezTo>
                  <a:cubicBezTo>
                    <a:pt x="3944779" y="243364"/>
                    <a:pt x="3945731" y="245269"/>
                    <a:pt x="3947636" y="248126"/>
                  </a:cubicBezTo>
                  <a:cubicBezTo>
                    <a:pt x="3948589" y="251936"/>
                    <a:pt x="3948589" y="253841"/>
                    <a:pt x="3948589" y="255746"/>
                  </a:cubicBezTo>
                  <a:close/>
                  <a:moveTo>
                    <a:pt x="3943826" y="205264"/>
                  </a:moveTo>
                  <a:cubicBezTo>
                    <a:pt x="3943826" y="207169"/>
                    <a:pt x="3943826" y="209074"/>
                    <a:pt x="3943826" y="210979"/>
                  </a:cubicBezTo>
                  <a:cubicBezTo>
                    <a:pt x="3943826" y="216694"/>
                    <a:pt x="3944779" y="223361"/>
                    <a:pt x="3945731" y="230981"/>
                  </a:cubicBezTo>
                  <a:cubicBezTo>
                    <a:pt x="3945731" y="232886"/>
                    <a:pt x="3945731" y="234791"/>
                    <a:pt x="3946684" y="236696"/>
                  </a:cubicBezTo>
                  <a:cubicBezTo>
                    <a:pt x="3943826" y="233839"/>
                    <a:pt x="3941921" y="230029"/>
                    <a:pt x="3939064" y="228124"/>
                  </a:cubicBezTo>
                  <a:cubicBezTo>
                    <a:pt x="3938111" y="224314"/>
                    <a:pt x="3938111" y="219551"/>
                    <a:pt x="3937159" y="215741"/>
                  </a:cubicBezTo>
                  <a:cubicBezTo>
                    <a:pt x="3940016" y="210979"/>
                    <a:pt x="3941921" y="208121"/>
                    <a:pt x="3943826" y="205264"/>
                  </a:cubicBezTo>
                  <a:close/>
                  <a:moveTo>
                    <a:pt x="3866674" y="369094"/>
                  </a:moveTo>
                  <a:cubicBezTo>
                    <a:pt x="3866674" y="369094"/>
                    <a:pt x="3866674" y="368141"/>
                    <a:pt x="3867626" y="368141"/>
                  </a:cubicBezTo>
                  <a:cubicBezTo>
                    <a:pt x="3867626" y="369094"/>
                    <a:pt x="3867626" y="370046"/>
                    <a:pt x="3867626" y="370999"/>
                  </a:cubicBezTo>
                  <a:cubicBezTo>
                    <a:pt x="3867626" y="370046"/>
                    <a:pt x="3866674" y="370046"/>
                    <a:pt x="3866674" y="369094"/>
                  </a:cubicBezTo>
                  <a:close/>
                  <a:moveTo>
                    <a:pt x="3886676" y="354806"/>
                  </a:moveTo>
                  <a:cubicBezTo>
                    <a:pt x="3885724" y="351949"/>
                    <a:pt x="3883819" y="350044"/>
                    <a:pt x="3882866" y="348139"/>
                  </a:cubicBezTo>
                  <a:cubicBezTo>
                    <a:pt x="3882866" y="345281"/>
                    <a:pt x="3881914" y="341471"/>
                    <a:pt x="3881914" y="338614"/>
                  </a:cubicBezTo>
                  <a:cubicBezTo>
                    <a:pt x="3883819" y="343376"/>
                    <a:pt x="3885724" y="349091"/>
                    <a:pt x="3886676" y="354806"/>
                  </a:cubicBezTo>
                  <a:cubicBezTo>
                    <a:pt x="3887629" y="354806"/>
                    <a:pt x="3887629" y="355759"/>
                    <a:pt x="3887629" y="356711"/>
                  </a:cubicBezTo>
                  <a:cubicBezTo>
                    <a:pt x="3887629" y="355759"/>
                    <a:pt x="3887629" y="354806"/>
                    <a:pt x="3886676" y="354806"/>
                  </a:cubicBezTo>
                  <a:close/>
                  <a:moveTo>
                    <a:pt x="3897154" y="278606"/>
                  </a:moveTo>
                  <a:cubicBezTo>
                    <a:pt x="3899059" y="275749"/>
                    <a:pt x="3900011" y="272891"/>
                    <a:pt x="3901916" y="270986"/>
                  </a:cubicBezTo>
                  <a:cubicBezTo>
                    <a:pt x="3901916" y="270986"/>
                    <a:pt x="3901916" y="270986"/>
                    <a:pt x="3901916" y="270986"/>
                  </a:cubicBezTo>
                  <a:cubicBezTo>
                    <a:pt x="3900964" y="273844"/>
                    <a:pt x="3899059" y="276701"/>
                    <a:pt x="3897154" y="278606"/>
                  </a:cubicBezTo>
                  <a:cubicBezTo>
                    <a:pt x="3898106" y="279559"/>
                    <a:pt x="3897154" y="279559"/>
                    <a:pt x="3897154" y="278606"/>
                  </a:cubicBezTo>
                  <a:close/>
                  <a:moveTo>
                    <a:pt x="3900011" y="291941"/>
                  </a:moveTo>
                  <a:cubicBezTo>
                    <a:pt x="3900011" y="290989"/>
                    <a:pt x="3900964" y="289084"/>
                    <a:pt x="3901916" y="288131"/>
                  </a:cubicBezTo>
                  <a:cubicBezTo>
                    <a:pt x="3901916" y="287179"/>
                    <a:pt x="3902869" y="287179"/>
                    <a:pt x="3902869" y="286226"/>
                  </a:cubicBezTo>
                  <a:cubicBezTo>
                    <a:pt x="3902869" y="290036"/>
                    <a:pt x="3902869" y="293846"/>
                    <a:pt x="3903821" y="297656"/>
                  </a:cubicBezTo>
                  <a:cubicBezTo>
                    <a:pt x="3903821" y="298609"/>
                    <a:pt x="3903821" y="300514"/>
                    <a:pt x="3902869" y="301466"/>
                  </a:cubicBezTo>
                  <a:cubicBezTo>
                    <a:pt x="3902869" y="300514"/>
                    <a:pt x="3902869" y="299561"/>
                    <a:pt x="3901916" y="298609"/>
                  </a:cubicBezTo>
                  <a:cubicBezTo>
                    <a:pt x="3901916" y="295751"/>
                    <a:pt x="3900964" y="293846"/>
                    <a:pt x="3900011" y="291941"/>
                  </a:cubicBezTo>
                  <a:close/>
                  <a:moveTo>
                    <a:pt x="3903821" y="431006"/>
                  </a:moveTo>
                  <a:cubicBezTo>
                    <a:pt x="3903821" y="431006"/>
                    <a:pt x="3903821" y="431959"/>
                    <a:pt x="3902869" y="431959"/>
                  </a:cubicBezTo>
                  <a:lnTo>
                    <a:pt x="3901916" y="431959"/>
                  </a:lnTo>
                  <a:cubicBezTo>
                    <a:pt x="3902869" y="430054"/>
                    <a:pt x="3902869" y="428149"/>
                    <a:pt x="3903821" y="426244"/>
                  </a:cubicBezTo>
                  <a:cubicBezTo>
                    <a:pt x="3903821" y="427196"/>
                    <a:pt x="3903821" y="427196"/>
                    <a:pt x="3904774" y="428149"/>
                  </a:cubicBezTo>
                  <a:cubicBezTo>
                    <a:pt x="3903821" y="429101"/>
                    <a:pt x="3903821" y="430054"/>
                    <a:pt x="3903821" y="431006"/>
                  </a:cubicBezTo>
                  <a:close/>
                  <a:moveTo>
                    <a:pt x="3925729" y="309086"/>
                  </a:moveTo>
                  <a:cubicBezTo>
                    <a:pt x="3923824" y="301466"/>
                    <a:pt x="3922871" y="297656"/>
                    <a:pt x="3922871" y="297656"/>
                  </a:cubicBezTo>
                  <a:cubicBezTo>
                    <a:pt x="3922871" y="297656"/>
                    <a:pt x="3922871" y="301466"/>
                    <a:pt x="3923824" y="308134"/>
                  </a:cubicBezTo>
                  <a:cubicBezTo>
                    <a:pt x="3920966" y="297656"/>
                    <a:pt x="3919061" y="291941"/>
                    <a:pt x="3919061" y="291941"/>
                  </a:cubicBezTo>
                  <a:cubicBezTo>
                    <a:pt x="3919061" y="291941"/>
                    <a:pt x="3920014" y="301466"/>
                    <a:pt x="3922871" y="317659"/>
                  </a:cubicBezTo>
                  <a:cubicBezTo>
                    <a:pt x="3922871" y="320516"/>
                    <a:pt x="3923824" y="322421"/>
                    <a:pt x="3923824" y="325279"/>
                  </a:cubicBezTo>
                  <a:cubicBezTo>
                    <a:pt x="3922871" y="328136"/>
                    <a:pt x="3922871" y="331946"/>
                    <a:pt x="3921919" y="334804"/>
                  </a:cubicBezTo>
                  <a:cubicBezTo>
                    <a:pt x="3921919" y="334804"/>
                    <a:pt x="3921919" y="335756"/>
                    <a:pt x="3921919" y="335756"/>
                  </a:cubicBezTo>
                  <a:cubicBezTo>
                    <a:pt x="3921919" y="333851"/>
                    <a:pt x="3920966" y="331946"/>
                    <a:pt x="3920966" y="330041"/>
                  </a:cubicBezTo>
                  <a:cubicBezTo>
                    <a:pt x="3919061" y="319564"/>
                    <a:pt x="3917156" y="310039"/>
                    <a:pt x="3915251" y="301466"/>
                  </a:cubicBezTo>
                  <a:cubicBezTo>
                    <a:pt x="3913346" y="293846"/>
                    <a:pt x="3912394" y="287179"/>
                    <a:pt x="3911441" y="281464"/>
                  </a:cubicBezTo>
                  <a:cubicBezTo>
                    <a:pt x="3911441" y="273844"/>
                    <a:pt x="3912394" y="268129"/>
                    <a:pt x="3912394" y="264319"/>
                  </a:cubicBezTo>
                  <a:cubicBezTo>
                    <a:pt x="3912394" y="264319"/>
                    <a:pt x="3912394" y="263366"/>
                    <a:pt x="3912394" y="263366"/>
                  </a:cubicBezTo>
                  <a:cubicBezTo>
                    <a:pt x="3914299" y="265271"/>
                    <a:pt x="3917156" y="268129"/>
                    <a:pt x="3919061" y="270986"/>
                  </a:cubicBezTo>
                  <a:cubicBezTo>
                    <a:pt x="3920966" y="272891"/>
                    <a:pt x="3922871" y="274796"/>
                    <a:pt x="3923824" y="277654"/>
                  </a:cubicBezTo>
                  <a:cubicBezTo>
                    <a:pt x="3923824" y="277654"/>
                    <a:pt x="3923824" y="280511"/>
                    <a:pt x="3924776" y="284321"/>
                  </a:cubicBezTo>
                  <a:cubicBezTo>
                    <a:pt x="3922871" y="279559"/>
                    <a:pt x="3921919" y="277654"/>
                    <a:pt x="3921919" y="277654"/>
                  </a:cubicBezTo>
                  <a:cubicBezTo>
                    <a:pt x="3921919" y="277654"/>
                    <a:pt x="3923824" y="284321"/>
                    <a:pt x="3926681" y="296704"/>
                  </a:cubicBezTo>
                  <a:cubicBezTo>
                    <a:pt x="3926681" y="298609"/>
                    <a:pt x="3927634" y="301466"/>
                    <a:pt x="3927634" y="304324"/>
                  </a:cubicBezTo>
                  <a:cubicBezTo>
                    <a:pt x="3927634" y="304324"/>
                    <a:pt x="3927634" y="304324"/>
                    <a:pt x="3927634" y="305276"/>
                  </a:cubicBezTo>
                  <a:cubicBezTo>
                    <a:pt x="3926681" y="304324"/>
                    <a:pt x="3925729" y="306229"/>
                    <a:pt x="3925729" y="309086"/>
                  </a:cubicBezTo>
                  <a:close/>
                  <a:moveTo>
                    <a:pt x="3929539" y="287179"/>
                  </a:moveTo>
                  <a:cubicBezTo>
                    <a:pt x="3929539" y="289084"/>
                    <a:pt x="3928586" y="290989"/>
                    <a:pt x="3928586" y="292894"/>
                  </a:cubicBezTo>
                  <a:cubicBezTo>
                    <a:pt x="3928586" y="291941"/>
                    <a:pt x="3927634" y="290989"/>
                    <a:pt x="3927634" y="290036"/>
                  </a:cubicBezTo>
                  <a:cubicBezTo>
                    <a:pt x="3924776" y="281464"/>
                    <a:pt x="3923824" y="275749"/>
                    <a:pt x="3923824" y="275749"/>
                  </a:cubicBezTo>
                  <a:cubicBezTo>
                    <a:pt x="3924776" y="277654"/>
                    <a:pt x="3926681" y="279559"/>
                    <a:pt x="3927634" y="281464"/>
                  </a:cubicBezTo>
                  <a:cubicBezTo>
                    <a:pt x="3928586" y="282416"/>
                    <a:pt x="3928586" y="283369"/>
                    <a:pt x="3929539" y="284321"/>
                  </a:cubicBezTo>
                  <a:cubicBezTo>
                    <a:pt x="3929539" y="284321"/>
                    <a:pt x="3929539" y="285274"/>
                    <a:pt x="3929539" y="287179"/>
                  </a:cubicBezTo>
                  <a:close/>
                  <a:moveTo>
                    <a:pt x="3926681" y="242411"/>
                  </a:moveTo>
                  <a:cubicBezTo>
                    <a:pt x="3927634" y="251936"/>
                    <a:pt x="3928586" y="261461"/>
                    <a:pt x="3928586" y="270986"/>
                  </a:cubicBezTo>
                  <a:cubicBezTo>
                    <a:pt x="3926681" y="269081"/>
                    <a:pt x="3924776" y="266224"/>
                    <a:pt x="3921919" y="265271"/>
                  </a:cubicBezTo>
                  <a:cubicBezTo>
                    <a:pt x="3919061" y="262414"/>
                    <a:pt x="3916204" y="259556"/>
                    <a:pt x="3913346" y="257651"/>
                  </a:cubicBezTo>
                  <a:cubicBezTo>
                    <a:pt x="3915251" y="253841"/>
                    <a:pt x="3916204" y="250031"/>
                    <a:pt x="3917156" y="246221"/>
                  </a:cubicBezTo>
                  <a:cubicBezTo>
                    <a:pt x="3920014" y="241459"/>
                    <a:pt x="3922871" y="236696"/>
                    <a:pt x="3925729" y="232886"/>
                  </a:cubicBezTo>
                  <a:cubicBezTo>
                    <a:pt x="3925729" y="235744"/>
                    <a:pt x="3925729" y="239554"/>
                    <a:pt x="3926681" y="242411"/>
                  </a:cubicBezTo>
                  <a:close/>
                  <a:moveTo>
                    <a:pt x="3900964" y="168116"/>
                  </a:moveTo>
                  <a:cubicBezTo>
                    <a:pt x="3905726" y="160496"/>
                    <a:pt x="3910489" y="153829"/>
                    <a:pt x="3914299" y="147161"/>
                  </a:cubicBezTo>
                  <a:cubicBezTo>
                    <a:pt x="3914299" y="150019"/>
                    <a:pt x="3915251" y="152876"/>
                    <a:pt x="3915251" y="156686"/>
                  </a:cubicBezTo>
                  <a:cubicBezTo>
                    <a:pt x="3917156" y="168116"/>
                    <a:pt x="3919061" y="181451"/>
                    <a:pt x="3920966" y="196691"/>
                  </a:cubicBezTo>
                  <a:cubicBezTo>
                    <a:pt x="3921919" y="202406"/>
                    <a:pt x="3921919" y="208121"/>
                    <a:pt x="3922871" y="213836"/>
                  </a:cubicBezTo>
                  <a:cubicBezTo>
                    <a:pt x="3920966" y="211931"/>
                    <a:pt x="3920014" y="210979"/>
                    <a:pt x="3920014" y="210979"/>
                  </a:cubicBezTo>
                  <a:cubicBezTo>
                    <a:pt x="3920014" y="210979"/>
                    <a:pt x="3920966" y="212884"/>
                    <a:pt x="3923824" y="214789"/>
                  </a:cubicBezTo>
                  <a:cubicBezTo>
                    <a:pt x="3923824" y="218599"/>
                    <a:pt x="3924776" y="222409"/>
                    <a:pt x="3924776" y="226219"/>
                  </a:cubicBezTo>
                  <a:cubicBezTo>
                    <a:pt x="3919061" y="232886"/>
                    <a:pt x="3913346" y="240506"/>
                    <a:pt x="3906679" y="249079"/>
                  </a:cubicBezTo>
                  <a:cubicBezTo>
                    <a:pt x="3905726" y="250031"/>
                    <a:pt x="3905726" y="250984"/>
                    <a:pt x="3904774" y="251936"/>
                  </a:cubicBezTo>
                  <a:cubicBezTo>
                    <a:pt x="3903821" y="251936"/>
                    <a:pt x="3903821" y="250984"/>
                    <a:pt x="3902869" y="250984"/>
                  </a:cubicBezTo>
                  <a:cubicBezTo>
                    <a:pt x="3901916" y="245269"/>
                    <a:pt x="3900964" y="242411"/>
                    <a:pt x="3900964" y="242411"/>
                  </a:cubicBezTo>
                  <a:cubicBezTo>
                    <a:pt x="3900964" y="242411"/>
                    <a:pt x="3900964" y="245269"/>
                    <a:pt x="3900964" y="249079"/>
                  </a:cubicBezTo>
                  <a:cubicBezTo>
                    <a:pt x="3900011" y="248126"/>
                    <a:pt x="3898106" y="247174"/>
                    <a:pt x="3897154" y="247174"/>
                  </a:cubicBezTo>
                  <a:cubicBezTo>
                    <a:pt x="3893344" y="245269"/>
                    <a:pt x="3891439" y="243364"/>
                    <a:pt x="3891439" y="243364"/>
                  </a:cubicBezTo>
                  <a:cubicBezTo>
                    <a:pt x="3891439" y="243364"/>
                    <a:pt x="3893344" y="245269"/>
                    <a:pt x="3896201" y="248126"/>
                  </a:cubicBezTo>
                  <a:cubicBezTo>
                    <a:pt x="3897154" y="249079"/>
                    <a:pt x="3899059" y="250984"/>
                    <a:pt x="3900964" y="251936"/>
                  </a:cubicBezTo>
                  <a:cubicBezTo>
                    <a:pt x="3900964" y="253841"/>
                    <a:pt x="3900964" y="254794"/>
                    <a:pt x="3900964" y="256699"/>
                  </a:cubicBezTo>
                  <a:cubicBezTo>
                    <a:pt x="3899059" y="259556"/>
                    <a:pt x="3896201" y="263366"/>
                    <a:pt x="3894296" y="266224"/>
                  </a:cubicBezTo>
                  <a:cubicBezTo>
                    <a:pt x="3893344" y="261461"/>
                    <a:pt x="3891439" y="255746"/>
                    <a:pt x="3890486" y="250984"/>
                  </a:cubicBezTo>
                  <a:cubicBezTo>
                    <a:pt x="3886676" y="235744"/>
                    <a:pt x="3883819" y="222409"/>
                    <a:pt x="3880009" y="210026"/>
                  </a:cubicBezTo>
                  <a:cubicBezTo>
                    <a:pt x="3880009" y="209074"/>
                    <a:pt x="3879056" y="207169"/>
                    <a:pt x="3879056" y="206216"/>
                  </a:cubicBezTo>
                  <a:cubicBezTo>
                    <a:pt x="3886676" y="191929"/>
                    <a:pt x="3894296" y="178594"/>
                    <a:pt x="3900964" y="168116"/>
                  </a:cubicBezTo>
                  <a:close/>
                  <a:moveTo>
                    <a:pt x="3873341" y="214789"/>
                  </a:moveTo>
                  <a:cubicBezTo>
                    <a:pt x="3875246" y="226219"/>
                    <a:pt x="3877151" y="238601"/>
                    <a:pt x="3879056" y="251936"/>
                  </a:cubicBezTo>
                  <a:cubicBezTo>
                    <a:pt x="3880009" y="260509"/>
                    <a:pt x="3881914" y="270034"/>
                    <a:pt x="3883819" y="280511"/>
                  </a:cubicBezTo>
                  <a:cubicBezTo>
                    <a:pt x="3883819" y="281464"/>
                    <a:pt x="3882866" y="281464"/>
                    <a:pt x="3882866" y="282416"/>
                  </a:cubicBezTo>
                  <a:cubicBezTo>
                    <a:pt x="3880009" y="273844"/>
                    <a:pt x="3878104" y="266224"/>
                    <a:pt x="3875246" y="259556"/>
                  </a:cubicBezTo>
                  <a:cubicBezTo>
                    <a:pt x="3871436" y="250031"/>
                    <a:pt x="3868579" y="241459"/>
                    <a:pt x="3865721" y="234791"/>
                  </a:cubicBezTo>
                  <a:cubicBezTo>
                    <a:pt x="3865721" y="233839"/>
                    <a:pt x="3864769" y="232886"/>
                    <a:pt x="3864769" y="231934"/>
                  </a:cubicBezTo>
                  <a:cubicBezTo>
                    <a:pt x="3867626" y="225266"/>
                    <a:pt x="3870484" y="219551"/>
                    <a:pt x="3873341" y="214789"/>
                  </a:cubicBezTo>
                  <a:close/>
                  <a:moveTo>
                    <a:pt x="3864769" y="341471"/>
                  </a:moveTo>
                  <a:cubicBezTo>
                    <a:pt x="3863816" y="342424"/>
                    <a:pt x="3863816" y="344329"/>
                    <a:pt x="3862864" y="345281"/>
                  </a:cubicBezTo>
                  <a:cubicBezTo>
                    <a:pt x="3862864" y="344329"/>
                    <a:pt x="3863816" y="343376"/>
                    <a:pt x="3864769" y="341471"/>
                  </a:cubicBezTo>
                  <a:cubicBezTo>
                    <a:pt x="3864769" y="341471"/>
                    <a:pt x="3864769" y="341471"/>
                    <a:pt x="3864769" y="341471"/>
                  </a:cubicBezTo>
                  <a:close/>
                  <a:moveTo>
                    <a:pt x="3854291" y="211931"/>
                  </a:moveTo>
                  <a:cubicBezTo>
                    <a:pt x="3854291" y="208121"/>
                    <a:pt x="3855244" y="204311"/>
                    <a:pt x="3856196" y="201454"/>
                  </a:cubicBezTo>
                  <a:cubicBezTo>
                    <a:pt x="3856196" y="206216"/>
                    <a:pt x="3856196" y="212884"/>
                    <a:pt x="3857149" y="220504"/>
                  </a:cubicBezTo>
                  <a:cubicBezTo>
                    <a:pt x="3856196" y="222409"/>
                    <a:pt x="3855244" y="224314"/>
                    <a:pt x="3854291" y="226219"/>
                  </a:cubicBezTo>
                  <a:cubicBezTo>
                    <a:pt x="3853339" y="220504"/>
                    <a:pt x="3854291" y="215741"/>
                    <a:pt x="3854291" y="211931"/>
                  </a:cubicBezTo>
                  <a:close/>
                  <a:moveTo>
                    <a:pt x="3849529" y="262414"/>
                  </a:moveTo>
                  <a:cubicBezTo>
                    <a:pt x="3849529" y="260509"/>
                    <a:pt x="3849529" y="259556"/>
                    <a:pt x="3849529" y="257651"/>
                  </a:cubicBezTo>
                  <a:cubicBezTo>
                    <a:pt x="3849529" y="257651"/>
                    <a:pt x="3849529" y="256699"/>
                    <a:pt x="3850481" y="256699"/>
                  </a:cubicBezTo>
                  <a:cubicBezTo>
                    <a:pt x="3853339" y="263366"/>
                    <a:pt x="3856196" y="270986"/>
                    <a:pt x="3859054" y="278606"/>
                  </a:cubicBezTo>
                  <a:cubicBezTo>
                    <a:pt x="3859054" y="279559"/>
                    <a:pt x="3859054" y="279559"/>
                    <a:pt x="3860006" y="280511"/>
                  </a:cubicBezTo>
                  <a:cubicBezTo>
                    <a:pt x="3860959" y="290989"/>
                    <a:pt x="3861911" y="302419"/>
                    <a:pt x="3862864" y="313849"/>
                  </a:cubicBezTo>
                  <a:cubicBezTo>
                    <a:pt x="3862864" y="313849"/>
                    <a:pt x="3862864" y="313849"/>
                    <a:pt x="3862864" y="313849"/>
                  </a:cubicBezTo>
                  <a:cubicBezTo>
                    <a:pt x="3858101" y="305276"/>
                    <a:pt x="3852386" y="298609"/>
                    <a:pt x="3847624" y="291941"/>
                  </a:cubicBezTo>
                  <a:cubicBezTo>
                    <a:pt x="3848576" y="281464"/>
                    <a:pt x="3848576" y="271939"/>
                    <a:pt x="3849529" y="262414"/>
                  </a:cubicBezTo>
                  <a:close/>
                  <a:moveTo>
                    <a:pt x="3846671" y="308134"/>
                  </a:moveTo>
                  <a:cubicBezTo>
                    <a:pt x="3849529" y="312896"/>
                    <a:pt x="3852386" y="318611"/>
                    <a:pt x="3855244" y="323374"/>
                  </a:cubicBezTo>
                  <a:cubicBezTo>
                    <a:pt x="3855244" y="324326"/>
                    <a:pt x="3856196" y="324326"/>
                    <a:pt x="3856196" y="325279"/>
                  </a:cubicBezTo>
                  <a:cubicBezTo>
                    <a:pt x="3856196" y="326231"/>
                    <a:pt x="3855244" y="326231"/>
                    <a:pt x="3855244" y="327184"/>
                  </a:cubicBezTo>
                  <a:cubicBezTo>
                    <a:pt x="3853339" y="330041"/>
                    <a:pt x="3851434" y="333851"/>
                    <a:pt x="3849529" y="336709"/>
                  </a:cubicBezTo>
                  <a:cubicBezTo>
                    <a:pt x="3848576" y="334804"/>
                    <a:pt x="3846671" y="331946"/>
                    <a:pt x="3845719" y="330041"/>
                  </a:cubicBezTo>
                  <a:cubicBezTo>
                    <a:pt x="3845719" y="323374"/>
                    <a:pt x="3846671" y="315754"/>
                    <a:pt x="3846671" y="308134"/>
                  </a:cubicBezTo>
                  <a:close/>
                  <a:moveTo>
                    <a:pt x="3843814" y="415766"/>
                  </a:moveTo>
                  <a:cubicBezTo>
                    <a:pt x="3844766" y="413861"/>
                    <a:pt x="3845719" y="411956"/>
                    <a:pt x="3846671" y="410051"/>
                  </a:cubicBezTo>
                  <a:cubicBezTo>
                    <a:pt x="3846671" y="411956"/>
                    <a:pt x="3847624" y="414814"/>
                    <a:pt x="3847624" y="416719"/>
                  </a:cubicBezTo>
                  <a:cubicBezTo>
                    <a:pt x="3847624" y="417671"/>
                    <a:pt x="3847624" y="418624"/>
                    <a:pt x="3847624" y="419576"/>
                  </a:cubicBezTo>
                  <a:cubicBezTo>
                    <a:pt x="3847624" y="420529"/>
                    <a:pt x="3846671" y="421481"/>
                    <a:pt x="3846671" y="422434"/>
                  </a:cubicBezTo>
                  <a:cubicBezTo>
                    <a:pt x="3845719" y="423386"/>
                    <a:pt x="3845719" y="425291"/>
                    <a:pt x="3844766" y="426244"/>
                  </a:cubicBezTo>
                  <a:lnTo>
                    <a:pt x="3842861" y="426244"/>
                  </a:lnTo>
                  <a:cubicBezTo>
                    <a:pt x="3843814" y="422434"/>
                    <a:pt x="3843814" y="418624"/>
                    <a:pt x="3843814" y="415766"/>
                  </a:cubicBezTo>
                  <a:close/>
                  <a:moveTo>
                    <a:pt x="3830479" y="297656"/>
                  </a:moveTo>
                  <a:cubicBezTo>
                    <a:pt x="3830479" y="298609"/>
                    <a:pt x="3830479" y="298609"/>
                    <a:pt x="3830479" y="299561"/>
                  </a:cubicBezTo>
                  <a:cubicBezTo>
                    <a:pt x="3830479" y="300514"/>
                    <a:pt x="3830479" y="300514"/>
                    <a:pt x="3830479" y="301466"/>
                  </a:cubicBezTo>
                  <a:cubicBezTo>
                    <a:pt x="3830479" y="303371"/>
                    <a:pt x="3830479" y="305276"/>
                    <a:pt x="3829526" y="307181"/>
                  </a:cubicBezTo>
                  <a:cubicBezTo>
                    <a:pt x="3828574" y="306229"/>
                    <a:pt x="3827621" y="305276"/>
                    <a:pt x="3827621" y="304324"/>
                  </a:cubicBezTo>
                  <a:cubicBezTo>
                    <a:pt x="3828574" y="301466"/>
                    <a:pt x="3829526" y="299561"/>
                    <a:pt x="3830479" y="297656"/>
                  </a:cubicBezTo>
                  <a:close/>
                  <a:moveTo>
                    <a:pt x="3826669" y="305276"/>
                  </a:moveTo>
                  <a:cubicBezTo>
                    <a:pt x="3827621" y="306229"/>
                    <a:pt x="3827621" y="308134"/>
                    <a:pt x="3828574" y="310039"/>
                  </a:cubicBezTo>
                  <a:cubicBezTo>
                    <a:pt x="3828574" y="311944"/>
                    <a:pt x="3828574" y="312896"/>
                    <a:pt x="3827621" y="314801"/>
                  </a:cubicBezTo>
                  <a:cubicBezTo>
                    <a:pt x="3826669" y="312896"/>
                    <a:pt x="3824764" y="310991"/>
                    <a:pt x="3823811" y="309086"/>
                  </a:cubicBezTo>
                  <a:cubicBezTo>
                    <a:pt x="3825716" y="307181"/>
                    <a:pt x="3825716" y="306229"/>
                    <a:pt x="3826669" y="305276"/>
                  </a:cubicBezTo>
                  <a:close/>
                  <a:moveTo>
                    <a:pt x="3820001" y="319564"/>
                  </a:moveTo>
                  <a:cubicBezTo>
                    <a:pt x="3821906" y="323374"/>
                    <a:pt x="3823811" y="328136"/>
                    <a:pt x="3826669" y="332899"/>
                  </a:cubicBezTo>
                  <a:cubicBezTo>
                    <a:pt x="3826669" y="332899"/>
                    <a:pt x="3826669" y="333851"/>
                    <a:pt x="3827621" y="333851"/>
                  </a:cubicBezTo>
                  <a:cubicBezTo>
                    <a:pt x="3827621" y="336709"/>
                    <a:pt x="3826669" y="339566"/>
                    <a:pt x="3826669" y="343376"/>
                  </a:cubicBezTo>
                  <a:cubicBezTo>
                    <a:pt x="3825716" y="354806"/>
                    <a:pt x="3825716" y="366236"/>
                    <a:pt x="3824764" y="377666"/>
                  </a:cubicBezTo>
                  <a:cubicBezTo>
                    <a:pt x="3823811" y="372904"/>
                    <a:pt x="3821906" y="368141"/>
                    <a:pt x="3820954" y="364331"/>
                  </a:cubicBezTo>
                  <a:cubicBezTo>
                    <a:pt x="3820954" y="360521"/>
                    <a:pt x="3820001" y="356711"/>
                    <a:pt x="3820001" y="352901"/>
                  </a:cubicBezTo>
                  <a:cubicBezTo>
                    <a:pt x="3820001" y="347186"/>
                    <a:pt x="3819049" y="341471"/>
                    <a:pt x="3818096" y="336709"/>
                  </a:cubicBezTo>
                  <a:cubicBezTo>
                    <a:pt x="3820001" y="333851"/>
                    <a:pt x="3821906" y="332899"/>
                    <a:pt x="3821906" y="332899"/>
                  </a:cubicBezTo>
                  <a:cubicBezTo>
                    <a:pt x="3821906" y="332899"/>
                    <a:pt x="3820954" y="333851"/>
                    <a:pt x="3818096" y="335756"/>
                  </a:cubicBezTo>
                  <a:cubicBezTo>
                    <a:pt x="3818096" y="332899"/>
                    <a:pt x="3817144" y="329089"/>
                    <a:pt x="3817144" y="326231"/>
                  </a:cubicBezTo>
                  <a:cubicBezTo>
                    <a:pt x="3818096" y="323374"/>
                    <a:pt x="3819049" y="321469"/>
                    <a:pt x="3820001" y="319564"/>
                  </a:cubicBezTo>
                  <a:close/>
                  <a:moveTo>
                    <a:pt x="3788569" y="264319"/>
                  </a:moveTo>
                  <a:cubicBezTo>
                    <a:pt x="3789521" y="266224"/>
                    <a:pt x="3791426" y="268129"/>
                    <a:pt x="3792379" y="270986"/>
                  </a:cubicBezTo>
                  <a:cubicBezTo>
                    <a:pt x="3795236" y="274796"/>
                    <a:pt x="3798094" y="280511"/>
                    <a:pt x="3800951" y="285274"/>
                  </a:cubicBezTo>
                  <a:cubicBezTo>
                    <a:pt x="3800951" y="286226"/>
                    <a:pt x="3800951" y="286226"/>
                    <a:pt x="3800951" y="287179"/>
                  </a:cubicBezTo>
                  <a:cubicBezTo>
                    <a:pt x="3800951" y="290989"/>
                    <a:pt x="3800951" y="294799"/>
                    <a:pt x="3800951" y="298609"/>
                  </a:cubicBezTo>
                  <a:cubicBezTo>
                    <a:pt x="3800951" y="299561"/>
                    <a:pt x="3800951" y="300514"/>
                    <a:pt x="3800951" y="300514"/>
                  </a:cubicBezTo>
                  <a:cubicBezTo>
                    <a:pt x="3799999" y="295751"/>
                    <a:pt x="3798094" y="291941"/>
                    <a:pt x="3797141" y="287179"/>
                  </a:cubicBezTo>
                  <a:cubicBezTo>
                    <a:pt x="3797141" y="286226"/>
                    <a:pt x="3796189" y="285274"/>
                    <a:pt x="3796189" y="285274"/>
                  </a:cubicBezTo>
                  <a:cubicBezTo>
                    <a:pt x="3796189" y="282416"/>
                    <a:pt x="3796189" y="280511"/>
                    <a:pt x="3796189" y="280511"/>
                  </a:cubicBezTo>
                  <a:cubicBezTo>
                    <a:pt x="3796189" y="280511"/>
                    <a:pt x="3796189" y="281464"/>
                    <a:pt x="3795236" y="283369"/>
                  </a:cubicBezTo>
                  <a:cubicBezTo>
                    <a:pt x="3794284" y="279559"/>
                    <a:pt x="3792379" y="275749"/>
                    <a:pt x="3791426" y="271939"/>
                  </a:cubicBezTo>
                  <a:cubicBezTo>
                    <a:pt x="3790474" y="269081"/>
                    <a:pt x="3789521" y="266224"/>
                    <a:pt x="3788569" y="264319"/>
                  </a:cubicBezTo>
                  <a:close/>
                  <a:moveTo>
                    <a:pt x="3748564" y="364331"/>
                  </a:moveTo>
                  <a:cubicBezTo>
                    <a:pt x="3748564" y="359569"/>
                    <a:pt x="3748564" y="355759"/>
                    <a:pt x="3748564" y="351949"/>
                  </a:cubicBezTo>
                  <a:cubicBezTo>
                    <a:pt x="3749516" y="353854"/>
                    <a:pt x="3749516" y="355759"/>
                    <a:pt x="3750469" y="358616"/>
                  </a:cubicBezTo>
                  <a:cubicBezTo>
                    <a:pt x="3749516" y="359569"/>
                    <a:pt x="3749516" y="361474"/>
                    <a:pt x="3748564" y="364331"/>
                  </a:cubicBezTo>
                  <a:close/>
                  <a:moveTo>
                    <a:pt x="3762851" y="399574"/>
                  </a:moveTo>
                  <a:cubicBezTo>
                    <a:pt x="3761899" y="401479"/>
                    <a:pt x="3760946" y="403384"/>
                    <a:pt x="3759994" y="405289"/>
                  </a:cubicBezTo>
                  <a:cubicBezTo>
                    <a:pt x="3759994" y="400526"/>
                    <a:pt x="3760946" y="395764"/>
                    <a:pt x="3760946" y="391954"/>
                  </a:cubicBezTo>
                  <a:cubicBezTo>
                    <a:pt x="3760946" y="391954"/>
                    <a:pt x="3760946" y="391001"/>
                    <a:pt x="3760946" y="391001"/>
                  </a:cubicBezTo>
                  <a:cubicBezTo>
                    <a:pt x="3761899" y="392906"/>
                    <a:pt x="3761899" y="394811"/>
                    <a:pt x="3762851" y="396716"/>
                  </a:cubicBezTo>
                  <a:cubicBezTo>
                    <a:pt x="3763804" y="397669"/>
                    <a:pt x="3762851" y="398621"/>
                    <a:pt x="3762851" y="399574"/>
                  </a:cubicBezTo>
                  <a:close/>
                  <a:moveTo>
                    <a:pt x="3770471" y="290036"/>
                  </a:moveTo>
                  <a:cubicBezTo>
                    <a:pt x="3772376" y="296704"/>
                    <a:pt x="3773329" y="302419"/>
                    <a:pt x="3775234" y="309086"/>
                  </a:cubicBezTo>
                  <a:cubicBezTo>
                    <a:pt x="3774281" y="306229"/>
                    <a:pt x="3773329" y="304324"/>
                    <a:pt x="3771424" y="301466"/>
                  </a:cubicBezTo>
                  <a:cubicBezTo>
                    <a:pt x="3771424" y="300514"/>
                    <a:pt x="3770471" y="300514"/>
                    <a:pt x="3770471" y="299561"/>
                  </a:cubicBezTo>
                  <a:cubicBezTo>
                    <a:pt x="3770471" y="296704"/>
                    <a:pt x="3770471" y="293846"/>
                    <a:pt x="3770471" y="290989"/>
                  </a:cubicBezTo>
                  <a:cubicBezTo>
                    <a:pt x="3770471" y="290989"/>
                    <a:pt x="3770471" y="290036"/>
                    <a:pt x="3770471" y="290036"/>
                  </a:cubicBezTo>
                  <a:close/>
                  <a:moveTo>
                    <a:pt x="3769519" y="370046"/>
                  </a:moveTo>
                  <a:cubicBezTo>
                    <a:pt x="3769519" y="370999"/>
                    <a:pt x="3769519" y="371951"/>
                    <a:pt x="3770471" y="372904"/>
                  </a:cubicBezTo>
                  <a:cubicBezTo>
                    <a:pt x="3769519" y="370999"/>
                    <a:pt x="3768566" y="369094"/>
                    <a:pt x="3767614" y="366236"/>
                  </a:cubicBezTo>
                  <a:cubicBezTo>
                    <a:pt x="3767614" y="362426"/>
                    <a:pt x="3767614" y="359569"/>
                    <a:pt x="3767614" y="359569"/>
                  </a:cubicBezTo>
                  <a:cubicBezTo>
                    <a:pt x="3767614" y="359569"/>
                    <a:pt x="3767614" y="361474"/>
                    <a:pt x="3766661" y="364331"/>
                  </a:cubicBezTo>
                  <a:cubicBezTo>
                    <a:pt x="3765709" y="363379"/>
                    <a:pt x="3765709" y="361474"/>
                    <a:pt x="3764756" y="360521"/>
                  </a:cubicBezTo>
                  <a:cubicBezTo>
                    <a:pt x="3764756" y="359569"/>
                    <a:pt x="3764756" y="358616"/>
                    <a:pt x="3764756" y="357664"/>
                  </a:cubicBezTo>
                  <a:cubicBezTo>
                    <a:pt x="3764756" y="355759"/>
                    <a:pt x="3765709" y="353854"/>
                    <a:pt x="3765709" y="351949"/>
                  </a:cubicBezTo>
                  <a:cubicBezTo>
                    <a:pt x="3767614" y="358616"/>
                    <a:pt x="3768566" y="364331"/>
                    <a:pt x="3769519" y="370046"/>
                  </a:cubicBezTo>
                  <a:close/>
                  <a:moveTo>
                    <a:pt x="3753326" y="250031"/>
                  </a:moveTo>
                  <a:cubicBezTo>
                    <a:pt x="3754279" y="245269"/>
                    <a:pt x="3754279" y="241459"/>
                    <a:pt x="3755231" y="236696"/>
                  </a:cubicBezTo>
                  <a:cubicBezTo>
                    <a:pt x="3755231" y="235744"/>
                    <a:pt x="3755231" y="233839"/>
                    <a:pt x="3756184" y="232886"/>
                  </a:cubicBezTo>
                  <a:cubicBezTo>
                    <a:pt x="3757136" y="231934"/>
                    <a:pt x="3757136" y="230981"/>
                    <a:pt x="3758089" y="230029"/>
                  </a:cubicBezTo>
                  <a:cubicBezTo>
                    <a:pt x="3759041" y="232886"/>
                    <a:pt x="3759041" y="234791"/>
                    <a:pt x="3759994" y="237649"/>
                  </a:cubicBezTo>
                  <a:cubicBezTo>
                    <a:pt x="3762851" y="250984"/>
                    <a:pt x="3766661" y="266224"/>
                    <a:pt x="3769519" y="281464"/>
                  </a:cubicBezTo>
                  <a:cubicBezTo>
                    <a:pt x="3768566" y="284321"/>
                    <a:pt x="3768566" y="287179"/>
                    <a:pt x="3767614" y="290036"/>
                  </a:cubicBezTo>
                  <a:cubicBezTo>
                    <a:pt x="3767614" y="290036"/>
                    <a:pt x="3767614" y="290036"/>
                    <a:pt x="3767614" y="290989"/>
                  </a:cubicBezTo>
                  <a:cubicBezTo>
                    <a:pt x="3762851" y="280511"/>
                    <a:pt x="3757136" y="270986"/>
                    <a:pt x="3752374" y="261461"/>
                  </a:cubicBezTo>
                  <a:cubicBezTo>
                    <a:pt x="3752374" y="258604"/>
                    <a:pt x="3752374" y="253841"/>
                    <a:pt x="3753326" y="250031"/>
                  </a:cubicBezTo>
                  <a:close/>
                  <a:moveTo>
                    <a:pt x="3748564" y="296704"/>
                  </a:moveTo>
                  <a:cubicBezTo>
                    <a:pt x="3748564" y="296704"/>
                    <a:pt x="3748564" y="296704"/>
                    <a:pt x="3748564" y="296704"/>
                  </a:cubicBezTo>
                  <a:cubicBezTo>
                    <a:pt x="3751421" y="301466"/>
                    <a:pt x="3753326" y="307181"/>
                    <a:pt x="3756184" y="313849"/>
                  </a:cubicBezTo>
                  <a:cubicBezTo>
                    <a:pt x="3756184" y="314801"/>
                    <a:pt x="3757136" y="315754"/>
                    <a:pt x="3757136" y="316706"/>
                  </a:cubicBezTo>
                  <a:cubicBezTo>
                    <a:pt x="3758089" y="318611"/>
                    <a:pt x="3758089" y="321469"/>
                    <a:pt x="3759041" y="323374"/>
                  </a:cubicBezTo>
                  <a:cubicBezTo>
                    <a:pt x="3758089" y="325279"/>
                    <a:pt x="3758089" y="328136"/>
                    <a:pt x="3757136" y="330041"/>
                  </a:cubicBezTo>
                  <a:cubicBezTo>
                    <a:pt x="3756184" y="333851"/>
                    <a:pt x="3755231" y="337661"/>
                    <a:pt x="3754279" y="341471"/>
                  </a:cubicBezTo>
                  <a:cubicBezTo>
                    <a:pt x="3753326" y="339566"/>
                    <a:pt x="3751421" y="337661"/>
                    <a:pt x="3750469" y="335756"/>
                  </a:cubicBezTo>
                  <a:cubicBezTo>
                    <a:pt x="3749516" y="333851"/>
                    <a:pt x="3748564" y="332899"/>
                    <a:pt x="3747611" y="331946"/>
                  </a:cubicBezTo>
                  <a:cubicBezTo>
                    <a:pt x="3748564" y="320516"/>
                    <a:pt x="3748564" y="308134"/>
                    <a:pt x="3748564" y="296704"/>
                  </a:cubicBezTo>
                  <a:close/>
                  <a:moveTo>
                    <a:pt x="3738086" y="273844"/>
                  </a:moveTo>
                  <a:cubicBezTo>
                    <a:pt x="3738086" y="273844"/>
                    <a:pt x="3738086" y="273844"/>
                    <a:pt x="3738086" y="273844"/>
                  </a:cubicBezTo>
                  <a:cubicBezTo>
                    <a:pt x="3738086" y="274796"/>
                    <a:pt x="3738086" y="274796"/>
                    <a:pt x="3738086" y="274796"/>
                  </a:cubicBezTo>
                  <a:cubicBezTo>
                    <a:pt x="3738086" y="273844"/>
                    <a:pt x="3738086" y="273844"/>
                    <a:pt x="3738086" y="273844"/>
                  </a:cubicBezTo>
                  <a:close/>
                  <a:moveTo>
                    <a:pt x="3689509" y="326231"/>
                  </a:moveTo>
                  <a:cubicBezTo>
                    <a:pt x="3688556" y="328136"/>
                    <a:pt x="3687604" y="330041"/>
                    <a:pt x="3686651" y="331946"/>
                  </a:cubicBezTo>
                  <a:cubicBezTo>
                    <a:pt x="3686651" y="331946"/>
                    <a:pt x="3686651" y="330994"/>
                    <a:pt x="3685699" y="330994"/>
                  </a:cubicBezTo>
                  <a:cubicBezTo>
                    <a:pt x="3685699" y="328136"/>
                    <a:pt x="3685699" y="325279"/>
                    <a:pt x="3685699" y="322421"/>
                  </a:cubicBezTo>
                  <a:cubicBezTo>
                    <a:pt x="3685699" y="319564"/>
                    <a:pt x="3685699" y="316706"/>
                    <a:pt x="3685699" y="313849"/>
                  </a:cubicBezTo>
                  <a:cubicBezTo>
                    <a:pt x="3686651" y="316706"/>
                    <a:pt x="3688556" y="320516"/>
                    <a:pt x="3689509" y="325279"/>
                  </a:cubicBezTo>
                  <a:cubicBezTo>
                    <a:pt x="3689509" y="326231"/>
                    <a:pt x="3689509" y="326231"/>
                    <a:pt x="3689509" y="326231"/>
                  </a:cubicBezTo>
                  <a:close/>
                  <a:moveTo>
                    <a:pt x="3716179" y="211931"/>
                  </a:moveTo>
                  <a:cubicBezTo>
                    <a:pt x="3718084" y="214789"/>
                    <a:pt x="3719036" y="218599"/>
                    <a:pt x="3720941" y="221456"/>
                  </a:cubicBezTo>
                  <a:cubicBezTo>
                    <a:pt x="3719989" y="224314"/>
                    <a:pt x="3719989" y="227171"/>
                    <a:pt x="3719036" y="230029"/>
                  </a:cubicBezTo>
                  <a:cubicBezTo>
                    <a:pt x="3719036" y="230981"/>
                    <a:pt x="3719036" y="232886"/>
                    <a:pt x="3718084" y="233839"/>
                  </a:cubicBezTo>
                  <a:cubicBezTo>
                    <a:pt x="3715226" y="230029"/>
                    <a:pt x="3713321" y="228124"/>
                    <a:pt x="3713321" y="228124"/>
                  </a:cubicBezTo>
                  <a:cubicBezTo>
                    <a:pt x="3713321" y="228124"/>
                    <a:pt x="3715226" y="230981"/>
                    <a:pt x="3717131" y="235744"/>
                  </a:cubicBezTo>
                  <a:cubicBezTo>
                    <a:pt x="3716179" y="241459"/>
                    <a:pt x="3715226" y="247174"/>
                    <a:pt x="3714274" y="253841"/>
                  </a:cubicBezTo>
                  <a:cubicBezTo>
                    <a:pt x="3714274" y="252889"/>
                    <a:pt x="3714274" y="251936"/>
                    <a:pt x="3714274" y="250984"/>
                  </a:cubicBezTo>
                  <a:cubicBezTo>
                    <a:pt x="3714274" y="246221"/>
                    <a:pt x="3713321" y="242411"/>
                    <a:pt x="3713321" y="238601"/>
                  </a:cubicBezTo>
                  <a:cubicBezTo>
                    <a:pt x="3713321" y="234791"/>
                    <a:pt x="3713321" y="230981"/>
                    <a:pt x="3713321" y="227171"/>
                  </a:cubicBezTo>
                  <a:cubicBezTo>
                    <a:pt x="3713321" y="219551"/>
                    <a:pt x="3712369" y="213836"/>
                    <a:pt x="3712369" y="208121"/>
                  </a:cubicBezTo>
                  <a:cubicBezTo>
                    <a:pt x="3712369" y="207169"/>
                    <a:pt x="3712369" y="206216"/>
                    <a:pt x="3712369" y="205264"/>
                  </a:cubicBezTo>
                  <a:cubicBezTo>
                    <a:pt x="3713321" y="207169"/>
                    <a:pt x="3714274" y="209074"/>
                    <a:pt x="3716179" y="211931"/>
                  </a:cubicBezTo>
                  <a:close/>
                  <a:moveTo>
                    <a:pt x="3679984" y="236696"/>
                  </a:moveTo>
                  <a:cubicBezTo>
                    <a:pt x="3681889" y="222409"/>
                    <a:pt x="3683794" y="209074"/>
                    <a:pt x="3684746" y="196691"/>
                  </a:cubicBezTo>
                  <a:cubicBezTo>
                    <a:pt x="3685699" y="185261"/>
                    <a:pt x="3687604" y="174784"/>
                    <a:pt x="3687604" y="166211"/>
                  </a:cubicBezTo>
                  <a:cubicBezTo>
                    <a:pt x="3687604" y="161449"/>
                    <a:pt x="3688556" y="157639"/>
                    <a:pt x="3688556" y="154781"/>
                  </a:cubicBezTo>
                  <a:cubicBezTo>
                    <a:pt x="3690461" y="159544"/>
                    <a:pt x="3694271" y="168116"/>
                    <a:pt x="3699034" y="178594"/>
                  </a:cubicBezTo>
                  <a:cubicBezTo>
                    <a:pt x="3701891" y="184309"/>
                    <a:pt x="3704749" y="191929"/>
                    <a:pt x="3708559" y="199549"/>
                  </a:cubicBezTo>
                  <a:cubicBezTo>
                    <a:pt x="3708559" y="201454"/>
                    <a:pt x="3707606" y="204311"/>
                    <a:pt x="3707606" y="207169"/>
                  </a:cubicBezTo>
                  <a:cubicBezTo>
                    <a:pt x="3706654" y="211931"/>
                    <a:pt x="3705701" y="218599"/>
                    <a:pt x="3704749" y="226219"/>
                  </a:cubicBezTo>
                  <a:cubicBezTo>
                    <a:pt x="3703796" y="230029"/>
                    <a:pt x="3703796" y="233839"/>
                    <a:pt x="3702844" y="237649"/>
                  </a:cubicBezTo>
                  <a:cubicBezTo>
                    <a:pt x="3702844" y="241459"/>
                    <a:pt x="3701891" y="246221"/>
                    <a:pt x="3701891" y="250984"/>
                  </a:cubicBezTo>
                  <a:cubicBezTo>
                    <a:pt x="3700939" y="259556"/>
                    <a:pt x="3700939" y="270034"/>
                    <a:pt x="3700939" y="280511"/>
                  </a:cubicBezTo>
                  <a:cubicBezTo>
                    <a:pt x="3700939" y="287179"/>
                    <a:pt x="3700939" y="293846"/>
                    <a:pt x="3700939" y="300514"/>
                  </a:cubicBezTo>
                  <a:cubicBezTo>
                    <a:pt x="3699034" y="293846"/>
                    <a:pt x="3697129" y="290036"/>
                    <a:pt x="3697129" y="290036"/>
                  </a:cubicBezTo>
                  <a:cubicBezTo>
                    <a:pt x="3697129" y="290036"/>
                    <a:pt x="3698081" y="296704"/>
                    <a:pt x="3699034" y="308134"/>
                  </a:cubicBezTo>
                  <a:cubicBezTo>
                    <a:pt x="3696176" y="312896"/>
                    <a:pt x="3693319" y="317659"/>
                    <a:pt x="3690461" y="322421"/>
                  </a:cubicBezTo>
                  <a:cubicBezTo>
                    <a:pt x="3687604" y="317659"/>
                    <a:pt x="3685699" y="313849"/>
                    <a:pt x="3683794" y="310991"/>
                  </a:cubicBezTo>
                  <a:cubicBezTo>
                    <a:pt x="3683794" y="305276"/>
                    <a:pt x="3683794" y="302419"/>
                    <a:pt x="3683794" y="302419"/>
                  </a:cubicBezTo>
                  <a:cubicBezTo>
                    <a:pt x="3683794" y="302419"/>
                    <a:pt x="3683794" y="304324"/>
                    <a:pt x="3682841" y="308134"/>
                  </a:cubicBezTo>
                  <a:cubicBezTo>
                    <a:pt x="3680936" y="304324"/>
                    <a:pt x="3679031" y="302419"/>
                    <a:pt x="3679031" y="302419"/>
                  </a:cubicBezTo>
                  <a:cubicBezTo>
                    <a:pt x="3679031" y="302419"/>
                    <a:pt x="3679984" y="305276"/>
                    <a:pt x="3681889" y="310991"/>
                  </a:cubicBezTo>
                  <a:cubicBezTo>
                    <a:pt x="3680936" y="313849"/>
                    <a:pt x="3680936" y="318611"/>
                    <a:pt x="3679984" y="323374"/>
                  </a:cubicBezTo>
                  <a:cubicBezTo>
                    <a:pt x="3677126" y="317659"/>
                    <a:pt x="3675221" y="311944"/>
                    <a:pt x="3672364" y="307181"/>
                  </a:cubicBezTo>
                  <a:cubicBezTo>
                    <a:pt x="3674269" y="300514"/>
                    <a:pt x="3676174" y="294799"/>
                    <a:pt x="3677126" y="289084"/>
                  </a:cubicBezTo>
                  <a:cubicBezTo>
                    <a:pt x="3679031" y="283369"/>
                    <a:pt x="3680936" y="277654"/>
                    <a:pt x="3681889" y="272891"/>
                  </a:cubicBezTo>
                  <a:cubicBezTo>
                    <a:pt x="3683794" y="268129"/>
                    <a:pt x="3685699" y="264319"/>
                    <a:pt x="3686651" y="260509"/>
                  </a:cubicBezTo>
                  <a:cubicBezTo>
                    <a:pt x="3690461" y="253841"/>
                    <a:pt x="3692366" y="250031"/>
                    <a:pt x="3692366" y="250031"/>
                  </a:cubicBezTo>
                  <a:cubicBezTo>
                    <a:pt x="3692366" y="250031"/>
                    <a:pt x="3689509" y="252889"/>
                    <a:pt x="3683794" y="258604"/>
                  </a:cubicBezTo>
                  <a:cubicBezTo>
                    <a:pt x="3680936" y="261461"/>
                    <a:pt x="3678079" y="265271"/>
                    <a:pt x="3675221" y="270034"/>
                  </a:cubicBezTo>
                  <a:cubicBezTo>
                    <a:pt x="3674269" y="271939"/>
                    <a:pt x="3673316" y="273844"/>
                    <a:pt x="3671411" y="275749"/>
                  </a:cubicBezTo>
                  <a:cubicBezTo>
                    <a:pt x="3677126" y="261461"/>
                    <a:pt x="3679031" y="248126"/>
                    <a:pt x="3679984" y="236696"/>
                  </a:cubicBezTo>
                  <a:close/>
                  <a:moveTo>
                    <a:pt x="3678079" y="342424"/>
                  </a:moveTo>
                  <a:cubicBezTo>
                    <a:pt x="3678079" y="344329"/>
                    <a:pt x="3677126" y="346234"/>
                    <a:pt x="3677126" y="349091"/>
                  </a:cubicBezTo>
                  <a:cubicBezTo>
                    <a:pt x="3677126" y="347186"/>
                    <a:pt x="3676174" y="345281"/>
                    <a:pt x="3676174" y="343376"/>
                  </a:cubicBezTo>
                  <a:cubicBezTo>
                    <a:pt x="3675221" y="340519"/>
                    <a:pt x="3675221" y="337661"/>
                    <a:pt x="3674269" y="335756"/>
                  </a:cubicBezTo>
                  <a:cubicBezTo>
                    <a:pt x="3675221" y="337661"/>
                    <a:pt x="3676174" y="340519"/>
                    <a:pt x="3678079" y="342424"/>
                  </a:cubicBezTo>
                  <a:close/>
                  <a:moveTo>
                    <a:pt x="3664744" y="355759"/>
                  </a:moveTo>
                  <a:cubicBezTo>
                    <a:pt x="3664744" y="357664"/>
                    <a:pt x="3664744" y="360521"/>
                    <a:pt x="3664744" y="362426"/>
                  </a:cubicBezTo>
                  <a:cubicBezTo>
                    <a:pt x="3664744" y="365284"/>
                    <a:pt x="3663791" y="368141"/>
                    <a:pt x="3663791" y="371951"/>
                  </a:cubicBezTo>
                  <a:cubicBezTo>
                    <a:pt x="3663791" y="371951"/>
                    <a:pt x="3663791" y="371951"/>
                    <a:pt x="3663791" y="371951"/>
                  </a:cubicBezTo>
                  <a:cubicBezTo>
                    <a:pt x="3663791" y="370046"/>
                    <a:pt x="3662839" y="368141"/>
                    <a:pt x="3662839" y="367189"/>
                  </a:cubicBezTo>
                  <a:cubicBezTo>
                    <a:pt x="3662839" y="367189"/>
                    <a:pt x="3662839" y="367189"/>
                    <a:pt x="3662839" y="366236"/>
                  </a:cubicBezTo>
                  <a:cubicBezTo>
                    <a:pt x="3663791" y="363379"/>
                    <a:pt x="3664744" y="359569"/>
                    <a:pt x="3664744" y="355759"/>
                  </a:cubicBezTo>
                  <a:close/>
                  <a:moveTo>
                    <a:pt x="3603784" y="369094"/>
                  </a:moveTo>
                  <a:cubicBezTo>
                    <a:pt x="3603784" y="367189"/>
                    <a:pt x="3602831" y="365284"/>
                    <a:pt x="3602831" y="363379"/>
                  </a:cubicBezTo>
                  <a:cubicBezTo>
                    <a:pt x="3603784" y="359569"/>
                    <a:pt x="3604736" y="355759"/>
                    <a:pt x="3605689" y="352901"/>
                  </a:cubicBezTo>
                  <a:cubicBezTo>
                    <a:pt x="3605689" y="351949"/>
                    <a:pt x="3606641" y="350996"/>
                    <a:pt x="3606641" y="350044"/>
                  </a:cubicBezTo>
                  <a:cubicBezTo>
                    <a:pt x="3606641" y="350996"/>
                    <a:pt x="3607594" y="351949"/>
                    <a:pt x="3607594" y="352901"/>
                  </a:cubicBezTo>
                  <a:lnTo>
                    <a:pt x="3607594" y="353854"/>
                  </a:lnTo>
                  <a:cubicBezTo>
                    <a:pt x="3605689" y="358616"/>
                    <a:pt x="3604736" y="364331"/>
                    <a:pt x="3603784" y="369094"/>
                  </a:cubicBezTo>
                  <a:close/>
                  <a:moveTo>
                    <a:pt x="3612356" y="329089"/>
                  </a:moveTo>
                  <a:cubicBezTo>
                    <a:pt x="3612356" y="329089"/>
                    <a:pt x="3611404" y="328136"/>
                    <a:pt x="3611404" y="327184"/>
                  </a:cubicBezTo>
                  <a:cubicBezTo>
                    <a:pt x="3611404" y="325279"/>
                    <a:pt x="3611404" y="323374"/>
                    <a:pt x="3610451" y="321469"/>
                  </a:cubicBezTo>
                  <a:cubicBezTo>
                    <a:pt x="3611404" y="322421"/>
                    <a:pt x="3612356" y="323374"/>
                    <a:pt x="3613309" y="324326"/>
                  </a:cubicBezTo>
                  <a:cubicBezTo>
                    <a:pt x="3613309" y="326231"/>
                    <a:pt x="3612356" y="327184"/>
                    <a:pt x="3612356" y="329089"/>
                  </a:cubicBezTo>
                  <a:close/>
                  <a:moveTo>
                    <a:pt x="3633311" y="366236"/>
                  </a:moveTo>
                  <a:cubicBezTo>
                    <a:pt x="3632359" y="363379"/>
                    <a:pt x="3630454" y="361474"/>
                    <a:pt x="3629501" y="358616"/>
                  </a:cubicBezTo>
                  <a:cubicBezTo>
                    <a:pt x="3629501" y="357664"/>
                    <a:pt x="3629501" y="355759"/>
                    <a:pt x="3629501" y="354806"/>
                  </a:cubicBezTo>
                  <a:cubicBezTo>
                    <a:pt x="3631406" y="357664"/>
                    <a:pt x="3632359" y="361474"/>
                    <a:pt x="3633311" y="366236"/>
                  </a:cubicBezTo>
                  <a:cubicBezTo>
                    <a:pt x="3633311" y="366236"/>
                    <a:pt x="3634264" y="366236"/>
                    <a:pt x="3633311" y="366236"/>
                  </a:cubicBezTo>
                  <a:cubicBezTo>
                    <a:pt x="3634264" y="366236"/>
                    <a:pt x="3633311" y="366236"/>
                    <a:pt x="3633311" y="366236"/>
                  </a:cubicBezTo>
                  <a:close/>
                  <a:moveTo>
                    <a:pt x="3632359" y="331946"/>
                  </a:moveTo>
                  <a:cubicBezTo>
                    <a:pt x="3633311" y="336709"/>
                    <a:pt x="3634264" y="342424"/>
                    <a:pt x="3635216" y="348139"/>
                  </a:cubicBezTo>
                  <a:cubicBezTo>
                    <a:pt x="3634264" y="346234"/>
                    <a:pt x="3632359" y="343376"/>
                    <a:pt x="3631406" y="341471"/>
                  </a:cubicBezTo>
                  <a:cubicBezTo>
                    <a:pt x="3631406" y="337661"/>
                    <a:pt x="3631406" y="334804"/>
                    <a:pt x="3632359" y="331946"/>
                  </a:cubicBezTo>
                  <a:close/>
                  <a:moveTo>
                    <a:pt x="3618071" y="270034"/>
                  </a:moveTo>
                  <a:cubicBezTo>
                    <a:pt x="3621881" y="261461"/>
                    <a:pt x="3624739" y="252889"/>
                    <a:pt x="3628549" y="246221"/>
                  </a:cubicBezTo>
                  <a:cubicBezTo>
                    <a:pt x="3629501" y="244316"/>
                    <a:pt x="3629501" y="243364"/>
                    <a:pt x="3630454" y="242411"/>
                  </a:cubicBezTo>
                  <a:cubicBezTo>
                    <a:pt x="3629501" y="249079"/>
                    <a:pt x="3627596" y="256699"/>
                    <a:pt x="3625691" y="265271"/>
                  </a:cubicBezTo>
                  <a:cubicBezTo>
                    <a:pt x="3623786" y="267176"/>
                    <a:pt x="3620929" y="269081"/>
                    <a:pt x="3618071" y="271939"/>
                  </a:cubicBezTo>
                  <a:cubicBezTo>
                    <a:pt x="3618071" y="270986"/>
                    <a:pt x="3618071" y="270034"/>
                    <a:pt x="3618071" y="270034"/>
                  </a:cubicBezTo>
                  <a:close/>
                  <a:moveTo>
                    <a:pt x="3601879" y="310039"/>
                  </a:moveTo>
                  <a:cubicBezTo>
                    <a:pt x="3603784" y="306229"/>
                    <a:pt x="3604736" y="302419"/>
                    <a:pt x="3606641" y="298609"/>
                  </a:cubicBezTo>
                  <a:cubicBezTo>
                    <a:pt x="3609499" y="291941"/>
                    <a:pt x="3612356" y="285274"/>
                    <a:pt x="3615214" y="278606"/>
                  </a:cubicBezTo>
                  <a:cubicBezTo>
                    <a:pt x="3617119" y="276701"/>
                    <a:pt x="3619024" y="273844"/>
                    <a:pt x="3619976" y="271939"/>
                  </a:cubicBezTo>
                  <a:cubicBezTo>
                    <a:pt x="3621881" y="270034"/>
                    <a:pt x="3623786" y="268129"/>
                    <a:pt x="3625691" y="266224"/>
                  </a:cubicBezTo>
                  <a:cubicBezTo>
                    <a:pt x="3625691" y="268129"/>
                    <a:pt x="3624739" y="269081"/>
                    <a:pt x="3624739" y="270986"/>
                  </a:cubicBezTo>
                  <a:cubicBezTo>
                    <a:pt x="3621881" y="282416"/>
                    <a:pt x="3619976" y="295751"/>
                    <a:pt x="3617119" y="309086"/>
                  </a:cubicBezTo>
                  <a:cubicBezTo>
                    <a:pt x="3616166" y="312896"/>
                    <a:pt x="3615214" y="317659"/>
                    <a:pt x="3614261" y="322421"/>
                  </a:cubicBezTo>
                  <a:cubicBezTo>
                    <a:pt x="3613309" y="321469"/>
                    <a:pt x="3612356" y="320516"/>
                    <a:pt x="3611404" y="320516"/>
                  </a:cubicBezTo>
                  <a:cubicBezTo>
                    <a:pt x="3610451" y="312896"/>
                    <a:pt x="3610451" y="306229"/>
                    <a:pt x="3609499" y="298609"/>
                  </a:cubicBezTo>
                  <a:cubicBezTo>
                    <a:pt x="3609499" y="305276"/>
                    <a:pt x="3608546" y="311944"/>
                    <a:pt x="3608546" y="318611"/>
                  </a:cubicBezTo>
                  <a:cubicBezTo>
                    <a:pt x="3607594" y="318611"/>
                    <a:pt x="3606641" y="317659"/>
                    <a:pt x="3606641" y="317659"/>
                  </a:cubicBezTo>
                  <a:cubicBezTo>
                    <a:pt x="3607594" y="318611"/>
                    <a:pt x="3608546" y="318611"/>
                    <a:pt x="3608546" y="319564"/>
                  </a:cubicBezTo>
                  <a:cubicBezTo>
                    <a:pt x="3608546" y="320516"/>
                    <a:pt x="3608546" y="321469"/>
                    <a:pt x="3608546" y="322421"/>
                  </a:cubicBezTo>
                  <a:cubicBezTo>
                    <a:pt x="3606641" y="318611"/>
                    <a:pt x="3604736" y="315754"/>
                    <a:pt x="3602831" y="312896"/>
                  </a:cubicBezTo>
                  <a:cubicBezTo>
                    <a:pt x="3601879" y="310991"/>
                    <a:pt x="3601879" y="310039"/>
                    <a:pt x="3601879" y="310039"/>
                  </a:cubicBezTo>
                  <a:close/>
                  <a:moveTo>
                    <a:pt x="3600926" y="335756"/>
                  </a:moveTo>
                  <a:cubicBezTo>
                    <a:pt x="3601879" y="339566"/>
                    <a:pt x="3603784" y="342424"/>
                    <a:pt x="3604736" y="346234"/>
                  </a:cubicBezTo>
                  <a:cubicBezTo>
                    <a:pt x="3603784" y="348139"/>
                    <a:pt x="3602831" y="350044"/>
                    <a:pt x="3601879" y="351949"/>
                  </a:cubicBezTo>
                  <a:cubicBezTo>
                    <a:pt x="3601879" y="351949"/>
                    <a:pt x="3601879" y="352901"/>
                    <a:pt x="3600926" y="352901"/>
                  </a:cubicBezTo>
                  <a:cubicBezTo>
                    <a:pt x="3600926" y="350044"/>
                    <a:pt x="3599974" y="348139"/>
                    <a:pt x="3599974" y="345281"/>
                  </a:cubicBezTo>
                  <a:cubicBezTo>
                    <a:pt x="3599974" y="342424"/>
                    <a:pt x="3600926" y="338614"/>
                    <a:pt x="3600926" y="335756"/>
                  </a:cubicBezTo>
                  <a:close/>
                  <a:moveTo>
                    <a:pt x="3556159" y="342424"/>
                  </a:moveTo>
                  <a:cubicBezTo>
                    <a:pt x="3556159" y="335756"/>
                    <a:pt x="3557111" y="330041"/>
                    <a:pt x="3557111" y="324326"/>
                  </a:cubicBezTo>
                  <a:cubicBezTo>
                    <a:pt x="3557111" y="325279"/>
                    <a:pt x="3558064" y="327184"/>
                    <a:pt x="3558064" y="328136"/>
                  </a:cubicBezTo>
                  <a:cubicBezTo>
                    <a:pt x="3558064" y="330041"/>
                    <a:pt x="3559016" y="331946"/>
                    <a:pt x="3559016" y="333851"/>
                  </a:cubicBezTo>
                  <a:cubicBezTo>
                    <a:pt x="3559016" y="333851"/>
                    <a:pt x="3559016" y="334804"/>
                    <a:pt x="3559016" y="334804"/>
                  </a:cubicBezTo>
                  <a:cubicBezTo>
                    <a:pt x="3558064" y="337661"/>
                    <a:pt x="3557111" y="339566"/>
                    <a:pt x="3556159" y="342424"/>
                  </a:cubicBezTo>
                  <a:close/>
                  <a:moveTo>
                    <a:pt x="3559969" y="279559"/>
                  </a:moveTo>
                  <a:cubicBezTo>
                    <a:pt x="3559016" y="277654"/>
                    <a:pt x="3559016" y="276701"/>
                    <a:pt x="3559016" y="274796"/>
                  </a:cubicBezTo>
                  <a:cubicBezTo>
                    <a:pt x="3559969" y="275749"/>
                    <a:pt x="3560921" y="275749"/>
                    <a:pt x="3561874" y="276701"/>
                  </a:cubicBezTo>
                  <a:cubicBezTo>
                    <a:pt x="3563779" y="277654"/>
                    <a:pt x="3564731" y="278606"/>
                    <a:pt x="3566636" y="280511"/>
                  </a:cubicBezTo>
                  <a:cubicBezTo>
                    <a:pt x="3565684" y="282416"/>
                    <a:pt x="3563779" y="284321"/>
                    <a:pt x="3562826" y="287179"/>
                  </a:cubicBezTo>
                  <a:cubicBezTo>
                    <a:pt x="3561874" y="285274"/>
                    <a:pt x="3560921" y="282416"/>
                    <a:pt x="3559969" y="279559"/>
                  </a:cubicBezTo>
                  <a:close/>
                  <a:moveTo>
                    <a:pt x="3571399" y="287179"/>
                  </a:moveTo>
                  <a:cubicBezTo>
                    <a:pt x="3571399" y="294799"/>
                    <a:pt x="3571399" y="303371"/>
                    <a:pt x="3571399" y="311944"/>
                  </a:cubicBezTo>
                  <a:cubicBezTo>
                    <a:pt x="3570446" y="312896"/>
                    <a:pt x="3570446" y="313849"/>
                    <a:pt x="3569494" y="314801"/>
                  </a:cubicBezTo>
                  <a:cubicBezTo>
                    <a:pt x="3567589" y="307181"/>
                    <a:pt x="3565684" y="299561"/>
                    <a:pt x="3562826" y="292894"/>
                  </a:cubicBezTo>
                  <a:cubicBezTo>
                    <a:pt x="3563779" y="289084"/>
                    <a:pt x="3565684" y="285274"/>
                    <a:pt x="3566636" y="282416"/>
                  </a:cubicBezTo>
                  <a:cubicBezTo>
                    <a:pt x="3568541" y="283369"/>
                    <a:pt x="3570446" y="284321"/>
                    <a:pt x="3571399" y="287179"/>
                  </a:cubicBezTo>
                  <a:cubicBezTo>
                    <a:pt x="3571399" y="286226"/>
                    <a:pt x="3571399" y="286226"/>
                    <a:pt x="3571399" y="287179"/>
                  </a:cubicBezTo>
                  <a:close/>
                  <a:moveTo>
                    <a:pt x="3571399" y="281464"/>
                  </a:moveTo>
                  <a:cubicBezTo>
                    <a:pt x="3570446" y="280511"/>
                    <a:pt x="3569494" y="280511"/>
                    <a:pt x="3568541" y="279559"/>
                  </a:cubicBezTo>
                  <a:cubicBezTo>
                    <a:pt x="3568541" y="279559"/>
                    <a:pt x="3568541" y="279559"/>
                    <a:pt x="3568541" y="279559"/>
                  </a:cubicBezTo>
                  <a:cubicBezTo>
                    <a:pt x="3570446" y="276701"/>
                    <a:pt x="3571399" y="274796"/>
                    <a:pt x="3571399" y="273844"/>
                  </a:cubicBezTo>
                  <a:cubicBezTo>
                    <a:pt x="3571399" y="276701"/>
                    <a:pt x="3571399" y="279559"/>
                    <a:pt x="3571399" y="281464"/>
                  </a:cubicBezTo>
                  <a:close/>
                  <a:moveTo>
                    <a:pt x="3567589" y="250031"/>
                  </a:moveTo>
                  <a:cubicBezTo>
                    <a:pt x="3568541" y="254794"/>
                    <a:pt x="3569494" y="260509"/>
                    <a:pt x="3570446" y="265271"/>
                  </a:cubicBezTo>
                  <a:cubicBezTo>
                    <a:pt x="3570446" y="267176"/>
                    <a:pt x="3571399" y="270034"/>
                    <a:pt x="3571399" y="271939"/>
                  </a:cubicBezTo>
                  <a:cubicBezTo>
                    <a:pt x="3571399" y="271939"/>
                    <a:pt x="3571399" y="272891"/>
                    <a:pt x="3571399" y="272891"/>
                  </a:cubicBezTo>
                  <a:cubicBezTo>
                    <a:pt x="3571399" y="272891"/>
                    <a:pt x="3569494" y="274796"/>
                    <a:pt x="3567589" y="277654"/>
                  </a:cubicBezTo>
                  <a:cubicBezTo>
                    <a:pt x="3567589" y="277654"/>
                    <a:pt x="3567589" y="277654"/>
                    <a:pt x="3567589" y="277654"/>
                  </a:cubicBezTo>
                  <a:cubicBezTo>
                    <a:pt x="3565684" y="276701"/>
                    <a:pt x="3563779" y="274796"/>
                    <a:pt x="3561874" y="274796"/>
                  </a:cubicBezTo>
                  <a:cubicBezTo>
                    <a:pt x="3559969" y="273844"/>
                    <a:pt x="3559016" y="273844"/>
                    <a:pt x="3558064" y="272891"/>
                  </a:cubicBezTo>
                  <a:cubicBezTo>
                    <a:pt x="3557111" y="269081"/>
                    <a:pt x="3555206" y="264319"/>
                    <a:pt x="3554254" y="260509"/>
                  </a:cubicBezTo>
                  <a:cubicBezTo>
                    <a:pt x="3555206" y="259556"/>
                    <a:pt x="3555206" y="258604"/>
                    <a:pt x="3556159" y="257651"/>
                  </a:cubicBezTo>
                  <a:cubicBezTo>
                    <a:pt x="3559969" y="251936"/>
                    <a:pt x="3562826" y="247174"/>
                    <a:pt x="3566636" y="243364"/>
                  </a:cubicBezTo>
                  <a:cubicBezTo>
                    <a:pt x="3567589" y="246221"/>
                    <a:pt x="3567589" y="248126"/>
                    <a:pt x="3567589" y="250031"/>
                  </a:cubicBezTo>
                  <a:close/>
                  <a:moveTo>
                    <a:pt x="3561874" y="229076"/>
                  </a:moveTo>
                  <a:cubicBezTo>
                    <a:pt x="3561874" y="228124"/>
                    <a:pt x="3562826" y="228124"/>
                    <a:pt x="3562826" y="227171"/>
                  </a:cubicBezTo>
                  <a:cubicBezTo>
                    <a:pt x="3563779" y="230029"/>
                    <a:pt x="3563779" y="232886"/>
                    <a:pt x="3564731" y="235744"/>
                  </a:cubicBezTo>
                  <a:cubicBezTo>
                    <a:pt x="3564731" y="236696"/>
                    <a:pt x="3564731" y="237649"/>
                    <a:pt x="3565684" y="238601"/>
                  </a:cubicBezTo>
                  <a:cubicBezTo>
                    <a:pt x="3561874" y="241459"/>
                    <a:pt x="3557111" y="246221"/>
                    <a:pt x="3552349" y="251936"/>
                  </a:cubicBezTo>
                  <a:cubicBezTo>
                    <a:pt x="3552349" y="250031"/>
                    <a:pt x="3551396" y="248126"/>
                    <a:pt x="3551396" y="247174"/>
                  </a:cubicBezTo>
                  <a:cubicBezTo>
                    <a:pt x="3555206" y="241459"/>
                    <a:pt x="3558064" y="234791"/>
                    <a:pt x="3561874" y="229076"/>
                  </a:cubicBezTo>
                  <a:close/>
                  <a:moveTo>
                    <a:pt x="3551396" y="293846"/>
                  </a:moveTo>
                  <a:cubicBezTo>
                    <a:pt x="3552349" y="298609"/>
                    <a:pt x="3553301" y="303371"/>
                    <a:pt x="3554254" y="307181"/>
                  </a:cubicBezTo>
                  <a:cubicBezTo>
                    <a:pt x="3553301" y="311944"/>
                    <a:pt x="3551396" y="315754"/>
                    <a:pt x="3550444" y="321469"/>
                  </a:cubicBezTo>
                  <a:cubicBezTo>
                    <a:pt x="3549491" y="325279"/>
                    <a:pt x="3548539" y="329089"/>
                    <a:pt x="3547586" y="333851"/>
                  </a:cubicBezTo>
                  <a:cubicBezTo>
                    <a:pt x="3547586" y="332899"/>
                    <a:pt x="3546634" y="332899"/>
                    <a:pt x="3546634" y="331946"/>
                  </a:cubicBezTo>
                  <a:cubicBezTo>
                    <a:pt x="3545681" y="330041"/>
                    <a:pt x="3544729" y="329089"/>
                    <a:pt x="3543776" y="327184"/>
                  </a:cubicBezTo>
                  <a:cubicBezTo>
                    <a:pt x="3544729" y="319564"/>
                    <a:pt x="3544729" y="312896"/>
                    <a:pt x="3544729" y="306229"/>
                  </a:cubicBezTo>
                  <a:cubicBezTo>
                    <a:pt x="3545681" y="299561"/>
                    <a:pt x="3546634" y="292894"/>
                    <a:pt x="3547586" y="286226"/>
                  </a:cubicBezTo>
                  <a:cubicBezTo>
                    <a:pt x="3547586" y="283369"/>
                    <a:pt x="3548539" y="279559"/>
                    <a:pt x="3548539" y="276701"/>
                  </a:cubicBezTo>
                  <a:cubicBezTo>
                    <a:pt x="3548539" y="282416"/>
                    <a:pt x="3550444" y="288131"/>
                    <a:pt x="3551396" y="293846"/>
                  </a:cubicBezTo>
                  <a:close/>
                  <a:moveTo>
                    <a:pt x="3543776" y="191929"/>
                  </a:moveTo>
                  <a:cubicBezTo>
                    <a:pt x="3545681" y="187166"/>
                    <a:pt x="3547586" y="183356"/>
                    <a:pt x="3549491" y="180499"/>
                  </a:cubicBezTo>
                  <a:cubicBezTo>
                    <a:pt x="3549491" y="181451"/>
                    <a:pt x="3549491" y="183356"/>
                    <a:pt x="3548539" y="185261"/>
                  </a:cubicBezTo>
                  <a:cubicBezTo>
                    <a:pt x="3547586" y="192881"/>
                    <a:pt x="3546634" y="201454"/>
                    <a:pt x="3544729" y="211931"/>
                  </a:cubicBezTo>
                  <a:cubicBezTo>
                    <a:pt x="3544729" y="213836"/>
                    <a:pt x="3543776" y="215741"/>
                    <a:pt x="3543776" y="217646"/>
                  </a:cubicBezTo>
                  <a:cubicBezTo>
                    <a:pt x="3541871" y="210026"/>
                    <a:pt x="3539966" y="204311"/>
                    <a:pt x="3539014" y="200501"/>
                  </a:cubicBezTo>
                  <a:cubicBezTo>
                    <a:pt x="3540919" y="196691"/>
                    <a:pt x="3541871" y="194786"/>
                    <a:pt x="3543776" y="191929"/>
                  </a:cubicBezTo>
                  <a:close/>
                  <a:moveTo>
                    <a:pt x="3530441" y="217646"/>
                  </a:moveTo>
                  <a:cubicBezTo>
                    <a:pt x="3533299" y="211931"/>
                    <a:pt x="3536156" y="206216"/>
                    <a:pt x="3539014" y="201454"/>
                  </a:cubicBezTo>
                  <a:cubicBezTo>
                    <a:pt x="3539014" y="205264"/>
                    <a:pt x="3539966" y="210979"/>
                    <a:pt x="3540919" y="217646"/>
                  </a:cubicBezTo>
                  <a:cubicBezTo>
                    <a:pt x="3540919" y="221456"/>
                    <a:pt x="3541871" y="226219"/>
                    <a:pt x="3542824" y="231934"/>
                  </a:cubicBezTo>
                  <a:cubicBezTo>
                    <a:pt x="3541871" y="234791"/>
                    <a:pt x="3541871" y="237649"/>
                    <a:pt x="3540919" y="240506"/>
                  </a:cubicBezTo>
                  <a:cubicBezTo>
                    <a:pt x="3537109" y="246221"/>
                    <a:pt x="3532346" y="252889"/>
                    <a:pt x="3528536" y="259556"/>
                  </a:cubicBezTo>
                  <a:cubicBezTo>
                    <a:pt x="3528536" y="258604"/>
                    <a:pt x="3528536" y="257651"/>
                    <a:pt x="3528536" y="257651"/>
                  </a:cubicBezTo>
                  <a:cubicBezTo>
                    <a:pt x="3528536" y="251936"/>
                    <a:pt x="3528536" y="246221"/>
                    <a:pt x="3527584" y="240506"/>
                  </a:cubicBezTo>
                  <a:cubicBezTo>
                    <a:pt x="3527584" y="236696"/>
                    <a:pt x="3526631" y="232886"/>
                    <a:pt x="3526631" y="229076"/>
                  </a:cubicBezTo>
                  <a:cubicBezTo>
                    <a:pt x="3527584" y="224314"/>
                    <a:pt x="3528536" y="220504"/>
                    <a:pt x="3530441" y="217646"/>
                  </a:cubicBezTo>
                  <a:close/>
                  <a:moveTo>
                    <a:pt x="3490436" y="321469"/>
                  </a:moveTo>
                  <a:cubicBezTo>
                    <a:pt x="3490436" y="320516"/>
                    <a:pt x="3490436" y="318611"/>
                    <a:pt x="3490436" y="317659"/>
                  </a:cubicBezTo>
                  <a:cubicBezTo>
                    <a:pt x="3490436" y="318611"/>
                    <a:pt x="3491389" y="319564"/>
                    <a:pt x="3491389" y="319564"/>
                  </a:cubicBezTo>
                  <a:cubicBezTo>
                    <a:pt x="3491389" y="320516"/>
                    <a:pt x="3491389" y="320516"/>
                    <a:pt x="3490436" y="321469"/>
                  </a:cubicBezTo>
                  <a:close/>
                  <a:moveTo>
                    <a:pt x="3514249" y="250984"/>
                  </a:moveTo>
                  <a:cubicBezTo>
                    <a:pt x="3515201" y="249079"/>
                    <a:pt x="3516154" y="247174"/>
                    <a:pt x="3516154" y="246221"/>
                  </a:cubicBezTo>
                  <a:cubicBezTo>
                    <a:pt x="3516154" y="250031"/>
                    <a:pt x="3516154" y="253841"/>
                    <a:pt x="3515201" y="257651"/>
                  </a:cubicBezTo>
                  <a:cubicBezTo>
                    <a:pt x="3515201" y="261461"/>
                    <a:pt x="3514249" y="266224"/>
                    <a:pt x="3514249" y="270986"/>
                  </a:cubicBezTo>
                  <a:cubicBezTo>
                    <a:pt x="3513296" y="267176"/>
                    <a:pt x="3511391" y="263366"/>
                    <a:pt x="3509486" y="259556"/>
                  </a:cubicBezTo>
                  <a:cubicBezTo>
                    <a:pt x="3512344" y="255746"/>
                    <a:pt x="3513296" y="252889"/>
                    <a:pt x="3514249" y="250984"/>
                  </a:cubicBezTo>
                  <a:close/>
                  <a:moveTo>
                    <a:pt x="3504724" y="271939"/>
                  </a:moveTo>
                  <a:cubicBezTo>
                    <a:pt x="3504724" y="272891"/>
                    <a:pt x="3505676" y="273844"/>
                    <a:pt x="3505676" y="274796"/>
                  </a:cubicBezTo>
                  <a:cubicBezTo>
                    <a:pt x="3506629" y="279559"/>
                    <a:pt x="3508534" y="283369"/>
                    <a:pt x="3509486" y="288131"/>
                  </a:cubicBezTo>
                  <a:cubicBezTo>
                    <a:pt x="3508534" y="290036"/>
                    <a:pt x="3507581" y="291941"/>
                    <a:pt x="3505676" y="293846"/>
                  </a:cubicBezTo>
                  <a:cubicBezTo>
                    <a:pt x="3505676" y="290036"/>
                    <a:pt x="3504724" y="286226"/>
                    <a:pt x="3504724" y="282416"/>
                  </a:cubicBezTo>
                  <a:cubicBezTo>
                    <a:pt x="3504724" y="279559"/>
                    <a:pt x="3504724" y="275749"/>
                    <a:pt x="3504724" y="271939"/>
                  </a:cubicBezTo>
                  <a:cubicBezTo>
                    <a:pt x="3504724" y="272891"/>
                    <a:pt x="3504724" y="272891"/>
                    <a:pt x="3504724" y="271939"/>
                  </a:cubicBezTo>
                  <a:close/>
                  <a:moveTo>
                    <a:pt x="3501866" y="398621"/>
                  </a:moveTo>
                  <a:cubicBezTo>
                    <a:pt x="3499961" y="389096"/>
                    <a:pt x="3497104" y="380524"/>
                    <a:pt x="3495199" y="371951"/>
                  </a:cubicBezTo>
                  <a:cubicBezTo>
                    <a:pt x="3495199" y="370999"/>
                    <a:pt x="3494246" y="370046"/>
                    <a:pt x="3494246" y="369094"/>
                  </a:cubicBezTo>
                  <a:cubicBezTo>
                    <a:pt x="3496151" y="365284"/>
                    <a:pt x="3498056" y="361474"/>
                    <a:pt x="3499961" y="357664"/>
                  </a:cubicBezTo>
                  <a:cubicBezTo>
                    <a:pt x="3500914" y="370999"/>
                    <a:pt x="3500914" y="384334"/>
                    <a:pt x="3501866" y="398621"/>
                  </a:cubicBezTo>
                  <a:close/>
                  <a:moveTo>
                    <a:pt x="3496151" y="290036"/>
                  </a:moveTo>
                  <a:cubicBezTo>
                    <a:pt x="3497104" y="288131"/>
                    <a:pt x="3498056" y="286226"/>
                    <a:pt x="3499009" y="284321"/>
                  </a:cubicBezTo>
                  <a:cubicBezTo>
                    <a:pt x="3499009" y="288131"/>
                    <a:pt x="3499009" y="291941"/>
                    <a:pt x="3499009" y="295751"/>
                  </a:cubicBezTo>
                  <a:cubicBezTo>
                    <a:pt x="3498056" y="293846"/>
                    <a:pt x="3497104" y="291941"/>
                    <a:pt x="3496151" y="290036"/>
                  </a:cubicBezTo>
                  <a:close/>
                  <a:moveTo>
                    <a:pt x="3496151" y="252889"/>
                  </a:moveTo>
                  <a:cubicBezTo>
                    <a:pt x="3496151" y="250984"/>
                    <a:pt x="3496151" y="249079"/>
                    <a:pt x="3496151" y="247174"/>
                  </a:cubicBezTo>
                  <a:cubicBezTo>
                    <a:pt x="3497104" y="250031"/>
                    <a:pt x="3498056" y="252889"/>
                    <a:pt x="3499009" y="254794"/>
                  </a:cubicBezTo>
                  <a:cubicBezTo>
                    <a:pt x="3498056" y="256699"/>
                    <a:pt x="3496151" y="258604"/>
                    <a:pt x="3495199" y="261461"/>
                  </a:cubicBezTo>
                  <a:cubicBezTo>
                    <a:pt x="3495199" y="258604"/>
                    <a:pt x="3496151" y="255746"/>
                    <a:pt x="3496151" y="252889"/>
                  </a:cubicBezTo>
                  <a:close/>
                  <a:moveTo>
                    <a:pt x="3481864" y="205264"/>
                  </a:moveTo>
                  <a:cubicBezTo>
                    <a:pt x="3484721" y="212884"/>
                    <a:pt x="3488531" y="220504"/>
                    <a:pt x="3491389" y="230029"/>
                  </a:cubicBezTo>
                  <a:cubicBezTo>
                    <a:pt x="3492341" y="233839"/>
                    <a:pt x="3494246" y="238601"/>
                    <a:pt x="3495199" y="243364"/>
                  </a:cubicBezTo>
                  <a:cubicBezTo>
                    <a:pt x="3494246" y="245269"/>
                    <a:pt x="3493294" y="248126"/>
                    <a:pt x="3492341" y="251936"/>
                  </a:cubicBezTo>
                  <a:cubicBezTo>
                    <a:pt x="3491389" y="256699"/>
                    <a:pt x="3489484" y="261461"/>
                    <a:pt x="3487579" y="268129"/>
                  </a:cubicBezTo>
                  <a:cubicBezTo>
                    <a:pt x="3487579" y="269081"/>
                    <a:pt x="3487579" y="269081"/>
                    <a:pt x="3486626" y="270034"/>
                  </a:cubicBezTo>
                  <a:cubicBezTo>
                    <a:pt x="3484721" y="265271"/>
                    <a:pt x="3481864" y="260509"/>
                    <a:pt x="3479959" y="255746"/>
                  </a:cubicBezTo>
                  <a:cubicBezTo>
                    <a:pt x="3479959" y="245269"/>
                    <a:pt x="3479959" y="235744"/>
                    <a:pt x="3479959" y="228124"/>
                  </a:cubicBezTo>
                  <a:cubicBezTo>
                    <a:pt x="3479959" y="221456"/>
                    <a:pt x="3479959" y="216694"/>
                    <a:pt x="3479959" y="213836"/>
                  </a:cubicBezTo>
                  <a:cubicBezTo>
                    <a:pt x="3480911" y="211931"/>
                    <a:pt x="3480911" y="208121"/>
                    <a:pt x="3481864" y="205264"/>
                  </a:cubicBezTo>
                  <a:close/>
                  <a:moveTo>
                    <a:pt x="3473291" y="241459"/>
                  </a:moveTo>
                  <a:cubicBezTo>
                    <a:pt x="3474244" y="239554"/>
                    <a:pt x="3474244" y="236696"/>
                    <a:pt x="3475196" y="234791"/>
                  </a:cubicBezTo>
                  <a:cubicBezTo>
                    <a:pt x="3474244" y="236696"/>
                    <a:pt x="3474244" y="239554"/>
                    <a:pt x="3473291" y="241459"/>
                  </a:cubicBezTo>
                  <a:cubicBezTo>
                    <a:pt x="3473291" y="242411"/>
                    <a:pt x="3473291" y="241459"/>
                    <a:pt x="3473291" y="241459"/>
                  </a:cubicBezTo>
                  <a:cubicBezTo>
                    <a:pt x="3473291" y="241459"/>
                    <a:pt x="3473291" y="241459"/>
                    <a:pt x="3473291" y="241459"/>
                  </a:cubicBezTo>
                  <a:close/>
                  <a:moveTo>
                    <a:pt x="3468529" y="260509"/>
                  </a:moveTo>
                  <a:cubicBezTo>
                    <a:pt x="3468529" y="261461"/>
                    <a:pt x="3469481" y="262414"/>
                    <a:pt x="3469481" y="263366"/>
                  </a:cubicBezTo>
                  <a:cubicBezTo>
                    <a:pt x="3469481" y="266224"/>
                    <a:pt x="3468529" y="268129"/>
                    <a:pt x="3468529" y="270986"/>
                  </a:cubicBezTo>
                  <a:cubicBezTo>
                    <a:pt x="3467576" y="279559"/>
                    <a:pt x="3466624" y="290036"/>
                    <a:pt x="3465671" y="300514"/>
                  </a:cubicBezTo>
                  <a:cubicBezTo>
                    <a:pt x="3464719" y="306229"/>
                    <a:pt x="3464719" y="311944"/>
                    <a:pt x="3464719" y="318611"/>
                  </a:cubicBezTo>
                  <a:cubicBezTo>
                    <a:pt x="3464719" y="319564"/>
                    <a:pt x="3463766" y="320516"/>
                    <a:pt x="3463766" y="321469"/>
                  </a:cubicBezTo>
                  <a:cubicBezTo>
                    <a:pt x="3462814" y="316706"/>
                    <a:pt x="3460909" y="311944"/>
                    <a:pt x="3459956" y="307181"/>
                  </a:cubicBezTo>
                  <a:cubicBezTo>
                    <a:pt x="3459956" y="307181"/>
                    <a:pt x="3459956" y="306229"/>
                    <a:pt x="3459956" y="306229"/>
                  </a:cubicBezTo>
                  <a:cubicBezTo>
                    <a:pt x="3459956" y="304324"/>
                    <a:pt x="3460909" y="302419"/>
                    <a:pt x="3460909" y="300514"/>
                  </a:cubicBezTo>
                  <a:cubicBezTo>
                    <a:pt x="3463766" y="287179"/>
                    <a:pt x="3466624" y="273844"/>
                    <a:pt x="3468529" y="260509"/>
                  </a:cubicBezTo>
                  <a:close/>
                  <a:moveTo>
                    <a:pt x="3451384" y="237649"/>
                  </a:moveTo>
                  <a:cubicBezTo>
                    <a:pt x="3451384" y="231934"/>
                    <a:pt x="3451384" y="227171"/>
                    <a:pt x="3451384" y="221456"/>
                  </a:cubicBezTo>
                  <a:cubicBezTo>
                    <a:pt x="3451384" y="221456"/>
                    <a:pt x="3451384" y="221456"/>
                    <a:pt x="3451384" y="222409"/>
                  </a:cubicBezTo>
                  <a:cubicBezTo>
                    <a:pt x="3453289" y="227171"/>
                    <a:pt x="3456146" y="231934"/>
                    <a:pt x="3458051" y="237649"/>
                  </a:cubicBezTo>
                  <a:cubicBezTo>
                    <a:pt x="3458051" y="237649"/>
                    <a:pt x="3458051" y="238601"/>
                    <a:pt x="3458051" y="238601"/>
                  </a:cubicBezTo>
                  <a:cubicBezTo>
                    <a:pt x="3455194" y="248126"/>
                    <a:pt x="3452336" y="257651"/>
                    <a:pt x="3450431" y="267176"/>
                  </a:cubicBezTo>
                  <a:cubicBezTo>
                    <a:pt x="3450431" y="267176"/>
                    <a:pt x="3450431" y="267176"/>
                    <a:pt x="3450431" y="267176"/>
                  </a:cubicBezTo>
                  <a:cubicBezTo>
                    <a:pt x="3451384" y="256699"/>
                    <a:pt x="3451384" y="247174"/>
                    <a:pt x="3451384" y="237649"/>
                  </a:cubicBezTo>
                  <a:close/>
                  <a:moveTo>
                    <a:pt x="3405664" y="273844"/>
                  </a:moveTo>
                  <a:cubicBezTo>
                    <a:pt x="3406616" y="268129"/>
                    <a:pt x="3406616" y="263366"/>
                    <a:pt x="3406616" y="258604"/>
                  </a:cubicBezTo>
                  <a:cubicBezTo>
                    <a:pt x="3406616" y="253841"/>
                    <a:pt x="3406616" y="249079"/>
                    <a:pt x="3406616" y="245269"/>
                  </a:cubicBezTo>
                  <a:cubicBezTo>
                    <a:pt x="3406616" y="247174"/>
                    <a:pt x="3407569" y="251936"/>
                    <a:pt x="3409474" y="259556"/>
                  </a:cubicBezTo>
                  <a:cubicBezTo>
                    <a:pt x="3409474" y="264319"/>
                    <a:pt x="3407569" y="269081"/>
                    <a:pt x="3405664" y="273844"/>
                  </a:cubicBezTo>
                  <a:close/>
                  <a:moveTo>
                    <a:pt x="3416141" y="335756"/>
                  </a:moveTo>
                  <a:cubicBezTo>
                    <a:pt x="3416141" y="341471"/>
                    <a:pt x="3416141" y="347186"/>
                    <a:pt x="3416141" y="353854"/>
                  </a:cubicBezTo>
                  <a:cubicBezTo>
                    <a:pt x="3416141" y="351949"/>
                    <a:pt x="3415189" y="350044"/>
                    <a:pt x="3415189" y="348139"/>
                  </a:cubicBezTo>
                  <a:cubicBezTo>
                    <a:pt x="3414236" y="340519"/>
                    <a:pt x="3414236" y="333851"/>
                    <a:pt x="3413284" y="328136"/>
                  </a:cubicBezTo>
                  <a:cubicBezTo>
                    <a:pt x="3413284" y="328136"/>
                    <a:pt x="3413284" y="328136"/>
                    <a:pt x="3413284" y="328136"/>
                  </a:cubicBezTo>
                  <a:cubicBezTo>
                    <a:pt x="3414236" y="325279"/>
                    <a:pt x="3415189" y="323374"/>
                    <a:pt x="3417094" y="320516"/>
                  </a:cubicBezTo>
                  <a:cubicBezTo>
                    <a:pt x="3417094" y="324326"/>
                    <a:pt x="3417094" y="329089"/>
                    <a:pt x="3416141" y="335756"/>
                  </a:cubicBezTo>
                  <a:close/>
                  <a:moveTo>
                    <a:pt x="3421856" y="320516"/>
                  </a:moveTo>
                  <a:cubicBezTo>
                    <a:pt x="3420904" y="324326"/>
                    <a:pt x="3420904" y="329089"/>
                    <a:pt x="3419951" y="332899"/>
                  </a:cubicBezTo>
                  <a:cubicBezTo>
                    <a:pt x="3418999" y="326231"/>
                    <a:pt x="3418999" y="320516"/>
                    <a:pt x="3418046" y="316706"/>
                  </a:cubicBezTo>
                  <a:cubicBezTo>
                    <a:pt x="3418999" y="314801"/>
                    <a:pt x="3419951" y="312896"/>
                    <a:pt x="3420904" y="310991"/>
                  </a:cubicBezTo>
                  <a:cubicBezTo>
                    <a:pt x="3420904" y="310039"/>
                    <a:pt x="3421856" y="309086"/>
                    <a:pt x="3421856" y="308134"/>
                  </a:cubicBezTo>
                  <a:cubicBezTo>
                    <a:pt x="3421856" y="310039"/>
                    <a:pt x="3422809" y="310991"/>
                    <a:pt x="3422809" y="312896"/>
                  </a:cubicBezTo>
                  <a:cubicBezTo>
                    <a:pt x="3422809" y="314801"/>
                    <a:pt x="3422809" y="317659"/>
                    <a:pt x="3421856" y="320516"/>
                  </a:cubicBezTo>
                  <a:close/>
                  <a:moveTo>
                    <a:pt x="3410426" y="139541"/>
                  </a:moveTo>
                  <a:cubicBezTo>
                    <a:pt x="3413284" y="145256"/>
                    <a:pt x="3417094" y="151924"/>
                    <a:pt x="3421856" y="161449"/>
                  </a:cubicBezTo>
                  <a:cubicBezTo>
                    <a:pt x="3424714" y="167164"/>
                    <a:pt x="3428524" y="173831"/>
                    <a:pt x="3433286" y="181451"/>
                  </a:cubicBezTo>
                  <a:cubicBezTo>
                    <a:pt x="3431381" y="187166"/>
                    <a:pt x="3430429" y="192881"/>
                    <a:pt x="3428524" y="198596"/>
                  </a:cubicBezTo>
                  <a:cubicBezTo>
                    <a:pt x="3427571" y="202406"/>
                    <a:pt x="3426619" y="206216"/>
                    <a:pt x="3425666" y="210026"/>
                  </a:cubicBezTo>
                  <a:cubicBezTo>
                    <a:pt x="3424714" y="205264"/>
                    <a:pt x="3423761" y="200501"/>
                    <a:pt x="3422809" y="195739"/>
                  </a:cubicBezTo>
                  <a:cubicBezTo>
                    <a:pt x="3419951" y="183356"/>
                    <a:pt x="3417094" y="171926"/>
                    <a:pt x="3415189" y="163354"/>
                  </a:cubicBezTo>
                  <a:cubicBezTo>
                    <a:pt x="3413284" y="154781"/>
                    <a:pt x="3411379" y="148114"/>
                    <a:pt x="3410426" y="143351"/>
                  </a:cubicBezTo>
                  <a:cubicBezTo>
                    <a:pt x="3409474" y="141446"/>
                    <a:pt x="3410426" y="140494"/>
                    <a:pt x="3410426" y="139541"/>
                  </a:cubicBezTo>
                  <a:close/>
                  <a:moveTo>
                    <a:pt x="3408521" y="136684"/>
                  </a:moveTo>
                  <a:cubicBezTo>
                    <a:pt x="3408521" y="136684"/>
                    <a:pt x="3408521" y="136684"/>
                    <a:pt x="3408521" y="136684"/>
                  </a:cubicBezTo>
                  <a:cubicBezTo>
                    <a:pt x="3408521" y="136684"/>
                    <a:pt x="3408521" y="136684"/>
                    <a:pt x="3408521" y="136684"/>
                  </a:cubicBezTo>
                  <a:cubicBezTo>
                    <a:pt x="3408521" y="136684"/>
                    <a:pt x="3408521" y="136684"/>
                    <a:pt x="3408521" y="136684"/>
                  </a:cubicBezTo>
                  <a:close/>
                  <a:moveTo>
                    <a:pt x="3395186" y="266224"/>
                  </a:moveTo>
                  <a:cubicBezTo>
                    <a:pt x="3396139" y="251936"/>
                    <a:pt x="3396139" y="239554"/>
                    <a:pt x="3396139" y="227171"/>
                  </a:cubicBezTo>
                  <a:cubicBezTo>
                    <a:pt x="3396139" y="222409"/>
                    <a:pt x="3396139" y="217646"/>
                    <a:pt x="3396139" y="212884"/>
                  </a:cubicBezTo>
                  <a:cubicBezTo>
                    <a:pt x="3397091" y="210026"/>
                    <a:pt x="3398044" y="207169"/>
                    <a:pt x="3398996" y="204311"/>
                  </a:cubicBezTo>
                  <a:cubicBezTo>
                    <a:pt x="3398044" y="206216"/>
                    <a:pt x="3397091" y="208121"/>
                    <a:pt x="3396139" y="210026"/>
                  </a:cubicBezTo>
                  <a:cubicBezTo>
                    <a:pt x="3396139" y="207169"/>
                    <a:pt x="3396139" y="204311"/>
                    <a:pt x="3396139" y="202406"/>
                  </a:cubicBezTo>
                  <a:cubicBezTo>
                    <a:pt x="3397091" y="199549"/>
                    <a:pt x="3397091" y="197644"/>
                    <a:pt x="3398044" y="194786"/>
                  </a:cubicBezTo>
                  <a:cubicBezTo>
                    <a:pt x="3401854" y="178594"/>
                    <a:pt x="3405664" y="162401"/>
                    <a:pt x="3408521" y="145256"/>
                  </a:cubicBezTo>
                  <a:cubicBezTo>
                    <a:pt x="3408521" y="150019"/>
                    <a:pt x="3409474" y="155734"/>
                    <a:pt x="3410426" y="162401"/>
                  </a:cubicBezTo>
                  <a:cubicBezTo>
                    <a:pt x="3411379" y="171926"/>
                    <a:pt x="3412331" y="182404"/>
                    <a:pt x="3414236" y="195739"/>
                  </a:cubicBezTo>
                  <a:cubicBezTo>
                    <a:pt x="3415189" y="202406"/>
                    <a:pt x="3416141" y="209074"/>
                    <a:pt x="3417094" y="215741"/>
                  </a:cubicBezTo>
                  <a:cubicBezTo>
                    <a:pt x="3418046" y="220504"/>
                    <a:pt x="3418999" y="224314"/>
                    <a:pt x="3419951" y="229076"/>
                  </a:cubicBezTo>
                  <a:cubicBezTo>
                    <a:pt x="3418999" y="230981"/>
                    <a:pt x="3418999" y="232886"/>
                    <a:pt x="3418046" y="233839"/>
                  </a:cubicBezTo>
                  <a:cubicBezTo>
                    <a:pt x="3416141" y="240506"/>
                    <a:pt x="3414236" y="247174"/>
                    <a:pt x="3411379" y="253841"/>
                  </a:cubicBezTo>
                  <a:cubicBezTo>
                    <a:pt x="3408521" y="248126"/>
                    <a:pt x="3407569" y="245269"/>
                    <a:pt x="3407569" y="244316"/>
                  </a:cubicBezTo>
                  <a:cubicBezTo>
                    <a:pt x="3407569" y="242411"/>
                    <a:pt x="3407569" y="241459"/>
                    <a:pt x="3407569" y="239554"/>
                  </a:cubicBezTo>
                  <a:cubicBezTo>
                    <a:pt x="3407569" y="230029"/>
                    <a:pt x="3407569" y="224314"/>
                    <a:pt x="3407569" y="224314"/>
                  </a:cubicBezTo>
                  <a:cubicBezTo>
                    <a:pt x="3407569" y="224314"/>
                    <a:pt x="3405664" y="230029"/>
                    <a:pt x="3403759" y="239554"/>
                  </a:cubicBezTo>
                  <a:cubicBezTo>
                    <a:pt x="3402806" y="244316"/>
                    <a:pt x="3400901" y="250031"/>
                    <a:pt x="3399949" y="256699"/>
                  </a:cubicBezTo>
                  <a:cubicBezTo>
                    <a:pt x="3398996" y="262414"/>
                    <a:pt x="3397091" y="269081"/>
                    <a:pt x="3395186" y="275749"/>
                  </a:cubicBezTo>
                  <a:cubicBezTo>
                    <a:pt x="3395186" y="273844"/>
                    <a:pt x="3395186" y="270034"/>
                    <a:pt x="3395186" y="266224"/>
                  </a:cubicBezTo>
                  <a:close/>
                  <a:moveTo>
                    <a:pt x="3363754" y="252889"/>
                  </a:moveTo>
                  <a:cubicBezTo>
                    <a:pt x="3364706" y="256699"/>
                    <a:pt x="3365659" y="260509"/>
                    <a:pt x="3365659" y="264319"/>
                  </a:cubicBezTo>
                  <a:cubicBezTo>
                    <a:pt x="3364706" y="266224"/>
                    <a:pt x="3363754" y="267176"/>
                    <a:pt x="3363754" y="269081"/>
                  </a:cubicBezTo>
                  <a:cubicBezTo>
                    <a:pt x="3363754" y="262414"/>
                    <a:pt x="3363754" y="257651"/>
                    <a:pt x="3363754" y="252889"/>
                  </a:cubicBezTo>
                  <a:close/>
                  <a:moveTo>
                    <a:pt x="3321844" y="351949"/>
                  </a:moveTo>
                  <a:cubicBezTo>
                    <a:pt x="3321844" y="349091"/>
                    <a:pt x="3322796" y="345281"/>
                    <a:pt x="3322796" y="342424"/>
                  </a:cubicBezTo>
                  <a:cubicBezTo>
                    <a:pt x="3322796" y="344329"/>
                    <a:pt x="3323749" y="346234"/>
                    <a:pt x="3323749" y="347186"/>
                  </a:cubicBezTo>
                  <a:cubicBezTo>
                    <a:pt x="3323749" y="349091"/>
                    <a:pt x="3322796" y="350044"/>
                    <a:pt x="3321844" y="351949"/>
                  </a:cubicBezTo>
                  <a:close/>
                  <a:moveTo>
                    <a:pt x="3340894" y="273844"/>
                  </a:moveTo>
                  <a:cubicBezTo>
                    <a:pt x="3342799" y="282416"/>
                    <a:pt x="3345656" y="290036"/>
                    <a:pt x="3347561" y="298609"/>
                  </a:cubicBezTo>
                  <a:cubicBezTo>
                    <a:pt x="3346609" y="300514"/>
                    <a:pt x="3345656" y="302419"/>
                    <a:pt x="3344704" y="304324"/>
                  </a:cubicBezTo>
                  <a:cubicBezTo>
                    <a:pt x="3342799" y="299561"/>
                    <a:pt x="3340894" y="295751"/>
                    <a:pt x="3338989" y="290989"/>
                  </a:cubicBezTo>
                  <a:cubicBezTo>
                    <a:pt x="3338036" y="276701"/>
                    <a:pt x="3336131" y="263366"/>
                    <a:pt x="3335179" y="251936"/>
                  </a:cubicBezTo>
                  <a:cubicBezTo>
                    <a:pt x="3337084" y="259556"/>
                    <a:pt x="3338989" y="266224"/>
                    <a:pt x="3340894" y="273844"/>
                  </a:cubicBezTo>
                  <a:close/>
                  <a:moveTo>
                    <a:pt x="3330416" y="376714"/>
                  </a:moveTo>
                  <a:cubicBezTo>
                    <a:pt x="3330416" y="377666"/>
                    <a:pt x="3330416" y="378619"/>
                    <a:pt x="3331369" y="379571"/>
                  </a:cubicBezTo>
                  <a:cubicBezTo>
                    <a:pt x="3330416" y="380524"/>
                    <a:pt x="3330416" y="382429"/>
                    <a:pt x="3329464" y="384334"/>
                  </a:cubicBezTo>
                  <a:cubicBezTo>
                    <a:pt x="3329464" y="383381"/>
                    <a:pt x="3328511" y="382429"/>
                    <a:pt x="3328511" y="381476"/>
                  </a:cubicBezTo>
                  <a:cubicBezTo>
                    <a:pt x="3328511" y="379571"/>
                    <a:pt x="3329464" y="378619"/>
                    <a:pt x="3330416" y="376714"/>
                  </a:cubicBezTo>
                  <a:close/>
                  <a:moveTo>
                    <a:pt x="3329464" y="202406"/>
                  </a:moveTo>
                  <a:cubicBezTo>
                    <a:pt x="3329464" y="203359"/>
                    <a:pt x="3329464" y="205264"/>
                    <a:pt x="3329464" y="207169"/>
                  </a:cubicBezTo>
                  <a:cubicBezTo>
                    <a:pt x="3329464" y="206216"/>
                    <a:pt x="3329464" y="206216"/>
                    <a:pt x="3328511" y="205264"/>
                  </a:cubicBezTo>
                  <a:cubicBezTo>
                    <a:pt x="3329464" y="204311"/>
                    <a:pt x="3329464" y="203359"/>
                    <a:pt x="3329464" y="202406"/>
                  </a:cubicBezTo>
                  <a:close/>
                  <a:moveTo>
                    <a:pt x="3326606" y="302419"/>
                  </a:moveTo>
                  <a:cubicBezTo>
                    <a:pt x="3327559" y="305276"/>
                    <a:pt x="3328511" y="307181"/>
                    <a:pt x="3329464" y="310039"/>
                  </a:cubicBezTo>
                  <a:cubicBezTo>
                    <a:pt x="3329464" y="310991"/>
                    <a:pt x="3329464" y="310991"/>
                    <a:pt x="3329464" y="311944"/>
                  </a:cubicBezTo>
                  <a:cubicBezTo>
                    <a:pt x="3328511" y="310039"/>
                    <a:pt x="3327559" y="308134"/>
                    <a:pt x="3326606" y="306229"/>
                  </a:cubicBezTo>
                  <a:cubicBezTo>
                    <a:pt x="3326606" y="304324"/>
                    <a:pt x="3326606" y="303371"/>
                    <a:pt x="3326606" y="302419"/>
                  </a:cubicBezTo>
                  <a:close/>
                  <a:moveTo>
                    <a:pt x="3323749" y="227171"/>
                  </a:moveTo>
                  <a:cubicBezTo>
                    <a:pt x="3324701" y="224314"/>
                    <a:pt x="3324701" y="221456"/>
                    <a:pt x="3325654" y="219551"/>
                  </a:cubicBezTo>
                  <a:cubicBezTo>
                    <a:pt x="3325654" y="220504"/>
                    <a:pt x="3325654" y="220504"/>
                    <a:pt x="3325654" y="221456"/>
                  </a:cubicBezTo>
                  <a:cubicBezTo>
                    <a:pt x="3322796" y="232886"/>
                    <a:pt x="3320891" y="244316"/>
                    <a:pt x="3318034" y="256699"/>
                  </a:cubicBezTo>
                  <a:cubicBezTo>
                    <a:pt x="3318034" y="256699"/>
                    <a:pt x="3318034" y="255746"/>
                    <a:pt x="3317081" y="255746"/>
                  </a:cubicBezTo>
                  <a:cubicBezTo>
                    <a:pt x="3319939" y="245269"/>
                    <a:pt x="3321844" y="235744"/>
                    <a:pt x="3323749" y="227171"/>
                  </a:cubicBezTo>
                  <a:close/>
                  <a:moveTo>
                    <a:pt x="3315176" y="269081"/>
                  </a:moveTo>
                  <a:cubicBezTo>
                    <a:pt x="3315176" y="270034"/>
                    <a:pt x="3316129" y="270986"/>
                    <a:pt x="3316129" y="270986"/>
                  </a:cubicBezTo>
                  <a:cubicBezTo>
                    <a:pt x="3315176" y="274796"/>
                    <a:pt x="3315176" y="278606"/>
                    <a:pt x="3314224" y="282416"/>
                  </a:cubicBezTo>
                  <a:cubicBezTo>
                    <a:pt x="3314224" y="281464"/>
                    <a:pt x="3313271" y="280511"/>
                    <a:pt x="3313271" y="280511"/>
                  </a:cubicBezTo>
                  <a:cubicBezTo>
                    <a:pt x="3313271" y="276701"/>
                    <a:pt x="3314224" y="272891"/>
                    <a:pt x="3315176" y="269081"/>
                  </a:cubicBezTo>
                  <a:close/>
                  <a:moveTo>
                    <a:pt x="3305651" y="310991"/>
                  </a:moveTo>
                  <a:cubicBezTo>
                    <a:pt x="3306604" y="307181"/>
                    <a:pt x="3307556" y="302419"/>
                    <a:pt x="3308509" y="298609"/>
                  </a:cubicBezTo>
                  <a:cubicBezTo>
                    <a:pt x="3309461" y="299561"/>
                    <a:pt x="3309461" y="301466"/>
                    <a:pt x="3310414" y="302419"/>
                  </a:cubicBezTo>
                  <a:cubicBezTo>
                    <a:pt x="3309461" y="308134"/>
                    <a:pt x="3308509" y="314801"/>
                    <a:pt x="3307556" y="320516"/>
                  </a:cubicBezTo>
                  <a:cubicBezTo>
                    <a:pt x="3306604" y="318611"/>
                    <a:pt x="3305651" y="315754"/>
                    <a:pt x="3304699" y="313849"/>
                  </a:cubicBezTo>
                  <a:cubicBezTo>
                    <a:pt x="3305651" y="313849"/>
                    <a:pt x="3305651" y="312896"/>
                    <a:pt x="3305651" y="310991"/>
                  </a:cubicBezTo>
                  <a:close/>
                  <a:moveTo>
                    <a:pt x="3302794" y="327184"/>
                  </a:moveTo>
                  <a:cubicBezTo>
                    <a:pt x="3303746" y="330041"/>
                    <a:pt x="3303746" y="332899"/>
                    <a:pt x="3304699" y="335756"/>
                  </a:cubicBezTo>
                  <a:cubicBezTo>
                    <a:pt x="3303746" y="339566"/>
                    <a:pt x="3302794" y="344329"/>
                    <a:pt x="3300889" y="349091"/>
                  </a:cubicBezTo>
                  <a:cubicBezTo>
                    <a:pt x="3299936" y="350996"/>
                    <a:pt x="3299936" y="353854"/>
                    <a:pt x="3298984" y="355759"/>
                  </a:cubicBezTo>
                  <a:cubicBezTo>
                    <a:pt x="3298031" y="354806"/>
                    <a:pt x="3298031" y="352901"/>
                    <a:pt x="3297079" y="351949"/>
                  </a:cubicBezTo>
                  <a:cubicBezTo>
                    <a:pt x="3298984" y="343376"/>
                    <a:pt x="3300889" y="334804"/>
                    <a:pt x="3302794" y="327184"/>
                  </a:cubicBezTo>
                  <a:close/>
                  <a:moveTo>
                    <a:pt x="3279934" y="297656"/>
                  </a:moveTo>
                  <a:cubicBezTo>
                    <a:pt x="3279934" y="294799"/>
                    <a:pt x="3279934" y="291941"/>
                    <a:pt x="3280886" y="289084"/>
                  </a:cubicBezTo>
                  <a:cubicBezTo>
                    <a:pt x="3281839" y="280511"/>
                    <a:pt x="3282791" y="271939"/>
                    <a:pt x="3283744" y="263366"/>
                  </a:cubicBezTo>
                  <a:cubicBezTo>
                    <a:pt x="3283744" y="259556"/>
                    <a:pt x="3284696" y="255746"/>
                    <a:pt x="3284696" y="252889"/>
                  </a:cubicBezTo>
                  <a:cubicBezTo>
                    <a:pt x="3287554" y="258604"/>
                    <a:pt x="3290411" y="264319"/>
                    <a:pt x="3293269" y="270034"/>
                  </a:cubicBezTo>
                  <a:cubicBezTo>
                    <a:pt x="3292316" y="272891"/>
                    <a:pt x="3292316" y="274796"/>
                    <a:pt x="3291364" y="277654"/>
                  </a:cubicBezTo>
                  <a:cubicBezTo>
                    <a:pt x="3291364" y="279559"/>
                    <a:pt x="3290411" y="281464"/>
                    <a:pt x="3290411" y="283369"/>
                  </a:cubicBezTo>
                  <a:cubicBezTo>
                    <a:pt x="3289459" y="271939"/>
                    <a:pt x="3289459" y="264319"/>
                    <a:pt x="3289459" y="264319"/>
                  </a:cubicBezTo>
                  <a:cubicBezTo>
                    <a:pt x="3289459" y="264319"/>
                    <a:pt x="3285649" y="285274"/>
                    <a:pt x="3281839" y="317659"/>
                  </a:cubicBezTo>
                  <a:cubicBezTo>
                    <a:pt x="3281839" y="317659"/>
                    <a:pt x="3280886" y="317659"/>
                    <a:pt x="3280886" y="317659"/>
                  </a:cubicBezTo>
                  <a:cubicBezTo>
                    <a:pt x="3280886" y="317659"/>
                    <a:pt x="3280886" y="316706"/>
                    <a:pt x="3280886" y="316706"/>
                  </a:cubicBezTo>
                  <a:cubicBezTo>
                    <a:pt x="3280886" y="316706"/>
                    <a:pt x="3280886" y="315754"/>
                    <a:pt x="3279934" y="315754"/>
                  </a:cubicBezTo>
                  <a:cubicBezTo>
                    <a:pt x="3279934" y="314801"/>
                    <a:pt x="3278981" y="314801"/>
                    <a:pt x="3278981" y="313849"/>
                  </a:cubicBezTo>
                  <a:cubicBezTo>
                    <a:pt x="3278981" y="308134"/>
                    <a:pt x="3279934" y="302419"/>
                    <a:pt x="3279934" y="297656"/>
                  </a:cubicBezTo>
                  <a:close/>
                  <a:moveTo>
                    <a:pt x="3263741" y="295751"/>
                  </a:moveTo>
                  <a:cubicBezTo>
                    <a:pt x="3263741" y="294799"/>
                    <a:pt x="3263741" y="293846"/>
                    <a:pt x="3263741" y="293846"/>
                  </a:cubicBezTo>
                  <a:cubicBezTo>
                    <a:pt x="3263741" y="293846"/>
                    <a:pt x="3263741" y="294799"/>
                    <a:pt x="3263741" y="295751"/>
                  </a:cubicBezTo>
                  <a:cubicBezTo>
                    <a:pt x="3264694" y="295751"/>
                    <a:pt x="3264694" y="295751"/>
                    <a:pt x="3264694" y="296704"/>
                  </a:cubicBezTo>
                  <a:cubicBezTo>
                    <a:pt x="3263741" y="299561"/>
                    <a:pt x="3262789" y="303371"/>
                    <a:pt x="3262789" y="306229"/>
                  </a:cubicBezTo>
                  <a:cubicBezTo>
                    <a:pt x="3262789" y="302419"/>
                    <a:pt x="3263741" y="298609"/>
                    <a:pt x="3263741" y="295751"/>
                  </a:cubicBezTo>
                  <a:close/>
                  <a:moveTo>
                    <a:pt x="3232309" y="381476"/>
                  </a:moveTo>
                  <a:cubicBezTo>
                    <a:pt x="3232309" y="372904"/>
                    <a:pt x="3232309" y="365284"/>
                    <a:pt x="3232309" y="357664"/>
                  </a:cubicBezTo>
                  <a:cubicBezTo>
                    <a:pt x="3232309" y="357664"/>
                    <a:pt x="3232309" y="358616"/>
                    <a:pt x="3232309" y="358616"/>
                  </a:cubicBezTo>
                  <a:cubicBezTo>
                    <a:pt x="3232309" y="359569"/>
                    <a:pt x="3232309" y="360521"/>
                    <a:pt x="3233261" y="360521"/>
                  </a:cubicBezTo>
                  <a:cubicBezTo>
                    <a:pt x="3233261" y="367189"/>
                    <a:pt x="3233261" y="373856"/>
                    <a:pt x="3232309" y="381476"/>
                  </a:cubicBezTo>
                  <a:close/>
                  <a:moveTo>
                    <a:pt x="3239929" y="327184"/>
                  </a:moveTo>
                  <a:cubicBezTo>
                    <a:pt x="3240881" y="330994"/>
                    <a:pt x="3240881" y="335756"/>
                    <a:pt x="3241834" y="339566"/>
                  </a:cubicBezTo>
                  <a:cubicBezTo>
                    <a:pt x="3240881" y="337661"/>
                    <a:pt x="3239929" y="335756"/>
                    <a:pt x="3239929" y="333851"/>
                  </a:cubicBezTo>
                  <a:cubicBezTo>
                    <a:pt x="3239929" y="331946"/>
                    <a:pt x="3239929" y="330994"/>
                    <a:pt x="3239929" y="329089"/>
                  </a:cubicBezTo>
                  <a:cubicBezTo>
                    <a:pt x="3238976" y="328136"/>
                    <a:pt x="3239929" y="328136"/>
                    <a:pt x="3239929" y="327184"/>
                  </a:cubicBezTo>
                  <a:close/>
                  <a:moveTo>
                    <a:pt x="3234214" y="318611"/>
                  </a:moveTo>
                  <a:cubicBezTo>
                    <a:pt x="3235166" y="315754"/>
                    <a:pt x="3236119" y="312896"/>
                    <a:pt x="3237071" y="310039"/>
                  </a:cubicBezTo>
                  <a:cubicBezTo>
                    <a:pt x="3237071" y="311944"/>
                    <a:pt x="3238024" y="313849"/>
                    <a:pt x="3238024" y="314801"/>
                  </a:cubicBezTo>
                  <a:cubicBezTo>
                    <a:pt x="3238024" y="315754"/>
                    <a:pt x="3238024" y="315754"/>
                    <a:pt x="3238024" y="316706"/>
                  </a:cubicBezTo>
                  <a:cubicBezTo>
                    <a:pt x="3238024" y="316706"/>
                    <a:pt x="3238024" y="317659"/>
                    <a:pt x="3237071" y="317659"/>
                  </a:cubicBezTo>
                  <a:cubicBezTo>
                    <a:pt x="3237071" y="314801"/>
                    <a:pt x="3236119" y="311944"/>
                    <a:pt x="3237071" y="311944"/>
                  </a:cubicBezTo>
                  <a:cubicBezTo>
                    <a:pt x="3238024" y="311944"/>
                    <a:pt x="3237071" y="314801"/>
                    <a:pt x="3236119" y="319564"/>
                  </a:cubicBezTo>
                  <a:cubicBezTo>
                    <a:pt x="3235166" y="320516"/>
                    <a:pt x="3235166" y="321469"/>
                    <a:pt x="3234214" y="322421"/>
                  </a:cubicBezTo>
                  <a:cubicBezTo>
                    <a:pt x="3234214" y="321469"/>
                    <a:pt x="3233261" y="320516"/>
                    <a:pt x="3233261" y="319564"/>
                  </a:cubicBezTo>
                  <a:cubicBezTo>
                    <a:pt x="3234214" y="319564"/>
                    <a:pt x="3234214" y="319564"/>
                    <a:pt x="3234214" y="318611"/>
                  </a:cubicBezTo>
                  <a:close/>
                  <a:moveTo>
                    <a:pt x="3233261" y="286226"/>
                  </a:moveTo>
                  <a:cubicBezTo>
                    <a:pt x="3233261" y="287179"/>
                    <a:pt x="3233261" y="287179"/>
                    <a:pt x="3233261" y="288131"/>
                  </a:cubicBezTo>
                  <a:cubicBezTo>
                    <a:pt x="3233261" y="289084"/>
                    <a:pt x="3232309" y="289084"/>
                    <a:pt x="3232309" y="290036"/>
                  </a:cubicBezTo>
                  <a:cubicBezTo>
                    <a:pt x="3232309" y="287179"/>
                    <a:pt x="3232309" y="285274"/>
                    <a:pt x="3232309" y="282416"/>
                  </a:cubicBezTo>
                  <a:cubicBezTo>
                    <a:pt x="3232309" y="284321"/>
                    <a:pt x="3233261" y="285274"/>
                    <a:pt x="3233261" y="286226"/>
                  </a:cubicBezTo>
                  <a:close/>
                  <a:moveTo>
                    <a:pt x="3222784" y="285274"/>
                  </a:moveTo>
                  <a:cubicBezTo>
                    <a:pt x="3222784" y="281464"/>
                    <a:pt x="3222784" y="277654"/>
                    <a:pt x="3223736" y="273844"/>
                  </a:cubicBezTo>
                  <a:cubicBezTo>
                    <a:pt x="3224689" y="271939"/>
                    <a:pt x="3224689" y="270034"/>
                    <a:pt x="3224689" y="270034"/>
                  </a:cubicBezTo>
                  <a:cubicBezTo>
                    <a:pt x="3224689" y="270034"/>
                    <a:pt x="3224689" y="270034"/>
                    <a:pt x="3224689" y="270986"/>
                  </a:cubicBezTo>
                  <a:cubicBezTo>
                    <a:pt x="3225641" y="265271"/>
                    <a:pt x="3226594" y="259556"/>
                    <a:pt x="3227546" y="253841"/>
                  </a:cubicBezTo>
                  <a:cubicBezTo>
                    <a:pt x="3227546" y="253841"/>
                    <a:pt x="3227546" y="253841"/>
                    <a:pt x="3227546" y="253841"/>
                  </a:cubicBezTo>
                  <a:cubicBezTo>
                    <a:pt x="3226594" y="264319"/>
                    <a:pt x="3225641" y="277654"/>
                    <a:pt x="3223736" y="292894"/>
                  </a:cubicBezTo>
                  <a:cubicBezTo>
                    <a:pt x="3223736" y="292894"/>
                    <a:pt x="3223736" y="291941"/>
                    <a:pt x="3222784" y="291941"/>
                  </a:cubicBezTo>
                  <a:cubicBezTo>
                    <a:pt x="3222784" y="291941"/>
                    <a:pt x="3222784" y="291941"/>
                    <a:pt x="3222784" y="290989"/>
                  </a:cubicBezTo>
                  <a:cubicBezTo>
                    <a:pt x="3221831" y="289084"/>
                    <a:pt x="3221831" y="287179"/>
                    <a:pt x="3222784" y="285274"/>
                  </a:cubicBezTo>
                  <a:close/>
                  <a:moveTo>
                    <a:pt x="3217069" y="207169"/>
                  </a:moveTo>
                  <a:cubicBezTo>
                    <a:pt x="3218021" y="210979"/>
                    <a:pt x="3218974" y="214789"/>
                    <a:pt x="3219926" y="219551"/>
                  </a:cubicBezTo>
                  <a:cubicBezTo>
                    <a:pt x="3218021" y="225266"/>
                    <a:pt x="3217069" y="231934"/>
                    <a:pt x="3215164" y="238601"/>
                  </a:cubicBezTo>
                  <a:cubicBezTo>
                    <a:pt x="3215164" y="226219"/>
                    <a:pt x="3217069" y="215741"/>
                    <a:pt x="3217069" y="207169"/>
                  </a:cubicBezTo>
                  <a:close/>
                  <a:moveTo>
                    <a:pt x="3191351" y="249079"/>
                  </a:moveTo>
                  <a:cubicBezTo>
                    <a:pt x="3191351" y="242411"/>
                    <a:pt x="3192304" y="236696"/>
                    <a:pt x="3192304" y="232886"/>
                  </a:cubicBezTo>
                  <a:cubicBezTo>
                    <a:pt x="3193256" y="234791"/>
                    <a:pt x="3193256" y="235744"/>
                    <a:pt x="3194209" y="238601"/>
                  </a:cubicBezTo>
                  <a:cubicBezTo>
                    <a:pt x="3193256" y="247174"/>
                    <a:pt x="3192304" y="255746"/>
                    <a:pt x="3191351" y="265271"/>
                  </a:cubicBezTo>
                  <a:cubicBezTo>
                    <a:pt x="3191351" y="258604"/>
                    <a:pt x="3191351" y="253841"/>
                    <a:pt x="3191351" y="249079"/>
                  </a:cubicBezTo>
                  <a:close/>
                  <a:moveTo>
                    <a:pt x="3155156" y="313849"/>
                  </a:moveTo>
                  <a:cubicBezTo>
                    <a:pt x="3155156" y="315754"/>
                    <a:pt x="3156109" y="317659"/>
                    <a:pt x="3156109" y="320516"/>
                  </a:cubicBezTo>
                  <a:cubicBezTo>
                    <a:pt x="3156109" y="325279"/>
                    <a:pt x="3157061" y="330041"/>
                    <a:pt x="3158014" y="334804"/>
                  </a:cubicBezTo>
                  <a:cubicBezTo>
                    <a:pt x="3157061" y="341471"/>
                    <a:pt x="3155156" y="348139"/>
                    <a:pt x="3154204" y="354806"/>
                  </a:cubicBezTo>
                  <a:cubicBezTo>
                    <a:pt x="3153251" y="353854"/>
                    <a:pt x="3153251" y="352901"/>
                    <a:pt x="3152299" y="351949"/>
                  </a:cubicBezTo>
                  <a:cubicBezTo>
                    <a:pt x="3152299" y="350996"/>
                    <a:pt x="3152299" y="350044"/>
                    <a:pt x="3152299" y="350044"/>
                  </a:cubicBezTo>
                  <a:cubicBezTo>
                    <a:pt x="3152299" y="348139"/>
                    <a:pt x="3151346" y="347186"/>
                    <a:pt x="3151346" y="345281"/>
                  </a:cubicBezTo>
                  <a:cubicBezTo>
                    <a:pt x="3151346" y="345281"/>
                    <a:pt x="3151346" y="344329"/>
                    <a:pt x="3151346" y="344329"/>
                  </a:cubicBezTo>
                  <a:lnTo>
                    <a:pt x="3151346" y="338614"/>
                  </a:lnTo>
                  <a:cubicBezTo>
                    <a:pt x="3151346" y="329089"/>
                    <a:pt x="3153251" y="321469"/>
                    <a:pt x="3155156" y="313849"/>
                  </a:cubicBezTo>
                  <a:close/>
                  <a:moveTo>
                    <a:pt x="3139916" y="213836"/>
                  </a:moveTo>
                  <a:cubicBezTo>
                    <a:pt x="3140869" y="220504"/>
                    <a:pt x="3142774" y="228124"/>
                    <a:pt x="3143726" y="235744"/>
                  </a:cubicBezTo>
                  <a:cubicBezTo>
                    <a:pt x="3145631" y="246221"/>
                    <a:pt x="3147536" y="256699"/>
                    <a:pt x="3148489" y="267176"/>
                  </a:cubicBezTo>
                  <a:cubicBezTo>
                    <a:pt x="3146584" y="272891"/>
                    <a:pt x="3145631" y="278606"/>
                    <a:pt x="3143726" y="284321"/>
                  </a:cubicBezTo>
                  <a:cubicBezTo>
                    <a:pt x="3140869" y="251936"/>
                    <a:pt x="3138964" y="228124"/>
                    <a:pt x="3137059" y="216694"/>
                  </a:cubicBezTo>
                  <a:cubicBezTo>
                    <a:pt x="3138011" y="215741"/>
                    <a:pt x="3138964" y="214789"/>
                    <a:pt x="3139916" y="213836"/>
                  </a:cubicBezTo>
                  <a:close/>
                  <a:moveTo>
                    <a:pt x="3130391" y="337661"/>
                  </a:moveTo>
                  <a:cubicBezTo>
                    <a:pt x="3130391" y="336709"/>
                    <a:pt x="3130391" y="336709"/>
                    <a:pt x="3130391" y="335756"/>
                  </a:cubicBezTo>
                  <a:cubicBezTo>
                    <a:pt x="3130391" y="335756"/>
                    <a:pt x="3130391" y="335756"/>
                    <a:pt x="3130391" y="335756"/>
                  </a:cubicBezTo>
                  <a:cubicBezTo>
                    <a:pt x="3130391" y="336709"/>
                    <a:pt x="3130391" y="336709"/>
                    <a:pt x="3130391" y="337661"/>
                  </a:cubicBezTo>
                  <a:close/>
                  <a:moveTo>
                    <a:pt x="3130391" y="328136"/>
                  </a:moveTo>
                  <a:cubicBezTo>
                    <a:pt x="3130391" y="328136"/>
                    <a:pt x="3130391" y="327184"/>
                    <a:pt x="3130391" y="328136"/>
                  </a:cubicBezTo>
                  <a:cubicBezTo>
                    <a:pt x="3130391" y="327184"/>
                    <a:pt x="3130391" y="328136"/>
                    <a:pt x="3130391" y="328136"/>
                  </a:cubicBezTo>
                  <a:cubicBezTo>
                    <a:pt x="3130391" y="328136"/>
                    <a:pt x="3130391" y="328136"/>
                    <a:pt x="3130391" y="328136"/>
                  </a:cubicBezTo>
                  <a:close/>
                  <a:moveTo>
                    <a:pt x="3133249" y="276701"/>
                  </a:moveTo>
                  <a:cubicBezTo>
                    <a:pt x="3133249" y="276701"/>
                    <a:pt x="3133249" y="275749"/>
                    <a:pt x="3133249" y="276701"/>
                  </a:cubicBezTo>
                  <a:cubicBezTo>
                    <a:pt x="3131344" y="270034"/>
                    <a:pt x="3129439" y="264319"/>
                    <a:pt x="3128486" y="259556"/>
                  </a:cubicBezTo>
                  <a:cubicBezTo>
                    <a:pt x="3128486" y="254794"/>
                    <a:pt x="3128486" y="250031"/>
                    <a:pt x="3127534" y="246221"/>
                  </a:cubicBezTo>
                  <a:cubicBezTo>
                    <a:pt x="3131344" y="235744"/>
                    <a:pt x="3134201" y="228124"/>
                    <a:pt x="3135154" y="223361"/>
                  </a:cubicBezTo>
                  <a:cubicBezTo>
                    <a:pt x="3135154" y="235744"/>
                    <a:pt x="3134201" y="253841"/>
                    <a:pt x="3133249" y="276701"/>
                  </a:cubicBezTo>
                  <a:close/>
                  <a:moveTo>
                    <a:pt x="3130391" y="229076"/>
                  </a:moveTo>
                  <a:cubicBezTo>
                    <a:pt x="3132296" y="225266"/>
                    <a:pt x="3134201" y="222409"/>
                    <a:pt x="3136106" y="219551"/>
                  </a:cubicBezTo>
                  <a:cubicBezTo>
                    <a:pt x="3136106" y="220504"/>
                    <a:pt x="3136106" y="220504"/>
                    <a:pt x="3136106" y="221456"/>
                  </a:cubicBezTo>
                  <a:cubicBezTo>
                    <a:pt x="3134201" y="224314"/>
                    <a:pt x="3131344" y="229076"/>
                    <a:pt x="3127534" y="236696"/>
                  </a:cubicBezTo>
                  <a:cubicBezTo>
                    <a:pt x="3127534" y="235744"/>
                    <a:pt x="3127534" y="235744"/>
                    <a:pt x="3127534" y="234791"/>
                  </a:cubicBezTo>
                  <a:cubicBezTo>
                    <a:pt x="3128486" y="232886"/>
                    <a:pt x="3129439" y="230981"/>
                    <a:pt x="3130391" y="229076"/>
                  </a:cubicBezTo>
                  <a:close/>
                  <a:moveTo>
                    <a:pt x="3114199" y="290036"/>
                  </a:moveTo>
                  <a:cubicBezTo>
                    <a:pt x="3114199" y="289084"/>
                    <a:pt x="3113246" y="288131"/>
                    <a:pt x="3113246" y="287179"/>
                  </a:cubicBezTo>
                  <a:cubicBezTo>
                    <a:pt x="3113246" y="287179"/>
                    <a:pt x="3113246" y="287179"/>
                    <a:pt x="3113246" y="286226"/>
                  </a:cubicBezTo>
                  <a:cubicBezTo>
                    <a:pt x="3114199" y="284321"/>
                    <a:pt x="3114199" y="283369"/>
                    <a:pt x="3115151" y="281464"/>
                  </a:cubicBezTo>
                  <a:cubicBezTo>
                    <a:pt x="3114199" y="284321"/>
                    <a:pt x="3114199" y="287179"/>
                    <a:pt x="3114199" y="290036"/>
                  </a:cubicBezTo>
                  <a:close/>
                  <a:moveTo>
                    <a:pt x="3115151" y="257651"/>
                  </a:moveTo>
                  <a:cubicBezTo>
                    <a:pt x="3115151" y="256699"/>
                    <a:pt x="3116104" y="256699"/>
                    <a:pt x="3116104" y="255746"/>
                  </a:cubicBezTo>
                  <a:cubicBezTo>
                    <a:pt x="3116104" y="256699"/>
                    <a:pt x="3116104" y="257651"/>
                    <a:pt x="3115151" y="257651"/>
                  </a:cubicBezTo>
                  <a:cubicBezTo>
                    <a:pt x="3114199" y="261461"/>
                    <a:pt x="3111341" y="265271"/>
                    <a:pt x="3109436" y="270034"/>
                  </a:cubicBezTo>
                  <a:cubicBezTo>
                    <a:pt x="3111341" y="266224"/>
                    <a:pt x="3113246" y="261461"/>
                    <a:pt x="3115151" y="257651"/>
                  </a:cubicBezTo>
                  <a:close/>
                  <a:moveTo>
                    <a:pt x="3110389" y="292894"/>
                  </a:moveTo>
                  <a:cubicBezTo>
                    <a:pt x="3111341" y="297656"/>
                    <a:pt x="3112294" y="302419"/>
                    <a:pt x="3113246" y="309086"/>
                  </a:cubicBezTo>
                  <a:cubicBezTo>
                    <a:pt x="3113246" y="310039"/>
                    <a:pt x="3113246" y="310991"/>
                    <a:pt x="3114199" y="311944"/>
                  </a:cubicBezTo>
                  <a:cubicBezTo>
                    <a:pt x="3114199" y="314801"/>
                    <a:pt x="3114199" y="317659"/>
                    <a:pt x="3114199" y="321469"/>
                  </a:cubicBezTo>
                  <a:cubicBezTo>
                    <a:pt x="3114199" y="321469"/>
                    <a:pt x="3114199" y="320516"/>
                    <a:pt x="3114199" y="319564"/>
                  </a:cubicBezTo>
                  <a:cubicBezTo>
                    <a:pt x="3113246" y="315754"/>
                    <a:pt x="3112294" y="312896"/>
                    <a:pt x="3110389" y="309086"/>
                  </a:cubicBezTo>
                  <a:cubicBezTo>
                    <a:pt x="3110389" y="306229"/>
                    <a:pt x="3109436" y="303371"/>
                    <a:pt x="3109436" y="300514"/>
                  </a:cubicBezTo>
                  <a:cubicBezTo>
                    <a:pt x="3109436" y="300514"/>
                    <a:pt x="3109436" y="299561"/>
                    <a:pt x="3109436" y="299561"/>
                  </a:cubicBezTo>
                  <a:cubicBezTo>
                    <a:pt x="3108484" y="297656"/>
                    <a:pt x="3109436" y="295751"/>
                    <a:pt x="3110389" y="292894"/>
                  </a:cubicBezTo>
                  <a:close/>
                  <a:moveTo>
                    <a:pt x="3098006" y="350996"/>
                  </a:moveTo>
                  <a:cubicBezTo>
                    <a:pt x="3098006" y="350996"/>
                    <a:pt x="3098006" y="350996"/>
                    <a:pt x="3098006" y="350996"/>
                  </a:cubicBezTo>
                  <a:cubicBezTo>
                    <a:pt x="3098006" y="351949"/>
                    <a:pt x="3098006" y="352901"/>
                    <a:pt x="3098006" y="353854"/>
                  </a:cubicBezTo>
                  <a:cubicBezTo>
                    <a:pt x="3098006" y="353854"/>
                    <a:pt x="3098006" y="353854"/>
                    <a:pt x="3097054" y="354806"/>
                  </a:cubicBezTo>
                  <a:cubicBezTo>
                    <a:pt x="3097054" y="353854"/>
                    <a:pt x="3098006" y="351949"/>
                    <a:pt x="3098006" y="350996"/>
                  </a:cubicBezTo>
                  <a:close/>
                  <a:moveTo>
                    <a:pt x="3093244" y="377666"/>
                  </a:moveTo>
                  <a:cubicBezTo>
                    <a:pt x="3095149" y="372904"/>
                    <a:pt x="3097054" y="370046"/>
                    <a:pt x="3097054" y="370046"/>
                  </a:cubicBezTo>
                  <a:cubicBezTo>
                    <a:pt x="3097054" y="370046"/>
                    <a:pt x="3096101" y="371951"/>
                    <a:pt x="3094196" y="373856"/>
                  </a:cubicBezTo>
                  <a:cubicBezTo>
                    <a:pt x="3095149" y="368141"/>
                    <a:pt x="3096101" y="361474"/>
                    <a:pt x="3097054" y="355759"/>
                  </a:cubicBezTo>
                  <a:cubicBezTo>
                    <a:pt x="3097054" y="354806"/>
                    <a:pt x="3098006" y="354806"/>
                    <a:pt x="3098006" y="353854"/>
                  </a:cubicBezTo>
                  <a:cubicBezTo>
                    <a:pt x="3098006" y="359569"/>
                    <a:pt x="3098006" y="366236"/>
                    <a:pt x="3098006" y="371951"/>
                  </a:cubicBezTo>
                  <a:cubicBezTo>
                    <a:pt x="3098006" y="375761"/>
                    <a:pt x="3098006" y="379571"/>
                    <a:pt x="3098006" y="383381"/>
                  </a:cubicBezTo>
                  <a:lnTo>
                    <a:pt x="3095149" y="383381"/>
                  </a:lnTo>
                  <a:cubicBezTo>
                    <a:pt x="3095149" y="383381"/>
                    <a:pt x="3095149" y="383381"/>
                    <a:pt x="3095149" y="383381"/>
                  </a:cubicBezTo>
                  <a:cubicBezTo>
                    <a:pt x="3094196" y="381476"/>
                    <a:pt x="3094196" y="379571"/>
                    <a:pt x="3093244" y="378619"/>
                  </a:cubicBezTo>
                  <a:cubicBezTo>
                    <a:pt x="3093244" y="379571"/>
                    <a:pt x="3093244" y="378619"/>
                    <a:pt x="3093244" y="377666"/>
                  </a:cubicBezTo>
                  <a:close/>
                  <a:moveTo>
                    <a:pt x="3084671" y="293846"/>
                  </a:moveTo>
                  <a:cubicBezTo>
                    <a:pt x="3084671" y="288131"/>
                    <a:pt x="3085624" y="282416"/>
                    <a:pt x="3085624" y="276701"/>
                  </a:cubicBezTo>
                  <a:cubicBezTo>
                    <a:pt x="3085624" y="277654"/>
                    <a:pt x="3085624" y="277654"/>
                    <a:pt x="3085624" y="278606"/>
                  </a:cubicBezTo>
                  <a:cubicBezTo>
                    <a:pt x="3086576" y="281464"/>
                    <a:pt x="3087529" y="285274"/>
                    <a:pt x="3088481" y="289084"/>
                  </a:cubicBezTo>
                  <a:cubicBezTo>
                    <a:pt x="3087529" y="290036"/>
                    <a:pt x="3087529" y="290989"/>
                    <a:pt x="3086576" y="291941"/>
                  </a:cubicBezTo>
                  <a:cubicBezTo>
                    <a:pt x="3085624" y="292894"/>
                    <a:pt x="3084671" y="294799"/>
                    <a:pt x="3084671" y="296704"/>
                  </a:cubicBezTo>
                  <a:cubicBezTo>
                    <a:pt x="3084671" y="294799"/>
                    <a:pt x="3084671" y="294799"/>
                    <a:pt x="3084671" y="293846"/>
                  </a:cubicBezTo>
                  <a:close/>
                  <a:moveTo>
                    <a:pt x="3086576" y="348139"/>
                  </a:moveTo>
                  <a:cubicBezTo>
                    <a:pt x="3086576" y="349091"/>
                    <a:pt x="3086576" y="349091"/>
                    <a:pt x="3086576" y="350044"/>
                  </a:cubicBezTo>
                  <a:cubicBezTo>
                    <a:pt x="3085624" y="353854"/>
                    <a:pt x="3084671" y="357664"/>
                    <a:pt x="3083719" y="361474"/>
                  </a:cubicBezTo>
                  <a:cubicBezTo>
                    <a:pt x="3083719" y="360521"/>
                    <a:pt x="3083719" y="358616"/>
                    <a:pt x="3083719" y="357664"/>
                  </a:cubicBezTo>
                  <a:cubicBezTo>
                    <a:pt x="3084671" y="353854"/>
                    <a:pt x="3085624" y="350996"/>
                    <a:pt x="3086576" y="348139"/>
                  </a:cubicBezTo>
                  <a:close/>
                  <a:moveTo>
                    <a:pt x="3057049" y="235744"/>
                  </a:moveTo>
                  <a:cubicBezTo>
                    <a:pt x="3058001" y="227171"/>
                    <a:pt x="3058954" y="218599"/>
                    <a:pt x="3059906" y="210979"/>
                  </a:cubicBezTo>
                  <a:cubicBezTo>
                    <a:pt x="3060859" y="204311"/>
                    <a:pt x="3061811" y="197644"/>
                    <a:pt x="3062764" y="191929"/>
                  </a:cubicBezTo>
                  <a:cubicBezTo>
                    <a:pt x="3063716" y="195739"/>
                    <a:pt x="3065621" y="201454"/>
                    <a:pt x="3067526" y="209074"/>
                  </a:cubicBezTo>
                  <a:cubicBezTo>
                    <a:pt x="3067526" y="213836"/>
                    <a:pt x="3066574" y="217646"/>
                    <a:pt x="3066574" y="222409"/>
                  </a:cubicBezTo>
                  <a:cubicBezTo>
                    <a:pt x="3065621" y="231934"/>
                    <a:pt x="3064669" y="242411"/>
                    <a:pt x="3063716" y="253841"/>
                  </a:cubicBezTo>
                  <a:cubicBezTo>
                    <a:pt x="3062764" y="258604"/>
                    <a:pt x="3060859" y="263366"/>
                    <a:pt x="3059906" y="268129"/>
                  </a:cubicBezTo>
                  <a:cubicBezTo>
                    <a:pt x="3058954" y="262414"/>
                    <a:pt x="3058001" y="257651"/>
                    <a:pt x="3057049" y="252889"/>
                  </a:cubicBezTo>
                  <a:cubicBezTo>
                    <a:pt x="3057049" y="250984"/>
                    <a:pt x="3056096" y="250031"/>
                    <a:pt x="3056096" y="248126"/>
                  </a:cubicBezTo>
                  <a:cubicBezTo>
                    <a:pt x="3056096" y="244316"/>
                    <a:pt x="3056096" y="239554"/>
                    <a:pt x="3057049" y="235744"/>
                  </a:cubicBezTo>
                  <a:close/>
                  <a:moveTo>
                    <a:pt x="3002756" y="307181"/>
                  </a:moveTo>
                  <a:cubicBezTo>
                    <a:pt x="3002756" y="308134"/>
                    <a:pt x="3001804" y="309086"/>
                    <a:pt x="3001804" y="310039"/>
                  </a:cubicBezTo>
                  <a:cubicBezTo>
                    <a:pt x="3001804" y="308134"/>
                    <a:pt x="3002756" y="307181"/>
                    <a:pt x="3002756" y="305276"/>
                  </a:cubicBezTo>
                  <a:cubicBezTo>
                    <a:pt x="3004661" y="298609"/>
                    <a:pt x="3005614" y="292894"/>
                    <a:pt x="3006566" y="286226"/>
                  </a:cubicBezTo>
                  <a:cubicBezTo>
                    <a:pt x="3007519" y="287179"/>
                    <a:pt x="3007519" y="289084"/>
                    <a:pt x="3008471" y="290036"/>
                  </a:cubicBezTo>
                  <a:cubicBezTo>
                    <a:pt x="3006566" y="295751"/>
                    <a:pt x="3004661" y="301466"/>
                    <a:pt x="3002756" y="307181"/>
                  </a:cubicBezTo>
                  <a:close/>
                  <a:moveTo>
                    <a:pt x="3036094" y="249079"/>
                  </a:moveTo>
                  <a:cubicBezTo>
                    <a:pt x="3036094" y="254794"/>
                    <a:pt x="3036094" y="260509"/>
                    <a:pt x="3036094" y="266224"/>
                  </a:cubicBezTo>
                  <a:cubicBezTo>
                    <a:pt x="3035141" y="263366"/>
                    <a:pt x="3034189" y="260509"/>
                    <a:pt x="3033236" y="258604"/>
                  </a:cubicBezTo>
                  <a:cubicBezTo>
                    <a:pt x="3034189" y="255746"/>
                    <a:pt x="3035141" y="252889"/>
                    <a:pt x="3036094" y="249079"/>
                  </a:cubicBezTo>
                  <a:close/>
                  <a:moveTo>
                    <a:pt x="3030379" y="269081"/>
                  </a:moveTo>
                  <a:cubicBezTo>
                    <a:pt x="3030379" y="269081"/>
                    <a:pt x="3030379" y="270034"/>
                    <a:pt x="3030379" y="269081"/>
                  </a:cubicBezTo>
                  <a:cubicBezTo>
                    <a:pt x="3030379" y="270034"/>
                    <a:pt x="3030379" y="270034"/>
                    <a:pt x="3030379" y="269081"/>
                  </a:cubicBezTo>
                  <a:cubicBezTo>
                    <a:pt x="3030379" y="269081"/>
                    <a:pt x="3030379" y="269081"/>
                    <a:pt x="3030379" y="269081"/>
                  </a:cubicBezTo>
                  <a:close/>
                  <a:moveTo>
                    <a:pt x="3027521" y="353854"/>
                  </a:moveTo>
                  <a:cubicBezTo>
                    <a:pt x="3026569" y="356711"/>
                    <a:pt x="3024664" y="360521"/>
                    <a:pt x="3023711" y="364331"/>
                  </a:cubicBezTo>
                  <a:cubicBezTo>
                    <a:pt x="3021806" y="370046"/>
                    <a:pt x="3019901" y="376714"/>
                    <a:pt x="3017996" y="383381"/>
                  </a:cubicBezTo>
                  <a:cubicBezTo>
                    <a:pt x="3017996" y="384334"/>
                    <a:pt x="3017044" y="384334"/>
                    <a:pt x="3017044" y="385286"/>
                  </a:cubicBezTo>
                  <a:cubicBezTo>
                    <a:pt x="3016091" y="382429"/>
                    <a:pt x="3015139" y="379571"/>
                    <a:pt x="3015139" y="376714"/>
                  </a:cubicBezTo>
                  <a:cubicBezTo>
                    <a:pt x="3017044" y="372904"/>
                    <a:pt x="3018949" y="370046"/>
                    <a:pt x="3020854" y="366236"/>
                  </a:cubicBezTo>
                  <a:cubicBezTo>
                    <a:pt x="3023711" y="361474"/>
                    <a:pt x="3025616" y="357664"/>
                    <a:pt x="3028474" y="352901"/>
                  </a:cubicBezTo>
                  <a:cubicBezTo>
                    <a:pt x="3027521" y="352901"/>
                    <a:pt x="3027521" y="353854"/>
                    <a:pt x="3027521" y="353854"/>
                  </a:cubicBezTo>
                  <a:close/>
                  <a:moveTo>
                    <a:pt x="3021806" y="230029"/>
                  </a:moveTo>
                  <a:cubicBezTo>
                    <a:pt x="3022759" y="231934"/>
                    <a:pt x="3022759" y="235744"/>
                    <a:pt x="3024664" y="241459"/>
                  </a:cubicBezTo>
                  <a:cubicBezTo>
                    <a:pt x="3024664" y="241459"/>
                    <a:pt x="3024664" y="241459"/>
                    <a:pt x="3024664" y="241459"/>
                  </a:cubicBezTo>
                  <a:cubicBezTo>
                    <a:pt x="3022759" y="237649"/>
                    <a:pt x="3022759" y="233839"/>
                    <a:pt x="3021806" y="230029"/>
                  </a:cubicBezTo>
                  <a:cubicBezTo>
                    <a:pt x="3021806" y="230029"/>
                    <a:pt x="3021806" y="230029"/>
                    <a:pt x="3021806" y="230029"/>
                  </a:cubicBezTo>
                  <a:close/>
                  <a:moveTo>
                    <a:pt x="3020854" y="305276"/>
                  </a:moveTo>
                  <a:cubicBezTo>
                    <a:pt x="3020854" y="305276"/>
                    <a:pt x="3020854" y="305276"/>
                    <a:pt x="3020854" y="305276"/>
                  </a:cubicBezTo>
                  <a:cubicBezTo>
                    <a:pt x="3020854" y="306229"/>
                    <a:pt x="3020854" y="305276"/>
                    <a:pt x="3020854" y="305276"/>
                  </a:cubicBezTo>
                  <a:cubicBezTo>
                    <a:pt x="3020854" y="305276"/>
                    <a:pt x="3020854" y="305276"/>
                    <a:pt x="3020854" y="305276"/>
                  </a:cubicBezTo>
                  <a:close/>
                  <a:moveTo>
                    <a:pt x="3017996" y="317659"/>
                  </a:moveTo>
                  <a:cubicBezTo>
                    <a:pt x="3018949" y="321469"/>
                    <a:pt x="3020854" y="325279"/>
                    <a:pt x="3021806" y="329089"/>
                  </a:cubicBezTo>
                  <a:cubicBezTo>
                    <a:pt x="3022759" y="332899"/>
                    <a:pt x="3023711" y="336709"/>
                    <a:pt x="3025616" y="339566"/>
                  </a:cubicBezTo>
                  <a:cubicBezTo>
                    <a:pt x="3020854" y="345281"/>
                    <a:pt x="3016091" y="351949"/>
                    <a:pt x="3011329" y="359569"/>
                  </a:cubicBezTo>
                  <a:cubicBezTo>
                    <a:pt x="3011329" y="359569"/>
                    <a:pt x="3011329" y="359569"/>
                    <a:pt x="3011329" y="360521"/>
                  </a:cubicBezTo>
                  <a:cubicBezTo>
                    <a:pt x="3010376" y="357664"/>
                    <a:pt x="3009424" y="354806"/>
                    <a:pt x="3009424" y="351949"/>
                  </a:cubicBezTo>
                  <a:cubicBezTo>
                    <a:pt x="3011329" y="340519"/>
                    <a:pt x="3015139" y="329089"/>
                    <a:pt x="3017996" y="317659"/>
                  </a:cubicBezTo>
                  <a:close/>
                  <a:moveTo>
                    <a:pt x="3013234" y="257651"/>
                  </a:moveTo>
                  <a:cubicBezTo>
                    <a:pt x="3013234" y="258604"/>
                    <a:pt x="3013234" y="259556"/>
                    <a:pt x="3014186" y="261461"/>
                  </a:cubicBezTo>
                  <a:cubicBezTo>
                    <a:pt x="3014186" y="263366"/>
                    <a:pt x="3015139" y="266224"/>
                    <a:pt x="3015139" y="269081"/>
                  </a:cubicBezTo>
                  <a:cubicBezTo>
                    <a:pt x="3013234" y="273844"/>
                    <a:pt x="3012281" y="279559"/>
                    <a:pt x="3010376" y="284321"/>
                  </a:cubicBezTo>
                  <a:cubicBezTo>
                    <a:pt x="3010376" y="283369"/>
                    <a:pt x="3009424" y="283369"/>
                    <a:pt x="3009424" y="282416"/>
                  </a:cubicBezTo>
                  <a:cubicBezTo>
                    <a:pt x="3009424" y="281464"/>
                    <a:pt x="3008471" y="280511"/>
                    <a:pt x="3008471" y="279559"/>
                  </a:cubicBezTo>
                  <a:cubicBezTo>
                    <a:pt x="3008471" y="278606"/>
                    <a:pt x="3008471" y="277654"/>
                    <a:pt x="3009424" y="276701"/>
                  </a:cubicBezTo>
                  <a:cubicBezTo>
                    <a:pt x="3010376" y="270034"/>
                    <a:pt x="3011329" y="263366"/>
                    <a:pt x="3013234" y="257651"/>
                  </a:cubicBezTo>
                  <a:close/>
                  <a:moveTo>
                    <a:pt x="3008471" y="230029"/>
                  </a:moveTo>
                  <a:cubicBezTo>
                    <a:pt x="3009424" y="234791"/>
                    <a:pt x="3010376" y="239554"/>
                    <a:pt x="3010376" y="244316"/>
                  </a:cubicBezTo>
                  <a:cubicBezTo>
                    <a:pt x="3009424" y="246221"/>
                    <a:pt x="3008471" y="249079"/>
                    <a:pt x="3007519" y="250984"/>
                  </a:cubicBezTo>
                  <a:cubicBezTo>
                    <a:pt x="3005614" y="254794"/>
                    <a:pt x="3003709" y="259556"/>
                    <a:pt x="3001804" y="264319"/>
                  </a:cubicBezTo>
                  <a:cubicBezTo>
                    <a:pt x="3003709" y="251936"/>
                    <a:pt x="3005614" y="240506"/>
                    <a:pt x="3008471" y="230029"/>
                  </a:cubicBezTo>
                  <a:close/>
                  <a:moveTo>
                    <a:pt x="3003709" y="195739"/>
                  </a:moveTo>
                  <a:cubicBezTo>
                    <a:pt x="3003709" y="198596"/>
                    <a:pt x="3004661" y="202406"/>
                    <a:pt x="3004661" y="205264"/>
                  </a:cubicBezTo>
                  <a:cubicBezTo>
                    <a:pt x="3002756" y="210979"/>
                    <a:pt x="3000851" y="216694"/>
                    <a:pt x="2997994" y="223361"/>
                  </a:cubicBezTo>
                  <a:cubicBezTo>
                    <a:pt x="2993231" y="235744"/>
                    <a:pt x="2990374" y="248126"/>
                    <a:pt x="2986564" y="262414"/>
                  </a:cubicBezTo>
                  <a:cubicBezTo>
                    <a:pt x="2985611" y="265271"/>
                    <a:pt x="2985611" y="268129"/>
                    <a:pt x="2984659" y="270986"/>
                  </a:cubicBezTo>
                  <a:cubicBezTo>
                    <a:pt x="2984659" y="270986"/>
                    <a:pt x="2984659" y="270986"/>
                    <a:pt x="2984659" y="270986"/>
                  </a:cubicBezTo>
                  <a:cubicBezTo>
                    <a:pt x="2991326" y="243364"/>
                    <a:pt x="2997994" y="218599"/>
                    <a:pt x="3003709" y="195739"/>
                  </a:cubicBezTo>
                  <a:close/>
                  <a:moveTo>
                    <a:pt x="2974181" y="311944"/>
                  </a:moveTo>
                  <a:cubicBezTo>
                    <a:pt x="2976086" y="302419"/>
                    <a:pt x="2978944" y="292894"/>
                    <a:pt x="2980849" y="284321"/>
                  </a:cubicBezTo>
                  <a:cubicBezTo>
                    <a:pt x="2980849" y="284321"/>
                    <a:pt x="2980849" y="285274"/>
                    <a:pt x="2980849" y="285274"/>
                  </a:cubicBezTo>
                  <a:cubicBezTo>
                    <a:pt x="2978944" y="291941"/>
                    <a:pt x="2977991" y="299561"/>
                    <a:pt x="2976086" y="307181"/>
                  </a:cubicBezTo>
                  <a:cubicBezTo>
                    <a:pt x="2975134" y="313849"/>
                    <a:pt x="2973229" y="320516"/>
                    <a:pt x="2972276" y="327184"/>
                  </a:cubicBezTo>
                  <a:cubicBezTo>
                    <a:pt x="2971324" y="325279"/>
                    <a:pt x="2971324" y="324326"/>
                    <a:pt x="2970371" y="322421"/>
                  </a:cubicBezTo>
                  <a:cubicBezTo>
                    <a:pt x="2972276" y="318611"/>
                    <a:pt x="2973229" y="314801"/>
                    <a:pt x="2974181" y="311944"/>
                  </a:cubicBezTo>
                  <a:close/>
                  <a:moveTo>
                    <a:pt x="2964656" y="349091"/>
                  </a:moveTo>
                  <a:cubicBezTo>
                    <a:pt x="2965609" y="344329"/>
                    <a:pt x="2967514" y="339566"/>
                    <a:pt x="2968466" y="334804"/>
                  </a:cubicBezTo>
                  <a:cubicBezTo>
                    <a:pt x="2969419" y="337661"/>
                    <a:pt x="2970371" y="341471"/>
                    <a:pt x="2970371" y="344329"/>
                  </a:cubicBezTo>
                  <a:cubicBezTo>
                    <a:pt x="2970371" y="347186"/>
                    <a:pt x="2969419" y="350996"/>
                    <a:pt x="2969419" y="353854"/>
                  </a:cubicBezTo>
                  <a:cubicBezTo>
                    <a:pt x="2968466" y="361474"/>
                    <a:pt x="2967514" y="369094"/>
                    <a:pt x="2966561" y="377666"/>
                  </a:cubicBezTo>
                  <a:cubicBezTo>
                    <a:pt x="2965609" y="373856"/>
                    <a:pt x="2964656" y="369094"/>
                    <a:pt x="2963704" y="366236"/>
                  </a:cubicBezTo>
                  <a:cubicBezTo>
                    <a:pt x="2967514" y="350996"/>
                    <a:pt x="2969419" y="341471"/>
                    <a:pt x="2969419" y="341471"/>
                  </a:cubicBezTo>
                  <a:cubicBezTo>
                    <a:pt x="2969419" y="341471"/>
                    <a:pt x="2967514" y="344329"/>
                    <a:pt x="2964656" y="349091"/>
                  </a:cubicBezTo>
                  <a:close/>
                  <a:moveTo>
                    <a:pt x="2958941" y="383381"/>
                  </a:moveTo>
                  <a:cubicBezTo>
                    <a:pt x="2958941" y="383381"/>
                    <a:pt x="2958941" y="384334"/>
                    <a:pt x="2958941" y="383381"/>
                  </a:cubicBezTo>
                  <a:cubicBezTo>
                    <a:pt x="2958941" y="384334"/>
                    <a:pt x="2958941" y="384334"/>
                    <a:pt x="2958941" y="383381"/>
                  </a:cubicBezTo>
                  <a:cubicBezTo>
                    <a:pt x="2958941" y="384334"/>
                    <a:pt x="2958941" y="384334"/>
                    <a:pt x="2958941" y="383381"/>
                  </a:cubicBezTo>
                  <a:cubicBezTo>
                    <a:pt x="2958941" y="384334"/>
                    <a:pt x="2958941" y="383381"/>
                    <a:pt x="2958941" y="383381"/>
                  </a:cubicBezTo>
                  <a:close/>
                  <a:moveTo>
                    <a:pt x="2936081" y="284321"/>
                  </a:moveTo>
                  <a:cubicBezTo>
                    <a:pt x="2935129" y="280511"/>
                    <a:pt x="2935129" y="277654"/>
                    <a:pt x="2934176" y="273844"/>
                  </a:cubicBezTo>
                  <a:cubicBezTo>
                    <a:pt x="2935129" y="272891"/>
                    <a:pt x="2935129" y="271939"/>
                    <a:pt x="2936081" y="271939"/>
                  </a:cubicBezTo>
                  <a:cubicBezTo>
                    <a:pt x="2936081" y="276701"/>
                    <a:pt x="2936081" y="280511"/>
                    <a:pt x="2936081" y="284321"/>
                  </a:cubicBezTo>
                  <a:close/>
                  <a:moveTo>
                    <a:pt x="2936081" y="267176"/>
                  </a:moveTo>
                  <a:cubicBezTo>
                    <a:pt x="2936081" y="267176"/>
                    <a:pt x="2936081" y="267176"/>
                    <a:pt x="2936081" y="267176"/>
                  </a:cubicBezTo>
                  <a:cubicBezTo>
                    <a:pt x="2935129" y="268129"/>
                    <a:pt x="2935129" y="268129"/>
                    <a:pt x="2934176" y="269081"/>
                  </a:cubicBezTo>
                  <a:cubicBezTo>
                    <a:pt x="2935129" y="268129"/>
                    <a:pt x="2935129" y="266224"/>
                    <a:pt x="2936081" y="265271"/>
                  </a:cubicBezTo>
                  <a:cubicBezTo>
                    <a:pt x="2935129" y="265271"/>
                    <a:pt x="2936081" y="266224"/>
                    <a:pt x="2936081" y="267176"/>
                  </a:cubicBezTo>
                  <a:close/>
                  <a:moveTo>
                    <a:pt x="2929414" y="243364"/>
                  </a:moveTo>
                  <a:lnTo>
                    <a:pt x="2930366" y="243364"/>
                  </a:lnTo>
                  <a:lnTo>
                    <a:pt x="2933224" y="244316"/>
                  </a:lnTo>
                  <a:cubicBezTo>
                    <a:pt x="2933224" y="248126"/>
                    <a:pt x="2934176" y="251936"/>
                    <a:pt x="2934176" y="255746"/>
                  </a:cubicBezTo>
                  <a:cubicBezTo>
                    <a:pt x="2933224" y="257651"/>
                    <a:pt x="2932271" y="259556"/>
                    <a:pt x="2931319" y="261461"/>
                  </a:cubicBezTo>
                  <a:cubicBezTo>
                    <a:pt x="2930366" y="256699"/>
                    <a:pt x="2929414" y="251936"/>
                    <a:pt x="2927509" y="248126"/>
                  </a:cubicBezTo>
                  <a:cubicBezTo>
                    <a:pt x="2928461" y="246221"/>
                    <a:pt x="2929414" y="245269"/>
                    <a:pt x="2929414" y="243364"/>
                  </a:cubicBezTo>
                  <a:close/>
                  <a:moveTo>
                    <a:pt x="2917984" y="351949"/>
                  </a:moveTo>
                  <a:cubicBezTo>
                    <a:pt x="2917984" y="352901"/>
                    <a:pt x="2917984" y="352901"/>
                    <a:pt x="2918936" y="353854"/>
                  </a:cubicBezTo>
                  <a:cubicBezTo>
                    <a:pt x="2918936" y="356711"/>
                    <a:pt x="2919889" y="360521"/>
                    <a:pt x="2919889" y="363379"/>
                  </a:cubicBezTo>
                  <a:cubicBezTo>
                    <a:pt x="2920841" y="369094"/>
                    <a:pt x="2921794" y="374809"/>
                    <a:pt x="2922746" y="380524"/>
                  </a:cubicBezTo>
                  <a:cubicBezTo>
                    <a:pt x="2921794" y="380524"/>
                    <a:pt x="2921794" y="380524"/>
                    <a:pt x="2920841" y="380524"/>
                  </a:cubicBezTo>
                  <a:cubicBezTo>
                    <a:pt x="2918936" y="374809"/>
                    <a:pt x="2916079" y="368141"/>
                    <a:pt x="2913221" y="362426"/>
                  </a:cubicBezTo>
                  <a:cubicBezTo>
                    <a:pt x="2914174" y="358616"/>
                    <a:pt x="2916079" y="355759"/>
                    <a:pt x="2917984" y="351949"/>
                  </a:cubicBezTo>
                  <a:close/>
                  <a:moveTo>
                    <a:pt x="2904649" y="224314"/>
                  </a:moveTo>
                  <a:cubicBezTo>
                    <a:pt x="2904649" y="224314"/>
                    <a:pt x="2904649" y="224314"/>
                    <a:pt x="2904649" y="224314"/>
                  </a:cubicBezTo>
                  <a:cubicBezTo>
                    <a:pt x="2904649" y="228124"/>
                    <a:pt x="2903696" y="232886"/>
                    <a:pt x="2903696" y="237649"/>
                  </a:cubicBezTo>
                  <a:cubicBezTo>
                    <a:pt x="2903696" y="241459"/>
                    <a:pt x="2902744" y="245269"/>
                    <a:pt x="2902744" y="250031"/>
                  </a:cubicBezTo>
                  <a:cubicBezTo>
                    <a:pt x="2901791" y="245269"/>
                    <a:pt x="2901791" y="240506"/>
                    <a:pt x="2900839" y="235744"/>
                  </a:cubicBezTo>
                  <a:cubicBezTo>
                    <a:pt x="2901791" y="231934"/>
                    <a:pt x="2902744" y="228124"/>
                    <a:pt x="2904649" y="224314"/>
                  </a:cubicBezTo>
                  <a:close/>
                  <a:moveTo>
                    <a:pt x="2885599" y="294799"/>
                  </a:moveTo>
                  <a:cubicBezTo>
                    <a:pt x="2886551" y="290036"/>
                    <a:pt x="2887504" y="285274"/>
                    <a:pt x="2888456" y="280511"/>
                  </a:cubicBezTo>
                  <a:cubicBezTo>
                    <a:pt x="2888456" y="289084"/>
                    <a:pt x="2889409" y="298609"/>
                    <a:pt x="2889409" y="308134"/>
                  </a:cubicBezTo>
                  <a:cubicBezTo>
                    <a:pt x="2887504" y="304324"/>
                    <a:pt x="2886551" y="301466"/>
                    <a:pt x="2884646" y="297656"/>
                  </a:cubicBezTo>
                  <a:cubicBezTo>
                    <a:pt x="2884646" y="296704"/>
                    <a:pt x="2885599" y="295751"/>
                    <a:pt x="2885599" y="294799"/>
                  </a:cubicBezTo>
                  <a:close/>
                  <a:moveTo>
                    <a:pt x="2869406" y="301466"/>
                  </a:moveTo>
                  <a:cubicBezTo>
                    <a:pt x="2869406" y="302419"/>
                    <a:pt x="2869406" y="302419"/>
                    <a:pt x="2869406" y="301466"/>
                  </a:cubicBezTo>
                  <a:cubicBezTo>
                    <a:pt x="2869406" y="302419"/>
                    <a:pt x="2869406" y="302419"/>
                    <a:pt x="2869406" y="302419"/>
                  </a:cubicBezTo>
                  <a:cubicBezTo>
                    <a:pt x="2869406" y="303371"/>
                    <a:pt x="2868454" y="304324"/>
                    <a:pt x="2868454" y="305276"/>
                  </a:cubicBezTo>
                  <a:cubicBezTo>
                    <a:pt x="2864644" y="298609"/>
                    <a:pt x="2860834" y="290989"/>
                    <a:pt x="2856071" y="284321"/>
                  </a:cubicBezTo>
                  <a:cubicBezTo>
                    <a:pt x="2856071" y="283369"/>
                    <a:pt x="2855119" y="283369"/>
                    <a:pt x="2855119" y="282416"/>
                  </a:cubicBezTo>
                  <a:cubicBezTo>
                    <a:pt x="2856071" y="279559"/>
                    <a:pt x="2857024" y="276701"/>
                    <a:pt x="2857976" y="273844"/>
                  </a:cubicBezTo>
                  <a:cubicBezTo>
                    <a:pt x="2861786" y="283369"/>
                    <a:pt x="2865596" y="292894"/>
                    <a:pt x="2869406" y="301466"/>
                  </a:cubicBezTo>
                  <a:close/>
                  <a:moveTo>
                    <a:pt x="2851309" y="262414"/>
                  </a:moveTo>
                  <a:cubicBezTo>
                    <a:pt x="2851309" y="261461"/>
                    <a:pt x="2851309" y="260509"/>
                    <a:pt x="2851309" y="259556"/>
                  </a:cubicBezTo>
                  <a:cubicBezTo>
                    <a:pt x="2852261" y="262414"/>
                    <a:pt x="2853214" y="264319"/>
                    <a:pt x="2855119" y="267176"/>
                  </a:cubicBezTo>
                  <a:cubicBezTo>
                    <a:pt x="2855119" y="268129"/>
                    <a:pt x="2856071" y="268129"/>
                    <a:pt x="2856071" y="269081"/>
                  </a:cubicBezTo>
                  <a:cubicBezTo>
                    <a:pt x="2855119" y="270986"/>
                    <a:pt x="2853214" y="273844"/>
                    <a:pt x="2851309" y="276701"/>
                  </a:cubicBezTo>
                  <a:cubicBezTo>
                    <a:pt x="2851309" y="275749"/>
                    <a:pt x="2850356" y="275749"/>
                    <a:pt x="2850356" y="274796"/>
                  </a:cubicBezTo>
                  <a:cubicBezTo>
                    <a:pt x="2850356" y="270986"/>
                    <a:pt x="2851309" y="267176"/>
                    <a:pt x="2851309" y="262414"/>
                  </a:cubicBezTo>
                  <a:close/>
                  <a:moveTo>
                    <a:pt x="2848451" y="312896"/>
                  </a:moveTo>
                  <a:cubicBezTo>
                    <a:pt x="2848451" y="309086"/>
                    <a:pt x="2848451" y="306229"/>
                    <a:pt x="2848451" y="302419"/>
                  </a:cubicBezTo>
                  <a:cubicBezTo>
                    <a:pt x="2852261" y="310039"/>
                    <a:pt x="2857024" y="318611"/>
                    <a:pt x="2860834" y="327184"/>
                  </a:cubicBezTo>
                  <a:cubicBezTo>
                    <a:pt x="2858929" y="332899"/>
                    <a:pt x="2857024" y="338614"/>
                    <a:pt x="2856071" y="344329"/>
                  </a:cubicBezTo>
                  <a:cubicBezTo>
                    <a:pt x="2855119" y="348139"/>
                    <a:pt x="2854166" y="351949"/>
                    <a:pt x="2853214" y="355759"/>
                  </a:cubicBezTo>
                  <a:cubicBezTo>
                    <a:pt x="2852261" y="350996"/>
                    <a:pt x="2852261" y="346234"/>
                    <a:pt x="2851309" y="341471"/>
                  </a:cubicBezTo>
                  <a:cubicBezTo>
                    <a:pt x="2850356" y="332899"/>
                    <a:pt x="2849404" y="324326"/>
                    <a:pt x="2847499" y="316706"/>
                  </a:cubicBezTo>
                  <a:cubicBezTo>
                    <a:pt x="2848451" y="315754"/>
                    <a:pt x="2848451" y="313849"/>
                    <a:pt x="2848451" y="312896"/>
                  </a:cubicBezTo>
                  <a:close/>
                  <a:moveTo>
                    <a:pt x="2836069" y="226219"/>
                  </a:moveTo>
                  <a:cubicBezTo>
                    <a:pt x="2839879" y="234791"/>
                    <a:pt x="2843689" y="243364"/>
                    <a:pt x="2847499" y="251936"/>
                  </a:cubicBezTo>
                  <a:cubicBezTo>
                    <a:pt x="2846546" y="254794"/>
                    <a:pt x="2845594" y="257651"/>
                    <a:pt x="2844641" y="261461"/>
                  </a:cubicBezTo>
                  <a:cubicBezTo>
                    <a:pt x="2844641" y="262414"/>
                    <a:pt x="2843689" y="264319"/>
                    <a:pt x="2843689" y="266224"/>
                  </a:cubicBezTo>
                  <a:cubicBezTo>
                    <a:pt x="2841784" y="263366"/>
                    <a:pt x="2840831" y="261461"/>
                    <a:pt x="2838926" y="258604"/>
                  </a:cubicBezTo>
                  <a:cubicBezTo>
                    <a:pt x="2837974" y="249079"/>
                    <a:pt x="2836069" y="238601"/>
                    <a:pt x="2834164" y="229076"/>
                  </a:cubicBezTo>
                  <a:cubicBezTo>
                    <a:pt x="2836069" y="228124"/>
                    <a:pt x="2836069" y="227171"/>
                    <a:pt x="2836069" y="226219"/>
                  </a:cubicBezTo>
                  <a:close/>
                  <a:moveTo>
                    <a:pt x="2830354" y="305276"/>
                  </a:moveTo>
                  <a:cubicBezTo>
                    <a:pt x="2830354" y="308134"/>
                    <a:pt x="2830354" y="310039"/>
                    <a:pt x="2831306" y="312896"/>
                  </a:cubicBezTo>
                  <a:cubicBezTo>
                    <a:pt x="2831306" y="312896"/>
                    <a:pt x="2831306" y="312896"/>
                    <a:pt x="2831306" y="313849"/>
                  </a:cubicBezTo>
                  <a:cubicBezTo>
                    <a:pt x="2831306" y="311944"/>
                    <a:pt x="2831306" y="310039"/>
                    <a:pt x="2830354" y="308134"/>
                  </a:cubicBezTo>
                  <a:cubicBezTo>
                    <a:pt x="2830354" y="307181"/>
                    <a:pt x="2830354" y="306229"/>
                    <a:pt x="2830354" y="305276"/>
                  </a:cubicBezTo>
                  <a:close/>
                  <a:moveTo>
                    <a:pt x="2829401" y="292894"/>
                  </a:moveTo>
                  <a:cubicBezTo>
                    <a:pt x="2829401" y="294799"/>
                    <a:pt x="2829401" y="296704"/>
                    <a:pt x="2830354" y="299561"/>
                  </a:cubicBezTo>
                  <a:cubicBezTo>
                    <a:pt x="2830354" y="300514"/>
                    <a:pt x="2830354" y="300514"/>
                    <a:pt x="2829401" y="301466"/>
                  </a:cubicBezTo>
                  <a:cubicBezTo>
                    <a:pt x="2829401" y="300514"/>
                    <a:pt x="2829401" y="300514"/>
                    <a:pt x="2829401" y="299561"/>
                  </a:cubicBezTo>
                  <a:cubicBezTo>
                    <a:pt x="2828449" y="296704"/>
                    <a:pt x="2828449" y="294799"/>
                    <a:pt x="2829401" y="292894"/>
                  </a:cubicBezTo>
                  <a:close/>
                  <a:moveTo>
                    <a:pt x="2785586" y="268129"/>
                  </a:moveTo>
                  <a:cubicBezTo>
                    <a:pt x="2784634" y="269081"/>
                    <a:pt x="2783681" y="270034"/>
                    <a:pt x="2782729" y="271939"/>
                  </a:cubicBezTo>
                  <a:cubicBezTo>
                    <a:pt x="2782729" y="270986"/>
                    <a:pt x="2782729" y="270034"/>
                    <a:pt x="2782729" y="269081"/>
                  </a:cubicBezTo>
                  <a:cubicBezTo>
                    <a:pt x="2782729" y="268129"/>
                    <a:pt x="2782729" y="266224"/>
                    <a:pt x="2782729" y="265271"/>
                  </a:cubicBezTo>
                  <a:cubicBezTo>
                    <a:pt x="2783681" y="263366"/>
                    <a:pt x="2785586" y="260509"/>
                    <a:pt x="2786539" y="258604"/>
                  </a:cubicBezTo>
                  <a:cubicBezTo>
                    <a:pt x="2786539" y="259556"/>
                    <a:pt x="2786539" y="259556"/>
                    <a:pt x="2786539" y="260509"/>
                  </a:cubicBezTo>
                  <a:cubicBezTo>
                    <a:pt x="2785586" y="262414"/>
                    <a:pt x="2785586" y="265271"/>
                    <a:pt x="2785586" y="268129"/>
                  </a:cubicBezTo>
                  <a:close/>
                  <a:moveTo>
                    <a:pt x="2796064" y="268129"/>
                  </a:moveTo>
                  <a:cubicBezTo>
                    <a:pt x="2796064" y="267176"/>
                    <a:pt x="2796064" y="267176"/>
                    <a:pt x="2796064" y="268129"/>
                  </a:cubicBezTo>
                  <a:cubicBezTo>
                    <a:pt x="2797016" y="266224"/>
                    <a:pt x="2797969" y="264319"/>
                    <a:pt x="2798921" y="263366"/>
                  </a:cubicBezTo>
                  <a:cubicBezTo>
                    <a:pt x="2797969" y="264319"/>
                    <a:pt x="2797016" y="266224"/>
                    <a:pt x="2796064" y="268129"/>
                  </a:cubicBezTo>
                  <a:close/>
                  <a:moveTo>
                    <a:pt x="2803684" y="314801"/>
                  </a:moveTo>
                  <a:cubicBezTo>
                    <a:pt x="2803684" y="315754"/>
                    <a:pt x="2802731" y="317659"/>
                    <a:pt x="2802731" y="318611"/>
                  </a:cubicBezTo>
                  <a:cubicBezTo>
                    <a:pt x="2802731" y="320516"/>
                    <a:pt x="2801779" y="322421"/>
                    <a:pt x="2801779" y="325279"/>
                  </a:cubicBezTo>
                  <a:cubicBezTo>
                    <a:pt x="2800826" y="322421"/>
                    <a:pt x="2799874" y="320516"/>
                    <a:pt x="2798921" y="317659"/>
                  </a:cubicBezTo>
                  <a:cubicBezTo>
                    <a:pt x="2798921" y="316706"/>
                    <a:pt x="2798921" y="316706"/>
                    <a:pt x="2798921" y="315754"/>
                  </a:cubicBezTo>
                  <a:cubicBezTo>
                    <a:pt x="2798921" y="315754"/>
                    <a:pt x="2798921" y="315754"/>
                    <a:pt x="2798921" y="315754"/>
                  </a:cubicBezTo>
                  <a:cubicBezTo>
                    <a:pt x="2799874" y="311944"/>
                    <a:pt x="2800826" y="308134"/>
                    <a:pt x="2801779" y="304324"/>
                  </a:cubicBezTo>
                  <a:cubicBezTo>
                    <a:pt x="2802731" y="307181"/>
                    <a:pt x="2802731" y="310039"/>
                    <a:pt x="2803684" y="312896"/>
                  </a:cubicBezTo>
                  <a:cubicBezTo>
                    <a:pt x="2803684" y="313849"/>
                    <a:pt x="2803684" y="313849"/>
                    <a:pt x="2803684" y="314801"/>
                  </a:cubicBezTo>
                  <a:close/>
                  <a:moveTo>
                    <a:pt x="2810351" y="280511"/>
                  </a:moveTo>
                  <a:cubicBezTo>
                    <a:pt x="2808446" y="287179"/>
                    <a:pt x="2807494" y="294799"/>
                    <a:pt x="2805589" y="302419"/>
                  </a:cubicBezTo>
                  <a:cubicBezTo>
                    <a:pt x="2804636" y="301466"/>
                    <a:pt x="2804636" y="299561"/>
                    <a:pt x="2803684" y="298609"/>
                  </a:cubicBezTo>
                  <a:cubicBezTo>
                    <a:pt x="2803684" y="297656"/>
                    <a:pt x="2803684" y="297656"/>
                    <a:pt x="2802731" y="296704"/>
                  </a:cubicBezTo>
                  <a:cubicBezTo>
                    <a:pt x="2803684" y="292894"/>
                    <a:pt x="2804636" y="290036"/>
                    <a:pt x="2805589" y="287179"/>
                  </a:cubicBezTo>
                  <a:cubicBezTo>
                    <a:pt x="2806541" y="284321"/>
                    <a:pt x="2808446" y="280511"/>
                    <a:pt x="2809399" y="277654"/>
                  </a:cubicBezTo>
                  <a:cubicBezTo>
                    <a:pt x="2809399" y="276701"/>
                    <a:pt x="2810351" y="275749"/>
                    <a:pt x="2810351" y="275749"/>
                  </a:cubicBezTo>
                  <a:cubicBezTo>
                    <a:pt x="2811304" y="276701"/>
                    <a:pt x="2810351" y="278606"/>
                    <a:pt x="2810351" y="280511"/>
                  </a:cubicBezTo>
                  <a:close/>
                  <a:moveTo>
                    <a:pt x="2811304" y="276701"/>
                  </a:moveTo>
                  <a:cubicBezTo>
                    <a:pt x="2811304" y="275749"/>
                    <a:pt x="2811304" y="275749"/>
                    <a:pt x="2811304" y="274796"/>
                  </a:cubicBezTo>
                  <a:cubicBezTo>
                    <a:pt x="2812256" y="273844"/>
                    <a:pt x="2812256" y="271939"/>
                    <a:pt x="2813209" y="270986"/>
                  </a:cubicBezTo>
                  <a:cubicBezTo>
                    <a:pt x="2812256" y="272891"/>
                    <a:pt x="2812256" y="274796"/>
                    <a:pt x="2811304" y="276701"/>
                  </a:cubicBezTo>
                  <a:close/>
                  <a:moveTo>
                    <a:pt x="2812256" y="236696"/>
                  </a:moveTo>
                  <a:cubicBezTo>
                    <a:pt x="2810351" y="239554"/>
                    <a:pt x="2808446" y="243364"/>
                    <a:pt x="2806541" y="246221"/>
                  </a:cubicBezTo>
                  <a:cubicBezTo>
                    <a:pt x="2804636" y="248126"/>
                    <a:pt x="2802731" y="250031"/>
                    <a:pt x="2799874" y="251936"/>
                  </a:cubicBezTo>
                  <a:cubicBezTo>
                    <a:pt x="2797969" y="253841"/>
                    <a:pt x="2796064" y="255746"/>
                    <a:pt x="2794159" y="257651"/>
                  </a:cubicBezTo>
                  <a:cubicBezTo>
                    <a:pt x="2793206" y="252889"/>
                    <a:pt x="2792254" y="249079"/>
                    <a:pt x="2792254" y="245269"/>
                  </a:cubicBezTo>
                  <a:cubicBezTo>
                    <a:pt x="2793206" y="242411"/>
                    <a:pt x="2795111" y="240506"/>
                    <a:pt x="2796064" y="238601"/>
                  </a:cubicBezTo>
                  <a:cubicBezTo>
                    <a:pt x="2799874" y="231934"/>
                    <a:pt x="2802731" y="227171"/>
                    <a:pt x="2804636" y="224314"/>
                  </a:cubicBezTo>
                  <a:cubicBezTo>
                    <a:pt x="2807494" y="228124"/>
                    <a:pt x="2809399" y="232886"/>
                    <a:pt x="2812256" y="236696"/>
                  </a:cubicBezTo>
                  <a:close/>
                  <a:moveTo>
                    <a:pt x="2804636" y="223361"/>
                  </a:moveTo>
                  <a:cubicBezTo>
                    <a:pt x="2802731" y="225266"/>
                    <a:pt x="2798921" y="229076"/>
                    <a:pt x="2794159" y="235744"/>
                  </a:cubicBezTo>
                  <a:cubicBezTo>
                    <a:pt x="2793206" y="236696"/>
                    <a:pt x="2793206" y="237649"/>
                    <a:pt x="2792254" y="238601"/>
                  </a:cubicBezTo>
                  <a:cubicBezTo>
                    <a:pt x="2792254" y="238601"/>
                    <a:pt x="2792254" y="238601"/>
                    <a:pt x="2792254" y="238601"/>
                  </a:cubicBezTo>
                  <a:cubicBezTo>
                    <a:pt x="2794159" y="235744"/>
                    <a:pt x="2795111" y="232886"/>
                    <a:pt x="2796064" y="230981"/>
                  </a:cubicBezTo>
                  <a:cubicBezTo>
                    <a:pt x="2797969" y="226219"/>
                    <a:pt x="2800826" y="222409"/>
                    <a:pt x="2801779" y="219551"/>
                  </a:cubicBezTo>
                  <a:cubicBezTo>
                    <a:pt x="2802731" y="220504"/>
                    <a:pt x="2803684" y="222409"/>
                    <a:pt x="2804636" y="223361"/>
                  </a:cubicBezTo>
                  <a:close/>
                  <a:moveTo>
                    <a:pt x="2787491" y="196691"/>
                  </a:moveTo>
                  <a:cubicBezTo>
                    <a:pt x="2792254" y="203359"/>
                    <a:pt x="2796064" y="210026"/>
                    <a:pt x="2800826" y="217646"/>
                  </a:cubicBezTo>
                  <a:cubicBezTo>
                    <a:pt x="2798921" y="220504"/>
                    <a:pt x="2796064" y="224314"/>
                    <a:pt x="2792254" y="228124"/>
                  </a:cubicBezTo>
                  <a:cubicBezTo>
                    <a:pt x="2791301" y="229076"/>
                    <a:pt x="2790349" y="230029"/>
                    <a:pt x="2790349" y="230981"/>
                  </a:cubicBezTo>
                  <a:cubicBezTo>
                    <a:pt x="2789396" y="226219"/>
                    <a:pt x="2788444" y="222409"/>
                    <a:pt x="2787491" y="218599"/>
                  </a:cubicBezTo>
                  <a:cubicBezTo>
                    <a:pt x="2783681" y="205264"/>
                    <a:pt x="2781776" y="196691"/>
                    <a:pt x="2781776" y="196691"/>
                  </a:cubicBezTo>
                  <a:cubicBezTo>
                    <a:pt x="2781776" y="196691"/>
                    <a:pt x="2782729" y="204311"/>
                    <a:pt x="2783681" y="218599"/>
                  </a:cubicBezTo>
                  <a:cubicBezTo>
                    <a:pt x="2784634" y="224314"/>
                    <a:pt x="2784634" y="230981"/>
                    <a:pt x="2784634" y="237649"/>
                  </a:cubicBezTo>
                  <a:cubicBezTo>
                    <a:pt x="2783681" y="239554"/>
                    <a:pt x="2781776" y="241459"/>
                    <a:pt x="2780824" y="243364"/>
                  </a:cubicBezTo>
                  <a:cubicBezTo>
                    <a:pt x="2779871" y="227171"/>
                    <a:pt x="2779871" y="213836"/>
                    <a:pt x="2778919" y="204311"/>
                  </a:cubicBezTo>
                  <a:cubicBezTo>
                    <a:pt x="2777966" y="192881"/>
                    <a:pt x="2777966" y="186214"/>
                    <a:pt x="2777966" y="186214"/>
                  </a:cubicBezTo>
                  <a:cubicBezTo>
                    <a:pt x="2777966" y="186214"/>
                    <a:pt x="2777014" y="192881"/>
                    <a:pt x="2775109" y="204311"/>
                  </a:cubicBezTo>
                  <a:cubicBezTo>
                    <a:pt x="2775109" y="207169"/>
                    <a:pt x="2774156" y="210979"/>
                    <a:pt x="2774156" y="214789"/>
                  </a:cubicBezTo>
                  <a:cubicBezTo>
                    <a:pt x="2773204" y="206216"/>
                    <a:pt x="2772251" y="198596"/>
                    <a:pt x="2770346" y="190976"/>
                  </a:cubicBezTo>
                  <a:cubicBezTo>
                    <a:pt x="2770346" y="190024"/>
                    <a:pt x="2770346" y="190024"/>
                    <a:pt x="2770346" y="189071"/>
                  </a:cubicBezTo>
                  <a:cubicBezTo>
                    <a:pt x="2770346" y="188119"/>
                    <a:pt x="2770346" y="186214"/>
                    <a:pt x="2770346" y="185261"/>
                  </a:cubicBezTo>
                  <a:cubicBezTo>
                    <a:pt x="2769394" y="174784"/>
                    <a:pt x="2768441" y="168116"/>
                    <a:pt x="2768441" y="166211"/>
                  </a:cubicBezTo>
                  <a:cubicBezTo>
                    <a:pt x="2774156" y="174784"/>
                    <a:pt x="2779871" y="185261"/>
                    <a:pt x="2787491" y="196691"/>
                  </a:cubicBezTo>
                  <a:close/>
                  <a:moveTo>
                    <a:pt x="2767489" y="167164"/>
                  </a:moveTo>
                  <a:cubicBezTo>
                    <a:pt x="2767489" y="168116"/>
                    <a:pt x="2767489" y="169069"/>
                    <a:pt x="2767489" y="170974"/>
                  </a:cubicBezTo>
                  <a:cubicBezTo>
                    <a:pt x="2767489" y="169069"/>
                    <a:pt x="2767489" y="168116"/>
                    <a:pt x="2766536" y="166211"/>
                  </a:cubicBezTo>
                  <a:cubicBezTo>
                    <a:pt x="2767489" y="166211"/>
                    <a:pt x="2767489" y="166211"/>
                    <a:pt x="2767489" y="167164"/>
                  </a:cubicBezTo>
                  <a:close/>
                  <a:moveTo>
                    <a:pt x="2757964" y="342424"/>
                  </a:moveTo>
                  <a:cubicBezTo>
                    <a:pt x="2757011" y="340519"/>
                    <a:pt x="2756059" y="338614"/>
                    <a:pt x="2755106" y="336709"/>
                  </a:cubicBezTo>
                  <a:cubicBezTo>
                    <a:pt x="2756059" y="333851"/>
                    <a:pt x="2757964" y="331946"/>
                    <a:pt x="2758916" y="329089"/>
                  </a:cubicBezTo>
                  <a:cubicBezTo>
                    <a:pt x="2759869" y="330041"/>
                    <a:pt x="2759869" y="331946"/>
                    <a:pt x="2760821" y="332899"/>
                  </a:cubicBezTo>
                  <a:cubicBezTo>
                    <a:pt x="2759869" y="336709"/>
                    <a:pt x="2758916" y="339566"/>
                    <a:pt x="2757964" y="342424"/>
                  </a:cubicBezTo>
                  <a:close/>
                  <a:moveTo>
                    <a:pt x="2762726" y="327184"/>
                  </a:moveTo>
                  <a:cubicBezTo>
                    <a:pt x="2762726" y="328136"/>
                    <a:pt x="2761774" y="329089"/>
                    <a:pt x="2761774" y="330994"/>
                  </a:cubicBezTo>
                  <a:cubicBezTo>
                    <a:pt x="2760821" y="330041"/>
                    <a:pt x="2760821" y="329089"/>
                    <a:pt x="2759869" y="328136"/>
                  </a:cubicBezTo>
                  <a:cubicBezTo>
                    <a:pt x="2760821" y="327184"/>
                    <a:pt x="2760821" y="325279"/>
                    <a:pt x="2761774" y="324326"/>
                  </a:cubicBezTo>
                  <a:cubicBezTo>
                    <a:pt x="2762726" y="325279"/>
                    <a:pt x="2762726" y="326231"/>
                    <a:pt x="2762726" y="327184"/>
                  </a:cubicBezTo>
                  <a:cubicBezTo>
                    <a:pt x="2762726" y="327184"/>
                    <a:pt x="2762726" y="327184"/>
                    <a:pt x="2762726" y="327184"/>
                  </a:cubicBezTo>
                  <a:close/>
                  <a:moveTo>
                    <a:pt x="2762726" y="250031"/>
                  </a:moveTo>
                  <a:cubicBezTo>
                    <a:pt x="2762726" y="256699"/>
                    <a:pt x="2762726" y="263366"/>
                    <a:pt x="2762726" y="270034"/>
                  </a:cubicBezTo>
                  <a:cubicBezTo>
                    <a:pt x="2759869" y="273844"/>
                    <a:pt x="2757011" y="278606"/>
                    <a:pt x="2754154" y="282416"/>
                  </a:cubicBezTo>
                  <a:cubicBezTo>
                    <a:pt x="2754154" y="283369"/>
                    <a:pt x="2753201" y="283369"/>
                    <a:pt x="2753201" y="284321"/>
                  </a:cubicBezTo>
                  <a:cubicBezTo>
                    <a:pt x="2753201" y="283369"/>
                    <a:pt x="2752249" y="283369"/>
                    <a:pt x="2752249" y="282416"/>
                  </a:cubicBezTo>
                  <a:cubicBezTo>
                    <a:pt x="2752249" y="281464"/>
                    <a:pt x="2753201" y="280511"/>
                    <a:pt x="2753201" y="278606"/>
                  </a:cubicBezTo>
                  <a:cubicBezTo>
                    <a:pt x="2754154" y="274796"/>
                    <a:pt x="2755106" y="270986"/>
                    <a:pt x="2756059" y="267176"/>
                  </a:cubicBezTo>
                  <a:cubicBezTo>
                    <a:pt x="2757964" y="260509"/>
                    <a:pt x="2759869" y="255746"/>
                    <a:pt x="2761774" y="251936"/>
                  </a:cubicBezTo>
                  <a:cubicBezTo>
                    <a:pt x="2761774" y="251936"/>
                    <a:pt x="2761774" y="250031"/>
                    <a:pt x="2762726" y="250031"/>
                  </a:cubicBezTo>
                  <a:cubicBezTo>
                    <a:pt x="2762726" y="250031"/>
                    <a:pt x="2762726" y="250031"/>
                    <a:pt x="2762726" y="250031"/>
                  </a:cubicBezTo>
                  <a:close/>
                  <a:moveTo>
                    <a:pt x="2753201" y="250031"/>
                  </a:moveTo>
                  <a:cubicBezTo>
                    <a:pt x="2755106" y="242411"/>
                    <a:pt x="2756059" y="236696"/>
                    <a:pt x="2757011" y="230981"/>
                  </a:cubicBezTo>
                  <a:cubicBezTo>
                    <a:pt x="2758916" y="236696"/>
                    <a:pt x="2760821" y="242411"/>
                    <a:pt x="2762726" y="249079"/>
                  </a:cubicBezTo>
                  <a:cubicBezTo>
                    <a:pt x="2761774" y="250031"/>
                    <a:pt x="2761774" y="250984"/>
                    <a:pt x="2760821" y="252889"/>
                  </a:cubicBezTo>
                  <a:cubicBezTo>
                    <a:pt x="2758916" y="255746"/>
                    <a:pt x="2756059" y="260509"/>
                    <a:pt x="2752249" y="267176"/>
                  </a:cubicBezTo>
                  <a:cubicBezTo>
                    <a:pt x="2750344" y="270034"/>
                    <a:pt x="2749391" y="272891"/>
                    <a:pt x="2748439" y="275749"/>
                  </a:cubicBezTo>
                  <a:cubicBezTo>
                    <a:pt x="2748439" y="275749"/>
                    <a:pt x="2748439" y="274796"/>
                    <a:pt x="2747486" y="274796"/>
                  </a:cubicBezTo>
                  <a:cubicBezTo>
                    <a:pt x="2749391" y="265271"/>
                    <a:pt x="2751296" y="256699"/>
                    <a:pt x="2753201" y="250031"/>
                  </a:cubicBezTo>
                  <a:close/>
                  <a:moveTo>
                    <a:pt x="2749391" y="362426"/>
                  </a:moveTo>
                  <a:cubicBezTo>
                    <a:pt x="2748439" y="360521"/>
                    <a:pt x="2747486" y="359569"/>
                    <a:pt x="2746534" y="357664"/>
                  </a:cubicBezTo>
                  <a:cubicBezTo>
                    <a:pt x="2746534" y="356711"/>
                    <a:pt x="2746534" y="355759"/>
                    <a:pt x="2746534" y="354806"/>
                  </a:cubicBezTo>
                  <a:cubicBezTo>
                    <a:pt x="2747486" y="356711"/>
                    <a:pt x="2748439" y="359569"/>
                    <a:pt x="2749391" y="362426"/>
                  </a:cubicBezTo>
                  <a:close/>
                  <a:moveTo>
                    <a:pt x="2734151" y="258604"/>
                  </a:moveTo>
                  <a:cubicBezTo>
                    <a:pt x="2736056" y="262414"/>
                    <a:pt x="2737961" y="268129"/>
                    <a:pt x="2740819" y="273844"/>
                  </a:cubicBezTo>
                  <a:cubicBezTo>
                    <a:pt x="2738914" y="278606"/>
                    <a:pt x="2737009" y="284321"/>
                    <a:pt x="2735104" y="290036"/>
                  </a:cubicBezTo>
                  <a:cubicBezTo>
                    <a:pt x="2735104" y="288131"/>
                    <a:pt x="2734151" y="287179"/>
                    <a:pt x="2734151" y="287179"/>
                  </a:cubicBezTo>
                  <a:cubicBezTo>
                    <a:pt x="2734151" y="287179"/>
                    <a:pt x="2734151" y="289084"/>
                    <a:pt x="2734151" y="291941"/>
                  </a:cubicBezTo>
                  <a:cubicBezTo>
                    <a:pt x="2734151" y="291941"/>
                    <a:pt x="2734151" y="291941"/>
                    <a:pt x="2734151" y="291941"/>
                  </a:cubicBezTo>
                  <a:cubicBezTo>
                    <a:pt x="2733199" y="290989"/>
                    <a:pt x="2733199" y="290036"/>
                    <a:pt x="2732246" y="289084"/>
                  </a:cubicBezTo>
                  <a:cubicBezTo>
                    <a:pt x="2732246" y="288131"/>
                    <a:pt x="2731294" y="287179"/>
                    <a:pt x="2731294" y="286226"/>
                  </a:cubicBezTo>
                  <a:cubicBezTo>
                    <a:pt x="2733199" y="275749"/>
                    <a:pt x="2734151" y="266224"/>
                    <a:pt x="2734151" y="258604"/>
                  </a:cubicBezTo>
                  <a:close/>
                  <a:moveTo>
                    <a:pt x="2715101" y="290989"/>
                  </a:moveTo>
                  <a:cubicBezTo>
                    <a:pt x="2715101" y="284321"/>
                    <a:pt x="2715101" y="278606"/>
                    <a:pt x="2716054" y="273844"/>
                  </a:cubicBezTo>
                  <a:cubicBezTo>
                    <a:pt x="2717006" y="274796"/>
                    <a:pt x="2717006" y="276701"/>
                    <a:pt x="2717959" y="278606"/>
                  </a:cubicBezTo>
                  <a:cubicBezTo>
                    <a:pt x="2717006" y="287179"/>
                    <a:pt x="2717006" y="295751"/>
                    <a:pt x="2716054" y="304324"/>
                  </a:cubicBezTo>
                  <a:cubicBezTo>
                    <a:pt x="2716054" y="304324"/>
                    <a:pt x="2715101" y="303371"/>
                    <a:pt x="2715101" y="303371"/>
                  </a:cubicBezTo>
                  <a:cubicBezTo>
                    <a:pt x="2714149" y="298609"/>
                    <a:pt x="2715101" y="294799"/>
                    <a:pt x="2715101" y="290989"/>
                  </a:cubicBezTo>
                  <a:close/>
                  <a:moveTo>
                    <a:pt x="2705576" y="243364"/>
                  </a:moveTo>
                  <a:cubicBezTo>
                    <a:pt x="2705576" y="244316"/>
                    <a:pt x="2705576" y="246221"/>
                    <a:pt x="2704624" y="247174"/>
                  </a:cubicBezTo>
                  <a:lnTo>
                    <a:pt x="2703671" y="238601"/>
                  </a:lnTo>
                  <a:cubicBezTo>
                    <a:pt x="2704624" y="239554"/>
                    <a:pt x="2705576" y="241459"/>
                    <a:pt x="2705576" y="243364"/>
                  </a:cubicBezTo>
                  <a:close/>
                  <a:moveTo>
                    <a:pt x="2697956" y="312896"/>
                  </a:moveTo>
                  <a:cubicBezTo>
                    <a:pt x="2697956" y="312896"/>
                    <a:pt x="2697956" y="313849"/>
                    <a:pt x="2697956" y="313849"/>
                  </a:cubicBezTo>
                  <a:cubicBezTo>
                    <a:pt x="2697956" y="312896"/>
                    <a:pt x="2697956" y="311944"/>
                    <a:pt x="2697956" y="310991"/>
                  </a:cubicBezTo>
                  <a:lnTo>
                    <a:pt x="2697956" y="312896"/>
                  </a:lnTo>
                  <a:close/>
                  <a:moveTo>
                    <a:pt x="2664619" y="234791"/>
                  </a:moveTo>
                  <a:cubicBezTo>
                    <a:pt x="2665571" y="235744"/>
                    <a:pt x="2665571" y="237649"/>
                    <a:pt x="2666524" y="238601"/>
                  </a:cubicBezTo>
                  <a:cubicBezTo>
                    <a:pt x="2668429" y="253841"/>
                    <a:pt x="2670334" y="270034"/>
                    <a:pt x="2673191" y="287179"/>
                  </a:cubicBezTo>
                  <a:cubicBezTo>
                    <a:pt x="2672239" y="284321"/>
                    <a:pt x="2671286" y="282416"/>
                    <a:pt x="2670334" y="279559"/>
                  </a:cubicBezTo>
                  <a:cubicBezTo>
                    <a:pt x="2670334" y="279559"/>
                    <a:pt x="2670334" y="278606"/>
                    <a:pt x="2670334" y="278606"/>
                  </a:cubicBezTo>
                  <a:cubicBezTo>
                    <a:pt x="2670334" y="276701"/>
                    <a:pt x="2671286" y="276701"/>
                    <a:pt x="2671286" y="276701"/>
                  </a:cubicBezTo>
                  <a:cubicBezTo>
                    <a:pt x="2671286" y="276701"/>
                    <a:pt x="2671286" y="277654"/>
                    <a:pt x="2670334" y="278606"/>
                  </a:cubicBezTo>
                  <a:cubicBezTo>
                    <a:pt x="2669381" y="266224"/>
                    <a:pt x="2667476" y="255746"/>
                    <a:pt x="2664619" y="246221"/>
                  </a:cubicBezTo>
                  <a:cubicBezTo>
                    <a:pt x="2664619" y="244316"/>
                    <a:pt x="2663666" y="242411"/>
                    <a:pt x="2663666" y="240506"/>
                  </a:cubicBezTo>
                  <a:cubicBezTo>
                    <a:pt x="2663666" y="238601"/>
                    <a:pt x="2663666" y="236696"/>
                    <a:pt x="2664619" y="234791"/>
                  </a:cubicBezTo>
                  <a:close/>
                  <a:moveTo>
                    <a:pt x="2657951" y="339566"/>
                  </a:moveTo>
                  <a:cubicBezTo>
                    <a:pt x="2656999" y="338614"/>
                    <a:pt x="2656999" y="337661"/>
                    <a:pt x="2656046" y="336709"/>
                  </a:cubicBezTo>
                  <a:cubicBezTo>
                    <a:pt x="2656999" y="332899"/>
                    <a:pt x="2656999" y="329089"/>
                    <a:pt x="2657951" y="325279"/>
                  </a:cubicBezTo>
                  <a:cubicBezTo>
                    <a:pt x="2658904" y="330041"/>
                    <a:pt x="2657951" y="334804"/>
                    <a:pt x="2657951" y="339566"/>
                  </a:cubicBezTo>
                  <a:close/>
                  <a:moveTo>
                    <a:pt x="2654141" y="277654"/>
                  </a:moveTo>
                  <a:cubicBezTo>
                    <a:pt x="2656046" y="284321"/>
                    <a:pt x="2657951" y="291941"/>
                    <a:pt x="2659856" y="298609"/>
                  </a:cubicBezTo>
                  <a:cubicBezTo>
                    <a:pt x="2659856" y="298609"/>
                    <a:pt x="2659856" y="299561"/>
                    <a:pt x="2659856" y="299561"/>
                  </a:cubicBezTo>
                  <a:cubicBezTo>
                    <a:pt x="2657951" y="304324"/>
                    <a:pt x="2656046" y="310039"/>
                    <a:pt x="2653189" y="316706"/>
                  </a:cubicBezTo>
                  <a:cubicBezTo>
                    <a:pt x="2653189" y="317659"/>
                    <a:pt x="2652236" y="318611"/>
                    <a:pt x="2652236" y="319564"/>
                  </a:cubicBezTo>
                  <a:cubicBezTo>
                    <a:pt x="2651284" y="316706"/>
                    <a:pt x="2651284" y="313849"/>
                    <a:pt x="2650331" y="311944"/>
                  </a:cubicBezTo>
                  <a:cubicBezTo>
                    <a:pt x="2649379" y="308134"/>
                    <a:pt x="2648426" y="305276"/>
                    <a:pt x="2647474" y="301466"/>
                  </a:cubicBezTo>
                  <a:cubicBezTo>
                    <a:pt x="2649379" y="293846"/>
                    <a:pt x="2651284" y="286226"/>
                    <a:pt x="2654141" y="277654"/>
                  </a:cubicBezTo>
                  <a:close/>
                  <a:moveTo>
                    <a:pt x="2633186" y="283369"/>
                  </a:moveTo>
                  <a:cubicBezTo>
                    <a:pt x="2633186" y="284321"/>
                    <a:pt x="2633186" y="284321"/>
                    <a:pt x="2633186" y="285274"/>
                  </a:cubicBezTo>
                  <a:cubicBezTo>
                    <a:pt x="2633186" y="285274"/>
                    <a:pt x="2633186" y="286226"/>
                    <a:pt x="2633186" y="286226"/>
                  </a:cubicBezTo>
                  <a:cubicBezTo>
                    <a:pt x="2633186" y="287179"/>
                    <a:pt x="2632234" y="288131"/>
                    <a:pt x="2632234" y="290036"/>
                  </a:cubicBezTo>
                  <a:cubicBezTo>
                    <a:pt x="2633186" y="287179"/>
                    <a:pt x="2633186" y="285274"/>
                    <a:pt x="2633186" y="283369"/>
                  </a:cubicBezTo>
                  <a:close/>
                  <a:moveTo>
                    <a:pt x="2578894" y="242411"/>
                  </a:moveTo>
                  <a:cubicBezTo>
                    <a:pt x="2578894" y="242411"/>
                    <a:pt x="2578894" y="241459"/>
                    <a:pt x="2577941" y="241459"/>
                  </a:cubicBezTo>
                  <a:cubicBezTo>
                    <a:pt x="2578894" y="239554"/>
                    <a:pt x="2579846" y="237649"/>
                    <a:pt x="2580799" y="235744"/>
                  </a:cubicBezTo>
                  <a:cubicBezTo>
                    <a:pt x="2580799" y="235744"/>
                    <a:pt x="2580799" y="235744"/>
                    <a:pt x="2580799" y="235744"/>
                  </a:cubicBezTo>
                  <a:cubicBezTo>
                    <a:pt x="2580799" y="238601"/>
                    <a:pt x="2579846" y="240506"/>
                    <a:pt x="2578894" y="242411"/>
                  </a:cubicBezTo>
                  <a:close/>
                  <a:moveTo>
                    <a:pt x="2597944" y="275749"/>
                  </a:moveTo>
                  <a:cubicBezTo>
                    <a:pt x="2597944" y="275749"/>
                    <a:pt x="2597944" y="274796"/>
                    <a:pt x="2597944" y="274796"/>
                  </a:cubicBezTo>
                  <a:cubicBezTo>
                    <a:pt x="2597944" y="274796"/>
                    <a:pt x="2598896" y="275749"/>
                    <a:pt x="2597944" y="275749"/>
                  </a:cubicBezTo>
                  <a:cubicBezTo>
                    <a:pt x="2598896" y="275749"/>
                    <a:pt x="2597944" y="275749"/>
                    <a:pt x="2597944" y="275749"/>
                  </a:cubicBezTo>
                  <a:close/>
                  <a:moveTo>
                    <a:pt x="2616041" y="309086"/>
                  </a:moveTo>
                  <a:cubicBezTo>
                    <a:pt x="2615089" y="312896"/>
                    <a:pt x="2614136" y="315754"/>
                    <a:pt x="2613184" y="319564"/>
                  </a:cubicBezTo>
                  <a:cubicBezTo>
                    <a:pt x="2613184" y="318611"/>
                    <a:pt x="2613184" y="318611"/>
                    <a:pt x="2613184" y="318611"/>
                  </a:cubicBezTo>
                  <a:cubicBezTo>
                    <a:pt x="2613184" y="318611"/>
                    <a:pt x="2613184" y="319564"/>
                    <a:pt x="2613184" y="319564"/>
                  </a:cubicBezTo>
                  <a:cubicBezTo>
                    <a:pt x="2613184" y="319564"/>
                    <a:pt x="2613184" y="319564"/>
                    <a:pt x="2613184" y="319564"/>
                  </a:cubicBezTo>
                  <a:cubicBezTo>
                    <a:pt x="2609374" y="309086"/>
                    <a:pt x="2604611" y="298609"/>
                    <a:pt x="2600801" y="289084"/>
                  </a:cubicBezTo>
                  <a:cubicBezTo>
                    <a:pt x="2601754" y="287179"/>
                    <a:pt x="2602706" y="284321"/>
                    <a:pt x="2602706" y="282416"/>
                  </a:cubicBezTo>
                  <a:cubicBezTo>
                    <a:pt x="2605564" y="287179"/>
                    <a:pt x="2609374" y="292894"/>
                    <a:pt x="2612231" y="299561"/>
                  </a:cubicBezTo>
                  <a:cubicBezTo>
                    <a:pt x="2613184" y="302419"/>
                    <a:pt x="2615089" y="305276"/>
                    <a:pt x="2616041" y="308134"/>
                  </a:cubicBezTo>
                  <a:lnTo>
                    <a:pt x="2616041" y="309086"/>
                  </a:lnTo>
                  <a:lnTo>
                    <a:pt x="2616041" y="309086"/>
                  </a:lnTo>
                  <a:close/>
                  <a:moveTo>
                    <a:pt x="2604611" y="276701"/>
                  </a:moveTo>
                  <a:cubicBezTo>
                    <a:pt x="2605564" y="272891"/>
                    <a:pt x="2607469" y="270034"/>
                    <a:pt x="2608421" y="267176"/>
                  </a:cubicBezTo>
                  <a:cubicBezTo>
                    <a:pt x="2609374" y="271939"/>
                    <a:pt x="2612231" y="279559"/>
                    <a:pt x="2615089" y="290036"/>
                  </a:cubicBezTo>
                  <a:cubicBezTo>
                    <a:pt x="2611279" y="285274"/>
                    <a:pt x="2608421" y="280511"/>
                    <a:pt x="2604611" y="276701"/>
                  </a:cubicBezTo>
                  <a:close/>
                  <a:moveTo>
                    <a:pt x="2614136" y="276701"/>
                  </a:moveTo>
                  <a:cubicBezTo>
                    <a:pt x="2612231" y="271939"/>
                    <a:pt x="2610326" y="268129"/>
                    <a:pt x="2609374" y="266224"/>
                  </a:cubicBezTo>
                  <a:cubicBezTo>
                    <a:pt x="2610326" y="263366"/>
                    <a:pt x="2611279" y="260509"/>
                    <a:pt x="2612231" y="257651"/>
                  </a:cubicBezTo>
                  <a:cubicBezTo>
                    <a:pt x="2612231" y="263366"/>
                    <a:pt x="2613184" y="270034"/>
                    <a:pt x="2614136" y="276701"/>
                  </a:cubicBezTo>
                  <a:close/>
                  <a:moveTo>
                    <a:pt x="2606516" y="208121"/>
                  </a:moveTo>
                  <a:cubicBezTo>
                    <a:pt x="2607469" y="221456"/>
                    <a:pt x="2609374" y="235744"/>
                    <a:pt x="2611279" y="250984"/>
                  </a:cubicBezTo>
                  <a:cubicBezTo>
                    <a:pt x="2611279" y="250984"/>
                    <a:pt x="2611279" y="251936"/>
                    <a:pt x="2611279" y="251936"/>
                  </a:cubicBezTo>
                  <a:cubicBezTo>
                    <a:pt x="2608421" y="256699"/>
                    <a:pt x="2604611" y="263366"/>
                    <a:pt x="2600801" y="271939"/>
                  </a:cubicBezTo>
                  <a:cubicBezTo>
                    <a:pt x="2599849" y="270034"/>
                    <a:pt x="2598896" y="269081"/>
                    <a:pt x="2597944" y="268129"/>
                  </a:cubicBezTo>
                  <a:cubicBezTo>
                    <a:pt x="2596991" y="257651"/>
                    <a:pt x="2596039" y="247174"/>
                    <a:pt x="2595086" y="237649"/>
                  </a:cubicBezTo>
                  <a:cubicBezTo>
                    <a:pt x="2595086" y="234791"/>
                    <a:pt x="2594134" y="230981"/>
                    <a:pt x="2594134" y="228124"/>
                  </a:cubicBezTo>
                  <a:cubicBezTo>
                    <a:pt x="2598896" y="207169"/>
                    <a:pt x="2602706" y="190976"/>
                    <a:pt x="2605564" y="179546"/>
                  </a:cubicBezTo>
                  <a:cubicBezTo>
                    <a:pt x="2604611" y="188119"/>
                    <a:pt x="2605564" y="197644"/>
                    <a:pt x="2606516" y="208121"/>
                  </a:cubicBezTo>
                  <a:close/>
                  <a:moveTo>
                    <a:pt x="2586514" y="186214"/>
                  </a:moveTo>
                  <a:cubicBezTo>
                    <a:pt x="2591276" y="175736"/>
                    <a:pt x="2595086" y="167164"/>
                    <a:pt x="2598896" y="159544"/>
                  </a:cubicBezTo>
                  <a:cubicBezTo>
                    <a:pt x="2599849" y="157639"/>
                    <a:pt x="2600801" y="155734"/>
                    <a:pt x="2601754" y="153829"/>
                  </a:cubicBezTo>
                  <a:cubicBezTo>
                    <a:pt x="2602706" y="159544"/>
                    <a:pt x="2602706" y="166211"/>
                    <a:pt x="2603659" y="173831"/>
                  </a:cubicBezTo>
                  <a:cubicBezTo>
                    <a:pt x="2600801" y="182404"/>
                    <a:pt x="2596039" y="194786"/>
                    <a:pt x="2590324" y="210979"/>
                  </a:cubicBezTo>
                  <a:cubicBezTo>
                    <a:pt x="2589371" y="202406"/>
                    <a:pt x="2587466" y="194786"/>
                    <a:pt x="2586514" y="187166"/>
                  </a:cubicBezTo>
                  <a:cubicBezTo>
                    <a:pt x="2586514" y="187166"/>
                    <a:pt x="2586514" y="187166"/>
                    <a:pt x="2586514" y="186214"/>
                  </a:cubicBezTo>
                  <a:close/>
                  <a:moveTo>
                    <a:pt x="2584609" y="408146"/>
                  </a:moveTo>
                  <a:cubicBezTo>
                    <a:pt x="2584609" y="408146"/>
                    <a:pt x="2584609" y="409099"/>
                    <a:pt x="2584609" y="408146"/>
                  </a:cubicBezTo>
                  <a:cubicBezTo>
                    <a:pt x="2583656" y="403384"/>
                    <a:pt x="2582704" y="398621"/>
                    <a:pt x="2581751" y="393859"/>
                  </a:cubicBezTo>
                  <a:cubicBezTo>
                    <a:pt x="2582704" y="398621"/>
                    <a:pt x="2583656" y="403384"/>
                    <a:pt x="2584609" y="408146"/>
                  </a:cubicBezTo>
                  <a:close/>
                  <a:moveTo>
                    <a:pt x="2580799" y="199549"/>
                  </a:moveTo>
                  <a:cubicBezTo>
                    <a:pt x="2580799" y="208121"/>
                    <a:pt x="2581751" y="217646"/>
                    <a:pt x="2581751" y="228124"/>
                  </a:cubicBezTo>
                  <a:cubicBezTo>
                    <a:pt x="2580799" y="229076"/>
                    <a:pt x="2579846" y="230029"/>
                    <a:pt x="2578894" y="231934"/>
                  </a:cubicBezTo>
                  <a:cubicBezTo>
                    <a:pt x="2577941" y="232886"/>
                    <a:pt x="2576989" y="234791"/>
                    <a:pt x="2575084" y="236696"/>
                  </a:cubicBezTo>
                  <a:cubicBezTo>
                    <a:pt x="2574131" y="235744"/>
                    <a:pt x="2574131" y="234791"/>
                    <a:pt x="2573179" y="233839"/>
                  </a:cubicBezTo>
                  <a:cubicBezTo>
                    <a:pt x="2573179" y="231934"/>
                    <a:pt x="2573179" y="230981"/>
                    <a:pt x="2572226" y="229076"/>
                  </a:cubicBezTo>
                  <a:cubicBezTo>
                    <a:pt x="2572226" y="226219"/>
                    <a:pt x="2571274" y="222409"/>
                    <a:pt x="2571274" y="219551"/>
                  </a:cubicBezTo>
                  <a:cubicBezTo>
                    <a:pt x="2575084" y="211931"/>
                    <a:pt x="2577941" y="206216"/>
                    <a:pt x="2580799" y="199549"/>
                  </a:cubicBezTo>
                  <a:close/>
                  <a:moveTo>
                    <a:pt x="2569369" y="320516"/>
                  </a:moveTo>
                  <a:cubicBezTo>
                    <a:pt x="2569369" y="322421"/>
                    <a:pt x="2570321" y="325279"/>
                    <a:pt x="2570321" y="327184"/>
                  </a:cubicBezTo>
                  <a:cubicBezTo>
                    <a:pt x="2570321" y="328136"/>
                    <a:pt x="2570321" y="329089"/>
                    <a:pt x="2571274" y="330041"/>
                  </a:cubicBezTo>
                  <a:cubicBezTo>
                    <a:pt x="2568416" y="334804"/>
                    <a:pt x="2566511" y="339566"/>
                    <a:pt x="2563654" y="345281"/>
                  </a:cubicBezTo>
                  <a:cubicBezTo>
                    <a:pt x="2563654" y="344329"/>
                    <a:pt x="2562701" y="343376"/>
                    <a:pt x="2562701" y="342424"/>
                  </a:cubicBezTo>
                  <a:cubicBezTo>
                    <a:pt x="2565559" y="334804"/>
                    <a:pt x="2567464" y="328136"/>
                    <a:pt x="2569369" y="320516"/>
                  </a:cubicBezTo>
                  <a:close/>
                  <a:moveTo>
                    <a:pt x="2556034" y="262414"/>
                  </a:moveTo>
                  <a:cubicBezTo>
                    <a:pt x="2556986" y="258604"/>
                    <a:pt x="2558891" y="255746"/>
                    <a:pt x="2559844" y="251936"/>
                  </a:cubicBezTo>
                  <a:cubicBezTo>
                    <a:pt x="2559844" y="253841"/>
                    <a:pt x="2559844" y="255746"/>
                    <a:pt x="2560796" y="257651"/>
                  </a:cubicBezTo>
                  <a:cubicBezTo>
                    <a:pt x="2560796" y="258604"/>
                    <a:pt x="2559844" y="258604"/>
                    <a:pt x="2559844" y="259556"/>
                  </a:cubicBezTo>
                  <a:cubicBezTo>
                    <a:pt x="2557939" y="262414"/>
                    <a:pt x="2556034" y="266224"/>
                    <a:pt x="2554129" y="269081"/>
                  </a:cubicBezTo>
                  <a:cubicBezTo>
                    <a:pt x="2554129" y="266224"/>
                    <a:pt x="2555081" y="264319"/>
                    <a:pt x="2556034" y="262414"/>
                  </a:cubicBezTo>
                  <a:close/>
                  <a:moveTo>
                    <a:pt x="2561749" y="276701"/>
                  </a:moveTo>
                  <a:cubicBezTo>
                    <a:pt x="2561749" y="275749"/>
                    <a:pt x="2561749" y="275749"/>
                    <a:pt x="2562701" y="274796"/>
                  </a:cubicBezTo>
                  <a:cubicBezTo>
                    <a:pt x="2563654" y="278606"/>
                    <a:pt x="2563654" y="283369"/>
                    <a:pt x="2564606" y="287179"/>
                  </a:cubicBezTo>
                  <a:cubicBezTo>
                    <a:pt x="2562701" y="293846"/>
                    <a:pt x="2559844" y="301466"/>
                    <a:pt x="2557939" y="309086"/>
                  </a:cubicBezTo>
                  <a:cubicBezTo>
                    <a:pt x="2556986" y="310991"/>
                    <a:pt x="2556986" y="312896"/>
                    <a:pt x="2556034" y="313849"/>
                  </a:cubicBezTo>
                  <a:cubicBezTo>
                    <a:pt x="2555081" y="308134"/>
                    <a:pt x="2554129" y="302419"/>
                    <a:pt x="2553176" y="296704"/>
                  </a:cubicBezTo>
                  <a:cubicBezTo>
                    <a:pt x="2556034" y="290036"/>
                    <a:pt x="2558891" y="282416"/>
                    <a:pt x="2561749" y="276701"/>
                  </a:cubicBezTo>
                  <a:close/>
                  <a:moveTo>
                    <a:pt x="2538889" y="252889"/>
                  </a:moveTo>
                  <a:cubicBezTo>
                    <a:pt x="2539841" y="249079"/>
                    <a:pt x="2539841" y="245269"/>
                    <a:pt x="2540794" y="242411"/>
                  </a:cubicBezTo>
                  <a:cubicBezTo>
                    <a:pt x="2540794" y="241459"/>
                    <a:pt x="2541746" y="239554"/>
                    <a:pt x="2542699" y="238601"/>
                  </a:cubicBezTo>
                  <a:cubicBezTo>
                    <a:pt x="2543651" y="236696"/>
                    <a:pt x="2543651" y="234791"/>
                    <a:pt x="2544604" y="233839"/>
                  </a:cubicBezTo>
                  <a:cubicBezTo>
                    <a:pt x="2544604" y="237649"/>
                    <a:pt x="2543651" y="242411"/>
                    <a:pt x="2543651" y="248126"/>
                  </a:cubicBezTo>
                  <a:cubicBezTo>
                    <a:pt x="2543651" y="250984"/>
                    <a:pt x="2543651" y="253841"/>
                    <a:pt x="2542699" y="257651"/>
                  </a:cubicBezTo>
                  <a:cubicBezTo>
                    <a:pt x="2540794" y="261461"/>
                    <a:pt x="2539841" y="264319"/>
                    <a:pt x="2537936" y="268129"/>
                  </a:cubicBezTo>
                  <a:cubicBezTo>
                    <a:pt x="2537936" y="263366"/>
                    <a:pt x="2537936" y="257651"/>
                    <a:pt x="2538889" y="252889"/>
                  </a:cubicBezTo>
                  <a:close/>
                  <a:moveTo>
                    <a:pt x="2521744" y="475774"/>
                  </a:moveTo>
                  <a:cubicBezTo>
                    <a:pt x="2521744" y="478631"/>
                    <a:pt x="2522696" y="481489"/>
                    <a:pt x="2522696" y="484346"/>
                  </a:cubicBezTo>
                  <a:cubicBezTo>
                    <a:pt x="2521744" y="482441"/>
                    <a:pt x="2521744" y="481489"/>
                    <a:pt x="2520791" y="479584"/>
                  </a:cubicBezTo>
                  <a:cubicBezTo>
                    <a:pt x="2521744" y="478631"/>
                    <a:pt x="2521744" y="477679"/>
                    <a:pt x="2521744" y="475774"/>
                  </a:cubicBezTo>
                  <a:close/>
                  <a:moveTo>
                    <a:pt x="2514124" y="323374"/>
                  </a:moveTo>
                  <a:cubicBezTo>
                    <a:pt x="2514124" y="323374"/>
                    <a:pt x="2515076" y="323374"/>
                    <a:pt x="2514124" y="323374"/>
                  </a:cubicBezTo>
                  <a:cubicBezTo>
                    <a:pt x="2514124" y="325279"/>
                    <a:pt x="2513171" y="326231"/>
                    <a:pt x="2513171" y="328136"/>
                  </a:cubicBezTo>
                  <a:cubicBezTo>
                    <a:pt x="2513171" y="328136"/>
                    <a:pt x="2513171" y="328136"/>
                    <a:pt x="2513171" y="329089"/>
                  </a:cubicBezTo>
                  <a:cubicBezTo>
                    <a:pt x="2513171" y="326231"/>
                    <a:pt x="2514124" y="324326"/>
                    <a:pt x="2514124" y="323374"/>
                  </a:cubicBezTo>
                  <a:close/>
                  <a:moveTo>
                    <a:pt x="2509361" y="300514"/>
                  </a:moveTo>
                  <a:cubicBezTo>
                    <a:pt x="2509361" y="301466"/>
                    <a:pt x="2509361" y="301466"/>
                    <a:pt x="2508409" y="302419"/>
                  </a:cubicBezTo>
                  <a:cubicBezTo>
                    <a:pt x="2508409" y="302419"/>
                    <a:pt x="2508409" y="302419"/>
                    <a:pt x="2508409" y="302419"/>
                  </a:cubicBezTo>
                  <a:cubicBezTo>
                    <a:pt x="2508409" y="299561"/>
                    <a:pt x="2507456" y="297656"/>
                    <a:pt x="2507456" y="294799"/>
                  </a:cubicBezTo>
                  <a:cubicBezTo>
                    <a:pt x="2508409" y="296704"/>
                    <a:pt x="2509361" y="298609"/>
                    <a:pt x="2509361" y="300514"/>
                  </a:cubicBezTo>
                  <a:close/>
                  <a:moveTo>
                    <a:pt x="2496979" y="292894"/>
                  </a:moveTo>
                  <a:cubicBezTo>
                    <a:pt x="2497931" y="290989"/>
                    <a:pt x="2497931" y="290036"/>
                    <a:pt x="2497931" y="290036"/>
                  </a:cubicBezTo>
                  <a:cubicBezTo>
                    <a:pt x="2497931" y="290036"/>
                    <a:pt x="2497931" y="290989"/>
                    <a:pt x="2496979" y="290989"/>
                  </a:cubicBezTo>
                  <a:cubicBezTo>
                    <a:pt x="2496979" y="289084"/>
                    <a:pt x="2496979" y="286226"/>
                    <a:pt x="2497931" y="284321"/>
                  </a:cubicBezTo>
                  <a:cubicBezTo>
                    <a:pt x="2497931" y="278606"/>
                    <a:pt x="2498884" y="272891"/>
                    <a:pt x="2498884" y="269081"/>
                  </a:cubicBezTo>
                  <a:cubicBezTo>
                    <a:pt x="2498884" y="268129"/>
                    <a:pt x="2498884" y="267176"/>
                    <a:pt x="2498884" y="266224"/>
                  </a:cubicBezTo>
                  <a:cubicBezTo>
                    <a:pt x="2499836" y="270034"/>
                    <a:pt x="2500789" y="273844"/>
                    <a:pt x="2502694" y="277654"/>
                  </a:cubicBezTo>
                  <a:cubicBezTo>
                    <a:pt x="2502694" y="279559"/>
                    <a:pt x="2502694" y="281464"/>
                    <a:pt x="2502694" y="283369"/>
                  </a:cubicBezTo>
                  <a:cubicBezTo>
                    <a:pt x="2502694" y="288131"/>
                    <a:pt x="2501741" y="294799"/>
                    <a:pt x="2501741" y="302419"/>
                  </a:cubicBezTo>
                  <a:cubicBezTo>
                    <a:pt x="2501741" y="306229"/>
                    <a:pt x="2501741" y="310039"/>
                    <a:pt x="2501741" y="313849"/>
                  </a:cubicBezTo>
                  <a:cubicBezTo>
                    <a:pt x="2501741" y="317659"/>
                    <a:pt x="2500789" y="321469"/>
                    <a:pt x="2500789" y="325279"/>
                  </a:cubicBezTo>
                  <a:cubicBezTo>
                    <a:pt x="2500789" y="325279"/>
                    <a:pt x="2500789" y="326231"/>
                    <a:pt x="2500789" y="326231"/>
                  </a:cubicBezTo>
                  <a:cubicBezTo>
                    <a:pt x="2500789" y="322421"/>
                    <a:pt x="2499836" y="319564"/>
                    <a:pt x="2499836" y="315754"/>
                  </a:cubicBezTo>
                  <a:cubicBezTo>
                    <a:pt x="2499836" y="313849"/>
                    <a:pt x="2499836" y="311944"/>
                    <a:pt x="2499836" y="310039"/>
                  </a:cubicBezTo>
                  <a:cubicBezTo>
                    <a:pt x="2499836" y="305276"/>
                    <a:pt x="2500789" y="300514"/>
                    <a:pt x="2500789" y="297656"/>
                  </a:cubicBezTo>
                  <a:cubicBezTo>
                    <a:pt x="2500789" y="290989"/>
                    <a:pt x="2500789" y="286226"/>
                    <a:pt x="2500789" y="286226"/>
                  </a:cubicBezTo>
                  <a:cubicBezTo>
                    <a:pt x="2500789" y="286226"/>
                    <a:pt x="2498884" y="289084"/>
                    <a:pt x="2496979" y="292894"/>
                  </a:cubicBezTo>
                  <a:cubicBezTo>
                    <a:pt x="2496979" y="293846"/>
                    <a:pt x="2496979" y="293846"/>
                    <a:pt x="2496979" y="292894"/>
                  </a:cubicBezTo>
                  <a:close/>
                  <a:moveTo>
                    <a:pt x="2449354" y="334804"/>
                  </a:moveTo>
                  <a:cubicBezTo>
                    <a:pt x="2448401" y="332899"/>
                    <a:pt x="2448401" y="330041"/>
                    <a:pt x="2447449" y="328136"/>
                  </a:cubicBezTo>
                  <a:cubicBezTo>
                    <a:pt x="2448401" y="326231"/>
                    <a:pt x="2449354" y="323374"/>
                    <a:pt x="2450306" y="321469"/>
                  </a:cubicBezTo>
                  <a:cubicBezTo>
                    <a:pt x="2450306" y="321469"/>
                    <a:pt x="2450306" y="322421"/>
                    <a:pt x="2450306" y="322421"/>
                  </a:cubicBezTo>
                  <a:cubicBezTo>
                    <a:pt x="2450306" y="323374"/>
                    <a:pt x="2450306" y="323374"/>
                    <a:pt x="2451259" y="324326"/>
                  </a:cubicBezTo>
                  <a:cubicBezTo>
                    <a:pt x="2450306" y="327184"/>
                    <a:pt x="2449354" y="330994"/>
                    <a:pt x="2449354" y="334804"/>
                  </a:cubicBezTo>
                  <a:close/>
                  <a:moveTo>
                    <a:pt x="2450306" y="254794"/>
                  </a:moveTo>
                  <a:cubicBezTo>
                    <a:pt x="2450306" y="253841"/>
                    <a:pt x="2451259" y="252889"/>
                    <a:pt x="2451259" y="251936"/>
                  </a:cubicBezTo>
                  <a:cubicBezTo>
                    <a:pt x="2451259" y="251936"/>
                    <a:pt x="2451259" y="251936"/>
                    <a:pt x="2451259" y="250984"/>
                  </a:cubicBezTo>
                  <a:cubicBezTo>
                    <a:pt x="2451259" y="250984"/>
                    <a:pt x="2451259" y="251936"/>
                    <a:pt x="2451259" y="251936"/>
                  </a:cubicBezTo>
                  <a:cubicBezTo>
                    <a:pt x="2451259" y="252889"/>
                    <a:pt x="2451259" y="253841"/>
                    <a:pt x="2450306" y="254794"/>
                  </a:cubicBezTo>
                  <a:close/>
                  <a:moveTo>
                    <a:pt x="2452211" y="251936"/>
                  </a:moveTo>
                  <a:cubicBezTo>
                    <a:pt x="2452211" y="251936"/>
                    <a:pt x="2452211" y="250984"/>
                    <a:pt x="2451259" y="250984"/>
                  </a:cubicBezTo>
                  <a:cubicBezTo>
                    <a:pt x="2453164" y="246221"/>
                    <a:pt x="2454116" y="242411"/>
                    <a:pt x="2456021" y="238601"/>
                  </a:cubicBezTo>
                  <a:cubicBezTo>
                    <a:pt x="2457926" y="236696"/>
                    <a:pt x="2458879" y="233839"/>
                    <a:pt x="2460784" y="231934"/>
                  </a:cubicBezTo>
                  <a:cubicBezTo>
                    <a:pt x="2460784" y="232886"/>
                    <a:pt x="2459831" y="234791"/>
                    <a:pt x="2459831" y="235744"/>
                  </a:cubicBezTo>
                  <a:cubicBezTo>
                    <a:pt x="2458879" y="239554"/>
                    <a:pt x="2456974" y="243364"/>
                    <a:pt x="2456021" y="248126"/>
                  </a:cubicBezTo>
                  <a:cubicBezTo>
                    <a:pt x="2455069" y="248126"/>
                    <a:pt x="2454116" y="250031"/>
                    <a:pt x="2452211" y="251936"/>
                  </a:cubicBezTo>
                  <a:close/>
                  <a:moveTo>
                    <a:pt x="2457926" y="266224"/>
                  </a:moveTo>
                  <a:cubicBezTo>
                    <a:pt x="2457926" y="267176"/>
                    <a:pt x="2456974" y="267176"/>
                    <a:pt x="2456974" y="268129"/>
                  </a:cubicBezTo>
                  <a:cubicBezTo>
                    <a:pt x="2457926" y="267176"/>
                    <a:pt x="2457926" y="266224"/>
                    <a:pt x="2457926" y="266224"/>
                  </a:cubicBezTo>
                  <a:cubicBezTo>
                    <a:pt x="2457926" y="265271"/>
                    <a:pt x="2457926" y="266224"/>
                    <a:pt x="2457926" y="266224"/>
                  </a:cubicBezTo>
                  <a:close/>
                  <a:moveTo>
                    <a:pt x="2457926" y="374809"/>
                  </a:moveTo>
                  <a:cubicBezTo>
                    <a:pt x="2456974" y="371951"/>
                    <a:pt x="2456974" y="369094"/>
                    <a:pt x="2456021" y="367189"/>
                  </a:cubicBezTo>
                  <a:cubicBezTo>
                    <a:pt x="2456021" y="365284"/>
                    <a:pt x="2456021" y="364331"/>
                    <a:pt x="2456021" y="362426"/>
                  </a:cubicBezTo>
                  <a:cubicBezTo>
                    <a:pt x="2456021" y="355759"/>
                    <a:pt x="2456021" y="350044"/>
                    <a:pt x="2456021" y="344329"/>
                  </a:cubicBezTo>
                  <a:cubicBezTo>
                    <a:pt x="2456974" y="347186"/>
                    <a:pt x="2457926" y="350996"/>
                    <a:pt x="2458879" y="354806"/>
                  </a:cubicBezTo>
                  <a:cubicBezTo>
                    <a:pt x="2459831" y="361474"/>
                    <a:pt x="2458879" y="368141"/>
                    <a:pt x="2457926" y="374809"/>
                  </a:cubicBezTo>
                  <a:close/>
                  <a:moveTo>
                    <a:pt x="2456974" y="308134"/>
                  </a:moveTo>
                  <a:cubicBezTo>
                    <a:pt x="2456974" y="307181"/>
                    <a:pt x="2456974" y="306229"/>
                    <a:pt x="2456974" y="305276"/>
                  </a:cubicBezTo>
                  <a:cubicBezTo>
                    <a:pt x="2456974" y="304324"/>
                    <a:pt x="2457926" y="303371"/>
                    <a:pt x="2457926" y="302419"/>
                  </a:cubicBezTo>
                  <a:cubicBezTo>
                    <a:pt x="2458879" y="306229"/>
                    <a:pt x="2458879" y="310039"/>
                    <a:pt x="2459831" y="313849"/>
                  </a:cubicBezTo>
                  <a:cubicBezTo>
                    <a:pt x="2459831" y="314801"/>
                    <a:pt x="2459831" y="315754"/>
                    <a:pt x="2460784" y="317659"/>
                  </a:cubicBezTo>
                  <a:cubicBezTo>
                    <a:pt x="2458879" y="313849"/>
                    <a:pt x="2457926" y="310991"/>
                    <a:pt x="2456974" y="308134"/>
                  </a:cubicBezTo>
                  <a:close/>
                  <a:moveTo>
                    <a:pt x="2458879" y="290036"/>
                  </a:moveTo>
                  <a:cubicBezTo>
                    <a:pt x="2458879" y="289084"/>
                    <a:pt x="2459831" y="288131"/>
                    <a:pt x="2459831" y="287179"/>
                  </a:cubicBezTo>
                  <a:cubicBezTo>
                    <a:pt x="2460784" y="284321"/>
                    <a:pt x="2461736" y="280511"/>
                    <a:pt x="2463641" y="277654"/>
                  </a:cubicBezTo>
                  <a:cubicBezTo>
                    <a:pt x="2464594" y="278606"/>
                    <a:pt x="2464594" y="280511"/>
                    <a:pt x="2465546" y="281464"/>
                  </a:cubicBezTo>
                  <a:cubicBezTo>
                    <a:pt x="2463641" y="284321"/>
                    <a:pt x="2461736" y="287179"/>
                    <a:pt x="2458879" y="290036"/>
                  </a:cubicBezTo>
                  <a:close/>
                  <a:moveTo>
                    <a:pt x="2464594" y="305276"/>
                  </a:moveTo>
                  <a:cubicBezTo>
                    <a:pt x="2463641" y="301466"/>
                    <a:pt x="2462689" y="298609"/>
                    <a:pt x="2460784" y="295751"/>
                  </a:cubicBezTo>
                  <a:cubicBezTo>
                    <a:pt x="2460784" y="294799"/>
                    <a:pt x="2461736" y="293846"/>
                    <a:pt x="2462689" y="292894"/>
                  </a:cubicBezTo>
                  <a:cubicBezTo>
                    <a:pt x="2464594" y="290036"/>
                    <a:pt x="2465546" y="287179"/>
                    <a:pt x="2466499" y="285274"/>
                  </a:cubicBezTo>
                  <a:cubicBezTo>
                    <a:pt x="2465546" y="290989"/>
                    <a:pt x="2465546" y="297656"/>
                    <a:pt x="2464594" y="305276"/>
                  </a:cubicBezTo>
                  <a:close/>
                  <a:moveTo>
                    <a:pt x="2467451" y="274796"/>
                  </a:moveTo>
                  <a:cubicBezTo>
                    <a:pt x="2467451" y="273844"/>
                    <a:pt x="2466499" y="272891"/>
                    <a:pt x="2466499" y="272891"/>
                  </a:cubicBezTo>
                  <a:cubicBezTo>
                    <a:pt x="2467451" y="270986"/>
                    <a:pt x="2467451" y="270034"/>
                    <a:pt x="2468404" y="268129"/>
                  </a:cubicBezTo>
                  <a:cubicBezTo>
                    <a:pt x="2468404" y="270034"/>
                    <a:pt x="2467451" y="272891"/>
                    <a:pt x="2467451" y="274796"/>
                  </a:cubicBezTo>
                  <a:close/>
                  <a:moveTo>
                    <a:pt x="2471261" y="233839"/>
                  </a:moveTo>
                  <a:cubicBezTo>
                    <a:pt x="2471261" y="233839"/>
                    <a:pt x="2471261" y="237649"/>
                    <a:pt x="2470309" y="245269"/>
                  </a:cubicBezTo>
                  <a:cubicBezTo>
                    <a:pt x="2470309" y="245269"/>
                    <a:pt x="2470309" y="246221"/>
                    <a:pt x="2469356" y="246221"/>
                  </a:cubicBezTo>
                  <a:cubicBezTo>
                    <a:pt x="2466499" y="251936"/>
                    <a:pt x="2462689" y="256699"/>
                    <a:pt x="2459831" y="263366"/>
                  </a:cubicBezTo>
                  <a:cubicBezTo>
                    <a:pt x="2459831" y="262414"/>
                    <a:pt x="2458879" y="262414"/>
                    <a:pt x="2458879" y="261461"/>
                  </a:cubicBezTo>
                  <a:cubicBezTo>
                    <a:pt x="2459831" y="256699"/>
                    <a:pt x="2460784" y="250984"/>
                    <a:pt x="2461736" y="247174"/>
                  </a:cubicBezTo>
                  <a:cubicBezTo>
                    <a:pt x="2461736" y="246221"/>
                    <a:pt x="2462689" y="246221"/>
                    <a:pt x="2462689" y="245269"/>
                  </a:cubicBezTo>
                  <a:cubicBezTo>
                    <a:pt x="2466499" y="239554"/>
                    <a:pt x="2469356" y="234791"/>
                    <a:pt x="2472214" y="231934"/>
                  </a:cubicBezTo>
                  <a:cubicBezTo>
                    <a:pt x="2472214" y="231934"/>
                    <a:pt x="2472214" y="231934"/>
                    <a:pt x="2472214" y="231934"/>
                  </a:cubicBezTo>
                  <a:cubicBezTo>
                    <a:pt x="2472214" y="234791"/>
                    <a:pt x="2473166" y="237649"/>
                    <a:pt x="2473166" y="240506"/>
                  </a:cubicBezTo>
                  <a:cubicBezTo>
                    <a:pt x="2473166" y="241459"/>
                    <a:pt x="2472214" y="241459"/>
                    <a:pt x="2472214" y="242411"/>
                  </a:cubicBezTo>
                  <a:cubicBezTo>
                    <a:pt x="2472214" y="236696"/>
                    <a:pt x="2471261" y="233839"/>
                    <a:pt x="2471261" y="233839"/>
                  </a:cubicBezTo>
                  <a:close/>
                  <a:moveTo>
                    <a:pt x="2467451" y="211931"/>
                  </a:moveTo>
                  <a:cubicBezTo>
                    <a:pt x="2466499" y="212884"/>
                    <a:pt x="2466499" y="212884"/>
                    <a:pt x="2465546" y="213836"/>
                  </a:cubicBezTo>
                  <a:cubicBezTo>
                    <a:pt x="2465546" y="212884"/>
                    <a:pt x="2465546" y="212884"/>
                    <a:pt x="2466499" y="211931"/>
                  </a:cubicBezTo>
                  <a:cubicBezTo>
                    <a:pt x="2467451" y="210026"/>
                    <a:pt x="2467451" y="209074"/>
                    <a:pt x="2468404" y="208121"/>
                  </a:cubicBezTo>
                  <a:cubicBezTo>
                    <a:pt x="2468404" y="209074"/>
                    <a:pt x="2468404" y="210026"/>
                    <a:pt x="2468404" y="210979"/>
                  </a:cubicBezTo>
                  <a:cubicBezTo>
                    <a:pt x="2468404" y="210979"/>
                    <a:pt x="2468404" y="210979"/>
                    <a:pt x="2467451" y="211931"/>
                  </a:cubicBezTo>
                  <a:cubicBezTo>
                    <a:pt x="2468404" y="210979"/>
                    <a:pt x="2468404" y="210979"/>
                    <a:pt x="2467451" y="211931"/>
                  </a:cubicBezTo>
                  <a:cubicBezTo>
                    <a:pt x="2468404" y="210979"/>
                    <a:pt x="2467451" y="210979"/>
                    <a:pt x="2467451" y="211931"/>
                  </a:cubicBezTo>
                  <a:close/>
                  <a:moveTo>
                    <a:pt x="2470309" y="218599"/>
                  </a:moveTo>
                  <a:cubicBezTo>
                    <a:pt x="2471261" y="222409"/>
                    <a:pt x="2471261" y="226219"/>
                    <a:pt x="2472214" y="230029"/>
                  </a:cubicBezTo>
                  <a:cubicBezTo>
                    <a:pt x="2472214" y="230029"/>
                    <a:pt x="2472214" y="230029"/>
                    <a:pt x="2472214" y="230029"/>
                  </a:cubicBezTo>
                  <a:cubicBezTo>
                    <a:pt x="2470309" y="231934"/>
                    <a:pt x="2467451" y="234791"/>
                    <a:pt x="2463641" y="237649"/>
                  </a:cubicBezTo>
                  <a:cubicBezTo>
                    <a:pt x="2463641" y="236696"/>
                    <a:pt x="2463641" y="235744"/>
                    <a:pt x="2464594" y="234791"/>
                  </a:cubicBezTo>
                  <a:cubicBezTo>
                    <a:pt x="2465546" y="230981"/>
                    <a:pt x="2465546" y="227171"/>
                    <a:pt x="2466499" y="224314"/>
                  </a:cubicBezTo>
                  <a:cubicBezTo>
                    <a:pt x="2466499" y="224314"/>
                    <a:pt x="2466499" y="224314"/>
                    <a:pt x="2466499" y="224314"/>
                  </a:cubicBezTo>
                  <a:cubicBezTo>
                    <a:pt x="2467451" y="223361"/>
                    <a:pt x="2468404" y="220504"/>
                    <a:pt x="2470309" y="218599"/>
                  </a:cubicBezTo>
                  <a:close/>
                  <a:moveTo>
                    <a:pt x="2477929" y="223361"/>
                  </a:moveTo>
                  <a:cubicBezTo>
                    <a:pt x="2476976" y="219551"/>
                    <a:pt x="2476024" y="215741"/>
                    <a:pt x="2475071" y="212884"/>
                  </a:cubicBezTo>
                  <a:cubicBezTo>
                    <a:pt x="2476024" y="211931"/>
                    <a:pt x="2476976" y="210026"/>
                    <a:pt x="2477929" y="209074"/>
                  </a:cubicBezTo>
                  <a:cubicBezTo>
                    <a:pt x="2477929" y="211931"/>
                    <a:pt x="2477929" y="214789"/>
                    <a:pt x="2477929" y="217646"/>
                  </a:cubicBezTo>
                  <a:cubicBezTo>
                    <a:pt x="2477929" y="219551"/>
                    <a:pt x="2477929" y="221456"/>
                    <a:pt x="2477929" y="223361"/>
                  </a:cubicBezTo>
                  <a:close/>
                  <a:moveTo>
                    <a:pt x="2473166" y="206216"/>
                  </a:moveTo>
                  <a:cubicBezTo>
                    <a:pt x="2473166" y="205264"/>
                    <a:pt x="2472214" y="204311"/>
                    <a:pt x="2472214" y="203359"/>
                  </a:cubicBezTo>
                  <a:cubicBezTo>
                    <a:pt x="2472214" y="202406"/>
                    <a:pt x="2472214" y="202406"/>
                    <a:pt x="2471261" y="201454"/>
                  </a:cubicBezTo>
                  <a:cubicBezTo>
                    <a:pt x="2472214" y="199549"/>
                    <a:pt x="2473166" y="197644"/>
                    <a:pt x="2474119" y="195739"/>
                  </a:cubicBezTo>
                  <a:cubicBezTo>
                    <a:pt x="2475071" y="193834"/>
                    <a:pt x="2476976" y="190976"/>
                    <a:pt x="2477929" y="189071"/>
                  </a:cubicBezTo>
                  <a:cubicBezTo>
                    <a:pt x="2477929" y="192881"/>
                    <a:pt x="2477929" y="197644"/>
                    <a:pt x="2477929" y="201454"/>
                  </a:cubicBezTo>
                  <a:cubicBezTo>
                    <a:pt x="2476024" y="203359"/>
                    <a:pt x="2474119" y="205264"/>
                    <a:pt x="2473166" y="206216"/>
                  </a:cubicBezTo>
                  <a:close/>
                  <a:moveTo>
                    <a:pt x="2473166" y="255746"/>
                  </a:moveTo>
                  <a:cubicBezTo>
                    <a:pt x="2474119" y="254794"/>
                    <a:pt x="2474119" y="252889"/>
                    <a:pt x="2475071" y="251936"/>
                  </a:cubicBezTo>
                  <a:cubicBezTo>
                    <a:pt x="2476024" y="256699"/>
                    <a:pt x="2476024" y="261461"/>
                    <a:pt x="2476976" y="266224"/>
                  </a:cubicBezTo>
                  <a:cubicBezTo>
                    <a:pt x="2477929" y="274796"/>
                    <a:pt x="2478881" y="283369"/>
                    <a:pt x="2479834" y="292894"/>
                  </a:cubicBezTo>
                  <a:cubicBezTo>
                    <a:pt x="2479834" y="293846"/>
                    <a:pt x="2479834" y="295751"/>
                    <a:pt x="2479834" y="296704"/>
                  </a:cubicBezTo>
                  <a:cubicBezTo>
                    <a:pt x="2479834" y="296704"/>
                    <a:pt x="2479834" y="295751"/>
                    <a:pt x="2479834" y="295751"/>
                  </a:cubicBezTo>
                  <a:cubicBezTo>
                    <a:pt x="2477929" y="292894"/>
                    <a:pt x="2476976" y="290036"/>
                    <a:pt x="2475071" y="288131"/>
                  </a:cubicBezTo>
                  <a:cubicBezTo>
                    <a:pt x="2475071" y="275749"/>
                    <a:pt x="2474119" y="264319"/>
                    <a:pt x="2473166" y="255746"/>
                  </a:cubicBezTo>
                  <a:close/>
                  <a:moveTo>
                    <a:pt x="2481739" y="324326"/>
                  </a:moveTo>
                  <a:cubicBezTo>
                    <a:pt x="2481739" y="325279"/>
                    <a:pt x="2480786" y="325279"/>
                    <a:pt x="2480786" y="326231"/>
                  </a:cubicBezTo>
                  <a:cubicBezTo>
                    <a:pt x="2479834" y="330041"/>
                    <a:pt x="2477929" y="334804"/>
                    <a:pt x="2476024" y="340519"/>
                  </a:cubicBezTo>
                  <a:cubicBezTo>
                    <a:pt x="2476024" y="329089"/>
                    <a:pt x="2476024" y="317659"/>
                    <a:pt x="2476024" y="308134"/>
                  </a:cubicBezTo>
                  <a:cubicBezTo>
                    <a:pt x="2476024" y="308134"/>
                    <a:pt x="2476024" y="308134"/>
                    <a:pt x="2476024" y="308134"/>
                  </a:cubicBezTo>
                  <a:cubicBezTo>
                    <a:pt x="2476976" y="311944"/>
                    <a:pt x="2478881" y="314801"/>
                    <a:pt x="2479834" y="318611"/>
                  </a:cubicBezTo>
                  <a:cubicBezTo>
                    <a:pt x="2479834" y="319564"/>
                    <a:pt x="2480786" y="321469"/>
                    <a:pt x="2480786" y="322421"/>
                  </a:cubicBezTo>
                  <a:cubicBezTo>
                    <a:pt x="2480786" y="322421"/>
                    <a:pt x="2481739" y="323374"/>
                    <a:pt x="2481739" y="324326"/>
                  </a:cubicBezTo>
                  <a:cubicBezTo>
                    <a:pt x="2481739" y="324326"/>
                    <a:pt x="2481739" y="324326"/>
                    <a:pt x="2481739" y="324326"/>
                  </a:cubicBezTo>
                  <a:close/>
                  <a:moveTo>
                    <a:pt x="2436971" y="215741"/>
                  </a:moveTo>
                  <a:cubicBezTo>
                    <a:pt x="2440781" y="209074"/>
                    <a:pt x="2444591" y="202406"/>
                    <a:pt x="2447449" y="195739"/>
                  </a:cubicBezTo>
                  <a:cubicBezTo>
                    <a:pt x="2451259" y="190024"/>
                    <a:pt x="2454116" y="184309"/>
                    <a:pt x="2457926" y="178594"/>
                  </a:cubicBezTo>
                  <a:cubicBezTo>
                    <a:pt x="2464594" y="168116"/>
                    <a:pt x="2469356" y="157639"/>
                    <a:pt x="2475071" y="150971"/>
                  </a:cubicBezTo>
                  <a:cubicBezTo>
                    <a:pt x="2477929" y="146209"/>
                    <a:pt x="2480786" y="142399"/>
                    <a:pt x="2482691" y="138589"/>
                  </a:cubicBezTo>
                  <a:cubicBezTo>
                    <a:pt x="2481739" y="142399"/>
                    <a:pt x="2481739" y="148114"/>
                    <a:pt x="2480786" y="154781"/>
                  </a:cubicBezTo>
                  <a:cubicBezTo>
                    <a:pt x="2479834" y="162401"/>
                    <a:pt x="2479834" y="170974"/>
                    <a:pt x="2478881" y="181451"/>
                  </a:cubicBezTo>
                  <a:cubicBezTo>
                    <a:pt x="2476024" y="185261"/>
                    <a:pt x="2473166" y="189071"/>
                    <a:pt x="2470309" y="193834"/>
                  </a:cubicBezTo>
                  <a:cubicBezTo>
                    <a:pt x="2470309" y="193834"/>
                    <a:pt x="2470309" y="194786"/>
                    <a:pt x="2469356" y="194786"/>
                  </a:cubicBezTo>
                  <a:cubicBezTo>
                    <a:pt x="2466499" y="186214"/>
                    <a:pt x="2465546" y="181451"/>
                    <a:pt x="2465546" y="181451"/>
                  </a:cubicBezTo>
                  <a:cubicBezTo>
                    <a:pt x="2465546" y="181451"/>
                    <a:pt x="2466499" y="187166"/>
                    <a:pt x="2467451" y="197644"/>
                  </a:cubicBezTo>
                  <a:cubicBezTo>
                    <a:pt x="2465546" y="201454"/>
                    <a:pt x="2462689" y="205264"/>
                    <a:pt x="2460784" y="209074"/>
                  </a:cubicBezTo>
                  <a:cubicBezTo>
                    <a:pt x="2456021" y="216694"/>
                    <a:pt x="2452211" y="225266"/>
                    <a:pt x="2447449" y="234791"/>
                  </a:cubicBezTo>
                  <a:cubicBezTo>
                    <a:pt x="2443639" y="238601"/>
                    <a:pt x="2440781" y="243364"/>
                    <a:pt x="2436971" y="247174"/>
                  </a:cubicBezTo>
                  <a:cubicBezTo>
                    <a:pt x="2436971" y="248126"/>
                    <a:pt x="2436019" y="248126"/>
                    <a:pt x="2436019" y="249079"/>
                  </a:cubicBezTo>
                  <a:cubicBezTo>
                    <a:pt x="2436019" y="249079"/>
                    <a:pt x="2436019" y="249079"/>
                    <a:pt x="2436019" y="249079"/>
                  </a:cubicBezTo>
                  <a:cubicBezTo>
                    <a:pt x="2435066" y="240506"/>
                    <a:pt x="2434114" y="232886"/>
                    <a:pt x="2433161" y="225266"/>
                  </a:cubicBezTo>
                  <a:cubicBezTo>
                    <a:pt x="2433161" y="221456"/>
                    <a:pt x="2435066" y="218599"/>
                    <a:pt x="2436971" y="215741"/>
                  </a:cubicBezTo>
                  <a:close/>
                  <a:moveTo>
                    <a:pt x="2416016" y="313849"/>
                  </a:moveTo>
                  <a:cubicBezTo>
                    <a:pt x="2416016" y="313849"/>
                    <a:pt x="2416016" y="313849"/>
                    <a:pt x="2416016" y="313849"/>
                  </a:cubicBezTo>
                  <a:cubicBezTo>
                    <a:pt x="2415064" y="310039"/>
                    <a:pt x="2414111" y="307181"/>
                    <a:pt x="2413159" y="304324"/>
                  </a:cubicBezTo>
                  <a:cubicBezTo>
                    <a:pt x="2414111" y="303371"/>
                    <a:pt x="2414111" y="302419"/>
                    <a:pt x="2415064" y="301466"/>
                  </a:cubicBezTo>
                  <a:cubicBezTo>
                    <a:pt x="2415064" y="302419"/>
                    <a:pt x="2415064" y="302419"/>
                    <a:pt x="2415064" y="303371"/>
                  </a:cubicBezTo>
                  <a:cubicBezTo>
                    <a:pt x="2415064" y="306229"/>
                    <a:pt x="2416016" y="310039"/>
                    <a:pt x="2416016" y="313849"/>
                  </a:cubicBezTo>
                  <a:cubicBezTo>
                    <a:pt x="2416016" y="313849"/>
                    <a:pt x="2416016" y="313849"/>
                    <a:pt x="2416016" y="313849"/>
                  </a:cubicBezTo>
                  <a:close/>
                  <a:moveTo>
                    <a:pt x="2422684" y="288131"/>
                  </a:moveTo>
                  <a:cubicBezTo>
                    <a:pt x="2422684" y="290036"/>
                    <a:pt x="2422684" y="291941"/>
                    <a:pt x="2422684" y="293846"/>
                  </a:cubicBezTo>
                  <a:cubicBezTo>
                    <a:pt x="2421731" y="295751"/>
                    <a:pt x="2421731" y="297656"/>
                    <a:pt x="2420779" y="299561"/>
                  </a:cubicBezTo>
                  <a:cubicBezTo>
                    <a:pt x="2419826" y="297656"/>
                    <a:pt x="2419826" y="295751"/>
                    <a:pt x="2418874" y="293846"/>
                  </a:cubicBezTo>
                  <a:cubicBezTo>
                    <a:pt x="2419826" y="292894"/>
                    <a:pt x="2419826" y="291941"/>
                    <a:pt x="2420779" y="290989"/>
                  </a:cubicBezTo>
                  <a:cubicBezTo>
                    <a:pt x="2421731" y="290036"/>
                    <a:pt x="2421731" y="289084"/>
                    <a:pt x="2422684" y="288131"/>
                  </a:cubicBezTo>
                  <a:close/>
                  <a:moveTo>
                    <a:pt x="2414111" y="259556"/>
                  </a:moveTo>
                  <a:cubicBezTo>
                    <a:pt x="2416016" y="255746"/>
                    <a:pt x="2417921" y="251936"/>
                    <a:pt x="2419826" y="248126"/>
                  </a:cubicBezTo>
                  <a:cubicBezTo>
                    <a:pt x="2419826" y="253841"/>
                    <a:pt x="2420779" y="259556"/>
                    <a:pt x="2420779" y="266224"/>
                  </a:cubicBezTo>
                  <a:cubicBezTo>
                    <a:pt x="2417921" y="270034"/>
                    <a:pt x="2415064" y="273844"/>
                    <a:pt x="2412206" y="277654"/>
                  </a:cubicBezTo>
                  <a:cubicBezTo>
                    <a:pt x="2411254" y="276701"/>
                    <a:pt x="2411254" y="275749"/>
                    <a:pt x="2410301" y="273844"/>
                  </a:cubicBezTo>
                  <a:cubicBezTo>
                    <a:pt x="2409349" y="272891"/>
                    <a:pt x="2409349" y="271939"/>
                    <a:pt x="2408396" y="270986"/>
                  </a:cubicBezTo>
                  <a:cubicBezTo>
                    <a:pt x="2410301" y="268129"/>
                    <a:pt x="2412206" y="263366"/>
                    <a:pt x="2414111" y="259556"/>
                  </a:cubicBezTo>
                  <a:close/>
                  <a:moveTo>
                    <a:pt x="2406491" y="275749"/>
                  </a:moveTo>
                  <a:cubicBezTo>
                    <a:pt x="2406491" y="275749"/>
                    <a:pt x="2406491" y="275749"/>
                    <a:pt x="2406491" y="275749"/>
                  </a:cubicBezTo>
                  <a:cubicBezTo>
                    <a:pt x="2407444" y="277654"/>
                    <a:pt x="2408396" y="279559"/>
                    <a:pt x="2409349" y="282416"/>
                  </a:cubicBezTo>
                  <a:cubicBezTo>
                    <a:pt x="2408396" y="283369"/>
                    <a:pt x="2407444" y="285274"/>
                    <a:pt x="2406491" y="286226"/>
                  </a:cubicBezTo>
                  <a:cubicBezTo>
                    <a:pt x="2405539" y="284321"/>
                    <a:pt x="2405539" y="282416"/>
                    <a:pt x="2404586" y="280511"/>
                  </a:cubicBezTo>
                  <a:cubicBezTo>
                    <a:pt x="2405539" y="278606"/>
                    <a:pt x="2405539" y="276701"/>
                    <a:pt x="2406491" y="275749"/>
                  </a:cubicBezTo>
                  <a:close/>
                  <a:moveTo>
                    <a:pt x="2405539" y="317659"/>
                  </a:moveTo>
                  <a:cubicBezTo>
                    <a:pt x="2406491" y="321469"/>
                    <a:pt x="2407444" y="324326"/>
                    <a:pt x="2408396" y="328136"/>
                  </a:cubicBezTo>
                  <a:cubicBezTo>
                    <a:pt x="2408396" y="330041"/>
                    <a:pt x="2408396" y="331946"/>
                    <a:pt x="2408396" y="334804"/>
                  </a:cubicBezTo>
                  <a:cubicBezTo>
                    <a:pt x="2408396" y="333851"/>
                    <a:pt x="2407444" y="332899"/>
                    <a:pt x="2407444" y="332899"/>
                  </a:cubicBezTo>
                  <a:cubicBezTo>
                    <a:pt x="2407444" y="332899"/>
                    <a:pt x="2407444" y="335756"/>
                    <a:pt x="2407444" y="340519"/>
                  </a:cubicBezTo>
                  <a:cubicBezTo>
                    <a:pt x="2406491" y="344329"/>
                    <a:pt x="2405539" y="347186"/>
                    <a:pt x="2404586" y="350996"/>
                  </a:cubicBezTo>
                  <a:cubicBezTo>
                    <a:pt x="2403634" y="355759"/>
                    <a:pt x="2401729" y="359569"/>
                    <a:pt x="2400776" y="364331"/>
                  </a:cubicBezTo>
                  <a:cubicBezTo>
                    <a:pt x="2399824" y="357664"/>
                    <a:pt x="2398871" y="350044"/>
                    <a:pt x="2398871" y="343376"/>
                  </a:cubicBezTo>
                  <a:cubicBezTo>
                    <a:pt x="2398871" y="340519"/>
                    <a:pt x="2397919" y="336709"/>
                    <a:pt x="2397919" y="333851"/>
                  </a:cubicBezTo>
                  <a:cubicBezTo>
                    <a:pt x="2397919" y="332899"/>
                    <a:pt x="2397919" y="331946"/>
                    <a:pt x="2398871" y="330994"/>
                  </a:cubicBezTo>
                  <a:cubicBezTo>
                    <a:pt x="2399824" y="325279"/>
                    <a:pt x="2402681" y="321469"/>
                    <a:pt x="2405539" y="317659"/>
                  </a:cubicBezTo>
                  <a:close/>
                  <a:moveTo>
                    <a:pt x="2398871" y="291941"/>
                  </a:moveTo>
                  <a:cubicBezTo>
                    <a:pt x="2398871" y="292894"/>
                    <a:pt x="2399824" y="293846"/>
                    <a:pt x="2399824" y="295751"/>
                  </a:cubicBezTo>
                  <a:cubicBezTo>
                    <a:pt x="2397919" y="298609"/>
                    <a:pt x="2396014" y="300514"/>
                    <a:pt x="2394109" y="303371"/>
                  </a:cubicBezTo>
                  <a:cubicBezTo>
                    <a:pt x="2394109" y="303371"/>
                    <a:pt x="2394109" y="302419"/>
                    <a:pt x="2394109" y="302419"/>
                  </a:cubicBezTo>
                  <a:cubicBezTo>
                    <a:pt x="2396014" y="298609"/>
                    <a:pt x="2397919" y="295751"/>
                    <a:pt x="2398871" y="291941"/>
                  </a:cubicBezTo>
                  <a:close/>
                  <a:moveTo>
                    <a:pt x="2393156" y="267176"/>
                  </a:moveTo>
                  <a:cubicBezTo>
                    <a:pt x="2392204" y="268129"/>
                    <a:pt x="2392204" y="269081"/>
                    <a:pt x="2391251" y="270034"/>
                  </a:cubicBezTo>
                  <a:cubicBezTo>
                    <a:pt x="2390299" y="264319"/>
                    <a:pt x="2390299" y="259556"/>
                    <a:pt x="2389346" y="254794"/>
                  </a:cubicBezTo>
                  <a:cubicBezTo>
                    <a:pt x="2391251" y="258604"/>
                    <a:pt x="2392204" y="263366"/>
                    <a:pt x="2393156" y="267176"/>
                  </a:cubicBezTo>
                  <a:close/>
                  <a:moveTo>
                    <a:pt x="2351246" y="278606"/>
                  </a:moveTo>
                  <a:cubicBezTo>
                    <a:pt x="2351246" y="277654"/>
                    <a:pt x="2351246" y="277654"/>
                    <a:pt x="2351246" y="278606"/>
                  </a:cubicBezTo>
                  <a:lnTo>
                    <a:pt x="2351246" y="275749"/>
                  </a:lnTo>
                  <a:cubicBezTo>
                    <a:pt x="2351246" y="276701"/>
                    <a:pt x="2351246" y="277654"/>
                    <a:pt x="2351246" y="278606"/>
                  </a:cubicBezTo>
                  <a:close/>
                  <a:moveTo>
                    <a:pt x="2378869" y="295751"/>
                  </a:moveTo>
                  <a:cubicBezTo>
                    <a:pt x="2377916" y="298609"/>
                    <a:pt x="2376011" y="300514"/>
                    <a:pt x="2375059" y="303371"/>
                  </a:cubicBezTo>
                  <a:cubicBezTo>
                    <a:pt x="2375059" y="304324"/>
                    <a:pt x="2374106" y="304324"/>
                    <a:pt x="2374106" y="305276"/>
                  </a:cubicBezTo>
                  <a:cubicBezTo>
                    <a:pt x="2374106" y="305276"/>
                    <a:pt x="2374106" y="304324"/>
                    <a:pt x="2374106" y="304324"/>
                  </a:cubicBezTo>
                  <a:cubicBezTo>
                    <a:pt x="2376964" y="261461"/>
                    <a:pt x="2376011" y="231934"/>
                    <a:pt x="2376011" y="231934"/>
                  </a:cubicBezTo>
                  <a:cubicBezTo>
                    <a:pt x="2376011" y="231934"/>
                    <a:pt x="2372201" y="249079"/>
                    <a:pt x="2366486" y="277654"/>
                  </a:cubicBezTo>
                  <a:cubicBezTo>
                    <a:pt x="2365534" y="275749"/>
                    <a:pt x="2365534" y="273844"/>
                    <a:pt x="2364581" y="272891"/>
                  </a:cubicBezTo>
                  <a:cubicBezTo>
                    <a:pt x="2363629" y="270034"/>
                    <a:pt x="2362676" y="267176"/>
                    <a:pt x="2361724" y="264319"/>
                  </a:cubicBezTo>
                  <a:cubicBezTo>
                    <a:pt x="2361724" y="257651"/>
                    <a:pt x="2361724" y="250984"/>
                    <a:pt x="2361724" y="245269"/>
                  </a:cubicBezTo>
                  <a:lnTo>
                    <a:pt x="2365534" y="234791"/>
                  </a:lnTo>
                  <a:lnTo>
                    <a:pt x="2376011" y="211931"/>
                  </a:lnTo>
                  <a:cubicBezTo>
                    <a:pt x="2376011" y="221456"/>
                    <a:pt x="2376011" y="232886"/>
                    <a:pt x="2376011" y="244316"/>
                  </a:cubicBezTo>
                  <a:cubicBezTo>
                    <a:pt x="2376011" y="258604"/>
                    <a:pt x="2376011" y="274796"/>
                    <a:pt x="2376964" y="290989"/>
                  </a:cubicBezTo>
                  <a:cubicBezTo>
                    <a:pt x="2378869" y="292894"/>
                    <a:pt x="2378869" y="293846"/>
                    <a:pt x="2378869" y="295751"/>
                  </a:cubicBezTo>
                  <a:close/>
                  <a:moveTo>
                    <a:pt x="2362676" y="180499"/>
                  </a:moveTo>
                  <a:cubicBezTo>
                    <a:pt x="2364581" y="175736"/>
                    <a:pt x="2366486" y="170974"/>
                    <a:pt x="2368391" y="166211"/>
                  </a:cubicBezTo>
                  <a:cubicBezTo>
                    <a:pt x="2372201" y="157639"/>
                    <a:pt x="2375059" y="149066"/>
                    <a:pt x="2377916" y="140494"/>
                  </a:cubicBezTo>
                  <a:cubicBezTo>
                    <a:pt x="2377916" y="141446"/>
                    <a:pt x="2378869" y="142399"/>
                    <a:pt x="2378869" y="143351"/>
                  </a:cubicBezTo>
                  <a:cubicBezTo>
                    <a:pt x="2379821" y="146209"/>
                    <a:pt x="2379821" y="149066"/>
                    <a:pt x="2378869" y="152876"/>
                  </a:cubicBezTo>
                  <a:cubicBezTo>
                    <a:pt x="2377916" y="149066"/>
                    <a:pt x="2377916" y="147161"/>
                    <a:pt x="2377916" y="147161"/>
                  </a:cubicBezTo>
                  <a:cubicBezTo>
                    <a:pt x="2377916" y="147161"/>
                    <a:pt x="2377916" y="156686"/>
                    <a:pt x="2377916" y="173831"/>
                  </a:cubicBezTo>
                  <a:cubicBezTo>
                    <a:pt x="2377916" y="182404"/>
                    <a:pt x="2377916" y="191929"/>
                    <a:pt x="2377916" y="203359"/>
                  </a:cubicBezTo>
                  <a:cubicBezTo>
                    <a:pt x="2373154" y="210979"/>
                    <a:pt x="2368391" y="219551"/>
                    <a:pt x="2362676" y="227171"/>
                  </a:cubicBezTo>
                  <a:cubicBezTo>
                    <a:pt x="2361724" y="206216"/>
                    <a:pt x="2361724" y="190976"/>
                    <a:pt x="2360771" y="185261"/>
                  </a:cubicBezTo>
                  <a:cubicBezTo>
                    <a:pt x="2361724" y="183356"/>
                    <a:pt x="2361724" y="182404"/>
                    <a:pt x="2362676" y="180499"/>
                  </a:cubicBezTo>
                  <a:close/>
                  <a:moveTo>
                    <a:pt x="2340769" y="241459"/>
                  </a:moveTo>
                  <a:cubicBezTo>
                    <a:pt x="2341721" y="239554"/>
                    <a:pt x="2341721" y="237649"/>
                    <a:pt x="2342674" y="235744"/>
                  </a:cubicBezTo>
                  <a:cubicBezTo>
                    <a:pt x="2344579" y="230981"/>
                    <a:pt x="2345531" y="226219"/>
                    <a:pt x="2347436" y="221456"/>
                  </a:cubicBezTo>
                  <a:cubicBezTo>
                    <a:pt x="2352199" y="210026"/>
                    <a:pt x="2356009" y="198596"/>
                    <a:pt x="2359819" y="187166"/>
                  </a:cubicBezTo>
                  <a:cubicBezTo>
                    <a:pt x="2358866" y="194786"/>
                    <a:pt x="2356961" y="212884"/>
                    <a:pt x="2355056" y="236696"/>
                  </a:cubicBezTo>
                  <a:cubicBezTo>
                    <a:pt x="2354104" y="232886"/>
                    <a:pt x="2353151" y="230029"/>
                    <a:pt x="2353151" y="230029"/>
                  </a:cubicBezTo>
                  <a:cubicBezTo>
                    <a:pt x="2353151" y="230029"/>
                    <a:pt x="2354104" y="233839"/>
                    <a:pt x="2354104" y="241459"/>
                  </a:cubicBezTo>
                  <a:cubicBezTo>
                    <a:pt x="2351246" y="247174"/>
                    <a:pt x="2347436" y="253841"/>
                    <a:pt x="2344579" y="259556"/>
                  </a:cubicBezTo>
                  <a:cubicBezTo>
                    <a:pt x="2344579" y="259556"/>
                    <a:pt x="2344579" y="259556"/>
                    <a:pt x="2344579" y="259556"/>
                  </a:cubicBezTo>
                  <a:cubicBezTo>
                    <a:pt x="2342674" y="254794"/>
                    <a:pt x="2340769" y="250031"/>
                    <a:pt x="2339816" y="245269"/>
                  </a:cubicBezTo>
                  <a:lnTo>
                    <a:pt x="2340769" y="241459"/>
                  </a:lnTo>
                  <a:close/>
                  <a:moveTo>
                    <a:pt x="2344579" y="320516"/>
                  </a:moveTo>
                  <a:cubicBezTo>
                    <a:pt x="2342674" y="316706"/>
                    <a:pt x="2340769" y="313849"/>
                    <a:pt x="2339816" y="310991"/>
                  </a:cubicBezTo>
                  <a:lnTo>
                    <a:pt x="2339816" y="310039"/>
                  </a:lnTo>
                  <a:cubicBezTo>
                    <a:pt x="2341721" y="313849"/>
                    <a:pt x="2343626" y="317659"/>
                    <a:pt x="2344579" y="320516"/>
                  </a:cubicBezTo>
                  <a:close/>
                  <a:moveTo>
                    <a:pt x="2337911" y="317659"/>
                  </a:moveTo>
                  <a:cubicBezTo>
                    <a:pt x="2338864" y="320516"/>
                    <a:pt x="2339816" y="324326"/>
                    <a:pt x="2341721" y="327184"/>
                  </a:cubicBezTo>
                  <a:lnTo>
                    <a:pt x="2336959" y="321469"/>
                  </a:lnTo>
                  <a:lnTo>
                    <a:pt x="2337911" y="317659"/>
                  </a:lnTo>
                  <a:close/>
                  <a:moveTo>
                    <a:pt x="2332196" y="280511"/>
                  </a:moveTo>
                  <a:cubicBezTo>
                    <a:pt x="2332196" y="281464"/>
                    <a:pt x="2333149" y="282416"/>
                    <a:pt x="2333149" y="283369"/>
                  </a:cubicBezTo>
                  <a:cubicBezTo>
                    <a:pt x="2333149" y="282416"/>
                    <a:pt x="2332196" y="282416"/>
                    <a:pt x="2332196" y="281464"/>
                  </a:cubicBezTo>
                  <a:lnTo>
                    <a:pt x="2332196" y="280511"/>
                  </a:lnTo>
                  <a:close/>
                  <a:moveTo>
                    <a:pt x="2330291" y="289084"/>
                  </a:moveTo>
                  <a:cubicBezTo>
                    <a:pt x="2330291" y="290036"/>
                    <a:pt x="2331244" y="290989"/>
                    <a:pt x="2331244" y="290989"/>
                  </a:cubicBezTo>
                  <a:lnTo>
                    <a:pt x="2330291" y="292894"/>
                  </a:lnTo>
                  <a:cubicBezTo>
                    <a:pt x="2330291" y="291941"/>
                    <a:pt x="2329339" y="291941"/>
                    <a:pt x="2329339" y="290989"/>
                  </a:cubicBezTo>
                  <a:lnTo>
                    <a:pt x="2330291" y="289084"/>
                  </a:lnTo>
                  <a:close/>
                  <a:moveTo>
                    <a:pt x="2329339" y="293846"/>
                  </a:moveTo>
                  <a:lnTo>
                    <a:pt x="2329339" y="292894"/>
                  </a:lnTo>
                  <a:cubicBezTo>
                    <a:pt x="2329339" y="293846"/>
                    <a:pt x="2329339" y="293846"/>
                    <a:pt x="2330291" y="294799"/>
                  </a:cubicBezTo>
                  <a:lnTo>
                    <a:pt x="2328386" y="299561"/>
                  </a:lnTo>
                  <a:cubicBezTo>
                    <a:pt x="2328386" y="299561"/>
                    <a:pt x="2328386" y="299561"/>
                    <a:pt x="2328386" y="298609"/>
                  </a:cubicBezTo>
                  <a:lnTo>
                    <a:pt x="2329339" y="293846"/>
                  </a:lnTo>
                  <a:close/>
                  <a:moveTo>
                    <a:pt x="2313146" y="194786"/>
                  </a:moveTo>
                  <a:cubicBezTo>
                    <a:pt x="2314099" y="196691"/>
                    <a:pt x="2314099" y="199549"/>
                    <a:pt x="2315051" y="201454"/>
                  </a:cubicBezTo>
                  <a:cubicBezTo>
                    <a:pt x="2315051" y="202406"/>
                    <a:pt x="2316004" y="203359"/>
                    <a:pt x="2316004" y="205264"/>
                  </a:cubicBezTo>
                  <a:cubicBezTo>
                    <a:pt x="2315051" y="208121"/>
                    <a:pt x="2314099" y="211931"/>
                    <a:pt x="2314099" y="214789"/>
                  </a:cubicBezTo>
                  <a:cubicBezTo>
                    <a:pt x="2314099" y="214789"/>
                    <a:pt x="2314099" y="214789"/>
                    <a:pt x="2314099" y="214789"/>
                  </a:cubicBezTo>
                  <a:cubicBezTo>
                    <a:pt x="2313146" y="211931"/>
                    <a:pt x="2311241" y="210026"/>
                    <a:pt x="2310289" y="207169"/>
                  </a:cubicBezTo>
                  <a:cubicBezTo>
                    <a:pt x="2311241" y="202406"/>
                    <a:pt x="2312194" y="198596"/>
                    <a:pt x="2313146" y="194786"/>
                  </a:cubicBezTo>
                  <a:close/>
                  <a:moveTo>
                    <a:pt x="2304574" y="197644"/>
                  </a:moveTo>
                  <a:cubicBezTo>
                    <a:pt x="2304574" y="198596"/>
                    <a:pt x="2305526" y="199549"/>
                    <a:pt x="2305526" y="200501"/>
                  </a:cubicBezTo>
                  <a:cubicBezTo>
                    <a:pt x="2304574" y="202406"/>
                    <a:pt x="2304574" y="204311"/>
                    <a:pt x="2303621" y="205264"/>
                  </a:cubicBezTo>
                  <a:cubicBezTo>
                    <a:pt x="2304574" y="203359"/>
                    <a:pt x="2304574" y="200501"/>
                    <a:pt x="2304574" y="197644"/>
                  </a:cubicBezTo>
                  <a:close/>
                  <a:moveTo>
                    <a:pt x="2297906" y="272891"/>
                  </a:moveTo>
                  <a:cubicBezTo>
                    <a:pt x="2298859" y="267176"/>
                    <a:pt x="2298859" y="262414"/>
                    <a:pt x="2298859" y="256699"/>
                  </a:cubicBezTo>
                  <a:cubicBezTo>
                    <a:pt x="2298859" y="254794"/>
                    <a:pt x="2299811" y="252889"/>
                    <a:pt x="2299811" y="250984"/>
                  </a:cubicBezTo>
                  <a:cubicBezTo>
                    <a:pt x="2303621" y="236696"/>
                    <a:pt x="2306479" y="223361"/>
                    <a:pt x="2308384" y="211931"/>
                  </a:cubicBezTo>
                  <a:cubicBezTo>
                    <a:pt x="2308384" y="212884"/>
                    <a:pt x="2309336" y="214789"/>
                    <a:pt x="2309336" y="215741"/>
                  </a:cubicBezTo>
                  <a:cubicBezTo>
                    <a:pt x="2310289" y="217646"/>
                    <a:pt x="2310289" y="219551"/>
                    <a:pt x="2311241" y="221456"/>
                  </a:cubicBezTo>
                  <a:cubicBezTo>
                    <a:pt x="2311241" y="221456"/>
                    <a:pt x="2311241" y="221456"/>
                    <a:pt x="2311241" y="221456"/>
                  </a:cubicBezTo>
                  <a:cubicBezTo>
                    <a:pt x="2309336" y="231934"/>
                    <a:pt x="2306479" y="242411"/>
                    <a:pt x="2304574" y="253841"/>
                  </a:cubicBezTo>
                  <a:cubicBezTo>
                    <a:pt x="2302669" y="252889"/>
                    <a:pt x="2302669" y="251936"/>
                    <a:pt x="2302669" y="251936"/>
                  </a:cubicBezTo>
                  <a:cubicBezTo>
                    <a:pt x="2302669" y="251936"/>
                    <a:pt x="2303621" y="252889"/>
                    <a:pt x="2304574" y="253841"/>
                  </a:cubicBezTo>
                  <a:cubicBezTo>
                    <a:pt x="2302669" y="260509"/>
                    <a:pt x="2301716" y="268129"/>
                    <a:pt x="2299811" y="274796"/>
                  </a:cubicBezTo>
                  <a:cubicBezTo>
                    <a:pt x="2297906" y="283369"/>
                    <a:pt x="2296001" y="291941"/>
                    <a:pt x="2294096" y="300514"/>
                  </a:cubicBezTo>
                  <a:cubicBezTo>
                    <a:pt x="2296954" y="291941"/>
                    <a:pt x="2297906" y="282416"/>
                    <a:pt x="2297906" y="272891"/>
                  </a:cubicBezTo>
                  <a:close/>
                  <a:moveTo>
                    <a:pt x="2271236" y="369094"/>
                  </a:moveTo>
                  <a:cubicBezTo>
                    <a:pt x="2271236" y="371951"/>
                    <a:pt x="2271236" y="374809"/>
                    <a:pt x="2270284" y="376714"/>
                  </a:cubicBezTo>
                  <a:lnTo>
                    <a:pt x="2270284" y="376714"/>
                  </a:lnTo>
                  <a:cubicBezTo>
                    <a:pt x="2270284" y="375761"/>
                    <a:pt x="2270284" y="373856"/>
                    <a:pt x="2270284" y="372904"/>
                  </a:cubicBezTo>
                  <a:cubicBezTo>
                    <a:pt x="2270284" y="371951"/>
                    <a:pt x="2270284" y="370046"/>
                    <a:pt x="2271236" y="369094"/>
                  </a:cubicBezTo>
                  <a:close/>
                  <a:moveTo>
                    <a:pt x="2252186" y="297656"/>
                  </a:moveTo>
                  <a:cubicBezTo>
                    <a:pt x="2252186" y="302419"/>
                    <a:pt x="2251234" y="307181"/>
                    <a:pt x="2251234" y="311944"/>
                  </a:cubicBezTo>
                  <a:cubicBezTo>
                    <a:pt x="2251234" y="310991"/>
                    <a:pt x="2250281" y="310039"/>
                    <a:pt x="2250281" y="308134"/>
                  </a:cubicBezTo>
                  <a:cubicBezTo>
                    <a:pt x="2251234" y="305276"/>
                    <a:pt x="2252186" y="301466"/>
                    <a:pt x="2252186" y="297656"/>
                  </a:cubicBezTo>
                  <a:close/>
                  <a:moveTo>
                    <a:pt x="2215991" y="252889"/>
                  </a:moveTo>
                  <a:lnTo>
                    <a:pt x="2215991" y="256699"/>
                  </a:lnTo>
                  <a:cubicBezTo>
                    <a:pt x="2215991" y="256699"/>
                    <a:pt x="2215991" y="256699"/>
                    <a:pt x="2215991" y="256699"/>
                  </a:cubicBezTo>
                  <a:cubicBezTo>
                    <a:pt x="2215039" y="255746"/>
                    <a:pt x="2215991" y="254794"/>
                    <a:pt x="2215991" y="252889"/>
                  </a:cubicBezTo>
                  <a:close/>
                  <a:moveTo>
                    <a:pt x="2211229" y="281464"/>
                  </a:moveTo>
                  <a:cubicBezTo>
                    <a:pt x="2212181" y="273844"/>
                    <a:pt x="2213134" y="267176"/>
                    <a:pt x="2214086" y="260509"/>
                  </a:cubicBezTo>
                  <a:cubicBezTo>
                    <a:pt x="2214086" y="260509"/>
                    <a:pt x="2215039" y="261461"/>
                    <a:pt x="2215039" y="261461"/>
                  </a:cubicBezTo>
                  <a:lnTo>
                    <a:pt x="2215039" y="267176"/>
                  </a:lnTo>
                  <a:cubicBezTo>
                    <a:pt x="2214086" y="277654"/>
                    <a:pt x="2213134" y="289084"/>
                    <a:pt x="2212181" y="299561"/>
                  </a:cubicBezTo>
                  <a:cubicBezTo>
                    <a:pt x="2210276" y="302419"/>
                    <a:pt x="2208371" y="306229"/>
                    <a:pt x="2206466" y="309086"/>
                  </a:cubicBezTo>
                  <a:cubicBezTo>
                    <a:pt x="2208371" y="299561"/>
                    <a:pt x="2210276" y="290036"/>
                    <a:pt x="2211229" y="281464"/>
                  </a:cubicBezTo>
                  <a:close/>
                  <a:moveTo>
                    <a:pt x="2205514" y="337661"/>
                  </a:moveTo>
                  <a:cubicBezTo>
                    <a:pt x="2205514" y="338614"/>
                    <a:pt x="2204561" y="338614"/>
                    <a:pt x="2204561" y="339566"/>
                  </a:cubicBezTo>
                  <a:cubicBezTo>
                    <a:pt x="2204561" y="339566"/>
                    <a:pt x="2204561" y="339566"/>
                    <a:pt x="2204561" y="340519"/>
                  </a:cubicBezTo>
                  <a:cubicBezTo>
                    <a:pt x="2204561" y="339566"/>
                    <a:pt x="2204561" y="338614"/>
                    <a:pt x="2205514" y="337661"/>
                  </a:cubicBezTo>
                  <a:close/>
                  <a:moveTo>
                    <a:pt x="2183606" y="336709"/>
                  </a:moveTo>
                  <a:cubicBezTo>
                    <a:pt x="2183606" y="338614"/>
                    <a:pt x="2184559" y="341471"/>
                    <a:pt x="2185511" y="345281"/>
                  </a:cubicBezTo>
                  <a:cubicBezTo>
                    <a:pt x="2185511" y="347186"/>
                    <a:pt x="2184559" y="349091"/>
                    <a:pt x="2184559" y="350044"/>
                  </a:cubicBezTo>
                  <a:cubicBezTo>
                    <a:pt x="2184559" y="347186"/>
                    <a:pt x="2183606" y="343376"/>
                    <a:pt x="2183606" y="340519"/>
                  </a:cubicBezTo>
                  <a:cubicBezTo>
                    <a:pt x="2183606" y="339566"/>
                    <a:pt x="2183606" y="338614"/>
                    <a:pt x="2183606" y="337661"/>
                  </a:cubicBezTo>
                  <a:cubicBezTo>
                    <a:pt x="2182654" y="337661"/>
                    <a:pt x="2182654" y="337661"/>
                    <a:pt x="2183606" y="336709"/>
                  </a:cubicBezTo>
                  <a:close/>
                  <a:moveTo>
                    <a:pt x="2178844" y="345281"/>
                  </a:moveTo>
                  <a:cubicBezTo>
                    <a:pt x="2178844" y="349091"/>
                    <a:pt x="2178844" y="352901"/>
                    <a:pt x="2178844" y="357664"/>
                  </a:cubicBezTo>
                  <a:cubicBezTo>
                    <a:pt x="2177891" y="355759"/>
                    <a:pt x="2176939" y="352901"/>
                    <a:pt x="2175986" y="350996"/>
                  </a:cubicBezTo>
                  <a:cubicBezTo>
                    <a:pt x="2176939" y="348139"/>
                    <a:pt x="2177891" y="346234"/>
                    <a:pt x="2178844" y="345281"/>
                  </a:cubicBezTo>
                  <a:close/>
                  <a:moveTo>
                    <a:pt x="2150269" y="278606"/>
                  </a:moveTo>
                  <a:cubicBezTo>
                    <a:pt x="2155031" y="261461"/>
                    <a:pt x="2159794" y="246221"/>
                    <a:pt x="2162651" y="232886"/>
                  </a:cubicBezTo>
                  <a:cubicBezTo>
                    <a:pt x="2162651" y="233839"/>
                    <a:pt x="2162651" y="234791"/>
                    <a:pt x="2161699" y="235744"/>
                  </a:cubicBezTo>
                  <a:cubicBezTo>
                    <a:pt x="2160746" y="241459"/>
                    <a:pt x="2158841" y="248126"/>
                    <a:pt x="2157889" y="253841"/>
                  </a:cubicBezTo>
                  <a:cubicBezTo>
                    <a:pt x="2156936" y="260509"/>
                    <a:pt x="2155984" y="267176"/>
                    <a:pt x="2154079" y="274796"/>
                  </a:cubicBezTo>
                  <a:cubicBezTo>
                    <a:pt x="2153126" y="280511"/>
                    <a:pt x="2152174" y="287179"/>
                    <a:pt x="2151221" y="293846"/>
                  </a:cubicBezTo>
                  <a:cubicBezTo>
                    <a:pt x="2149316" y="290036"/>
                    <a:pt x="2148364" y="288131"/>
                    <a:pt x="2148364" y="288131"/>
                  </a:cubicBezTo>
                  <a:cubicBezTo>
                    <a:pt x="2148364" y="288131"/>
                    <a:pt x="2149316" y="290989"/>
                    <a:pt x="2150269" y="296704"/>
                  </a:cubicBezTo>
                  <a:cubicBezTo>
                    <a:pt x="2149316" y="302419"/>
                    <a:pt x="2148364" y="309086"/>
                    <a:pt x="2147411" y="314801"/>
                  </a:cubicBezTo>
                  <a:cubicBezTo>
                    <a:pt x="2143601" y="309086"/>
                    <a:pt x="2140744" y="305276"/>
                    <a:pt x="2140744" y="305276"/>
                  </a:cubicBezTo>
                  <a:cubicBezTo>
                    <a:pt x="2145506" y="296704"/>
                    <a:pt x="2147411" y="287179"/>
                    <a:pt x="2150269" y="278606"/>
                  </a:cubicBezTo>
                  <a:close/>
                  <a:moveTo>
                    <a:pt x="2142649" y="305276"/>
                  </a:moveTo>
                  <a:cubicBezTo>
                    <a:pt x="2142649" y="306229"/>
                    <a:pt x="2144554" y="310991"/>
                    <a:pt x="2148364" y="319564"/>
                  </a:cubicBezTo>
                  <a:cubicBezTo>
                    <a:pt x="2148364" y="319564"/>
                    <a:pt x="2148364" y="320516"/>
                    <a:pt x="2148364" y="320516"/>
                  </a:cubicBezTo>
                  <a:cubicBezTo>
                    <a:pt x="2148364" y="320516"/>
                    <a:pt x="2148364" y="321469"/>
                    <a:pt x="2148364" y="321469"/>
                  </a:cubicBezTo>
                  <a:cubicBezTo>
                    <a:pt x="2147411" y="328136"/>
                    <a:pt x="2146459" y="335756"/>
                    <a:pt x="2145506" y="343376"/>
                  </a:cubicBezTo>
                  <a:cubicBezTo>
                    <a:pt x="2143601" y="336709"/>
                    <a:pt x="2141696" y="330994"/>
                    <a:pt x="2139791" y="324326"/>
                  </a:cubicBezTo>
                  <a:cubicBezTo>
                    <a:pt x="2139791" y="323374"/>
                    <a:pt x="2138839" y="321469"/>
                    <a:pt x="2138839" y="320516"/>
                  </a:cubicBezTo>
                  <a:cubicBezTo>
                    <a:pt x="2138839" y="315754"/>
                    <a:pt x="2140744" y="310991"/>
                    <a:pt x="2142649" y="305276"/>
                  </a:cubicBezTo>
                  <a:close/>
                  <a:moveTo>
                    <a:pt x="2058829" y="353854"/>
                  </a:moveTo>
                  <a:cubicBezTo>
                    <a:pt x="2057876" y="357664"/>
                    <a:pt x="2056924" y="362426"/>
                    <a:pt x="2056924" y="366236"/>
                  </a:cubicBezTo>
                  <a:cubicBezTo>
                    <a:pt x="2056924" y="364331"/>
                    <a:pt x="2055971" y="363379"/>
                    <a:pt x="2055971" y="361474"/>
                  </a:cubicBezTo>
                  <a:cubicBezTo>
                    <a:pt x="2055019" y="358616"/>
                    <a:pt x="2055019" y="355759"/>
                    <a:pt x="2054066" y="352901"/>
                  </a:cubicBezTo>
                  <a:cubicBezTo>
                    <a:pt x="2054066" y="352901"/>
                    <a:pt x="2054066" y="352901"/>
                    <a:pt x="2054066" y="351949"/>
                  </a:cubicBezTo>
                  <a:cubicBezTo>
                    <a:pt x="2055971" y="347186"/>
                    <a:pt x="2057876" y="343376"/>
                    <a:pt x="2059781" y="338614"/>
                  </a:cubicBezTo>
                  <a:cubicBezTo>
                    <a:pt x="2059781" y="340519"/>
                    <a:pt x="2060734" y="341471"/>
                    <a:pt x="2060734" y="343376"/>
                  </a:cubicBezTo>
                  <a:cubicBezTo>
                    <a:pt x="2060734" y="347186"/>
                    <a:pt x="2059781" y="350044"/>
                    <a:pt x="2058829" y="353854"/>
                  </a:cubicBezTo>
                  <a:close/>
                  <a:moveTo>
                    <a:pt x="2081689" y="350044"/>
                  </a:moveTo>
                  <a:cubicBezTo>
                    <a:pt x="2080736" y="351949"/>
                    <a:pt x="2080736" y="352901"/>
                    <a:pt x="2079784" y="354806"/>
                  </a:cubicBezTo>
                  <a:cubicBezTo>
                    <a:pt x="2078831" y="351949"/>
                    <a:pt x="2078831" y="350044"/>
                    <a:pt x="2077879" y="347186"/>
                  </a:cubicBezTo>
                  <a:cubicBezTo>
                    <a:pt x="2077879" y="346234"/>
                    <a:pt x="2077879" y="345281"/>
                    <a:pt x="2077879" y="344329"/>
                  </a:cubicBezTo>
                  <a:cubicBezTo>
                    <a:pt x="2078831" y="345281"/>
                    <a:pt x="2079784" y="346234"/>
                    <a:pt x="2080736" y="348139"/>
                  </a:cubicBezTo>
                  <a:cubicBezTo>
                    <a:pt x="2080736" y="348139"/>
                    <a:pt x="2080736" y="349091"/>
                    <a:pt x="2081689" y="350044"/>
                  </a:cubicBezTo>
                  <a:cubicBezTo>
                    <a:pt x="2081689" y="350044"/>
                    <a:pt x="2081689" y="350044"/>
                    <a:pt x="2081689" y="350044"/>
                  </a:cubicBezTo>
                  <a:close/>
                  <a:moveTo>
                    <a:pt x="2081689" y="339566"/>
                  </a:moveTo>
                  <a:cubicBezTo>
                    <a:pt x="2081689" y="340519"/>
                    <a:pt x="2081689" y="341471"/>
                    <a:pt x="2081689" y="341471"/>
                  </a:cubicBezTo>
                  <a:cubicBezTo>
                    <a:pt x="2080736" y="340519"/>
                    <a:pt x="2079784" y="338614"/>
                    <a:pt x="2078831" y="337661"/>
                  </a:cubicBezTo>
                  <a:cubicBezTo>
                    <a:pt x="2078831" y="334804"/>
                    <a:pt x="2079784" y="331946"/>
                    <a:pt x="2079784" y="330041"/>
                  </a:cubicBezTo>
                  <a:cubicBezTo>
                    <a:pt x="2080736" y="332899"/>
                    <a:pt x="2081689" y="335756"/>
                    <a:pt x="2081689" y="339566"/>
                  </a:cubicBezTo>
                  <a:cubicBezTo>
                    <a:pt x="2081689" y="338614"/>
                    <a:pt x="2081689" y="338614"/>
                    <a:pt x="2081689" y="339566"/>
                  </a:cubicBezTo>
                  <a:close/>
                  <a:moveTo>
                    <a:pt x="2085499" y="290036"/>
                  </a:moveTo>
                  <a:cubicBezTo>
                    <a:pt x="2085499" y="295751"/>
                    <a:pt x="2084546" y="301466"/>
                    <a:pt x="2084546" y="307181"/>
                  </a:cubicBezTo>
                  <a:cubicBezTo>
                    <a:pt x="2084546" y="306229"/>
                    <a:pt x="2083594" y="305276"/>
                    <a:pt x="2083594" y="303371"/>
                  </a:cubicBezTo>
                  <a:cubicBezTo>
                    <a:pt x="2084546" y="292894"/>
                    <a:pt x="2085499" y="282416"/>
                    <a:pt x="2086451" y="273844"/>
                  </a:cubicBezTo>
                  <a:cubicBezTo>
                    <a:pt x="2086451" y="271939"/>
                    <a:pt x="2086451" y="269081"/>
                    <a:pt x="2087404" y="267176"/>
                  </a:cubicBezTo>
                  <a:cubicBezTo>
                    <a:pt x="2086451" y="274796"/>
                    <a:pt x="2085499" y="282416"/>
                    <a:pt x="2085499" y="290036"/>
                  </a:cubicBezTo>
                  <a:close/>
                  <a:moveTo>
                    <a:pt x="2089309" y="180499"/>
                  </a:moveTo>
                  <a:cubicBezTo>
                    <a:pt x="2089309" y="186214"/>
                    <a:pt x="2089309" y="192881"/>
                    <a:pt x="2089309" y="200501"/>
                  </a:cubicBezTo>
                  <a:cubicBezTo>
                    <a:pt x="2088356" y="197644"/>
                    <a:pt x="2086451" y="194786"/>
                    <a:pt x="2086451" y="192881"/>
                  </a:cubicBezTo>
                  <a:cubicBezTo>
                    <a:pt x="2087404" y="188119"/>
                    <a:pt x="2088356" y="184309"/>
                    <a:pt x="2089309" y="180499"/>
                  </a:cubicBezTo>
                  <a:close/>
                  <a:moveTo>
                    <a:pt x="2072164" y="241459"/>
                  </a:moveTo>
                  <a:cubicBezTo>
                    <a:pt x="2077879" y="223361"/>
                    <a:pt x="2082641" y="207169"/>
                    <a:pt x="2086451" y="193834"/>
                  </a:cubicBezTo>
                  <a:cubicBezTo>
                    <a:pt x="2087404" y="197644"/>
                    <a:pt x="2088356" y="201454"/>
                    <a:pt x="2090261" y="207169"/>
                  </a:cubicBezTo>
                  <a:cubicBezTo>
                    <a:pt x="2090261" y="207169"/>
                    <a:pt x="2090261" y="207169"/>
                    <a:pt x="2090261" y="208121"/>
                  </a:cubicBezTo>
                  <a:cubicBezTo>
                    <a:pt x="2087404" y="221456"/>
                    <a:pt x="2081689" y="244316"/>
                    <a:pt x="2075974" y="271939"/>
                  </a:cubicBezTo>
                  <a:cubicBezTo>
                    <a:pt x="2075021" y="274796"/>
                    <a:pt x="2075021" y="278606"/>
                    <a:pt x="2074069" y="282416"/>
                  </a:cubicBezTo>
                  <a:cubicBezTo>
                    <a:pt x="2072164" y="278606"/>
                    <a:pt x="2070259" y="274796"/>
                    <a:pt x="2068354" y="271939"/>
                  </a:cubicBezTo>
                  <a:cubicBezTo>
                    <a:pt x="2067401" y="270034"/>
                    <a:pt x="2066449" y="268129"/>
                    <a:pt x="2065496" y="266224"/>
                  </a:cubicBezTo>
                  <a:cubicBezTo>
                    <a:pt x="2067401" y="257651"/>
                    <a:pt x="2069306" y="249079"/>
                    <a:pt x="2072164" y="241459"/>
                  </a:cubicBezTo>
                  <a:close/>
                  <a:moveTo>
                    <a:pt x="2062639" y="270034"/>
                  </a:moveTo>
                  <a:cubicBezTo>
                    <a:pt x="2062639" y="270986"/>
                    <a:pt x="2063591" y="271939"/>
                    <a:pt x="2063591" y="272891"/>
                  </a:cubicBezTo>
                  <a:cubicBezTo>
                    <a:pt x="2065496" y="278606"/>
                    <a:pt x="2067401" y="285274"/>
                    <a:pt x="2069306" y="292894"/>
                  </a:cubicBezTo>
                  <a:cubicBezTo>
                    <a:pt x="2069306" y="293846"/>
                    <a:pt x="2069306" y="293846"/>
                    <a:pt x="2070259" y="294799"/>
                  </a:cubicBezTo>
                  <a:cubicBezTo>
                    <a:pt x="2069306" y="299561"/>
                    <a:pt x="2068354" y="305276"/>
                    <a:pt x="2067401" y="310039"/>
                  </a:cubicBezTo>
                  <a:cubicBezTo>
                    <a:pt x="2066449" y="308134"/>
                    <a:pt x="2066449" y="305276"/>
                    <a:pt x="2065496" y="303371"/>
                  </a:cubicBezTo>
                  <a:cubicBezTo>
                    <a:pt x="2063591" y="296704"/>
                    <a:pt x="2060734" y="290036"/>
                    <a:pt x="2058829" y="284321"/>
                  </a:cubicBezTo>
                  <a:cubicBezTo>
                    <a:pt x="2059781" y="279559"/>
                    <a:pt x="2061686" y="274796"/>
                    <a:pt x="2062639" y="270034"/>
                  </a:cubicBezTo>
                  <a:close/>
                  <a:moveTo>
                    <a:pt x="2053114" y="301466"/>
                  </a:moveTo>
                  <a:cubicBezTo>
                    <a:pt x="2053114" y="303371"/>
                    <a:pt x="2054066" y="304324"/>
                    <a:pt x="2054066" y="306229"/>
                  </a:cubicBezTo>
                  <a:cubicBezTo>
                    <a:pt x="2055019" y="310991"/>
                    <a:pt x="2055971" y="315754"/>
                    <a:pt x="2056924" y="320516"/>
                  </a:cubicBezTo>
                  <a:cubicBezTo>
                    <a:pt x="2056924" y="320516"/>
                    <a:pt x="2055971" y="320516"/>
                    <a:pt x="2055971" y="320516"/>
                  </a:cubicBezTo>
                  <a:cubicBezTo>
                    <a:pt x="2051209" y="318611"/>
                    <a:pt x="2049304" y="317659"/>
                    <a:pt x="2049304" y="317659"/>
                  </a:cubicBezTo>
                  <a:cubicBezTo>
                    <a:pt x="2049304" y="317659"/>
                    <a:pt x="2051209" y="319564"/>
                    <a:pt x="2055971" y="321469"/>
                  </a:cubicBezTo>
                  <a:cubicBezTo>
                    <a:pt x="2056924" y="321469"/>
                    <a:pt x="2056924" y="322421"/>
                    <a:pt x="2057876" y="322421"/>
                  </a:cubicBezTo>
                  <a:cubicBezTo>
                    <a:pt x="2058829" y="326231"/>
                    <a:pt x="2058829" y="329089"/>
                    <a:pt x="2059781" y="332899"/>
                  </a:cubicBezTo>
                  <a:cubicBezTo>
                    <a:pt x="2057876" y="335756"/>
                    <a:pt x="2055971" y="338614"/>
                    <a:pt x="2053114" y="342424"/>
                  </a:cubicBezTo>
                  <a:cubicBezTo>
                    <a:pt x="2052161" y="335756"/>
                    <a:pt x="2050256" y="328136"/>
                    <a:pt x="2049304" y="321469"/>
                  </a:cubicBezTo>
                  <a:cubicBezTo>
                    <a:pt x="2049304" y="319564"/>
                    <a:pt x="2049304" y="317659"/>
                    <a:pt x="2049304" y="315754"/>
                  </a:cubicBezTo>
                  <a:cubicBezTo>
                    <a:pt x="2050256" y="310991"/>
                    <a:pt x="2052161" y="305276"/>
                    <a:pt x="2053114" y="301466"/>
                  </a:cubicBezTo>
                  <a:close/>
                  <a:moveTo>
                    <a:pt x="2044541" y="260509"/>
                  </a:moveTo>
                  <a:cubicBezTo>
                    <a:pt x="2044541" y="260509"/>
                    <a:pt x="2044541" y="260509"/>
                    <a:pt x="2044541" y="260509"/>
                  </a:cubicBezTo>
                  <a:cubicBezTo>
                    <a:pt x="2044541" y="260509"/>
                    <a:pt x="2044541" y="259556"/>
                    <a:pt x="2044541" y="259556"/>
                  </a:cubicBezTo>
                  <a:cubicBezTo>
                    <a:pt x="2044541" y="259556"/>
                    <a:pt x="2044541" y="259556"/>
                    <a:pt x="2044541" y="260509"/>
                  </a:cubicBezTo>
                  <a:close/>
                  <a:moveTo>
                    <a:pt x="2019776" y="188119"/>
                  </a:moveTo>
                  <a:cubicBezTo>
                    <a:pt x="2019776" y="187166"/>
                    <a:pt x="2019776" y="186214"/>
                    <a:pt x="2019776" y="185261"/>
                  </a:cubicBezTo>
                  <a:cubicBezTo>
                    <a:pt x="2019776" y="182404"/>
                    <a:pt x="2020729" y="179546"/>
                    <a:pt x="2020729" y="177641"/>
                  </a:cubicBezTo>
                  <a:cubicBezTo>
                    <a:pt x="2020729" y="180499"/>
                    <a:pt x="2020729" y="184309"/>
                    <a:pt x="2020729" y="189071"/>
                  </a:cubicBezTo>
                  <a:cubicBezTo>
                    <a:pt x="2020729" y="197644"/>
                    <a:pt x="2021681" y="208121"/>
                    <a:pt x="2021681" y="220504"/>
                  </a:cubicBezTo>
                  <a:cubicBezTo>
                    <a:pt x="2021681" y="228124"/>
                    <a:pt x="2022634" y="235744"/>
                    <a:pt x="2023586" y="244316"/>
                  </a:cubicBezTo>
                  <a:cubicBezTo>
                    <a:pt x="2023586" y="245269"/>
                    <a:pt x="2022634" y="246221"/>
                    <a:pt x="2022634" y="247174"/>
                  </a:cubicBezTo>
                  <a:cubicBezTo>
                    <a:pt x="2020729" y="238601"/>
                    <a:pt x="2018824" y="230029"/>
                    <a:pt x="2016919" y="222409"/>
                  </a:cubicBezTo>
                  <a:cubicBezTo>
                    <a:pt x="2018824" y="209074"/>
                    <a:pt x="2018824" y="197644"/>
                    <a:pt x="2019776" y="188119"/>
                  </a:cubicBezTo>
                  <a:close/>
                  <a:moveTo>
                    <a:pt x="1999774" y="298609"/>
                  </a:moveTo>
                  <a:cubicBezTo>
                    <a:pt x="1999774" y="300514"/>
                    <a:pt x="1999774" y="302419"/>
                    <a:pt x="1999774" y="304324"/>
                  </a:cubicBezTo>
                  <a:cubicBezTo>
                    <a:pt x="1998821" y="306229"/>
                    <a:pt x="1998821" y="308134"/>
                    <a:pt x="1997869" y="310039"/>
                  </a:cubicBezTo>
                  <a:cubicBezTo>
                    <a:pt x="1998821" y="306229"/>
                    <a:pt x="1999774" y="302419"/>
                    <a:pt x="1999774" y="298609"/>
                  </a:cubicBezTo>
                  <a:close/>
                  <a:moveTo>
                    <a:pt x="1992154" y="349091"/>
                  </a:moveTo>
                  <a:cubicBezTo>
                    <a:pt x="1992154" y="351949"/>
                    <a:pt x="1992154" y="355759"/>
                    <a:pt x="1992154" y="359569"/>
                  </a:cubicBezTo>
                  <a:cubicBezTo>
                    <a:pt x="1992154" y="362426"/>
                    <a:pt x="1992154" y="366236"/>
                    <a:pt x="1992154" y="369094"/>
                  </a:cubicBezTo>
                  <a:cubicBezTo>
                    <a:pt x="1991201" y="370046"/>
                    <a:pt x="1990249" y="371951"/>
                    <a:pt x="1988344" y="373856"/>
                  </a:cubicBezTo>
                  <a:cubicBezTo>
                    <a:pt x="1990249" y="365284"/>
                    <a:pt x="1991201" y="356711"/>
                    <a:pt x="1992154" y="349091"/>
                  </a:cubicBezTo>
                  <a:close/>
                  <a:moveTo>
                    <a:pt x="1987391" y="381476"/>
                  </a:moveTo>
                  <a:cubicBezTo>
                    <a:pt x="1987391" y="381476"/>
                    <a:pt x="1987391" y="381476"/>
                    <a:pt x="1987391" y="381476"/>
                  </a:cubicBezTo>
                  <a:cubicBezTo>
                    <a:pt x="1989296" y="377666"/>
                    <a:pt x="1991201" y="374809"/>
                    <a:pt x="1992154" y="372904"/>
                  </a:cubicBezTo>
                  <a:cubicBezTo>
                    <a:pt x="1992154" y="374809"/>
                    <a:pt x="1992154" y="377666"/>
                    <a:pt x="1992154" y="379571"/>
                  </a:cubicBezTo>
                  <a:cubicBezTo>
                    <a:pt x="1992154" y="381476"/>
                    <a:pt x="1991201" y="384334"/>
                    <a:pt x="1991201" y="386239"/>
                  </a:cubicBezTo>
                  <a:cubicBezTo>
                    <a:pt x="1990249" y="391001"/>
                    <a:pt x="1989296" y="395764"/>
                    <a:pt x="1988344" y="400526"/>
                  </a:cubicBezTo>
                  <a:cubicBezTo>
                    <a:pt x="1988344" y="400526"/>
                    <a:pt x="1988344" y="399574"/>
                    <a:pt x="1988344" y="399574"/>
                  </a:cubicBezTo>
                  <a:cubicBezTo>
                    <a:pt x="1987391" y="397669"/>
                    <a:pt x="1986439" y="394811"/>
                    <a:pt x="1985486" y="392906"/>
                  </a:cubicBezTo>
                  <a:cubicBezTo>
                    <a:pt x="1986439" y="389096"/>
                    <a:pt x="1986439" y="385286"/>
                    <a:pt x="1987391" y="381476"/>
                  </a:cubicBezTo>
                  <a:close/>
                  <a:moveTo>
                    <a:pt x="1968341" y="290989"/>
                  </a:moveTo>
                  <a:cubicBezTo>
                    <a:pt x="1968341" y="292894"/>
                    <a:pt x="1968341" y="294799"/>
                    <a:pt x="1967389" y="297656"/>
                  </a:cubicBezTo>
                  <a:cubicBezTo>
                    <a:pt x="1967389" y="299561"/>
                    <a:pt x="1966436" y="302419"/>
                    <a:pt x="1966436" y="305276"/>
                  </a:cubicBezTo>
                  <a:cubicBezTo>
                    <a:pt x="1966436" y="309086"/>
                    <a:pt x="1965484" y="313849"/>
                    <a:pt x="1965484" y="318611"/>
                  </a:cubicBezTo>
                  <a:cubicBezTo>
                    <a:pt x="1965484" y="313849"/>
                    <a:pt x="1964531" y="309086"/>
                    <a:pt x="1964531" y="304324"/>
                  </a:cubicBezTo>
                  <a:cubicBezTo>
                    <a:pt x="1964531" y="303371"/>
                    <a:pt x="1964531" y="301466"/>
                    <a:pt x="1964531" y="300514"/>
                  </a:cubicBezTo>
                  <a:cubicBezTo>
                    <a:pt x="1965484" y="296704"/>
                    <a:pt x="1967389" y="293846"/>
                    <a:pt x="1968341" y="290989"/>
                  </a:cubicBezTo>
                  <a:close/>
                  <a:moveTo>
                    <a:pt x="1937861" y="310039"/>
                  </a:moveTo>
                  <a:cubicBezTo>
                    <a:pt x="1937861" y="307181"/>
                    <a:pt x="1937861" y="304324"/>
                    <a:pt x="1937861" y="302419"/>
                  </a:cubicBezTo>
                  <a:cubicBezTo>
                    <a:pt x="1937861" y="300514"/>
                    <a:pt x="1937861" y="297656"/>
                    <a:pt x="1937861" y="295751"/>
                  </a:cubicBezTo>
                  <a:cubicBezTo>
                    <a:pt x="1937861" y="299561"/>
                    <a:pt x="1938814" y="302419"/>
                    <a:pt x="1938814" y="306229"/>
                  </a:cubicBezTo>
                  <a:cubicBezTo>
                    <a:pt x="1938814" y="308134"/>
                    <a:pt x="1938814" y="309086"/>
                    <a:pt x="1937861" y="310039"/>
                  </a:cubicBezTo>
                  <a:close/>
                  <a:moveTo>
                    <a:pt x="1938814" y="272891"/>
                  </a:moveTo>
                  <a:cubicBezTo>
                    <a:pt x="1937861" y="270034"/>
                    <a:pt x="1937861" y="268129"/>
                    <a:pt x="1936909" y="266224"/>
                  </a:cubicBezTo>
                  <a:cubicBezTo>
                    <a:pt x="1936909" y="264319"/>
                    <a:pt x="1936909" y="262414"/>
                    <a:pt x="1936909" y="261461"/>
                  </a:cubicBezTo>
                  <a:cubicBezTo>
                    <a:pt x="1936909" y="256699"/>
                    <a:pt x="1936909" y="250984"/>
                    <a:pt x="1936909" y="246221"/>
                  </a:cubicBezTo>
                  <a:cubicBezTo>
                    <a:pt x="1936909" y="253841"/>
                    <a:pt x="1937861" y="263366"/>
                    <a:pt x="1938814" y="272891"/>
                  </a:cubicBezTo>
                  <a:close/>
                  <a:moveTo>
                    <a:pt x="1900714" y="338614"/>
                  </a:moveTo>
                  <a:cubicBezTo>
                    <a:pt x="1900714" y="336709"/>
                    <a:pt x="1900714" y="334804"/>
                    <a:pt x="1900714" y="333851"/>
                  </a:cubicBezTo>
                  <a:cubicBezTo>
                    <a:pt x="1901666" y="331946"/>
                    <a:pt x="1901666" y="330041"/>
                    <a:pt x="1902619" y="329089"/>
                  </a:cubicBezTo>
                  <a:cubicBezTo>
                    <a:pt x="1903571" y="328136"/>
                    <a:pt x="1904524" y="326231"/>
                    <a:pt x="1904524" y="325279"/>
                  </a:cubicBezTo>
                  <a:cubicBezTo>
                    <a:pt x="1902619" y="330041"/>
                    <a:pt x="1901666" y="333851"/>
                    <a:pt x="1900714" y="338614"/>
                  </a:cubicBezTo>
                  <a:close/>
                  <a:moveTo>
                    <a:pt x="1915954" y="436721"/>
                  </a:moveTo>
                  <a:cubicBezTo>
                    <a:pt x="1915954" y="435769"/>
                    <a:pt x="1915954" y="434816"/>
                    <a:pt x="1915954" y="433864"/>
                  </a:cubicBezTo>
                  <a:cubicBezTo>
                    <a:pt x="1915954" y="433864"/>
                    <a:pt x="1915954" y="434816"/>
                    <a:pt x="1916906" y="434816"/>
                  </a:cubicBezTo>
                  <a:cubicBezTo>
                    <a:pt x="1915954" y="435769"/>
                    <a:pt x="1915954" y="436721"/>
                    <a:pt x="1915954" y="436721"/>
                  </a:cubicBezTo>
                  <a:close/>
                  <a:moveTo>
                    <a:pt x="1920716" y="401479"/>
                  </a:moveTo>
                  <a:cubicBezTo>
                    <a:pt x="1920716" y="403384"/>
                    <a:pt x="1919764" y="405289"/>
                    <a:pt x="1919764" y="407194"/>
                  </a:cubicBezTo>
                  <a:cubicBezTo>
                    <a:pt x="1918811" y="406241"/>
                    <a:pt x="1918811" y="405289"/>
                    <a:pt x="1917859" y="404336"/>
                  </a:cubicBezTo>
                  <a:cubicBezTo>
                    <a:pt x="1918811" y="402431"/>
                    <a:pt x="1919764" y="400526"/>
                    <a:pt x="1919764" y="398621"/>
                  </a:cubicBezTo>
                  <a:cubicBezTo>
                    <a:pt x="1920716" y="399574"/>
                    <a:pt x="1920716" y="400526"/>
                    <a:pt x="1920716" y="401479"/>
                  </a:cubicBezTo>
                  <a:close/>
                  <a:moveTo>
                    <a:pt x="1917859" y="331946"/>
                  </a:moveTo>
                  <a:cubicBezTo>
                    <a:pt x="1918811" y="333851"/>
                    <a:pt x="1919764" y="335756"/>
                    <a:pt x="1919764" y="337661"/>
                  </a:cubicBezTo>
                  <a:cubicBezTo>
                    <a:pt x="1919764" y="337661"/>
                    <a:pt x="1919764" y="337661"/>
                    <a:pt x="1919764" y="337661"/>
                  </a:cubicBezTo>
                  <a:cubicBezTo>
                    <a:pt x="1919764" y="337661"/>
                    <a:pt x="1918811" y="338614"/>
                    <a:pt x="1918811" y="338614"/>
                  </a:cubicBezTo>
                  <a:cubicBezTo>
                    <a:pt x="1917859" y="339566"/>
                    <a:pt x="1916906" y="340519"/>
                    <a:pt x="1916906" y="342424"/>
                  </a:cubicBezTo>
                  <a:cubicBezTo>
                    <a:pt x="1916906" y="341471"/>
                    <a:pt x="1916906" y="341471"/>
                    <a:pt x="1916906" y="341471"/>
                  </a:cubicBezTo>
                  <a:cubicBezTo>
                    <a:pt x="1916906" y="341471"/>
                    <a:pt x="1916906" y="342424"/>
                    <a:pt x="1915954" y="344329"/>
                  </a:cubicBezTo>
                  <a:cubicBezTo>
                    <a:pt x="1915954" y="344329"/>
                    <a:pt x="1915001" y="345281"/>
                    <a:pt x="1915001" y="345281"/>
                  </a:cubicBezTo>
                  <a:cubicBezTo>
                    <a:pt x="1915954" y="340519"/>
                    <a:pt x="1916906" y="335756"/>
                    <a:pt x="1917859" y="331946"/>
                  </a:cubicBezTo>
                  <a:close/>
                  <a:moveTo>
                    <a:pt x="1919764" y="360521"/>
                  </a:moveTo>
                  <a:cubicBezTo>
                    <a:pt x="1919764" y="361474"/>
                    <a:pt x="1919764" y="362426"/>
                    <a:pt x="1919764" y="364331"/>
                  </a:cubicBezTo>
                  <a:cubicBezTo>
                    <a:pt x="1917859" y="367189"/>
                    <a:pt x="1916906" y="370999"/>
                    <a:pt x="1915001" y="373856"/>
                  </a:cubicBezTo>
                  <a:cubicBezTo>
                    <a:pt x="1913096" y="378619"/>
                    <a:pt x="1910239" y="383381"/>
                    <a:pt x="1908334" y="388144"/>
                  </a:cubicBezTo>
                  <a:cubicBezTo>
                    <a:pt x="1908334" y="388144"/>
                    <a:pt x="1907381" y="387191"/>
                    <a:pt x="1907381" y="387191"/>
                  </a:cubicBezTo>
                  <a:cubicBezTo>
                    <a:pt x="1907381" y="386239"/>
                    <a:pt x="1907381" y="386239"/>
                    <a:pt x="1907381" y="385286"/>
                  </a:cubicBezTo>
                  <a:cubicBezTo>
                    <a:pt x="1908334" y="383381"/>
                    <a:pt x="1909286" y="381476"/>
                    <a:pt x="1910239" y="380524"/>
                  </a:cubicBezTo>
                  <a:cubicBezTo>
                    <a:pt x="1913096" y="372904"/>
                    <a:pt x="1916906" y="366236"/>
                    <a:pt x="1919764" y="360521"/>
                  </a:cubicBezTo>
                  <a:close/>
                  <a:moveTo>
                    <a:pt x="1910239" y="299561"/>
                  </a:moveTo>
                  <a:cubicBezTo>
                    <a:pt x="1909286" y="301466"/>
                    <a:pt x="1909286" y="303371"/>
                    <a:pt x="1908334" y="305276"/>
                  </a:cubicBezTo>
                  <a:cubicBezTo>
                    <a:pt x="1908334" y="305276"/>
                    <a:pt x="1908334" y="305276"/>
                    <a:pt x="1908334" y="305276"/>
                  </a:cubicBezTo>
                  <a:cubicBezTo>
                    <a:pt x="1909286" y="302419"/>
                    <a:pt x="1910239" y="300514"/>
                    <a:pt x="1910239" y="299561"/>
                  </a:cubicBezTo>
                  <a:close/>
                  <a:moveTo>
                    <a:pt x="1906429" y="313849"/>
                  </a:moveTo>
                  <a:cubicBezTo>
                    <a:pt x="1907381" y="311944"/>
                    <a:pt x="1907381" y="310991"/>
                    <a:pt x="1908334" y="309086"/>
                  </a:cubicBezTo>
                  <a:cubicBezTo>
                    <a:pt x="1908334" y="309086"/>
                    <a:pt x="1908334" y="309086"/>
                    <a:pt x="1908334" y="310039"/>
                  </a:cubicBezTo>
                  <a:cubicBezTo>
                    <a:pt x="1907381" y="311944"/>
                    <a:pt x="1907381" y="313849"/>
                    <a:pt x="1906429" y="315754"/>
                  </a:cubicBezTo>
                  <a:cubicBezTo>
                    <a:pt x="1906429" y="315754"/>
                    <a:pt x="1905476" y="316706"/>
                    <a:pt x="1905476" y="316706"/>
                  </a:cubicBezTo>
                  <a:cubicBezTo>
                    <a:pt x="1905476" y="314801"/>
                    <a:pt x="1905476" y="314801"/>
                    <a:pt x="1906429" y="313849"/>
                  </a:cubicBezTo>
                  <a:close/>
                  <a:moveTo>
                    <a:pt x="1893094" y="259556"/>
                  </a:moveTo>
                  <a:cubicBezTo>
                    <a:pt x="1893094" y="258604"/>
                    <a:pt x="1894046" y="257651"/>
                    <a:pt x="1894046" y="256699"/>
                  </a:cubicBezTo>
                  <a:cubicBezTo>
                    <a:pt x="1894046" y="256699"/>
                    <a:pt x="1894999" y="256699"/>
                    <a:pt x="1894999" y="256699"/>
                  </a:cubicBezTo>
                  <a:cubicBezTo>
                    <a:pt x="1896904" y="257651"/>
                    <a:pt x="1897856" y="259556"/>
                    <a:pt x="1899761" y="260509"/>
                  </a:cubicBezTo>
                  <a:lnTo>
                    <a:pt x="1904524" y="275749"/>
                  </a:lnTo>
                  <a:cubicBezTo>
                    <a:pt x="1901666" y="283369"/>
                    <a:pt x="1898809" y="290036"/>
                    <a:pt x="1895951" y="297656"/>
                  </a:cubicBezTo>
                  <a:cubicBezTo>
                    <a:pt x="1894999" y="291941"/>
                    <a:pt x="1894999" y="286226"/>
                    <a:pt x="1894046" y="281464"/>
                  </a:cubicBezTo>
                  <a:cubicBezTo>
                    <a:pt x="1894046" y="277654"/>
                    <a:pt x="1893094" y="273844"/>
                    <a:pt x="1892141" y="270034"/>
                  </a:cubicBezTo>
                  <a:cubicBezTo>
                    <a:pt x="1892141" y="270986"/>
                    <a:pt x="1893094" y="271939"/>
                    <a:pt x="1893094" y="272891"/>
                  </a:cubicBezTo>
                  <a:cubicBezTo>
                    <a:pt x="1893094" y="269081"/>
                    <a:pt x="1892141" y="264319"/>
                    <a:pt x="1893094" y="259556"/>
                  </a:cubicBezTo>
                  <a:close/>
                  <a:moveTo>
                    <a:pt x="1841659" y="297656"/>
                  </a:moveTo>
                  <a:cubicBezTo>
                    <a:pt x="1841659" y="303371"/>
                    <a:pt x="1840706" y="308134"/>
                    <a:pt x="1840706" y="313849"/>
                  </a:cubicBezTo>
                  <a:cubicBezTo>
                    <a:pt x="1839754" y="307181"/>
                    <a:pt x="1839754" y="300514"/>
                    <a:pt x="1838801" y="294799"/>
                  </a:cubicBezTo>
                  <a:cubicBezTo>
                    <a:pt x="1838801" y="292894"/>
                    <a:pt x="1838801" y="291941"/>
                    <a:pt x="1838801" y="290989"/>
                  </a:cubicBezTo>
                  <a:cubicBezTo>
                    <a:pt x="1839754" y="292894"/>
                    <a:pt x="1840706" y="294799"/>
                    <a:pt x="1841659" y="297656"/>
                  </a:cubicBezTo>
                  <a:close/>
                  <a:moveTo>
                    <a:pt x="1822609" y="363379"/>
                  </a:moveTo>
                  <a:cubicBezTo>
                    <a:pt x="1823561" y="359569"/>
                    <a:pt x="1825466" y="356711"/>
                    <a:pt x="1826419" y="353854"/>
                  </a:cubicBezTo>
                  <a:cubicBezTo>
                    <a:pt x="1826419" y="357664"/>
                    <a:pt x="1826419" y="360521"/>
                    <a:pt x="1827371" y="364331"/>
                  </a:cubicBezTo>
                  <a:cubicBezTo>
                    <a:pt x="1826419" y="365284"/>
                    <a:pt x="1824514" y="367189"/>
                    <a:pt x="1823561" y="368141"/>
                  </a:cubicBezTo>
                  <a:cubicBezTo>
                    <a:pt x="1822609" y="366236"/>
                    <a:pt x="1822609" y="365284"/>
                    <a:pt x="1822609" y="363379"/>
                  </a:cubicBezTo>
                  <a:close/>
                  <a:moveTo>
                    <a:pt x="1828324" y="403384"/>
                  </a:moveTo>
                  <a:cubicBezTo>
                    <a:pt x="1828324" y="402431"/>
                    <a:pt x="1827371" y="401479"/>
                    <a:pt x="1827371" y="400526"/>
                  </a:cubicBezTo>
                  <a:cubicBezTo>
                    <a:pt x="1826419" y="393859"/>
                    <a:pt x="1825466" y="387191"/>
                    <a:pt x="1825466" y="381476"/>
                  </a:cubicBezTo>
                  <a:cubicBezTo>
                    <a:pt x="1826419" y="379571"/>
                    <a:pt x="1827371" y="378619"/>
                    <a:pt x="1828324" y="377666"/>
                  </a:cubicBezTo>
                  <a:cubicBezTo>
                    <a:pt x="1828324" y="385286"/>
                    <a:pt x="1828324" y="391954"/>
                    <a:pt x="1829276" y="399574"/>
                  </a:cubicBezTo>
                  <a:cubicBezTo>
                    <a:pt x="1828324" y="400526"/>
                    <a:pt x="1828324" y="402431"/>
                    <a:pt x="1828324" y="403384"/>
                  </a:cubicBezTo>
                  <a:close/>
                  <a:moveTo>
                    <a:pt x="1833086" y="339566"/>
                  </a:moveTo>
                  <a:cubicBezTo>
                    <a:pt x="1833086" y="339566"/>
                    <a:pt x="1833086" y="339566"/>
                    <a:pt x="1833086" y="339566"/>
                  </a:cubicBezTo>
                  <a:cubicBezTo>
                    <a:pt x="1833086" y="339566"/>
                    <a:pt x="1833086" y="340519"/>
                    <a:pt x="1833086" y="340519"/>
                  </a:cubicBezTo>
                  <a:cubicBezTo>
                    <a:pt x="1833086" y="340519"/>
                    <a:pt x="1833086" y="339566"/>
                    <a:pt x="1833086" y="339566"/>
                  </a:cubicBezTo>
                  <a:close/>
                  <a:moveTo>
                    <a:pt x="1824514" y="272891"/>
                  </a:moveTo>
                  <a:cubicBezTo>
                    <a:pt x="1824514" y="269081"/>
                    <a:pt x="1824514" y="266224"/>
                    <a:pt x="1824514" y="263366"/>
                  </a:cubicBezTo>
                  <a:cubicBezTo>
                    <a:pt x="1827371" y="269081"/>
                    <a:pt x="1831181" y="276701"/>
                    <a:pt x="1835944" y="285274"/>
                  </a:cubicBezTo>
                  <a:cubicBezTo>
                    <a:pt x="1835944" y="288131"/>
                    <a:pt x="1835944" y="290989"/>
                    <a:pt x="1834991" y="294799"/>
                  </a:cubicBezTo>
                  <a:cubicBezTo>
                    <a:pt x="1834991" y="302419"/>
                    <a:pt x="1834039" y="310991"/>
                    <a:pt x="1834039" y="320516"/>
                  </a:cubicBezTo>
                  <a:cubicBezTo>
                    <a:pt x="1834039" y="323374"/>
                    <a:pt x="1834039" y="327184"/>
                    <a:pt x="1834039" y="330994"/>
                  </a:cubicBezTo>
                  <a:cubicBezTo>
                    <a:pt x="1834039" y="330994"/>
                    <a:pt x="1833086" y="330994"/>
                    <a:pt x="1833086" y="331946"/>
                  </a:cubicBezTo>
                  <a:cubicBezTo>
                    <a:pt x="1833086" y="331946"/>
                    <a:pt x="1832134" y="332899"/>
                    <a:pt x="1832134" y="332899"/>
                  </a:cubicBezTo>
                  <a:cubicBezTo>
                    <a:pt x="1830229" y="326231"/>
                    <a:pt x="1829276" y="321469"/>
                    <a:pt x="1827371" y="316706"/>
                  </a:cubicBezTo>
                  <a:cubicBezTo>
                    <a:pt x="1825466" y="310991"/>
                    <a:pt x="1823561" y="306229"/>
                    <a:pt x="1822609" y="303371"/>
                  </a:cubicBezTo>
                  <a:cubicBezTo>
                    <a:pt x="1823561" y="292894"/>
                    <a:pt x="1823561" y="282416"/>
                    <a:pt x="1824514" y="272891"/>
                  </a:cubicBezTo>
                  <a:close/>
                  <a:moveTo>
                    <a:pt x="1822609" y="309086"/>
                  </a:moveTo>
                  <a:cubicBezTo>
                    <a:pt x="1822609" y="311944"/>
                    <a:pt x="1823561" y="314801"/>
                    <a:pt x="1823561" y="317659"/>
                  </a:cubicBezTo>
                  <a:cubicBezTo>
                    <a:pt x="1824514" y="323374"/>
                    <a:pt x="1824514" y="330994"/>
                    <a:pt x="1825466" y="338614"/>
                  </a:cubicBezTo>
                  <a:cubicBezTo>
                    <a:pt x="1825466" y="339566"/>
                    <a:pt x="1825466" y="340519"/>
                    <a:pt x="1825466" y="340519"/>
                  </a:cubicBezTo>
                  <a:cubicBezTo>
                    <a:pt x="1823561" y="342424"/>
                    <a:pt x="1822609" y="345281"/>
                    <a:pt x="1820704" y="348139"/>
                  </a:cubicBezTo>
                  <a:cubicBezTo>
                    <a:pt x="1820704" y="343376"/>
                    <a:pt x="1820704" y="337661"/>
                    <a:pt x="1820704" y="332899"/>
                  </a:cubicBezTo>
                  <a:cubicBezTo>
                    <a:pt x="1820704" y="332899"/>
                    <a:pt x="1820704" y="332899"/>
                    <a:pt x="1820704" y="331946"/>
                  </a:cubicBezTo>
                  <a:cubicBezTo>
                    <a:pt x="1821656" y="324326"/>
                    <a:pt x="1821656" y="316706"/>
                    <a:pt x="1822609" y="309086"/>
                  </a:cubicBezTo>
                  <a:close/>
                  <a:moveTo>
                    <a:pt x="1763554" y="411956"/>
                  </a:moveTo>
                  <a:cubicBezTo>
                    <a:pt x="1763554" y="410051"/>
                    <a:pt x="1762601" y="408146"/>
                    <a:pt x="1762601" y="406241"/>
                  </a:cubicBezTo>
                  <a:cubicBezTo>
                    <a:pt x="1762601" y="403384"/>
                    <a:pt x="1761649" y="400526"/>
                    <a:pt x="1761649" y="397669"/>
                  </a:cubicBezTo>
                  <a:cubicBezTo>
                    <a:pt x="1761649" y="397669"/>
                    <a:pt x="1761649" y="397669"/>
                    <a:pt x="1761649" y="397669"/>
                  </a:cubicBezTo>
                  <a:cubicBezTo>
                    <a:pt x="1762601" y="398621"/>
                    <a:pt x="1763554" y="399574"/>
                    <a:pt x="1764506" y="400526"/>
                  </a:cubicBezTo>
                  <a:cubicBezTo>
                    <a:pt x="1764506" y="404336"/>
                    <a:pt x="1764506" y="408146"/>
                    <a:pt x="1763554" y="411956"/>
                  </a:cubicBezTo>
                  <a:close/>
                  <a:moveTo>
                    <a:pt x="1766411" y="379571"/>
                  </a:moveTo>
                  <a:cubicBezTo>
                    <a:pt x="1766411" y="379571"/>
                    <a:pt x="1766411" y="379571"/>
                    <a:pt x="1766411" y="379571"/>
                  </a:cubicBezTo>
                  <a:cubicBezTo>
                    <a:pt x="1766411" y="378619"/>
                    <a:pt x="1766411" y="377666"/>
                    <a:pt x="1766411" y="377666"/>
                  </a:cubicBezTo>
                  <a:cubicBezTo>
                    <a:pt x="1766411" y="378619"/>
                    <a:pt x="1766411" y="379571"/>
                    <a:pt x="1766411" y="379571"/>
                  </a:cubicBezTo>
                  <a:close/>
                  <a:moveTo>
                    <a:pt x="1792129" y="251936"/>
                  </a:moveTo>
                  <a:lnTo>
                    <a:pt x="1802606" y="219551"/>
                  </a:lnTo>
                  <a:cubicBezTo>
                    <a:pt x="1802606" y="219551"/>
                    <a:pt x="1802606" y="219551"/>
                    <a:pt x="1802606" y="219551"/>
                  </a:cubicBezTo>
                  <a:cubicBezTo>
                    <a:pt x="1802606" y="237649"/>
                    <a:pt x="1801654" y="255746"/>
                    <a:pt x="1801654" y="274796"/>
                  </a:cubicBezTo>
                  <a:cubicBezTo>
                    <a:pt x="1801654" y="291941"/>
                    <a:pt x="1800701" y="309086"/>
                    <a:pt x="1800701" y="327184"/>
                  </a:cubicBezTo>
                  <a:cubicBezTo>
                    <a:pt x="1798796" y="321469"/>
                    <a:pt x="1796891" y="315754"/>
                    <a:pt x="1794034" y="310991"/>
                  </a:cubicBezTo>
                  <a:cubicBezTo>
                    <a:pt x="1792129" y="305276"/>
                    <a:pt x="1790224" y="299561"/>
                    <a:pt x="1788319" y="294799"/>
                  </a:cubicBezTo>
                  <a:cubicBezTo>
                    <a:pt x="1788319" y="293846"/>
                    <a:pt x="1787366" y="292894"/>
                    <a:pt x="1787366" y="292894"/>
                  </a:cubicBezTo>
                  <a:cubicBezTo>
                    <a:pt x="1787366" y="290989"/>
                    <a:pt x="1786414" y="289084"/>
                    <a:pt x="1786414" y="287179"/>
                  </a:cubicBezTo>
                  <a:cubicBezTo>
                    <a:pt x="1787366" y="284321"/>
                    <a:pt x="1788319" y="282416"/>
                    <a:pt x="1788319" y="279559"/>
                  </a:cubicBezTo>
                  <a:cubicBezTo>
                    <a:pt x="1788319" y="278606"/>
                    <a:pt x="1788319" y="277654"/>
                    <a:pt x="1787366" y="275749"/>
                  </a:cubicBezTo>
                  <a:cubicBezTo>
                    <a:pt x="1787366" y="274796"/>
                    <a:pt x="1785461" y="274796"/>
                    <a:pt x="1785461" y="274796"/>
                  </a:cubicBezTo>
                  <a:cubicBezTo>
                    <a:pt x="1785461" y="274796"/>
                    <a:pt x="1785461" y="274796"/>
                    <a:pt x="1785461" y="274796"/>
                  </a:cubicBezTo>
                  <a:lnTo>
                    <a:pt x="1792129" y="251936"/>
                  </a:lnTo>
                  <a:close/>
                  <a:moveTo>
                    <a:pt x="1785461" y="276701"/>
                  </a:moveTo>
                  <a:cubicBezTo>
                    <a:pt x="1785461" y="276701"/>
                    <a:pt x="1786414" y="277654"/>
                    <a:pt x="1786414" y="278606"/>
                  </a:cubicBezTo>
                  <a:cubicBezTo>
                    <a:pt x="1786414" y="279559"/>
                    <a:pt x="1786414" y="281464"/>
                    <a:pt x="1786414" y="282416"/>
                  </a:cubicBezTo>
                  <a:cubicBezTo>
                    <a:pt x="1785461" y="280511"/>
                    <a:pt x="1785461" y="278606"/>
                    <a:pt x="1785461" y="276701"/>
                  </a:cubicBezTo>
                  <a:cubicBezTo>
                    <a:pt x="1785461" y="276701"/>
                    <a:pt x="1785461" y="276701"/>
                    <a:pt x="1785461" y="276701"/>
                  </a:cubicBezTo>
                  <a:close/>
                  <a:moveTo>
                    <a:pt x="1776889" y="330994"/>
                  </a:moveTo>
                  <a:cubicBezTo>
                    <a:pt x="1779746" y="345281"/>
                    <a:pt x="1782604" y="360521"/>
                    <a:pt x="1785461" y="376714"/>
                  </a:cubicBezTo>
                  <a:cubicBezTo>
                    <a:pt x="1785461" y="379571"/>
                    <a:pt x="1786414" y="382429"/>
                    <a:pt x="1786414" y="385286"/>
                  </a:cubicBezTo>
                  <a:cubicBezTo>
                    <a:pt x="1785461" y="384334"/>
                    <a:pt x="1785461" y="383381"/>
                    <a:pt x="1784509" y="382429"/>
                  </a:cubicBezTo>
                  <a:cubicBezTo>
                    <a:pt x="1785461" y="377666"/>
                    <a:pt x="1785461" y="374809"/>
                    <a:pt x="1785461" y="374809"/>
                  </a:cubicBezTo>
                  <a:cubicBezTo>
                    <a:pt x="1785461" y="374809"/>
                    <a:pt x="1784509" y="376714"/>
                    <a:pt x="1783556" y="380524"/>
                  </a:cubicBezTo>
                  <a:cubicBezTo>
                    <a:pt x="1781651" y="376714"/>
                    <a:pt x="1778794" y="373856"/>
                    <a:pt x="1776889" y="370999"/>
                  </a:cubicBezTo>
                  <a:cubicBezTo>
                    <a:pt x="1776889" y="357664"/>
                    <a:pt x="1776889" y="346234"/>
                    <a:pt x="1776889" y="337661"/>
                  </a:cubicBezTo>
                  <a:cubicBezTo>
                    <a:pt x="1775936" y="334804"/>
                    <a:pt x="1775936" y="332899"/>
                    <a:pt x="1776889" y="330994"/>
                  </a:cubicBezTo>
                  <a:close/>
                  <a:moveTo>
                    <a:pt x="1755934" y="211931"/>
                  </a:moveTo>
                  <a:cubicBezTo>
                    <a:pt x="1756886" y="215741"/>
                    <a:pt x="1758791" y="223361"/>
                    <a:pt x="1761649" y="233839"/>
                  </a:cubicBezTo>
                  <a:cubicBezTo>
                    <a:pt x="1761649" y="234791"/>
                    <a:pt x="1762601" y="236696"/>
                    <a:pt x="1762601" y="238601"/>
                  </a:cubicBezTo>
                  <a:cubicBezTo>
                    <a:pt x="1761649" y="237649"/>
                    <a:pt x="1761649" y="235744"/>
                    <a:pt x="1760696" y="234791"/>
                  </a:cubicBezTo>
                  <a:cubicBezTo>
                    <a:pt x="1759744" y="232886"/>
                    <a:pt x="1759744" y="230981"/>
                    <a:pt x="1759744" y="230981"/>
                  </a:cubicBezTo>
                  <a:cubicBezTo>
                    <a:pt x="1759744" y="230981"/>
                    <a:pt x="1759744" y="231934"/>
                    <a:pt x="1759744" y="232886"/>
                  </a:cubicBezTo>
                  <a:cubicBezTo>
                    <a:pt x="1758791" y="230981"/>
                    <a:pt x="1757839" y="229076"/>
                    <a:pt x="1756886" y="227171"/>
                  </a:cubicBezTo>
                  <a:cubicBezTo>
                    <a:pt x="1755934" y="226219"/>
                    <a:pt x="1755934" y="225266"/>
                    <a:pt x="1754981" y="223361"/>
                  </a:cubicBezTo>
                  <a:cubicBezTo>
                    <a:pt x="1755934" y="219551"/>
                    <a:pt x="1755934" y="215741"/>
                    <a:pt x="1755934" y="211931"/>
                  </a:cubicBezTo>
                  <a:close/>
                  <a:moveTo>
                    <a:pt x="1754981" y="232886"/>
                  </a:moveTo>
                  <a:cubicBezTo>
                    <a:pt x="1754981" y="233839"/>
                    <a:pt x="1755934" y="234791"/>
                    <a:pt x="1755934" y="235744"/>
                  </a:cubicBezTo>
                  <a:cubicBezTo>
                    <a:pt x="1755934" y="236696"/>
                    <a:pt x="1754981" y="237649"/>
                    <a:pt x="1754981" y="240506"/>
                  </a:cubicBezTo>
                  <a:cubicBezTo>
                    <a:pt x="1754981" y="237649"/>
                    <a:pt x="1754981" y="234791"/>
                    <a:pt x="1754981" y="232886"/>
                  </a:cubicBezTo>
                  <a:close/>
                  <a:moveTo>
                    <a:pt x="1754029" y="281464"/>
                  </a:moveTo>
                  <a:cubicBezTo>
                    <a:pt x="1754029" y="270986"/>
                    <a:pt x="1754029" y="261461"/>
                    <a:pt x="1754981" y="252889"/>
                  </a:cubicBezTo>
                  <a:cubicBezTo>
                    <a:pt x="1755934" y="244316"/>
                    <a:pt x="1756886" y="238601"/>
                    <a:pt x="1756886" y="236696"/>
                  </a:cubicBezTo>
                  <a:cubicBezTo>
                    <a:pt x="1758791" y="242411"/>
                    <a:pt x="1761649" y="250031"/>
                    <a:pt x="1763554" y="256699"/>
                  </a:cubicBezTo>
                  <a:cubicBezTo>
                    <a:pt x="1764506" y="265271"/>
                    <a:pt x="1766411" y="274796"/>
                    <a:pt x="1768316" y="286226"/>
                  </a:cubicBezTo>
                  <a:cubicBezTo>
                    <a:pt x="1763554" y="298609"/>
                    <a:pt x="1758791" y="310991"/>
                    <a:pt x="1754981" y="322421"/>
                  </a:cubicBezTo>
                  <a:cubicBezTo>
                    <a:pt x="1754981" y="320516"/>
                    <a:pt x="1754981" y="318611"/>
                    <a:pt x="1754029" y="317659"/>
                  </a:cubicBezTo>
                  <a:cubicBezTo>
                    <a:pt x="1754029" y="317659"/>
                    <a:pt x="1754029" y="316706"/>
                    <a:pt x="1754029" y="316706"/>
                  </a:cubicBezTo>
                  <a:cubicBezTo>
                    <a:pt x="1754029" y="303371"/>
                    <a:pt x="1754029" y="291941"/>
                    <a:pt x="1754029" y="281464"/>
                  </a:cubicBezTo>
                  <a:close/>
                  <a:moveTo>
                    <a:pt x="1687354" y="295751"/>
                  </a:moveTo>
                  <a:cubicBezTo>
                    <a:pt x="1686401" y="302419"/>
                    <a:pt x="1685449" y="309086"/>
                    <a:pt x="1685449" y="314801"/>
                  </a:cubicBezTo>
                  <a:cubicBezTo>
                    <a:pt x="1685449" y="318611"/>
                    <a:pt x="1684496" y="321469"/>
                    <a:pt x="1684496" y="325279"/>
                  </a:cubicBezTo>
                  <a:cubicBezTo>
                    <a:pt x="1683544" y="320516"/>
                    <a:pt x="1682591" y="316706"/>
                    <a:pt x="1681639" y="311944"/>
                  </a:cubicBezTo>
                  <a:cubicBezTo>
                    <a:pt x="1681639" y="310039"/>
                    <a:pt x="1681639" y="309086"/>
                    <a:pt x="1681639" y="309086"/>
                  </a:cubicBezTo>
                  <a:cubicBezTo>
                    <a:pt x="1681639" y="309086"/>
                    <a:pt x="1681639" y="309086"/>
                    <a:pt x="1681639" y="310039"/>
                  </a:cubicBezTo>
                  <a:cubicBezTo>
                    <a:pt x="1681639" y="309086"/>
                    <a:pt x="1680686" y="307181"/>
                    <a:pt x="1680686" y="306229"/>
                  </a:cubicBezTo>
                  <a:cubicBezTo>
                    <a:pt x="1680686" y="305276"/>
                    <a:pt x="1680686" y="304324"/>
                    <a:pt x="1681639" y="303371"/>
                  </a:cubicBezTo>
                  <a:cubicBezTo>
                    <a:pt x="1682591" y="300514"/>
                    <a:pt x="1683544" y="297656"/>
                    <a:pt x="1684496" y="295751"/>
                  </a:cubicBezTo>
                  <a:cubicBezTo>
                    <a:pt x="1686401" y="290989"/>
                    <a:pt x="1687354" y="287179"/>
                    <a:pt x="1689259" y="282416"/>
                  </a:cubicBezTo>
                  <a:cubicBezTo>
                    <a:pt x="1687354" y="287179"/>
                    <a:pt x="1687354" y="291941"/>
                    <a:pt x="1687354" y="295751"/>
                  </a:cubicBezTo>
                  <a:close/>
                  <a:moveTo>
                    <a:pt x="1678781" y="276701"/>
                  </a:moveTo>
                  <a:cubicBezTo>
                    <a:pt x="1680686" y="266224"/>
                    <a:pt x="1682591" y="255746"/>
                    <a:pt x="1684496" y="245269"/>
                  </a:cubicBezTo>
                  <a:cubicBezTo>
                    <a:pt x="1685449" y="250031"/>
                    <a:pt x="1686401" y="254794"/>
                    <a:pt x="1686401" y="259556"/>
                  </a:cubicBezTo>
                  <a:cubicBezTo>
                    <a:pt x="1686401" y="262414"/>
                    <a:pt x="1686401" y="265271"/>
                    <a:pt x="1686401" y="268129"/>
                  </a:cubicBezTo>
                  <a:cubicBezTo>
                    <a:pt x="1686401" y="269081"/>
                    <a:pt x="1686401" y="270034"/>
                    <a:pt x="1686401" y="270986"/>
                  </a:cubicBezTo>
                  <a:cubicBezTo>
                    <a:pt x="1682591" y="276701"/>
                    <a:pt x="1679734" y="284321"/>
                    <a:pt x="1675924" y="292894"/>
                  </a:cubicBezTo>
                  <a:cubicBezTo>
                    <a:pt x="1675924" y="292894"/>
                    <a:pt x="1675924" y="291941"/>
                    <a:pt x="1675924" y="291941"/>
                  </a:cubicBezTo>
                  <a:cubicBezTo>
                    <a:pt x="1676876" y="287179"/>
                    <a:pt x="1677829" y="283369"/>
                    <a:pt x="1678781" y="278606"/>
                  </a:cubicBezTo>
                  <a:cubicBezTo>
                    <a:pt x="1679734" y="276701"/>
                    <a:pt x="1679734" y="275749"/>
                    <a:pt x="1679734" y="275749"/>
                  </a:cubicBezTo>
                  <a:cubicBezTo>
                    <a:pt x="1679734" y="275749"/>
                    <a:pt x="1679734" y="275749"/>
                    <a:pt x="1678781" y="276701"/>
                  </a:cubicBezTo>
                  <a:close/>
                  <a:moveTo>
                    <a:pt x="1677829" y="199549"/>
                  </a:moveTo>
                  <a:cubicBezTo>
                    <a:pt x="1677829" y="201454"/>
                    <a:pt x="1677829" y="202406"/>
                    <a:pt x="1678781" y="204311"/>
                  </a:cubicBezTo>
                  <a:cubicBezTo>
                    <a:pt x="1677829" y="207169"/>
                    <a:pt x="1676876" y="210979"/>
                    <a:pt x="1676876" y="213836"/>
                  </a:cubicBezTo>
                  <a:cubicBezTo>
                    <a:pt x="1676876" y="209074"/>
                    <a:pt x="1676876" y="204311"/>
                    <a:pt x="1677829" y="199549"/>
                  </a:cubicBezTo>
                  <a:close/>
                  <a:moveTo>
                    <a:pt x="1640681" y="226219"/>
                  </a:moveTo>
                  <a:cubicBezTo>
                    <a:pt x="1643539" y="233839"/>
                    <a:pt x="1646396" y="244316"/>
                    <a:pt x="1649254" y="254794"/>
                  </a:cubicBezTo>
                  <a:cubicBezTo>
                    <a:pt x="1651159" y="260509"/>
                    <a:pt x="1652111" y="267176"/>
                    <a:pt x="1654016" y="274796"/>
                  </a:cubicBezTo>
                  <a:cubicBezTo>
                    <a:pt x="1654016" y="276701"/>
                    <a:pt x="1653064" y="279559"/>
                    <a:pt x="1653064" y="281464"/>
                  </a:cubicBezTo>
                  <a:cubicBezTo>
                    <a:pt x="1653064" y="280511"/>
                    <a:pt x="1652111" y="279559"/>
                    <a:pt x="1652111" y="279559"/>
                  </a:cubicBezTo>
                  <a:cubicBezTo>
                    <a:pt x="1652111" y="279559"/>
                    <a:pt x="1652111" y="280511"/>
                    <a:pt x="1652111" y="282416"/>
                  </a:cubicBezTo>
                  <a:cubicBezTo>
                    <a:pt x="1651159" y="288131"/>
                    <a:pt x="1650206" y="293846"/>
                    <a:pt x="1649254" y="300514"/>
                  </a:cubicBezTo>
                  <a:cubicBezTo>
                    <a:pt x="1646396" y="293846"/>
                    <a:pt x="1644491" y="288131"/>
                    <a:pt x="1641634" y="281464"/>
                  </a:cubicBezTo>
                  <a:cubicBezTo>
                    <a:pt x="1642586" y="280511"/>
                    <a:pt x="1642586" y="280511"/>
                    <a:pt x="1643539" y="279559"/>
                  </a:cubicBezTo>
                  <a:cubicBezTo>
                    <a:pt x="1644491" y="278606"/>
                    <a:pt x="1646396" y="277654"/>
                    <a:pt x="1647349" y="277654"/>
                  </a:cubicBezTo>
                  <a:cubicBezTo>
                    <a:pt x="1651159" y="274796"/>
                    <a:pt x="1654016" y="273844"/>
                    <a:pt x="1654016" y="273844"/>
                  </a:cubicBezTo>
                  <a:cubicBezTo>
                    <a:pt x="1654016" y="273844"/>
                    <a:pt x="1652111" y="274796"/>
                    <a:pt x="1647349" y="276701"/>
                  </a:cubicBezTo>
                  <a:cubicBezTo>
                    <a:pt x="1646396" y="277654"/>
                    <a:pt x="1645444" y="277654"/>
                    <a:pt x="1643539" y="278606"/>
                  </a:cubicBezTo>
                  <a:cubicBezTo>
                    <a:pt x="1643539" y="278606"/>
                    <a:pt x="1642586" y="279559"/>
                    <a:pt x="1642586" y="279559"/>
                  </a:cubicBezTo>
                  <a:cubicBezTo>
                    <a:pt x="1642586" y="271939"/>
                    <a:pt x="1642586" y="263366"/>
                    <a:pt x="1642586" y="255746"/>
                  </a:cubicBezTo>
                  <a:cubicBezTo>
                    <a:pt x="1640681" y="246221"/>
                    <a:pt x="1640681" y="235744"/>
                    <a:pt x="1640681" y="226219"/>
                  </a:cubicBezTo>
                  <a:cubicBezTo>
                    <a:pt x="1639729" y="226219"/>
                    <a:pt x="1639729" y="226219"/>
                    <a:pt x="1640681" y="226219"/>
                  </a:cubicBezTo>
                  <a:close/>
                  <a:moveTo>
                    <a:pt x="1620679" y="348139"/>
                  </a:moveTo>
                  <a:cubicBezTo>
                    <a:pt x="1620679" y="349091"/>
                    <a:pt x="1620679" y="350044"/>
                    <a:pt x="1620679" y="351949"/>
                  </a:cubicBezTo>
                  <a:cubicBezTo>
                    <a:pt x="1620679" y="352901"/>
                    <a:pt x="1620679" y="353854"/>
                    <a:pt x="1620679" y="353854"/>
                  </a:cubicBezTo>
                  <a:cubicBezTo>
                    <a:pt x="1619726" y="354806"/>
                    <a:pt x="1619726" y="355759"/>
                    <a:pt x="1618774" y="356711"/>
                  </a:cubicBezTo>
                  <a:cubicBezTo>
                    <a:pt x="1619726" y="353854"/>
                    <a:pt x="1620679" y="350044"/>
                    <a:pt x="1620679" y="348139"/>
                  </a:cubicBezTo>
                  <a:close/>
                  <a:moveTo>
                    <a:pt x="1618774" y="311944"/>
                  </a:moveTo>
                  <a:cubicBezTo>
                    <a:pt x="1617821" y="312896"/>
                    <a:pt x="1617821" y="313849"/>
                    <a:pt x="1616869" y="315754"/>
                  </a:cubicBezTo>
                  <a:cubicBezTo>
                    <a:pt x="1613059" y="323374"/>
                    <a:pt x="1609249" y="332899"/>
                    <a:pt x="1605439" y="343376"/>
                  </a:cubicBezTo>
                  <a:cubicBezTo>
                    <a:pt x="1604486" y="345281"/>
                    <a:pt x="1603534" y="348139"/>
                    <a:pt x="1602581" y="350996"/>
                  </a:cubicBezTo>
                  <a:cubicBezTo>
                    <a:pt x="1602581" y="348139"/>
                    <a:pt x="1602581" y="345281"/>
                    <a:pt x="1602581" y="342424"/>
                  </a:cubicBezTo>
                  <a:cubicBezTo>
                    <a:pt x="1605439" y="334804"/>
                    <a:pt x="1609249" y="328136"/>
                    <a:pt x="1613059" y="321469"/>
                  </a:cubicBezTo>
                  <a:cubicBezTo>
                    <a:pt x="1614964" y="317659"/>
                    <a:pt x="1617821" y="313849"/>
                    <a:pt x="1619726" y="310039"/>
                  </a:cubicBezTo>
                  <a:cubicBezTo>
                    <a:pt x="1618774" y="310991"/>
                    <a:pt x="1618774" y="310991"/>
                    <a:pt x="1618774" y="311944"/>
                  </a:cubicBezTo>
                  <a:close/>
                  <a:moveTo>
                    <a:pt x="1610201" y="269081"/>
                  </a:moveTo>
                  <a:cubicBezTo>
                    <a:pt x="1612106" y="265271"/>
                    <a:pt x="1613059" y="261461"/>
                    <a:pt x="1614011" y="258604"/>
                  </a:cubicBezTo>
                  <a:cubicBezTo>
                    <a:pt x="1614964" y="256699"/>
                    <a:pt x="1615916" y="254794"/>
                    <a:pt x="1616869" y="252889"/>
                  </a:cubicBezTo>
                  <a:cubicBezTo>
                    <a:pt x="1616869" y="264319"/>
                    <a:pt x="1617821" y="277654"/>
                    <a:pt x="1617821" y="292894"/>
                  </a:cubicBezTo>
                  <a:cubicBezTo>
                    <a:pt x="1617821" y="292894"/>
                    <a:pt x="1617821" y="293846"/>
                    <a:pt x="1617821" y="293846"/>
                  </a:cubicBezTo>
                  <a:cubicBezTo>
                    <a:pt x="1616869" y="291941"/>
                    <a:pt x="1615916" y="290036"/>
                    <a:pt x="1614011" y="289084"/>
                  </a:cubicBezTo>
                  <a:cubicBezTo>
                    <a:pt x="1611154" y="284321"/>
                    <a:pt x="1608296" y="280511"/>
                    <a:pt x="1606391" y="277654"/>
                  </a:cubicBezTo>
                  <a:cubicBezTo>
                    <a:pt x="1608296" y="274796"/>
                    <a:pt x="1609249" y="271939"/>
                    <a:pt x="1610201" y="269081"/>
                  </a:cubicBezTo>
                  <a:close/>
                  <a:moveTo>
                    <a:pt x="1600676" y="297656"/>
                  </a:moveTo>
                  <a:cubicBezTo>
                    <a:pt x="1602581" y="290989"/>
                    <a:pt x="1604486" y="285274"/>
                    <a:pt x="1606391" y="279559"/>
                  </a:cubicBezTo>
                  <a:cubicBezTo>
                    <a:pt x="1607344" y="282416"/>
                    <a:pt x="1609249" y="286226"/>
                    <a:pt x="1611154" y="290989"/>
                  </a:cubicBezTo>
                  <a:cubicBezTo>
                    <a:pt x="1613059" y="294799"/>
                    <a:pt x="1614964" y="298609"/>
                    <a:pt x="1616869" y="303371"/>
                  </a:cubicBezTo>
                  <a:cubicBezTo>
                    <a:pt x="1613059" y="307181"/>
                    <a:pt x="1610201" y="312896"/>
                    <a:pt x="1606391" y="317659"/>
                  </a:cubicBezTo>
                  <a:cubicBezTo>
                    <a:pt x="1604486" y="320516"/>
                    <a:pt x="1602581" y="322421"/>
                    <a:pt x="1601629" y="325279"/>
                  </a:cubicBezTo>
                  <a:cubicBezTo>
                    <a:pt x="1601629" y="323374"/>
                    <a:pt x="1601629" y="321469"/>
                    <a:pt x="1600676" y="319564"/>
                  </a:cubicBezTo>
                  <a:cubicBezTo>
                    <a:pt x="1600676" y="314801"/>
                    <a:pt x="1599724" y="310039"/>
                    <a:pt x="1599724" y="305276"/>
                  </a:cubicBezTo>
                  <a:cubicBezTo>
                    <a:pt x="1599724" y="302419"/>
                    <a:pt x="1600676" y="300514"/>
                    <a:pt x="1600676" y="297656"/>
                  </a:cubicBezTo>
                  <a:close/>
                  <a:moveTo>
                    <a:pt x="1567339" y="315754"/>
                  </a:moveTo>
                  <a:cubicBezTo>
                    <a:pt x="1567339" y="320516"/>
                    <a:pt x="1568291" y="325279"/>
                    <a:pt x="1568291" y="330041"/>
                  </a:cubicBezTo>
                  <a:cubicBezTo>
                    <a:pt x="1567339" y="326231"/>
                    <a:pt x="1567339" y="323374"/>
                    <a:pt x="1566386" y="320516"/>
                  </a:cubicBezTo>
                  <a:cubicBezTo>
                    <a:pt x="1567339" y="319564"/>
                    <a:pt x="1567339" y="317659"/>
                    <a:pt x="1567339" y="315754"/>
                  </a:cubicBezTo>
                  <a:close/>
                  <a:moveTo>
                    <a:pt x="1547336" y="265271"/>
                  </a:moveTo>
                  <a:cubicBezTo>
                    <a:pt x="1547336" y="269081"/>
                    <a:pt x="1546384" y="271939"/>
                    <a:pt x="1546384" y="275749"/>
                  </a:cubicBezTo>
                  <a:cubicBezTo>
                    <a:pt x="1546384" y="274796"/>
                    <a:pt x="1545431" y="273844"/>
                    <a:pt x="1545431" y="272891"/>
                  </a:cubicBezTo>
                  <a:cubicBezTo>
                    <a:pt x="1546384" y="270986"/>
                    <a:pt x="1546384" y="268129"/>
                    <a:pt x="1547336" y="265271"/>
                  </a:cubicBezTo>
                  <a:close/>
                  <a:moveTo>
                    <a:pt x="1541621" y="286226"/>
                  </a:moveTo>
                  <a:cubicBezTo>
                    <a:pt x="1542574" y="289084"/>
                    <a:pt x="1543526" y="290989"/>
                    <a:pt x="1543526" y="293846"/>
                  </a:cubicBezTo>
                  <a:cubicBezTo>
                    <a:pt x="1543526" y="295751"/>
                    <a:pt x="1542574" y="298609"/>
                    <a:pt x="1542574" y="301466"/>
                  </a:cubicBezTo>
                  <a:cubicBezTo>
                    <a:pt x="1541621" y="298609"/>
                    <a:pt x="1540669" y="294799"/>
                    <a:pt x="1539716" y="291941"/>
                  </a:cubicBezTo>
                  <a:cubicBezTo>
                    <a:pt x="1540669" y="289084"/>
                    <a:pt x="1541621" y="288131"/>
                    <a:pt x="1541621" y="286226"/>
                  </a:cubicBezTo>
                  <a:close/>
                  <a:moveTo>
                    <a:pt x="1537811" y="271939"/>
                  </a:moveTo>
                  <a:cubicBezTo>
                    <a:pt x="1537811" y="273844"/>
                    <a:pt x="1538764" y="274796"/>
                    <a:pt x="1538764" y="276701"/>
                  </a:cubicBezTo>
                  <a:cubicBezTo>
                    <a:pt x="1537811" y="277654"/>
                    <a:pt x="1537811" y="278606"/>
                    <a:pt x="1536859" y="280511"/>
                  </a:cubicBezTo>
                  <a:cubicBezTo>
                    <a:pt x="1537811" y="276701"/>
                    <a:pt x="1537811" y="273844"/>
                    <a:pt x="1537811" y="271939"/>
                  </a:cubicBezTo>
                  <a:close/>
                  <a:moveTo>
                    <a:pt x="1533049" y="338614"/>
                  </a:moveTo>
                  <a:cubicBezTo>
                    <a:pt x="1533049" y="337661"/>
                    <a:pt x="1533049" y="336709"/>
                    <a:pt x="1533049" y="335756"/>
                  </a:cubicBezTo>
                  <a:cubicBezTo>
                    <a:pt x="1534001" y="340519"/>
                    <a:pt x="1534954" y="345281"/>
                    <a:pt x="1535906" y="350044"/>
                  </a:cubicBezTo>
                  <a:cubicBezTo>
                    <a:pt x="1536859" y="352901"/>
                    <a:pt x="1536859" y="354806"/>
                    <a:pt x="1536859" y="357664"/>
                  </a:cubicBezTo>
                  <a:cubicBezTo>
                    <a:pt x="1536859" y="359569"/>
                    <a:pt x="1536859" y="360521"/>
                    <a:pt x="1536859" y="362426"/>
                  </a:cubicBezTo>
                  <a:cubicBezTo>
                    <a:pt x="1536859" y="362426"/>
                    <a:pt x="1536859" y="362426"/>
                    <a:pt x="1536859" y="362426"/>
                  </a:cubicBezTo>
                  <a:cubicBezTo>
                    <a:pt x="1534954" y="356711"/>
                    <a:pt x="1533049" y="351949"/>
                    <a:pt x="1532096" y="346234"/>
                  </a:cubicBezTo>
                  <a:cubicBezTo>
                    <a:pt x="1533049" y="343376"/>
                    <a:pt x="1533049" y="341471"/>
                    <a:pt x="1533049" y="338614"/>
                  </a:cubicBezTo>
                  <a:close/>
                  <a:moveTo>
                    <a:pt x="1519714" y="270986"/>
                  </a:moveTo>
                  <a:cubicBezTo>
                    <a:pt x="1521619" y="279559"/>
                    <a:pt x="1523524" y="288131"/>
                    <a:pt x="1525429" y="297656"/>
                  </a:cubicBezTo>
                  <a:cubicBezTo>
                    <a:pt x="1525429" y="298609"/>
                    <a:pt x="1525429" y="299561"/>
                    <a:pt x="1524476" y="301466"/>
                  </a:cubicBezTo>
                  <a:cubicBezTo>
                    <a:pt x="1523524" y="306229"/>
                    <a:pt x="1522571" y="310991"/>
                    <a:pt x="1521619" y="315754"/>
                  </a:cubicBezTo>
                  <a:cubicBezTo>
                    <a:pt x="1520666" y="313849"/>
                    <a:pt x="1520666" y="311944"/>
                    <a:pt x="1519714" y="310991"/>
                  </a:cubicBezTo>
                  <a:cubicBezTo>
                    <a:pt x="1519714" y="295751"/>
                    <a:pt x="1518761" y="281464"/>
                    <a:pt x="1517809" y="268129"/>
                  </a:cubicBezTo>
                  <a:cubicBezTo>
                    <a:pt x="1519714" y="268129"/>
                    <a:pt x="1519714" y="269081"/>
                    <a:pt x="1519714" y="270986"/>
                  </a:cubicBezTo>
                  <a:close/>
                  <a:moveTo>
                    <a:pt x="1503521" y="302419"/>
                  </a:moveTo>
                  <a:cubicBezTo>
                    <a:pt x="1503521" y="306229"/>
                    <a:pt x="1503521" y="310039"/>
                    <a:pt x="1502569" y="313849"/>
                  </a:cubicBezTo>
                  <a:cubicBezTo>
                    <a:pt x="1502569" y="318611"/>
                    <a:pt x="1502569" y="324326"/>
                    <a:pt x="1502569" y="330041"/>
                  </a:cubicBezTo>
                  <a:cubicBezTo>
                    <a:pt x="1502569" y="330041"/>
                    <a:pt x="1502569" y="330041"/>
                    <a:pt x="1501616" y="329089"/>
                  </a:cubicBezTo>
                  <a:cubicBezTo>
                    <a:pt x="1500664" y="323374"/>
                    <a:pt x="1498759" y="317659"/>
                    <a:pt x="1497806" y="311944"/>
                  </a:cubicBezTo>
                  <a:cubicBezTo>
                    <a:pt x="1500664" y="309086"/>
                    <a:pt x="1502569" y="306229"/>
                    <a:pt x="1503521" y="302419"/>
                  </a:cubicBezTo>
                  <a:close/>
                  <a:moveTo>
                    <a:pt x="1477804" y="272891"/>
                  </a:moveTo>
                  <a:cubicBezTo>
                    <a:pt x="1477804" y="273844"/>
                    <a:pt x="1477804" y="273844"/>
                    <a:pt x="1477804" y="272891"/>
                  </a:cubicBezTo>
                  <a:cubicBezTo>
                    <a:pt x="1477804" y="275749"/>
                    <a:pt x="1477804" y="278606"/>
                    <a:pt x="1477804" y="282416"/>
                  </a:cubicBezTo>
                  <a:cubicBezTo>
                    <a:pt x="1477804" y="286226"/>
                    <a:pt x="1476851" y="290989"/>
                    <a:pt x="1476851" y="294799"/>
                  </a:cubicBezTo>
                  <a:cubicBezTo>
                    <a:pt x="1476851" y="294799"/>
                    <a:pt x="1476851" y="295751"/>
                    <a:pt x="1475899" y="295751"/>
                  </a:cubicBezTo>
                  <a:cubicBezTo>
                    <a:pt x="1475899" y="290989"/>
                    <a:pt x="1474946" y="286226"/>
                    <a:pt x="1474946" y="282416"/>
                  </a:cubicBezTo>
                  <a:cubicBezTo>
                    <a:pt x="1475899" y="279559"/>
                    <a:pt x="1476851" y="276701"/>
                    <a:pt x="1477804" y="272891"/>
                  </a:cubicBezTo>
                  <a:close/>
                  <a:moveTo>
                    <a:pt x="1461611" y="326231"/>
                  </a:moveTo>
                  <a:cubicBezTo>
                    <a:pt x="1461611" y="327184"/>
                    <a:pt x="1461611" y="327184"/>
                    <a:pt x="1461611" y="328136"/>
                  </a:cubicBezTo>
                  <a:cubicBezTo>
                    <a:pt x="1461611" y="329089"/>
                    <a:pt x="1460659" y="329089"/>
                    <a:pt x="1460659" y="330041"/>
                  </a:cubicBezTo>
                  <a:cubicBezTo>
                    <a:pt x="1460659" y="330041"/>
                    <a:pt x="1460659" y="330041"/>
                    <a:pt x="1460659" y="329089"/>
                  </a:cubicBezTo>
                  <a:cubicBezTo>
                    <a:pt x="1460659" y="328136"/>
                    <a:pt x="1460659" y="327184"/>
                    <a:pt x="1461611" y="326231"/>
                  </a:cubicBezTo>
                  <a:close/>
                  <a:moveTo>
                    <a:pt x="1457801" y="309086"/>
                  </a:moveTo>
                  <a:cubicBezTo>
                    <a:pt x="1456849" y="310039"/>
                    <a:pt x="1456849" y="310039"/>
                    <a:pt x="1457801" y="309086"/>
                  </a:cubicBezTo>
                  <a:cubicBezTo>
                    <a:pt x="1456849" y="307181"/>
                    <a:pt x="1456849" y="305276"/>
                    <a:pt x="1455896" y="302419"/>
                  </a:cubicBezTo>
                  <a:cubicBezTo>
                    <a:pt x="1455896" y="305276"/>
                    <a:pt x="1456849" y="307181"/>
                    <a:pt x="1457801" y="309086"/>
                  </a:cubicBezTo>
                  <a:close/>
                  <a:moveTo>
                    <a:pt x="1442561" y="328136"/>
                  </a:moveTo>
                  <a:cubicBezTo>
                    <a:pt x="1442561" y="324326"/>
                    <a:pt x="1442561" y="321469"/>
                    <a:pt x="1442561" y="318611"/>
                  </a:cubicBezTo>
                  <a:cubicBezTo>
                    <a:pt x="1443514" y="323374"/>
                    <a:pt x="1443514" y="329089"/>
                    <a:pt x="1444466" y="333851"/>
                  </a:cubicBezTo>
                  <a:cubicBezTo>
                    <a:pt x="1443514" y="332899"/>
                    <a:pt x="1443514" y="330994"/>
                    <a:pt x="1442561" y="330041"/>
                  </a:cubicBezTo>
                  <a:cubicBezTo>
                    <a:pt x="1442561" y="330041"/>
                    <a:pt x="1442561" y="329089"/>
                    <a:pt x="1442561" y="328136"/>
                  </a:cubicBezTo>
                  <a:close/>
                  <a:moveTo>
                    <a:pt x="1415891" y="281464"/>
                  </a:moveTo>
                  <a:cubicBezTo>
                    <a:pt x="1415891" y="284321"/>
                    <a:pt x="1415891" y="286226"/>
                    <a:pt x="1415891" y="289084"/>
                  </a:cubicBezTo>
                  <a:cubicBezTo>
                    <a:pt x="1415891" y="289084"/>
                    <a:pt x="1415891" y="289084"/>
                    <a:pt x="1415891" y="289084"/>
                  </a:cubicBezTo>
                  <a:cubicBezTo>
                    <a:pt x="1414939" y="288131"/>
                    <a:pt x="1413986" y="287179"/>
                    <a:pt x="1413034" y="286226"/>
                  </a:cubicBezTo>
                  <a:cubicBezTo>
                    <a:pt x="1414939" y="284321"/>
                    <a:pt x="1415891" y="282416"/>
                    <a:pt x="1415891" y="281464"/>
                  </a:cubicBezTo>
                  <a:close/>
                  <a:moveTo>
                    <a:pt x="1412081" y="290036"/>
                  </a:moveTo>
                  <a:cubicBezTo>
                    <a:pt x="1413034" y="290989"/>
                    <a:pt x="1413034" y="291941"/>
                    <a:pt x="1413986" y="292894"/>
                  </a:cubicBezTo>
                  <a:cubicBezTo>
                    <a:pt x="1414939" y="293846"/>
                    <a:pt x="1414939" y="294799"/>
                    <a:pt x="1415891" y="295751"/>
                  </a:cubicBezTo>
                  <a:cubicBezTo>
                    <a:pt x="1415891" y="297656"/>
                    <a:pt x="1415891" y="299561"/>
                    <a:pt x="1415891" y="300514"/>
                  </a:cubicBezTo>
                  <a:cubicBezTo>
                    <a:pt x="1413986" y="296704"/>
                    <a:pt x="1413034" y="293846"/>
                    <a:pt x="1412081" y="290036"/>
                  </a:cubicBezTo>
                  <a:cubicBezTo>
                    <a:pt x="1412081" y="290036"/>
                    <a:pt x="1412081" y="290036"/>
                    <a:pt x="1412081" y="290036"/>
                  </a:cubicBezTo>
                  <a:close/>
                  <a:moveTo>
                    <a:pt x="1383506" y="364331"/>
                  </a:moveTo>
                  <a:cubicBezTo>
                    <a:pt x="1383506" y="362426"/>
                    <a:pt x="1383506" y="360521"/>
                    <a:pt x="1382554" y="358616"/>
                  </a:cubicBezTo>
                  <a:cubicBezTo>
                    <a:pt x="1382554" y="358616"/>
                    <a:pt x="1382554" y="357664"/>
                    <a:pt x="1382554" y="357664"/>
                  </a:cubicBezTo>
                  <a:cubicBezTo>
                    <a:pt x="1382554" y="358616"/>
                    <a:pt x="1383506" y="360521"/>
                    <a:pt x="1383506" y="362426"/>
                  </a:cubicBezTo>
                  <a:cubicBezTo>
                    <a:pt x="1384459" y="363379"/>
                    <a:pt x="1384459" y="363379"/>
                    <a:pt x="1383506" y="364331"/>
                  </a:cubicBezTo>
                  <a:close/>
                  <a:moveTo>
                    <a:pt x="1386364" y="298609"/>
                  </a:moveTo>
                  <a:cubicBezTo>
                    <a:pt x="1386364" y="298609"/>
                    <a:pt x="1386364" y="298609"/>
                    <a:pt x="1386364" y="298609"/>
                  </a:cubicBezTo>
                  <a:cubicBezTo>
                    <a:pt x="1385411" y="296704"/>
                    <a:pt x="1385411" y="295751"/>
                    <a:pt x="1384459" y="293846"/>
                  </a:cubicBezTo>
                  <a:cubicBezTo>
                    <a:pt x="1385411" y="292894"/>
                    <a:pt x="1385411" y="291941"/>
                    <a:pt x="1386364" y="290989"/>
                  </a:cubicBezTo>
                  <a:cubicBezTo>
                    <a:pt x="1388269" y="289084"/>
                    <a:pt x="1389221" y="287179"/>
                    <a:pt x="1391126" y="286226"/>
                  </a:cubicBezTo>
                  <a:cubicBezTo>
                    <a:pt x="1389221" y="290036"/>
                    <a:pt x="1387316" y="293846"/>
                    <a:pt x="1386364" y="298609"/>
                  </a:cubicBezTo>
                  <a:close/>
                  <a:moveTo>
                    <a:pt x="1383506" y="287179"/>
                  </a:moveTo>
                  <a:cubicBezTo>
                    <a:pt x="1383506" y="287179"/>
                    <a:pt x="1382554" y="288131"/>
                    <a:pt x="1382554" y="288131"/>
                  </a:cubicBezTo>
                  <a:cubicBezTo>
                    <a:pt x="1380649" y="283369"/>
                    <a:pt x="1378744" y="278606"/>
                    <a:pt x="1376839" y="274796"/>
                  </a:cubicBezTo>
                  <a:cubicBezTo>
                    <a:pt x="1379696" y="262414"/>
                    <a:pt x="1382554" y="251936"/>
                    <a:pt x="1384459" y="242411"/>
                  </a:cubicBezTo>
                  <a:cubicBezTo>
                    <a:pt x="1385411" y="250031"/>
                    <a:pt x="1387316" y="263366"/>
                    <a:pt x="1390174" y="281464"/>
                  </a:cubicBezTo>
                  <a:cubicBezTo>
                    <a:pt x="1388269" y="283369"/>
                    <a:pt x="1386364" y="285274"/>
                    <a:pt x="1383506" y="287179"/>
                  </a:cubicBezTo>
                  <a:close/>
                  <a:moveTo>
                    <a:pt x="1391126" y="310991"/>
                  </a:moveTo>
                  <a:cubicBezTo>
                    <a:pt x="1392079" y="307181"/>
                    <a:pt x="1392079" y="303371"/>
                    <a:pt x="1393031" y="299561"/>
                  </a:cubicBezTo>
                  <a:cubicBezTo>
                    <a:pt x="1393031" y="299561"/>
                    <a:pt x="1393031" y="298609"/>
                    <a:pt x="1393031" y="298609"/>
                  </a:cubicBezTo>
                  <a:cubicBezTo>
                    <a:pt x="1393031" y="300514"/>
                    <a:pt x="1393984" y="303371"/>
                    <a:pt x="1393984" y="305276"/>
                  </a:cubicBezTo>
                  <a:cubicBezTo>
                    <a:pt x="1393984" y="308134"/>
                    <a:pt x="1392079" y="309086"/>
                    <a:pt x="1391126" y="310991"/>
                  </a:cubicBezTo>
                  <a:close/>
                  <a:moveTo>
                    <a:pt x="1397794" y="278606"/>
                  </a:moveTo>
                  <a:cubicBezTo>
                    <a:pt x="1397794" y="278606"/>
                    <a:pt x="1397794" y="278606"/>
                    <a:pt x="1397794" y="278606"/>
                  </a:cubicBezTo>
                  <a:cubicBezTo>
                    <a:pt x="1397794" y="278606"/>
                    <a:pt x="1397794" y="279559"/>
                    <a:pt x="1397794" y="279559"/>
                  </a:cubicBezTo>
                  <a:cubicBezTo>
                    <a:pt x="1397794" y="279559"/>
                    <a:pt x="1397794" y="279559"/>
                    <a:pt x="1397794" y="278606"/>
                  </a:cubicBezTo>
                  <a:cubicBezTo>
                    <a:pt x="1397794" y="278606"/>
                    <a:pt x="1397794" y="278606"/>
                    <a:pt x="1397794" y="278606"/>
                  </a:cubicBezTo>
                  <a:close/>
                  <a:moveTo>
                    <a:pt x="1397794" y="322421"/>
                  </a:moveTo>
                  <a:cubicBezTo>
                    <a:pt x="1398746" y="325279"/>
                    <a:pt x="1398746" y="328136"/>
                    <a:pt x="1399699" y="331946"/>
                  </a:cubicBezTo>
                  <a:cubicBezTo>
                    <a:pt x="1399699" y="332899"/>
                    <a:pt x="1399699" y="332899"/>
                    <a:pt x="1399699" y="333851"/>
                  </a:cubicBezTo>
                  <a:cubicBezTo>
                    <a:pt x="1398746" y="330994"/>
                    <a:pt x="1397794" y="328136"/>
                    <a:pt x="1396841" y="326231"/>
                  </a:cubicBezTo>
                  <a:cubicBezTo>
                    <a:pt x="1396841" y="324326"/>
                    <a:pt x="1396841" y="323374"/>
                    <a:pt x="1397794" y="322421"/>
                  </a:cubicBezTo>
                  <a:close/>
                  <a:moveTo>
                    <a:pt x="1387316" y="231934"/>
                  </a:moveTo>
                  <a:cubicBezTo>
                    <a:pt x="1389221" y="242411"/>
                    <a:pt x="1392079" y="255746"/>
                    <a:pt x="1395889" y="270986"/>
                  </a:cubicBezTo>
                  <a:cubicBezTo>
                    <a:pt x="1395889" y="271939"/>
                    <a:pt x="1395889" y="271939"/>
                    <a:pt x="1394936" y="272891"/>
                  </a:cubicBezTo>
                  <a:cubicBezTo>
                    <a:pt x="1390174" y="257651"/>
                    <a:pt x="1386364" y="246221"/>
                    <a:pt x="1384459" y="240506"/>
                  </a:cubicBezTo>
                  <a:cubicBezTo>
                    <a:pt x="1386364" y="237649"/>
                    <a:pt x="1387316" y="234791"/>
                    <a:pt x="1387316" y="231934"/>
                  </a:cubicBezTo>
                  <a:close/>
                  <a:moveTo>
                    <a:pt x="1380649" y="232886"/>
                  </a:moveTo>
                  <a:cubicBezTo>
                    <a:pt x="1382554" y="230029"/>
                    <a:pt x="1384459" y="227171"/>
                    <a:pt x="1386364" y="225266"/>
                  </a:cubicBezTo>
                  <a:cubicBezTo>
                    <a:pt x="1386364" y="225266"/>
                    <a:pt x="1386364" y="225266"/>
                    <a:pt x="1386364" y="225266"/>
                  </a:cubicBezTo>
                  <a:cubicBezTo>
                    <a:pt x="1382554" y="234791"/>
                    <a:pt x="1377791" y="247174"/>
                    <a:pt x="1372076" y="262414"/>
                  </a:cubicBezTo>
                  <a:cubicBezTo>
                    <a:pt x="1371124" y="260509"/>
                    <a:pt x="1371124" y="259556"/>
                    <a:pt x="1370171" y="257651"/>
                  </a:cubicBezTo>
                  <a:cubicBezTo>
                    <a:pt x="1369219" y="256699"/>
                    <a:pt x="1369219" y="255746"/>
                    <a:pt x="1369219" y="253841"/>
                  </a:cubicBezTo>
                  <a:cubicBezTo>
                    <a:pt x="1373029" y="245269"/>
                    <a:pt x="1376839" y="238601"/>
                    <a:pt x="1380649" y="232886"/>
                  </a:cubicBezTo>
                  <a:close/>
                  <a:moveTo>
                    <a:pt x="1356836" y="300514"/>
                  </a:moveTo>
                  <a:cubicBezTo>
                    <a:pt x="1356836" y="301466"/>
                    <a:pt x="1356836" y="301466"/>
                    <a:pt x="1356836" y="302419"/>
                  </a:cubicBezTo>
                  <a:cubicBezTo>
                    <a:pt x="1356836" y="303371"/>
                    <a:pt x="1356836" y="303371"/>
                    <a:pt x="1355884" y="304324"/>
                  </a:cubicBezTo>
                  <a:cubicBezTo>
                    <a:pt x="1355884" y="302419"/>
                    <a:pt x="1355884" y="301466"/>
                    <a:pt x="1355884" y="299561"/>
                  </a:cubicBezTo>
                  <a:cubicBezTo>
                    <a:pt x="1355884" y="299561"/>
                    <a:pt x="1356836" y="299561"/>
                    <a:pt x="1356836" y="300514"/>
                  </a:cubicBezTo>
                  <a:close/>
                  <a:moveTo>
                    <a:pt x="1339691" y="325279"/>
                  </a:moveTo>
                  <a:cubicBezTo>
                    <a:pt x="1339691" y="325279"/>
                    <a:pt x="1339691" y="324326"/>
                    <a:pt x="1339691" y="324326"/>
                  </a:cubicBezTo>
                  <a:cubicBezTo>
                    <a:pt x="1340644" y="322421"/>
                    <a:pt x="1341596" y="319564"/>
                    <a:pt x="1341596" y="317659"/>
                  </a:cubicBezTo>
                  <a:cubicBezTo>
                    <a:pt x="1341596" y="317659"/>
                    <a:pt x="1341596" y="317659"/>
                    <a:pt x="1341596" y="317659"/>
                  </a:cubicBezTo>
                  <a:cubicBezTo>
                    <a:pt x="1341596" y="322421"/>
                    <a:pt x="1341596" y="326231"/>
                    <a:pt x="1341596" y="330994"/>
                  </a:cubicBezTo>
                  <a:cubicBezTo>
                    <a:pt x="1341596" y="328136"/>
                    <a:pt x="1340644" y="326231"/>
                    <a:pt x="1339691" y="325279"/>
                  </a:cubicBezTo>
                  <a:close/>
                  <a:moveTo>
                    <a:pt x="1340644" y="226219"/>
                  </a:moveTo>
                  <a:cubicBezTo>
                    <a:pt x="1340644" y="225266"/>
                    <a:pt x="1340644" y="225266"/>
                    <a:pt x="1340644" y="226219"/>
                  </a:cubicBezTo>
                  <a:cubicBezTo>
                    <a:pt x="1341596" y="229076"/>
                    <a:pt x="1343501" y="232886"/>
                    <a:pt x="1344454" y="237649"/>
                  </a:cubicBezTo>
                  <a:cubicBezTo>
                    <a:pt x="1344454" y="239554"/>
                    <a:pt x="1344454" y="240506"/>
                    <a:pt x="1344454" y="242411"/>
                  </a:cubicBezTo>
                  <a:cubicBezTo>
                    <a:pt x="1344454" y="249079"/>
                    <a:pt x="1343501" y="256699"/>
                    <a:pt x="1343501" y="264319"/>
                  </a:cubicBezTo>
                  <a:cubicBezTo>
                    <a:pt x="1343501" y="267176"/>
                    <a:pt x="1343501" y="270034"/>
                    <a:pt x="1343501" y="272891"/>
                  </a:cubicBezTo>
                  <a:cubicBezTo>
                    <a:pt x="1341596" y="271939"/>
                    <a:pt x="1340644" y="270034"/>
                    <a:pt x="1339691" y="269081"/>
                  </a:cubicBezTo>
                  <a:cubicBezTo>
                    <a:pt x="1338739" y="252889"/>
                    <a:pt x="1339691" y="238601"/>
                    <a:pt x="1340644" y="226219"/>
                  </a:cubicBezTo>
                  <a:close/>
                  <a:moveTo>
                    <a:pt x="1337786" y="295751"/>
                  </a:moveTo>
                  <a:cubicBezTo>
                    <a:pt x="1337786" y="288131"/>
                    <a:pt x="1338739" y="279559"/>
                    <a:pt x="1338739" y="271939"/>
                  </a:cubicBezTo>
                  <a:cubicBezTo>
                    <a:pt x="1339691" y="272891"/>
                    <a:pt x="1341596" y="274796"/>
                    <a:pt x="1342549" y="276701"/>
                  </a:cubicBezTo>
                  <a:cubicBezTo>
                    <a:pt x="1342549" y="276701"/>
                    <a:pt x="1342549" y="276701"/>
                    <a:pt x="1342549" y="276701"/>
                  </a:cubicBezTo>
                  <a:cubicBezTo>
                    <a:pt x="1342549" y="279559"/>
                    <a:pt x="1342549" y="283369"/>
                    <a:pt x="1342549" y="286226"/>
                  </a:cubicBezTo>
                  <a:cubicBezTo>
                    <a:pt x="1340644" y="290036"/>
                    <a:pt x="1338739" y="292894"/>
                    <a:pt x="1337786" y="295751"/>
                  </a:cubicBezTo>
                  <a:cubicBezTo>
                    <a:pt x="1337786" y="296704"/>
                    <a:pt x="1337786" y="296704"/>
                    <a:pt x="1337786" y="296704"/>
                  </a:cubicBezTo>
                  <a:cubicBezTo>
                    <a:pt x="1337786" y="296704"/>
                    <a:pt x="1337786" y="295751"/>
                    <a:pt x="1337786" y="295751"/>
                  </a:cubicBezTo>
                  <a:close/>
                  <a:moveTo>
                    <a:pt x="1314926" y="320516"/>
                  </a:moveTo>
                  <a:cubicBezTo>
                    <a:pt x="1314926" y="320516"/>
                    <a:pt x="1314926" y="320516"/>
                    <a:pt x="1314926" y="320516"/>
                  </a:cubicBezTo>
                  <a:cubicBezTo>
                    <a:pt x="1314926" y="320516"/>
                    <a:pt x="1314926" y="320516"/>
                    <a:pt x="1314926" y="320516"/>
                  </a:cubicBezTo>
                  <a:cubicBezTo>
                    <a:pt x="1314926" y="320516"/>
                    <a:pt x="1314926" y="320516"/>
                    <a:pt x="1314926" y="320516"/>
                  </a:cubicBezTo>
                  <a:close/>
                  <a:moveTo>
                    <a:pt x="1311116" y="312896"/>
                  </a:moveTo>
                  <a:cubicBezTo>
                    <a:pt x="1311116" y="312896"/>
                    <a:pt x="1312069" y="313849"/>
                    <a:pt x="1311116" y="312896"/>
                  </a:cubicBezTo>
                  <a:cubicBezTo>
                    <a:pt x="1311116" y="313849"/>
                    <a:pt x="1311116" y="313849"/>
                    <a:pt x="1311116" y="314801"/>
                  </a:cubicBezTo>
                  <a:cubicBezTo>
                    <a:pt x="1311116" y="314801"/>
                    <a:pt x="1311116" y="314801"/>
                    <a:pt x="1311116" y="314801"/>
                  </a:cubicBezTo>
                  <a:cubicBezTo>
                    <a:pt x="1311116" y="313849"/>
                    <a:pt x="1311116" y="313849"/>
                    <a:pt x="1311116" y="312896"/>
                  </a:cubicBezTo>
                  <a:close/>
                  <a:moveTo>
                    <a:pt x="1242536" y="344329"/>
                  </a:moveTo>
                  <a:cubicBezTo>
                    <a:pt x="1241584" y="341471"/>
                    <a:pt x="1239679" y="339566"/>
                    <a:pt x="1238726" y="336709"/>
                  </a:cubicBezTo>
                  <a:cubicBezTo>
                    <a:pt x="1238726" y="328136"/>
                    <a:pt x="1238726" y="318611"/>
                    <a:pt x="1238726" y="310991"/>
                  </a:cubicBezTo>
                  <a:cubicBezTo>
                    <a:pt x="1238726" y="309086"/>
                    <a:pt x="1238726" y="308134"/>
                    <a:pt x="1238726" y="307181"/>
                  </a:cubicBezTo>
                  <a:cubicBezTo>
                    <a:pt x="1240631" y="317659"/>
                    <a:pt x="1241584" y="328136"/>
                    <a:pt x="1244441" y="339566"/>
                  </a:cubicBezTo>
                  <a:cubicBezTo>
                    <a:pt x="1244441" y="339566"/>
                    <a:pt x="1244441" y="340519"/>
                    <a:pt x="1244441" y="340519"/>
                  </a:cubicBezTo>
                  <a:cubicBezTo>
                    <a:pt x="1243489" y="341471"/>
                    <a:pt x="1242536" y="343376"/>
                    <a:pt x="1242536" y="344329"/>
                  </a:cubicBezTo>
                  <a:close/>
                  <a:moveTo>
                    <a:pt x="1279684" y="290989"/>
                  </a:moveTo>
                  <a:cubicBezTo>
                    <a:pt x="1279684" y="289084"/>
                    <a:pt x="1279684" y="286226"/>
                    <a:pt x="1279684" y="284321"/>
                  </a:cubicBezTo>
                  <a:cubicBezTo>
                    <a:pt x="1280636" y="285274"/>
                    <a:pt x="1280636" y="286226"/>
                    <a:pt x="1281589" y="287179"/>
                  </a:cubicBezTo>
                  <a:cubicBezTo>
                    <a:pt x="1280636" y="289084"/>
                    <a:pt x="1279684" y="290036"/>
                    <a:pt x="1279684" y="290989"/>
                  </a:cubicBezTo>
                  <a:close/>
                  <a:moveTo>
                    <a:pt x="1298734" y="332899"/>
                  </a:moveTo>
                  <a:cubicBezTo>
                    <a:pt x="1298734" y="332899"/>
                    <a:pt x="1298734" y="332899"/>
                    <a:pt x="1298734" y="332899"/>
                  </a:cubicBezTo>
                  <a:cubicBezTo>
                    <a:pt x="1298734" y="331946"/>
                    <a:pt x="1298734" y="331946"/>
                    <a:pt x="1298734" y="330994"/>
                  </a:cubicBezTo>
                  <a:cubicBezTo>
                    <a:pt x="1298734" y="331946"/>
                    <a:pt x="1298734" y="332899"/>
                    <a:pt x="1298734" y="332899"/>
                  </a:cubicBezTo>
                  <a:close/>
                  <a:moveTo>
                    <a:pt x="1295876" y="278606"/>
                  </a:moveTo>
                  <a:cubicBezTo>
                    <a:pt x="1298734" y="285274"/>
                    <a:pt x="1301591" y="291941"/>
                    <a:pt x="1305401" y="299561"/>
                  </a:cubicBezTo>
                  <a:cubicBezTo>
                    <a:pt x="1305401" y="299561"/>
                    <a:pt x="1305401" y="299561"/>
                    <a:pt x="1305401" y="300514"/>
                  </a:cubicBezTo>
                  <a:cubicBezTo>
                    <a:pt x="1305401" y="301466"/>
                    <a:pt x="1305401" y="302419"/>
                    <a:pt x="1304449" y="303371"/>
                  </a:cubicBezTo>
                  <a:cubicBezTo>
                    <a:pt x="1303496" y="300514"/>
                    <a:pt x="1301591" y="298609"/>
                    <a:pt x="1300639" y="295751"/>
                  </a:cubicBezTo>
                  <a:cubicBezTo>
                    <a:pt x="1298734" y="291941"/>
                    <a:pt x="1296829" y="288131"/>
                    <a:pt x="1293971" y="284321"/>
                  </a:cubicBezTo>
                  <a:cubicBezTo>
                    <a:pt x="1294924" y="282416"/>
                    <a:pt x="1295876" y="280511"/>
                    <a:pt x="1295876" y="278606"/>
                  </a:cubicBezTo>
                  <a:close/>
                  <a:moveTo>
                    <a:pt x="1299686" y="328136"/>
                  </a:moveTo>
                  <a:cubicBezTo>
                    <a:pt x="1299686" y="329089"/>
                    <a:pt x="1299686" y="329089"/>
                    <a:pt x="1299686" y="330041"/>
                  </a:cubicBezTo>
                  <a:cubicBezTo>
                    <a:pt x="1299686" y="330041"/>
                    <a:pt x="1298734" y="330994"/>
                    <a:pt x="1298734" y="331946"/>
                  </a:cubicBezTo>
                  <a:cubicBezTo>
                    <a:pt x="1296829" y="329089"/>
                    <a:pt x="1294924" y="326231"/>
                    <a:pt x="1293019" y="324326"/>
                  </a:cubicBezTo>
                  <a:cubicBezTo>
                    <a:pt x="1292066" y="322421"/>
                    <a:pt x="1290161" y="320516"/>
                    <a:pt x="1289209" y="318611"/>
                  </a:cubicBezTo>
                  <a:cubicBezTo>
                    <a:pt x="1289209" y="318611"/>
                    <a:pt x="1289209" y="318611"/>
                    <a:pt x="1289209" y="318611"/>
                  </a:cubicBezTo>
                  <a:cubicBezTo>
                    <a:pt x="1289209" y="314801"/>
                    <a:pt x="1289209" y="311944"/>
                    <a:pt x="1289209" y="309086"/>
                  </a:cubicBezTo>
                  <a:cubicBezTo>
                    <a:pt x="1289209" y="308134"/>
                    <a:pt x="1290161" y="306229"/>
                    <a:pt x="1290161" y="305276"/>
                  </a:cubicBezTo>
                  <a:cubicBezTo>
                    <a:pt x="1293019" y="311944"/>
                    <a:pt x="1296829" y="319564"/>
                    <a:pt x="1299686" y="328136"/>
                  </a:cubicBezTo>
                  <a:close/>
                  <a:moveTo>
                    <a:pt x="1289209" y="263366"/>
                  </a:moveTo>
                  <a:cubicBezTo>
                    <a:pt x="1288256" y="265271"/>
                    <a:pt x="1288256" y="266224"/>
                    <a:pt x="1287304" y="268129"/>
                  </a:cubicBezTo>
                  <a:cubicBezTo>
                    <a:pt x="1287304" y="265271"/>
                    <a:pt x="1287304" y="262414"/>
                    <a:pt x="1287304" y="259556"/>
                  </a:cubicBezTo>
                  <a:cubicBezTo>
                    <a:pt x="1287304" y="260509"/>
                    <a:pt x="1288256" y="262414"/>
                    <a:pt x="1289209" y="263366"/>
                  </a:cubicBezTo>
                  <a:close/>
                  <a:moveTo>
                    <a:pt x="1276826" y="238601"/>
                  </a:moveTo>
                  <a:cubicBezTo>
                    <a:pt x="1277779" y="239554"/>
                    <a:pt x="1277779" y="240506"/>
                    <a:pt x="1278731" y="242411"/>
                  </a:cubicBezTo>
                  <a:cubicBezTo>
                    <a:pt x="1280636" y="246221"/>
                    <a:pt x="1283494" y="251936"/>
                    <a:pt x="1286351" y="257651"/>
                  </a:cubicBezTo>
                  <a:cubicBezTo>
                    <a:pt x="1286351" y="260509"/>
                    <a:pt x="1285399" y="263366"/>
                    <a:pt x="1285399" y="267176"/>
                  </a:cubicBezTo>
                  <a:cubicBezTo>
                    <a:pt x="1282541" y="263366"/>
                    <a:pt x="1280636" y="259556"/>
                    <a:pt x="1277779" y="255746"/>
                  </a:cubicBezTo>
                  <a:cubicBezTo>
                    <a:pt x="1277779" y="250031"/>
                    <a:pt x="1276826" y="245269"/>
                    <a:pt x="1276826" y="242411"/>
                  </a:cubicBezTo>
                  <a:cubicBezTo>
                    <a:pt x="1276826" y="241459"/>
                    <a:pt x="1276826" y="239554"/>
                    <a:pt x="1276826" y="238601"/>
                  </a:cubicBezTo>
                  <a:close/>
                  <a:moveTo>
                    <a:pt x="1273016" y="271939"/>
                  </a:moveTo>
                  <a:cubicBezTo>
                    <a:pt x="1273016" y="271939"/>
                    <a:pt x="1273969" y="272891"/>
                    <a:pt x="1273969" y="272891"/>
                  </a:cubicBezTo>
                  <a:cubicBezTo>
                    <a:pt x="1273969" y="278606"/>
                    <a:pt x="1273016" y="284321"/>
                    <a:pt x="1273016" y="291941"/>
                  </a:cubicBezTo>
                  <a:cubicBezTo>
                    <a:pt x="1272064" y="290989"/>
                    <a:pt x="1272064" y="289084"/>
                    <a:pt x="1271111" y="288131"/>
                  </a:cubicBezTo>
                  <a:cubicBezTo>
                    <a:pt x="1271111" y="282416"/>
                    <a:pt x="1272064" y="276701"/>
                    <a:pt x="1273016" y="271939"/>
                  </a:cubicBezTo>
                  <a:close/>
                  <a:moveTo>
                    <a:pt x="1240631" y="229076"/>
                  </a:moveTo>
                  <a:cubicBezTo>
                    <a:pt x="1241584" y="226219"/>
                    <a:pt x="1243489" y="223361"/>
                    <a:pt x="1244441" y="220504"/>
                  </a:cubicBezTo>
                  <a:cubicBezTo>
                    <a:pt x="1247299" y="226219"/>
                    <a:pt x="1251109" y="230981"/>
                    <a:pt x="1253966" y="237649"/>
                  </a:cubicBezTo>
                  <a:cubicBezTo>
                    <a:pt x="1257776" y="244316"/>
                    <a:pt x="1260634" y="250031"/>
                    <a:pt x="1264444" y="257651"/>
                  </a:cubicBezTo>
                  <a:cubicBezTo>
                    <a:pt x="1265396" y="259556"/>
                    <a:pt x="1267301" y="262414"/>
                    <a:pt x="1268254" y="264319"/>
                  </a:cubicBezTo>
                  <a:cubicBezTo>
                    <a:pt x="1266349" y="270986"/>
                    <a:pt x="1264444" y="277654"/>
                    <a:pt x="1262539" y="286226"/>
                  </a:cubicBezTo>
                  <a:cubicBezTo>
                    <a:pt x="1259681" y="283369"/>
                    <a:pt x="1257776" y="280511"/>
                    <a:pt x="1254919" y="277654"/>
                  </a:cubicBezTo>
                  <a:cubicBezTo>
                    <a:pt x="1250156" y="268129"/>
                    <a:pt x="1246346" y="259556"/>
                    <a:pt x="1241584" y="251936"/>
                  </a:cubicBezTo>
                  <a:cubicBezTo>
                    <a:pt x="1239679" y="249079"/>
                    <a:pt x="1237774" y="246221"/>
                    <a:pt x="1235869" y="243364"/>
                  </a:cubicBezTo>
                  <a:cubicBezTo>
                    <a:pt x="1235869" y="243364"/>
                    <a:pt x="1235869" y="242411"/>
                    <a:pt x="1235869" y="242411"/>
                  </a:cubicBezTo>
                  <a:cubicBezTo>
                    <a:pt x="1237774" y="236696"/>
                    <a:pt x="1239679" y="232886"/>
                    <a:pt x="1240631" y="229076"/>
                  </a:cubicBezTo>
                  <a:close/>
                  <a:moveTo>
                    <a:pt x="1228249" y="304324"/>
                  </a:moveTo>
                  <a:cubicBezTo>
                    <a:pt x="1228249" y="298609"/>
                    <a:pt x="1227296" y="292894"/>
                    <a:pt x="1227296" y="288131"/>
                  </a:cubicBezTo>
                  <a:lnTo>
                    <a:pt x="1227296" y="281464"/>
                  </a:lnTo>
                  <a:cubicBezTo>
                    <a:pt x="1227296" y="280511"/>
                    <a:pt x="1228249" y="280511"/>
                    <a:pt x="1228249" y="279559"/>
                  </a:cubicBezTo>
                  <a:cubicBezTo>
                    <a:pt x="1228249" y="279559"/>
                    <a:pt x="1228249" y="278606"/>
                    <a:pt x="1228249" y="278606"/>
                  </a:cubicBezTo>
                  <a:cubicBezTo>
                    <a:pt x="1228249" y="278606"/>
                    <a:pt x="1229201" y="279559"/>
                    <a:pt x="1229201" y="279559"/>
                  </a:cubicBezTo>
                  <a:cubicBezTo>
                    <a:pt x="1230154" y="280511"/>
                    <a:pt x="1230154" y="282416"/>
                    <a:pt x="1231106" y="284321"/>
                  </a:cubicBezTo>
                  <a:cubicBezTo>
                    <a:pt x="1230154" y="290036"/>
                    <a:pt x="1229201" y="296704"/>
                    <a:pt x="1228249" y="304324"/>
                  </a:cubicBezTo>
                  <a:close/>
                  <a:moveTo>
                    <a:pt x="1232059" y="280511"/>
                  </a:moveTo>
                  <a:cubicBezTo>
                    <a:pt x="1232059" y="279559"/>
                    <a:pt x="1232059" y="279559"/>
                    <a:pt x="1232059" y="278606"/>
                  </a:cubicBezTo>
                  <a:cubicBezTo>
                    <a:pt x="1232059" y="277654"/>
                    <a:pt x="1231106" y="276701"/>
                    <a:pt x="1230154" y="275749"/>
                  </a:cubicBezTo>
                  <a:cubicBezTo>
                    <a:pt x="1229201" y="275749"/>
                    <a:pt x="1228249" y="274796"/>
                    <a:pt x="1227296" y="275749"/>
                  </a:cubicBezTo>
                  <a:cubicBezTo>
                    <a:pt x="1227296" y="275749"/>
                    <a:pt x="1227296" y="275749"/>
                    <a:pt x="1226344" y="275749"/>
                  </a:cubicBezTo>
                  <a:lnTo>
                    <a:pt x="1226344" y="269081"/>
                  </a:lnTo>
                  <a:cubicBezTo>
                    <a:pt x="1227296" y="270034"/>
                    <a:pt x="1228249" y="270986"/>
                    <a:pt x="1230154" y="272891"/>
                  </a:cubicBezTo>
                  <a:cubicBezTo>
                    <a:pt x="1231106" y="273844"/>
                    <a:pt x="1232059" y="274796"/>
                    <a:pt x="1233011" y="276701"/>
                  </a:cubicBezTo>
                  <a:cubicBezTo>
                    <a:pt x="1232059" y="278606"/>
                    <a:pt x="1232059" y="279559"/>
                    <a:pt x="1232059" y="280511"/>
                  </a:cubicBezTo>
                  <a:close/>
                  <a:moveTo>
                    <a:pt x="1230154" y="221456"/>
                  </a:moveTo>
                  <a:cubicBezTo>
                    <a:pt x="1232059" y="225266"/>
                    <a:pt x="1233011" y="229076"/>
                    <a:pt x="1233964" y="233839"/>
                  </a:cubicBezTo>
                  <a:cubicBezTo>
                    <a:pt x="1233964" y="233839"/>
                    <a:pt x="1233964" y="233839"/>
                    <a:pt x="1233964" y="233839"/>
                  </a:cubicBezTo>
                  <a:cubicBezTo>
                    <a:pt x="1233964" y="232886"/>
                    <a:pt x="1233011" y="230981"/>
                    <a:pt x="1233011" y="230029"/>
                  </a:cubicBezTo>
                  <a:cubicBezTo>
                    <a:pt x="1231106" y="226219"/>
                    <a:pt x="1230154" y="223361"/>
                    <a:pt x="1230154" y="221456"/>
                  </a:cubicBezTo>
                  <a:cubicBezTo>
                    <a:pt x="1229201" y="220504"/>
                    <a:pt x="1229201" y="220504"/>
                    <a:pt x="1230154" y="221456"/>
                  </a:cubicBezTo>
                  <a:close/>
                  <a:moveTo>
                    <a:pt x="1229201" y="257651"/>
                  </a:moveTo>
                  <a:cubicBezTo>
                    <a:pt x="1229201" y="257651"/>
                    <a:pt x="1229201" y="257651"/>
                    <a:pt x="1229201" y="257651"/>
                  </a:cubicBezTo>
                  <a:cubicBezTo>
                    <a:pt x="1229201" y="258604"/>
                    <a:pt x="1230154" y="258604"/>
                    <a:pt x="1230154" y="259556"/>
                  </a:cubicBezTo>
                  <a:cubicBezTo>
                    <a:pt x="1230154" y="260509"/>
                    <a:pt x="1230154" y="261461"/>
                    <a:pt x="1230154" y="262414"/>
                  </a:cubicBezTo>
                  <a:cubicBezTo>
                    <a:pt x="1231106" y="266224"/>
                    <a:pt x="1231106" y="270986"/>
                    <a:pt x="1232059" y="274796"/>
                  </a:cubicBezTo>
                  <a:cubicBezTo>
                    <a:pt x="1232059" y="274796"/>
                    <a:pt x="1232059" y="274796"/>
                    <a:pt x="1232059" y="274796"/>
                  </a:cubicBezTo>
                  <a:cubicBezTo>
                    <a:pt x="1231106" y="273844"/>
                    <a:pt x="1230154" y="272891"/>
                    <a:pt x="1229201" y="272891"/>
                  </a:cubicBezTo>
                  <a:cubicBezTo>
                    <a:pt x="1227296" y="270986"/>
                    <a:pt x="1225391" y="270034"/>
                    <a:pt x="1225391" y="269081"/>
                  </a:cubicBezTo>
                  <a:lnTo>
                    <a:pt x="1225391" y="265271"/>
                  </a:lnTo>
                  <a:cubicBezTo>
                    <a:pt x="1227296" y="263366"/>
                    <a:pt x="1228249" y="260509"/>
                    <a:pt x="1229201" y="257651"/>
                  </a:cubicBezTo>
                  <a:close/>
                  <a:moveTo>
                    <a:pt x="1226344" y="235744"/>
                  </a:moveTo>
                  <a:cubicBezTo>
                    <a:pt x="1227296" y="238601"/>
                    <a:pt x="1227296" y="241459"/>
                    <a:pt x="1228249" y="244316"/>
                  </a:cubicBezTo>
                  <a:cubicBezTo>
                    <a:pt x="1228249" y="245269"/>
                    <a:pt x="1227296" y="246221"/>
                    <a:pt x="1227296" y="246221"/>
                  </a:cubicBezTo>
                  <a:cubicBezTo>
                    <a:pt x="1226344" y="245269"/>
                    <a:pt x="1226344" y="245269"/>
                    <a:pt x="1225391" y="244316"/>
                  </a:cubicBezTo>
                  <a:lnTo>
                    <a:pt x="1225391" y="231934"/>
                  </a:lnTo>
                  <a:cubicBezTo>
                    <a:pt x="1225391" y="233839"/>
                    <a:pt x="1225391" y="234791"/>
                    <a:pt x="1226344" y="235744"/>
                  </a:cubicBezTo>
                  <a:close/>
                  <a:moveTo>
                    <a:pt x="1197769" y="293846"/>
                  </a:moveTo>
                  <a:cubicBezTo>
                    <a:pt x="1197769" y="292894"/>
                    <a:pt x="1198721" y="290989"/>
                    <a:pt x="1198721" y="290036"/>
                  </a:cubicBezTo>
                  <a:cubicBezTo>
                    <a:pt x="1198721" y="290989"/>
                    <a:pt x="1198721" y="290989"/>
                    <a:pt x="1198721" y="291941"/>
                  </a:cubicBezTo>
                  <a:cubicBezTo>
                    <a:pt x="1198721" y="293846"/>
                    <a:pt x="1199674" y="296704"/>
                    <a:pt x="1199674" y="299561"/>
                  </a:cubicBezTo>
                  <a:cubicBezTo>
                    <a:pt x="1198721" y="301466"/>
                    <a:pt x="1197769" y="304324"/>
                    <a:pt x="1196816" y="307181"/>
                  </a:cubicBezTo>
                  <a:cubicBezTo>
                    <a:pt x="1195864" y="304324"/>
                    <a:pt x="1195864" y="301466"/>
                    <a:pt x="1194911" y="299561"/>
                  </a:cubicBezTo>
                  <a:cubicBezTo>
                    <a:pt x="1195864" y="297656"/>
                    <a:pt x="1196816" y="295751"/>
                    <a:pt x="1197769" y="293846"/>
                  </a:cubicBezTo>
                  <a:close/>
                  <a:moveTo>
                    <a:pt x="1196816" y="459581"/>
                  </a:moveTo>
                  <a:lnTo>
                    <a:pt x="1196816" y="459581"/>
                  </a:lnTo>
                  <a:cubicBezTo>
                    <a:pt x="1195864" y="458629"/>
                    <a:pt x="1195864" y="457676"/>
                    <a:pt x="1195864" y="455771"/>
                  </a:cubicBezTo>
                  <a:cubicBezTo>
                    <a:pt x="1195864" y="456724"/>
                    <a:pt x="1195864" y="457676"/>
                    <a:pt x="1196816" y="459581"/>
                  </a:cubicBezTo>
                  <a:close/>
                  <a:moveTo>
                    <a:pt x="1190149" y="324326"/>
                  </a:moveTo>
                  <a:cubicBezTo>
                    <a:pt x="1190149" y="325279"/>
                    <a:pt x="1190149" y="325279"/>
                    <a:pt x="1190149" y="324326"/>
                  </a:cubicBezTo>
                  <a:cubicBezTo>
                    <a:pt x="1190149" y="323374"/>
                    <a:pt x="1190149" y="321469"/>
                    <a:pt x="1189196" y="320516"/>
                  </a:cubicBezTo>
                  <a:cubicBezTo>
                    <a:pt x="1190149" y="322421"/>
                    <a:pt x="1190149" y="323374"/>
                    <a:pt x="1190149" y="324326"/>
                  </a:cubicBezTo>
                  <a:close/>
                  <a:moveTo>
                    <a:pt x="1170146" y="270986"/>
                  </a:moveTo>
                  <a:cubicBezTo>
                    <a:pt x="1170146" y="270034"/>
                    <a:pt x="1170146" y="269081"/>
                    <a:pt x="1170146" y="268129"/>
                  </a:cubicBezTo>
                  <a:cubicBezTo>
                    <a:pt x="1170146" y="267176"/>
                    <a:pt x="1170146" y="265271"/>
                    <a:pt x="1170146" y="264319"/>
                  </a:cubicBezTo>
                  <a:cubicBezTo>
                    <a:pt x="1171099" y="253841"/>
                    <a:pt x="1172051" y="244316"/>
                    <a:pt x="1172051" y="235744"/>
                  </a:cubicBezTo>
                  <a:cubicBezTo>
                    <a:pt x="1173004" y="238601"/>
                    <a:pt x="1173956" y="241459"/>
                    <a:pt x="1174909" y="245269"/>
                  </a:cubicBezTo>
                  <a:cubicBezTo>
                    <a:pt x="1174909" y="249079"/>
                    <a:pt x="1175861" y="253841"/>
                    <a:pt x="1176814" y="260509"/>
                  </a:cubicBezTo>
                  <a:cubicBezTo>
                    <a:pt x="1177766" y="267176"/>
                    <a:pt x="1177766" y="275749"/>
                    <a:pt x="1177766" y="285274"/>
                  </a:cubicBezTo>
                  <a:cubicBezTo>
                    <a:pt x="1178719" y="291941"/>
                    <a:pt x="1177766" y="300514"/>
                    <a:pt x="1177766" y="308134"/>
                  </a:cubicBezTo>
                  <a:cubicBezTo>
                    <a:pt x="1177766" y="307181"/>
                    <a:pt x="1176814" y="306229"/>
                    <a:pt x="1176814" y="305276"/>
                  </a:cubicBezTo>
                  <a:cubicBezTo>
                    <a:pt x="1173956" y="298609"/>
                    <a:pt x="1171099" y="292894"/>
                    <a:pt x="1168241" y="287179"/>
                  </a:cubicBezTo>
                  <a:cubicBezTo>
                    <a:pt x="1169194" y="282416"/>
                    <a:pt x="1170146" y="275749"/>
                    <a:pt x="1170146" y="270986"/>
                  </a:cubicBezTo>
                  <a:close/>
                  <a:moveTo>
                    <a:pt x="1170146" y="309086"/>
                  </a:moveTo>
                  <a:cubicBezTo>
                    <a:pt x="1171099" y="312896"/>
                    <a:pt x="1173004" y="317659"/>
                    <a:pt x="1173956" y="321469"/>
                  </a:cubicBezTo>
                  <a:cubicBezTo>
                    <a:pt x="1173004" y="323374"/>
                    <a:pt x="1173004" y="325279"/>
                    <a:pt x="1172051" y="327184"/>
                  </a:cubicBezTo>
                  <a:cubicBezTo>
                    <a:pt x="1171099" y="325279"/>
                    <a:pt x="1171099" y="324326"/>
                    <a:pt x="1170146" y="322421"/>
                  </a:cubicBezTo>
                  <a:cubicBezTo>
                    <a:pt x="1170146" y="321469"/>
                    <a:pt x="1170146" y="319564"/>
                    <a:pt x="1170146" y="318611"/>
                  </a:cubicBezTo>
                  <a:cubicBezTo>
                    <a:pt x="1169194" y="313849"/>
                    <a:pt x="1169194" y="308134"/>
                    <a:pt x="1168241" y="303371"/>
                  </a:cubicBezTo>
                  <a:cubicBezTo>
                    <a:pt x="1168241" y="305276"/>
                    <a:pt x="1169194" y="307181"/>
                    <a:pt x="1170146" y="309086"/>
                  </a:cubicBezTo>
                  <a:close/>
                  <a:moveTo>
                    <a:pt x="1164431" y="236696"/>
                  </a:moveTo>
                  <a:cubicBezTo>
                    <a:pt x="1163479" y="242411"/>
                    <a:pt x="1162526" y="248126"/>
                    <a:pt x="1161574" y="253841"/>
                  </a:cubicBezTo>
                  <a:cubicBezTo>
                    <a:pt x="1161574" y="252889"/>
                    <a:pt x="1161574" y="252889"/>
                    <a:pt x="1161574" y="251936"/>
                  </a:cubicBezTo>
                  <a:cubicBezTo>
                    <a:pt x="1161574" y="251936"/>
                    <a:pt x="1161574" y="250984"/>
                    <a:pt x="1161574" y="250984"/>
                  </a:cubicBezTo>
                  <a:cubicBezTo>
                    <a:pt x="1162526" y="245269"/>
                    <a:pt x="1163479" y="240506"/>
                    <a:pt x="1164431" y="236696"/>
                  </a:cubicBezTo>
                  <a:close/>
                  <a:moveTo>
                    <a:pt x="1140619" y="290036"/>
                  </a:moveTo>
                  <a:cubicBezTo>
                    <a:pt x="1140619" y="290989"/>
                    <a:pt x="1139666" y="290989"/>
                    <a:pt x="1139666" y="291941"/>
                  </a:cubicBezTo>
                  <a:cubicBezTo>
                    <a:pt x="1138714" y="289084"/>
                    <a:pt x="1138714" y="286226"/>
                    <a:pt x="1137761" y="283369"/>
                  </a:cubicBezTo>
                  <a:cubicBezTo>
                    <a:pt x="1138714" y="286226"/>
                    <a:pt x="1139666" y="288131"/>
                    <a:pt x="1140619" y="290036"/>
                  </a:cubicBezTo>
                  <a:close/>
                  <a:moveTo>
                    <a:pt x="1114901" y="339566"/>
                  </a:moveTo>
                  <a:cubicBezTo>
                    <a:pt x="1115854" y="331946"/>
                    <a:pt x="1116806" y="323374"/>
                    <a:pt x="1117759" y="315754"/>
                  </a:cubicBezTo>
                  <a:cubicBezTo>
                    <a:pt x="1118711" y="318611"/>
                    <a:pt x="1118711" y="321469"/>
                    <a:pt x="1119664" y="325279"/>
                  </a:cubicBezTo>
                  <a:cubicBezTo>
                    <a:pt x="1120616" y="328136"/>
                    <a:pt x="1120616" y="331946"/>
                    <a:pt x="1121569" y="334804"/>
                  </a:cubicBezTo>
                  <a:cubicBezTo>
                    <a:pt x="1121569" y="336709"/>
                    <a:pt x="1120616" y="338614"/>
                    <a:pt x="1120616" y="341471"/>
                  </a:cubicBezTo>
                  <a:cubicBezTo>
                    <a:pt x="1120616" y="341471"/>
                    <a:pt x="1120616" y="341471"/>
                    <a:pt x="1120616" y="342424"/>
                  </a:cubicBezTo>
                  <a:cubicBezTo>
                    <a:pt x="1119664" y="344329"/>
                    <a:pt x="1118711" y="346234"/>
                    <a:pt x="1118711" y="348139"/>
                  </a:cubicBezTo>
                  <a:cubicBezTo>
                    <a:pt x="1117759" y="345281"/>
                    <a:pt x="1115854" y="343376"/>
                    <a:pt x="1114901" y="341471"/>
                  </a:cubicBezTo>
                  <a:cubicBezTo>
                    <a:pt x="1114901" y="340519"/>
                    <a:pt x="1114901" y="339566"/>
                    <a:pt x="1114901" y="339566"/>
                  </a:cubicBezTo>
                  <a:close/>
                  <a:moveTo>
                    <a:pt x="1111091" y="219551"/>
                  </a:moveTo>
                  <a:cubicBezTo>
                    <a:pt x="1111091" y="220504"/>
                    <a:pt x="1112044" y="221456"/>
                    <a:pt x="1112044" y="222409"/>
                  </a:cubicBezTo>
                  <a:cubicBezTo>
                    <a:pt x="1112044" y="225266"/>
                    <a:pt x="1112996" y="228124"/>
                    <a:pt x="1112996" y="230029"/>
                  </a:cubicBezTo>
                  <a:cubicBezTo>
                    <a:pt x="1112996" y="230029"/>
                    <a:pt x="1112996" y="230029"/>
                    <a:pt x="1112996" y="230029"/>
                  </a:cubicBezTo>
                  <a:cubicBezTo>
                    <a:pt x="1112996" y="226219"/>
                    <a:pt x="1112044" y="223361"/>
                    <a:pt x="1111091" y="219551"/>
                  </a:cubicBezTo>
                  <a:cubicBezTo>
                    <a:pt x="1111091" y="220504"/>
                    <a:pt x="1111091" y="219551"/>
                    <a:pt x="1111091" y="219551"/>
                  </a:cubicBezTo>
                  <a:close/>
                  <a:moveTo>
                    <a:pt x="1110139" y="217646"/>
                  </a:moveTo>
                  <a:cubicBezTo>
                    <a:pt x="1110139" y="217646"/>
                    <a:pt x="1110139" y="217646"/>
                    <a:pt x="1110139" y="217646"/>
                  </a:cubicBezTo>
                  <a:cubicBezTo>
                    <a:pt x="1110139" y="217646"/>
                    <a:pt x="1109186" y="216694"/>
                    <a:pt x="1109186" y="215741"/>
                  </a:cubicBezTo>
                  <a:cubicBezTo>
                    <a:pt x="1110139" y="216694"/>
                    <a:pt x="1110139" y="216694"/>
                    <a:pt x="1110139" y="217646"/>
                  </a:cubicBezTo>
                  <a:close/>
                  <a:moveTo>
                    <a:pt x="1101566" y="236696"/>
                  </a:moveTo>
                  <a:cubicBezTo>
                    <a:pt x="1104424" y="248126"/>
                    <a:pt x="1107281" y="262414"/>
                    <a:pt x="1111091" y="278606"/>
                  </a:cubicBezTo>
                  <a:cubicBezTo>
                    <a:pt x="1110139" y="283369"/>
                    <a:pt x="1109186" y="289084"/>
                    <a:pt x="1109186" y="293846"/>
                  </a:cubicBezTo>
                  <a:cubicBezTo>
                    <a:pt x="1108234" y="298609"/>
                    <a:pt x="1107281" y="304324"/>
                    <a:pt x="1106329" y="309086"/>
                  </a:cubicBezTo>
                  <a:cubicBezTo>
                    <a:pt x="1106329" y="309086"/>
                    <a:pt x="1106329" y="309086"/>
                    <a:pt x="1106329" y="308134"/>
                  </a:cubicBezTo>
                  <a:cubicBezTo>
                    <a:pt x="1105376" y="300514"/>
                    <a:pt x="1105376" y="295751"/>
                    <a:pt x="1105376" y="295751"/>
                  </a:cubicBezTo>
                  <a:cubicBezTo>
                    <a:pt x="1105376" y="295751"/>
                    <a:pt x="1105376" y="297656"/>
                    <a:pt x="1105376" y="300514"/>
                  </a:cubicBezTo>
                  <a:cubicBezTo>
                    <a:pt x="1103471" y="290989"/>
                    <a:pt x="1101566" y="282416"/>
                    <a:pt x="1099661" y="272891"/>
                  </a:cubicBezTo>
                  <a:cubicBezTo>
                    <a:pt x="1097756" y="265271"/>
                    <a:pt x="1096804" y="256699"/>
                    <a:pt x="1094899" y="249079"/>
                  </a:cubicBezTo>
                  <a:cubicBezTo>
                    <a:pt x="1096804" y="244316"/>
                    <a:pt x="1098709" y="240506"/>
                    <a:pt x="1101566" y="236696"/>
                  </a:cubicBezTo>
                  <a:close/>
                  <a:moveTo>
                    <a:pt x="1027271" y="325279"/>
                  </a:moveTo>
                  <a:cubicBezTo>
                    <a:pt x="1028224" y="319564"/>
                    <a:pt x="1029176" y="314801"/>
                    <a:pt x="1030129" y="310991"/>
                  </a:cubicBezTo>
                  <a:cubicBezTo>
                    <a:pt x="1031081" y="306229"/>
                    <a:pt x="1032986" y="301466"/>
                    <a:pt x="1034891" y="297656"/>
                  </a:cubicBezTo>
                  <a:cubicBezTo>
                    <a:pt x="1035844" y="293846"/>
                    <a:pt x="1037749" y="290989"/>
                    <a:pt x="1039654" y="288131"/>
                  </a:cubicBezTo>
                  <a:cubicBezTo>
                    <a:pt x="1040606" y="291941"/>
                    <a:pt x="1041559" y="295751"/>
                    <a:pt x="1042511" y="299561"/>
                  </a:cubicBezTo>
                  <a:cubicBezTo>
                    <a:pt x="1041559" y="301466"/>
                    <a:pt x="1040606" y="303371"/>
                    <a:pt x="1039654" y="305276"/>
                  </a:cubicBezTo>
                  <a:cubicBezTo>
                    <a:pt x="1034891" y="313849"/>
                    <a:pt x="1031081" y="322421"/>
                    <a:pt x="1028224" y="330994"/>
                  </a:cubicBezTo>
                  <a:cubicBezTo>
                    <a:pt x="1028224" y="329089"/>
                    <a:pt x="1028224" y="327184"/>
                    <a:pt x="1027271" y="325279"/>
                  </a:cubicBezTo>
                  <a:close/>
                  <a:moveTo>
                    <a:pt x="1040606" y="374809"/>
                  </a:moveTo>
                  <a:cubicBezTo>
                    <a:pt x="1040606" y="373856"/>
                    <a:pt x="1039654" y="371951"/>
                    <a:pt x="1039654" y="370999"/>
                  </a:cubicBezTo>
                  <a:cubicBezTo>
                    <a:pt x="1041559" y="366236"/>
                    <a:pt x="1043464" y="360521"/>
                    <a:pt x="1045369" y="355759"/>
                  </a:cubicBezTo>
                  <a:cubicBezTo>
                    <a:pt x="1046321" y="358616"/>
                    <a:pt x="1047274" y="361474"/>
                    <a:pt x="1047274" y="364331"/>
                  </a:cubicBezTo>
                  <a:cubicBezTo>
                    <a:pt x="1047274" y="371951"/>
                    <a:pt x="1047274" y="378619"/>
                    <a:pt x="1048226" y="386239"/>
                  </a:cubicBezTo>
                  <a:cubicBezTo>
                    <a:pt x="1046321" y="385286"/>
                    <a:pt x="1045369" y="384334"/>
                    <a:pt x="1044416" y="384334"/>
                  </a:cubicBezTo>
                  <a:cubicBezTo>
                    <a:pt x="1042511" y="381476"/>
                    <a:pt x="1041559" y="377666"/>
                    <a:pt x="1040606" y="374809"/>
                  </a:cubicBezTo>
                  <a:close/>
                  <a:moveTo>
                    <a:pt x="1046321" y="389096"/>
                  </a:moveTo>
                  <a:cubicBezTo>
                    <a:pt x="1047274" y="390049"/>
                    <a:pt x="1047274" y="390049"/>
                    <a:pt x="1048226" y="391001"/>
                  </a:cubicBezTo>
                  <a:cubicBezTo>
                    <a:pt x="1048226" y="391954"/>
                    <a:pt x="1048226" y="391954"/>
                    <a:pt x="1048226" y="392906"/>
                  </a:cubicBezTo>
                  <a:cubicBezTo>
                    <a:pt x="1047274" y="391954"/>
                    <a:pt x="1046321" y="390049"/>
                    <a:pt x="1046321" y="389096"/>
                  </a:cubicBezTo>
                  <a:close/>
                  <a:moveTo>
                    <a:pt x="1056799" y="292894"/>
                  </a:moveTo>
                  <a:cubicBezTo>
                    <a:pt x="1057751" y="289084"/>
                    <a:pt x="1059656" y="286226"/>
                    <a:pt x="1061561" y="282416"/>
                  </a:cubicBezTo>
                  <a:cubicBezTo>
                    <a:pt x="1063466" y="278606"/>
                    <a:pt x="1064419" y="274796"/>
                    <a:pt x="1066324" y="271939"/>
                  </a:cubicBezTo>
                  <a:cubicBezTo>
                    <a:pt x="1066324" y="272891"/>
                    <a:pt x="1066324" y="272891"/>
                    <a:pt x="1066324" y="273844"/>
                  </a:cubicBezTo>
                  <a:cubicBezTo>
                    <a:pt x="1066324" y="275749"/>
                    <a:pt x="1067276" y="276701"/>
                    <a:pt x="1067276" y="278606"/>
                  </a:cubicBezTo>
                  <a:cubicBezTo>
                    <a:pt x="1066324" y="280511"/>
                    <a:pt x="1064419" y="282416"/>
                    <a:pt x="1063466" y="285274"/>
                  </a:cubicBezTo>
                  <a:cubicBezTo>
                    <a:pt x="1061561" y="288131"/>
                    <a:pt x="1059656" y="291941"/>
                    <a:pt x="1057751" y="295751"/>
                  </a:cubicBezTo>
                  <a:cubicBezTo>
                    <a:pt x="1057751" y="294799"/>
                    <a:pt x="1056799" y="293846"/>
                    <a:pt x="1056799" y="292894"/>
                  </a:cubicBezTo>
                  <a:close/>
                  <a:moveTo>
                    <a:pt x="1059656" y="360521"/>
                  </a:moveTo>
                  <a:cubicBezTo>
                    <a:pt x="1059656" y="360521"/>
                    <a:pt x="1059656" y="359569"/>
                    <a:pt x="1059656" y="360521"/>
                  </a:cubicBezTo>
                  <a:cubicBezTo>
                    <a:pt x="1059656" y="359569"/>
                    <a:pt x="1059656" y="360521"/>
                    <a:pt x="1059656" y="360521"/>
                  </a:cubicBezTo>
                  <a:cubicBezTo>
                    <a:pt x="1059656" y="360521"/>
                    <a:pt x="1059656" y="360521"/>
                    <a:pt x="1059656" y="360521"/>
                  </a:cubicBezTo>
                  <a:close/>
                  <a:moveTo>
                    <a:pt x="1064419" y="383381"/>
                  </a:moveTo>
                  <a:cubicBezTo>
                    <a:pt x="1063466" y="381476"/>
                    <a:pt x="1063466" y="380524"/>
                    <a:pt x="1062514" y="379571"/>
                  </a:cubicBezTo>
                  <a:cubicBezTo>
                    <a:pt x="1062514" y="377666"/>
                    <a:pt x="1062514" y="376714"/>
                    <a:pt x="1063466" y="374809"/>
                  </a:cubicBezTo>
                  <a:cubicBezTo>
                    <a:pt x="1063466" y="375761"/>
                    <a:pt x="1064419" y="377666"/>
                    <a:pt x="1064419" y="378619"/>
                  </a:cubicBezTo>
                  <a:cubicBezTo>
                    <a:pt x="1064419" y="379571"/>
                    <a:pt x="1064419" y="379571"/>
                    <a:pt x="1064419" y="380524"/>
                  </a:cubicBezTo>
                  <a:cubicBezTo>
                    <a:pt x="1064419" y="382429"/>
                    <a:pt x="1065371" y="384334"/>
                    <a:pt x="1065371" y="386239"/>
                  </a:cubicBezTo>
                  <a:cubicBezTo>
                    <a:pt x="1065371" y="385286"/>
                    <a:pt x="1065371" y="384334"/>
                    <a:pt x="1064419" y="383381"/>
                  </a:cubicBezTo>
                  <a:close/>
                  <a:moveTo>
                    <a:pt x="1069181" y="330994"/>
                  </a:moveTo>
                  <a:cubicBezTo>
                    <a:pt x="1067276" y="325279"/>
                    <a:pt x="1065371" y="318611"/>
                    <a:pt x="1063466" y="312896"/>
                  </a:cubicBezTo>
                  <a:cubicBezTo>
                    <a:pt x="1065371" y="309086"/>
                    <a:pt x="1067276" y="304324"/>
                    <a:pt x="1069181" y="300514"/>
                  </a:cubicBezTo>
                  <a:cubicBezTo>
                    <a:pt x="1070134" y="308134"/>
                    <a:pt x="1069181" y="316706"/>
                    <a:pt x="1070134" y="326231"/>
                  </a:cubicBezTo>
                  <a:cubicBezTo>
                    <a:pt x="1069181" y="328136"/>
                    <a:pt x="1069181" y="329089"/>
                    <a:pt x="1069181" y="330994"/>
                  </a:cubicBezTo>
                  <a:close/>
                  <a:moveTo>
                    <a:pt x="1077754" y="262414"/>
                  </a:moveTo>
                  <a:cubicBezTo>
                    <a:pt x="1076801" y="263366"/>
                    <a:pt x="1076801" y="264319"/>
                    <a:pt x="1075849" y="264319"/>
                  </a:cubicBezTo>
                  <a:cubicBezTo>
                    <a:pt x="1074896" y="261461"/>
                    <a:pt x="1074896" y="259556"/>
                    <a:pt x="1073944" y="256699"/>
                  </a:cubicBezTo>
                  <a:lnTo>
                    <a:pt x="1074896" y="256699"/>
                  </a:lnTo>
                  <a:lnTo>
                    <a:pt x="1075849" y="256699"/>
                  </a:lnTo>
                  <a:cubicBezTo>
                    <a:pt x="1076801" y="259556"/>
                    <a:pt x="1077754" y="260509"/>
                    <a:pt x="1077754" y="262414"/>
                  </a:cubicBezTo>
                  <a:close/>
                  <a:moveTo>
                    <a:pt x="1045369" y="175736"/>
                  </a:moveTo>
                  <a:cubicBezTo>
                    <a:pt x="1048226" y="168116"/>
                    <a:pt x="1052036" y="160496"/>
                    <a:pt x="1054894" y="153829"/>
                  </a:cubicBezTo>
                  <a:cubicBezTo>
                    <a:pt x="1054894" y="154781"/>
                    <a:pt x="1054894" y="154781"/>
                    <a:pt x="1055846" y="155734"/>
                  </a:cubicBezTo>
                  <a:cubicBezTo>
                    <a:pt x="1056799" y="160496"/>
                    <a:pt x="1058704" y="166211"/>
                    <a:pt x="1059656" y="171926"/>
                  </a:cubicBezTo>
                  <a:cubicBezTo>
                    <a:pt x="1061561" y="178594"/>
                    <a:pt x="1063466" y="186214"/>
                    <a:pt x="1064419" y="193834"/>
                  </a:cubicBezTo>
                  <a:cubicBezTo>
                    <a:pt x="1066324" y="201454"/>
                    <a:pt x="1067276" y="208121"/>
                    <a:pt x="1069181" y="215741"/>
                  </a:cubicBezTo>
                  <a:cubicBezTo>
                    <a:pt x="1072039" y="228124"/>
                    <a:pt x="1073944" y="241459"/>
                    <a:pt x="1076801" y="253841"/>
                  </a:cubicBezTo>
                  <a:cubicBezTo>
                    <a:pt x="1075849" y="253841"/>
                    <a:pt x="1074896" y="252889"/>
                    <a:pt x="1074896" y="252889"/>
                  </a:cubicBezTo>
                  <a:cubicBezTo>
                    <a:pt x="1070134" y="230981"/>
                    <a:pt x="1067276" y="216694"/>
                    <a:pt x="1067276" y="216694"/>
                  </a:cubicBezTo>
                  <a:cubicBezTo>
                    <a:pt x="1067276" y="216694"/>
                    <a:pt x="1067276" y="232886"/>
                    <a:pt x="1068229" y="257651"/>
                  </a:cubicBezTo>
                  <a:cubicBezTo>
                    <a:pt x="1068229" y="258604"/>
                    <a:pt x="1067276" y="258604"/>
                    <a:pt x="1067276" y="259556"/>
                  </a:cubicBezTo>
                  <a:cubicBezTo>
                    <a:pt x="1065371" y="255746"/>
                    <a:pt x="1065371" y="252889"/>
                    <a:pt x="1065371" y="252889"/>
                  </a:cubicBezTo>
                  <a:cubicBezTo>
                    <a:pt x="1065371" y="252889"/>
                    <a:pt x="1065371" y="255746"/>
                    <a:pt x="1066324" y="261461"/>
                  </a:cubicBezTo>
                  <a:cubicBezTo>
                    <a:pt x="1062514" y="267176"/>
                    <a:pt x="1058704" y="272891"/>
                    <a:pt x="1055846" y="278606"/>
                  </a:cubicBezTo>
                  <a:cubicBezTo>
                    <a:pt x="1055846" y="279559"/>
                    <a:pt x="1054894" y="279559"/>
                    <a:pt x="1054894" y="280511"/>
                  </a:cubicBezTo>
                  <a:cubicBezTo>
                    <a:pt x="1054894" y="279559"/>
                    <a:pt x="1053941" y="278606"/>
                    <a:pt x="1053941" y="277654"/>
                  </a:cubicBezTo>
                  <a:cubicBezTo>
                    <a:pt x="1050131" y="266224"/>
                    <a:pt x="1046321" y="254794"/>
                    <a:pt x="1043464" y="245269"/>
                  </a:cubicBezTo>
                  <a:cubicBezTo>
                    <a:pt x="1040606" y="235744"/>
                    <a:pt x="1037749" y="227171"/>
                    <a:pt x="1035844" y="220504"/>
                  </a:cubicBezTo>
                  <a:cubicBezTo>
                    <a:pt x="1033939" y="215741"/>
                    <a:pt x="1032986" y="211931"/>
                    <a:pt x="1032034" y="209074"/>
                  </a:cubicBezTo>
                  <a:cubicBezTo>
                    <a:pt x="1034891" y="196691"/>
                    <a:pt x="1040606" y="186214"/>
                    <a:pt x="1045369" y="175736"/>
                  </a:cubicBezTo>
                  <a:close/>
                  <a:moveTo>
                    <a:pt x="1019651" y="267176"/>
                  </a:moveTo>
                  <a:cubicBezTo>
                    <a:pt x="1020604" y="251936"/>
                    <a:pt x="1022509" y="236696"/>
                    <a:pt x="1023461" y="221456"/>
                  </a:cubicBezTo>
                  <a:cubicBezTo>
                    <a:pt x="1023461" y="220504"/>
                    <a:pt x="1024414" y="219551"/>
                    <a:pt x="1024414" y="218599"/>
                  </a:cubicBezTo>
                  <a:cubicBezTo>
                    <a:pt x="1026319" y="229076"/>
                    <a:pt x="1028224" y="241459"/>
                    <a:pt x="1032034" y="253841"/>
                  </a:cubicBezTo>
                  <a:cubicBezTo>
                    <a:pt x="1033939" y="263366"/>
                    <a:pt x="1036796" y="272891"/>
                    <a:pt x="1038701" y="283369"/>
                  </a:cubicBezTo>
                  <a:cubicBezTo>
                    <a:pt x="1038701" y="283369"/>
                    <a:pt x="1038701" y="284321"/>
                    <a:pt x="1037749" y="284321"/>
                  </a:cubicBezTo>
                  <a:cubicBezTo>
                    <a:pt x="1035844" y="287179"/>
                    <a:pt x="1032986" y="290036"/>
                    <a:pt x="1031081" y="294799"/>
                  </a:cubicBezTo>
                  <a:cubicBezTo>
                    <a:pt x="1029176" y="298609"/>
                    <a:pt x="1027271" y="302419"/>
                    <a:pt x="1025366" y="306229"/>
                  </a:cubicBezTo>
                  <a:cubicBezTo>
                    <a:pt x="1024414" y="297656"/>
                    <a:pt x="1024414" y="290036"/>
                    <a:pt x="1023461" y="284321"/>
                  </a:cubicBezTo>
                  <a:cubicBezTo>
                    <a:pt x="1022509" y="274796"/>
                    <a:pt x="1022509" y="269081"/>
                    <a:pt x="1022509" y="269081"/>
                  </a:cubicBezTo>
                  <a:cubicBezTo>
                    <a:pt x="1022509" y="269081"/>
                    <a:pt x="1021556" y="274796"/>
                    <a:pt x="1019651" y="284321"/>
                  </a:cubicBezTo>
                  <a:cubicBezTo>
                    <a:pt x="1018699" y="291941"/>
                    <a:pt x="1016794" y="302419"/>
                    <a:pt x="1015841" y="314801"/>
                  </a:cubicBezTo>
                  <a:cubicBezTo>
                    <a:pt x="1015841" y="314801"/>
                    <a:pt x="1015841" y="315754"/>
                    <a:pt x="1015841" y="315754"/>
                  </a:cubicBezTo>
                  <a:cubicBezTo>
                    <a:pt x="1015841" y="315754"/>
                    <a:pt x="1015841" y="315754"/>
                    <a:pt x="1015841" y="315754"/>
                  </a:cubicBezTo>
                  <a:cubicBezTo>
                    <a:pt x="1020604" y="276701"/>
                    <a:pt x="1022509" y="251936"/>
                    <a:pt x="1022509" y="251936"/>
                  </a:cubicBezTo>
                  <a:cubicBezTo>
                    <a:pt x="1022509" y="251936"/>
                    <a:pt x="1021556" y="257651"/>
                    <a:pt x="1019651" y="267176"/>
                  </a:cubicBezTo>
                  <a:close/>
                  <a:moveTo>
                    <a:pt x="1011079" y="364331"/>
                  </a:moveTo>
                  <a:cubicBezTo>
                    <a:pt x="1011079" y="361474"/>
                    <a:pt x="1012031" y="358616"/>
                    <a:pt x="1012031" y="355759"/>
                  </a:cubicBezTo>
                  <a:cubicBezTo>
                    <a:pt x="1012984" y="350996"/>
                    <a:pt x="1012984" y="347186"/>
                    <a:pt x="1013936" y="342424"/>
                  </a:cubicBezTo>
                  <a:cubicBezTo>
                    <a:pt x="1013936" y="342424"/>
                    <a:pt x="1013936" y="342424"/>
                    <a:pt x="1013936" y="342424"/>
                  </a:cubicBezTo>
                  <a:cubicBezTo>
                    <a:pt x="1012984" y="349091"/>
                    <a:pt x="1012984" y="356711"/>
                    <a:pt x="1012031" y="364331"/>
                  </a:cubicBezTo>
                  <a:cubicBezTo>
                    <a:pt x="1012031" y="365284"/>
                    <a:pt x="1011079" y="365284"/>
                    <a:pt x="1011079" y="366236"/>
                  </a:cubicBezTo>
                  <a:cubicBezTo>
                    <a:pt x="1011079" y="366236"/>
                    <a:pt x="1011079" y="366236"/>
                    <a:pt x="1011079" y="366236"/>
                  </a:cubicBezTo>
                  <a:cubicBezTo>
                    <a:pt x="1011079" y="366236"/>
                    <a:pt x="1011079" y="365284"/>
                    <a:pt x="1011079" y="364331"/>
                  </a:cubicBezTo>
                  <a:close/>
                  <a:moveTo>
                    <a:pt x="1004411" y="257651"/>
                  </a:moveTo>
                  <a:cubicBezTo>
                    <a:pt x="1003459" y="265271"/>
                    <a:pt x="1002506" y="273844"/>
                    <a:pt x="1001554" y="281464"/>
                  </a:cubicBezTo>
                  <a:cubicBezTo>
                    <a:pt x="999649" y="277654"/>
                    <a:pt x="997744" y="273844"/>
                    <a:pt x="996791" y="271939"/>
                  </a:cubicBezTo>
                  <a:cubicBezTo>
                    <a:pt x="999649" y="268129"/>
                    <a:pt x="1001554" y="262414"/>
                    <a:pt x="1004411" y="257651"/>
                  </a:cubicBezTo>
                  <a:close/>
                  <a:moveTo>
                    <a:pt x="991076" y="283369"/>
                  </a:moveTo>
                  <a:cubicBezTo>
                    <a:pt x="992981" y="280511"/>
                    <a:pt x="994886" y="276701"/>
                    <a:pt x="995839" y="273844"/>
                  </a:cubicBezTo>
                  <a:cubicBezTo>
                    <a:pt x="996791" y="277654"/>
                    <a:pt x="997744" y="283369"/>
                    <a:pt x="999649" y="291941"/>
                  </a:cubicBezTo>
                  <a:cubicBezTo>
                    <a:pt x="998696" y="303371"/>
                    <a:pt x="996791" y="314801"/>
                    <a:pt x="995839" y="326231"/>
                  </a:cubicBezTo>
                  <a:cubicBezTo>
                    <a:pt x="994886" y="328136"/>
                    <a:pt x="994886" y="329089"/>
                    <a:pt x="993934" y="330994"/>
                  </a:cubicBezTo>
                  <a:cubicBezTo>
                    <a:pt x="992981" y="324326"/>
                    <a:pt x="992981" y="320516"/>
                    <a:pt x="992981" y="320516"/>
                  </a:cubicBezTo>
                  <a:cubicBezTo>
                    <a:pt x="992981" y="320516"/>
                    <a:pt x="992029" y="327184"/>
                    <a:pt x="991076" y="338614"/>
                  </a:cubicBezTo>
                  <a:cubicBezTo>
                    <a:pt x="991076" y="339566"/>
                    <a:pt x="990124" y="340519"/>
                    <a:pt x="990124" y="341471"/>
                  </a:cubicBezTo>
                  <a:cubicBezTo>
                    <a:pt x="987266" y="349091"/>
                    <a:pt x="984409" y="356711"/>
                    <a:pt x="981551" y="365284"/>
                  </a:cubicBezTo>
                  <a:cubicBezTo>
                    <a:pt x="981551" y="364331"/>
                    <a:pt x="981551" y="363379"/>
                    <a:pt x="980599" y="363379"/>
                  </a:cubicBezTo>
                  <a:cubicBezTo>
                    <a:pt x="979646" y="351949"/>
                    <a:pt x="978694" y="341471"/>
                    <a:pt x="977741" y="331946"/>
                  </a:cubicBezTo>
                  <a:cubicBezTo>
                    <a:pt x="976789" y="325279"/>
                    <a:pt x="976789" y="318611"/>
                    <a:pt x="975836" y="311944"/>
                  </a:cubicBezTo>
                  <a:cubicBezTo>
                    <a:pt x="980599" y="301466"/>
                    <a:pt x="986314" y="291941"/>
                    <a:pt x="991076" y="283369"/>
                  </a:cubicBezTo>
                  <a:close/>
                  <a:moveTo>
                    <a:pt x="960596" y="298609"/>
                  </a:moveTo>
                  <a:cubicBezTo>
                    <a:pt x="963454" y="291941"/>
                    <a:pt x="965359" y="286226"/>
                    <a:pt x="968216" y="280511"/>
                  </a:cubicBezTo>
                  <a:cubicBezTo>
                    <a:pt x="968216" y="284321"/>
                    <a:pt x="967264" y="289084"/>
                    <a:pt x="967264" y="294799"/>
                  </a:cubicBezTo>
                  <a:cubicBezTo>
                    <a:pt x="965359" y="297656"/>
                    <a:pt x="963454" y="301466"/>
                    <a:pt x="961549" y="304324"/>
                  </a:cubicBezTo>
                  <a:cubicBezTo>
                    <a:pt x="961549" y="304324"/>
                    <a:pt x="961549" y="304324"/>
                    <a:pt x="961549" y="303371"/>
                  </a:cubicBezTo>
                  <a:cubicBezTo>
                    <a:pt x="961549" y="302419"/>
                    <a:pt x="960596" y="302419"/>
                    <a:pt x="960596" y="301466"/>
                  </a:cubicBezTo>
                  <a:cubicBezTo>
                    <a:pt x="960596" y="299561"/>
                    <a:pt x="960596" y="299561"/>
                    <a:pt x="960596" y="298609"/>
                  </a:cubicBezTo>
                  <a:close/>
                  <a:moveTo>
                    <a:pt x="939641" y="258604"/>
                  </a:moveTo>
                  <a:cubicBezTo>
                    <a:pt x="939641" y="258604"/>
                    <a:pt x="939641" y="258604"/>
                    <a:pt x="939641" y="258604"/>
                  </a:cubicBezTo>
                  <a:cubicBezTo>
                    <a:pt x="941546" y="253841"/>
                    <a:pt x="942499" y="250031"/>
                    <a:pt x="943451" y="246221"/>
                  </a:cubicBezTo>
                  <a:cubicBezTo>
                    <a:pt x="943451" y="248126"/>
                    <a:pt x="943451" y="250031"/>
                    <a:pt x="943451" y="251936"/>
                  </a:cubicBezTo>
                  <a:cubicBezTo>
                    <a:pt x="942499" y="253841"/>
                    <a:pt x="941546" y="256699"/>
                    <a:pt x="939641" y="258604"/>
                  </a:cubicBezTo>
                  <a:lnTo>
                    <a:pt x="939641" y="258604"/>
                  </a:lnTo>
                  <a:close/>
                  <a:moveTo>
                    <a:pt x="944404" y="280511"/>
                  </a:moveTo>
                  <a:lnTo>
                    <a:pt x="943451" y="273844"/>
                  </a:lnTo>
                  <a:cubicBezTo>
                    <a:pt x="943451" y="272891"/>
                    <a:pt x="944404" y="271939"/>
                    <a:pt x="944404" y="270986"/>
                  </a:cubicBezTo>
                  <a:cubicBezTo>
                    <a:pt x="944404" y="270986"/>
                    <a:pt x="944404" y="271939"/>
                    <a:pt x="944404" y="271939"/>
                  </a:cubicBezTo>
                  <a:cubicBezTo>
                    <a:pt x="944404" y="272891"/>
                    <a:pt x="944404" y="274796"/>
                    <a:pt x="944404" y="275749"/>
                  </a:cubicBezTo>
                  <a:cubicBezTo>
                    <a:pt x="945356" y="277654"/>
                    <a:pt x="945356" y="279559"/>
                    <a:pt x="944404" y="280511"/>
                  </a:cubicBezTo>
                  <a:close/>
                  <a:moveTo>
                    <a:pt x="944404" y="270986"/>
                  </a:moveTo>
                  <a:cubicBezTo>
                    <a:pt x="944404" y="270986"/>
                    <a:pt x="944404" y="270986"/>
                    <a:pt x="944404" y="270986"/>
                  </a:cubicBezTo>
                  <a:cubicBezTo>
                    <a:pt x="945356" y="270986"/>
                    <a:pt x="945356" y="270986"/>
                    <a:pt x="944404" y="270986"/>
                  </a:cubicBezTo>
                  <a:cubicBezTo>
                    <a:pt x="945356" y="270986"/>
                    <a:pt x="944404" y="270986"/>
                    <a:pt x="944404" y="270986"/>
                  </a:cubicBezTo>
                  <a:close/>
                  <a:moveTo>
                    <a:pt x="933926" y="227171"/>
                  </a:moveTo>
                  <a:cubicBezTo>
                    <a:pt x="946309" y="185261"/>
                    <a:pt x="954881" y="153829"/>
                    <a:pt x="958691" y="138589"/>
                  </a:cubicBezTo>
                  <a:cubicBezTo>
                    <a:pt x="958691" y="141446"/>
                    <a:pt x="958691" y="143351"/>
                    <a:pt x="958691" y="146209"/>
                  </a:cubicBezTo>
                  <a:cubicBezTo>
                    <a:pt x="957739" y="159544"/>
                    <a:pt x="956786" y="179546"/>
                    <a:pt x="953929" y="203359"/>
                  </a:cubicBezTo>
                  <a:cubicBezTo>
                    <a:pt x="952976" y="215741"/>
                    <a:pt x="951071" y="228124"/>
                    <a:pt x="950119" y="242411"/>
                  </a:cubicBezTo>
                  <a:cubicBezTo>
                    <a:pt x="949166" y="243364"/>
                    <a:pt x="948214" y="245269"/>
                    <a:pt x="948214" y="246221"/>
                  </a:cubicBezTo>
                  <a:cubicBezTo>
                    <a:pt x="947261" y="244316"/>
                    <a:pt x="947261" y="241459"/>
                    <a:pt x="947261" y="240506"/>
                  </a:cubicBezTo>
                  <a:cubicBezTo>
                    <a:pt x="948214" y="235744"/>
                    <a:pt x="949166" y="233839"/>
                    <a:pt x="949166" y="233839"/>
                  </a:cubicBezTo>
                  <a:cubicBezTo>
                    <a:pt x="949166" y="233839"/>
                    <a:pt x="948214" y="235744"/>
                    <a:pt x="946309" y="238601"/>
                  </a:cubicBezTo>
                  <a:cubicBezTo>
                    <a:pt x="945356" y="232886"/>
                    <a:pt x="944404" y="230029"/>
                    <a:pt x="944404" y="230029"/>
                  </a:cubicBezTo>
                  <a:cubicBezTo>
                    <a:pt x="944404" y="230029"/>
                    <a:pt x="944404" y="233839"/>
                    <a:pt x="944404" y="241459"/>
                  </a:cubicBezTo>
                  <a:cubicBezTo>
                    <a:pt x="943451" y="244316"/>
                    <a:pt x="941546" y="248126"/>
                    <a:pt x="939641" y="251936"/>
                  </a:cubicBezTo>
                  <a:lnTo>
                    <a:pt x="938689" y="248126"/>
                  </a:lnTo>
                  <a:lnTo>
                    <a:pt x="936784" y="241459"/>
                  </a:lnTo>
                  <a:cubicBezTo>
                    <a:pt x="941546" y="226219"/>
                    <a:pt x="943451" y="217646"/>
                    <a:pt x="943451" y="217646"/>
                  </a:cubicBezTo>
                  <a:cubicBezTo>
                    <a:pt x="943451" y="217646"/>
                    <a:pt x="940594" y="224314"/>
                    <a:pt x="934879" y="235744"/>
                  </a:cubicBezTo>
                  <a:lnTo>
                    <a:pt x="932974" y="230029"/>
                  </a:lnTo>
                  <a:cubicBezTo>
                    <a:pt x="932974" y="230029"/>
                    <a:pt x="932974" y="228124"/>
                    <a:pt x="933926" y="227171"/>
                  </a:cubicBezTo>
                  <a:close/>
                  <a:moveTo>
                    <a:pt x="921544" y="452914"/>
                  </a:moveTo>
                  <a:cubicBezTo>
                    <a:pt x="921544" y="452914"/>
                    <a:pt x="920591" y="451961"/>
                    <a:pt x="920591" y="451961"/>
                  </a:cubicBezTo>
                  <a:cubicBezTo>
                    <a:pt x="920591" y="447199"/>
                    <a:pt x="920591" y="443389"/>
                    <a:pt x="919639" y="438626"/>
                  </a:cubicBezTo>
                  <a:cubicBezTo>
                    <a:pt x="920591" y="443389"/>
                    <a:pt x="921544" y="448151"/>
                    <a:pt x="921544" y="452914"/>
                  </a:cubicBezTo>
                  <a:close/>
                  <a:moveTo>
                    <a:pt x="912019" y="210979"/>
                  </a:moveTo>
                  <a:lnTo>
                    <a:pt x="915829" y="227171"/>
                  </a:lnTo>
                  <a:cubicBezTo>
                    <a:pt x="915829" y="228124"/>
                    <a:pt x="915829" y="229076"/>
                    <a:pt x="914876" y="230029"/>
                  </a:cubicBezTo>
                  <a:cubicBezTo>
                    <a:pt x="913924" y="231934"/>
                    <a:pt x="913924" y="234791"/>
                    <a:pt x="912971" y="236696"/>
                  </a:cubicBezTo>
                  <a:cubicBezTo>
                    <a:pt x="912971" y="235744"/>
                    <a:pt x="912019" y="233839"/>
                    <a:pt x="912019" y="232886"/>
                  </a:cubicBezTo>
                  <a:cubicBezTo>
                    <a:pt x="912019" y="231934"/>
                    <a:pt x="912019" y="230029"/>
                    <a:pt x="912019" y="228124"/>
                  </a:cubicBezTo>
                  <a:cubicBezTo>
                    <a:pt x="912019" y="222409"/>
                    <a:pt x="911066" y="216694"/>
                    <a:pt x="911066" y="210979"/>
                  </a:cubicBezTo>
                  <a:cubicBezTo>
                    <a:pt x="911066" y="209074"/>
                    <a:pt x="911066" y="206216"/>
                    <a:pt x="911066" y="204311"/>
                  </a:cubicBezTo>
                  <a:lnTo>
                    <a:pt x="912019" y="210979"/>
                  </a:lnTo>
                  <a:close/>
                  <a:moveTo>
                    <a:pt x="833914" y="333851"/>
                  </a:moveTo>
                  <a:cubicBezTo>
                    <a:pt x="833914" y="332899"/>
                    <a:pt x="833914" y="332899"/>
                    <a:pt x="834866" y="331946"/>
                  </a:cubicBezTo>
                  <a:cubicBezTo>
                    <a:pt x="834866" y="333851"/>
                    <a:pt x="834866" y="335756"/>
                    <a:pt x="834866" y="337661"/>
                  </a:cubicBezTo>
                  <a:cubicBezTo>
                    <a:pt x="834866" y="336709"/>
                    <a:pt x="833914" y="334804"/>
                    <a:pt x="833914" y="333851"/>
                  </a:cubicBezTo>
                  <a:close/>
                  <a:moveTo>
                    <a:pt x="847249" y="304324"/>
                  </a:moveTo>
                  <a:cubicBezTo>
                    <a:pt x="847249" y="303371"/>
                    <a:pt x="847249" y="302419"/>
                    <a:pt x="846296" y="301466"/>
                  </a:cubicBezTo>
                  <a:cubicBezTo>
                    <a:pt x="846296" y="300514"/>
                    <a:pt x="846296" y="300514"/>
                    <a:pt x="846296" y="299561"/>
                  </a:cubicBezTo>
                  <a:cubicBezTo>
                    <a:pt x="848201" y="294799"/>
                    <a:pt x="849154" y="290989"/>
                    <a:pt x="851059" y="286226"/>
                  </a:cubicBezTo>
                  <a:cubicBezTo>
                    <a:pt x="850106" y="292894"/>
                    <a:pt x="848201" y="298609"/>
                    <a:pt x="847249" y="304324"/>
                  </a:cubicBezTo>
                  <a:close/>
                  <a:moveTo>
                    <a:pt x="880586" y="300514"/>
                  </a:moveTo>
                  <a:cubicBezTo>
                    <a:pt x="878681" y="306229"/>
                    <a:pt x="877729" y="312896"/>
                    <a:pt x="876776" y="319564"/>
                  </a:cubicBezTo>
                  <a:cubicBezTo>
                    <a:pt x="874871" y="326231"/>
                    <a:pt x="873919" y="334804"/>
                    <a:pt x="872966" y="343376"/>
                  </a:cubicBezTo>
                  <a:cubicBezTo>
                    <a:pt x="872014" y="346234"/>
                    <a:pt x="870109" y="348139"/>
                    <a:pt x="869156" y="350996"/>
                  </a:cubicBezTo>
                  <a:cubicBezTo>
                    <a:pt x="869156" y="350996"/>
                    <a:pt x="868204" y="350044"/>
                    <a:pt x="868204" y="349091"/>
                  </a:cubicBezTo>
                  <a:cubicBezTo>
                    <a:pt x="868204" y="349091"/>
                    <a:pt x="868204" y="348139"/>
                    <a:pt x="867251" y="348139"/>
                  </a:cubicBezTo>
                  <a:cubicBezTo>
                    <a:pt x="867251" y="344329"/>
                    <a:pt x="867251" y="339566"/>
                    <a:pt x="867251" y="335756"/>
                  </a:cubicBezTo>
                  <a:cubicBezTo>
                    <a:pt x="867251" y="323374"/>
                    <a:pt x="867251" y="311944"/>
                    <a:pt x="866299" y="301466"/>
                  </a:cubicBezTo>
                  <a:cubicBezTo>
                    <a:pt x="866299" y="290989"/>
                    <a:pt x="864394" y="281464"/>
                    <a:pt x="863441" y="272891"/>
                  </a:cubicBezTo>
                  <a:cubicBezTo>
                    <a:pt x="862489" y="267176"/>
                    <a:pt x="862489" y="262414"/>
                    <a:pt x="861536" y="257651"/>
                  </a:cubicBezTo>
                  <a:cubicBezTo>
                    <a:pt x="861536" y="256699"/>
                    <a:pt x="861536" y="256699"/>
                    <a:pt x="862489" y="255746"/>
                  </a:cubicBezTo>
                  <a:cubicBezTo>
                    <a:pt x="862489" y="255746"/>
                    <a:pt x="862489" y="255746"/>
                    <a:pt x="862489" y="255746"/>
                  </a:cubicBezTo>
                  <a:cubicBezTo>
                    <a:pt x="867251" y="265271"/>
                    <a:pt x="871061" y="274796"/>
                    <a:pt x="876776" y="286226"/>
                  </a:cubicBezTo>
                  <a:cubicBezTo>
                    <a:pt x="878681" y="290036"/>
                    <a:pt x="880586" y="293846"/>
                    <a:pt x="881539" y="296704"/>
                  </a:cubicBezTo>
                  <a:cubicBezTo>
                    <a:pt x="881539" y="298609"/>
                    <a:pt x="881539" y="299561"/>
                    <a:pt x="880586" y="300514"/>
                  </a:cubicBezTo>
                  <a:close/>
                  <a:moveTo>
                    <a:pt x="885349" y="318611"/>
                  </a:moveTo>
                  <a:cubicBezTo>
                    <a:pt x="885349" y="318611"/>
                    <a:pt x="885349" y="319564"/>
                    <a:pt x="884396" y="319564"/>
                  </a:cubicBezTo>
                  <a:cubicBezTo>
                    <a:pt x="884396" y="319564"/>
                    <a:pt x="884396" y="320516"/>
                    <a:pt x="883444" y="320516"/>
                  </a:cubicBezTo>
                  <a:cubicBezTo>
                    <a:pt x="883444" y="313849"/>
                    <a:pt x="883444" y="308134"/>
                    <a:pt x="884396" y="303371"/>
                  </a:cubicBezTo>
                  <a:cubicBezTo>
                    <a:pt x="885349" y="305276"/>
                    <a:pt x="886301" y="308134"/>
                    <a:pt x="887254" y="310039"/>
                  </a:cubicBezTo>
                  <a:cubicBezTo>
                    <a:pt x="887254" y="312896"/>
                    <a:pt x="886301" y="315754"/>
                    <a:pt x="885349" y="318611"/>
                  </a:cubicBezTo>
                  <a:close/>
                  <a:moveTo>
                    <a:pt x="900589" y="246221"/>
                  </a:moveTo>
                  <a:cubicBezTo>
                    <a:pt x="900589" y="247174"/>
                    <a:pt x="899636" y="247174"/>
                    <a:pt x="900589" y="246221"/>
                  </a:cubicBezTo>
                  <a:cubicBezTo>
                    <a:pt x="899636" y="239554"/>
                    <a:pt x="898684" y="234791"/>
                    <a:pt x="898684" y="234791"/>
                  </a:cubicBezTo>
                  <a:cubicBezTo>
                    <a:pt x="898684" y="234791"/>
                    <a:pt x="898684" y="241459"/>
                    <a:pt x="897731" y="252889"/>
                  </a:cubicBezTo>
                  <a:cubicBezTo>
                    <a:pt x="897731" y="252889"/>
                    <a:pt x="897731" y="252889"/>
                    <a:pt x="897731" y="253841"/>
                  </a:cubicBezTo>
                  <a:cubicBezTo>
                    <a:pt x="895826" y="251936"/>
                    <a:pt x="894874" y="250031"/>
                    <a:pt x="894874" y="250031"/>
                  </a:cubicBezTo>
                  <a:cubicBezTo>
                    <a:pt x="894874" y="250031"/>
                    <a:pt x="895826" y="251936"/>
                    <a:pt x="897731" y="254794"/>
                  </a:cubicBezTo>
                  <a:cubicBezTo>
                    <a:pt x="897731" y="255746"/>
                    <a:pt x="897731" y="256699"/>
                    <a:pt x="897731" y="257651"/>
                  </a:cubicBezTo>
                  <a:cubicBezTo>
                    <a:pt x="897731" y="259556"/>
                    <a:pt x="897731" y="262414"/>
                    <a:pt x="896779" y="264319"/>
                  </a:cubicBezTo>
                  <a:cubicBezTo>
                    <a:pt x="896779" y="264319"/>
                    <a:pt x="896779" y="264319"/>
                    <a:pt x="896779" y="264319"/>
                  </a:cubicBezTo>
                  <a:cubicBezTo>
                    <a:pt x="896779" y="264319"/>
                    <a:pt x="896779" y="264319"/>
                    <a:pt x="896779" y="264319"/>
                  </a:cubicBezTo>
                  <a:cubicBezTo>
                    <a:pt x="896779" y="264319"/>
                    <a:pt x="896779" y="265271"/>
                    <a:pt x="896779" y="265271"/>
                  </a:cubicBezTo>
                  <a:cubicBezTo>
                    <a:pt x="896779" y="267176"/>
                    <a:pt x="896779" y="269081"/>
                    <a:pt x="896779" y="270986"/>
                  </a:cubicBezTo>
                  <a:cubicBezTo>
                    <a:pt x="896779" y="271939"/>
                    <a:pt x="896779" y="271939"/>
                    <a:pt x="896779" y="272891"/>
                  </a:cubicBezTo>
                  <a:cubicBezTo>
                    <a:pt x="896779" y="276701"/>
                    <a:pt x="895826" y="280511"/>
                    <a:pt x="895826" y="285274"/>
                  </a:cubicBezTo>
                  <a:cubicBezTo>
                    <a:pt x="895826" y="286226"/>
                    <a:pt x="895826" y="286226"/>
                    <a:pt x="895826" y="287179"/>
                  </a:cubicBezTo>
                  <a:cubicBezTo>
                    <a:pt x="893921" y="284321"/>
                    <a:pt x="892969" y="281464"/>
                    <a:pt x="891064" y="279559"/>
                  </a:cubicBezTo>
                  <a:cubicBezTo>
                    <a:pt x="885349" y="269081"/>
                    <a:pt x="879634" y="259556"/>
                    <a:pt x="873919" y="250984"/>
                  </a:cubicBezTo>
                  <a:cubicBezTo>
                    <a:pt x="872014" y="248126"/>
                    <a:pt x="871061" y="245269"/>
                    <a:pt x="869156" y="243364"/>
                  </a:cubicBezTo>
                  <a:cubicBezTo>
                    <a:pt x="869156" y="243364"/>
                    <a:pt x="869156" y="243364"/>
                    <a:pt x="869156" y="242411"/>
                  </a:cubicBezTo>
                  <a:cubicBezTo>
                    <a:pt x="872966" y="232886"/>
                    <a:pt x="875824" y="223361"/>
                    <a:pt x="878681" y="215741"/>
                  </a:cubicBezTo>
                  <a:cubicBezTo>
                    <a:pt x="881539" y="210979"/>
                    <a:pt x="884396" y="205264"/>
                    <a:pt x="887254" y="200501"/>
                  </a:cubicBezTo>
                  <a:lnTo>
                    <a:pt x="895826" y="223361"/>
                  </a:lnTo>
                  <a:lnTo>
                    <a:pt x="901541" y="240506"/>
                  </a:lnTo>
                  <a:cubicBezTo>
                    <a:pt x="900589" y="242411"/>
                    <a:pt x="900589" y="244316"/>
                    <a:pt x="900589" y="246221"/>
                  </a:cubicBezTo>
                  <a:close/>
                  <a:moveTo>
                    <a:pt x="891064" y="190976"/>
                  </a:moveTo>
                  <a:cubicBezTo>
                    <a:pt x="892016" y="190024"/>
                    <a:pt x="892969" y="188119"/>
                    <a:pt x="892969" y="187166"/>
                  </a:cubicBezTo>
                  <a:cubicBezTo>
                    <a:pt x="892969" y="189071"/>
                    <a:pt x="894874" y="194786"/>
                    <a:pt x="896779" y="202406"/>
                  </a:cubicBezTo>
                  <a:cubicBezTo>
                    <a:pt x="895826" y="199549"/>
                    <a:pt x="893921" y="195739"/>
                    <a:pt x="891064" y="190976"/>
                  </a:cubicBezTo>
                  <a:close/>
                  <a:moveTo>
                    <a:pt x="904399" y="181451"/>
                  </a:moveTo>
                  <a:cubicBezTo>
                    <a:pt x="904399" y="182404"/>
                    <a:pt x="904399" y="182404"/>
                    <a:pt x="904399" y="183356"/>
                  </a:cubicBezTo>
                  <a:cubicBezTo>
                    <a:pt x="904399" y="190976"/>
                    <a:pt x="903446" y="200501"/>
                    <a:pt x="903446" y="210979"/>
                  </a:cubicBezTo>
                  <a:cubicBezTo>
                    <a:pt x="903446" y="210979"/>
                    <a:pt x="903446" y="210026"/>
                    <a:pt x="903446" y="210026"/>
                  </a:cubicBezTo>
                  <a:cubicBezTo>
                    <a:pt x="898684" y="197644"/>
                    <a:pt x="894874" y="190024"/>
                    <a:pt x="894874" y="188119"/>
                  </a:cubicBezTo>
                  <a:cubicBezTo>
                    <a:pt x="897731" y="183356"/>
                    <a:pt x="900589" y="178594"/>
                    <a:pt x="903446" y="173831"/>
                  </a:cubicBezTo>
                  <a:lnTo>
                    <a:pt x="904399" y="181451"/>
                  </a:lnTo>
                  <a:close/>
                  <a:moveTo>
                    <a:pt x="888206" y="137636"/>
                  </a:moveTo>
                  <a:cubicBezTo>
                    <a:pt x="889159" y="135731"/>
                    <a:pt x="890111" y="134779"/>
                    <a:pt x="890111" y="132874"/>
                  </a:cubicBezTo>
                  <a:lnTo>
                    <a:pt x="898684" y="161449"/>
                  </a:lnTo>
                  <a:cubicBezTo>
                    <a:pt x="896779" y="163354"/>
                    <a:pt x="894874" y="166211"/>
                    <a:pt x="893921" y="168116"/>
                  </a:cubicBezTo>
                  <a:cubicBezTo>
                    <a:pt x="891064" y="171926"/>
                    <a:pt x="888206" y="175736"/>
                    <a:pt x="885349" y="180499"/>
                  </a:cubicBezTo>
                  <a:cubicBezTo>
                    <a:pt x="881539" y="174784"/>
                    <a:pt x="878681" y="169069"/>
                    <a:pt x="874871" y="163354"/>
                  </a:cubicBezTo>
                  <a:cubicBezTo>
                    <a:pt x="879634" y="154781"/>
                    <a:pt x="883444" y="146209"/>
                    <a:pt x="888206" y="137636"/>
                  </a:cubicBezTo>
                  <a:close/>
                  <a:moveTo>
                    <a:pt x="872966" y="169069"/>
                  </a:moveTo>
                  <a:lnTo>
                    <a:pt x="881539" y="188119"/>
                  </a:lnTo>
                  <a:cubicBezTo>
                    <a:pt x="880586" y="189071"/>
                    <a:pt x="879634" y="190976"/>
                    <a:pt x="878681" y="191929"/>
                  </a:cubicBezTo>
                  <a:cubicBezTo>
                    <a:pt x="871061" y="202406"/>
                    <a:pt x="864394" y="213836"/>
                    <a:pt x="856774" y="226219"/>
                  </a:cubicBezTo>
                  <a:cubicBezTo>
                    <a:pt x="854869" y="223361"/>
                    <a:pt x="852964" y="220504"/>
                    <a:pt x="851059" y="217646"/>
                  </a:cubicBezTo>
                  <a:cubicBezTo>
                    <a:pt x="858679" y="199549"/>
                    <a:pt x="865346" y="183356"/>
                    <a:pt x="872966" y="169069"/>
                  </a:cubicBezTo>
                  <a:close/>
                  <a:moveTo>
                    <a:pt x="847249" y="225266"/>
                  </a:moveTo>
                  <a:cubicBezTo>
                    <a:pt x="847249" y="224314"/>
                    <a:pt x="848201" y="223361"/>
                    <a:pt x="848201" y="223361"/>
                  </a:cubicBezTo>
                  <a:cubicBezTo>
                    <a:pt x="849154" y="226219"/>
                    <a:pt x="851059" y="229076"/>
                    <a:pt x="852011" y="232886"/>
                  </a:cubicBezTo>
                  <a:cubicBezTo>
                    <a:pt x="850106" y="236696"/>
                    <a:pt x="848201" y="239554"/>
                    <a:pt x="845344" y="243364"/>
                  </a:cubicBezTo>
                  <a:cubicBezTo>
                    <a:pt x="842486" y="248126"/>
                    <a:pt x="839629" y="252889"/>
                    <a:pt x="837724" y="256699"/>
                  </a:cubicBezTo>
                  <a:cubicBezTo>
                    <a:pt x="837724" y="254794"/>
                    <a:pt x="836771" y="252889"/>
                    <a:pt x="836771" y="250984"/>
                  </a:cubicBezTo>
                  <a:cubicBezTo>
                    <a:pt x="839629" y="242411"/>
                    <a:pt x="843439" y="233839"/>
                    <a:pt x="847249" y="225266"/>
                  </a:cubicBezTo>
                  <a:close/>
                  <a:moveTo>
                    <a:pt x="835819" y="195739"/>
                  </a:moveTo>
                  <a:cubicBezTo>
                    <a:pt x="835819" y="194786"/>
                    <a:pt x="835819" y="194786"/>
                    <a:pt x="835819" y="195739"/>
                  </a:cubicBezTo>
                  <a:cubicBezTo>
                    <a:pt x="836771" y="196691"/>
                    <a:pt x="838676" y="200501"/>
                    <a:pt x="840581" y="206216"/>
                  </a:cubicBezTo>
                  <a:cubicBezTo>
                    <a:pt x="838676" y="210979"/>
                    <a:pt x="835819" y="214789"/>
                    <a:pt x="833914" y="219551"/>
                  </a:cubicBezTo>
                  <a:cubicBezTo>
                    <a:pt x="833914" y="220504"/>
                    <a:pt x="832961" y="220504"/>
                    <a:pt x="832961" y="221456"/>
                  </a:cubicBezTo>
                  <a:cubicBezTo>
                    <a:pt x="833914" y="211931"/>
                    <a:pt x="834866" y="203359"/>
                    <a:pt x="835819" y="195739"/>
                  </a:cubicBezTo>
                  <a:close/>
                  <a:moveTo>
                    <a:pt x="826294" y="274796"/>
                  </a:moveTo>
                  <a:cubicBezTo>
                    <a:pt x="827246" y="273844"/>
                    <a:pt x="827246" y="271939"/>
                    <a:pt x="828199" y="270986"/>
                  </a:cubicBezTo>
                  <a:cubicBezTo>
                    <a:pt x="828199" y="271939"/>
                    <a:pt x="828199" y="272891"/>
                    <a:pt x="828199" y="272891"/>
                  </a:cubicBezTo>
                  <a:cubicBezTo>
                    <a:pt x="827246" y="273844"/>
                    <a:pt x="826294" y="275749"/>
                    <a:pt x="826294" y="276701"/>
                  </a:cubicBezTo>
                  <a:cubicBezTo>
                    <a:pt x="826294" y="275749"/>
                    <a:pt x="826294" y="274796"/>
                    <a:pt x="826294" y="274796"/>
                  </a:cubicBezTo>
                  <a:close/>
                  <a:moveTo>
                    <a:pt x="812006" y="448151"/>
                  </a:moveTo>
                  <a:cubicBezTo>
                    <a:pt x="812006" y="448151"/>
                    <a:pt x="812006" y="448151"/>
                    <a:pt x="812006" y="448151"/>
                  </a:cubicBezTo>
                  <a:cubicBezTo>
                    <a:pt x="812006" y="448151"/>
                    <a:pt x="812006" y="448151"/>
                    <a:pt x="812006" y="448151"/>
                  </a:cubicBezTo>
                  <a:cubicBezTo>
                    <a:pt x="812006" y="448151"/>
                    <a:pt x="812006" y="448151"/>
                    <a:pt x="812006" y="448151"/>
                  </a:cubicBezTo>
                  <a:close/>
                  <a:moveTo>
                    <a:pt x="785336" y="330041"/>
                  </a:moveTo>
                  <a:cubicBezTo>
                    <a:pt x="784384" y="329089"/>
                    <a:pt x="783431" y="327184"/>
                    <a:pt x="782479" y="325279"/>
                  </a:cubicBezTo>
                  <a:cubicBezTo>
                    <a:pt x="782479" y="321469"/>
                    <a:pt x="782479" y="318611"/>
                    <a:pt x="782479" y="315754"/>
                  </a:cubicBezTo>
                  <a:cubicBezTo>
                    <a:pt x="783431" y="319564"/>
                    <a:pt x="785336" y="322421"/>
                    <a:pt x="786289" y="326231"/>
                  </a:cubicBezTo>
                  <a:cubicBezTo>
                    <a:pt x="786289" y="328136"/>
                    <a:pt x="785336" y="329089"/>
                    <a:pt x="785336" y="330041"/>
                  </a:cubicBezTo>
                  <a:close/>
                  <a:moveTo>
                    <a:pt x="797719" y="271939"/>
                  </a:moveTo>
                  <a:cubicBezTo>
                    <a:pt x="799624" y="276701"/>
                    <a:pt x="801529" y="281464"/>
                    <a:pt x="803434" y="286226"/>
                  </a:cubicBezTo>
                  <a:cubicBezTo>
                    <a:pt x="803434" y="287179"/>
                    <a:pt x="802481" y="288131"/>
                    <a:pt x="802481" y="288131"/>
                  </a:cubicBezTo>
                  <a:cubicBezTo>
                    <a:pt x="799624" y="295751"/>
                    <a:pt x="796766" y="302419"/>
                    <a:pt x="792956" y="310039"/>
                  </a:cubicBezTo>
                  <a:cubicBezTo>
                    <a:pt x="792956" y="310039"/>
                    <a:pt x="792956" y="310039"/>
                    <a:pt x="792956" y="309086"/>
                  </a:cubicBezTo>
                  <a:cubicBezTo>
                    <a:pt x="791051" y="305276"/>
                    <a:pt x="789146" y="300514"/>
                    <a:pt x="787241" y="296704"/>
                  </a:cubicBezTo>
                  <a:cubicBezTo>
                    <a:pt x="790099" y="285274"/>
                    <a:pt x="792956" y="274796"/>
                    <a:pt x="795814" y="266224"/>
                  </a:cubicBezTo>
                  <a:cubicBezTo>
                    <a:pt x="796766" y="269081"/>
                    <a:pt x="796766" y="270034"/>
                    <a:pt x="797719" y="271939"/>
                  </a:cubicBezTo>
                  <a:close/>
                  <a:moveTo>
                    <a:pt x="790099" y="253841"/>
                  </a:moveTo>
                  <a:cubicBezTo>
                    <a:pt x="791051" y="255746"/>
                    <a:pt x="792004" y="258604"/>
                    <a:pt x="793909" y="261461"/>
                  </a:cubicBezTo>
                  <a:cubicBezTo>
                    <a:pt x="793909" y="261461"/>
                    <a:pt x="793909" y="261461"/>
                    <a:pt x="793909" y="262414"/>
                  </a:cubicBezTo>
                  <a:cubicBezTo>
                    <a:pt x="791051" y="269081"/>
                    <a:pt x="788194" y="276701"/>
                    <a:pt x="784384" y="286226"/>
                  </a:cubicBezTo>
                  <a:cubicBezTo>
                    <a:pt x="784384" y="282416"/>
                    <a:pt x="784384" y="277654"/>
                    <a:pt x="785336" y="273844"/>
                  </a:cubicBezTo>
                  <a:cubicBezTo>
                    <a:pt x="786289" y="267176"/>
                    <a:pt x="788194" y="260509"/>
                    <a:pt x="790099" y="253841"/>
                  </a:cubicBezTo>
                  <a:close/>
                  <a:moveTo>
                    <a:pt x="773906" y="236696"/>
                  </a:moveTo>
                  <a:cubicBezTo>
                    <a:pt x="774859" y="229076"/>
                    <a:pt x="775811" y="221456"/>
                    <a:pt x="776764" y="213836"/>
                  </a:cubicBezTo>
                  <a:cubicBezTo>
                    <a:pt x="778669" y="218599"/>
                    <a:pt x="781526" y="223361"/>
                    <a:pt x="783431" y="229076"/>
                  </a:cubicBezTo>
                  <a:cubicBezTo>
                    <a:pt x="782479" y="230981"/>
                    <a:pt x="781526" y="233839"/>
                    <a:pt x="780574" y="235744"/>
                  </a:cubicBezTo>
                  <a:cubicBezTo>
                    <a:pt x="778669" y="233839"/>
                    <a:pt x="777716" y="231934"/>
                    <a:pt x="777716" y="231934"/>
                  </a:cubicBezTo>
                  <a:cubicBezTo>
                    <a:pt x="777716" y="231934"/>
                    <a:pt x="778669" y="233839"/>
                    <a:pt x="780574" y="236696"/>
                  </a:cubicBezTo>
                  <a:cubicBezTo>
                    <a:pt x="778669" y="242411"/>
                    <a:pt x="775811" y="249079"/>
                    <a:pt x="773906" y="255746"/>
                  </a:cubicBezTo>
                  <a:cubicBezTo>
                    <a:pt x="773906" y="249079"/>
                    <a:pt x="773906" y="242411"/>
                    <a:pt x="773906" y="236696"/>
                  </a:cubicBezTo>
                  <a:close/>
                  <a:moveTo>
                    <a:pt x="724376" y="219551"/>
                  </a:moveTo>
                  <a:cubicBezTo>
                    <a:pt x="725329" y="212884"/>
                    <a:pt x="726281" y="207169"/>
                    <a:pt x="726281" y="203359"/>
                  </a:cubicBezTo>
                  <a:cubicBezTo>
                    <a:pt x="726281" y="210026"/>
                    <a:pt x="726281" y="218599"/>
                    <a:pt x="726281" y="229076"/>
                  </a:cubicBezTo>
                  <a:cubicBezTo>
                    <a:pt x="725329" y="226219"/>
                    <a:pt x="724376" y="224314"/>
                    <a:pt x="723424" y="223361"/>
                  </a:cubicBezTo>
                  <a:cubicBezTo>
                    <a:pt x="723424" y="222409"/>
                    <a:pt x="723424" y="220504"/>
                    <a:pt x="724376" y="219551"/>
                  </a:cubicBezTo>
                  <a:close/>
                  <a:moveTo>
                    <a:pt x="723424" y="224314"/>
                  </a:moveTo>
                  <a:cubicBezTo>
                    <a:pt x="723424" y="226219"/>
                    <a:pt x="724376" y="230029"/>
                    <a:pt x="724376" y="235744"/>
                  </a:cubicBezTo>
                  <a:cubicBezTo>
                    <a:pt x="725329" y="239554"/>
                    <a:pt x="725329" y="245269"/>
                    <a:pt x="726281" y="250984"/>
                  </a:cubicBezTo>
                  <a:cubicBezTo>
                    <a:pt x="726281" y="250984"/>
                    <a:pt x="726281" y="250984"/>
                    <a:pt x="726281" y="251936"/>
                  </a:cubicBezTo>
                  <a:cubicBezTo>
                    <a:pt x="726281" y="259556"/>
                    <a:pt x="726281" y="268129"/>
                    <a:pt x="727234" y="276701"/>
                  </a:cubicBezTo>
                  <a:cubicBezTo>
                    <a:pt x="727234" y="280511"/>
                    <a:pt x="727234" y="284321"/>
                    <a:pt x="727234" y="288131"/>
                  </a:cubicBezTo>
                  <a:cubicBezTo>
                    <a:pt x="726281" y="286226"/>
                    <a:pt x="726281" y="285274"/>
                    <a:pt x="725329" y="284321"/>
                  </a:cubicBezTo>
                  <a:cubicBezTo>
                    <a:pt x="722471" y="275749"/>
                    <a:pt x="720566" y="268129"/>
                    <a:pt x="717709" y="260509"/>
                  </a:cubicBezTo>
                  <a:cubicBezTo>
                    <a:pt x="719614" y="246221"/>
                    <a:pt x="721519" y="233839"/>
                    <a:pt x="723424" y="224314"/>
                  </a:cubicBezTo>
                  <a:close/>
                  <a:moveTo>
                    <a:pt x="710089" y="308134"/>
                  </a:moveTo>
                  <a:cubicBezTo>
                    <a:pt x="710089" y="311944"/>
                    <a:pt x="711041" y="315754"/>
                    <a:pt x="711041" y="320516"/>
                  </a:cubicBezTo>
                  <a:cubicBezTo>
                    <a:pt x="712946" y="336709"/>
                    <a:pt x="714851" y="354806"/>
                    <a:pt x="717709" y="373856"/>
                  </a:cubicBezTo>
                  <a:cubicBezTo>
                    <a:pt x="715804" y="378619"/>
                    <a:pt x="712946" y="384334"/>
                    <a:pt x="711041" y="389096"/>
                  </a:cubicBezTo>
                  <a:cubicBezTo>
                    <a:pt x="710089" y="387191"/>
                    <a:pt x="710089" y="385286"/>
                    <a:pt x="709136" y="383381"/>
                  </a:cubicBezTo>
                  <a:cubicBezTo>
                    <a:pt x="710089" y="379571"/>
                    <a:pt x="710089" y="375761"/>
                    <a:pt x="711041" y="372904"/>
                  </a:cubicBezTo>
                  <a:cubicBezTo>
                    <a:pt x="712946" y="359569"/>
                    <a:pt x="713899" y="352901"/>
                    <a:pt x="713899" y="352901"/>
                  </a:cubicBezTo>
                  <a:cubicBezTo>
                    <a:pt x="713899" y="352901"/>
                    <a:pt x="711994" y="360521"/>
                    <a:pt x="707231" y="372904"/>
                  </a:cubicBezTo>
                  <a:cubicBezTo>
                    <a:pt x="707231" y="373856"/>
                    <a:pt x="706279" y="374809"/>
                    <a:pt x="706279" y="374809"/>
                  </a:cubicBezTo>
                  <a:cubicBezTo>
                    <a:pt x="704374" y="369094"/>
                    <a:pt x="702469" y="363379"/>
                    <a:pt x="701516" y="357664"/>
                  </a:cubicBezTo>
                  <a:cubicBezTo>
                    <a:pt x="701516" y="357664"/>
                    <a:pt x="701516" y="357664"/>
                    <a:pt x="701516" y="357664"/>
                  </a:cubicBezTo>
                  <a:cubicBezTo>
                    <a:pt x="704374" y="339566"/>
                    <a:pt x="707231" y="323374"/>
                    <a:pt x="710089" y="308134"/>
                  </a:cubicBezTo>
                  <a:close/>
                  <a:moveTo>
                    <a:pt x="676751" y="253841"/>
                  </a:moveTo>
                  <a:cubicBezTo>
                    <a:pt x="676751" y="250984"/>
                    <a:pt x="676751" y="249079"/>
                    <a:pt x="676751" y="246221"/>
                  </a:cubicBezTo>
                  <a:cubicBezTo>
                    <a:pt x="677704" y="237649"/>
                    <a:pt x="678656" y="229076"/>
                    <a:pt x="679609" y="220504"/>
                  </a:cubicBezTo>
                  <a:cubicBezTo>
                    <a:pt x="680561" y="206216"/>
                    <a:pt x="681514" y="192881"/>
                    <a:pt x="682466" y="181451"/>
                  </a:cubicBezTo>
                  <a:cubicBezTo>
                    <a:pt x="682466" y="180499"/>
                    <a:pt x="682466" y="179546"/>
                    <a:pt x="682466" y="178594"/>
                  </a:cubicBezTo>
                  <a:cubicBezTo>
                    <a:pt x="687229" y="193834"/>
                    <a:pt x="691039" y="211931"/>
                    <a:pt x="696754" y="231934"/>
                  </a:cubicBezTo>
                  <a:cubicBezTo>
                    <a:pt x="699611" y="243364"/>
                    <a:pt x="702469" y="254794"/>
                    <a:pt x="705326" y="267176"/>
                  </a:cubicBezTo>
                  <a:cubicBezTo>
                    <a:pt x="704374" y="269081"/>
                    <a:pt x="704374" y="271939"/>
                    <a:pt x="703421" y="273844"/>
                  </a:cubicBezTo>
                  <a:cubicBezTo>
                    <a:pt x="700564" y="284321"/>
                    <a:pt x="697706" y="295751"/>
                    <a:pt x="694849" y="307181"/>
                  </a:cubicBezTo>
                  <a:cubicBezTo>
                    <a:pt x="693896" y="309086"/>
                    <a:pt x="693896" y="311944"/>
                    <a:pt x="692944" y="313849"/>
                  </a:cubicBezTo>
                  <a:cubicBezTo>
                    <a:pt x="691991" y="316706"/>
                    <a:pt x="691039" y="319564"/>
                    <a:pt x="690086" y="322421"/>
                  </a:cubicBezTo>
                  <a:cubicBezTo>
                    <a:pt x="684371" y="305276"/>
                    <a:pt x="679609" y="290036"/>
                    <a:pt x="673894" y="274796"/>
                  </a:cubicBezTo>
                  <a:cubicBezTo>
                    <a:pt x="675799" y="268129"/>
                    <a:pt x="676751" y="260509"/>
                    <a:pt x="676751" y="253841"/>
                  </a:cubicBezTo>
                  <a:close/>
                  <a:moveTo>
                    <a:pt x="668179" y="331946"/>
                  </a:moveTo>
                  <a:cubicBezTo>
                    <a:pt x="668179" y="330994"/>
                    <a:pt x="668179" y="330994"/>
                    <a:pt x="668179" y="330041"/>
                  </a:cubicBezTo>
                  <a:cubicBezTo>
                    <a:pt x="668179" y="331946"/>
                    <a:pt x="669131" y="332899"/>
                    <a:pt x="669131" y="334804"/>
                  </a:cubicBezTo>
                  <a:cubicBezTo>
                    <a:pt x="670084" y="338614"/>
                    <a:pt x="671036" y="342424"/>
                    <a:pt x="671989" y="346234"/>
                  </a:cubicBezTo>
                  <a:cubicBezTo>
                    <a:pt x="672941" y="350044"/>
                    <a:pt x="673894" y="354806"/>
                    <a:pt x="674846" y="359569"/>
                  </a:cubicBezTo>
                  <a:cubicBezTo>
                    <a:pt x="675799" y="363379"/>
                    <a:pt x="676751" y="367189"/>
                    <a:pt x="676751" y="370999"/>
                  </a:cubicBezTo>
                  <a:cubicBezTo>
                    <a:pt x="676751" y="371951"/>
                    <a:pt x="675799" y="372904"/>
                    <a:pt x="675799" y="373856"/>
                  </a:cubicBezTo>
                  <a:cubicBezTo>
                    <a:pt x="675799" y="374809"/>
                    <a:pt x="674846" y="375761"/>
                    <a:pt x="674846" y="377666"/>
                  </a:cubicBezTo>
                  <a:cubicBezTo>
                    <a:pt x="672941" y="374809"/>
                    <a:pt x="671989" y="370999"/>
                    <a:pt x="670084" y="368141"/>
                  </a:cubicBezTo>
                  <a:cubicBezTo>
                    <a:pt x="668179" y="364331"/>
                    <a:pt x="666274" y="361474"/>
                    <a:pt x="664369" y="358616"/>
                  </a:cubicBezTo>
                  <a:cubicBezTo>
                    <a:pt x="665321" y="349091"/>
                    <a:pt x="667226" y="340519"/>
                    <a:pt x="668179" y="331946"/>
                  </a:cubicBezTo>
                  <a:close/>
                  <a:moveTo>
                    <a:pt x="656749" y="266224"/>
                  </a:moveTo>
                  <a:cubicBezTo>
                    <a:pt x="656749" y="266224"/>
                    <a:pt x="656749" y="267176"/>
                    <a:pt x="656749" y="267176"/>
                  </a:cubicBezTo>
                  <a:cubicBezTo>
                    <a:pt x="656749" y="268129"/>
                    <a:pt x="656749" y="269081"/>
                    <a:pt x="656749" y="269081"/>
                  </a:cubicBezTo>
                  <a:cubicBezTo>
                    <a:pt x="656749" y="268129"/>
                    <a:pt x="656749" y="267176"/>
                    <a:pt x="656749" y="266224"/>
                  </a:cubicBezTo>
                  <a:close/>
                  <a:moveTo>
                    <a:pt x="608171" y="318611"/>
                  </a:moveTo>
                  <a:cubicBezTo>
                    <a:pt x="609124" y="305276"/>
                    <a:pt x="611029" y="291941"/>
                    <a:pt x="611981" y="279559"/>
                  </a:cubicBezTo>
                  <a:cubicBezTo>
                    <a:pt x="612934" y="282416"/>
                    <a:pt x="612934" y="285274"/>
                    <a:pt x="613886" y="288131"/>
                  </a:cubicBezTo>
                  <a:cubicBezTo>
                    <a:pt x="614839" y="301466"/>
                    <a:pt x="615791" y="314801"/>
                    <a:pt x="615791" y="327184"/>
                  </a:cubicBezTo>
                  <a:cubicBezTo>
                    <a:pt x="615791" y="329089"/>
                    <a:pt x="615791" y="330041"/>
                    <a:pt x="615791" y="331946"/>
                  </a:cubicBezTo>
                  <a:cubicBezTo>
                    <a:pt x="615791" y="333851"/>
                    <a:pt x="615791" y="335756"/>
                    <a:pt x="615791" y="337661"/>
                  </a:cubicBezTo>
                  <a:cubicBezTo>
                    <a:pt x="614839" y="336709"/>
                    <a:pt x="613886" y="334804"/>
                    <a:pt x="613886" y="333851"/>
                  </a:cubicBezTo>
                  <a:cubicBezTo>
                    <a:pt x="611981" y="330041"/>
                    <a:pt x="609124" y="325279"/>
                    <a:pt x="607219" y="321469"/>
                  </a:cubicBezTo>
                  <a:cubicBezTo>
                    <a:pt x="608171" y="320516"/>
                    <a:pt x="608171" y="319564"/>
                    <a:pt x="608171" y="318611"/>
                  </a:cubicBezTo>
                  <a:close/>
                  <a:moveTo>
                    <a:pt x="606266" y="341471"/>
                  </a:moveTo>
                  <a:cubicBezTo>
                    <a:pt x="609124" y="349091"/>
                    <a:pt x="612934" y="356711"/>
                    <a:pt x="615791" y="364331"/>
                  </a:cubicBezTo>
                  <a:cubicBezTo>
                    <a:pt x="615791" y="364331"/>
                    <a:pt x="615791" y="365284"/>
                    <a:pt x="615791" y="365284"/>
                  </a:cubicBezTo>
                  <a:cubicBezTo>
                    <a:pt x="614839" y="368141"/>
                    <a:pt x="612934" y="371951"/>
                    <a:pt x="611029" y="375761"/>
                  </a:cubicBezTo>
                  <a:cubicBezTo>
                    <a:pt x="610076" y="371951"/>
                    <a:pt x="609124" y="367189"/>
                    <a:pt x="608171" y="363379"/>
                  </a:cubicBezTo>
                  <a:cubicBezTo>
                    <a:pt x="607219" y="358616"/>
                    <a:pt x="606266" y="354806"/>
                    <a:pt x="605314" y="350996"/>
                  </a:cubicBezTo>
                  <a:cubicBezTo>
                    <a:pt x="605314" y="348139"/>
                    <a:pt x="605314" y="344329"/>
                    <a:pt x="606266" y="341471"/>
                  </a:cubicBezTo>
                  <a:close/>
                  <a:moveTo>
                    <a:pt x="606266" y="424339"/>
                  </a:moveTo>
                  <a:cubicBezTo>
                    <a:pt x="607219" y="427196"/>
                    <a:pt x="608171" y="430054"/>
                    <a:pt x="609124" y="433864"/>
                  </a:cubicBezTo>
                  <a:cubicBezTo>
                    <a:pt x="608171" y="434816"/>
                    <a:pt x="608171" y="435769"/>
                    <a:pt x="607219" y="436721"/>
                  </a:cubicBezTo>
                  <a:lnTo>
                    <a:pt x="601504" y="435769"/>
                  </a:lnTo>
                  <a:cubicBezTo>
                    <a:pt x="604361" y="432911"/>
                    <a:pt x="605314" y="428149"/>
                    <a:pt x="606266" y="424339"/>
                  </a:cubicBezTo>
                  <a:close/>
                  <a:moveTo>
                    <a:pt x="599599" y="401479"/>
                  </a:moveTo>
                  <a:cubicBezTo>
                    <a:pt x="599599" y="402431"/>
                    <a:pt x="599599" y="402431"/>
                    <a:pt x="599599" y="401479"/>
                  </a:cubicBezTo>
                  <a:cubicBezTo>
                    <a:pt x="599599" y="402431"/>
                    <a:pt x="599599" y="403384"/>
                    <a:pt x="599599" y="403384"/>
                  </a:cubicBezTo>
                  <a:cubicBezTo>
                    <a:pt x="599599" y="403384"/>
                    <a:pt x="599599" y="402431"/>
                    <a:pt x="599599" y="401479"/>
                  </a:cubicBezTo>
                  <a:close/>
                  <a:moveTo>
                    <a:pt x="587216" y="300514"/>
                  </a:moveTo>
                  <a:cubicBezTo>
                    <a:pt x="588169" y="303371"/>
                    <a:pt x="590074" y="307181"/>
                    <a:pt x="591979" y="310039"/>
                  </a:cubicBezTo>
                  <a:cubicBezTo>
                    <a:pt x="591979" y="311944"/>
                    <a:pt x="591026" y="314801"/>
                    <a:pt x="591026" y="316706"/>
                  </a:cubicBezTo>
                  <a:cubicBezTo>
                    <a:pt x="591026" y="316706"/>
                    <a:pt x="591026" y="316706"/>
                    <a:pt x="591026" y="316706"/>
                  </a:cubicBezTo>
                  <a:cubicBezTo>
                    <a:pt x="591026" y="317659"/>
                    <a:pt x="590074" y="318611"/>
                    <a:pt x="590074" y="319564"/>
                  </a:cubicBezTo>
                  <a:cubicBezTo>
                    <a:pt x="589121" y="316706"/>
                    <a:pt x="588169" y="313849"/>
                    <a:pt x="587216" y="311944"/>
                  </a:cubicBezTo>
                  <a:cubicBezTo>
                    <a:pt x="587216" y="308134"/>
                    <a:pt x="587216" y="303371"/>
                    <a:pt x="586264" y="299561"/>
                  </a:cubicBezTo>
                  <a:cubicBezTo>
                    <a:pt x="586264" y="299561"/>
                    <a:pt x="586264" y="299561"/>
                    <a:pt x="587216" y="300514"/>
                  </a:cubicBezTo>
                  <a:close/>
                  <a:moveTo>
                    <a:pt x="553879" y="257651"/>
                  </a:moveTo>
                  <a:cubicBezTo>
                    <a:pt x="554831" y="249079"/>
                    <a:pt x="554831" y="241459"/>
                    <a:pt x="555784" y="233839"/>
                  </a:cubicBezTo>
                  <a:cubicBezTo>
                    <a:pt x="556736" y="238601"/>
                    <a:pt x="557689" y="243364"/>
                    <a:pt x="558641" y="249079"/>
                  </a:cubicBezTo>
                  <a:cubicBezTo>
                    <a:pt x="557689" y="247174"/>
                    <a:pt x="556736" y="247174"/>
                    <a:pt x="556736" y="247174"/>
                  </a:cubicBezTo>
                  <a:cubicBezTo>
                    <a:pt x="556736" y="247174"/>
                    <a:pt x="557689" y="248126"/>
                    <a:pt x="558641" y="250984"/>
                  </a:cubicBezTo>
                  <a:cubicBezTo>
                    <a:pt x="561499" y="264319"/>
                    <a:pt x="565309" y="280511"/>
                    <a:pt x="570071" y="297656"/>
                  </a:cubicBezTo>
                  <a:cubicBezTo>
                    <a:pt x="570071" y="299561"/>
                    <a:pt x="571024" y="301466"/>
                    <a:pt x="571976" y="303371"/>
                  </a:cubicBezTo>
                  <a:cubicBezTo>
                    <a:pt x="571024" y="306229"/>
                    <a:pt x="570071" y="310039"/>
                    <a:pt x="569119" y="312896"/>
                  </a:cubicBezTo>
                  <a:cubicBezTo>
                    <a:pt x="567214" y="307181"/>
                    <a:pt x="566261" y="301466"/>
                    <a:pt x="564356" y="295751"/>
                  </a:cubicBezTo>
                  <a:cubicBezTo>
                    <a:pt x="560546" y="285274"/>
                    <a:pt x="557689" y="274796"/>
                    <a:pt x="553879" y="266224"/>
                  </a:cubicBezTo>
                  <a:cubicBezTo>
                    <a:pt x="553879" y="263366"/>
                    <a:pt x="553879" y="260509"/>
                    <a:pt x="553879" y="257651"/>
                  </a:cubicBezTo>
                  <a:close/>
                  <a:moveTo>
                    <a:pt x="551974" y="295751"/>
                  </a:moveTo>
                  <a:cubicBezTo>
                    <a:pt x="551974" y="294799"/>
                    <a:pt x="551974" y="294799"/>
                    <a:pt x="551974" y="295751"/>
                  </a:cubicBezTo>
                  <a:cubicBezTo>
                    <a:pt x="551974" y="295751"/>
                    <a:pt x="552926" y="297656"/>
                    <a:pt x="552926" y="298609"/>
                  </a:cubicBezTo>
                  <a:cubicBezTo>
                    <a:pt x="554831" y="304324"/>
                    <a:pt x="555784" y="310991"/>
                    <a:pt x="556736" y="317659"/>
                  </a:cubicBezTo>
                  <a:cubicBezTo>
                    <a:pt x="556736" y="318611"/>
                    <a:pt x="556736" y="319564"/>
                    <a:pt x="557689" y="321469"/>
                  </a:cubicBezTo>
                  <a:cubicBezTo>
                    <a:pt x="557689" y="321469"/>
                    <a:pt x="557689" y="321469"/>
                    <a:pt x="557689" y="322421"/>
                  </a:cubicBezTo>
                  <a:cubicBezTo>
                    <a:pt x="557689" y="323374"/>
                    <a:pt x="557689" y="324326"/>
                    <a:pt x="557689" y="326231"/>
                  </a:cubicBezTo>
                  <a:cubicBezTo>
                    <a:pt x="555784" y="319564"/>
                    <a:pt x="553879" y="312896"/>
                    <a:pt x="552926" y="306229"/>
                  </a:cubicBezTo>
                  <a:cubicBezTo>
                    <a:pt x="551974" y="301466"/>
                    <a:pt x="551974" y="298609"/>
                    <a:pt x="551974" y="295751"/>
                  </a:cubicBezTo>
                  <a:close/>
                  <a:moveTo>
                    <a:pt x="529114" y="290036"/>
                  </a:moveTo>
                  <a:cubicBezTo>
                    <a:pt x="529114" y="290036"/>
                    <a:pt x="529114" y="290989"/>
                    <a:pt x="529114" y="290036"/>
                  </a:cubicBezTo>
                  <a:cubicBezTo>
                    <a:pt x="529114" y="290989"/>
                    <a:pt x="529114" y="290989"/>
                    <a:pt x="529114" y="290036"/>
                  </a:cubicBezTo>
                  <a:cubicBezTo>
                    <a:pt x="529114" y="290989"/>
                    <a:pt x="529114" y="290036"/>
                    <a:pt x="529114" y="290036"/>
                  </a:cubicBezTo>
                  <a:close/>
                  <a:moveTo>
                    <a:pt x="522446" y="336709"/>
                  </a:moveTo>
                  <a:cubicBezTo>
                    <a:pt x="522446" y="333851"/>
                    <a:pt x="523399" y="331946"/>
                    <a:pt x="523399" y="329089"/>
                  </a:cubicBezTo>
                  <a:cubicBezTo>
                    <a:pt x="524351" y="331946"/>
                    <a:pt x="525304" y="333851"/>
                    <a:pt x="526256" y="336709"/>
                  </a:cubicBezTo>
                  <a:cubicBezTo>
                    <a:pt x="528161" y="341471"/>
                    <a:pt x="530066" y="346234"/>
                    <a:pt x="531019" y="350996"/>
                  </a:cubicBezTo>
                  <a:cubicBezTo>
                    <a:pt x="531019" y="358616"/>
                    <a:pt x="531019" y="366236"/>
                    <a:pt x="531971" y="374809"/>
                  </a:cubicBezTo>
                  <a:cubicBezTo>
                    <a:pt x="531971" y="384334"/>
                    <a:pt x="532924" y="393859"/>
                    <a:pt x="533876" y="403384"/>
                  </a:cubicBezTo>
                  <a:cubicBezTo>
                    <a:pt x="530066" y="397669"/>
                    <a:pt x="528161" y="394811"/>
                    <a:pt x="528161" y="394811"/>
                  </a:cubicBezTo>
                  <a:cubicBezTo>
                    <a:pt x="528161" y="394811"/>
                    <a:pt x="530066" y="400526"/>
                    <a:pt x="532924" y="410051"/>
                  </a:cubicBezTo>
                  <a:cubicBezTo>
                    <a:pt x="533876" y="411956"/>
                    <a:pt x="534829" y="414814"/>
                    <a:pt x="534829" y="417671"/>
                  </a:cubicBezTo>
                  <a:cubicBezTo>
                    <a:pt x="534829" y="421481"/>
                    <a:pt x="535781" y="426244"/>
                    <a:pt x="535781" y="430054"/>
                  </a:cubicBezTo>
                  <a:lnTo>
                    <a:pt x="523399" y="428149"/>
                  </a:lnTo>
                  <a:cubicBezTo>
                    <a:pt x="523399" y="428149"/>
                    <a:pt x="522446" y="427196"/>
                    <a:pt x="522446" y="427196"/>
                  </a:cubicBezTo>
                  <a:cubicBezTo>
                    <a:pt x="522446" y="426244"/>
                    <a:pt x="522446" y="424339"/>
                    <a:pt x="522446" y="423386"/>
                  </a:cubicBezTo>
                  <a:cubicBezTo>
                    <a:pt x="525304" y="414814"/>
                    <a:pt x="527209" y="410051"/>
                    <a:pt x="527209" y="410051"/>
                  </a:cubicBezTo>
                  <a:cubicBezTo>
                    <a:pt x="527209" y="410051"/>
                    <a:pt x="525304" y="412909"/>
                    <a:pt x="522446" y="418624"/>
                  </a:cubicBezTo>
                  <a:cubicBezTo>
                    <a:pt x="522446" y="413861"/>
                    <a:pt x="521494" y="409099"/>
                    <a:pt x="521494" y="405289"/>
                  </a:cubicBezTo>
                  <a:cubicBezTo>
                    <a:pt x="520541" y="392906"/>
                    <a:pt x="518636" y="380524"/>
                    <a:pt x="517684" y="369094"/>
                  </a:cubicBezTo>
                  <a:cubicBezTo>
                    <a:pt x="519589" y="356711"/>
                    <a:pt x="520541" y="347186"/>
                    <a:pt x="522446" y="336709"/>
                  </a:cubicBezTo>
                  <a:close/>
                  <a:moveTo>
                    <a:pt x="512921" y="271939"/>
                  </a:moveTo>
                  <a:cubicBezTo>
                    <a:pt x="511969" y="276701"/>
                    <a:pt x="511016" y="281464"/>
                    <a:pt x="509111" y="287179"/>
                  </a:cubicBezTo>
                  <a:cubicBezTo>
                    <a:pt x="509111" y="287179"/>
                    <a:pt x="509111" y="287179"/>
                    <a:pt x="509111" y="288131"/>
                  </a:cubicBezTo>
                  <a:cubicBezTo>
                    <a:pt x="508159" y="284321"/>
                    <a:pt x="508159" y="279559"/>
                    <a:pt x="507206" y="275749"/>
                  </a:cubicBezTo>
                  <a:cubicBezTo>
                    <a:pt x="507206" y="270986"/>
                    <a:pt x="508159" y="267176"/>
                    <a:pt x="508159" y="262414"/>
                  </a:cubicBezTo>
                  <a:lnTo>
                    <a:pt x="509111" y="262414"/>
                  </a:lnTo>
                  <a:cubicBezTo>
                    <a:pt x="511016" y="265271"/>
                    <a:pt x="511969" y="268129"/>
                    <a:pt x="512921" y="271939"/>
                  </a:cubicBezTo>
                  <a:close/>
                  <a:moveTo>
                    <a:pt x="497681" y="207169"/>
                  </a:moveTo>
                  <a:cubicBezTo>
                    <a:pt x="500539" y="217646"/>
                    <a:pt x="503396" y="230981"/>
                    <a:pt x="506254" y="245269"/>
                  </a:cubicBezTo>
                  <a:cubicBezTo>
                    <a:pt x="507206" y="249079"/>
                    <a:pt x="508159" y="252889"/>
                    <a:pt x="509111" y="256699"/>
                  </a:cubicBezTo>
                  <a:cubicBezTo>
                    <a:pt x="508159" y="256699"/>
                    <a:pt x="507206" y="256699"/>
                    <a:pt x="506254" y="256699"/>
                  </a:cubicBezTo>
                  <a:lnTo>
                    <a:pt x="505301" y="256699"/>
                  </a:lnTo>
                  <a:cubicBezTo>
                    <a:pt x="505301" y="256699"/>
                    <a:pt x="505301" y="256699"/>
                    <a:pt x="505301" y="256699"/>
                  </a:cubicBezTo>
                  <a:cubicBezTo>
                    <a:pt x="502444" y="238601"/>
                    <a:pt x="499586" y="220504"/>
                    <a:pt x="497681" y="207169"/>
                  </a:cubicBezTo>
                  <a:cubicBezTo>
                    <a:pt x="496729" y="207169"/>
                    <a:pt x="496729" y="207169"/>
                    <a:pt x="497681" y="207169"/>
                  </a:cubicBezTo>
                  <a:close/>
                  <a:moveTo>
                    <a:pt x="487204" y="419576"/>
                  </a:moveTo>
                  <a:cubicBezTo>
                    <a:pt x="487204" y="420529"/>
                    <a:pt x="486251" y="421481"/>
                    <a:pt x="486251" y="422434"/>
                  </a:cubicBezTo>
                  <a:lnTo>
                    <a:pt x="483394" y="422434"/>
                  </a:lnTo>
                  <a:cubicBezTo>
                    <a:pt x="483394" y="421481"/>
                    <a:pt x="483394" y="419576"/>
                    <a:pt x="483394" y="418624"/>
                  </a:cubicBezTo>
                  <a:cubicBezTo>
                    <a:pt x="483394" y="412909"/>
                    <a:pt x="482441" y="407194"/>
                    <a:pt x="481489" y="401479"/>
                  </a:cubicBezTo>
                  <a:cubicBezTo>
                    <a:pt x="483394" y="407194"/>
                    <a:pt x="485299" y="413861"/>
                    <a:pt x="487204" y="419576"/>
                  </a:cubicBezTo>
                  <a:close/>
                  <a:moveTo>
                    <a:pt x="437674" y="390049"/>
                  </a:moveTo>
                  <a:cubicBezTo>
                    <a:pt x="437674" y="390049"/>
                    <a:pt x="437674" y="390049"/>
                    <a:pt x="437674" y="390049"/>
                  </a:cubicBezTo>
                  <a:cubicBezTo>
                    <a:pt x="437674" y="389096"/>
                    <a:pt x="437674" y="389096"/>
                    <a:pt x="437674" y="388144"/>
                  </a:cubicBezTo>
                  <a:cubicBezTo>
                    <a:pt x="437674" y="388144"/>
                    <a:pt x="437674" y="388144"/>
                    <a:pt x="437674" y="388144"/>
                  </a:cubicBezTo>
                  <a:cubicBezTo>
                    <a:pt x="437674" y="389096"/>
                    <a:pt x="437674" y="390049"/>
                    <a:pt x="437674" y="390049"/>
                  </a:cubicBezTo>
                  <a:cubicBezTo>
                    <a:pt x="437674" y="391001"/>
                    <a:pt x="437674" y="390049"/>
                    <a:pt x="437674" y="390049"/>
                  </a:cubicBezTo>
                  <a:close/>
                  <a:moveTo>
                    <a:pt x="448151" y="362426"/>
                  </a:moveTo>
                  <a:cubicBezTo>
                    <a:pt x="447199" y="360521"/>
                    <a:pt x="446246" y="358616"/>
                    <a:pt x="446246" y="356711"/>
                  </a:cubicBezTo>
                  <a:cubicBezTo>
                    <a:pt x="447199" y="353854"/>
                    <a:pt x="448151" y="350044"/>
                    <a:pt x="449104" y="347186"/>
                  </a:cubicBezTo>
                  <a:cubicBezTo>
                    <a:pt x="448151" y="351949"/>
                    <a:pt x="448151" y="357664"/>
                    <a:pt x="448151" y="362426"/>
                  </a:cubicBezTo>
                  <a:close/>
                  <a:moveTo>
                    <a:pt x="436721" y="227171"/>
                  </a:moveTo>
                  <a:cubicBezTo>
                    <a:pt x="437674" y="233839"/>
                    <a:pt x="439579" y="239554"/>
                    <a:pt x="440531" y="246221"/>
                  </a:cubicBezTo>
                  <a:cubicBezTo>
                    <a:pt x="438626" y="242411"/>
                    <a:pt x="436721" y="238601"/>
                    <a:pt x="434816" y="234791"/>
                  </a:cubicBezTo>
                  <a:cubicBezTo>
                    <a:pt x="435769" y="231934"/>
                    <a:pt x="435769" y="230029"/>
                    <a:pt x="436721" y="227171"/>
                  </a:cubicBezTo>
                  <a:close/>
                  <a:moveTo>
                    <a:pt x="428149" y="280511"/>
                  </a:moveTo>
                  <a:cubicBezTo>
                    <a:pt x="430054" y="270986"/>
                    <a:pt x="431006" y="262414"/>
                    <a:pt x="431959" y="253841"/>
                  </a:cubicBezTo>
                  <a:cubicBezTo>
                    <a:pt x="431959" y="255746"/>
                    <a:pt x="432911" y="256699"/>
                    <a:pt x="432911" y="258604"/>
                  </a:cubicBezTo>
                  <a:cubicBezTo>
                    <a:pt x="434816" y="266224"/>
                    <a:pt x="436721" y="274796"/>
                    <a:pt x="438626" y="284321"/>
                  </a:cubicBezTo>
                  <a:cubicBezTo>
                    <a:pt x="438626" y="286226"/>
                    <a:pt x="439579" y="288131"/>
                    <a:pt x="439579" y="290036"/>
                  </a:cubicBezTo>
                  <a:cubicBezTo>
                    <a:pt x="434816" y="284321"/>
                    <a:pt x="432911" y="281464"/>
                    <a:pt x="432911" y="281464"/>
                  </a:cubicBezTo>
                  <a:cubicBezTo>
                    <a:pt x="432911" y="281464"/>
                    <a:pt x="435769" y="287179"/>
                    <a:pt x="439579" y="295751"/>
                  </a:cubicBezTo>
                  <a:cubicBezTo>
                    <a:pt x="440531" y="296704"/>
                    <a:pt x="440531" y="298609"/>
                    <a:pt x="441484" y="299561"/>
                  </a:cubicBezTo>
                  <a:cubicBezTo>
                    <a:pt x="442436" y="303371"/>
                    <a:pt x="443389" y="308134"/>
                    <a:pt x="443389" y="312896"/>
                  </a:cubicBezTo>
                  <a:cubicBezTo>
                    <a:pt x="444341" y="317659"/>
                    <a:pt x="445294" y="323374"/>
                    <a:pt x="446246" y="328136"/>
                  </a:cubicBezTo>
                  <a:cubicBezTo>
                    <a:pt x="446246" y="330994"/>
                    <a:pt x="447199" y="332899"/>
                    <a:pt x="447199" y="335756"/>
                  </a:cubicBezTo>
                  <a:cubicBezTo>
                    <a:pt x="446246" y="337661"/>
                    <a:pt x="445294" y="339566"/>
                    <a:pt x="445294" y="341471"/>
                  </a:cubicBezTo>
                  <a:cubicBezTo>
                    <a:pt x="444341" y="344329"/>
                    <a:pt x="443389" y="346234"/>
                    <a:pt x="442436" y="349091"/>
                  </a:cubicBezTo>
                  <a:cubicBezTo>
                    <a:pt x="439579" y="342424"/>
                    <a:pt x="437674" y="336709"/>
                    <a:pt x="434816" y="331946"/>
                  </a:cubicBezTo>
                  <a:cubicBezTo>
                    <a:pt x="434816" y="322421"/>
                    <a:pt x="434816" y="317659"/>
                    <a:pt x="434816" y="317659"/>
                  </a:cubicBezTo>
                  <a:cubicBezTo>
                    <a:pt x="434816" y="317659"/>
                    <a:pt x="433864" y="321469"/>
                    <a:pt x="432911" y="328136"/>
                  </a:cubicBezTo>
                  <a:cubicBezTo>
                    <a:pt x="430054" y="319564"/>
                    <a:pt x="426244" y="310991"/>
                    <a:pt x="423386" y="303371"/>
                  </a:cubicBezTo>
                  <a:cubicBezTo>
                    <a:pt x="426244" y="295751"/>
                    <a:pt x="427196" y="288131"/>
                    <a:pt x="428149" y="280511"/>
                  </a:cubicBezTo>
                  <a:close/>
                  <a:moveTo>
                    <a:pt x="418624" y="345281"/>
                  </a:moveTo>
                  <a:cubicBezTo>
                    <a:pt x="419576" y="337661"/>
                    <a:pt x="420529" y="330041"/>
                    <a:pt x="422434" y="322421"/>
                  </a:cubicBezTo>
                  <a:cubicBezTo>
                    <a:pt x="424339" y="328136"/>
                    <a:pt x="425291" y="333851"/>
                    <a:pt x="427196" y="339566"/>
                  </a:cubicBezTo>
                  <a:cubicBezTo>
                    <a:pt x="428149" y="343376"/>
                    <a:pt x="429101" y="347186"/>
                    <a:pt x="430054" y="350996"/>
                  </a:cubicBezTo>
                  <a:cubicBezTo>
                    <a:pt x="429101" y="354806"/>
                    <a:pt x="429101" y="358616"/>
                    <a:pt x="428149" y="362426"/>
                  </a:cubicBezTo>
                  <a:cubicBezTo>
                    <a:pt x="427196" y="360521"/>
                    <a:pt x="426244" y="358616"/>
                    <a:pt x="426244" y="356711"/>
                  </a:cubicBezTo>
                  <a:cubicBezTo>
                    <a:pt x="423386" y="349091"/>
                    <a:pt x="420529" y="344329"/>
                    <a:pt x="420529" y="344329"/>
                  </a:cubicBezTo>
                  <a:cubicBezTo>
                    <a:pt x="420529" y="344329"/>
                    <a:pt x="420529" y="349091"/>
                    <a:pt x="422434" y="357664"/>
                  </a:cubicBezTo>
                  <a:cubicBezTo>
                    <a:pt x="423386" y="361474"/>
                    <a:pt x="423386" y="367189"/>
                    <a:pt x="424339" y="372904"/>
                  </a:cubicBezTo>
                  <a:cubicBezTo>
                    <a:pt x="424339" y="374809"/>
                    <a:pt x="425291" y="375761"/>
                    <a:pt x="425291" y="377666"/>
                  </a:cubicBezTo>
                  <a:cubicBezTo>
                    <a:pt x="425291" y="376714"/>
                    <a:pt x="424339" y="375761"/>
                    <a:pt x="424339" y="375761"/>
                  </a:cubicBezTo>
                  <a:cubicBezTo>
                    <a:pt x="424339" y="375761"/>
                    <a:pt x="424339" y="374809"/>
                    <a:pt x="424339" y="374809"/>
                  </a:cubicBezTo>
                  <a:cubicBezTo>
                    <a:pt x="422434" y="367189"/>
                    <a:pt x="420529" y="359569"/>
                    <a:pt x="418624" y="351949"/>
                  </a:cubicBezTo>
                  <a:cubicBezTo>
                    <a:pt x="417671" y="349091"/>
                    <a:pt x="418624" y="347186"/>
                    <a:pt x="418624" y="345281"/>
                  </a:cubicBezTo>
                  <a:close/>
                  <a:moveTo>
                    <a:pt x="406241" y="261461"/>
                  </a:moveTo>
                  <a:cubicBezTo>
                    <a:pt x="408146" y="267176"/>
                    <a:pt x="410051" y="275749"/>
                    <a:pt x="411956" y="285274"/>
                  </a:cubicBezTo>
                  <a:cubicBezTo>
                    <a:pt x="410051" y="292894"/>
                    <a:pt x="409099" y="301466"/>
                    <a:pt x="407194" y="310039"/>
                  </a:cubicBezTo>
                  <a:cubicBezTo>
                    <a:pt x="406241" y="307181"/>
                    <a:pt x="406241" y="304324"/>
                    <a:pt x="405289" y="302419"/>
                  </a:cubicBezTo>
                  <a:cubicBezTo>
                    <a:pt x="406241" y="288131"/>
                    <a:pt x="406241" y="273844"/>
                    <a:pt x="406241" y="261461"/>
                  </a:cubicBezTo>
                  <a:close/>
                  <a:moveTo>
                    <a:pt x="382429" y="290036"/>
                  </a:moveTo>
                  <a:cubicBezTo>
                    <a:pt x="382429" y="290989"/>
                    <a:pt x="382429" y="292894"/>
                    <a:pt x="381476" y="293846"/>
                  </a:cubicBezTo>
                  <a:cubicBezTo>
                    <a:pt x="381476" y="290989"/>
                    <a:pt x="381476" y="288131"/>
                    <a:pt x="381476" y="285274"/>
                  </a:cubicBezTo>
                  <a:cubicBezTo>
                    <a:pt x="381476" y="287179"/>
                    <a:pt x="382429" y="288131"/>
                    <a:pt x="382429" y="290036"/>
                  </a:cubicBezTo>
                  <a:close/>
                  <a:moveTo>
                    <a:pt x="361474" y="394811"/>
                  </a:moveTo>
                  <a:cubicBezTo>
                    <a:pt x="361474" y="397669"/>
                    <a:pt x="361474" y="401479"/>
                    <a:pt x="361474" y="404336"/>
                  </a:cubicBezTo>
                  <a:cubicBezTo>
                    <a:pt x="361474" y="405289"/>
                    <a:pt x="361474" y="406241"/>
                    <a:pt x="361474" y="407194"/>
                  </a:cubicBezTo>
                  <a:cubicBezTo>
                    <a:pt x="359569" y="399574"/>
                    <a:pt x="357664" y="391001"/>
                    <a:pt x="354806" y="383381"/>
                  </a:cubicBezTo>
                  <a:cubicBezTo>
                    <a:pt x="354806" y="383381"/>
                    <a:pt x="354806" y="383381"/>
                    <a:pt x="354806" y="382429"/>
                  </a:cubicBezTo>
                  <a:cubicBezTo>
                    <a:pt x="353854" y="379571"/>
                    <a:pt x="353854" y="376714"/>
                    <a:pt x="352901" y="373856"/>
                  </a:cubicBezTo>
                  <a:cubicBezTo>
                    <a:pt x="355759" y="381476"/>
                    <a:pt x="358616" y="388144"/>
                    <a:pt x="361474" y="394811"/>
                  </a:cubicBezTo>
                  <a:close/>
                  <a:moveTo>
                    <a:pt x="347186" y="307181"/>
                  </a:moveTo>
                  <a:cubicBezTo>
                    <a:pt x="348139" y="309086"/>
                    <a:pt x="348139" y="310039"/>
                    <a:pt x="349091" y="311944"/>
                  </a:cubicBezTo>
                  <a:cubicBezTo>
                    <a:pt x="348139" y="310991"/>
                    <a:pt x="348139" y="310039"/>
                    <a:pt x="347186" y="309086"/>
                  </a:cubicBezTo>
                  <a:cubicBezTo>
                    <a:pt x="346234" y="309086"/>
                    <a:pt x="346234" y="308134"/>
                    <a:pt x="347186" y="307181"/>
                  </a:cubicBezTo>
                  <a:close/>
                  <a:moveTo>
                    <a:pt x="347186" y="429101"/>
                  </a:moveTo>
                  <a:cubicBezTo>
                    <a:pt x="347186" y="430054"/>
                    <a:pt x="348139" y="431959"/>
                    <a:pt x="348139" y="432911"/>
                  </a:cubicBezTo>
                  <a:lnTo>
                    <a:pt x="346234" y="432911"/>
                  </a:lnTo>
                  <a:cubicBezTo>
                    <a:pt x="346234" y="431006"/>
                    <a:pt x="346234" y="430054"/>
                    <a:pt x="347186" y="429101"/>
                  </a:cubicBezTo>
                  <a:close/>
                  <a:moveTo>
                    <a:pt x="310991" y="439579"/>
                  </a:moveTo>
                  <a:cubicBezTo>
                    <a:pt x="310991" y="434816"/>
                    <a:pt x="310991" y="429101"/>
                    <a:pt x="311944" y="424339"/>
                  </a:cubicBezTo>
                  <a:cubicBezTo>
                    <a:pt x="313849" y="429101"/>
                    <a:pt x="315754" y="433864"/>
                    <a:pt x="317659" y="438626"/>
                  </a:cubicBezTo>
                  <a:lnTo>
                    <a:pt x="310991" y="439579"/>
                  </a:lnTo>
                  <a:close/>
                  <a:moveTo>
                    <a:pt x="302419" y="230981"/>
                  </a:moveTo>
                  <a:cubicBezTo>
                    <a:pt x="303371" y="232886"/>
                    <a:pt x="303371" y="235744"/>
                    <a:pt x="304324" y="237649"/>
                  </a:cubicBezTo>
                  <a:cubicBezTo>
                    <a:pt x="305276" y="242411"/>
                    <a:pt x="306229" y="247174"/>
                    <a:pt x="307181" y="252889"/>
                  </a:cubicBezTo>
                  <a:cubicBezTo>
                    <a:pt x="303371" y="247174"/>
                    <a:pt x="300514" y="244316"/>
                    <a:pt x="300514" y="244316"/>
                  </a:cubicBezTo>
                  <a:cubicBezTo>
                    <a:pt x="300514" y="238601"/>
                    <a:pt x="301466" y="234791"/>
                    <a:pt x="302419" y="230981"/>
                  </a:cubicBezTo>
                  <a:close/>
                  <a:moveTo>
                    <a:pt x="295751" y="269081"/>
                  </a:moveTo>
                  <a:cubicBezTo>
                    <a:pt x="296704" y="264319"/>
                    <a:pt x="297656" y="262414"/>
                    <a:pt x="297656" y="262414"/>
                  </a:cubicBezTo>
                  <a:cubicBezTo>
                    <a:pt x="297656" y="262414"/>
                    <a:pt x="296704" y="263366"/>
                    <a:pt x="295751" y="265271"/>
                  </a:cubicBezTo>
                  <a:cubicBezTo>
                    <a:pt x="296704" y="260509"/>
                    <a:pt x="296704" y="256699"/>
                    <a:pt x="297656" y="251936"/>
                  </a:cubicBezTo>
                  <a:cubicBezTo>
                    <a:pt x="298609" y="249079"/>
                    <a:pt x="298609" y="246221"/>
                    <a:pt x="299561" y="243364"/>
                  </a:cubicBezTo>
                  <a:cubicBezTo>
                    <a:pt x="299561" y="244316"/>
                    <a:pt x="300514" y="245269"/>
                    <a:pt x="301466" y="247174"/>
                  </a:cubicBezTo>
                  <a:cubicBezTo>
                    <a:pt x="304324" y="254794"/>
                    <a:pt x="307181" y="262414"/>
                    <a:pt x="310039" y="270986"/>
                  </a:cubicBezTo>
                  <a:cubicBezTo>
                    <a:pt x="312896" y="285274"/>
                    <a:pt x="315754" y="298609"/>
                    <a:pt x="319564" y="312896"/>
                  </a:cubicBezTo>
                  <a:cubicBezTo>
                    <a:pt x="322421" y="328136"/>
                    <a:pt x="326231" y="343376"/>
                    <a:pt x="330041" y="358616"/>
                  </a:cubicBezTo>
                  <a:cubicBezTo>
                    <a:pt x="330041" y="359569"/>
                    <a:pt x="330041" y="360521"/>
                    <a:pt x="330041" y="362426"/>
                  </a:cubicBezTo>
                  <a:cubicBezTo>
                    <a:pt x="329089" y="375761"/>
                    <a:pt x="328136" y="390049"/>
                    <a:pt x="327184" y="404336"/>
                  </a:cubicBezTo>
                  <a:cubicBezTo>
                    <a:pt x="327184" y="404336"/>
                    <a:pt x="327184" y="404336"/>
                    <a:pt x="327184" y="404336"/>
                  </a:cubicBezTo>
                  <a:cubicBezTo>
                    <a:pt x="325279" y="400526"/>
                    <a:pt x="323374" y="396716"/>
                    <a:pt x="321469" y="392906"/>
                  </a:cubicBezTo>
                  <a:cubicBezTo>
                    <a:pt x="317659" y="382429"/>
                    <a:pt x="313849" y="371951"/>
                    <a:pt x="310991" y="362426"/>
                  </a:cubicBezTo>
                  <a:cubicBezTo>
                    <a:pt x="306229" y="347186"/>
                    <a:pt x="301466" y="332899"/>
                    <a:pt x="296704" y="318611"/>
                  </a:cubicBezTo>
                  <a:cubicBezTo>
                    <a:pt x="294799" y="312896"/>
                    <a:pt x="293846" y="308134"/>
                    <a:pt x="291941" y="302419"/>
                  </a:cubicBezTo>
                  <a:cubicBezTo>
                    <a:pt x="292894" y="290989"/>
                    <a:pt x="294799" y="279559"/>
                    <a:pt x="295751" y="269081"/>
                  </a:cubicBezTo>
                  <a:close/>
                  <a:moveTo>
                    <a:pt x="283369" y="378619"/>
                  </a:moveTo>
                  <a:cubicBezTo>
                    <a:pt x="283369" y="373856"/>
                    <a:pt x="284321" y="369094"/>
                    <a:pt x="284321" y="365284"/>
                  </a:cubicBezTo>
                  <a:cubicBezTo>
                    <a:pt x="284321" y="364331"/>
                    <a:pt x="284321" y="363379"/>
                    <a:pt x="285274" y="363379"/>
                  </a:cubicBezTo>
                  <a:cubicBezTo>
                    <a:pt x="289084" y="370999"/>
                    <a:pt x="291941" y="378619"/>
                    <a:pt x="295751" y="387191"/>
                  </a:cubicBezTo>
                  <a:cubicBezTo>
                    <a:pt x="297656" y="391954"/>
                    <a:pt x="300514" y="395764"/>
                    <a:pt x="302419" y="400526"/>
                  </a:cubicBezTo>
                  <a:cubicBezTo>
                    <a:pt x="302419" y="401479"/>
                    <a:pt x="303371" y="403384"/>
                    <a:pt x="303371" y="404336"/>
                  </a:cubicBezTo>
                  <a:cubicBezTo>
                    <a:pt x="302419" y="407194"/>
                    <a:pt x="302419" y="410051"/>
                    <a:pt x="301466" y="412909"/>
                  </a:cubicBezTo>
                  <a:cubicBezTo>
                    <a:pt x="299561" y="422434"/>
                    <a:pt x="297656" y="432911"/>
                    <a:pt x="295751" y="442436"/>
                  </a:cubicBezTo>
                  <a:lnTo>
                    <a:pt x="283369" y="444341"/>
                  </a:lnTo>
                  <a:cubicBezTo>
                    <a:pt x="282416" y="441484"/>
                    <a:pt x="282416" y="438626"/>
                    <a:pt x="281464" y="435769"/>
                  </a:cubicBezTo>
                  <a:cubicBezTo>
                    <a:pt x="281464" y="425291"/>
                    <a:pt x="281464" y="415766"/>
                    <a:pt x="281464" y="407194"/>
                  </a:cubicBezTo>
                  <a:cubicBezTo>
                    <a:pt x="281464" y="397669"/>
                    <a:pt x="282416" y="388144"/>
                    <a:pt x="283369" y="378619"/>
                  </a:cubicBezTo>
                  <a:close/>
                  <a:moveTo>
                    <a:pt x="237649" y="415766"/>
                  </a:moveTo>
                  <a:cubicBezTo>
                    <a:pt x="234791" y="409099"/>
                    <a:pt x="230981" y="402431"/>
                    <a:pt x="228124" y="395764"/>
                  </a:cubicBezTo>
                  <a:cubicBezTo>
                    <a:pt x="228124" y="391954"/>
                    <a:pt x="229076" y="387191"/>
                    <a:pt x="229076" y="383381"/>
                  </a:cubicBezTo>
                  <a:cubicBezTo>
                    <a:pt x="232886" y="391001"/>
                    <a:pt x="235744" y="398621"/>
                    <a:pt x="239554" y="406241"/>
                  </a:cubicBezTo>
                  <a:cubicBezTo>
                    <a:pt x="239554" y="410051"/>
                    <a:pt x="238601" y="412909"/>
                    <a:pt x="237649" y="415766"/>
                  </a:cubicBezTo>
                  <a:close/>
                  <a:moveTo>
                    <a:pt x="247174" y="431006"/>
                  </a:moveTo>
                  <a:cubicBezTo>
                    <a:pt x="247174" y="429101"/>
                    <a:pt x="247174" y="427196"/>
                    <a:pt x="248126" y="425291"/>
                  </a:cubicBezTo>
                  <a:cubicBezTo>
                    <a:pt x="248126" y="425291"/>
                    <a:pt x="248126" y="425291"/>
                    <a:pt x="248126" y="425291"/>
                  </a:cubicBezTo>
                  <a:cubicBezTo>
                    <a:pt x="248126" y="427196"/>
                    <a:pt x="247174" y="429101"/>
                    <a:pt x="247174" y="431006"/>
                  </a:cubicBezTo>
                  <a:close/>
                  <a:moveTo>
                    <a:pt x="264319" y="204311"/>
                  </a:moveTo>
                  <a:cubicBezTo>
                    <a:pt x="267176" y="195739"/>
                    <a:pt x="269081" y="189071"/>
                    <a:pt x="270986" y="185261"/>
                  </a:cubicBezTo>
                  <a:cubicBezTo>
                    <a:pt x="269081" y="194786"/>
                    <a:pt x="268129" y="204311"/>
                    <a:pt x="267176" y="214789"/>
                  </a:cubicBezTo>
                  <a:cubicBezTo>
                    <a:pt x="267176" y="212884"/>
                    <a:pt x="266224" y="211931"/>
                    <a:pt x="266224" y="210026"/>
                  </a:cubicBezTo>
                  <a:cubicBezTo>
                    <a:pt x="264319" y="207169"/>
                    <a:pt x="264319" y="206216"/>
                    <a:pt x="264319" y="204311"/>
                  </a:cubicBezTo>
                  <a:cubicBezTo>
                    <a:pt x="264319" y="204311"/>
                    <a:pt x="264319" y="204311"/>
                    <a:pt x="264319" y="204311"/>
                  </a:cubicBezTo>
                  <a:close/>
                  <a:moveTo>
                    <a:pt x="254794" y="235744"/>
                  </a:moveTo>
                  <a:cubicBezTo>
                    <a:pt x="256699" y="230029"/>
                    <a:pt x="257651" y="225266"/>
                    <a:pt x="258604" y="220504"/>
                  </a:cubicBezTo>
                  <a:cubicBezTo>
                    <a:pt x="259556" y="227171"/>
                    <a:pt x="260509" y="234791"/>
                    <a:pt x="261461" y="242411"/>
                  </a:cubicBezTo>
                  <a:cubicBezTo>
                    <a:pt x="261461" y="243364"/>
                    <a:pt x="261461" y="244316"/>
                    <a:pt x="262414" y="245269"/>
                  </a:cubicBezTo>
                  <a:cubicBezTo>
                    <a:pt x="261461" y="253841"/>
                    <a:pt x="260509" y="261461"/>
                    <a:pt x="260509" y="270034"/>
                  </a:cubicBezTo>
                  <a:cubicBezTo>
                    <a:pt x="259556" y="268129"/>
                    <a:pt x="258604" y="266224"/>
                    <a:pt x="257651" y="264319"/>
                  </a:cubicBezTo>
                  <a:cubicBezTo>
                    <a:pt x="254794" y="258604"/>
                    <a:pt x="252889" y="253841"/>
                    <a:pt x="250984" y="249079"/>
                  </a:cubicBezTo>
                  <a:cubicBezTo>
                    <a:pt x="252889" y="245269"/>
                    <a:pt x="253841" y="239554"/>
                    <a:pt x="254794" y="235744"/>
                  </a:cubicBezTo>
                  <a:close/>
                  <a:moveTo>
                    <a:pt x="245269" y="276701"/>
                  </a:moveTo>
                  <a:cubicBezTo>
                    <a:pt x="246221" y="270986"/>
                    <a:pt x="248126" y="265271"/>
                    <a:pt x="249079" y="260509"/>
                  </a:cubicBezTo>
                  <a:cubicBezTo>
                    <a:pt x="250031" y="262414"/>
                    <a:pt x="250031" y="265271"/>
                    <a:pt x="250984" y="268129"/>
                  </a:cubicBezTo>
                  <a:cubicBezTo>
                    <a:pt x="252889" y="275749"/>
                    <a:pt x="255746" y="284321"/>
                    <a:pt x="258604" y="292894"/>
                  </a:cubicBezTo>
                  <a:cubicBezTo>
                    <a:pt x="258604" y="293846"/>
                    <a:pt x="259556" y="294799"/>
                    <a:pt x="259556" y="294799"/>
                  </a:cubicBezTo>
                  <a:cubicBezTo>
                    <a:pt x="259556" y="295751"/>
                    <a:pt x="259556" y="296704"/>
                    <a:pt x="259556" y="297656"/>
                  </a:cubicBezTo>
                  <a:cubicBezTo>
                    <a:pt x="258604" y="310039"/>
                    <a:pt x="258604" y="321469"/>
                    <a:pt x="257651" y="333851"/>
                  </a:cubicBezTo>
                  <a:cubicBezTo>
                    <a:pt x="255746" y="325279"/>
                    <a:pt x="253841" y="317659"/>
                    <a:pt x="250984" y="309086"/>
                  </a:cubicBezTo>
                  <a:cubicBezTo>
                    <a:pt x="252889" y="304324"/>
                    <a:pt x="253841" y="301466"/>
                    <a:pt x="253841" y="301466"/>
                  </a:cubicBezTo>
                  <a:cubicBezTo>
                    <a:pt x="253841" y="301466"/>
                    <a:pt x="252889" y="303371"/>
                    <a:pt x="250984" y="307181"/>
                  </a:cubicBezTo>
                  <a:cubicBezTo>
                    <a:pt x="249079" y="299561"/>
                    <a:pt x="247174" y="291941"/>
                    <a:pt x="244316" y="284321"/>
                  </a:cubicBezTo>
                  <a:cubicBezTo>
                    <a:pt x="244316" y="281464"/>
                    <a:pt x="245269" y="279559"/>
                    <a:pt x="245269" y="276701"/>
                  </a:cubicBezTo>
                  <a:close/>
                  <a:moveTo>
                    <a:pt x="236696" y="325279"/>
                  </a:moveTo>
                  <a:cubicBezTo>
                    <a:pt x="236696" y="324326"/>
                    <a:pt x="236696" y="323374"/>
                    <a:pt x="237649" y="322421"/>
                  </a:cubicBezTo>
                  <a:cubicBezTo>
                    <a:pt x="237649" y="324326"/>
                    <a:pt x="238601" y="327184"/>
                    <a:pt x="238601" y="329089"/>
                  </a:cubicBezTo>
                  <a:cubicBezTo>
                    <a:pt x="237649" y="330994"/>
                    <a:pt x="236696" y="332899"/>
                    <a:pt x="235744" y="335756"/>
                  </a:cubicBezTo>
                  <a:cubicBezTo>
                    <a:pt x="235744" y="332899"/>
                    <a:pt x="235744" y="329089"/>
                    <a:pt x="236696" y="325279"/>
                  </a:cubicBezTo>
                  <a:close/>
                  <a:moveTo>
                    <a:pt x="234791" y="353854"/>
                  </a:moveTo>
                  <a:cubicBezTo>
                    <a:pt x="236696" y="348139"/>
                    <a:pt x="238601" y="342424"/>
                    <a:pt x="240506" y="337661"/>
                  </a:cubicBezTo>
                  <a:cubicBezTo>
                    <a:pt x="240506" y="339566"/>
                    <a:pt x="241459" y="340519"/>
                    <a:pt x="241459" y="342424"/>
                  </a:cubicBezTo>
                  <a:cubicBezTo>
                    <a:pt x="243364" y="352901"/>
                    <a:pt x="246221" y="362426"/>
                    <a:pt x="248126" y="372904"/>
                  </a:cubicBezTo>
                  <a:cubicBezTo>
                    <a:pt x="248126" y="374809"/>
                    <a:pt x="247174" y="376714"/>
                    <a:pt x="247174" y="378619"/>
                  </a:cubicBezTo>
                  <a:cubicBezTo>
                    <a:pt x="245269" y="375761"/>
                    <a:pt x="243364" y="371951"/>
                    <a:pt x="242411" y="369094"/>
                  </a:cubicBezTo>
                  <a:cubicBezTo>
                    <a:pt x="239554" y="364331"/>
                    <a:pt x="236696" y="359569"/>
                    <a:pt x="234791" y="353854"/>
                  </a:cubicBezTo>
                  <a:cubicBezTo>
                    <a:pt x="234791" y="354806"/>
                    <a:pt x="234791" y="353854"/>
                    <a:pt x="234791" y="353854"/>
                  </a:cubicBezTo>
                  <a:close/>
                  <a:moveTo>
                    <a:pt x="222409" y="297656"/>
                  </a:moveTo>
                  <a:cubicBezTo>
                    <a:pt x="224314" y="290036"/>
                    <a:pt x="226219" y="283369"/>
                    <a:pt x="227171" y="278606"/>
                  </a:cubicBezTo>
                  <a:cubicBezTo>
                    <a:pt x="227171" y="280511"/>
                    <a:pt x="228124" y="282416"/>
                    <a:pt x="228124" y="284321"/>
                  </a:cubicBezTo>
                  <a:cubicBezTo>
                    <a:pt x="229076" y="286226"/>
                    <a:pt x="229076" y="288131"/>
                    <a:pt x="230029" y="290989"/>
                  </a:cubicBezTo>
                  <a:cubicBezTo>
                    <a:pt x="227171" y="301466"/>
                    <a:pt x="225266" y="312896"/>
                    <a:pt x="222409" y="324326"/>
                  </a:cubicBezTo>
                  <a:cubicBezTo>
                    <a:pt x="222409" y="326231"/>
                    <a:pt x="221456" y="328136"/>
                    <a:pt x="221456" y="330041"/>
                  </a:cubicBezTo>
                  <a:cubicBezTo>
                    <a:pt x="221456" y="330041"/>
                    <a:pt x="221456" y="329089"/>
                    <a:pt x="220504" y="329089"/>
                  </a:cubicBezTo>
                  <a:cubicBezTo>
                    <a:pt x="219551" y="323374"/>
                    <a:pt x="219551" y="317659"/>
                    <a:pt x="218599" y="312896"/>
                  </a:cubicBezTo>
                  <a:cubicBezTo>
                    <a:pt x="220504" y="306229"/>
                    <a:pt x="221456" y="301466"/>
                    <a:pt x="222409" y="297656"/>
                  </a:cubicBezTo>
                  <a:close/>
                  <a:moveTo>
                    <a:pt x="169069" y="411956"/>
                  </a:moveTo>
                  <a:cubicBezTo>
                    <a:pt x="169069" y="411956"/>
                    <a:pt x="169069" y="412909"/>
                    <a:pt x="169069" y="412909"/>
                  </a:cubicBezTo>
                  <a:cubicBezTo>
                    <a:pt x="168116" y="407194"/>
                    <a:pt x="167164" y="401479"/>
                    <a:pt x="165259" y="396716"/>
                  </a:cubicBezTo>
                  <a:cubicBezTo>
                    <a:pt x="165259" y="389096"/>
                    <a:pt x="164306" y="382429"/>
                    <a:pt x="164306" y="375761"/>
                  </a:cubicBezTo>
                  <a:cubicBezTo>
                    <a:pt x="163354" y="365284"/>
                    <a:pt x="162401" y="354806"/>
                    <a:pt x="161449" y="345281"/>
                  </a:cubicBezTo>
                  <a:cubicBezTo>
                    <a:pt x="160496" y="336709"/>
                    <a:pt x="159544" y="329089"/>
                    <a:pt x="158591" y="321469"/>
                  </a:cubicBezTo>
                  <a:cubicBezTo>
                    <a:pt x="158591" y="322421"/>
                    <a:pt x="159544" y="322421"/>
                    <a:pt x="159544" y="323374"/>
                  </a:cubicBezTo>
                  <a:cubicBezTo>
                    <a:pt x="160496" y="325279"/>
                    <a:pt x="161449" y="326231"/>
                    <a:pt x="162401" y="328136"/>
                  </a:cubicBezTo>
                  <a:cubicBezTo>
                    <a:pt x="163354" y="342424"/>
                    <a:pt x="165259" y="359569"/>
                    <a:pt x="167164" y="376714"/>
                  </a:cubicBezTo>
                  <a:cubicBezTo>
                    <a:pt x="168116" y="385286"/>
                    <a:pt x="169069" y="393859"/>
                    <a:pt x="170021" y="402431"/>
                  </a:cubicBezTo>
                  <a:cubicBezTo>
                    <a:pt x="170021" y="405289"/>
                    <a:pt x="169069" y="408146"/>
                    <a:pt x="169069" y="411956"/>
                  </a:cubicBezTo>
                  <a:close/>
                  <a:moveTo>
                    <a:pt x="209074" y="350044"/>
                  </a:moveTo>
                  <a:cubicBezTo>
                    <a:pt x="209074" y="352901"/>
                    <a:pt x="209074" y="356711"/>
                    <a:pt x="209074" y="359569"/>
                  </a:cubicBezTo>
                  <a:cubicBezTo>
                    <a:pt x="208121" y="358616"/>
                    <a:pt x="208121" y="357664"/>
                    <a:pt x="207169" y="356711"/>
                  </a:cubicBezTo>
                  <a:cubicBezTo>
                    <a:pt x="208121" y="354806"/>
                    <a:pt x="209074" y="351949"/>
                    <a:pt x="209074" y="350044"/>
                  </a:cubicBezTo>
                  <a:close/>
                  <a:moveTo>
                    <a:pt x="170974" y="259556"/>
                  </a:moveTo>
                  <a:cubicBezTo>
                    <a:pt x="173831" y="264319"/>
                    <a:pt x="175736" y="270034"/>
                    <a:pt x="178594" y="274796"/>
                  </a:cubicBezTo>
                  <a:cubicBezTo>
                    <a:pt x="181451" y="280511"/>
                    <a:pt x="184309" y="286226"/>
                    <a:pt x="187166" y="291941"/>
                  </a:cubicBezTo>
                  <a:cubicBezTo>
                    <a:pt x="192881" y="304324"/>
                    <a:pt x="198596" y="316706"/>
                    <a:pt x="205264" y="330041"/>
                  </a:cubicBezTo>
                  <a:cubicBezTo>
                    <a:pt x="203359" y="333851"/>
                    <a:pt x="202406" y="338614"/>
                    <a:pt x="200501" y="343376"/>
                  </a:cubicBezTo>
                  <a:cubicBezTo>
                    <a:pt x="200501" y="343376"/>
                    <a:pt x="200501" y="342424"/>
                    <a:pt x="199549" y="342424"/>
                  </a:cubicBezTo>
                  <a:cubicBezTo>
                    <a:pt x="193834" y="330994"/>
                    <a:pt x="187166" y="320516"/>
                    <a:pt x="180499" y="310039"/>
                  </a:cubicBezTo>
                  <a:cubicBezTo>
                    <a:pt x="178594" y="301466"/>
                    <a:pt x="176689" y="296704"/>
                    <a:pt x="176689" y="296704"/>
                  </a:cubicBezTo>
                  <a:cubicBezTo>
                    <a:pt x="176689" y="296704"/>
                    <a:pt x="176689" y="299561"/>
                    <a:pt x="176689" y="305276"/>
                  </a:cubicBezTo>
                  <a:cubicBezTo>
                    <a:pt x="175736" y="303371"/>
                    <a:pt x="174784" y="301466"/>
                    <a:pt x="172879" y="299561"/>
                  </a:cubicBezTo>
                  <a:cubicBezTo>
                    <a:pt x="172879" y="299561"/>
                    <a:pt x="171926" y="298609"/>
                    <a:pt x="171926" y="298609"/>
                  </a:cubicBezTo>
                  <a:cubicBezTo>
                    <a:pt x="170974" y="291941"/>
                    <a:pt x="169069" y="285274"/>
                    <a:pt x="168116" y="279559"/>
                  </a:cubicBezTo>
                  <a:cubicBezTo>
                    <a:pt x="164306" y="262414"/>
                    <a:pt x="161449" y="247174"/>
                    <a:pt x="158591" y="235744"/>
                  </a:cubicBezTo>
                  <a:cubicBezTo>
                    <a:pt x="163354" y="243364"/>
                    <a:pt x="167164" y="250984"/>
                    <a:pt x="170974" y="259556"/>
                  </a:cubicBezTo>
                  <a:close/>
                  <a:moveTo>
                    <a:pt x="161449" y="307181"/>
                  </a:moveTo>
                  <a:cubicBezTo>
                    <a:pt x="159544" y="305276"/>
                    <a:pt x="157639" y="303371"/>
                    <a:pt x="156686" y="301466"/>
                  </a:cubicBezTo>
                  <a:cubicBezTo>
                    <a:pt x="156686" y="300514"/>
                    <a:pt x="156686" y="298609"/>
                    <a:pt x="155734" y="297656"/>
                  </a:cubicBezTo>
                  <a:cubicBezTo>
                    <a:pt x="156686" y="300514"/>
                    <a:pt x="158591" y="304324"/>
                    <a:pt x="161449" y="307181"/>
                  </a:cubicBezTo>
                  <a:close/>
                  <a:moveTo>
                    <a:pt x="130969" y="280511"/>
                  </a:moveTo>
                  <a:cubicBezTo>
                    <a:pt x="131921" y="281464"/>
                    <a:pt x="132874" y="282416"/>
                    <a:pt x="133826" y="284321"/>
                  </a:cubicBezTo>
                  <a:cubicBezTo>
                    <a:pt x="137636" y="289084"/>
                    <a:pt x="141446" y="294799"/>
                    <a:pt x="145256" y="301466"/>
                  </a:cubicBezTo>
                  <a:cubicBezTo>
                    <a:pt x="147161" y="304324"/>
                    <a:pt x="149066" y="307181"/>
                    <a:pt x="150971" y="310039"/>
                  </a:cubicBezTo>
                  <a:cubicBezTo>
                    <a:pt x="150971" y="318611"/>
                    <a:pt x="150019" y="329089"/>
                    <a:pt x="150019" y="341471"/>
                  </a:cubicBezTo>
                  <a:cubicBezTo>
                    <a:pt x="150019" y="341471"/>
                    <a:pt x="150019" y="340519"/>
                    <a:pt x="149066" y="339566"/>
                  </a:cubicBezTo>
                  <a:cubicBezTo>
                    <a:pt x="148114" y="335756"/>
                    <a:pt x="146209" y="331946"/>
                    <a:pt x="145256" y="328136"/>
                  </a:cubicBezTo>
                  <a:cubicBezTo>
                    <a:pt x="144304" y="324326"/>
                    <a:pt x="142399" y="321469"/>
                    <a:pt x="140494" y="317659"/>
                  </a:cubicBezTo>
                  <a:cubicBezTo>
                    <a:pt x="137636" y="310991"/>
                    <a:pt x="134779" y="306229"/>
                    <a:pt x="132874" y="301466"/>
                  </a:cubicBezTo>
                  <a:cubicBezTo>
                    <a:pt x="130969" y="296704"/>
                    <a:pt x="129064" y="292894"/>
                    <a:pt x="127159" y="290989"/>
                  </a:cubicBezTo>
                  <a:cubicBezTo>
                    <a:pt x="129064" y="287179"/>
                    <a:pt x="130016" y="283369"/>
                    <a:pt x="130969" y="280511"/>
                  </a:cubicBezTo>
                  <a:close/>
                  <a:moveTo>
                    <a:pt x="121444" y="318611"/>
                  </a:moveTo>
                  <a:cubicBezTo>
                    <a:pt x="123349" y="309086"/>
                    <a:pt x="124301" y="301466"/>
                    <a:pt x="127159" y="294799"/>
                  </a:cubicBezTo>
                  <a:cubicBezTo>
                    <a:pt x="127159" y="294799"/>
                    <a:pt x="127159" y="294799"/>
                    <a:pt x="127159" y="293846"/>
                  </a:cubicBezTo>
                  <a:cubicBezTo>
                    <a:pt x="128111" y="296704"/>
                    <a:pt x="128111" y="299561"/>
                    <a:pt x="129064" y="303371"/>
                  </a:cubicBezTo>
                  <a:cubicBezTo>
                    <a:pt x="130016" y="308134"/>
                    <a:pt x="131921" y="313849"/>
                    <a:pt x="133826" y="320516"/>
                  </a:cubicBezTo>
                  <a:cubicBezTo>
                    <a:pt x="135731" y="327184"/>
                    <a:pt x="137636" y="334804"/>
                    <a:pt x="138589" y="342424"/>
                  </a:cubicBezTo>
                  <a:cubicBezTo>
                    <a:pt x="140494" y="350996"/>
                    <a:pt x="141446" y="359569"/>
                    <a:pt x="143351" y="369094"/>
                  </a:cubicBezTo>
                  <a:cubicBezTo>
                    <a:pt x="145256" y="378619"/>
                    <a:pt x="146209" y="388144"/>
                    <a:pt x="148114" y="398621"/>
                  </a:cubicBezTo>
                  <a:cubicBezTo>
                    <a:pt x="148114" y="399574"/>
                    <a:pt x="148114" y="401479"/>
                    <a:pt x="149066" y="403384"/>
                  </a:cubicBezTo>
                  <a:cubicBezTo>
                    <a:pt x="149066" y="406241"/>
                    <a:pt x="149066" y="408146"/>
                    <a:pt x="149066" y="411004"/>
                  </a:cubicBezTo>
                  <a:cubicBezTo>
                    <a:pt x="149066" y="412909"/>
                    <a:pt x="149066" y="414814"/>
                    <a:pt x="149066" y="416719"/>
                  </a:cubicBezTo>
                  <a:cubicBezTo>
                    <a:pt x="145256" y="407194"/>
                    <a:pt x="142399" y="397669"/>
                    <a:pt x="138589" y="388144"/>
                  </a:cubicBezTo>
                  <a:cubicBezTo>
                    <a:pt x="135731" y="379571"/>
                    <a:pt x="132874" y="371951"/>
                    <a:pt x="129064" y="363379"/>
                  </a:cubicBezTo>
                  <a:cubicBezTo>
                    <a:pt x="130969" y="360521"/>
                    <a:pt x="131921" y="358616"/>
                    <a:pt x="131921" y="358616"/>
                  </a:cubicBezTo>
                  <a:cubicBezTo>
                    <a:pt x="131921" y="358616"/>
                    <a:pt x="130969" y="359569"/>
                    <a:pt x="129064" y="361474"/>
                  </a:cubicBezTo>
                  <a:cubicBezTo>
                    <a:pt x="127159" y="357664"/>
                    <a:pt x="126206" y="353854"/>
                    <a:pt x="124301" y="350044"/>
                  </a:cubicBezTo>
                  <a:cubicBezTo>
                    <a:pt x="124301" y="348139"/>
                    <a:pt x="125254" y="346234"/>
                    <a:pt x="125254" y="344329"/>
                  </a:cubicBezTo>
                  <a:cubicBezTo>
                    <a:pt x="128111" y="333851"/>
                    <a:pt x="129064" y="328136"/>
                    <a:pt x="129064" y="328136"/>
                  </a:cubicBezTo>
                  <a:cubicBezTo>
                    <a:pt x="129064" y="328136"/>
                    <a:pt x="126206" y="333851"/>
                    <a:pt x="121444" y="343376"/>
                  </a:cubicBezTo>
                  <a:cubicBezTo>
                    <a:pt x="121444" y="343376"/>
                    <a:pt x="121444" y="343376"/>
                    <a:pt x="121444" y="343376"/>
                  </a:cubicBezTo>
                  <a:cubicBezTo>
                    <a:pt x="121444" y="342424"/>
                    <a:pt x="121444" y="342424"/>
                    <a:pt x="120491" y="341471"/>
                  </a:cubicBezTo>
                  <a:cubicBezTo>
                    <a:pt x="119539" y="339566"/>
                    <a:pt x="118586" y="337661"/>
                    <a:pt x="117634" y="334804"/>
                  </a:cubicBezTo>
                  <a:cubicBezTo>
                    <a:pt x="119539" y="329089"/>
                    <a:pt x="120491" y="323374"/>
                    <a:pt x="121444" y="318611"/>
                  </a:cubicBezTo>
                  <a:close/>
                  <a:moveTo>
                    <a:pt x="116681" y="393859"/>
                  </a:moveTo>
                  <a:cubicBezTo>
                    <a:pt x="120491" y="402431"/>
                    <a:pt x="123349" y="411004"/>
                    <a:pt x="127159" y="419576"/>
                  </a:cubicBezTo>
                  <a:lnTo>
                    <a:pt x="113824" y="414814"/>
                  </a:lnTo>
                  <a:cubicBezTo>
                    <a:pt x="115729" y="408146"/>
                    <a:pt x="115729" y="400526"/>
                    <a:pt x="116681" y="393859"/>
                  </a:cubicBezTo>
                  <a:close/>
                  <a:moveTo>
                    <a:pt x="91916" y="341471"/>
                  </a:moveTo>
                  <a:cubicBezTo>
                    <a:pt x="91916" y="339566"/>
                    <a:pt x="92869" y="337661"/>
                    <a:pt x="92869" y="335756"/>
                  </a:cubicBezTo>
                  <a:cubicBezTo>
                    <a:pt x="93821" y="337661"/>
                    <a:pt x="93821" y="338614"/>
                    <a:pt x="94774" y="340519"/>
                  </a:cubicBezTo>
                  <a:cubicBezTo>
                    <a:pt x="97631" y="346234"/>
                    <a:pt x="99536" y="351949"/>
                    <a:pt x="102394" y="358616"/>
                  </a:cubicBezTo>
                  <a:cubicBezTo>
                    <a:pt x="100489" y="367189"/>
                    <a:pt x="98584" y="374809"/>
                    <a:pt x="96679" y="384334"/>
                  </a:cubicBezTo>
                  <a:cubicBezTo>
                    <a:pt x="95726" y="389096"/>
                    <a:pt x="94774" y="393859"/>
                    <a:pt x="94774" y="399574"/>
                  </a:cubicBezTo>
                  <a:cubicBezTo>
                    <a:pt x="94774" y="399574"/>
                    <a:pt x="93821" y="400526"/>
                    <a:pt x="93821" y="400526"/>
                  </a:cubicBezTo>
                  <a:cubicBezTo>
                    <a:pt x="92869" y="401479"/>
                    <a:pt x="91916" y="403384"/>
                    <a:pt x="90964" y="404336"/>
                  </a:cubicBezTo>
                  <a:cubicBezTo>
                    <a:pt x="90011" y="396716"/>
                    <a:pt x="89059" y="390049"/>
                    <a:pt x="88106" y="382429"/>
                  </a:cubicBezTo>
                  <a:cubicBezTo>
                    <a:pt x="87154" y="376714"/>
                    <a:pt x="86201" y="370999"/>
                    <a:pt x="85249" y="365284"/>
                  </a:cubicBezTo>
                  <a:cubicBezTo>
                    <a:pt x="87154" y="356711"/>
                    <a:pt x="89059" y="348139"/>
                    <a:pt x="91916" y="341471"/>
                  </a:cubicBezTo>
                  <a:close/>
                  <a:moveTo>
                    <a:pt x="72866" y="407194"/>
                  </a:moveTo>
                  <a:cubicBezTo>
                    <a:pt x="72866" y="408146"/>
                    <a:pt x="72866" y="408146"/>
                    <a:pt x="72866" y="409099"/>
                  </a:cubicBezTo>
                  <a:cubicBezTo>
                    <a:pt x="72866" y="409099"/>
                    <a:pt x="72866" y="409099"/>
                    <a:pt x="71914" y="409099"/>
                  </a:cubicBezTo>
                  <a:cubicBezTo>
                    <a:pt x="71914" y="408146"/>
                    <a:pt x="72866" y="408146"/>
                    <a:pt x="72866" y="407194"/>
                  </a:cubicBezTo>
                  <a:close/>
                </a:path>
              </a:pathLst>
            </a:custGeom>
            <a:solidFill>
              <a:schemeClr val="accent1"/>
            </a:solidFill>
            <a:ln w="9525" cap="flat">
              <a:noFill/>
              <a:prstDash val="solid"/>
              <a:miter/>
            </a:ln>
          </p:spPr>
          <p:txBody>
            <a:bodyPr rtlCol="0" anchor="ctr"/>
            <a:lstStyle/>
            <a:p>
              <a:pPr marL="0" marR="0" lvl="0" indent="0" algn="l" defTabSz="91376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Arial Unicode MS"/>
                <a:cs typeface="+mn-cs"/>
              </a:endParaRPr>
            </a:p>
          </p:txBody>
        </p:sp>
        <p:sp>
          <p:nvSpPr>
            <p:cNvPr id="8" name="Graphic 41">
              <a:extLst>
                <a:ext uri="{FF2B5EF4-FFF2-40B4-BE49-F238E27FC236}">
                  <a16:creationId xmlns:a16="http://schemas.microsoft.com/office/drawing/2014/main" id="{D99DEF50-1B12-45D7-8822-C1AF050634CB}"/>
                </a:ext>
              </a:extLst>
            </p:cNvPr>
            <p:cNvSpPr/>
            <p:nvPr userDrawn="1"/>
          </p:nvSpPr>
          <p:spPr>
            <a:xfrm>
              <a:off x="5489944" y="6411432"/>
              <a:ext cx="5608465" cy="446567"/>
            </a:xfrm>
            <a:custGeom>
              <a:avLst/>
              <a:gdLst>
                <a:gd name="connsiteX0" fmla="*/ 7144 w 6400800"/>
                <a:gd name="connsiteY0" fmla="*/ 511016 h 514350"/>
                <a:gd name="connsiteX1" fmla="*/ 6354604 w 6400800"/>
                <a:gd name="connsiteY1" fmla="*/ 511016 h 514350"/>
                <a:gd name="connsiteX2" fmla="*/ 6354604 w 6400800"/>
                <a:gd name="connsiteY2" fmla="*/ 409099 h 514350"/>
                <a:gd name="connsiteX3" fmla="*/ 6327934 w 6400800"/>
                <a:gd name="connsiteY3" fmla="*/ 415766 h 514350"/>
                <a:gd name="connsiteX4" fmla="*/ 6327934 w 6400800"/>
                <a:gd name="connsiteY4" fmla="*/ 404336 h 514350"/>
                <a:gd name="connsiteX5" fmla="*/ 6328887 w 6400800"/>
                <a:gd name="connsiteY5" fmla="*/ 383381 h 514350"/>
                <a:gd name="connsiteX6" fmla="*/ 6329839 w 6400800"/>
                <a:gd name="connsiteY6" fmla="*/ 365284 h 514350"/>
                <a:gd name="connsiteX7" fmla="*/ 6324124 w 6400800"/>
                <a:gd name="connsiteY7" fmla="*/ 383381 h 514350"/>
                <a:gd name="connsiteX8" fmla="*/ 6319362 w 6400800"/>
                <a:gd name="connsiteY8" fmla="*/ 404336 h 514350"/>
                <a:gd name="connsiteX9" fmla="*/ 6316504 w 6400800"/>
                <a:gd name="connsiteY9" fmla="*/ 419576 h 514350"/>
                <a:gd name="connsiteX10" fmla="*/ 6303169 w 6400800"/>
                <a:gd name="connsiteY10" fmla="*/ 423386 h 514350"/>
                <a:gd name="connsiteX11" fmla="*/ 6304121 w 6400800"/>
                <a:gd name="connsiteY11" fmla="*/ 405289 h 514350"/>
                <a:gd name="connsiteX12" fmla="*/ 6319362 w 6400800"/>
                <a:gd name="connsiteY12" fmla="*/ 358616 h 514350"/>
                <a:gd name="connsiteX13" fmla="*/ 6322219 w 6400800"/>
                <a:gd name="connsiteY13" fmla="*/ 349091 h 514350"/>
                <a:gd name="connsiteX14" fmla="*/ 6334601 w 6400800"/>
                <a:gd name="connsiteY14" fmla="*/ 312896 h 514350"/>
                <a:gd name="connsiteX15" fmla="*/ 6349842 w 6400800"/>
                <a:gd name="connsiteY15" fmla="*/ 269081 h 514350"/>
                <a:gd name="connsiteX16" fmla="*/ 6363176 w 6400800"/>
                <a:gd name="connsiteY16" fmla="*/ 228124 h 514350"/>
                <a:gd name="connsiteX17" fmla="*/ 6375559 w 6400800"/>
                <a:gd name="connsiteY17" fmla="*/ 190976 h 514350"/>
                <a:gd name="connsiteX18" fmla="*/ 6393656 w 6400800"/>
                <a:gd name="connsiteY18" fmla="*/ 134779 h 514350"/>
                <a:gd name="connsiteX19" fmla="*/ 6400324 w 6400800"/>
                <a:gd name="connsiteY19" fmla="*/ 113824 h 514350"/>
                <a:gd name="connsiteX20" fmla="*/ 6389846 w 6400800"/>
                <a:gd name="connsiteY20" fmla="*/ 133826 h 514350"/>
                <a:gd name="connsiteX21" fmla="*/ 6380321 w 6400800"/>
                <a:gd name="connsiteY21" fmla="*/ 153829 h 514350"/>
                <a:gd name="connsiteX22" fmla="*/ 6392704 w 6400800"/>
                <a:gd name="connsiteY22" fmla="*/ 110966 h 514350"/>
                <a:gd name="connsiteX23" fmla="*/ 6399371 w 6400800"/>
                <a:gd name="connsiteY23" fmla="*/ 87154 h 514350"/>
                <a:gd name="connsiteX24" fmla="*/ 6388894 w 6400800"/>
                <a:gd name="connsiteY24" fmla="*/ 109061 h 514350"/>
                <a:gd name="connsiteX25" fmla="*/ 6377464 w 6400800"/>
                <a:gd name="connsiteY25" fmla="*/ 134779 h 514350"/>
                <a:gd name="connsiteX26" fmla="*/ 6364129 w 6400800"/>
                <a:gd name="connsiteY26" fmla="*/ 168116 h 514350"/>
                <a:gd name="connsiteX27" fmla="*/ 6332696 w 6400800"/>
                <a:gd name="connsiteY27" fmla="*/ 253841 h 514350"/>
                <a:gd name="connsiteX28" fmla="*/ 6316504 w 6400800"/>
                <a:gd name="connsiteY28" fmla="*/ 302419 h 514350"/>
                <a:gd name="connsiteX29" fmla="*/ 6314599 w 6400800"/>
                <a:gd name="connsiteY29" fmla="*/ 308134 h 514350"/>
                <a:gd name="connsiteX30" fmla="*/ 6317456 w 6400800"/>
                <a:gd name="connsiteY30" fmla="*/ 287179 h 514350"/>
                <a:gd name="connsiteX31" fmla="*/ 6319362 w 6400800"/>
                <a:gd name="connsiteY31" fmla="*/ 267176 h 514350"/>
                <a:gd name="connsiteX32" fmla="*/ 6320314 w 6400800"/>
                <a:gd name="connsiteY32" fmla="*/ 250031 h 514350"/>
                <a:gd name="connsiteX33" fmla="*/ 6314599 w 6400800"/>
                <a:gd name="connsiteY33" fmla="*/ 266224 h 514350"/>
                <a:gd name="connsiteX34" fmla="*/ 6302217 w 6400800"/>
                <a:gd name="connsiteY34" fmla="*/ 310039 h 514350"/>
                <a:gd name="connsiteX35" fmla="*/ 6293644 w 6400800"/>
                <a:gd name="connsiteY35" fmla="*/ 339566 h 514350"/>
                <a:gd name="connsiteX36" fmla="*/ 6286976 w 6400800"/>
                <a:gd name="connsiteY36" fmla="*/ 362426 h 514350"/>
                <a:gd name="connsiteX37" fmla="*/ 6284119 w 6400800"/>
                <a:gd name="connsiteY37" fmla="*/ 335756 h 514350"/>
                <a:gd name="connsiteX38" fmla="*/ 6288881 w 6400800"/>
                <a:gd name="connsiteY38" fmla="*/ 318611 h 514350"/>
                <a:gd name="connsiteX39" fmla="*/ 6302217 w 6400800"/>
                <a:gd name="connsiteY39" fmla="*/ 274796 h 514350"/>
                <a:gd name="connsiteX40" fmla="*/ 6307931 w 6400800"/>
                <a:gd name="connsiteY40" fmla="*/ 255746 h 514350"/>
                <a:gd name="connsiteX41" fmla="*/ 6313646 w 6400800"/>
                <a:gd name="connsiteY41" fmla="*/ 238601 h 514350"/>
                <a:gd name="connsiteX42" fmla="*/ 6323171 w 6400800"/>
                <a:gd name="connsiteY42" fmla="*/ 210026 h 514350"/>
                <a:gd name="connsiteX43" fmla="*/ 6330792 w 6400800"/>
                <a:gd name="connsiteY43" fmla="*/ 185261 h 514350"/>
                <a:gd name="connsiteX44" fmla="*/ 6319362 w 6400800"/>
                <a:gd name="connsiteY44" fmla="*/ 208121 h 514350"/>
                <a:gd name="connsiteX45" fmla="*/ 6306026 w 6400800"/>
                <a:gd name="connsiteY45" fmla="*/ 234791 h 514350"/>
                <a:gd name="connsiteX46" fmla="*/ 6298406 w 6400800"/>
                <a:gd name="connsiteY46" fmla="*/ 250984 h 514350"/>
                <a:gd name="connsiteX47" fmla="*/ 6290787 w 6400800"/>
                <a:gd name="connsiteY47" fmla="*/ 270034 h 514350"/>
                <a:gd name="connsiteX48" fmla="*/ 6278404 w 6400800"/>
                <a:gd name="connsiteY48" fmla="*/ 301466 h 514350"/>
                <a:gd name="connsiteX49" fmla="*/ 6277451 w 6400800"/>
                <a:gd name="connsiteY49" fmla="*/ 292894 h 514350"/>
                <a:gd name="connsiteX50" fmla="*/ 6276499 w 6400800"/>
                <a:gd name="connsiteY50" fmla="*/ 306229 h 514350"/>
                <a:gd name="connsiteX51" fmla="*/ 6273642 w 6400800"/>
                <a:gd name="connsiteY51" fmla="*/ 312896 h 514350"/>
                <a:gd name="connsiteX52" fmla="*/ 6269831 w 6400800"/>
                <a:gd name="connsiteY52" fmla="*/ 322421 h 514350"/>
                <a:gd name="connsiteX53" fmla="*/ 6273642 w 6400800"/>
                <a:gd name="connsiteY53" fmla="*/ 300514 h 514350"/>
                <a:gd name="connsiteX54" fmla="*/ 6283167 w 6400800"/>
                <a:gd name="connsiteY54" fmla="*/ 252889 h 514350"/>
                <a:gd name="connsiteX55" fmla="*/ 6287929 w 6400800"/>
                <a:gd name="connsiteY55" fmla="*/ 231934 h 514350"/>
                <a:gd name="connsiteX56" fmla="*/ 6292692 w 6400800"/>
                <a:gd name="connsiteY56" fmla="*/ 212884 h 514350"/>
                <a:gd name="connsiteX57" fmla="*/ 6300312 w 6400800"/>
                <a:gd name="connsiteY57" fmla="*/ 181451 h 514350"/>
                <a:gd name="connsiteX58" fmla="*/ 6306026 w 6400800"/>
                <a:gd name="connsiteY58" fmla="*/ 153829 h 514350"/>
                <a:gd name="connsiteX59" fmla="*/ 6296501 w 6400800"/>
                <a:gd name="connsiteY59" fmla="*/ 180499 h 514350"/>
                <a:gd name="connsiteX60" fmla="*/ 6286024 w 6400800"/>
                <a:gd name="connsiteY60" fmla="*/ 210979 h 514350"/>
                <a:gd name="connsiteX61" fmla="*/ 6279356 w 6400800"/>
                <a:gd name="connsiteY61" fmla="*/ 230029 h 514350"/>
                <a:gd name="connsiteX62" fmla="*/ 6273642 w 6400800"/>
                <a:gd name="connsiteY62" fmla="*/ 250984 h 514350"/>
                <a:gd name="connsiteX63" fmla="*/ 6260306 w 6400800"/>
                <a:gd name="connsiteY63" fmla="*/ 298609 h 514350"/>
                <a:gd name="connsiteX64" fmla="*/ 6246971 w 6400800"/>
                <a:gd name="connsiteY64" fmla="*/ 351949 h 514350"/>
                <a:gd name="connsiteX65" fmla="*/ 6236494 w 6400800"/>
                <a:gd name="connsiteY65" fmla="*/ 396716 h 514350"/>
                <a:gd name="connsiteX66" fmla="*/ 6235542 w 6400800"/>
                <a:gd name="connsiteY66" fmla="*/ 394811 h 514350"/>
                <a:gd name="connsiteX67" fmla="*/ 6234589 w 6400800"/>
                <a:gd name="connsiteY67" fmla="*/ 370046 h 514350"/>
                <a:gd name="connsiteX68" fmla="*/ 6230779 w 6400800"/>
                <a:gd name="connsiteY68" fmla="*/ 389096 h 514350"/>
                <a:gd name="connsiteX69" fmla="*/ 6227921 w 6400800"/>
                <a:gd name="connsiteY69" fmla="*/ 384334 h 514350"/>
                <a:gd name="connsiteX70" fmla="*/ 6216492 w 6400800"/>
                <a:gd name="connsiteY70" fmla="*/ 367189 h 514350"/>
                <a:gd name="connsiteX71" fmla="*/ 6223159 w 6400800"/>
                <a:gd name="connsiteY71" fmla="*/ 348139 h 514350"/>
                <a:gd name="connsiteX72" fmla="*/ 6236494 w 6400800"/>
                <a:gd name="connsiteY72" fmla="*/ 310991 h 514350"/>
                <a:gd name="connsiteX73" fmla="*/ 6247924 w 6400800"/>
                <a:gd name="connsiteY73" fmla="*/ 279559 h 514350"/>
                <a:gd name="connsiteX74" fmla="*/ 6256496 w 6400800"/>
                <a:gd name="connsiteY74" fmla="*/ 254794 h 514350"/>
                <a:gd name="connsiteX75" fmla="*/ 6264117 w 6400800"/>
                <a:gd name="connsiteY75" fmla="*/ 233839 h 514350"/>
                <a:gd name="connsiteX76" fmla="*/ 6252687 w 6400800"/>
                <a:gd name="connsiteY76" fmla="*/ 253841 h 514350"/>
                <a:gd name="connsiteX77" fmla="*/ 6240304 w 6400800"/>
                <a:gd name="connsiteY77" fmla="*/ 276701 h 514350"/>
                <a:gd name="connsiteX78" fmla="*/ 6225064 w 6400800"/>
                <a:gd name="connsiteY78" fmla="*/ 307181 h 514350"/>
                <a:gd name="connsiteX79" fmla="*/ 6208871 w 6400800"/>
                <a:gd name="connsiteY79" fmla="*/ 343376 h 514350"/>
                <a:gd name="connsiteX80" fmla="*/ 6205062 w 6400800"/>
                <a:gd name="connsiteY80" fmla="*/ 351949 h 514350"/>
                <a:gd name="connsiteX81" fmla="*/ 6204109 w 6400800"/>
                <a:gd name="connsiteY81" fmla="*/ 350996 h 514350"/>
                <a:gd name="connsiteX82" fmla="*/ 6210776 w 6400800"/>
                <a:gd name="connsiteY82" fmla="*/ 320516 h 514350"/>
                <a:gd name="connsiteX83" fmla="*/ 6222206 w 6400800"/>
                <a:gd name="connsiteY83" fmla="*/ 268129 h 514350"/>
                <a:gd name="connsiteX84" fmla="*/ 6226017 w 6400800"/>
                <a:gd name="connsiteY84" fmla="*/ 248126 h 514350"/>
                <a:gd name="connsiteX85" fmla="*/ 6218396 w 6400800"/>
                <a:gd name="connsiteY85" fmla="*/ 267176 h 514350"/>
                <a:gd name="connsiteX86" fmla="*/ 6209824 w 6400800"/>
                <a:gd name="connsiteY86" fmla="*/ 289084 h 514350"/>
                <a:gd name="connsiteX87" fmla="*/ 6199346 w 6400800"/>
                <a:gd name="connsiteY87" fmla="*/ 317659 h 514350"/>
                <a:gd name="connsiteX88" fmla="*/ 6193631 w 6400800"/>
                <a:gd name="connsiteY88" fmla="*/ 335756 h 514350"/>
                <a:gd name="connsiteX89" fmla="*/ 6184106 w 6400800"/>
                <a:gd name="connsiteY89" fmla="*/ 322421 h 514350"/>
                <a:gd name="connsiteX90" fmla="*/ 6181249 w 6400800"/>
                <a:gd name="connsiteY90" fmla="*/ 318611 h 514350"/>
                <a:gd name="connsiteX91" fmla="*/ 6184106 w 6400800"/>
                <a:gd name="connsiteY91" fmla="*/ 302419 h 514350"/>
                <a:gd name="connsiteX92" fmla="*/ 6189821 w 6400800"/>
                <a:gd name="connsiteY92" fmla="*/ 274796 h 514350"/>
                <a:gd name="connsiteX93" fmla="*/ 6195537 w 6400800"/>
                <a:gd name="connsiteY93" fmla="*/ 250984 h 514350"/>
                <a:gd name="connsiteX94" fmla="*/ 6186012 w 6400800"/>
                <a:gd name="connsiteY94" fmla="*/ 273844 h 514350"/>
                <a:gd name="connsiteX95" fmla="*/ 6176487 w 6400800"/>
                <a:gd name="connsiteY95" fmla="*/ 300514 h 514350"/>
                <a:gd name="connsiteX96" fmla="*/ 6173629 w 6400800"/>
                <a:gd name="connsiteY96" fmla="*/ 309086 h 514350"/>
                <a:gd name="connsiteX97" fmla="*/ 6172676 w 6400800"/>
                <a:gd name="connsiteY97" fmla="*/ 308134 h 514350"/>
                <a:gd name="connsiteX98" fmla="*/ 6174581 w 6400800"/>
                <a:gd name="connsiteY98" fmla="*/ 294799 h 514350"/>
                <a:gd name="connsiteX99" fmla="*/ 6180296 w 6400800"/>
                <a:gd name="connsiteY99" fmla="*/ 263366 h 514350"/>
                <a:gd name="connsiteX100" fmla="*/ 6185059 w 6400800"/>
                <a:gd name="connsiteY100" fmla="*/ 236696 h 514350"/>
                <a:gd name="connsiteX101" fmla="*/ 6188869 w 6400800"/>
                <a:gd name="connsiteY101" fmla="*/ 215741 h 514350"/>
                <a:gd name="connsiteX102" fmla="*/ 6192679 w 6400800"/>
                <a:gd name="connsiteY102" fmla="*/ 197644 h 514350"/>
                <a:gd name="connsiteX103" fmla="*/ 6185059 w 6400800"/>
                <a:gd name="connsiteY103" fmla="*/ 214789 h 514350"/>
                <a:gd name="connsiteX104" fmla="*/ 6168867 w 6400800"/>
                <a:gd name="connsiteY104" fmla="*/ 260509 h 514350"/>
                <a:gd name="connsiteX105" fmla="*/ 6163151 w 6400800"/>
                <a:gd name="connsiteY105" fmla="*/ 280511 h 514350"/>
                <a:gd name="connsiteX106" fmla="*/ 6159342 w 6400800"/>
                <a:gd name="connsiteY106" fmla="*/ 253841 h 514350"/>
                <a:gd name="connsiteX107" fmla="*/ 6154579 w 6400800"/>
                <a:gd name="connsiteY107" fmla="*/ 225266 h 514350"/>
                <a:gd name="connsiteX108" fmla="*/ 6156484 w 6400800"/>
                <a:gd name="connsiteY108" fmla="*/ 285274 h 514350"/>
                <a:gd name="connsiteX109" fmla="*/ 6143149 w 6400800"/>
                <a:gd name="connsiteY109" fmla="*/ 268129 h 514350"/>
                <a:gd name="connsiteX110" fmla="*/ 6143149 w 6400800"/>
                <a:gd name="connsiteY110" fmla="*/ 267176 h 514350"/>
                <a:gd name="connsiteX111" fmla="*/ 6146006 w 6400800"/>
                <a:gd name="connsiteY111" fmla="*/ 256699 h 514350"/>
                <a:gd name="connsiteX112" fmla="*/ 6161246 w 6400800"/>
                <a:gd name="connsiteY112" fmla="*/ 178594 h 514350"/>
                <a:gd name="connsiteX113" fmla="*/ 6152674 w 6400800"/>
                <a:gd name="connsiteY113" fmla="*/ 200501 h 514350"/>
                <a:gd name="connsiteX114" fmla="*/ 6152674 w 6400800"/>
                <a:gd name="connsiteY114" fmla="*/ 197644 h 514350"/>
                <a:gd name="connsiteX115" fmla="*/ 6156484 w 6400800"/>
                <a:gd name="connsiteY115" fmla="*/ 172879 h 514350"/>
                <a:gd name="connsiteX116" fmla="*/ 6160294 w 6400800"/>
                <a:gd name="connsiteY116" fmla="*/ 150971 h 514350"/>
                <a:gd name="connsiteX117" fmla="*/ 6152674 w 6400800"/>
                <a:gd name="connsiteY117" fmla="*/ 171926 h 514350"/>
                <a:gd name="connsiteX118" fmla="*/ 6145054 w 6400800"/>
                <a:gd name="connsiteY118" fmla="*/ 196691 h 514350"/>
                <a:gd name="connsiteX119" fmla="*/ 6138387 w 6400800"/>
                <a:gd name="connsiteY119" fmla="*/ 220504 h 514350"/>
                <a:gd name="connsiteX120" fmla="*/ 6135529 w 6400800"/>
                <a:gd name="connsiteY120" fmla="*/ 202406 h 514350"/>
                <a:gd name="connsiteX121" fmla="*/ 6134576 w 6400800"/>
                <a:gd name="connsiteY121" fmla="*/ 221456 h 514350"/>
                <a:gd name="connsiteX122" fmla="*/ 6132671 w 6400800"/>
                <a:gd name="connsiteY122" fmla="*/ 242411 h 514350"/>
                <a:gd name="connsiteX123" fmla="*/ 6131719 w 6400800"/>
                <a:gd name="connsiteY123" fmla="*/ 249079 h 514350"/>
                <a:gd name="connsiteX124" fmla="*/ 6130767 w 6400800"/>
                <a:gd name="connsiteY124" fmla="*/ 253841 h 514350"/>
                <a:gd name="connsiteX125" fmla="*/ 6129814 w 6400800"/>
                <a:gd name="connsiteY125" fmla="*/ 251936 h 514350"/>
                <a:gd name="connsiteX126" fmla="*/ 6130767 w 6400800"/>
                <a:gd name="connsiteY126" fmla="*/ 254794 h 514350"/>
                <a:gd name="connsiteX127" fmla="*/ 6129814 w 6400800"/>
                <a:gd name="connsiteY127" fmla="*/ 261461 h 514350"/>
                <a:gd name="connsiteX128" fmla="*/ 6129814 w 6400800"/>
                <a:gd name="connsiteY128" fmla="*/ 243364 h 514350"/>
                <a:gd name="connsiteX129" fmla="*/ 6126004 w 6400800"/>
                <a:gd name="connsiteY129" fmla="*/ 274796 h 514350"/>
                <a:gd name="connsiteX130" fmla="*/ 6125051 w 6400800"/>
                <a:gd name="connsiteY130" fmla="*/ 281464 h 514350"/>
                <a:gd name="connsiteX131" fmla="*/ 6122194 w 6400800"/>
                <a:gd name="connsiteY131" fmla="*/ 267176 h 514350"/>
                <a:gd name="connsiteX132" fmla="*/ 6117431 w 6400800"/>
                <a:gd name="connsiteY132" fmla="*/ 243364 h 514350"/>
                <a:gd name="connsiteX133" fmla="*/ 6118384 w 6400800"/>
                <a:gd name="connsiteY133" fmla="*/ 267176 h 514350"/>
                <a:gd name="connsiteX134" fmla="*/ 6119337 w 6400800"/>
                <a:gd name="connsiteY134" fmla="*/ 300514 h 514350"/>
                <a:gd name="connsiteX135" fmla="*/ 6114574 w 6400800"/>
                <a:gd name="connsiteY135" fmla="*/ 317659 h 514350"/>
                <a:gd name="connsiteX136" fmla="*/ 6114574 w 6400800"/>
                <a:gd name="connsiteY136" fmla="*/ 307181 h 514350"/>
                <a:gd name="connsiteX137" fmla="*/ 6112669 w 6400800"/>
                <a:gd name="connsiteY137" fmla="*/ 286226 h 514350"/>
                <a:gd name="connsiteX138" fmla="*/ 6109812 w 6400800"/>
                <a:gd name="connsiteY138" fmla="*/ 270986 h 514350"/>
                <a:gd name="connsiteX139" fmla="*/ 6105049 w 6400800"/>
                <a:gd name="connsiteY139" fmla="*/ 258604 h 514350"/>
                <a:gd name="connsiteX140" fmla="*/ 6106001 w 6400800"/>
                <a:gd name="connsiteY140" fmla="*/ 272891 h 514350"/>
                <a:gd name="connsiteX141" fmla="*/ 6106001 w 6400800"/>
                <a:gd name="connsiteY141" fmla="*/ 282416 h 514350"/>
                <a:gd name="connsiteX142" fmla="*/ 6104096 w 6400800"/>
                <a:gd name="connsiteY142" fmla="*/ 273844 h 514350"/>
                <a:gd name="connsiteX143" fmla="*/ 6102192 w 6400800"/>
                <a:gd name="connsiteY143" fmla="*/ 268129 h 514350"/>
                <a:gd name="connsiteX144" fmla="*/ 6101239 w 6400800"/>
                <a:gd name="connsiteY144" fmla="*/ 253841 h 514350"/>
                <a:gd name="connsiteX145" fmla="*/ 6103144 w 6400800"/>
                <a:gd name="connsiteY145" fmla="*/ 247174 h 514350"/>
                <a:gd name="connsiteX146" fmla="*/ 6107906 w 6400800"/>
                <a:gd name="connsiteY146" fmla="*/ 225266 h 514350"/>
                <a:gd name="connsiteX147" fmla="*/ 6111717 w 6400800"/>
                <a:gd name="connsiteY147" fmla="*/ 205264 h 514350"/>
                <a:gd name="connsiteX148" fmla="*/ 6104096 w 6400800"/>
                <a:gd name="connsiteY148" fmla="*/ 223361 h 514350"/>
                <a:gd name="connsiteX149" fmla="*/ 6099334 w 6400800"/>
                <a:gd name="connsiteY149" fmla="*/ 234791 h 514350"/>
                <a:gd name="connsiteX150" fmla="*/ 6096476 w 6400800"/>
                <a:gd name="connsiteY150" fmla="*/ 206216 h 514350"/>
                <a:gd name="connsiteX151" fmla="*/ 6097429 w 6400800"/>
                <a:gd name="connsiteY151" fmla="*/ 199549 h 514350"/>
                <a:gd name="connsiteX152" fmla="*/ 6101239 w 6400800"/>
                <a:gd name="connsiteY152" fmla="*/ 177641 h 514350"/>
                <a:gd name="connsiteX153" fmla="*/ 6104096 w 6400800"/>
                <a:gd name="connsiteY153" fmla="*/ 157639 h 514350"/>
                <a:gd name="connsiteX154" fmla="*/ 6107906 w 6400800"/>
                <a:gd name="connsiteY154" fmla="*/ 124301 h 514350"/>
                <a:gd name="connsiteX155" fmla="*/ 6110764 w 6400800"/>
                <a:gd name="connsiteY155" fmla="*/ 95726 h 514350"/>
                <a:gd name="connsiteX156" fmla="*/ 6104096 w 6400800"/>
                <a:gd name="connsiteY156" fmla="*/ 124301 h 514350"/>
                <a:gd name="connsiteX157" fmla="*/ 6096476 w 6400800"/>
                <a:gd name="connsiteY157" fmla="*/ 156686 h 514350"/>
                <a:gd name="connsiteX158" fmla="*/ 6091714 w 6400800"/>
                <a:gd name="connsiteY158" fmla="*/ 176689 h 514350"/>
                <a:gd name="connsiteX159" fmla="*/ 6085999 w 6400800"/>
                <a:gd name="connsiteY159" fmla="*/ 198596 h 514350"/>
                <a:gd name="connsiteX160" fmla="*/ 6081237 w 6400800"/>
                <a:gd name="connsiteY160" fmla="*/ 214789 h 514350"/>
                <a:gd name="connsiteX161" fmla="*/ 6074569 w 6400800"/>
                <a:gd name="connsiteY161" fmla="*/ 201454 h 514350"/>
                <a:gd name="connsiteX162" fmla="*/ 6079331 w 6400800"/>
                <a:gd name="connsiteY162" fmla="*/ 219551 h 514350"/>
                <a:gd name="connsiteX163" fmla="*/ 6073617 w 6400800"/>
                <a:gd name="connsiteY163" fmla="*/ 230029 h 514350"/>
                <a:gd name="connsiteX164" fmla="*/ 6069806 w 6400800"/>
                <a:gd name="connsiteY164" fmla="*/ 237649 h 514350"/>
                <a:gd name="connsiteX165" fmla="*/ 6069806 w 6400800"/>
                <a:gd name="connsiteY165" fmla="*/ 228124 h 514350"/>
                <a:gd name="connsiteX166" fmla="*/ 6069806 w 6400800"/>
                <a:gd name="connsiteY166" fmla="*/ 205264 h 514350"/>
                <a:gd name="connsiteX167" fmla="*/ 6065996 w 6400800"/>
                <a:gd name="connsiteY167" fmla="*/ 228124 h 514350"/>
                <a:gd name="connsiteX168" fmla="*/ 6061234 w 6400800"/>
                <a:gd name="connsiteY168" fmla="*/ 253841 h 514350"/>
                <a:gd name="connsiteX169" fmla="*/ 6059329 w 6400800"/>
                <a:gd name="connsiteY169" fmla="*/ 263366 h 514350"/>
                <a:gd name="connsiteX170" fmla="*/ 6057424 w 6400800"/>
                <a:gd name="connsiteY170" fmla="*/ 268129 h 514350"/>
                <a:gd name="connsiteX171" fmla="*/ 6048851 w 6400800"/>
                <a:gd name="connsiteY171" fmla="*/ 294799 h 514350"/>
                <a:gd name="connsiteX172" fmla="*/ 6041231 w 6400800"/>
                <a:gd name="connsiteY172" fmla="*/ 324326 h 514350"/>
                <a:gd name="connsiteX173" fmla="*/ 6041231 w 6400800"/>
                <a:gd name="connsiteY173" fmla="*/ 325279 h 514350"/>
                <a:gd name="connsiteX174" fmla="*/ 6033612 w 6400800"/>
                <a:gd name="connsiteY174" fmla="*/ 306229 h 514350"/>
                <a:gd name="connsiteX175" fmla="*/ 6029801 w 6400800"/>
                <a:gd name="connsiteY175" fmla="*/ 296704 h 514350"/>
                <a:gd name="connsiteX176" fmla="*/ 6029801 w 6400800"/>
                <a:gd name="connsiteY176" fmla="*/ 295751 h 514350"/>
                <a:gd name="connsiteX177" fmla="*/ 6031706 w 6400800"/>
                <a:gd name="connsiteY177" fmla="*/ 281464 h 514350"/>
                <a:gd name="connsiteX178" fmla="*/ 6033612 w 6400800"/>
                <a:gd name="connsiteY178" fmla="*/ 269081 h 514350"/>
                <a:gd name="connsiteX179" fmla="*/ 6027896 w 6400800"/>
                <a:gd name="connsiteY179" fmla="*/ 280511 h 514350"/>
                <a:gd name="connsiteX180" fmla="*/ 6025039 w 6400800"/>
                <a:gd name="connsiteY180" fmla="*/ 286226 h 514350"/>
                <a:gd name="connsiteX181" fmla="*/ 6020276 w 6400800"/>
                <a:gd name="connsiteY181" fmla="*/ 272891 h 514350"/>
                <a:gd name="connsiteX182" fmla="*/ 6008846 w 6400800"/>
                <a:gd name="connsiteY182" fmla="*/ 244316 h 514350"/>
                <a:gd name="connsiteX183" fmla="*/ 6016467 w 6400800"/>
                <a:gd name="connsiteY183" fmla="*/ 273844 h 514350"/>
                <a:gd name="connsiteX184" fmla="*/ 6022181 w 6400800"/>
                <a:gd name="connsiteY184" fmla="*/ 293846 h 514350"/>
                <a:gd name="connsiteX185" fmla="*/ 6019324 w 6400800"/>
                <a:gd name="connsiteY185" fmla="*/ 302419 h 514350"/>
                <a:gd name="connsiteX186" fmla="*/ 6016467 w 6400800"/>
                <a:gd name="connsiteY186" fmla="*/ 311944 h 514350"/>
                <a:gd name="connsiteX187" fmla="*/ 6010751 w 6400800"/>
                <a:gd name="connsiteY187" fmla="*/ 333851 h 514350"/>
                <a:gd name="connsiteX188" fmla="*/ 6010751 w 6400800"/>
                <a:gd name="connsiteY188" fmla="*/ 334804 h 514350"/>
                <a:gd name="connsiteX189" fmla="*/ 6003131 w 6400800"/>
                <a:gd name="connsiteY189" fmla="*/ 320516 h 514350"/>
                <a:gd name="connsiteX190" fmla="*/ 5996464 w 6400800"/>
                <a:gd name="connsiteY190" fmla="*/ 308134 h 514350"/>
                <a:gd name="connsiteX191" fmla="*/ 5999321 w 6400800"/>
                <a:gd name="connsiteY191" fmla="*/ 302419 h 514350"/>
                <a:gd name="connsiteX192" fmla="*/ 6007894 w 6400800"/>
                <a:gd name="connsiteY192" fmla="*/ 283369 h 514350"/>
                <a:gd name="connsiteX193" fmla="*/ 6014562 w 6400800"/>
                <a:gd name="connsiteY193" fmla="*/ 267176 h 514350"/>
                <a:gd name="connsiteX194" fmla="*/ 6004084 w 6400800"/>
                <a:gd name="connsiteY194" fmla="*/ 281464 h 514350"/>
                <a:gd name="connsiteX195" fmla="*/ 5993606 w 6400800"/>
                <a:gd name="connsiteY195" fmla="*/ 297656 h 514350"/>
                <a:gd name="connsiteX196" fmla="*/ 5989796 w 6400800"/>
                <a:gd name="connsiteY196" fmla="*/ 273844 h 514350"/>
                <a:gd name="connsiteX197" fmla="*/ 5991701 w 6400800"/>
                <a:gd name="connsiteY197" fmla="*/ 250984 h 514350"/>
                <a:gd name="connsiteX198" fmla="*/ 5997417 w 6400800"/>
                <a:gd name="connsiteY198" fmla="*/ 212884 h 514350"/>
                <a:gd name="connsiteX199" fmla="*/ 6003131 w 6400800"/>
                <a:gd name="connsiteY199" fmla="*/ 179546 h 514350"/>
                <a:gd name="connsiteX200" fmla="*/ 5993606 w 6400800"/>
                <a:gd name="connsiteY200" fmla="*/ 211931 h 514350"/>
                <a:gd name="connsiteX201" fmla="*/ 5985034 w 6400800"/>
                <a:gd name="connsiteY201" fmla="*/ 248126 h 514350"/>
                <a:gd name="connsiteX202" fmla="*/ 5974556 w 6400800"/>
                <a:gd name="connsiteY202" fmla="*/ 206216 h 514350"/>
                <a:gd name="connsiteX203" fmla="*/ 5974556 w 6400800"/>
                <a:gd name="connsiteY203" fmla="*/ 206216 h 514350"/>
                <a:gd name="connsiteX204" fmla="*/ 5977414 w 6400800"/>
                <a:gd name="connsiteY204" fmla="*/ 178594 h 514350"/>
                <a:gd name="connsiteX205" fmla="*/ 5979319 w 6400800"/>
                <a:gd name="connsiteY205" fmla="*/ 153829 h 514350"/>
                <a:gd name="connsiteX206" fmla="*/ 5973604 w 6400800"/>
                <a:gd name="connsiteY206" fmla="*/ 177641 h 514350"/>
                <a:gd name="connsiteX207" fmla="*/ 5969794 w 6400800"/>
                <a:gd name="connsiteY207" fmla="*/ 191929 h 514350"/>
                <a:gd name="connsiteX208" fmla="*/ 5959317 w 6400800"/>
                <a:gd name="connsiteY208" fmla="*/ 160496 h 514350"/>
                <a:gd name="connsiteX209" fmla="*/ 5946934 w 6400800"/>
                <a:gd name="connsiteY209" fmla="*/ 130016 h 514350"/>
                <a:gd name="connsiteX210" fmla="*/ 5934551 w 6400800"/>
                <a:gd name="connsiteY210" fmla="*/ 104299 h 514350"/>
                <a:gd name="connsiteX211" fmla="*/ 5943124 w 6400800"/>
                <a:gd name="connsiteY211" fmla="*/ 131921 h 514350"/>
                <a:gd name="connsiteX212" fmla="*/ 5951696 w 6400800"/>
                <a:gd name="connsiteY212" fmla="*/ 163354 h 514350"/>
                <a:gd name="connsiteX213" fmla="*/ 5961221 w 6400800"/>
                <a:gd name="connsiteY213" fmla="*/ 204311 h 514350"/>
                <a:gd name="connsiteX214" fmla="*/ 5964079 w 6400800"/>
                <a:gd name="connsiteY214" fmla="*/ 216694 h 514350"/>
                <a:gd name="connsiteX215" fmla="*/ 5962174 w 6400800"/>
                <a:gd name="connsiteY215" fmla="*/ 222409 h 514350"/>
                <a:gd name="connsiteX216" fmla="*/ 5958364 w 6400800"/>
                <a:gd name="connsiteY216" fmla="*/ 235744 h 514350"/>
                <a:gd name="connsiteX217" fmla="*/ 5956459 w 6400800"/>
                <a:gd name="connsiteY217" fmla="*/ 232886 h 514350"/>
                <a:gd name="connsiteX218" fmla="*/ 5956459 w 6400800"/>
                <a:gd name="connsiteY218" fmla="*/ 231934 h 514350"/>
                <a:gd name="connsiteX219" fmla="*/ 5956459 w 6400800"/>
                <a:gd name="connsiteY219" fmla="*/ 232886 h 514350"/>
                <a:gd name="connsiteX220" fmla="*/ 5938362 w 6400800"/>
                <a:gd name="connsiteY220" fmla="*/ 199549 h 514350"/>
                <a:gd name="connsiteX221" fmla="*/ 5927884 w 6400800"/>
                <a:gd name="connsiteY221" fmla="*/ 180499 h 514350"/>
                <a:gd name="connsiteX222" fmla="*/ 5953601 w 6400800"/>
                <a:gd name="connsiteY222" fmla="*/ 250984 h 514350"/>
                <a:gd name="connsiteX223" fmla="*/ 5952649 w 6400800"/>
                <a:gd name="connsiteY223" fmla="*/ 255746 h 514350"/>
                <a:gd name="connsiteX224" fmla="*/ 5945029 w 6400800"/>
                <a:gd name="connsiteY224" fmla="*/ 282416 h 514350"/>
                <a:gd name="connsiteX225" fmla="*/ 5944076 w 6400800"/>
                <a:gd name="connsiteY225" fmla="*/ 285274 h 514350"/>
                <a:gd name="connsiteX226" fmla="*/ 5940267 w 6400800"/>
                <a:gd name="connsiteY226" fmla="*/ 271939 h 514350"/>
                <a:gd name="connsiteX227" fmla="*/ 5928837 w 6400800"/>
                <a:gd name="connsiteY227" fmla="*/ 237649 h 514350"/>
                <a:gd name="connsiteX228" fmla="*/ 5922169 w 6400800"/>
                <a:gd name="connsiteY228" fmla="*/ 220504 h 514350"/>
                <a:gd name="connsiteX229" fmla="*/ 5923121 w 6400800"/>
                <a:gd name="connsiteY229" fmla="*/ 216694 h 514350"/>
                <a:gd name="connsiteX230" fmla="*/ 5921217 w 6400800"/>
                <a:gd name="connsiteY230" fmla="*/ 219551 h 514350"/>
                <a:gd name="connsiteX231" fmla="*/ 5917406 w 6400800"/>
                <a:gd name="connsiteY231" fmla="*/ 211931 h 514350"/>
                <a:gd name="connsiteX232" fmla="*/ 5908834 w 6400800"/>
                <a:gd name="connsiteY232" fmla="*/ 194786 h 514350"/>
                <a:gd name="connsiteX233" fmla="*/ 5907881 w 6400800"/>
                <a:gd name="connsiteY233" fmla="*/ 183356 h 514350"/>
                <a:gd name="connsiteX234" fmla="*/ 5905024 w 6400800"/>
                <a:gd name="connsiteY234" fmla="*/ 159544 h 514350"/>
                <a:gd name="connsiteX235" fmla="*/ 5904071 w 6400800"/>
                <a:gd name="connsiteY235" fmla="*/ 184309 h 514350"/>
                <a:gd name="connsiteX236" fmla="*/ 5903119 w 6400800"/>
                <a:gd name="connsiteY236" fmla="*/ 211931 h 514350"/>
                <a:gd name="connsiteX237" fmla="*/ 5902167 w 6400800"/>
                <a:gd name="connsiteY237" fmla="*/ 229076 h 514350"/>
                <a:gd name="connsiteX238" fmla="*/ 5902167 w 6400800"/>
                <a:gd name="connsiteY238" fmla="*/ 248126 h 514350"/>
                <a:gd name="connsiteX239" fmla="*/ 5903119 w 6400800"/>
                <a:gd name="connsiteY239" fmla="*/ 270034 h 514350"/>
                <a:gd name="connsiteX240" fmla="*/ 5900262 w 6400800"/>
                <a:gd name="connsiteY240" fmla="*/ 285274 h 514350"/>
                <a:gd name="connsiteX241" fmla="*/ 5899309 w 6400800"/>
                <a:gd name="connsiteY241" fmla="*/ 282416 h 514350"/>
                <a:gd name="connsiteX242" fmla="*/ 5895499 w 6400800"/>
                <a:gd name="connsiteY242" fmla="*/ 263366 h 514350"/>
                <a:gd name="connsiteX243" fmla="*/ 5891689 w 6400800"/>
                <a:gd name="connsiteY243" fmla="*/ 248126 h 514350"/>
                <a:gd name="connsiteX244" fmla="*/ 5891689 w 6400800"/>
                <a:gd name="connsiteY244" fmla="*/ 245269 h 514350"/>
                <a:gd name="connsiteX245" fmla="*/ 5890737 w 6400800"/>
                <a:gd name="connsiteY245" fmla="*/ 247174 h 514350"/>
                <a:gd name="connsiteX246" fmla="*/ 5890737 w 6400800"/>
                <a:gd name="connsiteY246" fmla="*/ 247174 h 514350"/>
                <a:gd name="connsiteX247" fmla="*/ 5890737 w 6400800"/>
                <a:gd name="connsiteY247" fmla="*/ 248126 h 514350"/>
                <a:gd name="connsiteX248" fmla="*/ 5881212 w 6400800"/>
                <a:gd name="connsiteY248" fmla="*/ 275749 h 514350"/>
                <a:gd name="connsiteX249" fmla="*/ 5878354 w 6400800"/>
                <a:gd name="connsiteY249" fmla="*/ 262414 h 514350"/>
                <a:gd name="connsiteX250" fmla="*/ 5874544 w 6400800"/>
                <a:gd name="connsiteY250" fmla="*/ 240506 h 514350"/>
                <a:gd name="connsiteX251" fmla="*/ 5874544 w 6400800"/>
                <a:gd name="connsiteY251" fmla="*/ 262414 h 514350"/>
                <a:gd name="connsiteX252" fmla="*/ 5875496 w 6400800"/>
                <a:gd name="connsiteY252" fmla="*/ 290989 h 514350"/>
                <a:gd name="connsiteX253" fmla="*/ 5873592 w 6400800"/>
                <a:gd name="connsiteY253" fmla="*/ 298609 h 514350"/>
                <a:gd name="connsiteX254" fmla="*/ 5870734 w 6400800"/>
                <a:gd name="connsiteY254" fmla="*/ 271939 h 514350"/>
                <a:gd name="connsiteX255" fmla="*/ 5867876 w 6400800"/>
                <a:gd name="connsiteY255" fmla="*/ 292894 h 514350"/>
                <a:gd name="connsiteX256" fmla="*/ 5866924 w 6400800"/>
                <a:gd name="connsiteY256" fmla="*/ 269081 h 514350"/>
                <a:gd name="connsiteX257" fmla="*/ 5865971 w 6400800"/>
                <a:gd name="connsiteY257" fmla="*/ 243364 h 514350"/>
                <a:gd name="connsiteX258" fmla="*/ 5873592 w 6400800"/>
                <a:gd name="connsiteY258" fmla="*/ 225266 h 514350"/>
                <a:gd name="connsiteX259" fmla="*/ 5865971 w 6400800"/>
                <a:gd name="connsiteY259" fmla="*/ 237649 h 514350"/>
                <a:gd name="connsiteX260" fmla="*/ 5865971 w 6400800"/>
                <a:gd name="connsiteY260" fmla="*/ 230029 h 514350"/>
                <a:gd name="connsiteX261" fmla="*/ 5865019 w 6400800"/>
                <a:gd name="connsiteY261" fmla="*/ 194786 h 514350"/>
                <a:gd name="connsiteX262" fmla="*/ 5863114 w 6400800"/>
                <a:gd name="connsiteY262" fmla="*/ 141446 h 514350"/>
                <a:gd name="connsiteX263" fmla="*/ 5862162 w 6400800"/>
                <a:gd name="connsiteY263" fmla="*/ 121444 h 514350"/>
                <a:gd name="connsiteX264" fmla="*/ 5859304 w 6400800"/>
                <a:gd name="connsiteY264" fmla="*/ 141446 h 514350"/>
                <a:gd name="connsiteX265" fmla="*/ 5856446 w 6400800"/>
                <a:gd name="connsiteY265" fmla="*/ 161449 h 514350"/>
                <a:gd name="connsiteX266" fmla="*/ 5853589 w 6400800"/>
                <a:gd name="connsiteY266" fmla="*/ 120491 h 514350"/>
                <a:gd name="connsiteX267" fmla="*/ 5851684 w 6400800"/>
                <a:gd name="connsiteY267" fmla="*/ 98584 h 514350"/>
                <a:gd name="connsiteX268" fmla="*/ 5849779 w 6400800"/>
                <a:gd name="connsiteY268" fmla="*/ 120491 h 514350"/>
                <a:gd name="connsiteX269" fmla="*/ 5847874 w 6400800"/>
                <a:gd name="connsiteY269" fmla="*/ 146209 h 514350"/>
                <a:gd name="connsiteX270" fmla="*/ 5846921 w 6400800"/>
                <a:gd name="connsiteY270" fmla="*/ 179546 h 514350"/>
                <a:gd name="connsiteX271" fmla="*/ 5846921 w 6400800"/>
                <a:gd name="connsiteY271" fmla="*/ 262414 h 514350"/>
                <a:gd name="connsiteX272" fmla="*/ 5846921 w 6400800"/>
                <a:gd name="connsiteY272" fmla="*/ 269081 h 514350"/>
                <a:gd name="connsiteX273" fmla="*/ 5843112 w 6400800"/>
                <a:gd name="connsiteY273" fmla="*/ 274796 h 514350"/>
                <a:gd name="connsiteX274" fmla="*/ 5840254 w 6400800"/>
                <a:gd name="connsiteY274" fmla="*/ 261461 h 514350"/>
                <a:gd name="connsiteX275" fmla="*/ 5841206 w 6400800"/>
                <a:gd name="connsiteY275" fmla="*/ 242411 h 514350"/>
                <a:gd name="connsiteX276" fmla="*/ 5841206 w 6400800"/>
                <a:gd name="connsiteY276" fmla="*/ 223361 h 514350"/>
                <a:gd name="connsiteX277" fmla="*/ 5837396 w 6400800"/>
                <a:gd name="connsiteY277" fmla="*/ 242411 h 514350"/>
                <a:gd name="connsiteX278" fmla="*/ 5836444 w 6400800"/>
                <a:gd name="connsiteY278" fmla="*/ 245269 h 514350"/>
                <a:gd name="connsiteX279" fmla="*/ 5829776 w 6400800"/>
                <a:gd name="connsiteY279" fmla="*/ 215741 h 514350"/>
                <a:gd name="connsiteX280" fmla="*/ 5824062 w 6400800"/>
                <a:gd name="connsiteY280" fmla="*/ 189071 h 514350"/>
                <a:gd name="connsiteX281" fmla="*/ 5825967 w 6400800"/>
                <a:gd name="connsiteY281" fmla="*/ 215741 h 514350"/>
                <a:gd name="connsiteX282" fmla="*/ 5828824 w 6400800"/>
                <a:gd name="connsiteY282" fmla="*/ 246221 h 514350"/>
                <a:gd name="connsiteX283" fmla="*/ 5831681 w 6400800"/>
                <a:gd name="connsiteY283" fmla="*/ 268129 h 514350"/>
                <a:gd name="connsiteX284" fmla="*/ 5826919 w 6400800"/>
                <a:gd name="connsiteY284" fmla="*/ 276701 h 514350"/>
                <a:gd name="connsiteX285" fmla="*/ 5825967 w 6400800"/>
                <a:gd name="connsiteY285" fmla="*/ 270986 h 514350"/>
                <a:gd name="connsiteX286" fmla="*/ 5822156 w 6400800"/>
                <a:gd name="connsiteY286" fmla="*/ 250031 h 514350"/>
                <a:gd name="connsiteX287" fmla="*/ 5818346 w 6400800"/>
                <a:gd name="connsiteY287" fmla="*/ 231934 h 514350"/>
                <a:gd name="connsiteX288" fmla="*/ 5818346 w 6400800"/>
                <a:gd name="connsiteY288" fmla="*/ 250031 h 514350"/>
                <a:gd name="connsiteX289" fmla="*/ 5818346 w 6400800"/>
                <a:gd name="connsiteY289" fmla="*/ 270986 h 514350"/>
                <a:gd name="connsiteX290" fmla="*/ 5812631 w 6400800"/>
                <a:gd name="connsiteY290" fmla="*/ 262414 h 514350"/>
                <a:gd name="connsiteX291" fmla="*/ 5812631 w 6400800"/>
                <a:gd name="connsiteY291" fmla="*/ 246221 h 514350"/>
                <a:gd name="connsiteX292" fmla="*/ 5814537 w 6400800"/>
                <a:gd name="connsiteY292" fmla="*/ 220504 h 514350"/>
                <a:gd name="connsiteX293" fmla="*/ 5816442 w 6400800"/>
                <a:gd name="connsiteY293" fmla="*/ 221456 h 514350"/>
                <a:gd name="connsiteX294" fmla="*/ 5819299 w 6400800"/>
                <a:gd name="connsiteY294" fmla="*/ 224314 h 514350"/>
                <a:gd name="connsiteX295" fmla="*/ 5822156 w 6400800"/>
                <a:gd name="connsiteY295" fmla="*/ 231934 h 514350"/>
                <a:gd name="connsiteX296" fmla="*/ 5821204 w 6400800"/>
                <a:gd name="connsiteY296" fmla="*/ 223361 h 514350"/>
                <a:gd name="connsiteX297" fmla="*/ 5818346 w 6400800"/>
                <a:gd name="connsiteY297" fmla="*/ 219551 h 514350"/>
                <a:gd name="connsiteX298" fmla="*/ 5813584 w 6400800"/>
                <a:gd name="connsiteY298" fmla="*/ 217646 h 514350"/>
                <a:gd name="connsiteX299" fmla="*/ 5811679 w 6400800"/>
                <a:gd name="connsiteY299" fmla="*/ 217646 h 514350"/>
                <a:gd name="connsiteX300" fmla="*/ 5811679 w 6400800"/>
                <a:gd name="connsiteY300" fmla="*/ 219551 h 514350"/>
                <a:gd name="connsiteX301" fmla="*/ 5805012 w 6400800"/>
                <a:gd name="connsiteY301" fmla="*/ 246221 h 514350"/>
                <a:gd name="connsiteX302" fmla="*/ 5803106 w 6400800"/>
                <a:gd name="connsiteY302" fmla="*/ 256699 h 514350"/>
                <a:gd name="connsiteX303" fmla="*/ 5796439 w 6400800"/>
                <a:gd name="connsiteY303" fmla="*/ 264319 h 514350"/>
                <a:gd name="connsiteX304" fmla="*/ 5795487 w 6400800"/>
                <a:gd name="connsiteY304" fmla="*/ 253841 h 514350"/>
                <a:gd name="connsiteX305" fmla="*/ 5794534 w 6400800"/>
                <a:gd name="connsiteY305" fmla="*/ 248126 h 514350"/>
                <a:gd name="connsiteX306" fmla="*/ 5794534 w 6400800"/>
                <a:gd name="connsiteY306" fmla="*/ 253841 h 514350"/>
                <a:gd name="connsiteX307" fmla="*/ 5793581 w 6400800"/>
                <a:gd name="connsiteY307" fmla="*/ 268129 h 514350"/>
                <a:gd name="connsiteX308" fmla="*/ 5791676 w 6400800"/>
                <a:gd name="connsiteY308" fmla="*/ 270034 h 514350"/>
                <a:gd name="connsiteX309" fmla="*/ 5791676 w 6400800"/>
                <a:gd name="connsiteY309" fmla="*/ 270034 h 514350"/>
                <a:gd name="connsiteX310" fmla="*/ 5787867 w 6400800"/>
                <a:gd name="connsiteY310" fmla="*/ 239554 h 514350"/>
                <a:gd name="connsiteX311" fmla="*/ 5793581 w 6400800"/>
                <a:gd name="connsiteY311" fmla="*/ 224314 h 514350"/>
                <a:gd name="connsiteX312" fmla="*/ 5786914 w 6400800"/>
                <a:gd name="connsiteY312" fmla="*/ 234791 h 514350"/>
                <a:gd name="connsiteX313" fmla="*/ 5785009 w 6400800"/>
                <a:gd name="connsiteY313" fmla="*/ 205264 h 514350"/>
                <a:gd name="connsiteX314" fmla="*/ 5795487 w 6400800"/>
                <a:gd name="connsiteY314" fmla="*/ 183356 h 514350"/>
                <a:gd name="connsiteX315" fmla="*/ 5795487 w 6400800"/>
                <a:gd name="connsiteY315" fmla="*/ 184309 h 514350"/>
                <a:gd name="connsiteX316" fmla="*/ 5795487 w 6400800"/>
                <a:gd name="connsiteY316" fmla="*/ 183356 h 514350"/>
                <a:gd name="connsiteX317" fmla="*/ 5797392 w 6400800"/>
                <a:gd name="connsiteY317" fmla="*/ 178594 h 514350"/>
                <a:gd name="connsiteX318" fmla="*/ 5812631 w 6400800"/>
                <a:gd name="connsiteY318" fmla="*/ 145256 h 514350"/>
                <a:gd name="connsiteX319" fmla="*/ 5825967 w 6400800"/>
                <a:gd name="connsiteY319" fmla="*/ 115729 h 514350"/>
                <a:gd name="connsiteX320" fmla="*/ 5809774 w 6400800"/>
                <a:gd name="connsiteY320" fmla="*/ 143351 h 514350"/>
                <a:gd name="connsiteX321" fmla="*/ 5791676 w 6400800"/>
                <a:gd name="connsiteY321" fmla="*/ 173831 h 514350"/>
                <a:gd name="connsiteX322" fmla="*/ 5788819 w 6400800"/>
                <a:gd name="connsiteY322" fmla="*/ 170974 h 514350"/>
                <a:gd name="connsiteX323" fmla="*/ 5783104 w 6400800"/>
                <a:gd name="connsiteY323" fmla="*/ 169069 h 514350"/>
                <a:gd name="connsiteX324" fmla="*/ 5781199 w 6400800"/>
                <a:gd name="connsiteY324" fmla="*/ 169069 h 514350"/>
                <a:gd name="connsiteX325" fmla="*/ 5781199 w 6400800"/>
                <a:gd name="connsiteY325" fmla="*/ 170974 h 514350"/>
                <a:gd name="connsiteX326" fmla="*/ 5777389 w 6400800"/>
                <a:gd name="connsiteY326" fmla="*/ 197644 h 514350"/>
                <a:gd name="connsiteX327" fmla="*/ 5766912 w 6400800"/>
                <a:gd name="connsiteY327" fmla="*/ 217646 h 514350"/>
                <a:gd name="connsiteX328" fmla="*/ 5752624 w 6400800"/>
                <a:gd name="connsiteY328" fmla="*/ 244316 h 514350"/>
                <a:gd name="connsiteX329" fmla="*/ 5751671 w 6400800"/>
                <a:gd name="connsiteY329" fmla="*/ 233839 h 514350"/>
                <a:gd name="connsiteX330" fmla="*/ 5749767 w 6400800"/>
                <a:gd name="connsiteY330" fmla="*/ 216694 h 514350"/>
                <a:gd name="connsiteX331" fmla="*/ 5757387 w 6400800"/>
                <a:gd name="connsiteY331" fmla="*/ 190024 h 514350"/>
                <a:gd name="connsiteX332" fmla="*/ 5749767 w 6400800"/>
                <a:gd name="connsiteY332" fmla="*/ 210979 h 514350"/>
                <a:gd name="connsiteX333" fmla="*/ 5748814 w 6400800"/>
                <a:gd name="connsiteY333" fmla="*/ 204311 h 514350"/>
                <a:gd name="connsiteX334" fmla="*/ 5745004 w 6400800"/>
                <a:gd name="connsiteY334" fmla="*/ 178594 h 514350"/>
                <a:gd name="connsiteX335" fmla="*/ 5745004 w 6400800"/>
                <a:gd name="connsiteY335" fmla="*/ 204311 h 514350"/>
                <a:gd name="connsiteX336" fmla="*/ 5745004 w 6400800"/>
                <a:gd name="connsiteY336" fmla="*/ 222409 h 514350"/>
                <a:gd name="connsiteX337" fmla="*/ 5744051 w 6400800"/>
                <a:gd name="connsiteY337" fmla="*/ 225266 h 514350"/>
                <a:gd name="connsiteX338" fmla="*/ 5731669 w 6400800"/>
                <a:gd name="connsiteY338" fmla="*/ 259556 h 514350"/>
                <a:gd name="connsiteX339" fmla="*/ 5731669 w 6400800"/>
                <a:gd name="connsiteY339" fmla="*/ 258604 h 514350"/>
                <a:gd name="connsiteX340" fmla="*/ 5734526 w 6400800"/>
                <a:gd name="connsiteY340" fmla="*/ 238601 h 514350"/>
                <a:gd name="connsiteX341" fmla="*/ 5727859 w 6400800"/>
                <a:gd name="connsiteY341" fmla="*/ 258604 h 514350"/>
                <a:gd name="connsiteX342" fmla="*/ 5725954 w 6400800"/>
                <a:gd name="connsiteY342" fmla="*/ 264319 h 514350"/>
                <a:gd name="connsiteX343" fmla="*/ 5725954 w 6400800"/>
                <a:gd name="connsiteY343" fmla="*/ 263366 h 514350"/>
                <a:gd name="connsiteX344" fmla="*/ 5725954 w 6400800"/>
                <a:gd name="connsiteY344" fmla="*/ 262414 h 514350"/>
                <a:gd name="connsiteX345" fmla="*/ 5726906 w 6400800"/>
                <a:gd name="connsiteY345" fmla="*/ 256699 h 514350"/>
                <a:gd name="connsiteX346" fmla="*/ 5729764 w 6400800"/>
                <a:gd name="connsiteY346" fmla="*/ 242411 h 514350"/>
                <a:gd name="connsiteX347" fmla="*/ 5732621 w 6400800"/>
                <a:gd name="connsiteY347" fmla="*/ 230029 h 514350"/>
                <a:gd name="connsiteX348" fmla="*/ 5737384 w 6400800"/>
                <a:gd name="connsiteY348" fmla="*/ 210026 h 514350"/>
                <a:gd name="connsiteX349" fmla="*/ 5741194 w 6400800"/>
                <a:gd name="connsiteY349" fmla="*/ 191929 h 514350"/>
                <a:gd name="connsiteX350" fmla="*/ 5739289 w 6400800"/>
                <a:gd name="connsiteY350" fmla="*/ 196691 h 514350"/>
                <a:gd name="connsiteX351" fmla="*/ 5740242 w 6400800"/>
                <a:gd name="connsiteY351" fmla="*/ 190024 h 514350"/>
                <a:gd name="connsiteX352" fmla="*/ 5731669 w 6400800"/>
                <a:gd name="connsiteY352" fmla="*/ 211931 h 514350"/>
                <a:gd name="connsiteX353" fmla="*/ 5726906 w 6400800"/>
                <a:gd name="connsiteY353" fmla="*/ 224314 h 514350"/>
                <a:gd name="connsiteX354" fmla="*/ 5725001 w 6400800"/>
                <a:gd name="connsiteY354" fmla="*/ 228124 h 514350"/>
                <a:gd name="connsiteX355" fmla="*/ 5720239 w 6400800"/>
                <a:gd name="connsiteY355" fmla="*/ 240506 h 514350"/>
                <a:gd name="connsiteX356" fmla="*/ 5717381 w 6400800"/>
                <a:gd name="connsiteY356" fmla="*/ 250031 h 514350"/>
                <a:gd name="connsiteX357" fmla="*/ 5715476 w 6400800"/>
                <a:gd name="connsiteY357" fmla="*/ 254794 h 514350"/>
                <a:gd name="connsiteX358" fmla="*/ 5709762 w 6400800"/>
                <a:gd name="connsiteY358" fmla="*/ 272891 h 514350"/>
                <a:gd name="connsiteX359" fmla="*/ 5704046 w 6400800"/>
                <a:gd name="connsiteY359" fmla="*/ 290989 h 514350"/>
                <a:gd name="connsiteX360" fmla="*/ 5696426 w 6400800"/>
                <a:gd name="connsiteY360" fmla="*/ 275749 h 514350"/>
                <a:gd name="connsiteX361" fmla="*/ 5695474 w 6400800"/>
                <a:gd name="connsiteY361" fmla="*/ 269081 h 514350"/>
                <a:gd name="connsiteX362" fmla="*/ 5695474 w 6400800"/>
                <a:gd name="connsiteY362" fmla="*/ 272891 h 514350"/>
                <a:gd name="connsiteX363" fmla="*/ 5688806 w 6400800"/>
                <a:gd name="connsiteY363" fmla="*/ 259556 h 514350"/>
                <a:gd name="connsiteX364" fmla="*/ 5680234 w 6400800"/>
                <a:gd name="connsiteY364" fmla="*/ 243364 h 514350"/>
                <a:gd name="connsiteX365" fmla="*/ 5684996 w 6400800"/>
                <a:gd name="connsiteY365" fmla="*/ 260509 h 514350"/>
                <a:gd name="connsiteX366" fmla="*/ 5694521 w 6400800"/>
                <a:gd name="connsiteY366" fmla="*/ 292894 h 514350"/>
                <a:gd name="connsiteX367" fmla="*/ 5694521 w 6400800"/>
                <a:gd name="connsiteY367" fmla="*/ 309086 h 514350"/>
                <a:gd name="connsiteX368" fmla="*/ 5694521 w 6400800"/>
                <a:gd name="connsiteY368" fmla="*/ 323374 h 514350"/>
                <a:gd name="connsiteX369" fmla="*/ 5691664 w 6400800"/>
                <a:gd name="connsiteY369" fmla="*/ 331946 h 514350"/>
                <a:gd name="connsiteX370" fmla="*/ 5689759 w 6400800"/>
                <a:gd name="connsiteY370" fmla="*/ 329089 h 514350"/>
                <a:gd name="connsiteX371" fmla="*/ 5689759 w 6400800"/>
                <a:gd name="connsiteY371" fmla="*/ 320516 h 514350"/>
                <a:gd name="connsiteX372" fmla="*/ 5687854 w 6400800"/>
                <a:gd name="connsiteY372" fmla="*/ 286226 h 514350"/>
                <a:gd name="connsiteX373" fmla="*/ 5684996 w 6400800"/>
                <a:gd name="connsiteY373" fmla="*/ 319564 h 514350"/>
                <a:gd name="connsiteX374" fmla="*/ 5681187 w 6400800"/>
                <a:gd name="connsiteY374" fmla="*/ 312896 h 514350"/>
                <a:gd name="connsiteX375" fmla="*/ 5675471 w 6400800"/>
                <a:gd name="connsiteY375" fmla="*/ 273844 h 514350"/>
                <a:gd name="connsiteX376" fmla="*/ 5672614 w 6400800"/>
                <a:gd name="connsiteY376" fmla="*/ 253841 h 514350"/>
                <a:gd name="connsiteX377" fmla="*/ 5670709 w 6400800"/>
                <a:gd name="connsiteY377" fmla="*/ 235744 h 514350"/>
                <a:gd name="connsiteX378" fmla="*/ 5667851 w 6400800"/>
                <a:gd name="connsiteY378" fmla="*/ 207169 h 514350"/>
                <a:gd name="connsiteX379" fmla="*/ 5665946 w 6400800"/>
                <a:gd name="connsiteY379" fmla="*/ 188119 h 514350"/>
                <a:gd name="connsiteX380" fmla="*/ 5666899 w 6400800"/>
                <a:gd name="connsiteY380" fmla="*/ 183356 h 514350"/>
                <a:gd name="connsiteX381" fmla="*/ 5665946 w 6400800"/>
                <a:gd name="connsiteY381" fmla="*/ 186214 h 514350"/>
                <a:gd name="connsiteX382" fmla="*/ 5664994 w 6400800"/>
                <a:gd name="connsiteY382" fmla="*/ 181451 h 514350"/>
                <a:gd name="connsiteX383" fmla="*/ 5664994 w 6400800"/>
                <a:gd name="connsiteY383" fmla="*/ 188119 h 514350"/>
                <a:gd name="connsiteX384" fmla="*/ 5654517 w 6400800"/>
                <a:gd name="connsiteY384" fmla="*/ 211931 h 514350"/>
                <a:gd name="connsiteX385" fmla="*/ 5653564 w 6400800"/>
                <a:gd name="connsiteY385" fmla="*/ 205264 h 514350"/>
                <a:gd name="connsiteX386" fmla="*/ 5652612 w 6400800"/>
                <a:gd name="connsiteY386" fmla="*/ 189071 h 514350"/>
                <a:gd name="connsiteX387" fmla="*/ 5657374 w 6400800"/>
                <a:gd name="connsiteY387" fmla="*/ 179546 h 514350"/>
                <a:gd name="connsiteX388" fmla="*/ 5652612 w 6400800"/>
                <a:gd name="connsiteY388" fmla="*/ 187166 h 514350"/>
                <a:gd name="connsiteX389" fmla="*/ 5652612 w 6400800"/>
                <a:gd name="connsiteY389" fmla="*/ 185261 h 514350"/>
                <a:gd name="connsiteX390" fmla="*/ 5651659 w 6400800"/>
                <a:gd name="connsiteY390" fmla="*/ 167164 h 514350"/>
                <a:gd name="connsiteX391" fmla="*/ 5649754 w 6400800"/>
                <a:gd name="connsiteY391" fmla="*/ 179546 h 514350"/>
                <a:gd name="connsiteX392" fmla="*/ 5649754 w 6400800"/>
                <a:gd name="connsiteY392" fmla="*/ 178594 h 514350"/>
                <a:gd name="connsiteX393" fmla="*/ 5647849 w 6400800"/>
                <a:gd name="connsiteY393" fmla="*/ 159544 h 514350"/>
                <a:gd name="connsiteX394" fmla="*/ 5646896 w 6400800"/>
                <a:gd name="connsiteY394" fmla="*/ 142399 h 514350"/>
                <a:gd name="connsiteX395" fmla="*/ 5645944 w 6400800"/>
                <a:gd name="connsiteY395" fmla="*/ 114776 h 514350"/>
                <a:gd name="connsiteX396" fmla="*/ 5644992 w 6400800"/>
                <a:gd name="connsiteY396" fmla="*/ 90011 h 514350"/>
                <a:gd name="connsiteX397" fmla="*/ 5641181 w 6400800"/>
                <a:gd name="connsiteY397" fmla="*/ 113824 h 514350"/>
                <a:gd name="connsiteX398" fmla="*/ 5639276 w 6400800"/>
                <a:gd name="connsiteY398" fmla="*/ 141446 h 514350"/>
                <a:gd name="connsiteX399" fmla="*/ 5638324 w 6400800"/>
                <a:gd name="connsiteY399" fmla="*/ 158591 h 514350"/>
                <a:gd name="connsiteX400" fmla="*/ 5638324 w 6400800"/>
                <a:gd name="connsiteY400" fmla="*/ 177641 h 514350"/>
                <a:gd name="connsiteX401" fmla="*/ 5639276 w 6400800"/>
                <a:gd name="connsiteY401" fmla="*/ 205264 h 514350"/>
                <a:gd name="connsiteX402" fmla="*/ 5637371 w 6400800"/>
                <a:gd name="connsiteY402" fmla="*/ 208121 h 514350"/>
                <a:gd name="connsiteX403" fmla="*/ 5636419 w 6400800"/>
                <a:gd name="connsiteY403" fmla="*/ 209074 h 514350"/>
                <a:gd name="connsiteX404" fmla="*/ 5636419 w 6400800"/>
                <a:gd name="connsiteY404" fmla="*/ 208121 h 514350"/>
                <a:gd name="connsiteX405" fmla="*/ 5636419 w 6400800"/>
                <a:gd name="connsiteY405" fmla="*/ 209074 h 514350"/>
                <a:gd name="connsiteX406" fmla="*/ 5631656 w 6400800"/>
                <a:gd name="connsiteY406" fmla="*/ 215741 h 514350"/>
                <a:gd name="connsiteX407" fmla="*/ 5626894 w 6400800"/>
                <a:gd name="connsiteY407" fmla="*/ 192881 h 514350"/>
                <a:gd name="connsiteX408" fmla="*/ 5626894 w 6400800"/>
                <a:gd name="connsiteY408" fmla="*/ 222409 h 514350"/>
                <a:gd name="connsiteX409" fmla="*/ 5626894 w 6400800"/>
                <a:gd name="connsiteY409" fmla="*/ 223361 h 514350"/>
                <a:gd name="connsiteX410" fmla="*/ 5618321 w 6400800"/>
                <a:gd name="connsiteY410" fmla="*/ 211931 h 514350"/>
                <a:gd name="connsiteX411" fmla="*/ 5593556 w 6400800"/>
                <a:gd name="connsiteY411" fmla="*/ 181451 h 514350"/>
                <a:gd name="connsiteX412" fmla="*/ 5570696 w 6400800"/>
                <a:gd name="connsiteY412" fmla="*/ 155734 h 514350"/>
                <a:gd name="connsiteX413" fmla="*/ 5590699 w 6400800"/>
                <a:gd name="connsiteY413" fmla="*/ 184309 h 514350"/>
                <a:gd name="connsiteX414" fmla="*/ 5612606 w 6400800"/>
                <a:gd name="connsiteY414" fmla="*/ 217646 h 514350"/>
                <a:gd name="connsiteX415" fmla="*/ 5616417 w 6400800"/>
                <a:gd name="connsiteY415" fmla="*/ 223361 h 514350"/>
                <a:gd name="connsiteX416" fmla="*/ 5620226 w 6400800"/>
                <a:gd name="connsiteY416" fmla="*/ 233839 h 514350"/>
                <a:gd name="connsiteX417" fmla="*/ 5620226 w 6400800"/>
                <a:gd name="connsiteY417" fmla="*/ 234791 h 514350"/>
                <a:gd name="connsiteX418" fmla="*/ 5616417 w 6400800"/>
                <a:gd name="connsiteY418" fmla="*/ 241459 h 514350"/>
                <a:gd name="connsiteX419" fmla="*/ 5616417 w 6400800"/>
                <a:gd name="connsiteY419" fmla="*/ 240506 h 514350"/>
                <a:gd name="connsiteX420" fmla="*/ 5616417 w 6400800"/>
                <a:gd name="connsiteY420" fmla="*/ 241459 h 514350"/>
                <a:gd name="connsiteX421" fmla="*/ 5614512 w 6400800"/>
                <a:gd name="connsiteY421" fmla="*/ 245269 h 514350"/>
                <a:gd name="connsiteX422" fmla="*/ 5594509 w 6400800"/>
                <a:gd name="connsiteY422" fmla="*/ 280511 h 514350"/>
                <a:gd name="connsiteX423" fmla="*/ 5594509 w 6400800"/>
                <a:gd name="connsiteY423" fmla="*/ 275749 h 514350"/>
                <a:gd name="connsiteX424" fmla="*/ 5594509 w 6400800"/>
                <a:gd name="connsiteY424" fmla="*/ 268129 h 514350"/>
                <a:gd name="connsiteX425" fmla="*/ 5596414 w 6400800"/>
                <a:gd name="connsiteY425" fmla="*/ 256699 h 514350"/>
                <a:gd name="connsiteX426" fmla="*/ 5594509 w 6400800"/>
                <a:gd name="connsiteY426" fmla="*/ 263366 h 514350"/>
                <a:gd name="connsiteX427" fmla="*/ 5594509 w 6400800"/>
                <a:gd name="connsiteY427" fmla="*/ 262414 h 514350"/>
                <a:gd name="connsiteX428" fmla="*/ 5592604 w 6400800"/>
                <a:gd name="connsiteY428" fmla="*/ 250031 h 514350"/>
                <a:gd name="connsiteX429" fmla="*/ 5590699 w 6400800"/>
                <a:gd name="connsiteY429" fmla="*/ 232886 h 514350"/>
                <a:gd name="connsiteX430" fmla="*/ 5596414 w 6400800"/>
                <a:gd name="connsiteY430" fmla="*/ 217646 h 514350"/>
                <a:gd name="connsiteX431" fmla="*/ 5589746 w 6400800"/>
                <a:gd name="connsiteY431" fmla="*/ 230029 h 514350"/>
                <a:gd name="connsiteX432" fmla="*/ 5589746 w 6400800"/>
                <a:gd name="connsiteY432" fmla="*/ 230029 h 514350"/>
                <a:gd name="connsiteX433" fmla="*/ 5586889 w 6400800"/>
                <a:gd name="connsiteY433" fmla="*/ 211931 h 514350"/>
                <a:gd name="connsiteX434" fmla="*/ 5585937 w 6400800"/>
                <a:gd name="connsiteY434" fmla="*/ 230029 h 514350"/>
                <a:gd name="connsiteX435" fmla="*/ 5585937 w 6400800"/>
                <a:gd name="connsiteY435" fmla="*/ 230981 h 514350"/>
                <a:gd name="connsiteX436" fmla="*/ 5583079 w 6400800"/>
                <a:gd name="connsiteY436" fmla="*/ 213836 h 514350"/>
                <a:gd name="connsiteX437" fmla="*/ 5583079 w 6400800"/>
                <a:gd name="connsiteY437" fmla="*/ 242411 h 514350"/>
                <a:gd name="connsiteX438" fmla="*/ 5581174 w 6400800"/>
                <a:gd name="connsiteY438" fmla="*/ 246221 h 514350"/>
                <a:gd name="connsiteX439" fmla="*/ 5579269 w 6400800"/>
                <a:gd name="connsiteY439" fmla="*/ 250031 h 514350"/>
                <a:gd name="connsiteX440" fmla="*/ 5571649 w 6400800"/>
                <a:gd name="connsiteY440" fmla="*/ 209074 h 514350"/>
                <a:gd name="connsiteX441" fmla="*/ 5567839 w 6400800"/>
                <a:gd name="connsiteY441" fmla="*/ 189071 h 514350"/>
                <a:gd name="connsiteX442" fmla="*/ 5563076 w 6400800"/>
                <a:gd name="connsiteY442" fmla="*/ 170974 h 514350"/>
                <a:gd name="connsiteX443" fmla="*/ 5555456 w 6400800"/>
                <a:gd name="connsiteY443" fmla="*/ 141446 h 514350"/>
                <a:gd name="connsiteX444" fmla="*/ 5548789 w 6400800"/>
                <a:gd name="connsiteY444" fmla="*/ 115729 h 514350"/>
                <a:gd name="connsiteX445" fmla="*/ 5551646 w 6400800"/>
                <a:gd name="connsiteY445" fmla="*/ 142399 h 514350"/>
                <a:gd name="connsiteX446" fmla="*/ 5555456 w 6400800"/>
                <a:gd name="connsiteY446" fmla="*/ 172879 h 514350"/>
                <a:gd name="connsiteX447" fmla="*/ 5558314 w 6400800"/>
                <a:gd name="connsiteY447" fmla="*/ 190976 h 514350"/>
                <a:gd name="connsiteX448" fmla="*/ 5560219 w 6400800"/>
                <a:gd name="connsiteY448" fmla="*/ 211931 h 514350"/>
                <a:gd name="connsiteX449" fmla="*/ 5564981 w 6400800"/>
                <a:gd name="connsiteY449" fmla="*/ 257651 h 514350"/>
                <a:gd name="connsiteX450" fmla="*/ 5565934 w 6400800"/>
                <a:gd name="connsiteY450" fmla="*/ 274796 h 514350"/>
                <a:gd name="connsiteX451" fmla="*/ 5564029 w 6400800"/>
                <a:gd name="connsiteY451" fmla="*/ 278606 h 514350"/>
                <a:gd name="connsiteX452" fmla="*/ 5561171 w 6400800"/>
                <a:gd name="connsiteY452" fmla="*/ 284321 h 514350"/>
                <a:gd name="connsiteX453" fmla="*/ 5549742 w 6400800"/>
                <a:gd name="connsiteY453" fmla="*/ 264319 h 514350"/>
                <a:gd name="connsiteX454" fmla="*/ 5548789 w 6400800"/>
                <a:gd name="connsiteY454" fmla="*/ 261461 h 514350"/>
                <a:gd name="connsiteX455" fmla="*/ 5544026 w 6400800"/>
                <a:gd name="connsiteY455" fmla="*/ 247174 h 514350"/>
                <a:gd name="connsiteX456" fmla="*/ 5547837 w 6400800"/>
                <a:gd name="connsiteY456" fmla="*/ 228124 h 514350"/>
                <a:gd name="connsiteX457" fmla="*/ 5542121 w 6400800"/>
                <a:gd name="connsiteY457" fmla="*/ 241459 h 514350"/>
                <a:gd name="connsiteX458" fmla="*/ 5541169 w 6400800"/>
                <a:gd name="connsiteY458" fmla="*/ 238601 h 514350"/>
                <a:gd name="connsiteX459" fmla="*/ 5538312 w 6400800"/>
                <a:gd name="connsiteY459" fmla="*/ 230029 h 514350"/>
                <a:gd name="connsiteX460" fmla="*/ 5551646 w 6400800"/>
                <a:gd name="connsiteY460" fmla="*/ 167164 h 514350"/>
                <a:gd name="connsiteX461" fmla="*/ 5528787 w 6400800"/>
                <a:gd name="connsiteY461" fmla="*/ 225266 h 514350"/>
                <a:gd name="connsiteX462" fmla="*/ 5524976 w 6400800"/>
                <a:gd name="connsiteY462" fmla="*/ 217646 h 514350"/>
                <a:gd name="connsiteX463" fmla="*/ 5524024 w 6400800"/>
                <a:gd name="connsiteY463" fmla="*/ 207169 h 514350"/>
                <a:gd name="connsiteX464" fmla="*/ 5521167 w 6400800"/>
                <a:gd name="connsiteY464" fmla="*/ 185261 h 514350"/>
                <a:gd name="connsiteX465" fmla="*/ 5520214 w 6400800"/>
                <a:gd name="connsiteY465" fmla="*/ 207169 h 514350"/>
                <a:gd name="connsiteX466" fmla="*/ 5520214 w 6400800"/>
                <a:gd name="connsiteY466" fmla="*/ 232886 h 514350"/>
                <a:gd name="connsiteX467" fmla="*/ 5520214 w 6400800"/>
                <a:gd name="connsiteY467" fmla="*/ 248126 h 514350"/>
                <a:gd name="connsiteX468" fmla="*/ 5520214 w 6400800"/>
                <a:gd name="connsiteY468" fmla="*/ 250984 h 514350"/>
                <a:gd name="connsiteX469" fmla="*/ 5505926 w 6400800"/>
                <a:gd name="connsiteY469" fmla="*/ 291941 h 514350"/>
                <a:gd name="connsiteX470" fmla="*/ 5503069 w 6400800"/>
                <a:gd name="connsiteY470" fmla="*/ 300514 h 514350"/>
                <a:gd name="connsiteX471" fmla="*/ 5498306 w 6400800"/>
                <a:gd name="connsiteY471" fmla="*/ 290989 h 514350"/>
                <a:gd name="connsiteX472" fmla="*/ 5498306 w 6400800"/>
                <a:gd name="connsiteY472" fmla="*/ 285274 h 514350"/>
                <a:gd name="connsiteX473" fmla="*/ 5499259 w 6400800"/>
                <a:gd name="connsiteY473" fmla="*/ 269081 h 514350"/>
                <a:gd name="connsiteX474" fmla="*/ 5494496 w 6400800"/>
                <a:gd name="connsiteY474" fmla="*/ 284321 h 514350"/>
                <a:gd name="connsiteX475" fmla="*/ 5481162 w 6400800"/>
                <a:gd name="connsiteY475" fmla="*/ 257651 h 514350"/>
                <a:gd name="connsiteX476" fmla="*/ 5483067 w 6400800"/>
                <a:gd name="connsiteY476" fmla="*/ 251936 h 514350"/>
                <a:gd name="connsiteX477" fmla="*/ 5492592 w 6400800"/>
                <a:gd name="connsiteY477" fmla="*/ 224314 h 514350"/>
                <a:gd name="connsiteX478" fmla="*/ 5500212 w 6400800"/>
                <a:gd name="connsiteY478" fmla="*/ 200501 h 514350"/>
                <a:gd name="connsiteX479" fmla="*/ 5493544 w 6400800"/>
                <a:gd name="connsiteY479" fmla="*/ 212884 h 514350"/>
                <a:gd name="connsiteX480" fmla="*/ 5502117 w 6400800"/>
                <a:gd name="connsiteY480" fmla="*/ 188119 h 514350"/>
                <a:gd name="connsiteX481" fmla="*/ 5511642 w 6400800"/>
                <a:gd name="connsiteY481" fmla="*/ 160496 h 514350"/>
                <a:gd name="connsiteX482" fmla="*/ 5498306 w 6400800"/>
                <a:gd name="connsiteY482" fmla="*/ 186214 h 514350"/>
                <a:gd name="connsiteX483" fmla="*/ 5484019 w 6400800"/>
                <a:gd name="connsiteY483" fmla="*/ 215741 h 514350"/>
                <a:gd name="connsiteX484" fmla="*/ 5475446 w 6400800"/>
                <a:gd name="connsiteY484" fmla="*/ 233839 h 514350"/>
                <a:gd name="connsiteX485" fmla="*/ 5472589 w 6400800"/>
                <a:gd name="connsiteY485" fmla="*/ 241459 h 514350"/>
                <a:gd name="connsiteX486" fmla="*/ 5461159 w 6400800"/>
                <a:gd name="connsiteY486" fmla="*/ 221456 h 514350"/>
                <a:gd name="connsiteX487" fmla="*/ 5469731 w 6400800"/>
                <a:gd name="connsiteY487" fmla="*/ 248126 h 514350"/>
                <a:gd name="connsiteX488" fmla="*/ 5466874 w 6400800"/>
                <a:gd name="connsiteY488" fmla="*/ 254794 h 514350"/>
                <a:gd name="connsiteX489" fmla="*/ 5465921 w 6400800"/>
                <a:gd name="connsiteY489" fmla="*/ 257651 h 514350"/>
                <a:gd name="connsiteX490" fmla="*/ 5464969 w 6400800"/>
                <a:gd name="connsiteY490" fmla="*/ 256699 h 514350"/>
                <a:gd name="connsiteX491" fmla="*/ 5455444 w 6400800"/>
                <a:gd name="connsiteY491" fmla="*/ 246221 h 514350"/>
                <a:gd name="connsiteX492" fmla="*/ 5452587 w 6400800"/>
                <a:gd name="connsiteY492" fmla="*/ 230029 h 514350"/>
                <a:gd name="connsiteX493" fmla="*/ 5448776 w 6400800"/>
                <a:gd name="connsiteY493" fmla="*/ 214789 h 514350"/>
                <a:gd name="connsiteX494" fmla="*/ 5442109 w 6400800"/>
                <a:gd name="connsiteY494" fmla="*/ 190024 h 514350"/>
                <a:gd name="connsiteX495" fmla="*/ 5442109 w 6400800"/>
                <a:gd name="connsiteY495" fmla="*/ 190024 h 514350"/>
                <a:gd name="connsiteX496" fmla="*/ 5442109 w 6400800"/>
                <a:gd name="connsiteY496" fmla="*/ 180499 h 514350"/>
                <a:gd name="connsiteX497" fmla="*/ 5441156 w 6400800"/>
                <a:gd name="connsiteY497" fmla="*/ 186214 h 514350"/>
                <a:gd name="connsiteX498" fmla="*/ 5436394 w 6400800"/>
                <a:gd name="connsiteY498" fmla="*/ 169069 h 514350"/>
                <a:gd name="connsiteX499" fmla="*/ 5438299 w 6400800"/>
                <a:gd name="connsiteY499" fmla="*/ 190976 h 514350"/>
                <a:gd name="connsiteX500" fmla="*/ 5439251 w 6400800"/>
                <a:gd name="connsiteY500" fmla="*/ 195739 h 514350"/>
                <a:gd name="connsiteX501" fmla="*/ 5433537 w 6400800"/>
                <a:gd name="connsiteY501" fmla="*/ 225266 h 514350"/>
                <a:gd name="connsiteX502" fmla="*/ 5429726 w 6400800"/>
                <a:gd name="connsiteY502" fmla="*/ 221456 h 514350"/>
                <a:gd name="connsiteX503" fmla="*/ 5433537 w 6400800"/>
                <a:gd name="connsiteY503" fmla="*/ 225266 h 514350"/>
                <a:gd name="connsiteX504" fmla="*/ 5430679 w 6400800"/>
                <a:gd name="connsiteY504" fmla="*/ 240506 h 514350"/>
                <a:gd name="connsiteX505" fmla="*/ 5428774 w 6400800"/>
                <a:gd name="connsiteY505" fmla="*/ 228124 h 514350"/>
                <a:gd name="connsiteX506" fmla="*/ 5428774 w 6400800"/>
                <a:gd name="connsiteY506" fmla="*/ 242411 h 514350"/>
                <a:gd name="connsiteX507" fmla="*/ 5424012 w 6400800"/>
                <a:gd name="connsiteY507" fmla="*/ 222409 h 514350"/>
                <a:gd name="connsiteX508" fmla="*/ 5419249 w 6400800"/>
                <a:gd name="connsiteY508" fmla="*/ 200501 h 514350"/>
                <a:gd name="connsiteX509" fmla="*/ 5420201 w 6400800"/>
                <a:gd name="connsiteY509" fmla="*/ 223361 h 514350"/>
                <a:gd name="connsiteX510" fmla="*/ 5424964 w 6400800"/>
                <a:gd name="connsiteY510" fmla="*/ 274796 h 514350"/>
                <a:gd name="connsiteX511" fmla="*/ 5420201 w 6400800"/>
                <a:gd name="connsiteY511" fmla="*/ 299561 h 514350"/>
                <a:gd name="connsiteX512" fmla="*/ 5418296 w 6400800"/>
                <a:gd name="connsiteY512" fmla="*/ 305276 h 514350"/>
                <a:gd name="connsiteX513" fmla="*/ 5415439 w 6400800"/>
                <a:gd name="connsiteY513" fmla="*/ 298609 h 514350"/>
                <a:gd name="connsiteX514" fmla="*/ 5417344 w 6400800"/>
                <a:gd name="connsiteY514" fmla="*/ 291941 h 514350"/>
                <a:gd name="connsiteX515" fmla="*/ 5414487 w 6400800"/>
                <a:gd name="connsiteY515" fmla="*/ 296704 h 514350"/>
                <a:gd name="connsiteX516" fmla="*/ 5414487 w 6400800"/>
                <a:gd name="connsiteY516" fmla="*/ 295751 h 514350"/>
                <a:gd name="connsiteX517" fmla="*/ 5411629 w 6400800"/>
                <a:gd name="connsiteY517" fmla="*/ 287179 h 514350"/>
                <a:gd name="connsiteX518" fmla="*/ 5414487 w 6400800"/>
                <a:gd name="connsiteY518" fmla="*/ 268129 h 514350"/>
                <a:gd name="connsiteX519" fmla="*/ 5409724 w 6400800"/>
                <a:gd name="connsiteY519" fmla="*/ 282416 h 514350"/>
                <a:gd name="connsiteX520" fmla="*/ 5404009 w 6400800"/>
                <a:gd name="connsiteY520" fmla="*/ 267176 h 514350"/>
                <a:gd name="connsiteX521" fmla="*/ 5399246 w 6400800"/>
                <a:gd name="connsiteY521" fmla="*/ 253841 h 514350"/>
                <a:gd name="connsiteX522" fmla="*/ 5400199 w 6400800"/>
                <a:gd name="connsiteY522" fmla="*/ 232886 h 514350"/>
                <a:gd name="connsiteX523" fmla="*/ 5396389 w 6400800"/>
                <a:gd name="connsiteY523" fmla="*/ 247174 h 514350"/>
                <a:gd name="connsiteX524" fmla="*/ 5395437 w 6400800"/>
                <a:gd name="connsiteY524" fmla="*/ 244316 h 514350"/>
                <a:gd name="connsiteX525" fmla="*/ 5387817 w 6400800"/>
                <a:gd name="connsiteY525" fmla="*/ 224314 h 514350"/>
                <a:gd name="connsiteX526" fmla="*/ 5391626 w 6400800"/>
                <a:gd name="connsiteY526" fmla="*/ 245269 h 514350"/>
                <a:gd name="connsiteX527" fmla="*/ 5394484 w 6400800"/>
                <a:gd name="connsiteY527" fmla="*/ 257651 h 514350"/>
                <a:gd name="connsiteX528" fmla="*/ 5384959 w 6400800"/>
                <a:gd name="connsiteY528" fmla="*/ 300514 h 514350"/>
                <a:gd name="connsiteX529" fmla="*/ 5384006 w 6400800"/>
                <a:gd name="connsiteY529" fmla="*/ 297656 h 514350"/>
                <a:gd name="connsiteX530" fmla="*/ 5382101 w 6400800"/>
                <a:gd name="connsiteY530" fmla="*/ 283369 h 514350"/>
                <a:gd name="connsiteX531" fmla="*/ 5382101 w 6400800"/>
                <a:gd name="connsiteY531" fmla="*/ 287179 h 514350"/>
                <a:gd name="connsiteX532" fmla="*/ 5380196 w 6400800"/>
                <a:gd name="connsiteY532" fmla="*/ 276701 h 514350"/>
                <a:gd name="connsiteX533" fmla="*/ 5379244 w 6400800"/>
                <a:gd name="connsiteY533" fmla="*/ 272891 h 514350"/>
                <a:gd name="connsiteX534" fmla="*/ 5380196 w 6400800"/>
                <a:gd name="connsiteY534" fmla="*/ 269081 h 514350"/>
                <a:gd name="connsiteX535" fmla="*/ 5379244 w 6400800"/>
                <a:gd name="connsiteY535" fmla="*/ 271939 h 514350"/>
                <a:gd name="connsiteX536" fmla="*/ 5372576 w 6400800"/>
                <a:gd name="connsiteY536" fmla="*/ 241459 h 514350"/>
                <a:gd name="connsiteX537" fmla="*/ 5373529 w 6400800"/>
                <a:gd name="connsiteY537" fmla="*/ 232886 h 514350"/>
                <a:gd name="connsiteX538" fmla="*/ 5378292 w 6400800"/>
                <a:gd name="connsiteY538" fmla="*/ 190024 h 514350"/>
                <a:gd name="connsiteX539" fmla="*/ 5384006 w 6400800"/>
                <a:gd name="connsiteY539" fmla="*/ 153829 h 514350"/>
                <a:gd name="connsiteX540" fmla="*/ 5386864 w 6400800"/>
                <a:gd name="connsiteY540" fmla="*/ 138589 h 514350"/>
                <a:gd name="connsiteX541" fmla="*/ 5389721 w 6400800"/>
                <a:gd name="connsiteY541" fmla="*/ 126206 h 514350"/>
                <a:gd name="connsiteX542" fmla="*/ 5394484 w 6400800"/>
                <a:gd name="connsiteY542" fmla="*/ 102394 h 514350"/>
                <a:gd name="connsiteX543" fmla="*/ 5385912 w 6400800"/>
                <a:gd name="connsiteY543" fmla="*/ 125254 h 514350"/>
                <a:gd name="connsiteX544" fmla="*/ 5381149 w 6400800"/>
                <a:gd name="connsiteY544" fmla="*/ 137636 h 514350"/>
                <a:gd name="connsiteX545" fmla="*/ 5376387 w 6400800"/>
                <a:gd name="connsiteY545" fmla="*/ 151924 h 514350"/>
                <a:gd name="connsiteX546" fmla="*/ 5366862 w 6400800"/>
                <a:gd name="connsiteY546" fmla="*/ 188119 h 514350"/>
                <a:gd name="connsiteX547" fmla="*/ 5363051 w 6400800"/>
                <a:gd name="connsiteY547" fmla="*/ 205264 h 514350"/>
                <a:gd name="connsiteX548" fmla="*/ 5360194 w 6400800"/>
                <a:gd name="connsiteY548" fmla="*/ 196691 h 514350"/>
                <a:gd name="connsiteX549" fmla="*/ 5361146 w 6400800"/>
                <a:gd name="connsiteY549" fmla="*/ 210979 h 514350"/>
                <a:gd name="connsiteX550" fmla="*/ 5357337 w 6400800"/>
                <a:gd name="connsiteY550" fmla="*/ 230981 h 514350"/>
                <a:gd name="connsiteX551" fmla="*/ 5355431 w 6400800"/>
                <a:gd name="connsiteY551" fmla="*/ 245269 h 514350"/>
                <a:gd name="connsiteX552" fmla="*/ 5354479 w 6400800"/>
                <a:gd name="connsiteY552" fmla="*/ 235744 h 514350"/>
                <a:gd name="connsiteX553" fmla="*/ 5354479 w 6400800"/>
                <a:gd name="connsiteY553" fmla="*/ 230029 h 514350"/>
                <a:gd name="connsiteX554" fmla="*/ 5355431 w 6400800"/>
                <a:gd name="connsiteY554" fmla="*/ 210979 h 514350"/>
                <a:gd name="connsiteX555" fmla="*/ 5352574 w 6400800"/>
                <a:gd name="connsiteY555" fmla="*/ 222409 h 514350"/>
                <a:gd name="connsiteX556" fmla="*/ 5347812 w 6400800"/>
                <a:gd name="connsiteY556" fmla="*/ 190024 h 514350"/>
                <a:gd name="connsiteX557" fmla="*/ 5347812 w 6400800"/>
                <a:gd name="connsiteY557" fmla="*/ 179546 h 514350"/>
                <a:gd name="connsiteX558" fmla="*/ 5347812 w 6400800"/>
                <a:gd name="connsiteY558" fmla="*/ 160496 h 514350"/>
                <a:gd name="connsiteX559" fmla="*/ 5344954 w 6400800"/>
                <a:gd name="connsiteY559" fmla="*/ 173831 h 514350"/>
                <a:gd name="connsiteX560" fmla="*/ 5341144 w 6400800"/>
                <a:gd name="connsiteY560" fmla="*/ 150019 h 514350"/>
                <a:gd name="connsiteX561" fmla="*/ 5342096 w 6400800"/>
                <a:gd name="connsiteY561" fmla="*/ 177641 h 514350"/>
                <a:gd name="connsiteX562" fmla="*/ 5342096 w 6400800"/>
                <a:gd name="connsiteY562" fmla="*/ 187166 h 514350"/>
                <a:gd name="connsiteX563" fmla="*/ 5340192 w 6400800"/>
                <a:gd name="connsiteY563" fmla="*/ 200501 h 514350"/>
                <a:gd name="connsiteX564" fmla="*/ 5337334 w 6400800"/>
                <a:gd name="connsiteY564" fmla="*/ 229076 h 514350"/>
                <a:gd name="connsiteX565" fmla="*/ 5336381 w 6400800"/>
                <a:gd name="connsiteY565" fmla="*/ 263366 h 514350"/>
                <a:gd name="connsiteX566" fmla="*/ 5336381 w 6400800"/>
                <a:gd name="connsiteY566" fmla="*/ 282416 h 514350"/>
                <a:gd name="connsiteX567" fmla="*/ 5336381 w 6400800"/>
                <a:gd name="connsiteY567" fmla="*/ 282416 h 514350"/>
                <a:gd name="connsiteX568" fmla="*/ 5333524 w 6400800"/>
                <a:gd name="connsiteY568" fmla="*/ 293846 h 514350"/>
                <a:gd name="connsiteX569" fmla="*/ 5332571 w 6400800"/>
                <a:gd name="connsiteY569" fmla="*/ 291941 h 514350"/>
                <a:gd name="connsiteX570" fmla="*/ 5327809 w 6400800"/>
                <a:gd name="connsiteY570" fmla="*/ 278606 h 514350"/>
                <a:gd name="connsiteX571" fmla="*/ 5319237 w 6400800"/>
                <a:gd name="connsiteY571" fmla="*/ 252889 h 514350"/>
                <a:gd name="connsiteX572" fmla="*/ 5310664 w 6400800"/>
                <a:gd name="connsiteY572" fmla="*/ 230029 h 514350"/>
                <a:gd name="connsiteX573" fmla="*/ 5315426 w 6400800"/>
                <a:gd name="connsiteY573" fmla="*/ 253841 h 514350"/>
                <a:gd name="connsiteX574" fmla="*/ 5318284 w 6400800"/>
                <a:gd name="connsiteY574" fmla="*/ 267176 h 514350"/>
                <a:gd name="connsiteX575" fmla="*/ 5315426 w 6400800"/>
                <a:gd name="connsiteY575" fmla="*/ 263366 h 514350"/>
                <a:gd name="connsiteX576" fmla="*/ 5320189 w 6400800"/>
                <a:gd name="connsiteY576" fmla="*/ 276701 h 514350"/>
                <a:gd name="connsiteX577" fmla="*/ 5321142 w 6400800"/>
                <a:gd name="connsiteY577" fmla="*/ 281464 h 514350"/>
                <a:gd name="connsiteX578" fmla="*/ 5324951 w 6400800"/>
                <a:gd name="connsiteY578" fmla="*/ 297656 h 514350"/>
                <a:gd name="connsiteX579" fmla="*/ 5326856 w 6400800"/>
                <a:gd name="connsiteY579" fmla="*/ 306229 h 514350"/>
                <a:gd name="connsiteX580" fmla="*/ 5316379 w 6400800"/>
                <a:gd name="connsiteY580" fmla="*/ 322421 h 514350"/>
                <a:gd name="connsiteX581" fmla="*/ 5306854 w 6400800"/>
                <a:gd name="connsiteY581" fmla="*/ 338614 h 514350"/>
                <a:gd name="connsiteX582" fmla="*/ 5298281 w 6400800"/>
                <a:gd name="connsiteY582" fmla="*/ 354806 h 514350"/>
                <a:gd name="connsiteX583" fmla="*/ 5298281 w 6400800"/>
                <a:gd name="connsiteY583" fmla="*/ 344329 h 514350"/>
                <a:gd name="connsiteX584" fmla="*/ 5301139 w 6400800"/>
                <a:gd name="connsiteY584" fmla="*/ 318611 h 514350"/>
                <a:gd name="connsiteX585" fmla="*/ 5305901 w 6400800"/>
                <a:gd name="connsiteY585" fmla="*/ 291941 h 514350"/>
                <a:gd name="connsiteX586" fmla="*/ 5311617 w 6400800"/>
                <a:gd name="connsiteY586" fmla="*/ 269081 h 514350"/>
                <a:gd name="connsiteX587" fmla="*/ 5302092 w 6400800"/>
                <a:gd name="connsiteY587" fmla="*/ 290989 h 514350"/>
                <a:gd name="connsiteX588" fmla="*/ 5299234 w 6400800"/>
                <a:gd name="connsiteY588" fmla="*/ 298609 h 514350"/>
                <a:gd name="connsiteX589" fmla="*/ 5299234 w 6400800"/>
                <a:gd name="connsiteY589" fmla="*/ 263366 h 514350"/>
                <a:gd name="connsiteX590" fmla="*/ 5290662 w 6400800"/>
                <a:gd name="connsiteY590" fmla="*/ 317659 h 514350"/>
                <a:gd name="connsiteX591" fmla="*/ 5289709 w 6400800"/>
                <a:gd name="connsiteY591" fmla="*/ 312896 h 514350"/>
                <a:gd name="connsiteX592" fmla="*/ 5284946 w 6400800"/>
                <a:gd name="connsiteY592" fmla="*/ 295751 h 514350"/>
                <a:gd name="connsiteX593" fmla="*/ 5284946 w 6400800"/>
                <a:gd name="connsiteY593" fmla="*/ 295751 h 514350"/>
                <a:gd name="connsiteX594" fmla="*/ 5284946 w 6400800"/>
                <a:gd name="connsiteY594" fmla="*/ 295751 h 514350"/>
                <a:gd name="connsiteX595" fmla="*/ 5282089 w 6400800"/>
                <a:gd name="connsiteY595" fmla="*/ 284321 h 514350"/>
                <a:gd name="connsiteX596" fmla="*/ 5281137 w 6400800"/>
                <a:gd name="connsiteY596" fmla="*/ 282416 h 514350"/>
                <a:gd name="connsiteX597" fmla="*/ 5288756 w 6400800"/>
                <a:gd name="connsiteY597" fmla="*/ 252889 h 514350"/>
                <a:gd name="connsiteX598" fmla="*/ 5279231 w 6400800"/>
                <a:gd name="connsiteY598" fmla="*/ 273844 h 514350"/>
                <a:gd name="connsiteX599" fmla="*/ 5275421 w 6400800"/>
                <a:gd name="connsiteY599" fmla="*/ 262414 h 514350"/>
                <a:gd name="connsiteX600" fmla="*/ 5268754 w 6400800"/>
                <a:gd name="connsiteY600" fmla="*/ 243364 h 514350"/>
                <a:gd name="connsiteX601" fmla="*/ 5271612 w 6400800"/>
                <a:gd name="connsiteY601" fmla="*/ 262414 h 514350"/>
                <a:gd name="connsiteX602" fmla="*/ 5274469 w 6400800"/>
                <a:gd name="connsiteY602" fmla="*/ 283369 h 514350"/>
                <a:gd name="connsiteX603" fmla="*/ 5263039 w 6400800"/>
                <a:gd name="connsiteY603" fmla="*/ 310039 h 514350"/>
                <a:gd name="connsiteX604" fmla="*/ 5263039 w 6400800"/>
                <a:gd name="connsiteY604" fmla="*/ 302419 h 514350"/>
                <a:gd name="connsiteX605" fmla="*/ 5260181 w 6400800"/>
                <a:gd name="connsiteY605" fmla="*/ 310039 h 514350"/>
                <a:gd name="connsiteX606" fmla="*/ 5260181 w 6400800"/>
                <a:gd name="connsiteY606" fmla="*/ 309086 h 514350"/>
                <a:gd name="connsiteX607" fmla="*/ 5261134 w 6400800"/>
                <a:gd name="connsiteY607" fmla="*/ 301466 h 514350"/>
                <a:gd name="connsiteX608" fmla="*/ 5262087 w 6400800"/>
                <a:gd name="connsiteY608" fmla="*/ 284321 h 514350"/>
                <a:gd name="connsiteX609" fmla="*/ 5263039 w 6400800"/>
                <a:gd name="connsiteY609" fmla="*/ 269081 h 514350"/>
                <a:gd name="connsiteX610" fmla="*/ 5258276 w 6400800"/>
                <a:gd name="connsiteY610" fmla="*/ 283369 h 514350"/>
                <a:gd name="connsiteX611" fmla="*/ 5257324 w 6400800"/>
                <a:gd name="connsiteY611" fmla="*/ 287179 h 514350"/>
                <a:gd name="connsiteX612" fmla="*/ 5255419 w 6400800"/>
                <a:gd name="connsiteY612" fmla="*/ 273844 h 514350"/>
                <a:gd name="connsiteX613" fmla="*/ 5255419 w 6400800"/>
                <a:gd name="connsiteY613" fmla="*/ 271939 h 514350"/>
                <a:gd name="connsiteX614" fmla="*/ 5255419 w 6400800"/>
                <a:gd name="connsiteY614" fmla="*/ 270986 h 514350"/>
                <a:gd name="connsiteX615" fmla="*/ 5256371 w 6400800"/>
                <a:gd name="connsiteY615" fmla="*/ 266224 h 514350"/>
                <a:gd name="connsiteX616" fmla="*/ 5255419 w 6400800"/>
                <a:gd name="connsiteY616" fmla="*/ 268129 h 514350"/>
                <a:gd name="connsiteX617" fmla="*/ 5258276 w 6400800"/>
                <a:gd name="connsiteY617" fmla="*/ 232886 h 514350"/>
                <a:gd name="connsiteX618" fmla="*/ 5263039 w 6400800"/>
                <a:gd name="connsiteY618" fmla="*/ 158591 h 514350"/>
                <a:gd name="connsiteX619" fmla="*/ 5252562 w 6400800"/>
                <a:gd name="connsiteY619" fmla="*/ 204311 h 514350"/>
                <a:gd name="connsiteX620" fmla="*/ 5255419 w 6400800"/>
                <a:gd name="connsiteY620" fmla="*/ 173831 h 514350"/>
                <a:gd name="connsiteX621" fmla="*/ 5258276 w 6400800"/>
                <a:gd name="connsiteY621" fmla="*/ 140494 h 514350"/>
                <a:gd name="connsiteX622" fmla="*/ 5260181 w 6400800"/>
                <a:gd name="connsiteY622" fmla="*/ 110966 h 514350"/>
                <a:gd name="connsiteX623" fmla="*/ 5254467 w 6400800"/>
                <a:gd name="connsiteY623" fmla="*/ 139541 h 514350"/>
                <a:gd name="connsiteX624" fmla="*/ 5247799 w 6400800"/>
                <a:gd name="connsiteY624" fmla="*/ 172879 h 514350"/>
                <a:gd name="connsiteX625" fmla="*/ 5243989 w 6400800"/>
                <a:gd name="connsiteY625" fmla="*/ 192881 h 514350"/>
                <a:gd name="connsiteX626" fmla="*/ 5243037 w 6400800"/>
                <a:gd name="connsiteY626" fmla="*/ 201454 h 514350"/>
                <a:gd name="connsiteX627" fmla="*/ 5241131 w 6400800"/>
                <a:gd name="connsiteY627" fmla="*/ 194786 h 514350"/>
                <a:gd name="connsiteX628" fmla="*/ 5241131 w 6400800"/>
                <a:gd name="connsiteY628" fmla="*/ 209074 h 514350"/>
                <a:gd name="connsiteX629" fmla="*/ 5240179 w 6400800"/>
                <a:gd name="connsiteY629" fmla="*/ 215741 h 514350"/>
                <a:gd name="connsiteX630" fmla="*/ 5235417 w 6400800"/>
                <a:gd name="connsiteY630" fmla="*/ 246221 h 514350"/>
                <a:gd name="connsiteX631" fmla="*/ 5230654 w 6400800"/>
                <a:gd name="connsiteY631" fmla="*/ 252889 h 514350"/>
                <a:gd name="connsiteX632" fmla="*/ 5222081 w 6400800"/>
                <a:gd name="connsiteY632" fmla="*/ 266224 h 514350"/>
                <a:gd name="connsiteX633" fmla="*/ 5215414 w 6400800"/>
                <a:gd name="connsiteY633" fmla="*/ 279559 h 514350"/>
                <a:gd name="connsiteX634" fmla="*/ 5215414 w 6400800"/>
                <a:gd name="connsiteY634" fmla="*/ 278606 h 514350"/>
                <a:gd name="connsiteX635" fmla="*/ 5216367 w 6400800"/>
                <a:gd name="connsiteY635" fmla="*/ 275749 h 514350"/>
                <a:gd name="connsiteX636" fmla="*/ 5215414 w 6400800"/>
                <a:gd name="connsiteY636" fmla="*/ 277654 h 514350"/>
                <a:gd name="connsiteX637" fmla="*/ 5211604 w 6400800"/>
                <a:gd name="connsiteY637" fmla="*/ 249079 h 514350"/>
                <a:gd name="connsiteX638" fmla="*/ 5208746 w 6400800"/>
                <a:gd name="connsiteY638" fmla="*/ 224314 h 514350"/>
                <a:gd name="connsiteX639" fmla="*/ 5205889 w 6400800"/>
                <a:gd name="connsiteY639" fmla="*/ 202406 h 514350"/>
                <a:gd name="connsiteX640" fmla="*/ 5204937 w 6400800"/>
                <a:gd name="connsiteY640" fmla="*/ 224314 h 514350"/>
                <a:gd name="connsiteX641" fmla="*/ 5204937 w 6400800"/>
                <a:gd name="connsiteY641" fmla="*/ 249079 h 514350"/>
                <a:gd name="connsiteX642" fmla="*/ 5204937 w 6400800"/>
                <a:gd name="connsiteY642" fmla="*/ 264319 h 514350"/>
                <a:gd name="connsiteX643" fmla="*/ 5205889 w 6400800"/>
                <a:gd name="connsiteY643" fmla="*/ 281464 h 514350"/>
                <a:gd name="connsiteX644" fmla="*/ 5205889 w 6400800"/>
                <a:gd name="connsiteY644" fmla="*/ 289084 h 514350"/>
                <a:gd name="connsiteX645" fmla="*/ 5203984 w 6400800"/>
                <a:gd name="connsiteY645" fmla="*/ 286226 h 514350"/>
                <a:gd name="connsiteX646" fmla="*/ 5205889 w 6400800"/>
                <a:gd name="connsiteY646" fmla="*/ 290989 h 514350"/>
                <a:gd name="connsiteX647" fmla="*/ 5205889 w 6400800"/>
                <a:gd name="connsiteY647" fmla="*/ 291941 h 514350"/>
                <a:gd name="connsiteX648" fmla="*/ 5203984 w 6400800"/>
                <a:gd name="connsiteY648" fmla="*/ 287179 h 514350"/>
                <a:gd name="connsiteX649" fmla="*/ 5203984 w 6400800"/>
                <a:gd name="connsiteY649" fmla="*/ 287179 h 514350"/>
                <a:gd name="connsiteX650" fmla="*/ 5203984 w 6400800"/>
                <a:gd name="connsiteY650" fmla="*/ 287179 h 514350"/>
                <a:gd name="connsiteX651" fmla="*/ 5199221 w 6400800"/>
                <a:gd name="connsiteY651" fmla="*/ 278606 h 514350"/>
                <a:gd name="connsiteX652" fmla="*/ 5202079 w 6400800"/>
                <a:gd name="connsiteY652" fmla="*/ 290989 h 514350"/>
                <a:gd name="connsiteX653" fmla="*/ 5198269 w 6400800"/>
                <a:gd name="connsiteY653" fmla="*/ 300514 h 514350"/>
                <a:gd name="connsiteX654" fmla="*/ 5195412 w 6400800"/>
                <a:gd name="connsiteY654" fmla="*/ 295751 h 514350"/>
                <a:gd name="connsiteX655" fmla="*/ 5191601 w 6400800"/>
                <a:gd name="connsiteY655" fmla="*/ 263366 h 514350"/>
                <a:gd name="connsiteX656" fmla="*/ 5184934 w 6400800"/>
                <a:gd name="connsiteY656" fmla="*/ 190024 h 514350"/>
                <a:gd name="connsiteX657" fmla="*/ 5183981 w 6400800"/>
                <a:gd name="connsiteY657" fmla="*/ 169069 h 514350"/>
                <a:gd name="connsiteX658" fmla="*/ 5183981 w 6400800"/>
                <a:gd name="connsiteY658" fmla="*/ 161449 h 514350"/>
                <a:gd name="connsiteX659" fmla="*/ 5183029 w 6400800"/>
                <a:gd name="connsiteY659" fmla="*/ 169069 h 514350"/>
                <a:gd name="connsiteX660" fmla="*/ 5181124 w 6400800"/>
                <a:gd name="connsiteY660" fmla="*/ 190024 h 514350"/>
                <a:gd name="connsiteX661" fmla="*/ 5180171 w 6400800"/>
                <a:gd name="connsiteY661" fmla="*/ 211931 h 514350"/>
                <a:gd name="connsiteX662" fmla="*/ 5177314 w 6400800"/>
                <a:gd name="connsiteY662" fmla="*/ 215741 h 514350"/>
                <a:gd name="connsiteX663" fmla="*/ 5165884 w 6400800"/>
                <a:gd name="connsiteY663" fmla="*/ 231934 h 514350"/>
                <a:gd name="connsiteX664" fmla="*/ 5163979 w 6400800"/>
                <a:gd name="connsiteY664" fmla="*/ 235744 h 514350"/>
                <a:gd name="connsiteX665" fmla="*/ 5161121 w 6400800"/>
                <a:gd name="connsiteY665" fmla="*/ 230029 h 514350"/>
                <a:gd name="connsiteX666" fmla="*/ 5161121 w 6400800"/>
                <a:gd name="connsiteY666" fmla="*/ 229076 h 514350"/>
                <a:gd name="connsiteX667" fmla="*/ 5163026 w 6400800"/>
                <a:gd name="connsiteY667" fmla="*/ 213836 h 514350"/>
                <a:gd name="connsiteX668" fmla="*/ 5163979 w 6400800"/>
                <a:gd name="connsiteY668" fmla="*/ 208121 h 514350"/>
                <a:gd name="connsiteX669" fmla="*/ 5158264 w 6400800"/>
                <a:gd name="connsiteY669" fmla="*/ 224314 h 514350"/>
                <a:gd name="connsiteX670" fmla="*/ 5156359 w 6400800"/>
                <a:gd name="connsiteY670" fmla="*/ 220504 h 514350"/>
                <a:gd name="connsiteX671" fmla="*/ 5147787 w 6400800"/>
                <a:gd name="connsiteY671" fmla="*/ 205264 h 514350"/>
                <a:gd name="connsiteX672" fmla="*/ 5144929 w 6400800"/>
                <a:gd name="connsiteY672" fmla="*/ 178594 h 514350"/>
                <a:gd name="connsiteX673" fmla="*/ 5141119 w 6400800"/>
                <a:gd name="connsiteY673" fmla="*/ 149066 h 514350"/>
                <a:gd name="connsiteX674" fmla="*/ 5141119 w 6400800"/>
                <a:gd name="connsiteY674" fmla="*/ 178594 h 514350"/>
                <a:gd name="connsiteX675" fmla="*/ 5141119 w 6400800"/>
                <a:gd name="connsiteY675" fmla="*/ 255746 h 514350"/>
                <a:gd name="connsiteX676" fmla="*/ 5141119 w 6400800"/>
                <a:gd name="connsiteY676" fmla="*/ 258604 h 514350"/>
                <a:gd name="connsiteX677" fmla="*/ 5139214 w 6400800"/>
                <a:gd name="connsiteY677" fmla="*/ 260509 h 514350"/>
                <a:gd name="connsiteX678" fmla="*/ 5134451 w 6400800"/>
                <a:gd name="connsiteY678" fmla="*/ 265271 h 514350"/>
                <a:gd name="connsiteX679" fmla="*/ 5128737 w 6400800"/>
                <a:gd name="connsiteY679" fmla="*/ 184309 h 514350"/>
                <a:gd name="connsiteX680" fmla="*/ 5124926 w 6400800"/>
                <a:gd name="connsiteY680" fmla="*/ 236696 h 514350"/>
                <a:gd name="connsiteX681" fmla="*/ 5119212 w 6400800"/>
                <a:gd name="connsiteY681" fmla="*/ 219551 h 514350"/>
                <a:gd name="connsiteX682" fmla="*/ 5123974 w 6400800"/>
                <a:gd name="connsiteY682" fmla="*/ 249079 h 514350"/>
                <a:gd name="connsiteX683" fmla="*/ 5123021 w 6400800"/>
                <a:gd name="connsiteY683" fmla="*/ 258604 h 514350"/>
                <a:gd name="connsiteX684" fmla="*/ 5120164 w 6400800"/>
                <a:gd name="connsiteY684" fmla="*/ 279559 h 514350"/>
                <a:gd name="connsiteX685" fmla="*/ 5116354 w 6400800"/>
                <a:gd name="connsiteY685" fmla="*/ 285274 h 514350"/>
                <a:gd name="connsiteX686" fmla="*/ 5106829 w 6400800"/>
                <a:gd name="connsiteY686" fmla="*/ 298609 h 514350"/>
                <a:gd name="connsiteX687" fmla="*/ 5103971 w 6400800"/>
                <a:gd name="connsiteY687" fmla="*/ 303371 h 514350"/>
                <a:gd name="connsiteX688" fmla="*/ 5085874 w 6400800"/>
                <a:gd name="connsiteY688" fmla="*/ 261461 h 514350"/>
                <a:gd name="connsiteX689" fmla="*/ 5086826 w 6400800"/>
                <a:gd name="connsiteY689" fmla="*/ 261461 h 514350"/>
                <a:gd name="connsiteX690" fmla="*/ 5091589 w 6400800"/>
                <a:gd name="connsiteY690" fmla="*/ 260509 h 514350"/>
                <a:gd name="connsiteX691" fmla="*/ 5086826 w 6400800"/>
                <a:gd name="connsiteY691" fmla="*/ 260509 h 514350"/>
                <a:gd name="connsiteX692" fmla="*/ 5085874 w 6400800"/>
                <a:gd name="connsiteY692" fmla="*/ 260509 h 514350"/>
                <a:gd name="connsiteX693" fmla="*/ 5071587 w 6400800"/>
                <a:gd name="connsiteY693" fmla="*/ 230029 h 514350"/>
                <a:gd name="connsiteX694" fmla="*/ 5071587 w 6400800"/>
                <a:gd name="connsiteY694" fmla="*/ 222409 h 514350"/>
                <a:gd name="connsiteX695" fmla="*/ 5069681 w 6400800"/>
                <a:gd name="connsiteY695" fmla="*/ 227171 h 514350"/>
                <a:gd name="connsiteX696" fmla="*/ 5062062 w 6400800"/>
                <a:gd name="connsiteY696" fmla="*/ 192881 h 514350"/>
                <a:gd name="connsiteX697" fmla="*/ 5058251 w 6400800"/>
                <a:gd name="connsiteY697" fmla="*/ 174784 h 514350"/>
                <a:gd name="connsiteX698" fmla="*/ 5055394 w 6400800"/>
                <a:gd name="connsiteY698" fmla="*/ 159544 h 514350"/>
                <a:gd name="connsiteX699" fmla="*/ 5049679 w 6400800"/>
                <a:gd name="connsiteY699" fmla="*/ 130016 h 514350"/>
                <a:gd name="connsiteX700" fmla="*/ 5050631 w 6400800"/>
                <a:gd name="connsiteY700" fmla="*/ 159544 h 514350"/>
                <a:gd name="connsiteX701" fmla="*/ 5051584 w 6400800"/>
                <a:gd name="connsiteY701" fmla="*/ 174784 h 514350"/>
                <a:gd name="connsiteX702" fmla="*/ 5053489 w 6400800"/>
                <a:gd name="connsiteY702" fmla="*/ 192881 h 514350"/>
                <a:gd name="connsiteX703" fmla="*/ 5059204 w 6400800"/>
                <a:gd name="connsiteY703" fmla="*/ 236696 h 514350"/>
                <a:gd name="connsiteX704" fmla="*/ 5061109 w 6400800"/>
                <a:gd name="connsiteY704" fmla="*/ 249079 h 514350"/>
                <a:gd name="connsiteX705" fmla="*/ 5055394 w 6400800"/>
                <a:gd name="connsiteY705" fmla="*/ 270034 h 514350"/>
                <a:gd name="connsiteX706" fmla="*/ 5052537 w 6400800"/>
                <a:gd name="connsiteY706" fmla="*/ 271939 h 514350"/>
                <a:gd name="connsiteX707" fmla="*/ 5052537 w 6400800"/>
                <a:gd name="connsiteY707" fmla="*/ 271939 h 514350"/>
                <a:gd name="connsiteX708" fmla="*/ 5051584 w 6400800"/>
                <a:gd name="connsiteY708" fmla="*/ 267176 h 514350"/>
                <a:gd name="connsiteX709" fmla="*/ 5051584 w 6400800"/>
                <a:gd name="connsiteY709" fmla="*/ 269081 h 514350"/>
                <a:gd name="connsiteX710" fmla="*/ 5048726 w 6400800"/>
                <a:gd name="connsiteY710" fmla="*/ 261461 h 514350"/>
                <a:gd name="connsiteX711" fmla="*/ 5048726 w 6400800"/>
                <a:gd name="connsiteY711" fmla="*/ 261461 h 514350"/>
                <a:gd name="connsiteX712" fmla="*/ 5050631 w 6400800"/>
                <a:gd name="connsiteY712" fmla="*/ 252889 h 514350"/>
                <a:gd name="connsiteX713" fmla="*/ 5047774 w 6400800"/>
                <a:gd name="connsiteY713" fmla="*/ 259556 h 514350"/>
                <a:gd name="connsiteX714" fmla="*/ 5039201 w 6400800"/>
                <a:gd name="connsiteY714" fmla="*/ 236696 h 514350"/>
                <a:gd name="connsiteX715" fmla="*/ 5031581 w 6400800"/>
                <a:gd name="connsiteY715" fmla="*/ 214789 h 514350"/>
                <a:gd name="connsiteX716" fmla="*/ 5035392 w 6400800"/>
                <a:gd name="connsiteY716" fmla="*/ 237649 h 514350"/>
                <a:gd name="connsiteX717" fmla="*/ 5039201 w 6400800"/>
                <a:gd name="connsiteY717" fmla="*/ 256699 h 514350"/>
                <a:gd name="connsiteX718" fmla="*/ 5034439 w 6400800"/>
                <a:gd name="connsiteY718" fmla="*/ 265271 h 514350"/>
                <a:gd name="connsiteX719" fmla="*/ 5034439 w 6400800"/>
                <a:gd name="connsiteY719" fmla="*/ 262414 h 514350"/>
                <a:gd name="connsiteX720" fmla="*/ 5030629 w 6400800"/>
                <a:gd name="connsiteY720" fmla="*/ 241459 h 514350"/>
                <a:gd name="connsiteX721" fmla="*/ 5026819 w 6400800"/>
                <a:gd name="connsiteY721" fmla="*/ 223361 h 514350"/>
                <a:gd name="connsiteX722" fmla="*/ 5025867 w 6400800"/>
                <a:gd name="connsiteY722" fmla="*/ 242411 h 514350"/>
                <a:gd name="connsiteX723" fmla="*/ 5025867 w 6400800"/>
                <a:gd name="connsiteY723" fmla="*/ 263366 h 514350"/>
                <a:gd name="connsiteX724" fmla="*/ 5025867 w 6400800"/>
                <a:gd name="connsiteY724" fmla="*/ 276701 h 514350"/>
                <a:gd name="connsiteX725" fmla="*/ 5025867 w 6400800"/>
                <a:gd name="connsiteY725" fmla="*/ 281464 h 514350"/>
                <a:gd name="connsiteX726" fmla="*/ 5010626 w 6400800"/>
                <a:gd name="connsiteY726" fmla="*/ 263366 h 514350"/>
                <a:gd name="connsiteX727" fmla="*/ 4995387 w 6400800"/>
                <a:gd name="connsiteY727" fmla="*/ 248126 h 514350"/>
                <a:gd name="connsiteX728" fmla="*/ 4997292 w 6400800"/>
                <a:gd name="connsiteY728" fmla="*/ 243364 h 514350"/>
                <a:gd name="connsiteX729" fmla="*/ 4994434 w 6400800"/>
                <a:gd name="connsiteY729" fmla="*/ 248126 h 514350"/>
                <a:gd name="connsiteX730" fmla="*/ 4992529 w 6400800"/>
                <a:gd name="connsiteY730" fmla="*/ 246221 h 514350"/>
                <a:gd name="connsiteX731" fmla="*/ 4994434 w 6400800"/>
                <a:gd name="connsiteY731" fmla="*/ 190024 h 514350"/>
                <a:gd name="connsiteX732" fmla="*/ 4983004 w 6400800"/>
                <a:gd name="connsiteY732" fmla="*/ 240506 h 514350"/>
                <a:gd name="connsiteX733" fmla="*/ 4981099 w 6400800"/>
                <a:gd name="connsiteY733" fmla="*/ 238601 h 514350"/>
                <a:gd name="connsiteX734" fmla="*/ 4959192 w 6400800"/>
                <a:gd name="connsiteY734" fmla="*/ 219551 h 514350"/>
                <a:gd name="connsiteX735" fmla="*/ 4978242 w 6400800"/>
                <a:gd name="connsiteY735" fmla="*/ 241459 h 514350"/>
                <a:gd name="connsiteX736" fmla="*/ 4982051 w 6400800"/>
                <a:gd name="connsiteY736" fmla="*/ 246221 h 514350"/>
                <a:gd name="connsiteX737" fmla="*/ 4982051 w 6400800"/>
                <a:gd name="connsiteY737" fmla="*/ 248126 h 514350"/>
                <a:gd name="connsiteX738" fmla="*/ 4976337 w 6400800"/>
                <a:gd name="connsiteY738" fmla="*/ 279559 h 514350"/>
                <a:gd name="connsiteX739" fmla="*/ 4969669 w 6400800"/>
                <a:gd name="connsiteY739" fmla="*/ 290989 h 514350"/>
                <a:gd name="connsiteX740" fmla="*/ 4960144 w 6400800"/>
                <a:gd name="connsiteY740" fmla="*/ 265271 h 514350"/>
                <a:gd name="connsiteX741" fmla="*/ 4960144 w 6400800"/>
                <a:gd name="connsiteY741" fmla="*/ 264319 h 514350"/>
                <a:gd name="connsiteX742" fmla="*/ 4959192 w 6400800"/>
                <a:gd name="connsiteY742" fmla="*/ 237649 h 514350"/>
                <a:gd name="connsiteX743" fmla="*/ 4958239 w 6400800"/>
                <a:gd name="connsiteY743" fmla="*/ 214789 h 514350"/>
                <a:gd name="connsiteX744" fmla="*/ 4968717 w 6400800"/>
                <a:gd name="connsiteY744" fmla="*/ 164306 h 514350"/>
                <a:gd name="connsiteX745" fmla="*/ 4974431 w 6400800"/>
                <a:gd name="connsiteY745" fmla="*/ 134779 h 514350"/>
                <a:gd name="connsiteX746" fmla="*/ 4964906 w 6400800"/>
                <a:gd name="connsiteY746" fmla="*/ 163354 h 514350"/>
                <a:gd name="connsiteX747" fmla="*/ 4955381 w 6400800"/>
                <a:gd name="connsiteY747" fmla="*/ 191929 h 514350"/>
                <a:gd name="connsiteX748" fmla="*/ 4955381 w 6400800"/>
                <a:gd name="connsiteY748" fmla="*/ 176689 h 514350"/>
                <a:gd name="connsiteX749" fmla="*/ 4952524 w 6400800"/>
                <a:gd name="connsiteY749" fmla="*/ 202406 h 514350"/>
                <a:gd name="connsiteX750" fmla="*/ 4952524 w 6400800"/>
                <a:gd name="connsiteY750" fmla="*/ 203359 h 514350"/>
                <a:gd name="connsiteX751" fmla="*/ 4944904 w 6400800"/>
                <a:gd name="connsiteY751" fmla="*/ 227171 h 514350"/>
                <a:gd name="connsiteX752" fmla="*/ 4944904 w 6400800"/>
                <a:gd name="connsiteY752" fmla="*/ 226219 h 514350"/>
                <a:gd name="connsiteX753" fmla="*/ 4936331 w 6400800"/>
                <a:gd name="connsiteY753" fmla="*/ 199549 h 514350"/>
                <a:gd name="connsiteX754" fmla="*/ 4942046 w 6400800"/>
                <a:gd name="connsiteY754" fmla="*/ 236696 h 514350"/>
                <a:gd name="connsiteX755" fmla="*/ 4941094 w 6400800"/>
                <a:gd name="connsiteY755" fmla="*/ 239554 h 514350"/>
                <a:gd name="connsiteX756" fmla="*/ 4922996 w 6400800"/>
                <a:gd name="connsiteY756" fmla="*/ 292894 h 514350"/>
                <a:gd name="connsiteX757" fmla="*/ 4922996 w 6400800"/>
                <a:gd name="connsiteY757" fmla="*/ 289084 h 514350"/>
                <a:gd name="connsiteX758" fmla="*/ 4920139 w 6400800"/>
                <a:gd name="connsiteY758" fmla="*/ 269081 h 514350"/>
                <a:gd name="connsiteX759" fmla="*/ 4919187 w 6400800"/>
                <a:gd name="connsiteY759" fmla="*/ 290036 h 514350"/>
                <a:gd name="connsiteX760" fmla="*/ 4919187 w 6400800"/>
                <a:gd name="connsiteY760" fmla="*/ 296704 h 514350"/>
                <a:gd name="connsiteX761" fmla="*/ 4917281 w 6400800"/>
                <a:gd name="connsiteY761" fmla="*/ 289084 h 514350"/>
                <a:gd name="connsiteX762" fmla="*/ 4911567 w 6400800"/>
                <a:gd name="connsiteY762" fmla="*/ 266224 h 514350"/>
                <a:gd name="connsiteX763" fmla="*/ 4904899 w 6400800"/>
                <a:gd name="connsiteY763" fmla="*/ 246221 h 514350"/>
                <a:gd name="connsiteX764" fmla="*/ 4907756 w 6400800"/>
                <a:gd name="connsiteY764" fmla="*/ 267176 h 514350"/>
                <a:gd name="connsiteX765" fmla="*/ 4909662 w 6400800"/>
                <a:gd name="connsiteY765" fmla="*/ 290989 h 514350"/>
                <a:gd name="connsiteX766" fmla="*/ 4911567 w 6400800"/>
                <a:gd name="connsiteY766" fmla="*/ 321469 h 514350"/>
                <a:gd name="connsiteX767" fmla="*/ 4908709 w 6400800"/>
                <a:gd name="connsiteY767" fmla="*/ 327184 h 514350"/>
                <a:gd name="connsiteX768" fmla="*/ 4902042 w 6400800"/>
                <a:gd name="connsiteY768" fmla="*/ 313849 h 514350"/>
                <a:gd name="connsiteX769" fmla="*/ 4894421 w 6400800"/>
                <a:gd name="connsiteY769" fmla="*/ 298609 h 514350"/>
                <a:gd name="connsiteX770" fmla="*/ 4892517 w 6400800"/>
                <a:gd name="connsiteY770" fmla="*/ 285274 h 514350"/>
                <a:gd name="connsiteX771" fmla="*/ 4891564 w 6400800"/>
                <a:gd name="connsiteY771" fmla="*/ 293846 h 514350"/>
                <a:gd name="connsiteX772" fmla="*/ 4888706 w 6400800"/>
                <a:gd name="connsiteY772" fmla="*/ 289084 h 514350"/>
                <a:gd name="connsiteX773" fmla="*/ 4891564 w 6400800"/>
                <a:gd name="connsiteY773" fmla="*/ 295751 h 514350"/>
                <a:gd name="connsiteX774" fmla="*/ 4887754 w 6400800"/>
                <a:gd name="connsiteY774" fmla="*/ 348139 h 514350"/>
                <a:gd name="connsiteX775" fmla="*/ 4887754 w 6400800"/>
                <a:gd name="connsiteY775" fmla="*/ 357664 h 514350"/>
                <a:gd name="connsiteX776" fmla="*/ 4882991 w 6400800"/>
                <a:gd name="connsiteY776" fmla="*/ 350996 h 514350"/>
                <a:gd name="connsiteX777" fmla="*/ 4882039 w 6400800"/>
                <a:gd name="connsiteY777" fmla="*/ 338614 h 514350"/>
                <a:gd name="connsiteX778" fmla="*/ 4882039 w 6400800"/>
                <a:gd name="connsiteY778" fmla="*/ 337661 h 514350"/>
                <a:gd name="connsiteX779" fmla="*/ 4883944 w 6400800"/>
                <a:gd name="connsiteY779" fmla="*/ 327184 h 514350"/>
                <a:gd name="connsiteX780" fmla="*/ 4885849 w 6400800"/>
                <a:gd name="connsiteY780" fmla="*/ 319564 h 514350"/>
                <a:gd name="connsiteX781" fmla="*/ 4887754 w 6400800"/>
                <a:gd name="connsiteY781" fmla="*/ 312896 h 514350"/>
                <a:gd name="connsiteX782" fmla="*/ 4884896 w 6400800"/>
                <a:gd name="connsiteY782" fmla="*/ 318611 h 514350"/>
                <a:gd name="connsiteX783" fmla="*/ 4882039 w 6400800"/>
                <a:gd name="connsiteY783" fmla="*/ 326231 h 514350"/>
                <a:gd name="connsiteX784" fmla="*/ 4882039 w 6400800"/>
                <a:gd name="connsiteY784" fmla="*/ 328136 h 514350"/>
                <a:gd name="connsiteX785" fmla="*/ 4882039 w 6400800"/>
                <a:gd name="connsiteY785" fmla="*/ 326231 h 514350"/>
                <a:gd name="connsiteX786" fmla="*/ 4877276 w 6400800"/>
                <a:gd name="connsiteY786" fmla="*/ 288131 h 514350"/>
                <a:gd name="connsiteX787" fmla="*/ 4873466 w 6400800"/>
                <a:gd name="connsiteY787" fmla="*/ 263366 h 514350"/>
                <a:gd name="connsiteX788" fmla="*/ 4878229 w 6400800"/>
                <a:gd name="connsiteY788" fmla="*/ 238601 h 514350"/>
                <a:gd name="connsiteX789" fmla="*/ 4882039 w 6400800"/>
                <a:gd name="connsiteY789" fmla="*/ 211931 h 514350"/>
                <a:gd name="connsiteX790" fmla="*/ 4874419 w 6400800"/>
                <a:gd name="connsiteY790" fmla="*/ 237649 h 514350"/>
                <a:gd name="connsiteX791" fmla="*/ 4870609 w 6400800"/>
                <a:gd name="connsiteY791" fmla="*/ 249079 h 514350"/>
                <a:gd name="connsiteX792" fmla="*/ 4866799 w 6400800"/>
                <a:gd name="connsiteY792" fmla="*/ 231934 h 514350"/>
                <a:gd name="connsiteX793" fmla="*/ 4862037 w 6400800"/>
                <a:gd name="connsiteY793" fmla="*/ 210979 h 514350"/>
                <a:gd name="connsiteX794" fmla="*/ 4862989 w 6400800"/>
                <a:gd name="connsiteY794" fmla="*/ 232886 h 514350"/>
                <a:gd name="connsiteX795" fmla="*/ 4863941 w 6400800"/>
                <a:gd name="connsiteY795" fmla="*/ 248126 h 514350"/>
                <a:gd name="connsiteX796" fmla="*/ 4863941 w 6400800"/>
                <a:gd name="connsiteY796" fmla="*/ 261461 h 514350"/>
                <a:gd name="connsiteX797" fmla="*/ 4860131 w 6400800"/>
                <a:gd name="connsiteY797" fmla="*/ 264319 h 514350"/>
                <a:gd name="connsiteX798" fmla="*/ 4843939 w 6400800"/>
                <a:gd name="connsiteY798" fmla="*/ 281464 h 514350"/>
                <a:gd name="connsiteX799" fmla="*/ 4841081 w 6400800"/>
                <a:gd name="connsiteY799" fmla="*/ 270986 h 514350"/>
                <a:gd name="connsiteX800" fmla="*/ 4842987 w 6400800"/>
                <a:gd name="connsiteY800" fmla="*/ 266224 h 514350"/>
                <a:gd name="connsiteX801" fmla="*/ 4841081 w 6400800"/>
                <a:gd name="connsiteY801" fmla="*/ 269081 h 514350"/>
                <a:gd name="connsiteX802" fmla="*/ 4840129 w 6400800"/>
                <a:gd name="connsiteY802" fmla="*/ 262414 h 514350"/>
                <a:gd name="connsiteX803" fmla="*/ 4840129 w 6400800"/>
                <a:gd name="connsiteY803" fmla="*/ 270034 h 514350"/>
                <a:gd name="connsiteX804" fmla="*/ 4833462 w 6400800"/>
                <a:gd name="connsiteY804" fmla="*/ 278606 h 514350"/>
                <a:gd name="connsiteX805" fmla="*/ 4822984 w 6400800"/>
                <a:gd name="connsiteY805" fmla="*/ 294799 h 514350"/>
                <a:gd name="connsiteX806" fmla="*/ 4816316 w 6400800"/>
                <a:gd name="connsiteY806" fmla="*/ 304324 h 514350"/>
                <a:gd name="connsiteX807" fmla="*/ 4809649 w 6400800"/>
                <a:gd name="connsiteY807" fmla="*/ 315754 h 514350"/>
                <a:gd name="connsiteX808" fmla="*/ 4807744 w 6400800"/>
                <a:gd name="connsiteY808" fmla="*/ 318611 h 514350"/>
                <a:gd name="connsiteX809" fmla="*/ 4807744 w 6400800"/>
                <a:gd name="connsiteY809" fmla="*/ 304324 h 514350"/>
                <a:gd name="connsiteX810" fmla="*/ 4803934 w 6400800"/>
                <a:gd name="connsiteY810" fmla="*/ 327184 h 514350"/>
                <a:gd name="connsiteX811" fmla="*/ 4795362 w 6400800"/>
                <a:gd name="connsiteY811" fmla="*/ 342424 h 514350"/>
                <a:gd name="connsiteX812" fmla="*/ 4795362 w 6400800"/>
                <a:gd name="connsiteY812" fmla="*/ 324326 h 514350"/>
                <a:gd name="connsiteX813" fmla="*/ 4795362 w 6400800"/>
                <a:gd name="connsiteY813" fmla="*/ 311944 h 514350"/>
                <a:gd name="connsiteX814" fmla="*/ 4796314 w 6400800"/>
                <a:gd name="connsiteY814" fmla="*/ 302419 h 514350"/>
                <a:gd name="connsiteX815" fmla="*/ 4797266 w 6400800"/>
                <a:gd name="connsiteY815" fmla="*/ 297656 h 514350"/>
                <a:gd name="connsiteX816" fmla="*/ 4803934 w 6400800"/>
                <a:gd name="connsiteY816" fmla="*/ 264319 h 514350"/>
                <a:gd name="connsiteX817" fmla="*/ 4815364 w 6400800"/>
                <a:gd name="connsiteY817" fmla="*/ 192881 h 514350"/>
                <a:gd name="connsiteX818" fmla="*/ 4792504 w 6400800"/>
                <a:gd name="connsiteY818" fmla="*/ 262414 h 514350"/>
                <a:gd name="connsiteX819" fmla="*/ 4790599 w 6400800"/>
                <a:gd name="connsiteY819" fmla="*/ 268129 h 514350"/>
                <a:gd name="connsiteX820" fmla="*/ 4788694 w 6400800"/>
                <a:gd name="connsiteY820" fmla="*/ 250031 h 514350"/>
                <a:gd name="connsiteX821" fmla="*/ 4787741 w 6400800"/>
                <a:gd name="connsiteY821" fmla="*/ 270986 h 514350"/>
                <a:gd name="connsiteX822" fmla="*/ 4787741 w 6400800"/>
                <a:gd name="connsiteY822" fmla="*/ 281464 h 514350"/>
                <a:gd name="connsiteX823" fmla="*/ 4782979 w 6400800"/>
                <a:gd name="connsiteY823" fmla="*/ 299561 h 514350"/>
                <a:gd name="connsiteX824" fmla="*/ 4782979 w 6400800"/>
                <a:gd name="connsiteY824" fmla="*/ 293846 h 514350"/>
                <a:gd name="connsiteX825" fmla="*/ 4784884 w 6400800"/>
                <a:gd name="connsiteY825" fmla="*/ 263366 h 514350"/>
                <a:gd name="connsiteX826" fmla="*/ 4786789 w 6400800"/>
                <a:gd name="connsiteY826" fmla="*/ 239554 h 514350"/>
                <a:gd name="connsiteX827" fmla="*/ 4789647 w 6400800"/>
                <a:gd name="connsiteY827" fmla="*/ 218599 h 514350"/>
                <a:gd name="connsiteX828" fmla="*/ 4782979 w 6400800"/>
                <a:gd name="connsiteY828" fmla="*/ 238601 h 514350"/>
                <a:gd name="connsiteX829" fmla="*/ 4777264 w 6400800"/>
                <a:gd name="connsiteY829" fmla="*/ 262414 h 514350"/>
                <a:gd name="connsiteX830" fmla="*/ 4776312 w 6400800"/>
                <a:gd name="connsiteY830" fmla="*/ 269081 h 514350"/>
                <a:gd name="connsiteX831" fmla="*/ 4773454 w 6400800"/>
                <a:gd name="connsiteY831" fmla="*/ 251936 h 514350"/>
                <a:gd name="connsiteX832" fmla="*/ 4773454 w 6400800"/>
                <a:gd name="connsiteY832" fmla="*/ 284321 h 514350"/>
                <a:gd name="connsiteX833" fmla="*/ 4771549 w 6400800"/>
                <a:gd name="connsiteY833" fmla="*/ 293846 h 514350"/>
                <a:gd name="connsiteX834" fmla="*/ 4771549 w 6400800"/>
                <a:gd name="connsiteY834" fmla="*/ 295751 h 514350"/>
                <a:gd name="connsiteX835" fmla="*/ 4767739 w 6400800"/>
                <a:gd name="connsiteY835" fmla="*/ 260509 h 514350"/>
                <a:gd name="connsiteX836" fmla="*/ 4764881 w 6400800"/>
                <a:gd name="connsiteY836" fmla="*/ 297656 h 514350"/>
                <a:gd name="connsiteX837" fmla="*/ 4755356 w 6400800"/>
                <a:gd name="connsiteY837" fmla="*/ 276701 h 514350"/>
                <a:gd name="connsiteX838" fmla="*/ 4750594 w 6400800"/>
                <a:gd name="connsiteY838" fmla="*/ 270034 h 514350"/>
                <a:gd name="connsiteX839" fmla="*/ 4758214 w 6400800"/>
                <a:gd name="connsiteY839" fmla="*/ 243364 h 514350"/>
                <a:gd name="connsiteX840" fmla="*/ 4780122 w 6400800"/>
                <a:gd name="connsiteY840" fmla="*/ 161449 h 514350"/>
                <a:gd name="connsiteX841" fmla="*/ 4787741 w 6400800"/>
                <a:gd name="connsiteY841" fmla="*/ 130016 h 514350"/>
                <a:gd name="connsiteX842" fmla="*/ 4776312 w 6400800"/>
                <a:gd name="connsiteY842" fmla="*/ 160496 h 514350"/>
                <a:gd name="connsiteX843" fmla="*/ 4747737 w 6400800"/>
                <a:gd name="connsiteY843" fmla="*/ 240506 h 514350"/>
                <a:gd name="connsiteX844" fmla="*/ 4742022 w 6400800"/>
                <a:gd name="connsiteY844" fmla="*/ 257651 h 514350"/>
                <a:gd name="connsiteX845" fmla="*/ 4742022 w 6400800"/>
                <a:gd name="connsiteY845" fmla="*/ 257651 h 514350"/>
                <a:gd name="connsiteX846" fmla="*/ 4727734 w 6400800"/>
                <a:gd name="connsiteY846" fmla="*/ 244316 h 514350"/>
                <a:gd name="connsiteX847" fmla="*/ 4721066 w 6400800"/>
                <a:gd name="connsiteY847" fmla="*/ 240506 h 514350"/>
                <a:gd name="connsiteX848" fmla="*/ 4716304 w 6400800"/>
                <a:gd name="connsiteY848" fmla="*/ 238601 h 514350"/>
                <a:gd name="connsiteX849" fmla="*/ 4712494 w 6400800"/>
                <a:gd name="connsiteY849" fmla="*/ 237649 h 514350"/>
                <a:gd name="connsiteX850" fmla="*/ 4716304 w 6400800"/>
                <a:gd name="connsiteY850" fmla="*/ 239554 h 514350"/>
                <a:gd name="connsiteX851" fmla="*/ 4725829 w 6400800"/>
                <a:gd name="connsiteY851" fmla="*/ 246221 h 514350"/>
                <a:gd name="connsiteX852" fmla="*/ 4736306 w 6400800"/>
                <a:gd name="connsiteY852" fmla="*/ 260509 h 514350"/>
                <a:gd name="connsiteX853" fmla="*/ 4739164 w 6400800"/>
                <a:gd name="connsiteY853" fmla="*/ 266224 h 514350"/>
                <a:gd name="connsiteX854" fmla="*/ 4729639 w 6400800"/>
                <a:gd name="connsiteY854" fmla="*/ 293846 h 514350"/>
                <a:gd name="connsiteX855" fmla="*/ 4728687 w 6400800"/>
                <a:gd name="connsiteY855" fmla="*/ 295751 h 514350"/>
                <a:gd name="connsiteX856" fmla="*/ 4728687 w 6400800"/>
                <a:gd name="connsiteY856" fmla="*/ 294799 h 514350"/>
                <a:gd name="connsiteX857" fmla="*/ 4728687 w 6400800"/>
                <a:gd name="connsiteY857" fmla="*/ 290989 h 514350"/>
                <a:gd name="connsiteX858" fmla="*/ 4727734 w 6400800"/>
                <a:gd name="connsiteY858" fmla="*/ 293846 h 514350"/>
                <a:gd name="connsiteX859" fmla="*/ 4717256 w 6400800"/>
                <a:gd name="connsiteY859" fmla="*/ 270986 h 514350"/>
                <a:gd name="connsiteX860" fmla="*/ 4714399 w 6400800"/>
                <a:gd name="connsiteY860" fmla="*/ 265271 h 514350"/>
                <a:gd name="connsiteX861" fmla="*/ 4716304 w 6400800"/>
                <a:gd name="connsiteY861" fmla="*/ 252889 h 514350"/>
                <a:gd name="connsiteX862" fmla="*/ 4713447 w 6400800"/>
                <a:gd name="connsiteY862" fmla="*/ 262414 h 514350"/>
                <a:gd name="connsiteX863" fmla="*/ 4706779 w 6400800"/>
                <a:gd name="connsiteY863" fmla="*/ 248126 h 514350"/>
                <a:gd name="connsiteX864" fmla="*/ 4712494 w 6400800"/>
                <a:gd name="connsiteY864" fmla="*/ 267176 h 514350"/>
                <a:gd name="connsiteX865" fmla="*/ 4708684 w 6400800"/>
                <a:gd name="connsiteY865" fmla="*/ 277654 h 514350"/>
                <a:gd name="connsiteX866" fmla="*/ 4694397 w 6400800"/>
                <a:gd name="connsiteY866" fmla="*/ 236696 h 514350"/>
                <a:gd name="connsiteX867" fmla="*/ 4702969 w 6400800"/>
                <a:gd name="connsiteY867" fmla="*/ 293846 h 514350"/>
                <a:gd name="connsiteX868" fmla="*/ 4691539 w 6400800"/>
                <a:gd name="connsiteY868" fmla="*/ 331946 h 514350"/>
                <a:gd name="connsiteX869" fmla="*/ 4690587 w 6400800"/>
                <a:gd name="connsiteY869" fmla="*/ 329089 h 514350"/>
                <a:gd name="connsiteX870" fmla="*/ 4682966 w 6400800"/>
                <a:gd name="connsiteY870" fmla="*/ 313849 h 514350"/>
                <a:gd name="connsiteX871" fmla="*/ 4684872 w 6400800"/>
                <a:gd name="connsiteY871" fmla="*/ 322421 h 514350"/>
                <a:gd name="connsiteX872" fmla="*/ 4684872 w 6400800"/>
                <a:gd name="connsiteY872" fmla="*/ 322421 h 514350"/>
                <a:gd name="connsiteX873" fmla="*/ 4671537 w 6400800"/>
                <a:gd name="connsiteY873" fmla="*/ 304324 h 514350"/>
                <a:gd name="connsiteX874" fmla="*/ 4682014 w 6400800"/>
                <a:gd name="connsiteY874" fmla="*/ 324326 h 514350"/>
                <a:gd name="connsiteX875" fmla="*/ 4688681 w 6400800"/>
                <a:gd name="connsiteY875" fmla="*/ 337661 h 514350"/>
                <a:gd name="connsiteX876" fmla="*/ 4689634 w 6400800"/>
                <a:gd name="connsiteY876" fmla="*/ 340519 h 514350"/>
                <a:gd name="connsiteX877" fmla="*/ 4682966 w 6400800"/>
                <a:gd name="connsiteY877" fmla="*/ 366236 h 514350"/>
                <a:gd name="connsiteX878" fmla="*/ 4678204 w 6400800"/>
                <a:gd name="connsiteY878" fmla="*/ 359569 h 514350"/>
                <a:gd name="connsiteX879" fmla="*/ 4669631 w 6400800"/>
                <a:gd name="connsiteY879" fmla="*/ 349091 h 514350"/>
                <a:gd name="connsiteX880" fmla="*/ 4668679 w 6400800"/>
                <a:gd name="connsiteY880" fmla="*/ 348139 h 514350"/>
                <a:gd name="connsiteX881" fmla="*/ 4669631 w 6400800"/>
                <a:gd name="connsiteY881" fmla="*/ 330994 h 514350"/>
                <a:gd name="connsiteX882" fmla="*/ 4669631 w 6400800"/>
                <a:gd name="connsiteY882" fmla="*/ 310991 h 514350"/>
                <a:gd name="connsiteX883" fmla="*/ 4669631 w 6400800"/>
                <a:gd name="connsiteY883" fmla="*/ 313849 h 514350"/>
                <a:gd name="connsiteX884" fmla="*/ 4670584 w 6400800"/>
                <a:gd name="connsiteY884" fmla="*/ 301466 h 514350"/>
                <a:gd name="connsiteX885" fmla="*/ 4670584 w 6400800"/>
                <a:gd name="connsiteY885" fmla="*/ 287179 h 514350"/>
                <a:gd name="connsiteX886" fmla="*/ 4675347 w 6400800"/>
                <a:gd name="connsiteY886" fmla="*/ 274796 h 514350"/>
                <a:gd name="connsiteX887" fmla="*/ 4689634 w 6400800"/>
                <a:gd name="connsiteY887" fmla="*/ 250984 h 514350"/>
                <a:gd name="connsiteX888" fmla="*/ 4681062 w 6400800"/>
                <a:gd name="connsiteY888" fmla="*/ 262414 h 514350"/>
                <a:gd name="connsiteX889" fmla="*/ 4686776 w 6400800"/>
                <a:gd name="connsiteY889" fmla="*/ 248126 h 514350"/>
                <a:gd name="connsiteX890" fmla="*/ 4675347 w 6400800"/>
                <a:gd name="connsiteY890" fmla="*/ 265271 h 514350"/>
                <a:gd name="connsiteX891" fmla="*/ 4670584 w 6400800"/>
                <a:gd name="connsiteY891" fmla="*/ 272891 h 514350"/>
                <a:gd name="connsiteX892" fmla="*/ 4670584 w 6400800"/>
                <a:gd name="connsiteY892" fmla="*/ 268129 h 514350"/>
                <a:gd name="connsiteX893" fmla="*/ 4668679 w 6400800"/>
                <a:gd name="connsiteY893" fmla="*/ 250984 h 514350"/>
                <a:gd name="connsiteX894" fmla="*/ 4669631 w 6400800"/>
                <a:gd name="connsiteY894" fmla="*/ 247174 h 514350"/>
                <a:gd name="connsiteX895" fmla="*/ 4671537 w 6400800"/>
                <a:gd name="connsiteY895" fmla="*/ 222409 h 514350"/>
                <a:gd name="connsiteX896" fmla="*/ 4670584 w 6400800"/>
                <a:gd name="connsiteY896" fmla="*/ 229076 h 514350"/>
                <a:gd name="connsiteX897" fmla="*/ 4666774 w 6400800"/>
                <a:gd name="connsiteY897" fmla="*/ 242411 h 514350"/>
                <a:gd name="connsiteX898" fmla="*/ 4666774 w 6400800"/>
                <a:gd name="connsiteY898" fmla="*/ 241459 h 514350"/>
                <a:gd name="connsiteX899" fmla="*/ 4666774 w 6400800"/>
                <a:gd name="connsiteY899" fmla="*/ 241459 h 514350"/>
                <a:gd name="connsiteX900" fmla="*/ 4666774 w 6400800"/>
                <a:gd name="connsiteY900" fmla="*/ 241459 h 514350"/>
                <a:gd name="connsiteX901" fmla="*/ 4662012 w 6400800"/>
                <a:gd name="connsiteY901" fmla="*/ 228124 h 514350"/>
                <a:gd name="connsiteX902" fmla="*/ 4660106 w 6400800"/>
                <a:gd name="connsiteY902" fmla="*/ 222409 h 514350"/>
                <a:gd name="connsiteX903" fmla="*/ 4661059 w 6400800"/>
                <a:gd name="connsiteY903" fmla="*/ 228124 h 514350"/>
                <a:gd name="connsiteX904" fmla="*/ 4662964 w 6400800"/>
                <a:gd name="connsiteY904" fmla="*/ 244316 h 514350"/>
                <a:gd name="connsiteX905" fmla="*/ 4662964 w 6400800"/>
                <a:gd name="connsiteY905" fmla="*/ 246221 h 514350"/>
                <a:gd name="connsiteX906" fmla="*/ 4662964 w 6400800"/>
                <a:gd name="connsiteY906" fmla="*/ 246221 h 514350"/>
                <a:gd name="connsiteX907" fmla="*/ 4654391 w 6400800"/>
                <a:gd name="connsiteY907" fmla="*/ 262414 h 514350"/>
                <a:gd name="connsiteX908" fmla="*/ 4650581 w 6400800"/>
                <a:gd name="connsiteY908" fmla="*/ 271939 h 514350"/>
                <a:gd name="connsiteX909" fmla="*/ 4646772 w 6400800"/>
                <a:gd name="connsiteY909" fmla="*/ 261461 h 514350"/>
                <a:gd name="connsiteX910" fmla="*/ 4645819 w 6400800"/>
                <a:gd name="connsiteY910" fmla="*/ 259556 h 514350"/>
                <a:gd name="connsiteX911" fmla="*/ 4646772 w 6400800"/>
                <a:gd name="connsiteY911" fmla="*/ 253841 h 514350"/>
                <a:gd name="connsiteX912" fmla="*/ 4653439 w 6400800"/>
                <a:gd name="connsiteY912" fmla="*/ 227171 h 514350"/>
                <a:gd name="connsiteX913" fmla="*/ 4660106 w 6400800"/>
                <a:gd name="connsiteY913" fmla="*/ 204311 h 514350"/>
                <a:gd name="connsiteX914" fmla="*/ 4650581 w 6400800"/>
                <a:gd name="connsiteY914" fmla="*/ 226219 h 514350"/>
                <a:gd name="connsiteX915" fmla="*/ 4641056 w 6400800"/>
                <a:gd name="connsiteY915" fmla="*/ 251936 h 514350"/>
                <a:gd name="connsiteX916" fmla="*/ 4636294 w 6400800"/>
                <a:gd name="connsiteY916" fmla="*/ 267176 h 514350"/>
                <a:gd name="connsiteX917" fmla="*/ 4636294 w 6400800"/>
                <a:gd name="connsiteY917" fmla="*/ 259556 h 514350"/>
                <a:gd name="connsiteX918" fmla="*/ 4638199 w 6400800"/>
                <a:gd name="connsiteY918" fmla="*/ 242411 h 514350"/>
                <a:gd name="connsiteX919" fmla="*/ 4639151 w 6400800"/>
                <a:gd name="connsiteY919" fmla="*/ 235744 h 514350"/>
                <a:gd name="connsiteX920" fmla="*/ 4637247 w 6400800"/>
                <a:gd name="connsiteY920" fmla="*/ 241459 h 514350"/>
                <a:gd name="connsiteX921" fmla="*/ 4632484 w 6400800"/>
                <a:gd name="connsiteY921" fmla="*/ 258604 h 514350"/>
                <a:gd name="connsiteX922" fmla="*/ 4632484 w 6400800"/>
                <a:gd name="connsiteY922" fmla="*/ 258604 h 514350"/>
                <a:gd name="connsiteX923" fmla="*/ 4631531 w 6400800"/>
                <a:gd name="connsiteY923" fmla="*/ 254794 h 514350"/>
                <a:gd name="connsiteX924" fmla="*/ 4632484 w 6400800"/>
                <a:gd name="connsiteY924" fmla="*/ 259556 h 514350"/>
                <a:gd name="connsiteX925" fmla="*/ 4628674 w 6400800"/>
                <a:gd name="connsiteY925" fmla="*/ 285274 h 514350"/>
                <a:gd name="connsiteX926" fmla="*/ 4628674 w 6400800"/>
                <a:gd name="connsiteY926" fmla="*/ 293846 h 514350"/>
                <a:gd name="connsiteX927" fmla="*/ 4625816 w 6400800"/>
                <a:gd name="connsiteY927" fmla="*/ 303371 h 514350"/>
                <a:gd name="connsiteX928" fmla="*/ 4610576 w 6400800"/>
                <a:gd name="connsiteY928" fmla="*/ 293846 h 514350"/>
                <a:gd name="connsiteX929" fmla="*/ 4604862 w 6400800"/>
                <a:gd name="connsiteY929" fmla="*/ 290989 h 514350"/>
                <a:gd name="connsiteX930" fmla="*/ 4610576 w 6400800"/>
                <a:gd name="connsiteY930" fmla="*/ 294799 h 514350"/>
                <a:gd name="connsiteX931" fmla="*/ 4624864 w 6400800"/>
                <a:gd name="connsiteY931" fmla="*/ 307181 h 514350"/>
                <a:gd name="connsiteX932" fmla="*/ 4625816 w 6400800"/>
                <a:gd name="connsiteY932" fmla="*/ 308134 h 514350"/>
                <a:gd name="connsiteX933" fmla="*/ 4622006 w 6400800"/>
                <a:gd name="connsiteY933" fmla="*/ 325279 h 514350"/>
                <a:gd name="connsiteX934" fmla="*/ 4619149 w 6400800"/>
                <a:gd name="connsiteY934" fmla="*/ 343376 h 514350"/>
                <a:gd name="connsiteX935" fmla="*/ 4607719 w 6400800"/>
                <a:gd name="connsiteY935" fmla="*/ 306229 h 514350"/>
                <a:gd name="connsiteX936" fmla="*/ 4602956 w 6400800"/>
                <a:gd name="connsiteY936" fmla="*/ 290989 h 514350"/>
                <a:gd name="connsiteX937" fmla="*/ 4601051 w 6400800"/>
                <a:gd name="connsiteY937" fmla="*/ 269081 h 514350"/>
                <a:gd name="connsiteX938" fmla="*/ 4599147 w 6400800"/>
                <a:gd name="connsiteY938" fmla="*/ 248126 h 514350"/>
                <a:gd name="connsiteX939" fmla="*/ 4597241 w 6400800"/>
                <a:gd name="connsiteY939" fmla="*/ 269081 h 514350"/>
                <a:gd name="connsiteX940" fmla="*/ 4597241 w 6400800"/>
                <a:gd name="connsiteY940" fmla="*/ 271939 h 514350"/>
                <a:gd name="connsiteX941" fmla="*/ 4589622 w 6400800"/>
                <a:gd name="connsiteY941" fmla="*/ 250031 h 514350"/>
                <a:gd name="connsiteX942" fmla="*/ 4589622 w 6400800"/>
                <a:gd name="connsiteY942" fmla="*/ 240506 h 514350"/>
                <a:gd name="connsiteX943" fmla="*/ 4590574 w 6400800"/>
                <a:gd name="connsiteY943" fmla="*/ 197644 h 514350"/>
                <a:gd name="connsiteX944" fmla="*/ 4590574 w 6400800"/>
                <a:gd name="connsiteY944" fmla="*/ 109061 h 514350"/>
                <a:gd name="connsiteX945" fmla="*/ 4579144 w 6400800"/>
                <a:gd name="connsiteY945" fmla="*/ 197644 h 514350"/>
                <a:gd name="connsiteX946" fmla="*/ 4574381 w 6400800"/>
                <a:gd name="connsiteY946" fmla="*/ 240506 h 514350"/>
                <a:gd name="connsiteX947" fmla="*/ 4573429 w 6400800"/>
                <a:gd name="connsiteY947" fmla="*/ 256699 h 514350"/>
                <a:gd name="connsiteX948" fmla="*/ 4572476 w 6400800"/>
                <a:gd name="connsiteY948" fmla="*/ 257651 h 514350"/>
                <a:gd name="connsiteX949" fmla="*/ 4563904 w 6400800"/>
                <a:gd name="connsiteY949" fmla="*/ 265271 h 514350"/>
                <a:gd name="connsiteX950" fmla="*/ 4563904 w 6400800"/>
                <a:gd name="connsiteY950" fmla="*/ 264319 h 514350"/>
                <a:gd name="connsiteX951" fmla="*/ 4559141 w 6400800"/>
                <a:gd name="connsiteY951" fmla="*/ 255746 h 514350"/>
                <a:gd name="connsiteX952" fmla="*/ 4560094 w 6400800"/>
                <a:gd name="connsiteY952" fmla="*/ 249079 h 514350"/>
                <a:gd name="connsiteX953" fmla="*/ 4576287 w 6400800"/>
                <a:gd name="connsiteY953" fmla="*/ 159544 h 514350"/>
                <a:gd name="connsiteX954" fmla="*/ 4550569 w 6400800"/>
                <a:gd name="connsiteY954" fmla="*/ 243364 h 514350"/>
                <a:gd name="connsiteX955" fmla="*/ 4550569 w 6400800"/>
                <a:gd name="connsiteY955" fmla="*/ 243364 h 514350"/>
                <a:gd name="connsiteX956" fmla="*/ 4550569 w 6400800"/>
                <a:gd name="connsiteY956" fmla="*/ 243364 h 514350"/>
                <a:gd name="connsiteX957" fmla="*/ 4549616 w 6400800"/>
                <a:gd name="connsiteY957" fmla="*/ 246221 h 514350"/>
                <a:gd name="connsiteX958" fmla="*/ 4548664 w 6400800"/>
                <a:gd name="connsiteY958" fmla="*/ 248126 h 514350"/>
                <a:gd name="connsiteX959" fmla="*/ 4548664 w 6400800"/>
                <a:gd name="connsiteY959" fmla="*/ 248126 h 514350"/>
                <a:gd name="connsiteX960" fmla="*/ 4548664 w 6400800"/>
                <a:gd name="connsiteY960" fmla="*/ 248126 h 514350"/>
                <a:gd name="connsiteX961" fmla="*/ 4536281 w 6400800"/>
                <a:gd name="connsiteY961" fmla="*/ 292894 h 514350"/>
                <a:gd name="connsiteX962" fmla="*/ 4531519 w 6400800"/>
                <a:gd name="connsiteY962" fmla="*/ 241459 h 514350"/>
                <a:gd name="connsiteX963" fmla="*/ 4525804 w 6400800"/>
                <a:gd name="connsiteY963" fmla="*/ 303371 h 514350"/>
                <a:gd name="connsiteX964" fmla="*/ 4525804 w 6400800"/>
                <a:gd name="connsiteY964" fmla="*/ 309086 h 514350"/>
                <a:gd name="connsiteX965" fmla="*/ 4524851 w 6400800"/>
                <a:gd name="connsiteY965" fmla="*/ 308134 h 514350"/>
                <a:gd name="connsiteX966" fmla="*/ 4525804 w 6400800"/>
                <a:gd name="connsiteY966" fmla="*/ 310039 h 514350"/>
                <a:gd name="connsiteX967" fmla="*/ 4523899 w 6400800"/>
                <a:gd name="connsiteY967" fmla="*/ 333851 h 514350"/>
                <a:gd name="connsiteX968" fmla="*/ 4523899 w 6400800"/>
                <a:gd name="connsiteY968" fmla="*/ 337661 h 514350"/>
                <a:gd name="connsiteX969" fmla="*/ 4522947 w 6400800"/>
                <a:gd name="connsiteY969" fmla="*/ 339566 h 514350"/>
                <a:gd name="connsiteX970" fmla="*/ 4517231 w 6400800"/>
                <a:gd name="connsiteY970" fmla="*/ 322421 h 514350"/>
                <a:gd name="connsiteX971" fmla="*/ 4514374 w 6400800"/>
                <a:gd name="connsiteY971" fmla="*/ 301466 h 514350"/>
                <a:gd name="connsiteX972" fmla="*/ 4517231 w 6400800"/>
                <a:gd name="connsiteY972" fmla="*/ 297656 h 514350"/>
                <a:gd name="connsiteX973" fmla="*/ 4521041 w 6400800"/>
                <a:gd name="connsiteY973" fmla="*/ 291941 h 514350"/>
                <a:gd name="connsiteX974" fmla="*/ 4516279 w 6400800"/>
                <a:gd name="connsiteY974" fmla="*/ 297656 h 514350"/>
                <a:gd name="connsiteX975" fmla="*/ 4514374 w 6400800"/>
                <a:gd name="connsiteY975" fmla="*/ 300514 h 514350"/>
                <a:gd name="connsiteX976" fmla="*/ 4514374 w 6400800"/>
                <a:gd name="connsiteY976" fmla="*/ 298609 h 514350"/>
                <a:gd name="connsiteX977" fmla="*/ 4517231 w 6400800"/>
                <a:gd name="connsiteY977" fmla="*/ 293846 h 514350"/>
                <a:gd name="connsiteX978" fmla="*/ 4520089 w 6400800"/>
                <a:gd name="connsiteY978" fmla="*/ 288131 h 514350"/>
                <a:gd name="connsiteX979" fmla="*/ 4516279 w 6400800"/>
                <a:gd name="connsiteY979" fmla="*/ 292894 h 514350"/>
                <a:gd name="connsiteX980" fmla="*/ 4514374 w 6400800"/>
                <a:gd name="connsiteY980" fmla="*/ 295751 h 514350"/>
                <a:gd name="connsiteX981" fmla="*/ 4512469 w 6400800"/>
                <a:gd name="connsiteY981" fmla="*/ 281464 h 514350"/>
                <a:gd name="connsiteX982" fmla="*/ 4511516 w 6400800"/>
                <a:gd name="connsiteY982" fmla="*/ 268129 h 514350"/>
                <a:gd name="connsiteX983" fmla="*/ 4510564 w 6400800"/>
                <a:gd name="connsiteY983" fmla="*/ 272891 h 514350"/>
                <a:gd name="connsiteX984" fmla="*/ 4506754 w 6400800"/>
                <a:gd name="connsiteY984" fmla="*/ 250984 h 514350"/>
                <a:gd name="connsiteX985" fmla="*/ 4506754 w 6400800"/>
                <a:gd name="connsiteY985" fmla="*/ 292894 h 514350"/>
                <a:gd name="connsiteX986" fmla="*/ 4501991 w 6400800"/>
                <a:gd name="connsiteY986" fmla="*/ 282416 h 514350"/>
                <a:gd name="connsiteX987" fmla="*/ 4494372 w 6400800"/>
                <a:gd name="connsiteY987" fmla="*/ 267176 h 514350"/>
                <a:gd name="connsiteX988" fmla="*/ 4486751 w 6400800"/>
                <a:gd name="connsiteY988" fmla="*/ 254794 h 514350"/>
                <a:gd name="connsiteX989" fmla="*/ 4480084 w 6400800"/>
                <a:gd name="connsiteY989" fmla="*/ 245269 h 514350"/>
                <a:gd name="connsiteX990" fmla="*/ 4474369 w 6400800"/>
                <a:gd name="connsiteY990" fmla="*/ 238601 h 514350"/>
                <a:gd name="connsiteX991" fmla="*/ 4469606 w 6400800"/>
                <a:gd name="connsiteY991" fmla="*/ 233839 h 514350"/>
                <a:gd name="connsiteX992" fmla="*/ 4471512 w 6400800"/>
                <a:gd name="connsiteY992" fmla="*/ 225266 h 514350"/>
                <a:gd name="connsiteX993" fmla="*/ 4477226 w 6400800"/>
                <a:gd name="connsiteY993" fmla="*/ 198596 h 514350"/>
                <a:gd name="connsiteX994" fmla="*/ 4481037 w 6400800"/>
                <a:gd name="connsiteY994" fmla="*/ 175736 h 514350"/>
                <a:gd name="connsiteX995" fmla="*/ 4473416 w 6400800"/>
                <a:gd name="connsiteY995" fmla="*/ 197644 h 514350"/>
                <a:gd name="connsiteX996" fmla="*/ 4463891 w 6400800"/>
                <a:gd name="connsiteY996" fmla="*/ 222409 h 514350"/>
                <a:gd name="connsiteX997" fmla="*/ 4455319 w 6400800"/>
                <a:gd name="connsiteY997" fmla="*/ 244316 h 514350"/>
                <a:gd name="connsiteX998" fmla="*/ 4453414 w 6400800"/>
                <a:gd name="connsiteY998" fmla="*/ 237649 h 514350"/>
                <a:gd name="connsiteX999" fmla="*/ 4454366 w 6400800"/>
                <a:gd name="connsiteY999" fmla="*/ 247174 h 514350"/>
                <a:gd name="connsiteX1000" fmla="*/ 4451509 w 6400800"/>
                <a:gd name="connsiteY1000" fmla="*/ 253841 h 514350"/>
                <a:gd name="connsiteX1001" fmla="*/ 4436269 w 6400800"/>
                <a:gd name="connsiteY1001" fmla="*/ 289084 h 514350"/>
                <a:gd name="connsiteX1002" fmla="*/ 4435316 w 6400800"/>
                <a:gd name="connsiteY1002" fmla="*/ 287179 h 514350"/>
                <a:gd name="connsiteX1003" fmla="*/ 4438174 w 6400800"/>
                <a:gd name="connsiteY1003" fmla="*/ 274796 h 514350"/>
                <a:gd name="connsiteX1004" fmla="*/ 4444841 w 6400800"/>
                <a:gd name="connsiteY1004" fmla="*/ 247174 h 514350"/>
                <a:gd name="connsiteX1005" fmla="*/ 4454366 w 6400800"/>
                <a:gd name="connsiteY1005" fmla="*/ 195739 h 514350"/>
                <a:gd name="connsiteX1006" fmla="*/ 4460081 w 6400800"/>
                <a:gd name="connsiteY1006" fmla="*/ 151924 h 514350"/>
                <a:gd name="connsiteX1007" fmla="*/ 4461987 w 6400800"/>
                <a:gd name="connsiteY1007" fmla="*/ 133826 h 514350"/>
                <a:gd name="connsiteX1008" fmla="*/ 4462939 w 6400800"/>
                <a:gd name="connsiteY1008" fmla="*/ 118586 h 514350"/>
                <a:gd name="connsiteX1009" fmla="*/ 4463891 w 6400800"/>
                <a:gd name="connsiteY1009" fmla="*/ 89059 h 514350"/>
                <a:gd name="connsiteX1010" fmla="*/ 4458176 w 6400800"/>
                <a:gd name="connsiteY1010" fmla="*/ 118586 h 514350"/>
                <a:gd name="connsiteX1011" fmla="*/ 4455319 w 6400800"/>
                <a:gd name="connsiteY1011" fmla="*/ 133826 h 514350"/>
                <a:gd name="connsiteX1012" fmla="*/ 4451509 w 6400800"/>
                <a:gd name="connsiteY1012" fmla="*/ 151924 h 514350"/>
                <a:gd name="connsiteX1013" fmla="*/ 4441984 w 6400800"/>
                <a:gd name="connsiteY1013" fmla="*/ 194786 h 514350"/>
                <a:gd name="connsiteX1014" fmla="*/ 4428649 w 6400800"/>
                <a:gd name="connsiteY1014" fmla="*/ 245269 h 514350"/>
                <a:gd name="connsiteX1015" fmla="*/ 4421981 w 6400800"/>
                <a:gd name="connsiteY1015" fmla="*/ 269081 h 514350"/>
                <a:gd name="connsiteX1016" fmla="*/ 4414362 w 6400800"/>
                <a:gd name="connsiteY1016" fmla="*/ 258604 h 514350"/>
                <a:gd name="connsiteX1017" fmla="*/ 4394359 w 6400800"/>
                <a:gd name="connsiteY1017" fmla="*/ 230029 h 514350"/>
                <a:gd name="connsiteX1018" fmla="*/ 4387691 w 6400800"/>
                <a:gd name="connsiteY1018" fmla="*/ 221456 h 514350"/>
                <a:gd name="connsiteX1019" fmla="*/ 4395312 w 6400800"/>
                <a:gd name="connsiteY1019" fmla="*/ 180499 h 514350"/>
                <a:gd name="connsiteX1020" fmla="*/ 4382929 w 6400800"/>
                <a:gd name="connsiteY1020" fmla="*/ 215741 h 514350"/>
                <a:gd name="connsiteX1021" fmla="*/ 4375309 w 6400800"/>
                <a:gd name="connsiteY1021" fmla="*/ 206216 h 514350"/>
                <a:gd name="connsiteX1022" fmla="*/ 4381976 w 6400800"/>
                <a:gd name="connsiteY1022" fmla="*/ 218599 h 514350"/>
                <a:gd name="connsiteX1023" fmla="*/ 4369594 w 6400800"/>
                <a:gd name="connsiteY1023" fmla="*/ 259556 h 514350"/>
                <a:gd name="connsiteX1024" fmla="*/ 4368641 w 6400800"/>
                <a:gd name="connsiteY1024" fmla="*/ 241459 h 514350"/>
                <a:gd name="connsiteX1025" fmla="*/ 4366737 w 6400800"/>
                <a:gd name="connsiteY1025" fmla="*/ 263366 h 514350"/>
                <a:gd name="connsiteX1026" fmla="*/ 4365784 w 6400800"/>
                <a:gd name="connsiteY1026" fmla="*/ 274796 h 514350"/>
                <a:gd name="connsiteX1027" fmla="*/ 4362926 w 6400800"/>
                <a:gd name="connsiteY1027" fmla="*/ 285274 h 514350"/>
                <a:gd name="connsiteX1028" fmla="*/ 4362926 w 6400800"/>
                <a:gd name="connsiteY1028" fmla="*/ 282416 h 514350"/>
                <a:gd name="connsiteX1029" fmla="*/ 4361022 w 6400800"/>
                <a:gd name="connsiteY1029" fmla="*/ 261461 h 514350"/>
                <a:gd name="connsiteX1030" fmla="*/ 4359116 w 6400800"/>
                <a:gd name="connsiteY1030" fmla="*/ 283369 h 514350"/>
                <a:gd name="connsiteX1031" fmla="*/ 4359116 w 6400800"/>
                <a:gd name="connsiteY1031" fmla="*/ 290989 h 514350"/>
                <a:gd name="connsiteX1032" fmla="*/ 4357212 w 6400800"/>
                <a:gd name="connsiteY1032" fmla="*/ 295751 h 514350"/>
                <a:gd name="connsiteX1033" fmla="*/ 4351497 w 6400800"/>
                <a:gd name="connsiteY1033" fmla="*/ 284321 h 514350"/>
                <a:gd name="connsiteX1034" fmla="*/ 4351497 w 6400800"/>
                <a:gd name="connsiteY1034" fmla="*/ 257651 h 514350"/>
                <a:gd name="connsiteX1035" fmla="*/ 4351497 w 6400800"/>
                <a:gd name="connsiteY1035" fmla="*/ 238601 h 514350"/>
                <a:gd name="connsiteX1036" fmla="*/ 4349591 w 6400800"/>
                <a:gd name="connsiteY1036" fmla="*/ 221456 h 514350"/>
                <a:gd name="connsiteX1037" fmla="*/ 4345781 w 6400800"/>
                <a:gd name="connsiteY1037" fmla="*/ 194786 h 514350"/>
                <a:gd name="connsiteX1038" fmla="*/ 4342924 w 6400800"/>
                <a:gd name="connsiteY1038" fmla="*/ 170974 h 514350"/>
                <a:gd name="connsiteX1039" fmla="*/ 4341972 w 6400800"/>
                <a:gd name="connsiteY1039" fmla="*/ 194786 h 514350"/>
                <a:gd name="connsiteX1040" fmla="*/ 4341972 w 6400800"/>
                <a:gd name="connsiteY1040" fmla="*/ 217646 h 514350"/>
                <a:gd name="connsiteX1041" fmla="*/ 4340066 w 6400800"/>
                <a:gd name="connsiteY1041" fmla="*/ 205264 h 514350"/>
                <a:gd name="connsiteX1042" fmla="*/ 4339114 w 6400800"/>
                <a:gd name="connsiteY1042" fmla="*/ 226219 h 514350"/>
                <a:gd name="connsiteX1043" fmla="*/ 4338162 w 6400800"/>
                <a:gd name="connsiteY1043" fmla="*/ 250031 h 514350"/>
                <a:gd name="connsiteX1044" fmla="*/ 4338162 w 6400800"/>
                <a:gd name="connsiteY1044" fmla="*/ 252889 h 514350"/>
                <a:gd name="connsiteX1045" fmla="*/ 4337209 w 6400800"/>
                <a:gd name="connsiteY1045" fmla="*/ 250984 h 514350"/>
                <a:gd name="connsiteX1046" fmla="*/ 4318159 w 6400800"/>
                <a:gd name="connsiteY1046" fmla="*/ 196691 h 514350"/>
                <a:gd name="connsiteX1047" fmla="*/ 4289584 w 6400800"/>
                <a:gd name="connsiteY1047" fmla="*/ 116681 h 514350"/>
                <a:gd name="connsiteX1048" fmla="*/ 4278154 w 6400800"/>
                <a:gd name="connsiteY1048" fmla="*/ 86201 h 514350"/>
                <a:gd name="connsiteX1049" fmla="*/ 4285774 w 6400800"/>
                <a:gd name="connsiteY1049" fmla="*/ 117634 h 514350"/>
                <a:gd name="connsiteX1050" fmla="*/ 4307681 w 6400800"/>
                <a:gd name="connsiteY1050" fmla="*/ 199549 h 514350"/>
                <a:gd name="connsiteX1051" fmla="*/ 4334351 w 6400800"/>
                <a:gd name="connsiteY1051" fmla="*/ 295751 h 514350"/>
                <a:gd name="connsiteX1052" fmla="*/ 4334351 w 6400800"/>
                <a:gd name="connsiteY1052" fmla="*/ 296704 h 514350"/>
                <a:gd name="connsiteX1053" fmla="*/ 4334351 w 6400800"/>
                <a:gd name="connsiteY1053" fmla="*/ 294799 h 514350"/>
                <a:gd name="connsiteX1054" fmla="*/ 4334351 w 6400800"/>
                <a:gd name="connsiteY1054" fmla="*/ 301466 h 514350"/>
                <a:gd name="connsiteX1055" fmla="*/ 4333399 w 6400800"/>
                <a:gd name="connsiteY1055" fmla="*/ 315754 h 514350"/>
                <a:gd name="connsiteX1056" fmla="*/ 4329589 w 6400800"/>
                <a:gd name="connsiteY1056" fmla="*/ 344329 h 514350"/>
                <a:gd name="connsiteX1057" fmla="*/ 4328637 w 6400800"/>
                <a:gd name="connsiteY1057" fmla="*/ 343376 h 514350"/>
                <a:gd name="connsiteX1058" fmla="*/ 4326731 w 6400800"/>
                <a:gd name="connsiteY1058" fmla="*/ 340519 h 514350"/>
                <a:gd name="connsiteX1059" fmla="*/ 4325779 w 6400800"/>
                <a:gd name="connsiteY1059" fmla="*/ 333851 h 514350"/>
                <a:gd name="connsiteX1060" fmla="*/ 4315301 w 6400800"/>
                <a:gd name="connsiteY1060" fmla="*/ 267176 h 514350"/>
                <a:gd name="connsiteX1061" fmla="*/ 4301966 w 6400800"/>
                <a:gd name="connsiteY1061" fmla="*/ 202406 h 514350"/>
                <a:gd name="connsiteX1062" fmla="*/ 4303872 w 6400800"/>
                <a:gd name="connsiteY1062" fmla="*/ 268129 h 514350"/>
                <a:gd name="connsiteX1063" fmla="*/ 4303872 w 6400800"/>
                <a:gd name="connsiteY1063" fmla="*/ 274796 h 514350"/>
                <a:gd name="connsiteX1064" fmla="*/ 4301966 w 6400800"/>
                <a:gd name="connsiteY1064" fmla="*/ 290036 h 514350"/>
                <a:gd name="connsiteX1065" fmla="*/ 4300062 w 6400800"/>
                <a:gd name="connsiteY1065" fmla="*/ 300514 h 514350"/>
                <a:gd name="connsiteX1066" fmla="*/ 4288631 w 6400800"/>
                <a:gd name="connsiteY1066" fmla="*/ 286226 h 514350"/>
                <a:gd name="connsiteX1067" fmla="*/ 4299109 w 6400800"/>
                <a:gd name="connsiteY1067" fmla="*/ 305276 h 514350"/>
                <a:gd name="connsiteX1068" fmla="*/ 4296251 w 6400800"/>
                <a:gd name="connsiteY1068" fmla="*/ 323374 h 514350"/>
                <a:gd name="connsiteX1069" fmla="*/ 4292441 w 6400800"/>
                <a:gd name="connsiteY1069" fmla="*/ 346234 h 514350"/>
                <a:gd name="connsiteX1070" fmla="*/ 4290537 w 6400800"/>
                <a:gd name="connsiteY1070" fmla="*/ 343376 h 514350"/>
                <a:gd name="connsiteX1071" fmla="*/ 4288631 w 6400800"/>
                <a:gd name="connsiteY1071" fmla="*/ 308134 h 514350"/>
                <a:gd name="connsiteX1072" fmla="*/ 4281964 w 6400800"/>
                <a:gd name="connsiteY1072" fmla="*/ 231934 h 514350"/>
                <a:gd name="connsiteX1073" fmla="*/ 4277201 w 6400800"/>
                <a:gd name="connsiteY1073" fmla="*/ 309086 h 514350"/>
                <a:gd name="connsiteX1074" fmla="*/ 4277201 w 6400800"/>
                <a:gd name="connsiteY1074" fmla="*/ 318611 h 514350"/>
                <a:gd name="connsiteX1075" fmla="*/ 4273391 w 6400800"/>
                <a:gd name="connsiteY1075" fmla="*/ 310039 h 514350"/>
                <a:gd name="connsiteX1076" fmla="*/ 4272439 w 6400800"/>
                <a:gd name="connsiteY1076" fmla="*/ 303371 h 514350"/>
                <a:gd name="connsiteX1077" fmla="*/ 4270534 w 6400800"/>
                <a:gd name="connsiteY1077" fmla="*/ 273844 h 514350"/>
                <a:gd name="connsiteX1078" fmla="*/ 4269581 w 6400800"/>
                <a:gd name="connsiteY1078" fmla="*/ 260509 h 514350"/>
                <a:gd name="connsiteX1079" fmla="*/ 4269581 w 6400800"/>
                <a:gd name="connsiteY1079" fmla="*/ 255746 h 514350"/>
                <a:gd name="connsiteX1080" fmla="*/ 4270534 w 6400800"/>
                <a:gd name="connsiteY1080" fmla="*/ 234791 h 514350"/>
                <a:gd name="connsiteX1081" fmla="*/ 4273391 w 6400800"/>
                <a:gd name="connsiteY1081" fmla="*/ 155734 h 514350"/>
                <a:gd name="connsiteX1082" fmla="*/ 4259104 w 6400800"/>
                <a:gd name="connsiteY1082" fmla="*/ 233839 h 514350"/>
                <a:gd name="connsiteX1083" fmla="*/ 4253389 w 6400800"/>
                <a:gd name="connsiteY1083" fmla="*/ 271939 h 514350"/>
                <a:gd name="connsiteX1084" fmla="*/ 4252437 w 6400800"/>
                <a:gd name="connsiteY1084" fmla="*/ 270034 h 514350"/>
                <a:gd name="connsiteX1085" fmla="*/ 4253389 w 6400800"/>
                <a:gd name="connsiteY1085" fmla="*/ 262414 h 514350"/>
                <a:gd name="connsiteX1086" fmla="*/ 4255294 w 6400800"/>
                <a:gd name="connsiteY1086" fmla="*/ 240506 h 514350"/>
                <a:gd name="connsiteX1087" fmla="*/ 4249579 w 6400800"/>
                <a:gd name="connsiteY1087" fmla="*/ 262414 h 514350"/>
                <a:gd name="connsiteX1088" fmla="*/ 4248626 w 6400800"/>
                <a:gd name="connsiteY1088" fmla="*/ 264319 h 514350"/>
                <a:gd name="connsiteX1089" fmla="*/ 4246722 w 6400800"/>
                <a:gd name="connsiteY1089" fmla="*/ 261461 h 514350"/>
                <a:gd name="connsiteX1090" fmla="*/ 4244816 w 6400800"/>
                <a:gd name="connsiteY1090" fmla="*/ 257651 h 514350"/>
                <a:gd name="connsiteX1091" fmla="*/ 4244816 w 6400800"/>
                <a:gd name="connsiteY1091" fmla="*/ 251936 h 514350"/>
                <a:gd name="connsiteX1092" fmla="*/ 4243864 w 6400800"/>
                <a:gd name="connsiteY1092" fmla="*/ 256699 h 514350"/>
                <a:gd name="connsiteX1093" fmla="*/ 4240054 w 6400800"/>
                <a:gd name="connsiteY1093" fmla="*/ 251936 h 514350"/>
                <a:gd name="connsiteX1094" fmla="*/ 4229576 w 6400800"/>
                <a:gd name="connsiteY1094" fmla="*/ 235744 h 514350"/>
                <a:gd name="connsiteX1095" fmla="*/ 4220051 w 6400800"/>
                <a:gd name="connsiteY1095" fmla="*/ 222409 h 514350"/>
                <a:gd name="connsiteX1096" fmla="*/ 4226719 w 6400800"/>
                <a:gd name="connsiteY1096" fmla="*/ 237649 h 514350"/>
                <a:gd name="connsiteX1097" fmla="*/ 4234339 w 6400800"/>
                <a:gd name="connsiteY1097" fmla="*/ 254794 h 514350"/>
                <a:gd name="connsiteX1098" fmla="*/ 4236244 w 6400800"/>
                <a:gd name="connsiteY1098" fmla="*/ 258604 h 514350"/>
                <a:gd name="connsiteX1099" fmla="*/ 4231481 w 6400800"/>
                <a:gd name="connsiteY1099" fmla="*/ 251936 h 514350"/>
                <a:gd name="connsiteX1100" fmla="*/ 4220051 w 6400800"/>
                <a:gd name="connsiteY1100" fmla="*/ 237649 h 514350"/>
                <a:gd name="connsiteX1101" fmla="*/ 4202906 w 6400800"/>
                <a:gd name="connsiteY1101" fmla="*/ 219551 h 514350"/>
                <a:gd name="connsiteX1102" fmla="*/ 4196239 w 6400800"/>
                <a:gd name="connsiteY1102" fmla="*/ 213836 h 514350"/>
                <a:gd name="connsiteX1103" fmla="*/ 4201954 w 6400800"/>
                <a:gd name="connsiteY1103" fmla="*/ 220504 h 514350"/>
                <a:gd name="connsiteX1104" fmla="*/ 4216241 w 6400800"/>
                <a:gd name="connsiteY1104" fmla="*/ 240506 h 514350"/>
                <a:gd name="connsiteX1105" fmla="*/ 4225766 w 6400800"/>
                <a:gd name="connsiteY1105" fmla="*/ 255746 h 514350"/>
                <a:gd name="connsiteX1106" fmla="*/ 4235291 w 6400800"/>
                <a:gd name="connsiteY1106" fmla="*/ 273844 h 514350"/>
                <a:gd name="connsiteX1107" fmla="*/ 4235291 w 6400800"/>
                <a:gd name="connsiteY1107" fmla="*/ 274796 h 514350"/>
                <a:gd name="connsiteX1108" fmla="*/ 4235291 w 6400800"/>
                <a:gd name="connsiteY1108" fmla="*/ 282416 h 514350"/>
                <a:gd name="connsiteX1109" fmla="*/ 4234339 w 6400800"/>
                <a:gd name="connsiteY1109" fmla="*/ 281464 h 514350"/>
                <a:gd name="connsiteX1110" fmla="*/ 4229576 w 6400800"/>
                <a:gd name="connsiteY1110" fmla="*/ 276701 h 514350"/>
                <a:gd name="connsiteX1111" fmla="*/ 4233387 w 6400800"/>
                <a:gd name="connsiteY1111" fmla="*/ 282416 h 514350"/>
                <a:gd name="connsiteX1112" fmla="*/ 4235291 w 6400800"/>
                <a:gd name="connsiteY1112" fmla="*/ 284321 h 514350"/>
                <a:gd name="connsiteX1113" fmla="*/ 4235291 w 6400800"/>
                <a:gd name="connsiteY1113" fmla="*/ 285274 h 514350"/>
                <a:gd name="connsiteX1114" fmla="*/ 4229576 w 6400800"/>
                <a:gd name="connsiteY1114" fmla="*/ 310039 h 514350"/>
                <a:gd name="connsiteX1115" fmla="*/ 4222909 w 6400800"/>
                <a:gd name="connsiteY1115" fmla="*/ 295751 h 514350"/>
                <a:gd name="connsiteX1116" fmla="*/ 4228624 w 6400800"/>
                <a:gd name="connsiteY1116" fmla="*/ 316706 h 514350"/>
                <a:gd name="connsiteX1117" fmla="*/ 4226719 w 6400800"/>
                <a:gd name="connsiteY1117" fmla="*/ 327184 h 514350"/>
                <a:gd name="connsiteX1118" fmla="*/ 4223862 w 6400800"/>
                <a:gd name="connsiteY1118" fmla="*/ 341471 h 514350"/>
                <a:gd name="connsiteX1119" fmla="*/ 4222909 w 6400800"/>
                <a:gd name="connsiteY1119" fmla="*/ 334804 h 514350"/>
                <a:gd name="connsiteX1120" fmla="*/ 4219099 w 6400800"/>
                <a:gd name="connsiteY1120" fmla="*/ 311944 h 514350"/>
                <a:gd name="connsiteX1121" fmla="*/ 4219099 w 6400800"/>
                <a:gd name="connsiteY1121" fmla="*/ 331946 h 514350"/>
                <a:gd name="connsiteX1122" fmla="*/ 4217194 w 6400800"/>
                <a:gd name="connsiteY1122" fmla="*/ 322421 h 514350"/>
                <a:gd name="connsiteX1123" fmla="*/ 4198144 w 6400800"/>
                <a:gd name="connsiteY1123" fmla="*/ 240506 h 514350"/>
                <a:gd name="connsiteX1124" fmla="*/ 4205764 w 6400800"/>
                <a:gd name="connsiteY1124" fmla="*/ 323374 h 514350"/>
                <a:gd name="connsiteX1125" fmla="*/ 4210526 w 6400800"/>
                <a:gd name="connsiteY1125" fmla="*/ 364331 h 514350"/>
                <a:gd name="connsiteX1126" fmla="*/ 4210526 w 6400800"/>
                <a:gd name="connsiteY1126" fmla="*/ 363379 h 514350"/>
                <a:gd name="connsiteX1127" fmla="*/ 4206716 w 6400800"/>
                <a:gd name="connsiteY1127" fmla="*/ 350044 h 514350"/>
                <a:gd name="connsiteX1128" fmla="*/ 4202906 w 6400800"/>
                <a:gd name="connsiteY1128" fmla="*/ 338614 h 514350"/>
                <a:gd name="connsiteX1129" fmla="*/ 4202906 w 6400800"/>
                <a:gd name="connsiteY1129" fmla="*/ 350996 h 514350"/>
                <a:gd name="connsiteX1130" fmla="*/ 4202906 w 6400800"/>
                <a:gd name="connsiteY1130" fmla="*/ 365284 h 514350"/>
                <a:gd name="connsiteX1131" fmla="*/ 4202906 w 6400800"/>
                <a:gd name="connsiteY1131" fmla="*/ 373856 h 514350"/>
                <a:gd name="connsiteX1132" fmla="*/ 4202906 w 6400800"/>
                <a:gd name="connsiteY1132" fmla="*/ 380524 h 514350"/>
                <a:gd name="connsiteX1133" fmla="*/ 4201954 w 6400800"/>
                <a:gd name="connsiteY1133" fmla="*/ 378619 h 514350"/>
                <a:gd name="connsiteX1134" fmla="*/ 4201001 w 6400800"/>
                <a:gd name="connsiteY1134" fmla="*/ 361474 h 514350"/>
                <a:gd name="connsiteX1135" fmla="*/ 4196239 w 6400800"/>
                <a:gd name="connsiteY1135" fmla="*/ 290989 h 514350"/>
                <a:gd name="connsiteX1136" fmla="*/ 4191476 w 6400800"/>
                <a:gd name="connsiteY1136" fmla="*/ 343376 h 514350"/>
                <a:gd name="connsiteX1137" fmla="*/ 4188619 w 6400800"/>
                <a:gd name="connsiteY1137" fmla="*/ 335756 h 514350"/>
                <a:gd name="connsiteX1138" fmla="*/ 4181951 w 6400800"/>
                <a:gd name="connsiteY1138" fmla="*/ 319564 h 514350"/>
                <a:gd name="connsiteX1139" fmla="*/ 4180999 w 6400800"/>
                <a:gd name="connsiteY1139" fmla="*/ 316706 h 514350"/>
                <a:gd name="connsiteX1140" fmla="*/ 4180999 w 6400800"/>
                <a:gd name="connsiteY1140" fmla="*/ 256699 h 514350"/>
                <a:gd name="connsiteX1141" fmla="*/ 4180999 w 6400800"/>
                <a:gd name="connsiteY1141" fmla="*/ 230029 h 514350"/>
                <a:gd name="connsiteX1142" fmla="*/ 4177189 w 6400800"/>
                <a:gd name="connsiteY1142" fmla="*/ 256699 h 514350"/>
                <a:gd name="connsiteX1143" fmla="*/ 4175284 w 6400800"/>
                <a:gd name="connsiteY1143" fmla="*/ 270034 h 514350"/>
                <a:gd name="connsiteX1144" fmla="*/ 4174331 w 6400800"/>
                <a:gd name="connsiteY1144" fmla="*/ 251936 h 514350"/>
                <a:gd name="connsiteX1145" fmla="*/ 4168616 w 6400800"/>
                <a:gd name="connsiteY1145" fmla="*/ 176689 h 514350"/>
                <a:gd name="connsiteX1146" fmla="*/ 4162901 w 6400800"/>
                <a:gd name="connsiteY1146" fmla="*/ 251936 h 514350"/>
                <a:gd name="connsiteX1147" fmla="*/ 4160996 w 6400800"/>
                <a:gd name="connsiteY1147" fmla="*/ 287179 h 514350"/>
                <a:gd name="connsiteX1148" fmla="*/ 4154329 w 6400800"/>
                <a:gd name="connsiteY1148" fmla="*/ 303371 h 514350"/>
                <a:gd name="connsiteX1149" fmla="*/ 4146709 w 6400800"/>
                <a:gd name="connsiteY1149" fmla="*/ 280511 h 514350"/>
                <a:gd name="connsiteX1150" fmla="*/ 4140041 w 6400800"/>
                <a:gd name="connsiteY1150" fmla="*/ 246221 h 514350"/>
                <a:gd name="connsiteX1151" fmla="*/ 4133374 w 6400800"/>
                <a:gd name="connsiteY1151" fmla="*/ 224314 h 514350"/>
                <a:gd name="connsiteX1152" fmla="*/ 4134326 w 6400800"/>
                <a:gd name="connsiteY1152" fmla="*/ 230029 h 514350"/>
                <a:gd name="connsiteX1153" fmla="*/ 4136231 w 6400800"/>
                <a:gd name="connsiteY1153" fmla="*/ 247174 h 514350"/>
                <a:gd name="connsiteX1154" fmla="*/ 4136231 w 6400800"/>
                <a:gd name="connsiteY1154" fmla="*/ 250031 h 514350"/>
                <a:gd name="connsiteX1155" fmla="*/ 4118134 w 6400800"/>
                <a:gd name="connsiteY1155" fmla="*/ 197644 h 514350"/>
                <a:gd name="connsiteX1156" fmla="*/ 4093369 w 6400800"/>
                <a:gd name="connsiteY1156" fmla="*/ 121444 h 514350"/>
                <a:gd name="connsiteX1157" fmla="*/ 4083844 w 6400800"/>
                <a:gd name="connsiteY1157" fmla="*/ 92869 h 514350"/>
                <a:gd name="connsiteX1158" fmla="*/ 4089559 w 6400800"/>
                <a:gd name="connsiteY1158" fmla="*/ 122396 h 514350"/>
                <a:gd name="connsiteX1159" fmla="*/ 4106704 w 6400800"/>
                <a:gd name="connsiteY1159" fmla="*/ 200501 h 514350"/>
                <a:gd name="connsiteX1160" fmla="*/ 4119086 w 6400800"/>
                <a:gd name="connsiteY1160" fmla="*/ 248126 h 514350"/>
                <a:gd name="connsiteX1161" fmla="*/ 4117181 w 6400800"/>
                <a:gd name="connsiteY1161" fmla="*/ 262414 h 514350"/>
                <a:gd name="connsiteX1162" fmla="*/ 4114324 w 6400800"/>
                <a:gd name="connsiteY1162" fmla="*/ 290036 h 514350"/>
                <a:gd name="connsiteX1163" fmla="*/ 4110514 w 6400800"/>
                <a:gd name="connsiteY1163" fmla="*/ 284321 h 514350"/>
                <a:gd name="connsiteX1164" fmla="*/ 4114324 w 6400800"/>
                <a:gd name="connsiteY1164" fmla="*/ 269081 h 514350"/>
                <a:gd name="connsiteX1165" fmla="*/ 4108609 w 6400800"/>
                <a:gd name="connsiteY1165" fmla="*/ 282416 h 514350"/>
                <a:gd name="connsiteX1166" fmla="*/ 4102894 w 6400800"/>
                <a:gd name="connsiteY1166" fmla="*/ 273844 h 514350"/>
                <a:gd name="connsiteX1167" fmla="*/ 4096226 w 6400800"/>
                <a:gd name="connsiteY1167" fmla="*/ 263366 h 514350"/>
                <a:gd name="connsiteX1168" fmla="*/ 4097179 w 6400800"/>
                <a:gd name="connsiteY1168" fmla="*/ 262414 h 514350"/>
                <a:gd name="connsiteX1169" fmla="*/ 4096226 w 6400800"/>
                <a:gd name="connsiteY1169" fmla="*/ 263366 h 514350"/>
                <a:gd name="connsiteX1170" fmla="*/ 4090511 w 6400800"/>
                <a:gd name="connsiteY1170" fmla="*/ 253841 h 514350"/>
                <a:gd name="connsiteX1171" fmla="*/ 4090511 w 6400800"/>
                <a:gd name="connsiteY1171" fmla="*/ 252889 h 514350"/>
                <a:gd name="connsiteX1172" fmla="*/ 4090511 w 6400800"/>
                <a:gd name="connsiteY1172" fmla="*/ 238601 h 514350"/>
                <a:gd name="connsiteX1173" fmla="*/ 4090511 w 6400800"/>
                <a:gd name="connsiteY1173" fmla="*/ 215741 h 514350"/>
                <a:gd name="connsiteX1174" fmla="*/ 4089559 w 6400800"/>
                <a:gd name="connsiteY1174" fmla="*/ 195739 h 514350"/>
                <a:gd name="connsiteX1175" fmla="*/ 4086701 w 6400800"/>
                <a:gd name="connsiteY1175" fmla="*/ 214789 h 514350"/>
                <a:gd name="connsiteX1176" fmla="*/ 4083844 w 6400800"/>
                <a:gd name="connsiteY1176" fmla="*/ 236696 h 514350"/>
                <a:gd name="connsiteX1177" fmla="*/ 4083844 w 6400800"/>
                <a:gd name="connsiteY1177" fmla="*/ 239554 h 514350"/>
                <a:gd name="connsiteX1178" fmla="*/ 4081939 w 6400800"/>
                <a:gd name="connsiteY1178" fmla="*/ 236696 h 514350"/>
                <a:gd name="connsiteX1179" fmla="*/ 4081939 w 6400800"/>
                <a:gd name="connsiteY1179" fmla="*/ 234791 h 514350"/>
                <a:gd name="connsiteX1180" fmla="*/ 4081939 w 6400800"/>
                <a:gd name="connsiteY1180" fmla="*/ 210026 h 514350"/>
                <a:gd name="connsiteX1181" fmla="*/ 4081939 w 6400800"/>
                <a:gd name="connsiteY1181" fmla="*/ 188119 h 514350"/>
                <a:gd name="connsiteX1182" fmla="*/ 4078129 w 6400800"/>
                <a:gd name="connsiteY1182" fmla="*/ 210026 h 514350"/>
                <a:gd name="connsiteX1183" fmla="*/ 4075271 w 6400800"/>
                <a:gd name="connsiteY1183" fmla="*/ 227171 h 514350"/>
                <a:gd name="connsiteX1184" fmla="*/ 4059079 w 6400800"/>
                <a:gd name="connsiteY1184" fmla="*/ 202406 h 514350"/>
                <a:gd name="connsiteX1185" fmla="*/ 4073366 w 6400800"/>
                <a:gd name="connsiteY1185" fmla="*/ 236696 h 514350"/>
                <a:gd name="connsiteX1186" fmla="*/ 4071461 w 6400800"/>
                <a:gd name="connsiteY1186" fmla="*/ 250984 h 514350"/>
                <a:gd name="connsiteX1187" fmla="*/ 4067651 w 6400800"/>
                <a:gd name="connsiteY1187" fmla="*/ 268129 h 514350"/>
                <a:gd name="connsiteX1188" fmla="*/ 4064794 w 6400800"/>
                <a:gd name="connsiteY1188" fmla="*/ 279559 h 514350"/>
                <a:gd name="connsiteX1189" fmla="*/ 4061936 w 6400800"/>
                <a:gd name="connsiteY1189" fmla="*/ 253841 h 514350"/>
                <a:gd name="connsiteX1190" fmla="*/ 4054316 w 6400800"/>
                <a:gd name="connsiteY1190" fmla="*/ 207169 h 514350"/>
                <a:gd name="connsiteX1191" fmla="*/ 4050506 w 6400800"/>
                <a:gd name="connsiteY1191" fmla="*/ 186214 h 514350"/>
                <a:gd name="connsiteX1192" fmla="*/ 4046696 w 6400800"/>
                <a:gd name="connsiteY1192" fmla="*/ 168116 h 514350"/>
                <a:gd name="connsiteX1193" fmla="*/ 4040029 w 6400800"/>
                <a:gd name="connsiteY1193" fmla="*/ 137636 h 514350"/>
                <a:gd name="connsiteX1194" fmla="*/ 4034314 w 6400800"/>
                <a:gd name="connsiteY1194" fmla="*/ 111919 h 514350"/>
                <a:gd name="connsiteX1195" fmla="*/ 4036219 w 6400800"/>
                <a:gd name="connsiteY1195" fmla="*/ 138589 h 514350"/>
                <a:gd name="connsiteX1196" fmla="*/ 4039076 w 6400800"/>
                <a:gd name="connsiteY1196" fmla="*/ 169069 h 514350"/>
                <a:gd name="connsiteX1197" fmla="*/ 4042886 w 6400800"/>
                <a:gd name="connsiteY1197" fmla="*/ 208121 h 514350"/>
                <a:gd name="connsiteX1198" fmla="*/ 4044791 w 6400800"/>
                <a:gd name="connsiteY1198" fmla="*/ 238601 h 514350"/>
                <a:gd name="connsiteX1199" fmla="*/ 4031456 w 6400800"/>
                <a:gd name="connsiteY1199" fmla="*/ 170021 h 514350"/>
                <a:gd name="connsiteX1200" fmla="*/ 4036219 w 6400800"/>
                <a:gd name="connsiteY1200" fmla="*/ 252889 h 514350"/>
                <a:gd name="connsiteX1201" fmla="*/ 4037171 w 6400800"/>
                <a:gd name="connsiteY1201" fmla="*/ 264319 h 514350"/>
                <a:gd name="connsiteX1202" fmla="*/ 4035266 w 6400800"/>
                <a:gd name="connsiteY1202" fmla="*/ 271939 h 514350"/>
                <a:gd name="connsiteX1203" fmla="*/ 4030504 w 6400800"/>
                <a:gd name="connsiteY1203" fmla="*/ 266224 h 514350"/>
                <a:gd name="connsiteX1204" fmla="*/ 4023836 w 6400800"/>
                <a:gd name="connsiteY1204" fmla="*/ 258604 h 514350"/>
                <a:gd name="connsiteX1205" fmla="*/ 4009549 w 6400800"/>
                <a:gd name="connsiteY1205" fmla="*/ 229076 h 514350"/>
                <a:gd name="connsiteX1206" fmla="*/ 3996214 w 6400800"/>
                <a:gd name="connsiteY1206" fmla="*/ 203359 h 514350"/>
                <a:gd name="connsiteX1207" fmla="*/ 4005739 w 6400800"/>
                <a:gd name="connsiteY1207" fmla="*/ 230981 h 514350"/>
                <a:gd name="connsiteX1208" fmla="*/ 4014311 w 6400800"/>
                <a:gd name="connsiteY1208" fmla="*/ 255746 h 514350"/>
                <a:gd name="connsiteX1209" fmla="*/ 4007644 w 6400800"/>
                <a:gd name="connsiteY1209" fmla="*/ 243364 h 514350"/>
                <a:gd name="connsiteX1210" fmla="*/ 4015264 w 6400800"/>
                <a:gd name="connsiteY1210" fmla="*/ 267176 h 514350"/>
                <a:gd name="connsiteX1211" fmla="*/ 4024789 w 6400800"/>
                <a:gd name="connsiteY1211" fmla="*/ 294799 h 514350"/>
                <a:gd name="connsiteX1212" fmla="*/ 4026694 w 6400800"/>
                <a:gd name="connsiteY1212" fmla="*/ 301466 h 514350"/>
                <a:gd name="connsiteX1213" fmla="*/ 4017169 w 6400800"/>
                <a:gd name="connsiteY1213" fmla="*/ 329089 h 514350"/>
                <a:gd name="connsiteX1214" fmla="*/ 4016216 w 6400800"/>
                <a:gd name="connsiteY1214" fmla="*/ 328136 h 514350"/>
                <a:gd name="connsiteX1215" fmla="*/ 4005739 w 6400800"/>
                <a:gd name="connsiteY1215" fmla="*/ 320516 h 514350"/>
                <a:gd name="connsiteX1216" fmla="*/ 4005739 w 6400800"/>
                <a:gd name="connsiteY1216" fmla="*/ 318611 h 514350"/>
                <a:gd name="connsiteX1217" fmla="*/ 4004786 w 6400800"/>
                <a:gd name="connsiteY1217" fmla="*/ 310991 h 514350"/>
                <a:gd name="connsiteX1218" fmla="*/ 4002881 w 6400800"/>
                <a:gd name="connsiteY1218" fmla="*/ 269081 h 514350"/>
                <a:gd name="connsiteX1219" fmla="*/ 4000024 w 6400800"/>
                <a:gd name="connsiteY1219" fmla="*/ 284321 h 514350"/>
                <a:gd name="connsiteX1220" fmla="*/ 3993356 w 6400800"/>
                <a:gd name="connsiteY1220" fmla="*/ 248126 h 514350"/>
                <a:gd name="connsiteX1221" fmla="*/ 3993356 w 6400800"/>
                <a:gd name="connsiteY1221" fmla="*/ 286226 h 514350"/>
                <a:gd name="connsiteX1222" fmla="*/ 3992404 w 6400800"/>
                <a:gd name="connsiteY1222" fmla="*/ 286226 h 514350"/>
                <a:gd name="connsiteX1223" fmla="*/ 3990499 w 6400800"/>
                <a:gd name="connsiteY1223" fmla="*/ 287179 h 514350"/>
                <a:gd name="connsiteX1224" fmla="*/ 3985736 w 6400800"/>
                <a:gd name="connsiteY1224" fmla="*/ 292894 h 514350"/>
                <a:gd name="connsiteX1225" fmla="*/ 3985736 w 6400800"/>
                <a:gd name="connsiteY1225" fmla="*/ 292894 h 514350"/>
                <a:gd name="connsiteX1226" fmla="*/ 3985736 w 6400800"/>
                <a:gd name="connsiteY1226" fmla="*/ 293846 h 514350"/>
                <a:gd name="connsiteX1227" fmla="*/ 3983831 w 6400800"/>
                <a:gd name="connsiteY1227" fmla="*/ 313849 h 514350"/>
                <a:gd name="connsiteX1228" fmla="*/ 3978116 w 6400800"/>
                <a:gd name="connsiteY1228" fmla="*/ 303371 h 514350"/>
                <a:gd name="connsiteX1229" fmla="*/ 3987641 w 6400800"/>
                <a:gd name="connsiteY1229" fmla="*/ 272891 h 514350"/>
                <a:gd name="connsiteX1230" fmla="*/ 3976211 w 6400800"/>
                <a:gd name="connsiteY1230" fmla="*/ 298609 h 514350"/>
                <a:gd name="connsiteX1231" fmla="*/ 3973354 w 6400800"/>
                <a:gd name="connsiteY1231" fmla="*/ 293846 h 514350"/>
                <a:gd name="connsiteX1232" fmla="*/ 3973354 w 6400800"/>
                <a:gd name="connsiteY1232" fmla="*/ 288131 h 514350"/>
                <a:gd name="connsiteX1233" fmla="*/ 3973354 w 6400800"/>
                <a:gd name="connsiteY1233" fmla="*/ 287179 h 514350"/>
                <a:gd name="connsiteX1234" fmla="*/ 3977164 w 6400800"/>
                <a:gd name="connsiteY1234" fmla="*/ 278606 h 514350"/>
                <a:gd name="connsiteX1235" fmla="*/ 3980974 w 6400800"/>
                <a:gd name="connsiteY1235" fmla="*/ 270986 h 514350"/>
                <a:gd name="connsiteX1236" fmla="*/ 3976211 w 6400800"/>
                <a:gd name="connsiteY1236" fmla="*/ 277654 h 514350"/>
                <a:gd name="connsiteX1237" fmla="*/ 3973354 w 6400800"/>
                <a:gd name="connsiteY1237" fmla="*/ 282416 h 514350"/>
                <a:gd name="connsiteX1238" fmla="*/ 3974306 w 6400800"/>
                <a:gd name="connsiteY1238" fmla="*/ 254794 h 514350"/>
                <a:gd name="connsiteX1239" fmla="*/ 3975259 w 6400800"/>
                <a:gd name="connsiteY1239" fmla="*/ 230029 h 514350"/>
                <a:gd name="connsiteX1240" fmla="*/ 3970496 w 6400800"/>
                <a:gd name="connsiteY1240" fmla="*/ 254794 h 514350"/>
                <a:gd name="connsiteX1241" fmla="*/ 3965734 w 6400800"/>
                <a:gd name="connsiteY1241" fmla="*/ 281464 h 514350"/>
                <a:gd name="connsiteX1242" fmla="*/ 3961924 w 6400800"/>
                <a:gd name="connsiteY1242" fmla="*/ 274796 h 514350"/>
                <a:gd name="connsiteX1243" fmla="*/ 3962876 w 6400800"/>
                <a:gd name="connsiteY1243" fmla="*/ 269081 h 514350"/>
                <a:gd name="connsiteX1244" fmla="*/ 3966686 w 6400800"/>
                <a:gd name="connsiteY1244" fmla="*/ 245269 h 514350"/>
                <a:gd name="connsiteX1245" fmla="*/ 3959066 w 6400800"/>
                <a:gd name="connsiteY1245" fmla="*/ 268129 h 514350"/>
                <a:gd name="connsiteX1246" fmla="*/ 3959066 w 6400800"/>
                <a:gd name="connsiteY1246" fmla="*/ 269081 h 514350"/>
                <a:gd name="connsiteX1247" fmla="*/ 3958114 w 6400800"/>
                <a:gd name="connsiteY1247" fmla="*/ 267176 h 514350"/>
                <a:gd name="connsiteX1248" fmla="*/ 3958114 w 6400800"/>
                <a:gd name="connsiteY1248" fmla="*/ 269081 h 514350"/>
                <a:gd name="connsiteX1249" fmla="*/ 3955256 w 6400800"/>
                <a:gd name="connsiteY1249" fmla="*/ 264319 h 514350"/>
                <a:gd name="connsiteX1250" fmla="*/ 3954304 w 6400800"/>
                <a:gd name="connsiteY1250" fmla="*/ 247174 h 514350"/>
                <a:gd name="connsiteX1251" fmla="*/ 3951446 w 6400800"/>
                <a:gd name="connsiteY1251" fmla="*/ 214789 h 514350"/>
                <a:gd name="connsiteX1252" fmla="*/ 3947636 w 6400800"/>
                <a:gd name="connsiteY1252" fmla="*/ 190024 h 514350"/>
                <a:gd name="connsiteX1253" fmla="*/ 3943826 w 6400800"/>
                <a:gd name="connsiteY1253" fmla="*/ 169069 h 514350"/>
                <a:gd name="connsiteX1254" fmla="*/ 3943826 w 6400800"/>
                <a:gd name="connsiteY1254" fmla="*/ 190024 h 514350"/>
                <a:gd name="connsiteX1255" fmla="*/ 3943826 w 6400800"/>
                <a:gd name="connsiteY1255" fmla="*/ 214789 h 514350"/>
                <a:gd name="connsiteX1256" fmla="*/ 3943826 w 6400800"/>
                <a:gd name="connsiteY1256" fmla="*/ 225266 h 514350"/>
                <a:gd name="connsiteX1257" fmla="*/ 3940969 w 6400800"/>
                <a:gd name="connsiteY1257" fmla="*/ 215741 h 514350"/>
                <a:gd name="connsiteX1258" fmla="*/ 3939064 w 6400800"/>
                <a:gd name="connsiteY1258" fmla="*/ 207169 h 514350"/>
                <a:gd name="connsiteX1259" fmla="*/ 3940016 w 6400800"/>
                <a:gd name="connsiteY1259" fmla="*/ 205264 h 514350"/>
                <a:gd name="connsiteX1260" fmla="*/ 3939064 w 6400800"/>
                <a:gd name="connsiteY1260" fmla="*/ 206216 h 514350"/>
                <a:gd name="connsiteX1261" fmla="*/ 3936206 w 6400800"/>
                <a:gd name="connsiteY1261" fmla="*/ 197644 h 514350"/>
                <a:gd name="connsiteX1262" fmla="*/ 3937159 w 6400800"/>
                <a:gd name="connsiteY1262" fmla="*/ 208121 h 514350"/>
                <a:gd name="connsiteX1263" fmla="*/ 3929539 w 6400800"/>
                <a:gd name="connsiteY1263" fmla="*/ 216694 h 514350"/>
                <a:gd name="connsiteX1264" fmla="*/ 3925729 w 6400800"/>
                <a:gd name="connsiteY1264" fmla="*/ 197644 h 514350"/>
                <a:gd name="connsiteX1265" fmla="*/ 3916204 w 6400800"/>
                <a:gd name="connsiteY1265" fmla="*/ 158591 h 514350"/>
                <a:gd name="connsiteX1266" fmla="*/ 3912394 w 6400800"/>
                <a:gd name="connsiteY1266" fmla="*/ 144304 h 514350"/>
                <a:gd name="connsiteX1267" fmla="*/ 3915251 w 6400800"/>
                <a:gd name="connsiteY1267" fmla="*/ 139541 h 514350"/>
                <a:gd name="connsiteX1268" fmla="*/ 3935254 w 6400800"/>
                <a:gd name="connsiteY1268" fmla="*/ 110966 h 514350"/>
                <a:gd name="connsiteX1269" fmla="*/ 3912394 w 6400800"/>
                <a:gd name="connsiteY1269" fmla="*/ 136684 h 514350"/>
                <a:gd name="connsiteX1270" fmla="*/ 3910489 w 6400800"/>
                <a:gd name="connsiteY1270" fmla="*/ 138589 h 514350"/>
                <a:gd name="connsiteX1271" fmla="*/ 3906679 w 6400800"/>
                <a:gd name="connsiteY1271" fmla="*/ 128111 h 514350"/>
                <a:gd name="connsiteX1272" fmla="*/ 3898106 w 6400800"/>
                <a:gd name="connsiteY1272" fmla="*/ 102394 h 514350"/>
                <a:gd name="connsiteX1273" fmla="*/ 3902869 w 6400800"/>
                <a:gd name="connsiteY1273" fmla="*/ 129064 h 514350"/>
                <a:gd name="connsiteX1274" fmla="*/ 3905726 w 6400800"/>
                <a:gd name="connsiteY1274" fmla="*/ 143351 h 514350"/>
                <a:gd name="connsiteX1275" fmla="*/ 3905726 w 6400800"/>
                <a:gd name="connsiteY1275" fmla="*/ 143351 h 514350"/>
                <a:gd name="connsiteX1276" fmla="*/ 3887629 w 6400800"/>
                <a:gd name="connsiteY1276" fmla="*/ 167164 h 514350"/>
                <a:gd name="connsiteX1277" fmla="*/ 3866674 w 6400800"/>
                <a:gd name="connsiteY1277" fmla="*/ 195739 h 514350"/>
                <a:gd name="connsiteX1278" fmla="*/ 3862864 w 6400800"/>
                <a:gd name="connsiteY1278" fmla="*/ 182404 h 514350"/>
                <a:gd name="connsiteX1279" fmla="*/ 3854291 w 6400800"/>
                <a:gd name="connsiteY1279" fmla="*/ 155734 h 514350"/>
                <a:gd name="connsiteX1280" fmla="*/ 3859054 w 6400800"/>
                <a:gd name="connsiteY1280" fmla="*/ 183356 h 514350"/>
                <a:gd name="connsiteX1281" fmla="*/ 3862864 w 6400800"/>
                <a:gd name="connsiteY1281" fmla="*/ 202406 h 514350"/>
                <a:gd name="connsiteX1282" fmla="*/ 3858101 w 6400800"/>
                <a:gd name="connsiteY1282" fmla="*/ 209074 h 514350"/>
                <a:gd name="connsiteX1283" fmla="*/ 3853339 w 6400800"/>
                <a:gd name="connsiteY1283" fmla="*/ 216694 h 514350"/>
                <a:gd name="connsiteX1284" fmla="*/ 3849529 w 6400800"/>
                <a:gd name="connsiteY1284" fmla="*/ 195739 h 514350"/>
                <a:gd name="connsiteX1285" fmla="*/ 3852386 w 6400800"/>
                <a:gd name="connsiteY1285" fmla="*/ 178594 h 514350"/>
                <a:gd name="connsiteX1286" fmla="*/ 3855244 w 6400800"/>
                <a:gd name="connsiteY1286" fmla="*/ 158591 h 514350"/>
                <a:gd name="connsiteX1287" fmla="*/ 3848576 w 6400800"/>
                <a:gd name="connsiteY1287" fmla="*/ 177641 h 514350"/>
                <a:gd name="connsiteX1288" fmla="*/ 3841909 w 6400800"/>
                <a:gd name="connsiteY1288" fmla="*/ 199549 h 514350"/>
                <a:gd name="connsiteX1289" fmla="*/ 3838099 w 6400800"/>
                <a:gd name="connsiteY1289" fmla="*/ 212884 h 514350"/>
                <a:gd name="connsiteX1290" fmla="*/ 3835241 w 6400800"/>
                <a:gd name="connsiteY1290" fmla="*/ 225266 h 514350"/>
                <a:gd name="connsiteX1291" fmla="*/ 3834289 w 6400800"/>
                <a:gd name="connsiteY1291" fmla="*/ 222409 h 514350"/>
                <a:gd name="connsiteX1292" fmla="*/ 3825716 w 6400800"/>
                <a:gd name="connsiteY1292" fmla="*/ 209074 h 514350"/>
                <a:gd name="connsiteX1293" fmla="*/ 3809524 w 6400800"/>
                <a:gd name="connsiteY1293" fmla="*/ 184309 h 514350"/>
                <a:gd name="connsiteX1294" fmla="*/ 3821906 w 6400800"/>
                <a:gd name="connsiteY1294" fmla="*/ 210979 h 514350"/>
                <a:gd name="connsiteX1295" fmla="*/ 3828574 w 6400800"/>
                <a:gd name="connsiteY1295" fmla="*/ 224314 h 514350"/>
                <a:gd name="connsiteX1296" fmla="*/ 3832384 w 6400800"/>
                <a:gd name="connsiteY1296" fmla="*/ 234791 h 514350"/>
                <a:gd name="connsiteX1297" fmla="*/ 3828574 w 6400800"/>
                <a:gd name="connsiteY1297" fmla="*/ 254794 h 514350"/>
                <a:gd name="connsiteX1298" fmla="*/ 3825716 w 6400800"/>
                <a:gd name="connsiteY1298" fmla="*/ 259556 h 514350"/>
                <a:gd name="connsiteX1299" fmla="*/ 3820954 w 6400800"/>
                <a:gd name="connsiteY1299" fmla="*/ 269081 h 514350"/>
                <a:gd name="connsiteX1300" fmla="*/ 3820001 w 6400800"/>
                <a:gd name="connsiteY1300" fmla="*/ 267176 h 514350"/>
                <a:gd name="connsiteX1301" fmla="*/ 3804761 w 6400800"/>
                <a:gd name="connsiteY1301" fmla="*/ 249079 h 514350"/>
                <a:gd name="connsiteX1302" fmla="*/ 3817144 w 6400800"/>
                <a:gd name="connsiteY1302" fmla="*/ 270034 h 514350"/>
                <a:gd name="connsiteX1303" fmla="*/ 3819049 w 6400800"/>
                <a:gd name="connsiteY1303" fmla="*/ 272891 h 514350"/>
                <a:gd name="connsiteX1304" fmla="*/ 3806666 w 6400800"/>
                <a:gd name="connsiteY1304" fmla="*/ 294799 h 514350"/>
                <a:gd name="connsiteX1305" fmla="*/ 3806666 w 6400800"/>
                <a:gd name="connsiteY1305" fmla="*/ 294799 h 514350"/>
                <a:gd name="connsiteX1306" fmla="*/ 3803809 w 6400800"/>
                <a:gd name="connsiteY1306" fmla="*/ 290989 h 514350"/>
                <a:gd name="connsiteX1307" fmla="*/ 3802856 w 6400800"/>
                <a:gd name="connsiteY1307" fmla="*/ 287179 h 514350"/>
                <a:gd name="connsiteX1308" fmla="*/ 3799999 w 6400800"/>
                <a:gd name="connsiteY1308" fmla="*/ 276701 h 514350"/>
                <a:gd name="connsiteX1309" fmla="*/ 3795236 w 6400800"/>
                <a:gd name="connsiteY1309" fmla="*/ 260509 h 514350"/>
                <a:gd name="connsiteX1310" fmla="*/ 3790474 w 6400800"/>
                <a:gd name="connsiteY1310" fmla="*/ 246221 h 514350"/>
                <a:gd name="connsiteX1311" fmla="*/ 3791426 w 6400800"/>
                <a:gd name="connsiteY1311" fmla="*/ 260509 h 514350"/>
                <a:gd name="connsiteX1312" fmla="*/ 3792379 w 6400800"/>
                <a:gd name="connsiteY1312" fmla="*/ 273844 h 514350"/>
                <a:gd name="connsiteX1313" fmla="*/ 3787616 w 6400800"/>
                <a:gd name="connsiteY1313" fmla="*/ 268129 h 514350"/>
                <a:gd name="connsiteX1314" fmla="*/ 3777139 w 6400800"/>
                <a:gd name="connsiteY1314" fmla="*/ 255746 h 514350"/>
                <a:gd name="connsiteX1315" fmla="*/ 3773329 w 6400800"/>
                <a:gd name="connsiteY1315" fmla="*/ 246221 h 514350"/>
                <a:gd name="connsiteX1316" fmla="*/ 3764756 w 6400800"/>
                <a:gd name="connsiteY1316" fmla="*/ 224314 h 514350"/>
                <a:gd name="connsiteX1317" fmla="*/ 3769519 w 6400800"/>
                <a:gd name="connsiteY1317" fmla="*/ 247174 h 514350"/>
                <a:gd name="connsiteX1318" fmla="*/ 3776186 w 6400800"/>
                <a:gd name="connsiteY1318" fmla="*/ 273844 h 514350"/>
                <a:gd name="connsiteX1319" fmla="*/ 3781901 w 6400800"/>
                <a:gd name="connsiteY1319" fmla="*/ 299561 h 514350"/>
                <a:gd name="connsiteX1320" fmla="*/ 3760946 w 6400800"/>
                <a:gd name="connsiteY1320" fmla="*/ 234791 h 514350"/>
                <a:gd name="connsiteX1321" fmla="*/ 3755231 w 6400800"/>
                <a:gd name="connsiteY1321" fmla="*/ 218599 h 514350"/>
                <a:gd name="connsiteX1322" fmla="*/ 3759041 w 6400800"/>
                <a:gd name="connsiteY1322" fmla="*/ 211931 h 514350"/>
                <a:gd name="connsiteX1323" fmla="*/ 3754279 w 6400800"/>
                <a:gd name="connsiteY1323" fmla="*/ 217646 h 514350"/>
                <a:gd name="connsiteX1324" fmla="*/ 3750469 w 6400800"/>
                <a:gd name="connsiteY1324" fmla="*/ 208121 h 514350"/>
                <a:gd name="connsiteX1325" fmla="*/ 3752374 w 6400800"/>
                <a:gd name="connsiteY1325" fmla="*/ 197644 h 514350"/>
                <a:gd name="connsiteX1326" fmla="*/ 3748564 w 6400800"/>
                <a:gd name="connsiteY1326" fmla="*/ 205264 h 514350"/>
                <a:gd name="connsiteX1327" fmla="*/ 3734276 w 6400800"/>
                <a:gd name="connsiteY1327" fmla="*/ 167164 h 514350"/>
                <a:gd name="connsiteX1328" fmla="*/ 3742849 w 6400800"/>
                <a:gd name="connsiteY1328" fmla="*/ 217646 h 514350"/>
                <a:gd name="connsiteX1329" fmla="*/ 3736181 w 6400800"/>
                <a:gd name="connsiteY1329" fmla="*/ 236696 h 514350"/>
                <a:gd name="connsiteX1330" fmla="*/ 3735229 w 6400800"/>
                <a:gd name="connsiteY1330" fmla="*/ 238601 h 514350"/>
                <a:gd name="connsiteX1331" fmla="*/ 3730466 w 6400800"/>
                <a:gd name="connsiteY1331" fmla="*/ 245269 h 514350"/>
                <a:gd name="connsiteX1332" fmla="*/ 3726656 w 6400800"/>
                <a:gd name="connsiteY1332" fmla="*/ 236696 h 514350"/>
                <a:gd name="connsiteX1333" fmla="*/ 3726656 w 6400800"/>
                <a:gd name="connsiteY1333" fmla="*/ 232886 h 514350"/>
                <a:gd name="connsiteX1334" fmla="*/ 3725704 w 6400800"/>
                <a:gd name="connsiteY1334" fmla="*/ 214789 h 514350"/>
                <a:gd name="connsiteX1335" fmla="*/ 3722846 w 6400800"/>
                <a:gd name="connsiteY1335" fmla="*/ 230029 h 514350"/>
                <a:gd name="connsiteX1336" fmla="*/ 3721894 w 6400800"/>
                <a:gd name="connsiteY1336" fmla="*/ 229076 h 514350"/>
                <a:gd name="connsiteX1337" fmla="*/ 3721894 w 6400800"/>
                <a:gd name="connsiteY1337" fmla="*/ 229076 h 514350"/>
                <a:gd name="connsiteX1338" fmla="*/ 3725704 w 6400800"/>
                <a:gd name="connsiteY1338" fmla="*/ 190976 h 514350"/>
                <a:gd name="connsiteX1339" fmla="*/ 3727609 w 6400800"/>
                <a:gd name="connsiteY1339" fmla="*/ 172879 h 514350"/>
                <a:gd name="connsiteX1340" fmla="*/ 3730466 w 6400800"/>
                <a:gd name="connsiteY1340" fmla="*/ 155734 h 514350"/>
                <a:gd name="connsiteX1341" fmla="*/ 3734276 w 6400800"/>
                <a:gd name="connsiteY1341" fmla="*/ 128111 h 514350"/>
                <a:gd name="connsiteX1342" fmla="*/ 3737134 w 6400800"/>
                <a:gd name="connsiteY1342" fmla="*/ 104299 h 514350"/>
                <a:gd name="connsiteX1343" fmla="*/ 3730466 w 6400800"/>
                <a:gd name="connsiteY1343" fmla="*/ 127159 h 514350"/>
                <a:gd name="connsiteX1344" fmla="*/ 3722846 w 6400800"/>
                <a:gd name="connsiteY1344" fmla="*/ 153829 h 514350"/>
                <a:gd name="connsiteX1345" fmla="*/ 3718084 w 6400800"/>
                <a:gd name="connsiteY1345" fmla="*/ 170021 h 514350"/>
                <a:gd name="connsiteX1346" fmla="*/ 3714274 w 6400800"/>
                <a:gd name="connsiteY1346" fmla="*/ 188119 h 514350"/>
                <a:gd name="connsiteX1347" fmla="*/ 3710464 w 6400800"/>
                <a:gd name="connsiteY1347" fmla="*/ 208121 h 514350"/>
                <a:gd name="connsiteX1348" fmla="*/ 3710464 w 6400800"/>
                <a:gd name="connsiteY1348" fmla="*/ 207169 h 514350"/>
                <a:gd name="connsiteX1349" fmla="*/ 3691414 w 6400800"/>
                <a:gd name="connsiteY1349" fmla="*/ 174784 h 514350"/>
                <a:gd name="connsiteX1350" fmla="*/ 3677126 w 6400800"/>
                <a:gd name="connsiteY1350" fmla="*/ 150971 h 514350"/>
                <a:gd name="connsiteX1351" fmla="*/ 3678079 w 6400800"/>
                <a:gd name="connsiteY1351" fmla="*/ 137636 h 514350"/>
                <a:gd name="connsiteX1352" fmla="*/ 3675221 w 6400800"/>
                <a:gd name="connsiteY1352" fmla="*/ 149066 h 514350"/>
                <a:gd name="connsiteX1353" fmla="*/ 3674269 w 6400800"/>
                <a:gd name="connsiteY1353" fmla="*/ 147161 h 514350"/>
                <a:gd name="connsiteX1354" fmla="*/ 3675221 w 6400800"/>
                <a:gd name="connsiteY1354" fmla="*/ 150019 h 514350"/>
                <a:gd name="connsiteX1355" fmla="*/ 3672364 w 6400800"/>
                <a:gd name="connsiteY1355" fmla="*/ 164306 h 514350"/>
                <a:gd name="connsiteX1356" fmla="*/ 3665696 w 6400800"/>
                <a:gd name="connsiteY1356" fmla="*/ 194786 h 514350"/>
                <a:gd name="connsiteX1357" fmla="*/ 3662839 w 6400800"/>
                <a:gd name="connsiteY1357" fmla="*/ 209074 h 514350"/>
                <a:gd name="connsiteX1358" fmla="*/ 3661886 w 6400800"/>
                <a:gd name="connsiteY1358" fmla="*/ 210026 h 514350"/>
                <a:gd name="connsiteX1359" fmla="*/ 3658076 w 6400800"/>
                <a:gd name="connsiteY1359" fmla="*/ 216694 h 514350"/>
                <a:gd name="connsiteX1360" fmla="*/ 3658076 w 6400800"/>
                <a:gd name="connsiteY1360" fmla="*/ 174784 h 514350"/>
                <a:gd name="connsiteX1361" fmla="*/ 3645694 w 6400800"/>
                <a:gd name="connsiteY1361" fmla="*/ 239554 h 514350"/>
                <a:gd name="connsiteX1362" fmla="*/ 3644741 w 6400800"/>
                <a:gd name="connsiteY1362" fmla="*/ 246221 h 514350"/>
                <a:gd name="connsiteX1363" fmla="*/ 3643789 w 6400800"/>
                <a:gd name="connsiteY1363" fmla="*/ 249079 h 514350"/>
                <a:gd name="connsiteX1364" fmla="*/ 3640931 w 6400800"/>
                <a:gd name="connsiteY1364" fmla="*/ 259556 h 514350"/>
                <a:gd name="connsiteX1365" fmla="*/ 3633311 w 6400800"/>
                <a:gd name="connsiteY1365" fmla="*/ 243364 h 514350"/>
                <a:gd name="connsiteX1366" fmla="*/ 3639979 w 6400800"/>
                <a:gd name="connsiteY1366" fmla="*/ 265271 h 514350"/>
                <a:gd name="connsiteX1367" fmla="*/ 3637121 w 6400800"/>
                <a:gd name="connsiteY1367" fmla="*/ 275749 h 514350"/>
                <a:gd name="connsiteX1368" fmla="*/ 3627596 w 6400800"/>
                <a:gd name="connsiteY1368" fmla="*/ 261461 h 514350"/>
                <a:gd name="connsiteX1369" fmla="*/ 3635216 w 6400800"/>
                <a:gd name="connsiteY1369" fmla="*/ 280511 h 514350"/>
                <a:gd name="connsiteX1370" fmla="*/ 3635216 w 6400800"/>
                <a:gd name="connsiteY1370" fmla="*/ 281464 h 514350"/>
                <a:gd name="connsiteX1371" fmla="*/ 3630454 w 6400800"/>
                <a:gd name="connsiteY1371" fmla="*/ 309086 h 514350"/>
                <a:gd name="connsiteX1372" fmla="*/ 3627596 w 6400800"/>
                <a:gd name="connsiteY1372" fmla="*/ 332899 h 514350"/>
                <a:gd name="connsiteX1373" fmla="*/ 3620929 w 6400800"/>
                <a:gd name="connsiteY1373" fmla="*/ 312896 h 514350"/>
                <a:gd name="connsiteX1374" fmla="*/ 3620929 w 6400800"/>
                <a:gd name="connsiteY1374" fmla="*/ 309086 h 514350"/>
                <a:gd name="connsiteX1375" fmla="*/ 3619976 w 6400800"/>
                <a:gd name="connsiteY1375" fmla="*/ 310991 h 514350"/>
                <a:gd name="connsiteX1376" fmla="*/ 3619024 w 6400800"/>
                <a:gd name="connsiteY1376" fmla="*/ 308134 h 514350"/>
                <a:gd name="connsiteX1377" fmla="*/ 3622834 w 6400800"/>
                <a:gd name="connsiteY1377" fmla="*/ 272891 h 514350"/>
                <a:gd name="connsiteX1378" fmla="*/ 3626644 w 6400800"/>
                <a:gd name="connsiteY1378" fmla="*/ 221456 h 514350"/>
                <a:gd name="connsiteX1379" fmla="*/ 3630454 w 6400800"/>
                <a:gd name="connsiteY1379" fmla="*/ 211931 h 514350"/>
                <a:gd name="connsiteX1380" fmla="*/ 3626644 w 6400800"/>
                <a:gd name="connsiteY1380" fmla="*/ 216694 h 514350"/>
                <a:gd name="connsiteX1381" fmla="*/ 3626644 w 6400800"/>
                <a:gd name="connsiteY1381" fmla="*/ 214789 h 514350"/>
                <a:gd name="connsiteX1382" fmla="*/ 3626644 w 6400800"/>
                <a:gd name="connsiteY1382" fmla="*/ 192881 h 514350"/>
                <a:gd name="connsiteX1383" fmla="*/ 3622834 w 6400800"/>
                <a:gd name="connsiteY1383" fmla="*/ 214789 h 514350"/>
                <a:gd name="connsiteX1384" fmla="*/ 3620929 w 6400800"/>
                <a:gd name="connsiteY1384" fmla="*/ 226219 h 514350"/>
                <a:gd name="connsiteX1385" fmla="*/ 3620929 w 6400800"/>
                <a:gd name="connsiteY1385" fmla="*/ 227171 h 514350"/>
                <a:gd name="connsiteX1386" fmla="*/ 3609499 w 6400800"/>
                <a:gd name="connsiteY1386" fmla="*/ 243364 h 514350"/>
                <a:gd name="connsiteX1387" fmla="*/ 3603784 w 6400800"/>
                <a:gd name="connsiteY1387" fmla="*/ 251936 h 514350"/>
                <a:gd name="connsiteX1388" fmla="*/ 3613309 w 6400800"/>
                <a:gd name="connsiteY1388" fmla="*/ 225266 h 514350"/>
                <a:gd name="connsiteX1389" fmla="*/ 3619024 w 6400800"/>
                <a:gd name="connsiteY1389" fmla="*/ 208121 h 514350"/>
                <a:gd name="connsiteX1390" fmla="*/ 3624739 w 6400800"/>
                <a:gd name="connsiteY1390" fmla="*/ 192881 h 514350"/>
                <a:gd name="connsiteX1391" fmla="*/ 3634264 w 6400800"/>
                <a:gd name="connsiteY1391" fmla="*/ 168116 h 514350"/>
                <a:gd name="connsiteX1392" fmla="*/ 3642836 w 6400800"/>
                <a:gd name="connsiteY1392" fmla="*/ 146209 h 514350"/>
                <a:gd name="connsiteX1393" fmla="*/ 3631406 w 6400800"/>
                <a:gd name="connsiteY1393" fmla="*/ 166211 h 514350"/>
                <a:gd name="connsiteX1394" fmla="*/ 3618071 w 6400800"/>
                <a:gd name="connsiteY1394" fmla="*/ 189071 h 514350"/>
                <a:gd name="connsiteX1395" fmla="*/ 3610451 w 6400800"/>
                <a:gd name="connsiteY1395" fmla="*/ 203359 h 514350"/>
                <a:gd name="connsiteX1396" fmla="*/ 3602831 w 6400800"/>
                <a:gd name="connsiteY1396" fmla="*/ 219551 h 514350"/>
                <a:gd name="connsiteX1397" fmla="*/ 3588544 w 6400800"/>
                <a:gd name="connsiteY1397" fmla="*/ 250031 h 514350"/>
                <a:gd name="connsiteX1398" fmla="*/ 3588544 w 6400800"/>
                <a:gd name="connsiteY1398" fmla="*/ 242411 h 514350"/>
                <a:gd name="connsiteX1399" fmla="*/ 3585686 w 6400800"/>
                <a:gd name="connsiteY1399" fmla="*/ 256699 h 514350"/>
                <a:gd name="connsiteX1400" fmla="*/ 3585686 w 6400800"/>
                <a:gd name="connsiteY1400" fmla="*/ 257651 h 514350"/>
                <a:gd name="connsiteX1401" fmla="*/ 3579971 w 6400800"/>
                <a:gd name="connsiteY1401" fmla="*/ 270986 h 514350"/>
                <a:gd name="connsiteX1402" fmla="*/ 3573304 w 6400800"/>
                <a:gd name="connsiteY1402" fmla="*/ 282416 h 514350"/>
                <a:gd name="connsiteX1403" fmla="*/ 3568541 w 6400800"/>
                <a:gd name="connsiteY1403" fmla="*/ 263366 h 514350"/>
                <a:gd name="connsiteX1404" fmla="*/ 3564731 w 6400800"/>
                <a:gd name="connsiteY1404" fmla="*/ 248126 h 514350"/>
                <a:gd name="connsiteX1405" fmla="*/ 3564731 w 6400800"/>
                <a:gd name="connsiteY1405" fmla="*/ 248126 h 514350"/>
                <a:gd name="connsiteX1406" fmla="*/ 3562826 w 6400800"/>
                <a:gd name="connsiteY1406" fmla="*/ 237649 h 514350"/>
                <a:gd name="connsiteX1407" fmla="*/ 3561874 w 6400800"/>
                <a:gd name="connsiteY1407" fmla="*/ 233839 h 514350"/>
                <a:gd name="connsiteX1408" fmla="*/ 3566636 w 6400800"/>
                <a:gd name="connsiteY1408" fmla="*/ 227171 h 514350"/>
                <a:gd name="connsiteX1409" fmla="*/ 3561874 w 6400800"/>
                <a:gd name="connsiteY1409" fmla="*/ 230981 h 514350"/>
                <a:gd name="connsiteX1410" fmla="*/ 3559016 w 6400800"/>
                <a:gd name="connsiteY1410" fmla="*/ 218599 h 514350"/>
                <a:gd name="connsiteX1411" fmla="*/ 3559016 w 6400800"/>
                <a:gd name="connsiteY1411" fmla="*/ 231934 h 514350"/>
                <a:gd name="connsiteX1412" fmla="*/ 3554254 w 6400800"/>
                <a:gd name="connsiteY1412" fmla="*/ 220504 h 514350"/>
                <a:gd name="connsiteX1413" fmla="*/ 3569494 w 6400800"/>
                <a:gd name="connsiteY1413" fmla="*/ 197644 h 514350"/>
                <a:gd name="connsiteX1414" fmla="*/ 3585686 w 6400800"/>
                <a:gd name="connsiteY1414" fmla="*/ 174784 h 514350"/>
                <a:gd name="connsiteX1415" fmla="*/ 3600926 w 6400800"/>
                <a:gd name="connsiteY1415" fmla="*/ 154781 h 514350"/>
                <a:gd name="connsiteX1416" fmla="*/ 3582829 w 6400800"/>
                <a:gd name="connsiteY1416" fmla="*/ 171926 h 514350"/>
                <a:gd name="connsiteX1417" fmla="*/ 3562826 w 6400800"/>
                <a:gd name="connsiteY1417" fmla="*/ 192881 h 514350"/>
                <a:gd name="connsiteX1418" fmla="*/ 3549491 w 6400800"/>
                <a:gd name="connsiteY1418" fmla="*/ 209074 h 514350"/>
                <a:gd name="connsiteX1419" fmla="*/ 3542824 w 6400800"/>
                <a:gd name="connsiteY1419" fmla="*/ 193834 h 514350"/>
                <a:gd name="connsiteX1420" fmla="*/ 3546634 w 6400800"/>
                <a:gd name="connsiteY1420" fmla="*/ 212884 h 514350"/>
                <a:gd name="connsiteX1421" fmla="*/ 3539966 w 6400800"/>
                <a:gd name="connsiteY1421" fmla="*/ 222409 h 514350"/>
                <a:gd name="connsiteX1422" fmla="*/ 3539014 w 6400800"/>
                <a:gd name="connsiteY1422" fmla="*/ 223361 h 514350"/>
                <a:gd name="connsiteX1423" fmla="*/ 3539014 w 6400800"/>
                <a:gd name="connsiteY1423" fmla="*/ 210979 h 514350"/>
                <a:gd name="connsiteX1424" fmla="*/ 3539014 w 6400800"/>
                <a:gd name="connsiteY1424" fmla="*/ 184309 h 514350"/>
                <a:gd name="connsiteX1425" fmla="*/ 3539014 w 6400800"/>
                <a:gd name="connsiteY1425" fmla="*/ 173831 h 514350"/>
                <a:gd name="connsiteX1426" fmla="*/ 3540919 w 6400800"/>
                <a:gd name="connsiteY1426" fmla="*/ 170021 h 514350"/>
                <a:gd name="connsiteX1427" fmla="*/ 3539014 w 6400800"/>
                <a:gd name="connsiteY1427" fmla="*/ 172879 h 514350"/>
                <a:gd name="connsiteX1428" fmla="*/ 3539014 w 6400800"/>
                <a:gd name="connsiteY1428" fmla="*/ 162401 h 514350"/>
                <a:gd name="connsiteX1429" fmla="*/ 3537109 w 6400800"/>
                <a:gd name="connsiteY1429" fmla="*/ 176689 h 514350"/>
                <a:gd name="connsiteX1430" fmla="*/ 3527584 w 6400800"/>
                <a:gd name="connsiteY1430" fmla="*/ 190976 h 514350"/>
                <a:gd name="connsiteX1431" fmla="*/ 3511391 w 6400800"/>
                <a:gd name="connsiteY1431" fmla="*/ 214789 h 514350"/>
                <a:gd name="connsiteX1432" fmla="*/ 3510439 w 6400800"/>
                <a:gd name="connsiteY1432" fmla="*/ 215741 h 514350"/>
                <a:gd name="connsiteX1433" fmla="*/ 3508534 w 6400800"/>
                <a:gd name="connsiteY1433" fmla="*/ 201454 h 514350"/>
                <a:gd name="connsiteX1434" fmla="*/ 3505676 w 6400800"/>
                <a:gd name="connsiteY1434" fmla="*/ 180499 h 514350"/>
                <a:gd name="connsiteX1435" fmla="*/ 3504724 w 6400800"/>
                <a:gd name="connsiteY1435" fmla="*/ 202406 h 514350"/>
                <a:gd name="connsiteX1436" fmla="*/ 3503771 w 6400800"/>
                <a:gd name="connsiteY1436" fmla="*/ 226219 h 514350"/>
                <a:gd name="connsiteX1437" fmla="*/ 3500914 w 6400800"/>
                <a:gd name="connsiteY1437" fmla="*/ 230981 h 514350"/>
                <a:gd name="connsiteX1438" fmla="*/ 3491389 w 6400800"/>
                <a:gd name="connsiteY1438" fmla="*/ 247174 h 514350"/>
                <a:gd name="connsiteX1439" fmla="*/ 3483769 w 6400800"/>
                <a:gd name="connsiteY1439" fmla="*/ 230029 h 514350"/>
                <a:gd name="connsiteX1440" fmla="*/ 3469481 w 6400800"/>
                <a:gd name="connsiteY1440" fmla="*/ 200501 h 514350"/>
                <a:gd name="connsiteX1441" fmla="*/ 3471386 w 6400800"/>
                <a:gd name="connsiteY1441" fmla="*/ 190976 h 514350"/>
                <a:gd name="connsiteX1442" fmla="*/ 3477101 w 6400800"/>
                <a:gd name="connsiteY1442" fmla="*/ 167164 h 514350"/>
                <a:gd name="connsiteX1443" fmla="*/ 3482816 w 6400800"/>
                <a:gd name="connsiteY1443" fmla="*/ 146209 h 514350"/>
                <a:gd name="connsiteX1444" fmla="*/ 3492341 w 6400800"/>
                <a:gd name="connsiteY1444" fmla="*/ 111919 h 514350"/>
                <a:gd name="connsiteX1445" fmla="*/ 3499961 w 6400800"/>
                <a:gd name="connsiteY1445" fmla="*/ 82391 h 514350"/>
                <a:gd name="connsiteX1446" fmla="*/ 3488531 w 6400800"/>
                <a:gd name="connsiteY1446" fmla="*/ 110966 h 514350"/>
                <a:gd name="connsiteX1447" fmla="*/ 3476149 w 6400800"/>
                <a:gd name="connsiteY1447" fmla="*/ 144304 h 514350"/>
                <a:gd name="connsiteX1448" fmla="*/ 3468529 w 6400800"/>
                <a:gd name="connsiteY1448" fmla="*/ 164306 h 514350"/>
                <a:gd name="connsiteX1449" fmla="*/ 3461861 w 6400800"/>
                <a:gd name="connsiteY1449" fmla="*/ 185261 h 514350"/>
                <a:gd name="connsiteX1450" fmla="*/ 3452336 w 6400800"/>
                <a:gd name="connsiteY1450" fmla="*/ 168116 h 514350"/>
                <a:gd name="connsiteX1451" fmla="*/ 3460909 w 6400800"/>
                <a:gd name="connsiteY1451" fmla="*/ 189071 h 514350"/>
                <a:gd name="connsiteX1452" fmla="*/ 3450431 w 6400800"/>
                <a:gd name="connsiteY1452" fmla="*/ 225266 h 514350"/>
                <a:gd name="connsiteX1453" fmla="*/ 3441859 w 6400800"/>
                <a:gd name="connsiteY1453" fmla="*/ 210026 h 514350"/>
                <a:gd name="connsiteX1454" fmla="*/ 3442811 w 6400800"/>
                <a:gd name="connsiteY1454" fmla="*/ 208121 h 514350"/>
                <a:gd name="connsiteX1455" fmla="*/ 3445669 w 6400800"/>
                <a:gd name="connsiteY1455" fmla="*/ 190976 h 514350"/>
                <a:gd name="connsiteX1456" fmla="*/ 3439001 w 6400800"/>
                <a:gd name="connsiteY1456" fmla="*/ 205264 h 514350"/>
                <a:gd name="connsiteX1457" fmla="*/ 3439001 w 6400800"/>
                <a:gd name="connsiteY1457" fmla="*/ 205264 h 514350"/>
                <a:gd name="connsiteX1458" fmla="*/ 3438049 w 6400800"/>
                <a:gd name="connsiteY1458" fmla="*/ 165259 h 514350"/>
                <a:gd name="connsiteX1459" fmla="*/ 3437096 w 6400800"/>
                <a:gd name="connsiteY1459" fmla="*/ 135731 h 514350"/>
                <a:gd name="connsiteX1460" fmla="*/ 3435191 w 6400800"/>
                <a:gd name="connsiteY1460" fmla="*/ 112871 h 514350"/>
                <a:gd name="connsiteX1461" fmla="*/ 3433286 w 6400800"/>
                <a:gd name="connsiteY1461" fmla="*/ 92869 h 514350"/>
                <a:gd name="connsiteX1462" fmla="*/ 3431381 w 6400800"/>
                <a:gd name="connsiteY1462" fmla="*/ 112871 h 514350"/>
                <a:gd name="connsiteX1463" fmla="*/ 3428524 w 6400800"/>
                <a:gd name="connsiteY1463" fmla="*/ 149066 h 514350"/>
                <a:gd name="connsiteX1464" fmla="*/ 3428524 w 6400800"/>
                <a:gd name="connsiteY1464" fmla="*/ 150019 h 514350"/>
                <a:gd name="connsiteX1465" fmla="*/ 3426619 w 6400800"/>
                <a:gd name="connsiteY1465" fmla="*/ 131921 h 514350"/>
                <a:gd name="connsiteX1466" fmla="*/ 3423761 w 6400800"/>
                <a:gd name="connsiteY1466" fmla="*/ 113824 h 514350"/>
                <a:gd name="connsiteX1467" fmla="*/ 3422809 w 6400800"/>
                <a:gd name="connsiteY1467" fmla="*/ 131921 h 514350"/>
                <a:gd name="connsiteX1468" fmla="*/ 3420904 w 6400800"/>
                <a:gd name="connsiteY1468" fmla="*/ 174784 h 514350"/>
                <a:gd name="connsiteX1469" fmla="*/ 3412331 w 6400800"/>
                <a:gd name="connsiteY1469" fmla="*/ 162401 h 514350"/>
                <a:gd name="connsiteX1470" fmla="*/ 3398044 w 6400800"/>
                <a:gd name="connsiteY1470" fmla="*/ 141446 h 514350"/>
                <a:gd name="connsiteX1471" fmla="*/ 3401854 w 6400800"/>
                <a:gd name="connsiteY1471" fmla="*/ 123349 h 514350"/>
                <a:gd name="connsiteX1472" fmla="*/ 3396139 w 6400800"/>
                <a:gd name="connsiteY1472" fmla="*/ 139541 h 514350"/>
                <a:gd name="connsiteX1473" fmla="*/ 3391376 w 6400800"/>
                <a:gd name="connsiteY1473" fmla="*/ 132874 h 514350"/>
                <a:gd name="connsiteX1474" fmla="*/ 3395186 w 6400800"/>
                <a:gd name="connsiteY1474" fmla="*/ 139541 h 514350"/>
                <a:gd name="connsiteX1475" fmla="*/ 3395186 w 6400800"/>
                <a:gd name="connsiteY1475" fmla="*/ 141446 h 514350"/>
                <a:gd name="connsiteX1476" fmla="*/ 3382804 w 6400800"/>
                <a:gd name="connsiteY1476" fmla="*/ 177641 h 514350"/>
                <a:gd name="connsiteX1477" fmla="*/ 3382804 w 6400800"/>
                <a:gd name="connsiteY1477" fmla="*/ 172879 h 514350"/>
                <a:gd name="connsiteX1478" fmla="*/ 3381851 w 6400800"/>
                <a:gd name="connsiteY1478" fmla="*/ 150971 h 514350"/>
                <a:gd name="connsiteX1479" fmla="*/ 3378994 w 6400800"/>
                <a:gd name="connsiteY1479" fmla="*/ 172879 h 514350"/>
                <a:gd name="connsiteX1480" fmla="*/ 3376136 w 6400800"/>
                <a:gd name="connsiteY1480" fmla="*/ 197644 h 514350"/>
                <a:gd name="connsiteX1481" fmla="*/ 3365659 w 6400800"/>
                <a:gd name="connsiteY1481" fmla="*/ 234791 h 514350"/>
                <a:gd name="connsiteX1482" fmla="*/ 3358991 w 6400800"/>
                <a:gd name="connsiteY1482" fmla="*/ 253841 h 514350"/>
                <a:gd name="connsiteX1483" fmla="*/ 3358039 w 6400800"/>
                <a:gd name="connsiteY1483" fmla="*/ 257651 h 514350"/>
                <a:gd name="connsiteX1484" fmla="*/ 3351371 w 6400800"/>
                <a:gd name="connsiteY1484" fmla="*/ 239554 h 514350"/>
                <a:gd name="connsiteX1485" fmla="*/ 3351371 w 6400800"/>
                <a:gd name="connsiteY1485" fmla="*/ 237649 h 514350"/>
                <a:gd name="connsiteX1486" fmla="*/ 3351371 w 6400800"/>
                <a:gd name="connsiteY1486" fmla="*/ 238601 h 514350"/>
                <a:gd name="connsiteX1487" fmla="*/ 3344704 w 6400800"/>
                <a:gd name="connsiteY1487" fmla="*/ 221456 h 514350"/>
                <a:gd name="connsiteX1488" fmla="*/ 3349466 w 6400800"/>
                <a:gd name="connsiteY1488" fmla="*/ 248126 h 514350"/>
                <a:gd name="connsiteX1489" fmla="*/ 3347561 w 6400800"/>
                <a:gd name="connsiteY1489" fmla="*/ 265271 h 514350"/>
                <a:gd name="connsiteX1490" fmla="*/ 3345656 w 6400800"/>
                <a:gd name="connsiteY1490" fmla="*/ 283369 h 514350"/>
                <a:gd name="connsiteX1491" fmla="*/ 3343751 w 6400800"/>
                <a:gd name="connsiteY1491" fmla="*/ 287179 h 514350"/>
                <a:gd name="connsiteX1492" fmla="*/ 3339941 w 6400800"/>
                <a:gd name="connsiteY1492" fmla="*/ 274796 h 514350"/>
                <a:gd name="connsiteX1493" fmla="*/ 3325654 w 6400800"/>
                <a:gd name="connsiteY1493" fmla="*/ 231934 h 514350"/>
                <a:gd name="connsiteX1494" fmla="*/ 3328511 w 6400800"/>
                <a:gd name="connsiteY1494" fmla="*/ 216694 h 514350"/>
                <a:gd name="connsiteX1495" fmla="*/ 3338036 w 6400800"/>
                <a:gd name="connsiteY1495" fmla="*/ 170974 h 514350"/>
                <a:gd name="connsiteX1496" fmla="*/ 3346609 w 6400800"/>
                <a:gd name="connsiteY1496" fmla="*/ 136684 h 514350"/>
                <a:gd name="connsiteX1497" fmla="*/ 3355181 w 6400800"/>
                <a:gd name="connsiteY1497" fmla="*/ 106204 h 514350"/>
                <a:gd name="connsiteX1498" fmla="*/ 3342799 w 6400800"/>
                <a:gd name="connsiteY1498" fmla="*/ 134779 h 514350"/>
                <a:gd name="connsiteX1499" fmla="*/ 3330416 w 6400800"/>
                <a:gd name="connsiteY1499" fmla="*/ 169069 h 514350"/>
                <a:gd name="connsiteX1500" fmla="*/ 3318986 w 6400800"/>
                <a:gd name="connsiteY1500" fmla="*/ 208121 h 514350"/>
                <a:gd name="connsiteX1501" fmla="*/ 3318986 w 6400800"/>
                <a:gd name="connsiteY1501" fmla="*/ 203359 h 514350"/>
                <a:gd name="connsiteX1502" fmla="*/ 3320891 w 6400800"/>
                <a:gd name="connsiteY1502" fmla="*/ 195739 h 514350"/>
                <a:gd name="connsiteX1503" fmla="*/ 3327559 w 6400800"/>
                <a:gd name="connsiteY1503" fmla="*/ 170021 h 514350"/>
                <a:gd name="connsiteX1504" fmla="*/ 3332321 w 6400800"/>
                <a:gd name="connsiteY1504" fmla="*/ 147161 h 514350"/>
                <a:gd name="connsiteX1505" fmla="*/ 3323749 w 6400800"/>
                <a:gd name="connsiteY1505" fmla="*/ 169069 h 514350"/>
                <a:gd name="connsiteX1506" fmla="*/ 3322796 w 6400800"/>
                <a:gd name="connsiteY1506" fmla="*/ 171926 h 514350"/>
                <a:gd name="connsiteX1507" fmla="*/ 3323749 w 6400800"/>
                <a:gd name="connsiteY1507" fmla="*/ 165259 h 514350"/>
                <a:gd name="connsiteX1508" fmla="*/ 3328511 w 6400800"/>
                <a:gd name="connsiteY1508" fmla="*/ 147161 h 514350"/>
                <a:gd name="connsiteX1509" fmla="*/ 3336131 w 6400800"/>
                <a:gd name="connsiteY1509" fmla="*/ 116681 h 514350"/>
                <a:gd name="connsiteX1510" fmla="*/ 3341846 w 6400800"/>
                <a:gd name="connsiteY1510" fmla="*/ 90011 h 514350"/>
                <a:gd name="connsiteX1511" fmla="*/ 3332321 w 6400800"/>
                <a:gd name="connsiteY1511" fmla="*/ 114776 h 514350"/>
                <a:gd name="connsiteX1512" fmla="*/ 3321844 w 6400800"/>
                <a:gd name="connsiteY1512" fmla="*/ 143351 h 514350"/>
                <a:gd name="connsiteX1513" fmla="*/ 3315176 w 6400800"/>
                <a:gd name="connsiteY1513" fmla="*/ 161449 h 514350"/>
                <a:gd name="connsiteX1514" fmla="*/ 3308509 w 6400800"/>
                <a:gd name="connsiteY1514" fmla="*/ 181451 h 514350"/>
                <a:gd name="connsiteX1515" fmla="*/ 3308509 w 6400800"/>
                <a:gd name="connsiteY1515" fmla="*/ 181451 h 514350"/>
                <a:gd name="connsiteX1516" fmla="*/ 3306604 w 6400800"/>
                <a:gd name="connsiteY1516" fmla="*/ 176689 h 514350"/>
                <a:gd name="connsiteX1517" fmla="*/ 3292316 w 6400800"/>
                <a:gd name="connsiteY1517" fmla="*/ 140494 h 514350"/>
                <a:gd name="connsiteX1518" fmla="*/ 3305651 w 6400800"/>
                <a:gd name="connsiteY1518" fmla="*/ 189071 h 514350"/>
                <a:gd name="connsiteX1519" fmla="*/ 3294221 w 6400800"/>
                <a:gd name="connsiteY1519" fmla="*/ 227171 h 514350"/>
                <a:gd name="connsiteX1520" fmla="*/ 3293269 w 6400800"/>
                <a:gd name="connsiteY1520" fmla="*/ 230981 h 514350"/>
                <a:gd name="connsiteX1521" fmla="*/ 3292316 w 6400800"/>
                <a:gd name="connsiteY1521" fmla="*/ 229076 h 514350"/>
                <a:gd name="connsiteX1522" fmla="*/ 3277076 w 6400800"/>
                <a:gd name="connsiteY1522" fmla="*/ 197644 h 514350"/>
                <a:gd name="connsiteX1523" fmla="*/ 3291364 w 6400800"/>
                <a:gd name="connsiteY1523" fmla="*/ 237649 h 514350"/>
                <a:gd name="connsiteX1524" fmla="*/ 3285649 w 6400800"/>
                <a:gd name="connsiteY1524" fmla="*/ 257651 h 514350"/>
                <a:gd name="connsiteX1525" fmla="*/ 3277076 w 6400800"/>
                <a:gd name="connsiteY1525" fmla="*/ 246221 h 514350"/>
                <a:gd name="connsiteX1526" fmla="*/ 3274219 w 6400800"/>
                <a:gd name="connsiteY1526" fmla="*/ 242411 h 514350"/>
                <a:gd name="connsiteX1527" fmla="*/ 3277076 w 6400800"/>
                <a:gd name="connsiteY1527" fmla="*/ 199549 h 514350"/>
                <a:gd name="connsiteX1528" fmla="*/ 3272314 w 6400800"/>
                <a:gd name="connsiteY1528" fmla="*/ 217646 h 514350"/>
                <a:gd name="connsiteX1529" fmla="*/ 3268504 w 6400800"/>
                <a:gd name="connsiteY1529" fmla="*/ 234791 h 514350"/>
                <a:gd name="connsiteX1530" fmla="*/ 3258979 w 6400800"/>
                <a:gd name="connsiteY1530" fmla="*/ 223361 h 514350"/>
                <a:gd name="connsiteX1531" fmla="*/ 3241834 w 6400800"/>
                <a:gd name="connsiteY1531" fmla="*/ 203359 h 514350"/>
                <a:gd name="connsiteX1532" fmla="*/ 3256121 w 6400800"/>
                <a:gd name="connsiteY1532" fmla="*/ 226219 h 514350"/>
                <a:gd name="connsiteX1533" fmla="*/ 3266599 w 6400800"/>
                <a:gd name="connsiteY1533" fmla="*/ 243364 h 514350"/>
                <a:gd name="connsiteX1534" fmla="*/ 3260884 w 6400800"/>
                <a:gd name="connsiteY1534" fmla="*/ 265271 h 514350"/>
                <a:gd name="connsiteX1535" fmla="*/ 3256121 w 6400800"/>
                <a:gd name="connsiteY1535" fmla="*/ 288131 h 514350"/>
                <a:gd name="connsiteX1536" fmla="*/ 3256121 w 6400800"/>
                <a:gd name="connsiteY1536" fmla="*/ 287179 h 514350"/>
                <a:gd name="connsiteX1537" fmla="*/ 3256121 w 6400800"/>
                <a:gd name="connsiteY1537" fmla="*/ 289084 h 514350"/>
                <a:gd name="connsiteX1538" fmla="*/ 3255169 w 6400800"/>
                <a:gd name="connsiteY1538" fmla="*/ 293846 h 514350"/>
                <a:gd name="connsiteX1539" fmla="*/ 3253264 w 6400800"/>
                <a:gd name="connsiteY1539" fmla="*/ 290036 h 514350"/>
                <a:gd name="connsiteX1540" fmla="*/ 3254216 w 6400800"/>
                <a:gd name="connsiteY1540" fmla="*/ 280511 h 514350"/>
                <a:gd name="connsiteX1541" fmla="*/ 3252311 w 6400800"/>
                <a:gd name="connsiteY1541" fmla="*/ 287179 h 514350"/>
                <a:gd name="connsiteX1542" fmla="*/ 3246596 w 6400800"/>
                <a:gd name="connsiteY1542" fmla="*/ 276701 h 514350"/>
                <a:gd name="connsiteX1543" fmla="*/ 3251359 w 6400800"/>
                <a:gd name="connsiteY1543" fmla="*/ 290989 h 514350"/>
                <a:gd name="connsiteX1544" fmla="*/ 3249454 w 6400800"/>
                <a:gd name="connsiteY1544" fmla="*/ 298609 h 514350"/>
                <a:gd name="connsiteX1545" fmla="*/ 3247549 w 6400800"/>
                <a:gd name="connsiteY1545" fmla="*/ 304324 h 514350"/>
                <a:gd name="connsiteX1546" fmla="*/ 3246596 w 6400800"/>
                <a:gd name="connsiteY1546" fmla="*/ 301466 h 514350"/>
                <a:gd name="connsiteX1547" fmla="*/ 3246596 w 6400800"/>
                <a:gd name="connsiteY1547" fmla="*/ 306229 h 514350"/>
                <a:gd name="connsiteX1548" fmla="*/ 3243739 w 6400800"/>
                <a:gd name="connsiteY1548" fmla="*/ 317659 h 514350"/>
                <a:gd name="connsiteX1549" fmla="*/ 3239929 w 6400800"/>
                <a:gd name="connsiteY1549" fmla="*/ 304324 h 514350"/>
                <a:gd name="connsiteX1550" fmla="*/ 3242786 w 6400800"/>
                <a:gd name="connsiteY1550" fmla="*/ 296704 h 514350"/>
                <a:gd name="connsiteX1551" fmla="*/ 3238976 w 6400800"/>
                <a:gd name="connsiteY1551" fmla="*/ 302419 h 514350"/>
                <a:gd name="connsiteX1552" fmla="*/ 3236119 w 6400800"/>
                <a:gd name="connsiteY1552" fmla="*/ 293846 h 514350"/>
                <a:gd name="connsiteX1553" fmla="*/ 3235166 w 6400800"/>
                <a:gd name="connsiteY1553" fmla="*/ 290036 h 514350"/>
                <a:gd name="connsiteX1554" fmla="*/ 3241834 w 6400800"/>
                <a:gd name="connsiteY1554" fmla="*/ 273844 h 514350"/>
                <a:gd name="connsiteX1555" fmla="*/ 3249454 w 6400800"/>
                <a:gd name="connsiteY1555" fmla="*/ 256699 h 514350"/>
                <a:gd name="connsiteX1556" fmla="*/ 3256121 w 6400800"/>
                <a:gd name="connsiteY1556" fmla="*/ 242411 h 514350"/>
                <a:gd name="connsiteX1557" fmla="*/ 3245644 w 6400800"/>
                <a:gd name="connsiteY1557" fmla="*/ 254794 h 514350"/>
                <a:gd name="connsiteX1558" fmla="*/ 3235166 w 6400800"/>
                <a:gd name="connsiteY1558" fmla="*/ 270034 h 514350"/>
                <a:gd name="connsiteX1559" fmla="*/ 3230404 w 6400800"/>
                <a:gd name="connsiteY1559" fmla="*/ 276701 h 514350"/>
                <a:gd name="connsiteX1560" fmla="*/ 3229451 w 6400800"/>
                <a:gd name="connsiteY1560" fmla="*/ 272891 h 514350"/>
                <a:gd name="connsiteX1561" fmla="*/ 3222784 w 6400800"/>
                <a:gd name="connsiteY1561" fmla="*/ 253841 h 514350"/>
                <a:gd name="connsiteX1562" fmla="*/ 3218021 w 6400800"/>
                <a:gd name="connsiteY1562" fmla="*/ 241459 h 514350"/>
                <a:gd name="connsiteX1563" fmla="*/ 3218021 w 6400800"/>
                <a:gd name="connsiteY1563" fmla="*/ 236696 h 514350"/>
                <a:gd name="connsiteX1564" fmla="*/ 3222784 w 6400800"/>
                <a:gd name="connsiteY1564" fmla="*/ 206216 h 514350"/>
                <a:gd name="connsiteX1565" fmla="*/ 3229451 w 6400800"/>
                <a:gd name="connsiteY1565" fmla="*/ 166211 h 514350"/>
                <a:gd name="connsiteX1566" fmla="*/ 3235166 w 6400800"/>
                <a:gd name="connsiteY1566" fmla="*/ 135731 h 514350"/>
                <a:gd name="connsiteX1567" fmla="*/ 3239929 w 6400800"/>
                <a:gd name="connsiteY1567" fmla="*/ 109061 h 514350"/>
                <a:gd name="connsiteX1568" fmla="*/ 3231356 w 6400800"/>
                <a:gd name="connsiteY1568" fmla="*/ 134779 h 514350"/>
                <a:gd name="connsiteX1569" fmla="*/ 3212306 w 6400800"/>
                <a:gd name="connsiteY1569" fmla="*/ 204311 h 514350"/>
                <a:gd name="connsiteX1570" fmla="*/ 3209449 w 6400800"/>
                <a:gd name="connsiteY1570" fmla="*/ 215741 h 514350"/>
                <a:gd name="connsiteX1571" fmla="*/ 3204686 w 6400800"/>
                <a:gd name="connsiteY1571" fmla="*/ 204311 h 514350"/>
                <a:gd name="connsiteX1572" fmla="*/ 3203734 w 6400800"/>
                <a:gd name="connsiteY1572" fmla="*/ 175736 h 514350"/>
                <a:gd name="connsiteX1573" fmla="*/ 3200876 w 6400800"/>
                <a:gd name="connsiteY1573" fmla="*/ 206216 h 514350"/>
                <a:gd name="connsiteX1574" fmla="*/ 3196114 w 6400800"/>
                <a:gd name="connsiteY1574" fmla="*/ 240506 h 514350"/>
                <a:gd name="connsiteX1575" fmla="*/ 3195161 w 6400800"/>
                <a:gd name="connsiteY1575" fmla="*/ 243364 h 514350"/>
                <a:gd name="connsiteX1576" fmla="*/ 3196114 w 6400800"/>
                <a:gd name="connsiteY1576" fmla="*/ 217646 h 514350"/>
                <a:gd name="connsiteX1577" fmla="*/ 3198019 w 6400800"/>
                <a:gd name="connsiteY1577" fmla="*/ 180499 h 514350"/>
                <a:gd name="connsiteX1578" fmla="*/ 3199924 w 6400800"/>
                <a:gd name="connsiteY1578" fmla="*/ 151924 h 514350"/>
                <a:gd name="connsiteX1579" fmla="*/ 3200876 w 6400800"/>
                <a:gd name="connsiteY1579" fmla="*/ 127159 h 514350"/>
                <a:gd name="connsiteX1580" fmla="*/ 3195161 w 6400800"/>
                <a:gd name="connsiteY1580" fmla="*/ 151924 h 514350"/>
                <a:gd name="connsiteX1581" fmla="*/ 3184684 w 6400800"/>
                <a:gd name="connsiteY1581" fmla="*/ 217646 h 514350"/>
                <a:gd name="connsiteX1582" fmla="*/ 3181826 w 6400800"/>
                <a:gd name="connsiteY1582" fmla="*/ 235744 h 514350"/>
                <a:gd name="connsiteX1583" fmla="*/ 3179921 w 6400800"/>
                <a:gd name="connsiteY1583" fmla="*/ 231934 h 514350"/>
                <a:gd name="connsiteX1584" fmla="*/ 3179921 w 6400800"/>
                <a:gd name="connsiteY1584" fmla="*/ 224314 h 514350"/>
                <a:gd name="connsiteX1585" fmla="*/ 3178969 w 6400800"/>
                <a:gd name="connsiteY1585" fmla="*/ 230029 h 514350"/>
                <a:gd name="connsiteX1586" fmla="*/ 3177064 w 6400800"/>
                <a:gd name="connsiteY1586" fmla="*/ 227171 h 514350"/>
                <a:gd name="connsiteX1587" fmla="*/ 3178016 w 6400800"/>
                <a:gd name="connsiteY1587" fmla="*/ 231934 h 514350"/>
                <a:gd name="connsiteX1588" fmla="*/ 3174206 w 6400800"/>
                <a:gd name="connsiteY1588" fmla="*/ 250984 h 514350"/>
                <a:gd name="connsiteX1589" fmla="*/ 3170396 w 6400800"/>
                <a:gd name="connsiteY1589" fmla="*/ 277654 h 514350"/>
                <a:gd name="connsiteX1590" fmla="*/ 3169444 w 6400800"/>
                <a:gd name="connsiteY1590" fmla="*/ 275749 h 514350"/>
                <a:gd name="connsiteX1591" fmla="*/ 3163729 w 6400800"/>
                <a:gd name="connsiteY1591" fmla="*/ 215741 h 514350"/>
                <a:gd name="connsiteX1592" fmla="*/ 3162776 w 6400800"/>
                <a:gd name="connsiteY1592" fmla="*/ 207169 h 514350"/>
                <a:gd name="connsiteX1593" fmla="*/ 3163729 w 6400800"/>
                <a:gd name="connsiteY1593" fmla="*/ 203359 h 514350"/>
                <a:gd name="connsiteX1594" fmla="*/ 3174206 w 6400800"/>
                <a:gd name="connsiteY1594" fmla="*/ 132874 h 514350"/>
                <a:gd name="connsiteX1595" fmla="*/ 3178016 w 6400800"/>
                <a:gd name="connsiteY1595" fmla="*/ 106204 h 514350"/>
                <a:gd name="connsiteX1596" fmla="*/ 3170396 w 6400800"/>
                <a:gd name="connsiteY1596" fmla="*/ 131921 h 514350"/>
                <a:gd name="connsiteX1597" fmla="*/ 3158014 w 6400800"/>
                <a:gd name="connsiteY1597" fmla="*/ 177641 h 514350"/>
                <a:gd name="connsiteX1598" fmla="*/ 3154204 w 6400800"/>
                <a:gd name="connsiteY1598" fmla="*/ 159544 h 514350"/>
                <a:gd name="connsiteX1599" fmla="*/ 3149441 w 6400800"/>
                <a:gd name="connsiteY1599" fmla="*/ 134779 h 514350"/>
                <a:gd name="connsiteX1600" fmla="*/ 3143726 w 6400800"/>
                <a:gd name="connsiteY1600" fmla="*/ 112871 h 514350"/>
                <a:gd name="connsiteX1601" fmla="*/ 3133249 w 6400800"/>
                <a:gd name="connsiteY1601" fmla="*/ 77629 h 514350"/>
                <a:gd name="connsiteX1602" fmla="*/ 3122771 w 6400800"/>
                <a:gd name="connsiteY1602" fmla="*/ 47149 h 514350"/>
                <a:gd name="connsiteX1603" fmla="*/ 3129439 w 6400800"/>
                <a:gd name="connsiteY1603" fmla="*/ 78581 h 514350"/>
                <a:gd name="connsiteX1604" fmla="*/ 3136106 w 6400800"/>
                <a:gd name="connsiteY1604" fmla="*/ 114776 h 514350"/>
                <a:gd name="connsiteX1605" fmla="*/ 3139916 w 6400800"/>
                <a:gd name="connsiteY1605" fmla="*/ 136684 h 514350"/>
                <a:gd name="connsiteX1606" fmla="*/ 3142774 w 6400800"/>
                <a:gd name="connsiteY1606" fmla="*/ 161449 h 514350"/>
                <a:gd name="connsiteX1607" fmla="*/ 3147536 w 6400800"/>
                <a:gd name="connsiteY1607" fmla="*/ 213836 h 514350"/>
                <a:gd name="connsiteX1608" fmla="*/ 3146584 w 6400800"/>
                <a:gd name="connsiteY1608" fmla="*/ 217646 h 514350"/>
                <a:gd name="connsiteX1609" fmla="*/ 3143726 w 6400800"/>
                <a:gd name="connsiteY1609" fmla="*/ 210026 h 514350"/>
                <a:gd name="connsiteX1610" fmla="*/ 3138964 w 6400800"/>
                <a:gd name="connsiteY1610" fmla="*/ 196691 h 514350"/>
                <a:gd name="connsiteX1611" fmla="*/ 3134201 w 6400800"/>
                <a:gd name="connsiteY1611" fmla="*/ 179546 h 514350"/>
                <a:gd name="connsiteX1612" fmla="*/ 3126581 w 6400800"/>
                <a:gd name="connsiteY1612" fmla="*/ 155734 h 514350"/>
                <a:gd name="connsiteX1613" fmla="*/ 3129439 w 6400800"/>
                <a:gd name="connsiteY1613" fmla="*/ 172879 h 514350"/>
                <a:gd name="connsiteX1614" fmla="*/ 3118961 w 6400800"/>
                <a:gd name="connsiteY1614" fmla="*/ 150019 h 514350"/>
                <a:gd name="connsiteX1615" fmla="*/ 3112294 w 6400800"/>
                <a:gd name="connsiteY1615" fmla="*/ 136684 h 514350"/>
                <a:gd name="connsiteX1616" fmla="*/ 3102769 w 6400800"/>
                <a:gd name="connsiteY1616" fmla="*/ 113824 h 514350"/>
                <a:gd name="connsiteX1617" fmla="*/ 3090386 w 6400800"/>
                <a:gd name="connsiteY1617" fmla="*/ 87154 h 514350"/>
                <a:gd name="connsiteX1618" fmla="*/ 3099911 w 6400800"/>
                <a:gd name="connsiteY1618" fmla="*/ 114776 h 514350"/>
                <a:gd name="connsiteX1619" fmla="*/ 3109436 w 6400800"/>
                <a:gd name="connsiteY1619" fmla="*/ 146209 h 514350"/>
                <a:gd name="connsiteX1620" fmla="*/ 3115151 w 6400800"/>
                <a:gd name="connsiteY1620" fmla="*/ 167164 h 514350"/>
                <a:gd name="connsiteX1621" fmla="*/ 3109436 w 6400800"/>
                <a:gd name="connsiteY1621" fmla="*/ 155734 h 514350"/>
                <a:gd name="connsiteX1622" fmla="*/ 3116104 w 6400800"/>
                <a:gd name="connsiteY1622" fmla="*/ 176689 h 514350"/>
                <a:gd name="connsiteX1623" fmla="*/ 3121819 w 6400800"/>
                <a:gd name="connsiteY1623" fmla="*/ 194786 h 514350"/>
                <a:gd name="connsiteX1624" fmla="*/ 3125629 w 6400800"/>
                <a:gd name="connsiteY1624" fmla="*/ 213836 h 514350"/>
                <a:gd name="connsiteX1625" fmla="*/ 3123724 w 6400800"/>
                <a:gd name="connsiteY1625" fmla="*/ 215741 h 514350"/>
                <a:gd name="connsiteX1626" fmla="*/ 3122771 w 6400800"/>
                <a:gd name="connsiteY1626" fmla="*/ 210979 h 514350"/>
                <a:gd name="connsiteX1627" fmla="*/ 3122771 w 6400800"/>
                <a:gd name="connsiteY1627" fmla="*/ 216694 h 514350"/>
                <a:gd name="connsiteX1628" fmla="*/ 3113246 w 6400800"/>
                <a:gd name="connsiteY1628" fmla="*/ 228124 h 514350"/>
                <a:gd name="connsiteX1629" fmla="*/ 3113246 w 6400800"/>
                <a:gd name="connsiteY1629" fmla="*/ 228124 h 514350"/>
                <a:gd name="connsiteX1630" fmla="*/ 3110389 w 6400800"/>
                <a:gd name="connsiteY1630" fmla="*/ 191929 h 514350"/>
                <a:gd name="connsiteX1631" fmla="*/ 3108484 w 6400800"/>
                <a:gd name="connsiteY1631" fmla="*/ 171926 h 514350"/>
                <a:gd name="connsiteX1632" fmla="*/ 3106579 w 6400800"/>
                <a:gd name="connsiteY1632" fmla="*/ 192881 h 514350"/>
                <a:gd name="connsiteX1633" fmla="*/ 3104674 w 6400800"/>
                <a:gd name="connsiteY1633" fmla="*/ 228124 h 514350"/>
                <a:gd name="connsiteX1634" fmla="*/ 3104674 w 6400800"/>
                <a:gd name="connsiteY1634" fmla="*/ 227171 h 514350"/>
                <a:gd name="connsiteX1635" fmla="*/ 3097054 w 6400800"/>
                <a:gd name="connsiteY1635" fmla="*/ 208121 h 514350"/>
                <a:gd name="connsiteX1636" fmla="*/ 3100864 w 6400800"/>
                <a:gd name="connsiteY1636" fmla="*/ 228124 h 514350"/>
                <a:gd name="connsiteX1637" fmla="*/ 3103721 w 6400800"/>
                <a:gd name="connsiteY1637" fmla="*/ 244316 h 514350"/>
                <a:gd name="connsiteX1638" fmla="*/ 3096101 w 6400800"/>
                <a:gd name="connsiteY1638" fmla="*/ 255746 h 514350"/>
                <a:gd name="connsiteX1639" fmla="*/ 3087529 w 6400800"/>
                <a:gd name="connsiteY1639" fmla="*/ 270034 h 514350"/>
                <a:gd name="connsiteX1640" fmla="*/ 3082766 w 6400800"/>
                <a:gd name="connsiteY1640" fmla="*/ 252889 h 514350"/>
                <a:gd name="connsiteX1641" fmla="*/ 3077051 w 6400800"/>
                <a:gd name="connsiteY1641" fmla="*/ 233839 h 514350"/>
                <a:gd name="connsiteX1642" fmla="*/ 3078956 w 6400800"/>
                <a:gd name="connsiteY1642" fmla="*/ 252889 h 514350"/>
                <a:gd name="connsiteX1643" fmla="*/ 3079909 w 6400800"/>
                <a:gd name="connsiteY1643" fmla="*/ 264319 h 514350"/>
                <a:gd name="connsiteX1644" fmla="*/ 3077051 w 6400800"/>
                <a:gd name="connsiteY1644" fmla="*/ 255746 h 514350"/>
                <a:gd name="connsiteX1645" fmla="*/ 3074194 w 6400800"/>
                <a:gd name="connsiteY1645" fmla="*/ 248126 h 514350"/>
                <a:gd name="connsiteX1646" fmla="*/ 3074194 w 6400800"/>
                <a:gd name="connsiteY1646" fmla="*/ 242411 h 514350"/>
                <a:gd name="connsiteX1647" fmla="*/ 3075146 w 6400800"/>
                <a:gd name="connsiteY1647" fmla="*/ 229076 h 514350"/>
                <a:gd name="connsiteX1648" fmla="*/ 3077051 w 6400800"/>
                <a:gd name="connsiteY1648" fmla="*/ 220504 h 514350"/>
                <a:gd name="connsiteX1649" fmla="*/ 3086576 w 6400800"/>
                <a:gd name="connsiteY1649" fmla="*/ 189071 h 514350"/>
                <a:gd name="connsiteX1650" fmla="*/ 3096101 w 6400800"/>
                <a:gd name="connsiteY1650" fmla="*/ 161449 h 514350"/>
                <a:gd name="connsiteX1651" fmla="*/ 3083719 w 6400800"/>
                <a:gd name="connsiteY1651" fmla="*/ 188119 h 514350"/>
                <a:gd name="connsiteX1652" fmla="*/ 3071336 w 6400800"/>
                <a:gd name="connsiteY1652" fmla="*/ 218599 h 514350"/>
                <a:gd name="connsiteX1653" fmla="*/ 3068479 w 6400800"/>
                <a:gd name="connsiteY1653" fmla="*/ 224314 h 514350"/>
                <a:gd name="connsiteX1654" fmla="*/ 3068479 w 6400800"/>
                <a:gd name="connsiteY1654" fmla="*/ 216694 h 514350"/>
                <a:gd name="connsiteX1655" fmla="*/ 3069431 w 6400800"/>
                <a:gd name="connsiteY1655" fmla="*/ 209074 h 514350"/>
                <a:gd name="connsiteX1656" fmla="*/ 3072289 w 6400800"/>
                <a:gd name="connsiteY1656" fmla="*/ 181451 h 514350"/>
                <a:gd name="connsiteX1657" fmla="*/ 3073241 w 6400800"/>
                <a:gd name="connsiteY1657" fmla="*/ 157639 h 514350"/>
                <a:gd name="connsiteX1658" fmla="*/ 3067526 w 6400800"/>
                <a:gd name="connsiteY1658" fmla="*/ 180499 h 514350"/>
                <a:gd name="connsiteX1659" fmla="*/ 3066574 w 6400800"/>
                <a:gd name="connsiteY1659" fmla="*/ 183356 h 514350"/>
                <a:gd name="connsiteX1660" fmla="*/ 3064669 w 6400800"/>
                <a:gd name="connsiteY1660" fmla="*/ 148114 h 514350"/>
                <a:gd name="connsiteX1661" fmla="*/ 3064669 w 6400800"/>
                <a:gd name="connsiteY1661" fmla="*/ 145256 h 514350"/>
                <a:gd name="connsiteX1662" fmla="*/ 3064669 w 6400800"/>
                <a:gd name="connsiteY1662" fmla="*/ 146209 h 514350"/>
                <a:gd name="connsiteX1663" fmla="*/ 3063716 w 6400800"/>
                <a:gd name="connsiteY1663" fmla="*/ 131921 h 514350"/>
                <a:gd name="connsiteX1664" fmla="*/ 3058954 w 6400800"/>
                <a:gd name="connsiteY1664" fmla="*/ 174784 h 514350"/>
                <a:gd name="connsiteX1665" fmla="*/ 3056096 w 6400800"/>
                <a:gd name="connsiteY1665" fmla="*/ 190976 h 514350"/>
                <a:gd name="connsiteX1666" fmla="*/ 3054191 w 6400800"/>
                <a:gd name="connsiteY1666" fmla="*/ 201454 h 514350"/>
                <a:gd name="connsiteX1667" fmla="*/ 3049429 w 6400800"/>
                <a:gd name="connsiteY1667" fmla="*/ 189071 h 514350"/>
                <a:gd name="connsiteX1668" fmla="*/ 3049429 w 6400800"/>
                <a:gd name="connsiteY1668" fmla="*/ 188119 h 514350"/>
                <a:gd name="connsiteX1669" fmla="*/ 3056096 w 6400800"/>
                <a:gd name="connsiteY1669" fmla="*/ 151924 h 514350"/>
                <a:gd name="connsiteX1670" fmla="*/ 3062764 w 6400800"/>
                <a:gd name="connsiteY1670" fmla="*/ 120491 h 514350"/>
                <a:gd name="connsiteX1671" fmla="*/ 3052286 w 6400800"/>
                <a:gd name="connsiteY1671" fmla="*/ 150971 h 514350"/>
                <a:gd name="connsiteX1672" fmla="*/ 3041809 w 6400800"/>
                <a:gd name="connsiteY1672" fmla="*/ 186214 h 514350"/>
                <a:gd name="connsiteX1673" fmla="*/ 3036094 w 6400800"/>
                <a:gd name="connsiteY1673" fmla="*/ 208121 h 514350"/>
                <a:gd name="connsiteX1674" fmla="*/ 3034189 w 6400800"/>
                <a:gd name="connsiteY1674" fmla="*/ 215741 h 514350"/>
                <a:gd name="connsiteX1675" fmla="*/ 3032284 w 6400800"/>
                <a:gd name="connsiteY1675" fmla="*/ 205264 h 514350"/>
                <a:gd name="connsiteX1676" fmla="*/ 3048476 w 6400800"/>
                <a:gd name="connsiteY1676" fmla="*/ 148114 h 514350"/>
                <a:gd name="connsiteX1677" fmla="*/ 3057049 w 6400800"/>
                <a:gd name="connsiteY1677" fmla="*/ 123349 h 514350"/>
                <a:gd name="connsiteX1678" fmla="*/ 3054191 w 6400800"/>
                <a:gd name="connsiteY1678" fmla="*/ 129064 h 514350"/>
                <a:gd name="connsiteX1679" fmla="*/ 3045619 w 6400800"/>
                <a:gd name="connsiteY1679" fmla="*/ 146209 h 514350"/>
                <a:gd name="connsiteX1680" fmla="*/ 3029426 w 6400800"/>
                <a:gd name="connsiteY1680" fmla="*/ 184309 h 514350"/>
                <a:gd name="connsiteX1681" fmla="*/ 3029426 w 6400800"/>
                <a:gd name="connsiteY1681" fmla="*/ 167164 h 514350"/>
                <a:gd name="connsiteX1682" fmla="*/ 3030379 w 6400800"/>
                <a:gd name="connsiteY1682" fmla="*/ 140494 h 514350"/>
                <a:gd name="connsiteX1683" fmla="*/ 3025616 w 6400800"/>
                <a:gd name="connsiteY1683" fmla="*/ 166211 h 514350"/>
                <a:gd name="connsiteX1684" fmla="*/ 3022759 w 6400800"/>
                <a:gd name="connsiteY1684" fmla="*/ 196691 h 514350"/>
                <a:gd name="connsiteX1685" fmla="*/ 3022759 w 6400800"/>
                <a:gd name="connsiteY1685" fmla="*/ 202406 h 514350"/>
                <a:gd name="connsiteX1686" fmla="*/ 3019901 w 6400800"/>
                <a:gd name="connsiteY1686" fmla="*/ 210979 h 514350"/>
                <a:gd name="connsiteX1687" fmla="*/ 3011329 w 6400800"/>
                <a:gd name="connsiteY1687" fmla="*/ 234791 h 514350"/>
                <a:gd name="connsiteX1688" fmla="*/ 3007519 w 6400800"/>
                <a:gd name="connsiteY1688" fmla="*/ 226219 h 514350"/>
                <a:gd name="connsiteX1689" fmla="*/ 3011329 w 6400800"/>
                <a:gd name="connsiteY1689" fmla="*/ 215741 h 514350"/>
                <a:gd name="connsiteX1690" fmla="*/ 3006566 w 6400800"/>
                <a:gd name="connsiteY1690" fmla="*/ 222409 h 514350"/>
                <a:gd name="connsiteX1691" fmla="*/ 3001804 w 6400800"/>
                <a:gd name="connsiteY1691" fmla="*/ 202406 h 514350"/>
                <a:gd name="connsiteX1692" fmla="*/ 3000851 w 6400800"/>
                <a:gd name="connsiteY1692" fmla="*/ 197644 h 514350"/>
                <a:gd name="connsiteX1693" fmla="*/ 3003709 w 6400800"/>
                <a:gd name="connsiteY1693" fmla="*/ 189071 h 514350"/>
                <a:gd name="connsiteX1694" fmla="*/ 3011329 w 6400800"/>
                <a:gd name="connsiteY1694" fmla="*/ 164306 h 514350"/>
                <a:gd name="connsiteX1695" fmla="*/ 3018949 w 6400800"/>
                <a:gd name="connsiteY1695" fmla="*/ 142399 h 514350"/>
                <a:gd name="connsiteX1696" fmla="*/ 3007519 w 6400800"/>
                <a:gd name="connsiteY1696" fmla="*/ 162401 h 514350"/>
                <a:gd name="connsiteX1697" fmla="*/ 2997994 w 6400800"/>
                <a:gd name="connsiteY1697" fmla="*/ 182404 h 514350"/>
                <a:gd name="connsiteX1698" fmla="*/ 2995136 w 6400800"/>
                <a:gd name="connsiteY1698" fmla="*/ 169069 h 514350"/>
                <a:gd name="connsiteX1699" fmla="*/ 3014186 w 6400800"/>
                <a:gd name="connsiteY1699" fmla="*/ 100489 h 514350"/>
                <a:gd name="connsiteX1700" fmla="*/ 3021806 w 6400800"/>
                <a:gd name="connsiteY1700" fmla="*/ 76676 h 514350"/>
                <a:gd name="connsiteX1701" fmla="*/ 3024664 w 6400800"/>
                <a:gd name="connsiteY1701" fmla="*/ 68104 h 514350"/>
                <a:gd name="connsiteX1702" fmla="*/ 3020854 w 6400800"/>
                <a:gd name="connsiteY1702" fmla="*/ 75724 h 514350"/>
                <a:gd name="connsiteX1703" fmla="*/ 3010376 w 6400800"/>
                <a:gd name="connsiteY1703" fmla="*/ 98584 h 514350"/>
                <a:gd name="connsiteX1704" fmla="*/ 2996089 w 6400800"/>
                <a:gd name="connsiteY1704" fmla="*/ 134779 h 514350"/>
                <a:gd name="connsiteX1705" fmla="*/ 2991326 w 6400800"/>
                <a:gd name="connsiteY1705" fmla="*/ 148114 h 514350"/>
                <a:gd name="connsiteX1706" fmla="*/ 2987516 w 6400800"/>
                <a:gd name="connsiteY1706" fmla="*/ 122396 h 514350"/>
                <a:gd name="connsiteX1707" fmla="*/ 2984659 w 6400800"/>
                <a:gd name="connsiteY1707" fmla="*/ 91916 h 514350"/>
                <a:gd name="connsiteX1708" fmla="*/ 2983706 w 6400800"/>
                <a:gd name="connsiteY1708" fmla="*/ 122396 h 514350"/>
                <a:gd name="connsiteX1709" fmla="*/ 2985611 w 6400800"/>
                <a:gd name="connsiteY1709" fmla="*/ 157639 h 514350"/>
                <a:gd name="connsiteX1710" fmla="*/ 2985611 w 6400800"/>
                <a:gd name="connsiteY1710" fmla="*/ 163354 h 514350"/>
                <a:gd name="connsiteX1711" fmla="*/ 2978944 w 6400800"/>
                <a:gd name="connsiteY1711" fmla="*/ 182404 h 514350"/>
                <a:gd name="connsiteX1712" fmla="*/ 2960846 w 6400800"/>
                <a:gd name="connsiteY1712" fmla="*/ 238601 h 514350"/>
                <a:gd name="connsiteX1713" fmla="*/ 2959894 w 6400800"/>
                <a:gd name="connsiteY1713" fmla="*/ 234791 h 514350"/>
                <a:gd name="connsiteX1714" fmla="*/ 2960846 w 6400800"/>
                <a:gd name="connsiteY1714" fmla="*/ 239554 h 514350"/>
                <a:gd name="connsiteX1715" fmla="*/ 2950369 w 6400800"/>
                <a:gd name="connsiteY1715" fmla="*/ 274796 h 514350"/>
                <a:gd name="connsiteX1716" fmla="*/ 2952274 w 6400800"/>
                <a:gd name="connsiteY1716" fmla="*/ 264319 h 514350"/>
                <a:gd name="connsiteX1717" fmla="*/ 2944654 w 6400800"/>
                <a:gd name="connsiteY1717" fmla="*/ 284321 h 514350"/>
                <a:gd name="connsiteX1718" fmla="*/ 2944654 w 6400800"/>
                <a:gd name="connsiteY1718" fmla="*/ 283369 h 514350"/>
                <a:gd name="connsiteX1719" fmla="*/ 2945606 w 6400800"/>
                <a:gd name="connsiteY1719" fmla="*/ 277654 h 514350"/>
                <a:gd name="connsiteX1720" fmla="*/ 2949416 w 6400800"/>
                <a:gd name="connsiteY1720" fmla="*/ 238601 h 514350"/>
                <a:gd name="connsiteX1721" fmla="*/ 2951321 w 6400800"/>
                <a:gd name="connsiteY1721" fmla="*/ 221456 h 514350"/>
                <a:gd name="connsiteX1722" fmla="*/ 2953226 w 6400800"/>
                <a:gd name="connsiteY1722" fmla="*/ 205264 h 514350"/>
                <a:gd name="connsiteX1723" fmla="*/ 2956084 w 6400800"/>
                <a:gd name="connsiteY1723" fmla="*/ 179546 h 514350"/>
                <a:gd name="connsiteX1724" fmla="*/ 2958941 w 6400800"/>
                <a:gd name="connsiteY1724" fmla="*/ 156686 h 514350"/>
                <a:gd name="connsiteX1725" fmla="*/ 2952274 w 6400800"/>
                <a:gd name="connsiteY1725" fmla="*/ 178594 h 514350"/>
                <a:gd name="connsiteX1726" fmla="*/ 2945606 w 6400800"/>
                <a:gd name="connsiteY1726" fmla="*/ 203359 h 514350"/>
                <a:gd name="connsiteX1727" fmla="*/ 2941796 w 6400800"/>
                <a:gd name="connsiteY1727" fmla="*/ 218599 h 514350"/>
                <a:gd name="connsiteX1728" fmla="*/ 2937986 w 6400800"/>
                <a:gd name="connsiteY1728" fmla="*/ 235744 h 514350"/>
                <a:gd name="connsiteX1729" fmla="*/ 2931319 w 6400800"/>
                <a:gd name="connsiteY1729" fmla="*/ 270034 h 514350"/>
                <a:gd name="connsiteX1730" fmla="*/ 2929414 w 6400800"/>
                <a:gd name="connsiteY1730" fmla="*/ 260509 h 514350"/>
                <a:gd name="connsiteX1731" fmla="*/ 2928461 w 6400800"/>
                <a:gd name="connsiteY1731" fmla="*/ 256699 h 514350"/>
                <a:gd name="connsiteX1732" fmla="*/ 2931319 w 6400800"/>
                <a:gd name="connsiteY1732" fmla="*/ 251936 h 514350"/>
                <a:gd name="connsiteX1733" fmla="*/ 2927509 w 6400800"/>
                <a:gd name="connsiteY1733" fmla="*/ 254794 h 514350"/>
                <a:gd name="connsiteX1734" fmla="*/ 2925604 w 6400800"/>
                <a:gd name="connsiteY1734" fmla="*/ 247174 h 514350"/>
                <a:gd name="connsiteX1735" fmla="*/ 2931319 w 6400800"/>
                <a:gd name="connsiteY1735" fmla="*/ 231934 h 514350"/>
                <a:gd name="connsiteX1736" fmla="*/ 2924651 w 6400800"/>
                <a:gd name="connsiteY1736" fmla="*/ 243364 h 514350"/>
                <a:gd name="connsiteX1737" fmla="*/ 2922746 w 6400800"/>
                <a:gd name="connsiteY1737" fmla="*/ 237649 h 514350"/>
                <a:gd name="connsiteX1738" fmla="*/ 2922746 w 6400800"/>
                <a:gd name="connsiteY1738" fmla="*/ 236696 h 514350"/>
                <a:gd name="connsiteX1739" fmla="*/ 2921794 w 6400800"/>
                <a:gd name="connsiteY1739" fmla="*/ 236696 h 514350"/>
                <a:gd name="connsiteX1740" fmla="*/ 2916079 w 6400800"/>
                <a:gd name="connsiteY1740" fmla="*/ 236696 h 514350"/>
                <a:gd name="connsiteX1741" fmla="*/ 2916079 w 6400800"/>
                <a:gd name="connsiteY1741" fmla="*/ 236696 h 514350"/>
                <a:gd name="connsiteX1742" fmla="*/ 2935129 w 6400800"/>
                <a:gd name="connsiteY1742" fmla="*/ 176689 h 514350"/>
                <a:gd name="connsiteX1743" fmla="*/ 2909411 w 6400800"/>
                <a:gd name="connsiteY1743" fmla="*/ 230029 h 514350"/>
                <a:gd name="connsiteX1744" fmla="*/ 2902744 w 6400800"/>
                <a:gd name="connsiteY1744" fmla="*/ 211931 h 514350"/>
                <a:gd name="connsiteX1745" fmla="*/ 2900839 w 6400800"/>
                <a:gd name="connsiteY1745" fmla="*/ 195739 h 514350"/>
                <a:gd name="connsiteX1746" fmla="*/ 2897981 w 6400800"/>
                <a:gd name="connsiteY1746" fmla="*/ 173831 h 514350"/>
                <a:gd name="connsiteX1747" fmla="*/ 2896076 w 6400800"/>
                <a:gd name="connsiteY1747" fmla="*/ 153829 h 514350"/>
                <a:gd name="connsiteX1748" fmla="*/ 2893219 w 6400800"/>
                <a:gd name="connsiteY1748" fmla="*/ 121444 h 514350"/>
                <a:gd name="connsiteX1749" fmla="*/ 2890361 w 6400800"/>
                <a:gd name="connsiteY1749" fmla="*/ 93821 h 514350"/>
                <a:gd name="connsiteX1750" fmla="*/ 2889409 w 6400800"/>
                <a:gd name="connsiteY1750" fmla="*/ 121444 h 514350"/>
                <a:gd name="connsiteX1751" fmla="*/ 2889409 w 6400800"/>
                <a:gd name="connsiteY1751" fmla="*/ 153829 h 514350"/>
                <a:gd name="connsiteX1752" fmla="*/ 2889409 w 6400800"/>
                <a:gd name="connsiteY1752" fmla="*/ 173831 h 514350"/>
                <a:gd name="connsiteX1753" fmla="*/ 2890361 w 6400800"/>
                <a:gd name="connsiteY1753" fmla="*/ 195739 h 514350"/>
                <a:gd name="connsiteX1754" fmla="*/ 2891314 w 6400800"/>
                <a:gd name="connsiteY1754" fmla="*/ 211931 h 514350"/>
                <a:gd name="connsiteX1755" fmla="*/ 2887504 w 6400800"/>
                <a:gd name="connsiteY1755" fmla="*/ 217646 h 514350"/>
                <a:gd name="connsiteX1756" fmla="*/ 2885599 w 6400800"/>
                <a:gd name="connsiteY1756" fmla="*/ 221456 h 514350"/>
                <a:gd name="connsiteX1757" fmla="*/ 2880836 w 6400800"/>
                <a:gd name="connsiteY1757" fmla="*/ 195739 h 514350"/>
                <a:gd name="connsiteX1758" fmla="*/ 2874169 w 6400800"/>
                <a:gd name="connsiteY1758" fmla="*/ 166211 h 514350"/>
                <a:gd name="connsiteX1759" fmla="*/ 2867501 w 6400800"/>
                <a:gd name="connsiteY1759" fmla="*/ 144304 h 514350"/>
                <a:gd name="connsiteX1760" fmla="*/ 2860834 w 6400800"/>
                <a:gd name="connsiteY1760" fmla="*/ 125254 h 514350"/>
                <a:gd name="connsiteX1761" fmla="*/ 2863691 w 6400800"/>
                <a:gd name="connsiteY1761" fmla="*/ 145256 h 514350"/>
                <a:gd name="connsiteX1762" fmla="*/ 2866549 w 6400800"/>
                <a:gd name="connsiteY1762" fmla="*/ 168116 h 514350"/>
                <a:gd name="connsiteX1763" fmla="*/ 2869406 w 6400800"/>
                <a:gd name="connsiteY1763" fmla="*/ 197644 h 514350"/>
                <a:gd name="connsiteX1764" fmla="*/ 2872264 w 6400800"/>
                <a:gd name="connsiteY1764" fmla="*/ 232886 h 514350"/>
                <a:gd name="connsiteX1765" fmla="*/ 2873216 w 6400800"/>
                <a:gd name="connsiteY1765" fmla="*/ 247174 h 514350"/>
                <a:gd name="connsiteX1766" fmla="*/ 2864644 w 6400800"/>
                <a:gd name="connsiteY1766" fmla="*/ 270034 h 514350"/>
                <a:gd name="connsiteX1767" fmla="*/ 2863691 w 6400800"/>
                <a:gd name="connsiteY1767" fmla="*/ 274796 h 514350"/>
                <a:gd name="connsiteX1768" fmla="*/ 2855119 w 6400800"/>
                <a:gd name="connsiteY1768" fmla="*/ 257651 h 514350"/>
                <a:gd name="connsiteX1769" fmla="*/ 2841784 w 6400800"/>
                <a:gd name="connsiteY1769" fmla="*/ 230029 h 514350"/>
                <a:gd name="connsiteX1770" fmla="*/ 2855119 w 6400800"/>
                <a:gd name="connsiteY1770" fmla="*/ 226219 h 514350"/>
                <a:gd name="connsiteX1771" fmla="*/ 2853214 w 6400800"/>
                <a:gd name="connsiteY1771" fmla="*/ 231934 h 514350"/>
                <a:gd name="connsiteX1772" fmla="*/ 2840831 w 6400800"/>
                <a:gd name="connsiteY1772" fmla="*/ 209074 h 514350"/>
                <a:gd name="connsiteX1773" fmla="*/ 2866549 w 6400800"/>
                <a:gd name="connsiteY1773" fmla="*/ 150971 h 514350"/>
                <a:gd name="connsiteX1774" fmla="*/ 2835116 w 6400800"/>
                <a:gd name="connsiteY1774" fmla="*/ 198596 h 514350"/>
                <a:gd name="connsiteX1775" fmla="*/ 2829401 w 6400800"/>
                <a:gd name="connsiteY1775" fmla="*/ 188119 h 514350"/>
                <a:gd name="connsiteX1776" fmla="*/ 2820829 w 6400800"/>
                <a:gd name="connsiteY1776" fmla="*/ 132874 h 514350"/>
                <a:gd name="connsiteX1777" fmla="*/ 2821781 w 6400800"/>
                <a:gd name="connsiteY1777" fmla="*/ 173831 h 514350"/>
                <a:gd name="connsiteX1778" fmla="*/ 2807494 w 6400800"/>
                <a:gd name="connsiteY1778" fmla="*/ 151924 h 514350"/>
                <a:gd name="connsiteX1779" fmla="*/ 2782729 w 6400800"/>
                <a:gd name="connsiteY1779" fmla="*/ 115729 h 514350"/>
                <a:gd name="connsiteX1780" fmla="*/ 2759869 w 6400800"/>
                <a:gd name="connsiteY1780" fmla="*/ 85249 h 514350"/>
                <a:gd name="connsiteX1781" fmla="*/ 2778919 w 6400800"/>
                <a:gd name="connsiteY1781" fmla="*/ 118586 h 514350"/>
                <a:gd name="connsiteX1782" fmla="*/ 2799874 w 6400800"/>
                <a:gd name="connsiteY1782" fmla="*/ 156686 h 514350"/>
                <a:gd name="connsiteX1783" fmla="*/ 2812256 w 6400800"/>
                <a:gd name="connsiteY1783" fmla="*/ 180499 h 514350"/>
                <a:gd name="connsiteX1784" fmla="*/ 2820829 w 6400800"/>
                <a:gd name="connsiteY1784" fmla="*/ 197644 h 514350"/>
                <a:gd name="connsiteX1785" fmla="*/ 2820829 w 6400800"/>
                <a:gd name="connsiteY1785" fmla="*/ 204311 h 514350"/>
                <a:gd name="connsiteX1786" fmla="*/ 2821781 w 6400800"/>
                <a:gd name="connsiteY1786" fmla="*/ 218599 h 514350"/>
                <a:gd name="connsiteX1787" fmla="*/ 2817019 w 6400800"/>
                <a:gd name="connsiteY1787" fmla="*/ 227171 h 514350"/>
                <a:gd name="connsiteX1788" fmla="*/ 2806541 w 6400800"/>
                <a:gd name="connsiteY1788" fmla="*/ 211931 h 514350"/>
                <a:gd name="connsiteX1789" fmla="*/ 2805589 w 6400800"/>
                <a:gd name="connsiteY1789" fmla="*/ 210026 h 514350"/>
                <a:gd name="connsiteX1790" fmla="*/ 2806541 w 6400800"/>
                <a:gd name="connsiteY1790" fmla="*/ 208121 h 514350"/>
                <a:gd name="connsiteX1791" fmla="*/ 2805589 w 6400800"/>
                <a:gd name="connsiteY1791" fmla="*/ 209074 h 514350"/>
                <a:gd name="connsiteX1792" fmla="*/ 2792254 w 6400800"/>
                <a:gd name="connsiteY1792" fmla="*/ 191929 h 514350"/>
                <a:gd name="connsiteX1793" fmla="*/ 2767489 w 6400800"/>
                <a:gd name="connsiteY1793" fmla="*/ 161449 h 514350"/>
                <a:gd name="connsiteX1794" fmla="*/ 2765584 w 6400800"/>
                <a:gd name="connsiteY1794" fmla="*/ 158591 h 514350"/>
                <a:gd name="connsiteX1795" fmla="*/ 2765584 w 6400800"/>
                <a:gd name="connsiteY1795" fmla="*/ 155734 h 514350"/>
                <a:gd name="connsiteX1796" fmla="*/ 2762726 w 6400800"/>
                <a:gd name="connsiteY1796" fmla="*/ 128111 h 514350"/>
                <a:gd name="connsiteX1797" fmla="*/ 2759869 w 6400800"/>
                <a:gd name="connsiteY1797" fmla="*/ 103346 h 514350"/>
                <a:gd name="connsiteX1798" fmla="*/ 2758916 w 6400800"/>
                <a:gd name="connsiteY1798" fmla="*/ 128111 h 514350"/>
                <a:gd name="connsiteX1799" fmla="*/ 2758916 w 6400800"/>
                <a:gd name="connsiteY1799" fmla="*/ 150019 h 514350"/>
                <a:gd name="connsiteX1800" fmla="*/ 2745581 w 6400800"/>
                <a:gd name="connsiteY1800" fmla="*/ 135731 h 514350"/>
                <a:gd name="connsiteX1801" fmla="*/ 2758916 w 6400800"/>
                <a:gd name="connsiteY1801" fmla="*/ 153829 h 514350"/>
                <a:gd name="connsiteX1802" fmla="*/ 2758916 w 6400800"/>
                <a:gd name="connsiteY1802" fmla="*/ 155734 h 514350"/>
                <a:gd name="connsiteX1803" fmla="*/ 2758916 w 6400800"/>
                <a:gd name="connsiteY1803" fmla="*/ 172879 h 514350"/>
                <a:gd name="connsiteX1804" fmla="*/ 2759869 w 6400800"/>
                <a:gd name="connsiteY1804" fmla="*/ 191929 h 514350"/>
                <a:gd name="connsiteX1805" fmla="*/ 2761774 w 6400800"/>
                <a:gd name="connsiteY1805" fmla="*/ 219551 h 514350"/>
                <a:gd name="connsiteX1806" fmla="*/ 2760821 w 6400800"/>
                <a:gd name="connsiteY1806" fmla="*/ 217646 h 514350"/>
                <a:gd name="connsiteX1807" fmla="*/ 2760821 w 6400800"/>
                <a:gd name="connsiteY1807" fmla="*/ 216694 h 514350"/>
                <a:gd name="connsiteX1808" fmla="*/ 2760821 w 6400800"/>
                <a:gd name="connsiteY1808" fmla="*/ 217646 h 514350"/>
                <a:gd name="connsiteX1809" fmla="*/ 2741771 w 6400800"/>
                <a:gd name="connsiteY1809" fmla="*/ 172879 h 514350"/>
                <a:gd name="connsiteX1810" fmla="*/ 2757011 w 6400800"/>
                <a:gd name="connsiteY1810" fmla="*/ 228124 h 514350"/>
                <a:gd name="connsiteX1811" fmla="*/ 2743676 w 6400800"/>
                <a:gd name="connsiteY1811" fmla="*/ 268129 h 514350"/>
                <a:gd name="connsiteX1812" fmla="*/ 2736056 w 6400800"/>
                <a:gd name="connsiteY1812" fmla="*/ 254794 h 514350"/>
                <a:gd name="connsiteX1813" fmla="*/ 2737009 w 6400800"/>
                <a:gd name="connsiteY1813" fmla="*/ 232886 h 514350"/>
                <a:gd name="connsiteX1814" fmla="*/ 2732246 w 6400800"/>
                <a:gd name="connsiteY1814" fmla="*/ 249079 h 514350"/>
                <a:gd name="connsiteX1815" fmla="*/ 2730341 w 6400800"/>
                <a:gd name="connsiteY1815" fmla="*/ 246221 h 514350"/>
                <a:gd name="connsiteX1816" fmla="*/ 2731294 w 6400800"/>
                <a:gd name="connsiteY1816" fmla="*/ 250031 h 514350"/>
                <a:gd name="connsiteX1817" fmla="*/ 2729389 w 6400800"/>
                <a:gd name="connsiteY1817" fmla="*/ 258604 h 514350"/>
                <a:gd name="connsiteX1818" fmla="*/ 2729389 w 6400800"/>
                <a:gd name="connsiteY1818" fmla="*/ 247174 h 514350"/>
                <a:gd name="connsiteX1819" fmla="*/ 2731294 w 6400800"/>
                <a:gd name="connsiteY1819" fmla="*/ 218599 h 514350"/>
                <a:gd name="connsiteX1820" fmla="*/ 2733199 w 6400800"/>
                <a:gd name="connsiteY1820" fmla="*/ 219551 h 514350"/>
                <a:gd name="connsiteX1821" fmla="*/ 2736056 w 6400800"/>
                <a:gd name="connsiteY1821" fmla="*/ 222409 h 514350"/>
                <a:gd name="connsiteX1822" fmla="*/ 2738914 w 6400800"/>
                <a:gd name="connsiteY1822" fmla="*/ 230981 h 514350"/>
                <a:gd name="connsiteX1823" fmla="*/ 2737961 w 6400800"/>
                <a:gd name="connsiteY1823" fmla="*/ 222409 h 514350"/>
                <a:gd name="connsiteX1824" fmla="*/ 2735104 w 6400800"/>
                <a:gd name="connsiteY1824" fmla="*/ 218599 h 514350"/>
                <a:gd name="connsiteX1825" fmla="*/ 2730341 w 6400800"/>
                <a:gd name="connsiteY1825" fmla="*/ 216694 h 514350"/>
                <a:gd name="connsiteX1826" fmla="*/ 2728436 w 6400800"/>
                <a:gd name="connsiteY1826" fmla="*/ 216694 h 514350"/>
                <a:gd name="connsiteX1827" fmla="*/ 2728436 w 6400800"/>
                <a:gd name="connsiteY1827" fmla="*/ 218599 h 514350"/>
                <a:gd name="connsiteX1828" fmla="*/ 2721769 w 6400800"/>
                <a:gd name="connsiteY1828" fmla="*/ 248126 h 514350"/>
                <a:gd name="connsiteX1829" fmla="*/ 2719864 w 6400800"/>
                <a:gd name="connsiteY1829" fmla="*/ 260509 h 514350"/>
                <a:gd name="connsiteX1830" fmla="*/ 2717006 w 6400800"/>
                <a:gd name="connsiteY1830" fmla="*/ 254794 h 514350"/>
                <a:gd name="connsiteX1831" fmla="*/ 2717006 w 6400800"/>
                <a:gd name="connsiteY1831" fmla="*/ 253841 h 514350"/>
                <a:gd name="connsiteX1832" fmla="*/ 2718911 w 6400800"/>
                <a:gd name="connsiteY1832" fmla="*/ 238601 h 514350"/>
                <a:gd name="connsiteX1833" fmla="*/ 2716054 w 6400800"/>
                <a:gd name="connsiteY1833" fmla="*/ 247174 h 514350"/>
                <a:gd name="connsiteX1834" fmla="*/ 2716054 w 6400800"/>
                <a:gd name="connsiteY1834" fmla="*/ 176689 h 514350"/>
                <a:gd name="connsiteX1835" fmla="*/ 2713196 w 6400800"/>
                <a:gd name="connsiteY1835" fmla="*/ 198596 h 514350"/>
                <a:gd name="connsiteX1836" fmla="*/ 2709386 w 6400800"/>
                <a:gd name="connsiteY1836" fmla="*/ 230029 h 514350"/>
                <a:gd name="connsiteX1837" fmla="*/ 2704624 w 6400800"/>
                <a:gd name="connsiteY1837" fmla="*/ 218599 h 514350"/>
                <a:gd name="connsiteX1838" fmla="*/ 2703671 w 6400800"/>
                <a:gd name="connsiteY1838" fmla="*/ 199549 h 514350"/>
                <a:gd name="connsiteX1839" fmla="*/ 2703671 w 6400800"/>
                <a:gd name="connsiteY1839" fmla="*/ 163354 h 514350"/>
                <a:gd name="connsiteX1840" fmla="*/ 2706529 w 6400800"/>
                <a:gd name="connsiteY1840" fmla="*/ 164306 h 514350"/>
                <a:gd name="connsiteX1841" fmla="*/ 2710339 w 6400800"/>
                <a:gd name="connsiteY1841" fmla="*/ 167164 h 514350"/>
                <a:gd name="connsiteX1842" fmla="*/ 2714149 w 6400800"/>
                <a:gd name="connsiteY1842" fmla="*/ 176689 h 514350"/>
                <a:gd name="connsiteX1843" fmla="*/ 2712244 w 6400800"/>
                <a:gd name="connsiteY1843" fmla="*/ 166211 h 514350"/>
                <a:gd name="connsiteX1844" fmla="*/ 2708434 w 6400800"/>
                <a:gd name="connsiteY1844" fmla="*/ 161449 h 514350"/>
                <a:gd name="connsiteX1845" fmla="*/ 2702719 w 6400800"/>
                <a:gd name="connsiteY1845" fmla="*/ 159544 h 514350"/>
                <a:gd name="connsiteX1846" fmla="*/ 2700814 w 6400800"/>
                <a:gd name="connsiteY1846" fmla="*/ 159544 h 514350"/>
                <a:gd name="connsiteX1847" fmla="*/ 2700814 w 6400800"/>
                <a:gd name="connsiteY1847" fmla="*/ 161449 h 514350"/>
                <a:gd name="connsiteX1848" fmla="*/ 2697004 w 6400800"/>
                <a:gd name="connsiteY1848" fmla="*/ 193834 h 514350"/>
                <a:gd name="connsiteX1849" fmla="*/ 2693194 w 6400800"/>
                <a:gd name="connsiteY1849" fmla="*/ 181451 h 514350"/>
                <a:gd name="connsiteX1850" fmla="*/ 2697004 w 6400800"/>
                <a:gd name="connsiteY1850" fmla="*/ 198596 h 514350"/>
                <a:gd name="connsiteX1851" fmla="*/ 2697004 w 6400800"/>
                <a:gd name="connsiteY1851" fmla="*/ 198596 h 514350"/>
                <a:gd name="connsiteX1852" fmla="*/ 2696051 w 6400800"/>
                <a:gd name="connsiteY1852" fmla="*/ 236696 h 514350"/>
                <a:gd name="connsiteX1853" fmla="*/ 2697004 w 6400800"/>
                <a:gd name="connsiteY1853" fmla="*/ 262414 h 514350"/>
                <a:gd name="connsiteX1854" fmla="*/ 2697004 w 6400800"/>
                <a:gd name="connsiteY1854" fmla="*/ 263366 h 514350"/>
                <a:gd name="connsiteX1855" fmla="*/ 2696051 w 6400800"/>
                <a:gd name="connsiteY1855" fmla="*/ 265271 h 514350"/>
                <a:gd name="connsiteX1856" fmla="*/ 2694146 w 6400800"/>
                <a:gd name="connsiteY1856" fmla="*/ 261461 h 514350"/>
                <a:gd name="connsiteX1857" fmla="*/ 2685574 w 6400800"/>
                <a:gd name="connsiteY1857" fmla="*/ 246221 h 514350"/>
                <a:gd name="connsiteX1858" fmla="*/ 2677954 w 6400800"/>
                <a:gd name="connsiteY1858" fmla="*/ 210979 h 514350"/>
                <a:gd name="connsiteX1859" fmla="*/ 2676049 w 6400800"/>
                <a:gd name="connsiteY1859" fmla="*/ 200501 h 514350"/>
                <a:gd name="connsiteX1860" fmla="*/ 2681764 w 6400800"/>
                <a:gd name="connsiteY1860" fmla="*/ 173831 h 514350"/>
                <a:gd name="connsiteX1861" fmla="*/ 2687479 w 6400800"/>
                <a:gd name="connsiteY1861" fmla="*/ 144304 h 514350"/>
                <a:gd name="connsiteX1862" fmla="*/ 2691289 w 6400800"/>
                <a:gd name="connsiteY1862" fmla="*/ 118586 h 514350"/>
                <a:gd name="connsiteX1863" fmla="*/ 2683669 w 6400800"/>
                <a:gd name="connsiteY1863" fmla="*/ 143351 h 514350"/>
                <a:gd name="connsiteX1864" fmla="*/ 2677954 w 6400800"/>
                <a:gd name="connsiteY1864" fmla="*/ 162401 h 514350"/>
                <a:gd name="connsiteX1865" fmla="*/ 2673191 w 6400800"/>
                <a:gd name="connsiteY1865" fmla="*/ 176689 h 514350"/>
                <a:gd name="connsiteX1866" fmla="*/ 2673191 w 6400800"/>
                <a:gd name="connsiteY1866" fmla="*/ 177641 h 514350"/>
                <a:gd name="connsiteX1867" fmla="*/ 2672239 w 6400800"/>
                <a:gd name="connsiteY1867" fmla="*/ 173831 h 514350"/>
                <a:gd name="connsiteX1868" fmla="*/ 2666524 w 6400800"/>
                <a:gd name="connsiteY1868" fmla="*/ 146209 h 514350"/>
                <a:gd name="connsiteX1869" fmla="*/ 2661761 w 6400800"/>
                <a:gd name="connsiteY1869" fmla="*/ 121444 h 514350"/>
                <a:gd name="connsiteX1870" fmla="*/ 2662714 w 6400800"/>
                <a:gd name="connsiteY1870" fmla="*/ 146209 h 514350"/>
                <a:gd name="connsiteX1871" fmla="*/ 2666524 w 6400800"/>
                <a:gd name="connsiteY1871" fmla="*/ 196691 h 514350"/>
                <a:gd name="connsiteX1872" fmla="*/ 2665571 w 6400800"/>
                <a:gd name="connsiteY1872" fmla="*/ 200501 h 514350"/>
                <a:gd name="connsiteX1873" fmla="*/ 2664619 w 6400800"/>
                <a:gd name="connsiteY1873" fmla="*/ 204311 h 514350"/>
                <a:gd name="connsiteX1874" fmla="*/ 2649379 w 6400800"/>
                <a:gd name="connsiteY1874" fmla="*/ 174784 h 514350"/>
                <a:gd name="connsiteX1875" fmla="*/ 2634139 w 6400800"/>
                <a:gd name="connsiteY1875" fmla="*/ 141446 h 514350"/>
                <a:gd name="connsiteX1876" fmla="*/ 2646521 w 6400800"/>
                <a:gd name="connsiteY1876" fmla="*/ 176689 h 514350"/>
                <a:gd name="connsiteX1877" fmla="*/ 2661761 w 6400800"/>
                <a:gd name="connsiteY1877" fmla="*/ 214789 h 514350"/>
                <a:gd name="connsiteX1878" fmla="*/ 2660809 w 6400800"/>
                <a:gd name="connsiteY1878" fmla="*/ 216694 h 514350"/>
                <a:gd name="connsiteX1879" fmla="*/ 2652236 w 6400800"/>
                <a:gd name="connsiteY1879" fmla="*/ 201454 h 514350"/>
                <a:gd name="connsiteX1880" fmla="*/ 2648426 w 6400800"/>
                <a:gd name="connsiteY1880" fmla="*/ 196691 h 514350"/>
                <a:gd name="connsiteX1881" fmla="*/ 2651284 w 6400800"/>
                <a:gd name="connsiteY1881" fmla="*/ 202406 h 514350"/>
                <a:gd name="connsiteX1882" fmla="*/ 2657951 w 6400800"/>
                <a:gd name="connsiteY1882" fmla="*/ 218599 h 514350"/>
                <a:gd name="connsiteX1883" fmla="*/ 2658904 w 6400800"/>
                <a:gd name="connsiteY1883" fmla="*/ 223361 h 514350"/>
                <a:gd name="connsiteX1884" fmla="*/ 2657951 w 6400800"/>
                <a:gd name="connsiteY1884" fmla="*/ 226219 h 514350"/>
                <a:gd name="connsiteX1885" fmla="*/ 2647474 w 6400800"/>
                <a:gd name="connsiteY1885" fmla="*/ 193834 h 514350"/>
                <a:gd name="connsiteX1886" fmla="*/ 2638901 w 6400800"/>
                <a:gd name="connsiteY1886" fmla="*/ 169069 h 514350"/>
                <a:gd name="connsiteX1887" fmla="*/ 2631281 w 6400800"/>
                <a:gd name="connsiteY1887" fmla="*/ 147161 h 514350"/>
                <a:gd name="connsiteX1888" fmla="*/ 2635091 w 6400800"/>
                <a:gd name="connsiteY1888" fmla="*/ 170021 h 514350"/>
                <a:gd name="connsiteX1889" fmla="*/ 2647474 w 6400800"/>
                <a:gd name="connsiteY1889" fmla="*/ 230029 h 514350"/>
                <a:gd name="connsiteX1890" fmla="*/ 2651284 w 6400800"/>
                <a:gd name="connsiteY1890" fmla="*/ 247174 h 514350"/>
                <a:gd name="connsiteX1891" fmla="*/ 2642711 w 6400800"/>
                <a:gd name="connsiteY1891" fmla="*/ 273844 h 514350"/>
                <a:gd name="connsiteX1892" fmla="*/ 2640806 w 6400800"/>
                <a:gd name="connsiteY1892" fmla="*/ 270034 h 514350"/>
                <a:gd name="connsiteX1893" fmla="*/ 2639854 w 6400800"/>
                <a:gd name="connsiteY1893" fmla="*/ 268129 h 514350"/>
                <a:gd name="connsiteX1894" fmla="*/ 2643664 w 6400800"/>
                <a:gd name="connsiteY1894" fmla="*/ 220504 h 514350"/>
                <a:gd name="connsiteX1895" fmla="*/ 2636996 w 6400800"/>
                <a:gd name="connsiteY1895" fmla="*/ 247174 h 514350"/>
                <a:gd name="connsiteX1896" fmla="*/ 2636044 w 6400800"/>
                <a:gd name="connsiteY1896" fmla="*/ 204311 h 514350"/>
                <a:gd name="connsiteX1897" fmla="*/ 2630329 w 6400800"/>
                <a:gd name="connsiteY1897" fmla="*/ 240506 h 514350"/>
                <a:gd name="connsiteX1898" fmla="*/ 2623661 w 6400800"/>
                <a:gd name="connsiteY1898" fmla="*/ 206216 h 514350"/>
                <a:gd name="connsiteX1899" fmla="*/ 2610326 w 6400800"/>
                <a:gd name="connsiteY1899" fmla="*/ 147161 h 514350"/>
                <a:gd name="connsiteX1900" fmla="*/ 2615089 w 6400800"/>
                <a:gd name="connsiteY1900" fmla="*/ 137636 h 514350"/>
                <a:gd name="connsiteX1901" fmla="*/ 2610326 w 6400800"/>
                <a:gd name="connsiteY1901" fmla="*/ 145256 h 514350"/>
                <a:gd name="connsiteX1902" fmla="*/ 2609374 w 6400800"/>
                <a:gd name="connsiteY1902" fmla="*/ 143351 h 514350"/>
                <a:gd name="connsiteX1903" fmla="*/ 2603659 w 6400800"/>
                <a:gd name="connsiteY1903" fmla="*/ 119539 h 514350"/>
                <a:gd name="connsiteX1904" fmla="*/ 2605564 w 6400800"/>
                <a:gd name="connsiteY1904" fmla="*/ 144304 h 514350"/>
                <a:gd name="connsiteX1905" fmla="*/ 2606516 w 6400800"/>
                <a:gd name="connsiteY1905" fmla="*/ 150971 h 514350"/>
                <a:gd name="connsiteX1906" fmla="*/ 2600801 w 6400800"/>
                <a:gd name="connsiteY1906" fmla="*/ 158591 h 514350"/>
                <a:gd name="connsiteX1907" fmla="*/ 2589371 w 6400800"/>
                <a:gd name="connsiteY1907" fmla="*/ 175736 h 514350"/>
                <a:gd name="connsiteX1908" fmla="*/ 2588419 w 6400800"/>
                <a:gd name="connsiteY1908" fmla="*/ 171926 h 514350"/>
                <a:gd name="connsiteX1909" fmla="*/ 2583656 w 6400800"/>
                <a:gd name="connsiteY1909" fmla="*/ 147161 h 514350"/>
                <a:gd name="connsiteX1910" fmla="*/ 2584609 w 6400800"/>
                <a:gd name="connsiteY1910" fmla="*/ 171926 h 514350"/>
                <a:gd name="connsiteX1911" fmla="*/ 2585561 w 6400800"/>
                <a:gd name="connsiteY1911" fmla="*/ 182404 h 514350"/>
                <a:gd name="connsiteX1912" fmla="*/ 2585561 w 6400800"/>
                <a:gd name="connsiteY1912" fmla="*/ 182404 h 514350"/>
                <a:gd name="connsiteX1913" fmla="*/ 2576036 w 6400800"/>
                <a:gd name="connsiteY1913" fmla="*/ 198596 h 514350"/>
                <a:gd name="connsiteX1914" fmla="*/ 2574131 w 6400800"/>
                <a:gd name="connsiteY1914" fmla="*/ 177641 h 514350"/>
                <a:gd name="connsiteX1915" fmla="*/ 2573179 w 6400800"/>
                <a:gd name="connsiteY1915" fmla="*/ 157639 h 514350"/>
                <a:gd name="connsiteX1916" fmla="*/ 2571274 w 6400800"/>
                <a:gd name="connsiteY1916" fmla="*/ 170974 h 514350"/>
                <a:gd name="connsiteX1917" fmla="*/ 2571274 w 6400800"/>
                <a:gd name="connsiteY1917" fmla="*/ 170021 h 514350"/>
                <a:gd name="connsiteX1918" fmla="*/ 2569369 w 6400800"/>
                <a:gd name="connsiteY1918" fmla="*/ 149066 h 514350"/>
                <a:gd name="connsiteX1919" fmla="*/ 2568416 w 6400800"/>
                <a:gd name="connsiteY1919" fmla="*/ 130016 h 514350"/>
                <a:gd name="connsiteX1920" fmla="*/ 2567464 w 6400800"/>
                <a:gd name="connsiteY1920" fmla="*/ 99536 h 514350"/>
                <a:gd name="connsiteX1921" fmla="*/ 2566511 w 6400800"/>
                <a:gd name="connsiteY1921" fmla="*/ 72866 h 514350"/>
                <a:gd name="connsiteX1922" fmla="*/ 2562701 w 6400800"/>
                <a:gd name="connsiteY1922" fmla="*/ 99536 h 514350"/>
                <a:gd name="connsiteX1923" fmla="*/ 2560796 w 6400800"/>
                <a:gd name="connsiteY1923" fmla="*/ 130016 h 514350"/>
                <a:gd name="connsiteX1924" fmla="*/ 2559844 w 6400800"/>
                <a:gd name="connsiteY1924" fmla="*/ 149066 h 514350"/>
                <a:gd name="connsiteX1925" fmla="*/ 2559844 w 6400800"/>
                <a:gd name="connsiteY1925" fmla="*/ 170021 h 514350"/>
                <a:gd name="connsiteX1926" fmla="*/ 2560796 w 6400800"/>
                <a:gd name="connsiteY1926" fmla="*/ 195739 h 514350"/>
                <a:gd name="connsiteX1927" fmla="*/ 2558891 w 6400800"/>
                <a:gd name="connsiteY1927" fmla="*/ 191929 h 514350"/>
                <a:gd name="connsiteX1928" fmla="*/ 2561749 w 6400800"/>
                <a:gd name="connsiteY1928" fmla="*/ 200501 h 514350"/>
                <a:gd name="connsiteX1929" fmla="*/ 2562701 w 6400800"/>
                <a:gd name="connsiteY1929" fmla="*/ 217646 h 514350"/>
                <a:gd name="connsiteX1930" fmla="*/ 2562701 w 6400800"/>
                <a:gd name="connsiteY1930" fmla="*/ 223361 h 514350"/>
                <a:gd name="connsiteX1931" fmla="*/ 2551271 w 6400800"/>
                <a:gd name="connsiteY1931" fmla="*/ 247174 h 514350"/>
                <a:gd name="connsiteX1932" fmla="*/ 2549366 w 6400800"/>
                <a:gd name="connsiteY1932" fmla="*/ 230029 h 514350"/>
                <a:gd name="connsiteX1933" fmla="*/ 2555081 w 6400800"/>
                <a:gd name="connsiteY1933" fmla="*/ 212884 h 514350"/>
                <a:gd name="connsiteX1934" fmla="*/ 2546509 w 6400800"/>
                <a:gd name="connsiteY1934" fmla="*/ 228124 h 514350"/>
                <a:gd name="connsiteX1935" fmla="*/ 2547461 w 6400800"/>
                <a:gd name="connsiteY1935" fmla="*/ 222409 h 514350"/>
                <a:gd name="connsiteX1936" fmla="*/ 2553176 w 6400800"/>
                <a:gd name="connsiteY1936" fmla="*/ 196691 h 514350"/>
                <a:gd name="connsiteX1937" fmla="*/ 2543651 w 6400800"/>
                <a:gd name="connsiteY1937" fmla="*/ 221456 h 514350"/>
                <a:gd name="connsiteX1938" fmla="*/ 2536984 w 6400800"/>
                <a:gd name="connsiteY1938" fmla="*/ 246221 h 514350"/>
                <a:gd name="connsiteX1939" fmla="*/ 2536984 w 6400800"/>
                <a:gd name="connsiteY1939" fmla="*/ 244316 h 514350"/>
                <a:gd name="connsiteX1940" fmla="*/ 2534126 w 6400800"/>
                <a:gd name="connsiteY1940" fmla="*/ 221456 h 514350"/>
                <a:gd name="connsiteX1941" fmla="*/ 2533174 w 6400800"/>
                <a:gd name="connsiteY1941" fmla="*/ 244316 h 514350"/>
                <a:gd name="connsiteX1942" fmla="*/ 2533174 w 6400800"/>
                <a:gd name="connsiteY1942" fmla="*/ 250984 h 514350"/>
                <a:gd name="connsiteX1943" fmla="*/ 2532221 w 6400800"/>
                <a:gd name="connsiteY1943" fmla="*/ 245269 h 514350"/>
                <a:gd name="connsiteX1944" fmla="*/ 2524601 w 6400800"/>
                <a:gd name="connsiteY1944" fmla="*/ 213836 h 514350"/>
                <a:gd name="connsiteX1945" fmla="*/ 2517934 w 6400800"/>
                <a:gd name="connsiteY1945" fmla="*/ 190024 h 514350"/>
                <a:gd name="connsiteX1946" fmla="*/ 2511266 w 6400800"/>
                <a:gd name="connsiteY1946" fmla="*/ 169069 h 514350"/>
                <a:gd name="connsiteX1947" fmla="*/ 2514124 w 6400800"/>
                <a:gd name="connsiteY1947" fmla="*/ 190976 h 514350"/>
                <a:gd name="connsiteX1948" fmla="*/ 2516981 w 6400800"/>
                <a:gd name="connsiteY1948" fmla="*/ 215741 h 514350"/>
                <a:gd name="connsiteX1949" fmla="*/ 2520791 w 6400800"/>
                <a:gd name="connsiteY1949" fmla="*/ 248126 h 514350"/>
                <a:gd name="connsiteX1950" fmla="*/ 2523649 w 6400800"/>
                <a:gd name="connsiteY1950" fmla="*/ 277654 h 514350"/>
                <a:gd name="connsiteX1951" fmla="*/ 2521744 w 6400800"/>
                <a:gd name="connsiteY1951" fmla="*/ 282416 h 514350"/>
                <a:gd name="connsiteX1952" fmla="*/ 2516981 w 6400800"/>
                <a:gd name="connsiteY1952" fmla="*/ 263366 h 514350"/>
                <a:gd name="connsiteX1953" fmla="*/ 2511266 w 6400800"/>
                <a:gd name="connsiteY1953" fmla="*/ 243364 h 514350"/>
                <a:gd name="connsiteX1954" fmla="*/ 2513171 w 6400800"/>
                <a:gd name="connsiteY1954" fmla="*/ 264319 h 514350"/>
                <a:gd name="connsiteX1955" fmla="*/ 2514124 w 6400800"/>
                <a:gd name="connsiteY1955" fmla="*/ 277654 h 514350"/>
                <a:gd name="connsiteX1956" fmla="*/ 2504599 w 6400800"/>
                <a:gd name="connsiteY1956" fmla="*/ 256699 h 514350"/>
                <a:gd name="connsiteX1957" fmla="*/ 2504599 w 6400800"/>
                <a:gd name="connsiteY1957" fmla="*/ 253841 h 514350"/>
                <a:gd name="connsiteX1958" fmla="*/ 2503646 w 6400800"/>
                <a:gd name="connsiteY1958" fmla="*/ 255746 h 514350"/>
                <a:gd name="connsiteX1959" fmla="*/ 2497931 w 6400800"/>
                <a:gd name="connsiteY1959" fmla="*/ 243364 h 514350"/>
                <a:gd name="connsiteX1960" fmla="*/ 2502694 w 6400800"/>
                <a:gd name="connsiteY1960" fmla="*/ 259556 h 514350"/>
                <a:gd name="connsiteX1961" fmla="*/ 2499836 w 6400800"/>
                <a:gd name="connsiteY1961" fmla="*/ 267176 h 514350"/>
                <a:gd name="connsiteX1962" fmla="*/ 2498884 w 6400800"/>
                <a:gd name="connsiteY1962" fmla="*/ 270034 h 514350"/>
                <a:gd name="connsiteX1963" fmla="*/ 2494121 w 6400800"/>
                <a:gd name="connsiteY1963" fmla="*/ 223361 h 514350"/>
                <a:gd name="connsiteX1964" fmla="*/ 2496026 w 6400800"/>
                <a:gd name="connsiteY1964" fmla="*/ 220504 h 514350"/>
                <a:gd name="connsiteX1965" fmla="*/ 2506504 w 6400800"/>
                <a:gd name="connsiteY1965" fmla="*/ 203359 h 514350"/>
                <a:gd name="connsiteX1966" fmla="*/ 2510314 w 6400800"/>
                <a:gd name="connsiteY1966" fmla="*/ 197644 h 514350"/>
                <a:gd name="connsiteX1967" fmla="*/ 2505551 w 6400800"/>
                <a:gd name="connsiteY1967" fmla="*/ 203359 h 514350"/>
                <a:gd name="connsiteX1968" fmla="*/ 2493169 w 6400800"/>
                <a:gd name="connsiteY1968" fmla="*/ 217646 h 514350"/>
                <a:gd name="connsiteX1969" fmla="*/ 2493169 w 6400800"/>
                <a:gd name="connsiteY1969" fmla="*/ 216694 h 514350"/>
                <a:gd name="connsiteX1970" fmla="*/ 2491264 w 6400800"/>
                <a:gd name="connsiteY1970" fmla="*/ 196691 h 514350"/>
                <a:gd name="connsiteX1971" fmla="*/ 2501741 w 6400800"/>
                <a:gd name="connsiteY1971" fmla="*/ 183356 h 514350"/>
                <a:gd name="connsiteX1972" fmla="*/ 2490311 w 6400800"/>
                <a:gd name="connsiteY1972" fmla="*/ 192881 h 514350"/>
                <a:gd name="connsiteX1973" fmla="*/ 2489359 w 6400800"/>
                <a:gd name="connsiteY1973" fmla="*/ 176689 h 514350"/>
                <a:gd name="connsiteX1974" fmla="*/ 2497931 w 6400800"/>
                <a:gd name="connsiteY1974" fmla="*/ 165259 h 514350"/>
                <a:gd name="connsiteX1975" fmla="*/ 2502694 w 6400800"/>
                <a:gd name="connsiteY1975" fmla="*/ 159544 h 514350"/>
                <a:gd name="connsiteX1976" fmla="*/ 2496979 w 6400800"/>
                <a:gd name="connsiteY1976" fmla="*/ 164306 h 514350"/>
                <a:gd name="connsiteX1977" fmla="*/ 2489359 w 6400800"/>
                <a:gd name="connsiteY1977" fmla="*/ 171926 h 514350"/>
                <a:gd name="connsiteX1978" fmla="*/ 2488406 w 6400800"/>
                <a:gd name="connsiteY1978" fmla="*/ 153829 h 514350"/>
                <a:gd name="connsiteX1979" fmla="*/ 2487454 w 6400800"/>
                <a:gd name="connsiteY1979" fmla="*/ 135731 h 514350"/>
                <a:gd name="connsiteX1980" fmla="*/ 2494121 w 6400800"/>
                <a:gd name="connsiteY1980" fmla="*/ 125254 h 514350"/>
                <a:gd name="connsiteX1981" fmla="*/ 2487454 w 6400800"/>
                <a:gd name="connsiteY1981" fmla="*/ 132874 h 514350"/>
                <a:gd name="connsiteX1982" fmla="*/ 2487454 w 6400800"/>
                <a:gd name="connsiteY1982" fmla="*/ 129064 h 514350"/>
                <a:gd name="connsiteX1983" fmla="*/ 2486501 w 6400800"/>
                <a:gd name="connsiteY1983" fmla="*/ 132874 h 514350"/>
                <a:gd name="connsiteX1984" fmla="*/ 2475071 w 6400800"/>
                <a:gd name="connsiteY1984" fmla="*/ 146209 h 514350"/>
                <a:gd name="connsiteX1985" fmla="*/ 2455069 w 6400800"/>
                <a:gd name="connsiteY1985" fmla="*/ 171926 h 514350"/>
                <a:gd name="connsiteX1986" fmla="*/ 2442686 w 6400800"/>
                <a:gd name="connsiteY1986" fmla="*/ 188119 h 514350"/>
                <a:gd name="connsiteX1987" fmla="*/ 2433161 w 6400800"/>
                <a:gd name="connsiteY1987" fmla="*/ 203359 h 514350"/>
                <a:gd name="connsiteX1988" fmla="*/ 2432209 w 6400800"/>
                <a:gd name="connsiteY1988" fmla="*/ 191929 h 514350"/>
                <a:gd name="connsiteX1989" fmla="*/ 2425541 w 6400800"/>
                <a:gd name="connsiteY1989" fmla="*/ 110966 h 514350"/>
                <a:gd name="connsiteX1990" fmla="*/ 2424589 w 6400800"/>
                <a:gd name="connsiteY1990" fmla="*/ 88106 h 514350"/>
                <a:gd name="connsiteX1991" fmla="*/ 2424589 w 6400800"/>
                <a:gd name="connsiteY1991" fmla="*/ 80486 h 514350"/>
                <a:gd name="connsiteX1992" fmla="*/ 2423636 w 6400800"/>
                <a:gd name="connsiteY1992" fmla="*/ 88106 h 514350"/>
                <a:gd name="connsiteX1993" fmla="*/ 2421731 w 6400800"/>
                <a:gd name="connsiteY1993" fmla="*/ 110966 h 514350"/>
                <a:gd name="connsiteX1994" fmla="*/ 2420779 w 6400800"/>
                <a:gd name="connsiteY1994" fmla="*/ 146209 h 514350"/>
                <a:gd name="connsiteX1995" fmla="*/ 2421731 w 6400800"/>
                <a:gd name="connsiteY1995" fmla="*/ 191929 h 514350"/>
                <a:gd name="connsiteX1996" fmla="*/ 2422684 w 6400800"/>
                <a:gd name="connsiteY1996" fmla="*/ 220504 h 514350"/>
                <a:gd name="connsiteX1997" fmla="*/ 2405539 w 6400800"/>
                <a:gd name="connsiteY1997" fmla="*/ 250031 h 514350"/>
                <a:gd name="connsiteX1998" fmla="*/ 2401729 w 6400800"/>
                <a:gd name="connsiteY1998" fmla="*/ 256699 h 514350"/>
                <a:gd name="connsiteX1999" fmla="*/ 2400776 w 6400800"/>
                <a:gd name="connsiteY1999" fmla="*/ 255746 h 514350"/>
                <a:gd name="connsiteX2000" fmla="*/ 2392204 w 6400800"/>
                <a:gd name="connsiteY2000" fmla="*/ 233839 h 514350"/>
                <a:gd name="connsiteX2001" fmla="*/ 2385536 w 6400800"/>
                <a:gd name="connsiteY2001" fmla="*/ 170974 h 514350"/>
                <a:gd name="connsiteX2002" fmla="*/ 2382679 w 6400800"/>
                <a:gd name="connsiteY2002" fmla="*/ 150971 h 514350"/>
                <a:gd name="connsiteX2003" fmla="*/ 2384584 w 6400800"/>
                <a:gd name="connsiteY2003" fmla="*/ 140494 h 514350"/>
                <a:gd name="connsiteX2004" fmla="*/ 2382679 w 6400800"/>
                <a:gd name="connsiteY2004" fmla="*/ 135731 h 514350"/>
                <a:gd name="connsiteX2005" fmla="*/ 2390299 w 6400800"/>
                <a:gd name="connsiteY2005" fmla="*/ 114776 h 514350"/>
                <a:gd name="connsiteX2006" fmla="*/ 2427446 w 6400800"/>
                <a:gd name="connsiteY2006" fmla="*/ 12859 h 514350"/>
                <a:gd name="connsiteX2007" fmla="*/ 2380774 w 6400800"/>
                <a:gd name="connsiteY2007" fmla="*/ 110014 h 514350"/>
                <a:gd name="connsiteX2008" fmla="*/ 2358866 w 6400800"/>
                <a:gd name="connsiteY2008" fmla="*/ 157639 h 514350"/>
                <a:gd name="connsiteX2009" fmla="*/ 2355056 w 6400800"/>
                <a:gd name="connsiteY2009" fmla="*/ 166211 h 514350"/>
                <a:gd name="connsiteX2010" fmla="*/ 2357914 w 6400800"/>
                <a:gd name="connsiteY2010" fmla="*/ 155734 h 514350"/>
                <a:gd name="connsiteX2011" fmla="*/ 2362676 w 6400800"/>
                <a:gd name="connsiteY2011" fmla="*/ 132874 h 514350"/>
                <a:gd name="connsiteX2012" fmla="*/ 2354104 w 6400800"/>
                <a:gd name="connsiteY2012" fmla="*/ 154781 h 514350"/>
                <a:gd name="connsiteX2013" fmla="*/ 2344579 w 6400800"/>
                <a:gd name="connsiteY2013" fmla="*/ 179546 h 514350"/>
                <a:gd name="connsiteX2014" fmla="*/ 2334101 w 6400800"/>
                <a:gd name="connsiteY2014" fmla="*/ 211931 h 514350"/>
                <a:gd name="connsiteX2015" fmla="*/ 2334101 w 6400800"/>
                <a:gd name="connsiteY2015" fmla="*/ 211931 h 514350"/>
                <a:gd name="connsiteX2016" fmla="*/ 2340769 w 6400800"/>
                <a:gd name="connsiteY2016" fmla="*/ 171926 h 514350"/>
                <a:gd name="connsiteX2017" fmla="*/ 2347436 w 6400800"/>
                <a:gd name="connsiteY2017" fmla="*/ 130969 h 514350"/>
                <a:gd name="connsiteX2018" fmla="*/ 2354104 w 6400800"/>
                <a:gd name="connsiteY2018" fmla="*/ 99536 h 514350"/>
                <a:gd name="connsiteX2019" fmla="*/ 2358866 w 6400800"/>
                <a:gd name="connsiteY2019" fmla="*/ 71914 h 514350"/>
                <a:gd name="connsiteX2020" fmla="*/ 2350294 w 6400800"/>
                <a:gd name="connsiteY2020" fmla="*/ 98584 h 514350"/>
                <a:gd name="connsiteX2021" fmla="*/ 2340769 w 6400800"/>
                <a:gd name="connsiteY2021" fmla="*/ 129064 h 514350"/>
                <a:gd name="connsiteX2022" fmla="*/ 2330291 w 6400800"/>
                <a:gd name="connsiteY2022" fmla="*/ 170021 h 514350"/>
                <a:gd name="connsiteX2023" fmla="*/ 2324576 w 6400800"/>
                <a:gd name="connsiteY2023" fmla="*/ 193834 h 514350"/>
                <a:gd name="connsiteX2024" fmla="*/ 2320766 w 6400800"/>
                <a:gd name="connsiteY2024" fmla="*/ 185261 h 514350"/>
                <a:gd name="connsiteX2025" fmla="*/ 2326481 w 6400800"/>
                <a:gd name="connsiteY2025" fmla="*/ 157639 h 514350"/>
                <a:gd name="connsiteX2026" fmla="*/ 2318861 w 6400800"/>
                <a:gd name="connsiteY2026" fmla="*/ 179546 h 514350"/>
                <a:gd name="connsiteX2027" fmla="*/ 2315051 w 6400800"/>
                <a:gd name="connsiteY2027" fmla="*/ 170974 h 514350"/>
                <a:gd name="connsiteX2028" fmla="*/ 2317909 w 6400800"/>
                <a:gd name="connsiteY2028" fmla="*/ 181451 h 514350"/>
                <a:gd name="connsiteX2029" fmla="*/ 2313146 w 6400800"/>
                <a:gd name="connsiteY2029" fmla="*/ 193834 h 514350"/>
                <a:gd name="connsiteX2030" fmla="*/ 2311241 w 6400800"/>
                <a:gd name="connsiteY2030" fmla="*/ 190976 h 514350"/>
                <a:gd name="connsiteX2031" fmla="*/ 2314099 w 6400800"/>
                <a:gd name="connsiteY2031" fmla="*/ 141446 h 514350"/>
                <a:gd name="connsiteX2032" fmla="*/ 2298859 w 6400800"/>
                <a:gd name="connsiteY2032" fmla="*/ 202406 h 514350"/>
                <a:gd name="connsiteX2033" fmla="*/ 2292191 w 6400800"/>
                <a:gd name="connsiteY2033" fmla="*/ 231934 h 514350"/>
                <a:gd name="connsiteX2034" fmla="*/ 2289334 w 6400800"/>
                <a:gd name="connsiteY2034" fmla="*/ 250031 h 514350"/>
                <a:gd name="connsiteX2035" fmla="*/ 2285524 w 6400800"/>
                <a:gd name="connsiteY2035" fmla="*/ 259556 h 514350"/>
                <a:gd name="connsiteX2036" fmla="*/ 2275999 w 6400800"/>
                <a:gd name="connsiteY2036" fmla="*/ 287179 h 514350"/>
                <a:gd name="connsiteX2037" fmla="*/ 2275999 w 6400800"/>
                <a:gd name="connsiteY2037" fmla="*/ 288131 h 514350"/>
                <a:gd name="connsiteX2038" fmla="*/ 2275999 w 6400800"/>
                <a:gd name="connsiteY2038" fmla="*/ 282416 h 514350"/>
                <a:gd name="connsiteX2039" fmla="*/ 2276951 w 6400800"/>
                <a:gd name="connsiteY2039" fmla="*/ 265271 h 514350"/>
                <a:gd name="connsiteX2040" fmla="*/ 2272189 w 6400800"/>
                <a:gd name="connsiteY2040" fmla="*/ 281464 h 514350"/>
                <a:gd name="connsiteX2041" fmla="*/ 2269331 w 6400800"/>
                <a:gd name="connsiteY2041" fmla="*/ 290989 h 514350"/>
                <a:gd name="connsiteX2042" fmla="*/ 2269331 w 6400800"/>
                <a:gd name="connsiteY2042" fmla="*/ 290989 h 514350"/>
                <a:gd name="connsiteX2043" fmla="*/ 2269331 w 6400800"/>
                <a:gd name="connsiteY2043" fmla="*/ 261461 h 514350"/>
                <a:gd name="connsiteX2044" fmla="*/ 2270284 w 6400800"/>
                <a:gd name="connsiteY2044" fmla="*/ 238601 h 514350"/>
                <a:gd name="connsiteX2045" fmla="*/ 2272189 w 6400800"/>
                <a:gd name="connsiteY2045" fmla="*/ 225266 h 514350"/>
                <a:gd name="connsiteX2046" fmla="*/ 2275999 w 6400800"/>
                <a:gd name="connsiteY2046" fmla="*/ 210979 h 514350"/>
                <a:gd name="connsiteX2047" fmla="*/ 2266474 w 6400800"/>
                <a:gd name="connsiteY2047" fmla="*/ 232886 h 514350"/>
                <a:gd name="connsiteX2048" fmla="*/ 2267426 w 6400800"/>
                <a:gd name="connsiteY2048" fmla="*/ 228124 h 514350"/>
                <a:gd name="connsiteX2049" fmla="*/ 2263616 w 6400800"/>
                <a:gd name="connsiteY2049" fmla="*/ 235744 h 514350"/>
                <a:gd name="connsiteX2050" fmla="*/ 2265521 w 6400800"/>
                <a:gd name="connsiteY2050" fmla="*/ 220504 h 514350"/>
                <a:gd name="connsiteX2051" fmla="*/ 2256949 w 6400800"/>
                <a:gd name="connsiteY2051" fmla="*/ 247174 h 514350"/>
                <a:gd name="connsiteX2052" fmla="*/ 2252186 w 6400800"/>
                <a:gd name="connsiteY2052" fmla="*/ 258604 h 514350"/>
                <a:gd name="connsiteX2053" fmla="*/ 2250281 w 6400800"/>
                <a:gd name="connsiteY2053" fmla="*/ 262414 h 514350"/>
                <a:gd name="connsiteX2054" fmla="*/ 2255044 w 6400800"/>
                <a:gd name="connsiteY2054" fmla="*/ 243364 h 514350"/>
                <a:gd name="connsiteX2055" fmla="*/ 2267426 w 6400800"/>
                <a:gd name="connsiteY2055" fmla="*/ 178594 h 514350"/>
                <a:gd name="connsiteX2056" fmla="*/ 2270284 w 6400800"/>
                <a:gd name="connsiteY2056" fmla="*/ 153829 h 514350"/>
                <a:gd name="connsiteX2057" fmla="*/ 2262664 w 6400800"/>
                <a:gd name="connsiteY2057" fmla="*/ 177641 h 514350"/>
                <a:gd name="connsiteX2058" fmla="*/ 2254091 w 6400800"/>
                <a:gd name="connsiteY2058" fmla="*/ 205264 h 514350"/>
                <a:gd name="connsiteX2059" fmla="*/ 2246471 w 6400800"/>
                <a:gd name="connsiteY2059" fmla="*/ 230981 h 514350"/>
                <a:gd name="connsiteX2060" fmla="*/ 2241709 w 6400800"/>
                <a:gd name="connsiteY2060" fmla="*/ 244316 h 514350"/>
                <a:gd name="connsiteX2061" fmla="*/ 2239804 w 6400800"/>
                <a:gd name="connsiteY2061" fmla="*/ 233839 h 514350"/>
                <a:gd name="connsiteX2062" fmla="*/ 2233136 w 6400800"/>
                <a:gd name="connsiteY2062" fmla="*/ 205264 h 514350"/>
                <a:gd name="connsiteX2063" fmla="*/ 2237899 w 6400800"/>
                <a:gd name="connsiteY2063" fmla="*/ 255746 h 514350"/>
                <a:gd name="connsiteX2064" fmla="*/ 2234089 w 6400800"/>
                <a:gd name="connsiteY2064" fmla="*/ 269081 h 514350"/>
                <a:gd name="connsiteX2065" fmla="*/ 2233136 w 6400800"/>
                <a:gd name="connsiteY2065" fmla="*/ 270034 h 514350"/>
                <a:gd name="connsiteX2066" fmla="*/ 2233136 w 6400800"/>
                <a:gd name="connsiteY2066" fmla="*/ 263366 h 514350"/>
                <a:gd name="connsiteX2067" fmla="*/ 2231231 w 6400800"/>
                <a:gd name="connsiteY2067" fmla="*/ 234791 h 514350"/>
                <a:gd name="connsiteX2068" fmla="*/ 2228374 w 6400800"/>
                <a:gd name="connsiteY2068" fmla="*/ 207169 h 514350"/>
                <a:gd name="connsiteX2069" fmla="*/ 2230279 w 6400800"/>
                <a:gd name="connsiteY2069" fmla="*/ 193834 h 514350"/>
                <a:gd name="connsiteX2070" fmla="*/ 2226469 w 6400800"/>
                <a:gd name="connsiteY2070" fmla="*/ 204311 h 514350"/>
                <a:gd name="connsiteX2071" fmla="*/ 2222659 w 6400800"/>
                <a:gd name="connsiteY2071" fmla="*/ 200501 h 514350"/>
                <a:gd name="connsiteX2072" fmla="*/ 2220754 w 6400800"/>
                <a:gd name="connsiteY2072" fmla="*/ 199549 h 514350"/>
                <a:gd name="connsiteX2073" fmla="*/ 2217896 w 6400800"/>
                <a:gd name="connsiteY2073" fmla="*/ 199549 h 514350"/>
                <a:gd name="connsiteX2074" fmla="*/ 2215039 w 6400800"/>
                <a:gd name="connsiteY2074" fmla="*/ 202406 h 514350"/>
                <a:gd name="connsiteX2075" fmla="*/ 2213134 w 6400800"/>
                <a:gd name="connsiteY2075" fmla="*/ 214789 h 514350"/>
                <a:gd name="connsiteX2076" fmla="*/ 2217896 w 6400800"/>
                <a:gd name="connsiteY2076" fmla="*/ 203359 h 514350"/>
                <a:gd name="connsiteX2077" fmla="*/ 2219801 w 6400800"/>
                <a:gd name="connsiteY2077" fmla="*/ 201454 h 514350"/>
                <a:gd name="connsiteX2078" fmla="*/ 2220754 w 6400800"/>
                <a:gd name="connsiteY2078" fmla="*/ 202406 h 514350"/>
                <a:gd name="connsiteX2079" fmla="*/ 2223611 w 6400800"/>
                <a:gd name="connsiteY2079" fmla="*/ 207169 h 514350"/>
                <a:gd name="connsiteX2080" fmla="*/ 2223611 w 6400800"/>
                <a:gd name="connsiteY2080" fmla="*/ 215741 h 514350"/>
                <a:gd name="connsiteX2081" fmla="*/ 2223611 w 6400800"/>
                <a:gd name="connsiteY2081" fmla="*/ 215741 h 514350"/>
                <a:gd name="connsiteX2082" fmla="*/ 2215991 w 6400800"/>
                <a:gd name="connsiteY2082" fmla="*/ 241459 h 514350"/>
                <a:gd name="connsiteX2083" fmla="*/ 2206466 w 6400800"/>
                <a:gd name="connsiteY2083" fmla="*/ 274796 h 514350"/>
                <a:gd name="connsiteX2084" fmla="*/ 2196941 w 6400800"/>
                <a:gd name="connsiteY2084" fmla="*/ 313849 h 514350"/>
                <a:gd name="connsiteX2085" fmla="*/ 2195989 w 6400800"/>
                <a:gd name="connsiteY2085" fmla="*/ 305276 h 514350"/>
                <a:gd name="connsiteX2086" fmla="*/ 2195036 w 6400800"/>
                <a:gd name="connsiteY2086" fmla="*/ 317659 h 514350"/>
                <a:gd name="connsiteX2087" fmla="*/ 2193131 w 6400800"/>
                <a:gd name="connsiteY2087" fmla="*/ 314801 h 514350"/>
                <a:gd name="connsiteX2088" fmla="*/ 2195036 w 6400800"/>
                <a:gd name="connsiteY2088" fmla="*/ 318611 h 514350"/>
                <a:gd name="connsiteX2089" fmla="*/ 2195036 w 6400800"/>
                <a:gd name="connsiteY2089" fmla="*/ 323374 h 514350"/>
                <a:gd name="connsiteX2090" fmla="*/ 2192179 w 6400800"/>
                <a:gd name="connsiteY2090" fmla="*/ 334804 h 514350"/>
                <a:gd name="connsiteX2091" fmla="*/ 2190274 w 6400800"/>
                <a:gd name="connsiteY2091" fmla="*/ 330994 h 514350"/>
                <a:gd name="connsiteX2092" fmla="*/ 2191226 w 6400800"/>
                <a:gd name="connsiteY2092" fmla="*/ 330041 h 514350"/>
                <a:gd name="connsiteX2093" fmla="*/ 2190274 w 6400800"/>
                <a:gd name="connsiteY2093" fmla="*/ 330994 h 514350"/>
                <a:gd name="connsiteX2094" fmla="*/ 2188369 w 6400800"/>
                <a:gd name="connsiteY2094" fmla="*/ 326231 h 514350"/>
                <a:gd name="connsiteX2095" fmla="*/ 2189321 w 6400800"/>
                <a:gd name="connsiteY2095" fmla="*/ 331946 h 514350"/>
                <a:gd name="connsiteX2096" fmla="*/ 2188369 w 6400800"/>
                <a:gd name="connsiteY2096" fmla="*/ 332899 h 514350"/>
                <a:gd name="connsiteX2097" fmla="*/ 2185511 w 6400800"/>
                <a:gd name="connsiteY2097" fmla="*/ 315754 h 514350"/>
                <a:gd name="connsiteX2098" fmla="*/ 2184559 w 6400800"/>
                <a:gd name="connsiteY2098" fmla="*/ 336709 h 514350"/>
                <a:gd name="connsiteX2099" fmla="*/ 2184559 w 6400800"/>
                <a:gd name="connsiteY2099" fmla="*/ 337661 h 514350"/>
                <a:gd name="connsiteX2100" fmla="*/ 2179796 w 6400800"/>
                <a:gd name="connsiteY2100" fmla="*/ 343376 h 514350"/>
                <a:gd name="connsiteX2101" fmla="*/ 2178844 w 6400800"/>
                <a:gd name="connsiteY2101" fmla="*/ 340519 h 514350"/>
                <a:gd name="connsiteX2102" fmla="*/ 2192179 w 6400800"/>
                <a:gd name="connsiteY2102" fmla="*/ 283369 h 514350"/>
                <a:gd name="connsiteX2103" fmla="*/ 2212181 w 6400800"/>
                <a:gd name="connsiteY2103" fmla="*/ 190024 h 514350"/>
                <a:gd name="connsiteX2104" fmla="*/ 2183606 w 6400800"/>
                <a:gd name="connsiteY2104" fmla="*/ 272891 h 514350"/>
                <a:gd name="connsiteX2105" fmla="*/ 2187416 w 6400800"/>
                <a:gd name="connsiteY2105" fmla="*/ 253841 h 514350"/>
                <a:gd name="connsiteX2106" fmla="*/ 2192179 w 6400800"/>
                <a:gd name="connsiteY2106" fmla="*/ 231934 h 514350"/>
                <a:gd name="connsiteX2107" fmla="*/ 2196941 w 6400800"/>
                <a:gd name="connsiteY2107" fmla="*/ 210026 h 514350"/>
                <a:gd name="connsiteX2108" fmla="*/ 2200751 w 6400800"/>
                <a:gd name="connsiteY2108" fmla="*/ 193834 h 514350"/>
                <a:gd name="connsiteX2109" fmla="*/ 2204561 w 6400800"/>
                <a:gd name="connsiteY2109" fmla="*/ 179546 h 514350"/>
                <a:gd name="connsiteX2110" fmla="*/ 2211229 w 6400800"/>
                <a:gd name="connsiteY2110" fmla="*/ 155734 h 514350"/>
                <a:gd name="connsiteX2111" fmla="*/ 2217896 w 6400800"/>
                <a:gd name="connsiteY2111" fmla="*/ 134779 h 514350"/>
                <a:gd name="connsiteX2112" fmla="*/ 2211229 w 6400800"/>
                <a:gd name="connsiteY2112" fmla="*/ 148114 h 514350"/>
                <a:gd name="connsiteX2113" fmla="*/ 2211229 w 6400800"/>
                <a:gd name="connsiteY2113" fmla="*/ 147161 h 514350"/>
                <a:gd name="connsiteX2114" fmla="*/ 2216944 w 6400800"/>
                <a:gd name="connsiteY2114" fmla="*/ 125254 h 514350"/>
                <a:gd name="connsiteX2115" fmla="*/ 2222659 w 6400800"/>
                <a:gd name="connsiteY2115" fmla="*/ 105251 h 514350"/>
                <a:gd name="connsiteX2116" fmla="*/ 2233136 w 6400800"/>
                <a:gd name="connsiteY2116" fmla="*/ 72866 h 514350"/>
                <a:gd name="connsiteX2117" fmla="*/ 2242661 w 6400800"/>
                <a:gd name="connsiteY2117" fmla="*/ 45244 h 514350"/>
                <a:gd name="connsiteX2118" fmla="*/ 2229326 w 6400800"/>
                <a:gd name="connsiteY2118" fmla="*/ 71914 h 514350"/>
                <a:gd name="connsiteX2119" fmla="*/ 2215991 w 6400800"/>
                <a:gd name="connsiteY2119" fmla="*/ 103346 h 514350"/>
                <a:gd name="connsiteX2120" fmla="*/ 2208371 w 6400800"/>
                <a:gd name="connsiteY2120" fmla="*/ 122396 h 514350"/>
                <a:gd name="connsiteX2121" fmla="*/ 2200751 w 6400800"/>
                <a:gd name="connsiteY2121" fmla="*/ 144304 h 514350"/>
                <a:gd name="connsiteX2122" fmla="*/ 2184559 w 6400800"/>
                <a:gd name="connsiteY2122" fmla="*/ 193834 h 514350"/>
                <a:gd name="connsiteX2123" fmla="*/ 2175034 w 6400800"/>
                <a:gd name="connsiteY2123" fmla="*/ 228124 h 514350"/>
                <a:gd name="connsiteX2124" fmla="*/ 2177891 w 6400800"/>
                <a:gd name="connsiteY2124" fmla="*/ 203359 h 514350"/>
                <a:gd name="connsiteX2125" fmla="*/ 2178844 w 6400800"/>
                <a:gd name="connsiteY2125" fmla="*/ 190024 h 514350"/>
                <a:gd name="connsiteX2126" fmla="*/ 2180749 w 6400800"/>
                <a:gd name="connsiteY2126" fmla="*/ 184309 h 514350"/>
                <a:gd name="connsiteX2127" fmla="*/ 2179796 w 6400800"/>
                <a:gd name="connsiteY2127" fmla="*/ 187166 h 514350"/>
                <a:gd name="connsiteX2128" fmla="*/ 2180749 w 6400800"/>
                <a:gd name="connsiteY2128" fmla="*/ 176689 h 514350"/>
                <a:gd name="connsiteX2129" fmla="*/ 2175986 w 6400800"/>
                <a:gd name="connsiteY2129" fmla="*/ 194786 h 514350"/>
                <a:gd name="connsiteX2130" fmla="*/ 2170271 w 6400800"/>
                <a:gd name="connsiteY2130" fmla="*/ 208121 h 514350"/>
                <a:gd name="connsiteX2131" fmla="*/ 2144554 w 6400800"/>
                <a:gd name="connsiteY2131" fmla="*/ 271939 h 514350"/>
                <a:gd name="connsiteX2132" fmla="*/ 2135029 w 6400800"/>
                <a:gd name="connsiteY2132" fmla="*/ 296704 h 514350"/>
                <a:gd name="connsiteX2133" fmla="*/ 2135029 w 6400800"/>
                <a:gd name="connsiteY2133" fmla="*/ 295751 h 514350"/>
                <a:gd name="connsiteX2134" fmla="*/ 2129314 w 6400800"/>
                <a:gd name="connsiteY2134" fmla="*/ 282416 h 514350"/>
                <a:gd name="connsiteX2135" fmla="*/ 2137886 w 6400800"/>
                <a:gd name="connsiteY2135" fmla="*/ 231934 h 514350"/>
                <a:gd name="connsiteX2136" fmla="*/ 2141696 w 6400800"/>
                <a:gd name="connsiteY2136" fmla="*/ 210026 h 514350"/>
                <a:gd name="connsiteX2137" fmla="*/ 2134076 w 6400800"/>
                <a:gd name="connsiteY2137" fmla="*/ 230981 h 514350"/>
                <a:gd name="connsiteX2138" fmla="*/ 2123599 w 6400800"/>
                <a:gd name="connsiteY2138" fmla="*/ 263366 h 514350"/>
                <a:gd name="connsiteX2139" fmla="*/ 2122646 w 6400800"/>
                <a:gd name="connsiteY2139" fmla="*/ 253841 h 514350"/>
                <a:gd name="connsiteX2140" fmla="*/ 2117884 w 6400800"/>
                <a:gd name="connsiteY2140" fmla="*/ 211931 h 514350"/>
                <a:gd name="connsiteX2141" fmla="*/ 2112169 w 6400800"/>
                <a:gd name="connsiteY2141" fmla="*/ 176689 h 514350"/>
                <a:gd name="connsiteX2142" fmla="*/ 2107406 w 6400800"/>
                <a:gd name="connsiteY2142" fmla="*/ 150019 h 514350"/>
                <a:gd name="connsiteX2143" fmla="*/ 2102644 w 6400800"/>
                <a:gd name="connsiteY2143" fmla="*/ 127159 h 514350"/>
                <a:gd name="connsiteX2144" fmla="*/ 2103596 w 6400800"/>
                <a:gd name="connsiteY2144" fmla="*/ 150971 h 514350"/>
                <a:gd name="connsiteX2145" fmla="*/ 2104549 w 6400800"/>
                <a:gd name="connsiteY2145" fmla="*/ 168116 h 514350"/>
                <a:gd name="connsiteX2146" fmla="*/ 2104549 w 6400800"/>
                <a:gd name="connsiteY2146" fmla="*/ 183356 h 514350"/>
                <a:gd name="connsiteX2147" fmla="*/ 2105501 w 6400800"/>
                <a:gd name="connsiteY2147" fmla="*/ 207169 h 514350"/>
                <a:gd name="connsiteX2148" fmla="*/ 2106454 w 6400800"/>
                <a:gd name="connsiteY2148" fmla="*/ 225266 h 514350"/>
                <a:gd name="connsiteX2149" fmla="*/ 2104549 w 6400800"/>
                <a:gd name="connsiteY2149" fmla="*/ 221456 h 514350"/>
                <a:gd name="connsiteX2150" fmla="*/ 2104549 w 6400800"/>
                <a:gd name="connsiteY2150" fmla="*/ 221456 h 514350"/>
                <a:gd name="connsiteX2151" fmla="*/ 2104549 w 6400800"/>
                <a:gd name="connsiteY2151" fmla="*/ 221456 h 514350"/>
                <a:gd name="connsiteX2152" fmla="*/ 2102644 w 6400800"/>
                <a:gd name="connsiteY2152" fmla="*/ 215741 h 514350"/>
                <a:gd name="connsiteX2153" fmla="*/ 2101691 w 6400800"/>
                <a:gd name="connsiteY2153" fmla="*/ 205264 h 514350"/>
                <a:gd name="connsiteX2154" fmla="*/ 2098834 w 6400800"/>
                <a:gd name="connsiteY2154" fmla="*/ 176689 h 514350"/>
                <a:gd name="connsiteX2155" fmla="*/ 2097881 w 6400800"/>
                <a:gd name="connsiteY2155" fmla="*/ 168116 h 514350"/>
                <a:gd name="connsiteX2156" fmla="*/ 2102644 w 6400800"/>
                <a:gd name="connsiteY2156" fmla="*/ 149066 h 514350"/>
                <a:gd name="connsiteX2157" fmla="*/ 2096929 w 6400800"/>
                <a:gd name="connsiteY2157" fmla="*/ 162401 h 514350"/>
                <a:gd name="connsiteX2158" fmla="*/ 2095024 w 6400800"/>
                <a:gd name="connsiteY2158" fmla="*/ 151924 h 514350"/>
                <a:gd name="connsiteX2159" fmla="*/ 2095024 w 6400800"/>
                <a:gd name="connsiteY2159" fmla="*/ 167164 h 514350"/>
                <a:gd name="connsiteX2160" fmla="*/ 2066449 w 6400800"/>
                <a:gd name="connsiteY2160" fmla="*/ 235744 h 514350"/>
                <a:gd name="connsiteX2161" fmla="*/ 2056924 w 6400800"/>
                <a:gd name="connsiteY2161" fmla="*/ 259556 h 514350"/>
                <a:gd name="connsiteX2162" fmla="*/ 2063591 w 6400800"/>
                <a:gd name="connsiteY2162" fmla="*/ 219551 h 514350"/>
                <a:gd name="connsiteX2163" fmla="*/ 2052161 w 6400800"/>
                <a:gd name="connsiteY2163" fmla="*/ 252889 h 514350"/>
                <a:gd name="connsiteX2164" fmla="*/ 2050256 w 6400800"/>
                <a:gd name="connsiteY2164" fmla="*/ 248126 h 514350"/>
                <a:gd name="connsiteX2165" fmla="*/ 2050256 w 6400800"/>
                <a:gd name="connsiteY2165" fmla="*/ 233839 h 514350"/>
                <a:gd name="connsiteX2166" fmla="*/ 2048351 w 6400800"/>
                <a:gd name="connsiteY2166" fmla="*/ 244316 h 514350"/>
                <a:gd name="connsiteX2167" fmla="*/ 2046446 w 6400800"/>
                <a:gd name="connsiteY2167" fmla="*/ 240506 h 514350"/>
                <a:gd name="connsiteX2168" fmla="*/ 2047399 w 6400800"/>
                <a:gd name="connsiteY2168" fmla="*/ 247174 h 514350"/>
                <a:gd name="connsiteX2169" fmla="*/ 2044541 w 6400800"/>
                <a:gd name="connsiteY2169" fmla="*/ 266224 h 514350"/>
                <a:gd name="connsiteX2170" fmla="*/ 2043589 w 6400800"/>
                <a:gd name="connsiteY2170" fmla="*/ 259556 h 514350"/>
                <a:gd name="connsiteX2171" fmla="*/ 2041684 w 6400800"/>
                <a:gd name="connsiteY2171" fmla="*/ 249079 h 514350"/>
                <a:gd name="connsiteX2172" fmla="*/ 2048351 w 6400800"/>
                <a:gd name="connsiteY2172" fmla="*/ 184309 h 514350"/>
                <a:gd name="connsiteX2173" fmla="*/ 2039779 w 6400800"/>
                <a:gd name="connsiteY2173" fmla="*/ 216694 h 514350"/>
                <a:gd name="connsiteX2174" fmla="*/ 2036921 w 6400800"/>
                <a:gd name="connsiteY2174" fmla="*/ 223361 h 514350"/>
                <a:gd name="connsiteX2175" fmla="*/ 2035969 w 6400800"/>
                <a:gd name="connsiteY2175" fmla="*/ 218599 h 514350"/>
                <a:gd name="connsiteX2176" fmla="*/ 2031206 w 6400800"/>
                <a:gd name="connsiteY2176" fmla="*/ 187166 h 514350"/>
                <a:gd name="connsiteX2177" fmla="*/ 2028349 w 6400800"/>
                <a:gd name="connsiteY2177" fmla="*/ 169069 h 514350"/>
                <a:gd name="connsiteX2178" fmla="*/ 2031206 w 6400800"/>
                <a:gd name="connsiteY2178" fmla="*/ 147161 h 514350"/>
                <a:gd name="connsiteX2179" fmla="*/ 2028349 w 6400800"/>
                <a:gd name="connsiteY2179" fmla="*/ 157639 h 514350"/>
                <a:gd name="connsiteX2180" fmla="*/ 2030254 w 6400800"/>
                <a:gd name="connsiteY2180" fmla="*/ 138589 h 514350"/>
                <a:gd name="connsiteX2181" fmla="*/ 2023586 w 6400800"/>
                <a:gd name="connsiteY2181" fmla="*/ 160496 h 514350"/>
                <a:gd name="connsiteX2182" fmla="*/ 2017871 w 6400800"/>
                <a:gd name="connsiteY2182" fmla="*/ 186214 h 514350"/>
                <a:gd name="connsiteX2183" fmla="*/ 2016919 w 6400800"/>
                <a:gd name="connsiteY2183" fmla="*/ 191929 h 514350"/>
                <a:gd name="connsiteX2184" fmla="*/ 2016919 w 6400800"/>
                <a:gd name="connsiteY2184" fmla="*/ 190976 h 514350"/>
                <a:gd name="connsiteX2185" fmla="*/ 2019776 w 6400800"/>
                <a:gd name="connsiteY2185" fmla="*/ 158591 h 514350"/>
                <a:gd name="connsiteX2186" fmla="*/ 2015014 w 6400800"/>
                <a:gd name="connsiteY2186" fmla="*/ 178594 h 514350"/>
                <a:gd name="connsiteX2187" fmla="*/ 2014061 w 6400800"/>
                <a:gd name="connsiteY2187" fmla="*/ 174784 h 514350"/>
                <a:gd name="connsiteX2188" fmla="*/ 2014061 w 6400800"/>
                <a:gd name="connsiteY2188" fmla="*/ 177641 h 514350"/>
                <a:gd name="connsiteX2189" fmla="*/ 2011204 w 6400800"/>
                <a:gd name="connsiteY2189" fmla="*/ 163354 h 514350"/>
                <a:gd name="connsiteX2190" fmla="*/ 2003584 w 6400800"/>
                <a:gd name="connsiteY2190" fmla="*/ 125254 h 514350"/>
                <a:gd name="connsiteX2191" fmla="*/ 1996916 w 6400800"/>
                <a:gd name="connsiteY2191" fmla="*/ 91916 h 514350"/>
                <a:gd name="connsiteX2192" fmla="*/ 1999774 w 6400800"/>
                <a:gd name="connsiteY2192" fmla="*/ 125254 h 514350"/>
                <a:gd name="connsiteX2193" fmla="*/ 2003584 w 6400800"/>
                <a:gd name="connsiteY2193" fmla="*/ 164306 h 514350"/>
                <a:gd name="connsiteX2194" fmla="*/ 2008346 w 6400800"/>
                <a:gd name="connsiteY2194" fmla="*/ 203359 h 514350"/>
                <a:gd name="connsiteX2195" fmla="*/ 1999774 w 6400800"/>
                <a:gd name="connsiteY2195" fmla="*/ 240506 h 514350"/>
                <a:gd name="connsiteX2196" fmla="*/ 1984534 w 6400800"/>
                <a:gd name="connsiteY2196" fmla="*/ 314801 h 514350"/>
                <a:gd name="connsiteX2197" fmla="*/ 1984534 w 6400800"/>
                <a:gd name="connsiteY2197" fmla="*/ 283369 h 514350"/>
                <a:gd name="connsiteX2198" fmla="*/ 1984534 w 6400800"/>
                <a:gd name="connsiteY2198" fmla="*/ 267176 h 514350"/>
                <a:gd name="connsiteX2199" fmla="*/ 1986439 w 6400800"/>
                <a:gd name="connsiteY2199" fmla="*/ 263366 h 514350"/>
                <a:gd name="connsiteX2200" fmla="*/ 1984534 w 6400800"/>
                <a:gd name="connsiteY2200" fmla="*/ 265271 h 514350"/>
                <a:gd name="connsiteX2201" fmla="*/ 1985486 w 6400800"/>
                <a:gd name="connsiteY2201" fmla="*/ 243364 h 514350"/>
                <a:gd name="connsiteX2202" fmla="*/ 1987391 w 6400800"/>
                <a:gd name="connsiteY2202" fmla="*/ 212884 h 514350"/>
                <a:gd name="connsiteX2203" fmla="*/ 1989296 w 6400800"/>
                <a:gd name="connsiteY2203" fmla="*/ 186214 h 514350"/>
                <a:gd name="connsiteX2204" fmla="*/ 1983581 w 6400800"/>
                <a:gd name="connsiteY2204" fmla="*/ 211931 h 514350"/>
                <a:gd name="connsiteX2205" fmla="*/ 1978819 w 6400800"/>
                <a:gd name="connsiteY2205" fmla="*/ 242411 h 514350"/>
                <a:gd name="connsiteX2206" fmla="*/ 1974056 w 6400800"/>
                <a:gd name="connsiteY2206" fmla="*/ 281464 h 514350"/>
                <a:gd name="connsiteX2207" fmla="*/ 1973104 w 6400800"/>
                <a:gd name="connsiteY2207" fmla="*/ 282416 h 514350"/>
                <a:gd name="connsiteX2208" fmla="*/ 1968341 w 6400800"/>
                <a:gd name="connsiteY2208" fmla="*/ 289084 h 514350"/>
                <a:gd name="connsiteX2209" fmla="*/ 1968341 w 6400800"/>
                <a:gd name="connsiteY2209" fmla="*/ 283369 h 514350"/>
                <a:gd name="connsiteX2210" fmla="*/ 1973104 w 6400800"/>
                <a:gd name="connsiteY2210" fmla="*/ 274796 h 514350"/>
                <a:gd name="connsiteX2211" fmla="*/ 1968341 w 6400800"/>
                <a:gd name="connsiteY2211" fmla="*/ 280511 h 514350"/>
                <a:gd name="connsiteX2212" fmla="*/ 1973104 w 6400800"/>
                <a:gd name="connsiteY2212" fmla="*/ 224314 h 514350"/>
                <a:gd name="connsiteX2213" fmla="*/ 1976914 w 6400800"/>
                <a:gd name="connsiteY2213" fmla="*/ 187166 h 514350"/>
                <a:gd name="connsiteX2214" fmla="*/ 1967389 w 6400800"/>
                <a:gd name="connsiteY2214" fmla="*/ 218599 h 514350"/>
                <a:gd name="connsiteX2215" fmla="*/ 1967389 w 6400800"/>
                <a:gd name="connsiteY2215" fmla="*/ 216694 h 514350"/>
                <a:gd name="connsiteX2216" fmla="*/ 1966436 w 6400800"/>
                <a:gd name="connsiteY2216" fmla="*/ 220504 h 514350"/>
                <a:gd name="connsiteX2217" fmla="*/ 1957864 w 6400800"/>
                <a:gd name="connsiteY2217" fmla="*/ 250031 h 514350"/>
                <a:gd name="connsiteX2218" fmla="*/ 1952149 w 6400800"/>
                <a:gd name="connsiteY2218" fmla="*/ 271939 h 514350"/>
                <a:gd name="connsiteX2219" fmla="*/ 1941671 w 6400800"/>
                <a:gd name="connsiteY2219" fmla="*/ 221456 h 514350"/>
                <a:gd name="connsiteX2220" fmla="*/ 1942624 w 6400800"/>
                <a:gd name="connsiteY2220" fmla="*/ 213836 h 514350"/>
                <a:gd name="connsiteX2221" fmla="*/ 1952149 w 6400800"/>
                <a:gd name="connsiteY2221" fmla="*/ 186214 h 514350"/>
                <a:gd name="connsiteX2222" fmla="*/ 1962626 w 6400800"/>
                <a:gd name="connsiteY2222" fmla="*/ 157639 h 514350"/>
                <a:gd name="connsiteX2223" fmla="*/ 1948339 w 6400800"/>
                <a:gd name="connsiteY2223" fmla="*/ 185261 h 514350"/>
                <a:gd name="connsiteX2224" fmla="*/ 1945481 w 6400800"/>
                <a:gd name="connsiteY2224" fmla="*/ 190976 h 514350"/>
                <a:gd name="connsiteX2225" fmla="*/ 1945481 w 6400800"/>
                <a:gd name="connsiteY2225" fmla="*/ 189071 h 514350"/>
                <a:gd name="connsiteX2226" fmla="*/ 1944529 w 6400800"/>
                <a:gd name="connsiteY2226" fmla="*/ 192881 h 514350"/>
                <a:gd name="connsiteX2227" fmla="*/ 1938814 w 6400800"/>
                <a:gd name="connsiteY2227" fmla="*/ 205264 h 514350"/>
                <a:gd name="connsiteX2228" fmla="*/ 1935004 w 6400800"/>
                <a:gd name="connsiteY2228" fmla="*/ 148114 h 514350"/>
                <a:gd name="connsiteX2229" fmla="*/ 1928336 w 6400800"/>
                <a:gd name="connsiteY2229" fmla="*/ 224314 h 514350"/>
                <a:gd name="connsiteX2230" fmla="*/ 1928336 w 6400800"/>
                <a:gd name="connsiteY2230" fmla="*/ 229076 h 514350"/>
                <a:gd name="connsiteX2231" fmla="*/ 1924526 w 6400800"/>
                <a:gd name="connsiteY2231" fmla="*/ 236696 h 514350"/>
                <a:gd name="connsiteX2232" fmla="*/ 1915001 w 6400800"/>
                <a:gd name="connsiteY2232" fmla="*/ 258604 h 514350"/>
                <a:gd name="connsiteX2233" fmla="*/ 1911191 w 6400800"/>
                <a:gd name="connsiteY2233" fmla="*/ 268129 h 514350"/>
                <a:gd name="connsiteX2234" fmla="*/ 1907381 w 6400800"/>
                <a:gd name="connsiteY2234" fmla="*/ 259556 h 514350"/>
                <a:gd name="connsiteX2235" fmla="*/ 1907381 w 6400800"/>
                <a:gd name="connsiteY2235" fmla="*/ 258604 h 514350"/>
                <a:gd name="connsiteX2236" fmla="*/ 1907381 w 6400800"/>
                <a:gd name="connsiteY2236" fmla="*/ 258604 h 514350"/>
                <a:gd name="connsiteX2237" fmla="*/ 1900714 w 6400800"/>
                <a:gd name="connsiteY2237" fmla="*/ 253841 h 514350"/>
                <a:gd name="connsiteX2238" fmla="*/ 1897856 w 6400800"/>
                <a:gd name="connsiteY2238" fmla="*/ 252889 h 514350"/>
                <a:gd name="connsiteX2239" fmla="*/ 1896904 w 6400800"/>
                <a:gd name="connsiteY2239" fmla="*/ 252889 h 514350"/>
                <a:gd name="connsiteX2240" fmla="*/ 1896904 w 6400800"/>
                <a:gd name="connsiteY2240" fmla="*/ 250984 h 514350"/>
                <a:gd name="connsiteX2241" fmla="*/ 1897856 w 6400800"/>
                <a:gd name="connsiteY2241" fmla="*/ 246221 h 514350"/>
                <a:gd name="connsiteX2242" fmla="*/ 1902619 w 6400800"/>
                <a:gd name="connsiteY2242" fmla="*/ 230029 h 514350"/>
                <a:gd name="connsiteX2243" fmla="*/ 1903571 w 6400800"/>
                <a:gd name="connsiteY2243" fmla="*/ 226219 h 514350"/>
                <a:gd name="connsiteX2244" fmla="*/ 1902619 w 6400800"/>
                <a:gd name="connsiteY2244" fmla="*/ 227171 h 514350"/>
                <a:gd name="connsiteX2245" fmla="*/ 1906429 w 6400800"/>
                <a:gd name="connsiteY2245" fmla="*/ 214789 h 514350"/>
                <a:gd name="connsiteX2246" fmla="*/ 1915001 w 6400800"/>
                <a:gd name="connsiteY2246" fmla="*/ 190976 h 514350"/>
                <a:gd name="connsiteX2247" fmla="*/ 1922621 w 6400800"/>
                <a:gd name="connsiteY2247" fmla="*/ 170021 h 514350"/>
                <a:gd name="connsiteX2248" fmla="*/ 1911191 w 6400800"/>
                <a:gd name="connsiteY2248" fmla="*/ 189071 h 514350"/>
                <a:gd name="connsiteX2249" fmla="*/ 1899761 w 6400800"/>
                <a:gd name="connsiteY2249" fmla="*/ 211931 h 514350"/>
                <a:gd name="connsiteX2250" fmla="*/ 1893094 w 6400800"/>
                <a:gd name="connsiteY2250" fmla="*/ 226219 h 514350"/>
                <a:gd name="connsiteX2251" fmla="*/ 1889284 w 6400800"/>
                <a:gd name="connsiteY2251" fmla="*/ 235744 h 514350"/>
                <a:gd name="connsiteX2252" fmla="*/ 1888331 w 6400800"/>
                <a:gd name="connsiteY2252" fmla="*/ 232886 h 514350"/>
                <a:gd name="connsiteX2253" fmla="*/ 1889284 w 6400800"/>
                <a:gd name="connsiteY2253" fmla="*/ 216694 h 514350"/>
                <a:gd name="connsiteX2254" fmla="*/ 1891189 w 6400800"/>
                <a:gd name="connsiteY2254" fmla="*/ 200501 h 514350"/>
                <a:gd name="connsiteX2255" fmla="*/ 1894046 w 6400800"/>
                <a:gd name="connsiteY2255" fmla="*/ 187166 h 514350"/>
                <a:gd name="connsiteX2256" fmla="*/ 1899761 w 6400800"/>
                <a:gd name="connsiteY2256" fmla="*/ 169069 h 514350"/>
                <a:gd name="connsiteX2257" fmla="*/ 1902619 w 6400800"/>
                <a:gd name="connsiteY2257" fmla="*/ 162401 h 514350"/>
                <a:gd name="connsiteX2258" fmla="*/ 1898809 w 6400800"/>
                <a:gd name="connsiteY2258" fmla="*/ 168116 h 514350"/>
                <a:gd name="connsiteX2259" fmla="*/ 1890236 w 6400800"/>
                <a:gd name="connsiteY2259" fmla="*/ 186214 h 514350"/>
                <a:gd name="connsiteX2260" fmla="*/ 1885474 w 6400800"/>
                <a:gd name="connsiteY2260" fmla="*/ 199549 h 514350"/>
                <a:gd name="connsiteX2261" fmla="*/ 1882616 w 6400800"/>
                <a:gd name="connsiteY2261" fmla="*/ 213836 h 514350"/>
                <a:gd name="connsiteX2262" fmla="*/ 1882616 w 6400800"/>
                <a:gd name="connsiteY2262" fmla="*/ 210026 h 514350"/>
                <a:gd name="connsiteX2263" fmla="*/ 1878806 w 6400800"/>
                <a:gd name="connsiteY2263" fmla="*/ 228124 h 514350"/>
                <a:gd name="connsiteX2264" fmla="*/ 1874996 w 6400800"/>
                <a:gd name="connsiteY2264" fmla="*/ 243364 h 514350"/>
                <a:gd name="connsiteX2265" fmla="*/ 1874996 w 6400800"/>
                <a:gd name="connsiteY2265" fmla="*/ 237649 h 514350"/>
                <a:gd name="connsiteX2266" fmla="*/ 1872139 w 6400800"/>
                <a:gd name="connsiteY2266" fmla="*/ 255746 h 514350"/>
                <a:gd name="connsiteX2267" fmla="*/ 1868329 w 6400800"/>
                <a:gd name="connsiteY2267" fmla="*/ 270986 h 514350"/>
                <a:gd name="connsiteX2268" fmla="*/ 1869281 w 6400800"/>
                <a:gd name="connsiteY2268" fmla="*/ 259556 h 514350"/>
                <a:gd name="connsiteX2269" fmla="*/ 1874996 w 6400800"/>
                <a:gd name="connsiteY2269" fmla="*/ 213836 h 514350"/>
                <a:gd name="connsiteX2270" fmla="*/ 1877854 w 6400800"/>
                <a:gd name="connsiteY2270" fmla="*/ 193834 h 514350"/>
                <a:gd name="connsiteX2271" fmla="*/ 1881664 w 6400800"/>
                <a:gd name="connsiteY2271" fmla="*/ 175736 h 514350"/>
                <a:gd name="connsiteX2272" fmla="*/ 1888331 w 6400800"/>
                <a:gd name="connsiteY2272" fmla="*/ 146209 h 514350"/>
                <a:gd name="connsiteX2273" fmla="*/ 1894999 w 6400800"/>
                <a:gd name="connsiteY2273" fmla="*/ 120491 h 514350"/>
                <a:gd name="connsiteX2274" fmla="*/ 1885474 w 6400800"/>
                <a:gd name="connsiteY2274" fmla="*/ 144304 h 514350"/>
                <a:gd name="connsiteX2275" fmla="*/ 1875949 w 6400800"/>
                <a:gd name="connsiteY2275" fmla="*/ 172879 h 514350"/>
                <a:gd name="connsiteX2276" fmla="*/ 1870234 w 6400800"/>
                <a:gd name="connsiteY2276" fmla="*/ 190976 h 514350"/>
                <a:gd name="connsiteX2277" fmla="*/ 1865471 w 6400800"/>
                <a:gd name="connsiteY2277" fmla="*/ 210979 h 514350"/>
                <a:gd name="connsiteX2278" fmla="*/ 1858804 w 6400800"/>
                <a:gd name="connsiteY2278" fmla="*/ 238601 h 514350"/>
                <a:gd name="connsiteX2279" fmla="*/ 1856899 w 6400800"/>
                <a:gd name="connsiteY2279" fmla="*/ 194786 h 514350"/>
                <a:gd name="connsiteX2280" fmla="*/ 1854994 w 6400800"/>
                <a:gd name="connsiteY2280" fmla="*/ 172879 h 514350"/>
                <a:gd name="connsiteX2281" fmla="*/ 1853089 w 6400800"/>
                <a:gd name="connsiteY2281" fmla="*/ 194786 h 514350"/>
                <a:gd name="connsiteX2282" fmla="*/ 1848326 w 6400800"/>
                <a:gd name="connsiteY2282" fmla="*/ 250984 h 514350"/>
                <a:gd name="connsiteX2283" fmla="*/ 1845469 w 6400800"/>
                <a:gd name="connsiteY2283" fmla="*/ 282416 h 514350"/>
                <a:gd name="connsiteX2284" fmla="*/ 1839754 w 6400800"/>
                <a:gd name="connsiteY2284" fmla="*/ 273844 h 514350"/>
                <a:gd name="connsiteX2285" fmla="*/ 1838801 w 6400800"/>
                <a:gd name="connsiteY2285" fmla="*/ 269081 h 514350"/>
                <a:gd name="connsiteX2286" fmla="*/ 1838801 w 6400800"/>
                <a:gd name="connsiteY2286" fmla="*/ 272891 h 514350"/>
                <a:gd name="connsiteX2287" fmla="*/ 1827371 w 6400800"/>
                <a:gd name="connsiteY2287" fmla="*/ 256699 h 514350"/>
                <a:gd name="connsiteX2288" fmla="*/ 1828324 w 6400800"/>
                <a:gd name="connsiteY2288" fmla="*/ 190976 h 514350"/>
                <a:gd name="connsiteX2289" fmla="*/ 1822609 w 6400800"/>
                <a:gd name="connsiteY2289" fmla="*/ 222409 h 514350"/>
                <a:gd name="connsiteX2290" fmla="*/ 1822609 w 6400800"/>
                <a:gd name="connsiteY2290" fmla="*/ 214789 h 514350"/>
                <a:gd name="connsiteX2291" fmla="*/ 1822609 w 6400800"/>
                <a:gd name="connsiteY2291" fmla="*/ 161449 h 514350"/>
                <a:gd name="connsiteX2292" fmla="*/ 1823561 w 6400800"/>
                <a:gd name="connsiteY2292" fmla="*/ 113824 h 514350"/>
                <a:gd name="connsiteX2293" fmla="*/ 1823561 w 6400800"/>
                <a:gd name="connsiteY2293" fmla="*/ 15716 h 514350"/>
                <a:gd name="connsiteX2294" fmla="*/ 1812131 w 6400800"/>
                <a:gd name="connsiteY2294" fmla="*/ 112871 h 514350"/>
                <a:gd name="connsiteX2295" fmla="*/ 1807369 w 6400800"/>
                <a:gd name="connsiteY2295" fmla="*/ 160496 h 514350"/>
                <a:gd name="connsiteX2296" fmla="*/ 1805464 w 6400800"/>
                <a:gd name="connsiteY2296" fmla="*/ 209074 h 514350"/>
                <a:gd name="connsiteX2297" fmla="*/ 1801654 w 6400800"/>
                <a:gd name="connsiteY2297" fmla="*/ 211931 h 514350"/>
                <a:gd name="connsiteX2298" fmla="*/ 1801654 w 6400800"/>
                <a:gd name="connsiteY2298" fmla="*/ 211931 h 514350"/>
                <a:gd name="connsiteX2299" fmla="*/ 1801654 w 6400800"/>
                <a:gd name="connsiteY2299" fmla="*/ 212884 h 514350"/>
                <a:gd name="connsiteX2300" fmla="*/ 1790224 w 6400800"/>
                <a:gd name="connsiteY2300" fmla="*/ 237649 h 514350"/>
                <a:gd name="connsiteX2301" fmla="*/ 1790224 w 6400800"/>
                <a:gd name="connsiteY2301" fmla="*/ 207169 h 514350"/>
                <a:gd name="connsiteX2302" fmla="*/ 1786414 w 6400800"/>
                <a:gd name="connsiteY2302" fmla="*/ 239554 h 514350"/>
                <a:gd name="connsiteX2303" fmla="*/ 1784509 w 6400800"/>
                <a:gd name="connsiteY2303" fmla="*/ 250984 h 514350"/>
                <a:gd name="connsiteX2304" fmla="*/ 1783556 w 6400800"/>
                <a:gd name="connsiteY2304" fmla="*/ 252889 h 514350"/>
                <a:gd name="connsiteX2305" fmla="*/ 1776889 w 6400800"/>
                <a:gd name="connsiteY2305" fmla="*/ 226219 h 514350"/>
                <a:gd name="connsiteX2306" fmla="*/ 1777841 w 6400800"/>
                <a:gd name="connsiteY2306" fmla="*/ 253841 h 514350"/>
                <a:gd name="connsiteX2307" fmla="*/ 1768316 w 6400800"/>
                <a:gd name="connsiteY2307" fmla="*/ 230029 h 514350"/>
                <a:gd name="connsiteX2308" fmla="*/ 1759744 w 6400800"/>
                <a:gd name="connsiteY2308" fmla="*/ 209074 h 514350"/>
                <a:gd name="connsiteX2309" fmla="*/ 1759744 w 6400800"/>
                <a:gd name="connsiteY2309" fmla="*/ 208121 h 514350"/>
                <a:gd name="connsiteX2310" fmla="*/ 1761649 w 6400800"/>
                <a:gd name="connsiteY2310" fmla="*/ 198596 h 514350"/>
                <a:gd name="connsiteX2311" fmla="*/ 1759744 w 6400800"/>
                <a:gd name="connsiteY2311" fmla="*/ 203359 h 514350"/>
                <a:gd name="connsiteX2312" fmla="*/ 1759744 w 6400800"/>
                <a:gd name="connsiteY2312" fmla="*/ 195739 h 514350"/>
                <a:gd name="connsiteX2313" fmla="*/ 1761649 w 6400800"/>
                <a:gd name="connsiteY2313" fmla="*/ 171926 h 514350"/>
                <a:gd name="connsiteX2314" fmla="*/ 1762601 w 6400800"/>
                <a:gd name="connsiteY2314" fmla="*/ 151924 h 514350"/>
                <a:gd name="connsiteX2315" fmla="*/ 1756886 w 6400800"/>
                <a:gd name="connsiteY2315" fmla="*/ 171926 h 514350"/>
                <a:gd name="connsiteX2316" fmla="*/ 1749266 w 6400800"/>
                <a:gd name="connsiteY2316" fmla="*/ 205264 h 514350"/>
                <a:gd name="connsiteX2317" fmla="*/ 1745456 w 6400800"/>
                <a:gd name="connsiteY2317" fmla="*/ 197644 h 514350"/>
                <a:gd name="connsiteX2318" fmla="*/ 1749266 w 6400800"/>
                <a:gd name="connsiteY2318" fmla="*/ 208121 h 514350"/>
                <a:gd name="connsiteX2319" fmla="*/ 1746409 w 6400800"/>
                <a:gd name="connsiteY2319" fmla="*/ 225266 h 514350"/>
                <a:gd name="connsiteX2320" fmla="*/ 1746409 w 6400800"/>
                <a:gd name="connsiteY2320" fmla="*/ 228124 h 514350"/>
                <a:gd name="connsiteX2321" fmla="*/ 1737836 w 6400800"/>
                <a:gd name="connsiteY2321" fmla="*/ 171926 h 514350"/>
                <a:gd name="connsiteX2322" fmla="*/ 1738789 w 6400800"/>
                <a:gd name="connsiteY2322" fmla="*/ 252889 h 514350"/>
                <a:gd name="connsiteX2323" fmla="*/ 1736884 w 6400800"/>
                <a:gd name="connsiteY2323" fmla="*/ 256699 h 514350"/>
                <a:gd name="connsiteX2324" fmla="*/ 1735931 w 6400800"/>
                <a:gd name="connsiteY2324" fmla="*/ 252889 h 514350"/>
                <a:gd name="connsiteX2325" fmla="*/ 1735931 w 6400800"/>
                <a:gd name="connsiteY2325" fmla="*/ 257651 h 514350"/>
                <a:gd name="connsiteX2326" fmla="*/ 1733074 w 6400800"/>
                <a:gd name="connsiteY2326" fmla="*/ 264319 h 514350"/>
                <a:gd name="connsiteX2327" fmla="*/ 1727359 w 6400800"/>
                <a:gd name="connsiteY2327" fmla="*/ 283369 h 514350"/>
                <a:gd name="connsiteX2328" fmla="*/ 1722596 w 6400800"/>
                <a:gd name="connsiteY2328" fmla="*/ 299561 h 514350"/>
                <a:gd name="connsiteX2329" fmla="*/ 1718786 w 6400800"/>
                <a:gd name="connsiteY2329" fmla="*/ 267176 h 514350"/>
                <a:gd name="connsiteX2330" fmla="*/ 1716881 w 6400800"/>
                <a:gd name="connsiteY2330" fmla="*/ 317659 h 514350"/>
                <a:gd name="connsiteX2331" fmla="*/ 1716881 w 6400800"/>
                <a:gd name="connsiteY2331" fmla="*/ 318611 h 514350"/>
                <a:gd name="connsiteX2332" fmla="*/ 1714976 w 6400800"/>
                <a:gd name="connsiteY2332" fmla="*/ 316706 h 514350"/>
                <a:gd name="connsiteX2333" fmla="*/ 1707356 w 6400800"/>
                <a:gd name="connsiteY2333" fmla="*/ 288131 h 514350"/>
                <a:gd name="connsiteX2334" fmla="*/ 1709261 w 6400800"/>
                <a:gd name="connsiteY2334" fmla="*/ 237649 h 514350"/>
                <a:gd name="connsiteX2335" fmla="*/ 1710214 w 6400800"/>
                <a:gd name="connsiteY2335" fmla="*/ 163354 h 514350"/>
                <a:gd name="connsiteX2336" fmla="*/ 1698784 w 6400800"/>
                <a:gd name="connsiteY2336" fmla="*/ 229076 h 514350"/>
                <a:gd name="connsiteX2337" fmla="*/ 1694021 w 6400800"/>
                <a:gd name="connsiteY2337" fmla="*/ 203359 h 514350"/>
                <a:gd name="connsiteX2338" fmla="*/ 1699736 w 6400800"/>
                <a:gd name="connsiteY2338" fmla="*/ 170021 h 514350"/>
                <a:gd name="connsiteX2339" fmla="*/ 1706404 w 6400800"/>
                <a:gd name="connsiteY2339" fmla="*/ 119539 h 514350"/>
                <a:gd name="connsiteX2340" fmla="*/ 1710214 w 6400800"/>
                <a:gd name="connsiteY2340" fmla="*/ 80486 h 514350"/>
                <a:gd name="connsiteX2341" fmla="*/ 1713071 w 6400800"/>
                <a:gd name="connsiteY2341" fmla="*/ 47149 h 514350"/>
                <a:gd name="connsiteX2342" fmla="*/ 1706404 w 6400800"/>
                <a:gd name="connsiteY2342" fmla="*/ 80486 h 514350"/>
                <a:gd name="connsiteX2343" fmla="*/ 1698784 w 6400800"/>
                <a:gd name="connsiteY2343" fmla="*/ 118586 h 514350"/>
                <a:gd name="connsiteX2344" fmla="*/ 1688306 w 6400800"/>
                <a:gd name="connsiteY2344" fmla="*/ 168116 h 514350"/>
                <a:gd name="connsiteX2345" fmla="*/ 1687354 w 6400800"/>
                <a:gd name="connsiteY2345" fmla="*/ 171926 h 514350"/>
                <a:gd name="connsiteX2346" fmla="*/ 1684496 w 6400800"/>
                <a:gd name="connsiteY2346" fmla="*/ 160496 h 514350"/>
                <a:gd name="connsiteX2347" fmla="*/ 1685449 w 6400800"/>
                <a:gd name="connsiteY2347" fmla="*/ 179546 h 514350"/>
                <a:gd name="connsiteX2348" fmla="*/ 1681639 w 6400800"/>
                <a:gd name="connsiteY2348" fmla="*/ 197644 h 514350"/>
                <a:gd name="connsiteX2349" fmla="*/ 1680686 w 6400800"/>
                <a:gd name="connsiteY2349" fmla="*/ 192881 h 514350"/>
                <a:gd name="connsiteX2350" fmla="*/ 1681639 w 6400800"/>
                <a:gd name="connsiteY2350" fmla="*/ 174784 h 514350"/>
                <a:gd name="connsiteX2351" fmla="*/ 1682591 w 6400800"/>
                <a:gd name="connsiteY2351" fmla="*/ 143351 h 514350"/>
                <a:gd name="connsiteX2352" fmla="*/ 1683544 w 6400800"/>
                <a:gd name="connsiteY2352" fmla="*/ 115729 h 514350"/>
                <a:gd name="connsiteX2353" fmla="*/ 1678781 w 6400800"/>
                <a:gd name="connsiteY2353" fmla="*/ 143351 h 514350"/>
                <a:gd name="connsiteX2354" fmla="*/ 1674019 w 6400800"/>
                <a:gd name="connsiteY2354" fmla="*/ 174784 h 514350"/>
                <a:gd name="connsiteX2355" fmla="*/ 1666399 w 6400800"/>
                <a:gd name="connsiteY2355" fmla="*/ 215741 h 514350"/>
                <a:gd name="connsiteX2356" fmla="*/ 1663541 w 6400800"/>
                <a:gd name="connsiteY2356" fmla="*/ 231934 h 514350"/>
                <a:gd name="connsiteX2357" fmla="*/ 1661636 w 6400800"/>
                <a:gd name="connsiteY2357" fmla="*/ 225266 h 514350"/>
                <a:gd name="connsiteX2358" fmla="*/ 1662589 w 6400800"/>
                <a:gd name="connsiteY2358" fmla="*/ 236696 h 514350"/>
                <a:gd name="connsiteX2359" fmla="*/ 1659731 w 6400800"/>
                <a:gd name="connsiteY2359" fmla="*/ 253841 h 514350"/>
                <a:gd name="connsiteX2360" fmla="*/ 1658779 w 6400800"/>
                <a:gd name="connsiteY2360" fmla="*/ 251936 h 514350"/>
                <a:gd name="connsiteX2361" fmla="*/ 1646396 w 6400800"/>
                <a:gd name="connsiteY2361" fmla="*/ 223361 h 514350"/>
                <a:gd name="connsiteX2362" fmla="*/ 1642586 w 6400800"/>
                <a:gd name="connsiteY2362" fmla="*/ 215741 h 514350"/>
                <a:gd name="connsiteX2363" fmla="*/ 1642586 w 6400800"/>
                <a:gd name="connsiteY2363" fmla="*/ 202406 h 514350"/>
                <a:gd name="connsiteX2364" fmla="*/ 1640681 w 6400800"/>
                <a:gd name="connsiteY2364" fmla="*/ 154781 h 514350"/>
                <a:gd name="connsiteX2365" fmla="*/ 1635919 w 6400800"/>
                <a:gd name="connsiteY2365" fmla="*/ 111919 h 514350"/>
                <a:gd name="connsiteX2366" fmla="*/ 1624489 w 6400800"/>
                <a:gd name="connsiteY2366" fmla="*/ 23336 h 514350"/>
                <a:gd name="connsiteX2367" fmla="*/ 1624489 w 6400800"/>
                <a:gd name="connsiteY2367" fmla="*/ 111919 h 514350"/>
                <a:gd name="connsiteX2368" fmla="*/ 1625441 w 6400800"/>
                <a:gd name="connsiteY2368" fmla="*/ 154781 h 514350"/>
                <a:gd name="connsiteX2369" fmla="*/ 1625441 w 6400800"/>
                <a:gd name="connsiteY2369" fmla="*/ 202406 h 514350"/>
                <a:gd name="connsiteX2370" fmla="*/ 1625441 w 6400800"/>
                <a:gd name="connsiteY2370" fmla="*/ 225266 h 514350"/>
                <a:gd name="connsiteX2371" fmla="*/ 1625441 w 6400800"/>
                <a:gd name="connsiteY2371" fmla="*/ 230981 h 514350"/>
                <a:gd name="connsiteX2372" fmla="*/ 1623536 w 6400800"/>
                <a:gd name="connsiteY2372" fmla="*/ 227171 h 514350"/>
                <a:gd name="connsiteX2373" fmla="*/ 1619726 w 6400800"/>
                <a:gd name="connsiteY2373" fmla="*/ 203359 h 514350"/>
                <a:gd name="connsiteX2374" fmla="*/ 1619726 w 6400800"/>
                <a:gd name="connsiteY2374" fmla="*/ 217646 h 514350"/>
                <a:gd name="connsiteX2375" fmla="*/ 1608296 w 6400800"/>
                <a:gd name="connsiteY2375" fmla="*/ 190976 h 514350"/>
                <a:gd name="connsiteX2376" fmla="*/ 1619726 w 6400800"/>
                <a:gd name="connsiteY2376" fmla="*/ 233839 h 514350"/>
                <a:gd name="connsiteX2377" fmla="*/ 1619726 w 6400800"/>
                <a:gd name="connsiteY2377" fmla="*/ 242411 h 514350"/>
                <a:gd name="connsiteX2378" fmla="*/ 1613059 w 6400800"/>
                <a:gd name="connsiteY2378" fmla="*/ 233839 h 514350"/>
                <a:gd name="connsiteX2379" fmla="*/ 1619726 w 6400800"/>
                <a:gd name="connsiteY2379" fmla="*/ 247174 h 514350"/>
                <a:gd name="connsiteX2380" fmla="*/ 1610201 w 6400800"/>
                <a:gd name="connsiteY2380" fmla="*/ 264319 h 514350"/>
                <a:gd name="connsiteX2381" fmla="*/ 1607344 w 6400800"/>
                <a:gd name="connsiteY2381" fmla="*/ 270034 h 514350"/>
                <a:gd name="connsiteX2382" fmla="*/ 1606391 w 6400800"/>
                <a:gd name="connsiteY2382" fmla="*/ 269081 h 514350"/>
                <a:gd name="connsiteX2383" fmla="*/ 1607344 w 6400800"/>
                <a:gd name="connsiteY2383" fmla="*/ 270034 h 514350"/>
                <a:gd name="connsiteX2384" fmla="*/ 1601629 w 6400800"/>
                <a:gd name="connsiteY2384" fmla="*/ 282416 h 514350"/>
                <a:gd name="connsiteX2385" fmla="*/ 1600676 w 6400800"/>
                <a:gd name="connsiteY2385" fmla="*/ 269081 h 514350"/>
                <a:gd name="connsiteX2386" fmla="*/ 1595914 w 6400800"/>
                <a:gd name="connsiteY2386" fmla="*/ 207169 h 514350"/>
                <a:gd name="connsiteX2387" fmla="*/ 1594009 w 6400800"/>
                <a:gd name="connsiteY2387" fmla="*/ 183356 h 514350"/>
                <a:gd name="connsiteX2388" fmla="*/ 1592104 w 6400800"/>
                <a:gd name="connsiteY2388" fmla="*/ 207169 h 514350"/>
                <a:gd name="connsiteX2389" fmla="*/ 1591151 w 6400800"/>
                <a:gd name="connsiteY2389" fmla="*/ 227171 h 514350"/>
                <a:gd name="connsiteX2390" fmla="*/ 1583531 w 6400800"/>
                <a:gd name="connsiteY2390" fmla="*/ 197644 h 514350"/>
                <a:gd name="connsiteX2391" fmla="*/ 1578769 w 6400800"/>
                <a:gd name="connsiteY2391" fmla="*/ 179546 h 514350"/>
                <a:gd name="connsiteX2392" fmla="*/ 1573054 w 6400800"/>
                <a:gd name="connsiteY2392" fmla="*/ 163354 h 514350"/>
                <a:gd name="connsiteX2393" fmla="*/ 1563529 w 6400800"/>
                <a:gd name="connsiteY2393" fmla="*/ 137636 h 514350"/>
                <a:gd name="connsiteX2394" fmla="*/ 1554004 w 6400800"/>
                <a:gd name="connsiteY2394" fmla="*/ 115729 h 514350"/>
                <a:gd name="connsiteX2395" fmla="*/ 1560671 w 6400800"/>
                <a:gd name="connsiteY2395" fmla="*/ 138589 h 514350"/>
                <a:gd name="connsiteX2396" fmla="*/ 1567339 w 6400800"/>
                <a:gd name="connsiteY2396" fmla="*/ 165259 h 514350"/>
                <a:gd name="connsiteX2397" fmla="*/ 1571149 w 6400800"/>
                <a:gd name="connsiteY2397" fmla="*/ 181451 h 514350"/>
                <a:gd name="connsiteX2398" fmla="*/ 1574006 w 6400800"/>
                <a:gd name="connsiteY2398" fmla="*/ 199549 h 514350"/>
                <a:gd name="connsiteX2399" fmla="*/ 1579721 w 6400800"/>
                <a:gd name="connsiteY2399" fmla="*/ 240506 h 514350"/>
                <a:gd name="connsiteX2400" fmla="*/ 1584484 w 6400800"/>
                <a:gd name="connsiteY2400" fmla="*/ 283369 h 514350"/>
                <a:gd name="connsiteX2401" fmla="*/ 1576864 w 6400800"/>
                <a:gd name="connsiteY2401" fmla="*/ 258604 h 514350"/>
                <a:gd name="connsiteX2402" fmla="*/ 1573054 w 6400800"/>
                <a:gd name="connsiteY2402" fmla="*/ 249079 h 514350"/>
                <a:gd name="connsiteX2403" fmla="*/ 1573054 w 6400800"/>
                <a:gd name="connsiteY2403" fmla="*/ 247174 h 514350"/>
                <a:gd name="connsiteX2404" fmla="*/ 1572101 w 6400800"/>
                <a:gd name="connsiteY2404" fmla="*/ 234791 h 514350"/>
                <a:gd name="connsiteX2405" fmla="*/ 1567339 w 6400800"/>
                <a:gd name="connsiteY2405" fmla="*/ 198596 h 514350"/>
                <a:gd name="connsiteX2406" fmla="*/ 1563529 w 6400800"/>
                <a:gd name="connsiteY2406" fmla="*/ 184309 h 514350"/>
                <a:gd name="connsiteX2407" fmla="*/ 1558766 w 6400800"/>
                <a:gd name="connsiteY2407" fmla="*/ 171926 h 514350"/>
                <a:gd name="connsiteX2408" fmla="*/ 1550194 w 6400800"/>
                <a:gd name="connsiteY2408" fmla="*/ 155734 h 514350"/>
                <a:gd name="connsiteX2409" fmla="*/ 1546384 w 6400800"/>
                <a:gd name="connsiteY2409" fmla="*/ 150019 h 514350"/>
                <a:gd name="connsiteX2410" fmla="*/ 1549241 w 6400800"/>
                <a:gd name="connsiteY2410" fmla="*/ 155734 h 514350"/>
                <a:gd name="connsiteX2411" fmla="*/ 1554956 w 6400800"/>
                <a:gd name="connsiteY2411" fmla="*/ 171926 h 514350"/>
                <a:gd name="connsiteX2412" fmla="*/ 1557814 w 6400800"/>
                <a:gd name="connsiteY2412" fmla="*/ 184309 h 514350"/>
                <a:gd name="connsiteX2413" fmla="*/ 1559719 w 6400800"/>
                <a:gd name="connsiteY2413" fmla="*/ 198596 h 514350"/>
                <a:gd name="connsiteX2414" fmla="*/ 1560671 w 6400800"/>
                <a:gd name="connsiteY2414" fmla="*/ 213836 h 514350"/>
                <a:gd name="connsiteX2415" fmla="*/ 1559719 w 6400800"/>
                <a:gd name="connsiteY2415" fmla="*/ 216694 h 514350"/>
                <a:gd name="connsiteX2416" fmla="*/ 1555909 w 6400800"/>
                <a:gd name="connsiteY2416" fmla="*/ 208121 h 514350"/>
                <a:gd name="connsiteX2417" fmla="*/ 1549241 w 6400800"/>
                <a:gd name="connsiteY2417" fmla="*/ 194786 h 514350"/>
                <a:gd name="connsiteX2418" fmla="*/ 1537811 w 6400800"/>
                <a:gd name="connsiteY2418" fmla="*/ 173831 h 514350"/>
                <a:gd name="connsiteX2419" fmla="*/ 1526381 w 6400800"/>
                <a:gd name="connsiteY2419" fmla="*/ 156686 h 514350"/>
                <a:gd name="connsiteX2420" fmla="*/ 1534001 w 6400800"/>
                <a:gd name="connsiteY2420" fmla="*/ 175736 h 514350"/>
                <a:gd name="connsiteX2421" fmla="*/ 1542574 w 6400800"/>
                <a:gd name="connsiteY2421" fmla="*/ 197644 h 514350"/>
                <a:gd name="connsiteX2422" fmla="*/ 1546384 w 6400800"/>
                <a:gd name="connsiteY2422" fmla="*/ 209074 h 514350"/>
                <a:gd name="connsiteX2423" fmla="*/ 1545431 w 6400800"/>
                <a:gd name="connsiteY2423" fmla="*/ 208121 h 514350"/>
                <a:gd name="connsiteX2424" fmla="*/ 1546384 w 6400800"/>
                <a:gd name="connsiteY2424" fmla="*/ 210979 h 514350"/>
                <a:gd name="connsiteX2425" fmla="*/ 1551146 w 6400800"/>
                <a:gd name="connsiteY2425" fmla="*/ 226219 h 514350"/>
                <a:gd name="connsiteX2426" fmla="*/ 1552099 w 6400800"/>
                <a:gd name="connsiteY2426" fmla="*/ 230981 h 514350"/>
                <a:gd name="connsiteX2427" fmla="*/ 1553051 w 6400800"/>
                <a:gd name="connsiteY2427" fmla="*/ 235744 h 514350"/>
                <a:gd name="connsiteX2428" fmla="*/ 1554004 w 6400800"/>
                <a:gd name="connsiteY2428" fmla="*/ 241459 h 514350"/>
                <a:gd name="connsiteX2429" fmla="*/ 1554004 w 6400800"/>
                <a:gd name="connsiteY2429" fmla="*/ 244316 h 514350"/>
                <a:gd name="connsiteX2430" fmla="*/ 1553051 w 6400800"/>
                <a:gd name="connsiteY2430" fmla="*/ 250031 h 514350"/>
                <a:gd name="connsiteX2431" fmla="*/ 1547336 w 6400800"/>
                <a:gd name="connsiteY2431" fmla="*/ 263366 h 514350"/>
                <a:gd name="connsiteX2432" fmla="*/ 1542574 w 6400800"/>
                <a:gd name="connsiteY2432" fmla="*/ 251936 h 514350"/>
                <a:gd name="connsiteX2433" fmla="*/ 1542574 w 6400800"/>
                <a:gd name="connsiteY2433" fmla="*/ 243364 h 514350"/>
                <a:gd name="connsiteX2434" fmla="*/ 1542574 w 6400800"/>
                <a:gd name="connsiteY2434" fmla="*/ 222409 h 514350"/>
                <a:gd name="connsiteX2435" fmla="*/ 1538764 w 6400800"/>
                <a:gd name="connsiteY2435" fmla="*/ 243364 h 514350"/>
                <a:gd name="connsiteX2436" fmla="*/ 1538764 w 6400800"/>
                <a:gd name="connsiteY2436" fmla="*/ 243364 h 514350"/>
                <a:gd name="connsiteX2437" fmla="*/ 1531144 w 6400800"/>
                <a:gd name="connsiteY2437" fmla="*/ 226219 h 514350"/>
                <a:gd name="connsiteX2438" fmla="*/ 1537811 w 6400800"/>
                <a:gd name="connsiteY2438" fmla="*/ 250031 h 514350"/>
                <a:gd name="connsiteX2439" fmla="*/ 1536859 w 6400800"/>
                <a:gd name="connsiteY2439" fmla="*/ 258604 h 514350"/>
                <a:gd name="connsiteX2440" fmla="*/ 1531144 w 6400800"/>
                <a:gd name="connsiteY2440" fmla="*/ 239554 h 514350"/>
                <a:gd name="connsiteX2441" fmla="*/ 1525429 w 6400800"/>
                <a:gd name="connsiteY2441" fmla="*/ 220504 h 514350"/>
                <a:gd name="connsiteX2442" fmla="*/ 1521619 w 6400800"/>
                <a:gd name="connsiteY2442" fmla="*/ 211931 h 514350"/>
                <a:gd name="connsiteX2443" fmla="*/ 1515904 w 6400800"/>
                <a:gd name="connsiteY2443" fmla="*/ 150019 h 514350"/>
                <a:gd name="connsiteX2444" fmla="*/ 1513046 w 6400800"/>
                <a:gd name="connsiteY2444" fmla="*/ 192881 h 514350"/>
                <a:gd name="connsiteX2445" fmla="*/ 1506379 w 6400800"/>
                <a:gd name="connsiteY2445" fmla="*/ 177641 h 514350"/>
                <a:gd name="connsiteX2446" fmla="*/ 1495901 w 6400800"/>
                <a:gd name="connsiteY2446" fmla="*/ 154781 h 514350"/>
                <a:gd name="connsiteX2447" fmla="*/ 1502569 w 6400800"/>
                <a:gd name="connsiteY2447" fmla="*/ 178594 h 514350"/>
                <a:gd name="connsiteX2448" fmla="*/ 1505426 w 6400800"/>
                <a:gd name="connsiteY2448" fmla="*/ 190024 h 514350"/>
                <a:gd name="connsiteX2449" fmla="*/ 1504474 w 6400800"/>
                <a:gd name="connsiteY2449" fmla="*/ 189071 h 514350"/>
                <a:gd name="connsiteX2450" fmla="*/ 1510189 w 6400800"/>
                <a:gd name="connsiteY2450" fmla="*/ 210026 h 514350"/>
                <a:gd name="connsiteX2451" fmla="*/ 1511141 w 6400800"/>
                <a:gd name="connsiteY2451" fmla="*/ 213836 h 514350"/>
                <a:gd name="connsiteX2452" fmla="*/ 1510189 w 6400800"/>
                <a:gd name="connsiteY2452" fmla="*/ 233839 h 514350"/>
                <a:gd name="connsiteX2453" fmla="*/ 1509236 w 6400800"/>
                <a:gd name="connsiteY2453" fmla="*/ 258604 h 514350"/>
                <a:gd name="connsiteX2454" fmla="*/ 1498759 w 6400800"/>
                <a:gd name="connsiteY2454" fmla="*/ 230981 h 514350"/>
                <a:gd name="connsiteX2455" fmla="*/ 1508284 w 6400800"/>
                <a:gd name="connsiteY2455" fmla="*/ 275749 h 514350"/>
                <a:gd name="connsiteX2456" fmla="*/ 1507331 w 6400800"/>
                <a:gd name="connsiteY2456" fmla="*/ 288131 h 514350"/>
                <a:gd name="connsiteX2457" fmla="*/ 1504474 w 6400800"/>
                <a:gd name="connsiteY2457" fmla="*/ 292894 h 514350"/>
                <a:gd name="connsiteX2458" fmla="*/ 1500664 w 6400800"/>
                <a:gd name="connsiteY2458" fmla="*/ 298609 h 514350"/>
                <a:gd name="connsiteX2459" fmla="*/ 1493044 w 6400800"/>
                <a:gd name="connsiteY2459" fmla="*/ 266224 h 514350"/>
                <a:gd name="connsiteX2460" fmla="*/ 1497806 w 6400800"/>
                <a:gd name="connsiteY2460" fmla="*/ 246221 h 514350"/>
                <a:gd name="connsiteX2461" fmla="*/ 1491139 w 6400800"/>
                <a:gd name="connsiteY2461" fmla="*/ 260509 h 514350"/>
                <a:gd name="connsiteX2462" fmla="*/ 1491139 w 6400800"/>
                <a:gd name="connsiteY2462" fmla="*/ 259556 h 514350"/>
                <a:gd name="connsiteX2463" fmla="*/ 1490186 w 6400800"/>
                <a:gd name="connsiteY2463" fmla="*/ 244316 h 514350"/>
                <a:gd name="connsiteX2464" fmla="*/ 1489234 w 6400800"/>
                <a:gd name="connsiteY2464" fmla="*/ 238601 h 514350"/>
                <a:gd name="connsiteX2465" fmla="*/ 1489234 w 6400800"/>
                <a:gd name="connsiteY2465" fmla="*/ 237649 h 514350"/>
                <a:gd name="connsiteX2466" fmla="*/ 1489234 w 6400800"/>
                <a:gd name="connsiteY2466" fmla="*/ 238601 h 514350"/>
                <a:gd name="connsiteX2467" fmla="*/ 1486376 w 6400800"/>
                <a:gd name="connsiteY2467" fmla="*/ 219551 h 514350"/>
                <a:gd name="connsiteX2468" fmla="*/ 1482566 w 6400800"/>
                <a:gd name="connsiteY2468" fmla="*/ 198596 h 514350"/>
                <a:gd name="connsiteX2469" fmla="*/ 1482566 w 6400800"/>
                <a:gd name="connsiteY2469" fmla="*/ 220504 h 514350"/>
                <a:gd name="connsiteX2470" fmla="*/ 1482566 w 6400800"/>
                <a:gd name="connsiteY2470" fmla="*/ 228124 h 514350"/>
                <a:gd name="connsiteX2471" fmla="*/ 1473041 w 6400800"/>
                <a:gd name="connsiteY2471" fmla="*/ 193834 h 514350"/>
                <a:gd name="connsiteX2472" fmla="*/ 1479709 w 6400800"/>
                <a:gd name="connsiteY2472" fmla="*/ 259556 h 514350"/>
                <a:gd name="connsiteX2473" fmla="*/ 1478756 w 6400800"/>
                <a:gd name="connsiteY2473" fmla="*/ 262414 h 514350"/>
                <a:gd name="connsiteX2474" fmla="*/ 1476851 w 6400800"/>
                <a:gd name="connsiteY2474" fmla="*/ 266224 h 514350"/>
                <a:gd name="connsiteX2475" fmla="*/ 1475899 w 6400800"/>
                <a:gd name="connsiteY2475" fmla="*/ 257651 h 514350"/>
                <a:gd name="connsiteX2476" fmla="*/ 1471136 w 6400800"/>
                <a:gd name="connsiteY2476" fmla="*/ 221456 h 514350"/>
                <a:gd name="connsiteX2477" fmla="*/ 1466374 w 6400800"/>
                <a:gd name="connsiteY2477" fmla="*/ 193834 h 514350"/>
                <a:gd name="connsiteX2478" fmla="*/ 1460659 w 6400800"/>
                <a:gd name="connsiteY2478" fmla="*/ 170021 h 514350"/>
                <a:gd name="connsiteX2479" fmla="*/ 1462564 w 6400800"/>
                <a:gd name="connsiteY2479" fmla="*/ 193834 h 514350"/>
                <a:gd name="connsiteX2480" fmla="*/ 1464469 w 6400800"/>
                <a:gd name="connsiteY2480" fmla="*/ 221456 h 514350"/>
                <a:gd name="connsiteX2481" fmla="*/ 1465421 w 6400800"/>
                <a:gd name="connsiteY2481" fmla="*/ 257651 h 514350"/>
                <a:gd name="connsiteX2482" fmla="*/ 1465421 w 6400800"/>
                <a:gd name="connsiteY2482" fmla="*/ 275749 h 514350"/>
                <a:gd name="connsiteX2483" fmla="*/ 1455896 w 6400800"/>
                <a:gd name="connsiteY2483" fmla="*/ 246221 h 514350"/>
                <a:gd name="connsiteX2484" fmla="*/ 1447324 w 6400800"/>
                <a:gd name="connsiteY2484" fmla="*/ 218599 h 514350"/>
                <a:gd name="connsiteX2485" fmla="*/ 1439704 w 6400800"/>
                <a:gd name="connsiteY2485" fmla="*/ 194786 h 514350"/>
                <a:gd name="connsiteX2486" fmla="*/ 1442561 w 6400800"/>
                <a:gd name="connsiteY2486" fmla="*/ 215741 h 514350"/>
                <a:gd name="connsiteX2487" fmla="*/ 1435894 w 6400800"/>
                <a:gd name="connsiteY2487" fmla="*/ 185261 h 514350"/>
                <a:gd name="connsiteX2488" fmla="*/ 1435894 w 6400800"/>
                <a:gd name="connsiteY2488" fmla="*/ 159544 h 514350"/>
                <a:gd name="connsiteX2489" fmla="*/ 1433036 w 6400800"/>
                <a:gd name="connsiteY2489" fmla="*/ 173831 h 514350"/>
                <a:gd name="connsiteX2490" fmla="*/ 1430179 w 6400800"/>
                <a:gd name="connsiteY2490" fmla="*/ 160496 h 514350"/>
                <a:gd name="connsiteX2491" fmla="*/ 1430179 w 6400800"/>
                <a:gd name="connsiteY2491" fmla="*/ 166211 h 514350"/>
                <a:gd name="connsiteX2492" fmla="*/ 1425416 w 6400800"/>
                <a:gd name="connsiteY2492" fmla="*/ 147161 h 514350"/>
                <a:gd name="connsiteX2493" fmla="*/ 1418749 w 6400800"/>
                <a:gd name="connsiteY2493" fmla="*/ 127159 h 514350"/>
                <a:gd name="connsiteX2494" fmla="*/ 1421606 w 6400800"/>
                <a:gd name="connsiteY2494" fmla="*/ 148114 h 514350"/>
                <a:gd name="connsiteX2495" fmla="*/ 1423511 w 6400800"/>
                <a:gd name="connsiteY2495" fmla="*/ 171926 h 514350"/>
                <a:gd name="connsiteX2496" fmla="*/ 1425416 w 6400800"/>
                <a:gd name="connsiteY2496" fmla="*/ 202406 h 514350"/>
                <a:gd name="connsiteX2497" fmla="*/ 1426369 w 6400800"/>
                <a:gd name="connsiteY2497" fmla="*/ 218599 h 514350"/>
                <a:gd name="connsiteX2498" fmla="*/ 1424464 w 6400800"/>
                <a:gd name="connsiteY2498" fmla="*/ 235744 h 514350"/>
                <a:gd name="connsiteX2499" fmla="*/ 1421606 w 6400800"/>
                <a:gd name="connsiteY2499" fmla="*/ 226219 h 514350"/>
                <a:gd name="connsiteX2500" fmla="*/ 1415891 w 6400800"/>
                <a:gd name="connsiteY2500" fmla="*/ 210026 h 514350"/>
                <a:gd name="connsiteX2501" fmla="*/ 1410176 w 6400800"/>
                <a:gd name="connsiteY2501" fmla="*/ 195739 h 514350"/>
                <a:gd name="connsiteX2502" fmla="*/ 1412081 w 6400800"/>
                <a:gd name="connsiteY2502" fmla="*/ 210979 h 514350"/>
                <a:gd name="connsiteX2503" fmla="*/ 1414939 w 6400800"/>
                <a:gd name="connsiteY2503" fmla="*/ 228124 h 514350"/>
                <a:gd name="connsiteX2504" fmla="*/ 1416844 w 6400800"/>
                <a:gd name="connsiteY2504" fmla="*/ 250031 h 514350"/>
                <a:gd name="connsiteX2505" fmla="*/ 1418749 w 6400800"/>
                <a:gd name="connsiteY2505" fmla="*/ 268129 h 514350"/>
                <a:gd name="connsiteX2506" fmla="*/ 1413034 w 6400800"/>
                <a:gd name="connsiteY2506" fmla="*/ 277654 h 514350"/>
                <a:gd name="connsiteX2507" fmla="*/ 1411129 w 6400800"/>
                <a:gd name="connsiteY2507" fmla="*/ 271939 h 514350"/>
                <a:gd name="connsiteX2508" fmla="*/ 1401604 w 6400800"/>
                <a:gd name="connsiteY2508" fmla="*/ 215741 h 514350"/>
                <a:gd name="connsiteX2509" fmla="*/ 1400651 w 6400800"/>
                <a:gd name="connsiteY2509" fmla="*/ 243364 h 514350"/>
                <a:gd name="connsiteX2510" fmla="*/ 1392079 w 6400800"/>
                <a:gd name="connsiteY2510" fmla="*/ 219551 h 514350"/>
                <a:gd name="connsiteX2511" fmla="*/ 1393031 w 6400800"/>
                <a:gd name="connsiteY2511" fmla="*/ 213836 h 514350"/>
                <a:gd name="connsiteX2512" fmla="*/ 1395889 w 6400800"/>
                <a:gd name="connsiteY2512" fmla="*/ 210979 h 514350"/>
                <a:gd name="connsiteX2513" fmla="*/ 1400651 w 6400800"/>
                <a:gd name="connsiteY2513" fmla="*/ 205264 h 514350"/>
                <a:gd name="connsiteX2514" fmla="*/ 1394936 w 6400800"/>
                <a:gd name="connsiteY2514" fmla="*/ 210026 h 514350"/>
                <a:gd name="connsiteX2515" fmla="*/ 1393031 w 6400800"/>
                <a:gd name="connsiteY2515" fmla="*/ 210979 h 514350"/>
                <a:gd name="connsiteX2516" fmla="*/ 1394936 w 6400800"/>
                <a:gd name="connsiteY2516" fmla="*/ 202406 h 514350"/>
                <a:gd name="connsiteX2517" fmla="*/ 1391126 w 6400800"/>
                <a:gd name="connsiteY2517" fmla="*/ 212884 h 514350"/>
                <a:gd name="connsiteX2518" fmla="*/ 1390174 w 6400800"/>
                <a:gd name="connsiteY2518" fmla="*/ 213836 h 514350"/>
                <a:gd name="connsiteX2519" fmla="*/ 1384459 w 6400800"/>
                <a:gd name="connsiteY2519" fmla="*/ 199549 h 514350"/>
                <a:gd name="connsiteX2520" fmla="*/ 1387316 w 6400800"/>
                <a:gd name="connsiteY2520" fmla="*/ 215741 h 514350"/>
                <a:gd name="connsiteX2521" fmla="*/ 1378744 w 6400800"/>
                <a:gd name="connsiteY2521" fmla="*/ 224314 h 514350"/>
                <a:gd name="connsiteX2522" fmla="*/ 1367314 w 6400800"/>
                <a:gd name="connsiteY2522" fmla="*/ 240506 h 514350"/>
                <a:gd name="connsiteX2523" fmla="*/ 1354931 w 6400800"/>
                <a:gd name="connsiteY2523" fmla="*/ 209074 h 514350"/>
                <a:gd name="connsiteX2524" fmla="*/ 1354931 w 6400800"/>
                <a:gd name="connsiteY2524" fmla="*/ 185261 h 514350"/>
                <a:gd name="connsiteX2525" fmla="*/ 1354931 w 6400800"/>
                <a:gd name="connsiteY2525" fmla="*/ 157639 h 514350"/>
                <a:gd name="connsiteX2526" fmla="*/ 1351121 w 6400800"/>
                <a:gd name="connsiteY2526" fmla="*/ 185261 h 514350"/>
                <a:gd name="connsiteX2527" fmla="*/ 1349216 w 6400800"/>
                <a:gd name="connsiteY2527" fmla="*/ 197644 h 514350"/>
                <a:gd name="connsiteX2528" fmla="*/ 1343501 w 6400800"/>
                <a:gd name="connsiteY2528" fmla="*/ 186214 h 514350"/>
                <a:gd name="connsiteX2529" fmla="*/ 1344454 w 6400800"/>
                <a:gd name="connsiteY2529" fmla="*/ 171926 h 514350"/>
                <a:gd name="connsiteX2530" fmla="*/ 1344454 w 6400800"/>
                <a:gd name="connsiteY2530" fmla="*/ 157639 h 514350"/>
                <a:gd name="connsiteX2531" fmla="*/ 1345406 w 6400800"/>
                <a:gd name="connsiteY2531" fmla="*/ 142399 h 514350"/>
                <a:gd name="connsiteX2532" fmla="*/ 1346359 w 6400800"/>
                <a:gd name="connsiteY2532" fmla="*/ 120491 h 514350"/>
                <a:gd name="connsiteX2533" fmla="*/ 1341596 w 6400800"/>
                <a:gd name="connsiteY2533" fmla="*/ 141446 h 514350"/>
                <a:gd name="connsiteX2534" fmla="*/ 1336834 w 6400800"/>
                <a:gd name="connsiteY2534" fmla="*/ 166211 h 514350"/>
                <a:gd name="connsiteX2535" fmla="*/ 1335881 w 6400800"/>
                <a:gd name="connsiteY2535" fmla="*/ 169069 h 514350"/>
                <a:gd name="connsiteX2536" fmla="*/ 1327309 w 6400800"/>
                <a:gd name="connsiteY2536" fmla="*/ 150971 h 514350"/>
                <a:gd name="connsiteX2537" fmla="*/ 1280636 w 6400800"/>
                <a:gd name="connsiteY2537" fmla="*/ 53816 h 514350"/>
                <a:gd name="connsiteX2538" fmla="*/ 1317784 w 6400800"/>
                <a:gd name="connsiteY2538" fmla="*/ 155734 h 514350"/>
                <a:gd name="connsiteX2539" fmla="*/ 1332071 w 6400800"/>
                <a:gd name="connsiteY2539" fmla="*/ 193834 h 514350"/>
                <a:gd name="connsiteX2540" fmla="*/ 1331119 w 6400800"/>
                <a:gd name="connsiteY2540" fmla="*/ 197644 h 514350"/>
                <a:gd name="connsiteX2541" fmla="*/ 1326356 w 6400800"/>
                <a:gd name="connsiteY2541" fmla="*/ 235744 h 514350"/>
                <a:gd name="connsiteX2542" fmla="*/ 1321594 w 6400800"/>
                <a:gd name="connsiteY2542" fmla="*/ 277654 h 514350"/>
                <a:gd name="connsiteX2543" fmla="*/ 1319689 w 6400800"/>
                <a:gd name="connsiteY2543" fmla="*/ 293846 h 514350"/>
                <a:gd name="connsiteX2544" fmla="*/ 1317784 w 6400800"/>
                <a:gd name="connsiteY2544" fmla="*/ 290989 h 514350"/>
                <a:gd name="connsiteX2545" fmla="*/ 1317784 w 6400800"/>
                <a:gd name="connsiteY2545" fmla="*/ 289084 h 514350"/>
                <a:gd name="connsiteX2546" fmla="*/ 1316831 w 6400800"/>
                <a:gd name="connsiteY2546" fmla="*/ 290989 h 514350"/>
                <a:gd name="connsiteX2547" fmla="*/ 1315879 w 6400800"/>
                <a:gd name="connsiteY2547" fmla="*/ 288131 h 514350"/>
                <a:gd name="connsiteX2548" fmla="*/ 1313974 w 6400800"/>
                <a:gd name="connsiteY2548" fmla="*/ 285274 h 514350"/>
                <a:gd name="connsiteX2549" fmla="*/ 1316831 w 6400800"/>
                <a:gd name="connsiteY2549" fmla="*/ 244316 h 514350"/>
                <a:gd name="connsiteX2550" fmla="*/ 1309211 w 6400800"/>
                <a:gd name="connsiteY2550" fmla="*/ 277654 h 514350"/>
                <a:gd name="connsiteX2551" fmla="*/ 1298734 w 6400800"/>
                <a:gd name="connsiteY2551" fmla="*/ 260509 h 514350"/>
                <a:gd name="connsiteX2552" fmla="*/ 1313974 w 6400800"/>
                <a:gd name="connsiteY2552" fmla="*/ 199549 h 514350"/>
                <a:gd name="connsiteX2553" fmla="*/ 1319689 w 6400800"/>
                <a:gd name="connsiteY2553" fmla="*/ 172879 h 514350"/>
                <a:gd name="connsiteX2554" fmla="*/ 1291114 w 6400800"/>
                <a:gd name="connsiteY2554" fmla="*/ 249079 h 514350"/>
                <a:gd name="connsiteX2555" fmla="*/ 1281589 w 6400800"/>
                <a:gd name="connsiteY2555" fmla="*/ 234791 h 514350"/>
                <a:gd name="connsiteX2556" fmla="*/ 1267301 w 6400800"/>
                <a:gd name="connsiteY2556" fmla="*/ 215741 h 514350"/>
                <a:gd name="connsiteX2557" fmla="*/ 1275874 w 6400800"/>
                <a:gd name="connsiteY2557" fmla="*/ 232886 h 514350"/>
                <a:gd name="connsiteX2558" fmla="*/ 1272064 w 6400800"/>
                <a:gd name="connsiteY2558" fmla="*/ 243364 h 514350"/>
                <a:gd name="connsiteX2559" fmla="*/ 1261586 w 6400800"/>
                <a:gd name="connsiteY2559" fmla="*/ 227171 h 514350"/>
                <a:gd name="connsiteX2560" fmla="*/ 1249204 w 6400800"/>
                <a:gd name="connsiteY2560" fmla="*/ 210979 h 514350"/>
                <a:gd name="connsiteX2561" fmla="*/ 1247299 w 6400800"/>
                <a:gd name="connsiteY2561" fmla="*/ 208121 h 514350"/>
                <a:gd name="connsiteX2562" fmla="*/ 1251109 w 6400800"/>
                <a:gd name="connsiteY2562" fmla="*/ 199549 h 514350"/>
                <a:gd name="connsiteX2563" fmla="*/ 1246346 w 6400800"/>
                <a:gd name="connsiteY2563" fmla="*/ 206216 h 514350"/>
                <a:gd name="connsiteX2564" fmla="*/ 1229201 w 6400800"/>
                <a:gd name="connsiteY2564" fmla="*/ 184309 h 514350"/>
                <a:gd name="connsiteX2565" fmla="*/ 1211104 w 6400800"/>
                <a:gd name="connsiteY2565" fmla="*/ 162401 h 514350"/>
                <a:gd name="connsiteX2566" fmla="*/ 1226344 w 6400800"/>
                <a:gd name="connsiteY2566" fmla="*/ 186214 h 514350"/>
                <a:gd name="connsiteX2567" fmla="*/ 1242536 w 6400800"/>
                <a:gd name="connsiteY2567" fmla="*/ 211931 h 514350"/>
                <a:gd name="connsiteX2568" fmla="*/ 1236821 w 6400800"/>
                <a:gd name="connsiteY2568" fmla="*/ 220504 h 514350"/>
                <a:gd name="connsiteX2569" fmla="*/ 1233011 w 6400800"/>
                <a:gd name="connsiteY2569" fmla="*/ 226219 h 514350"/>
                <a:gd name="connsiteX2570" fmla="*/ 1231106 w 6400800"/>
                <a:gd name="connsiteY2570" fmla="*/ 212884 h 514350"/>
                <a:gd name="connsiteX2571" fmla="*/ 1228249 w 6400800"/>
                <a:gd name="connsiteY2571" fmla="*/ 209074 h 514350"/>
                <a:gd name="connsiteX2572" fmla="*/ 1226344 w 6400800"/>
                <a:gd name="connsiteY2572" fmla="*/ 209074 h 514350"/>
                <a:gd name="connsiteX2573" fmla="*/ 1223486 w 6400800"/>
                <a:gd name="connsiteY2573" fmla="*/ 199549 h 514350"/>
                <a:gd name="connsiteX2574" fmla="*/ 1215866 w 6400800"/>
                <a:gd name="connsiteY2574" fmla="*/ 179546 h 514350"/>
                <a:gd name="connsiteX2575" fmla="*/ 1219676 w 6400800"/>
                <a:gd name="connsiteY2575" fmla="*/ 200501 h 514350"/>
                <a:gd name="connsiteX2576" fmla="*/ 1221581 w 6400800"/>
                <a:gd name="connsiteY2576" fmla="*/ 211931 h 514350"/>
                <a:gd name="connsiteX2577" fmla="*/ 1220629 w 6400800"/>
                <a:gd name="connsiteY2577" fmla="*/ 213836 h 514350"/>
                <a:gd name="connsiteX2578" fmla="*/ 1207294 w 6400800"/>
                <a:gd name="connsiteY2578" fmla="*/ 200501 h 514350"/>
                <a:gd name="connsiteX2579" fmla="*/ 1201579 w 6400800"/>
                <a:gd name="connsiteY2579" fmla="*/ 195739 h 514350"/>
                <a:gd name="connsiteX2580" fmla="*/ 1206341 w 6400800"/>
                <a:gd name="connsiteY2580" fmla="*/ 201454 h 514350"/>
                <a:gd name="connsiteX2581" fmla="*/ 1217771 w 6400800"/>
                <a:gd name="connsiteY2581" fmla="*/ 217646 h 514350"/>
                <a:gd name="connsiteX2582" fmla="*/ 1217771 w 6400800"/>
                <a:gd name="connsiteY2582" fmla="*/ 217646 h 514350"/>
                <a:gd name="connsiteX2583" fmla="*/ 1216819 w 6400800"/>
                <a:gd name="connsiteY2583" fmla="*/ 231934 h 514350"/>
                <a:gd name="connsiteX2584" fmla="*/ 1202531 w 6400800"/>
                <a:gd name="connsiteY2584" fmla="*/ 219551 h 514350"/>
                <a:gd name="connsiteX2585" fmla="*/ 1215866 w 6400800"/>
                <a:gd name="connsiteY2585" fmla="*/ 236696 h 514350"/>
                <a:gd name="connsiteX2586" fmla="*/ 1214914 w 6400800"/>
                <a:gd name="connsiteY2586" fmla="*/ 249079 h 514350"/>
                <a:gd name="connsiteX2587" fmla="*/ 1214914 w 6400800"/>
                <a:gd name="connsiteY2587" fmla="*/ 255746 h 514350"/>
                <a:gd name="connsiteX2588" fmla="*/ 1213961 w 6400800"/>
                <a:gd name="connsiteY2588" fmla="*/ 250984 h 514350"/>
                <a:gd name="connsiteX2589" fmla="*/ 1213961 w 6400800"/>
                <a:gd name="connsiteY2589" fmla="*/ 250031 h 514350"/>
                <a:gd name="connsiteX2590" fmla="*/ 1214914 w 6400800"/>
                <a:gd name="connsiteY2590" fmla="*/ 249079 h 514350"/>
                <a:gd name="connsiteX2591" fmla="*/ 1213961 w 6400800"/>
                <a:gd name="connsiteY2591" fmla="*/ 250031 h 514350"/>
                <a:gd name="connsiteX2592" fmla="*/ 1207294 w 6400800"/>
                <a:gd name="connsiteY2592" fmla="*/ 229076 h 514350"/>
                <a:gd name="connsiteX2593" fmla="*/ 1200626 w 6400800"/>
                <a:gd name="connsiteY2593" fmla="*/ 212884 h 514350"/>
                <a:gd name="connsiteX2594" fmla="*/ 1193959 w 6400800"/>
                <a:gd name="connsiteY2594" fmla="*/ 198596 h 514350"/>
                <a:gd name="connsiteX2595" fmla="*/ 1196816 w 6400800"/>
                <a:gd name="connsiteY2595" fmla="*/ 213836 h 514350"/>
                <a:gd name="connsiteX2596" fmla="*/ 1200626 w 6400800"/>
                <a:gd name="connsiteY2596" fmla="*/ 230981 h 514350"/>
                <a:gd name="connsiteX2597" fmla="*/ 1204436 w 6400800"/>
                <a:gd name="connsiteY2597" fmla="*/ 252889 h 514350"/>
                <a:gd name="connsiteX2598" fmla="*/ 1205389 w 6400800"/>
                <a:gd name="connsiteY2598" fmla="*/ 258604 h 514350"/>
                <a:gd name="connsiteX2599" fmla="*/ 1196816 w 6400800"/>
                <a:gd name="connsiteY2599" fmla="*/ 239554 h 514350"/>
                <a:gd name="connsiteX2600" fmla="*/ 1189196 w 6400800"/>
                <a:gd name="connsiteY2600" fmla="*/ 224314 h 514350"/>
                <a:gd name="connsiteX2601" fmla="*/ 1181576 w 6400800"/>
                <a:gd name="connsiteY2601" fmla="*/ 211931 h 514350"/>
                <a:gd name="connsiteX2602" fmla="*/ 1185386 w 6400800"/>
                <a:gd name="connsiteY2602" fmla="*/ 225266 h 514350"/>
                <a:gd name="connsiteX2603" fmla="*/ 1190149 w 6400800"/>
                <a:gd name="connsiteY2603" fmla="*/ 241459 h 514350"/>
                <a:gd name="connsiteX2604" fmla="*/ 1194911 w 6400800"/>
                <a:gd name="connsiteY2604" fmla="*/ 262414 h 514350"/>
                <a:gd name="connsiteX2605" fmla="*/ 1197769 w 6400800"/>
                <a:gd name="connsiteY2605" fmla="*/ 276701 h 514350"/>
                <a:gd name="connsiteX2606" fmla="*/ 1193959 w 6400800"/>
                <a:gd name="connsiteY2606" fmla="*/ 284321 h 514350"/>
                <a:gd name="connsiteX2607" fmla="*/ 1193959 w 6400800"/>
                <a:gd name="connsiteY2607" fmla="*/ 283369 h 514350"/>
                <a:gd name="connsiteX2608" fmla="*/ 1193006 w 6400800"/>
                <a:gd name="connsiteY2608" fmla="*/ 279559 h 514350"/>
                <a:gd name="connsiteX2609" fmla="*/ 1193959 w 6400800"/>
                <a:gd name="connsiteY2609" fmla="*/ 276701 h 514350"/>
                <a:gd name="connsiteX2610" fmla="*/ 1193006 w 6400800"/>
                <a:gd name="connsiteY2610" fmla="*/ 278606 h 514350"/>
                <a:gd name="connsiteX2611" fmla="*/ 1184434 w 6400800"/>
                <a:gd name="connsiteY2611" fmla="*/ 250984 h 514350"/>
                <a:gd name="connsiteX2612" fmla="*/ 1174909 w 6400800"/>
                <a:gd name="connsiteY2612" fmla="*/ 227171 h 514350"/>
                <a:gd name="connsiteX2613" fmla="*/ 1174909 w 6400800"/>
                <a:gd name="connsiteY2613" fmla="*/ 223361 h 514350"/>
                <a:gd name="connsiteX2614" fmla="*/ 1175861 w 6400800"/>
                <a:gd name="connsiteY2614" fmla="*/ 196691 h 514350"/>
                <a:gd name="connsiteX2615" fmla="*/ 1174909 w 6400800"/>
                <a:gd name="connsiteY2615" fmla="*/ 173831 h 514350"/>
                <a:gd name="connsiteX2616" fmla="*/ 1172051 w 6400800"/>
                <a:gd name="connsiteY2616" fmla="*/ 196691 h 514350"/>
                <a:gd name="connsiteX2617" fmla="*/ 1168241 w 6400800"/>
                <a:gd name="connsiteY2617" fmla="*/ 223361 h 514350"/>
                <a:gd name="connsiteX2618" fmla="*/ 1168241 w 6400800"/>
                <a:gd name="connsiteY2618" fmla="*/ 226219 h 514350"/>
                <a:gd name="connsiteX2619" fmla="*/ 1162526 w 6400800"/>
                <a:gd name="connsiteY2619" fmla="*/ 238601 h 514350"/>
                <a:gd name="connsiteX2620" fmla="*/ 1158716 w 6400800"/>
                <a:gd name="connsiteY2620" fmla="*/ 215741 h 514350"/>
                <a:gd name="connsiteX2621" fmla="*/ 1152049 w 6400800"/>
                <a:gd name="connsiteY2621" fmla="*/ 189071 h 514350"/>
                <a:gd name="connsiteX2622" fmla="*/ 1136809 w 6400800"/>
                <a:gd name="connsiteY2622" fmla="*/ 133826 h 514350"/>
                <a:gd name="connsiteX2623" fmla="*/ 1140619 w 6400800"/>
                <a:gd name="connsiteY2623" fmla="*/ 190024 h 514350"/>
                <a:gd name="connsiteX2624" fmla="*/ 1143476 w 6400800"/>
                <a:gd name="connsiteY2624" fmla="*/ 217646 h 514350"/>
                <a:gd name="connsiteX2625" fmla="*/ 1146334 w 6400800"/>
                <a:gd name="connsiteY2625" fmla="*/ 248126 h 514350"/>
                <a:gd name="connsiteX2626" fmla="*/ 1147286 w 6400800"/>
                <a:gd name="connsiteY2626" fmla="*/ 261461 h 514350"/>
                <a:gd name="connsiteX2627" fmla="*/ 1147286 w 6400800"/>
                <a:gd name="connsiteY2627" fmla="*/ 261461 h 514350"/>
                <a:gd name="connsiteX2628" fmla="*/ 1147286 w 6400800"/>
                <a:gd name="connsiteY2628" fmla="*/ 258604 h 514350"/>
                <a:gd name="connsiteX2629" fmla="*/ 1147286 w 6400800"/>
                <a:gd name="connsiteY2629" fmla="*/ 260509 h 514350"/>
                <a:gd name="connsiteX2630" fmla="*/ 1143476 w 6400800"/>
                <a:gd name="connsiteY2630" fmla="*/ 251936 h 514350"/>
                <a:gd name="connsiteX2631" fmla="*/ 1141571 w 6400800"/>
                <a:gd name="connsiteY2631" fmla="*/ 249079 h 514350"/>
                <a:gd name="connsiteX2632" fmla="*/ 1141571 w 6400800"/>
                <a:gd name="connsiteY2632" fmla="*/ 237649 h 514350"/>
                <a:gd name="connsiteX2633" fmla="*/ 1139666 w 6400800"/>
                <a:gd name="connsiteY2633" fmla="*/ 246221 h 514350"/>
                <a:gd name="connsiteX2634" fmla="*/ 1132046 w 6400800"/>
                <a:gd name="connsiteY2634" fmla="*/ 231934 h 514350"/>
                <a:gd name="connsiteX2635" fmla="*/ 1132046 w 6400800"/>
                <a:gd name="connsiteY2635" fmla="*/ 230981 h 514350"/>
                <a:gd name="connsiteX2636" fmla="*/ 1120616 w 6400800"/>
                <a:gd name="connsiteY2636" fmla="*/ 177641 h 514350"/>
                <a:gd name="connsiteX2637" fmla="*/ 1110139 w 6400800"/>
                <a:gd name="connsiteY2637" fmla="*/ 132874 h 514350"/>
                <a:gd name="connsiteX2638" fmla="*/ 1100614 w 6400800"/>
                <a:gd name="connsiteY2638" fmla="*/ 98584 h 514350"/>
                <a:gd name="connsiteX2639" fmla="*/ 1092041 w 6400800"/>
                <a:gd name="connsiteY2639" fmla="*/ 69056 h 514350"/>
                <a:gd name="connsiteX2640" fmla="*/ 1096804 w 6400800"/>
                <a:gd name="connsiteY2640" fmla="*/ 99536 h 514350"/>
                <a:gd name="connsiteX2641" fmla="*/ 1103471 w 6400800"/>
                <a:gd name="connsiteY2641" fmla="*/ 134779 h 514350"/>
                <a:gd name="connsiteX2642" fmla="*/ 1110139 w 6400800"/>
                <a:gd name="connsiteY2642" fmla="*/ 180499 h 514350"/>
                <a:gd name="connsiteX2643" fmla="*/ 1112996 w 6400800"/>
                <a:gd name="connsiteY2643" fmla="*/ 199549 h 514350"/>
                <a:gd name="connsiteX2644" fmla="*/ 1110139 w 6400800"/>
                <a:gd name="connsiteY2644" fmla="*/ 194786 h 514350"/>
                <a:gd name="connsiteX2645" fmla="*/ 1106329 w 6400800"/>
                <a:gd name="connsiteY2645" fmla="*/ 190024 h 514350"/>
                <a:gd name="connsiteX2646" fmla="*/ 1105376 w 6400800"/>
                <a:gd name="connsiteY2646" fmla="*/ 188119 h 514350"/>
                <a:gd name="connsiteX2647" fmla="*/ 1095851 w 6400800"/>
                <a:gd name="connsiteY2647" fmla="*/ 160496 h 514350"/>
                <a:gd name="connsiteX2648" fmla="*/ 1087279 w 6400800"/>
                <a:gd name="connsiteY2648" fmla="*/ 136684 h 514350"/>
                <a:gd name="connsiteX2649" fmla="*/ 1092041 w 6400800"/>
                <a:gd name="connsiteY2649" fmla="*/ 161449 h 514350"/>
                <a:gd name="connsiteX2650" fmla="*/ 1098709 w 6400800"/>
                <a:gd name="connsiteY2650" fmla="*/ 190024 h 514350"/>
                <a:gd name="connsiteX2651" fmla="*/ 1103471 w 6400800"/>
                <a:gd name="connsiteY2651" fmla="*/ 215741 h 514350"/>
                <a:gd name="connsiteX2652" fmla="*/ 1097756 w 6400800"/>
                <a:gd name="connsiteY2652" fmla="*/ 200501 h 514350"/>
                <a:gd name="connsiteX2653" fmla="*/ 1102519 w 6400800"/>
                <a:gd name="connsiteY2653" fmla="*/ 224314 h 514350"/>
                <a:gd name="connsiteX2654" fmla="*/ 1094899 w 6400800"/>
                <a:gd name="connsiteY2654" fmla="*/ 233839 h 514350"/>
                <a:gd name="connsiteX2655" fmla="*/ 1089184 w 6400800"/>
                <a:gd name="connsiteY2655" fmla="*/ 209074 h 514350"/>
                <a:gd name="connsiteX2656" fmla="*/ 1084421 w 6400800"/>
                <a:gd name="connsiteY2656" fmla="*/ 166211 h 514350"/>
                <a:gd name="connsiteX2657" fmla="*/ 1083469 w 6400800"/>
                <a:gd name="connsiteY2657" fmla="*/ 184309 h 514350"/>
                <a:gd name="connsiteX2658" fmla="*/ 1073944 w 6400800"/>
                <a:gd name="connsiteY2658" fmla="*/ 149066 h 514350"/>
                <a:gd name="connsiteX2659" fmla="*/ 1066324 w 6400800"/>
                <a:gd name="connsiteY2659" fmla="*/ 123349 h 514350"/>
                <a:gd name="connsiteX2660" fmla="*/ 1075849 w 6400800"/>
                <a:gd name="connsiteY2660" fmla="*/ 94774 h 514350"/>
                <a:gd name="connsiteX2661" fmla="*/ 1064419 w 6400800"/>
                <a:gd name="connsiteY2661" fmla="*/ 119539 h 514350"/>
                <a:gd name="connsiteX2662" fmla="*/ 1057751 w 6400800"/>
                <a:gd name="connsiteY2662" fmla="*/ 100489 h 514350"/>
                <a:gd name="connsiteX2663" fmla="*/ 1050131 w 6400800"/>
                <a:gd name="connsiteY2663" fmla="*/ 78581 h 514350"/>
                <a:gd name="connsiteX2664" fmla="*/ 1042511 w 6400800"/>
                <a:gd name="connsiteY2664" fmla="*/ 59531 h 514350"/>
                <a:gd name="connsiteX2665" fmla="*/ 1029176 w 6400800"/>
                <a:gd name="connsiteY2665" fmla="*/ 28099 h 514350"/>
                <a:gd name="connsiteX2666" fmla="*/ 1012984 w 6400800"/>
                <a:gd name="connsiteY2666" fmla="*/ 7144 h 514350"/>
                <a:gd name="connsiteX2667" fmla="*/ 1022509 w 6400800"/>
                <a:gd name="connsiteY2667" fmla="*/ 34766 h 514350"/>
                <a:gd name="connsiteX2668" fmla="*/ 1032986 w 6400800"/>
                <a:gd name="connsiteY2668" fmla="*/ 67151 h 514350"/>
                <a:gd name="connsiteX2669" fmla="*/ 1038701 w 6400800"/>
                <a:gd name="connsiteY2669" fmla="*/ 87154 h 514350"/>
                <a:gd name="connsiteX2670" fmla="*/ 1044416 w 6400800"/>
                <a:gd name="connsiteY2670" fmla="*/ 109061 h 514350"/>
                <a:gd name="connsiteX2671" fmla="*/ 1044416 w 6400800"/>
                <a:gd name="connsiteY2671" fmla="*/ 110014 h 514350"/>
                <a:gd name="connsiteX2672" fmla="*/ 1037749 w 6400800"/>
                <a:gd name="connsiteY2672" fmla="*/ 96679 h 514350"/>
                <a:gd name="connsiteX2673" fmla="*/ 1044416 w 6400800"/>
                <a:gd name="connsiteY2673" fmla="*/ 117634 h 514350"/>
                <a:gd name="connsiteX2674" fmla="*/ 1051084 w 6400800"/>
                <a:gd name="connsiteY2674" fmla="*/ 141446 h 514350"/>
                <a:gd name="connsiteX2675" fmla="*/ 1052036 w 6400800"/>
                <a:gd name="connsiteY2675" fmla="*/ 146209 h 514350"/>
                <a:gd name="connsiteX2676" fmla="*/ 1037749 w 6400800"/>
                <a:gd name="connsiteY2676" fmla="*/ 172879 h 514350"/>
                <a:gd name="connsiteX2677" fmla="*/ 1024414 w 6400800"/>
                <a:gd name="connsiteY2677" fmla="*/ 195739 h 514350"/>
                <a:gd name="connsiteX2678" fmla="*/ 1023461 w 6400800"/>
                <a:gd name="connsiteY2678" fmla="*/ 192881 h 514350"/>
                <a:gd name="connsiteX2679" fmla="*/ 1023461 w 6400800"/>
                <a:gd name="connsiteY2679" fmla="*/ 184309 h 514350"/>
                <a:gd name="connsiteX2680" fmla="*/ 1024414 w 6400800"/>
                <a:gd name="connsiteY2680" fmla="*/ 142399 h 514350"/>
                <a:gd name="connsiteX2681" fmla="*/ 1023461 w 6400800"/>
                <a:gd name="connsiteY2681" fmla="*/ 110014 h 514350"/>
                <a:gd name="connsiteX2682" fmla="*/ 1021556 w 6400800"/>
                <a:gd name="connsiteY2682" fmla="*/ 89059 h 514350"/>
                <a:gd name="connsiteX2683" fmla="*/ 1020604 w 6400800"/>
                <a:gd name="connsiteY2683" fmla="*/ 81439 h 514350"/>
                <a:gd name="connsiteX2684" fmla="*/ 1020604 w 6400800"/>
                <a:gd name="connsiteY2684" fmla="*/ 89059 h 514350"/>
                <a:gd name="connsiteX2685" fmla="*/ 1019651 w 6400800"/>
                <a:gd name="connsiteY2685" fmla="*/ 110014 h 514350"/>
                <a:gd name="connsiteX2686" fmla="*/ 1014889 w 6400800"/>
                <a:gd name="connsiteY2686" fmla="*/ 165259 h 514350"/>
                <a:gd name="connsiteX2687" fmla="*/ 1013936 w 6400800"/>
                <a:gd name="connsiteY2687" fmla="*/ 161449 h 514350"/>
                <a:gd name="connsiteX2688" fmla="*/ 1014889 w 6400800"/>
                <a:gd name="connsiteY2688" fmla="*/ 168116 h 514350"/>
                <a:gd name="connsiteX2689" fmla="*/ 1012984 w 6400800"/>
                <a:gd name="connsiteY2689" fmla="*/ 183356 h 514350"/>
                <a:gd name="connsiteX2690" fmla="*/ 1007269 w 6400800"/>
                <a:gd name="connsiteY2690" fmla="*/ 224314 h 514350"/>
                <a:gd name="connsiteX2691" fmla="*/ 972026 w 6400800"/>
                <a:gd name="connsiteY2691" fmla="*/ 283369 h 514350"/>
                <a:gd name="connsiteX2692" fmla="*/ 971074 w 6400800"/>
                <a:gd name="connsiteY2692" fmla="*/ 269081 h 514350"/>
                <a:gd name="connsiteX2693" fmla="*/ 977741 w 6400800"/>
                <a:gd name="connsiteY2693" fmla="*/ 251936 h 514350"/>
                <a:gd name="connsiteX2694" fmla="*/ 992981 w 6400800"/>
                <a:gd name="connsiteY2694" fmla="*/ 206216 h 514350"/>
                <a:gd name="connsiteX2695" fmla="*/ 1002506 w 6400800"/>
                <a:gd name="connsiteY2695" fmla="*/ 170974 h 514350"/>
                <a:gd name="connsiteX2696" fmla="*/ 1009174 w 6400800"/>
                <a:gd name="connsiteY2696" fmla="*/ 139541 h 514350"/>
                <a:gd name="connsiteX2697" fmla="*/ 998696 w 6400800"/>
                <a:gd name="connsiteY2697" fmla="*/ 170021 h 514350"/>
                <a:gd name="connsiteX2698" fmla="*/ 985361 w 6400800"/>
                <a:gd name="connsiteY2698" fmla="*/ 204311 h 514350"/>
                <a:gd name="connsiteX2699" fmla="*/ 966311 w 6400800"/>
                <a:gd name="connsiteY2699" fmla="*/ 248126 h 514350"/>
                <a:gd name="connsiteX2700" fmla="*/ 960596 w 6400800"/>
                <a:gd name="connsiteY2700" fmla="*/ 260509 h 514350"/>
                <a:gd name="connsiteX2701" fmla="*/ 961549 w 6400800"/>
                <a:gd name="connsiteY2701" fmla="*/ 225266 h 514350"/>
                <a:gd name="connsiteX2702" fmla="*/ 969169 w 6400800"/>
                <a:gd name="connsiteY2702" fmla="*/ 206216 h 514350"/>
                <a:gd name="connsiteX2703" fmla="*/ 961549 w 6400800"/>
                <a:gd name="connsiteY2703" fmla="*/ 218599 h 514350"/>
                <a:gd name="connsiteX2704" fmla="*/ 961549 w 6400800"/>
                <a:gd name="connsiteY2704" fmla="*/ 206216 h 514350"/>
                <a:gd name="connsiteX2705" fmla="*/ 958691 w 6400800"/>
                <a:gd name="connsiteY2705" fmla="*/ 149066 h 514350"/>
                <a:gd name="connsiteX2706" fmla="*/ 956786 w 6400800"/>
                <a:gd name="connsiteY2706" fmla="*/ 134779 h 514350"/>
                <a:gd name="connsiteX2707" fmla="*/ 957739 w 6400800"/>
                <a:gd name="connsiteY2707" fmla="*/ 131921 h 514350"/>
                <a:gd name="connsiteX2708" fmla="*/ 956786 w 6400800"/>
                <a:gd name="connsiteY2708" fmla="*/ 133826 h 514350"/>
                <a:gd name="connsiteX2709" fmla="*/ 956786 w 6400800"/>
                <a:gd name="connsiteY2709" fmla="*/ 132874 h 514350"/>
                <a:gd name="connsiteX2710" fmla="*/ 955834 w 6400800"/>
                <a:gd name="connsiteY2710" fmla="*/ 127159 h 514350"/>
                <a:gd name="connsiteX2711" fmla="*/ 955834 w 6400800"/>
                <a:gd name="connsiteY2711" fmla="*/ 136684 h 514350"/>
                <a:gd name="connsiteX2712" fmla="*/ 927259 w 6400800"/>
                <a:gd name="connsiteY2712" fmla="*/ 206216 h 514350"/>
                <a:gd name="connsiteX2713" fmla="*/ 927259 w 6400800"/>
                <a:gd name="connsiteY2713" fmla="*/ 205264 h 514350"/>
                <a:gd name="connsiteX2714" fmla="*/ 930116 w 6400800"/>
                <a:gd name="connsiteY2714" fmla="*/ 183356 h 514350"/>
                <a:gd name="connsiteX2715" fmla="*/ 932974 w 6400800"/>
                <a:gd name="connsiteY2715" fmla="*/ 164306 h 514350"/>
                <a:gd name="connsiteX2716" fmla="*/ 926306 w 6400800"/>
                <a:gd name="connsiteY2716" fmla="*/ 183356 h 514350"/>
                <a:gd name="connsiteX2717" fmla="*/ 920591 w 6400800"/>
                <a:gd name="connsiteY2717" fmla="*/ 203359 h 514350"/>
                <a:gd name="connsiteX2718" fmla="*/ 910114 w 6400800"/>
                <a:gd name="connsiteY2718" fmla="*/ 171926 h 514350"/>
                <a:gd name="connsiteX2719" fmla="*/ 907256 w 6400800"/>
                <a:gd name="connsiteY2719" fmla="*/ 164306 h 514350"/>
                <a:gd name="connsiteX2720" fmla="*/ 912019 w 6400800"/>
                <a:gd name="connsiteY2720" fmla="*/ 157639 h 514350"/>
                <a:gd name="connsiteX2721" fmla="*/ 933926 w 6400800"/>
                <a:gd name="connsiteY2721" fmla="*/ 124301 h 514350"/>
                <a:gd name="connsiteX2722" fmla="*/ 953929 w 6400800"/>
                <a:gd name="connsiteY2722" fmla="*/ 95726 h 514350"/>
                <a:gd name="connsiteX2723" fmla="*/ 931069 w 6400800"/>
                <a:gd name="connsiteY2723" fmla="*/ 121444 h 514350"/>
                <a:gd name="connsiteX2724" fmla="*/ 906304 w 6400800"/>
                <a:gd name="connsiteY2724" fmla="*/ 151924 h 514350"/>
                <a:gd name="connsiteX2725" fmla="*/ 904399 w 6400800"/>
                <a:gd name="connsiteY2725" fmla="*/ 154781 h 514350"/>
                <a:gd name="connsiteX2726" fmla="*/ 894874 w 6400800"/>
                <a:gd name="connsiteY2726" fmla="*/ 131921 h 514350"/>
                <a:gd name="connsiteX2727" fmla="*/ 892016 w 6400800"/>
                <a:gd name="connsiteY2727" fmla="*/ 126206 h 514350"/>
                <a:gd name="connsiteX2728" fmla="*/ 897731 w 6400800"/>
                <a:gd name="connsiteY2728" fmla="*/ 115729 h 514350"/>
                <a:gd name="connsiteX2729" fmla="*/ 918686 w 6400800"/>
                <a:gd name="connsiteY2729" fmla="*/ 77629 h 514350"/>
                <a:gd name="connsiteX2730" fmla="*/ 937736 w 6400800"/>
                <a:gd name="connsiteY2730" fmla="*/ 44291 h 514350"/>
                <a:gd name="connsiteX2731" fmla="*/ 914876 w 6400800"/>
                <a:gd name="connsiteY2731" fmla="*/ 74771 h 514350"/>
                <a:gd name="connsiteX2732" fmla="*/ 890111 w 6400800"/>
                <a:gd name="connsiteY2732" fmla="*/ 110966 h 514350"/>
                <a:gd name="connsiteX2733" fmla="*/ 886301 w 6400800"/>
                <a:gd name="connsiteY2733" fmla="*/ 116681 h 514350"/>
                <a:gd name="connsiteX2734" fmla="*/ 874871 w 6400800"/>
                <a:gd name="connsiteY2734" fmla="*/ 92869 h 514350"/>
                <a:gd name="connsiteX2735" fmla="*/ 873919 w 6400800"/>
                <a:gd name="connsiteY2735" fmla="*/ 90964 h 514350"/>
                <a:gd name="connsiteX2736" fmla="*/ 872966 w 6400800"/>
                <a:gd name="connsiteY2736" fmla="*/ 91916 h 514350"/>
                <a:gd name="connsiteX2737" fmla="*/ 868204 w 6400800"/>
                <a:gd name="connsiteY2737" fmla="*/ 95726 h 514350"/>
                <a:gd name="connsiteX2738" fmla="*/ 866299 w 6400800"/>
                <a:gd name="connsiteY2738" fmla="*/ 101441 h 514350"/>
                <a:gd name="connsiteX2739" fmla="*/ 868204 w 6400800"/>
                <a:gd name="connsiteY2739" fmla="*/ 113824 h 514350"/>
                <a:gd name="connsiteX2740" fmla="*/ 868204 w 6400800"/>
                <a:gd name="connsiteY2740" fmla="*/ 102394 h 514350"/>
                <a:gd name="connsiteX2741" fmla="*/ 870109 w 6400800"/>
                <a:gd name="connsiteY2741" fmla="*/ 97631 h 514350"/>
                <a:gd name="connsiteX2742" fmla="*/ 872966 w 6400800"/>
                <a:gd name="connsiteY2742" fmla="*/ 95726 h 514350"/>
                <a:gd name="connsiteX2743" fmla="*/ 882491 w 6400800"/>
                <a:gd name="connsiteY2743" fmla="*/ 122396 h 514350"/>
                <a:gd name="connsiteX2744" fmla="*/ 875824 w 6400800"/>
                <a:gd name="connsiteY2744" fmla="*/ 132874 h 514350"/>
                <a:gd name="connsiteX2745" fmla="*/ 860584 w 6400800"/>
                <a:gd name="connsiteY2745" fmla="*/ 159544 h 514350"/>
                <a:gd name="connsiteX2746" fmla="*/ 837724 w 6400800"/>
                <a:gd name="connsiteY2746" fmla="*/ 203359 h 514350"/>
                <a:gd name="connsiteX2747" fmla="*/ 832009 w 6400800"/>
                <a:gd name="connsiteY2747" fmla="*/ 194786 h 514350"/>
                <a:gd name="connsiteX2748" fmla="*/ 838676 w 6400800"/>
                <a:gd name="connsiteY2748" fmla="*/ 137636 h 514350"/>
                <a:gd name="connsiteX2749" fmla="*/ 840581 w 6400800"/>
                <a:gd name="connsiteY2749" fmla="*/ 115729 h 514350"/>
                <a:gd name="connsiteX2750" fmla="*/ 834866 w 6400800"/>
                <a:gd name="connsiteY2750" fmla="*/ 137636 h 514350"/>
                <a:gd name="connsiteX2751" fmla="*/ 820579 w 6400800"/>
                <a:gd name="connsiteY2751" fmla="*/ 194786 h 514350"/>
                <a:gd name="connsiteX2752" fmla="*/ 818674 w 6400800"/>
                <a:gd name="connsiteY2752" fmla="*/ 204311 h 514350"/>
                <a:gd name="connsiteX2753" fmla="*/ 815816 w 6400800"/>
                <a:gd name="connsiteY2753" fmla="*/ 197644 h 514350"/>
                <a:gd name="connsiteX2754" fmla="*/ 807244 w 6400800"/>
                <a:gd name="connsiteY2754" fmla="*/ 174784 h 514350"/>
                <a:gd name="connsiteX2755" fmla="*/ 812006 w 6400800"/>
                <a:gd name="connsiteY2755" fmla="*/ 198596 h 514350"/>
                <a:gd name="connsiteX2756" fmla="*/ 814864 w 6400800"/>
                <a:gd name="connsiteY2756" fmla="*/ 210979 h 514350"/>
                <a:gd name="connsiteX2757" fmla="*/ 815816 w 6400800"/>
                <a:gd name="connsiteY2757" fmla="*/ 216694 h 514350"/>
                <a:gd name="connsiteX2758" fmla="*/ 811054 w 6400800"/>
                <a:gd name="connsiteY2758" fmla="*/ 239554 h 514350"/>
                <a:gd name="connsiteX2759" fmla="*/ 808196 w 6400800"/>
                <a:gd name="connsiteY2759" fmla="*/ 219551 h 514350"/>
                <a:gd name="connsiteX2760" fmla="*/ 807244 w 6400800"/>
                <a:gd name="connsiteY2760" fmla="*/ 264319 h 514350"/>
                <a:gd name="connsiteX2761" fmla="*/ 807244 w 6400800"/>
                <a:gd name="connsiteY2761" fmla="*/ 266224 h 514350"/>
                <a:gd name="connsiteX2762" fmla="*/ 798671 w 6400800"/>
                <a:gd name="connsiteY2762" fmla="*/ 246221 h 514350"/>
                <a:gd name="connsiteX2763" fmla="*/ 800576 w 6400800"/>
                <a:gd name="connsiteY2763" fmla="*/ 239554 h 514350"/>
                <a:gd name="connsiteX2764" fmla="*/ 797719 w 6400800"/>
                <a:gd name="connsiteY2764" fmla="*/ 245269 h 514350"/>
                <a:gd name="connsiteX2765" fmla="*/ 796766 w 6400800"/>
                <a:gd name="connsiteY2765" fmla="*/ 242411 h 514350"/>
                <a:gd name="connsiteX2766" fmla="*/ 792956 w 6400800"/>
                <a:gd name="connsiteY2766" fmla="*/ 233839 h 514350"/>
                <a:gd name="connsiteX2767" fmla="*/ 796766 w 6400800"/>
                <a:gd name="connsiteY2767" fmla="*/ 218599 h 514350"/>
                <a:gd name="connsiteX2768" fmla="*/ 809149 w 6400800"/>
                <a:gd name="connsiteY2768" fmla="*/ 164306 h 514350"/>
                <a:gd name="connsiteX2769" fmla="*/ 812959 w 6400800"/>
                <a:gd name="connsiteY2769" fmla="*/ 143351 h 514350"/>
                <a:gd name="connsiteX2770" fmla="*/ 805339 w 6400800"/>
                <a:gd name="connsiteY2770" fmla="*/ 163354 h 514350"/>
                <a:gd name="connsiteX2771" fmla="*/ 796766 w 6400800"/>
                <a:gd name="connsiteY2771" fmla="*/ 186214 h 514350"/>
                <a:gd name="connsiteX2772" fmla="*/ 785336 w 6400800"/>
                <a:gd name="connsiteY2772" fmla="*/ 215741 h 514350"/>
                <a:gd name="connsiteX2773" fmla="*/ 784384 w 6400800"/>
                <a:gd name="connsiteY2773" fmla="*/ 218599 h 514350"/>
                <a:gd name="connsiteX2774" fmla="*/ 776764 w 6400800"/>
                <a:gd name="connsiteY2774" fmla="*/ 205264 h 514350"/>
                <a:gd name="connsiteX2775" fmla="*/ 774859 w 6400800"/>
                <a:gd name="connsiteY2775" fmla="*/ 202406 h 514350"/>
                <a:gd name="connsiteX2776" fmla="*/ 774859 w 6400800"/>
                <a:gd name="connsiteY2776" fmla="*/ 201454 h 514350"/>
                <a:gd name="connsiteX2777" fmla="*/ 780574 w 6400800"/>
                <a:gd name="connsiteY2777" fmla="*/ 142399 h 514350"/>
                <a:gd name="connsiteX2778" fmla="*/ 781526 w 6400800"/>
                <a:gd name="connsiteY2778" fmla="*/ 119539 h 514350"/>
                <a:gd name="connsiteX2779" fmla="*/ 776764 w 6400800"/>
                <a:gd name="connsiteY2779" fmla="*/ 141446 h 514350"/>
                <a:gd name="connsiteX2780" fmla="*/ 771049 w 6400800"/>
                <a:gd name="connsiteY2780" fmla="*/ 167164 h 514350"/>
                <a:gd name="connsiteX2781" fmla="*/ 766286 w 6400800"/>
                <a:gd name="connsiteY2781" fmla="*/ 189071 h 514350"/>
                <a:gd name="connsiteX2782" fmla="*/ 758666 w 6400800"/>
                <a:gd name="connsiteY2782" fmla="*/ 178594 h 514350"/>
                <a:gd name="connsiteX2783" fmla="*/ 745331 w 6400800"/>
                <a:gd name="connsiteY2783" fmla="*/ 163354 h 514350"/>
                <a:gd name="connsiteX2784" fmla="*/ 740569 w 6400800"/>
                <a:gd name="connsiteY2784" fmla="*/ 157639 h 514350"/>
                <a:gd name="connsiteX2785" fmla="*/ 744379 w 6400800"/>
                <a:gd name="connsiteY2785" fmla="*/ 163354 h 514350"/>
                <a:gd name="connsiteX2786" fmla="*/ 754856 w 6400800"/>
                <a:gd name="connsiteY2786" fmla="*/ 180499 h 514350"/>
                <a:gd name="connsiteX2787" fmla="*/ 763429 w 6400800"/>
                <a:gd name="connsiteY2787" fmla="*/ 196691 h 514350"/>
                <a:gd name="connsiteX2788" fmla="*/ 762476 w 6400800"/>
                <a:gd name="connsiteY2788" fmla="*/ 199549 h 514350"/>
                <a:gd name="connsiteX2789" fmla="*/ 753904 w 6400800"/>
                <a:gd name="connsiteY2789" fmla="*/ 238601 h 514350"/>
                <a:gd name="connsiteX2790" fmla="*/ 747236 w 6400800"/>
                <a:gd name="connsiteY2790" fmla="*/ 224314 h 514350"/>
                <a:gd name="connsiteX2791" fmla="*/ 752951 w 6400800"/>
                <a:gd name="connsiteY2791" fmla="*/ 241459 h 514350"/>
                <a:gd name="connsiteX2792" fmla="*/ 751046 w 6400800"/>
                <a:gd name="connsiteY2792" fmla="*/ 243364 h 514350"/>
                <a:gd name="connsiteX2793" fmla="*/ 749141 w 6400800"/>
                <a:gd name="connsiteY2793" fmla="*/ 252889 h 514350"/>
                <a:gd name="connsiteX2794" fmla="*/ 752951 w 6400800"/>
                <a:gd name="connsiteY2794" fmla="*/ 244316 h 514350"/>
                <a:gd name="connsiteX2795" fmla="*/ 752951 w 6400800"/>
                <a:gd name="connsiteY2795" fmla="*/ 244316 h 514350"/>
                <a:gd name="connsiteX2796" fmla="*/ 744379 w 6400800"/>
                <a:gd name="connsiteY2796" fmla="*/ 282416 h 514350"/>
                <a:gd name="connsiteX2797" fmla="*/ 741521 w 6400800"/>
                <a:gd name="connsiteY2797" fmla="*/ 296704 h 514350"/>
                <a:gd name="connsiteX2798" fmla="*/ 738664 w 6400800"/>
                <a:gd name="connsiteY2798" fmla="*/ 306229 h 514350"/>
                <a:gd name="connsiteX2799" fmla="*/ 738664 w 6400800"/>
                <a:gd name="connsiteY2799" fmla="*/ 306229 h 514350"/>
                <a:gd name="connsiteX2800" fmla="*/ 737711 w 6400800"/>
                <a:gd name="connsiteY2800" fmla="*/ 293846 h 514350"/>
                <a:gd name="connsiteX2801" fmla="*/ 733901 w 6400800"/>
                <a:gd name="connsiteY2801" fmla="*/ 270034 h 514350"/>
                <a:gd name="connsiteX2802" fmla="*/ 731996 w 6400800"/>
                <a:gd name="connsiteY2802" fmla="*/ 259556 h 514350"/>
                <a:gd name="connsiteX2803" fmla="*/ 731044 w 6400800"/>
                <a:gd name="connsiteY2803" fmla="*/ 257651 h 514350"/>
                <a:gd name="connsiteX2804" fmla="*/ 725329 w 6400800"/>
                <a:gd name="connsiteY2804" fmla="*/ 210979 h 514350"/>
                <a:gd name="connsiteX2805" fmla="*/ 722471 w 6400800"/>
                <a:gd name="connsiteY2805" fmla="*/ 186214 h 514350"/>
                <a:gd name="connsiteX2806" fmla="*/ 722471 w 6400800"/>
                <a:gd name="connsiteY2806" fmla="*/ 199549 h 514350"/>
                <a:gd name="connsiteX2807" fmla="*/ 709136 w 6400800"/>
                <a:gd name="connsiteY2807" fmla="*/ 243364 h 514350"/>
                <a:gd name="connsiteX2808" fmla="*/ 704374 w 6400800"/>
                <a:gd name="connsiteY2808" fmla="*/ 229076 h 514350"/>
                <a:gd name="connsiteX2809" fmla="*/ 687229 w 6400800"/>
                <a:gd name="connsiteY2809" fmla="*/ 181451 h 514350"/>
                <a:gd name="connsiteX2810" fmla="*/ 679609 w 6400800"/>
                <a:gd name="connsiteY2810" fmla="*/ 161449 h 514350"/>
                <a:gd name="connsiteX2811" fmla="*/ 679609 w 6400800"/>
                <a:gd name="connsiteY2811" fmla="*/ 148114 h 514350"/>
                <a:gd name="connsiteX2812" fmla="*/ 679609 w 6400800"/>
                <a:gd name="connsiteY2812" fmla="*/ 122396 h 514350"/>
                <a:gd name="connsiteX2813" fmla="*/ 678656 w 6400800"/>
                <a:gd name="connsiteY2813" fmla="*/ 100489 h 514350"/>
                <a:gd name="connsiteX2814" fmla="*/ 675799 w 6400800"/>
                <a:gd name="connsiteY2814" fmla="*/ 122396 h 514350"/>
                <a:gd name="connsiteX2815" fmla="*/ 672941 w 6400800"/>
                <a:gd name="connsiteY2815" fmla="*/ 144304 h 514350"/>
                <a:gd name="connsiteX2816" fmla="*/ 663416 w 6400800"/>
                <a:gd name="connsiteY2816" fmla="*/ 122396 h 514350"/>
                <a:gd name="connsiteX2817" fmla="*/ 659606 w 6400800"/>
                <a:gd name="connsiteY2817" fmla="*/ 114776 h 514350"/>
                <a:gd name="connsiteX2818" fmla="*/ 662464 w 6400800"/>
                <a:gd name="connsiteY2818" fmla="*/ 123349 h 514350"/>
                <a:gd name="connsiteX2819" fmla="*/ 670084 w 6400800"/>
                <a:gd name="connsiteY2819" fmla="*/ 147161 h 514350"/>
                <a:gd name="connsiteX2820" fmla="*/ 671989 w 6400800"/>
                <a:gd name="connsiteY2820" fmla="*/ 153829 h 514350"/>
                <a:gd name="connsiteX2821" fmla="*/ 671036 w 6400800"/>
                <a:gd name="connsiteY2821" fmla="*/ 164306 h 514350"/>
                <a:gd name="connsiteX2822" fmla="*/ 668179 w 6400800"/>
                <a:gd name="connsiteY2822" fmla="*/ 181451 h 514350"/>
                <a:gd name="connsiteX2823" fmla="*/ 662464 w 6400800"/>
                <a:gd name="connsiteY2823" fmla="*/ 219551 h 514350"/>
                <a:gd name="connsiteX2824" fmla="*/ 658654 w 6400800"/>
                <a:gd name="connsiteY2824" fmla="*/ 239554 h 514350"/>
                <a:gd name="connsiteX2825" fmla="*/ 655796 w 6400800"/>
                <a:gd name="connsiteY2825" fmla="*/ 231934 h 514350"/>
                <a:gd name="connsiteX2826" fmla="*/ 657701 w 6400800"/>
                <a:gd name="connsiteY2826" fmla="*/ 210026 h 514350"/>
                <a:gd name="connsiteX2827" fmla="*/ 653891 w 6400800"/>
                <a:gd name="connsiteY2827" fmla="*/ 226219 h 514350"/>
                <a:gd name="connsiteX2828" fmla="*/ 638651 w 6400800"/>
                <a:gd name="connsiteY2828" fmla="*/ 191929 h 514350"/>
                <a:gd name="connsiteX2829" fmla="*/ 630079 w 6400800"/>
                <a:gd name="connsiteY2829" fmla="*/ 174784 h 514350"/>
                <a:gd name="connsiteX2830" fmla="*/ 627221 w 6400800"/>
                <a:gd name="connsiteY2830" fmla="*/ 169069 h 514350"/>
                <a:gd name="connsiteX2831" fmla="*/ 635794 w 6400800"/>
                <a:gd name="connsiteY2831" fmla="*/ 193834 h 514350"/>
                <a:gd name="connsiteX2832" fmla="*/ 649129 w 6400800"/>
                <a:gd name="connsiteY2832" fmla="*/ 240506 h 514350"/>
                <a:gd name="connsiteX2833" fmla="*/ 650081 w 6400800"/>
                <a:gd name="connsiteY2833" fmla="*/ 244316 h 514350"/>
                <a:gd name="connsiteX2834" fmla="*/ 647224 w 6400800"/>
                <a:gd name="connsiteY2834" fmla="*/ 262414 h 514350"/>
                <a:gd name="connsiteX2835" fmla="*/ 644366 w 6400800"/>
                <a:gd name="connsiteY2835" fmla="*/ 279559 h 514350"/>
                <a:gd name="connsiteX2836" fmla="*/ 642461 w 6400800"/>
                <a:gd name="connsiteY2836" fmla="*/ 298609 h 514350"/>
                <a:gd name="connsiteX2837" fmla="*/ 642461 w 6400800"/>
                <a:gd name="connsiteY2837" fmla="*/ 298609 h 514350"/>
                <a:gd name="connsiteX2838" fmla="*/ 642461 w 6400800"/>
                <a:gd name="connsiteY2838" fmla="*/ 294799 h 514350"/>
                <a:gd name="connsiteX2839" fmla="*/ 641509 w 6400800"/>
                <a:gd name="connsiteY2839" fmla="*/ 315754 h 514350"/>
                <a:gd name="connsiteX2840" fmla="*/ 641509 w 6400800"/>
                <a:gd name="connsiteY2840" fmla="*/ 317659 h 514350"/>
                <a:gd name="connsiteX2841" fmla="*/ 639604 w 6400800"/>
                <a:gd name="connsiteY2841" fmla="*/ 309086 h 514350"/>
                <a:gd name="connsiteX2842" fmla="*/ 640556 w 6400800"/>
                <a:gd name="connsiteY2842" fmla="*/ 304324 h 514350"/>
                <a:gd name="connsiteX2843" fmla="*/ 638651 w 6400800"/>
                <a:gd name="connsiteY2843" fmla="*/ 307181 h 514350"/>
                <a:gd name="connsiteX2844" fmla="*/ 632936 w 6400800"/>
                <a:gd name="connsiteY2844" fmla="*/ 284321 h 514350"/>
                <a:gd name="connsiteX2845" fmla="*/ 624364 w 6400800"/>
                <a:gd name="connsiteY2845" fmla="*/ 250031 h 514350"/>
                <a:gd name="connsiteX2846" fmla="*/ 617696 w 6400800"/>
                <a:gd name="connsiteY2846" fmla="*/ 223361 h 514350"/>
                <a:gd name="connsiteX2847" fmla="*/ 614839 w 6400800"/>
                <a:gd name="connsiteY2847" fmla="*/ 210979 h 514350"/>
                <a:gd name="connsiteX2848" fmla="*/ 615791 w 6400800"/>
                <a:gd name="connsiteY2848" fmla="*/ 190024 h 514350"/>
                <a:gd name="connsiteX2849" fmla="*/ 617696 w 6400800"/>
                <a:gd name="connsiteY2849" fmla="*/ 126206 h 514350"/>
                <a:gd name="connsiteX2850" fmla="*/ 607219 w 6400800"/>
                <a:gd name="connsiteY2850" fmla="*/ 187166 h 514350"/>
                <a:gd name="connsiteX2851" fmla="*/ 606266 w 6400800"/>
                <a:gd name="connsiteY2851" fmla="*/ 184309 h 514350"/>
                <a:gd name="connsiteX2852" fmla="*/ 606266 w 6400800"/>
                <a:gd name="connsiteY2852" fmla="*/ 189071 h 514350"/>
                <a:gd name="connsiteX2853" fmla="*/ 601504 w 6400800"/>
                <a:gd name="connsiteY2853" fmla="*/ 215741 h 514350"/>
                <a:gd name="connsiteX2854" fmla="*/ 599599 w 6400800"/>
                <a:gd name="connsiteY2854" fmla="*/ 210979 h 514350"/>
                <a:gd name="connsiteX2855" fmla="*/ 591026 w 6400800"/>
                <a:gd name="connsiteY2855" fmla="*/ 191929 h 514350"/>
                <a:gd name="connsiteX2856" fmla="*/ 595789 w 6400800"/>
                <a:gd name="connsiteY2856" fmla="*/ 212884 h 514350"/>
                <a:gd name="connsiteX2857" fmla="*/ 599599 w 6400800"/>
                <a:gd name="connsiteY2857" fmla="*/ 230029 h 514350"/>
                <a:gd name="connsiteX2858" fmla="*/ 595789 w 6400800"/>
                <a:gd name="connsiteY2858" fmla="*/ 251936 h 514350"/>
                <a:gd name="connsiteX2859" fmla="*/ 589121 w 6400800"/>
                <a:gd name="connsiteY2859" fmla="*/ 294799 h 514350"/>
                <a:gd name="connsiteX2860" fmla="*/ 582454 w 6400800"/>
                <a:gd name="connsiteY2860" fmla="*/ 284321 h 514350"/>
                <a:gd name="connsiteX2861" fmla="*/ 585311 w 6400800"/>
                <a:gd name="connsiteY2861" fmla="*/ 265271 h 514350"/>
                <a:gd name="connsiteX2862" fmla="*/ 588169 w 6400800"/>
                <a:gd name="connsiteY2862" fmla="*/ 244316 h 514350"/>
                <a:gd name="connsiteX2863" fmla="*/ 591026 w 6400800"/>
                <a:gd name="connsiteY2863" fmla="*/ 225266 h 514350"/>
                <a:gd name="connsiteX2864" fmla="*/ 584359 w 6400800"/>
                <a:gd name="connsiteY2864" fmla="*/ 243364 h 514350"/>
                <a:gd name="connsiteX2865" fmla="*/ 579596 w 6400800"/>
                <a:gd name="connsiteY2865" fmla="*/ 258604 h 514350"/>
                <a:gd name="connsiteX2866" fmla="*/ 577691 w 6400800"/>
                <a:gd name="connsiteY2866" fmla="*/ 231934 h 514350"/>
                <a:gd name="connsiteX2867" fmla="*/ 575786 w 6400800"/>
                <a:gd name="connsiteY2867" fmla="*/ 210979 h 514350"/>
                <a:gd name="connsiteX2868" fmla="*/ 573881 w 6400800"/>
                <a:gd name="connsiteY2868" fmla="*/ 230981 h 514350"/>
                <a:gd name="connsiteX2869" fmla="*/ 571024 w 6400800"/>
                <a:gd name="connsiteY2869" fmla="*/ 267176 h 514350"/>
                <a:gd name="connsiteX2870" fmla="*/ 571024 w 6400800"/>
                <a:gd name="connsiteY2870" fmla="*/ 267176 h 514350"/>
                <a:gd name="connsiteX2871" fmla="*/ 567214 w 6400800"/>
                <a:gd name="connsiteY2871" fmla="*/ 262414 h 514350"/>
                <a:gd name="connsiteX2872" fmla="*/ 552926 w 6400800"/>
                <a:gd name="connsiteY2872" fmla="*/ 219551 h 514350"/>
                <a:gd name="connsiteX2873" fmla="*/ 552926 w 6400800"/>
                <a:gd name="connsiteY2873" fmla="*/ 218599 h 514350"/>
                <a:gd name="connsiteX2874" fmla="*/ 555784 w 6400800"/>
                <a:gd name="connsiteY2874" fmla="*/ 189071 h 514350"/>
                <a:gd name="connsiteX2875" fmla="*/ 558641 w 6400800"/>
                <a:gd name="connsiteY2875" fmla="*/ 162401 h 514350"/>
                <a:gd name="connsiteX2876" fmla="*/ 561499 w 6400800"/>
                <a:gd name="connsiteY2876" fmla="*/ 141446 h 514350"/>
                <a:gd name="connsiteX2877" fmla="*/ 564356 w 6400800"/>
                <a:gd name="connsiteY2877" fmla="*/ 123349 h 514350"/>
                <a:gd name="connsiteX2878" fmla="*/ 557689 w 6400800"/>
                <a:gd name="connsiteY2878" fmla="*/ 140494 h 514350"/>
                <a:gd name="connsiteX2879" fmla="*/ 551021 w 6400800"/>
                <a:gd name="connsiteY2879" fmla="*/ 160496 h 514350"/>
                <a:gd name="connsiteX2880" fmla="*/ 544354 w 6400800"/>
                <a:gd name="connsiteY2880" fmla="*/ 187166 h 514350"/>
                <a:gd name="connsiteX2881" fmla="*/ 537686 w 6400800"/>
                <a:gd name="connsiteY2881" fmla="*/ 218599 h 514350"/>
                <a:gd name="connsiteX2882" fmla="*/ 535781 w 6400800"/>
                <a:gd name="connsiteY2882" fmla="*/ 231934 h 514350"/>
                <a:gd name="connsiteX2883" fmla="*/ 534829 w 6400800"/>
                <a:gd name="connsiteY2883" fmla="*/ 220504 h 514350"/>
                <a:gd name="connsiteX2884" fmla="*/ 532924 w 6400800"/>
                <a:gd name="connsiteY2884" fmla="*/ 205264 h 514350"/>
                <a:gd name="connsiteX2885" fmla="*/ 533876 w 6400800"/>
                <a:gd name="connsiteY2885" fmla="*/ 186214 h 514350"/>
                <a:gd name="connsiteX2886" fmla="*/ 534829 w 6400800"/>
                <a:gd name="connsiteY2886" fmla="*/ 166211 h 514350"/>
                <a:gd name="connsiteX2887" fmla="*/ 534829 w 6400800"/>
                <a:gd name="connsiteY2887" fmla="*/ 148114 h 514350"/>
                <a:gd name="connsiteX2888" fmla="*/ 534829 w 6400800"/>
                <a:gd name="connsiteY2888" fmla="*/ 118586 h 514350"/>
                <a:gd name="connsiteX2889" fmla="*/ 533876 w 6400800"/>
                <a:gd name="connsiteY2889" fmla="*/ 92869 h 514350"/>
                <a:gd name="connsiteX2890" fmla="*/ 531019 w 6400800"/>
                <a:gd name="connsiteY2890" fmla="*/ 118586 h 514350"/>
                <a:gd name="connsiteX2891" fmla="*/ 528161 w 6400800"/>
                <a:gd name="connsiteY2891" fmla="*/ 147161 h 514350"/>
                <a:gd name="connsiteX2892" fmla="*/ 526256 w 6400800"/>
                <a:gd name="connsiteY2892" fmla="*/ 165259 h 514350"/>
                <a:gd name="connsiteX2893" fmla="*/ 523399 w 6400800"/>
                <a:gd name="connsiteY2893" fmla="*/ 185261 h 514350"/>
                <a:gd name="connsiteX2894" fmla="*/ 521494 w 6400800"/>
                <a:gd name="connsiteY2894" fmla="*/ 197644 h 514350"/>
                <a:gd name="connsiteX2895" fmla="*/ 513874 w 6400800"/>
                <a:gd name="connsiteY2895" fmla="*/ 170021 h 514350"/>
                <a:gd name="connsiteX2896" fmla="*/ 506254 w 6400800"/>
                <a:gd name="connsiteY2896" fmla="*/ 144304 h 514350"/>
                <a:gd name="connsiteX2897" fmla="*/ 510064 w 6400800"/>
                <a:gd name="connsiteY2897" fmla="*/ 170974 h 514350"/>
                <a:gd name="connsiteX2898" fmla="*/ 517684 w 6400800"/>
                <a:gd name="connsiteY2898" fmla="*/ 222409 h 514350"/>
                <a:gd name="connsiteX2899" fmla="*/ 516731 w 6400800"/>
                <a:gd name="connsiteY2899" fmla="*/ 230029 h 514350"/>
                <a:gd name="connsiteX2900" fmla="*/ 512921 w 6400800"/>
                <a:gd name="connsiteY2900" fmla="*/ 251936 h 514350"/>
                <a:gd name="connsiteX2901" fmla="*/ 487204 w 6400800"/>
                <a:gd name="connsiteY2901" fmla="*/ 172879 h 514350"/>
                <a:gd name="connsiteX2902" fmla="*/ 485299 w 6400800"/>
                <a:gd name="connsiteY2902" fmla="*/ 164306 h 514350"/>
                <a:gd name="connsiteX2903" fmla="*/ 486251 w 6400800"/>
                <a:gd name="connsiteY2903" fmla="*/ 189071 h 514350"/>
                <a:gd name="connsiteX2904" fmla="*/ 488156 w 6400800"/>
                <a:gd name="connsiteY2904" fmla="*/ 217646 h 514350"/>
                <a:gd name="connsiteX2905" fmla="*/ 489109 w 6400800"/>
                <a:gd name="connsiteY2905" fmla="*/ 238601 h 514350"/>
                <a:gd name="connsiteX2906" fmla="*/ 486251 w 6400800"/>
                <a:gd name="connsiteY2906" fmla="*/ 223361 h 514350"/>
                <a:gd name="connsiteX2907" fmla="*/ 482441 w 6400800"/>
                <a:gd name="connsiteY2907" fmla="*/ 207169 h 514350"/>
                <a:gd name="connsiteX2908" fmla="*/ 478631 w 6400800"/>
                <a:gd name="connsiteY2908" fmla="*/ 192881 h 514350"/>
                <a:gd name="connsiteX2909" fmla="*/ 471964 w 6400800"/>
                <a:gd name="connsiteY2909" fmla="*/ 170021 h 514350"/>
                <a:gd name="connsiteX2910" fmla="*/ 465296 w 6400800"/>
                <a:gd name="connsiteY2910" fmla="*/ 150019 h 514350"/>
                <a:gd name="connsiteX2911" fmla="*/ 468154 w 6400800"/>
                <a:gd name="connsiteY2911" fmla="*/ 170021 h 514350"/>
                <a:gd name="connsiteX2912" fmla="*/ 471011 w 6400800"/>
                <a:gd name="connsiteY2912" fmla="*/ 193834 h 514350"/>
                <a:gd name="connsiteX2913" fmla="*/ 472916 w 6400800"/>
                <a:gd name="connsiteY2913" fmla="*/ 208121 h 514350"/>
                <a:gd name="connsiteX2914" fmla="*/ 474821 w 6400800"/>
                <a:gd name="connsiteY2914" fmla="*/ 224314 h 514350"/>
                <a:gd name="connsiteX2915" fmla="*/ 478631 w 6400800"/>
                <a:gd name="connsiteY2915" fmla="*/ 255746 h 514350"/>
                <a:gd name="connsiteX2916" fmla="*/ 474821 w 6400800"/>
                <a:gd name="connsiteY2916" fmla="*/ 240506 h 514350"/>
                <a:gd name="connsiteX2917" fmla="*/ 455771 w 6400800"/>
                <a:gd name="connsiteY2917" fmla="*/ 170974 h 514350"/>
                <a:gd name="connsiteX2918" fmla="*/ 447199 w 6400800"/>
                <a:gd name="connsiteY2918" fmla="*/ 145256 h 514350"/>
                <a:gd name="connsiteX2919" fmla="*/ 451961 w 6400800"/>
                <a:gd name="connsiteY2919" fmla="*/ 171926 h 514350"/>
                <a:gd name="connsiteX2920" fmla="*/ 457676 w 6400800"/>
                <a:gd name="connsiteY2920" fmla="*/ 202406 h 514350"/>
                <a:gd name="connsiteX2921" fmla="*/ 464344 w 6400800"/>
                <a:gd name="connsiteY2921" fmla="*/ 242411 h 514350"/>
                <a:gd name="connsiteX2922" fmla="*/ 471011 w 6400800"/>
                <a:gd name="connsiteY2922" fmla="*/ 282416 h 514350"/>
                <a:gd name="connsiteX2923" fmla="*/ 467201 w 6400800"/>
                <a:gd name="connsiteY2923" fmla="*/ 272891 h 514350"/>
                <a:gd name="connsiteX2924" fmla="*/ 459581 w 6400800"/>
                <a:gd name="connsiteY2924" fmla="*/ 255746 h 514350"/>
                <a:gd name="connsiteX2925" fmla="*/ 463391 w 6400800"/>
                <a:gd name="connsiteY2925" fmla="*/ 273844 h 514350"/>
                <a:gd name="connsiteX2926" fmla="*/ 468154 w 6400800"/>
                <a:gd name="connsiteY2926" fmla="*/ 293846 h 514350"/>
                <a:gd name="connsiteX2927" fmla="*/ 471011 w 6400800"/>
                <a:gd name="connsiteY2927" fmla="*/ 306229 h 514350"/>
                <a:gd name="connsiteX2928" fmla="*/ 473869 w 6400800"/>
                <a:gd name="connsiteY2928" fmla="*/ 320516 h 514350"/>
                <a:gd name="connsiteX2929" fmla="*/ 479584 w 6400800"/>
                <a:gd name="connsiteY2929" fmla="*/ 351949 h 514350"/>
                <a:gd name="connsiteX2930" fmla="*/ 479584 w 6400800"/>
                <a:gd name="connsiteY2930" fmla="*/ 353854 h 514350"/>
                <a:gd name="connsiteX2931" fmla="*/ 478631 w 6400800"/>
                <a:gd name="connsiteY2931" fmla="*/ 351949 h 514350"/>
                <a:gd name="connsiteX2932" fmla="*/ 471964 w 6400800"/>
                <a:gd name="connsiteY2932" fmla="*/ 338614 h 514350"/>
                <a:gd name="connsiteX2933" fmla="*/ 470059 w 6400800"/>
                <a:gd name="connsiteY2933" fmla="*/ 324326 h 514350"/>
                <a:gd name="connsiteX2934" fmla="*/ 462439 w 6400800"/>
                <a:gd name="connsiteY2934" fmla="*/ 280511 h 514350"/>
                <a:gd name="connsiteX2935" fmla="*/ 452914 w 6400800"/>
                <a:gd name="connsiteY2935" fmla="*/ 240506 h 514350"/>
                <a:gd name="connsiteX2936" fmla="*/ 441484 w 6400800"/>
                <a:gd name="connsiteY2936" fmla="*/ 205264 h 514350"/>
                <a:gd name="connsiteX2937" fmla="*/ 437674 w 6400800"/>
                <a:gd name="connsiteY2937" fmla="*/ 194786 h 514350"/>
                <a:gd name="connsiteX2938" fmla="*/ 440531 w 6400800"/>
                <a:gd name="connsiteY2938" fmla="*/ 167164 h 514350"/>
                <a:gd name="connsiteX2939" fmla="*/ 442436 w 6400800"/>
                <a:gd name="connsiteY2939" fmla="*/ 128111 h 514350"/>
                <a:gd name="connsiteX2940" fmla="*/ 441484 w 6400800"/>
                <a:gd name="connsiteY2940" fmla="*/ 94774 h 514350"/>
                <a:gd name="connsiteX2941" fmla="*/ 438626 w 6400800"/>
                <a:gd name="connsiteY2941" fmla="*/ 128111 h 514350"/>
                <a:gd name="connsiteX2942" fmla="*/ 433864 w 6400800"/>
                <a:gd name="connsiteY2942" fmla="*/ 166211 h 514350"/>
                <a:gd name="connsiteX2943" fmla="*/ 431959 w 6400800"/>
                <a:gd name="connsiteY2943" fmla="*/ 178594 h 514350"/>
                <a:gd name="connsiteX2944" fmla="*/ 431006 w 6400800"/>
                <a:gd name="connsiteY2944" fmla="*/ 175736 h 514350"/>
                <a:gd name="connsiteX2945" fmla="*/ 419576 w 6400800"/>
                <a:gd name="connsiteY2945" fmla="*/ 153829 h 514350"/>
                <a:gd name="connsiteX2946" fmla="*/ 408146 w 6400800"/>
                <a:gd name="connsiteY2946" fmla="*/ 135731 h 514350"/>
                <a:gd name="connsiteX2947" fmla="*/ 415766 w 6400800"/>
                <a:gd name="connsiteY2947" fmla="*/ 155734 h 514350"/>
                <a:gd name="connsiteX2948" fmla="*/ 423386 w 6400800"/>
                <a:gd name="connsiteY2948" fmla="*/ 178594 h 514350"/>
                <a:gd name="connsiteX2949" fmla="*/ 428149 w 6400800"/>
                <a:gd name="connsiteY2949" fmla="*/ 195739 h 514350"/>
                <a:gd name="connsiteX2950" fmla="*/ 424339 w 6400800"/>
                <a:gd name="connsiteY2950" fmla="*/ 214789 h 514350"/>
                <a:gd name="connsiteX2951" fmla="*/ 424339 w 6400800"/>
                <a:gd name="connsiteY2951" fmla="*/ 214789 h 514350"/>
                <a:gd name="connsiteX2952" fmla="*/ 415766 w 6400800"/>
                <a:gd name="connsiteY2952" fmla="*/ 202406 h 514350"/>
                <a:gd name="connsiteX2953" fmla="*/ 421481 w 6400800"/>
                <a:gd name="connsiteY2953" fmla="*/ 216694 h 514350"/>
                <a:gd name="connsiteX2954" fmla="*/ 423386 w 6400800"/>
                <a:gd name="connsiteY2954" fmla="*/ 223361 h 514350"/>
                <a:gd name="connsiteX2955" fmla="*/ 412909 w 6400800"/>
                <a:gd name="connsiteY2955" fmla="*/ 272891 h 514350"/>
                <a:gd name="connsiteX2956" fmla="*/ 405289 w 6400800"/>
                <a:gd name="connsiteY2956" fmla="*/ 253841 h 514350"/>
                <a:gd name="connsiteX2957" fmla="*/ 405289 w 6400800"/>
                <a:gd name="connsiteY2957" fmla="*/ 253841 h 514350"/>
                <a:gd name="connsiteX2958" fmla="*/ 404336 w 6400800"/>
                <a:gd name="connsiteY2958" fmla="*/ 210026 h 514350"/>
                <a:gd name="connsiteX2959" fmla="*/ 401479 w 6400800"/>
                <a:gd name="connsiteY2959" fmla="*/ 176689 h 514350"/>
                <a:gd name="connsiteX2960" fmla="*/ 396716 w 6400800"/>
                <a:gd name="connsiteY2960" fmla="*/ 148114 h 514350"/>
                <a:gd name="connsiteX2961" fmla="*/ 397669 w 6400800"/>
                <a:gd name="connsiteY2961" fmla="*/ 177641 h 514350"/>
                <a:gd name="connsiteX2962" fmla="*/ 396716 w 6400800"/>
                <a:gd name="connsiteY2962" fmla="*/ 206216 h 514350"/>
                <a:gd name="connsiteX2963" fmla="*/ 389096 w 6400800"/>
                <a:gd name="connsiteY2963" fmla="*/ 244316 h 514350"/>
                <a:gd name="connsiteX2964" fmla="*/ 381476 w 6400800"/>
                <a:gd name="connsiteY2964" fmla="*/ 219551 h 514350"/>
                <a:gd name="connsiteX2965" fmla="*/ 374809 w 6400800"/>
                <a:gd name="connsiteY2965" fmla="*/ 199549 h 514350"/>
                <a:gd name="connsiteX2966" fmla="*/ 372904 w 6400800"/>
                <a:gd name="connsiteY2966" fmla="*/ 194786 h 514350"/>
                <a:gd name="connsiteX2967" fmla="*/ 372904 w 6400800"/>
                <a:gd name="connsiteY2967" fmla="*/ 190976 h 514350"/>
                <a:gd name="connsiteX2968" fmla="*/ 370046 w 6400800"/>
                <a:gd name="connsiteY2968" fmla="*/ 177641 h 514350"/>
                <a:gd name="connsiteX2969" fmla="*/ 366236 w 6400800"/>
                <a:gd name="connsiteY2969" fmla="*/ 155734 h 514350"/>
                <a:gd name="connsiteX2970" fmla="*/ 364331 w 6400800"/>
                <a:gd name="connsiteY2970" fmla="*/ 148114 h 514350"/>
                <a:gd name="connsiteX2971" fmla="*/ 363379 w 6400800"/>
                <a:gd name="connsiteY2971" fmla="*/ 135731 h 514350"/>
                <a:gd name="connsiteX2972" fmla="*/ 363379 w 6400800"/>
                <a:gd name="connsiteY2972" fmla="*/ 140494 h 514350"/>
                <a:gd name="connsiteX2973" fmla="*/ 362426 w 6400800"/>
                <a:gd name="connsiteY2973" fmla="*/ 136684 h 514350"/>
                <a:gd name="connsiteX2974" fmla="*/ 362426 w 6400800"/>
                <a:gd name="connsiteY2974" fmla="*/ 151924 h 514350"/>
                <a:gd name="connsiteX2975" fmla="*/ 361474 w 6400800"/>
                <a:gd name="connsiteY2975" fmla="*/ 163354 h 514350"/>
                <a:gd name="connsiteX2976" fmla="*/ 357664 w 6400800"/>
                <a:gd name="connsiteY2976" fmla="*/ 151924 h 514350"/>
                <a:gd name="connsiteX2977" fmla="*/ 348139 w 6400800"/>
                <a:gd name="connsiteY2977" fmla="*/ 127159 h 514350"/>
                <a:gd name="connsiteX2978" fmla="*/ 353854 w 6400800"/>
                <a:gd name="connsiteY2978" fmla="*/ 153829 h 514350"/>
                <a:gd name="connsiteX2979" fmla="*/ 361474 w 6400800"/>
                <a:gd name="connsiteY2979" fmla="*/ 183356 h 514350"/>
                <a:gd name="connsiteX2980" fmla="*/ 361474 w 6400800"/>
                <a:gd name="connsiteY2980" fmla="*/ 192881 h 514350"/>
                <a:gd name="connsiteX2981" fmla="*/ 357664 w 6400800"/>
                <a:gd name="connsiteY2981" fmla="*/ 184309 h 514350"/>
                <a:gd name="connsiteX2982" fmla="*/ 360521 w 6400800"/>
                <a:gd name="connsiteY2982" fmla="*/ 198596 h 514350"/>
                <a:gd name="connsiteX2983" fmla="*/ 359569 w 6400800"/>
                <a:gd name="connsiteY2983" fmla="*/ 221456 h 514350"/>
                <a:gd name="connsiteX2984" fmla="*/ 355759 w 6400800"/>
                <a:gd name="connsiteY2984" fmla="*/ 208121 h 514350"/>
                <a:gd name="connsiteX2985" fmla="*/ 350996 w 6400800"/>
                <a:gd name="connsiteY2985" fmla="*/ 193834 h 514350"/>
                <a:gd name="connsiteX2986" fmla="*/ 351949 w 6400800"/>
                <a:gd name="connsiteY2986" fmla="*/ 208121 h 514350"/>
                <a:gd name="connsiteX2987" fmla="*/ 352901 w 6400800"/>
                <a:gd name="connsiteY2987" fmla="*/ 224314 h 514350"/>
                <a:gd name="connsiteX2988" fmla="*/ 353854 w 6400800"/>
                <a:gd name="connsiteY2988" fmla="*/ 246221 h 514350"/>
                <a:gd name="connsiteX2989" fmla="*/ 354806 w 6400800"/>
                <a:gd name="connsiteY2989" fmla="*/ 270986 h 514350"/>
                <a:gd name="connsiteX2990" fmla="*/ 355759 w 6400800"/>
                <a:gd name="connsiteY2990" fmla="*/ 299561 h 514350"/>
                <a:gd name="connsiteX2991" fmla="*/ 356711 w 6400800"/>
                <a:gd name="connsiteY2991" fmla="*/ 316706 h 514350"/>
                <a:gd name="connsiteX2992" fmla="*/ 346234 w 6400800"/>
                <a:gd name="connsiteY2992" fmla="*/ 298609 h 514350"/>
                <a:gd name="connsiteX2993" fmla="*/ 345281 w 6400800"/>
                <a:gd name="connsiteY2993" fmla="*/ 296704 h 514350"/>
                <a:gd name="connsiteX2994" fmla="*/ 345281 w 6400800"/>
                <a:gd name="connsiteY2994" fmla="*/ 291941 h 514350"/>
                <a:gd name="connsiteX2995" fmla="*/ 348139 w 6400800"/>
                <a:gd name="connsiteY2995" fmla="*/ 267176 h 514350"/>
                <a:gd name="connsiteX2996" fmla="*/ 350044 w 6400800"/>
                <a:gd name="connsiteY2996" fmla="*/ 246221 h 514350"/>
                <a:gd name="connsiteX2997" fmla="*/ 344329 w 6400800"/>
                <a:gd name="connsiteY2997" fmla="*/ 267176 h 514350"/>
                <a:gd name="connsiteX2998" fmla="*/ 339566 w 6400800"/>
                <a:gd name="connsiteY2998" fmla="*/ 287179 h 514350"/>
                <a:gd name="connsiteX2999" fmla="*/ 339566 w 6400800"/>
                <a:gd name="connsiteY2999" fmla="*/ 287179 h 514350"/>
                <a:gd name="connsiteX3000" fmla="*/ 339566 w 6400800"/>
                <a:gd name="connsiteY3000" fmla="*/ 288131 h 514350"/>
                <a:gd name="connsiteX3001" fmla="*/ 338614 w 6400800"/>
                <a:gd name="connsiteY3001" fmla="*/ 291941 h 514350"/>
                <a:gd name="connsiteX3002" fmla="*/ 337661 w 6400800"/>
                <a:gd name="connsiteY3002" fmla="*/ 297656 h 514350"/>
                <a:gd name="connsiteX3003" fmla="*/ 324326 w 6400800"/>
                <a:gd name="connsiteY3003" fmla="*/ 277654 h 514350"/>
                <a:gd name="connsiteX3004" fmla="*/ 310991 w 6400800"/>
                <a:gd name="connsiteY3004" fmla="*/ 233839 h 514350"/>
                <a:gd name="connsiteX3005" fmla="*/ 303371 w 6400800"/>
                <a:gd name="connsiteY3005" fmla="*/ 211931 h 514350"/>
                <a:gd name="connsiteX3006" fmla="*/ 306229 w 6400800"/>
                <a:gd name="connsiteY3006" fmla="*/ 196691 h 514350"/>
                <a:gd name="connsiteX3007" fmla="*/ 316706 w 6400800"/>
                <a:gd name="connsiteY3007" fmla="*/ 150971 h 514350"/>
                <a:gd name="connsiteX3008" fmla="*/ 326231 w 6400800"/>
                <a:gd name="connsiteY3008" fmla="*/ 115729 h 514350"/>
                <a:gd name="connsiteX3009" fmla="*/ 335756 w 6400800"/>
                <a:gd name="connsiteY3009" fmla="*/ 85249 h 514350"/>
                <a:gd name="connsiteX3010" fmla="*/ 323374 w 6400800"/>
                <a:gd name="connsiteY3010" fmla="*/ 113824 h 514350"/>
                <a:gd name="connsiteX3011" fmla="*/ 310991 w 6400800"/>
                <a:gd name="connsiteY3011" fmla="*/ 148114 h 514350"/>
                <a:gd name="connsiteX3012" fmla="*/ 303371 w 6400800"/>
                <a:gd name="connsiteY3012" fmla="*/ 169069 h 514350"/>
                <a:gd name="connsiteX3013" fmla="*/ 297656 w 6400800"/>
                <a:gd name="connsiteY3013" fmla="*/ 190024 h 514350"/>
                <a:gd name="connsiteX3014" fmla="*/ 287179 w 6400800"/>
                <a:gd name="connsiteY3014" fmla="*/ 159544 h 514350"/>
                <a:gd name="connsiteX3015" fmla="*/ 294799 w 6400800"/>
                <a:gd name="connsiteY3015" fmla="*/ 198596 h 514350"/>
                <a:gd name="connsiteX3016" fmla="*/ 283369 w 6400800"/>
                <a:gd name="connsiteY3016" fmla="*/ 247174 h 514350"/>
                <a:gd name="connsiteX3017" fmla="*/ 279559 w 6400800"/>
                <a:gd name="connsiteY3017" fmla="*/ 264319 h 514350"/>
                <a:gd name="connsiteX3018" fmla="*/ 276701 w 6400800"/>
                <a:gd name="connsiteY3018" fmla="*/ 253841 h 514350"/>
                <a:gd name="connsiteX3019" fmla="*/ 278606 w 6400800"/>
                <a:gd name="connsiteY3019" fmla="*/ 227171 h 514350"/>
                <a:gd name="connsiteX3020" fmla="*/ 284321 w 6400800"/>
                <a:gd name="connsiteY3020" fmla="*/ 166211 h 514350"/>
                <a:gd name="connsiteX3021" fmla="*/ 287179 w 6400800"/>
                <a:gd name="connsiteY3021" fmla="*/ 139541 h 514350"/>
                <a:gd name="connsiteX3022" fmla="*/ 290989 w 6400800"/>
                <a:gd name="connsiteY3022" fmla="*/ 115729 h 514350"/>
                <a:gd name="connsiteX3023" fmla="*/ 297656 w 6400800"/>
                <a:gd name="connsiteY3023" fmla="*/ 76676 h 514350"/>
                <a:gd name="connsiteX3024" fmla="*/ 304324 w 6400800"/>
                <a:gd name="connsiteY3024" fmla="*/ 42386 h 514350"/>
                <a:gd name="connsiteX3025" fmla="*/ 293846 w 6400800"/>
                <a:gd name="connsiteY3025" fmla="*/ 75724 h 514350"/>
                <a:gd name="connsiteX3026" fmla="*/ 283369 w 6400800"/>
                <a:gd name="connsiteY3026" fmla="*/ 114776 h 514350"/>
                <a:gd name="connsiteX3027" fmla="*/ 277654 w 6400800"/>
                <a:gd name="connsiteY3027" fmla="*/ 138589 h 514350"/>
                <a:gd name="connsiteX3028" fmla="*/ 272891 w 6400800"/>
                <a:gd name="connsiteY3028" fmla="*/ 165259 h 514350"/>
                <a:gd name="connsiteX3029" fmla="*/ 270034 w 6400800"/>
                <a:gd name="connsiteY3029" fmla="*/ 178594 h 514350"/>
                <a:gd name="connsiteX3030" fmla="*/ 261461 w 6400800"/>
                <a:gd name="connsiteY3030" fmla="*/ 196691 h 514350"/>
                <a:gd name="connsiteX3031" fmla="*/ 258604 w 6400800"/>
                <a:gd name="connsiteY3031" fmla="*/ 183356 h 514350"/>
                <a:gd name="connsiteX3032" fmla="*/ 253841 w 6400800"/>
                <a:gd name="connsiteY3032" fmla="*/ 161449 h 514350"/>
                <a:gd name="connsiteX3033" fmla="*/ 254794 w 6400800"/>
                <a:gd name="connsiteY3033" fmla="*/ 183356 h 514350"/>
                <a:gd name="connsiteX3034" fmla="*/ 256699 w 6400800"/>
                <a:gd name="connsiteY3034" fmla="*/ 207169 h 514350"/>
                <a:gd name="connsiteX3035" fmla="*/ 247174 w 6400800"/>
                <a:gd name="connsiteY3035" fmla="*/ 231934 h 514350"/>
                <a:gd name="connsiteX3036" fmla="*/ 245269 w 6400800"/>
                <a:gd name="connsiteY3036" fmla="*/ 236696 h 514350"/>
                <a:gd name="connsiteX3037" fmla="*/ 242411 w 6400800"/>
                <a:gd name="connsiteY3037" fmla="*/ 230029 h 514350"/>
                <a:gd name="connsiteX3038" fmla="*/ 244316 w 6400800"/>
                <a:gd name="connsiteY3038" fmla="*/ 240506 h 514350"/>
                <a:gd name="connsiteX3039" fmla="*/ 236696 w 6400800"/>
                <a:gd name="connsiteY3039" fmla="*/ 262414 h 514350"/>
                <a:gd name="connsiteX3040" fmla="*/ 226219 w 6400800"/>
                <a:gd name="connsiteY3040" fmla="*/ 227171 h 514350"/>
                <a:gd name="connsiteX3041" fmla="*/ 218599 w 6400800"/>
                <a:gd name="connsiteY3041" fmla="*/ 204311 h 514350"/>
                <a:gd name="connsiteX3042" fmla="*/ 210979 w 6400800"/>
                <a:gd name="connsiteY3042" fmla="*/ 184309 h 514350"/>
                <a:gd name="connsiteX3043" fmla="*/ 198596 w 6400800"/>
                <a:gd name="connsiteY3043" fmla="*/ 150971 h 514350"/>
                <a:gd name="connsiteX3044" fmla="*/ 187166 w 6400800"/>
                <a:gd name="connsiteY3044" fmla="*/ 122396 h 514350"/>
                <a:gd name="connsiteX3045" fmla="*/ 194786 w 6400800"/>
                <a:gd name="connsiteY3045" fmla="*/ 151924 h 514350"/>
                <a:gd name="connsiteX3046" fmla="*/ 204311 w 6400800"/>
                <a:gd name="connsiteY3046" fmla="*/ 186214 h 514350"/>
                <a:gd name="connsiteX3047" fmla="*/ 210026 w 6400800"/>
                <a:gd name="connsiteY3047" fmla="*/ 207169 h 514350"/>
                <a:gd name="connsiteX3048" fmla="*/ 215741 w 6400800"/>
                <a:gd name="connsiteY3048" fmla="*/ 230981 h 514350"/>
                <a:gd name="connsiteX3049" fmla="*/ 226219 w 6400800"/>
                <a:gd name="connsiteY3049" fmla="*/ 275749 h 514350"/>
                <a:gd name="connsiteX3050" fmla="*/ 218599 w 6400800"/>
                <a:gd name="connsiteY3050" fmla="*/ 295751 h 514350"/>
                <a:gd name="connsiteX3051" fmla="*/ 217646 w 6400800"/>
                <a:gd name="connsiteY3051" fmla="*/ 298609 h 514350"/>
                <a:gd name="connsiteX3052" fmla="*/ 214789 w 6400800"/>
                <a:gd name="connsiteY3052" fmla="*/ 266224 h 514350"/>
                <a:gd name="connsiteX3053" fmla="*/ 212884 w 6400800"/>
                <a:gd name="connsiteY3053" fmla="*/ 241459 h 514350"/>
                <a:gd name="connsiteX3054" fmla="*/ 210979 w 6400800"/>
                <a:gd name="connsiteY3054" fmla="*/ 266224 h 514350"/>
                <a:gd name="connsiteX3055" fmla="*/ 209074 w 6400800"/>
                <a:gd name="connsiteY3055" fmla="*/ 309086 h 514350"/>
                <a:gd name="connsiteX3056" fmla="*/ 196691 w 6400800"/>
                <a:gd name="connsiteY3056" fmla="*/ 287179 h 514350"/>
                <a:gd name="connsiteX3057" fmla="*/ 187166 w 6400800"/>
                <a:gd name="connsiteY3057" fmla="*/ 270034 h 514350"/>
                <a:gd name="connsiteX3058" fmla="*/ 177641 w 6400800"/>
                <a:gd name="connsiteY3058" fmla="*/ 255746 h 514350"/>
                <a:gd name="connsiteX3059" fmla="*/ 161449 w 6400800"/>
                <a:gd name="connsiteY3059" fmla="*/ 231934 h 514350"/>
                <a:gd name="connsiteX3060" fmla="*/ 156686 w 6400800"/>
                <a:gd name="connsiteY3060" fmla="*/ 225266 h 514350"/>
                <a:gd name="connsiteX3061" fmla="*/ 152876 w 6400800"/>
                <a:gd name="connsiteY3061" fmla="*/ 209074 h 514350"/>
                <a:gd name="connsiteX3062" fmla="*/ 152876 w 6400800"/>
                <a:gd name="connsiteY3062" fmla="*/ 219551 h 514350"/>
                <a:gd name="connsiteX3063" fmla="*/ 146209 w 6400800"/>
                <a:gd name="connsiteY3063" fmla="*/ 210979 h 514350"/>
                <a:gd name="connsiteX3064" fmla="*/ 152876 w 6400800"/>
                <a:gd name="connsiteY3064" fmla="*/ 224314 h 514350"/>
                <a:gd name="connsiteX3065" fmla="*/ 156686 w 6400800"/>
                <a:gd name="connsiteY3065" fmla="*/ 275749 h 514350"/>
                <a:gd name="connsiteX3066" fmla="*/ 148114 w 6400800"/>
                <a:gd name="connsiteY3066" fmla="*/ 263366 h 514350"/>
                <a:gd name="connsiteX3067" fmla="*/ 124301 w 6400800"/>
                <a:gd name="connsiteY3067" fmla="*/ 233839 h 514350"/>
                <a:gd name="connsiteX3068" fmla="*/ 104299 w 6400800"/>
                <a:gd name="connsiteY3068" fmla="*/ 212884 h 514350"/>
                <a:gd name="connsiteX3069" fmla="*/ 88106 w 6400800"/>
                <a:gd name="connsiteY3069" fmla="*/ 197644 h 514350"/>
                <a:gd name="connsiteX3070" fmla="*/ 103346 w 6400800"/>
                <a:gd name="connsiteY3070" fmla="*/ 217646 h 514350"/>
                <a:gd name="connsiteX3071" fmla="*/ 119539 w 6400800"/>
                <a:gd name="connsiteY3071" fmla="*/ 240506 h 514350"/>
                <a:gd name="connsiteX3072" fmla="*/ 139541 w 6400800"/>
                <a:gd name="connsiteY3072" fmla="*/ 271939 h 514350"/>
                <a:gd name="connsiteX3073" fmla="*/ 151924 w 6400800"/>
                <a:gd name="connsiteY3073" fmla="*/ 292894 h 514350"/>
                <a:gd name="connsiteX3074" fmla="*/ 151924 w 6400800"/>
                <a:gd name="connsiteY3074" fmla="*/ 297656 h 514350"/>
                <a:gd name="connsiteX3075" fmla="*/ 150971 w 6400800"/>
                <a:gd name="connsiteY3075" fmla="*/ 296704 h 514350"/>
                <a:gd name="connsiteX3076" fmla="*/ 136684 w 6400800"/>
                <a:gd name="connsiteY3076" fmla="*/ 282416 h 514350"/>
                <a:gd name="connsiteX3077" fmla="*/ 131921 w 6400800"/>
                <a:gd name="connsiteY3077" fmla="*/ 278606 h 514350"/>
                <a:gd name="connsiteX3078" fmla="*/ 132874 w 6400800"/>
                <a:gd name="connsiteY3078" fmla="*/ 274796 h 514350"/>
                <a:gd name="connsiteX3079" fmla="*/ 130969 w 6400800"/>
                <a:gd name="connsiteY3079" fmla="*/ 278606 h 514350"/>
                <a:gd name="connsiteX3080" fmla="*/ 122396 w 6400800"/>
                <a:gd name="connsiteY3080" fmla="*/ 270986 h 514350"/>
                <a:gd name="connsiteX3081" fmla="*/ 130016 w 6400800"/>
                <a:gd name="connsiteY3081" fmla="*/ 280511 h 514350"/>
                <a:gd name="connsiteX3082" fmla="*/ 123349 w 6400800"/>
                <a:gd name="connsiteY3082" fmla="*/ 293846 h 514350"/>
                <a:gd name="connsiteX3083" fmla="*/ 114776 w 6400800"/>
                <a:gd name="connsiteY3083" fmla="*/ 316706 h 514350"/>
                <a:gd name="connsiteX3084" fmla="*/ 112871 w 6400800"/>
                <a:gd name="connsiteY3084" fmla="*/ 321469 h 514350"/>
                <a:gd name="connsiteX3085" fmla="*/ 103346 w 6400800"/>
                <a:gd name="connsiteY3085" fmla="*/ 299561 h 514350"/>
                <a:gd name="connsiteX3086" fmla="*/ 86201 w 6400800"/>
                <a:gd name="connsiteY3086" fmla="*/ 262414 h 514350"/>
                <a:gd name="connsiteX3087" fmla="*/ 78581 w 6400800"/>
                <a:gd name="connsiteY3087" fmla="*/ 245269 h 514350"/>
                <a:gd name="connsiteX3088" fmla="*/ 70961 w 6400800"/>
                <a:gd name="connsiteY3088" fmla="*/ 230981 h 514350"/>
                <a:gd name="connsiteX3089" fmla="*/ 57626 w 6400800"/>
                <a:gd name="connsiteY3089" fmla="*/ 208121 h 514350"/>
                <a:gd name="connsiteX3090" fmla="*/ 46196 w 6400800"/>
                <a:gd name="connsiteY3090" fmla="*/ 188119 h 514350"/>
                <a:gd name="connsiteX3091" fmla="*/ 54769 w 6400800"/>
                <a:gd name="connsiteY3091" fmla="*/ 210026 h 514350"/>
                <a:gd name="connsiteX3092" fmla="*/ 64294 w 6400800"/>
                <a:gd name="connsiteY3092" fmla="*/ 234791 h 514350"/>
                <a:gd name="connsiteX3093" fmla="*/ 70009 w 6400800"/>
                <a:gd name="connsiteY3093" fmla="*/ 250031 h 514350"/>
                <a:gd name="connsiteX3094" fmla="*/ 75724 w 6400800"/>
                <a:gd name="connsiteY3094" fmla="*/ 266224 h 514350"/>
                <a:gd name="connsiteX3095" fmla="*/ 85249 w 6400800"/>
                <a:gd name="connsiteY3095" fmla="*/ 292894 h 514350"/>
                <a:gd name="connsiteX3096" fmla="*/ 79534 w 6400800"/>
                <a:gd name="connsiteY3096" fmla="*/ 284321 h 514350"/>
                <a:gd name="connsiteX3097" fmla="*/ 68104 w 6400800"/>
                <a:gd name="connsiteY3097" fmla="*/ 268129 h 514350"/>
                <a:gd name="connsiteX3098" fmla="*/ 57626 w 6400800"/>
                <a:gd name="connsiteY3098" fmla="*/ 253841 h 514350"/>
                <a:gd name="connsiteX3099" fmla="*/ 64294 w 6400800"/>
                <a:gd name="connsiteY3099" fmla="*/ 270034 h 514350"/>
                <a:gd name="connsiteX3100" fmla="*/ 71914 w 6400800"/>
                <a:gd name="connsiteY3100" fmla="*/ 288131 h 514350"/>
                <a:gd name="connsiteX3101" fmla="*/ 83344 w 6400800"/>
                <a:gd name="connsiteY3101" fmla="*/ 311944 h 514350"/>
                <a:gd name="connsiteX3102" fmla="*/ 90964 w 6400800"/>
                <a:gd name="connsiteY3102" fmla="*/ 330994 h 514350"/>
                <a:gd name="connsiteX3103" fmla="*/ 87154 w 6400800"/>
                <a:gd name="connsiteY3103" fmla="*/ 339566 h 514350"/>
                <a:gd name="connsiteX3104" fmla="*/ 81439 w 6400800"/>
                <a:gd name="connsiteY3104" fmla="*/ 352901 h 514350"/>
                <a:gd name="connsiteX3105" fmla="*/ 78581 w 6400800"/>
                <a:gd name="connsiteY3105" fmla="*/ 339566 h 514350"/>
                <a:gd name="connsiteX3106" fmla="*/ 70009 w 6400800"/>
                <a:gd name="connsiteY3106" fmla="*/ 301466 h 514350"/>
                <a:gd name="connsiteX3107" fmla="*/ 61436 w 6400800"/>
                <a:gd name="connsiteY3107" fmla="*/ 269081 h 514350"/>
                <a:gd name="connsiteX3108" fmla="*/ 53816 w 6400800"/>
                <a:gd name="connsiteY3108" fmla="*/ 244316 h 514350"/>
                <a:gd name="connsiteX3109" fmla="*/ 46196 w 6400800"/>
                <a:gd name="connsiteY3109" fmla="*/ 223361 h 514350"/>
                <a:gd name="connsiteX3110" fmla="*/ 50006 w 6400800"/>
                <a:gd name="connsiteY3110" fmla="*/ 245269 h 514350"/>
                <a:gd name="connsiteX3111" fmla="*/ 53816 w 6400800"/>
                <a:gd name="connsiteY3111" fmla="*/ 270034 h 514350"/>
                <a:gd name="connsiteX3112" fmla="*/ 58579 w 6400800"/>
                <a:gd name="connsiteY3112" fmla="*/ 302419 h 514350"/>
                <a:gd name="connsiteX3113" fmla="*/ 64294 w 6400800"/>
                <a:gd name="connsiteY3113" fmla="*/ 340519 h 514350"/>
                <a:gd name="connsiteX3114" fmla="*/ 69056 w 6400800"/>
                <a:gd name="connsiteY3114" fmla="*/ 381476 h 514350"/>
                <a:gd name="connsiteX3115" fmla="*/ 67151 w 6400800"/>
                <a:gd name="connsiteY3115" fmla="*/ 385286 h 514350"/>
                <a:gd name="connsiteX3116" fmla="*/ 60484 w 6400800"/>
                <a:gd name="connsiteY3116" fmla="*/ 405289 h 514350"/>
                <a:gd name="connsiteX3117" fmla="*/ 59531 w 6400800"/>
                <a:gd name="connsiteY3117" fmla="*/ 407194 h 514350"/>
                <a:gd name="connsiteX3118" fmla="*/ 56674 w 6400800"/>
                <a:gd name="connsiteY3118" fmla="*/ 407194 h 514350"/>
                <a:gd name="connsiteX3119" fmla="*/ 54769 w 6400800"/>
                <a:gd name="connsiteY3119" fmla="*/ 399574 h 514350"/>
                <a:gd name="connsiteX3120" fmla="*/ 46196 w 6400800"/>
                <a:gd name="connsiteY3120" fmla="*/ 364331 h 514350"/>
                <a:gd name="connsiteX3121" fmla="*/ 37624 w 6400800"/>
                <a:gd name="connsiteY3121" fmla="*/ 332899 h 514350"/>
                <a:gd name="connsiteX3122" fmla="*/ 21431 w 6400800"/>
                <a:gd name="connsiteY3122" fmla="*/ 287179 h 514350"/>
                <a:gd name="connsiteX3123" fmla="*/ 13811 w 6400800"/>
                <a:gd name="connsiteY3123" fmla="*/ 270034 h 514350"/>
                <a:gd name="connsiteX3124" fmla="*/ 17621 w 6400800"/>
                <a:gd name="connsiteY3124" fmla="*/ 288131 h 514350"/>
                <a:gd name="connsiteX3125" fmla="*/ 21431 w 6400800"/>
                <a:gd name="connsiteY3125" fmla="*/ 309086 h 514350"/>
                <a:gd name="connsiteX3126" fmla="*/ 26194 w 6400800"/>
                <a:gd name="connsiteY3126" fmla="*/ 335756 h 514350"/>
                <a:gd name="connsiteX3127" fmla="*/ 31909 w 6400800"/>
                <a:gd name="connsiteY3127" fmla="*/ 367189 h 514350"/>
                <a:gd name="connsiteX3128" fmla="*/ 39529 w 6400800"/>
                <a:gd name="connsiteY3128" fmla="*/ 402431 h 514350"/>
                <a:gd name="connsiteX3129" fmla="*/ 39529 w 6400800"/>
                <a:gd name="connsiteY3129" fmla="*/ 404336 h 514350"/>
                <a:gd name="connsiteX3130" fmla="*/ 7144 w 6400800"/>
                <a:gd name="connsiteY3130" fmla="*/ 399574 h 514350"/>
                <a:gd name="connsiteX3131" fmla="*/ 7144 w 6400800"/>
                <a:gd name="connsiteY3131" fmla="*/ 511016 h 514350"/>
                <a:gd name="connsiteX3132" fmla="*/ 6277451 w 6400800"/>
                <a:gd name="connsiteY3132" fmla="*/ 364331 h 514350"/>
                <a:gd name="connsiteX3133" fmla="*/ 6279356 w 6400800"/>
                <a:gd name="connsiteY3133" fmla="*/ 357664 h 514350"/>
                <a:gd name="connsiteX3134" fmla="*/ 6279356 w 6400800"/>
                <a:gd name="connsiteY3134" fmla="*/ 361474 h 514350"/>
                <a:gd name="connsiteX3135" fmla="*/ 6277451 w 6400800"/>
                <a:gd name="connsiteY3135" fmla="*/ 399574 h 514350"/>
                <a:gd name="connsiteX3136" fmla="*/ 6267926 w 6400800"/>
                <a:gd name="connsiteY3136" fmla="*/ 430054 h 514350"/>
                <a:gd name="connsiteX3137" fmla="*/ 6266021 w 6400800"/>
                <a:gd name="connsiteY3137" fmla="*/ 430054 h 514350"/>
                <a:gd name="connsiteX3138" fmla="*/ 6260306 w 6400800"/>
                <a:gd name="connsiteY3138" fmla="*/ 421481 h 514350"/>
                <a:gd name="connsiteX3139" fmla="*/ 6277451 w 6400800"/>
                <a:gd name="connsiteY3139" fmla="*/ 364331 h 514350"/>
                <a:gd name="connsiteX3140" fmla="*/ 6211729 w 6400800"/>
                <a:gd name="connsiteY3140" fmla="*/ 425291 h 514350"/>
                <a:gd name="connsiteX3141" fmla="*/ 6212681 w 6400800"/>
                <a:gd name="connsiteY3141" fmla="*/ 398621 h 514350"/>
                <a:gd name="connsiteX3142" fmla="*/ 6213634 w 6400800"/>
                <a:gd name="connsiteY3142" fmla="*/ 390049 h 514350"/>
                <a:gd name="connsiteX3143" fmla="*/ 6216492 w 6400800"/>
                <a:gd name="connsiteY3143" fmla="*/ 393859 h 514350"/>
                <a:gd name="connsiteX3144" fmla="*/ 6227921 w 6400800"/>
                <a:gd name="connsiteY3144" fmla="*/ 408146 h 514350"/>
                <a:gd name="connsiteX3145" fmla="*/ 6225064 w 6400800"/>
                <a:gd name="connsiteY3145" fmla="*/ 412909 h 514350"/>
                <a:gd name="connsiteX3146" fmla="*/ 6221254 w 6400800"/>
                <a:gd name="connsiteY3146" fmla="*/ 420529 h 514350"/>
                <a:gd name="connsiteX3147" fmla="*/ 6218396 w 6400800"/>
                <a:gd name="connsiteY3147" fmla="*/ 429101 h 514350"/>
                <a:gd name="connsiteX3148" fmla="*/ 6217444 w 6400800"/>
                <a:gd name="connsiteY3148" fmla="*/ 431006 h 514350"/>
                <a:gd name="connsiteX3149" fmla="*/ 6217444 w 6400800"/>
                <a:gd name="connsiteY3149" fmla="*/ 429101 h 514350"/>
                <a:gd name="connsiteX3150" fmla="*/ 6215539 w 6400800"/>
                <a:gd name="connsiteY3150" fmla="*/ 413861 h 514350"/>
                <a:gd name="connsiteX3151" fmla="*/ 6213634 w 6400800"/>
                <a:gd name="connsiteY3151" fmla="*/ 429101 h 514350"/>
                <a:gd name="connsiteX3152" fmla="*/ 6211729 w 6400800"/>
                <a:gd name="connsiteY3152" fmla="*/ 441484 h 514350"/>
                <a:gd name="connsiteX3153" fmla="*/ 6211729 w 6400800"/>
                <a:gd name="connsiteY3153" fmla="*/ 425291 h 514350"/>
                <a:gd name="connsiteX3154" fmla="*/ 6183154 w 6400800"/>
                <a:gd name="connsiteY3154" fmla="*/ 343376 h 514350"/>
                <a:gd name="connsiteX3155" fmla="*/ 6187917 w 6400800"/>
                <a:gd name="connsiteY3155" fmla="*/ 350996 h 514350"/>
                <a:gd name="connsiteX3156" fmla="*/ 6191726 w 6400800"/>
                <a:gd name="connsiteY3156" fmla="*/ 356711 h 514350"/>
                <a:gd name="connsiteX3157" fmla="*/ 6183154 w 6400800"/>
                <a:gd name="connsiteY3157" fmla="*/ 388144 h 514350"/>
                <a:gd name="connsiteX3158" fmla="*/ 6182201 w 6400800"/>
                <a:gd name="connsiteY3158" fmla="*/ 391954 h 514350"/>
                <a:gd name="connsiteX3159" fmla="*/ 6181249 w 6400800"/>
                <a:gd name="connsiteY3159" fmla="*/ 375761 h 514350"/>
                <a:gd name="connsiteX3160" fmla="*/ 6181249 w 6400800"/>
                <a:gd name="connsiteY3160" fmla="*/ 372904 h 514350"/>
                <a:gd name="connsiteX3161" fmla="*/ 6183154 w 6400800"/>
                <a:gd name="connsiteY3161" fmla="*/ 343376 h 514350"/>
                <a:gd name="connsiteX3162" fmla="*/ 6144101 w 6400800"/>
                <a:gd name="connsiteY3162" fmla="*/ 308134 h 514350"/>
                <a:gd name="connsiteX3163" fmla="*/ 6147912 w 6400800"/>
                <a:gd name="connsiteY3163" fmla="*/ 276701 h 514350"/>
                <a:gd name="connsiteX3164" fmla="*/ 6153626 w 6400800"/>
                <a:gd name="connsiteY3164" fmla="*/ 289084 h 514350"/>
                <a:gd name="connsiteX3165" fmla="*/ 6161246 w 6400800"/>
                <a:gd name="connsiteY3165" fmla="*/ 305276 h 514350"/>
                <a:gd name="connsiteX3166" fmla="*/ 6157437 w 6400800"/>
                <a:gd name="connsiteY3166" fmla="*/ 319564 h 514350"/>
                <a:gd name="connsiteX3167" fmla="*/ 6152674 w 6400800"/>
                <a:gd name="connsiteY3167" fmla="*/ 342424 h 514350"/>
                <a:gd name="connsiteX3168" fmla="*/ 6150769 w 6400800"/>
                <a:gd name="connsiteY3168" fmla="*/ 356711 h 514350"/>
                <a:gd name="connsiteX3169" fmla="*/ 6149817 w 6400800"/>
                <a:gd name="connsiteY3169" fmla="*/ 360521 h 514350"/>
                <a:gd name="connsiteX3170" fmla="*/ 6148864 w 6400800"/>
                <a:gd name="connsiteY3170" fmla="*/ 365284 h 514350"/>
                <a:gd name="connsiteX3171" fmla="*/ 6146006 w 6400800"/>
                <a:gd name="connsiteY3171" fmla="*/ 360521 h 514350"/>
                <a:gd name="connsiteX3172" fmla="*/ 6147912 w 6400800"/>
                <a:gd name="connsiteY3172" fmla="*/ 368141 h 514350"/>
                <a:gd name="connsiteX3173" fmla="*/ 6145054 w 6400800"/>
                <a:gd name="connsiteY3173" fmla="*/ 389096 h 514350"/>
                <a:gd name="connsiteX3174" fmla="*/ 6144101 w 6400800"/>
                <a:gd name="connsiteY3174" fmla="*/ 386239 h 514350"/>
                <a:gd name="connsiteX3175" fmla="*/ 6143149 w 6400800"/>
                <a:gd name="connsiteY3175" fmla="*/ 384334 h 514350"/>
                <a:gd name="connsiteX3176" fmla="*/ 6142196 w 6400800"/>
                <a:gd name="connsiteY3176" fmla="*/ 369094 h 514350"/>
                <a:gd name="connsiteX3177" fmla="*/ 6139339 w 6400800"/>
                <a:gd name="connsiteY3177" fmla="*/ 343376 h 514350"/>
                <a:gd name="connsiteX3178" fmla="*/ 6144101 w 6400800"/>
                <a:gd name="connsiteY3178" fmla="*/ 308134 h 514350"/>
                <a:gd name="connsiteX3179" fmla="*/ 6095524 w 6400800"/>
                <a:gd name="connsiteY3179" fmla="*/ 384334 h 514350"/>
                <a:gd name="connsiteX3180" fmla="*/ 6088856 w 6400800"/>
                <a:gd name="connsiteY3180" fmla="*/ 412909 h 514350"/>
                <a:gd name="connsiteX3181" fmla="*/ 6083142 w 6400800"/>
                <a:gd name="connsiteY3181" fmla="*/ 435769 h 514350"/>
                <a:gd name="connsiteX3182" fmla="*/ 6076474 w 6400800"/>
                <a:gd name="connsiteY3182" fmla="*/ 411956 h 514350"/>
                <a:gd name="connsiteX3183" fmla="*/ 6079331 w 6400800"/>
                <a:gd name="connsiteY3183" fmla="*/ 391001 h 514350"/>
                <a:gd name="connsiteX3184" fmla="*/ 6084094 w 6400800"/>
                <a:gd name="connsiteY3184" fmla="*/ 368141 h 514350"/>
                <a:gd name="connsiteX3185" fmla="*/ 6088856 w 6400800"/>
                <a:gd name="connsiteY3185" fmla="*/ 347186 h 514350"/>
                <a:gd name="connsiteX3186" fmla="*/ 6091714 w 6400800"/>
                <a:gd name="connsiteY3186" fmla="*/ 348139 h 514350"/>
                <a:gd name="connsiteX3187" fmla="*/ 6095524 w 6400800"/>
                <a:gd name="connsiteY3187" fmla="*/ 350996 h 514350"/>
                <a:gd name="connsiteX3188" fmla="*/ 6100287 w 6400800"/>
                <a:gd name="connsiteY3188" fmla="*/ 359569 h 514350"/>
                <a:gd name="connsiteX3189" fmla="*/ 6095524 w 6400800"/>
                <a:gd name="connsiteY3189" fmla="*/ 384334 h 514350"/>
                <a:gd name="connsiteX3190" fmla="*/ 6102192 w 6400800"/>
                <a:gd name="connsiteY3190" fmla="*/ 206216 h 514350"/>
                <a:gd name="connsiteX3191" fmla="*/ 6101239 w 6400800"/>
                <a:gd name="connsiteY3191" fmla="*/ 235744 h 514350"/>
                <a:gd name="connsiteX3192" fmla="*/ 6101239 w 6400800"/>
                <a:gd name="connsiteY3192" fmla="*/ 241459 h 514350"/>
                <a:gd name="connsiteX3193" fmla="*/ 6101239 w 6400800"/>
                <a:gd name="connsiteY3193" fmla="*/ 242411 h 514350"/>
                <a:gd name="connsiteX3194" fmla="*/ 6101239 w 6400800"/>
                <a:gd name="connsiteY3194" fmla="*/ 242411 h 514350"/>
                <a:gd name="connsiteX3195" fmla="*/ 6100287 w 6400800"/>
                <a:gd name="connsiteY3195" fmla="*/ 239554 h 514350"/>
                <a:gd name="connsiteX3196" fmla="*/ 6097429 w 6400800"/>
                <a:gd name="connsiteY3196" fmla="*/ 230981 h 514350"/>
                <a:gd name="connsiteX3197" fmla="*/ 6102192 w 6400800"/>
                <a:gd name="connsiteY3197" fmla="*/ 206216 h 514350"/>
                <a:gd name="connsiteX3198" fmla="*/ 6100287 w 6400800"/>
                <a:gd name="connsiteY3198" fmla="*/ 284321 h 514350"/>
                <a:gd name="connsiteX3199" fmla="*/ 6098381 w 6400800"/>
                <a:gd name="connsiteY3199" fmla="*/ 279559 h 514350"/>
                <a:gd name="connsiteX3200" fmla="*/ 6099334 w 6400800"/>
                <a:gd name="connsiteY3200" fmla="*/ 277654 h 514350"/>
                <a:gd name="connsiteX3201" fmla="*/ 6100287 w 6400800"/>
                <a:gd name="connsiteY3201" fmla="*/ 284321 h 514350"/>
                <a:gd name="connsiteX3202" fmla="*/ 6093619 w 6400800"/>
                <a:gd name="connsiteY3202" fmla="*/ 247174 h 514350"/>
                <a:gd name="connsiteX3203" fmla="*/ 6095524 w 6400800"/>
                <a:gd name="connsiteY3203" fmla="*/ 255746 h 514350"/>
                <a:gd name="connsiteX3204" fmla="*/ 6091714 w 6400800"/>
                <a:gd name="connsiteY3204" fmla="*/ 264319 h 514350"/>
                <a:gd name="connsiteX3205" fmla="*/ 6090762 w 6400800"/>
                <a:gd name="connsiteY3205" fmla="*/ 262414 h 514350"/>
                <a:gd name="connsiteX3206" fmla="*/ 6093619 w 6400800"/>
                <a:gd name="connsiteY3206" fmla="*/ 247174 h 514350"/>
                <a:gd name="connsiteX3207" fmla="*/ 6088856 w 6400800"/>
                <a:gd name="connsiteY3207" fmla="*/ 269081 h 514350"/>
                <a:gd name="connsiteX3208" fmla="*/ 6088856 w 6400800"/>
                <a:gd name="connsiteY3208" fmla="*/ 270034 h 514350"/>
                <a:gd name="connsiteX3209" fmla="*/ 6088856 w 6400800"/>
                <a:gd name="connsiteY3209" fmla="*/ 270034 h 514350"/>
                <a:gd name="connsiteX3210" fmla="*/ 6087904 w 6400800"/>
                <a:gd name="connsiteY3210" fmla="*/ 272891 h 514350"/>
                <a:gd name="connsiteX3211" fmla="*/ 6088856 w 6400800"/>
                <a:gd name="connsiteY3211" fmla="*/ 269081 h 514350"/>
                <a:gd name="connsiteX3212" fmla="*/ 6067901 w 6400800"/>
                <a:gd name="connsiteY3212" fmla="*/ 369094 h 514350"/>
                <a:gd name="connsiteX3213" fmla="*/ 6080284 w 6400800"/>
                <a:gd name="connsiteY3213" fmla="*/ 339566 h 514350"/>
                <a:gd name="connsiteX3214" fmla="*/ 6085046 w 6400800"/>
                <a:gd name="connsiteY3214" fmla="*/ 326231 h 514350"/>
                <a:gd name="connsiteX3215" fmla="*/ 6088856 w 6400800"/>
                <a:gd name="connsiteY3215" fmla="*/ 313849 h 514350"/>
                <a:gd name="connsiteX3216" fmla="*/ 6093619 w 6400800"/>
                <a:gd name="connsiteY3216" fmla="*/ 293846 h 514350"/>
                <a:gd name="connsiteX3217" fmla="*/ 6093619 w 6400800"/>
                <a:gd name="connsiteY3217" fmla="*/ 293846 h 514350"/>
                <a:gd name="connsiteX3218" fmla="*/ 6096476 w 6400800"/>
                <a:gd name="connsiteY3218" fmla="*/ 310991 h 514350"/>
                <a:gd name="connsiteX3219" fmla="*/ 6100287 w 6400800"/>
                <a:gd name="connsiteY3219" fmla="*/ 339566 h 514350"/>
                <a:gd name="connsiteX3220" fmla="*/ 6101239 w 6400800"/>
                <a:gd name="connsiteY3220" fmla="*/ 355759 h 514350"/>
                <a:gd name="connsiteX3221" fmla="*/ 6101239 w 6400800"/>
                <a:gd name="connsiteY3221" fmla="*/ 355759 h 514350"/>
                <a:gd name="connsiteX3222" fmla="*/ 6100287 w 6400800"/>
                <a:gd name="connsiteY3222" fmla="*/ 359569 h 514350"/>
                <a:gd name="connsiteX3223" fmla="*/ 6097429 w 6400800"/>
                <a:gd name="connsiteY3223" fmla="*/ 350044 h 514350"/>
                <a:gd name="connsiteX3224" fmla="*/ 6093619 w 6400800"/>
                <a:gd name="connsiteY3224" fmla="*/ 345281 h 514350"/>
                <a:gd name="connsiteX3225" fmla="*/ 6087904 w 6400800"/>
                <a:gd name="connsiteY3225" fmla="*/ 342424 h 514350"/>
                <a:gd name="connsiteX3226" fmla="*/ 6085999 w 6400800"/>
                <a:gd name="connsiteY3226" fmla="*/ 341471 h 514350"/>
                <a:gd name="connsiteX3227" fmla="*/ 6085046 w 6400800"/>
                <a:gd name="connsiteY3227" fmla="*/ 343376 h 514350"/>
                <a:gd name="connsiteX3228" fmla="*/ 6076474 w 6400800"/>
                <a:gd name="connsiteY3228" fmla="*/ 365284 h 514350"/>
                <a:gd name="connsiteX3229" fmla="*/ 6069806 w 6400800"/>
                <a:gd name="connsiteY3229" fmla="*/ 384334 h 514350"/>
                <a:gd name="connsiteX3230" fmla="*/ 6065996 w 6400800"/>
                <a:gd name="connsiteY3230" fmla="*/ 372904 h 514350"/>
                <a:gd name="connsiteX3231" fmla="*/ 6067901 w 6400800"/>
                <a:gd name="connsiteY3231" fmla="*/ 369094 h 514350"/>
                <a:gd name="connsiteX3232" fmla="*/ 6035517 w 6400800"/>
                <a:gd name="connsiteY3232" fmla="*/ 310039 h 514350"/>
                <a:gd name="connsiteX3233" fmla="*/ 6035517 w 6400800"/>
                <a:gd name="connsiteY3233" fmla="*/ 308134 h 514350"/>
                <a:gd name="connsiteX3234" fmla="*/ 6040279 w 6400800"/>
                <a:gd name="connsiteY3234" fmla="*/ 324326 h 514350"/>
                <a:gd name="connsiteX3235" fmla="*/ 6044089 w 6400800"/>
                <a:gd name="connsiteY3235" fmla="*/ 338614 h 514350"/>
                <a:gd name="connsiteX3236" fmla="*/ 6038374 w 6400800"/>
                <a:gd name="connsiteY3236" fmla="*/ 355759 h 514350"/>
                <a:gd name="connsiteX3237" fmla="*/ 6033612 w 6400800"/>
                <a:gd name="connsiteY3237" fmla="*/ 330041 h 514350"/>
                <a:gd name="connsiteX3238" fmla="*/ 6035517 w 6400800"/>
                <a:gd name="connsiteY3238" fmla="*/ 310039 h 514350"/>
                <a:gd name="connsiteX3239" fmla="*/ 6012656 w 6400800"/>
                <a:gd name="connsiteY3239" fmla="*/ 361474 h 514350"/>
                <a:gd name="connsiteX3240" fmla="*/ 6012656 w 6400800"/>
                <a:gd name="connsiteY3240" fmla="*/ 363379 h 514350"/>
                <a:gd name="connsiteX3241" fmla="*/ 6012656 w 6400800"/>
                <a:gd name="connsiteY3241" fmla="*/ 359569 h 514350"/>
                <a:gd name="connsiteX3242" fmla="*/ 6012656 w 6400800"/>
                <a:gd name="connsiteY3242" fmla="*/ 361474 h 514350"/>
                <a:gd name="connsiteX3243" fmla="*/ 6007894 w 6400800"/>
                <a:gd name="connsiteY3243" fmla="*/ 351949 h 514350"/>
                <a:gd name="connsiteX3244" fmla="*/ 6007894 w 6400800"/>
                <a:gd name="connsiteY3244" fmla="*/ 352901 h 514350"/>
                <a:gd name="connsiteX3245" fmla="*/ 6007894 w 6400800"/>
                <a:gd name="connsiteY3245" fmla="*/ 351949 h 514350"/>
                <a:gd name="connsiteX3246" fmla="*/ 6007894 w 6400800"/>
                <a:gd name="connsiteY3246" fmla="*/ 351949 h 514350"/>
                <a:gd name="connsiteX3247" fmla="*/ 5976462 w 6400800"/>
                <a:gd name="connsiteY3247" fmla="*/ 410051 h 514350"/>
                <a:gd name="connsiteX3248" fmla="*/ 5973604 w 6400800"/>
                <a:gd name="connsiteY3248" fmla="*/ 402431 h 514350"/>
                <a:gd name="connsiteX3249" fmla="*/ 5972651 w 6400800"/>
                <a:gd name="connsiteY3249" fmla="*/ 398621 h 514350"/>
                <a:gd name="connsiteX3250" fmla="*/ 5971699 w 6400800"/>
                <a:gd name="connsiteY3250" fmla="*/ 391001 h 514350"/>
                <a:gd name="connsiteX3251" fmla="*/ 5973604 w 6400800"/>
                <a:gd name="connsiteY3251" fmla="*/ 386239 h 514350"/>
                <a:gd name="connsiteX3252" fmla="*/ 5977414 w 6400800"/>
                <a:gd name="connsiteY3252" fmla="*/ 374809 h 514350"/>
                <a:gd name="connsiteX3253" fmla="*/ 5976462 w 6400800"/>
                <a:gd name="connsiteY3253" fmla="*/ 410051 h 514350"/>
                <a:gd name="connsiteX3254" fmla="*/ 5976462 w 6400800"/>
                <a:gd name="connsiteY3254" fmla="*/ 239554 h 514350"/>
                <a:gd name="connsiteX3255" fmla="*/ 5978367 w 6400800"/>
                <a:gd name="connsiteY3255" fmla="*/ 250031 h 514350"/>
                <a:gd name="connsiteX3256" fmla="*/ 5979319 w 6400800"/>
                <a:gd name="connsiteY3256" fmla="*/ 256699 h 514350"/>
                <a:gd name="connsiteX3257" fmla="*/ 5974556 w 6400800"/>
                <a:gd name="connsiteY3257" fmla="*/ 248126 h 514350"/>
                <a:gd name="connsiteX3258" fmla="*/ 5976462 w 6400800"/>
                <a:gd name="connsiteY3258" fmla="*/ 239554 h 514350"/>
                <a:gd name="connsiteX3259" fmla="*/ 5965984 w 6400800"/>
                <a:gd name="connsiteY3259" fmla="*/ 291941 h 514350"/>
                <a:gd name="connsiteX3260" fmla="*/ 5966937 w 6400800"/>
                <a:gd name="connsiteY3260" fmla="*/ 286226 h 514350"/>
                <a:gd name="connsiteX3261" fmla="*/ 5967889 w 6400800"/>
                <a:gd name="connsiteY3261" fmla="*/ 282416 h 514350"/>
                <a:gd name="connsiteX3262" fmla="*/ 5970746 w 6400800"/>
                <a:gd name="connsiteY3262" fmla="*/ 269081 h 514350"/>
                <a:gd name="connsiteX3263" fmla="*/ 5983129 w 6400800"/>
                <a:gd name="connsiteY3263" fmla="*/ 298609 h 514350"/>
                <a:gd name="connsiteX3264" fmla="*/ 5980271 w 6400800"/>
                <a:gd name="connsiteY3264" fmla="*/ 330994 h 514350"/>
                <a:gd name="connsiteX3265" fmla="*/ 5979319 w 6400800"/>
                <a:gd name="connsiteY3265" fmla="*/ 331946 h 514350"/>
                <a:gd name="connsiteX3266" fmla="*/ 5976462 w 6400800"/>
                <a:gd name="connsiteY3266" fmla="*/ 328136 h 514350"/>
                <a:gd name="connsiteX3267" fmla="*/ 5979319 w 6400800"/>
                <a:gd name="connsiteY3267" fmla="*/ 332899 h 514350"/>
                <a:gd name="connsiteX3268" fmla="*/ 5972651 w 6400800"/>
                <a:gd name="connsiteY3268" fmla="*/ 346234 h 514350"/>
                <a:gd name="connsiteX3269" fmla="*/ 5967889 w 6400800"/>
                <a:gd name="connsiteY3269" fmla="*/ 355759 h 514350"/>
                <a:gd name="connsiteX3270" fmla="*/ 5967889 w 6400800"/>
                <a:gd name="connsiteY3270" fmla="*/ 355759 h 514350"/>
                <a:gd name="connsiteX3271" fmla="*/ 5966937 w 6400800"/>
                <a:gd name="connsiteY3271" fmla="*/ 351949 h 514350"/>
                <a:gd name="connsiteX3272" fmla="*/ 5965031 w 6400800"/>
                <a:gd name="connsiteY3272" fmla="*/ 333851 h 514350"/>
                <a:gd name="connsiteX3273" fmla="*/ 5963126 w 6400800"/>
                <a:gd name="connsiteY3273" fmla="*/ 299561 h 514350"/>
                <a:gd name="connsiteX3274" fmla="*/ 5965984 w 6400800"/>
                <a:gd name="connsiteY3274" fmla="*/ 291941 h 514350"/>
                <a:gd name="connsiteX3275" fmla="*/ 5952649 w 6400800"/>
                <a:gd name="connsiteY3275" fmla="*/ 385286 h 514350"/>
                <a:gd name="connsiteX3276" fmla="*/ 5952649 w 6400800"/>
                <a:gd name="connsiteY3276" fmla="*/ 385286 h 514350"/>
                <a:gd name="connsiteX3277" fmla="*/ 5952649 w 6400800"/>
                <a:gd name="connsiteY3277" fmla="*/ 385286 h 514350"/>
                <a:gd name="connsiteX3278" fmla="*/ 5952649 w 6400800"/>
                <a:gd name="connsiteY3278" fmla="*/ 385286 h 514350"/>
                <a:gd name="connsiteX3279" fmla="*/ 5934551 w 6400800"/>
                <a:gd name="connsiteY3279" fmla="*/ 339566 h 514350"/>
                <a:gd name="connsiteX3280" fmla="*/ 5933599 w 6400800"/>
                <a:gd name="connsiteY3280" fmla="*/ 332899 h 514350"/>
                <a:gd name="connsiteX3281" fmla="*/ 5933599 w 6400800"/>
                <a:gd name="connsiteY3281" fmla="*/ 330994 h 514350"/>
                <a:gd name="connsiteX3282" fmla="*/ 5935504 w 6400800"/>
                <a:gd name="connsiteY3282" fmla="*/ 336709 h 514350"/>
                <a:gd name="connsiteX3283" fmla="*/ 5934551 w 6400800"/>
                <a:gd name="connsiteY3283" fmla="*/ 339566 h 514350"/>
                <a:gd name="connsiteX3284" fmla="*/ 5948839 w 6400800"/>
                <a:gd name="connsiteY3284" fmla="*/ 371951 h 514350"/>
                <a:gd name="connsiteX3285" fmla="*/ 5945981 w 6400800"/>
                <a:gd name="connsiteY3285" fmla="*/ 382429 h 514350"/>
                <a:gd name="connsiteX3286" fmla="*/ 5943124 w 6400800"/>
                <a:gd name="connsiteY3286" fmla="*/ 392906 h 514350"/>
                <a:gd name="connsiteX3287" fmla="*/ 5943124 w 6400800"/>
                <a:gd name="connsiteY3287" fmla="*/ 378619 h 514350"/>
                <a:gd name="connsiteX3288" fmla="*/ 5943124 w 6400800"/>
                <a:gd name="connsiteY3288" fmla="*/ 378619 h 514350"/>
                <a:gd name="connsiteX3289" fmla="*/ 5946934 w 6400800"/>
                <a:gd name="connsiteY3289" fmla="*/ 365284 h 514350"/>
                <a:gd name="connsiteX3290" fmla="*/ 5948839 w 6400800"/>
                <a:gd name="connsiteY3290" fmla="*/ 371951 h 514350"/>
                <a:gd name="connsiteX3291" fmla="*/ 5930742 w 6400800"/>
                <a:gd name="connsiteY3291" fmla="*/ 234791 h 514350"/>
                <a:gd name="connsiteX3292" fmla="*/ 5938362 w 6400800"/>
                <a:gd name="connsiteY3292" fmla="*/ 269081 h 514350"/>
                <a:gd name="connsiteX3293" fmla="*/ 5945029 w 6400800"/>
                <a:gd name="connsiteY3293" fmla="*/ 307181 h 514350"/>
                <a:gd name="connsiteX3294" fmla="*/ 5940267 w 6400800"/>
                <a:gd name="connsiteY3294" fmla="*/ 323374 h 514350"/>
                <a:gd name="connsiteX3295" fmla="*/ 5940267 w 6400800"/>
                <a:gd name="connsiteY3295" fmla="*/ 324326 h 514350"/>
                <a:gd name="connsiteX3296" fmla="*/ 5931694 w 6400800"/>
                <a:gd name="connsiteY3296" fmla="*/ 307181 h 514350"/>
                <a:gd name="connsiteX3297" fmla="*/ 5928837 w 6400800"/>
                <a:gd name="connsiteY3297" fmla="*/ 284321 h 514350"/>
                <a:gd name="connsiteX3298" fmla="*/ 5926931 w 6400800"/>
                <a:gd name="connsiteY3298" fmla="*/ 266224 h 514350"/>
                <a:gd name="connsiteX3299" fmla="*/ 5929789 w 6400800"/>
                <a:gd name="connsiteY3299" fmla="*/ 259556 h 514350"/>
                <a:gd name="connsiteX3300" fmla="*/ 5926931 w 6400800"/>
                <a:gd name="connsiteY3300" fmla="*/ 264319 h 514350"/>
                <a:gd name="connsiteX3301" fmla="*/ 5925026 w 6400800"/>
                <a:gd name="connsiteY3301" fmla="*/ 245269 h 514350"/>
                <a:gd name="connsiteX3302" fmla="*/ 5926931 w 6400800"/>
                <a:gd name="connsiteY3302" fmla="*/ 233839 h 514350"/>
                <a:gd name="connsiteX3303" fmla="*/ 5928837 w 6400800"/>
                <a:gd name="connsiteY3303" fmla="*/ 226219 h 514350"/>
                <a:gd name="connsiteX3304" fmla="*/ 5930742 w 6400800"/>
                <a:gd name="connsiteY3304" fmla="*/ 234791 h 514350"/>
                <a:gd name="connsiteX3305" fmla="*/ 5923121 w 6400800"/>
                <a:gd name="connsiteY3305" fmla="*/ 209074 h 514350"/>
                <a:gd name="connsiteX3306" fmla="*/ 5926931 w 6400800"/>
                <a:gd name="connsiteY3306" fmla="*/ 222409 h 514350"/>
                <a:gd name="connsiteX3307" fmla="*/ 5922169 w 6400800"/>
                <a:gd name="connsiteY3307" fmla="*/ 232886 h 514350"/>
                <a:gd name="connsiteX3308" fmla="*/ 5919312 w 6400800"/>
                <a:gd name="connsiteY3308" fmla="*/ 206216 h 514350"/>
                <a:gd name="connsiteX3309" fmla="*/ 5918359 w 6400800"/>
                <a:gd name="connsiteY3309" fmla="*/ 193834 h 514350"/>
                <a:gd name="connsiteX3310" fmla="*/ 5923121 w 6400800"/>
                <a:gd name="connsiteY3310" fmla="*/ 209074 h 514350"/>
                <a:gd name="connsiteX3311" fmla="*/ 5901214 w 6400800"/>
                <a:gd name="connsiteY3311" fmla="*/ 244316 h 514350"/>
                <a:gd name="connsiteX3312" fmla="*/ 5901214 w 6400800"/>
                <a:gd name="connsiteY3312" fmla="*/ 258604 h 514350"/>
                <a:gd name="connsiteX3313" fmla="*/ 5902167 w 6400800"/>
                <a:gd name="connsiteY3313" fmla="*/ 278606 h 514350"/>
                <a:gd name="connsiteX3314" fmla="*/ 5904071 w 6400800"/>
                <a:gd name="connsiteY3314" fmla="*/ 302419 h 514350"/>
                <a:gd name="connsiteX3315" fmla="*/ 5900262 w 6400800"/>
                <a:gd name="connsiteY3315" fmla="*/ 310039 h 514350"/>
                <a:gd name="connsiteX3316" fmla="*/ 5895499 w 6400800"/>
                <a:gd name="connsiteY3316" fmla="*/ 284321 h 514350"/>
                <a:gd name="connsiteX3317" fmla="*/ 5901214 w 6400800"/>
                <a:gd name="connsiteY3317" fmla="*/ 244316 h 514350"/>
                <a:gd name="connsiteX3318" fmla="*/ 5903119 w 6400800"/>
                <a:gd name="connsiteY3318" fmla="*/ 324326 h 514350"/>
                <a:gd name="connsiteX3319" fmla="*/ 5903119 w 6400800"/>
                <a:gd name="connsiteY3319" fmla="*/ 328136 h 514350"/>
                <a:gd name="connsiteX3320" fmla="*/ 5902167 w 6400800"/>
                <a:gd name="connsiteY3320" fmla="*/ 325279 h 514350"/>
                <a:gd name="connsiteX3321" fmla="*/ 5903119 w 6400800"/>
                <a:gd name="connsiteY3321" fmla="*/ 324326 h 514350"/>
                <a:gd name="connsiteX3322" fmla="*/ 5892642 w 6400800"/>
                <a:gd name="connsiteY3322" fmla="*/ 348139 h 514350"/>
                <a:gd name="connsiteX3323" fmla="*/ 5893594 w 6400800"/>
                <a:gd name="connsiteY3323" fmla="*/ 352901 h 514350"/>
                <a:gd name="connsiteX3324" fmla="*/ 5893594 w 6400800"/>
                <a:gd name="connsiteY3324" fmla="*/ 355759 h 514350"/>
                <a:gd name="connsiteX3325" fmla="*/ 5891689 w 6400800"/>
                <a:gd name="connsiteY3325" fmla="*/ 350996 h 514350"/>
                <a:gd name="connsiteX3326" fmla="*/ 5892642 w 6400800"/>
                <a:gd name="connsiteY3326" fmla="*/ 348139 h 514350"/>
                <a:gd name="connsiteX3327" fmla="*/ 5893594 w 6400800"/>
                <a:gd name="connsiteY3327" fmla="*/ 373856 h 514350"/>
                <a:gd name="connsiteX3328" fmla="*/ 5898356 w 6400800"/>
                <a:gd name="connsiteY3328" fmla="*/ 391954 h 514350"/>
                <a:gd name="connsiteX3329" fmla="*/ 5902167 w 6400800"/>
                <a:gd name="connsiteY3329" fmla="*/ 408146 h 514350"/>
                <a:gd name="connsiteX3330" fmla="*/ 5904071 w 6400800"/>
                <a:gd name="connsiteY3330" fmla="*/ 417671 h 514350"/>
                <a:gd name="connsiteX3331" fmla="*/ 5904071 w 6400800"/>
                <a:gd name="connsiteY3331" fmla="*/ 417671 h 514350"/>
                <a:gd name="connsiteX3332" fmla="*/ 5890737 w 6400800"/>
                <a:gd name="connsiteY3332" fmla="*/ 387191 h 514350"/>
                <a:gd name="connsiteX3333" fmla="*/ 5888831 w 6400800"/>
                <a:gd name="connsiteY3333" fmla="*/ 383381 h 514350"/>
                <a:gd name="connsiteX3334" fmla="*/ 5887879 w 6400800"/>
                <a:gd name="connsiteY3334" fmla="*/ 357664 h 514350"/>
                <a:gd name="connsiteX3335" fmla="*/ 5888831 w 6400800"/>
                <a:gd name="connsiteY3335" fmla="*/ 356711 h 514350"/>
                <a:gd name="connsiteX3336" fmla="*/ 5893594 w 6400800"/>
                <a:gd name="connsiteY3336" fmla="*/ 373856 h 514350"/>
                <a:gd name="connsiteX3337" fmla="*/ 5886926 w 6400800"/>
                <a:gd name="connsiteY3337" fmla="*/ 321469 h 514350"/>
                <a:gd name="connsiteX3338" fmla="*/ 5888831 w 6400800"/>
                <a:gd name="connsiteY3338" fmla="*/ 311944 h 514350"/>
                <a:gd name="connsiteX3339" fmla="*/ 5888831 w 6400800"/>
                <a:gd name="connsiteY3339" fmla="*/ 314801 h 514350"/>
                <a:gd name="connsiteX3340" fmla="*/ 5889784 w 6400800"/>
                <a:gd name="connsiteY3340" fmla="*/ 326231 h 514350"/>
                <a:gd name="connsiteX3341" fmla="*/ 5885974 w 6400800"/>
                <a:gd name="connsiteY3341" fmla="*/ 332899 h 514350"/>
                <a:gd name="connsiteX3342" fmla="*/ 5885974 w 6400800"/>
                <a:gd name="connsiteY3342" fmla="*/ 325279 h 514350"/>
                <a:gd name="connsiteX3343" fmla="*/ 5886926 w 6400800"/>
                <a:gd name="connsiteY3343" fmla="*/ 321469 h 514350"/>
                <a:gd name="connsiteX3344" fmla="*/ 5858351 w 6400800"/>
                <a:gd name="connsiteY3344" fmla="*/ 279559 h 514350"/>
                <a:gd name="connsiteX3345" fmla="*/ 5858351 w 6400800"/>
                <a:gd name="connsiteY3345" fmla="*/ 284321 h 514350"/>
                <a:gd name="connsiteX3346" fmla="*/ 5858351 w 6400800"/>
                <a:gd name="connsiteY3346" fmla="*/ 285274 h 514350"/>
                <a:gd name="connsiteX3347" fmla="*/ 5857399 w 6400800"/>
                <a:gd name="connsiteY3347" fmla="*/ 281464 h 514350"/>
                <a:gd name="connsiteX3348" fmla="*/ 5858351 w 6400800"/>
                <a:gd name="connsiteY3348" fmla="*/ 279559 h 514350"/>
                <a:gd name="connsiteX3349" fmla="*/ 5841206 w 6400800"/>
                <a:gd name="connsiteY3349" fmla="*/ 264319 h 514350"/>
                <a:gd name="connsiteX3350" fmla="*/ 5840254 w 6400800"/>
                <a:gd name="connsiteY3350" fmla="*/ 270034 h 514350"/>
                <a:gd name="connsiteX3351" fmla="*/ 5839301 w 6400800"/>
                <a:gd name="connsiteY3351" fmla="*/ 277654 h 514350"/>
                <a:gd name="connsiteX3352" fmla="*/ 5838349 w 6400800"/>
                <a:gd name="connsiteY3352" fmla="*/ 271939 h 514350"/>
                <a:gd name="connsiteX3353" fmla="*/ 5841206 w 6400800"/>
                <a:gd name="connsiteY3353" fmla="*/ 264319 h 514350"/>
                <a:gd name="connsiteX3354" fmla="*/ 5828824 w 6400800"/>
                <a:gd name="connsiteY3354" fmla="*/ 305276 h 514350"/>
                <a:gd name="connsiteX3355" fmla="*/ 5826919 w 6400800"/>
                <a:gd name="connsiteY3355" fmla="*/ 308134 h 514350"/>
                <a:gd name="connsiteX3356" fmla="*/ 5826919 w 6400800"/>
                <a:gd name="connsiteY3356" fmla="*/ 306229 h 514350"/>
                <a:gd name="connsiteX3357" fmla="*/ 5829776 w 6400800"/>
                <a:gd name="connsiteY3357" fmla="*/ 299561 h 514350"/>
                <a:gd name="connsiteX3358" fmla="*/ 5828824 w 6400800"/>
                <a:gd name="connsiteY3358" fmla="*/ 305276 h 514350"/>
                <a:gd name="connsiteX3359" fmla="*/ 5823109 w 6400800"/>
                <a:gd name="connsiteY3359" fmla="*/ 259556 h 514350"/>
                <a:gd name="connsiteX3360" fmla="*/ 5827871 w 6400800"/>
                <a:gd name="connsiteY3360" fmla="*/ 270986 h 514350"/>
                <a:gd name="connsiteX3361" fmla="*/ 5828824 w 6400800"/>
                <a:gd name="connsiteY3361" fmla="*/ 273844 h 514350"/>
                <a:gd name="connsiteX3362" fmla="*/ 5828824 w 6400800"/>
                <a:gd name="connsiteY3362" fmla="*/ 286226 h 514350"/>
                <a:gd name="connsiteX3363" fmla="*/ 5824062 w 6400800"/>
                <a:gd name="connsiteY3363" fmla="*/ 295751 h 514350"/>
                <a:gd name="connsiteX3364" fmla="*/ 5824062 w 6400800"/>
                <a:gd name="connsiteY3364" fmla="*/ 294799 h 514350"/>
                <a:gd name="connsiteX3365" fmla="*/ 5823109 w 6400800"/>
                <a:gd name="connsiteY3365" fmla="*/ 267176 h 514350"/>
                <a:gd name="connsiteX3366" fmla="*/ 5823109 w 6400800"/>
                <a:gd name="connsiteY3366" fmla="*/ 259556 h 514350"/>
                <a:gd name="connsiteX3367" fmla="*/ 5813584 w 6400800"/>
                <a:gd name="connsiteY3367" fmla="*/ 252889 h 514350"/>
                <a:gd name="connsiteX3368" fmla="*/ 5812631 w 6400800"/>
                <a:gd name="connsiteY3368" fmla="*/ 258604 h 514350"/>
                <a:gd name="connsiteX3369" fmla="*/ 5811679 w 6400800"/>
                <a:gd name="connsiteY3369" fmla="*/ 255746 h 514350"/>
                <a:gd name="connsiteX3370" fmla="*/ 5811679 w 6400800"/>
                <a:gd name="connsiteY3370" fmla="*/ 262414 h 514350"/>
                <a:gd name="connsiteX3371" fmla="*/ 5810726 w 6400800"/>
                <a:gd name="connsiteY3371" fmla="*/ 267176 h 514350"/>
                <a:gd name="connsiteX3372" fmla="*/ 5808821 w 6400800"/>
                <a:gd name="connsiteY3372" fmla="*/ 294799 h 514350"/>
                <a:gd name="connsiteX3373" fmla="*/ 5808821 w 6400800"/>
                <a:gd name="connsiteY3373" fmla="*/ 304324 h 514350"/>
                <a:gd name="connsiteX3374" fmla="*/ 5807869 w 6400800"/>
                <a:gd name="connsiteY3374" fmla="*/ 300514 h 514350"/>
                <a:gd name="connsiteX3375" fmla="*/ 5806917 w 6400800"/>
                <a:gd name="connsiteY3375" fmla="*/ 264319 h 514350"/>
                <a:gd name="connsiteX3376" fmla="*/ 5806917 w 6400800"/>
                <a:gd name="connsiteY3376" fmla="*/ 262414 h 514350"/>
                <a:gd name="connsiteX3377" fmla="*/ 5813584 w 6400800"/>
                <a:gd name="connsiteY3377" fmla="*/ 252889 h 514350"/>
                <a:gd name="connsiteX3378" fmla="*/ 5804059 w 6400800"/>
                <a:gd name="connsiteY3378" fmla="*/ 268129 h 514350"/>
                <a:gd name="connsiteX3379" fmla="*/ 5804059 w 6400800"/>
                <a:gd name="connsiteY3379" fmla="*/ 269081 h 514350"/>
                <a:gd name="connsiteX3380" fmla="*/ 5804059 w 6400800"/>
                <a:gd name="connsiteY3380" fmla="*/ 268129 h 514350"/>
                <a:gd name="connsiteX3381" fmla="*/ 5804059 w 6400800"/>
                <a:gd name="connsiteY3381" fmla="*/ 268129 h 514350"/>
                <a:gd name="connsiteX3382" fmla="*/ 5799296 w 6400800"/>
                <a:gd name="connsiteY3382" fmla="*/ 164306 h 514350"/>
                <a:gd name="connsiteX3383" fmla="*/ 5802154 w 6400800"/>
                <a:gd name="connsiteY3383" fmla="*/ 166211 h 514350"/>
                <a:gd name="connsiteX3384" fmla="*/ 5796439 w 6400800"/>
                <a:gd name="connsiteY3384" fmla="*/ 176689 h 514350"/>
                <a:gd name="connsiteX3385" fmla="*/ 5796439 w 6400800"/>
                <a:gd name="connsiteY3385" fmla="*/ 163354 h 514350"/>
                <a:gd name="connsiteX3386" fmla="*/ 5799296 w 6400800"/>
                <a:gd name="connsiteY3386" fmla="*/ 164306 h 514350"/>
                <a:gd name="connsiteX3387" fmla="*/ 5770721 w 6400800"/>
                <a:gd name="connsiteY3387" fmla="*/ 386239 h 514350"/>
                <a:gd name="connsiteX3388" fmla="*/ 5770721 w 6400800"/>
                <a:gd name="connsiteY3388" fmla="*/ 383381 h 514350"/>
                <a:gd name="connsiteX3389" fmla="*/ 5770721 w 6400800"/>
                <a:gd name="connsiteY3389" fmla="*/ 382429 h 514350"/>
                <a:gd name="connsiteX3390" fmla="*/ 5771674 w 6400800"/>
                <a:gd name="connsiteY3390" fmla="*/ 387191 h 514350"/>
                <a:gd name="connsiteX3391" fmla="*/ 5770721 w 6400800"/>
                <a:gd name="connsiteY3391" fmla="*/ 386239 h 514350"/>
                <a:gd name="connsiteX3392" fmla="*/ 5782151 w 6400800"/>
                <a:gd name="connsiteY3392" fmla="*/ 253841 h 514350"/>
                <a:gd name="connsiteX3393" fmla="*/ 5780246 w 6400800"/>
                <a:gd name="connsiteY3393" fmla="*/ 258604 h 514350"/>
                <a:gd name="connsiteX3394" fmla="*/ 5777389 w 6400800"/>
                <a:gd name="connsiteY3394" fmla="*/ 267176 h 514350"/>
                <a:gd name="connsiteX3395" fmla="*/ 5773579 w 6400800"/>
                <a:gd name="connsiteY3395" fmla="*/ 275749 h 514350"/>
                <a:gd name="connsiteX3396" fmla="*/ 5772626 w 6400800"/>
                <a:gd name="connsiteY3396" fmla="*/ 273844 h 514350"/>
                <a:gd name="connsiteX3397" fmla="*/ 5771674 w 6400800"/>
                <a:gd name="connsiteY3397" fmla="*/ 272891 h 514350"/>
                <a:gd name="connsiteX3398" fmla="*/ 5783104 w 6400800"/>
                <a:gd name="connsiteY3398" fmla="*/ 241459 h 514350"/>
                <a:gd name="connsiteX3399" fmla="*/ 5782151 w 6400800"/>
                <a:gd name="connsiteY3399" fmla="*/ 253841 h 514350"/>
                <a:gd name="connsiteX3400" fmla="*/ 5785962 w 6400800"/>
                <a:gd name="connsiteY3400" fmla="*/ 221456 h 514350"/>
                <a:gd name="connsiteX3401" fmla="*/ 5784056 w 6400800"/>
                <a:gd name="connsiteY3401" fmla="*/ 239554 h 514350"/>
                <a:gd name="connsiteX3402" fmla="*/ 5784056 w 6400800"/>
                <a:gd name="connsiteY3402" fmla="*/ 240506 h 514350"/>
                <a:gd name="connsiteX3403" fmla="*/ 5770721 w 6400800"/>
                <a:gd name="connsiteY3403" fmla="*/ 267176 h 514350"/>
                <a:gd name="connsiteX3404" fmla="*/ 5769769 w 6400800"/>
                <a:gd name="connsiteY3404" fmla="*/ 261461 h 514350"/>
                <a:gd name="connsiteX3405" fmla="*/ 5769769 w 6400800"/>
                <a:gd name="connsiteY3405" fmla="*/ 258604 h 514350"/>
                <a:gd name="connsiteX3406" fmla="*/ 5785962 w 6400800"/>
                <a:gd name="connsiteY3406" fmla="*/ 221456 h 514350"/>
                <a:gd name="connsiteX3407" fmla="*/ 5754529 w 6400800"/>
                <a:gd name="connsiteY3407" fmla="*/ 333851 h 514350"/>
                <a:gd name="connsiteX3408" fmla="*/ 5746909 w 6400800"/>
                <a:gd name="connsiteY3408" fmla="*/ 348139 h 514350"/>
                <a:gd name="connsiteX3409" fmla="*/ 5745956 w 6400800"/>
                <a:gd name="connsiteY3409" fmla="*/ 346234 h 514350"/>
                <a:gd name="connsiteX3410" fmla="*/ 5754529 w 6400800"/>
                <a:gd name="connsiteY3410" fmla="*/ 322421 h 514350"/>
                <a:gd name="connsiteX3411" fmla="*/ 5754529 w 6400800"/>
                <a:gd name="connsiteY3411" fmla="*/ 333851 h 514350"/>
                <a:gd name="connsiteX3412" fmla="*/ 5754529 w 6400800"/>
                <a:gd name="connsiteY3412" fmla="*/ 333851 h 514350"/>
                <a:gd name="connsiteX3413" fmla="*/ 5762149 w 6400800"/>
                <a:gd name="connsiteY3413" fmla="*/ 302419 h 514350"/>
                <a:gd name="connsiteX3414" fmla="*/ 5762149 w 6400800"/>
                <a:gd name="connsiteY3414" fmla="*/ 302419 h 514350"/>
                <a:gd name="connsiteX3415" fmla="*/ 5762149 w 6400800"/>
                <a:gd name="connsiteY3415" fmla="*/ 302419 h 514350"/>
                <a:gd name="connsiteX3416" fmla="*/ 5762149 w 6400800"/>
                <a:gd name="connsiteY3416" fmla="*/ 302419 h 514350"/>
                <a:gd name="connsiteX3417" fmla="*/ 5761196 w 6400800"/>
                <a:gd name="connsiteY3417" fmla="*/ 304324 h 514350"/>
                <a:gd name="connsiteX3418" fmla="*/ 5762149 w 6400800"/>
                <a:gd name="connsiteY3418" fmla="*/ 305276 h 514350"/>
                <a:gd name="connsiteX3419" fmla="*/ 5762149 w 6400800"/>
                <a:gd name="connsiteY3419" fmla="*/ 308134 h 514350"/>
                <a:gd name="connsiteX3420" fmla="*/ 5762149 w 6400800"/>
                <a:gd name="connsiteY3420" fmla="*/ 310039 h 514350"/>
                <a:gd name="connsiteX3421" fmla="*/ 5759292 w 6400800"/>
                <a:gd name="connsiteY3421" fmla="*/ 320516 h 514350"/>
                <a:gd name="connsiteX3422" fmla="*/ 5757387 w 6400800"/>
                <a:gd name="connsiteY3422" fmla="*/ 328136 h 514350"/>
                <a:gd name="connsiteX3423" fmla="*/ 5755481 w 6400800"/>
                <a:gd name="connsiteY3423" fmla="*/ 320516 h 514350"/>
                <a:gd name="connsiteX3424" fmla="*/ 5761196 w 6400800"/>
                <a:gd name="connsiteY3424" fmla="*/ 304324 h 514350"/>
                <a:gd name="connsiteX3425" fmla="*/ 5760244 w 6400800"/>
                <a:gd name="connsiteY3425" fmla="*/ 289084 h 514350"/>
                <a:gd name="connsiteX3426" fmla="*/ 5759292 w 6400800"/>
                <a:gd name="connsiteY3426" fmla="*/ 290989 h 514350"/>
                <a:gd name="connsiteX3427" fmla="*/ 5751671 w 6400800"/>
                <a:gd name="connsiteY3427" fmla="*/ 301466 h 514350"/>
                <a:gd name="connsiteX3428" fmla="*/ 5748814 w 6400800"/>
                <a:gd name="connsiteY3428" fmla="*/ 305276 h 514350"/>
                <a:gd name="connsiteX3429" fmla="*/ 5759292 w 6400800"/>
                <a:gd name="connsiteY3429" fmla="*/ 280511 h 514350"/>
                <a:gd name="connsiteX3430" fmla="*/ 5760244 w 6400800"/>
                <a:gd name="connsiteY3430" fmla="*/ 289084 h 514350"/>
                <a:gd name="connsiteX3431" fmla="*/ 5756434 w 6400800"/>
                <a:gd name="connsiteY3431" fmla="*/ 227171 h 514350"/>
                <a:gd name="connsiteX3432" fmla="*/ 5756434 w 6400800"/>
                <a:gd name="connsiteY3432" fmla="*/ 243364 h 514350"/>
                <a:gd name="connsiteX3433" fmla="*/ 5757387 w 6400800"/>
                <a:gd name="connsiteY3433" fmla="*/ 250984 h 514350"/>
                <a:gd name="connsiteX3434" fmla="*/ 5753576 w 6400800"/>
                <a:gd name="connsiteY3434" fmla="*/ 259556 h 514350"/>
                <a:gd name="connsiteX3435" fmla="*/ 5741194 w 6400800"/>
                <a:gd name="connsiteY3435" fmla="*/ 285274 h 514350"/>
                <a:gd name="connsiteX3436" fmla="*/ 5756434 w 6400800"/>
                <a:gd name="connsiteY3436" fmla="*/ 227171 h 514350"/>
                <a:gd name="connsiteX3437" fmla="*/ 5676424 w 6400800"/>
                <a:gd name="connsiteY3437" fmla="*/ 184309 h 514350"/>
                <a:gd name="connsiteX3438" fmla="*/ 5676424 w 6400800"/>
                <a:gd name="connsiteY3438" fmla="*/ 198596 h 514350"/>
                <a:gd name="connsiteX3439" fmla="*/ 5676424 w 6400800"/>
                <a:gd name="connsiteY3439" fmla="*/ 228124 h 514350"/>
                <a:gd name="connsiteX3440" fmla="*/ 5676424 w 6400800"/>
                <a:gd name="connsiteY3440" fmla="*/ 246221 h 514350"/>
                <a:gd name="connsiteX3441" fmla="*/ 5677376 w 6400800"/>
                <a:gd name="connsiteY3441" fmla="*/ 266224 h 514350"/>
                <a:gd name="connsiteX3442" fmla="*/ 5678329 w 6400800"/>
                <a:gd name="connsiteY3442" fmla="*/ 276701 h 514350"/>
                <a:gd name="connsiteX3443" fmla="*/ 5678329 w 6400800"/>
                <a:gd name="connsiteY3443" fmla="*/ 276701 h 514350"/>
                <a:gd name="connsiteX3444" fmla="*/ 5675471 w 6400800"/>
                <a:gd name="connsiteY3444" fmla="*/ 259556 h 514350"/>
                <a:gd name="connsiteX3445" fmla="*/ 5672614 w 6400800"/>
                <a:gd name="connsiteY3445" fmla="*/ 242411 h 514350"/>
                <a:gd name="connsiteX3446" fmla="*/ 5669756 w 6400800"/>
                <a:gd name="connsiteY3446" fmla="*/ 223361 h 514350"/>
                <a:gd name="connsiteX3447" fmla="*/ 5668804 w 6400800"/>
                <a:gd name="connsiteY3447" fmla="*/ 216694 h 514350"/>
                <a:gd name="connsiteX3448" fmla="*/ 5676424 w 6400800"/>
                <a:gd name="connsiteY3448" fmla="*/ 184309 h 514350"/>
                <a:gd name="connsiteX3449" fmla="*/ 5652612 w 6400800"/>
                <a:gd name="connsiteY3449" fmla="*/ 263366 h 514350"/>
                <a:gd name="connsiteX3450" fmla="*/ 5653564 w 6400800"/>
                <a:gd name="connsiteY3450" fmla="*/ 261461 h 514350"/>
                <a:gd name="connsiteX3451" fmla="*/ 5655469 w 6400800"/>
                <a:gd name="connsiteY3451" fmla="*/ 264319 h 514350"/>
                <a:gd name="connsiteX3452" fmla="*/ 5655469 w 6400800"/>
                <a:gd name="connsiteY3452" fmla="*/ 268129 h 514350"/>
                <a:gd name="connsiteX3453" fmla="*/ 5657374 w 6400800"/>
                <a:gd name="connsiteY3453" fmla="*/ 286226 h 514350"/>
                <a:gd name="connsiteX3454" fmla="*/ 5652612 w 6400800"/>
                <a:gd name="connsiteY3454" fmla="*/ 269081 h 514350"/>
                <a:gd name="connsiteX3455" fmla="*/ 5651659 w 6400800"/>
                <a:gd name="connsiteY3455" fmla="*/ 267176 h 514350"/>
                <a:gd name="connsiteX3456" fmla="*/ 5652612 w 6400800"/>
                <a:gd name="connsiteY3456" fmla="*/ 263366 h 514350"/>
                <a:gd name="connsiteX3457" fmla="*/ 5650706 w 6400800"/>
                <a:gd name="connsiteY3457" fmla="*/ 205264 h 514350"/>
                <a:gd name="connsiteX3458" fmla="*/ 5651659 w 6400800"/>
                <a:gd name="connsiteY3458" fmla="*/ 212884 h 514350"/>
                <a:gd name="connsiteX3459" fmla="*/ 5649754 w 6400800"/>
                <a:gd name="connsiteY3459" fmla="*/ 207169 h 514350"/>
                <a:gd name="connsiteX3460" fmla="*/ 5650706 w 6400800"/>
                <a:gd name="connsiteY3460" fmla="*/ 205264 h 514350"/>
                <a:gd name="connsiteX3461" fmla="*/ 5647849 w 6400800"/>
                <a:gd name="connsiteY3461" fmla="*/ 209074 h 514350"/>
                <a:gd name="connsiteX3462" fmla="*/ 5649754 w 6400800"/>
                <a:gd name="connsiteY3462" fmla="*/ 219551 h 514350"/>
                <a:gd name="connsiteX3463" fmla="*/ 5651659 w 6400800"/>
                <a:gd name="connsiteY3463" fmla="*/ 235744 h 514350"/>
                <a:gd name="connsiteX3464" fmla="*/ 5651659 w 6400800"/>
                <a:gd name="connsiteY3464" fmla="*/ 236696 h 514350"/>
                <a:gd name="connsiteX3465" fmla="*/ 5645944 w 6400800"/>
                <a:gd name="connsiteY3465" fmla="*/ 228124 h 514350"/>
                <a:gd name="connsiteX3466" fmla="*/ 5644039 w 6400800"/>
                <a:gd name="connsiteY3466" fmla="*/ 216694 h 514350"/>
                <a:gd name="connsiteX3467" fmla="*/ 5647849 w 6400800"/>
                <a:gd name="connsiteY3467" fmla="*/ 209074 h 514350"/>
                <a:gd name="connsiteX3468" fmla="*/ 5642134 w 6400800"/>
                <a:gd name="connsiteY3468" fmla="*/ 370046 h 514350"/>
                <a:gd name="connsiteX3469" fmla="*/ 5643087 w 6400800"/>
                <a:gd name="connsiteY3469" fmla="*/ 377666 h 514350"/>
                <a:gd name="connsiteX3470" fmla="*/ 5641181 w 6400800"/>
                <a:gd name="connsiteY3470" fmla="*/ 385286 h 514350"/>
                <a:gd name="connsiteX3471" fmla="*/ 5642134 w 6400800"/>
                <a:gd name="connsiteY3471" fmla="*/ 370046 h 514350"/>
                <a:gd name="connsiteX3472" fmla="*/ 5624037 w 6400800"/>
                <a:gd name="connsiteY3472" fmla="*/ 272891 h 514350"/>
                <a:gd name="connsiteX3473" fmla="*/ 5625942 w 6400800"/>
                <a:gd name="connsiteY3473" fmla="*/ 258604 h 514350"/>
                <a:gd name="connsiteX3474" fmla="*/ 5625942 w 6400800"/>
                <a:gd name="connsiteY3474" fmla="*/ 254794 h 514350"/>
                <a:gd name="connsiteX3475" fmla="*/ 5632609 w 6400800"/>
                <a:gd name="connsiteY3475" fmla="*/ 241459 h 514350"/>
                <a:gd name="connsiteX3476" fmla="*/ 5634514 w 6400800"/>
                <a:gd name="connsiteY3476" fmla="*/ 236696 h 514350"/>
                <a:gd name="connsiteX3477" fmla="*/ 5637371 w 6400800"/>
                <a:gd name="connsiteY3477" fmla="*/ 245269 h 514350"/>
                <a:gd name="connsiteX3478" fmla="*/ 5640229 w 6400800"/>
                <a:gd name="connsiteY3478" fmla="*/ 259556 h 514350"/>
                <a:gd name="connsiteX3479" fmla="*/ 5640229 w 6400800"/>
                <a:gd name="connsiteY3479" fmla="*/ 266224 h 514350"/>
                <a:gd name="connsiteX3480" fmla="*/ 5631656 w 6400800"/>
                <a:gd name="connsiteY3480" fmla="*/ 288131 h 514350"/>
                <a:gd name="connsiteX3481" fmla="*/ 5624037 w 6400800"/>
                <a:gd name="connsiteY3481" fmla="*/ 277654 h 514350"/>
                <a:gd name="connsiteX3482" fmla="*/ 5624037 w 6400800"/>
                <a:gd name="connsiteY3482" fmla="*/ 272891 h 514350"/>
                <a:gd name="connsiteX3483" fmla="*/ 5623084 w 6400800"/>
                <a:gd name="connsiteY3483" fmla="*/ 289084 h 514350"/>
                <a:gd name="connsiteX3484" fmla="*/ 5623084 w 6400800"/>
                <a:gd name="connsiteY3484" fmla="*/ 287179 h 514350"/>
                <a:gd name="connsiteX3485" fmla="*/ 5624989 w 6400800"/>
                <a:gd name="connsiteY3485" fmla="*/ 290989 h 514350"/>
                <a:gd name="connsiteX3486" fmla="*/ 5626894 w 6400800"/>
                <a:gd name="connsiteY3486" fmla="*/ 298609 h 514350"/>
                <a:gd name="connsiteX3487" fmla="*/ 5625942 w 6400800"/>
                <a:gd name="connsiteY3487" fmla="*/ 300514 h 514350"/>
                <a:gd name="connsiteX3488" fmla="*/ 5625942 w 6400800"/>
                <a:gd name="connsiteY3488" fmla="*/ 300514 h 514350"/>
                <a:gd name="connsiteX3489" fmla="*/ 5622131 w 6400800"/>
                <a:gd name="connsiteY3489" fmla="*/ 295751 h 514350"/>
                <a:gd name="connsiteX3490" fmla="*/ 5623084 w 6400800"/>
                <a:gd name="connsiteY3490" fmla="*/ 289084 h 514350"/>
                <a:gd name="connsiteX3491" fmla="*/ 5621179 w 6400800"/>
                <a:gd name="connsiteY3491" fmla="*/ 310991 h 514350"/>
                <a:gd name="connsiteX3492" fmla="*/ 5621179 w 6400800"/>
                <a:gd name="connsiteY3492" fmla="*/ 310991 h 514350"/>
                <a:gd name="connsiteX3493" fmla="*/ 5621179 w 6400800"/>
                <a:gd name="connsiteY3493" fmla="*/ 310991 h 514350"/>
                <a:gd name="connsiteX3494" fmla="*/ 5621179 w 6400800"/>
                <a:gd name="connsiteY3494" fmla="*/ 310991 h 514350"/>
                <a:gd name="connsiteX3495" fmla="*/ 5618321 w 6400800"/>
                <a:gd name="connsiteY3495" fmla="*/ 270034 h 514350"/>
                <a:gd name="connsiteX3496" fmla="*/ 5618321 w 6400800"/>
                <a:gd name="connsiteY3496" fmla="*/ 270034 h 514350"/>
                <a:gd name="connsiteX3497" fmla="*/ 5618321 w 6400800"/>
                <a:gd name="connsiteY3497" fmla="*/ 270034 h 514350"/>
                <a:gd name="connsiteX3498" fmla="*/ 5618321 w 6400800"/>
                <a:gd name="connsiteY3498" fmla="*/ 270034 h 514350"/>
                <a:gd name="connsiteX3499" fmla="*/ 5617369 w 6400800"/>
                <a:gd name="connsiteY3499" fmla="*/ 272891 h 514350"/>
                <a:gd name="connsiteX3500" fmla="*/ 5618321 w 6400800"/>
                <a:gd name="connsiteY3500" fmla="*/ 273844 h 514350"/>
                <a:gd name="connsiteX3501" fmla="*/ 5616417 w 6400800"/>
                <a:gd name="connsiteY3501" fmla="*/ 286226 h 514350"/>
                <a:gd name="connsiteX3502" fmla="*/ 5613559 w 6400800"/>
                <a:gd name="connsiteY3502" fmla="*/ 282416 h 514350"/>
                <a:gd name="connsiteX3503" fmla="*/ 5617369 w 6400800"/>
                <a:gd name="connsiteY3503" fmla="*/ 272891 h 514350"/>
                <a:gd name="connsiteX3504" fmla="*/ 5608796 w 6400800"/>
                <a:gd name="connsiteY3504" fmla="*/ 290989 h 514350"/>
                <a:gd name="connsiteX3505" fmla="*/ 5608796 w 6400800"/>
                <a:gd name="connsiteY3505" fmla="*/ 290989 h 514350"/>
                <a:gd name="connsiteX3506" fmla="*/ 5611654 w 6400800"/>
                <a:gd name="connsiteY3506" fmla="*/ 294799 h 514350"/>
                <a:gd name="connsiteX3507" fmla="*/ 5613559 w 6400800"/>
                <a:gd name="connsiteY3507" fmla="*/ 297656 h 514350"/>
                <a:gd name="connsiteX3508" fmla="*/ 5611654 w 6400800"/>
                <a:gd name="connsiteY3508" fmla="*/ 310991 h 514350"/>
                <a:gd name="connsiteX3509" fmla="*/ 5608796 w 6400800"/>
                <a:gd name="connsiteY3509" fmla="*/ 292894 h 514350"/>
                <a:gd name="connsiteX3510" fmla="*/ 5608796 w 6400800"/>
                <a:gd name="connsiteY3510" fmla="*/ 290989 h 514350"/>
                <a:gd name="connsiteX3511" fmla="*/ 5594509 w 6400800"/>
                <a:gd name="connsiteY3511" fmla="*/ 241459 h 514350"/>
                <a:gd name="connsiteX3512" fmla="*/ 5595462 w 6400800"/>
                <a:gd name="connsiteY3512" fmla="*/ 258604 h 514350"/>
                <a:gd name="connsiteX3513" fmla="*/ 5595462 w 6400800"/>
                <a:gd name="connsiteY3513" fmla="*/ 259556 h 514350"/>
                <a:gd name="connsiteX3514" fmla="*/ 5595462 w 6400800"/>
                <a:gd name="connsiteY3514" fmla="*/ 261461 h 514350"/>
                <a:gd name="connsiteX3515" fmla="*/ 5593556 w 6400800"/>
                <a:gd name="connsiteY3515" fmla="*/ 259556 h 514350"/>
                <a:gd name="connsiteX3516" fmla="*/ 5592604 w 6400800"/>
                <a:gd name="connsiteY3516" fmla="*/ 250031 h 514350"/>
                <a:gd name="connsiteX3517" fmla="*/ 5594509 w 6400800"/>
                <a:gd name="connsiteY3517" fmla="*/ 241459 h 514350"/>
                <a:gd name="connsiteX3518" fmla="*/ 5578317 w 6400800"/>
                <a:gd name="connsiteY3518" fmla="*/ 284321 h 514350"/>
                <a:gd name="connsiteX3519" fmla="*/ 5578317 w 6400800"/>
                <a:gd name="connsiteY3519" fmla="*/ 286226 h 514350"/>
                <a:gd name="connsiteX3520" fmla="*/ 5577364 w 6400800"/>
                <a:gd name="connsiteY3520" fmla="*/ 285274 h 514350"/>
                <a:gd name="connsiteX3521" fmla="*/ 5578317 w 6400800"/>
                <a:gd name="connsiteY3521" fmla="*/ 284321 h 514350"/>
                <a:gd name="connsiteX3522" fmla="*/ 5573554 w 6400800"/>
                <a:gd name="connsiteY3522" fmla="*/ 299561 h 514350"/>
                <a:gd name="connsiteX3523" fmla="*/ 5576412 w 6400800"/>
                <a:gd name="connsiteY3523" fmla="*/ 305276 h 514350"/>
                <a:gd name="connsiteX3524" fmla="*/ 5577364 w 6400800"/>
                <a:gd name="connsiteY3524" fmla="*/ 307181 h 514350"/>
                <a:gd name="connsiteX3525" fmla="*/ 5576412 w 6400800"/>
                <a:gd name="connsiteY3525" fmla="*/ 325279 h 514350"/>
                <a:gd name="connsiteX3526" fmla="*/ 5576412 w 6400800"/>
                <a:gd name="connsiteY3526" fmla="*/ 328136 h 514350"/>
                <a:gd name="connsiteX3527" fmla="*/ 5575459 w 6400800"/>
                <a:gd name="connsiteY3527" fmla="*/ 319564 h 514350"/>
                <a:gd name="connsiteX3528" fmla="*/ 5573554 w 6400800"/>
                <a:gd name="connsiteY3528" fmla="*/ 303371 h 514350"/>
                <a:gd name="connsiteX3529" fmla="*/ 5573554 w 6400800"/>
                <a:gd name="connsiteY3529" fmla="*/ 299561 h 514350"/>
                <a:gd name="connsiteX3530" fmla="*/ 5550694 w 6400800"/>
                <a:gd name="connsiteY3530" fmla="*/ 308134 h 514350"/>
                <a:gd name="connsiteX3531" fmla="*/ 5549742 w 6400800"/>
                <a:gd name="connsiteY3531" fmla="*/ 301466 h 514350"/>
                <a:gd name="connsiteX3532" fmla="*/ 5551646 w 6400800"/>
                <a:gd name="connsiteY3532" fmla="*/ 294799 h 514350"/>
                <a:gd name="connsiteX3533" fmla="*/ 5552599 w 6400800"/>
                <a:gd name="connsiteY3533" fmla="*/ 291941 h 514350"/>
                <a:gd name="connsiteX3534" fmla="*/ 5554504 w 6400800"/>
                <a:gd name="connsiteY3534" fmla="*/ 302419 h 514350"/>
                <a:gd name="connsiteX3535" fmla="*/ 5552599 w 6400800"/>
                <a:gd name="connsiteY3535" fmla="*/ 306229 h 514350"/>
                <a:gd name="connsiteX3536" fmla="*/ 5550694 w 6400800"/>
                <a:gd name="connsiteY3536" fmla="*/ 308134 h 514350"/>
                <a:gd name="connsiteX3537" fmla="*/ 5557362 w 6400800"/>
                <a:gd name="connsiteY3537" fmla="*/ 313849 h 514350"/>
                <a:gd name="connsiteX3538" fmla="*/ 5557362 w 6400800"/>
                <a:gd name="connsiteY3538" fmla="*/ 313849 h 514350"/>
                <a:gd name="connsiteX3539" fmla="*/ 5553551 w 6400800"/>
                <a:gd name="connsiteY3539" fmla="*/ 318611 h 514350"/>
                <a:gd name="connsiteX3540" fmla="*/ 5556409 w 6400800"/>
                <a:gd name="connsiteY3540" fmla="*/ 310039 h 514350"/>
                <a:gd name="connsiteX3541" fmla="*/ 5557362 w 6400800"/>
                <a:gd name="connsiteY3541" fmla="*/ 313849 h 514350"/>
                <a:gd name="connsiteX3542" fmla="*/ 5557362 w 6400800"/>
                <a:gd name="connsiteY3542" fmla="*/ 313849 h 514350"/>
                <a:gd name="connsiteX3543" fmla="*/ 5561171 w 6400800"/>
                <a:gd name="connsiteY3543" fmla="*/ 359569 h 514350"/>
                <a:gd name="connsiteX3544" fmla="*/ 5561171 w 6400800"/>
                <a:gd name="connsiteY3544" fmla="*/ 361474 h 514350"/>
                <a:gd name="connsiteX3545" fmla="*/ 5560219 w 6400800"/>
                <a:gd name="connsiteY3545" fmla="*/ 360521 h 514350"/>
                <a:gd name="connsiteX3546" fmla="*/ 5558314 w 6400800"/>
                <a:gd name="connsiteY3546" fmla="*/ 350996 h 514350"/>
                <a:gd name="connsiteX3547" fmla="*/ 5560219 w 6400800"/>
                <a:gd name="connsiteY3547" fmla="*/ 342424 h 514350"/>
                <a:gd name="connsiteX3548" fmla="*/ 5561171 w 6400800"/>
                <a:gd name="connsiteY3548" fmla="*/ 359569 h 514350"/>
                <a:gd name="connsiteX3549" fmla="*/ 5559267 w 6400800"/>
                <a:gd name="connsiteY3549" fmla="*/ 303371 h 514350"/>
                <a:gd name="connsiteX3550" fmla="*/ 5559267 w 6400800"/>
                <a:gd name="connsiteY3550" fmla="*/ 303371 h 514350"/>
                <a:gd name="connsiteX3551" fmla="*/ 5559267 w 6400800"/>
                <a:gd name="connsiteY3551" fmla="*/ 303371 h 514350"/>
                <a:gd name="connsiteX3552" fmla="*/ 5559267 w 6400800"/>
                <a:gd name="connsiteY3552" fmla="*/ 303371 h 514350"/>
                <a:gd name="connsiteX3553" fmla="*/ 5557362 w 6400800"/>
                <a:gd name="connsiteY3553" fmla="*/ 277654 h 514350"/>
                <a:gd name="connsiteX3554" fmla="*/ 5558314 w 6400800"/>
                <a:gd name="connsiteY3554" fmla="*/ 283369 h 514350"/>
                <a:gd name="connsiteX3555" fmla="*/ 5559267 w 6400800"/>
                <a:gd name="connsiteY3555" fmla="*/ 293846 h 514350"/>
                <a:gd name="connsiteX3556" fmla="*/ 5557362 w 6400800"/>
                <a:gd name="connsiteY3556" fmla="*/ 296704 h 514350"/>
                <a:gd name="connsiteX3557" fmla="*/ 5554504 w 6400800"/>
                <a:gd name="connsiteY3557" fmla="*/ 287179 h 514350"/>
                <a:gd name="connsiteX3558" fmla="*/ 5557362 w 6400800"/>
                <a:gd name="connsiteY3558" fmla="*/ 277654 h 514350"/>
                <a:gd name="connsiteX3559" fmla="*/ 5553551 w 6400800"/>
                <a:gd name="connsiteY3559" fmla="*/ 252889 h 514350"/>
                <a:gd name="connsiteX3560" fmla="*/ 5553551 w 6400800"/>
                <a:gd name="connsiteY3560" fmla="*/ 252889 h 514350"/>
                <a:gd name="connsiteX3561" fmla="*/ 5553551 w 6400800"/>
                <a:gd name="connsiteY3561" fmla="*/ 253841 h 514350"/>
                <a:gd name="connsiteX3562" fmla="*/ 5555456 w 6400800"/>
                <a:gd name="connsiteY3562" fmla="*/ 268129 h 514350"/>
                <a:gd name="connsiteX3563" fmla="*/ 5555456 w 6400800"/>
                <a:gd name="connsiteY3563" fmla="*/ 270986 h 514350"/>
                <a:gd name="connsiteX3564" fmla="*/ 5552599 w 6400800"/>
                <a:gd name="connsiteY3564" fmla="*/ 275749 h 514350"/>
                <a:gd name="connsiteX3565" fmla="*/ 5549742 w 6400800"/>
                <a:gd name="connsiteY3565" fmla="*/ 280511 h 514350"/>
                <a:gd name="connsiteX3566" fmla="*/ 5549742 w 6400800"/>
                <a:gd name="connsiteY3566" fmla="*/ 280511 h 514350"/>
                <a:gd name="connsiteX3567" fmla="*/ 5549742 w 6400800"/>
                <a:gd name="connsiteY3567" fmla="*/ 280511 h 514350"/>
                <a:gd name="connsiteX3568" fmla="*/ 5545931 w 6400800"/>
                <a:gd name="connsiteY3568" fmla="*/ 286226 h 514350"/>
                <a:gd name="connsiteX3569" fmla="*/ 5544979 w 6400800"/>
                <a:gd name="connsiteY3569" fmla="*/ 281464 h 514350"/>
                <a:gd name="connsiteX3570" fmla="*/ 5546884 w 6400800"/>
                <a:gd name="connsiteY3570" fmla="*/ 275749 h 514350"/>
                <a:gd name="connsiteX3571" fmla="*/ 5549742 w 6400800"/>
                <a:gd name="connsiteY3571" fmla="*/ 261461 h 514350"/>
                <a:gd name="connsiteX3572" fmla="*/ 5553551 w 6400800"/>
                <a:gd name="connsiteY3572" fmla="*/ 252889 h 514350"/>
                <a:gd name="connsiteX3573" fmla="*/ 5548789 w 6400800"/>
                <a:gd name="connsiteY3573" fmla="*/ 226219 h 514350"/>
                <a:gd name="connsiteX3574" fmla="*/ 5549742 w 6400800"/>
                <a:gd name="connsiteY3574" fmla="*/ 230029 h 514350"/>
                <a:gd name="connsiteX3575" fmla="*/ 5550694 w 6400800"/>
                <a:gd name="connsiteY3575" fmla="*/ 234791 h 514350"/>
                <a:gd name="connsiteX3576" fmla="*/ 5547837 w 6400800"/>
                <a:gd name="connsiteY3576" fmla="*/ 230029 h 514350"/>
                <a:gd name="connsiteX3577" fmla="*/ 5548789 w 6400800"/>
                <a:gd name="connsiteY3577" fmla="*/ 226219 h 514350"/>
                <a:gd name="connsiteX3578" fmla="*/ 5546884 w 6400800"/>
                <a:gd name="connsiteY3578" fmla="*/ 235744 h 514350"/>
                <a:gd name="connsiteX3579" fmla="*/ 5550694 w 6400800"/>
                <a:gd name="connsiteY3579" fmla="*/ 244316 h 514350"/>
                <a:gd name="connsiteX3580" fmla="*/ 5544979 w 6400800"/>
                <a:gd name="connsiteY3580" fmla="*/ 259556 h 514350"/>
                <a:gd name="connsiteX3581" fmla="*/ 5544026 w 6400800"/>
                <a:gd name="connsiteY3581" fmla="*/ 262414 h 514350"/>
                <a:gd name="connsiteX3582" fmla="*/ 5543074 w 6400800"/>
                <a:gd name="connsiteY3582" fmla="*/ 257651 h 514350"/>
                <a:gd name="connsiteX3583" fmla="*/ 5542121 w 6400800"/>
                <a:gd name="connsiteY3583" fmla="*/ 254794 h 514350"/>
                <a:gd name="connsiteX3584" fmla="*/ 5546884 w 6400800"/>
                <a:gd name="connsiteY3584" fmla="*/ 235744 h 514350"/>
                <a:gd name="connsiteX3585" fmla="*/ 5540217 w 6400800"/>
                <a:gd name="connsiteY3585" fmla="*/ 218599 h 514350"/>
                <a:gd name="connsiteX3586" fmla="*/ 5539264 w 6400800"/>
                <a:gd name="connsiteY3586" fmla="*/ 220504 h 514350"/>
                <a:gd name="connsiteX3587" fmla="*/ 5538312 w 6400800"/>
                <a:gd name="connsiteY3587" fmla="*/ 223361 h 514350"/>
                <a:gd name="connsiteX3588" fmla="*/ 5536406 w 6400800"/>
                <a:gd name="connsiteY3588" fmla="*/ 210026 h 514350"/>
                <a:gd name="connsiteX3589" fmla="*/ 5540217 w 6400800"/>
                <a:gd name="connsiteY3589" fmla="*/ 218599 h 514350"/>
                <a:gd name="connsiteX3590" fmla="*/ 5507831 w 6400800"/>
                <a:gd name="connsiteY3590" fmla="*/ 312896 h 514350"/>
                <a:gd name="connsiteX3591" fmla="*/ 5507831 w 6400800"/>
                <a:gd name="connsiteY3591" fmla="*/ 312896 h 514350"/>
                <a:gd name="connsiteX3592" fmla="*/ 5507831 w 6400800"/>
                <a:gd name="connsiteY3592" fmla="*/ 313849 h 514350"/>
                <a:gd name="connsiteX3593" fmla="*/ 5507831 w 6400800"/>
                <a:gd name="connsiteY3593" fmla="*/ 312896 h 514350"/>
                <a:gd name="connsiteX3594" fmla="*/ 5481162 w 6400800"/>
                <a:gd name="connsiteY3594" fmla="*/ 326231 h 514350"/>
                <a:gd name="connsiteX3595" fmla="*/ 5480209 w 6400800"/>
                <a:gd name="connsiteY3595" fmla="*/ 330994 h 514350"/>
                <a:gd name="connsiteX3596" fmla="*/ 5479256 w 6400800"/>
                <a:gd name="connsiteY3596" fmla="*/ 324326 h 514350"/>
                <a:gd name="connsiteX3597" fmla="*/ 5479256 w 6400800"/>
                <a:gd name="connsiteY3597" fmla="*/ 322421 h 514350"/>
                <a:gd name="connsiteX3598" fmla="*/ 5478304 w 6400800"/>
                <a:gd name="connsiteY3598" fmla="*/ 311944 h 514350"/>
                <a:gd name="connsiteX3599" fmla="*/ 5482114 w 6400800"/>
                <a:gd name="connsiteY3599" fmla="*/ 325279 h 514350"/>
                <a:gd name="connsiteX3600" fmla="*/ 5481162 w 6400800"/>
                <a:gd name="connsiteY3600" fmla="*/ 326231 h 514350"/>
                <a:gd name="connsiteX3601" fmla="*/ 5493544 w 6400800"/>
                <a:gd name="connsiteY3601" fmla="*/ 339566 h 514350"/>
                <a:gd name="connsiteX3602" fmla="*/ 5493544 w 6400800"/>
                <a:gd name="connsiteY3602" fmla="*/ 339566 h 514350"/>
                <a:gd name="connsiteX3603" fmla="*/ 5493544 w 6400800"/>
                <a:gd name="connsiteY3603" fmla="*/ 339566 h 514350"/>
                <a:gd name="connsiteX3604" fmla="*/ 5493544 w 6400800"/>
                <a:gd name="connsiteY3604" fmla="*/ 339566 h 514350"/>
                <a:gd name="connsiteX3605" fmla="*/ 5488781 w 6400800"/>
                <a:gd name="connsiteY3605" fmla="*/ 261461 h 514350"/>
                <a:gd name="connsiteX3606" fmla="*/ 5488781 w 6400800"/>
                <a:gd name="connsiteY3606" fmla="*/ 261461 h 514350"/>
                <a:gd name="connsiteX3607" fmla="*/ 5490687 w 6400800"/>
                <a:gd name="connsiteY3607" fmla="*/ 267176 h 514350"/>
                <a:gd name="connsiteX3608" fmla="*/ 5487829 w 6400800"/>
                <a:gd name="connsiteY3608" fmla="*/ 264319 h 514350"/>
                <a:gd name="connsiteX3609" fmla="*/ 5488781 w 6400800"/>
                <a:gd name="connsiteY3609" fmla="*/ 261461 h 514350"/>
                <a:gd name="connsiteX3610" fmla="*/ 5483067 w 6400800"/>
                <a:gd name="connsiteY3610" fmla="*/ 280511 h 514350"/>
                <a:gd name="connsiteX3611" fmla="*/ 5484971 w 6400800"/>
                <a:gd name="connsiteY3611" fmla="*/ 272891 h 514350"/>
                <a:gd name="connsiteX3612" fmla="*/ 5496401 w 6400800"/>
                <a:gd name="connsiteY3612" fmla="*/ 291941 h 514350"/>
                <a:gd name="connsiteX3613" fmla="*/ 5500212 w 6400800"/>
                <a:gd name="connsiteY3613" fmla="*/ 297656 h 514350"/>
                <a:gd name="connsiteX3614" fmla="*/ 5497354 w 6400800"/>
                <a:gd name="connsiteY3614" fmla="*/ 307181 h 514350"/>
                <a:gd name="connsiteX3615" fmla="*/ 5496401 w 6400800"/>
                <a:gd name="connsiteY3615" fmla="*/ 310991 h 514350"/>
                <a:gd name="connsiteX3616" fmla="*/ 5493544 w 6400800"/>
                <a:gd name="connsiteY3616" fmla="*/ 307181 h 514350"/>
                <a:gd name="connsiteX3617" fmla="*/ 5495449 w 6400800"/>
                <a:gd name="connsiteY3617" fmla="*/ 311944 h 514350"/>
                <a:gd name="connsiteX3618" fmla="*/ 5494496 w 6400800"/>
                <a:gd name="connsiteY3618" fmla="*/ 319564 h 514350"/>
                <a:gd name="connsiteX3619" fmla="*/ 5492592 w 6400800"/>
                <a:gd name="connsiteY3619" fmla="*/ 330041 h 514350"/>
                <a:gd name="connsiteX3620" fmla="*/ 5488781 w 6400800"/>
                <a:gd name="connsiteY3620" fmla="*/ 333851 h 514350"/>
                <a:gd name="connsiteX3621" fmla="*/ 5485924 w 6400800"/>
                <a:gd name="connsiteY3621" fmla="*/ 327184 h 514350"/>
                <a:gd name="connsiteX3622" fmla="*/ 5487829 w 6400800"/>
                <a:gd name="connsiteY3622" fmla="*/ 312896 h 514350"/>
                <a:gd name="connsiteX3623" fmla="*/ 5489734 w 6400800"/>
                <a:gd name="connsiteY3623" fmla="*/ 299561 h 514350"/>
                <a:gd name="connsiteX3624" fmla="*/ 5484019 w 6400800"/>
                <a:gd name="connsiteY3624" fmla="*/ 311944 h 514350"/>
                <a:gd name="connsiteX3625" fmla="*/ 5483067 w 6400800"/>
                <a:gd name="connsiteY3625" fmla="*/ 313849 h 514350"/>
                <a:gd name="connsiteX3626" fmla="*/ 5483067 w 6400800"/>
                <a:gd name="connsiteY3626" fmla="*/ 312896 h 514350"/>
                <a:gd name="connsiteX3627" fmla="*/ 5478304 w 6400800"/>
                <a:gd name="connsiteY3627" fmla="*/ 292894 h 514350"/>
                <a:gd name="connsiteX3628" fmla="*/ 5479256 w 6400800"/>
                <a:gd name="connsiteY3628" fmla="*/ 309086 h 514350"/>
                <a:gd name="connsiteX3629" fmla="*/ 5479256 w 6400800"/>
                <a:gd name="connsiteY3629" fmla="*/ 308134 h 514350"/>
                <a:gd name="connsiteX3630" fmla="*/ 5476399 w 6400800"/>
                <a:gd name="connsiteY3630" fmla="*/ 300514 h 514350"/>
                <a:gd name="connsiteX3631" fmla="*/ 5483067 w 6400800"/>
                <a:gd name="connsiteY3631" fmla="*/ 280511 h 514350"/>
                <a:gd name="connsiteX3632" fmla="*/ 5472589 w 6400800"/>
                <a:gd name="connsiteY3632" fmla="*/ 254794 h 514350"/>
                <a:gd name="connsiteX3633" fmla="*/ 5475446 w 6400800"/>
                <a:gd name="connsiteY3633" fmla="*/ 258604 h 514350"/>
                <a:gd name="connsiteX3634" fmla="*/ 5471637 w 6400800"/>
                <a:gd name="connsiteY3634" fmla="*/ 268129 h 514350"/>
                <a:gd name="connsiteX3635" fmla="*/ 5468779 w 6400800"/>
                <a:gd name="connsiteY3635" fmla="*/ 249079 h 514350"/>
                <a:gd name="connsiteX3636" fmla="*/ 5472589 w 6400800"/>
                <a:gd name="connsiteY3636" fmla="*/ 254794 h 514350"/>
                <a:gd name="connsiteX3637" fmla="*/ 5452587 w 6400800"/>
                <a:gd name="connsiteY3637" fmla="*/ 208121 h 514350"/>
                <a:gd name="connsiteX3638" fmla="*/ 5452587 w 6400800"/>
                <a:gd name="connsiteY3638" fmla="*/ 210026 h 514350"/>
                <a:gd name="connsiteX3639" fmla="*/ 5454492 w 6400800"/>
                <a:gd name="connsiteY3639" fmla="*/ 225266 h 514350"/>
                <a:gd name="connsiteX3640" fmla="*/ 5454492 w 6400800"/>
                <a:gd name="connsiteY3640" fmla="*/ 228124 h 514350"/>
                <a:gd name="connsiteX3641" fmla="*/ 5450681 w 6400800"/>
                <a:gd name="connsiteY3641" fmla="*/ 225266 h 514350"/>
                <a:gd name="connsiteX3642" fmla="*/ 5452587 w 6400800"/>
                <a:gd name="connsiteY3642" fmla="*/ 208121 h 514350"/>
                <a:gd name="connsiteX3643" fmla="*/ 5449729 w 6400800"/>
                <a:gd name="connsiteY3643" fmla="*/ 250031 h 514350"/>
                <a:gd name="connsiteX3644" fmla="*/ 5451634 w 6400800"/>
                <a:gd name="connsiteY3644" fmla="*/ 228124 h 514350"/>
                <a:gd name="connsiteX3645" fmla="*/ 5453539 w 6400800"/>
                <a:gd name="connsiteY3645" fmla="*/ 230029 h 514350"/>
                <a:gd name="connsiteX3646" fmla="*/ 5455444 w 6400800"/>
                <a:gd name="connsiteY3646" fmla="*/ 232886 h 514350"/>
                <a:gd name="connsiteX3647" fmla="*/ 5456396 w 6400800"/>
                <a:gd name="connsiteY3647" fmla="*/ 243364 h 514350"/>
                <a:gd name="connsiteX3648" fmla="*/ 5459254 w 6400800"/>
                <a:gd name="connsiteY3648" fmla="*/ 282416 h 514350"/>
                <a:gd name="connsiteX3649" fmla="*/ 5460206 w 6400800"/>
                <a:gd name="connsiteY3649" fmla="*/ 299561 h 514350"/>
                <a:gd name="connsiteX3650" fmla="*/ 5455444 w 6400800"/>
                <a:gd name="connsiteY3650" fmla="*/ 313849 h 514350"/>
                <a:gd name="connsiteX3651" fmla="*/ 5447824 w 6400800"/>
                <a:gd name="connsiteY3651" fmla="*/ 280511 h 514350"/>
                <a:gd name="connsiteX3652" fmla="*/ 5446871 w 6400800"/>
                <a:gd name="connsiteY3652" fmla="*/ 276701 h 514350"/>
                <a:gd name="connsiteX3653" fmla="*/ 5449729 w 6400800"/>
                <a:gd name="connsiteY3653" fmla="*/ 250031 h 514350"/>
                <a:gd name="connsiteX3654" fmla="*/ 5443062 w 6400800"/>
                <a:gd name="connsiteY3654" fmla="*/ 327184 h 514350"/>
                <a:gd name="connsiteX3655" fmla="*/ 5445919 w 6400800"/>
                <a:gd name="connsiteY3655" fmla="*/ 343376 h 514350"/>
                <a:gd name="connsiteX3656" fmla="*/ 5443062 w 6400800"/>
                <a:gd name="connsiteY3656" fmla="*/ 334804 h 514350"/>
                <a:gd name="connsiteX3657" fmla="*/ 5443062 w 6400800"/>
                <a:gd name="connsiteY3657" fmla="*/ 327184 h 514350"/>
                <a:gd name="connsiteX3658" fmla="*/ 5417344 w 6400800"/>
                <a:gd name="connsiteY3658" fmla="*/ 318611 h 514350"/>
                <a:gd name="connsiteX3659" fmla="*/ 5419249 w 6400800"/>
                <a:gd name="connsiteY3659" fmla="*/ 312896 h 514350"/>
                <a:gd name="connsiteX3660" fmla="*/ 5421154 w 6400800"/>
                <a:gd name="connsiteY3660" fmla="*/ 320516 h 514350"/>
                <a:gd name="connsiteX3661" fmla="*/ 5421154 w 6400800"/>
                <a:gd name="connsiteY3661" fmla="*/ 321469 h 514350"/>
                <a:gd name="connsiteX3662" fmla="*/ 5421154 w 6400800"/>
                <a:gd name="connsiteY3662" fmla="*/ 320516 h 514350"/>
                <a:gd name="connsiteX3663" fmla="*/ 5421154 w 6400800"/>
                <a:gd name="connsiteY3663" fmla="*/ 322421 h 514350"/>
                <a:gd name="connsiteX3664" fmla="*/ 5418296 w 6400800"/>
                <a:gd name="connsiteY3664" fmla="*/ 331946 h 514350"/>
                <a:gd name="connsiteX3665" fmla="*/ 5417344 w 6400800"/>
                <a:gd name="connsiteY3665" fmla="*/ 329089 h 514350"/>
                <a:gd name="connsiteX3666" fmla="*/ 5417344 w 6400800"/>
                <a:gd name="connsiteY3666" fmla="*/ 318611 h 514350"/>
                <a:gd name="connsiteX3667" fmla="*/ 5416392 w 6400800"/>
                <a:gd name="connsiteY3667" fmla="*/ 334804 h 514350"/>
                <a:gd name="connsiteX3668" fmla="*/ 5417344 w 6400800"/>
                <a:gd name="connsiteY3668" fmla="*/ 335756 h 514350"/>
                <a:gd name="connsiteX3669" fmla="*/ 5416392 w 6400800"/>
                <a:gd name="connsiteY3669" fmla="*/ 337661 h 514350"/>
                <a:gd name="connsiteX3670" fmla="*/ 5416392 w 6400800"/>
                <a:gd name="connsiteY3670" fmla="*/ 334804 h 514350"/>
                <a:gd name="connsiteX3671" fmla="*/ 5405914 w 6400800"/>
                <a:gd name="connsiteY3671" fmla="*/ 325279 h 514350"/>
                <a:gd name="connsiteX3672" fmla="*/ 5407819 w 6400800"/>
                <a:gd name="connsiteY3672" fmla="*/ 271939 h 514350"/>
                <a:gd name="connsiteX3673" fmla="*/ 5407819 w 6400800"/>
                <a:gd name="connsiteY3673" fmla="*/ 267176 h 514350"/>
                <a:gd name="connsiteX3674" fmla="*/ 5414487 w 6400800"/>
                <a:gd name="connsiteY3674" fmla="*/ 292894 h 514350"/>
                <a:gd name="connsiteX3675" fmla="*/ 5414487 w 6400800"/>
                <a:gd name="connsiteY3675" fmla="*/ 293846 h 514350"/>
                <a:gd name="connsiteX3676" fmla="*/ 5411629 w 6400800"/>
                <a:gd name="connsiteY3676" fmla="*/ 303371 h 514350"/>
                <a:gd name="connsiteX3677" fmla="*/ 5404962 w 6400800"/>
                <a:gd name="connsiteY3677" fmla="*/ 331946 h 514350"/>
                <a:gd name="connsiteX3678" fmla="*/ 5404962 w 6400800"/>
                <a:gd name="connsiteY3678" fmla="*/ 332899 h 514350"/>
                <a:gd name="connsiteX3679" fmla="*/ 5405914 w 6400800"/>
                <a:gd name="connsiteY3679" fmla="*/ 325279 h 514350"/>
                <a:gd name="connsiteX3680" fmla="*/ 5384006 w 6400800"/>
                <a:gd name="connsiteY3680" fmla="*/ 310991 h 514350"/>
                <a:gd name="connsiteX3681" fmla="*/ 5386864 w 6400800"/>
                <a:gd name="connsiteY3681" fmla="*/ 334804 h 514350"/>
                <a:gd name="connsiteX3682" fmla="*/ 5384959 w 6400800"/>
                <a:gd name="connsiteY3682" fmla="*/ 341471 h 514350"/>
                <a:gd name="connsiteX3683" fmla="*/ 5382101 w 6400800"/>
                <a:gd name="connsiteY3683" fmla="*/ 325279 h 514350"/>
                <a:gd name="connsiteX3684" fmla="*/ 5378292 w 6400800"/>
                <a:gd name="connsiteY3684" fmla="*/ 305276 h 514350"/>
                <a:gd name="connsiteX3685" fmla="*/ 5381149 w 6400800"/>
                <a:gd name="connsiteY3685" fmla="*/ 294799 h 514350"/>
                <a:gd name="connsiteX3686" fmla="*/ 5384006 w 6400800"/>
                <a:gd name="connsiteY3686" fmla="*/ 310991 h 514350"/>
                <a:gd name="connsiteX3687" fmla="*/ 5379244 w 6400800"/>
                <a:gd name="connsiteY3687" fmla="*/ 274796 h 514350"/>
                <a:gd name="connsiteX3688" fmla="*/ 5379244 w 6400800"/>
                <a:gd name="connsiteY3688" fmla="*/ 271939 h 514350"/>
                <a:gd name="connsiteX3689" fmla="*/ 5381149 w 6400800"/>
                <a:gd name="connsiteY3689" fmla="*/ 284321 h 514350"/>
                <a:gd name="connsiteX3690" fmla="*/ 5380196 w 6400800"/>
                <a:gd name="connsiteY3690" fmla="*/ 285274 h 514350"/>
                <a:gd name="connsiteX3691" fmla="*/ 5378292 w 6400800"/>
                <a:gd name="connsiteY3691" fmla="*/ 290036 h 514350"/>
                <a:gd name="connsiteX3692" fmla="*/ 5379244 w 6400800"/>
                <a:gd name="connsiteY3692" fmla="*/ 274796 h 514350"/>
                <a:gd name="connsiteX3693" fmla="*/ 5332571 w 6400800"/>
                <a:gd name="connsiteY3693" fmla="*/ 321469 h 514350"/>
                <a:gd name="connsiteX3694" fmla="*/ 5338287 w 6400800"/>
                <a:gd name="connsiteY3694" fmla="*/ 309086 h 514350"/>
                <a:gd name="connsiteX3695" fmla="*/ 5338287 w 6400800"/>
                <a:gd name="connsiteY3695" fmla="*/ 310039 h 514350"/>
                <a:gd name="connsiteX3696" fmla="*/ 5326856 w 6400800"/>
                <a:gd name="connsiteY3696" fmla="*/ 351949 h 514350"/>
                <a:gd name="connsiteX3697" fmla="*/ 5323999 w 6400800"/>
                <a:gd name="connsiteY3697" fmla="*/ 336709 h 514350"/>
                <a:gd name="connsiteX3698" fmla="*/ 5332571 w 6400800"/>
                <a:gd name="connsiteY3698" fmla="*/ 321469 h 514350"/>
                <a:gd name="connsiteX3699" fmla="*/ 5319237 w 6400800"/>
                <a:gd name="connsiteY3699" fmla="*/ 350996 h 514350"/>
                <a:gd name="connsiteX3700" fmla="*/ 5323046 w 6400800"/>
                <a:gd name="connsiteY3700" fmla="*/ 342424 h 514350"/>
                <a:gd name="connsiteX3701" fmla="*/ 5322094 w 6400800"/>
                <a:gd name="connsiteY3701" fmla="*/ 371951 h 514350"/>
                <a:gd name="connsiteX3702" fmla="*/ 5319237 w 6400800"/>
                <a:gd name="connsiteY3702" fmla="*/ 362426 h 514350"/>
                <a:gd name="connsiteX3703" fmla="*/ 5319237 w 6400800"/>
                <a:gd name="connsiteY3703" fmla="*/ 350996 h 514350"/>
                <a:gd name="connsiteX3704" fmla="*/ 5316379 w 6400800"/>
                <a:gd name="connsiteY3704" fmla="*/ 392906 h 514350"/>
                <a:gd name="connsiteX3705" fmla="*/ 5317331 w 6400800"/>
                <a:gd name="connsiteY3705" fmla="*/ 382429 h 514350"/>
                <a:gd name="connsiteX3706" fmla="*/ 5318284 w 6400800"/>
                <a:gd name="connsiteY3706" fmla="*/ 390049 h 514350"/>
                <a:gd name="connsiteX3707" fmla="*/ 5315426 w 6400800"/>
                <a:gd name="connsiteY3707" fmla="*/ 399574 h 514350"/>
                <a:gd name="connsiteX3708" fmla="*/ 5316379 w 6400800"/>
                <a:gd name="connsiteY3708" fmla="*/ 392906 h 514350"/>
                <a:gd name="connsiteX3709" fmla="*/ 5285899 w 6400800"/>
                <a:gd name="connsiteY3709" fmla="*/ 293846 h 514350"/>
                <a:gd name="connsiteX3710" fmla="*/ 5286851 w 6400800"/>
                <a:gd name="connsiteY3710" fmla="*/ 298609 h 514350"/>
                <a:gd name="connsiteX3711" fmla="*/ 5283994 w 6400800"/>
                <a:gd name="connsiteY3711" fmla="*/ 302419 h 514350"/>
                <a:gd name="connsiteX3712" fmla="*/ 5285899 w 6400800"/>
                <a:gd name="connsiteY3712" fmla="*/ 293846 h 514350"/>
                <a:gd name="connsiteX3713" fmla="*/ 5279231 w 6400800"/>
                <a:gd name="connsiteY3713" fmla="*/ 319564 h 514350"/>
                <a:gd name="connsiteX3714" fmla="*/ 5282089 w 6400800"/>
                <a:gd name="connsiteY3714" fmla="*/ 311944 h 514350"/>
                <a:gd name="connsiteX3715" fmla="*/ 5287804 w 6400800"/>
                <a:gd name="connsiteY3715" fmla="*/ 302419 h 514350"/>
                <a:gd name="connsiteX3716" fmla="*/ 5288756 w 6400800"/>
                <a:gd name="connsiteY3716" fmla="*/ 309086 h 514350"/>
                <a:gd name="connsiteX3717" fmla="*/ 5292567 w 6400800"/>
                <a:gd name="connsiteY3717" fmla="*/ 340519 h 514350"/>
                <a:gd name="connsiteX3718" fmla="*/ 5287804 w 6400800"/>
                <a:gd name="connsiteY3718" fmla="*/ 363379 h 514350"/>
                <a:gd name="connsiteX3719" fmla="*/ 5287804 w 6400800"/>
                <a:gd name="connsiteY3719" fmla="*/ 351949 h 514350"/>
                <a:gd name="connsiteX3720" fmla="*/ 5287804 w 6400800"/>
                <a:gd name="connsiteY3720" fmla="*/ 335756 h 514350"/>
                <a:gd name="connsiteX3721" fmla="*/ 5283994 w 6400800"/>
                <a:gd name="connsiteY3721" fmla="*/ 350996 h 514350"/>
                <a:gd name="connsiteX3722" fmla="*/ 5280184 w 6400800"/>
                <a:gd name="connsiteY3722" fmla="*/ 369094 h 514350"/>
                <a:gd name="connsiteX3723" fmla="*/ 5280184 w 6400800"/>
                <a:gd name="connsiteY3723" fmla="*/ 370046 h 514350"/>
                <a:gd name="connsiteX3724" fmla="*/ 5277326 w 6400800"/>
                <a:gd name="connsiteY3724" fmla="*/ 350044 h 514350"/>
                <a:gd name="connsiteX3725" fmla="*/ 5275421 w 6400800"/>
                <a:gd name="connsiteY3725" fmla="*/ 335756 h 514350"/>
                <a:gd name="connsiteX3726" fmla="*/ 5279231 w 6400800"/>
                <a:gd name="connsiteY3726" fmla="*/ 319564 h 514350"/>
                <a:gd name="connsiteX3727" fmla="*/ 5236369 w 6400800"/>
                <a:gd name="connsiteY3727" fmla="*/ 318611 h 514350"/>
                <a:gd name="connsiteX3728" fmla="*/ 5235417 w 6400800"/>
                <a:gd name="connsiteY3728" fmla="*/ 320516 h 514350"/>
                <a:gd name="connsiteX3729" fmla="*/ 5230654 w 6400800"/>
                <a:gd name="connsiteY3729" fmla="*/ 311944 h 514350"/>
                <a:gd name="connsiteX3730" fmla="*/ 5230654 w 6400800"/>
                <a:gd name="connsiteY3730" fmla="*/ 310991 h 514350"/>
                <a:gd name="connsiteX3731" fmla="*/ 5239226 w 6400800"/>
                <a:gd name="connsiteY3731" fmla="*/ 295751 h 514350"/>
                <a:gd name="connsiteX3732" fmla="*/ 5236369 w 6400800"/>
                <a:gd name="connsiteY3732" fmla="*/ 318611 h 514350"/>
                <a:gd name="connsiteX3733" fmla="*/ 5230654 w 6400800"/>
                <a:gd name="connsiteY3733" fmla="*/ 281464 h 514350"/>
                <a:gd name="connsiteX3734" fmla="*/ 5237321 w 6400800"/>
                <a:gd name="connsiteY3734" fmla="*/ 265271 h 514350"/>
                <a:gd name="connsiteX3735" fmla="*/ 5243989 w 6400800"/>
                <a:gd name="connsiteY3735" fmla="*/ 251936 h 514350"/>
                <a:gd name="connsiteX3736" fmla="*/ 5242084 w 6400800"/>
                <a:gd name="connsiteY3736" fmla="*/ 264319 h 514350"/>
                <a:gd name="connsiteX3737" fmla="*/ 5240179 w 6400800"/>
                <a:gd name="connsiteY3737" fmla="*/ 283369 h 514350"/>
                <a:gd name="connsiteX3738" fmla="*/ 5228749 w 6400800"/>
                <a:gd name="connsiteY3738" fmla="*/ 299561 h 514350"/>
                <a:gd name="connsiteX3739" fmla="*/ 5227796 w 6400800"/>
                <a:gd name="connsiteY3739" fmla="*/ 290036 h 514350"/>
                <a:gd name="connsiteX3740" fmla="*/ 5230654 w 6400800"/>
                <a:gd name="connsiteY3740" fmla="*/ 281464 h 514350"/>
                <a:gd name="connsiteX3741" fmla="*/ 5211604 w 6400800"/>
                <a:gd name="connsiteY3741" fmla="*/ 344329 h 514350"/>
                <a:gd name="connsiteX3742" fmla="*/ 5213509 w 6400800"/>
                <a:gd name="connsiteY3742" fmla="*/ 341471 h 514350"/>
                <a:gd name="connsiteX3743" fmla="*/ 5213509 w 6400800"/>
                <a:gd name="connsiteY3743" fmla="*/ 341471 h 514350"/>
                <a:gd name="connsiteX3744" fmla="*/ 5213509 w 6400800"/>
                <a:gd name="connsiteY3744" fmla="*/ 342424 h 514350"/>
                <a:gd name="connsiteX3745" fmla="*/ 5211604 w 6400800"/>
                <a:gd name="connsiteY3745" fmla="*/ 344329 h 514350"/>
                <a:gd name="connsiteX3746" fmla="*/ 5211604 w 6400800"/>
                <a:gd name="connsiteY3746" fmla="*/ 344329 h 514350"/>
                <a:gd name="connsiteX3747" fmla="*/ 5214462 w 6400800"/>
                <a:gd name="connsiteY3747" fmla="*/ 343376 h 514350"/>
                <a:gd name="connsiteX3748" fmla="*/ 5216367 w 6400800"/>
                <a:gd name="connsiteY3748" fmla="*/ 348139 h 514350"/>
                <a:gd name="connsiteX3749" fmla="*/ 5213509 w 6400800"/>
                <a:gd name="connsiteY3749" fmla="*/ 352901 h 514350"/>
                <a:gd name="connsiteX3750" fmla="*/ 5212556 w 6400800"/>
                <a:gd name="connsiteY3750" fmla="*/ 350996 h 514350"/>
                <a:gd name="connsiteX3751" fmla="*/ 5212556 w 6400800"/>
                <a:gd name="connsiteY3751" fmla="*/ 349091 h 514350"/>
                <a:gd name="connsiteX3752" fmla="*/ 5214462 w 6400800"/>
                <a:gd name="connsiteY3752" fmla="*/ 343376 h 514350"/>
                <a:gd name="connsiteX3753" fmla="*/ 5214462 w 6400800"/>
                <a:gd name="connsiteY3753" fmla="*/ 343376 h 514350"/>
                <a:gd name="connsiteX3754" fmla="*/ 5211604 w 6400800"/>
                <a:gd name="connsiteY3754" fmla="*/ 290989 h 514350"/>
                <a:gd name="connsiteX3755" fmla="*/ 5211604 w 6400800"/>
                <a:gd name="connsiteY3755" fmla="*/ 290989 h 514350"/>
                <a:gd name="connsiteX3756" fmla="*/ 5213509 w 6400800"/>
                <a:gd name="connsiteY3756" fmla="*/ 296704 h 514350"/>
                <a:gd name="connsiteX3757" fmla="*/ 5210651 w 6400800"/>
                <a:gd name="connsiteY3757" fmla="*/ 302419 h 514350"/>
                <a:gd name="connsiteX3758" fmla="*/ 5211604 w 6400800"/>
                <a:gd name="connsiteY3758" fmla="*/ 290989 h 514350"/>
                <a:gd name="connsiteX3759" fmla="*/ 5189696 w 6400800"/>
                <a:gd name="connsiteY3759" fmla="*/ 260509 h 514350"/>
                <a:gd name="connsiteX3760" fmla="*/ 5189696 w 6400800"/>
                <a:gd name="connsiteY3760" fmla="*/ 264319 h 514350"/>
                <a:gd name="connsiteX3761" fmla="*/ 5186839 w 6400800"/>
                <a:gd name="connsiteY3761" fmla="*/ 258604 h 514350"/>
                <a:gd name="connsiteX3762" fmla="*/ 5187792 w 6400800"/>
                <a:gd name="connsiteY3762" fmla="*/ 257651 h 514350"/>
                <a:gd name="connsiteX3763" fmla="*/ 5189696 w 6400800"/>
                <a:gd name="connsiteY3763" fmla="*/ 253841 h 514350"/>
                <a:gd name="connsiteX3764" fmla="*/ 5189696 w 6400800"/>
                <a:gd name="connsiteY3764" fmla="*/ 260509 h 514350"/>
                <a:gd name="connsiteX3765" fmla="*/ 5178267 w 6400800"/>
                <a:gd name="connsiteY3765" fmla="*/ 230981 h 514350"/>
                <a:gd name="connsiteX3766" fmla="*/ 5186839 w 6400800"/>
                <a:gd name="connsiteY3766" fmla="*/ 213836 h 514350"/>
                <a:gd name="connsiteX3767" fmla="*/ 5188744 w 6400800"/>
                <a:gd name="connsiteY3767" fmla="*/ 210026 h 514350"/>
                <a:gd name="connsiteX3768" fmla="*/ 5188744 w 6400800"/>
                <a:gd name="connsiteY3768" fmla="*/ 219551 h 514350"/>
                <a:gd name="connsiteX3769" fmla="*/ 5188744 w 6400800"/>
                <a:gd name="connsiteY3769" fmla="*/ 254794 h 514350"/>
                <a:gd name="connsiteX3770" fmla="*/ 5185887 w 6400800"/>
                <a:gd name="connsiteY3770" fmla="*/ 258604 h 514350"/>
                <a:gd name="connsiteX3771" fmla="*/ 5185887 w 6400800"/>
                <a:gd name="connsiteY3771" fmla="*/ 258604 h 514350"/>
                <a:gd name="connsiteX3772" fmla="*/ 5178267 w 6400800"/>
                <a:gd name="connsiteY3772" fmla="*/ 243364 h 514350"/>
                <a:gd name="connsiteX3773" fmla="*/ 5175409 w 6400800"/>
                <a:gd name="connsiteY3773" fmla="*/ 238601 h 514350"/>
                <a:gd name="connsiteX3774" fmla="*/ 5178267 w 6400800"/>
                <a:gd name="connsiteY3774" fmla="*/ 230981 h 514350"/>
                <a:gd name="connsiteX3775" fmla="*/ 5168742 w 6400800"/>
                <a:gd name="connsiteY3775" fmla="*/ 238601 h 514350"/>
                <a:gd name="connsiteX3776" fmla="*/ 5168742 w 6400800"/>
                <a:gd name="connsiteY3776" fmla="*/ 238601 h 514350"/>
                <a:gd name="connsiteX3777" fmla="*/ 5168742 w 6400800"/>
                <a:gd name="connsiteY3777" fmla="*/ 238601 h 514350"/>
                <a:gd name="connsiteX3778" fmla="*/ 5168742 w 6400800"/>
                <a:gd name="connsiteY3778" fmla="*/ 238601 h 514350"/>
                <a:gd name="connsiteX3779" fmla="*/ 5166837 w 6400800"/>
                <a:gd name="connsiteY3779" fmla="*/ 280511 h 514350"/>
                <a:gd name="connsiteX3780" fmla="*/ 5167789 w 6400800"/>
                <a:gd name="connsiteY3780" fmla="*/ 259556 h 514350"/>
                <a:gd name="connsiteX3781" fmla="*/ 5167789 w 6400800"/>
                <a:gd name="connsiteY3781" fmla="*/ 259556 h 514350"/>
                <a:gd name="connsiteX3782" fmla="*/ 5171599 w 6400800"/>
                <a:gd name="connsiteY3782" fmla="*/ 248126 h 514350"/>
                <a:gd name="connsiteX3783" fmla="*/ 5177314 w 6400800"/>
                <a:gd name="connsiteY3783" fmla="*/ 263366 h 514350"/>
                <a:gd name="connsiteX3784" fmla="*/ 5179219 w 6400800"/>
                <a:gd name="connsiteY3784" fmla="*/ 267176 h 514350"/>
                <a:gd name="connsiteX3785" fmla="*/ 5176362 w 6400800"/>
                <a:gd name="connsiteY3785" fmla="*/ 271939 h 514350"/>
                <a:gd name="connsiteX3786" fmla="*/ 5166837 w 6400800"/>
                <a:gd name="connsiteY3786" fmla="*/ 287179 h 514350"/>
                <a:gd name="connsiteX3787" fmla="*/ 5166837 w 6400800"/>
                <a:gd name="connsiteY3787" fmla="*/ 280511 h 514350"/>
                <a:gd name="connsiteX3788" fmla="*/ 5166837 w 6400800"/>
                <a:gd name="connsiteY3788" fmla="*/ 307181 h 514350"/>
                <a:gd name="connsiteX3789" fmla="*/ 5170646 w 6400800"/>
                <a:gd name="connsiteY3789" fmla="*/ 296704 h 514350"/>
                <a:gd name="connsiteX3790" fmla="*/ 5171599 w 6400800"/>
                <a:gd name="connsiteY3790" fmla="*/ 293846 h 514350"/>
                <a:gd name="connsiteX3791" fmla="*/ 5176362 w 6400800"/>
                <a:gd name="connsiteY3791" fmla="*/ 289084 h 514350"/>
                <a:gd name="connsiteX3792" fmla="*/ 5181124 w 6400800"/>
                <a:gd name="connsiteY3792" fmla="*/ 284321 h 514350"/>
                <a:gd name="connsiteX3793" fmla="*/ 5175409 w 6400800"/>
                <a:gd name="connsiteY3793" fmla="*/ 288131 h 514350"/>
                <a:gd name="connsiteX3794" fmla="*/ 5172551 w 6400800"/>
                <a:gd name="connsiteY3794" fmla="*/ 290036 h 514350"/>
                <a:gd name="connsiteX3795" fmla="*/ 5179219 w 6400800"/>
                <a:gd name="connsiteY3795" fmla="*/ 272891 h 514350"/>
                <a:gd name="connsiteX3796" fmla="*/ 5180171 w 6400800"/>
                <a:gd name="connsiteY3796" fmla="*/ 270034 h 514350"/>
                <a:gd name="connsiteX3797" fmla="*/ 5184934 w 6400800"/>
                <a:gd name="connsiteY3797" fmla="*/ 280511 h 514350"/>
                <a:gd name="connsiteX3798" fmla="*/ 5190649 w 6400800"/>
                <a:gd name="connsiteY3798" fmla="*/ 292894 h 514350"/>
                <a:gd name="connsiteX3799" fmla="*/ 5190649 w 6400800"/>
                <a:gd name="connsiteY3799" fmla="*/ 298609 h 514350"/>
                <a:gd name="connsiteX3800" fmla="*/ 5192554 w 6400800"/>
                <a:gd name="connsiteY3800" fmla="*/ 330041 h 514350"/>
                <a:gd name="connsiteX3801" fmla="*/ 5192554 w 6400800"/>
                <a:gd name="connsiteY3801" fmla="*/ 335756 h 514350"/>
                <a:gd name="connsiteX3802" fmla="*/ 5192554 w 6400800"/>
                <a:gd name="connsiteY3802" fmla="*/ 336709 h 514350"/>
                <a:gd name="connsiteX3803" fmla="*/ 5191601 w 6400800"/>
                <a:gd name="connsiteY3803" fmla="*/ 338614 h 514350"/>
                <a:gd name="connsiteX3804" fmla="*/ 5187792 w 6400800"/>
                <a:gd name="connsiteY3804" fmla="*/ 348139 h 514350"/>
                <a:gd name="connsiteX3805" fmla="*/ 5183981 w 6400800"/>
                <a:gd name="connsiteY3805" fmla="*/ 309086 h 514350"/>
                <a:gd name="connsiteX3806" fmla="*/ 5177314 w 6400800"/>
                <a:gd name="connsiteY3806" fmla="*/ 348139 h 514350"/>
                <a:gd name="connsiteX3807" fmla="*/ 5176362 w 6400800"/>
                <a:gd name="connsiteY3807" fmla="*/ 354806 h 514350"/>
                <a:gd name="connsiteX3808" fmla="*/ 5174456 w 6400800"/>
                <a:gd name="connsiteY3808" fmla="*/ 349091 h 514350"/>
                <a:gd name="connsiteX3809" fmla="*/ 5171599 w 6400800"/>
                <a:gd name="connsiteY3809" fmla="*/ 341471 h 514350"/>
                <a:gd name="connsiteX3810" fmla="*/ 5173504 w 6400800"/>
                <a:gd name="connsiteY3810" fmla="*/ 328136 h 514350"/>
                <a:gd name="connsiteX3811" fmla="*/ 5169694 w 6400800"/>
                <a:gd name="connsiteY3811" fmla="*/ 338614 h 514350"/>
                <a:gd name="connsiteX3812" fmla="*/ 5167789 w 6400800"/>
                <a:gd name="connsiteY3812" fmla="*/ 334804 h 514350"/>
                <a:gd name="connsiteX3813" fmla="*/ 5165884 w 6400800"/>
                <a:gd name="connsiteY3813" fmla="*/ 312896 h 514350"/>
                <a:gd name="connsiteX3814" fmla="*/ 5166837 w 6400800"/>
                <a:gd name="connsiteY3814" fmla="*/ 307181 h 514350"/>
                <a:gd name="connsiteX3815" fmla="*/ 5161121 w 6400800"/>
                <a:gd name="connsiteY3815" fmla="*/ 218599 h 514350"/>
                <a:gd name="connsiteX3816" fmla="*/ 5164931 w 6400800"/>
                <a:gd name="connsiteY3816" fmla="*/ 229076 h 514350"/>
                <a:gd name="connsiteX3817" fmla="*/ 5161121 w 6400800"/>
                <a:gd name="connsiteY3817" fmla="*/ 248126 h 514350"/>
                <a:gd name="connsiteX3818" fmla="*/ 5157312 w 6400800"/>
                <a:gd name="connsiteY3818" fmla="*/ 206216 h 514350"/>
                <a:gd name="connsiteX3819" fmla="*/ 5161121 w 6400800"/>
                <a:gd name="connsiteY3819" fmla="*/ 218599 h 514350"/>
                <a:gd name="connsiteX3820" fmla="*/ 5148739 w 6400800"/>
                <a:gd name="connsiteY3820" fmla="*/ 256699 h 514350"/>
                <a:gd name="connsiteX3821" fmla="*/ 5149692 w 6400800"/>
                <a:gd name="connsiteY3821" fmla="*/ 255746 h 514350"/>
                <a:gd name="connsiteX3822" fmla="*/ 5149692 w 6400800"/>
                <a:gd name="connsiteY3822" fmla="*/ 283369 h 514350"/>
                <a:gd name="connsiteX3823" fmla="*/ 5149692 w 6400800"/>
                <a:gd name="connsiteY3823" fmla="*/ 284321 h 514350"/>
                <a:gd name="connsiteX3824" fmla="*/ 5143024 w 6400800"/>
                <a:gd name="connsiteY3824" fmla="*/ 263366 h 514350"/>
                <a:gd name="connsiteX3825" fmla="*/ 5148739 w 6400800"/>
                <a:gd name="connsiteY3825" fmla="*/ 256699 h 514350"/>
                <a:gd name="connsiteX3826" fmla="*/ 5087779 w 6400800"/>
                <a:gd name="connsiteY3826" fmla="*/ 317659 h 514350"/>
                <a:gd name="connsiteX3827" fmla="*/ 5087779 w 6400800"/>
                <a:gd name="connsiteY3827" fmla="*/ 315754 h 514350"/>
                <a:gd name="connsiteX3828" fmla="*/ 5087779 w 6400800"/>
                <a:gd name="connsiteY3828" fmla="*/ 317659 h 514350"/>
                <a:gd name="connsiteX3829" fmla="*/ 5087779 w 6400800"/>
                <a:gd name="connsiteY3829" fmla="*/ 317659 h 514350"/>
                <a:gd name="connsiteX3830" fmla="*/ 5122069 w 6400800"/>
                <a:gd name="connsiteY3830" fmla="*/ 298609 h 514350"/>
                <a:gd name="connsiteX3831" fmla="*/ 5128737 w 6400800"/>
                <a:gd name="connsiteY3831" fmla="*/ 287179 h 514350"/>
                <a:gd name="connsiteX3832" fmla="*/ 5124926 w 6400800"/>
                <a:gd name="connsiteY3832" fmla="*/ 327184 h 514350"/>
                <a:gd name="connsiteX3833" fmla="*/ 5121117 w 6400800"/>
                <a:gd name="connsiteY3833" fmla="*/ 318611 h 514350"/>
                <a:gd name="connsiteX3834" fmla="*/ 5117306 w 6400800"/>
                <a:gd name="connsiteY3834" fmla="*/ 308134 h 514350"/>
                <a:gd name="connsiteX3835" fmla="*/ 5122069 w 6400800"/>
                <a:gd name="connsiteY3835" fmla="*/ 298609 h 514350"/>
                <a:gd name="connsiteX3836" fmla="*/ 5110639 w 6400800"/>
                <a:gd name="connsiteY3836" fmla="*/ 321469 h 514350"/>
                <a:gd name="connsiteX3837" fmla="*/ 5110639 w 6400800"/>
                <a:gd name="connsiteY3837" fmla="*/ 321469 h 514350"/>
                <a:gd name="connsiteX3838" fmla="*/ 5118259 w 6400800"/>
                <a:gd name="connsiteY3838" fmla="*/ 344329 h 514350"/>
                <a:gd name="connsiteX3839" fmla="*/ 5116354 w 6400800"/>
                <a:gd name="connsiteY3839" fmla="*/ 347186 h 514350"/>
                <a:gd name="connsiteX3840" fmla="*/ 5114449 w 6400800"/>
                <a:gd name="connsiteY3840" fmla="*/ 349091 h 514350"/>
                <a:gd name="connsiteX3841" fmla="*/ 5110639 w 6400800"/>
                <a:gd name="connsiteY3841" fmla="*/ 335756 h 514350"/>
                <a:gd name="connsiteX3842" fmla="*/ 5107781 w 6400800"/>
                <a:gd name="connsiteY3842" fmla="*/ 327184 h 514350"/>
                <a:gd name="connsiteX3843" fmla="*/ 5110639 w 6400800"/>
                <a:gd name="connsiteY3843" fmla="*/ 321469 h 514350"/>
                <a:gd name="connsiteX3844" fmla="*/ 5105876 w 6400800"/>
                <a:gd name="connsiteY3844" fmla="*/ 308134 h 514350"/>
                <a:gd name="connsiteX3845" fmla="*/ 5103019 w 6400800"/>
                <a:gd name="connsiteY3845" fmla="*/ 311944 h 514350"/>
                <a:gd name="connsiteX3846" fmla="*/ 5101114 w 6400800"/>
                <a:gd name="connsiteY3846" fmla="*/ 306229 h 514350"/>
                <a:gd name="connsiteX3847" fmla="*/ 5101114 w 6400800"/>
                <a:gd name="connsiteY3847" fmla="*/ 304324 h 514350"/>
                <a:gd name="connsiteX3848" fmla="*/ 5101114 w 6400800"/>
                <a:gd name="connsiteY3848" fmla="*/ 305276 h 514350"/>
                <a:gd name="connsiteX3849" fmla="*/ 5096351 w 6400800"/>
                <a:gd name="connsiteY3849" fmla="*/ 288131 h 514350"/>
                <a:gd name="connsiteX3850" fmla="*/ 5097304 w 6400800"/>
                <a:gd name="connsiteY3850" fmla="*/ 281464 h 514350"/>
                <a:gd name="connsiteX3851" fmla="*/ 5105876 w 6400800"/>
                <a:gd name="connsiteY3851" fmla="*/ 308134 h 514350"/>
                <a:gd name="connsiteX3852" fmla="*/ 5097304 w 6400800"/>
                <a:gd name="connsiteY3852" fmla="*/ 282416 h 514350"/>
                <a:gd name="connsiteX3853" fmla="*/ 5095399 w 6400800"/>
                <a:gd name="connsiteY3853" fmla="*/ 286226 h 514350"/>
                <a:gd name="connsiteX3854" fmla="*/ 5093494 w 6400800"/>
                <a:gd name="connsiteY3854" fmla="*/ 279559 h 514350"/>
                <a:gd name="connsiteX3855" fmla="*/ 5087779 w 6400800"/>
                <a:gd name="connsiteY3855" fmla="*/ 258604 h 514350"/>
                <a:gd name="connsiteX3856" fmla="*/ 5089684 w 6400800"/>
                <a:gd name="connsiteY3856" fmla="*/ 257651 h 514350"/>
                <a:gd name="connsiteX3857" fmla="*/ 5097304 w 6400800"/>
                <a:gd name="connsiteY3857" fmla="*/ 282416 h 514350"/>
                <a:gd name="connsiteX3858" fmla="*/ 5080159 w 6400800"/>
                <a:gd name="connsiteY3858" fmla="*/ 224314 h 514350"/>
                <a:gd name="connsiteX3859" fmla="*/ 5089684 w 6400800"/>
                <a:gd name="connsiteY3859" fmla="*/ 254794 h 514350"/>
                <a:gd name="connsiteX3860" fmla="*/ 5087779 w 6400800"/>
                <a:gd name="connsiteY3860" fmla="*/ 254794 h 514350"/>
                <a:gd name="connsiteX3861" fmla="*/ 5081112 w 6400800"/>
                <a:gd name="connsiteY3861" fmla="*/ 228124 h 514350"/>
                <a:gd name="connsiteX3862" fmla="*/ 5080159 w 6400800"/>
                <a:gd name="connsiteY3862" fmla="*/ 224314 h 514350"/>
                <a:gd name="connsiteX3863" fmla="*/ 5080159 w 6400800"/>
                <a:gd name="connsiteY3863" fmla="*/ 224314 h 514350"/>
                <a:gd name="connsiteX3864" fmla="*/ 5076349 w 6400800"/>
                <a:gd name="connsiteY3864" fmla="*/ 272891 h 514350"/>
                <a:gd name="connsiteX3865" fmla="*/ 5076349 w 6400800"/>
                <a:gd name="connsiteY3865" fmla="*/ 268129 h 514350"/>
                <a:gd name="connsiteX3866" fmla="*/ 5079206 w 6400800"/>
                <a:gd name="connsiteY3866" fmla="*/ 283369 h 514350"/>
                <a:gd name="connsiteX3867" fmla="*/ 5083017 w 6400800"/>
                <a:gd name="connsiteY3867" fmla="*/ 301466 h 514350"/>
                <a:gd name="connsiteX3868" fmla="*/ 5083017 w 6400800"/>
                <a:gd name="connsiteY3868" fmla="*/ 304324 h 514350"/>
                <a:gd name="connsiteX3869" fmla="*/ 5082064 w 6400800"/>
                <a:gd name="connsiteY3869" fmla="*/ 311944 h 514350"/>
                <a:gd name="connsiteX3870" fmla="*/ 5073492 w 6400800"/>
                <a:gd name="connsiteY3870" fmla="*/ 292894 h 514350"/>
                <a:gd name="connsiteX3871" fmla="*/ 5076349 w 6400800"/>
                <a:gd name="connsiteY3871" fmla="*/ 272891 h 514350"/>
                <a:gd name="connsiteX3872" fmla="*/ 5066824 w 6400800"/>
                <a:gd name="connsiteY3872" fmla="*/ 377666 h 514350"/>
                <a:gd name="connsiteX3873" fmla="*/ 5066824 w 6400800"/>
                <a:gd name="connsiteY3873" fmla="*/ 380524 h 514350"/>
                <a:gd name="connsiteX3874" fmla="*/ 5066824 w 6400800"/>
                <a:gd name="connsiteY3874" fmla="*/ 383381 h 514350"/>
                <a:gd name="connsiteX3875" fmla="*/ 5065871 w 6400800"/>
                <a:gd name="connsiteY3875" fmla="*/ 384334 h 514350"/>
                <a:gd name="connsiteX3876" fmla="*/ 5064919 w 6400800"/>
                <a:gd name="connsiteY3876" fmla="*/ 381476 h 514350"/>
                <a:gd name="connsiteX3877" fmla="*/ 5066824 w 6400800"/>
                <a:gd name="connsiteY3877" fmla="*/ 377666 h 514350"/>
                <a:gd name="connsiteX3878" fmla="*/ 5057299 w 6400800"/>
                <a:gd name="connsiteY3878" fmla="*/ 303371 h 514350"/>
                <a:gd name="connsiteX3879" fmla="*/ 5051584 w 6400800"/>
                <a:gd name="connsiteY3879" fmla="*/ 294799 h 514350"/>
                <a:gd name="connsiteX3880" fmla="*/ 5052537 w 6400800"/>
                <a:gd name="connsiteY3880" fmla="*/ 290989 h 514350"/>
                <a:gd name="connsiteX3881" fmla="*/ 5055394 w 6400800"/>
                <a:gd name="connsiteY3881" fmla="*/ 287179 h 514350"/>
                <a:gd name="connsiteX3882" fmla="*/ 5057299 w 6400800"/>
                <a:gd name="connsiteY3882" fmla="*/ 303371 h 514350"/>
                <a:gd name="connsiteX3883" fmla="*/ 5050631 w 6400800"/>
                <a:gd name="connsiteY3883" fmla="*/ 252889 h 514350"/>
                <a:gd name="connsiteX3884" fmla="*/ 5052537 w 6400800"/>
                <a:gd name="connsiteY3884" fmla="*/ 258604 h 514350"/>
                <a:gd name="connsiteX3885" fmla="*/ 5053489 w 6400800"/>
                <a:gd name="connsiteY3885" fmla="*/ 260509 h 514350"/>
                <a:gd name="connsiteX3886" fmla="*/ 5054442 w 6400800"/>
                <a:gd name="connsiteY3886" fmla="*/ 268129 h 514350"/>
                <a:gd name="connsiteX3887" fmla="*/ 5052537 w 6400800"/>
                <a:gd name="connsiteY3887" fmla="*/ 273844 h 514350"/>
                <a:gd name="connsiteX3888" fmla="*/ 5051584 w 6400800"/>
                <a:gd name="connsiteY3888" fmla="*/ 276701 h 514350"/>
                <a:gd name="connsiteX3889" fmla="*/ 5048726 w 6400800"/>
                <a:gd name="connsiteY3889" fmla="*/ 279559 h 514350"/>
                <a:gd name="connsiteX3890" fmla="*/ 5048726 w 6400800"/>
                <a:gd name="connsiteY3890" fmla="*/ 278606 h 514350"/>
                <a:gd name="connsiteX3891" fmla="*/ 5048726 w 6400800"/>
                <a:gd name="connsiteY3891" fmla="*/ 274796 h 514350"/>
                <a:gd name="connsiteX3892" fmla="*/ 5049679 w 6400800"/>
                <a:gd name="connsiteY3892" fmla="*/ 268129 h 514350"/>
                <a:gd name="connsiteX3893" fmla="*/ 5050631 w 6400800"/>
                <a:gd name="connsiteY3893" fmla="*/ 262414 h 514350"/>
                <a:gd name="connsiteX3894" fmla="*/ 5048726 w 6400800"/>
                <a:gd name="connsiteY3894" fmla="*/ 268129 h 514350"/>
                <a:gd name="connsiteX3895" fmla="*/ 5048726 w 6400800"/>
                <a:gd name="connsiteY3895" fmla="*/ 269081 h 514350"/>
                <a:gd name="connsiteX3896" fmla="*/ 5048726 w 6400800"/>
                <a:gd name="connsiteY3896" fmla="*/ 266224 h 514350"/>
                <a:gd name="connsiteX3897" fmla="*/ 5050631 w 6400800"/>
                <a:gd name="connsiteY3897" fmla="*/ 252889 h 514350"/>
                <a:gd name="connsiteX3898" fmla="*/ 5020151 w 6400800"/>
                <a:gd name="connsiteY3898" fmla="*/ 390049 h 514350"/>
                <a:gd name="connsiteX3899" fmla="*/ 5014437 w 6400800"/>
                <a:gd name="connsiteY3899" fmla="*/ 376714 h 514350"/>
                <a:gd name="connsiteX3900" fmla="*/ 5014437 w 6400800"/>
                <a:gd name="connsiteY3900" fmla="*/ 375761 h 514350"/>
                <a:gd name="connsiteX3901" fmla="*/ 5022056 w 6400800"/>
                <a:gd name="connsiteY3901" fmla="*/ 347186 h 514350"/>
                <a:gd name="connsiteX3902" fmla="*/ 5022056 w 6400800"/>
                <a:gd name="connsiteY3902" fmla="*/ 348139 h 514350"/>
                <a:gd name="connsiteX3903" fmla="*/ 5022056 w 6400800"/>
                <a:gd name="connsiteY3903" fmla="*/ 363379 h 514350"/>
                <a:gd name="connsiteX3904" fmla="*/ 5023009 w 6400800"/>
                <a:gd name="connsiteY3904" fmla="*/ 379571 h 514350"/>
                <a:gd name="connsiteX3905" fmla="*/ 5023962 w 6400800"/>
                <a:gd name="connsiteY3905" fmla="*/ 386239 h 514350"/>
                <a:gd name="connsiteX3906" fmla="*/ 5020151 w 6400800"/>
                <a:gd name="connsiteY3906" fmla="*/ 390049 h 514350"/>
                <a:gd name="connsiteX3907" fmla="*/ 5024914 w 6400800"/>
                <a:gd name="connsiteY3907" fmla="*/ 400526 h 514350"/>
                <a:gd name="connsiteX3908" fmla="*/ 5024914 w 6400800"/>
                <a:gd name="connsiteY3908" fmla="*/ 400526 h 514350"/>
                <a:gd name="connsiteX3909" fmla="*/ 5024914 w 6400800"/>
                <a:gd name="connsiteY3909" fmla="*/ 400526 h 514350"/>
                <a:gd name="connsiteX3910" fmla="*/ 5024914 w 6400800"/>
                <a:gd name="connsiteY3910" fmla="*/ 400526 h 514350"/>
                <a:gd name="connsiteX3911" fmla="*/ 5035392 w 6400800"/>
                <a:gd name="connsiteY3911" fmla="*/ 314801 h 514350"/>
                <a:gd name="connsiteX3912" fmla="*/ 5035392 w 6400800"/>
                <a:gd name="connsiteY3912" fmla="*/ 317659 h 514350"/>
                <a:gd name="connsiteX3913" fmla="*/ 5031581 w 6400800"/>
                <a:gd name="connsiteY3913" fmla="*/ 353854 h 514350"/>
                <a:gd name="connsiteX3914" fmla="*/ 5031581 w 6400800"/>
                <a:gd name="connsiteY3914" fmla="*/ 353854 h 514350"/>
                <a:gd name="connsiteX3915" fmla="*/ 5031581 w 6400800"/>
                <a:gd name="connsiteY3915" fmla="*/ 354806 h 514350"/>
                <a:gd name="connsiteX3916" fmla="*/ 5030629 w 6400800"/>
                <a:gd name="connsiteY3916" fmla="*/ 347186 h 514350"/>
                <a:gd name="connsiteX3917" fmla="*/ 5027771 w 6400800"/>
                <a:gd name="connsiteY3917" fmla="*/ 329089 h 514350"/>
                <a:gd name="connsiteX3918" fmla="*/ 5028724 w 6400800"/>
                <a:gd name="connsiteY3918" fmla="*/ 325279 h 514350"/>
                <a:gd name="connsiteX3919" fmla="*/ 5032534 w 6400800"/>
                <a:gd name="connsiteY3919" fmla="*/ 319564 h 514350"/>
                <a:gd name="connsiteX3920" fmla="*/ 5035392 w 6400800"/>
                <a:gd name="connsiteY3920" fmla="*/ 314801 h 514350"/>
                <a:gd name="connsiteX3921" fmla="*/ 5006817 w 6400800"/>
                <a:gd name="connsiteY3921" fmla="*/ 242411 h 514350"/>
                <a:gd name="connsiteX3922" fmla="*/ 5019199 w 6400800"/>
                <a:gd name="connsiteY3922" fmla="*/ 259556 h 514350"/>
                <a:gd name="connsiteX3923" fmla="*/ 5025867 w 6400800"/>
                <a:gd name="connsiteY3923" fmla="*/ 270034 h 514350"/>
                <a:gd name="connsiteX3924" fmla="*/ 5021104 w 6400800"/>
                <a:gd name="connsiteY3924" fmla="*/ 263366 h 514350"/>
                <a:gd name="connsiteX3925" fmla="*/ 5014437 w 6400800"/>
                <a:gd name="connsiteY3925" fmla="*/ 255746 h 514350"/>
                <a:gd name="connsiteX3926" fmla="*/ 5004912 w 6400800"/>
                <a:gd name="connsiteY3926" fmla="*/ 245269 h 514350"/>
                <a:gd name="connsiteX3927" fmla="*/ 5006817 w 6400800"/>
                <a:gd name="connsiteY3927" fmla="*/ 242411 h 514350"/>
                <a:gd name="connsiteX3928" fmla="*/ 5004912 w 6400800"/>
                <a:gd name="connsiteY3928" fmla="*/ 242411 h 514350"/>
                <a:gd name="connsiteX3929" fmla="*/ 5004912 w 6400800"/>
                <a:gd name="connsiteY3929" fmla="*/ 238601 h 514350"/>
                <a:gd name="connsiteX3930" fmla="*/ 5006817 w 6400800"/>
                <a:gd name="connsiteY3930" fmla="*/ 241459 h 514350"/>
                <a:gd name="connsiteX3931" fmla="*/ 5004912 w 6400800"/>
                <a:gd name="connsiteY3931" fmla="*/ 244316 h 514350"/>
                <a:gd name="connsiteX3932" fmla="*/ 5004912 w 6400800"/>
                <a:gd name="connsiteY3932" fmla="*/ 243364 h 514350"/>
                <a:gd name="connsiteX3933" fmla="*/ 5004912 w 6400800"/>
                <a:gd name="connsiteY3933" fmla="*/ 242411 h 514350"/>
                <a:gd name="connsiteX3934" fmla="*/ 4999196 w 6400800"/>
                <a:gd name="connsiteY3934" fmla="*/ 303371 h 514350"/>
                <a:gd name="connsiteX3935" fmla="*/ 5003006 w 6400800"/>
                <a:gd name="connsiteY3935" fmla="*/ 252889 h 514350"/>
                <a:gd name="connsiteX3936" fmla="*/ 5008721 w 6400800"/>
                <a:gd name="connsiteY3936" fmla="*/ 260509 h 514350"/>
                <a:gd name="connsiteX3937" fmla="*/ 5014437 w 6400800"/>
                <a:gd name="connsiteY3937" fmla="*/ 268129 h 514350"/>
                <a:gd name="connsiteX3938" fmla="*/ 5020151 w 6400800"/>
                <a:gd name="connsiteY3938" fmla="*/ 276701 h 514350"/>
                <a:gd name="connsiteX3939" fmla="*/ 5029676 w 6400800"/>
                <a:gd name="connsiteY3939" fmla="*/ 292894 h 514350"/>
                <a:gd name="connsiteX3940" fmla="*/ 5029676 w 6400800"/>
                <a:gd name="connsiteY3940" fmla="*/ 293846 h 514350"/>
                <a:gd name="connsiteX3941" fmla="*/ 5025867 w 6400800"/>
                <a:gd name="connsiteY3941" fmla="*/ 302419 h 514350"/>
                <a:gd name="connsiteX3942" fmla="*/ 5023009 w 6400800"/>
                <a:gd name="connsiteY3942" fmla="*/ 305276 h 514350"/>
                <a:gd name="connsiteX3943" fmla="*/ 5022056 w 6400800"/>
                <a:gd name="connsiteY3943" fmla="*/ 301466 h 514350"/>
                <a:gd name="connsiteX3944" fmla="*/ 5022056 w 6400800"/>
                <a:gd name="connsiteY3944" fmla="*/ 306229 h 514350"/>
                <a:gd name="connsiteX3945" fmla="*/ 5019199 w 6400800"/>
                <a:gd name="connsiteY3945" fmla="*/ 309086 h 514350"/>
                <a:gd name="connsiteX3946" fmla="*/ 5012531 w 6400800"/>
                <a:gd name="connsiteY3946" fmla="*/ 318611 h 514350"/>
                <a:gd name="connsiteX3947" fmla="*/ 5013484 w 6400800"/>
                <a:gd name="connsiteY3947" fmla="*/ 311944 h 514350"/>
                <a:gd name="connsiteX3948" fmla="*/ 5017294 w 6400800"/>
                <a:gd name="connsiteY3948" fmla="*/ 294799 h 514350"/>
                <a:gd name="connsiteX3949" fmla="*/ 5020151 w 6400800"/>
                <a:gd name="connsiteY3949" fmla="*/ 279559 h 514350"/>
                <a:gd name="connsiteX3950" fmla="*/ 5013484 w 6400800"/>
                <a:gd name="connsiteY3950" fmla="*/ 293846 h 514350"/>
                <a:gd name="connsiteX3951" fmla="*/ 5006817 w 6400800"/>
                <a:gd name="connsiteY3951" fmla="*/ 310039 h 514350"/>
                <a:gd name="connsiteX3952" fmla="*/ 4999196 w 6400800"/>
                <a:gd name="connsiteY3952" fmla="*/ 331946 h 514350"/>
                <a:gd name="connsiteX3953" fmla="*/ 4999196 w 6400800"/>
                <a:gd name="connsiteY3953" fmla="*/ 332899 h 514350"/>
                <a:gd name="connsiteX3954" fmla="*/ 4997292 w 6400800"/>
                <a:gd name="connsiteY3954" fmla="*/ 327184 h 514350"/>
                <a:gd name="connsiteX3955" fmla="*/ 4999196 w 6400800"/>
                <a:gd name="connsiteY3955" fmla="*/ 303371 h 514350"/>
                <a:gd name="connsiteX3956" fmla="*/ 4968717 w 6400800"/>
                <a:gd name="connsiteY3956" fmla="*/ 208121 h 514350"/>
                <a:gd name="connsiteX3957" fmla="*/ 4967764 w 6400800"/>
                <a:gd name="connsiteY3957" fmla="*/ 212884 h 514350"/>
                <a:gd name="connsiteX3958" fmla="*/ 4966812 w 6400800"/>
                <a:gd name="connsiteY3958" fmla="*/ 217646 h 514350"/>
                <a:gd name="connsiteX3959" fmla="*/ 4966812 w 6400800"/>
                <a:gd name="connsiteY3959" fmla="*/ 215741 h 514350"/>
                <a:gd name="connsiteX3960" fmla="*/ 4968717 w 6400800"/>
                <a:gd name="connsiteY3960" fmla="*/ 208121 h 514350"/>
                <a:gd name="connsiteX3961" fmla="*/ 4960144 w 6400800"/>
                <a:gd name="connsiteY3961" fmla="*/ 364331 h 514350"/>
                <a:gd name="connsiteX3962" fmla="*/ 4961096 w 6400800"/>
                <a:gd name="connsiteY3962" fmla="*/ 381476 h 514350"/>
                <a:gd name="connsiteX3963" fmla="*/ 4958239 w 6400800"/>
                <a:gd name="connsiteY3963" fmla="*/ 391001 h 514350"/>
                <a:gd name="connsiteX3964" fmla="*/ 4957287 w 6400800"/>
                <a:gd name="connsiteY3964" fmla="*/ 386239 h 514350"/>
                <a:gd name="connsiteX3965" fmla="*/ 4957287 w 6400800"/>
                <a:gd name="connsiteY3965" fmla="*/ 380524 h 514350"/>
                <a:gd name="connsiteX3966" fmla="*/ 4956334 w 6400800"/>
                <a:gd name="connsiteY3966" fmla="*/ 356711 h 514350"/>
                <a:gd name="connsiteX3967" fmla="*/ 4956334 w 6400800"/>
                <a:gd name="connsiteY3967" fmla="*/ 351949 h 514350"/>
                <a:gd name="connsiteX3968" fmla="*/ 4958239 w 6400800"/>
                <a:gd name="connsiteY3968" fmla="*/ 348139 h 514350"/>
                <a:gd name="connsiteX3969" fmla="*/ 4960144 w 6400800"/>
                <a:gd name="connsiteY3969" fmla="*/ 364331 h 514350"/>
                <a:gd name="connsiteX3970" fmla="*/ 4957287 w 6400800"/>
                <a:gd name="connsiteY3970" fmla="*/ 256699 h 514350"/>
                <a:gd name="connsiteX3971" fmla="*/ 4957287 w 6400800"/>
                <a:gd name="connsiteY3971" fmla="*/ 258604 h 514350"/>
                <a:gd name="connsiteX3972" fmla="*/ 4957287 w 6400800"/>
                <a:gd name="connsiteY3972" fmla="*/ 259556 h 514350"/>
                <a:gd name="connsiteX3973" fmla="*/ 4955381 w 6400800"/>
                <a:gd name="connsiteY3973" fmla="*/ 267176 h 514350"/>
                <a:gd name="connsiteX3974" fmla="*/ 4954429 w 6400800"/>
                <a:gd name="connsiteY3974" fmla="*/ 265271 h 514350"/>
                <a:gd name="connsiteX3975" fmla="*/ 4957287 w 6400800"/>
                <a:gd name="connsiteY3975" fmla="*/ 256699 h 514350"/>
                <a:gd name="connsiteX3976" fmla="*/ 4954429 w 6400800"/>
                <a:gd name="connsiteY3976" fmla="*/ 268129 h 514350"/>
                <a:gd name="connsiteX3977" fmla="*/ 4955381 w 6400800"/>
                <a:gd name="connsiteY3977" fmla="*/ 270986 h 514350"/>
                <a:gd name="connsiteX3978" fmla="*/ 4951571 w 6400800"/>
                <a:gd name="connsiteY3978" fmla="*/ 290036 h 514350"/>
                <a:gd name="connsiteX3979" fmla="*/ 4944904 w 6400800"/>
                <a:gd name="connsiteY3979" fmla="*/ 316706 h 514350"/>
                <a:gd name="connsiteX3980" fmla="*/ 4943951 w 6400800"/>
                <a:gd name="connsiteY3980" fmla="*/ 310991 h 514350"/>
                <a:gd name="connsiteX3981" fmla="*/ 4943951 w 6400800"/>
                <a:gd name="connsiteY3981" fmla="*/ 320516 h 514350"/>
                <a:gd name="connsiteX3982" fmla="*/ 4940142 w 6400800"/>
                <a:gd name="connsiteY3982" fmla="*/ 336709 h 514350"/>
                <a:gd name="connsiteX3983" fmla="*/ 4940142 w 6400800"/>
                <a:gd name="connsiteY3983" fmla="*/ 335756 h 514350"/>
                <a:gd name="connsiteX3984" fmla="*/ 4938237 w 6400800"/>
                <a:gd name="connsiteY3984" fmla="*/ 325279 h 514350"/>
                <a:gd name="connsiteX3985" fmla="*/ 4954429 w 6400800"/>
                <a:gd name="connsiteY3985" fmla="*/ 268129 h 514350"/>
                <a:gd name="connsiteX3986" fmla="*/ 4922044 w 6400800"/>
                <a:gd name="connsiteY3986" fmla="*/ 378619 h 514350"/>
                <a:gd name="connsiteX3987" fmla="*/ 4922044 w 6400800"/>
                <a:gd name="connsiteY3987" fmla="*/ 378619 h 514350"/>
                <a:gd name="connsiteX3988" fmla="*/ 4922044 w 6400800"/>
                <a:gd name="connsiteY3988" fmla="*/ 378619 h 514350"/>
                <a:gd name="connsiteX3989" fmla="*/ 4922044 w 6400800"/>
                <a:gd name="connsiteY3989" fmla="*/ 378619 h 514350"/>
                <a:gd name="connsiteX3990" fmla="*/ 4908709 w 6400800"/>
                <a:gd name="connsiteY3990" fmla="*/ 307181 h 514350"/>
                <a:gd name="connsiteX3991" fmla="*/ 4915376 w 6400800"/>
                <a:gd name="connsiteY3991" fmla="*/ 326231 h 514350"/>
                <a:gd name="connsiteX3992" fmla="*/ 4909662 w 6400800"/>
                <a:gd name="connsiteY3992" fmla="*/ 338614 h 514350"/>
                <a:gd name="connsiteX3993" fmla="*/ 4906804 w 6400800"/>
                <a:gd name="connsiteY3993" fmla="*/ 308134 h 514350"/>
                <a:gd name="connsiteX3994" fmla="*/ 4906804 w 6400800"/>
                <a:gd name="connsiteY3994" fmla="*/ 305276 h 514350"/>
                <a:gd name="connsiteX3995" fmla="*/ 4905851 w 6400800"/>
                <a:gd name="connsiteY3995" fmla="*/ 307181 h 514350"/>
                <a:gd name="connsiteX3996" fmla="*/ 4904899 w 6400800"/>
                <a:gd name="connsiteY3996" fmla="*/ 297656 h 514350"/>
                <a:gd name="connsiteX3997" fmla="*/ 4908709 w 6400800"/>
                <a:gd name="connsiteY3997" fmla="*/ 307181 h 514350"/>
                <a:gd name="connsiteX3998" fmla="*/ 4897279 w 6400800"/>
                <a:gd name="connsiteY3998" fmla="*/ 351949 h 514350"/>
                <a:gd name="connsiteX3999" fmla="*/ 4896326 w 6400800"/>
                <a:gd name="connsiteY3999" fmla="*/ 365284 h 514350"/>
                <a:gd name="connsiteX4000" fmla="*/ 4895374 w 6400800"/>
                <a:gd name="connsiteY4000" fmla="*/ 368141 h 514350"/>
                <a:gd name="connsiteX4001" fmla="*/ 4894421 w 6400800"/>
                <a:gd name="connsiteY4001" fmla="*/ 357664 h 514350"/>
                <a:gd name="connsiteX4002" fmla="*/ 4892517 w 6400800"/>
                <a:gd name="connsiteY4002" fmla="*/ 341471 h 514350"/>
                <a:gd name="connsiteX4003" fmla="*/ 4897279 w 6400800"/>
                <a:gd name="connsiteY4003" fmla="*/ 351949 h 514350"/>
                <a:gd name="connsiteX4004" fmla="*/ 4822984 w 6400800"/>
                <a:gd name="connsiteY4004" fmla="*/ 387191 h 514350"/>
                <a:gd name="connsiteX4005" fmla="*/ 4822984 w 6400800"/>
                <a:gd name="connsiteY4005" fmla="*/ 385286 h 514350"/>
                <a:gd name="connsiteX4006" fmla="*/ 4822984 w 6400800"/>
                <a:gd name="connsiteY4006" fmla="*/ 387191 h 514350"/>
                <a:gd name="connsiteX4007" fmla="*/ 4822984 w 6400800"/>
                <a:gd name="connsiteY4007" fmla="*/ 387191 h 514350"/>
                <a:gd name="connsiteX4008" fmla="*/ 4842987 w 6400800"/>
                <a:gd name="connsiteY4008" fmla="*/ 338614 h 514350"/>
                <a:gd name="connsiteX4009" fmla="*/ 4842987 w 6400800"/>
                <a:gd name="connsiteY4009" fmla="*/ 356711 h 514350"/>
                <a:gd name="connsiteX4010" fmla="*/ 4842987 w 6400800"/>
                <a:gd name="connsiteY4010" fmla="*/ 360521 h 514350"/>
                <a:gd name="connsiteX4011" fmla="*/ 4840129 w 6400800"/>
                <a:gd name="connsiteY4011" fmla="*/ 382429 h 514350"/>
                <a:gd name="connsiteX4012" fmla="*/ 4838224 w 6400800"/>
                <a:gd name="connsiteY4012" fmla="*/ 390049 h 514350"/>
                <a:gd name="connsiteX4013" fmla="*/ 4826794 w 6400800"/>
                <a:gd name="connsiteY4013" fmla="*/ 387191 h 514350"/>
                <a:gd name="connsiteX4014" fmla="*/ 4824889 w 6400800"/>
                <a:gd name="connsiteY4014" fmla="*/ 379571 h 514350"/>
                <a:gd name="connsiteX4015" fmla="*/ 4827747 w 6400800"/>
                <a:gd name="connsiteY4015" fmla="*/ 370999 h 514350"/>
                <a:gd name="connsiteX4016" fmla="*/ 4838224 w 6400800"/>
                <a:gd name="connsiteY4016" fmla="*/ 346234 h 514350"/>
                <a:gd name="connsiteX4017" fmla="*/ 4843939 w 6400800"/>
                <a:gd name="connsiteY4017" fmla="*/ 336709 h 514350"/>
                <a:gd name="connsiteX4018" fmla="*/ 4842987 w 6400800"/>
                <a:gd name="connsiteY4018" fmla="*/ 338614 h 514350"/>
                <a:gd name="connsiteX4019" fmla="*/ 4842987 w 6400800"/>
                <a:gd name="connsiteY4019" fmla="*/ 338614 h 514350"/>
                <a:gd name="connsiteX4020" fmla="*/ 4843939 w 6400800"/>
                <a:gd name="connsiteY4020" fmla="*/ 329089 h 514350"/>
                <a:gd name="connsiteX4021" fmla="*/ 4843939 w 6400800"/>
                <a:gd name="connsiteY4021" fmla="*/ 329089 h 514350"/>
                <a:gd name="connsiteX4022" fmla="*/ 4836319 w 6400800"/>
                <a:gd name="connsiteY4022" fmla="*/ 318611 h 514350"/>
                <a:gd name="connsiteX4023" fmla="*/ 4836319 w 6400800"/>
                <a:gd name="connsiteY4023" fmla="*/ 318611 h 514350"/>
                <a:gd name="connsiteX4024" fmla="*/ 4839176 w 6400800"/>
                <a:gd name="connsiteY4024" fmla="*/ 314801 h 514350"/>
                <a:gd name="connsiteX4025" fmla="*/ 4842987 w 6400800"/>
                <a:gd name="connsiteY4025" fmla="*/ 321469 h 514350"/>
                <a:gd name="connsiteX4026" fmla="*/ 4843939 w 6400800"/>
                <a:gd name="connsiteY4026" fmla="*/ 323374 h 514350"/>
                <a:gd name="connsiteX4027" fmla="*/ 4843939 w 6400800"/>
                <a:gd name="connsiteY4027" fmla="*/ 329089 h 514350"/>
                <a:gd name="connsiteX4028" fmla="*/ 4845844 w 6400800"/>
                <a:gd name="connsiteY4028" fmla="*/ 296704 h 514350"/>
                <a:gd name="connsiteX4029" fmla="*/ 4844891 w 6400800"/>
                <a:gd name="connsiteY4029" fmla="*/ 316706 h 514350"/>
                <a:gd name="connsiteX4030" fmla="*/ 4840129 w 6400800"/>
                <a:gd name="connsiteY4030" fmla="*/ 310039 h 514350"/>
                <a:gd name="connsiteX4031" fmla="*/ 4837272 w 6400800"/>
                <a:gd name="connsiteY4031" fmla="*/ 306229 h 514350"/>
                <a:gd name="connsiteX4032" fmla="*/ 4845844 w 6400800"/>
                <a:gd name="connsiteY4032" fmla="*/ 290989 h 514350"/>
                <a:gd name="connsiteX4033" fmla="*/ 4847749 w 6400800"/>
                <a:gd name="connsiteY4033" fmla="*/ 288131 h 514350"/>
                <a:gd name="connsiteX4034" fmla="*/ 4845844 w 6400800"/>
                <a:gd name="connsiteY4034" fmla="*/ 296704 h 514350"/>
                <a:gd name="connsiteX4035" fmla="*/ 4869656 w 6400800"/>
                <a:gd name="connsiteY4035" fmla="*/ 325279 h 514350"/>
                <a:gd name="connsiteX4036" fmla="*/ 4869656 w 6400800"/>
                <a:gd name="connsiteY4036" fmla="*/ 327184 h 514350"/>
                <a:gd name="connsiteX4037" fmla="*/ 4869656 w 6400800"/>
                <a:gd name="connsiteY4037" fmla="*/ 325279 h 514350"/>
                <a:gd name="connsiteX4038" fmla="*/ 4869656 w 6400800"/>
                <a:gd name="connsiteY4038" fmla="*/ 318611 h 514350"/>
                <a:gd name="connsiteX4039" fmla="*/ 4869656 w 6400800"/>
                <a:gd name="connsiteY4039" fmla="*/ 325279 h 514350"/>
                <a:gd name="connsiteX4040" fmla="*/ 4854416 w 6400800"/>
                <a:gd name="connsiteY4040" fmla="*/ 276701 h 514350"/>
                <a:gd name="connsiteX4041" fmla="*/ 4868704 w 6400800"/>
                <a:gd name="connsiteY4041" fmla="*/ 256699 h 514350"/>
                <a:gd name="connsiteX4042" fmla="*/ 4871562 w 6400800"/>
                <a:gd name="connsiteY4042" fmla="*/ 252889 h 514350"/>
                <a:gd name="connsiteX4043" fmla="*/ 4871562 w 6400800"/>
                <a:gd name="connsiteY4043" fmla="*/ 259556 h 514350"/>
                <a:gd name="connsiteX4044" fmla="*/ 4861084 w 6400800"/>
                <a:gd name="connsiteY4044" fmla="*/ 296704 h 514350"/>
                <a:gd name="connsiteX4045" fmla="*/ 4860131 w 6400800"/>
                <a:gd name="connsiteY4045" fmla="*/ 300514 h 514350"/>
                <a:gd name="connsiteX4046" fmla="*/ 4853464 w 6400800"/>
                <a:gd name="connsiteY4046" fmla="*/ 278606 h 514350"/>
                <a:gd name="connsiteX4047" fmla="*/ 4854416 w 6400800"/>
                <a:gd name="connsiteY4047" fmla="*/ 276701 h 514350"/>
                <a:gd name="connsiteX4048" fmla="*/ 4854416 w 6400800"/>
                <a:gd name="connsiteY4048" fmla="*/ 276701 h 514350"/>
                <a:gd name="connsiteX4049" fmla="*/ 4850606 w 6400800"/>
                <a:gd name="connsiteY4049" fmla="*/ 281464 h 514350"/>
                <a:gd name="connsiteX4050" fmla="*/ 4857274 w 6400800"/>
                <a:gd name="connsiteY4050" fmla="*/ 316706 h 514350"/>
                <a:gd name="connsiteX4051" fmla="*/ 4854416 w 6400800"/>
                <a:gd name="connsiteY4051" fmla="*/ 330041 h 514350"/>
                <a:gd name="connsiteX4052" fmla="*/ 4852512 w 6400800"/>
                <a:gd name="connsiteY4052" fmla="*/ 326231 h 514350"/>
                <a:gd name="connsiteX4053" fmla="*/ 4852512 w 6400800"/>
                <a:gd name="connsiteY4053" fmla="*/ 322421 h 514350"/>
                <a:gd name="connsiteX4054" fmla="*/ 4850606 w 6400800"/>
                <a:gd name="connsiteY4054" fmla="*/ 295751 h 514350"/>
                <a:gd name="connsiteX4055" fmla="*/ 4849654 w 6400800"/>
                <a:gd name="connsiteY4055" fmla="*/ 284321 h 514350"/>
                <a:gd name="connsiteX4056" fmla="*/ 4850606 w 6400800"/>
                <a:gd name="connsiteY4056" fmla="*/ 281464 h 514350"/>
                <a:gd name="connsiteX4057" fmla="*/ 4838224 w 6400800"/>
                <a:gd name="connsiteY4057" fmla="*/ 290036 h 514350"/>
                <a:gd name="connsiteX4058" fmla="*/ 4845844 w 6400800"/>
                <a:gd name="connsiteY4058" fmla="*/ 272891 h 514350"/>
                <a:gd name="connsiteX4059" fmla="*/ 4848701 w 6400800"/>
                <a:gd name="connsiteY4059" fmla="*/ 265271 h 514350"/>
                <a:gd name="connsiteX4060" fmla="*/ 4849654 w 6400800"/>
                <a:gd name="connsiteY4060" fmla="*/ 275749 h 514350"/>
                <a:gd name="connsiteX4061" fmla="*/ 4847749 w 6400800"/>
                <a:gd name="connsiteY4061" fmla="*/ 277654 h 514350"/>
                <a:gd name="connsiteX4062" fmla="*/ 4847749 w 6400800"/>
                <a:gd name="connsiteY4062" fmla="*/ 273844 h 514350"/>
                <a:gd name="connsiteX4063" fmla="*/ 4847749 w 6400800"/>
                <a:gd name="connsiteY4063" fmla="*/ 278606 h 514350"/>
                <a:gd name="connsiteX4064" fmla="*/ 4841081 w 6400800"/>
                <a:gd name="connsiteY4064" fmla="*/ 288131 h 514350"/>
                <a:gd name="connsiteX4065" fmla="*/ 4836319 w 6400800"/>
                <a:gd name="connsiteY4065" fmla="*/ 294799 h 514350"/>
                <a:gd name="connsiteX4066" fmla="*/ 4838224 w 6400800"/>
                <a:gd name="connsiteY4066" fmla="*/ 290036 h 514350"/>
                <a:gd name="connsiteX4067" fmla="*/ 4835366 w 6400800"/>
                <a:gd name="connsiteY4067" fmla="*/ 309086 h 514350"/>
                <a:gd name="connsiteX4068" fmla="*/ 4836319 w 6400800"/>
                <a:gd name="connsiteY4068" fmla="*/ 308134 h 514350"/>
                <a:gd name="connsiteX4069" fmla="*/ 4838224 w 6400800"/>
                <a:gd name="connsiteY4069" fmla="*/ 311944 h 514350"/>
                <a:gd name="connsiteX4070" fmla="*/ 4839176 w 6400800"/>
                <a:gd name="connsiteY4070" fmla="*/ 313849 h 514350"/>
                <a:gd name="connsiteX4071" fmla="*/ 4835366 w 6400800"/>
                <a:gd name="connsiteY4071" fmla="*/ 317659 h 514350"/>
                <a:gd name="connsiteX4072" fmla="*/ 4835366 w 6400800"/>
                <a:gd name="connsiteY4072" fmla="*/ 317659 h 514350"/>
                <a:gd name="connsiteX4073" fmla="*/ 4834414 w 6400800"/>
                <a:gd name="connsiteY4073" fmla="*/ 316706 h 514350"/>
                <a:gd name="connsiteX4074" fmla="*/ 4832509 w 6400800"/>
                <a:gd name="connsiteY4074" fmla="*/ 314801 h 514350"/>
                <a:gd name="connsiteX4075" fmla="*/ 4835366 w 6400800"/>
                <a:gd name="connsiteY4075" fmla="*/ 309086 h 514350"/>
                <a:gd name="connsiteX4076" fmla="*/ 4830604 w 6400800"/>
                <a:gd name="connsiteY4076" fmla="*/ 319564 h 514350"/>
                <a:gd name="connsiteX4077" fmla="*/ 4832509 w 6400800"/>
                <a:gd name="connsiteY4077" fmla="*/ 314801 h 514350"/>
                <a:gd name="connsiteX4078" fmla="*/ 4833462 w 6400800"/>
                <a:gd name="connsiteY4078" fmla="*/ 316706 h 514350"/>
                <a:gd name="connsiteX4079" fmla="*/ 4834414 w 6400800"/>
                <a:gd name="connsiteY4079" fmla="*/ 318611 h 514350"/>
                <a:gd name="connsiteX4080" fmla="*/ 4828699 w 6400800"/>
                <a:gd name="connsiteY4080" fmla="*/ 324326 h 514350"/>
                <a:gd name="connsiteX4081" fmla="*/ 4830604 w 6400800"/>
                <a:gd name="connsiteY4081" fmla="*/ 319564 h 514350"/>
                <a:gd name="connsiteX4082" fmla="*/ 4817269 w 6400800"/>
                <a:gd name="connsiteY4082" fmla="*/ 364331 h 514350"/>
                <a:gd name="connsiteX4083" fmla="*/ 4817269 w 6400800"/>
                <a:gd name="connsiteY4083" fmla="*/ 356711 h 514350"/>
                <a:gd name="connsiteX4084" fmla="*/ 4824889 w 6400800"/>
                <a:gd name="connsiteY4084" fmla="*/ 335756 h 514350"/>
                <a:gd name="connsiteX4085" fmla="*/ 4825841 w 6400800"/>
                <a:gd name="connsiteY4085" fmla="*/ 334804 h 514350"/>
                <a:gd name="connsiteX4086" fmla="*/ 4835366 w 6400800"/>
                <a:gd name="connsiteY4086" fmla="*/ 319564 h 514350"/>
                <a:gd name="connsiteX4087" fmla="*/ 4837272 w 6400800"/>
                <a:gd name="connsiteY4087" fmla="*/ 322421 h 514350"/>
                <a:gd name="connsiteX4088" fmla="*/ 4841081 w 6400800"/>
                <a:gd name="connsiteY4088" fmla="*/ 330994 h 514350"/>
                <a:gd name="connsiteX4089" fmla="*/ 4842987 w 6400800"/>
                <a:gd name="connsiteY4089" fmla="*/ 335756 h 514350"/>
                <a:gd name="connsiteX4090" fmla="*/ 4835366 w 6400800"/>
                <a:gd name="connsiteY4090" fmla="*/ 345281 h 514350"/>
                <a:gd name="connsiteX4091" fmla="*/ 4822984 w 6400800"/>
                <a:gd name="connsiteY4091" fmla="*/ 366236 h 514350"/>
                <a:gd name="connsiteX4092" fmla="*/ 4820126 w 6400800"/>
                <a:gd name="connsiteY4092" fmla="*/ 369094 h 514350"/>
                <a:gd name="connsiteX4093" fmla="*/ 4817269 w 6400800"/>
                <a:gd name="connsiteY4093" fmla="*/ 371951 h 514350"/>
                <a:gd name="connsiteX4094" fmla="*/ 4817269 w 6400800"/>
                <a:gd name="connsiteY4094" fmla="*/ 364331 h 514350"/>
                <a:gd name="connsiteX4095" fmla="*/ 4816316 w 6400800"/>
                <a:gd name="connsiteY4095" fmla="*/ 376714 h 514350"/>
                <a:gd name="connsiteX4096" fmla="*/ 4820126 w 6400800"/>
                <a:gd name="connsiteY4096" fmla="*/ 370046 h 514350"/>
                <a:gd name="connsiteX4097" fmla="*/ 4820126 w 6400800"/>
                <a:gd name="connsiteY4097" fmla="*/ 370046 h 514350"/>
                <a:gd name="connsiteX4098" fmla="*/ 4820126 w 6400800"/>
                <a:gd name="connsiteY4098" fmla="*/ 370046 h 514350"/>
                <a:gd name="connsiteX4099" fmla="*/ 4816316 w 6400800"/>
                <a:gd name="connsiteY4099" fmla="*/ 378619 h 514350"/>
                <a:gd name="connsiteX4100" fmla="*/ 4816316 w 6400800"/>
                <a:gd name="connsiteY4100" fmla="*/ 376714 h 514350"/>
                <a:gd name="connsiteX4101" fmla="*/ 4762024 w 6400800"/>
                <a:gd name="connsiteY4101" fmla="*/ 305276 h 514350"/>
                <a:gd name="connsiteX4102" fmla="*/ 4763929 w 6400800"/>
                <a:gd name="connsiteY4102" fmla="*/ 322421 h 514350"/>
                <a:gd name="connsiteX4103" fmla="*/ 4760119 w 6400800"/>
                <a:gd name="connsiteY4103" fmla="*/ 309086 h 514350"/>
                <a:gd name="connsiteX4104" fmla="*/ 4762024 w 6400800"/>
                <a:gd name="connsiteY4104" fmla="*/ 300514 h 514350"/>
                <a:gd name="connsiteX4105" fmla="*/ 4762024 w 6400800"/>
                <a:gd name="connsiteY4105" fmla="*/ 305276 h 514350"/>
                <a:gd name="connsiteX4106" fmla="*/ 4755356 w 6400800"/>
                <a:gd name="connsiteY4106" fmla="*/ 279559 h 514350"/>
                <a:gd name="connsiteX4107" fmla="*/ 4760119 w 6400800"/>
                <a:gd name="connsiteY4107" fmla="*/ 294799 h 514350"/>
                <a:gd name="connsiteX4108" fmla="*/ 4761072 w 6400800"/>
                <a:gd name="connsiteY4108" fmla="*/ 297656 h 514350"/>
                <a:gd name="connsiteX4109" fmla="*/ 4758214 w 6400800"/>
                <a:gd name="connsiteY4109" fmla="*/ 304324 h 514350"/>
                <a:gd name="connsiteX4110" fmla="*/ 4754404 w 6400800"/>
                <a:gd name="connsiteY4110" fmla="*/ 292894 h 514350"/>
                <a:gd name="connsiteX4111" fmla="*/ 4755356 w 6400800"/>
                <a:gd name="connsiteY4111" fmla="*/ 279559 h 514350"/>
                <a:gd name="connsiteX4112" fmla="*/ 4759166 w 6400800"/>
                <a:gd name="connsiteY4112" fmla="*/ 342424 h 514350"/>
                <a:gd name="connsiteX4113" fmla="*/ 4755356 w 6400800"/>
                <a:gd name="connsiteY4113" fmla="*/ 331946 h 514350"/>
                <a:gd name="connsiteX4114" fmla="*/ 4756309 w 6400800"/>
                <a:gd name="connsiteY4114" fmla="*/ 326231 h 514350"/>
                <a:gd name="connsiteX4115" fmla="*/ 4759166 w 6400800"/>
                <a:gd name="connsiteY4115" fmla="*/ 342424 h 514350"/>
                <a:gd name="connsiteX4116" fmla="*/ 4753451 w 6400800"/>
                <a:gd name="connsiteY4116" fmla="*/ 312896 h 514350"/>
                <a:gd name="connsiteX4117" fmla="*/ 4754404 w 6400800"/>
                <a:gd name="connsiteY4117" fmla="*/ 315754 h 514350"/>
                <a:gd name="connsiteX4118" fmla="*/ 4753451 w 6400800"/>
                <a:gd name="connsiteY4118" fmla="*/ 317659 h 514350"/>
                <a:gd name="connsiteX4119" fmla="*/ 4753451 w 6400800"/>
                <a:gd name="connsiteY4119" fmla="*/ 312896 h 514350"/>
                <a:gd name="connsiteX4120" fmla="*/ 4755356 w 6400800"/>
                <a:gd name="connsiteY4120" fmla="*/ 373856 h 514350"/>
                <a:gd name="connsiteX4121" fmla="*/ 4756309 w 6400800"/>
                <a:gd name="connsiteY4121" fmla="*/ 375761 h 514350"/>
                <a:gd name="connsiteX4122" fmla="*/ 4754404 w 6400800"/>
                <a:gd name="connsiteY4122" fmla="*/ 379571 h 514350"/>
                <a:gd name="connsiteX4123" fmla="*/ 4752499 w 6400800"/>
                <a:gd name="connsiteY4123" fmla="*/ 379571 h 514350"/>
                <a:gd name="connsiteX4124" fmla="*/ 4755356 w 6400800"/>
                <a:gd name="connsiteY4124" fmla="*/ 373856 h 514350"/>
                <a:gd name="connsiteX4125" fmla="*/ 4748689 w 6400800"/>
                <a:gd name="connsiteY4125" fmla="*/ 291941 h 514350"/>
                <a:gd name="connsiteX4126" fmla="*/ 4746784 w 6400800"/>
                <a:gd name="connsiteY4126" fmla="*/ 303371 h 514350"/>
                <a:gd name="connsiteX4127" fmla="*/ 4746784 w 6400800"/>
                <a:gd name="connsiteY4127" fmla="*/ 303371 h 514350"/>
                <a:gd name="connsiteX4128" fmla="*/ 4746784 w 6400800"/>
                <a:gd name="connsiteY4128" fmla="*/ 299561 h 514350"/>
                <a:gd name="connsiteX4129" fmla="*/ 4748689 w 6400800"/>
                <a:gd name="connsiteY4129" fmla="*/ 291941 h 514350"/>
                <a:gd name="connsiteX4130" fmla="*/ 4738212 w 6400800"/>
                <a:gd name="connsiteY4130" fmla="*/ 327184 h 514350"/>
                <a:gd name="connsiteX4131" fmla="*/ 4737259 w 6400800"/>
                <a:gd name="connsiteY4131" fmla="*/ 341471 h 514350"/>
                <a:gd name="connsiteX4132" fmla="*/ 4736306 w 6400800"/>
                <a:gd name="connsiteY4132" fmla="*/ 336709 h 514350"/>
                <a:gd name="connsiteX4133" fmla="*/ 4738212 w 6400800"/>
                <a:gd name="connsiteY4133" fmla="*/ 327184 h 514350"/>
                <a:gd name="connsiteX4134" fmla="*/ 4720114 w 6400800"/>
                <a:gd name="connsiteY4134" fmla="*/ 261461 h 514350"/>
                <a:gd name="connsiteX4135" fmla="*/ 4720114 w 6400800"/>
                <a:gd name="connsiteY4135" fmla="*/ 261461 h 514350"/>
                <a:gd name="connsiteX4136" fmla="*/ 4729639 w 6400800"/>
                <a:gd name="connsiteY4136" fmla="*/ 290989 h 514350"/>
                <a:gd name="connsiteX4137" fmla="*/ 4731544 w 6400800"/>
                <a:gd name="connsiteY4137" fmla="*/ 296704 h 514350"/>
                <a:gd name="connsiteX4138" fmla="*/ 4727734 w 6400800"/>
                <a:gd name="connsiteY4138" fmla="*/ 308134 h 514350"/>
                <a:gd name="connsiteX4139" fmla="*/ 4723924 w 6400800"/>
                <a:gd name="connsiteY4139" fmla="*/ 295751 h 514350"/>
                <a:gd name="connsiteX4140" fmla="*/ 4718209 w 6400800"/>
                <a:gd name="connsiteY4140" fmla="*/ 276701 h 514350"/>
                <a:gd name="connsiteX4141" fmla="*/ 4720114 w 6400800"/>
                <a:gd name="connsiteY4141" fmla="*/ 261461 h 514350"/>
                <a:gd name="connsiteX4142" fmla="*/ 4709637 w 6400800"/>
                <a:gd name="connsiteY4142" fmla="*/ 324326 h 514350"/>
                <a:gd name="connsiteX4143" fmla="*/ 4713447 w 6400800"/>
                <a:gd name="connsiteY4143" fmla="*/ 301466 h 514350"/>
                <a:gd name="connsiteX4144" fmla="*/ 4719162 w 6400800"/>
                <a:gd name="connsiteY4144" fmla="*/ 331946 h 514350"/>
                <a:gd name="connsiteX4145" fmla="*/ 4715351 w 6400800"/>
                <a:gd name="connsiteY4145" fmla="*/ 343376 h 514350"/>
                <a:gd name="connsiteX4146" fmla="*/ 4715351 w 6400800"/>
                <a:gd name="connsiteY4146" fmla="*/ 343376 h 514350"/>
                <a:gd name="connsiteX4147" fmla="*/ 4707731 w 6400800"/>
                <a:gd name="connsiteY4147" fmla="*/ 332899 h 514350"/>
                <a:gd name="connsiteX4148" fmla="*/ 4709637 w 6400800"/>
                <a:gd name="connsiteY4148" fmla="*/ 324326 h 514350"/>
                <a:gd name="connsiteX4149" fmla="*/ 4703922 w 6400800"/>
                <a:gd name="connsiteY4149" fmla="*/ 355759 h 514350"/>
                <a:gd name="connsiteX4150" fmla="*/ 4705826 w 6400800"/>
                <a:gd name="connsiteY4150" fmla="*/ 360521 h 514350"/>
                <a:gd name="connsiteX4151" fmla="*/ 4708684 w 6400800"/>
                <a:gd name="connsiteY4151" fmla="*/ 369094 h 514350"/>
                <a:gd name="connsiteX4152" fmla="*/ 4704874 w 6400800"/>
                <a:gd name="connsiteY4152" fmla="*/ 377666 h 514350"/>
                <a:gd name="connsiteX4153" fmla="*/ 4704874 w 6400800"/>
                <a:gd name="connsiteY4153" fmla="*/ 376714 h 514350"/>
                <a:gd name="connsiteX4154" fmla="*/ 4702016 w 6400800"/>
                <a:gd name="connsiteY4154" fmla="*/ 371951 h 514350"/>
                <a:gd name="connsiteX4155" fmla="*/ 4703922 w 6400800"/>
                <a:gd name="connsiteY4155" fmla="*/ 355759 h 514350"/>
                <a:gd name="connsiteX4156" fmla="*/ 4682966 w 6400800"/>
                <a:gd name="connsiteY4156" fmla="*/ 380524 h 514350"/>
                <a:gd name="connsiteX4157" fmla="*/ 4680109 w 6400800"/>
                <a:gd name="connsiteY4157" fmla="*/ 392906 h 514350"/>
                <a:gd name="connsiteX4158" fmla="*/ 4676299 w 6400800"/>
                <a:gd name="connsiteY4158" fmla="*/ 393859 h 514350"/>
                <a:gd name="connsiteX4159" fmla="*/ 4675347 w 6400800"/>
                <a:gd name="connsiteY4159" fmla="*/ 388144 h 514350"/>
                <a:gd name="connsiteX4160" fmla="*/ 4682966 w 6400800"/>
                <a:gd name="connsiteY4160" fmla="*/ 378619 h 514350"/>
                <a:gd name="connsiteX4161" fmla="*/ 4682966 w 6400800"/>
                <a:gd name="connsiteY4161" fmla="*/ 380524 h 514350"/>
                <a:gd name="connsiteX4162" fmla="*/ 4672489 w 6400800"/>
                <a:gd name="connsiteY4162" fmla="*/ 361474 h 514350"/>
                <a:gd name="connsiteX4163" fmla="*/ 4679156 w 6400800"/>
                <a:gd name="connsiteY4163" fmla="*/ 373856 h 514350"/>
                <a:gd name="connsiteX4164" fmla="*/ 4672489 w 6400800"/>
                <a:gd name="connsiteY4164" fmla="*/ 379571 h 514350"/>
                <a:gd name="connsiteX4165" fmla="*/ 4671537 w 6400800"/>
                <a:gd name="connsiteY4165" fmla="*/ 376714 h 514350"/>
                <a:gd name="connsiteX4166" fmla="*/ 4670584 w 6400800"/>
                <a:gd name="connsiteY4166" fmla="*/ 370999 h 514350"/>
                <a:gd name="connsiteX4167" fmla="*/ 4672489 w 6400800"/>
                <a:gd name="connsiteY4167" fmla="*/ 361474 h 514350"/>
                <a:gd name="connsiteX4168" fmla="*/ 4661059 w 6400800"/>
                <a:gd name="connsiteY4168" fmla="*/ 265271 h 514350"/>
                <a:gd name="connsiteX4169" fmla="*/ 4663916 w 6400800"/>
                <a:gd name="connsiteY4169" fmla="*/ 252889 h 514350"/>
                <a:gd name="connsiteX4170" fmla="*/ 4669631 w 6400800"/>
                <a:gd name="connsiteY4170" fmla="*/ 237649 h 514350"/>
                <a:gd name="connsiteX4171" fmla="*/ 4669631 w 6400800"/>
                <a:gd name="connsiteY4171" fmla="*/ 242411 h 514350"/>
                <a:gd name="connsiteX4172" fmla="*/ 4661059 w 6400800"/>
                <a:gd name="connsiteY4172" fmla="*/ 269081 h 514350"/>
                <a:gd name="connsiteX4173" fmla="*/ 4661059 w 6400800"/>
                <a:gd name="connsiteY4173" fmla="*/ 265271 h 514350"/>
                <a:gd name="connsiteX4174" fmla="*/ 4645819 w 6400800"/>
                <a:gd name="connsiteY4174" fmla="*/ 278606 h 514350"/>
                <a:gd name="connsiteX4175" fmla="*/ 4648676 w 6400800"/>
                <a:gd name="connsiteY4175" fmla="*/ 260509 h 514350"/>
                <a:gd name="connsiteX4176" fmla="*/ 4650581 w 6400800"/>
                <a:gd name="connsiteY4176" fmla="*/ 250984 h 514350"/>
                <a:gd name="connsiteX4177" fmla="*/ 4650581 w 6400800"/>
                <a:gd name="connsiteY4177" fmla="*/ 251936 h 514350"/>
                <a:gd name="connsiteX4178" fmla="*/ 4652487 w 6400800"/>
                <a:gd name="connsiteY4178" fmla="*/ 265271 h 514350"/>
                <a:gd name="connsiteX4179" fmla="*/ 4652487 w 6400800"/>
                <a:gd name="connsiteY4179" fmla="*/ 270034 h 514350"/>
                <a:gd name="connsiteX4180" fmla="*/ 4650581 w 6400800"/>
                <a:gd name="connsiteY4180" fmla="*/ 278606 h 514350"/>
                <a:gd name="connsiteX4181" fmla="*/ 4648676 w 6400800"/>
                <a:gd name="connsiteY4181" fmla="*/ 290989 h 514350"/>
                <a:gd name="connsiteX4182" fmla="*/ 4645819 w 6400800"/>
                <a:gd name="connsiteY4182" fmla="*/ 278606 h 514350"/>
                <a:gd name="connsiteX4183" fmla="*/ 4645819 w 6400800"/>
                <a:gd name="connsiteY4183" fmla="*/ 278606 h 514350"/>
                <a:gd name="connsiteX4184" fmla="*/ 4642962 w 6400800"/>
                <a:gd name="connsiteY4184" fmla="*/ 293846 h 514350"/>
                <a:gd name="connsiteX4185" fmla="*/ 4644866 w 6400800"/>
                <a:gd name="connsiteY4185" fmla="*/ 302419 h 514350"/>
                <a:gd name="connsiteX4186" fmla="*/ 4645819 w 6400800"/>
                <a:gd name="connsiteY4186" fmla="*/ 309086 h 514350"/>
                <a:gd name="connsiteX4187" fmla="*/ 4645819 w 6400800"/>
                <a:gd name="connsiteY4187" fmla="*/ 309086 h 514350"/>
                <a:gd name="connsiteX4188" fmla="*/ 4642962 w 6400800"/>
                <a:gd name="connsiteY4188" fmla="*/ 306229 h 514350"/>
                <a:gd name="connsiteX4189" fmla="*/ 4642009 w 6400800"/>
                <a:gd name="connsiteY4189" fmla="*/ 299561 h 514350"/>
                <a:gd name="connsiteX4190" fmla="*/ 4642962 w 6400800"/>
                <a:gd name="connsiteY4190" fmla="*/ 293846 h 514350"/>
                <a:gd name="connsiteX4191" fmla="*/ 4595337 w 6400800"/>
                <a:gd name="connsiteY4191" fmla="*/ 280511 h 514350"/>
                <a:gd name="connsiteX4192" fmla="*/ 4598194 w 6400800"/>
                <a:gd name="connsiteY4192" fmla="*/ 293846 h 514350"/>
                <a:gd name="connsiteX4193" fmla="*/ 4598194 w 6400800"/>
                <a:gd name="connsiteY4193" fmla="*/ 300514 h 514350"/>
                <a:gd name="connsiteX4194" fmla="*/ 4598194 w 6400800"/>
                <a:gd name="connsiteY4194" fmla="*/ 311944 h 514350"/>
                <a:gd name="connsiteX4195" fmla="*/ 4596289 w 6400800"/>
                <a:gd name="connsiteY4195" fmla="*/ 319564 h 514350"/>
                <a:gd name="connsiteX4196" fmla="*/ 4593431 w 6400800"/>
                <a:gd name="connsiteY4196" fmla="*/ 311944 h 514350"/>
                <a:gd name="connsiteX4197" fmla="*/ 4593431 w 6400800"/>
                <a:gd name="connsiteY4197" fmla="*/ 305276 h 514350"/>
                <a:gd name="connsiteX4198" fmla="*/ 4593431 w 6400800"/>
                <a:gd name="connsiteY4198" fmla="*/ 286226 h 514350"/>
                <a:gd name="connsiteX4199" fmla="*/ 4595337 w 6400800"/>
                <a:gd name="connsiteY4199" fmla="*/ 280511 h 514350"/>
                <a:gd name="connsiteX4200" fmla="*/ 4595337 w 6400800"/>
                <a:gd name="connsiteY4200" fmla="*/ 280511 h 514350"/>
                <a:gd name="connsiteX4201" fmla="*/ 4595337 w 6400800"/>
                <a:gd name="connsiteY4201" fmla="*/ 277654 h 514350"/>
                <a:gd name="connsiteX4202" fmla="*/ 4593431 w 6400800"/>
                <a:gd name="connsiteY4202" fmla="*/ 279559 h 514350"/>
                <a:gd name="connsiteX4203" fmla="*/ 4592479 w 6400800"/>
                <a:gd name="connsiteY4203" fmla="*/ 280511 h 514350"/>
                <a:gd name="connsiteX4204" fmla="*/ 4592479 w 6400800"/>
                <a:gd name="connsiteY4204" fmla="*/ 263366 h 514350"/>
                <a:gd name="connsiteX4205" fmla="*/ 4595337 w 6400800"/>
                <a:gd name="connsiteY4205" fmla="*/ 277654 h 514350"/>
                <a:gd name="connsiteX4206" fmla="*/ 4576287 w 6400800"/>
                <a:gd name="connsiteY4206" fmla="*/ 253841 h 514350"/>
                <a:gd name="connsiteX4207" fmla="*/ 4575334 w 6400800"/>
                <a:gd name="connsiteY4207" fmla="*/ 273844 h 514350"/>
                <a:gd name="connsiteX4208" fmla="*/ 4569619 w 6400800"/>
                <a:gd name="connsiteY4208" fmla="*/ 262414 h 514350"/>
                <a:gd name="connsiteX4209" fmla="*/ 4576287 w 6400800"/>
                <a:gd name="connsiteY4209" fmla="*/ 253841 h 514350"/>
                <a:gd name="connsiteX4210" fmla="*/ 4566762 w 6400800"/>
                <a:gd name="connsiteY4210" fmla="*/ 268129 h 514350"/>
                <a:gd name="connsiteX4211" fmla="*/ 4566762 w 6400800"/>
                <a:gd name="connsiteY4211" fmla="*/ 268129 h 514350"/>
                <a:gd name="connsiteX4212" fmla="*/ 4571524 w 6400800"/>
                <a:gd name="connsiteY4212" fmla="*/ 284321 h 514350"/>
                <a:gd name="connsiteX4213" fmla="*/ 4574381 w 6400800"/>
                <a:gd name="connsiteY4213" fmla="*/ 296704 h 514350"/>
                <a:gd name="connsiteX4214" fmla="*/ 4574381 w 6400800"/>
                <a:gd name="connsiteY4214" fmla="*/ 301466 h 514350"/>
                <a:gd name="connsiteX4215" fmla="*/ 4568666 w 6400800"/>
                <a:gd name="connsiteY4215" fmla="*/ 289084 h 514350"/>
                <a:gd name="connsiteX4216" fmla="*/ 4574381 w 6400800"/>
                <a:gd name="connsiteY4216" fmla="*/ 309086 h 514350"/>
                <a:gd name="connsiteX4217" fmla="*/ 4571524 w 6400800"/>
                <a:gd name="connsiteY4217" fmla="*/ 314801 h 514350"/>
                <a:gd name="connsiteX4218" fmla="*/ 4571524 w 6400800"/>
                <a:gd name="connsiteY4218" fmla="*/ 315754 h 514350"/>
                <a:gd name="connsiteX4219" fmla="*/ 4564856 w 6400800"/>
                <a:gd name="connsiteY4219" fmla="*/ 271939 h 514350"/>
                <a:gd name="connsiteX4220" fmla="*/ 4566762 w 6400800"/>
                <a:gd name="connsiteY4220" fmla="*/ 268129 h 514350"/>
                <a:gd name="connsiteX4221" fmla="*/ 4560094 w 6400800"/>
                <a:gd name="connsiteY4221" fmla="*/ 254794 h 514350"/>
                <a:gd name="connsiteX4222" fmla="*/ 4562951 w 6400800"/>
                <a:gd name="connsiteY4222" fmla="*/ 260509 h 514350"/>
                <a:gd name="connsiteX4223" fmla="*/ 4561047 w 6400800"/>
                <a:gd name="connsiteY4223" fmla="*/ 263366 h 514350"/>
                <a:gd name="connsiteX4224" fmla="*/ 4557237 w 6400800"/>
                <a:gd name="connsiteY4224" fmla="*/ 268129 h 514350"/>
                <a:gd name="connsiteX4225" fmla="*/ 4560094 w 6400800"/>
                <a:gd name="connsiteY4225" fmla="*/ 254794 h 514350"/>
                <a:gd name="connsiteX4226" fmla="*/ 4548664 w 6400800"/>
                <a:gd name="connsiteY4226" fmla="*/ 317659 h 514350"/>
                <a:gd name="connsiteX4227" fmla="*/ 4557237 w 6400800"/>
                <a:gd name="connsiteY4227" fmla="*/ 290036 h 514350"/>
                <a:gd name="connsiteX4228" fmla="*/ 4562951 w 6400800"/>
                <a:gd name="connsiteY4228" fmla="*/ 275749 h 514350"/>
                <a:gd name="connsiteX4229" fmla="*/ 4560094 w 6400800"/>
                <a:gd name="connsiteY4229" fmla="*/ 318611 h 514350"/>
                <a:gd name="connsiteX4230" fmla="*/ 4555331 w 6400800"/>
                <a:gd name="connsiteY4230" fmla="*/ 310991 h 514350"/>
                <a:gd name="connsiteX4231" fmla="*/ 4560094 w 6400800"/>
                <a:gd name="connsiteY4231" fmla="*/ 321469 h 514350"/>
                <a:gd name="connsiteX4232" fmla="*/ 4560094 w 6400800"/>
                <a:gd name="connsiteY4232" fmla="*/ 321469 h 514350"/>
                <a:gd name="connsiteX4233" fmla="*/ 4559141 w 6400800"/>
                <a:gd name="connsiteY4233" fmla="*/ 342424 h 514350"/>
                <a:gd name="connsiteX4234" fmla="*/ 4555331 w 6400800"/>
                <a:gd name="connsiteY4234" fmla="*/ 352901 h 514350"/>
                <a:gd name="connsiteX4235" fmla="*/ 4552474 w 6400800"/>
                <a:gd name="connsiteY4235" fmla="*/ 361474 h 514350"/>
                <a:gd name="connsiteX4236" fmla="*/ 4547712 w 6400800"/>
                <a:gd name="connsiteY4236" fmla="*/ 343376 h 514350"/>
                <a:gd name="connsiteX4237" fmla="*/ 4547712 w 6400800"/>
                <a:gd name="connsiteY4237" fmla="*/ 328136 h 514350"/>
                <a:gd name="connsiteX4238" fmla="*/ 4545806 w 6400800"/>
                <a:gd name="connsiteY4238" fmla="*/ 338614 h 514350"/>
                <a:gd name="connsiteX4239" fmla="*/ 4545806 w 6400800"/>
                <a:gd name="connsiteY4239" fmla="*/ 337661 h 514350"/>
                <a:gd name="connsiteX4240" fmla="*/ 4544854 w 6400800"/>
                <a:gd name="connsiteY4240" fmla="*/ 335756 h 514350"/>
                <a:gd name="connsiteX4241" fmla="*/ 4548664 w 6400800"/>
                <a:gd name="connsiteY4241" fmla="*/ 317659 h 514350"/>
                <a:gd name="connsiteX4242" fmla="*/ 4457224 w 6400800"/>
                <a:gd name="connsiteY4242" fmla="*/ 306229 h 514350"/>
                <a:gd name="connsiteX4243" fmla="*/ 4457224 w 6400800"/>
                <a:gd name="connsiteY4243" fmla="*/ 306229 h 514350"/>
                <a:gd name="connsiteX4244" fmla="*/ 4457224 w 6400800"/>
                <a:gd name="connsiteY4244" fmla="*/ 304324 h 514350"/>
                <a:gd name="connsiteX4245" fmla="*/ 4457224 w 6400800"/>
                <a:gd name="connsiteY4245" fmla="*/ 306229 h 514350"/>
                <a:gd name="connsiteX4246" fmla="*/ 4478179 w 6400800"/>
                <a:gd name="connsiteY4246" fmla="*/ 359569 h 514350"/>
                <a:gd name="connsiteX4247" fmla="*/ 4476274 w 6400800"/>
                <a:gd name="connsiteY4247" fmla="*/ 339566 h 514350"/>
                <a:gd name="connsiteX4248" fmla="*/ 4476274 w 6400800"/>
                <a:gd name="connsiteY4248" fmla="*/ 336709 h 514350"/>
                <a:gd name="connsiteX4249" fmla="*/ 4483894 w 6400800"/>
                <a:gd name="connsiteY4249" fmla="*/ 347186 h 514350"/>
                <a:gd name="connsiteX4250" fmla="*/ 4478179 w 6400800"/>
                <a:gd name="connsiteY4250" fmla="*/ 359569 h 514350"/>
                <a:gd name="connsiteX4251" fmla="*/ 4497229 w 6400800"/>
                <a:gd name="connsiteY4251" fmla="*/ 371951 h 514350"/>
                <a:gd name="connsiteX4252" fmla="*/ 4497229 w 6400800"/>
                <a:gd name="connsiteY4252" fmla="*/ 367189 h 514350"/>
                <a:gd name="connsiteX4253" fmla="*/ 4498181 w 6400800"/>
                <a:gd name="connsiteY4253" fmla="*/ 370046 h 514350"/>
                <a:gd name="connsiteX4254" fmla="*/ 4497229 w 6400800"/>
                <a:gd name="connsiteY4254" fmla="*/ 371951 h 514350"/>
                <a:gd name="connsiteX4255" fmla="*/ 4504849 w 6400800"/>
                <a:gd name="connsiteY4255" fmla="*/ 322421 h 514350"/>
                <a:gd name="connsiteX4256" fmla="*/ 4504849 w 6400800"/>
                <a:gd name="connsiteY4256" fmla="*/ 330994 h 514350"/>
                <a:gd name="connsiteX4257" fmla="*/ 4501991 w 6400800"/>
                <a:gd name="connsiteY4257" fmla="*/ 341471 h 514350"/>
                <a:gd name="connsiteX4258" fmla="*/ 4501039 w 6400800"/>
                <a:gd name="connsiteY4258" fmla="*/ 348139 h 514350"/>
                <a:gd name="connsiteX4259" fmla="*/ 4499134 w 6400800"/>
                <a:gd name="connsiteY4259" fmla="*/ 345281 h 514350"/>
                <a:gd name="connsiteX4260" fmla="*/ 4498181 w 6400800"/>
                <a:gd name="connsiteY4260" fmla="*/ 342424 h 514350"/>
                <a:gd name="connsiteX4261" fmla="*/ 4501991 w 6400800"/>
                <a:gd name="connsiteY4261" fmla="*/ 326231 h 514350"/>
                <a:gd name="connsiteX4262" fmla="*/ 4506754 w 6400800"/>
                <a:gd name="connsiteY4262" fmla="*/ 310991 h 514350"/>
                <a:gd name="connsiteX4263" fmla="*/ 4504849 w 6400800"/>
                <a:gd name="connsiteY4263" fmla="*/ 322421 h 514350"/>
                <a:gd name="connsiteX4264" fmla="*/ 4462939 w 6400800"/>
                <a:gd name="connsiteY4264" fmla="*/ 250984 h 514350"/>
                <a:gd name="connsiteX4265" fmla="*/ 4470559 w 6400800"/>
                <a:gd name="connsiteY4265" fmla="*/ 226219 h 514350"/>
                <a:gd name="connsiteX4266" fmla="*/ 4474369 w 6400800"/>
                <a:gd name="connsiteY4266" fmla="*/ 231934 h 514350"/>
                <a:gd name="connsiteX4267" fmla="*/ 4479131 w 6400800"/>
                <a:gd name="connsiteY4267" fmla="*/ 238601 h 514350"/>
                <a:gd name="connsiteX4268" fmla="*/ 4483894 w 6400800"/>
                <a:gd name="connsiteY4268" fmla="*/ 248126 h 514350"/>
                <a:gd name="connsiteX4269" fmla="*/ 4489609 w 6400800"/>
                <a:gd name="connsiteY4269" fmla="*/ 260509 h 514350"/>
                <a:gd name="connsiteX4270" fmla="*/ 4495324 w 6400800"/>
                <a:gd name="connsiteY4270" fmla="*/ 275749 h 514350"/>
                <a:gd name="connsiteX4271" fmla="*/ 4501039 w 6400800"/>
                <a:gd name="connsiteY4271" fmla="*/ 293846 h 514350"/>
                <a:gd name="connsiteX4272" fmla="*/ 4503897 w 6400800"/>
                <a:gd name="connsiteY4272" fmla="*/ 303371 h 514350"/>
                <a:gd name="connsiteX4273" fmla="*/ 4497229 w 6400800"/>
                <a:gd name="connsiteY4273" fmla="*/ 317659 h 514350"/>
                <a:gd name="connsiteX4274" fmla="*/ 4493419 w 6400800"/>
                <a:gd name="connsiteY4274" fmla="*/ 326231 h 514350"/>
                <a:gd name="connsiteX4275" fmla="*/ 4488656 w 6400800"/>
                <a:gd name="connsiteY4275" fmla="*/ 280511 h 514350"/>
                <a:gd name="connsiteX4276" fmla="*/ 4487704 w 6400800"/>
                <a:gd name="connsiteY4276" fmla="*/ 319564 h 514350"/>
                <a:gd name="connsiteX4277" fmla="*/ 4483894 w 6400800"/>
                <a:gd name="connsiteY4277" fmla="*/ 311944 h 514350"/>
                <a:gd name="connsiteX4278" fmla="*/ 4473416 w 6400800"/>
                <a:gd name="connsiteY4278" fmla="*/ 289084 h 514350"/>
                <a:gd name="connsiteX4279" fmla="*/ 4481037 w 6400800"/>
                <a:gd name="connsiteY4279" fmla="*/ 312896 h 514350"/>
                <a:gd name="connsiteX4280" fmla="*/ 4486751 w 6400800"/>
                <a:gd name="connsiteY4280" fmla="*/ 330041 h 514350"/>
                <a:gd name="connsiteX4281" fmla="*/ 4484847 w 6400800"/>
                <a:gd name="connsiteY4281" fmla="*/ 328136 h 514350"/>
                <a:gd name="connsiteX4282" fmla="*/ 4475322 w 6400800"/>
                <a:gd name="connsiteY4282" fmla="*/ 318611 h 514350"/>
                <a:gd name="connsiteX4283" fmla="*/ 4473416 w 6400800"/>
                <a:gd name="connsiteY4283" fmla="*/ 304324 h 514350"/>
                <a:gd name="connsiteX4284" fmla="*/ 4468654 w 6400800"/>
                <a:gd name="connsiteY4284" fmla="*/ 278606 h 514350"/>
                <a:gd name="connsiteX4285" fmla="*/ 4477226 w 6400800"/>
                <a:gd name="connsiteY4285" fmla="*/ 256699 h 514350"/>
                <a:gd name="connsiteX4286" fmla="*/ 4466749 w 6400800"/>
                <a:gd name="connsiteY4286" fmla="*/ 273844 h 514350"/>
                <a:gd name="connsiteX4287" fmla="*/ 4462939 w 6400800"/>
                <a:gd name="connsiteY4287" fmla="*/ 258604 h 514350"/>
                <a:gd name="connsiteX4288" fmla="*/ 4462939 w 6400800"/>
                <a:gd name="connsiteY4288" fmla="*/ 256699 h 514350"/>
                <a:gd name="connsiteX4289" fmla="*/ 4462939 w 6400800"/>
                <a:gd name="connsiteY4289" fmla="*/ 250984 h 514350"/>
                <a:gd name="connsiteX4290" fmla="*/ 4461034 w 6400800"/>
                <a:gd name="connsiteY4290" fmla="*/ 255746 h 514350"/>
                <a:gd name="connsiteX4291" fmla="*/ 4461034 w 6400800"/>
                <a:gd name="connsiteY4291" fmla="*/ 255746 h 514350"/>
                <a:gd name="connsiteX4292" fmla="*/ 4461034 w 6400800"/>
                <a:gd name="connsiteY4292" fmla="*/ 255746 h 514350"/>
                <a:gd name="connsiteX4293" fmla="*/ 4461034 w 6400800"/>
                <a:gd name="connsiteY4293" fmla="*/ 255746 h 514350"/>
                <a:gd name="connsiteX4294" fmla="*/ 4455319 w 6400800"/>
                <a:gd name="connsiteY4294" fmla="*/ 274796 h 514350"/>
                <a:gd name="connsiteX4295" fmla="*/ 4457224 w 6400800"/>
                <a:gd name="connsiteY4295" fmla="*/ 268129 h 514350"/>
                <a:gd name="connsiteX4296" fmla="*/ 4457224 w 6400800"/>
                <a:gd name="connsiteY4296" fmla="*/ 273844 h 514350"/>
                <a:gd name="connsiteX4297" fmla="*/ 4458176 w 6400800"/>
                <a:gd name="connsiteY4297" fmla="*/ 284321 h 514350"/>
                <a:gd name="connsiteX4298" fmla="*/ 4454366 w 6400800"/>
                <a:gd name="connsiteY4298" fmla="*/ 292894 h 514350"/>
                <a:gd name="connsiteX4299" fmla="*/ 4455319 w 6400800"/>
                <a:gd name="connsiteY4299" fmla="*/ 274796 h 514350"/>
                <a:gd name="connsiteX4300" fmla="*/ 4449604 w 6400800"/>
                <a:gd name="connsiteY4300" fmla="*/ 361474 h 514350"/>
                <a:gd name="connsiteX4301" fmla="*/ 4451509 w 6400800"/>
                <a:gd name="connsiteY4301" fmla="*/ 339566 h 514350"/>
                <a:gd name="connsiteX4302" fmla="*/ 4453414 w 6400800"/>
                <a:gd name="connsiteY4302" fmla="*/ 343376 h 514350"/>
                <a:gd name="connsiteX4303" fmla="*/ 4453414 w 6400800"/>
                <a:gd name="connsiteY4303" fmla="*/ 344329 h 514350"/>
                <a:gd name="connsiteX4304" fmla="*/ 4453414 w 6400800"/>
                <a:gd name="connsiteY4304" fmla="*/ 344329 h 514350"/>
                <a:gd name="connsiteX4305" fmla="*/ 4451509 w 6400800"/>
                <a:gd name="connsiteY4305" fmla="*/ 366236 h 514350"/>
                <a:gd name="connsiteX4306" fmla="*/ 4448651 w 6400800"/>
                <a:gd name="connsiteY4306" fmla="*/ 388144 h 514350"/>
                <a:gd name="connsiteX4307" fmla="*/ 4446747 w 6400800"/>
                <a:gd name="connsiteY4307" fmla="*/ 386239 h 514350"/>
                <a:gd name="connsiteX4308" fmla="*/ 4449604 w 6400800"/>
                <a:gd name="connsiteY4308" fmla="*/ 361474 h 514350"/>
                <a:gd name="connsiteX4309" fmla="*/ 4386739 w 6400800"/>
                <a:gd name="connsiteY4309" fmla="*/ 331946 h 514350"/>
                <a:gd name="connsiteX4310" fmla="*/ 4390549 w 6400800"/>
                <a:gd name="connsiteY4310" fmla="*/ 335756 h 514350"/>
                <a:gd name="connsiteX4311" fmla="*/ 4390549 w 6400800"/>
                <a:gd name="connsiteY4311" fmla="*/ 342424 h 514350"/>
                <a:gd name="connsiteX4312" fmla="*/ 4386739 w 6400800"/>
                <a:gd name="connsiteY4312" fmla="*/ 347186 h 514350"/>
                <a:gd name="connsiteX4313" fmla="*/ 4386739 w 6400800"/>
                <a:gd name="connsiteY4313" fmla="*/ 331946 h 514350"/>
                <a:gd name="connsiteX4314" fmla="*/ 4389597 w 6400800"/>
                <a:gd name="connsiteY4314" fmla="*/ 376714 h 514350"/>
                <a:gd name="connsiteX4315" fmla="*/ 4388644 w 6400800"/>
                <a:gd name="connsiteY4315" fmla="*/ 375761 h 514350"/>
                <a:gd name="connsiteX4316" fmla="*/ 4387691 w 6400800"/>
                <a:gd name="connsiteY4316" fmla="*/ 370046 h 514350"/>
                <a:gd name="connsiteX4317" fmla="*/ 4387691 w 6400800"/>
                <a:gd name="connsiteY4317" fmla="*/ 360521 h 514350"/>
                <a:gd name="connsiteX4318" fmla="*/ 4387691 w 6400800"/>
                <a:gd name="connsiteY4318" fmla="*/ 351949 h 514350"/>
                <a:gd name="connsiteX4319" fmla="*/ 4391501 w 6400800"/>
                <a:gd name="connsiteY4319" fmla="*/ 345281 h 514350"/>
                <a:gd name="connsiteX4320" fmla="*/ 4391501 w 6400800"/>
                <a:gd name="connsiteY4320" fmla="*/ 349091 h 514350"/>
                <a:gd name="connsiteX4321" fmla="*/ 4392454 w 6400800"/>
                <a:gd name="connsiteY4321" fmla="*/ 370046 h 514350"/>
                <a:gd name="connsiteX4322" fmla="*/ 4389597 w 6400800"/>
                <a:gd name="connsiteY4322" fmla="*/ 376714 h 514350"/>
                <a:gd name="connsiteX4323" fmla="*/ 4424839 w 6400800"/>
                <a:gd name="connsiteY4323" fmla="*/ 351949 h 514350"/>
                <a:gd name="connsiteX4324" fmla="*/ 4424839 w 6400800"/>
                <a:gd name="connsiteY4324" fmla="*/ 354806 h 514350"/>
                <a:gd name="connsiteX4325" fmla="*/ 4422934 w 6400800"/>
                <a:gd name="connsiteY4325" fmla="*/ 356711 h 514350"/>
                <a:gd name="connsiteX4326" fmla="*/ 4424839 w 6400800"/>
                <a:gd name="connsiteY4326" fmla="*/ 351949 h 514350"/>
                <a:gd name="connsiteX4327" fmla="*/ 4415314 w 6400800"/>
                <a:gd name="connsiteY4327" fmla="*/ 411004 h 514350"/>
                <a:gd name="connsiteX4328" fmla="*/ 4415314 w 6400800"/>
                <a:gd name="connsiteY4328" fmla="*/ 411956 h 514350"/>
                <a:gd name="connsiteX4329" fmla="*/ 4412456 w 6400800"/>
                <a:gd name="connsiteY4329" fmla="*/ 409099 h 514350"/>
                <a:gd name="connsiteX4330" fmla="*/ 4411504 w 6400800"/>
                <a:gd name="connsiteY4330" fmla="*/ 385286 h 514350"/>
                <a:gd name="connsiteX4331" fmla="*/ 4420076 w 6400800"/>
                <a:gd name="connsiteY4331" fmla="*/ 372904 h 514350"/>
                <a:gd name="connsiteX4332" fmla="*/ 4421029 w 6400800"/>
                <a:gd name="connsiteY4332" fmla="*/ 374809 h 514350"/>
                <a:gd name="connsiteX4333" fmla="*/ 4415314 w 6400800"/>
                <a:gd name="connsiteY4333" fmla="*/ 411004 h 514350"/>
                <a:gd name="connsiteX4334" fmla="*/ 4410551 w 6400800"/>
                <a:gd name="connsiteY4334" fmla="*/ 254794 h 514350"/>
                <a:gd name="connsiteX4335" fmla="*/ 4421029 w 6400800"/>
                <a:gd name="connsiteY4335" fmla="*/ 273844 h 514350"/>
                <a:gd name="connsiteX4336" fmla="*/ 4415314 w 6400800"/>
                <a:gd name="connsiteY4336" fmla="*/ 293846 h 514350"/>
                <a:gd name="connsiteX4337" fmla="*/ 4408647 w 6400800"/>
                <a:gd name="connsiteY4337" fmla="*/ 316706 h 514350"/>
                <a:gd name="connsiteX4338" fmla="*/ 4406741 w 6400800"/>
                <a:gd name="connsiteY4338" fmla="*/ 297656 h 514350"/>
                <a:gd name="connsiteX4339" fmla="*/ 4402931 w 6400800"/>
                <a:gd name="connsiteY4339" fmla="*/ 331946 h 514350"/>
                <a:gd name="connsiteX4340" fmla="*/ 4401026 w 6400800"/>
                <a:gd name="connsiteY4340" fmla="*/ 337661 h 514350"/>
                <a:gd name="connsiteX4341" fmla="*/ 4400074 w 6400800"/>
                <a:gd name="connsiteY4341" fmla="*/ 336709 h 514350"/>
                <a:gd name="connsiteX4342" fmla="*/ 4388644 w 6400800"/>
                <a:gd name="connsiteY4342" fmla="*/ 270034 h 514350"/>
                <a:gd name="connsiteX4343" fmla="*/ 4389597 w 6400800"/>
                <a:gd name="connsiteY4343" fmla="*/ 328136 h 514350"/>
                <a:gd name="connsiteX4344" fmla="*/ 4386739 w 6400800"/>
                <a:gd name="connsiteY4344" fmla="*/ 325279 h 514350"/>
                <a:gd name="connsiteX4345" fmla="*/ 4386739 w 6400800"/>
                <a:gd name="connsiteY4345" fmla="*/ 323374 h 514350"/>
                <a:gd name="connsiteX4346" fmla="*/ 4387691 w 6400800"/>
                <a:gd name="connsiteY4346" fmla="*/ 290989 h 514350"/>
                <a:gd name="connsiteX4347" fmla="*/ 4389597 w 6400800"/>
                <a:gd name="connsiteY4347" fmla="*/ 263366 h 514350"/>
                <a:gd name="connsiteX4348" fmla="*/ 4391501 w 6400800"/>
                <a:gd name="connsiteY4348" fmla="*/ 242411 h 514350"/>
                <a:gd name="connsiteX4349" fmla="*/ 4393406 w 6400800"/>
                <a:gd name="connsiteY4349" fmla="*/ 225266 h 514350"/>
                <a:gd name="connsiteX4350" fmla="*/ 4410551 w 6400800"/>
                <a:gd name="connsiteY4350" fmla="*/ 254794 h 514350"/>
                <a:gd name="connsiteX4351" fmla="*/ 4389597 w 6400800"/>
                <a:gd name="connsiteY4351" fmla="*/ 217646 h 514350"/>
                <a:gd name="connsiteX4352" fmla="*/ 4393406 w 6400800"/>
                <a:gd name="connsiteY4352" fmla="*/ 224314 h 514350"/>
                <a:gd name="connsiteX4353" fmla="*/ 4387691 w 6400800"/>
                <a:gd name="connsiteY4353" fmla="*/ 240506 h 514350"/>
                <a:gd name="connsiteX4354" fmla="*/ 4381976 w 6400800"/>
                <a:gd name="connsiteY4354" fmla="*/ 260509 h 514350"/>
                <a:gd name="connsiteX4355" fmla="*/ 4381976 w 6400800"/>
                <a:gd name="connsiteY4355" fmla="*/ 256699 h 514350"/>
                <a:gd name="connsiteX4356" fmla="*/ 4389597 w 6400800"/>
                <a:gd name="connsiteY4356" fmla="*/ 217646 h 514350"/>
                <a:gd name="connsiteX4357" fmla="*/ 4374356 w 6400800"/>
                <a:gd name="connsiteY4357" fmla="*/ 291941 h 514350"/>
                <a:gd name="connsiteX4358" fmla="*/ 4374356 w 6400800"/>
                <a:gd name="connsiteY4358" fmla="*/ 292894 h 514350"/>
                <a:gd name="connsiteX4359" fmla="*/ 4374356 w 6400800"/>
                <a:gd name="connsiteY4359" fmla="*/ 291941 h 514350"/>
                <a:gd name="connsiteX4360" fmla="*/ 4374356 w 6400800"/>
                <a:gd name="connsiteY4360" fmla="*/ 291941 h 514350"/>
                <a:gd name="connsiteX4361" fmla="*/ 4360069 w 6400800"/>
                <a:gd name="connsiteY4361" fmla="*/ 282416 h 514350"/>
                <a:gd name="connsiteX4362" fmla="*/ 4360069 w 6400800"/>
                <a:gd name="connsiteY4362" fmla="*/ 290036 h 514350"/>
                <a:gd name="connsiteX4363" fmla="*/ 4359116 w 6400800"/>
                <a:gd name="connsiteY4363" fmla="*/ 288131 h 514350"/>
                <a:gd name="connsiteX4364" fmla="*/ 4360069 w 6400800"/>
                <a:gd name="connsiteY4364" fmla="*/ 282416 h 514350"/>
                <a:gd name="connsiteX4365" fmla="*/ 4313397 w 6400800"/>
                <a:gd name="connsiteY4365" fmla="*/ 387191 h 514350"/>
                <a:gd name="connsiteX4366" fmla="*/ 4311491 w 6400800"/>
                <a:gd name="connsiteY4366" fmla="*/ 391001 h 514350"/>
                <a:gd name="connsiteX4367" fmla="*/ 4313397 w 6400800"/>
                <a:gd name="connsiteY4367" fmla="*/ 387191 h 514350"/>
                <a:gd name="connsiteX4368" fmla="*/ 4313397 w 6400800"/>
                <a:gd name="connsiteY4368" fmla="*/ 387191 h 514350"/>
                <a:gd name="connsiteX4369" fmla="*/ 4311491 w 6400800"/>
                <a:gd name="connsiteY4369" fmla="*/ 351949 h 514350"/>
                <a:gd name="connsiteX4370" fmla="*/ 4312444 w 6400800"/>
                <a:gd name="connsiteY4370" fmla="*/ 365284 h 514350"/>
                <a:gd name="connsiteX4371" fmla="*/ 4311491 w 6400800"/>
                <a:gd name="connsiteY4371" fmla="*/ 363379 h 514350"/>
                <a:gd name="connsiteX4372" fmla="*/ 4311491 w 6400800"/>
                <a:gd name="connsiteY4372" fmla="*/ 351949 h 514350"/>
                <a:gd name="connsiteX4373" fmla="*/ 4247674 w 6400800"/>
                <a:gd name="connsiteY4373" fmla="*/ 313849 h 514350"/>
                <a:gd name="connsiteX4374" fmla="*/ 4247674 w 6400800"/>
                <a:gd name="connsiteY4374" fmla="*/ 311944 h 514350"/>
                <a:gd name="connsiteX4375" fmla="*/ 4247674 w 6400800"/>
                <a:gd name="connsiteY4375" fmla="*/ 313849 h 514350"/>
                <a:gd name="connsiteX4376" fmla="*/ 4246722 w 6400800"/>
                <a:gd name="connsiteY4376" fmla="*/ 324326 h 514350"/>
                <a:gd name="connsiteX4377" fmla="*/ 4246722 w 6400800"/>
                <a:gd name="connsiteY4377" fmla="*/ 322421 h 514350"/>
                <a:gd name="connsiteX4378" fmla="*/ 4247674 w 6400800"/>
                <a:gd name="connsiteY4378" fmla="*/ 313849 h 514350"/>
                <a:gd name="connsiteX4379" fmla="*/ 4181951 w 6400800"/>
                <a:gd name="connsiteY4379" fmla="*/ 367189 h 514350"/>
                <a:gd name="connsiteX4380" fmla="*/ 4182904 w 6400800"/>
                <a:gd name="connsiteY4380" fmla="*/ 324326 h 514350"/>
                <a:gd name="connsiteX4381" fmla="*/ 4183856 w 6400800"/>
                <a:gd name="connsiteY4381" fmla="*/ 330041 h 514350"/>
                <a:gd name="connsiteX4382" fmla="*/ 4185761 w 6400800"/>
                <a:gd name="connsiteY4382" fmla="*/ 340519 h 514350"/>
                <a:gd name="connsiteX4383" fmla="*/ 4185761 w 6400800"/>
                <a:gd name="connsiteY4383" fmla="*/ 342424 h 514350"/>
                <a:gd name="connsiteX4384" fmla="*/ 4183856 w 6400800"/>
                <a:gd name="connsiteY4384" fmla="*/ 338614 h 514350"/>
                <a:gd name="connsiteX4385" fmla="*/ 4187666 w 6400800"/>
                <a:gd name="connsiteY4385" fmla="*/ 357664 h 514350"/>
                <a:gd name="connsiteX4386" fmla="*/ 4189571 w 6400800"/>
                <a:gd name="connsiteY4386" fmla="*/ 365284 h 514350"/>
                <a:gd name="connsiteX4387" fmla="*/ 4191476 w 6400800"/>
                <a:gd name="connsiteY4387" fmla="*/ 373856 h 514350"/>
                <a:gd name="connsiteX4388" fmla="*/ 4190524 w 6400800"/>
                <a:gd name="connsiteY4388" fmla="*/ 386239 h 514350"/>
                <a:gd name="connsiteX4389" fmla="*/ 4190524 w 6400800"/>
                <a:gd name="connsiteY4389" fmla="*/ 391954 h 514350"/>
                <a:gd name="connsiteX4390" fmla="*/ 4181951 w 6400800"/>
                <a:gd name="connsiteY4390" fmla="*/ 367189 h 514350"/>
                <a:gd name="connsiteX4391" fmla="*/ 4181951 w 6400800"/>
                <a:gd name="connsiteY4391" fmla="*/ 367189 h 514350"/>
                <a:gd name="connsiteX4392" fmla="*/ 4161949 w 6400800"/>
                <a:gd name="connsiteY4392" fmla="*/ 401479 h 514350"/>
                <a:gd name="connsiteX4393" fmla="*/ 4161949 w 6400800"/>
                <a:gd name="connsiteY4393" fmla="*/ 399574 h 514350"/>
                <a:gd name="connsiteX4394" fmla="*/ 4161949 w 6400800"/>
                <a:gd name="connsiteY4394" fmla="*/ 399574 h 514350"/>
                <a:gd name="connsiteX4395" fmla="*/ 4161949 w 6400800"/>
                <a:gd name="connsiteY4395" fmla="*/ 401479 h 514350"/>
                <a:gd name="connsiteX4396" fmla="*/ 4160044 w 6400800"/>
                <a:gd name="connsiteY4396" fmla="*/ 306229 h 514350"/>
                <a:gd name="connsiteX4397" fmla="*/ 4160996 w 6400800"/>
                <a:gd name="connsiteY4397" fmla="*/ 292894 h 514350"/>
                <a:gd name="connsiteX4398" fmla="*/ 4163854 w 6400800"/>
                <a:gd name="connsiteY4398" fmla="*/ 282416 h 514350"/>
                <a:gd name="connsiteX4399" fmla="*/ 4162901 w 6400800"/>
                <a:gd name="connsiteY4399" fmla="*/ 313849 h 514350"/>
                <a:gd name="connsiteX4400" fmla="*/ 4160044 w 6400800"/>
                <a:gd name="connsiteY4400" fmla="*/ 306229 h 514350"/>
                <a:gd name="connsiteX4401" fmla="*/ 4160044 w 6400800"/>
                <a:gd name="connsiteY4401" fmla="*/ 306229 h 514350"/>
                <a:gd name="connsiteX4402" fmla="*/ 4128611 w 6400800"/>
                <a:gd name="connsiteY4402" fmla="*/ 354806 h 514350"/>
                <a:gd name="connsiteX4403" fmla="*/ 4127659 w 6400800"/>
                <a:gd name="connsiteY4403" fmla="*/ 343376 h 514350"/>
                <a:gd name="connsiteX4404" fmla="*/ 4128611 w 6400800"/>
                <a:gd name="connsiteY4404" fmla="*/ 350044 h 514350"/>
                <a:gd name="connsiteX4405" fmla="*/ 4130516 w 6400800"/>
                <a:gd name="connsiteY4405" fmla="*/ 365284 h 514350"/>
                <a:gd name="connsiteX4406" fmla="*/ 4128611 w 6400800"/>
                <a:gd name="connsiteY4406" fmla="*/ 354806 h 514350"/>
                <a:gd name="connsiteX4407" fmla="*/ 4124801 w 6400800"/>
                <a:gd name="connsiteY4407" fmla="*/ 255746 h 514350"/>
                <a:gd name="connsiteX4408" fmla="*/ 4124801 w 6400800"/>
                <a:gd name="connsiteY4408" fmla="*/ 248126 h 514350"/>
                <a:gd name="connsiteX4409" fmla="*/ 4140041 w 6400800"/>
                <a:gd name="connsiteY4409" fmla="*/ 303371 h 514350"/>
                <a:gd name="connsiteX4410" fmla="*/ 4140994 w 6400800"/>
                <a:gd name="connsiteY4410" fmla="*/ 307181 h 514350"/>
                <a:gd name="connsiteX4411" fmla="*/ 4140994 w 6400800"/>
                <a:gd name="connsiteY4411" fmla="*/ 321469 h 514350"/>
                <a:gd name="connsiteX4412" fmla="*/ 4133374 w 6400800"/>
                <a:gd name="connsiteY4412" fmla="*/ 305276 h 514350"/>
                <a:gd name="connsiteX4413" fmla="*/ 4135279 w 6400800"/>
                <a:gd name="connsiteY4413" fmla="*/ 312896 h 514350"/>
                <a:gd name="connsiteX4414" fmla="*/ 4127659 w 6400800"/>
                <a:gd name="connsiteY4414" fmla="*/ 300514 h 514350"/>
                <a:gd name="connsiteX4415" fmla="*/ 4123849 w 6400800"/>
                <a:gd name="connsiteY4415" fmla="*/ 284321 h 514350"/>
                <a:gd name="connsiteX4416" fmla="*/ 4124801 w 6400800"/>
                <a:gd name="connsiteY4416" fmla="*/ 255746 h 514350"/>
                <a:gd name="connsiteX4417" fmla="*/ 4095274 w 6400800"/>
                <a:gd name="connsiteY4417" fmla="*/ 395764 h 514350"/>
                <a:gd name="connsiteX4418" fmla="*/ 4095274 w 6400800"/>
                <a:gd name="connsiteY4418" fmla="*/ 395764 h 514350"/>
                <a:gd name="connsiteX4419" fmla="*/ 4095274 w 6400800"/>
                <a:gd name="connsiteY4419" fmla="*/ 394811 h 514350"/>
                <a:gd name="connsiteX4420" fmla="*/ 4095274 w 6400800"/>
                <a:gd name="connsiteY4420" fmla="*/ 395764 h 514350"/>
                <a:gd name="connsiteX4421" fmla="*/ 4093369 w 6400800"/>
                <a:gd name="connsiteY4421" fmla="*/ 386239 h 514350"/>
                <a:gd name="connsiteX4422" fmla="*/ 4093369 w 6400800"/>
                <a:gd name="connsiteY4422" fmla="*/ 376714 h 514350"/>
                <a:gd name="connsiteX4423" fmla="*/ 4096226 w 6400800"/>
                <a:gd name="connsiteY4423" fmla="*/ 382429 h 514350"/>
                <a:gd name="connsiteX4424" fmla="*/ 4093369 w 6400800"/>
                <a:gd name="connsiteY4424" fmla="*/ 386239 h 514350"/>
                <a:gd name="connsiteX4425" fmla="*/ 4097179 w 6400800"/>
                <a:gd name="connsiteY4425" fmla="*/ 342424 h 514350"/>
                <a:gd name="connsiteX4426" fmla="*/ 4099084 w 6400800"/>
                <a:gd name="connsiteY4426" fmla="*/ 334804 h 514350"/>
                <a:gd name="connsiteX4427" fmla="*/ 4099084 w 6400800"/>
                <a:gd name="connsiteY4427" fmla="*/ 337661 h 514350"/>
                <a:gd name="connsiteX4428" fmla="*/ 4097179 w 6400800"/>
                <a:gd name="connsiteY4428" fmla="*/ 342424 h 514350"/>
                <a:gd name="connsiteX4429" fmla="*/ 4100989 w 6400800"/>
                <a:gd name="connsiteY4429" fmla="*/ 353854 h 514350"/>
                <a:gd name="connsiteX4430" fmla="*/ 4100989 w 6400800"/>
                <a:gd name="connsiteY4430" fmla="*/ 351949 h 514350"/>
                <a:gd name="connsiteX4431" fmla="*/ 4100989 w 6400800"/>
                <a:gd name="connsiteY4431" fmla="*/ 351949 h 514350"/>
                <a:gd name="connsiteX4432" fmla="*/ 4100989 w 6400800"/>
                <a:gd name="connsiteY4432" fmla="*/ 353854 h 514350"/>
                <a:gd name="connsiteX4433" fmla="*/ 4100989 w 6400800"/>
                <a:gd name="connsiteY4433" fmla="*/ 353854 h 514350"/>
                <a:gd name="connsiteX4434" fmla="*/ 4115276 w 6400800"/>
                <a:gd name="connsiteY4434" fmla="*/ 322421 h 514350"/>
                <a:gd name="connsiteX4435" fmla="*/ 4114324 w 6400800"/>
                <a:gd name="connsiteY4435" fmla="*/ 350996 h 514350"/>
                <a:gd name="connsiteX4436" fmla="*/ 4111466 w 6400800"/>
                <a:gd name="connsiteY4436" fmla="*/ 327184 h 514350"/>
                <a:gd name="connsiteX4437" fmla="*/ 4108609 w 6400800"/>
                <a:gd name="connsiteY4437" fmla="*/ 342424 h 514350"/>
                <a:gd name="connsiteX4438" fmla="*/ 4107656 w 6400800"/>
                <a:gd name="connsiteY4438" fmla="*/ 341471 h 514350"/>
                <a:gd name="connsiteX4439" fmla="*/ 4106704 w 6400800"/>
                <a:gd name="connsiteY4439" fmla="*/ 336709 h 514350"/>
                <a:gd name="connsiteX4440" fmla="*/ 4113371 w 6400800"/>
                <a:gd name="connsiteY4440" fmla="*/ 322421 h 514350"/>
                <a:gd name="connsiteX4441" fmla="*/ 4115276 w 6400800"/>
                <a:gd name="connsiteY4441" fmla="*/ 318611 h 514350"/>
                <a:gd name="connsiteX4442" fmla="*/ 4115276 w 6400800"/>
                <a:gd name="connsiteY4442" fmla="*/ 322421 h 514350"/>
                <a:gd name="connsiteX4443" fmla="*/ 4109561 w 6400800"/>
                <a:gd name="connsiteY4443" fmla="*/ 295751 h 514350"/>
                <a:gd name="connsiteX4444" fmla="*/ 4116229 w 6400800"/>
                <a:gd name="connsiteY4444" fmla="*/ 308134 h 514350"/>
                <a:gd name="connsiteX4445" fmla="*/ 4116229 w 6400800"/>
                <a:gd name="connsiteY4445" fmla="*/ 311944 h 514350"/>
                <a:gd name="connsiteX4446" fmla="*/ 4110514 w 6400800"/>
                <a:gd name="connsiteY4446" fmla="*/ 320516 h 514350"/>
                <a:gd name="connsiteX4447" fmla="*/ 4104799 w 6400800"/>
                <a:gd name="connsiteY4447" fmla="*/ 329089 h 514350"/>
                <a:gd name="connsiteX4448" fmla="*/ 4102894 w 6400800"/>
                <a:gd name="connsiteY4448" fmla="*/ 322421 h 514350"/>
                <a:gd name="connsiteX4449" fmla="*/ 4109561 w 6400800"/>
                <a:gd name="connsiteY4449" fmla="*/ 295751 h 514350"/>
                <a:gd name="connsiteX4450" fmla="*/ 4092416 w 6400800"/>
                <a:gd name="connsiteY4450" fmla="*/ 294799 h 514350"/>
                <a:gd name="connsiteX4451" fmla="*/ 4094321 w 6400800"/>
                <a:gd name="connsiteY4451" fmla="*/ 265271 h 514350"/>
                <a:gd name="connsiteX4452" fmla="*/ 4098131 w 6400800"/>
                <a:gd name="connsiteY4452" fmla="*/ 272891 h 514350"/>
                <a:gd name="connsiteX4453" fmla="*/ 4106704 w 6400800"/>
                <a:gd name="connsiteY4453" fmla="*/ 290989 h 514350"/>
                <a:gd name="connsiteX4454" fmla="*/ 4098131 w 6400800"/>
                <a:gd name="connsiteY4454" fmla="*/ 311944 h 514350"/>
                <a:gd name="connsiteX4455" fmla="*/ 4096226 w 6400800"/>
                <a:gd name="connsiteY4455" fmla="*/ 306229 h 514350"/>
                <a:gd name="connsiteX4456" fmla="*/ 4097179 w 6400800"/>
                <a:gd name="connsiteY4456" fmla="*/ 315754 h 514350"/>
                <a:gd name="connsiteX4457" fmla="*/ 4092416 w 6400800"/>
                <a:gd name="connsiteY4457" fmla="*/ 329089 h 514350"/>
                <a:gd name="connsiteX4458" fmla="*/ 4091464 w 6400800"/>
                <a:gd name="connsiteY4458" fmla="*/ 325279 h 514350"/>
                <a:gd name="connsiteX4459" fmla="*/ 4090511 w 6400800"/>
                <a:gd name="connsiteY4459" fmla="*/ 321469 h 514350"/>
                <a:gd name="connsiteX4460" fmla="*/ 4092416 w 6400800"/>
                <a:gd name="connsiteY4460" fmla="*/ 294799 h 514350"/>
                <a:gd name="connsiteX4461" fmla="*/ 4085749 w 6400800"/>
                <a:gd name="connsiteY4461" fmla="*/ 244316 h 514350"/>
                <a:gd name="connsiteX4462" fmla="*/ 4085749 w 6400800"/>
                <a:gd name="connsiteY4462" fmla="*/ 244316 h 514350"/>
                <a:gd name="connsiteX4463" fmla="*/ 4084796 w 6400800"/>
                <a:gd name="connsiteY4463" fmla="*/ 250031 h 514350"/>
                <a:gd name="connsiteX4464" fmla="*/ 4085749 w 6400800"/>
                <a:gd name="connsiteY4464" fmla="*/ 244316 h 514350"/>
                <a:gd name="connsiteX4465" fmla="*/ 4043839 w 6400800"/>
                <a:gd name="connsiteY4465" fmla="*/ 279559 h 514350"/>
                <a:gd name="connsiteX4466" fmla="*/ 4043839 w 6400800"/>
                <a:gd name="connsiteY4466" fmla="*/ 279559 h 514350"/>
                <a:gd name="connsiteX4467" fmla="*/ 4044791 w 6400800"/>
                <a:gd name="connsiteY4467" fmla="*/ 283369 h 514350"/>
                <a:gd name="connsiteX4468" fmla="*/ 4043839 w 6400800"/>
                <a:gd name="connsiteY4468" fmla="*/ 281464 h 514350"/>
                <a:gd name="connsiteX4469" fmla="*/ 4044791 w 6400800"/>
                <a:gd name="connsiteY4469" fmla="*/ 286226 h 514350"/>
                <a:gd name="connsiteX4470" fmla="*/ 4044791 w 6400800"/>
                <a:gd name="connsiteY4470" fmla="*/ 290036 h 514350"/>
                <a:gd name="connsiteX4471" fmla="*/ 4042886 w 6400800"/>
                <a:gd name="connsiteY4471" fmla="*/ 284321 h 514350"/>
                <a:gd name="connsiteX4472" fmla="*/ 4043839 w 6400800"/>
                <a:gd name="connsiteY4472" fmla="*/ 279559 h 514350"/>
                <a:gd name="connsiteX4473" fmla="*/ 4044791 w 6400800"/>
                <a:gd name="connsiteY4473" fmla="*/ 333851 h 514350"/>
                <a:gd name="connsiteX4474" fmla="*/ 4044791 w 6400800"/>
                <a:gd name="connsiteY4474" fmla="*/ 333851 h 514350"/>
                <a:gd name="connsiteX4475" fmla="*/ 4044791 w 6400800"/>
                <a:gd name="connsiteY4475" fmla="*/ 339566 h 514350"/>
                <a:gd name="connsiteX4476" fmla="*/ 4042886 w 6400800"/>
                <a:gd name="connsiteY4476" fmla="*/ 337661 h 514350"/>
                <a:gd name="connsiteX4477" fmla="*/ 4044791 w 6400800"/>
                <a:gd name="connsiteY4477" fmla="*/ 333851 h 514350"/>
                <a:gd name="connsiteX4478" fmla="*/ 4039076 w 6400800"/>
                <a:gd name="connsiteY4478" fmla="*/ 271939 h 514350"/>
                <a:gd name="connsiteX4479" fmla="*/ 4039076 w 6400800"/>
                <a:gd name="connsiteY4479" fmla="*/ 273844 h 514350"/>
                <a:gd name="connsiteX4480" fmla="*/ 4038124 w 6400800"/>
                <a:gd name="connsiteY4480" fmla="*/ 270034 h 514350"/>
                <a:gd name="connsiteX4481" fmla="*/ 4036219 w 6400800"/>
                <a:gd name="connsiteY4481" fmla="*/ 265271 h 514350"/>
                <a:gd name="connsiteX4482" fmla="*/ 4039076 w 6400800"/>
                <a:gd name="connsiteY4482" fmla="*/ 271939 h 514350"/>
                <a:gd name="connsiteX4483" fmla="*/ 4033361 w 6400800"/>
                <a:gd name="connsiteY4483" fmla="*/ 358616 h 514350"/>
                <a:gd name="connsiteX4484" fmla="*/ 4034314 w 6400800"/>
                <a:gd name="connsiteY4484" fmla="*/ 351949 h 514350"/>
                <a:gd name="connsiteX4485" fmla="*/ 4038124 w 6400800"/>
                <a:gd name="connsiteY4485" fmla="*/ 345281 h 514350"/>
                <a:gd name="connsiteX4486" fmla="*/ 4043839 w 6400800"/>
                <a:gd name="connsiteY4486" fmla="*/ 351949 h 514350"/>
                <a:gd name="connsiteX4487" fmla="*/ 4040981 w 6400800"/>
                <a:gd name="connsiteY4487" fmla="*/ 391954 h 514350"/>
                <a:gd name="connsiteX4488" fmla="*/ 4035266 w 6400800"/>
                <a:gd name="connsiteY4488" fmla="*/ 413861 h 514350"/>
                <a:gd name="connsiteX4489" fmla="*/ 4029551 w 6400800"/>
                <a:gd name="connsiteY4489" fmla="*/ 395764 h 514350"/>
                <a:gd name="connsiteX4490" fmla="*/ 4027646 w 6400800"/>
                <a:gd name="connsiteY4490" fmla="*/ 388144 h 514350"/>
                <a:gd name="connsiteX4491" fmla="*/ 4033361 w 6400800"/>
                <a:gd name="connsiteY4491" fmla="*/ 358616 h 514350"/>
                <a:gd name="connsiteX4492" fmla="*/ 4020026 w 6400800"/>
                <a:gd name="connsiteY4492" fmla="*/ 324326 h 514350"/>
                <a:gd name="connsiteX4493" fmla="*/ 4021931 w 6400800"/>
                <a:gd name="connsiteY4493" fmla="*/ 326231 h 514350"/>
                <a:gd name="connsiteX4494" fmla="*/ 4019074 w 6400800"/>
                <a:gd name="connsiteY4494" fmla="*/ 334804 h 514350"/>
                <a:gd name="connsiteX4495" fmla="*/ 4017169 w 6400800"/>
                <a:gd name="connsiteY4495" fmla="*/ 341471 h 514350"/>
                <a:gd name="connsiteX4496" fmla="*/ 4016216 w 6400800"/>
                <a:gd name="connsiteY4496" fmla="*/ 342424 h 514350"/>
                <a:gd name="connsiteX4497" fmla="*/ 4015264 w 6400800"/>
                <a:gd name="connsiteY4497" fmla="*/ 344329 h 514350"/>
                <a:gd name="connsiteX4498" fmla="*/ 4011454 w 6400800"/>
                <a:gd name="connsiteY4498" fmla="*/ 315754 h 514350"/>
                <a:gd name="connsiteX4499" fmla="*/ 4020026 w 6400800"/>
                <a:gd name="connsiteY4499" fmla="*/ 324326 h 514350"/>
                <a:gd name="connsiteX4500" fmla="*/ 3999071 w 6400800"/>
                <a:gd name="connsiteY4500" fmla="*/ 282416 h 514350"/>
                <a:gd name="connsiteX4501" fmla="*/ 3999071 w 6400800"/>
                <a:gd name="connsiteY4501" fmla="*/ 282416 h 514350"/>
                <a:gd name="connsiteX4502" fmla="*/ 4000024 w 6400800"/>
                <a:gd name="connsiteY4502" fmla="*/ 310991 h 514350"/>
                <a:gd name="connsiteX4503" fmla="*/ 4000024 w 6400800"/>
                <a:gd name="connsiteY4503" fmla="*/ 316706 h 514350"/>
                <a:gd name="connsiteX4504" fmla="*/ 3999071 w 6400800"/>
                <a:gd name="connsiteY4504" fmla="*/ 325279 h 514350"/>
                <a:gd name="connsiteX4505" fmla="*/ 3999071 w 6400800"/>
                <a:gd name="connsiteY4505" fmla="*/ 327184 h 514350"/>
                <a:gd name="connsiteX4506" fmla="*/ 3998119 w 6400800"/>
                <a:gd name="connsiteY4506" fmla="*/ 324326 h 514350"/>
                <a:gd name="connsiteX4507" fmla="*/ 3997166 w 6400800"/>
                <a:gd name="connsiteY4507" fmla="*/ 314801 h 514350"/>
                <a:gd name="connsiteX4508" fmla="*/ 3996214 w 6400800"/>
                <a:gd name="connsiteY4508" fmla="*/ 286226 h 514350"/>
                <a:gd name="connsiteX4509" fmla="*/ 3999071 w 6400800"/>
                <a:gd name="connsiteY4509" fmla="*/ 282416 h 514350"/>
                <a:gd name="connsiteX4510" fmla="*/ 3983831 w 6400800"/>
                <a:gd name="connsiteY4510" fmla="*/ 405289 h 514350"/>
                <a:gd name="connsiteX4511" fmla="*/ 3980021 w 6400800"/>
                <a:gd name="connsiteY4511" fmla="*/ 412909 h 514350"/>
                <a:gd name="connsiteX4512" fmla="*/ 3980021 w 6400800"/>
                <a:gd name="connsiteY4512" fmla="*/ 412909 h 514350"/>
                <a:gd name="connsiteX4513" fmla="*/ 3982879 w 6400800"/>
                <a:gd name="connsiteY4513" fmla="*/ 402431 h 514350"/>
                <a:gd name="connsiteX4514" fmla="*/ 3983831 w 6400800"/>
                <a:gd name="connsiteY4514" fmla="*/ 405289 h 514350"/>
                <a:gd name="connsiteX4515" fmla="*/ 3980974 w 6400800"/>
                <a:gd name="connsiteY4515" fmla="*/ 395764 h 514350"/>
                <a:gd name="connsiteX4516" fmla="*/ 3982879 w 6400800"/>
                <a:gd name="connsiteY4516" fmla="*/ 401479 h 514350"/>
                <a:gd name="connsiteX4517" fmla="*/ 3979069 w 6400800"/>
                <a:gd name="connsiteY4517" fmla="*/ 407194 h 514350"/>
                <a:gd name="connsiteX4518" fmla="*/ 3979069 w 6400800"/>
                <a:gd name="connsiteY4518" fmla="*/ 406241 h 514350"/>
                <a:gd name="connsiteX4519" fmla="*/ 3980974 w 6400800"/>
                <a:gd name="connsiteY4519" fmla="*/ 395764 h 514350"/>
                <a:gd name="connsiteX4520" fmla="*/ 3976211 w 6400800"/>
                <a:gd name="connsiteY4520" fmla="*/ 378619 h 514350"/>
                <a:gd name="connsiteX4521" fmla="*/ 3976211 w 6400800"/>
                <a:gd name="connsiteY4521" fmla="*/ 378619 h 514350"/>
                <a:gd name="connsiteX4522" fmla="*/ 3976211 w 6400800"/>
                <a:gd name="connsiteY4522" fmla="*/ 380524 h 514350"/>
                <a:gd name="connsiteX4523" fmla="*/ 3976211 w 6400800"/>
                <a:gd name="connsiteY4523" fmla="*/ 378619 h 514350"/>
                <a:gd name="connsiteX4524" fmla="*/ 3948589 w 6400800"/>
                <a:gd name="connsiteY4524" fmla="*/ 255746 h 514350"/>
                <a:gd name="connsiteX4525" fmla="*/ 3946684 w 6400800"/>
                <a:gd name="connsiteY4525" fmla="*/ 277654 h 514350"/>
                <a:gd name="connsiteX4526" fmla="*/ 3945731 w 6400800"/>
                <a:gd name="connsiteY4526" fmla="*/ 285274 h 514350"/>
                <a:gd name="connsiteX4527" fmla="*/ 3943826 w 6400800"/>
                <a:gd name="connsiteY4527" fmla="*/ 266224 h 514350"/>
                <a:gd name="connsiteX4528" fmla="*/ 3940016 w 6400800"/>
                <a:gd name="connsiteY4528" fmla="*/ 240506 h 514350"/>
                <a:gd name="connsiteX4529" fmla="*/ 3940016 w 6400800"/>
                <a:gd name="connsiteY4529" fmla="*/ 239554 h 514350"/>
                <a:gd name="connsiteX4530" fmla="*/ 3940016 w 6400800"/>
                <a:gd name="connsiteY4530" fmla="*/ 236696 h 514350"/>
                <a:gd name="connsiteX4531" fmla="*/ 3942874 w 6400800"/>
                <a:gd name="connsiteY4531" fmla="*/ 240506 h 514350"/>
                <a:gd name="connsiteX4532" fmla="*/ 3947636 w 6400800"/>
                <a:gd name="connsiteY4532" fmla="*/ 248126 h 514350"/>
                <a:gd name="connsiteX4533" fmla="*/ 3948589 w 6400800"/>
                <a:gd name="connsiteY4533" fmla="*/ 255746 h 514350"/>
                <a:gd name="connsiteX4534" fmla="*/ 3943826 w 6400800"/>
                <a:gd name="connsiteY4534" fmla="*/ 205264 h 514350"/>
                <a:gd name="connsiteX4535" fmla="*/ 3943826 w 6400800"/>
                <a:gd name="connsiteY4535" fmla="*/ 210979 h 514350"/>
                <a:gd name="connsiteX4536" fmla="*/ 3945731 w 6400800"/>
                <a:gd name="connsiteY4536" fmla="*/ 230981 h 514350"/>
                <a:gd name="connsiteX4537" fmla="*/ 3946684 w 6400800"/>
                <a:gd name="connsiteY4537" fmla="*/ 236696 h 514350"/>
                <a:gd name="connsiteX4538" fmla="*/ 3939064 w 6400800"/>
                <a:gd name="connsiteY4538" fmla="*/ 228124 h 514350"/>
                <a:gd name="connsiteX4539" fmla="*/ 3937159 w 6400800"/>
                <a:gd name="connsiteY4539" fmla="*/ 215741 h 514350"/>
                <a:gd name="connsiteX4540" fmla="*/ 3943826 w 6400800"/>
                <a:gd name="connsiteY4540" fmla="*/ 205264 h 514350"/>
                <a:gd name="connsiteX4541" fmla="*/ 3866674 w 6400800"/>
                <a:gd name="connsiteY4541" fmla="*/ 369094 h 514350"/>
                <a:gd name="connsiteX4542" fmla="*/ 3867626 w 6400800"/>
                <a:gd name="connsiteY4542" fmla="*/ 368141 h 514350"/>
                <a:gd name="connsiteX4543" fmla="*/ 3867626 w 6400800"/>
                <a:gd name="connsiteY4543" fmla="*/ 370999 h 514350"/>
                <a:gd name="connsiteX4544" fmla="*/ 3866674 w 6400800"/>
                <a:gd name="connsiteY4544" fmla="*/ 369094 h 514350"/>
                <a:gd name="connsiteX4545" fmla="*/ 3886676 w 6400800"/>
                <a:gd name="connsiteY4545" fmla="*/ 354806 h 514350"/>
                <a:gd name="connsiteX4546" fmla="*/ 3882866 w 6400800"/>
                <a:gd name="connsiteY4546" fmla="*/ 348139 h 514350"/>
                <a:gd name="connsiteX4547" fmla="*/ 3881914 w 6400800"/>
                <a:gd name="connsiteY4547" fmla="*/ 338614 h 514350"/>
                <a:gd name="connsiteX4548" fmla="*/ 3886676 w 6400800"/>
                <a:gd name="connsiteY4548" fmla="*/ 354806 h 514350"/>
                <a:gd name="connsiteX4549" fmla="*/ 3887629 w 6400800"/>
                <a:gd name="connsiteY4549" fmla="*/ 356711 h 514350"/>
                <a:gd name="connsiteX4550" fmla="*/ 3886676 w 6400800"/>
                <a:gd name="connsiteY4550" fmla="*/ 354806 h 514350"/>
                <a:gd name="connsiteX4551" fmla="*/ 3897154 w 6400800"/>
                <a:gd name="connsiteY4551" fmla="*/ 278606 h 514350"/>
                <a:gd name="connsiteX4552" fmla="*/ 3901916 w 6400800"/>
                <a:gd name="connsiteY4552" fmla="*/ 270986 h 514350"/>
                <a:gd name="connsiteX4553" fmla="*/ 3901916 w 6400800"/>
                <a:gd name="connsiteY4553" fmla="*/ 270986 h 514350"/>
                <a:gd name="connsiteX4554" fmla="*/ 3897154 w 6400800"/>
                <a:gd name="connsiteY4554" fmla="*/ 278606 h 514350"/>
                <a:gd name="connsiteX4555" fmla="*/ 3897154 w 6400800"/>
                <a:gd name="connsiteY4555" fmla="*/ 278606 h 514350"/>
                <a:gd name="connsiteX4556" fmla="*/ 3900011 w 6400800"/>
                <a:gd name="connsiteY4556" fmla="*/ 291941 h 514350"/>
                <a:gd name="connsiteX4557" fmla="*/ 3901916 w 6400800"/>
                <a:gd name="connsiteY4557" fmla="*/ 288131 h 514350"/>
                <a:gd name="connsiteX4558" fmla="*/ 3902869 w 6400800"/>
                <a:gd name="connsiteY4558" fmla="*/ 286226 h 514350"/>
                <a:gd name="connsiteX4559" fmla="*/ 3903821 w 6400800"/>
                <a:gd name="connsiteY4559" fmla="*/ 297656 h 514350"/>
                <a:gd name="connsiteX4560" fmla="*/ 3902869 w 6400800"/>
                <a:gd name="connsiteY4560" fmla="*/ 301466 h 514350"/>
                <a:gd name="connsiteX4561" fmla="*/ 3901916 w 6400800"/>
                <a:gd name="connsiteY4561" fmla="*/ 298609 h 514350"/>
                <a:gd name="connsiteX4562" fmla="*/ 3900011 w 6400800"/>
                <a:gd name="connsiteY4562" fmla="*/ 291941 h 514350"/>
                <a:gd name="connsiteX4563" fmla="*/ 3903821 w 6400800"/>
                <a:gd name="connsiteY4563" fmla="*/ 431006 h 514350"/>
                <a:gd name="connsiteX4564" fmla="*/ 3902869 w 6400800"/>
                <a:gd name="connsiteY4564" fmla="*/ 431959 h 514350"/>
                <a:gd name="connsiteX4565" fmla="*/ 3901916 w 6400800"/>
                <a:gd name="connsiteY4565" fmla="*/ 431959 h 514350"/>
                <a:gd name="connsiteX4566" fmla="*/ 3903821 w 6400800"/>
                <a:gd name="connsiteY4566" fmla="*/ 426244 h 514350"/>
                <a:gd name="connsiteX4567" fmla="*/ 3904774 w 6400800"/>
                <a:gd name="connsiteY4567" fmla="*/ 428149 h 514350"/>
                <a:gd name="connsiteX4568" fmla="*/ 3903821 w 6400800"/>
                <a:gd name="connsiteY4568" fmla="*/ 431006 h 514350"/>
                <a:gd name="connsiteX4569" fmla="*/ 3925729 w 6400800"/>
                <a:gd name="connsiteY4569" fmla="*/ 309086 h 514350"/>
                <a:gd name="connsiteX4570" fmla="*/ 3922871 w 6400800"/>
                <a:gd name="connsiteY4570" fmla="*/ 297656 h 514350"/>
                <a:gd name="connsiteX4571" fmla="*/ 3923824 w 6400800"/>
                <a:gd name="connsiteY4571" fmla="*/ 308134 h 514350"/>
                <a:gd name="connsiteX4572" fmla="*/ 3919061 w 6400800"/>
                <a:gd name="connsiteY4572" fmla="*/ 291941 h 514350"/>
                <a:gd name="connsiteX4573" fmla="*/ 3922871 w 6400800"/>
                <a:gd name="connsiteY4573" fmla="*/ 317659 h 514350"/>
                <a:gd name="connsiteX4574" fmla="*/ 3923824 w 6400800"/>
                <a:gd name="connsiteY4574" fmla="*/ 325279 h 514350"/>
                <a:gd name="connsiteX4575" fmla="*/ 3921919 w 6400800"/>
                <a:gd name="connsiteY4575" fmla="*/ 334804 h 514350"/>
                <a:gd name="connsiteX4576" fmla="*/ 3921919 w 6400800"/>
                <a:gd name="connsiteY4576" fmla="*/ 335756 h 514350"/>
                <a:gd name="connsiteX4577" fmla="*/ 3920966 w 6400800"/>
                <a:gd name="connsiteY4577" fmla="*/ 330041 h 514350"/>
                <a:gd name="connsiteX4578" fmla="*/ 3915251 w 6400800"/>
                <a:gd name="connsiteY4578" fmla="*/ 301466 h 514350"/>
                <a:gd name="connsiteX4579" fmla="*/ 3911441 w 6400800"/>
                <a:gd name="connsiteY4579" fmla="*/ 281464 h 514350"/>
                <a:gd name="connsiteX4580" fmla="*/ 3912394 w 6400800"/>
                <a:gd name="connsiteY4580" fmla="*/ 264319 h 514350"/>
                <a:gd name="connsiteX4581" fmla="*/ 3912394 w 6400800"/>
                <a:gd name="connsiteY4581" fmla="*/ 263366 h 514350"/>
                <a:gd name="connsiteX4582" fmla="*/ 3919061 w 6400800"/>
                <a:gd name="connsiteY4582" fmla="*/ 270986 h 514350"/>
                <a:gd name="connsiteX4583" fmla="*/ 3923824 w 6400800"/>
                <a:gd name="connsiteY4583" fmla="*/ 277654 h 514350"/>
                <a:gd name="connsiteX4584" fmla="*/ 3924776 w 6400800"/>
                <a:gd name="connsiteY4584" fmla="*/ 284321 h 514350"/>
                <a:gd name="connsiteX4585" fmla="*/ 3921919 w 6400800"/>
                <a:gd name="connsiteY4585" fmla="*/ 277654 h 514350"/>
                <a:gd name="connsiteX4586" fmla="*/ 3926681 w 6400800"/>
                <a:gd name="connsiteY4586" fmla="*/ 296704 h 514350"/>
                <a:gd name="connsiteX4587" fmla="*/ 3927634 w 6400800"/>
                <a:gd name="connsiteY4587" fmla="*/ 304324 h 514350"/>
                <a:gd name="connsiteX4588" fmla="*/ 3927634 w 6400800"/>
                <a:gd name="connsiteY4588" fmla="*/ 305276 h 514350"/>
                <a:gd name="connsiteX4589" fmla="*/ 3925729 w 6400800"/>
                <a:gd name="connsiteY4589" fmla="*/ 309086 h 514350"/>
                <a:gd name="connsiteX4590" fmla="*/ 3929539 w 6400800"/>
                <a:gd name="connsiteY4590" fmla="*/ 287179 h 514350"/>
                <a:gd name="connsiteX4591" fmla="*/ 3928586 w 6400800"/>
                <a:gd name="connsiteY4591" fmla="*/ 292894 h 514350"/>
                <a:gd name="connsiteX4592" fmla="*/ 3927634 w 6400800"/>
                <a:gd name="connsiteY4592" fmla="*/ 290036 h 514350"/>
                <a:gd name="connsiteX4593" fmla="*/ 3923824 w 6400800"/>
                <a:gd name="connsiteY4593" fmla="*/ 275749 h 514350"/>
                <a:gd name="connsiteX4594" fmla="*/ 3927634 w 6400800"/>
                <a:gd name="connsiteY4594" fmla="*/ 281464 h 514350"/>
                <a:gd name="connsiteX4595" fmla="*/ 3929539 w 6400800"/>
                <a:gd name="connsiteY4595" fmla="*/ 284321 h 514350"/>
                <a:gd name="connsiteX4596" fmla="*/ 3929539 w 6400800"/>
                <a:gd name="connsiteY4596" fmla="*/ 287179 h 514350"/>
                <a:gd name="connsiteX4597" fmla="*/ 3926681 w 6400800"/>
                <a:gd name="connsiteY4597" fmla="*/ 242411 h 514350"/>
                <a:gd name="connsiteX4598" fmla="*/ 3928586 w 6400800"/>
                <a:gd name="connsiteY4598" fmla="*/ 270986 h 514350"/>
                <a:gd name="connsiteX4599" fmla="*/ 3921919 w 6400800"/>
                <a:gd name="connsiteY4599" fmla="*/ 265271 h 514350"/>
                <a:gd name="connsiteX4600" fmla="*/ 3913346 w 6400800"/>
                <a:gd name="connsiteY4600" fmla="*/ 257651 h 514350"/>
                <a:gd name="connsiteX4601" fmla="*/ 3917156 w 6400800"/>
                <a:gd name="connsiteY4601" fmla="*/ 246221 h 514350"/>
                <a:gd name="connsiteX4602" fmla="*/ 3925729 w 6400800"/>
                <a:gd name="connsiteY4602" fmla="*/ 232886 h 514350"/>
                <a:gd name="connsiteX4603" fmla="*/ 3926681 w 6400800"/>
                <a:gd name="connsiteY4603" fmla="*/ 242411 h 514350"/>
                <a:gd name="connsiteX4604" fmla="*/ 3900964 w 6400800"/>
                <a:gd name="connsiteY4604" fmla="*/ 168116 h 514350"/>
                <a:gd name="connsiteX4605" fmla="*/ 3914299 w 6400800"/>
                <a:gd name="connsiteY4605" fmla="*/ 147161 h 514350"/>
                <a:gd name="connsiteX4606" fmla="*/ 3915251 w 6400800"/>
                <a:gd name="connsiteY4606" fmla="*/ 156686 h 514350"/>
                <a:gd name="connsiteX4607" fmla="*/ 3920966 w 6400800"/>
                <a:gd name="connsiteY4607" fmla="*/ 196691 h 514350"/>
                <a:gd name="connsiteX4608" fmla="*/ 3922871 w 6400800"/>
                <a:gd name="connsiteY4608" fmla="*/ 213836 h 514350"/>
                <a:gd name="connsiteX4609" fmla="*/ 3920014 w 6400800"/>
                <a:gd name="connsiteY4609" fmla="*/ 210979 h 514350"/>
                <a:gd name="connsiteX4610" fmla="*/ 3923824 w 6400800"/>
                <a:gd name="connsiteY4610" fmla="*/ 214789 h 514350"/>
                <a:gd name="connsiteX4611" fmla="*/ 3924776 w 6400800"/>
                <a:gd name="connsiteY4611" fmla="*/ 226219 h 514350"/>
                <a:gd name="connsiteX4612" fmla="*/ 3906679 w 6400800"/>
                <a:gd name="connsiteY4612" fmla="*/ 249079 h 514350"/>
                <a:gd name="connsiteX4613" fmla="*/ 3904774 w 6400800"/>
                <a:gd name="connsiteY4613" fmla="*/ 251936 h 514350"/>
                <a:gd name="connsiteX4614" fmla="*/ 3902869 w 6400800"/>
                <a:gd name="connsiteY4614" fmla="*/ 250984 h 514350"/>
                <a:gd name="connsiteX4615" fmla="*/ 3900964 w 6400800"/>
                <a:gd name="connsiteY4615" fmla="*/ 242411 h 514350"/>
                <a:gd name="connsiteX4616" fmla="*/ 3900964 w 6400800"/>
                <a:gd name="connsiteY4616" fmla="*/ 249079 h 514350"/>
                <a:gd name="connsiteX4617" fmla="*/ 3897154 w 6400800"/>
                <a:gd name="connsiteY4617" fmla="*/ 247174 h 514350"/>
                <a:gd name="connsiteX4618" fmla="*/ 3891439 w 6400800"/>
                <a:gd name="connsiteY4618" fmla="*/ 243364 h 514350"/>
                <a:gd name="connsiteX4619" fmla="*/ 3896201 w 6400800"/>
                <a:gd name="connsiteY4619" fmla="*/ 248126 h 514350"/>
                <a:gd name="connsiteX4620" fmla="*/ 3900964 w 6400800"/>
                <a:gd name="connsiteY4620" fmla="*/ 251936 h 514350"/>
                <a:gd name="connsiteX4621" fmla="*/ 3900964 w 6400800"/>
                <a:gd name="connsiteY4621" fmla="*/ 256699 h 514350"/>
                <a:gd name="connsiteX4622" fmla="*/ 3894296 w 6400800"/>
                <a:gd name="connsiteY4622" fmla="*/ 266224 h 514350"/>
                <a:gd name="connsiteX4623" fmla="*/ 3890486 w 6400800"/>
                <a:gd name="connsiteY4623" fmla="*/ 250984 h 514350"/>
                <a:gd name="connsiteX4624" fmla="*/ 3880009 w 6400800"/>
                <a:gd name="connsiteY4624" fmla="*/ 210026 h 514350"/>
                <a:gd name="connsiteX4625" fmla="*/ 3879056 w 6400800"/>
                <a:gd name="connsiteY4625" fmla="*/ 206216 h 514350"/>
                <a:gd name="connsiteX4626" fmla="*/ 3900964 w 6400800"/>
                <a:gd name="connsiteY4626" fmla="*/ 168116 h 514350"/>
                <a:gd name="connsiteX4627" fmla="*/ 3873341 w 6400800"/>
                <a:gd name="connsiteY4627" fmla="*/ 214789 h 514350"/>
                <a:gd name="connsiteX4628" fmla="*/ 3879056 w 6400800"/>
                <a:gd name="connsiteY4628" fmla="*/ 251936 h 514350"/>
                <a:gd name="connsiteX4629" fmla="*/ 3883819 w 6400800"/>
                <a:gd name="connsiteY4629" fmla="*/ 280511 h 514350"/>
                <a:gd name="connsiteX4630" fmla="*/ 3882866 w 6400800"/>
                <a:gd name="connsiteY4630" fmla="*/ 282416 h 514350"/>
                <a:gd name="connsiteX4631" fmla="*/ 3875246 w 6400800"/>
                <a:gd name="connsiteY4631" fmla="*/ 259556 h 514350"/>
                <a:gd name="connsiteX4632" fmla="*/ 3865721 w 6400800"/>
                <a:gd name="connsiteY4632" fmla="*/ 234791 h 514350"/>
                <a:gd name="connsiteX4633" fmla="*/ 3864769 w 6400800"/>
                <a:gd name="connsiteY4633" fmla="*/ 231934 h 514350"/>
                <a:gd name="connsiteX4634" fmla="*/ 3873341 w 6400800"/>
                <a:gd name="connsiteY4634" fmla="*/ 214789 h 514350"/>
                <a:gd name="connsiteX4635" fmla="*/ 3864769 w 6400800"/>
                <a:gd name="connsiteY4635" fmla="*/ 341471 h 514350"/>
                <a:gd name="connsiteX4636" fmla="*/ 3862864 w 6400800"/>
                <a:gd name="connsiteY4636" fmla="*/ 345281 h 514350"/>
                <a:gd name="connsiteX4637" fmla="*/ 3864769 w 6400800"/>
                <a:gd name="connsiteY4637" fmla="*/ 341471 h 514350"/>
                <a:gd name="connsiteX4638" fmla="*/ 3864769 w 6400800"/>
                <a:gd name="connsiteY4638" fmla="*/ 341471 h 514350"/>
                <a:gd name="connsiteX4639" fmla="*/ 3854291 w 6400800"/>
                <a:gd name="connsiteY4639" fmla="*/ 211931 h 514350"/>
                <a:gd name="connsiteX4640" fmla="*/ 3856196 w 6400800"/>
                <a:gd name="connsiteY4640" fmla="*/ 201454 h 514350"/>
                <a:gd name="connsiteX4641" fmla="*/ 3857149 w 6400800"/>
                <a:gd name="connsiteY4641" fmla="*/ 220504 h 514350"/>
                <a:gd name="connsiteX4642" fmla="*/ 3854291 w 6400800"/>
                <a:gd name="connsiteY4642" fmla="*/ 226219 h 514350"/>
                <a:gd name="connsiteX4643" fmla="*/ 3854291 w 6400800"/>
                <a:gd name="connsiteY4643" fmla="*/ 211931 h 514350"/>
                <a:gd name="connsiteX4644" fmla="*/ 3849529 w 6400800"/>
                <a:gd name="connsiteY4644" fmla="*/ 262414 h 514350"/>
                <a:gd name="connsiteX4645" fmla="*/ 3849529 w 6400800"/>
                <a:gd name="connsiteY4645" fmla="*/ 257651 h 514350"/>
                <a:gd name="connsiteX4646" fmla="*/ 3850481 w 6400800"/>
                <a:gd name="connsiteY4646" fmla="*/ 256699 h 514350"/>
                <a:gd name="connsiteX4647" fmla="*/ 3859054 w 6400800"/>
                <a:gd name="connsiteY4647" fmla="*/ 278606 h 514350"/>
                <a:gd name="connsiteX4648" fmla="*/ 3860006 w 6400800"/>
                <a:gd name="connsiteY4648" fmla="*/ 280511 h 514350"/>
                <a:gd name="connsiteX4649" fmla="*/ 3862864 w 6400800"/>
                <a:gd name="connsiteY4649" fmla="*/ 313849 h 514350"/>
                <a:gd name="connsiteX4650" fmla="*/ 3862864 w 6400800"/>
                <a:gd name="connsiteY4650" fmla="*/ 313849 h 514350"/>
                <a:gd name="connsiteX4651" fmla="*/ 3847624 w 6400800"/>
                <a:gd name="connsiteY4651" fmla="*/ 291941 h 514350"/>
                <a:gd name="connsiteX4652" fmla="*/ 3849529 w 6400800"/>
                <a:gd name="connsiteY4652" fmla="*/ 262414 h 514350"/>
                <a:gd name="connsiteX4653" fmla="*/ 3846671 w 6400800"/>
                <a:gd name="connsiteY4653" fmla="*/ 308134 h 514350"/>
                <a:gd name="connsiteX4654" fmla="*/ 3855244 w 6400800"/>
                <a:gd name="connsiteY4654" fmla="*/ 323374 h 514350"/>
                <a:gd name="connsiteX4655" fmla="*/ 3856196 w 6400800"/>
                <a:gd name="connsiteY4655" fmla="*/ 325279 h 514350"/>
                <a:gd name="connsiteX4656" fmla="*/ 3855244 w 6400800"/>
                <a:gd name="connsiteY4656" fmla="*/ 327184 h 514350"/>
                <a:gd name="connsiteX4657" fmla="*/ 3849529 w 6400800"/>
                <a:gd name="connsiteY4657" fmla="*/ 336709 h 514350"/>
                <a:gd name="connsiteX4658" fmla="*/ 3845719 w 6400800"/>
                <a:gd name="connsiteY4658" fmla="*/ 330041 h 514350"/>
                <a:gd name="connsiteX4659" fmla="*/ 3846671 w 6400800"/>
                <a:gd name="connsiteY4659" fmla="*/ 308134 h 514350"/>
                <a:gd name="connsiteX4660" fmla="*/ 3843814 w 6400800"/>
                <a:gd name="connsiteY4660" fmla="*/ 415766 h 514350"/>
                <a:gd name="connsiteX4661" fmla="*/ 3846671 w 6400800"/>
                <a:gd name="connsiteY4661" fmla="*/ 410051 h 514350"/>
                <a:gd name="connsiteX4662" fmla="*/ 3847624 w 6400800"/>
                <a:gd name="connsiteY4662" fmla="*/ 416719 h 514350"/>
                <a:gd name="connsiteX4663" fmla="*/ 3847624 w 6400800"/>
                <a:gd name="connsiteY4663" fmla="*/ 419576 h 514350"/>
                <a:gd name="connsiteX4664" fmla="*/ 3846671 w 6400800"/>
                <a:gd name="connsiteY4664" fmla="*/ 422434 h 514350"/>
                <a:gd name="connsiteX4665" fmla="*/ 3844766 w 6400800"/>
                <a:gd name="connsiteY4665" fmla="*/ 426244 h 514350"/>
                <a:gd name="connsiteX4666" fmla="*/ 3842861 w 6400800"/>
                <a:gd name="connsiteY4666" fmla="*/ 426244 h 514350"/>
                <a:gd name="connsiteX4667" fmla="*/ 3843814 w 6400800"/>
                <a:gd name="connsiteY4667" fmla="*/ 415766 h 514350"/>
                <a:gd name="connsiteX4668" fmla="*/ 3830479 w 6400800"/>
                <a:gd name="connsiteY4668" fmla="*/ 297656 h 514350"/>
                <a:gd name="connsiteX4669" fmla="*/ 3830479 w 6400800"/>
                <a:gd name="connsiteY4669" fmla="*/ 299561 h 514350"/>
                <a:gd name="connsiteX4670" fmla="*/ 3830479 w 6400800"/>
                <a:gd name="connsiteY4670" fmla="*/ 301466 h 514350"/>
                <a:gd name="connsiteX4671" fmla="*/ 3829526 w 6400800"/>
                <a:gd name="connsiteY4671" fmla="*/ 307181 h 514350"/>
                <a:gd name="connsiteX4672" fmla="*/ 3827621 w 6400800"/>
                <a:gd name="connsiteY4672" fmla="*/ 304324 h 514350"/>
                <a:gd name="connsiteX4673" fmla="*/ 3830479 w 6400800"/>
                <a:gd name="connsiteY4673" fmla="*/ 297656 h 514350"/>
                <a:gd name="connsiteX4674" fmla="*/ 3826669 w 6400800"/>
                <a:gd name="connsiteY4674" fmla="*/ 305276 h 514350"/>
                <a:gd name="connsiteX4675" fmla="*/ 3828574 w 6400800"/>
                <a:gd name="connsiteY4675" fmla="*/ 310039 h 514350"/>
                <a:gd name="connsiteX4676" fmla="*/ 3827621 w 6400800"/>
                <a:gd name="connsiteY4676" fmla="*/ 314801 h 514350"/>
                <a:gd name="connsiteX4677" fmla="*/ 3823811 w 6400800"/>
                <a:gd name="connsiteY4677" fmla="*/ 309086 h 514350"/>
                <a:gd name="connsiteX4678" fmla="*/ 3826669 w 6400800"/>
                <a:gd name="connsiteY4678" fmla="*/ 305276 h 514350"/>
                <a:gd name="connsiteX4679" fmla="*/ 3820001 w 6400800"/>
                <a:gd name="connsiteY4679" fmla="*/ 319564 h 514350"/>
                <a:gd name="connsiteX4680" fmla="*/ 3826669 w 6400800"/>
                <a:gd name="connsiteY4680" fmla="*/ 332899 h 514350"/>
                <a:gd name="connsiteX4681" fmla="*/ 3827621 w 6400800"/>
                <a:gd name="connsiteY4681" fmla="*/ 333851 h 514350"/>
                <a:gd name="connsiteX4682" fmla="*/ 3826669 w 6400800"/>
                <a:gd name="connsiteY4682" fmla="*/ 343376 h 514350"/>
                <a:gd name="connsiteX4683" fmla="*/ 3824764 w 6400800"/>
                <a:gd name="connsiteY4683" fmla="*/ 377666 h 514350"/>
                <a:gd name="connsiteX4684" fmla="*/ 3820954 w 6400800"/>
                <a:gd name="connsiteY4684" fmla="*/ 364331 h 514350"/>
                <a:gd name="connsiteX4685" fmla="*/ 3820001 w 6400800"/>
                <a:gd name="connsiteY4685" fmla="*/ 352901 h 514350"/>
                <a:gd name="connsiteX4686" fmla="*/ 3818096 w 6400800"/>
                <a:gd name="connsiteY4686" fmla="*/ 336709 h 514350"/>
                <a:gd name="connsiteX4687" fmla="*/ 3821906 w 6400800"/>
                <a:gd name="connsiteY4687" fmla="*/ 332899 h 514350"/>
                <a:gd name="connsiteX4688" fmla="*/ 3818096 w 6400800"/>
                <a:gd name="connsiteY4688" fmla="*/ 335756 h 514350"/>
                <a:gd name="connsiteX4689" fmla="*/ 3817144 w 6400800"/>
                <a:gd name="connsiteY4689" fmla="*/ 326231 h 514350"/>
                <a:gd name="connsiteX4690" fmla="*/ 3820001 w 6400800"/>
                <a:gd name="connsiteY4690" fmla="*/ 319564 h 514350"/>
                <a:gd name="connsiteX4691" fmla="*/ 3788569 w 6400800"/>
                <a:gd name="connsiteY4691" fmla="*/ 264319 h 514350"/>
                <a:gd name="connsiteX4692" fmla="*/ 3792379 w 6400800"/>
                <a:gd name="connsiteY4692" fmla="*/ 270986 h 514350"/>
                <a:gd name="connsiteX4693" fmla="*/ 3800951 w 6400800"/>
                <a:gd name="connsiteY4693" fmla="*/ 285274 h 514350"/>
                <a:gd name="connsiteX4694" fmla="*/ 3800951 w 6400800"/>
                <a:gd name="connsiteY4694" fmla="*/ 287179 h 514350"/>
                <a:gd name="connsiteX4695" fmla="*/ 3800951 w 6400800"/>
                <a:gd name="connsiteY4695" fmla="*/ 298609 h 514350"/>
                <a:gd name="connsiteX4696" fmla="*/ 3800951 w 6400800"/>
                <a:gd name="connsiteY4696" fmla="*/ 300514 h 514350"/>
                <a:gd name="connsiteX4697" fmla="*/ 3797141 w 6400800"/>
                <a:gd name="connsiteY4697" fmla="*/ 287179 h 514350"/>
                <a:gd name="connsiteX4698" fmla="*/ 3796189 w 6400800"/>
                <a:gd name="connsiteY4698" fmla="*/ 285274 h 514350"/>
                <a:gd name="connsiteX4699" fmla="*/ 3796189 w 6400800"/>
                <a:gd name="connsiteY4699" fmla="*/ 280511 h 514350"/>
                <a:gd name="connsiteX4700" fmla="*/ 3795236 w 6400800"/>
                <a:gd name="connsiteY4700" fmla="*/ 283369 h 514350"/>
                <a:gd name="connsiteX4701" fmla="*/ 3791426 w 6400800"/>
                <a:gd name="connsiteY4701" fmla="*/ 271939 h 514350"/>
                <a:gd name="connsiteX4702" fmla="*/ 3788569 w 6400800"/>
                <a:gd name="connsiteY4702" fmla="*/ 264319 h 514350"/>
                <a:gd name="connsiteX4703" fmla="*/ 3748564 w 6400800"/>
                <a:gd name="connsiteY4703" fmla="*/ 364331 h 514350"/>
                <a:gd name="connsiteX4704" fmla="*/ 3748564 w 6400800"/>
                <a:gd name="connsiteY4704" fmla="*/ 351949 h 514350"/>
                <a:gd name="connsiteX4705" fmla="*/ 3750469 w 6400800"/>
                <a:gd name="connsiteY4705" fmla="*/ 358616 h 514350"/>
                <a:gd name="connsiteX4706" fmla="*/ 3748564 w 6400800"/>
                <a:gd name="connsiteY4706" fmla="*/ 364331 h 514350"/>
                <a:gd name="connsiteX4707" fmla="*/ 3762851 w 6400800"/>
                <a:gd name="connsiteY4707" fmla="*/ 399574 h 514350"/>
                <a:gd name="connsiteX4708" fmla="*/ 3759994 w 6400800"/>
                <a:gd name="connsiteY4708" fmla="*/ 405289 h 514350"/>
                <a:gd name="connsiteX4709" fmla="*/ 3760946 w 6400800"/>
                <a:gd name="connsiteY4709" fmla="*/ 391954 h 514350"/>
                <a:gd name="connsiteX4710" fmla="*/ 3760946 w 6400800"/>
                <a:gd name="connsiteY4710" fmla="*/ 391001 h 514350"/>
                <a:gd name="connsiteX4711" fmla="*/ 3762851 w 6400800"/>
                <a:gd name="connsiteY4711" fmla="*/ 396716 h 514350"/>
                <a:gd name="connsiteX4712" fmla="*/ 3762851 w 6400800"/>
                <a:gd name="connsiteY4712" fmla="*/ 399574 h 514350"/>
                <a:gd name="connsiteX4713" fmla="*/ 3770471 w 6400800"/>
                <a:gd name="connsiteY4713" fmla="*/ 290036 h 514350"/>
                <a:gd name="connsiteX4714" fmla="*/ 3775234 w 6400800"/>
                <a:gd name="connsiteY4714" fmla="*/ 309086 h 514350"/>
                <a:gd name="connsiteX4715" fmla="*/ 3771424 w 6400800"/>
                <a:gd name="connsiteY4715" fmla="*/ 301466 h 514350"/>
                <a:gd name="connsiteX4716" fmla="*/ 3770471 w 6400800"/>
                <a:gd name="connsiteY4716" fmla="*/ 299561 h 514350"/>
                <a:gd name="connsiteX4717" fmla="*/ 3770471 w 6400800"/>
                <a:gd name="connsiteY4717" fmla="*/ 290989 h 514350"/>
                <a:gd name="connsiteX4718" fmla="*/ 3770471 w 6400800"/>
                <a:gd name="connsiteY4718" fmla="*/ 290036 h 514350"/>
                <a:gd name="connsiteX4719" fmla="*/ 3769519 w 6400800"/>
                <a:gd name="connsiteY4719" fmla="*/ 370046 h 514350"/>
                <a:gd name="connsiteX4720" fmla="*/ 3770471 w 6400800"/>
                <a:gd name="connsiteY4720" fmla="*/ 372904 h 514350"/>
                <a:gd name="connsiteX4721" fmla="*/ 3767614 w 6400800"/>
                <a:gd name="connsiteY4721" fmla="*/ 366236 h 514350"/>
                <a:gd name="connsiteX4722" fmla="*/ 3767614 w 6400800"/>
                <a:gd name="connsiteY4722" fmla="*/ 359569 h 514350"/>
                <a:gd name="connsiteX4723" fmla="*/ 3766661 w 6400800"/>
                <a:gd name="connsiteY4723" fmla="*/ 364331 h 514350"/>
                <a:gd name="connsiteX4724" fmla="*/ 3764756 w 6400800"/>
                <a:gd name="connsiteY4724" fmla="*/ 360521 h 514350"/>
                <a:gd name="connsiteX4725" fmla="*/ 3764756 w 6400800"/>
                <a:gd name="connsiteY4725" fmla="*/ 357664 h 514350"/>
                <a:gd name="connsiteX4726" fmla="*/ 3765709 w 6400800"/>
                <a:gd name="connsiteY4726" fmla="*/ 351949 h 514350"/>
                <a:gd name="connsiteX4727" fmla="*/ 3769519 w 6400800"/>
                <a:gd name="connsiteY4727" fmla="*/ 370046 h 514350"/>
                <a:gd name="connsiteX4728" fmla="*/ 3753326 w 6400800"/>
                <a:gd name="connsiteY4728" fmla="*/ 250031 h 514350"/>
                <a:gd name="connsiteX4729" fmla="*/ 3755231 w 6400800"/>
                <a:gd name="connsiteY4729" fmla="*/ 236696 h 514350"/>
                <a:gd name="connsiteX4730" fmla="*/ 3756184 w 6400800"/>
                <a:gd name="connsiteY4730" fmla="*/ 232886 h 514350"/>
                <a:gd name="connsiteX4731" fmla="*/ 3758089 w 6400800"/>
                <a:gd name="connsiteY4731" fmla="*/ 230029 h 514350"/>
                <a:gd name="connsiteX4732" fmla="*/ 3759994 w 6400800"/>
                <a:gd name="connsiteY4732" fmla="*/ 237649 h 514350"/>
                <a:gd name="connsiteX4733" fmla="*/ 3769519 w 6400800"/>
                <a:gd name="connsiteY4733" fmla="*/ 281464 h 514350"/>
                <a:gd name="connsiteX4734" fmla="*/ 3767614 w 6400800"/>
                <a:gd name="connsiteY4734" fmla="*/ 290036 h 514350"/>
                <a:gd name="connsiteX4735" fmla="*/ 3767614 w 6400800"/>
                <a:gd name="connsiteY4735" fmla="*/ 290989 h 514350"/>
                <a:gd name="connsiteX4736" fmla="*/ 3752374 w 6400800"/>
                <a:gd name="connsiteY4736" fmla="*/ 261461 h 514350"/>
                <a:gd name="connsiteX4737" fmla="*/ 3753326 w 6400800"/>
                <a:gd name="connsiteY4737" fmla="*/ 250031 h 514350"/>
                <a:gd name="connsiteX4738" fmla="*/ 3748564 w 6400800"/>
                <a:gd name="connsiteY4738" fmla="*/ 296704 h 514350"/>
                <a:gd name="connsiteX4739" fmla="*/ 3748564 w 6400800"/>
                <a:gd name="connsiteY4739" fmla="*/ 296704 h 514350"/>
                <a:gd name="connsiteX4740" fmla="*/ 3756184 w 6400800"/>
                <a:gd name="connsiteY4740" fmla="*/ 313849 h 514350"/>
                <a:gd name="connsiteX4741" fmla="*/ 3757136 w 6400800"/>
                <a:gd name="connsiteY4741" fmla="*/ 316706 h 514350"/>
                <a:gd name="connsiteX4742" fmla="*/ 3759041 w 6400800"/>
                <a:gd name="connsiteY4742" fmla="*/ 323374 h 514350"/>
                <a:gd name="connsiteX4743" fmla="*/ 3757136 w 6400800"/>
                <a:gd name="connsiteY4743" fmla="*/ 330041 h 514350"/>
                <a:gd name="connsiteX4744" fmla="*/ 3754279 w 6400800"/>
                <a:gd name="connsiteY4744" fmla="*/ 341471 h 514350"/>
                <a:gd name="connsiteX4745" fmla="*/ 3750469 w 6400800"/>
                <a:gd name="connsiteY4745" fmla="*/ 335756 h 514350"/>
                <a:gd name="connsiteX4746" fmla="*/ 3747611 w 6400800"/>
                <a:gd name="connsiteY4746" fmla="*/ 331946 h 514350"/>
                <a:gd name="connsiteX4747" fmla="*/ 3748564 w 6400800"/>
                <a:gd name="connsiteY4747" fmla="*/ 296704 h 514350"/>
                <a:gd name="connsiteX4748" fmla="*/ 3738086 w 6400800"/>
                <a:gd name="connsiteY4748" fmla="*/ 273844 h 514350"/>
                <a:gd name="connsiteX4749" fmla="*/ 3738086 w 6400800"/>
                <a:gd name="connsiteY4749" fmla="*/ 273844 h 514350"/>
                <a:gd name="connsiteX4750" fmla="*/ 3738086 w 6400800"/>
                <a:gd name="connsiteY4750" fmla="*/ 274796 h 514350"/>
                <a:gd name="connsiteX4751" fmla="*/ 3738086 w 6400800"/>
                <a:gd name="connsiteY4751" fmla="*/ 273844 h 514350"/>
                <a:gd name="connsiteX4752" fmla="*/ 3689509 w 6400800"/>
                <a:gd name="connsiteY4752" fmla="*/ 326231 h 514350"/>
                <a:gd name="connsiteX4753" fmla="*/ 3686651 w 6400800"/>
                <a:gd name="connsiteY4753" fmla="*/ 331946 h 514350"/>
                <a:gd name="connsiteX4754" fmla="*/ 3685699 w 6400800"/>
                <a:gd name="connsiteY4754" fmla="*/ 330994 h 514350"/>
                <a:gd name="connsiteX4755" fmla="*/ 3685699 w 6400800"/>
                <a:gd name="connsiteY4755" fmla="*/ 322421 h 514350"/>
                <a:gd name="connsiteX4756" fmla="*/ 3685699 w 6400800"/>
                <a:gd name="connsiteY4756" fmla="*/ 313849 h 514350"/>
                <a:gd name="connsiteX4757" fmla="*/ 3689509 w 6400800"/>
                <a:gd name="connsiteY4757" fmla="*/ 325279 h 514350"/>
                <a:gd name="connsiteX4758" fmla="*/ 3689509 w 6400800"/>
                <a:gd name="connsiteY4758" fmla="*/ 326231 h 514350"/>
                <a:gd name="connsiteX4759" fmla="*/ 3716179 w 6400800"/>
                <a:gd name="connsiteY4759" fmla="*/ 211931 h 514350"/>
                <a:gd name="connsiteX4760" fmla="*/ 3720941 w 6400800"/>
                <a:gd name="connsiteY4760" fmla="*/ 221456 h 514350"/>
                <a:gd name="connsiteX4761" fmla="*/ 3719036 w 6400800"/>
                <a:gd name="connsiteY4761" fmla="*/ 230029 h 514350"/>
                <a:gd name="connsiteX4762" fmla="*/ 3718084 w 6400800"/>
                <a:gd name="connsiteY4762" fmla="*/ 233839 h 514350"/>
                <a:gd name="connsiteX4763" fmla="*/ 3713321 w 6400800"/>
                <a:gd name="connsiteY4763" fmla="*/ 228124 h 514350"/>
                <a:gd name="connsiteX4764" fmla="*/ 3717131 w 6400800"/>
                <a:gd name="connsiteY4764" fmla="*/ 235744 h 514350"/>
                <a:gd name="connsiteX4765" fmla="*/ 3714274 w 6400800"/>
                <a:gd name="connsiteY4765" fmla="*/ 253841 h 514350"/>
                <a:gd name="connsiteX4766" fmla="*/ 3714274 w 6400800"/>
                <a:gd name="connsiteY4766" fmla="*/ 250984 h 514350"/>
                <a:gd name="connsiteX4767" fmla="*/ 3713321 w 6400800"/>
                <a:gd name="connsiteY4767" fmla="*/ 238601 h 514350"/>
                <a:gd name="connsiteX4768" fmla="*/ 3713321 w 6400800"/>
                <a:gd name="connsiteY4768" fmla="*/ 227171 h 514350"/>
                <a:gd name="connsiteX4769" fmla="*/ 3712369 w 6400800"/>
                <a:gd name="connsiteY4769" fmla="*/ 208121 h 514350"/>
                <a:gd name="connsiteX4770" fmla="*/ 3712369 w 6400800"/>
                <a:gd name="connsiteY4770" fmla="*/ 205264 h 514350"/>
                <a:gd name="connsiteX4771" fmla="*/ 3716179 w 6400800"/>
                <a:gd name="connsiteY4771" fmla="*/ 211931 h 514350"/>
                <a:gd name="connsiteX4772" fmla="*/ 3679984 w 6400800"/>
                <a:gd name="connsiteY4772" fmla="*/ 236696 h 514350"/>
                <a:gd name="connsiteX4773" fmla="*/ 3684746 w 6400800"/>
                <a:gd name="connsiteY4773" fmla="*/ 196691 h 514350"/>
                <a:gd name="connsiteX4774" fmla="*/ 3687604 w 6400800"/>
                <a:gd name="connsiteY4774" fmla="*/ 166211 h 514350"/>
                <a:gd name="connsiteX4775" fmla="*/ 3688556 w 6400800"/>
                <a:gd name="connsiteY4775" fmla="*/ 154781 h 514350"/>
                <a:gd name="connsiteX4776" fmla="*/ 3699034 w 6400800"/>
                <a:gd name="connsiteY4776" fmla="*/ 178594 h 514350"/>
                <a:gd name="connsiteX4777" fmla="*/ 3708559 w 6400800"/>
                <a:gd name="connsiteY4777" fmla="*/ 199549 h 514350"/>
                <a:gd name="connsiteX4778" fmla="*/ 3707606 w 6400800"/>
                <a:gd name="connsiteY4778" fmla="*/ 207169 h 514350"/>
                <a:gd name="connsiteX4779" fmla="*/ 3704749 w 6400800"/>
                <a:gd name="connsiteY4779" fmla="*/ 226219 h 514350"/>
                <a:gd name="connsiteX4780" fmla="*/ 3702844 w 6400800"/>
                <a:gd name="connsiteY4780" fmla="*/ 237649 h 514350"/>
                <a:gd name="connsiteX4781" fmla="*/ 3701891 w 6400800"/>
                <a:gd name="connsiteY4781" fmla="*/ 250984 h 514350"/>
                <a:gd name="connsiteX4782" fmla="*/ 3700939 w 6400800"/>
                <a:gd name="connsiteY4782" fmla="*/ 280511 h 514350"/>
                <a:gd name="connsiteX4783" fmla="*/ 3700939 w 6400800"/>
                <a:gd name="connsiteY4783" fmla="*/ 300514 h 514350"/>
                <a:gd name="connsiteX4784" fmla="*/ 3697129 w 6400800"/>
                <a:gd name="connsiteY4784" fmla="*/ 290036 h 514350"/>
                <a:gd name="connsiteX4785" fmla="*/ 3699034 w 6400800"/>
                <a:gd name="connsiteY4785" fmla="*/ 308134 h 514350"/>
                <a:gd name="connsiteX4786" fmla="*/ 3690461 w 6400800"/>
                <a:gd name="connsiteY4786" fmla="*/ 322421 h 514350"/>
                <a:gd name="connsiteX4787" fmla="*/ 3683794 w 6400800"/>
                <a:gd name="connsiteY4787" fmla="*/ 310991 h 514350"/>
                <a:gd name="connsiteX4788" fmla="*/ 3683794 w 6400800"/>
                <a:gd name="connsiteY4788" fmla="*/ 302419 h 514350"/>
                <a:gd name="connsiteX4789" fmla="*/ 3682841 w 6400800"/>
                <a:gd name="connsiteY4789" fmla="*/ 308134 h 514350"/>
                <a:gd name="connsiteX4790" fmla="*/ 3679031 w 6400800"/>
                <a:gd name="connsiteY4790" fmla="*/ 302419 h 514350"/>
                <a:gd name="connsiteX4791" fmla="*/ 3681889 w 6400800"/>
                <a:gd name="connsiteY4791" fmla="*/ 310991 h 514350"/>
                <a:gd name="connsiteX4792" fmla="*/ 3679984 w 6400800"/>
                <a:gd name="connsiteY4792" fmla="*/ 323374 h 514350"/>
                <a:gd name="connsiteX4793" fmla="*/ 3672364 w 6400800"/>
                <a:gd name="connsiteY4793" fmla="*/ 307181 h 514350"/>
                <a:gd name="connsiteX4794" fmla="*/ 3677126 w 6400800"/>
                <a:gd name="connsiteY4794" fmla="*/ 289084 h 514350"/>
                <a:gd name="connsiteX4795" fmla="*/ 3681889 w 6400800"/>
                <a:gd name="connsiteY4795" fmla="*/ 272891 h 514350"/>
                <a:gd name="connsiteX4796" fmla="*/ 3686651 w 6400800"/>
                <a:gd name="connsiteY4796" fmla="*/ 260509 h 514350"/>
                <a:gd name="connsiteX4797" fmla="*/ 3692366 w 6400800"/>
                <a:gd name="connsiteY4797" fmla="*/ 250031 h 514350"/>
                <a:gd name="connsiteX4798" fmla="*/ 3683794 w 6400800"/>
                <a:gd name="connsiteY4798" fmla="*/ 258604 h 514350"/>
                <a:gd name="connsiteX4799" fmla="*/ 3675221 w 6400800"/>
                <a:gd name="connsiteY4799" fmla="*/ 270034 h 514350"/>
                <a:gd name="connsiteX4800" fmla="*/ 3671411 w 6400800"/>
                <a:gd name="connsiteY4800" fmla="*/ 275749 h 514350"/>
                <a:gd name="connsiteX4801" fmla="*/ 3679984 w 6400800"/>
                <a:gd name="connsiteY4801" fmla="*/ 236696 h 514350"/>
                <a:gd name="connsiteX4802" fmla="*/ 3678079 w 6400800"/>
                <a:gd name="connsiteY4802" fmla="*/ 342424 h 514350"/>
                <a:gd name="connsiteX4803" fmla="*/ 3677126 w 6400800"/>
                <a:gd name="connsiteY4803" fmla="*/ 349091 h 514350"/>
                <a:gd name="connsiteX4804" fmla="*/ 3676174 w 6400800"/>
                <a:gd name="connsiteY4804" fmla="*/ 343376 h 514350"/>
                <a:gd name="connsiteX4805" fmla="*/ 3674269 w 6400800"/>
                <a:gd name="connsiteY4805" fmla="*/ 335756 h 514350"/>
                <a:gd name="connsiteX4806" fmla="*/ 3678079 w 6400800"/>
                <a:gd name="connsiteY4806" fmla="*/ 342424 h 514350"/>
                <a:gd name="connsiteX4807" fmla="*/ 3664744 w 6400800"/>
                <a:gd name="connsiteY4807" fmla="*/ 355759 h 514350"/>
                <a:gd name="connsiteX4808" fmla="*/ 3664744 w 6400800"/>
                <a:gd name="connsiteY4808" fmla="*/ 362426 h 514350"/>
                <a:gd name="connsiteX4809" fmla="*/ 3663791 w 6400800"/>
                <a:gd name="connsiteY4809" fmla="*/ 371951 h 514350"/>
                <a:gd name="connsiteX4810" fmla="*/ 3663791 w 6400800"/>
                <a:gd name="connsiteY4810" fmla="*/ 371951 h 514350"/>
                <a:gd name="connsiteX4811" fmla="*/ 3662839 w 6400800"/>
                <a:gd name="connsiteY4811" fmla="*/ 367189 h 514350"/>
                <a:gd name="connsiteX4812" fmla="*/ 3662839 w 6400800"/>
                <a:gd name="connsiteY4812" fmla="*/ 366236 h 514350"/>
                <a:gd name="connsiteX4813" fmla="*/ 3664744 w 6400800"/>
                <a:gd name="connsiteY4813" fmla="*/ 355759 h 514350"/>
                <a:gd name="connsiteX4814" fmla="*/ 3603784 w 6400800"/>
                <a:gd name="connsiteY4814" fmla="*/ 369094 h 514350"/>
                <a:gd name="connsiteX4815" fmla="*/ 3602831 w 6400800"/>
                <a:gd name="connsiteY4815" fmla="*/ 363379 h 514350"/>
                <a:gd name="connsiteX4816" fmla="*/ 3605689 w 6400800"/>
                <a:gd name="connsiteY4816" fmla="*/ 352901 h 514350"/>
                <a:gd name="connsiteX4817" fmla="*/ 3606641 w 6400800"/>
                <a:gd name="connsiteY4817" fmla="*/ 350044 h 514350"/>
                <a:gd name="connsiteX4818" fmla="*/ 3607594 w 6400800"/>
                <a:gd name="connsiteY4818" fmla="*/ 352901 h 514350"/>
                <a:gd name="connsiteX4819" fmla="*/ 3607594 w 6400800"/>
                <a:gd name="connsiteY4819" fmla="*/ 353854 h 514350"/>
                <a:gd name="connsiteX4820" fmla="*/ 3603784 w 6400800"/>
                <a:gd name="connsiteY4820" fmla="*/ 369094 h 514350"/>
                <a:gd name="connsiteX4821" fmla="*/ 3612356 w 6400800"/>
                <a:gd name="connsiteY4821" fmla="*/ 329089 h 514350"/>
                <a:gd name="connsiteX4822" fmla="*/ 3611404 w 6400800"/>
                <a:gd name="connsiteY4822" fmla="*/ 327184 h 514350"/>
                <a:gd name="connsiteX4823" fmla="*/ 3610451 w 6400800"/>
                <a:gd name="connsiteY4823" fmla="*/ 321469 h 514350"/>
                <a:gd name="connsiteX4824" fmla="*/ 3613309 w 6400800"/>
                <a:gd name="connsiteY4824" fmla="*/ 324326 h 514350"/>
                <a:gd name="connsiteX4825" fmla="*/ 3612356 w 6400800"/>
                <a:gd name="connsiteY4825" fmla="*/ 329089 h 514350"/>
                <a:gd name="connsiteX4826" fmla="*/ 3633311 w 6400800"/>
                <a:gd name="connsiteY4826" fmla="*/ 366236 h 514350"/>
                <a:gd name="connsiteX4827" fmla="*/ 3629501 w 6400800"/>
                <a:gd name="connsiteY4827" fmla="*/ 358616 h 514350"/>
                <a:gd name="connsiteX4828" fmla="*/ 3629501 w 6400800"/>
                <a:gd name="connsiteY4828" fmla="*/ 354806 h 514350"/>
                <a:gd name="connsiteX4829" fmla="*/ 3633311 w 6400800"/>
                <a:gd name="connsiteY4829" fmla="*/ 366236 h 514350"/>
                <a:gd name="connsiteX4830" fmla="*/ 3633311 w 6400800"/>
                <a:gd name="connsiteY4830" fmla="*/ 366236 h 514350"/>
                <a:gd name="connsiteX4831" fmla="*/ 3633311 w 6400800"/>
                <a:gd name="connsiteY4831" fmla="*/ 366236 h 514350"/>
                <a:gd name="connsiteX4832" fmla="*/ 3632359 w 6400800"/>
                <a:gd name="connsiteY4832" fmla="*/ 331946 h 514350"/>
                <a:gd name="connsiteX4833" fmla="*/ 3635216 w 6400800"/>
                <a:gd name="connsiteY4833" fmla="*/ 348139 h 514350"/>
                <a:gd name="connsiteX4834" fmla="*/ 3631406 w 6400800"/>
                <a:gd name="connsiteY4834" fmla="*/ 341471 h 514350"/>
                <a:gd name="connsiteX4835" fmla="*/ 3632359 w 6400800"/>
                <a:gd name="connsiteY4835" fmla="*/ 331946 h 514350"/>
                <a:gd name="connsiteX4836" fmla="*/ 3618071 w 6400800"/>
                <a:gd name="connsiteY4836" fmla="*/ 270034 h 514350"/>
                <a:gd name="connsiteX4837" fmla="*/ 3628549 w 6400800"/>
                <a:gd name="connsiteY4837" fmla="*/ 246221 h 514350"/>
                <a:gd name="connsiteX4838" fmla="*/ 3630454 w 6400800"/>
                <a:gd name="connsiteY4838" fmla="*/ 242411 h 514350"/>
                <a:gd name="connsiteX4839" fmla="*/ 3625691 w 6400800"/>
                <a:gd name="connsiteY4839" fmla="*/ 265271 h 514350"/>
                <a:gd name="connsiteX4840" fmla="*/ 3618071 w 6400800"/>
                <a:gd name="connsiteY4840" fmla="*/ 271939 h 514350"/>
                <a:gd name="connsiteX4841" fmla="*/ 3618071 w 6400800"/>
                <a:gd name="connsiteY4841" fmla="*/ 270034 h 514350"/>
                <a:gd name="connsiteX4842" fmla="*/ 3601879 w 6400800"/>
                <a:gd name="connsiteY4842" fmla="*/ 310039 h 514350"/>
                <a:gd name="connsiteX4843" fmla="*/ 3606641 w 6400800"/>
                <a:gd name="connsiteY4843" fmla="*/ 298609 h 514350"/>
                <a:gd name="connsiteX4844" fmla="*/ 3615214 w 6400800"/>
                <a:gd name="connsiteY4844" fmla="*/ 278606 h 514350"/>
                <a:gd name="connsiteX4845" fmla="*/ 3619976 w 6400800"/>
                <a:gd name="connsiteY4845" fmla="*/ 271939 h 514350"/>
                <a:gd name="connsiteX4846" fmla="*/ 3625691 w 6400800"/>
                <a:gd name="connsiteY4846" fmla="*/ 266224 h 514350"/>
                <a:gd name="connsiteX4847" fmla="*/ 3624739 w 6400800"/>
                <a:gd name="connsiteY4847" fmla="*/ 270986 h 514350"/>
                <a:gd name="connsiteX4848" fmla="*/ 3617119 w 6400800"/>
                <a:gd name="connsiteY4848" fmla="*/ 309086 h 514350"/>
                <a:gd name="connsiteX4849" fmla="*/ 3614261 w 6400800"/>
                <a:gd name="connsiteY4849" fmla="*/ 322421 h 514350"/>
                <a:gd name="connsiteX4850" fmla="*/ 3611404 w 6400800"/>
                <a:gd name="connsiteY4850" fmla="*/ 320516 h 514350"/>
                <a:gd name="connsiteX4851" fmla="*/ 3609499 w 6400800"/>
                <a:gd name="connsiteY4851" fmla="*/ 298609 h 514350"/>
                <a:gd name="connsiteX4852" fmla="*/ 3608546 w 6400800"/>
                <a:gd name="connsiteY4852" fmla="*/ 318611 h 514350"/>
                <a:gd name="connsiteX4853" fmla="*/ 3606641 w 6400800"/>
                <a:gd name="connsiteY4853" fmla="*/ 317659 h 514350"/>
                <a:gd name="connsiteX4854" fmla="*/ 3608546 w 6400800"/>
                <a:gd name="connsiteY4854" fmla="*/ 319564 h 514350"/>
                <a:gd name="connsiteX4855" fmla="*/ 3608546 w 6400800"/>
                <a:gd name="connsiteY4855" fmla="*/ 322421 h 514350"/>
                <a:gd name="connsiteX4856" fmla="*/ 3602831 w 6400800"/>
                <a:gd name="connsiteY4856" fmla="*/ 312896 h 514350"/>
                <a:gd name="connsiteX4857" fmla="*/ 3601879 w 6400800"/>
                <a:gd name="connsiteY4857" fmla="*/ 310039 h 514350"/>
                <a:gd name="connsiteX4858" fmla="*/ 3600926 w 6400800"/>
                <a:gd name="connsiteY4858" fmla="*/ 335756 h 514350"/>
                <a:gd name="connsiteX4859" fmla="*/ 3604736 w 6400800"/>
                <a:gd name="connsiteY4859" fmla="*/ 346234 h 514350"/>
                <a:gd name="connsiteX4860" fmla="*/ 3601879 w 6400800"/>
                <a:gd name="connsiteY4860" fmla="*/ 351949 h 514350"/>
                <a:gd name="connsiteX4861" fmla="*/ 3600926 w 6400800"/>
                <a:gd name="connsiteY4861" fmla="*/ 352901 h 514350"/>
                <a:gd name="connsiteX4862" fmla="*/ 3599974 w 6400800"/>
                <a:gd name="connsiteY4862" fmla="*/ 345281 h 514350"/>
                <a:gd name="connsiteX4863" fmla="*/ 3600926 w 6400800"/>
                <a:gd name="connsiteY4863" fmla="*/ 335756 h 514350"/>
                <a:gd name="connsiteX4864" fmla="*/ 3556159 w 6400800"/>
                <a:gd name="connsiteY4864" fmla="*/ 342424 h 514350"/>
                <a:gd name="connsiteX4865" fmla="*/ 3557111 w 6400800"/>
                <a:gd name="connsiteY4865" fmla="*/ 324326 h 514350"/>
                <a:gd name="connsiteX4866" fmla="*/ 3558064 w 6400800"/>
                <a:gd name="connsiteY4866" fmla="*/ 328136 h 514350"/>
                <a:gd name="connsiteX4867" fmla="*/ 3559016 w 6400800"/>
                <a:gd name="connsiteY4867" fmla="*/ 333851 h 514350"/>
                <a:gd name="connsiteX4868" fmla="*/ 3559016 w 6400800"/>
                <a:gd name="connsiteY4868" fmla="*/ 334804 h 514350"/>
                <a:gd name="connsiteX4869" fmla="*/ 3556159 w 6400800"/>
                <a:gd name="connsiteY4869" fmla="*/ 342424 h 514350"/>
                <a:gd name="connsiteX4870" fmla="*/ 3559969 w 6400800"/>
                <a:gd name="connsiteY4870" fmla="*/ 279559 h 514350"/>
                <a:gd name="connsiteX4871" fmla="*/ 3559016 w 6400800"/>
                <a:gd name="connsiteY4871" fmla="*/ 274796 h 514350"/>
                <a:gd name="connsiteX4872" fmla="*/ 3561874 w 6400800"/>
                <a:gd name="connsiteY4872" fmla="*/ 276701 h 514350"/>
                <a:gd name="connsiteX4873" fmla="*/ 3566636 w 6400800"/>
                <a:gd name="connsiteY4873" fmla="*/ 280511 h 514350"/>
                <a:gd name="connsiteX4874" fmla="*/ 3562826 w 6400800"/>
                <a:gd name="connsiteY4874" fmla="*/ 287179 h 514350"/>
                <a:gd name="connsiteX4875" fmla="*/ 3559969 w 6400800"/>
                <a:gd name="connsiteY4875" fmla="*/ 279559 h 514350"/>
                <a:gd name="connsiteX4876" fmla="*/ 3571399 w 6400800"/>
                <a:gd name="connsiteY4876" fmla="*/ 287179 h 514350"/>
                <a:gd name="connsiteX4877" fmla="*/ 3571399 w 6400800"/>
                <a:gd name="connsiteY4877" fmla="*/ 311944 h 514350"/>
                <a:gd name="connsiteX4878" fmla="*/ 3569494 w 6400800"/>
                <a:gd name="connsiteY4878" fmla="*/ 314801 h 514350"/>
                <a:gd name="connsiteX4879" fmla="*/ 3562826 w 6400800"/>
                <a:gd name="connsiteY4879" fmla="*/ 292894 h 514350"/>
                <a:gd name="connsiteX4880" fmla="*/ 3566636 w 6400800"/>
                <a:gd name="connsiteY4880" fmla="*/ 282416 h 514350"/>
                <a:gd name="connsiteX4881" fmla="*/ 3571399 w 6400800"/>
                <a:gd name="connsiteY4881" fmla="*/ 287179 h 514350"/>
                <a:gd name="connsiteX4882" fmla="*/ 3571399 w 6400800"/>
                <a:gd name="connsiteY4882" fmla="*/ 287179 h 514350"/>
                <a:gd name="connsiteX4883" fmla="*/ 3571399 w 6400800"/>
                <a:gd name="connsiteY4883" fmla="*/ 281464 h 514350"/>
                <a:gd name="connsiteX4884" fmla="*/ 3568541 w 6400800"/>
                <a:gd name="connsiteY4884" fmla="*/ 279559 h 514350"/>
                <a:gd name="connsiteX4885" fmla="*/ 3568541 w 6400800"/>
                <a:gd name="connsiteY4885" fmla="*/ 279559 h 514350"/>
                <a:gd name="connsiteX4886" fmla="*/ 3571399 w 6400800"/>
                <a:gd name="connsiteY4886" fmla="*/ 273844 h 514350"/>
                <a:gd name="connsiteX4887" fmla="*/ 3571399 w 6400800"/>
                <a:gd name="connsiteY4887" fmla="*/ 281464 h 514350"/>
                <a:gd name="connsiteX4888" fmla="*/ 3567589 w 6400800"/>
                <a:gd name="connsiteY4888" fmla="*/ 250031 h 514350"/>
                <a:gd name="connsiteX4889" fmla="*/ 3570446 w 6400800"/>
                <a:gd name="connsiteY4889" fmla="*/ 265271 h 514350"/>
                <a:gd name="connsiteX4890" fmla="*/ 3571399 w 6400800"/>
                <a:gd name="connsiteY4890" fmla="*/ 271939 h 514350"/>
                <a:gd name="connsiteX4891" fmla="*/ 3571399 w 6400800"/>
                <a:gd name="connsiteY4891" fmla="*/ 272891 h 514350"/>
                <a:gd name="connsiteX4892" fmla="*/ 3567589 w 6400800"/>
                <a:gd name="connsiteY4892" fmla="*/ 277654 h 514350"/>
                <a:gd name="connsiteX4893" fmla="*/ 3567589 w 6400800"/>
                <a:gd name="connsiteY4893" fmla="*/ 277654 h 514350"/>
                <a:gd name="connsiteX4894" fmla="*/ 3561874 w 6400800"/>
                <a:gd name="connsiteY4894" fmla="*/ 274796 h 514350"/>
                <a:gd name="connsiteX4895" fmla="*/ 3558064 w 6400800"/>
                <a:gd name="connsiteY4895" fmla="*/ 272891 h 514350"/>
                <a:gd name="connsiteX4896" fmla="*/ 3554254 w 6400800"/>
                <a:gd name="connsiteY4896" fmla="*/ 260509 h 514350"/>
                <a:gd name="connsiteX4897" fmla="*/ 3556159 w 6400800"/>
                <a:gd name="connsiteY4897" fmla="*/ 257651 h 514350"/>
                <a:gd name="connsiteX4898" fmla="*/ 3566636 w 6400800"/>
                <a:gd name="connsiteY4898" fmla="*/ 243364 h 514350"/>
                <a:gd name="connsiteX4899" fmla="*/ 3567589 w 6400800"/>
                <a:gd name="connsiteY4899" fmla="*/ 250031 h 514350"/>
                <a:gd name="connsiteX4900" fmla="*/ 3561874 w 6400800"/>
                <a:gd name="connsiteY4900" fmla="*/ 229076 h 514350"/>
                <a:gd name="connsiteX4901" fmla="*/ 3562826 w 6400800"/>
                <a:gd name="connsiteY4901" fmla="*/ 227171 h 514350"/>
                <a:gd name="connsiteX4902" fmla="*/ 3564731 w 6400800"/>
                <a:gd name="connsiteY4902" fmla="*/ 235744 h 514350"/>
                <a:gd name="connsiteX4903" fmla="*/ 3565684 w 6400800"/>
                <a:gd name="connsiteY4903" fmla="*/ 238601 h 514350"/>
                <a:gd name="connsiteX4904" fmla="*/ 3552349 w 6400800"/>
                <a:gd name="connsiteY4904" fmla="*/ 251936 h 514350"/>
                <a:gd name="connsiteX4905" fmla="*/ 3551396 w 6400800"/>
                <a:gd name="connsiteY4905" fmla="*/ 247174 h 514350"/>
                <a:gd name="connsiteX4906" fmla="*/ 3561874 w 6400800"/>
                <a:gd name="connsiteY4906" fmla="*/ 229076 h 514350"/>
                <a:gd name="connsiteX4907" fmla="*/ 3551396 w 6400800"/>
                <a:gd name="connsiteY4907" fmla="*/ 293846 h 514350"/>
                <a:gd name="connsiteX4908" fmla="*/ 3554254 w 6400800"/>
                <a:gd name="connsiteY4908" fmla="*/ 307181 h 514350"/>
                <a:gd name="connsiteX4909" fmla="*/ 3550444 w 6400800"/>
                <a:gd name="connsiteY4909" fmla="*/ 321469 h 514350"/>
                <a:gd name="connsiteX4910" fmla="*/ 3547586 w 6400800"/>
                <a:gd name="connsiteY4910" fmla="*/ 333851 h 514350"/>
                <a:gd name="connsiteX4911" fmla="*/ 3546634 w 6400800"/>
                <a:gd name="connsiteY4911" fmla="*/ 331946 h 514350"/>
                <a:gd name="connsiteX4912" fmla="*/ 3543776 w 6400800"/>
                <a:gd name="connsiteY4912" fmla="*/ 327184 h 514350"/>
                <a:gd name="connsiteX4913" fmla="*/ 3544729 w 6400800"/>
                <a:gd name="connsiteY4913" fmla="*/ 306229 h 514350"/>
                <a:gd name="connsiteX4914" fmla="*/ 3547586 w 6400800"/>
                <a:gd name="connsiteY4914" fmla="*/ 286226 h 514350"/>
                <a:gd name="connsiteX4915" fmla="*/ 3548539 w 6400800"/>
                <a:gd name="connsiteY4915" fmla="*/ 276701 h 514350"/>
                <a:gd name="connsiteX4916" fmla="*/ 3551396 w 6400800"/>
                <a:gd name="connsiteY4916" fmla="*/ 293846 h 514350"/>
                <a:gd name="connsiteX4917" fmla="*/ 3543776 w 6400800"/>
                <a:gd name="connsiteY4917" fmla="*/ 191929 h 514350"/>
                <a:gd name="connsiteX4918" fmla="*/ 3549491 w 6400800"/>
                <a:gd name="connsiteY4918" fmla="*/ 180499 h 514350"/>
                <a:gd name="connsiteX4919" fmla="*/ 3548539 w 6400800"/>
                <a:gd name="connsiteY4919" fmla="*/ 185261 h 514350"/>
                <a:gd name="connsiteX4920" fmla="*/ 3544729 w 6400800"/>
                <a:gd name="connsiteY4920" fmla="*/ 211931 h 514350"/>
                <a:gd name="connsiteX4921" fmla="*/ 3543776 w 6400800"/>
                <a:gd name="connsiteY4921" fmla="*/ 217646 h 514350"/>
                <a:gd name="connsiteX4922" fmla="*/ 3539014 w 6400800"/>
                <a:gd name="connsiteY4922" fmla="*/ 200501 h 514350"/>
                <a:gd name="connsiteX4923" fmla="*/ 3543776 w 6400800"/>
                <a:gd name="connsiteY4923" fmla="*/ 191929 h 514350"/>
                <a:gd name="connsiteX4924" fmla="*/ 3530441 w 6400800"/>
                <a:gd name="connsiteY4924" fmla="*/ 217646 h 514350"/>
                <a:gd name="connsiteX4925" fmla="*/ 3539014 w 6400800"/>
                <a:gd name="connsiteY4925" fmla="*/ 201454 h 514350"/>
                <a:gd name="connsiteX4926" fmla="*/ 3540919 w 6400800"/>
                <a:gd name="connsiteY4926" fmla="*/ 217646 h 514350"/>
                <a:gd name="connsiteX4927" fmla="*/ 3542824 w 6400800"/>
                <a:gd name="connsiteY4927" fmla="*/ 231934 h 514350"/>
                <a:gd name="connsiteX4928" fmla="*/ 3540919 w 6400800"/>
                <a:gd name="connsiteY4928" fmla="*/ 240506 h 514350"/>
                <a:gd name="connsiteX4929" fmla="*/ 3528536 w 6400800"/>
                <a:gd name="connsiteY4929" fmla="*/ 259556 h 514350"/>
                <a:gd name="connsiteX4930" fmla="*/ 3528536 w 6400800"/>
                <a:gd name="connsiteY4930" fmla="*/ 257651 h 514350"/>
                <a:gd name="connsiteX4931" fmla="*/ 3527584 w 6400800"/>
                <a:gd name="connsiteY4931" fmla="*/ 240506 h 514350"/>
                <a:gd name="connsiteX4932" fmla="*/ 3526631 w 6400800"/>
                <a:gd name="connsiteY4932" fmla="*/ 229076 h 514350"/>
                <a:gd name="connsiteX4933" fmla="*/ 3530441 w 6400800"/>
                <a:gd name="connsiteY4933" fmla="*/ 217646 h 514350"/>
                <a:gd name="connsiteX4934" fmla="*/ 3490436 w 6400800"/>
                <a:gd name="connsiteY4934" fmla="*/ 321469 h 514350"/>
                <a:gd name="connsiteX4935" fmla="*/ 3490436 w 6400800"/>
                <a:gd name="connsiteY4935" fmla="*/ 317659 h 514350"/>
                <a:gd name="connsiteX4936" fmla="*/ 3491389 w 6400800"/>
                <a:gd name="connsiteY4936" fmla="*/ 319564 h 514350"/>
                <a:gd name="connsiteX4937" fmla="*/ 3490436 w 6400800"/>
                <a:gd name="connsiteY4937" fmla="*/ 321469 h 514350"/>
                <a:gd name="connsiteX4938" fmla="*/ 3514249 w 6400800"/>
                <a:gd name="connsiteY4938" fmla="*/ 250984 h 514350"/>
                <a:gd name="connsiteX4939" fmla="*/ 3516154 w 6400800"/>
                <a:gd name="connsiteY4939" fmla="*/ 246221 h 514350"/>
                <a:gd name="connsiteX4940" fmla="*/ 3515201 w 6400800"/>
                <a:gd name="connsiteY4940" fmla="*/ 257651 h 514350"/>
                <a:gd name="connsiteX4941" fmla="*/ 3514249 w 6400800"/>
                <a:gd name="connsiteY4941" fmla="*/ 270986 h 514350"/>
                <a:gd name="connsiteX4942" fmla="*/ 3509486 w 6400800"/>
                <a:gd name="connsiteY4942" fmla="*/ 259556 h 514350"/>
                <a:gd name="connsiteX4943" fmla="*/ 3514249 w 6400800"/>
                <a:gd name="connsiteY4943" fmla="*/ 250984 h 514350"/>
                <a:gd name="connsiteX4944" fmla="*/ 3504724 w 6400800"/>
                <a:gd name="connsiteY4944" fmla="*/ 271939 h 514350"/>
                <a:gd name="connsiteX4945" fmla="*/ 3505676 w 6400800"/>
                <a:gd name="connsiteY4945" fmla="*/ 274796 h 514350"/>
                <a:gd name="connsiteX4946" fmla="*/ 3509486 w 6400800"/>
                <a:gd name="connsiteY4946" fmla="*/ 288131 h 514350"/>
                <a:gd name="connsiteX4947" fmla="*/ 3505676 w 6400800"/>
                <a:gd name="connsiteY4947" fmla="*/ 293846 h 514350"/>
                <a:gd name="connsiteX4948" fmla="*/ 3504724 w 6400800"/>
                <a:gd name="connsiteY4948" fmla="*/ 282416 h 514350"/>
                <a:gd name="connsiteX4949" fmla="*/ 3504724 w 6400800"/>
                <a:gd name="connsiteY4949" fmla="*/ 271939 h 514350"/>
                <a:gd name="connsiteX4950" fmla="*/ 3504724 w 6400800"/>
                <a:gd name="connsiteY4950" fmla="*/ 271939 h 514350"/>
                <a:gd name="connsiteX4951" fmla="*/ 3501866 w 6400800"/>
                <a:gd name="connsiteY4951" fmla="*/ 398621 h 514350"/>
                <a:gd name="connsiteX4952" fmla="*/ 3495199 w 6400800"/>
                <a:gd name="connsiteY4952" fmla="*/ 371951 h 514350"/>
                <a:gd name="connsiteX4953" fmla="*/ 3494246 w 6400800"/>
                <a:gd name="connsiteY4953" fmla="*/ 369094 h 514350"/>
                <a:gd name="connsiteX4954" fmla="*/ 3499961 w 6400800"/>
                <a:gd name="connsiteY4954" fmla="*/ 357664 h 514350"/>
                <a:gd name="connsiteX4955" fmla="*/ 3501866 w 6400800"/>
                <a:gd name="connsiteY4955" fmla="*/ 398621 h 514350"/>
                <a:gd name="connsiteX4956" fmla="*/ 3496151 w 6400800"/>
                <a:gd name="connsiteY4956" fmla="*/ 290036 h 514350"/>
                <a:gd name="connsiteX4957" fmla="*/ 3499009 w 6400800"/>
                <a:gd name="connsiteY4957" fmla="*/ 284321 h 514350"/>
                <a:gd name="connsiteX4958" fmla="*/ 3499009 w 6400800"/>
                <a:gd name="connsiteY4958" fmla="*/ 295751 h 514350"/>
                <a:gd name="connsiteX4959" fmla="*/ 3496151 w 6400800"/>
                <a:gd name="connsiteY4959" fmla="*/ 290036 h 514350"/>
                <a:gd name="connsiteX4960" fmla="*/ 3496151 w 6400800"/>
                <a:gd name="connsiteY4960" fmla="*/ 252889 h 514350"/>
                <a:gd name="connsiteX4961" fmla="*/ 3496151 w 6400800"/>
                <a:gd name="connsiteY4961" fmla="*/ 247174 h 514350"/>
                <a:gd name="connsiteX4962" fmla="*/ 3499009 w 6400800"/>
                <a:gd name="connsiteY4962" fmla="*/ 254794 h 514350"/>
                <a:gd name="connsiteX4963" fmla="*/ 3495199 w 6400800"/>
                <a:gd name="connsiteY4963" fmla="*/ 261461 h 514350"/>
                <a:gd name="connsiteX4964" fmla="*/ 3496151 w 6400800"/>
                <a:gd name="connsiteY4964" fmla="*/ 252889 h 514350"/>
                <a:gd name="connsiteX4965" fmla="*/ 3481864 w 6400800"/>
                <a:gd name="connsiteY4965" fmla="*/ 205264 h 514350"/>
                <a:gd name="connsiteX4966" fmla="*/ 3491389 w 6400800"/>
                <a:gd name="connsiteY4966" fmla="*/ 230029 h 514350"/>
                <a:gd name="connsiteX4967" fmla="*/ 3495199 w 6400800"/>
                <a:gd name="connsiteY4967" fmla="*/ 243364 h 514350"/>
                <a:gd name="connsiteX4968" fmla="*/ 3492341 w 6400800"/>
                <a:gd name="connsiteY4968" fmla="*/ 251936 h 514350"/>
                <a:gd name="connsiteX4969" fmla="*/ 3487579 w 6400800"/>
                <a:gd name="connsiteY4969" fmla="*/ 268129 h 514350"/>
                <a:gd name="connsiteX4970" fmla="*/ 3486626 w 6400800"/>
                <a:gd name="connsiteY4970" fmla="*/ 270034 h 514350"/>
                <a:gd name="connsiteX4971" fmla="*/ 3479959 w 6400800"/>
                <a:gd name="connsiteY4971" fmla="*/ 255746 h 514350"/>
                <a:gd name="connsiteX4972" fmla="*/ 3479959 w 6400800"/>
                <a:gd name="connsiteY4972" fmla="*/ 228124 h 514350"/>
                <a:gd name="connsiteX4973" fmla="*/ 3479959 w 6400800"/>
                <a:gd name="connsiteY4973" fmla="*/ 213836 h 514350"/>
                <a:gd name="connsiteX4974" fmla="*/ 3481864 w 6400800"/>
                <a:gd name="connsiteY4974" fmla="*/ 205264 h 514350"/>
                <a:gd name="connsiteX4975" fmla="*/ 3473291 w 6400800"/>
                <a:gd name="connsiteY4975" fmla="*/ 241459 h 514350"/>
                <a:gd name="connsiteX4976" fmla="*/ 3475196 w 6400800"/>
                <a:gd name="connsiteY4976" fmla="*/ 234791 h 514350"/>
                <a:gd name="connsiteX4977" fmla="*/ 3473291 w 6400800"/>
                <a:gd name="connsiteY4977" fmla="*/ 241459 h 514350"/>
                <a:gd name="connsiteX4978" fmla="*/ 3473291 w 6400800"/>
                <a:gd name="connsiteY4978" fmla="*/ 241459 h 514350"/>
                <a:gd name="connsiteX4979" fmla="*/ 3473291 w 6400800"/>
                <a:gd name="connsiteY4979" fmla="*/ 241459 h 514350"/>
                <a:gd name="connsiteX4980" fmla="*/ 3468529 w 6400800"/>
                <a:gd name="connsiteY4980" fmla="*/ 260509 h 514350"/>
                <a:gd name="connsiteX4981" fmla="*/ 3469481 w 6400800"/>
                <a:gd name="connsiteY4981" fmla="*/ 263366 h 514350"/>
                <a:gd name="connsiteX4982" fmla="*/ 3468529 w 6400800"/>
                <a:gd name="connsiteY4982" fmla="*/ 270986 h 514350"/>
                <a:gd name="connsiteX4983" fmla="*/ 3465671 w 6400800"/>
                <a:gd name="connsiteY4983" fmla="*/ 300514 h 514350"/>
                <a:gd name="connsiteX4984" fmla="*/ 3464719 w 6400800"/>
                <a:gd name="connsiteY4984" fmla="*/ 318611 h 514350"/>
                <a:gd name="connsiteX4985" fmla="*/ 3463766 w 6400800"/>
                <a:gd name="connsiteY4985" fmla="*/ 321469 h 514350"/>
                <a:gd name="connsiteX4986" fmla="*/ 3459956 w 6400800"/>
                <a:gd name="connsiteY4986" fmla="*/ 307181 h 514350"/>
                <a:gd name="connsiteX4987" fmla="*/ 3459956 w 6400800"/>
                <a:gd name="connsiteY4987" fmla="*/ 306229 h 514350"/>
                <a:gd name="connsiteX4988" fmla="*/ 3460909 w 6400800"/>
                <a:gd name="connsiteY4988" fmla="*/ 300514 h 514350"/>
                <a:gd name="connsiteX4989" fmla="*/ 3468529 w 6400800"/>
                <a:gd name="connsiteY4989" fmla="*/ 260509 h 514350"/>
                <a:gd name="connsiteX4990" fmla="*/ 3451384 w 6400800"/>
                <a:gd name="connsiteY4990" fmla="*/ 237649 h 514350"/>
                <a:gd name="connsiteX4991" fmla="*/ 3451384 w 6400800"/>
                <a:gd name="connsiteY4991" fmla="*/ 221456 h 514350"/>
                <a:gd name="connsiteX4992" fmla="*/ 3451384 w 6400800"/>
                <a:gd name="connsiteY4992" fmla="*/ 222409 h 514350"/>
                <a:gd name="connsiteX4993" fmla="*/ 3458051 w 6400800"/>
                <a:gd name="connsiteY4993" fmla="*/ 237649 h 514350"/>
                <a:gd name="connsiteX4994" fmla="*/ 3458051 w 6400800"/>
                <a:gd name="connsiteY4994" fmla="*/ 238601 h 514350"/>
                <a:gd name="connsiteX4995" fmla="*/ 3450431 w 6400800"/>
                <a:gd name="connsiteY4995" fmla="*/ 267176 h 514350"/>
                <a:gd name="connsiteX4996" fmla="*/ 3450431 w 6400800"/>
                <a:gd name="connsiteY4996" fmla="*/ 267176 h 514350"/>
                <a:gd name="connsiteX4997" fmla="*/ 3451384 w 6400800"/>
                <a:gd name="connsiteY4997" fmla="*/ 237649 h 514350"/>
                <a:gd name="connsiteX4998" fmla="*/ 3405664 w 6400800"/>
                <a:gd name="connsiteY4998" fmla="*/ 273844 h 514350"/>
                <a:gd name="connsiteX4999" fmla="*/ 3406616 w 6400800"/>
                <a:gd name="connsiteY4999" fmla="*/ 258604 h 514350"/>
                <a:gd name="connsiteX5000" fmla="*/ 3406616 w 6400800"/>
                <a:gd name="connsiteY5000" fmla="*/ 245269 h 514350"/>
                <a:gd name="connsiteX5001" fmla="*/ 3409474 w 6400800"/>
                <a:gd name="connsiteY5001" fmla="*/ 259556 h 514350"/>
                <a:gd name="connsiteX5002" fmla="*/ 3405664 w 6400800"/>
                <a:gd name="connsiteY5002" fmla="*/ 273844 h 514350"/>
                <a:gd name="connsiteX5003" fmla="*/ 3416141 w 6400800"/>
                <a:gd name="connsiteY5003" fmla="*/ 335756 h 514350"/>
                <a:gd name="connsiteX5004" fmla="*/ 3416141 w 6400800"/>
                <a:gd name="connsiteY5004" fmla="*/ 353854 h 514350"/>
                <a:gd name="connsiteX5005" fmla="*/ 3415189 w 6400800"/>
                <a:gd name="connsiteY5005" fmla="*/ 348139 h 514350"/>
                <a:gd name="connsiteX5006" fmla="*/ 3413284 w 6400800"/>
                <a:gd name="connsiteY5006" fmla="*/ 328136 h 514350"/>
                <a:gd name="connsiteX5007" fmla="*/ 3413284 w 6400800"/>
                <a:gd name="connsiteY5007" fmla="*/ 328136 h 514350"/>
                <a:gd name="connsiteX5008" fmla="*/ 3417094 w 6400800"/>
                <a:gd name="connsiteY5008" fmla="*/ 320516 h 514350"/>
                <a:gd name="connsiteX5009" fmla="*/ 3416141 w 6400800"/>
                <a:gd name="connsiteY5009" fmla="*/ 335756 h 514350"/>
                <a:gd name="connsiteX5010" fmla="*/ 3421856 w 6400800"/>
                <a:gd name="connsiteY5010" fmla="*/ 320516 h 514350"/>
                <a:gd name="connsiteX5011" fmla="*/ 3419951 w 6400800"/>
                <a:gd name="connsiteY5011" fmla="*/ 332899 h 514350"/>
                <a:gd name="connsiteX5012" fmla="*/ 3418046 w 6400800"/>
                <a:gd name="connsiteY5012" fmla="*/ 316706 h 514350"/>
                <a:gd name="connsiteX5013" fmla="*/ 3420904 w 6400800"/>
                <a:gd name="connsiteY5013" fmla="*/ 310991 h 514350"/>
                <a:gd name="connsiteX5014" fmla="*/ 3421856 w 6400800"/>
                <a:gd name="connsiteY5014" fmla="*/ 308134 h 514350"/>
                <a:gd name="connsiteX5015" fmla="*/ 3422809 w 6400800"/>
                <a:gd name="connsiteY5015" fmla="*/ 312896 h 514350"/>
                <a:gd name="connsiteX5016" fmla="*/ 3421856 w 6400800"/>
                <a:gd name="connsiteY5016" fmla="*/ 320516 h 514350"/>
                <a:gd name="connsiteX5017" fmla="*/ 3410426 w 6400800"/>
                <a:gd name="connsiteY5017" fmla="*/ 139541 h 514350"/>
                <a:gd name="connsiteX5018" fmla="*/ 3421856 w 6400800"/>
                <a:gd name="connsiteY5018" fmla="*/ 161449 h 514350"/>
                <a:gd name="connsiteX5019" fmla="*/ 3433286 w 6400800"/>
                <a:gd name="connsiteY5019" fmla="*/ 181451 h 514350"/>
                <a:gd name="connsiteX5020" fmla="*/ 3428524 w 6400800"/>
                <a:gd name="connsiteY5020" fmla="*/ 198596 h 514350"/>
                <a:gd name="connsiteX5021" fmla="*/ 3425666 w 6400800"/>
                <a:gd name="connsiteY5021" fmla="*/ 210026 h 514350"/>
                <a:gd name="connsiteX5022" fmla="*/ 3422809 w 6400800"/>
                <a:gd name="connsiteY5022" fmla="*/ 195739 h 514350"/>
                <a:gd name="connsiteX5023" fmla="*/ 3415189 w 6400800"/>
                <a:gd name="connsiteY5023" fmla="*/ 163354 h 514350"/>
                <a:gd name="connsiteX5024" fmla="*/ 3410426 w 6400800"/>
                <a:gd name="connsiteY5024" fmla="*/ 143351 h 514350"/>
                <a:gd name="connsiteX5025" fmla="*/ 3410426 w 6400800"/>
                <a:gd name="connsiteY5025" fmla="*/ 139541 h 514350"/>
                <a:gd name="connsiteX5026" fmla="*/ 3408521 w 6400800"/>
                <a:gd name="connsiteY5026" fmla="*/ 136684 h 514350"/>
                <a:gd name="connsiteX5027" fmla="*/ 3408521 w 6400800"/>
                <a:gd name="connsiteY5027" fmla="*/ 136684 h 514350"/>
                <a:gd name="connsiteX5028" fmla="*/ 3408521 w 6400800"/>
                <a:gd name="connsiteY5028" fmla="*/ 136684 h 514350"/>
                <a:gd name="connsiteX5029" fmla="*/ 3408521 w 6400800"/>
                <a:gd name="connsiteY5029" fmla="*/ 136684 h 514350"/>
                <a:gd name="connsiteX5030" fmla="*/ 3395186 w 6400800"/>
                <a:gd name="connsiteY5030" fmla="*/ 266224 h 514350"/>
                <a:gd name="connsiteX5031" fmla="*/ 3396139 w 6400800"/>
                <a:gd name="connsiteY5031" fmla="*/ 227171 h 514350"/>
                <a:gd name="connsiteX5032" fmla="*/ 3396139 w 6400800"/>
                <a:gd name="connsiteY5032" fmla="*/ 212884 h 514350"/>
                <a:gd name="connsiteX5033" fmla="*/ 3398996 w 6400800"/>
                <a:gd name="connsiteY5033" fmla="*/ 204311 h 514350"/>
                <a:gd name="connsiteX5034" fmla="*/ 3396139 w 6400800"/>
                <a:gd name="connsiteY5034" fmla="*/ 210026 h 514350"/>
                <a:gd name="connsiteX5035" fmla="*/ 3396139 w 6400800"/>
                <a:gd name="connsiteY5035" fmla="*/ 202406 h 514350"/>
                <a:gd name="connsiteX5036" fmla="*/ 3398044 w 6400800"/>
                <a:gd name="connsiteY5036" fmla="*/ 194786 h 514350"/>
                <a:gd name="connsiteX5037" fmla="*/ 3408521 w 6400800"/>
                <a:gd name="connsiteY5037" fmla="*/ 145256 h 514350"/>
                <a:gd name="connsiteX5038" fmla="*/ 3410426 w 6400800"/>
                <a:gd name="connsiteY5038" fmla="*/ 162401 h 514350"/>
                <a:gd name="connsiteX5039" fmla="*/ 3414236 w 6400800"/>
                <a:gd name="connsiteY5039" fmla="*/ 195739 h 514350"/>
                <a:gd name="connsiteX5040" fmla="*/ 3417094 w 6400800"/>
                <a:gd name="connsiteY5040" fmla="*/ 215741 h 514350"/>
                <a:gd name="connsiteX5041" fmla="*/ 3419951 w 6400800"/>
                <a:gd name="connsiteY5041" fmla="*/ 229076 h 514350"/>
                <a:gd name="connsiteX5042" fmla="*/ 3418046 w 6400800"/>
                <a:gd name="connsiteY5042" fmla="*/ 233839 h 514350"/>
                <a:gd name="connsiteX5043" fmla="*/ 3411379 w 6400800"/>
                <a:gd name="connsiteY5043" fmla="*/ 253841 h 514350"/>
                <a:gd name="connsiteX5044" fmla="*/ 3407569 w 6400800"/>
                <a:gd name="connsiteY5044" fmla="*/ 244316 h 514350"/>
                <a:gd name="connsiteX5045" fmla="*/ 3407569 w 6400800"/>
                <a:gd name="connsiteY5045" fmla="*/ 239554 h 514350"/>
                <a:gd name="connsiteX5046" fmla="*/ 3407569 w 6400800"/>
                <a:gd name="connsiteY5046" fmla="*/ 224314 h 514350"/>
                <a:gd name="connsiteX5047" fmla="*/ 3403759 w 6400800"/>
                <a:gd name="connsiteY5047" fmla="*/ 239554 h 514350"/>
                <a:gd name="connsiteX5048" fmla="*/ 3399949 w 6400800"/>
                <a:gd name="connsiteY5048" fmla="*/ 256699 h 514350"/>
                <a:gd name="connsiteX5049" fmla="*/ 3395186 w 6400800"/>
                <a:gd name="connsiteY5049" fmla="*/ 275749 h 514350"/>
                <a:gd name="connsiteX5050" fmla="*/ 3395186 w 6400800"/>
                <a:gd name="connsiteY5050" fmla="*/ 266224 h 514350"/>
                <a:gd name="connsiteX5051" fmla="*/ 3363754 w 6400800"/>
                <a:gd name="connsiteY5051" fmla="*/ 252889 h 514350"/>
                <a:gd name="connsiteX5052" fmla="*/ 3365659 w 6400800"/>
                <a:gd name="connsiteY5052" fmla="*/ 264319 h 514350"/>
                <a:gd name="connsiteX5053" fmla="*/ 3363754 w 6400800"/>
                <a:gd name="connsiteY5053" fmla="*/ 269081 h 514350"/>
                <a:gd name="connsiteX5054" fmla="*/ 3363754 w 6400800"/>
                <a:gd name="connsiteY5054" fmla="*/ 252889 h 514350"/>
                <a:gd name="connsiteX5055" fmla="*/ 3321844 w 6400800"/>
                <a:gd name="connsiteY5055" fmla="*/ 351949 h 514350"/>
                <a:gd name="connsiteX5056" fmla="*/ 3322796 w 6400800"/>
                <a:gd name="connsiteY5056" fmla="*/ 342424 h 514350"/>
                <a:gd name="connsiteX5057" fmla="*/ 3323749 w 6400800"/>
                <a:gd name="connsiteY5057" fmla="*/ 347186 h 514350"/>
                <a:gd name="connsiteX5058" fmla="*/ 3321844 w 6400800"/>
                <a:gd name="connsiteY5058" fmla="*/ 351949 h 514350"/>
                <a:gd name="connsiteX5059" fmla="*/ 3340894 w 6400800"/>
                <a:gd name="connsiteY5059" fmla="*/ 273844 h 514350"/>
                <a:gd name="connsiteX5060" fmla="*/ 3347561 w 6400800"/>
                <a:gd name="connsiteY5060" fmla="*/ 298609 h 514350"/>
                <a:gd name="connsiteX5061" fmla="*/ 3344704 w 6400800"/>
                <a:gd name="connsiteY5061" fmla="*/ 304324 h 514350"/>
                <a:gd name="connsiteX5062" fmla="*/ 3338989 w 6400800"/>
                <a:gd name="connsiteY5062" fmla="*/ 290989 h 514350"/>
                <a:gd name="connsiteX5063" fmla="*/ 3335179 w 6400800"/>
                <a:gd name="connsiteY5063" fmla="*/ 251936 h 514350"/>
                <a:gd name="connsiteX5064" fmla="*/ 3340894 w 6400800"/>
                <a:gd name="connsiteY5064" fmla="*/ 273844 h 514350"/>
                <a:gd name="connsiteX5065" fmla="*/ 3330416 w 6400800"/>
                <a:gd name="connsiteY5065" fmla="*/ 376714 h 514350"/>
                <a:gd name="connsiteX5066" fmla="*/ 3331369 w 6400800"/>
                <a:gd name="connsiteY5066" fmla="*/ 379571 h 514350"/>
                <a:gd name="connsiteX5067" fmla="*/ 3329464 w 6400800"/>
                <a:gd name="connsiteY5067" fmla="*/ 384334 h 514350"/>
                <a:gd name="connsiteX5068" fmla="*/ 3328511 w 6400800"/>
                <a:gd name="connsiteY5068" fmla="*/ 381476 h 514350"/>
                <a:gd name="connsiteX5069" fmla="*/ 3330416 w 6400800"/>
                <a:gd name="connsiteY5069" fmla="*/ 376714 h 514350"/>
                <a:gd name="connsiteX5070" fmla="*/ 3329464 w 6400800"/>
                <a:gd name="connsiteY5070" fmla="*/ 202406 h 514350"/>
                <a:gd name="connsiteX5071" fmla="*/ 3329464 w 6400800"/>
                <a:gd name="connsiteY5071" fmla="*/ 207169 h 514350"/>
                <a:gd name="connsiteX5072" fmla="*/ 3328511 w 6400800"/>
                <a:gd name="connsiteY5072" fmla="*/ 205264 h 514350"/>
                <a:gd name="connsiteX5073" fmla="*/ 3329464 w 6400800"/>
                <a:gd name="connsiteY5073" fmla="*/ 202406 h 514350"/>
                <a:gd name="connsiteX5074" fmla="*/ 3326606 w 6400800"/>
                <a:gd name="connsiteY5074" fmla="*/ 302419 h 514350"/>
                <a:gd name="connsiteX5075" fmla="*/ 3329464 w 6400800"/>
                <a:gd name="connsiteY5075" fmla="*/ 310039 h 514350"/>
                <a:gd name="connsiteX5076" fmla="*/ 3329464 w 6400800"/>
                <a:gd name="connsiteY5076" fmla="*/ 311944 h 514350"/>
                <a:gd name="connsiteX5077" fmla="*/ 3326606 w 6400800"/>
                <a:gd name="connsiteY5077" fmla="*/ 306229 h 514350"/>
                <a:gd name="connsiteX5078" fmla="*/ 3326606 w 6400800"/>
                <a:gd name="connsiteY5078" fmla="*/ 302419 h 514350"/>
                <a:gd name="connsiteX5079" fmla="*/ 3323749 w 6400800"/>
                <a:gd name="connsiteY5079" fmla="*/ 227171 h 514350"/>
                <a:gd name="connsiteX5080" fmla="*/ 3325654 w 6400800"/>
                <a:gd name="connsiteY5080" fmla="*/ 219551 h 514350"/>
                <a:gd name="connsiteX5081" fmla="*/ 3325654 w 6400800"/>
                <a:gd name="connsiteY5081" fmla="*/ 221456 h 514350"/>
                <a:gd name="connsiteX5082" fmla="*/ 3318034 w 6400800"/>
                <a:gd name="connsiteY5082" fmla="*/ 256699 h 514350"/>
                <a:gd name="connsiteX5083" fmla="*/ 3317081 w 6400800"/>
                <a:gd name="connsiteY5083" fmla="*/ 255746 h 514350"/>
                <a:gd name="connsiteX5084" fmla="*/ 3323749 w 6400800"/>
                <a:gd name="connsiteY5084" fmla="*/ 227171 h 514350"/>
                <a:gd name="connsiteX5085" fmla="*/ 3315176 w 6400800"/>
                <a:gd name="connsiteY5085" fmla="*/ 269081 h 514350"/>
                <a:gd name="connsiteX5086" fmla="*/ 3316129 w 6400800"/>
                <a:gd name="connsiteY5086" fmla="*/ 270986 h 514350"/>
                <a:gd name="connsiteX5087" fmla="*/ 3314224 w 6400800"/>
                <a:gd name="connsiteY5087" fmla="*/ 282416 h 514350"/>
                <a:gd name="connsiteX5088" fmla="*/ 3313271 w 6400800"/>
                <a:gd name="connsiteY5088" fmla="*/ 280511 h 514350"/>
                <a:gd name="connsiteX5089" fmla="*/ 3315176 w 6400800"/>
                <a:gd name="connsiteY5089" fmla="*/ 269081 h 514350"/>
                <a:gd name="connsiteX5090" fmla="*/ 3305651 w 6400800"/>
                <a:gd name="connsiteY5090" fmla="*/ 310991 h 514350"/>
                <a:gd name="connsiteX5091" fmla="*/ 3308509 w 6400800"/>
                <a:gd name="connsiteY5091" fmla="*/ 298609 h 514350"/>
                <a:gd name="connsiteX5092" fmla="*/ 3310414 w 6400800"/>
                <a:gd name="connsiteY5092" fmla="*/ 302419 h 514350"/>
                <a:gd name="connsiteX5093" fmla="*/ 3307556 w 6400800"/>
                <a:gd name="connsiteY5093" fmla="*/ 320516 h 514350"/>
                <a:gd name="connsiteX5094" fmla="*/ 3304699 w 6400800"/>
                <a:gd name="connsiteY5094" fmla="*/ 313849 h 514350"/>
                <a:gd name="connsiteX5095" fmla="*/ 3305651 w 6400800"/>
                <a:gd name="connsiteY5095" fmla="*/ 310991 h 514350"/>
                <a:gd name="connsiteX5096" fmla="*/ 3302794 w 6400800"/>
                <a:gd name="connsiteY5096" fmla="*/ 327184 h 514350"/>
                <a:gd name="connsiteX5097" fmla="*/ 3304699 w 6400800"/>
                <a:gd name="connsiteY5097" fmla="*/ 335756 h 514350"/>
                <a:gd name="connsiteX5098" fmla="*/ 3300889 w 6400800"/>
                <a:gd name="connsiteY5098" fmla="*/ 349091 h 514350"/>
                <a:gd name="connsiteX5099" fmla="*/ 3298984 w 6400800"/>
                <a:gd name="connsiteY5099" fmla="*/ 355759 h 514350"/>
                <a:gd name="connsiteX5100" fmla="*/ 3297079 w 6400800"/>
                <a:gd name="connsiteY5100" fmla="*/ 351949 h 514350"/>
                <a:gd name="connsiteX5101" fmla="*/ 3302794 w 6400800"/>
                <a:gd name="connsiteY5101" fmla="*/ 327184 h 514350"/>
                <a:gd name="connsiteX5102" fmla="*/ 3279934 w 6400800"/>
                <a:gd name="connsiteY5102" fmla="*/ 297656 h 514350"/>
                <a:gd name="connsiteX5103" fmla="*/ 3280886 w 6400800"/>
                <a:gd name="connsiteY5103" fmla="*/ 289084 h 514350"/>
                <a:gd name="connsiteX5104" fmla="*/ 3283744 w 6400800"/>
                <a:gd name="connsiteY5104" fmla="*/ 263366 h 514350"/>
                <a:gd name="connsiteX5105" fmla="*/ 3284696 w 6400800"/>
                <a:gd name="connsiteY5105" fmla="*/ 252889 h 514350"/>
                <a:gd name="connsiteX5106" fmla="*/ 3293269 w 6400800"/>
                <a:gd name="connsiteY5106" fmla="*/ 270034 h 514350"/>
                <a:gd name="connsiteX5107" fmla="*/ 3291364 w 6400800"/>
                <a:gd name="connsiteY5107" fmla="*/ 277654 h 514350"/>
                <a:gd name="connsiteX5108" fmla="*/ 3290411 w 6400800"/>
                <a:gd name="connsiteY5108" fmla="*/ 283369 h 514350"/>
                <a:gd name="connsiteX5109" fmla="*/ 3289459 w 6400800"/>
                <a:gd name="connsiteY5109" fmla="*/ 264319 h 514350"/>
                <a:gd name="connsiteX5110" fmla="*/ 3281839 w 6400800"/>
                <a:gd name="connsiteY5110" fmla="*/ 317659 h 514350"/>
                <a:gd name="connsiteX5111" fmla="*/ 3280886 w 6400800"/>
                <a:gd name="connsiteY5111" fmla="*/ 317659 h 514350"/>
                <a:gd name="connsiteX5112" fmla="*/ 3280886 w 6400800"/>
                <a:gd name="connsiteY5112" fmla="*/ 316706 h 514350"/>
                <a:gd name="connsiteX5113" fmla="*/ 3279934 w 6400800"/>
                <a:gd name="connsiteY5113" fmla="*/ 315754 h 514350"/>
                <a:gd name="connsiteX5114" fmla="*/ 3278981 w 6400800"/>
                <a:gd name="connsiteY5114" fmla="*/ 313849 h 514350"/>
                <a:gd name="connsiteX5115" fmla="*/ 3279934 w 6400800"/>
                <a:gd name="connsiteY5115" fmla="*/ 297656 h 514350"/>
                <a:gd name="connsiteX5116" fmla="*/ 3263741 w 6400800"/>
                <a:gd name="connsiteY5116" fmla="*/ 295751 h 514350"/>
                <a:gd name="connsiteX5117" fmla="*/ 3263741 w 6400800"/>
                <a:gd name="connsiteY5117" fmla="*/ 293846 h 514350"/>
                <a:gd name="connsiteX5118" fmla="*/ 3263741 w 6400800"/>
                <a:gd name="connsiteY5118" fmla="*/ 295751 h 514350"/>
                <a:gd name="connsiteX5119" fmla="*/ 3264694 w 6400800"/>
                <a:gd name="connsiteY5119" fmla="*/ 296704 h 514350"/>
                <a:gd name="connsiteX5120" fmla="*/ 3262789 w 6400800"/>
                <a:gd name="connsiteY5120" fmla="*/ 306229 h 514350"/>
                <a:gd name="connsiteX5121" fmla="*/ 3263741 w 6400800"/>
                <a:gd name="connsiteY5121" fmla="*/ 295751 h 514350"/>
                <a:gd name="connsiteX5122" fmla="*/ 3232309 w 6400800"/>
                <a:gd name="connsiteY5122" fmla="*/ 381476 h 514350"/>
                <a:gd name="connsiteX5123" fmla="*/ 3232309 w 6400800"/>
                <a:gd name="connsiteY5123" fmla="*/ 357664 h 514350"/>
                <a:gd name="connsiteX5124" fmla="*/ 3232309 w 6400800"/>
                <a:gd name="connsiteY5124" fmla="*/ 358616 h 514350"/>
                <a:gd name="connsiteX5125" fmla="*/ 3233261 w 6400800"/>
                <a:gd name="connsiteY5125" fmla="*/ 360521 h 514350"/>
                <a:gd name="connsiteX5126" fmla="*/ 3232309 w 6400800"/>
                <a:gd name="connsiteY5126" fmla="*/ 381476 h 514350"/>
                <a:gd name="connsiteX5127" fmla="*/ 3239929 w 6400800"/>
                <a:gd name="connsiteY5127" fmla="*/ 327184 h 514350"/>
                <a:gd name="connsiteX5128" fmla="*/ 3241834 w 6400800"/>
                <a:gd name="connsiteY5128" fmla="*/ 339566 h 514350"/>
                <a:gd name="connsiteX5129" fmla="*/ 3239929 w 6400800"/>
                <a:gd name="connsiteY5129" fmla="*/ 333851 h 514350"/>
                <a:gd name="connsiteX5130" fmla="*/ 3239929 w 6400800"/>
                <a:gd name="connsiteY5130" fmla="*/ 329089 h 514350"/>
                <a:gd name="connsiteX5131" fmla="*/ 3239929 w 6400800"/>
                <a:gd name="connsiteY5131" fmla="*/ 327184 h 514350"/>
                <a:gd name="connsiteX5132" fmla="*/ 3234214 w 6400800"/>
                <a:gd name="connsiteY5132" fmla="*/ 318611 h 514350"/>
                <a:gd name="connsiteX5133" fmla="*/ 3237071 w 6400800"/>
                <a:gd name="connsiteY5133" fmla="*/ 310039 h 514350"/>
                <a:gd name="connsiteX5134" fmla="*/ 3238024 w 6400800"/>
                <a:gd name="connsiteY5134" fmla="*/ 314801 h 514350"/>
                <a:gd name="connsiteX5135" fmla="*/ 3238024 w 6400800"/>
                <a:gd name="connsiteY5135" fmla="*/ 316706 h 514350"/>
                <a:gd name="connsiteX5136" fmla="*/ 3237071 w 6400800"/>
                <a:gd name="connsiteY5136" fmla="*/ 317659 h 514350"/>
                <a:gd name="connsiteX5137" fmla="*/ 3237071 w 6400800"/>
                <a:gd name="connsiteY5137" fmla="*/ 311944 h 514350"/>
                <a:gd name="connsiteX5138" fmla="*/ 3236119 w 6400800"/>
                <a:gd name="connsiteY5138" fmla="*/ 319564 h 514350"/>
                <a:gd name="connsiteX5139" fmla="*/ 3234214 w 6400800"/>
                <a:gd name="connsiteY5139" fmla="*/ 322421 h 514350"/>
                <a:gd name="connsiteX5140" fmla="*/ 3233261 w 6400800"/>
                <a:gd name="connsiteY5140" fmla="*/ 319564 h 514350"/>
                <a:gd name="connsiteX5141" fmla="*/ 3234214 w 6400800"/>
                <a:gd name="connsiteY5141" fmla="*/ 318611 h 514350"/>
                <a:gd name="connsiteX5142" fmla="*/ 3233261 w 6400800"/>
                <a:gd name="connsiteY5142" fmla="*/ 286226 h 514350"/>
                <a:gd name="connsiteX5143" fmla="*/ 3233261 w 6400800"/>
                <a:gd name="connsiteY5143" fmla="*/ 288131 h 514350"/>
                <a:gd name="connsiteX5144" fmla="*/ 3232309 w 6400800"/>
                <a:gd name="connsiteY5144" fmla="*/ 290036 h 514350"/>
                <a:gd name="connsiteX5145" fmla="*/ 3232309 w 6400800"/>
                <a:gd name="connsiteY5145" fmla="*/ 282416 h 514350"/>
                <a:gd name="connsiteX5146" fmla="*/ 3233261 w 6400800"/>
                <a:gd name="connsiteY5146" fmla="*/ 286226 h 514350"/>
                <a:gd name="connsiteX5147" fmla="*/ 3222784 w 6400800"/>
                <a:gd name="connsiteY5147" fmla="*/ 285274 h 514350"/>
                <a:gd name="connsiteX5148" fmla="*/ 3223736 w 6400800"/>
                <a:gd name="connsiteY5148" fmla="*/ 273844 h 514350"/>
                <a:gd name="connsiteX5149" fmla="*/ 3224689 w 6400800"/>
                <a:gd name="connsiteY5149" fmla="*/ 270034 h 514350"/>
                <a:gd name="connsiteX5150" fmla="*/ 3224689 w 6400800"/>
                <a:gd name="connsiteY5150" fmla="*/ 270986 h 514350"/>
                <a:gd name="connsiteX5151" fmla="*/ 3227546 w 6400800"/>
                <a:gd name="connsiteY5151" fmla="*/ 253841 h 514350"/>
                <a:gd name="connsiteX5152" fmla="*/ 3227546 w 6400800"/>
                <a:gd name="connsiteY5152" fmla="*/ 253841 h 514350"/>
                <a:gd name="connsiteX5153" fmla="*/ 3223736 w 6400800"/>
                <a:gd name="connsiteY5153" fmla="*/ 292894 h 514350"/>
                <a:gd name="connsiteX5154" fmla="*/ 3222784 w 6400800"/>
                <a:gd name="connsiteY5154" fmla="*/ 291941 h 514350"/>
                <a:gd name="connsiteX5155" fmla="*/ 3222784 w 6400800"/>
                <a:gd name="connsiteY5155" fmla="*/ 290989 h 514350"/>
                <a:gd name="connsiteX5156" fmla="*/ 3222784 w 6400800"/>
                <a:gd name="connsiteY5156" fmla="*/ 285274 h 514350"/>
                <a:gd name="connsiteX5157" fmla="*/ 3217069 w 6400800"/>
                <a:gd name="connsiteY5157" fmla="*/ 207169 h 514350"/>
                <a:gd name="connsiteX5158" fmla="*/ 3219926 w 6400800"/>
                <a:gd name="connsiteY5158" fmla="*/ 219551 h 514350"/>
                <a:gd name="connsiteX5159" fmla="*/ 3215164 w 6400800"/>
                <a:gd name="connsiteY5159" fmla="*/ 238601 h 514350"/>
                <a:gd name="connsiteX5160" fmla="*/ 3217069 w 6400800"/>
                <a:gd name="connsiteY5160" fmla="*/ 207169 h 514350"/>
                <a:gd name="connsiteX5161" fmla="*/ 3191351 w 6400800"/>
                <a:gd name="connsiteY5161" fmla="*/ 249079 h 514350"/>
                <a:gd name="connsiteX5162" fmla="*/ 3192304 w 6400800"/>
                <a:gd name="connsiteY5162" fmla="*/ 232886 h 514350"/>
                <a:gd name="connsiteX5163" fmla="*/ 3194209 w 6400800"/>
                <a:gd name="connsiteY5163" fmla="*/ 238601 h 514350"/>
                <a:gd name="connsiteX5164" fmla="*/ 3191351 w 6400800"/>
                <a:gd name="connsiteY5164" fmla="*/ 265271 h 514350"/>
                <a:gd name="connsiteX5165" fmla="*/ 3191351 w 6400800"/>
                <a:gd name="connsiteY5165" fmla="*/ 249079 h 514350"/>
                <a:gd name="connsiteX5166" fmla="*/ 3155156 w 6400800"/>
                <a:gd name="connsiteY5166" fmla="*/ 313849 h 514350"/>
                <a:gd name="connsiteX5167" fmla="*/ 3156109 w 6400800"/>
                <a:gd name="connsiteY5167" fmla="*/ 320516 h 514350"/>
                <a:gd name="connsiteX5168" fmla="*/ 3158014 w 6400800"/>
                <a:gd name="connsiteY5168" fmla="*/ 334804 h 514350"/>
                <a:gd name="connsiteX5169" fmla="*/ 3154204 w 6400800"/>
                <a:gd name="connsiteY5169" fmla="*/ 354806 h 514350"/>
                <a:gd name="connsiteX5170" fmla="*/ 3152299 w 6400800"/>
                <a:gd name="connsiteY5170" fmla="*/ 351949 h 514350"/>
                <a:gd name="connsiteX5171" fmla="*/ 3152299 w 6400800"/>
                <a:gd name="connsiteY5171" fmla="*/ 350044 h 514350"/>
                <a:gd name="connsiteX5172" fmla="*/ 3151346 w 6400800"/>
                <a:gd name="connsiteY5172" fmla="*/ 345281 h 514350"/>
                <a:gd name="connsiteX5173" fmla="*/ 3151346 w 6400800"/>
                <a:gd name="connsiteY5173" fmla="*/ 344329 h 514350"/>
                <a:gd name="connsiteX5174" fmla="*/ 3151346 w 6400800"/>
                <a:gd name="connsiteY5174" fmla="*/ 338614 h 514350"/>
                <a:gd name="connsiteX5175" fmla="*/ 3155156 w 6400800"/>
                <a:gd name="connsiteY5175" fmla="*/ 313849 h 514350"/>
                <a:gd name="connsiteX5176" fmla="*/ 3139916 w 6400800"/>
                <a:gd name="connsiteY5176" fmla="*/ 213836 h 514350"/>
                <a:gd name="connsiteX5177" fmla="*/ 3143726 w 6400800"/>
                <a:gd name="connsiteY5177" fmla="*/ 235744 h 514350"/>
                <a:gd name="connsiteX5178" fmla="*/ 3148489 w 6400800"/>
                <a:gd name="connsiteY5178" fmla="*/ 267176 h 514350"/>
                <a:gd name="connsiteX5179" fmla="*/ 3143726 w 6400800"/>
                <a:gd name="connsiteY5179" fmla="*/ 284321 h 514350"/>
                <a:gd name="connsiteX5180" fmla="*/ 3137059 w 6400800"/>
                <a:gd name="connsiteY5180" fmla="*/ 216694 h 514350"/>
                <a:gd name="connsiteX5181" fmla="*/ 3139916 w 6400800"/>
                <a:gd name="connsiteY5181" fmla="*/ 213836 h 514350"/>
                <a:gd name="connsiteX5182" fmla="*/ 3130391 w 6400800"/>
                <a:gd name="connsiteY5182" fmla="*/ 337661 h 514350"/>
                <a:gd name="connsiteX5183" fmla="*/ 3130391 w 6400800"/>
                <a:gd name="connsiteY5183" fmla="*/ 335756 h 514350"/>
                <a:gd name="connsiteX5184" fmla="*/ 3130391 w 6400800"/>
                <a:gd name="connsiteY5184" fmla="*/ 335756 h 514350"/>
                <a:gd name="connsiteX5185" fmla="*/ 3130391 w 6400800"/>
                <a:gd name="connsiteY5185" fmla="*/ 337661 h 514350"/>
                <a:gd name="connsiteX5186" fmla="*/ 3130391 w 6400800"/>
                <a:gd name="connsiteY5186" fmla="*/ 328136 h 514350"/>
                <a:gd name="connsiteX5187" fmla="*/ 3130391 w 6400800"/>
                <a:gd name="connsiteY5187" fmla="*/ 328136 h 514350"/>
                <a:gd name="connsiteX5188" fmla="*/ 3130391 w 6400800"/>
                <a:gd name="connsiteY5188" fmla="*/ 328136 h 514350"/>
                <a:gd name="connsiteX5189" fmla="*/ 3130391 w 6400800"/>
                <a:gd name="connsiteY5189" fmla="*/ 328136 h 514350"/>
                <a:gd name="connsiteX5190" fmla="*/ 3133249 w 6400800"/>
                <a:gd name="connsiteY5190" fmla="*/ 276701 h 514350"/>
                <a:gd name="connsiteX5191" fmla="*/ 3133249 w 6400800"/>
                <a:gd name="connsiteY5191" fmla="*/ 276701 h 514350"/>
                <a:gd name="connsiteX5192" fmla="*/ 3128486 w 6400800"/>
                <a:gd name="connsiteY5192" fmla="*/ 259556 h 514350"/>
                <a:gd name="connsiteX5193" fmla="*/ 3127534 w 6400800"/>
                <a:gd name="connsiteY5193" fmla="*/ 246221 h 514350"/>
                <a:gd name="connsiteX5194" fmla="*/ 3135154 w 6400800"/>
                <a:gd name="connsiteY5194" fmla="*/ 223361 h 514350"/>
                <a:gd name="connsiteX5195" fmla="*/ 3133249 w 6400800"/>
                <a:gd name="connsiteY5195" fmla="*/ 276701 h 514350"/>
                <a:gd name="connsiteX5196" fmla="*/ 3130391 w 6400800"/>
                <a:gd name="connsiteY5196" fmla="*/ 229076 h 514350"/>
                <a:gd name="connsiteX5197" fmla="*/ 3136106 w 6400800"/>
                <a:gd name="connsiteY5197" fmla="*/ 219551 h 514350"/>
                <a:gd name="connsiteX5198" fmla="*/ 3136106 w 6400800"/>
                <a:gd name="connsiteY5198" fmla="*/ 221456 h 514350"/>
                <a:gd name="connsiteX5199" fmla="*/ 3127534 w 6400800"/>
                <a:gd name="connsiteY5199" fmla="*/ 236696 h 514350"/>
                <a:gd name="connsiteX5200" fmla="*/ 3127534 w 6400800"/>
                <a:gd name="connsiteY5200" fmla="*/ 234791 h 514350"/>
                <a:gd name="connsiteX5201" fmla="*/ 3130391 w 6400800"/>
                <a:gd name="connsiteY5201" fmla="*/ 229076 h 514350"/>
                <a:gd name="connsiteX5202" fmla="*/ 3114199 w 6400800"/>
                <a:gd name="connsiteY5202" fmla="*/ 290036 h 514350"/>
                <a:gd name="connsiteX5203" fmla="*/ 3113246 w 6400800"/>
                <a:gd name="connsiteY5203" fmla="*/ 287179 h 514350"/>
                <a:gd name="connsiteX5204" fmla="*/ 3113246 w 6400800"/>
                <a:gd name="connsiteY5204" fmla="*/ 286226 h 514350"/>
                <a:gd name="connsiteX5205" fmla="*/ 3115151 w 6400800"/>
                <a:gd name="connsiteY5205" fmla="*/ 281464 h 514350"/>
                <a:gd name="connsiteX5206" fmla="*/ 3114199 w 6400800"/>
                <a:gd name="connsiteY5206" fmla="*/ 290036 h 514350"/>
                <a:gd name="connsiteX5207" fmla="*/ 3115151 w 6400800"/>
                <a:gd name="connsiteY5207" fmla="*/ 257651 h 514350"/>
                <a:gd name="connsiteX5208" fmla="*/ 3116104 w 6400800"/>
                <a:gd name="connsiteY5208" fmla="*/ 255746 h 514350"/>
                <a:gd name="connsiteX5209" fmla="*/ 3115151 w 6400800"/>
                <a:gd name="connsiteY5209" fmla="*/ 257651 h 514350"/>
                <a:gd name="connsiteX5210" fmla="*/ 3109436 w 6400800"/>
                <a:gd name="connsiteY5210" fmla="*/ 270034 h 514350"/>
                <a:gd name="connsiteX5211" fmla="*/ 3115151 w 6400800"/>
                <a:gd name="connsiteY5211" fmla="*/ 257651 h 514350"/>
                <a:gd name="connsiteX5212" fmla="*/ 3110389 w 6400800"/>
                <a:gd name="connsiteY5212" fmla="*/ 292894 h 514350"/>
                <a:gd name="connsiteX5213" fmla="*/ 3113246 w 6400800"/>
                <a:gd name="connsiteY5213" fmla="*/ 309086 h 514350"/>
                <a:gd name="connsiteX5214" fmla="*/ 3114199 w 6400800"/>
                <a:gd name="connsiteY5214" fmla="*/ 311944 h 514350"/>
                <a:gd name="connsiteX5215" fmla="*/ 3114199 w 6400800"/>
                <a:gd name="connsiteY5215" fmla="*/ 321469 h 514350"/>
                <a:gd name="connsiteX5216" fmla="*/ 3114199 w 6400800"/>
                <a:gd name="connsiteY5216" fmla="*/ 319564 h 514350"/>
                <a:gd name="connsiteX5217" fmla="*/ 3110389 w 6400800"/>
                <a:gd name="connsiteY5217" fmla="*/ 309086 h 514350"/>
                <a:gd name="connsiteX5218" fmla="*/ 3109436 w 6400800"/>
                <a:gd name="connsiteY5218" fmla="*/ 300514 h 514350"/>
                <a:gd name="connsiteX5219" fmla="*/ 3109436 w 6400800"/>
                <a:gd name="connsiteY5219" fmla="*/ 299561 h 514350"/>
                <a:gd name="connsiteX5220" fmla="*/ 3110389 w 6400800"/>
                <a:gd name="connsiteY5220" fmla="*/ 292894 h 514350"/>
                <a:gd name="connsiteX5221" fmla="*/ 3098006 w 6400800"/>
                <a:gd name="connsiteY5221" fmla="*/ 350996 h 514350"/>
                <a:gd name="connsiteX5222" fmla="*/ 3098006 w 6400800"/>
                <a:gd name="connsiteY5222" fmla="*/ 350996 h 514350"/>
                <a:gd name="connsiteX5223" fmla="*/ 3098006 w 6400800"/>
                <a:gd name="connsiteY5223" fmla="*/ 353854 h 514350"/>
                <a:gd name="connsiteX5224" fmla="*/ 3097054 w 6400800"/>
                <a:gd name="connsiteY5224" fmla="*/ 354806 h 514350"/>
                <a:gd name="connsiteX5225" fmla="*/ 3098006 w 6400800"/>
                <a:gd name="connsiteY5225" fmla="*/ 350996 h 514350"/>
                <a:gd name="connsiteX5226" fmla="*/ 3093244 w 6400800"/>
                <a:gd name="connsiteY5226" fmla="*/ 377666 h 514350"/>
                <a:gd name="connsiteX5227" fmla="*/ 3097054 w 6400800"/>
                <a:gd name="connsiteY5227" fmla="*/ 370046 h 514350"/>
                <a:gd name="connsiteX5228" fmla="*/ 3094196 w 6400800"/>
                <a:gd name="connsiteY5228" fmla="*/ 373856 h 514350"/>
                <a:gd name="connsiteX5229" fmla="*/ 3097054 w 6400800"/>
                <a:gd name="connsiteY5229" fmla="*/ 355759 h 514350"/>
                <a:gd name="connsiteX5230" fmla="*/ 3098006 w 6400800"/>
                <a:gd name="connsiteY5230" fmla="*/ 353854 h 514350"/>
                <a:gd name="connsiteX5231" fmla="*/ 3098006 w 6400800"/>
                <a:gd name="connsiteY5231" fmla="*/ 371951 h 514350"/>
                <a:gd name="connsiteX5232" fmla="*/ 3098006 w 6400800"/>
                <a:gd name="connsiteY5232" fmla="*/ 383381 h 514350"/>
                <a:gd name="connsiteX5233" fmla="*/ 3095149 w 6400800"/>
                <a:gd name="connsiteY5233" fmla="*/ 383381 h 514350"/>
                <a:gd name="connsiteX5234" fmla="*/ 3095149 w 6400800"/>
                <a:gd name="connsiteY5234" fmla="*/ 383381 h 514350"/>
                <a:gd name="connsiteX5235" fmla="*/ 3093244 w 6400800"/>
                <a:gd name="connsiteY5235" fmla="*/ 378619 h 514350"/>
                <a:gd name="connsiteX5236" fmla="*/ 3093244 w 6400800"/>
                <a:gd name="connsiteY5236" fmla="*/ 377666 h 514350"/>
                <a:gd name="connsiteX5237" fmla="*/ 3084671 w 6400800"/>
                <a:gd name="connsiteY5237" fmla="*/ 293846 h 514350"/>
                <a:gd name="connsiteX5238" fmla="*/ 3085624 w 6400800"/>
                <a:gd name="connsiteY5238" fmla="*/ 276701 h 514350"/>
                <a:gd name="connsiteX5239" fmla="*/ 3085624 w 6400800"/>
                <a:gd name="connsiteY5239" fmla="*/ 278606 h 514350"/>
                <a:gd name="connsiteX5240" fmla="*/ 3088481 w 6400800"/>
                <a:gd name="connsiteY5240" fmla="*/ 289084 h 514350"/>
                <a:gd name="connsiteX5241" fmla="*/ 3086576 w 6400800"/>
                <a:gd name="connsiteY5241" fmla="*/ 291941 h 514350"/>
                <a:gd name="connsiteX5242" fmla="*/ 3084671 w 6400800"/>
                <a:gd name="connsiteY5242" fmla="*/ 296704 h 514350"/>
                <a:gd name="connsiteX5243" fmla="*/ 3084671 w 6400800"/>
                <a:gd name="connsiteY5243" fmla="*/ 293846 h 514350"/>
                <a:gd name="connsiteX5244" fmla="*/ 3086576 w 6400800"/>
                <a:gd name="connsiteY5244" fmla="*/ 348139 h 514350"/>
                <a:gd name="connsiteX5245" fmla="*/ 3086576 w 6400800"/>
                <a:gd name="connsiteY5245" fmla="*/ 350044 h 514350"/>
                <a:gd name="connsiteX5246" fmla="*/ 3083719 w 6400800"/>
                <a:gd name="connsiteY5246" fmla="*/ 361474 h 514350"/>
                <a:gd name="connsiteX5247" fmla="*/ 3083719 w 6400800"/>
                <a:gd name="connsiteY5247" fmla="*/ 357664 h 514350"/>
                <a:gd name="connsiteX5248" fmla="*/ 3086576 w 6400800"/>
                <a:gd name="connsiteY5248" fmla="*/ 348139 h 514350"/>
                <a:gd name="connsiteX5249" fmla="*/ 3057049 w 6400800"/>
                <a:gd name="connsiteY5249" fmla="*/ 235744 h 514350"/>
                <a:gd name="connsiteX5250" fmla="*/ 3059906 w 6400800"/>
                <a:gd name="connsiteY5250" fmla="*/ 210979 h 514350"/>
                <a:gd name="connsiteX5251" fmla="*/ 3062764 w 6400800"/>
                <a:gd name="connsiteY5251" fmla="*/ 191929 h 514350"/>
                <a:gd name="connsiteX5252" fmla="*/ 3067526 w 6400800"/>
                <a:gd name="connsiteY5252" fmla="*/ 209074 h 514350"/>
                <a:gd name="connsiteX5253" fmla="*/ 3066574 w 6400800"/>
                <a:gd name="connsiteY5253" fmla="*/ 222409 h 514350"/>
                <a:gd name="connsiteX5254" fmla="*/ 3063716 w 6400800"/>
                <a:gd name="connsiteY5254" fmla="*/ 253841 h 514350"/>
                <a:gd name="connsiteX5255" fmla="*/ 3059906 w 6400800"/>
                <a:gd name="connsiteY5255" fmla="*/ 268129 h 514350"/>
                <a:gd name="connsiteX5256" fmla="*/ 3057049 w 6400800"/>
                <a:gd name="connsiteY5256" fmla="*/ 252889 h 514350"/>
                <a:gd name="connsiteX5257" fmla="*/ 3056096 w 6400800"/>
                <a:gd name="connsiteY5257" fmla="*/ 248126 h 514350"/>
                <a:gd name="connsiteX5258" fmla="*/ 3057049 w 6400800"/>
                <a:gd name="connsiteY5258" fmla="*/ 235744 h 514350"/>
                <a:gd name="connsiteX5259" fmla="*/ 3002756 w 6400800"/>
                <a:gd name="connsiteY5259" fmla="*/ 307181 h 514350"/>
                <a:gd name="connsiteX5260" fmla="*/ 3001804 w 6400800"/>
                <a:gd name="connsiteY5260" fmla="*/ 310039 h 514350"/>
                <a:gd name="connsiteX5261" fmla="*/ 3002756 w 6400800"/>
                <a:gd name="connsiteY5261" fmla="*/ 305276 h 514350"/>
                <a:gd name="connsiteX5262" fmla="*/ 3006566 w 6400800"/>
                <a:gd name="connsiteY5262" fmla="*/ 286226 h 514350"/>
                <a:gd name="connsiteX5263" fmla="*/ 3008471 w 6400800"/>
                <a:gd name="connsiteY5263" fmla="*/ 290036 h 514350"/>
                <a:gd name="connsiteX5264" fmla="*/ 3002756 w 6400800"/>
                <a:gd name="connsiteY5264" fmla="*/ 307181 h 514350"/>
                <a:gd name="connsiteX5265" fmla="*/ 3036094 w 6400800"/>
                <a:gd name="connsiteY5265" fmla="*/ 249079 h 514350"/>
                <a:gd name="connsiteX5266" fmla="*/ 3036094 w 6400800"/>
                <a:gd name="connsiteY5266" fmla="*/ 266224 h 514350"/>
                <a:gd name="connsiteX5267" fmla="*/ 3033236 w 6400800"/>
                <a:gd name="connsiteY5267" fmla="*/ 258604 h 514350"/>
                <a:gd name="connsiteX5268" fmla="*/ 3036094 w 6400800"/>
                <a:gd name="connsiteY5268" fmla="*/ 249079 h 514350"/>
                <a:gd name="connsiteX5269" fmla="*/ 3030379 w 6400800"/>
                <a:gd name="connsiteY5269" fmla="*/ 269081 h 514350"/>
                <a:gd name="connsiteX5270" fmla="*/ 3030379 w 6400800"/>
                <a:gd name="connsiteY5270" fmla="*/ 269081 h 514350"/>
                <a:gd name="connsiteX5271" fmla="*/ 3030379 w 6400800"/>
                <a:gd name="connsiteY5271" fmla="*/ 269081 h 514350"/>
                <a:gd name="connsiteX5272" fmla="*/ 3030379 w 6400800"/>
                <a:gd name="connsiteY5272" fmla="*/ 269081 h 514350"/>
                <a:gd name="connsiteX5273" fmla="*/ 3027521 w 6400800"/>
                <a:gd name="connsiteY5273" fmla="*/ 353854 h 514350"/>
                <a:gd name="connsiteX5274" fmla="*/ 3023711 w 6400800"/>
                <a:gd name="connsiteY5274" fmla="*/ 364331 h 514350"/>
                <a:gd name="connsiteX5275" fmla="*/ 3017996 w 6400800"/>
                <a:gd name="connsiteY5275" fmla="*/ 383381 h 514350"/>
                <a:gd name="connsiteX5276" fmla="*/ 3017044 w 6400800"/>
                <a:gd name="connsiteY5276" fmla="*/ 385286 h 514350"/>
                <a:gd name="connsiteX5277" fmla="*/ 3015139 w 6400800"/>
                <a:gd name="connsiteY5277" fmla="*/ 376714 h 514350"/>
                <a:gd name="connsiteX5278" fmla="*/ 3020854 w 6400800"/>
                <a:gd name="connsiteY5278" fmla="*/ 366236 h 514350"/>
                <a:gd name="connsiteX5279" fmla="*/ 3028474 w 6400800"/>
                <a:gd name="connsiteY5279" fmla="*/ 352901 h 514350"/>
                <a:gd name="connsiteX5280" fmla="*/ 3027521 w 6400800"/>
                <a:gd name="connsiteY5280" fmla="*/ 353854 h 514350"/>
                <a:gd name="connsiteX5281" fmla="*/ 3021806 w 6400800"/>
                <a:gd name="connsiteY5281" fmla="*/ 230029 h 514350"/>
                <a:gd name="connsiteX5282" fmla="*/ 3024664 w 6400800"/>
                <a:gd name="connsiteY5282" fmla="*/ 241459 h 514350"/>
                <a:gd name="connsiteX5283" fmla="*/ 3024664 w 6400800"/>
                <a:gd name="connsiteY5283" fmla="*/ 241459 h 514350"/>
                <a:gd name="connsiteX5284" fmla="*/ 3021806 w 6400800"/>
                <a:gd name="connsiteY5284" fmla="*/ 230029 h 514350"/>
                <a:gd name="connsiteX5285" fmla="*/ 3021806 w 6400800"/>
                <a:gd name="connsiteY5285" fmla="*/ 230029 h 514350"/>
                <a:gd name="connsiteX5286" fmla="*/ 3020854 w 6400800"/>
                <a:gd name="connsiteY5286" fmla="*/ 305276 h 514350"/>
                <a:gd name="connsiteX5287" fmla="*/ 3020854 w 6400800"/>
                <a:gd name="connsiteY5287" fmla="*/ 305276 h 514350"/>
                <a:gd name="connsiteX5288" fmla="*/ 3020854 w 6400800"/>
                <a:gd name="connsiteY5288" fmla="*/ 305276 h 514350"/>
                <a:gd name="connsiteX5289" fmla="*/ 3020854 w 6400800"/>
                <a:gd name="connsiteY5289" fmla="*/ 305276 h 514350"/>
                <a:gd name="connsiteX5290" fmla="*/ 3017996 w 6400800"/>
                <a:gd name="connsiteY5290" fmla="*/ 317659 h 514350"/>
                <a:gd name="connsiteX5291" fmla="*/ 3021806 w 6400800"/>
                <a:gd name="connsiteY5291" fmla="*/ 329089 h 514350"/>
                <a:gd name="connsiteX5292" fmla="*/ 3025616 w 6400800"/>
                <a:gd name="connsiteY5292" fmla="*/ 339566 h 514350"/>
                <a:gd name="connsiteX5293" fmla="*/ 3011329 w 6400800"/>
                <a:gd name="connsiteY5293" fmla="*/ 359569 h 514350"/>
                <a:gd name="connsiteX5294" fmla="*/ 3011329 w 6400800"/>
                <a:gd name="connsiteY5294" fmla="*/ 360521 h 514350"/>
                <a:gd name="connsiteX5295" fmla="*/ 3009424 w 6400800"/>
                <a:gd name="connsiteY5295" fmla="*/ 351949 h 514350"/>
                <a:gd name="connsiteX5296" fmla="*/ 3017996 w 6400800"/>
                <a:gd name="connsiteY5296" fmla="*/ 317659 h 514350"/>
                <a:gd name="connsiteX5297" fmla="*/ 3013234 w 6400800"/>
                <a:gd name="connsiteY5297" fmla="*/ 257651 h 514350"/>
                <a:gd name="connsiteX5298" fmla="*/ 3014186 w 6400800"/>
                <a:gd name="connsiteY5298" fmla="*/ 261461 h 514350"/>
                <a:gd name="connsiteX5299" fmla="*/ 3015139 w 6400800"/>
                <a:gd name="connsiteY5299" fmla="*/ 269081 h 514350"/>
                <a:gd name="connsiteX5300" fmla="*/ 3010376 w 6400800"/>
                <a:gd name="connsiteY5300" fmla="*/ 284321 h 514350"/>
                <a:gd name="connsiteX5301" fmla="*/ 3009424 w 6400800"/>
                <a:gd name="connsiteY5301" fmla="*/ 282416 h 514350"/>
                <a:gd name="connsiteX5302" fmla="*/ 3008471 w 6400800"/>
                <a:gd name="connsiteY5302" fmla="*/ 279559 h 514350"/>
                <a:gd name="connsiteX5303" fmla="*/ 3009424 w 6400800"/>
                <a:gd name="connsiteY5303" fmla="*/ 276701 h 514350"/>
                <a:gd name="connsiteX5304" fmla="*/ 3013234 w 6400800"/>
                <a:gd name="connsiteY5304" fmla="*/ 257651 h 514350"/>
                <a:gd name="connsiteX5305" fmla="*/ 3008471 w 6400800"/>
                <a:gd name="connsiteY5305" fmla="*/ 230029 h 514350"/>
                <a:gd name="connsiteX5306" fmla="*/ 3010376 w 6400800"/>
                <a:gd name="connsiteY5306" fmla="*/ 244316 h 514350"/>
                <a:gd name="connsiteX5307" fmla="*/ 3007519 w 6400800"/>
                <a:gd name="connsiteY5307" fmla="*/ 250984 h 514350"/>
                <a:gd name="connsiteX5308" fmla="*/ 3001804 w 6400800"/>
                <a:gd name="connsiteY5308" fmla="*/ 264319 h 514350"/>
                <a:gd name="connsiteX5309" fmla="*/ 3008471 w 6400800"/>
                <a:gd name="connsiteY5309" fmla="*/ 230029 h 514350"/>
                <a:gd name="connsiteX5310" fmla="*/ 3003709 w 6400800"/>
                <a:gd name="connsiteY5310" fmla="*/ 195739 h 514350"/>
                <a:gd name="connsiteX5311" fmla="*/ 3004661 w 6400800"/>
                <a:gd name="connsiteY5311" fmla="*/ 205264 h 514350"/>
                <a:gd name="connsiteX5312" fmla="*/ 2997994 w 6400800"/>
                <a:gd name="connsiteY5312" fmla="*/ 223361 h 514350"/>
                <a:gd name="connsiteX5313" fmla="*/ 2986564 w 6400800"/>
                <a:gd name="connsiteY5313" fmla="*/ 262414 h 514350"/>
                <a:gd name="connsiteX5314" fmla="*/ 2984659 w 6400800"/>
                <a:gd name="connsiteY5314" fmla="*/ 270986 h 514350"/>
                <a:gd name="connsiteX5315" fmla="*/ 2984659 w 6400800"/>
                <a:gd name="connsiteY5315" fmla="*/ 270986 h 514350"/>
                <a:gd name="connsiteX5316" fmla="*/ 3003709 w 6400800"/>
                <a:gd name="connsiteY5316" fmla="*/ 195739 h 514350"/>
                <a:gd name="connsiteX5317" fmla="*/ 2974181 w 6400800"/>
                <a:gd name="connsiteY5317" fmla="*/ 311944 h 514350"/>
                <a:gd name="connsiteX5318" fmla="*/ 2980849 w 6400800"/>
                <a:gd name="connsiteY5318" fmla="*/ 284321 h 514350"/>
                <a:gd name="connsiteX5319" fmla="*/ 2980849 w 6400800"/>
                <a:gd name="connsiteY5319" fmla="*/ 285274 h 514350"/>
                <a:gd name="connsiteX5320" fmla="*/ 2976086 w 6400800"/>
                <a:gd name="connsiteY5320" fmla="*/ 307181 h 514350"/>
                <a:gd name="connsiteX5321" fmla="*/ 2972276 w 6400800"/>
                <a:gd name="connsiteY5321" fmla="*/ 327184 h 514350"/>
                <a:gd name="connsiteX5322" fmla="*/ 2970371 w 6400800"/>
                <a:gd name="connsiteY5322" fmla="*/ 322421 h 514350"/>
                <a:gd name="connsiteX5323" fmla="*/ 2974181 w 6400800"/>
                <a:gd name="connsiteY5323" fmla="*/ 311944 h 514350"/>
                <a:gd name="connsiteX5324" fmla="*/ 2964656 w 6400800"/>
                <a:gd name="connsiteY5324" fmla="*/ 349091 h 514350"/>
                <a:gd name="connsiteX5325" fmla="*/ 2968466 w 6400800"/>
                <a:gd name="connsiteY5325" fmla="*/ 334804 h 514350"/>
                <a:gd name="connsiteX5326" fmla="*/ 2970371 w 6400800"/>
                <a:gd name="connsiteY5326" fmla="*/ 344329 h 514350"/>
                <a:gd name="connsiteX5327" fmla="*/ 2969419 w 6400800"/>
                <a:gd name="connsiteY5327" fmla="*/ 353854 h 514350"/>
                <a:gd name="connsiteX5328" fmla="*/ 2966561 w 6400800"/>
                <a:gd name="connsiteY5328" fmla="*/ 377666 h 514350"/>
                <a:gd name="connsiteX5329" fmla="*/ 2963704 w 6400800"/>
                <a:gd name="connsiteY5329" fmla="*/ 366236 h 514350"/>
                <a:gd name="connsiteX5330" fmla="*/ 2969419 w 6400800"/>
                <a:gd name="connsiteY5330" fmla="*/ 341471 h 514350"/>
                <a:gd name="connsiteX5331" fmla="*/ 2964656 w 6400800"/>
                <a:gd name="connsiteY5331" fmla="*/ 349091 h 514350"/>
                <a:gd name="connsiteX5332" fmla="*/ 2958941 w 6400800"/>
                <a:gd name="connsiteY5332" fmla="*/ 383381 h 514350"/>
                <a:gd name="connsiteX5333" fmla="*/ 2958941 w 6400800"/>
                <a:gd name="connsiteY5333" fmla="*/ 383381 h 514350"/>
                <a:gd name="connsiteX5334" fmla="*/ 2958941 w 6400800"/>
                <a:gd name="connsiteY5334" fmla="*/ 383381 h 514350"/>
                <a:gd name="connsiteX5335" fmla="*/ 2958941 w 6400800"/>
                <a:gd name="connsiteY5335" fmla="*/ 383381 h 514350"/>
                <a:gd name="connsiteX5336" fmla="*/ 2958941 w 6400800"/>
                <a:gd name="connsiteY5336" fmla="*/ 383381 h 514350"/>
                <a:gd name="connsiteX5337" fmla="*/ 2936081 w 6400800"/>
                <a:gd name="connsiteY5337" fmla="*/ 284321 h 514350"/>
                <a:gd name="connsiteX5338" fmla="*/ 2934176 w 6400800"/>
                <a:gd name="connsiteY5338" fmla="*/ 273844 h 514350"/>
                <a:gd name="connsiteX5339" fmla="*/ 2936081 w 6400800"/>
                <a:gd name="connsiteY5339" fmla="*/ 271939 h 514350"/>
                <a:gd name="connsiteX5340" fmla="*/ 2936081 w 6400800"/>
                <a:gd name="connsiteY5340" fmla="*/ 284321 h 514350"/>
                <a:gd name="connsiteX5341" fmla="*/ 2936081 w 6400800"/>
                <a:gd name="connsiteY5341" fmla="*/ 267176 h 514350"/>
                <a:gd name="connsiteX5342" fmla="*/ 2936081 w 6400800"/>
                <a:gd name="connsiteY5342" fmla="*/ 267176 h 514350"/>
                <a:gd name="connsiteX5343" fmla="*/ 2934176 w 6400800"/>
                <a:gd name="connsiteY5343" fmla="*/ 269081 h 514350"/>
                <a:gd name="connsiteX5344" fmla="*/ 2936081 w 6400800"/>
                <a:gd name="connsiteY5344" fmla="*/ 265271 h 514350"/>
                <a:gd name="connsiteX5345" fmla="*/ 2936081 w 6400800"/>
                <a:gd name="connsiteY5345" fmla="*/ 267176 h 514350"/>
                <a:gd name="connsiteX5346" fmla="*/ 2929414 w 6400800"/>
                <a:gd name="connsiteY5346" fmla="*/ 243364 h 514350"/>
                <a:gd name="connsiteX5347" fmla="*/ 2930366 w 6400800"/>
                <a:gd name="connsiteY5347" fmla="*/ 243364 h 514350"/>
                <a:gd name="connsiteX5348" fmla="*/ 2933224 w 6400800"/>
                <a:gd name="connsiteY5348" fmla="*/ 244316 h 514350"/>
                <a:gd name="connsiteX5349" fmla="*/ 2934176 w 6400800"/>
                <a:gd name="connsiteY5349" fmla="*/ 255746 h 514350"/>
                <a:gd name="connsiteX5350" fmla="*/ 2931319 w 6400800"/>
                <a:gd name="connsiteY5350" fmla="*/ 261461 h 514350"/>
                <a:gd name="connsiteX5351" fmla="*/ 2927509 w 6400800"/>
                <a:gd name="connsiteY5351" fmla="*/ 248126 h 514350"/>
                <a:gd name="connsiteX5352" fmla="*/ 2929414 w 6400800"/>
                <a:gd name="connsiteY5352" fmla="*/ 243364 h 514350"/>
                <a:gd name="connsiteX5353" fmla="*/ 2917984 w 6400800"/>
                <a:gd name="connsiteY5353" fmla="*/ 351949 h 514350"/>
                <a:gd name="connsiteX5354" fmla="*/ 2918936 w 6400800"/>
                <a:gd name="connsiteY5354" fmla="*/ 353854 h 514350"/>
                <a:gd name="connsiteX5355" fmla="*/ 2919889 w 6400800"/>
                <a:gd name="connsiteY5355" fmla="*/ 363379 h 514350"/>
                <a:gd name="connsiteX5356" fmla="*/ 2922746 w 6400800"/>
                <a:gd name="connsiteY5356" fmla="*/ 380524 h 514350"/>
                <a:gd name="connsiteX5357" fmla="*/ 2920841 w 6400800"/>
                <a:gd name="connsiteY5357" fmla="*/ 380524 h 514350"/>
                <a:gd name="connsiteX5358" fmla="*/ 2913221 w 6400800"/>
                <a:gd name="connsiteY5358" fmla="*/ 362426 h 514350"/>
                <a:gd name="connsiteX5359" fmla="*/ 2917984 w 6400800"/>
                <a:gd name="connsiteY5359" fmla="*/ 351949 h 514350"/>
                <a:gd name="connsiteX5360" fmla="*/ 2904649 w 6400800"/>
                <a:gd name="connsiteY5360" fmla="*/ 224314 h 514350"/>
                <a:gd name="connsiteX5361" fmla="*/ 2904649 w 6400800"/>
                <a:gd name="connsiteY5361" fmla="*/ 224314 h 514350"/>
                <a:gd name="connsiteX5362" fmla="*/ 2903696 w 6400800"/>
                <a:gd name="connsiteY5362" fmla="*/ 237649 h 514350"/>
                <a:gd name="connsiteX5363" fmla="*/ 2902744 w 6400800"/>
                <a:gd name="connsiteY5363" fmla="*/ 250031 h 514350"/>
                <a:gd name="connsiteX5364" fmla="*/ 2900839 w 6400800"/>
                <a:gd name="connsiteY5364" fmla="*/ 235744 h 514350"/>
                <a:gd name="connsiteX5365" fmla="*/ 2904649 w 6400800"/>
                <a:gd name="connsiteY5365" fmla="*/ 224314 h 514350"/>
                <a:gd name="connsiteX5366" fmla="*/ 2885599 w 6400800"/>
                <a:gd name="connsiteY5366" fmla="*/ 294799 h 514350"/>
                <a:gd name="connsiteX5367" fmla="*/ 2888456 w 6400800"/>
                <a:gd name="connsiteY5367" fmla="*/ 280511 h 514350"/>
                <a:gd name="connsiteX5368" fmla="*/ 2889409 w 6400800"/>
                <a:gd name="connsiteY5368" fmla="*/ 308134 h 514350"/>
                <a:gd name="connsiteX5369" fmla="*/ 2884646 w 6400800"/>
                <a:gd name="connsiteY5369" fmla="*/ 297656 h 514350"/>
                <a:gd name="connsiteX5370" fmla="*/ 2885599 w 6400800"/>
                <a:gd name="connsiteY5370" fmla="*/ 294799 h 514350"/>
                <a:gd name="connsiteX5371" fmla="*/ 2869406 w 6400800"/>
                <a:gd name="connsiteY5371" fmla="*/ 301466 h 514350"/>
                <a:gd name="connsiteX5372" fmla="*/ 2869406 w 6400800"/>
                <a:gd name="connsiteY5372" fmla="*/ 301466 h 514350"/>
                <a:gd name="connsiteX5373" fmla="*/ 2869406 w 6400800"/>
                <a:gd name="connsiteY5373" fmla="*/ 302419 h 514350"/>
                <a:gd name="connsiteX5374" fmla="*/ 2868454 w 6400800"/>
                <a:gd name="connsiteY5374" fmla="*/ 305276 h 514350"/>
                <a:gd name="connsiteX5375" fmla="*/ 2856071 w 6400800"/>
                <a:gd name="connsiteY5375" fmla="*/ 284321 h 514350"/>
                <a:gd name="connsiteX5376" fmla="*/ 2855119 w 6400800"/>
                <a:gd name="connsiteY5376" fmla="*/ 282416 h 514350"/>
                <a:gd name="connsiteX5377" fmla="*/ 2857976 w 6400800"/>
                <a:gd name="connsiteY5377" fmla="*/ 273844 h 514350"/>
                <a:gd name="connsiteX5378" fmla="*/ 2869406 w 6400800"/>
                <a:gd name="connsiteY5378" fmla="*/ 301466 h 514350"/>
                <a:gd name="connsiteX5379" fmla="*/ 2851309 w 6400800"/>
                <a:gd name="connsiteY5379" fmla="*/ 262414 h 514350"/>
                <a:gd name="connsiteX5380" fmla="*/ 2851309 w 6400800"/>
                <a:gd name="connsiteY5380" fmla="*/ 259556 h 514350"/>
                <a:gd name="connsiteX5381" fmla="*/ 2855119 w 6400800"/>
                <a:gd name="connsiteY5381" fmla="*/ 267176 h 514350"/>
                <a:gd name="connsiteX5382" fmla="*/ 2856071 w 6400800"/>
                <a:gd name="connsiteY5382" fmla="*/ 269081 h 514350"/>
                <a:gd name="connsiteX5383" fmla="*/ 2851309 w 6400800"/>
                <a:gd name="connsiteY5383" fmla="*/ 276701 h 514350"/>
                <a:gd name="connsiteX5384" fmla="*/ 2850356 w 6400800"/>
                <a:gd name="connsiteY5384" fmla="*/ 274796 h 514350"/>
                <a:gd name="connsiteX5385" fmla="*/ 2851309 w 6400800"/>
                <a:gd name="connsiteY5385" fmla="*/ 262414 h 514350"/>
                <a:gd name="connsiteX5386" fmla="*/ 2848451 w 6400800"/>
                <a:gd name="connsiteY5386" fmla="*/ 312896 h 514350"/>
                <a:gd name="connsiteX5387" fmla="*/ 2848451 w 6400800"/>
                <a:gd name="connsiteY5387" fmla="*/ 302419 h 514350"/>
                <a:gd name="connsiteX5388" fmla="*/ 2860834 w 6400800"/>
                <a:gd name="connsiteY5388" fmla="*/ 327184 h 514350"/>
                <a:gd name="connsiteX5389" fmla="*/ 2856071 w 6400800"/>
                <a:gd name="connsiteY5389" fmla="*/ 344329 h 514350"/>
                <a:gd name="connsiteX5390" fmla="*/ 2853214 w 6400800"/>
                <a:gd name="connsiteY5390" fmla="*/ 355759 h 514350"/>
                <a:gd name="connsiteX5391" fmla="*/ 2851309 w 6400800"/>
                <a:gd name="connsiteY5391" fmla="*/ 341471 h 514350"/>
                <a:gd name="connsiteX5392" fmla="*/ 2847499 w 6400800"/>
                <a:gd name="connsiteY5392" fmla="*/ 316706 h 514350"/>
                <a:gd name="connsiteX5393" fmla="*/ 2848451 w 6400800"/>
                <a:gd name="connsiteY5393" fmla="*/ 312896 h 514350"/>
                <a:gd name="connsiteX5394" fmla="*/ 2836069 w 6400800"/>
                <a:gd name="connsiteY5394" fmla="*/ 226219 h 514350"/>
                <a:gd name="connsiteX5395" fmla="*/ 2847499 w 6400800"/>
                <a:gd name="connsiteY5395" fmla="*/ 251936 h 514350"/>
                <a:gd name="connsiteX5396" fmla="*/ 2844641 w 6400800"/>
                <a:gd name="connsiteY5396" fmla="*/ 261461 h 514350"/>
                <a:gd name="connsiteX5397" fmla="*/ 2843689 w 6400800"/>
                <a:gd name="connsiteY5397" fmla="*/ 266224 h 514350"/>
                <a:gd name="connsiteX5398" fmla="*/ 2838926 w 6400800"/>
                <a:gd name="connsiteY5398" fmla="*/ 258604 h 514350"/>
                <a:gd name="connsiteX5399" fmla="*/ 2834164 w 6400800"/>
                <a:gd name="connsiteY5399" fmla="*/ 229076 h 514350"/>
                <a:gd name="connsiteX5400" fmla="*/ 2836069 w 6400800"/>
                <a:gd name="connsiteY5400" fmla="*/ 226219 h 514350"/>
                <a:gd name="connsiteX5401" fmla="*/ 2830354 w 6400800"/>
                <a:gd name="connsiteY5401" fmla="*/ 305276 h 514350"/>
                <a:gd name="connsiteX5402" fmla="*/ 2831306 w 6400800"/>
                <a:gd name="connsiteY5402" fmla="*/ 312896 h 514350"/>
                <a:gd name="connsiteX5403" fmla="*/ 2831306 w 6400800"/>
                <a:gd name="connsiteY5403" fmla="*/ 313849 h 514350"/>
                <a:gd name="connsiteX5404" fmla="*/ 2830354 w 6400800"/>
                <a:gd name="connsiteY5404" fmla="*/ 308134 h 514350"/>
                <a:gd name="connsiteX5405" fmla="*/ 2830354 w 6400800"/>
                <a:gd name="connsiteY5405" fmla="*/ 305276 h 514350"/>
                <a:gd name="connsiteX5406" fmla="*/ 2829401 w 6400800"/>
                <a:gd name="connsiteY5406" fmla="*/ 292894 h 514350"/>
                <a:gd name="connsiteX5407" fmla="*/ 2830354 w 6400800"/>
                <a:gd name="connsiteY5407" fmla="*/ 299561 h 514350"/>
                <a:gd name="connsiteX5408" fmla="*/ 2829401 w 6400800"/>
                <a:gd name="connsiteY5408" fmla="*/ 301466 h 514350"/>
                <a:gd name="connsiteX5409" fmla="*/ 2829401 w 6400800"/>
                <a:gd name="connsiteY5409" fmla="*/ 299561 h 514350"/>
                <a:gd name="connsiteX5410" fmla="*/ 2829401 w 6400800"/>
                <a:gd name="connsiteY5410" fmla="*/ 292894 h 514350"/>
                <a:gd name="connsiteX5411" fmla="*/ 2785586 w 6400800"/>
                <a:gd name="connsiteY5411" fmla="*/ 268129 h 514350"/>
                <a:gd name="connsiteX5412" fmla="*/ 2782729 w 6400800"/>
                <a:gd name="connsiteY5412" fmla="*/ 271939 h 514350"/>
                <a:gd name="connsiteX5413" fmla="*/ 2782729 w 6400800"/>
                <a:gd name="connsiteY5413" fmla="*/ 269081 h 514350"/>
                <a:gd name="connsiteX5414" fmla="*/ 2782729 w 6400800"/>
                <a:gd name="connsiteY5414" fmla="*/ 265271 h 514350"/>
                <a:gd name="connsiteX5415" fmla="*/ 2786539 w 6400800"/>
                <a:gd name="connsiteY5415" fmla="*/ 258604 h 514350"/>
                <a:gd name="connsiteX5416" fmla="*/ 2786539 w 6400800"/>
                <a:gd name="connsiteY5416" fmla="*/ 260509 h 514350"/>
                <a:gd name="connsiteX5417" fmla="*/ 2785586 w 6400800"/>
                <a:gd name="connsiteY5417" fmla="*/ 268129 h 514350"/>
                <a:gd name="connsiteX5418" fmla="*/ 2796064 w 6400800"/>
                <a:gd name="connsiteY5418" fmla="*/ 268129 h 514350"/>
                <a:gd name="connsiteX5419" fmla="*/ 2796064 w 6400800"/>
                <a:gd name="connsiteY5419" fmla="*/ 268129 h 514350"/>
                <a:gd name="connsiteX5420" fmla="*/ 2798921 w 6400800"/>
                <a:gd name="connsiteY5420" fmla="*/ 263366 h 514350"/>
                <a:gd name="connsiteX5421" fmla="*/ 2796064 w 6400800"/>
                <a:gd name="connsiteY5421" fmla="*/ 268129 h 514350"/>
                <a:gd name="connsiteX5422" fmla="*/ 2803684 w 6400800"/>
                <a:gd name="connsiteY5422" fmla="*/ 314801 h 514350"/>
                <a:gd name="connsiteX5423" fmla="*/ 2802731 w 6400800"/>
                <a:gd name="connsiteY5423" fmla="*/ 318611 h 514350"/>
                <a:gd name="connsiteX5424" fmla="*/ 2801779 w 6400800"/>
                <a:gd name="connsiteY5424" fmla="*/ 325279 h 514350"/>
                <a:gd name="connsiteX5425" fmla="*/ 2798921 w 6400800"/>
                <a:gd name="connsiteY5425" fmla="*/ 317659 h 514350"/>
                <a:gd name="connsiteX5426" fmla="*/ 2798921 w 6400800"/>
                <a:gd name="connsiteY5426" fmla="*/ 315754 h 514350"/>
                <a:gd name="connsiteX5427" fmla="*/ 2798921 w 6400800"/>
                <a:gd name="connsiteY5427" fmla="*/ 315754 h 514350"/>
                <a:gd name="connsiteX5428" fmla="*/ 2801779 w 6400800"/>
                <a:gd name="connsiteY5428" fmla="*/ 304324 h 514350"/>
                <a:gd name="connsiteX5429" fmla="*/ 2803684 w 6400800"/>
                <a:gd name="connsiteY5429" fmla="*/ 312896 h 514350"/>
                <a:gd name="connsiteX5430" fmla="*/ 2803684 w 6400800"/>
                <a:gd name="connsiteY5430" fmla="*/ 314801 h 514350"/>
                <a:gd name="connsiteX5431" fmla="*/ 2810351 w 6400800"/>
                <a:gd name="connsiteY5431" fmla="*/ 280511 h 514350"/>
                <a:gd name="connsiteX5432" fmla="*/ 2805589 w 6400800"/>
                <a:gd name="connsiteY5432" fmla="*/ 302419 h 514350"/>
                <a:gd name="connsiteX5433" fmla="*/ 2803684 w 6400800"/>
                <a:gd name="connsiteY5433" fmla="*/ 298609 h 514350"/>
                <a:gd name="connsiteX5434" fmla="*/ 2802731 w 6400800"/>
                <a:gd name="connsiteY5434" fmla="*/ 296704 h 514350"/>
                <a:gd name="connsiteX5435" fmla="*/ 2805589 w 6400800"/>
                <a:gd name="connsiteY5435" fmla="*/ 287179 h 514350"/>
                <a:gd name="connsiteX5436" fmla="*/ 2809399 w 6400800"/>
                <a:gd name="connsiteY5436" fmla="*/ 277654 h 514350"/>
                <a:gd name="connsiteX5437" fmla="*/ 2810351 w 6400800"/>
                <a:gd name="connsiteY5437" fmla="*/ 275749 h 514350"/>
                <a:gd name="connsiteX5438" fmla="*/ 2810351 w 6400800"/>
                <a:gd name="connsiteY5438" fmla="*/ 280511 h 514350"/>
                <a:gd name="connsiteX5439" fmla="*/ 2811304 w 6400800"/>
                <a:gd name="connsiteY5439" fmla="*/ 276701 h 514350"/>
                <a:gd name="connsiteX5440" fmla="*/ 2811304 w 6400800"/>
                <a:gd name="connsiteY5440" fmla="*/ 274796 h 514350"/>
                <a:gd name="connsiteX5441" fmla="*/ 2813209 w 6400800"/>
                <a:gd name="connsiteY5441" fmla="*/ 270986 h 514350"/>
                <a:gd name="connsiteX5442" fmla="*/ 2811304 w 6400800"/>
                <a:gd name="connsiteY5442" fmla="*/ 276701 h 514350"/>
                <a:gd name="connsiteX5443" fmla="*/ 2812256 w 6400800"/>
                <a:gd name="connsiteY5443" fmla="*/ 236696 h 514350"/>
                <a:gd name="connsiteX5444" fmla="*/ 2806541 w 6400800"/>
                <a:gd name="connsiteY5444" fmla="*/ 246221 h 514350"/>
                <a:gd name="connsiteX5445" fmla="*/ 2799874 w 6400800"/>
                <a:gd name="connsiteY5445" fmla="*/ 251936 h 514350"/>
                <a:gd name="connsiteX5446" fmla="*/ 2794159 w 6400800"/>
                <a:gd name="connsiteY5446" fmla="*/ 257651 h 514350"/>
                <a:gd name="connsiteX5447" fmla="*/ 2792254 w 6400800"/>
                <a:gd name="connsiteY5447" fmla="*/ 245269 h 514350"/>
                <a:gd name="connsiteX5448" fmla="*/ 2796064 w 6400800"/>
                <a:gd name="connsiteY5448" fmla="*/ 238601 h 514350"/>
                <a:gd name="connsiteX5449" fmla="*/ 2804636 w 6400800"/>
                <a:gd name="connsiteY5449" fmla="*/ 224314 h 514350"/>
                <a:gd name="connsiteX5450" fmla="*/ 2812256 w 6400800"/>
                <a:gd name="connsiteY5450" fmla="*/ 236696 h 514350"/>
                <a:gd name="connsiteX5451" fmla="*/ 2804636 w 6400800"/>
                <a:gd name="connsiteY5451" fmla="*/ 223361 h 514350"/>
                <a:gd name="connsiteX5452" fmla="*/ 2794159 w 6400800"/>
                <a:gd name="connsiteY5452" fmla="*/ 235744 h 514350"/>
                <a:gd name="connsiteX5453" fmla="*/ 2792254 w 6400800"/>
                <a:gd name="connsiteY5453" fmla="*/ 238601 h 514350"/>
                <a:gd name="connsiteX5454" fmla="*/ 2792254 w 6400800"/>
                <a:gd name="connsiteY5454" fmla="*/ 238601 h 514350"/>
                <a:gd name="connsiteX5455" fmla="*/ 2796064 w 6400800"/>
                <a:gd name="connsiteY5455" fmla="*/ 230981 h 514350"/>
                <a:gd name="connsiteX5456" fmla="*/ 2801779 w 6400800"/>
                <a:gd name="connsiteY5456" fmla="*/ 219551 h 514350"/>
                <a:gd name="connsiteX5457" fmla="*/ 2804636 w 6400800"/>
                <a:gd name="connsiteY5457" fmla="*/ 223361 h 514350"/>
                <a:gd name="connsiteX5458" fmla="*/ 2787491 w 6400800"/>
                <a:gd name="connsiteY5458" fmla="*/ 196691 h 514350"/>
                <a:gd name="connsiteX5459" fmla="*/ 2800826 w 6400800"/>
                <a:gd name="connsiteY5459" fmla="*/ 217646 h 514350"/>
                <a:gd name="connsiteX5460" fmla="*/ 2792254 w 6400800"/>
                <a:gd name="connsiteY5460" fmla="*/ 228124 h 514350"/>
                <a:gd name="connsiteX5461" fmla="*/ 2790349 w 6400800"/>
                <a:gd name="connsiteY5461" fmla="*/ 230981 h 514350"/>
                <a:gd name="connsiteX5462" fmla="*/ 2787491 w 6400800"/>
                <a:gd name="connsiteY5462" fmla="*/ 218599 h 514350"/>
                <a:gd name="connsiteX5463" fmla="*/ 2781776 w 6400800"/>
                <a:gd name="connsiteY5463" fmla="*/ 196691 h 514350"/>
                <a:gd name="connsiteX5464" fmla="*/ 2783681 w 6400800"/>
                <a:gd name="connsiteY5464" fmla="*/ 218599 h 514350"/>
                <a:gd name="connsiteX5465" fmla="*/ 2784634 w 6400800"/>
                <a:gd name="connsiteY5465" fmla="*/ 237649 h 514350"/>
                <a:gd name="connsiteX5466" fmla="*/ 2780824 w 6400800"/>
                <a:gd name="connsiteY5466" fmla="*/ 243364 h 514350"/>
                <a:gd name="connsiteX5467" fmla="*/ 2778919 w 6400800"/>
                <a:gd name="connsiteY5467" fmla="*/ 204311 h 514350"/>
                <a:gd name="connsiteX5468" fmla="*/ 2777966 w 6400800"/>
                <a:gd name="connsiteY5468" fmla="*/ 186214 h 514350"/>
                <a:gd name="connsiteX5469" fmla="*/ 2775109 w 6400800"/>
                <a:gd name="connsiteY5469" fmla="*/ 204311 h 514350"/>
                <a:gd name="connsiteX5470" fmla="*/ 2774156 w 6400800"/>
                <a:gd name="connsiteY5470" fmla="*/ 214789 h 514350"/>
                <a:gd name="connsiteX5471" fmla="*/ 2770346 w 6400800"/>
                <a:gd name="connsiteY5471" fmla="*/ 190976 h 514350"/>
                <a:gd name="connsiteX5472" fmla="*/ 2770346 w 6400800"/>
                <a:gd name="connsiteY5472" fmla="*/ 189071 h 514350"/>
                <a:gd name="connsiteX5473" fmla="*/ 2770346 w 6400800"/>
                <a:gd name="connsiteY5473" fmla="*/ 185261 h 514350"/>
                <a:gd name="connsiteX5474" fmla="*/ 2768441 w 6400800"/>
                <a:gd name="connsiteY5474" fmla="*/ 166211 h 514350"/>
                <a:gd name="connsiteX5475" fmla="*/ 2787491 w 6400800"/>
                <a:gd name="connsiteY5475" fmla="*/ 196691 h 514350"/>
                <a:gd name="connsiteX5476" fmla="*/ 2767489 w 6400800"/>
                <a:gd name="connsiteY5476" fmla="*/ 167164 h 514350"/>
                <a:gd name="connsiteX5477" fmla="*/ 2767489 w 6400800"/>
                <a:gd name="connsiteY5477" fmla="*/ 170974 h 514350"/>
                <a:gd name="connsiteX5478" fmla="*/ 2766536 w 6400800"/>
                <a:gd name="connsiteY5478" fmla="*/ 166211 h 514350"/>
                <a:gd name="connsiteX5479" fmla="*/ 2767489 w 6400800"/>
                <a:gd name="connsiteY5479" fmla="*/ 167164 h 514350"/>
                <a:gd name="connsiteX5480" fmla="*/ 2757964 w 6400800"/>
                <a:gd name="connsiteY5480" fmla="*/ 342424 h 514350"/>
                <a:gd name="connsiteX5481" fmla="*/ 2755106 w 6400800"/>
                <a:gd name="connsiteY5481" fmla="*/ 336709 h 514350"/>
                <a:gd name="connsiteX5482" fmla="*/ 2758916 w 6400800"/>
                <a:gd name="connsiteY5482" fmla="*/ 329089 h 514350"/>
                <a:gd name="connsiteX5483" fmla="*/ 2760821 w 6400800"/>
                <a:gd name="connsiteY5483" fmla="*/ 332899 h 514350"/>
                <a:gd name="connsiteX5484" fmla="*/ 2757964 w 6400800"/>
                <a:gd name="connsiteY5484" fmla="*/ 342424 h 514350"/>
                <a:gd name="connsiteX5485" fmla="*/ 2762726 w 6400800"/>
                <a:gd name="connsiteY5485" fmla="*/ 327184 h 514350"/>
                <a:gd name="connsiteX5486" fmla="*/ 2761774 w 6400800"/>
                <a:gd name="connsiteY5486" fmla="*/ 330994 h 514350"/>
                <a:gd name="connsiteX5487" fmla="*/ 2759869 w 6400800"/>
                <a:gd name="connsiteY5487" fmla="*/ 328136 h 514350"/>
                <a:gd name="connsiteX5488" fmla="*/ 2761774 w 6400800"/>
                <a:gd name="connsiteY5488" fmla="*/ 324326 h 514350"/>
                <a:gd name="connsiteX5489" fmla="*/ 2762726 w 6400800"/>
                <a:gd name="connsiteY5489" fmla="*/ 327184 h 514350"/>
                <a:gd name="connsiteX5490" fmla="*/ 2762726 w 6400800"/>
                <a:gd name="connsiteY5490" fmla="*/ 327184 h 514350"/>
                <a:gd name="connsiteX5491" fmla="*/ 2762726 w 6400800"/>
                <a:gd name="connsiteY5491" fmla="*/ 250031 h 514350"/>
                <a:gd name="connsiteX5492" fmla="*/ 2762726 w 6400800"/>
                <a:gd name="connsiteY5492" fmla="*/ 270034 h 514350"/>
                <a:gd name="connsiteX5493" fmla="*/ 2754154 w 6400800"/>
                <a:gd name="connsiteY5493" fmla="*/ 282416 h 514350"/>
                <a:gd name="connsiteX5494" fmla="*/ 2753201 w 6400800"/>
                <a:gd name="connsiteY5494" fmla="*/ 284321 h 514350"/>
                <a:gd name="connsiteX5495" fmla="*/ 2752249 w 6400800"/>
                <a:gd name="connsiteY5495" fmla="*/ 282416 h 514350"/>
                <a:gd name="connsiteX5496" fmla="*/ 2753201 w 6400800"/>
                <a:gd name="connsiteY5496" fmla="*/ 278606 h 514350"/>
                <a:gd name="connsiteX5497" fmla="*/ 2756059 w 6400800"/>
                <a:gd name="connsiteY5497" fmla="*/ 267176 h 514350"/>
                <a:gd name="connsiteX5498" fmla="*/ 2761774 w 6400800"/>
                <a:gd name="connsiteY5498" fmla="*/ 251936 h 514350"/>
                <a:gd name="connsiteX5499" fmla="*/ 2762726 w 6400800"/>
                <a:gd name="connsiteY5499" fmla="*/ 250031 h 514350"/>
                <a:gd name="connsiteX5500" fmla="*/ 2762726 w 6400800"/>
                <a:gd name="connsiteY5500" fmla="*/ 250031 h 514350"/>
                <a:gd name="connsiteX5501" fmla="*/ 2753201 w 6400800"/>
                <a:gd name="connsiteY5501" fmla="*/ 250031 h 514350"/>
                <a:gd name="connsiteX5502" fmla="*/ 2757011 w 6400800"/>
                <a:gd name="connsiteY5502" fmla="*/ 230981 h 514350"/>
                <a:gd name="connsiteX5503" fmla="*/ 2762726 w 6400800"/>
                <a:gd name="connsiteY5503" fmla="*/ 249079 h 514350"/>
                <a:gd name="connsiteX5504" fmla="*/ 2760821 w 6400800"/>
                <a:gd name="connsiteY5504" fmla="*/ 252889 h 514350"/>
                <a:gd name="connsiteX5505" fmla="*/ 2752249 w 6400800"/>
                <a:gd name="connsiteY5505" fmla="*/ 267176 h 514350"/>
                <a:gd name="connsiteX5506" fmla="*/ 2748439 w 6400800"/>
                <a:gd name="connsiteY5506" fmla="*/ 275749 h 514350"/>
                <a:gd name="connsiteX5507" fmla="*/ 2747486 w 6400800"/>
                <a:gd name="connsiteY5507" fmla="*/ 274796 h 514350"/>
                <a:gd name="connsiteX5508" fmla="*/ 2753201 w 6400800"/>
                <a:gd name="connsiteY5508" fmla="*/ 250031 h 514350"/>
                <a:gd name="connsiteX5509" fmla="*/ 2749391 w 6400800"/>
                <a:gd name="connsiteY5509" fmla="*/ 362426 h 514350"/>
                <a:gd name="connsiteX5510" fmla="*/ 2746534 w 6400800"/>
                <a:gd name="connsiteY5510" fmla="*/ 357664 h 514350"/>
                <a:gd name="connsiteX5511" fmla="*/ 2746534 w 6400800"/>
                <a:gd name="connsiteY5511" fmla="*/ 354806 h 514350"/>
                <a:gd name="connsiteX5512" fmla="*/ 2749391 w 6400800"/>
                <a:gd name="connsiteY5512" fmla="*/ 362426 h 514350"/>
                <a:gd name="connsiteX5513" fmla="*/ 2734151 w 6400800"/>
                <a:gd name="connsiteY5513" fmla="*/ 258604 h 514350"/>
                <a:gd name="connsiteX5514" fmla="*/ 2740819 w 6400800"/>
                <a:gd name="connsiteY5514" fmla="*/ 273844 h 514350"/>
                <a:gd name="connsiteX5515" fmla="*/ 2735104 w 6400800"/>
                <a:gd name="connsiteY5515" fmla="*/ 290036 h 514350"/>
                <a:gd name="connsiteX5516" fmla="*/ 2734151 w 6400800"/>
                <a:gd name="connsiteY5516" fmla="*/ 287179 h 514350"/>
                <a:gd name="connsiteX5517" fmla="*/ 2734151 w 6400800"/>
                <a:gd name="connsiteY5517" fmla="*/ 291941 h 514350"/>
                <a:gd name="connsiteX5518" fmla="*/ 2734151 w 6400800"/>
                <a:gd name="connsiteY5518" fmla="*/ 291941 h 514350"/>
                <a:gd name="connsiteX5519" fmla="*/ 2732246 w 6400800"/>
                <a:gd name="connsiteY5519" fmla="*/ 289084 h 514350"/>
                <a:gd name="connsiteX5520" fmla="*/ 2731294 w 6400800"/>
                <a:gd name="connsiteY5520" fmla="*/ 286226 h 514350"/>
                <a:gd name="connsiteX5521" fmla="*/ 2734151 w 6400800"/>
                <a:gd name="connsiteY5521" fmla="*/ 258604 h 514350"/>
                <a:gd name="connsiteX5522" fmla="*/ 2715101 w 6400800"/>
                <a:gd name="connsiteY5522" fmla="*/ 290989 h 514350"/>
                <a:gd name="connsiteX5523" fmla="*/ 2716054 w 6400800"/>
                <a:gd name="connsiteY5523" fmla="*/ 273844 h 514350"/>
                <a:gd name="connsiteX5524" fmla="*/ 2717959 w 6400800"/>
                <a:gd name="connsiteY5524" fmla="*/ 278606 h 514350"/>
                <a:gd name="connsiteX5525" fmla="*/ 2716054 w 6400800"/>
                <a:gd name="connsiteY5525" fmla="*/ 304324 h 514350"/>
                <a:gd name="connsiteX5526" fmla="*/ 2715101 w 6400800"/>
                <a:gd name="connsiteY5526" fmla="*/ 303371 h 514350"/>
                <a:gd name="connsiteX5527" fmla="*/ 2715101 w 6400800"/>
                <a:gd name="connsiteY5527" fmla="*/ 290989 h 514350"/>
                <a:gd name="connsiteX5528" fmla="*/ 2705576 w 6400800"/>
                <a:gd name="connsiteY5528" fmla="*/ 243364 h 514350"/>
                <a:gd name="connsiteX5529" fmla="*/ 2704624 w 6400800"/>
                <a:gd name="connsiteY5529" fmla="*/ 247174 h 514350"/>
                <a:gd name="connsiteX5530" fmla="*/ 2703671 w 6400800"/>
                <a:gd name="connsiteY5530" fmla="*/ 238601 h 514350"/>
                <a:gd name="connsiteX5531" fmla="*/ 2705576 w 6400800"/>
                <a:gd name="connsiteY5531" fmla="*/ 243364 h 514350"/>
                <a:gd name="connsiteX5532" fmla="*/ 2697956 w 6400800"/>
                <a:gd name="connsiteY5532" fmla="*/ 312896 h 514350"/>
                <a:gd name="connsiteX5533" fmla="*/ 2697956 w 6400800"/>
                <a:gd name="connsiteY5533" fmla="*/ 313849 h 514350"/>
                <a:gd name="connsiteX5534" fmla="*/ 2697956 w 6400800"/>
                <a:gd name="connsiteY5534" fmla="*/ 310991 h 514350"/>
                <a:gd name="connsiteX5535" fmla="*/ 2697956 w 6400800"/>
                <a:gd name="connsiteY5535" fmla="*/ 312896 h 514350"/>
                <a:gd name="connsiteX5536" fmla="*/ 2664619 w 6400800"/>
                <a:gd name="connsiteY5536" fmla="*/ 234791 h 514350"/>
                <a:gd name="connsiteX5537" fmla="*/ 2666524 w 6400800"/>
                <a:gd name="connsiteY5537" fmla="*/ 238601 h 514350"/>
                <a:gd name="connsiteX5538" fmla="*/ 2673191 w 6400800"/>
                <a:gd name="connsiteY5538" fmla="*/ 287179 h 514350"/>
                <a:gd name="connsiteX5539" fmla="*/ 2670334 w 6400800"/>
                <a:gd name="connsiteY5539" fmla="*/ 279559 h 514350"/>
                <a:gd name="connsiteX5540" fmla="*/ 2670334 w 6400800"/>
                <a:gd name="connsiteY5540" fmla="*/ 278606 h 514350"/>
                <a:gd name="connsiteX5541" fmla="*/ 2671286 w 6400800"/>
                <a:gd name="connsiteY5541" fmla="*/ 276701 h 514350"/>
                <a:gd name="connsiteX5542" fmla="*/ 2670334 w 6400800"/>
                <a:gd name="connsiteY5542" fmla="*/ 278606 h 514350"/>
                <a:gd name="connsiteX5543" fmla="*/ 2664619 w 6400800"/>
                <a:gd name="connsiteY5543" fmla="*/ 246221 h 514350"/>
                <a:gd name="connsiteX5544" fmla="*/ 2663666 w 6400800"/>
                <a:gd name="connsiteY5544" fmla="*/ 240506 h 514350"/>
                <a:gd name="connsiteX5545" fmla="*/ 2664619 w 6400800"/>
                <a:gd name="connsiteY5545" fmla="*/ 234791 h 514350"/>
                <a:gd name="connsiteX5546" fmla="*/ 2657951 w 6400800"/>
                <a:gd name="connsiteY5546" fmla="*/ 339566 h 514350"/>
                <a:gd name="connsiteX5547" fmla="*/ 2656046 w 6400800"/>
                <a:gd name="connsiteY5547" fmla="*/ 336709 h 514350"/>
                <a:gd name="connsiteX5548" fmla="*/ 2657951 w 6400800"/>
                <a:gd name="connsiteY5548" fmla="*/ 325279 h 514350"/>
                <a:gd name="connsiteX5549" fmla="*/ 2657951 w 6400800"/>
                <a:gd name="connsiteY5549" fmla="*/ 339566 h 514350"/>
                <a:gd name="connsiteX5550" fmla="*/ 2654141 w 6400800"/>
                <a:gd name="connsiteY5550" fmla="*/ 277654 h 514350"/>
                <a:gd name="connsiteX5551" fmla="*/ 2659856 w 6400800"/>
                <a:gd name="connsiteY5551" fmla="*/ 298609 h 514350"/>
                <a:gd name="connsiteX5552" fmla="*/ 2659856 w 6400800"/>
                <a:gd name="connsiteY5552" fmla="*/ 299561 h 514350"/>
                <a:gd name="connsiteX5553" fmla="*/ 2653189 w 6400800"/>
                <a:gd name="connsiteY5553" fmla="*/ 316706 h 514350"/>
                <a:gd name="connsiteX5554" fmla="*/ 2652236 w 6400800"/>
                <a:gd name="connsiteY5554" fmla="*/ 319564 h 514350"/>
                <a:gd name="connsiteX5555" fmla="*/ 2650331 w 6400800"/>
                <a:gd name="connsiteY5555" fmla="*/ 311944 h 514350"/>
                <a:gd name="connsiteX5556" fmla="*/ 2647474 w 6400800"/>
                <a:gd name="connsiteY5556" fmla="*/ 301466 h 514350"/>
                <a:gd name="connsiteX5557" fmla="*/ 2654141 w 6400800"/>
                <a:gd name="connsiteY5557" fmla="*/ 277654 h 514350"/>
                <a:gd name="connsiteX5558" fmla="*/ 2633186 w 6400800"/>
                <a:gd name="connsiteY5558" fmla="*/ 283369 h 514350"/>
                <a:gd name="connsiteX5559" fmla="*/ 2633186 w 6400800"/>
                <a:gd name="connsiteY5559" fmla="*/ 285274 h 514350"/>
                <a:gd name="connsiteX5560" fmla="*/ 2633186 w 6400800"/>
                <a:gd name="connsiteY5560" fmla="*/ 286226 h 514350"/>
                <a:gd name="connsiteX5561" fmla="*/ 2632234 w 6400800"/>
                <a:gd name="connsiteY5561" fmla="*/ 290036 h 514350"/>
                <a:gd name="connsiteX5562" fmla="*/ 2633186 w 6400800"/>
                <a:gd name="connsiteY5562" fmla="*/ 283369 h 514350"/>
                <a:gd name="connsiteX5563" fmla="*/ 2578894 w 6400800"/>
                <a:gd name="connsiteY5563" fmla="*/ 242411 h 514350"/>
                <a:gd name="connsiteX5564" fmla="*/ 2577941 w 6400800"/>
                <a:gd name="connsiteY5564" fmla="*/ 241459 h 514350"/>
                <a:gd name="connsiteX5565" fmla="*/ 2580799 w 6400800"/>
                <a:gd name="connsiteY5565" fmla="*/ 235744 h 514350"/>
                <a:gd name="connsiteX5566" fmla="*/ 2580799 w 6400800"/>
                <a:gd name="connsiteY5566" fmla="*/ 235744 h 514350"/>
                <a:gd name="connsiteX5567" fmla="*/ 2578894 w 6400800"/>
                <a:gd name="connsiteY5567" fmla="*/ 242411 h 514350"/>
                <a:gd name="connsiteX5568" fmla="*/ 2597944 w 6400800"/>
                <a:gd name="connsiteY5568" fmla="*/ 275749 h 514350"/>
                <a:gd name="connsiteX5569" fmla="*/ 2597944 w 6400800"/>
                <a:gd name="connsiteY5569" fmla="*/ 274796 h 514350"/>
                <a:gd name="connsiteX5570" fmla="*/ 2597944 w 6400800"/>
                <a:gd name="connsiteY5570" fmla="*/ 275749 h 514350"/>
                <a:gd name="connsiteX5571" fmla="*/ 2597944 w 6400800"/>
                <a:gd name="connsiteY5571" fmla="*/ 275749 h 514350"/>
                <a:gd name="connsiteX5572" fmla="*/ 2616041 w 6400800"/>
                <a:gd name="connsiteY5572" fmla="*/ 309086 h 514350"/>
                <a:gd name="connsiteX5573" fmla="*/ 2613184 w 6400800"/>
                <a:gd name="connsiteY5573" fmla="*/ 319564 h 514350"/>
                <a:gd name="connsiteX5574" fmla="*/ 2613184 w 6400800"/>
                <a:gd name="connsiteY5574" fmla="*/ 318611 h 514350"/>
                <a:gd name="connsiteX5575" fmla="*/ 2613184 w 6400800"/>
                <a:gd name="connsiteY5575" fmla="*/ 319564 h 514350"/>
                <a:gd name="connsiteX5576" fmla="*/ 2613184 w 6400800"/>
                <a:gd name="connsiteY5576" fmla="*/ 319564 h 514350"/>
                <a:gd name="connsiteX5577" fmla="*/ 2600801 w 6400800"/>
                <a:gd name="connsiteY5577" fmla="*/ 289084 h 514350"/>
                <a:gd name="connsiteX5578" fmla="*/ 2602706 w 6400800"/>
                <a:gd name="connsiteY5578" fmla="*/ 282416 h 514350"/>
                <a:gd name="connsiteX5579" fmla="*/ 2612231 w 6400800"/>
                <a:gd name="connsiteY5579" fmla="*/ 299561 h 514350"/>
                <a:gd name="connsiteX5580" fmla="*/ 2616041 w 6400800"/>
                <a:gd name="connsiteY5580" fmla="*/ 308134 h 514350"/>
                <a:gd name="connsiteX5581" fmla="*/ 2616041 w 6400800"/>
                <a:gd name="connsiteY5581" fmla="*/ 309086 h 514350"/>
                <a:gd name="connsiteX5582" fmla="*/ 2616041 w 6400800"/>
                <a:gd name="connsiteY5582" fmla="*/ 309086 h 514350"/>
                <a:gd name="connsiteX5583" fmla="*/ 2604611 w 6400800"/>
                <a:gd name="connsiteY5583" fmla="*/ 276701 h 514350"/>
                <a:gd name="connsiteX5584" fmla="*/ 2608421 w 6400800"/>
                <a:gd name="connsiteY5584" fmla="*/ 267176 h 514350"/>
                <a:gd name="connsiteX5585" fmla="*/ 2615089 w 6400800"/>
                <a:gd name="connsiteY5585" fmla="*/ 290036 h 514350"/>
                <a:gd name="connsiteX5586" fmla="*/ 2604611 w 6400800"/>
                <a:gd name="connsiteY5586" fmla="*/ 276701 h 514350"/>
                <a:gd name="connsiteX5587" fmla="*/ 2614136 w 6400800"/>
                <a:gd name="connsiteY5587" fmla="*/ 276701 h 514350"/>
                <a:gd name="connsiteX5588" fmla="*/ 2609374 w 6400800"/>
                <a:gd name="connsiteY5588" fmla="*/ 266224 h 514350"/>
                <a:gd name="connsiteX5589" fmla="*/ 2612231 w 6400800"/>
                <a:gd name="connsiteY5589" fmla="*/ 257651 h 514350"/>
                <a:gd name="connsiteX5590" fmla="*/ 2614136 w 6400800"/>
                <a:gd name="connsiteY5590" fmla="*/ 276701 h 514350"/>
                <a:gd name="connsiteX5591" fmla="*/ 2606516 w 6400800"/>
                <a:gd name="connsiteY5591" fmla="*/ 208121 h 514350"/>
                <a:gd name="connsiteX5592" fmla="*/ 2611279 w 6400800"/>
                <a:gd name="connsiteY5592" fmla="*/ 250984 h 514350"/>
                <a:gd name="connsiteX5593" fmla="*/ 2611279 w 6400800"/>
                <a:gd name="connsiteY5593" fmla="*/ 251936 h 514350"/>
                <a:gd name="connsiteX5594" fmla="*/ 2600801 w 6400800"/>
                <a:gd name="connsiteY5594" fmla="*/ 271939 h 514350"/>
                <a:gd name="connsiteX5595" fmla="*/ 2597944 w 6400800"/>
                <a:gd name="connsiteY5595" fmla="*/ 268129 h 514350"/>
                <a:gd name="connsiteX5596" fmla="*/ 2595086 w 6400800"/>
                <a:gd name="connsiteY5596" fmla="*/ 237649 h 514350"/>
                <a:gd name="connsiteX5597" fmla="*/ 2594134 w 6400800"/>
                <a:gd name="connsiteY5597" fmla="*/ 228124 h 514350"/>
                <a:gd name="connsiteX5598" fmla="*/ 2605564 w 6400800"/>
                <a:gd name="connsiteY5598" fmla="*/ 179546 h 514350"/>
                <a:gd name="connsiteX5599" fmla="*/ 2606516 w 6400800"/>
                <a:gd name="connsiteY5599" fmla="*/ 208121 h 514350"/>
                <a:gd name="connsiteX5600" fmla="*/ 2586514 w 6400800"/>
                <a:gd name="connsiteY5600" fmla="*/ 186214 h 514350"/>
                <a:gd name="connsiteX5601" fmla="*/ 2598896 w 6400800"/>
                <a:gd name="connsiteY5601" fmla="*/ 159544 h 514350"/>
                <a:gd name="connsiteX5602" fmla="*/ 2601754 w 6400800"/>
                <a:gd name="connsiteY5602" fmla="*/ 153829 h 514350"/>
                <a:gd name="connsiteX5603" fmla="*/ 2603659 w 6400800"/>
                <a:gd name="connsiteY5603" fmla="*/ 173831 h 514350"/>
                <a:gd name="connsiteX5604" fmla="*/ 2590324 w 6400800"/>
                <a:gd name="connsiteY5604" fmla="*/ 210979 h 514350"/>
                <a:gd name="connsiteX5605" fmla="*/ 2586514 w 6400800"/>
                <a:gd name="connsiteY5605" fmla="*/ 187166 h 514350"/>
                <a:gd name="connsiteX5606" fmla="*/ 2586514 w 6400800"/>
                <a:gd name="connsiteY5606" fmla="*/ 186214 h 514350"/>
                <a:gd name="connsiteX5607" fmla="*/ 2584609 w 6400800"/>
                <a:gd name="connsiteY5607" fmla="*/ 408146 h 514350"/>
                <a:gd name="connsiteX5608" fmla="*/ 2584609 w 6400800"/>
                <a:gd name="connsiteY5608" fmla="*/ 408146 h 514350"/>
                <a:gd name="connsiteX5609" fmla="*/ 2581751 w 6400800"/>
                <a:gd name="connsiteY5609" fmla="*/ 393859 h 514350"/>
                <a:gd name="connsiteX5610" fmla="*/ 2584609 w 6400800"/>
                <a:gd name="connsiteY5610" fmla="*/ 408146 h 514350"/>
                <a:gd name="connsiteX5611" fmla="*/ 2580799 w 6400800"/>
                <a:gd name="connsiteY5611" fmla="*/ 199549 h 514350"/>
                <a:gd name="connsiteX5612" fmla="*/ 2581751 w 6400800"/>
                <a:gd name="connsiteY5612" fmla="*/ 228124 h 514350"/>
                <a:gd name="connsiteX5613" fmla="*/ 2578894 w 6400800"/>
                <a:gd name="connsiteY5613" fmla="*/ 231934 h 514350"/>
                <a:gd name="connsiteX5614" fmla="*/ 2575084 w 6400800"/>
                <a:gd name="connsiteY5614" fmla="*/ 236696 h 514350"/>
                <a:gd name="connsiteX5615" fmla="*/ 2573179 w 6400800"/>
                <a:gd name="connsiteY5615" fmla="*/ 233839 h 514350"/>
                <a:gd name="connsiteX5616" fmla="*/ 2572226 w 6400800"/>
                <a:gd name="connsiteY5616" fmla="*/ 229076 h 514350"/>
                <a:gd name="connsiteX5617" fmla="*/ 2571274 w 6400800"/>
                <a:gd name="connsiteY5617" fmla="*/ 219551 h 514350"/>
                <a:gd name="connsiteX5618" fmla="*/ 2580799 w 6400800"/>
                <a:gd name="connsiteY5618" fmla="*/ 199549 h 514350"/>
                <a:gd name="connsiteX5619" fmla="*/ 2569369 w 6400800"/>
                <a:gd name="connsiteY5619" fmla="*/ 320516 h 514350"/>
                <a:gd name="connsiteX5620" fmla="*/ 2570321 w 6400800"/>
                <a:gd name="connsiteY5620" fmla="*/ 327184 h 514350"/>
                <a:gd name="connsiteX5621" fmla="*/ 2571274 w 6400800"/>
                <a:gd name="connsiteY5621" fmla="*/ 330041 h 514350"/>
                <a:gd name="connsiteX5622" fmla="*/ 2563654 w 6400800"/>
                <a:gd name="connsiteY5622" fmla="*/ 345281 h 514350"/>
                <a:gd name="connsiteX5623" fmla="*/ 2562701 w 6400800"/>
                <a:gd name="connsiteY5623" fmla="*/ 342424 h 514350"/>
                <a:gd name="connsiteX5624" fmla="*/ 2569369 w 6400800"/>
                <a:gd name="connsiteY5624" fmla="*/ 320516 h 514350"/>
                <a:gd name="connsiteX5625" fmla="*/ 2556034 w 6400800"/>
                <a:gd name="connsiteY5625" fmla="*/ 262414 h 514350"/>
                <a:gd name="connsiteX5626" fmla="*/ 2559844 w 6400800"/>
                <a:gd name="connsiteY5626" fmla="*/ 251936 h 514350"/>
                <a:gd name="connsiteX5627" fmla="*/ 2560796 w 6400800"/>
                <a:gd name="connsiteY5627" fmla="*/ 257651 h 514350"/>
                <a:gd name="connsiteX5628" fmla="*/ 2559844 w 6400800"/>
                <a:gd name="connsiteY5628" fmla="*/ 259556 h 514350"/>
                <a:gd name="connsiteX5629" fmla="*/ 2554129 w 6400800"/>
                <a:gd name="connsiteY5629" fmla="*/ 269081 h 514350"/>
                <a:gd name="connsiteX5630" fmla="*/ 2556034 w 6400800"/>
                <a:gd name="connsiteY5630" fmla="*/ 262414 h 514350"/>
                <a:gd name="connsiteX5631" fmla="*/ 2561749 w 6400800"/>
                <a:gd name="connsiteY5631" fmla="*/ 276701 h 514350"/>
                <a:gd name="connsiteX5632" fmla="*/ 2562701 w 6400800"/>
                <a:gd name="connsiteY5632" fmla="*/ 274796 h 514350"/>
                <a:gd name="connsiteX5633" fmla="*/ 2564606 w 6400800"/>
                <a:gd name="connsiteY5633" fmla="*/ 287179 h 514350"/>
                <a:gd name="connsiteX5634" fmla="*/ 2557939 w 6400800"/>
                <a:gd name="connsiteY5634" fmla="*/ 309086 h 514350"/>
                <a:gd name="connsiteX5635" fmla="*/ 2556034 w 6400800"/>
                <a:gd name="connsiteY5635" fmla="*/ 313849 h 514350"/>
                <a:gd name="connsiteX5636" fmla="*/ 2553176 w 6400800"/>
                <a:gd name="connsiteY5636" fmla="*/ 296704 h 514350"/>
                <a:gd name="connsiteX5637" fmla="*/ 2561749 w 6400800"/>
                <a:gd name="connsiteY5637" fmla="*/ 276701 h 514350"/>
                <a:gd name="connsiteX5638" fmla="*/ 2538889 w 6400800"/>
                <a:gd name="connsiteY5638" fmla="*/ 252889 h 514350"/>
                <a:gd name="connsiteX5639" fmla="*/ 2540794 w 6400800"/>
                <a:gd name="connsiteY5639" fmla="*/ 242411 h 514350"/>
                <a:gd name="connsiteX5640" fmla="*/ 2542699 w 6400800"/>
                <a:gd name="connsiteY5640" fmla="*/ 238601 h 514350"/>
                <a:gd name="connsiteX5641" fmla="*/ 2544604 w 6400800"/>
                <a:gd name="connsiteY5641" fmla="*/ 233839 h 514350"/>
                <a:gd name="connsiteX5642" fmla="*/ 2543651 w 6400800"/>
                <a:gd name="connsiteY5642" fmla="*/ 248126 h 514350"/>
                <a:gd name="connsiteX5643" fmla="*/ 2542699 w 6400800"/>
                <a:gd name="connsiteY5643" fmla="*/ 257651 h 514350"/>
                <a:gd name="connsiteX5644" fmla="*/ 2537936 w 6400800"/>
                <a:gd name="connsiteY5644" fmla="*/ 268129 h 514350"/>
                <a:gd name="connsiteX5645" fmla="*/ 2538889 w 6400800"/>
                <a:gd name="connsiteY5645" fmla="*/ 252889 h 514350"/>
                <a:gd name="connsiteX5646" fmla="*/ 2521744 w 6400800"/>
                <a:gd name="connsiteY5646" fmla="*/ 475774 h 514350"/>
                <a:gd name="connsiteX5647" fmla="*/ 2522696 w 6400800"/>
                <a:gd name="connsiteY5647" fmla="*/ 484346 h 514350"/>
                <a:gd name="connsiteX5648" fmla="*/ 2520791 w 6400800"/>
                <a:gd name="connsiteY5648" fmla="*/ 479584 h 514350"/>
                <a:gd name="connsiteX5649" fmla="*/ 2521744 w 6400800"/>
                <a:gd name="connsiteY5649" fmla="*/ 475774 h 514350"/>
                <a:gd name="connsiteX5650" fmla="*/ 2514124 w 6400800"/>
                <a:gd name="connsiteY5650" fmla="*/ 323374 h 514350"/>
                <a:gd name="connsiteX5651" fmla="*/ 2514124 w 6400800"/>
                <a:gd name="connsiteY5651" fmla="*/ 323374 h 514350"/>
                <a:gd name="connsiteX5652" fmla="*/ 2513171 w 6400800"/>
                <a:gd name="connsiteY5652" fmla="*/ 328136 h 514350"/>
                <a:gd name="connsiteX5653" fmla="*/ 2513171 w 6400800"/>
                <a:gd name="connsiteY5653" fmla="*/ 329089 h 514350"/>
                <a:gd name="connsiteX5654" fmla="*/ 2514124 w 6400800"/>
                <a:gd name="connsiteY5654" fmla="*/ 323374 h 514350"/>
                <a:gd name="connsiteX5655" fmla="*/ 2509361 w 6400800"/>
                <a:gd name="connsiteY5655" fmla="*/ 300514 h 514350"/>
                <a:gd name="connsiteX5656" fmla="*/ 2508409 w 6400800"/>
                <a:gd name="connsiteY5656" fmla="*/ 302419 h 514350"/>
                <a:gd name="connsiteX5657" fmla="*/ 2508409 w 6400800"/>
                <a:gd name="connsiteY5657" fmla="*/ 302419 h 514350"/>
                <a:gd name="connsiteX5658" fmla="*/ 2507456 w 6400800"/>
                <a:gd name="connsiteY5658" fmla="*/ 294799 h 514350"/>
                <a:gd name="connsiteX5659" fmla="*/ 2509361 w 6400800"/>
                <a:gd name="connsiteY5659" fmla="*/ 300514 h 514350"/>
                <a:gd name="connsiteX5660" fmla="*/ 2496979 w 6400800"/>
                <a:gd name="connsiteY5660" fmla="*/ 292894 h 514350"/>
                <a:gd name="connsiteX5661" fmla="*/ 2497931 w 6400800"/>
                <a:gd name="connsiteY5661" fmla="*/ 290036 h 514350"/>
                <a:gd name="connsiteX5662" fmla="*/ 2496979 w 6400800"/>
                <a:gd name="connsiteY5662" fmla="*/ 290989 h 514350"/>
                <a:gd name="connsiteX5663" fmla="*/ 2497931 w 6400800"/>
                <a:gd name="connsiteY5663" fmla="*/ 284321 h 514350"/>
                <a:gd name="connsiteX5664" fmla="*/ 2498884 w 6400800"/>
                <a:gd name="connsiteY5664" fmla="*/ 269081 h 514350"/>
                <a:gd name="connsiteX5665" fmla="*/ 2498884 w 6400800"/>
                <a:gd name="connsiteY5665" fmla="*/ 266224 h 514350"/>
                <a:gd name="connsiteX5666" fmla="*/ 2502694 w 6400800"/>
                <a:gd name="connsiteY5666" fmla="*/ 277654 h 514350"/>
                <a:gd name="connsiteX5667" fmla="*/ 2502694 w 6400800"/>
                <a:gd name="connsiteY5667" fmla="*/ 283369 h 514350"/>
                <a:gd name="connsiteX5668" fmla="*/ 2501741 w 6400800"/>
                <a:gd name="connsiteY5668" fmla="*/ 302419 h 514350"/>
                <a:gd name="connsiteX5669" fmla="*/ 2501741 w 6400800"/>
                <a:gd name="connsiteY5669" fmla="*/ 313849 h 514350"/>
                <a:gd name="connsiteX5670" fmla="*/ 2500789 w 6400800"/>
                <a:gd name="connsiteY5670" fmla="*/ 325279 h 514350"/>
                <a:gd name="connsiteX5671" fmla="*/ 2500789 w 6400800"/>
                <a:gd name="connsiteY5671" fmla="*/ 326231 h 514350"/>
                <a:gd name="connsiteX5672" fmla="*/ 2499836 w 6400800"/>
                <a:gd name="connsiteY5672" fmla="*/ 315754 h 514350"/>
                <a:gd name="connsiteX5673" fmla="*/ 2499836 w 6400800"/>
                <a:gd name="connsiteY5673" fmla="*/ 310039 h 514350"/>
                <a:gd name="connsiteX5674" fmla="*/ 2500789 w 6400800"/>
                <a:gd name="connsiteY5674" fmla="*/ 297656 h 514350"/>
                <a:gd name="connsiteX5675" fmla="*/ 2500789 w 6400800"/>
                <a:gd name="connsiteY5675" fmla="*/ 286226 h 514350"/>
                <a:gd name="connsiteX5676" fmla="*/ 2496979 w 6400800"/>
                <a:gd name="connsiteY5676" fmla="*/ 292894 h 514350"/>
                <a:gd name="connsiteX5677" fmla="*/ 2496979 w 6400800"/>
                <a:gd name="connsiteY5677" fmla="*/ 292894 h 514350"/>
                <a:gd name="connsiteX5678" fmla="*/ 2449354 w 6400800"/>
                <a:gd name="connsiteY5678" fmla="*/ 334804 h 514350"/>
                <a:gd name="connsiteX5679" fmla="*/ 2447449 w 6400800"/>
                <a:gd name="connsiteY5679" fmla="*/ 328136 h 514350"/>
                <a:gd name="connsiteX5680" fmla="*/ 2450306 w 6400800"/>
                <a:gd name="connsiteY5680" fmla="*/ 321469 h 514350"/>
                <a:gd name="connsiteX5681" fmla="*/ 2450306 w 6400800"/>
                <a:gd name="connsiteY5681" fmla="*/ 322421 h 514350"/>
                <a:gd name="connsiteX5682" fmla="*/ 2451259 w 6400800"/>
                <a:gd name="connsiteY5682" fmla="*/ 324326 h 514350"/>
                <a:gd name="connsiteX5683" fmla="*/ 2449354 w 6400800"/>
                <a:gd name="connsiteY5683" fmla="*/ 334804 h 514350"/>
                <a:gd name="connsiteX5684" fmla="*/ 2450306 w 6400800"/>
                <a:gd name="connsiteY5684" fmla="*/ 254794 h 514350"/>
                <a:gd name="connsiteX5685" fmla="*/ 2451259 w 6400800"/>
                <a:gd name="connsiteY5685" fmla="*/ 251936 h 514350"/>
                <a:gd name="connsiteX5686" fmla="*/ 2451259 w 6400800"/>
                <a:gd name="connsiteY5686" fmla="*/ 250984 h 514350"/>
                <a:gd name="connsiteX5687" fmla="*/ 2451259 w 6400800"/>
                <a:gd name="connsiteY5687" fmla="*/ 251936 h 514350"/>
                <a:gd name="connsiteX5688" fmla="*/ 2450306 w 6400800"/>
                <a:gd name="connsiteY5688" fmla="*/ 254794 h 514350"/>
                <a:gd name="connsiteX5689" fmla="*/ 2452211 w 6400800"/>
                <a:gd name="connsiteY5689" fmla="*/ 251936 h 514350"/>
                <a:gd name="connsiteX5690" fmla="*/ 2451259 w 6400800"/>
                <a:gd name="connsiteY5690" fmla="*/ 250984 h 514350"/>
                <a:gd name="connsiteX5691" fmla="*/ 2456021 w 6400800"/>
                <a:gd name="connsiteY5691" fmla="*/ 238601 h 514350"/>
                <a:gd name="connsiteX5692" fmla="*/ 2460784 w 6400800"/>
                <a:gd name="connsiteY5692" fmla="*/ 231934 h 514350"/>
                <a:gd name="connsiteX5693" fmla="*/ 2459831 w 6400800"/>
                <a:gd name="connsiteY5693" fmla="*/ 235744 h 514350"/>
                <a:gd name="connsiteX5694" fmla="*/ 2456021 w 6400800"/>
                <a:gd name="connsiteY5694" fmla="*/ 248126 h 514350"/>
                <a:gd name="connsiteX5695" fmla="*/ 2452211 w 6400800"/>
                <a:gd name="connsiteY5695" fmla="*/ 251936 h 514350"/>
                <a:gd name="connsiteX5696" fmla="*/ 2457926 w 6400800"/>
                <a:gd name="connsiteY5696" fmla="*/ 266224 h 514350"/>
                <a:gd name="connsiteX5697" fmla="*/ 2456974 w 6400800"/>
                <a:gd name="connsiteY5697" fmla="*/ 268129 h 514350"/>
                <a:gd name="connsiteX5698" fmla="*/ 2457926 w 6400800"/>
                <a:gd name="connsiteY5698" fmla="*/ 266224 h 514350"/>
                <a:gd name="connsiteX5699" fmla="*/ 2457926 w 6400800"/>
                <a:gd name="connsiteY5699" fmla="*/ 266224 h 514350"/>
                <a:gd name="connsiteX5700" fmla="*/ 2457926 w 6400800"/>
                <a:gd name="connsiteY5700" fmla="*/ 374809 h 514350"/>
                <a:gd name="connsiteX5701" fmla="*/ 2456021 w 6400800"/>
                <a:gd name="connsiteY5701" fmla="*/ 367189 h 514350"/>
                <a:gd name="connsiteX5702" fmla="*/ 2456021 w 6400800"/>
                <a:gd name="connsiteY5702" fmla="*/ 362426 h 514350"/>
                <a:gd name="connsiteX5703" fmla="*/ 2456021 w 6400800"/>
                <a:gd name="connsiteY5703" fmla="*/ 344329 h 514350"/>
                <a:gd name="connsiteX5704" fmla="*/ 2458879 w 6400800"/>
                <a:gd name="connsiteY5704" fmla="*/ 354806 h 514350"/>
                <a:gd name="connsiteX5705" fmla="*/ 2457926 w 6400800"/>
                <a:gd name="connsiteY5705" fmla="*/ 374809 h 514350"/>
                <a:gd name="connsiteX5706" fmla="*/ 2456974 w 6400800"/>
                <a:gd name="connsiteY5706" fmla="*/ 308134 h 514350"/>
                <a:gd name="connsiteX5707" fmla="*/ 2456974 w 6400800"/>
                <a:gd name="connsiteY5707" fmla="*/ 305276 h 514350"/>
                <a:gd name="connsiteX5708" fmla="*/ 2457926 w 6400800"/>
                <a:gd name="connsiteY5708" fmla="*/ 302419 h 514350"/>
                <a:gd name="connsiteX5709" fmla="*/ 2459831 w 6400800"/>
                <a:gd name="connsiteY5709" fmla="*/ 313849 h 514350"/>
                <a:gd name="connsiteX5710" fmla="*/ 2460784 w 6400800"/>
                <a:gd name="connsiteY5710" fmla="*/ 317659 h 514350"/>
                <a:gd name="connsiteX5711" fmla="*/ 2456974 w 6400800"/>
                <a:gd name="connsiteY5711" fmla="*/ 308134 h 514350"/>
                <a:gd name="connsiteX5712" fmla="*/ 2458879 w 6400800"/>
                <a:gd name="connsiteY5712" fmla="*/ 290036 h 514350"/>
                <a:gd name="connsiteX5713" fmla="*/ 2459831 w 6400800"/>
                <a:gd name="connsiteY5713" fmla="*/ 287179 h 514350"/>
                <a:gd name="connsiteX5714" fmla="*/ 2463641 w 6400800"/>
                <a:gd name="connsiteY5714" fmla="*/ 277654 h 514350"/>
                <a:gd name="connsiteX5715" fmla="*/ 2465546 w 6400800"/>
                <a:gd name="connsiteY5715" fmla="*/ 281464 h 514350"/>
                <a:gd name="connsiteX5716" fmla="*/ 2458879 w 6400800"/>
                <a:gd name="connsiteY5716" fmla="*/ 290036 h 514350"/>
                <a:gd name="connsiteX5717" fmla="*/ 2464594 w 6400800"/>
                <a:gd name="connsiteY5717" fmla="*/ 305276 h 514350"/>
                <a:gd name="connsiteX5718" fmla="*/ 2460784 w 6400800"/>
                <a:gd name="connsiteY5718" fmla="*/ 295751 h 514350"/>
                <a:gd name="connsiteX5719" fmla="*/ 2462689 w 6400800"/>
                <a:gd name="connsiteY5719" fmla="*/ 292894 h 514350"/>
                <a:gd name="connsiteX5720" fmla="*/ 2466499 w 6400800"/>
                <a:gd name="connsiteY5720" fmla="*/ 285274 h 514350"/>
                <a:gd name="connsiteX5721" fmla="*/ 2464594 w 6400800"/>
                <a:gd name="connsiteY5721" fmla="*/ 305276 h 514350"/>
                <a:gd name="connsiteX5722" fmla="*/ 2467451 w 6400800"/>
                <a:gd name="connsiteY5722" fmla="*/ 274796 h 514350"/>
                <a:gd name="connsiteX5723" fmla="*/ 2466499 w 6400800"/>
                <a:gd name="connsiteY5723" fmla="*/ 272891 h 514350"/>
                <a:gd name="connsiteX5724" fmla="*/ 2468404 w 6400800"/>
                <a:gd name="connsiteY5724" fmla="*/ 268129 h 514350"/>
                <a:gd name="connsiteX5725" fmla="*/ 2467451 w 6400800"/>
                <a:gd name="connsiteY5725" fmla="*/ 274796 h 514350"/>
                <a:gd name="connsiteX5726" fmla="*/ 2471261 w 6400800"/>
                <a:gd name="connsiteY5726" fmla="*/ 233839 h 514350"/>
                <a:gd name="connsiteX5727" fmla="*/ 2470309 w 6400800"/>
                <a:gd name="connsiteY5727" fmla="*/ 245269 h 514350"/>
                <a:gd name="connsiteX5728" fmla="*/ 2469356 w 6400800"/>
                <a:gd name="connsiteY5728" fmla="*/ 246221 h 514350"/>
                <a:gd name="connsiteX5729" fmla="*/ 2459831 w 6400800"/>
                <a:gd name="connsiteY5729" fmla="*/ 263366 h 514350"/>
                <a:gd name="connsiteX5730" fmla="*/ 2458879 w 6400800"/>
                <a:gd name="connsiteY5730" fmla="*/ 261461 h 514350"/>
                <a:gd name="connsiteX5731" fmla="*/ 2461736 w 6400800"/>
                <a:gd name="connsiteY5731" fmla="*/ 247174 h 514350"/>
                <a:gd name="connsiteX5732" fmla="*/ 2462689 w 6400800"/>
                <a:gd name="connsiteY5732" fmla="*/ 245269 h 514350"/>
                <a:gd name="connsiteX5733" fmla="*/ 2472214 w 6400800"/>
                <a:gd name="connsiteY5733" fmla="*/ 231934 h 514350"/>
                <a:gd name="connsiteX5734" fmla="*/ 2472214 w 6400800"/>
                <a:gd name="connsiteY5734" fmla="*/ 231934 h 514350"/>
                <a:gd name="connsiteX5735" fmla="*/ 2473166 w 6400800"/>
                <a:gd name="connsiteY5735" fmla="*/ 240506 h 514350"/>
                <a:gd name="connsiteX5736" fmla="*/ 2472214 w 6400800"/>
                <a:gd name="connsiteY5736" fmla="*/ 242411 h 514350"/>
                <a:gd name="connsiteX5737" fmla="*/ 2471261 w 6400800"/>
                <a:gd name="connsiteY5737" fmla="*/ 233839 h 514350"/>
                <a:gd name="connsiteX5738" fmla="*/ 2467451 w 6400800"/>
                <a:gd name="connsiteY5738" fmla="*/ 211931 h 514350"/>
                <a:gd name="connsiteX5739" fmla="*/ 2465546 w 6400800"/>
                <a:gd name="connsiteY5739" fmla="*/ 213836 h 514350"/>
                <a:gd name="connsiteX5740" fmla="*/ 2466499 w 6400800"/>
                <a:gd name="connsiteY5740" fmla="*/ 211931 h 514350"/>
                <a:gd name="connsiteX5741" fmla="*/ 2468404 w 6400800"/>
                <a:gd name="connsiteY5741" fmla="*/ 208121 h 514350"/>
                <a:gd name="connsiteX5742" fmla="*/ 2468404 w 6400800"/>
                <a:gd name="connsiteY5742" fmla="*/ 210979 h 514350"/>
                <a:gd name="connsiteX5743" fmla="*/ 2467451 w 6400800"/>
                <a:gd name="connsiteY5743" fmla="*/ 211931 h 514350"/>
                <a:gd name="connsiteX5744" fmla="*/ 2467451 w 6400800"/>
                <a:gd name="connsiteY5744" fmla="*/ 211931 h 514350"/>
                <a:gd name="connsiteX5745" fmla="*/ 2467451 w 6400800"/>
                <a:gd name="connsiteY5745" fmla="*/ 211931 h 514350"/>
                <a:gd name="connsiteX5746" fmla="*/ 2470309 w 6400800"/>
                <a:gd name="connsiteY5746" fmla="*/ 218599 h 514350"/>
                <a:gd name="connsiteX5747" fmla="*/ 2472214 w 6400800"/>
                <a:gd name="connsiteY5747" fmla="*/ 230029 h 514350"/>
                <a:gd name="connsiteX5748" fmla="*/ 2472214 w 6400800"/>
                <a:gd name="connsiteY5748" fmla="*/ 230029 h 514350"/>
                <a:gd name="connsiteX5749" fmla="*/ 2463641 w 6400800"/>
                <a:gd name="connsiteY5749" fmla="*/ 237649 h 514350"/>
                <a:gd name="connsiteX5750" fmla="*/ 2464594 w 6400800"/>
                <a:gd name="connsiteY5750" fmla="*/ 234791 h 514350"/>
                <a:gd name="connsiteX5751" fmla="*/ 2466499 w 6400800"/>
                <a:gd name="connsiteY5751" fmla="*/ 224314 h 514350"/>
                <a:gd name="connsiteX5752" fmla="*/ 2466499 w 6400800"/>
                <a:gd name="connsiteY5752" fmla="*/ 224314 h 514350"/>
                <a:gd name="connsiteX5753" fmla="*/ 2470309 w 6400800"/>
                <a:gd name="connsiteY5753" fmla="*/ 218599 h 514350"/>
                <a:gd name="connsiteX5754" fmla="*/ 2477929 w 6400800"/>
                <a:gd name="connsiteY5754" fmla="*/ 223361 h 514350"/>
                <a:gd name="connsiteX5755" fmla="*/ 2475071 w 6400800"/>
                <a:gd name="connsiteY5755" fmla="*/ 212884 h 514350"/>
                <a:gd name="connsiteX5756" fmla="*/ 2477929 w 6400800"/>
                <a:gd name="connsiteY5756" fmla="*/ 209074 h 514350"/>
                <a:gd name="connsiteX5757" fmla="*/ 2477929 w 6400800"/>
                <a:gd name="connsiteY5757" fmla="*/ 217646 h 514350"/>
                <a:gd name="connsiteX5758" fmla="*/ 2477929 w 6400800"/>
                <a:gd name="connsiteY5758" fmla="*/ 223361 h 514350"/>
                <a:gd name="connsiteX5759" fmla="*/ 2473166 w 6400800"/>
                <a:gd name="connsiteY5759" fmla="*/ 206216 h 514350"/>
                <a:gd name="connsiteX5760" fmla="*/ 2472214 w 6400800"/>
                <a:gd name="connsiteY5760" fmla="*/ 203359 h 514350"/>
                <a:gd name="connsiteX5761" fmla="*/ 2471261 w 6400800"/>
                <a:gd name="connsiteY5761" fmla="*/ 201454 h 514350"/>
                <a:gd name="connsiteX5762" fmla="*/ 2474119 w 6400800"/>
                <a:gd name="connsiteY5762" fmla="*/ 195739 h 514350"/>
                <a:gd name="connsiteX5763" fmla="*/ 2477929 w 6400800"/>
                <a:gd name="connsiteY5763" fmla="*/ 189071 h 514350"/>
                <a:gd name="connsiteX5764" fmla="*/ 2477929 w 6400800"/>
                <a:gd name="connsiteY5764" fmla="*/ 201454 h 514350"/>
                <a:gd name="connsiteX5765" fmla="*/ 2473166 w 6400800"/>
                <a:gd name="connsiteY5765" fmla="*/ 206216 h 514350"/>
                <a:gd name="connsiteX5766" fmla="*/ 2473166 w 6400800"/>
                <a:gd name="connsiteY5766" fmla="*/ 255746 h 514350"/>
                <a:gd name="connsiteX5767" fmla="*/ 2475071 w 6400800"/>
                <a:gd name="connsiteY5767" fmla="*/ 251936 h 514350"/>
                <a:gd name="connsiteX5768" fmla="*/ 2476976 w 6400800"/>
                <a:gd name="connsiteY5768" fmla="*/ 266224 h 514350"/>
                <a:gd name="connsiteX5769" fmla="*/ 2479834 w 6400800"/>
                <a:gd name="connsiteY5769" fmla="*/ 292894 h 514350"/>
                <a:gd name="connsiteX5770" fmla="*/ 2479834 w 6400800"/>
                <a:gd name="connsiteY5770" fmla="*/ 296704 h 514350"/>
                <a:gd name="connsiteX5771" fmla="*/ 2479834 w 6400800"/>
                <a:gd name="connsiteY5771" fmla="*/ 295751 h 514350"/>
                <a:gd name="connsiteX5772" fmla="*/ 2475071 w 6400800"/>
                <a:gd name="connsiteY5772" fmla="*/ 288131 h 514350"/>
                <a:gd name="connsiteX5773" fmla="*/ 2473166 w 6400800"/>
                <a:gd name="connsiteY5773" fmla="*/ 255746 h 514350"/>
                <a:gd name="connsiteX5774" fmla="*/ 2481739 w 6400800"/>
                <a:gd name="connsiteY5774" fmla="*/ 324326 h 514350"/>
                <a:gd name="connsiteX5775" fmla="*/ 2480786 w 6400800"/>
                <a:gd name="connsiteY5775" fmla="*/ 326231 h 514350"/>
                <a:gd name="connsiteX5776" fmla="*/ 2476024 w 6400800"/>
                <a:gd name="connsiteY5776" fmla="*/ 340519 h 514350"/>
                <a:gd name="connsiteX5777" fmla="*/ 2476024 w 6400800"/>
                <a:gd name="connsiteY5777" fmla="*/ 308134 h 514350"/>
                <a:gd name="connsiteX5778" fmla="*/ 2476024 w 6400800"/>
                <a:gd name="connsiteY5778" fmla="*/ 308134 h 514350"/>
                <a:gd name="connsiteX5779" fmla="*/ 2479834 w 6400800"/>
                <a:gd name="connsiteY5779" fmla="*/ 318611 h 514350"/>
                <a:gd name="connsiteX5780" fmla="*/ 2480786 w 6400800"/>
                <a:gd name="connsiteY5780" fmla="*/ 322421 h 514350"/>
                <a:gd name="connsiteX5781" fmla="*/ 2481739 w 6400800"/>
                <a:gd name="connsiteY5781" fmla="*/ 324326 h 514350"/>
                <a:gd name="connsiteX5782" fmla="*/ 2481739 w 6400800"/>
                <a:gd name="connsiteY5782" fmla="*/ 324326 h 514350"/>
                <a:gd name="connsiteX5783" fmla="*/ 2436971 w 6400800"/>
                <a:gd name="connsiteY5783" fmla="*/ 215741 h 514350"/>
                <a:gd name="connsiteX5784" fmla="*/ 2447449 w 6400800"/>
                <a:gd name="connsiteY5784" fmla="*/ 195739 h 514350"/>
                <a:gd name="connsiteX5785" fmla="*/ 2457926 w 6400800"/>
                <a:gd name="connsiteY5785" fmla="*/ 178594 h 514350"/>
                <a:gd name="connsiteX5786" fmla="*/ 2475071 w 6400800"/>
                <a:gd name="connsiteY5786" fmla="*/ 150971 h 514350"/>
                <a:gd name="connsiteX5787" fmla="*/ 2482691 w 6400800"/>
                <a:gd name="connsiteY5787" fmla="*/ 138589 h 514350"/>
                <a:gd name="connsiteX5788" fmla="*/ 2480786 w 6400800"/>
                <a:gd name="connsiteY5788" fmla="*/ 154781 h 514350"/>
                <a:gd name="connsiteX5789" fmla="*/ 2478881 w 6400800"/>
                <a:gd name="connsiteY5789" fmla="*/ 181451 h 514350"/>
                <a:gd name="connsiteX5790" fmla="*/ 2470309 w 6400800"/>
                <a:gd name="connsiteY5790" fmla="*/ 193834 h 514350"/>
                <a:gd name="connsiteX5791" fmla="*/ 2469356 w 6400800"/>
                <a:gd name="connsiteY5791" fmla="*/ 194786 h 514350"/>
                <a:gd name="connsiteX5792" fmla="*/ 2465546 w 6400800"/>
                <a:gd name="connsiteY5792" fmla="*/ 181451 h 514350"/>
                <a:gd name="connsiteX5793" fmla="*/ 2467451 w 6400800"/>
                <a:gd name="connsiteY5793" fmla="*/ 197644 h 514350"/>
                <a:gd name="connsiteX5794" fmla="*/ 2460784 w 6400800"/>
                <a:gd name="connsiteY5794" fmla="*/ 209074 h 514350"/>
                <a:gd name="connsiteX5795" fmla="*/ 2447449 w 6400800"/>
                <a:gd name="connsiteY5795" fmla="*/ 234791 h 514350"/>
                <a:gd name="connsiteX5796" fmla="*/ 2436971 w 6400800"/>
                <a:gd name="connsiteY5796" fmla="*/ 247174 h 514350"/>
                <a:gd name="connsiteX5797" fmla="*/ 2436019 w 6400800"/>
                <a:gd name="connsiteY5797" fmla="*/ 249079 h 514350"/>
                <a:gd name="connsiteX5798" fmla="*/ 2436019 w 6400800"/>
                <a:gd name="connsiteY5798" fmla="*/ 249079 h 514350"/>
                <a:gd name="connsiteX5799" fmla="*/ 2433161 w 6400800"/>
                <a:gd name="connsiteY5799" fmla="*/ 225266 h 514350"/>
                <a:gd name="connsiteX5800" fmla="*/ 2436971 w 6400800"/>
                <a:gd name="connsiteY5800" fmla="*/ 215741 h 514350"/>
                <a:gd name="connsiteX5801" fmla="*/ 2416016 w 6400800"/>
                <a:gd name="connsiteY5801" fmla="*/ 313849 h 514350"/>
                <a:gd name="connsiteX5802" fmla="*/ 2416016 w 6400800"/>
                <a:gd name="connsiteY5802" fmla="*/ 313849 h 514350"/>
                <a:gd name="connsiteX5803" fmla="*/ 2413159 w 6400800"/>
                <a:gd name="connsiteY5803" fmla="*/ 304324 h 514350"/>
                <a:gd name="connsiteX5804" fmla="*/ 2415064 w 6400800"/>
                <a:gd name="connsiteY5804" fmla="*/ 301466 h 514350"/>
                <a:gd name="connsiteX5805" fmla="*/ 2415064 w 6400800"/>
                <a:gd name="connsiteY5805" fmla="*/ 303371 h 514350"/>
                <a:gd name="connsiteX5806" fmla="*/ 2416016 w 6400800"/>
                <a:gd name="connsiteY5806" fmla="*/ 313849 h 514350"/>
                <a:gd name="connsiteX5807" fmla="*/ 2416016 w 6400800"/>
                <a:gd name="connsiteY5807" fmla="*/ 313849 h 514350"/>
                <a:gd name="connsiteX5808" fmla="*/ 2422684 w 6400800"/>
                <a:gd name="connsiteY5808" fmla="*/ 288131 h 514350"/>
                <a:gd name="connsiteX5809" fmla="*/ 2422684 w 6400800"/>
                <a:gd name="connsiteY5809" fmla="*/ 293846 h 514350"/>
                <a:gd name="connsiteX5810" fmla="*/ 2420779 w 6400800"/>
                <a:gd name="connsiteY5810" fmla="*/ 299561 h 514350"/>
                <a:gd name="connsiteX5811" fmla="*/ 2418874 w 6400800"/>
                <a:gd name="connsiteY5811" fmla="*/ 293846 h 514350"/>
                <a:gd name="connsiteX5812" fmla="*/ 2420779 w 6400800"/>
                <a:gd name="connsiteY5812" fmla="*/ 290989 h 514350"/>
                <a:gd name="connsiteX5813" fmla="*/ 2422684 w 6400800"/>
                <a:gd name="connsiteY5813" fmla="*/ 288131 h 514350"/>
                <a:gd name="connsiteX5814" fmla="*/ 2414111 w 6400800"/>
                <a:gd name="connsiteY5814" fmla="*/ 259556 h 514350"/>
                <a:gd name="connsiteX5815" fmla="*/ 2419826 w 6400800"/>
                <a:gd name="connsiteY5815" fmla="*/ 248126 h 514350"/>
                <a:gd name="connsiteX5816" fmla="*/ 2420779 w 6400800"/>
                <a:gd name="connsiteY5816" fmla="*/ 266224 h 514350"/>
                <a:gd name="connsiteX5817" fmla="*/ 2412206 w 6400800"/>
                <a:gd name="connsiteY5817" fmla="*/ 277654 h 514350"/>
                <a:gd name="connsiteX5818" fmla="*/ 2410301 w 6400800"/>
                <a:gd name="connsiteY5818" fmla="*/ 273844 h 514350"/>
                <a:gd name="connsiteX5819" fmla="*/ 2408396 w 6400800"/>
                <a:gd name="connsiteY5819" fmla="*/ 270986 h 514350"/>
                <a:gd name="connsiteX5820" fmla="*/ 2414111 w 6400800"/>
                <a:gd name="connsiteY5820" fmla="*/ 259556 h 514350"/>
                <a:gd name="connsiteX5821" fmla="*/ 2406491 w 6400800"/>
                <a:gd name="connsiteY5821" fmla="*/ 275749 h 514350"/>
                <a:gd name="connsiteX5822" fmla="*/ 2406491 w 6400800"/>
                <a:gd name="connsiteY5822" fmla="*/ 275749 h 514350"/>
                <a:gd name="connsiteX5823" fmla="*/ 2409349 w 6400800"/>
                <a:gd name="connsiteY5823" fmla="*/ 282416 h 514350"/>
                <a:gd name="connsiteX5824" fmla="*/ 2406491 w 6400800"/>
                <a:gd name="connsiteY5824" fmla="*/ 286226 h 514350"/>
                <a:gd name="connsiteX5825" fmla="*/ 2404586 w 6400800"/>
                <a:gd name="connsiteY5825" fmla="*/ 280511 h 514350"/>
                <a:gd name="connsiteX5826" fmla="*/ 2406491 w 6400800"/>
                <a:gd name="connsiteY5826" fmla="*/ 275749 h 514350"/>
                <a:gd name="connsiteX5827" fmla="*/ 2405539 w 6400800"/>
                <a:gd name="connsiteY5827" fmla="*/ 317659 h 514350"/>
                <a:gd name="connsiteX5828" fmla="*/ 2408396 w 6400800"/>
                <a:gd name="connsiteY5828" fmla="*/ 328136 h 514350"/>
                <a:gd name="connsiteX5829" fmla="*/ 2408396 w 6400800"/>
                <a:gd name="connsiteY5829" fmla="*/ 334804 h 514350"/>
                <a:gd name="connsiteX5830" fmla="*/ 2407444 w 6400800"/>
                <a:gd name="connsiteY5830" fmla="*/ 332899 h 514350"/>
                <a:gd name="connsiteX5831" fmla="*/ 2407444 w 6400800"/>
                <a:gd name="connsiteY5831" fmla="*/ 340519 h 514350"/>
                <a:gd name="connsiteX5832" fmla="*/ 2404586 w 6400800"/>
                <a:gd name="connsiteY5832" fmla="*/ 350996 h 514350"/>
                <a:gd name="connsiteX5833" fmla="*/ 2400776 w 6400800"/>
                <a:gd name="connsiteY5833" fmla="*/ 364331 h 514350"/>
                <a:gd name="connsiteX5834" fmla="*/ 2398871 w 6400800"/>
                <a:gd name="connsiteY5834" fmla="*/ 343376 h 514350"/>
                <a:gd name="connsiteX5835" fmla="*/ 2397919 w 6400800"/>
                <a:gd name="connsiteY5835" fmla="*/ 333851 h 514350"/>
                <a:gd name="connsiteX5836" fmla="*/ 2398871 w 6400800"/>
                <a:gd name="connsiteY5836" fmla="*/ 330994 h 514350"/>
                <a:gd name="connsiteX5837" fmla="*/ 2405539 w 6400800"/>
                <a:gd name="connsiteY5837" fmla="*/ 317659 h 514350"/>
                <a:gd name="connsiteX5838" fmla="*/ 2398871 w 6400800"/>
                <a:gd name="connsiteY5838" fmla="*/ 291941 h 514350"/>
                <a:gd name="connsiteX5839" fmla="*/ 2399824 w 6400800"/>
                <a:gd name="connsiteY5839" fmla="*/ 295751 h 514350"/>
                <a:gd name="connsiteX5840" fmla="*/ 2394109 w 6400800"/>
                <a:gd name="connsiteY5840" fmla="*/ 303371 h 514350"/>
                <a:gd name="connsiteX5841" fmla="*/ 2394109 w 6400800"/>
                <a:gd name="connsiteY5841" fmla="*/ 302419 h 514350"/>
                <a:gd name="connsiteX5842" fmla="*/ 2398871 w 6400800"/>
                <a:gd name="connsiteY5842" fmla="*/ 291941 h 514350"/>
                <a:gd name="connsiteX5843" fmla="*/ 2393156 w 6400800"/>
                <a:gd name="connsiteY5843" fmla="*/ 267176 h 514350"/>
                <a:gd name="connsiteX5844" fmla="*/ 2391251 w 6400800"/>
                <a:gd name="connsiteY5844" fmla="*/ 270034 h 514350"/>
                <a:gd name="connsiteX5845" fmla="*/ 2389346 w 6400800"/>
                <a:gd name="connsiteY5845" fmla="*/ 254794 h 514350"/>
                <a:gd name="connsiteX5846" fmla="*/ 2393156 w 6400800"/>
                <a:gd name="connsiteY5846" fmla="*/ 267176 h 514350"/>
                <a:gd name="connsiteX5847" fmla="*/ 2351246 w 6400800"/>
                <a:gd name="connsiteY5847" fmla="*/ 278606 h 514350"/>
                <a:gd name="connsiteX5848" fmla="*/ 2351246 w 6400800"/>
                <a:gd name="connsiteY5848" fmla="*/ 278606 h 514350"/>
                <a:gd name="connsiteX5849" fmla="*/ 2351246 w 6400800"/>
                <a:gd name="connsiteY5849" fmla="*/ 275749 h 514350"/>
                <a:gd name="connsiteX5850" fmla="*/ 2351246 w 6400800"/>
                <a:gd name="connsiteY5850" fmla="*/ 278606 h 514350"/>
                <a:gd name="connsiteX5851" fmla="*/ 2378869 w 6400800"/>
                <a:gd name="connsiteY5851" fmla="*/ 295751 h 514350"/>
                <a:gd name="connsiteX5852" fmla="*/ 2375059 w 6400800"/>
                <a:gd name="connsiteY5852" fmla="*/ 303371 h 514350"/>
                <a:gd name="connsiteX5853" fmla="*/ 2374106 w 6400800"/>
                <a:gd name="connsiteY5853" fmla="*/ 305276 h 514350"/>
                <a:gd name="connsiteX5854" fmla="*/ 2374106 w 6400800"/>
                <a:gd name="connsiteY5854" fmla="*/ 304324 h 514350"/>
                <a:gd name="connsiteX5855" fmla="*/ 2376011 w 6400800"/>
                <a:gd name="connsiteY5855" fmla="*/ 231934 h 514350"/>
                <a:gd name="connsiteX5856" fmla="*/ 2366486 w 6400800"/>
                <a:gd name="connsiteY5856" fmla="*/ 277654 h 514350"/>
                <a:gd name="connsiteX5857" fmla="*/ 2364581 w 6400800"/>
                <a:gd name="connsiteY5857" fmla="*/ 272891 h 514350"/>
                <a:gd name="connsiteX5858" fmla="*/ 2361724 w 6400800"/>
                <a:gd name="connsiteY5858" fmla="*/ 264319 h 514350"/>
                <a:gd name="connsiteX5859" fmla="*/ 2361724 w 6400800"/>
                <a:gd name="connsiteY5859" fmla="*/ 245269 h 514350"/>
                <a:gd name="connsiteX5860" fmla="*/ 2365534 w 6400800"/>
                <a:gd name="connsiteY5860" fmla="*/ 234791 h 514350"/>
                <a:gd name="connsiteX5861" fmla="*/ 2376011 w 6400800"/>
                <a:gd name="connsiteY5861" fmla="*/ 211931 h 514350"/>
                <a:gd name="connsiteX5862" fmla="*/ 2376011 w 6400800"/>
                <a:gd name="connsiteY5862" fmla="*/ 244316 h 514350"/>
                <a:gd name="connsiteX5863" fmla="*/ 2376964 w 6400800"/>
                <a:gd name="connsiteY5863" fmla="*/ 290989 h 514350"/>
                <a:gd name="connsiteX5864" fmla="*/ 2378869 w 6400800"/>
                <a:gd name="connsiteY5864" fmla="*/ 295751 h 514350"/>
                <a:gd name="connsiteX5865" fmla="*/ 2362676 w 6400800"/>
                <a:gd name="connsiteY5865" fmla="*/ 180499 h 514350"/>
                <a:gd name="connsiteX5866" fmla="*/ 2368391 w 6400800"/>
                <a:gd name="connsiteY5866" fmla="*/ 166211 h 514350"/>
                <a:gd name="connsiteX5867" fmla="*/ 2377916 w 6400800"/>
                <a:gd name="connsiteY5867" fmla="*/ 140494 h 514350"/>
                <a:gd name="connsiteX5868" fmla="*/ 2378869 w 6400800"/>
                <a:gd name="connsiteY5868" fmla="*/ 143351 h 514350"/>
                <a:gd name="connsiteX5869" fmla="*/ 2378869 w 6400800"/>
                <a:gd name="connsiteY5869" fmla="*/ 152876 h 514350"/>
                <a:gd name="connsiteX5870" fmla="*/ 2377916 w 6400800"/>
                <a:gd name="connsiteY5870" fmla="*/ 147161 h 514350"/>
                <a:gd name="connsiteX5871" fmla="*/ 2377916 w 6400800"/>
                <a:gd name="connsiteY5871" fmla="*/ 173831 h 514350"/>
                <a:gd name="connsiteX5872" fmla="*/ 2377916 w 6400800"/>
                <a:gd name="connsiteY5872" fmla="*/ 203359 h 514350"/>
                <a:gd name="connsiteX5873" fmla="*/ 2362676 w 6400800"/>
                <a:gd name="connsiteY5873" fmla="*/ 227171 h 514350"/>
                <a:gd name="connsiteX5874" fmla="*/ 2360771 w 6400800"/>
                <a:gd name="connsiteY5874" fmla="*/ 185261 h 514350"/>
                <a:gd name="connsiteX5875" fmla="*/ 2362676 w 6400800"/>
                <a:gd name="connsiteY5875" fmla="*/ 180499 h 514350"/>
                <a:gd name="connsiteX5876" fmla="*/ 2340769 w 6400800"/>
                <a:gd name="connsiteY5876" fmla="*/ 241459 h 514350"/>
                <a:gd name="connsiteX5877" fmla="*/ 2342674 w 6400800"/>
                <a:gd name="connsiteY5877" fmla="*/ 235744 h 514350"/>
                <a:gd name="connsiteX5878" fmla="*/ 2347436 w 6400800"/>
                <a:gd name="connsiteY5878" fmla="*/ 221456 h 514350"/>
                <a:gd name="connsiteX5879" fmla="*/ 2359819 w 6400800"/>
                <a:gd name="connsiteY5879" fmla="*/ 187166 h 514350"/>
                <a:gd name="connsiteX5880" fmla="*/ 2355056 w 6400800"/>
                <a:gd name="connsiteY5880" fmla="*/ 236696 h 514350"/>
                <a:gd name="connsiteX5881" fmla="*/ 2353151 w 6400800"/>
                <a:gd name="connsiteY5881" fmla="*/ 230029 h 514350"/>
                <a:gd name="connsiteX5882" fmla="*/ 2354104 w 6400800"/>
                <a:gd name="connsiteY5882" fmla="*/ 241459 h 514350"/>
                <a:gd name="connsiteX5883" fmla="*/ 2344579 w 6400800"/>
                <a:gd name="connsiteY5883" fmla="*/ 259556 h 514350"/>
                <a:gd name="connsiteX5884" fmla="*/ 2344579 w 6400800"/>
                <a:gd name="connsiteY5884" fmla="*/ 259556 h 514350"/>
                <a:gd name="connsiteX5885" fmla="*/ 2339816 w 6400800"/>
                <a:gd name="connsiteY5885" fmla="*/ 245269 h 514350"/>
                <a:gd name="connsiteX5886" fmla="*/ 2340769 w 6400800"/>
                <a:gd name="connsiteY5886" fmla="*/ 241459 h 514350"/>
                <a:gd name="connsiteX5887" fmla="*/ 2344579 w 6400800"/>
                <a:gd name="connsiteY5887" fmla="*/ 320516 h 514350"/>
                <a:gd name="connsiteX5888" fmla="*/ 2339816 w 6400800"/>
                <a:gd name="connsiteY5888" fmla="*/ 310991 h 514350"/>
                <a:gd name="connsiteX5889" fmla="*/ 2339816 w 6400800"/>
                <a:gd name="connsiteY5889" fmla="*/ 310039 h 514350"/>
                <a:gd name="connsiteX5890" fmla="*/ 2344579 w 6400800"/>
                <a:gd name="connsiteY5890" fmla="*/ 320516 h 514350"/>
                <a:gd name="connsiteX5891" fmla="*/ 2337911 w 6400800"/>
                <a:gd name="connsiteY5891" fmla="*/ 317659 h 514350"/>
                <a:gd name="connsiteX5892" fmla="*/ 2341721 w 6400800"/>
                <a:gd name="connsiteY5892" fmla="*/ 327184 h 514350"/>
                <a:gd name="connsiteX5893" fmla="*/ 2336959 w 6400800"/>
                <a:gd name="connsiteY5893" fmla="*/ 321469 h 514350"/>
                <a:gd name="connsiteX5894" fmla="*/ 2337911 w 6400800"/>
                <a:gd name="connsiteY5894" fmla="*/ 317659 h 514350"/>
                <a:gd name="connsiteX5895" fmla="*/ 2332196 w 6400800"/>
                <a:gd name="connsiteY5895" fmla="*/ 280511 h 514350"/>
                <a:gd name="connsiteX5896" fmla="*/ 2333149 w 6400800"/>
                <a:gd name="connsiteY5896" fmla="*/ 283369 h 514350"/>
                <a:gd name="connsiteX5897" fmla="*/ 2332196 w 6400800"/>
                <a:gd name="connsiteY5897" fmla="*/ 281464 h 514350"/>
                <a:gd name="connsiteX5898" fmla="*/ 2332196 w 6400800"/>
                <a:gd name="connsiteY5898" fmla="*/ 280511 h 514350"/>
                <a:gd name="connsiteX5899" fmla="*/ 2330291 w 6400800"/>
                <a:gd name="connsiteY5899" fmla="*/ 289084 h 514350"/>
                <a:gd name="connsiteX5900" fmla="*/ 2331244 w 6400800"/>
                <a:gd name="connsiteY5900" fmla="*/ 290989 h 514350"/>
                <a:gd name="connsiteX5901" fmla="*/ 2330291 w 6400800"/>
                <a:gd name="connsiteY5901" fmla="*/ 292894 h 514350"/>
                <a:gd name="connsiteX5902" fmla="*/ 2329339 w 6400800"/>
                <a:gd name="connsiteY5902" fmla="*/ 290989 h 514350"/>
                <a:gd name="connsiteX5903" fmla="*/ 2330291 w 6400800"/>
                <a:gd name="connsiteY5903" fmla="*/ 289084 h 514350"/>
                <a:gd name="connsiteX5904" fmla="*/ 2329339 w 6400800"/>
                <a:gd name="connsiteY5904" fmla="*/ 293846 h 514350"/>
                <a:gd name="connsiteX5905" fmla="*/ 2329339 w 6400800"/>
                <a:gd name="connsiteY5905" fmla="*/ 292894 h 514350"/>
                <a:gd name="connsiteX5906" fmla="*/ 2330291 w 6400800"/>
                <a:gd name="connsiteY5906" fmla="*/ 294799 h 514350"/>
                <a:gd name="connsiteX5907" fmla="*/ 2328386 w 6400800"/>
                <a:gd name="connsiteY5907" fmla="*/ 299561 h 514350"/>
                <a:gd name="connsiteX5908" fmla="*/ 2328386 w 6400800"/>
                <a:gd name="connsiteY5908" fmla="*/ 298609 h 514350"/>
                <a:gd name="connsiteX5909" fmla="*/ 2329339 w 6400800"/>
                <a:gd name="connsiteY5909" fmla="*/ 293846 h 514350"/>
                <a:gd name="connsiteX5910" fmla="*/ 2313146 w 6400800"/>
                <a:gd name="connsiteY5910" fmla="*/ 194786 h 514350"/>
                <a:gd name="connsiteX5911" fmla="*/ 2315051 w 6400800"/>
                <a:gd name="connsiteY5911" fmla="*/ 201454 h 514350"/>
                <a:gd name="connsiteX5912" fmla="*/ 2316004 w 6400800"/>
                <a:gd name="connsiteY5912" fmla="*/ 205264 h 514350"/>
                <a:gd name="connsiteX5913" fmla="*/ 2314099 w 6400800"/>
                <a:gd name="connsiteY5913" fmla="*/ 214789 h 514350"/>
                <a:gd name="connsiteX5914" fmla="*/ 2314099 w 6400800"/>
                <a:gd name="connsiteY5914" fmla="*/ 214789 h 514350"/>
                <a:gd name="connsiteX5915" fmla="*/ 2310289 w 6400800"/>
                <a:gd name="connsiteY5915" fmla="*/ 207169 h 514350"/>
                <a:gd name="connsiteX5916" fmla="*/ 2313146 w 6400800"/>
                <a:gd name="connsiteY5916" fmla="*/ 194786 h 514350"/>
                <a:gd name="connsiteX5917" fmla="*/ 2304574 w 6400800"/>
                <a:gd name="connsiteY5917" fmla="*/ 197644 h 514350"/>
                <a:gd name="connsiteX5918" fmla="*/ 2305526 w 6400800"/>
                <a:gd name="connsiteY5918" fmla="*/ 200501 h 514350"/>
                <a:gd name="connsiteX5919" fmla="*/ 2303621 w 6400800"/>
                <a:gd name="connsiteY5919" fmla="*/ 205264 h 514350"/>
                <a:gd name="connsiteX5920" fmla="*/ 2304574 w 6400800"/>
                <a:gd name="connsiteY5920" fmla="*/ 197644 h 514350"/>
                <a:gd name="connsiteX5921" fmla="*/ 2297906 w 6400800"/>
                <a:gd name="connsiteY5921" fmla="*/ 272891 h 514350"/>
                <a:gd name="connsiteX5922" fmla="*/ 2298859 w 6400800"/>
                <a:gd name="connsiteY5922" fmla="*/ 256699 h 514350"/>
                <a:gd name="connsiteX5923" fmla="*/ 2299811 w 6400800"/>
                <a:gd name="connsiteY5923" fmla="*/ 250984 h 514350"/>
                <a:gd name="connsiteX5924" fmla="*/ 2308384 w 6400800"/>
                <a:gd name="connsiteY5924" fmla="*/ 211931 h 514350"/>
                <a:gd name="connsiteX5925" fmla="*/ 2309336 w 6400800"/>
                <a:gd name="connsiteY5925" fmla="*/ 215741 h 514350"/>
                <a:gd name="connsiteX5926" fmla="*/ 2311241 w 6400800"/>
                <a:gd name="connsiteY5926" fmla="*/ 221456 h 514350"/>
                <a:gd name="connsiteX5927" fmla="*/ 2311241 w 6400800"/>
                <a:gd name="connsiteY5927" fmla="*/ 221456 h 514350"/>
                <a:gd name="connsiteX5928" fmla="*/ 2304574 w 6400800"/>
                <a:gd name="connsiteY5928" fmla="*/ 253841 h 514350"/>
                <a:gd name="connsiteX5929" fmla="*/ 2302669 w 6400800"/>
                <a:gd name="connsiteY5929" fmla="*/ 251936 h 514350"/>
                <a:gd name="connsiteX5930" fmla="*/ 2304574 w 6400800"/>
                <a:gd name="connsiteY5930" fmla="*/ 253841 h 514350"/>
                <a:gd name="connsiteX5931" fmla="*/ 2299811 w 6400800"/>
                <a:gd name="connsiteY5931" fmla="*/ 274796 h 514350"/>
                <a:gd name="connsiteX5932" fmla="*/ 2294096 w 6400800"/>
                <a:gd name="connsiteY5932" fmla="*/ 300514 h 514350"/>
                <a:gd name="connsiteX5933" fmla="*/ 2297906 w 6400800"/>
                <a:gd name="connsiteY5933" fmla="*/ 272891 h 514350"/>
                <a:gd name="connsiteX5934" fmla="*/ 2271236 w 6400800"/>
                <a:gd name="connsiteY5934" fmla="*/ 369094 h 514350"/>
                <a:gd name="connsiteX5935" fmla="*/ 2270284 w 6400800"/>
                <a:gd name="connsiteY5935" fmla="*/ 376714 h 514350"/>
                <a:gd name="connsiteX5936" fmla="*/ 2270284 w 6400800"/>
                <a:gd name="connsiteY5936" fmla="*/ 376714 h 514350"/>
                <a:gd name="connsiteX5937" fmla="*/ 2270284 w 6400800"/>
                <a:gd name="connsiteY5937" fmla="*/ 372904 h 514350"/>
                <a:gd name="connsiteX5938" fmla="*/ 2271236 w 6400800"/>
                <a:gd name="connsiteY5938" fmla="*/ 369094 h 514350"/>
                <a:gd name="connsiteX5939" fmla="*/ 2252186 w 6400800"/>
                <a:gd name="connsiteY5939" fmla="*/ 297656 h 514350"/>
                <a:gd name="connsiteX5940" fmla="*/ 2251234 w 6400800"/>
                <a:gd name="connsiteY5940" fmla="*/ 311944 h 514350"/>
                <a:gd name="connsiteX5941" fmla="*/ 2250281 w 6400800"/>
                <a:gd name="connsiteY5941" fmla="*/ 308134 h 514350"/>
                <a:gd name="connsiteX5942" fmla="*/ 2252186 w 6400800"/>
                <a:gd name="connsiteY5942" fmla="*/ 297656 h 514350"/>
                <a:gd name="connsiteX5943" fmla="*/ 2215991 w 6400800"/>
                <a:gd name="connsiteY5943" fmla="*/ 252889 h 514350"/>
                <a:gd name="connsiteX5944" fmla="*/ 2215991 w 6400800"/>
                <a:gd name="connsiteY5944" fmla="*/ 256699 h 514350"/>
                <a:gd name="connsiteX5945" fmla="*/ 2215991 w 6400800"/>
                <a:gd name="connsiteY5945" fmla="*/ 256699 h 514350"/>
                <a:gd name="connsiteX5946" fmla="*/ 2215991 w 6400800"/>
                <a:gd name="connsiteY5946" fmla="*/ 252889 h 514350"/>
                <a:gd name="connsiteX5947" fmla="*/ 2211229 w 6400800"/>
                <a:gd name="connsiteY5947" fmla="*/ 281464 h 514350"/>
                <a:gd name="connsiteX5948" fmla="*/ 2214086 w 6400800"/>
                <a:gd name="connsiteY5948" fmla="*/ 260509 h 514350"/>
                <a:gd name="connsiteX5949" fmla="*/ 2215039 w 6400800"/>
                <a:gd name="connsiteY5949" fmla="*/ 261461 h 514350"/>
                <a:gd name="connsiteX5950" fmla="*/ 2215039 w 6400800"/>
                <a:gd name="connsiteY5950" fmla="*/ 267176 h 514350"/>
                <a:gd name="connsiteX5951" fmla="*/ 2212181 w 6400800"/>
                <a:gd name="connsiteY5951" fmla="*/ 299561 h 514350"/>
                <a:gd name="connsiteX5952" fmla="*/ 2206466 w 6400800"/>
                <a:gd name="connsiteY5952" fmla="*/ 309086 h 514350"/>
                <a:gd name="connsiteX5953" fmla="*/ 2211229 w 6400800"/>
                <a:gd name="connsiteY5953" fmla="*/ 281464 h 514350"/>
                <a:gd name="connsiteX5954" fmla="*/ 2205514 w 6400800"/>
                <a:gd name="connsiteY5954" fmla="*/ 337661 h 514350"/>
                <a:gd name="connsiteX5955" fmla="*/ 2204561 w 6400800"/>
                <a:gd name="connsiteY5955" fmla="*/ 339566 h 514350"/>
                <a:gd name="connsiteX5956" fmla="*/ 2204561 w 6400800"/>
                <a:gd name="connsiteY5956" fmla="*/ 340519 h 514350"/>
                <a:gd name="connsiteX5957" fmla="*/ 2205514 w 6400800"/>
                <a:gd name="connsiteY5957" fmla="*/ 337661 h 514350"/>
                <a:gd name="connsiteX5958" fmla="*/ 2183606 w 6400800"/>
                <a:gd name="connsiteY5958" fmla="*/ 336709 h 514350"/>
                <a:gd name="connsiteX5959" fmla="*/ 2185511 w 6400800"/>
                <a:gd name="connsiteY5959" fmla="*/ 345281 h 514350"/>
                <a:gd name="connsiteX5960" fmla="*/ 2184559 w 6400800"/>
                <a:gd name="connsiteY5960" fmla="*/ 350044 h 514350"/>
                <a:gd name="connsiteX5961" fmla="*/ 2183606 w 6400800"/>
                <a:gd name="connsiteY5961" fmla="*/ 340519 h 514350"/>
                <a:gd name="connsiteX5962" fmla="*/ 2183606 w 6400800"/>
                <a:gd name="connsiteY5962" fmla="*/ 337661 h 514350"/>
                <a:gd name="connsiteX5963" fmla="*/ 2183606 w 6400800"/>
                <a:gd name="connsiteY5963" fmla="*/ 336709 h 514350"/>
                <a:gd name="connsiteX5964" fmla="*/ 2178844 w 6400800"/>
                <a:gd name="connsiteY5964" fmla="*/ 345281 h 514350"/>
                <a:gd name="connsiteX5965" fmla="*/ 2178844 w 6400800"/>
                <a:gd name="connsiteY5965" fmla="*/ 357664 h 514350"/>
                <a:gd name="connsiteX5966" fmla="*/ 2175986 w 6400800"/>
                <a:gd name="connsiteY5966" fmla="*/ 350996 h 514350"/>
                <a:gd name="connsiteX5967" fmla="*/ 2178844 w 6400800"/>
                <a:gd name="connsiteY5967" fmla="*/ 345281 h 514350"/>
                <a:gd name="connsiteX5968" fmla="*/ 2150269 w 6400800"/>
                <a:gd name="connsiteY5968" fmla="*/ 278606 h 514350"/>
                <a:gd name="connsiteX5969" fmla="*/ 2162651 w 6400800"/>
                <a:gd name="connsiteY5969" fmla="*/ 232886 h 514350"/>
                <a:gd name="connsiteX5970" fmla="*/ 2161699 w 6400800"/>
                <a:gd name="connsiteY5970" fmla="*/ 235744 h 514350"/>
                <a:gd name="connsiteX5971" fmla="*/ 2157889 w 6400800"/>
                <a:gd name="connsiteY5971" fmla="*/ 253841 h 514350"/>
                <a:gd name="connsiteX5972" fmla="*/ 2154079 w 6400800"/>
                <a:gd name="connsiteY5972" fmla="*/ 274796 h 514350"/>
                <a:gd name="connsiteX5973" fmla="*/ 2151221 w 6400800"/>
                <a:gd name="connsiteY5973" fmla="*/ 293846 h 514350"/>
                <a:gd name="connsiteX5974" fmla="*/ 2148364 w 6400800"/>
                <a:gd name="connsiteY5974" fmla="*/ 288131 h 514350"/>
                <a:gd name="connsiteX5975" fmla="*/ 2150269 w 6400800"/>
                <a:gd name="connsiteY5975" fmla="*/ 296704 h 514350"/>
                <a:gd name="connsiteX5976" fmla="*/ 2147411 w 6400800"/>
                <a:gd name="connsiteY5976" fmla="*/ 314801 h 514350"/>
                <a:gd name="connsiteX5977" fmla="*/ 2140744 w 6400800"/>
                <a:gd name="connsiteY5977" fmla="*/ 305276 h 514350"/>
                <a:gd name="connsiteX5978" fmla="*/ 2150269 w 6400800"/>
                <a:gd name="connsiteY5978" fmla="*/ 278606 h 514350"/>
                <a:gd name="connsiteX5979" fmla="*/ 2142649 w 6400800"/>
                <a:gd name="connsiteY5979" fmla="*/ 305276 h 514350"/>
                <a:gd name="connsiteX5980" fmla="*/ 2148364 w 6400800"/>
                <a:gd name="connsiteY5980" fmla="*/ 319564 h 514350"/>
                <a:gd name="connsiteX5981" fmla="*/ 2148364 w 6400800"/>
                <a:gd name="connsiteY5981" fmla="*/ 320516 h 514350"/>
                <a:gd name="connsiteX5982" fmla="*/ 2148364 w 6400800"/>
                <a:gd name="connsiteY5982" fmla="*/ 321469 h 514350"/>
                <a:gd name="connsiteX5983" fmla="*/ 2145506 w 6400800"/>
                <a:gd name="connsiteY5983" fmla="*/ 343376 h 514350"/>
                <a:gd name="connsiteX5984" fmla="*/ 2139791 w 6400800"/>
                <a:gd name="connsiteY5984" fmla="*/ 324326 h 514350"/>
                <a:gd name="connsiteX5985" fmla="*/ 2138839 w 6400800"/>
                <a:gd name="connsiteY5985" fmla="*/ 320516 h 514350"/>
                <a:gd name="connsiteX5986" fmla="*/ 2142649 w 6400800"/>
                <a:gd name="connsiteY5986" fmla="*/ 305276 h 514350"/>
                <a:gd name="connsiteX5987" fmla="*/ 2058829 w 6400800"/>
                <a:gd name="connsiteY5987" fmla="*/ 353854 h 514350"/>
                <a:gd name="connsiteX5988" fmla="*/ 2056924 w 6400800"/>
                <a:gd name="connsiteY5988" fmla="*/ 366236 h 514350"/>
                <a:gd name="connsiteX5989" fmla="*/ 2055971 w 6400800"/>
                <a:gd name="connsiteY5989" fmla="*/ 361474 h 514350"/>
                <a:gd name="connsiteX5990" fmla="*/ 2054066 w 6400800"/>
                <a:gd name="connsiteY5990" fmla="*/ 352901 h 514350"/>
                <a:gd name="connsiteX5991" fmla="*/ 2054066 w 6400800"/>
                <a:gd name="connsiteY5991" fmla="*/ 351949 h 514350"/>
                <a:gd name="connsiteX5992" fmla="*/ 2059781 w 6400800"/>
                <a:gd name="connsiteY5992" fmla="*/ 338614 h 514350"/>
                <a:gd name="connsiteX5993" fmla="*/ 2060734 w 6400800"/>
                <a:gd name="connsiteY5993" fmla="*/ 343376 h 514350"/>
                <a:gd name="connsiteX5994" fmla="*/ 2058829 w 6400800"/>
                <a:gd name="connsiteY5994" fmla="*/ 353854 h 514350"/>
                <a:gd name="connsiteX5995" fmla="*/ 2081689 w 6400800"/>
                <a:gd name="connsiteY5995" fmla="*/ 350044 h 514350"/>
                <a:gd name="connsiteX5996" fmla="*/ 2079784 w 6400800"/>
                <a:gd name="connsiteY5996" fmla="*/ 354806 h 514350"/>
                <a:gd name="connsiteX5997" fmla="*/ 2077879 w 6400800"/>
                <a:gd name="connsiteY5997" fmla="*/ 347186 h 514350"/>
                <a:gd name="connsiteX5998" fmla="*/ 2077879 w 6400800"/>
                <a:gd name="connsiteY5998" fmla="*/ 344329 h 514350"/>
                <a:gd name="connsiteX5999" fmla="*/ 2080736 w 6400800"/>
                <a:gd name="connsiteY5999" fmla="*/ 348139 h 514350"/>
                <a:gd name="connsiteX6000" fmla="*/ 2081689 w 6400800"/>
                <a:gd name="connsiteY6000" fmla="*/ 350044 h 514350"/>
                <a:gd name="connsiteX6001" fmla="*/ 2081689 w 6400800"/>
                <a:gd name="connsiteY6001" fmla="*/ 350044 h 514350"/>
                <a:gd name="connsiteX6002" fmla="*/ 2081689 w 6400800"/>
                <a:gd name="connsiteY6002" fmla="*/ 339566 h 514350"/>
                <a:gd name="connsiteX6003" fmla="*/ 2081689 w 6400800"/>
                <a:gd name="connsiteY6003" fmla="*/ 341471 h 514350"/>
                <a:gd name="connsiteX6004" fmla="*/ 2078831 w 6400800"/>
                <a:gd name="connsiteY6004" fmla="*/ 337661 h 514350"/>
                <a:gd name="connsiteX6005" fmla="*/ 2079784 w 6400800"/>
                <a:gd name="connsiteY6005" fmla="*/ 330041 h 514350"/>
                <a:gd name="connsiteX6006" fmla="*/ 2081689 w 6400800"/>
                <a:gd name="connsiteY6006" fmla="*/ 339566 h 514350"/>
                <a:gd name="connsiteX6007" fmla="*/ 2081689 w 6400800"/>
                <a:gd name="connsiteY6007" fmla="*/ 339566 h 514350"/>
                <a:gd name="connsiteX6008" fmla="*/ 2085499 w 6400800"/>
                <a:gd name="connsiteY6008" fmla="*/ 290036 h 514350"/>
                <a:gd name="connsiteX6009" fmla="*/ 2084546 w 6400800"/>
                <a:gd name="connsiteY6009" fmla="*/ 307181 h 514350"/>
                <a:gd name="connsiteX6010" fmla="*/ 2083594 w 6400800"/>
                <a:gd name="connsiteY6010" fmla="*/ 303371 h 514350"/>
                <a:gd name="connsiteX6011" fmla="*/ 2086451 w 6400800"/>
                <a:gd name="connsiteY6011" fmla="*/ 273844 h 514350"/>
                <a:gd name="connsiteX6012" fmla="*/ 2087404 w 6400800"/>
                <a:gd name="connsiteY6012" fmla="*/ 267176 h 514350"/>
                <a:gd name="connsiteX6013" fmla="*/ 2085499 w 6400800"/>
                <a:gd name="connsiteY6013" fmla="*/ 290036 h 514350"/>
                <a:gd name="connsiteX6014" fmla="*/ 2089309 w 6400800"/>
                <a:gd name="connsiteY6014" fmla="*/ 180499 h 514350"/>
                <a:gd name="connsiteX6015" fmla="*/ 2089309 w 6400800"/>
                <a:gd name="connsiteY6015" fmla="*/ 200501 h 514350"/>
                <a:gd name="connsiteX6016" fmla="*/ 2086451 w 6400800"/>
                <a:gd name="connsiteY6016" fmla="*/ 192881 h 514350"/>
                <a:gd name="connsiteX6017" fmla="*/ 2089309 w 6400800"/>
                <a:gd name="connsiteY6017" fmla="*/ 180499 h 514350"/>
                <a:gd name="connsiteX6018" fmla="*/ 2072164 w 6400800"/>
                <a:gd name="connsiteY6018" fmla="*/ 241459 h 514350"/>
                <a:gd name="connsiteX6019" fmla="*/ 2086451 w 6400800"/>
                <a:gd name="connsiteY6019" fmla="*/ 193834 h 514350"/>
                <a:gd name="connsiteX6020" fmla="*/ 2090261 w 6400800"/>
                <a:gd name="connsiteY6020" fmla="*/ 207169 h 514350"/>
                <a:gd name="connsiteX6021" fmla="*/ 2090261 w 6400800"/>
                <a:gd name="connsiteY6021" fmla="*/ 208121 h 514350"/>
                <a:gd name="connsiteX6022" fmla="*/ 2075974 w 6400800"/>
                <a:gd name="connsiteY6022" fmla="*/ 271939 h 514350"/>
                <a:gd name="connsiteX6023" fmla="*/ 2074069 w 6400800"/>
                <a:gd name="connsiteY6023" fmla="*/ 282416 h 514350"/>
                <a:gd name="connsiteX6024" fmla="*/ 2068354 w 6400800"/>
                <a:gd name="connsiteY6024" fmla="*/ 271939 h 514350"/>
                <a:gd name="connsiteX6025" fmla="*/ 2065496 w 6400800"/>
                <a:gd name="connsiteY6025" fmla="*/ 266224 h 514350"/>
                <a:gd name="connsiteX6026" fmla="*/ 2072164 w 6400800"/>
                <a:gd name="connsiteY6026" fmla="*/ 241459 h 514350"/>
                <a:gd name="connsiteX6027" fmla="*/ 2062639 w 6400800"/>
                <a:gd name="connsiteY6027" fmla="*/ 270034 h 514350"/>
                <a:gd name="connsiteX6028" fmla="*/ 2063591 w 6400800"/>
                <a:gd name="connsiteY6028" fmla="*/ 272891 h 514350"/>
                <a:gd name="connsiteX6029" fmla="*/ 2069306 w 6400800"/>
                <a:gd name="connsiteY6029" fmla="*/ 292894 h 514350"/>
                <a:gd name="connsiteX6030" fmla="*/ 2070259 w 6400800"/>
                <a:gd name="connsiteY6030" fmla="*/ 294799 h 514350"/>
                <a:gd name="connsiteX6031" fmla="*/ 2067401 w 6400800"/>
                <a:gd name="connsiteY6031" fmla="*/ 310039 h 514350"/>
                <a:gd name="connsiteX6032" fmla="*/ 2065496 w 6400800"/>
                <a:gd name="connsiteY6032" fmla="*/ 303371 h 514350"/>
                <a:gd name="connsiteX6033" fmla="*/ 2058829 w 6400800"/>
                <a:gd name="connsiteY6033" fmla="*/ 284321 h 514350"/>
                <a:gd name="connsiteX6034" fmla="*/ 2062639 w 6400800"/>
                <a:gd name="connsiteY6034" fmla="*/ 270034 h 514350"/>
                <a:gd name="connsiteX6035" fmla="*/ 2053114 w 6400800"/>
                <a:gd name="connsiteY6035" fmla="*/ 301466 h 514350"/>
                <a:gd name="connsiteX6036" fmla="*/ 2054066 w 6400800"/>
                <a:gd name="connsiteY6036" fmla="*/ 306229 h 514350"/>
                <a:gd name="connsiteX6037" fmla="*/ 2056924 w 6400800"/>
                <a:gd name="connsiteY6037" fmla="*/ 320516 h 514350"/>
                <a:gd name="connsiteX6038" fmla="*/ 2055971 w 6400800"/>
                <a:gd name="connsiteY6038" fmla="*/ 320516 h 514350"/>
                <a:gd name="connsiteX6039" fmla="*/ 2049304 w 6400800"/>
                <a:gd name="connsiteY6039" fmla="*/ 317659 h 514350"/>
                <a:gd name="connsiteX6040" fmla="*/ 2055971 w 6400800"/>
                <a:gd name="connsiteY6040" fmla="*/ 321469 h 514350"/>
                <a:gd name="connsiteX6041" fmla="*/ 2057876 w 6400800"/>
                <a:gd name="connsiteY6041" fmla="*/ 322421 h 514350"/>
                <a:gd name="connsiteX6042" fmla="*/ 2059781 w 6400800"/>
                <a:gd name="connsiteY6042" fmla="*/ 332899 h 514350"/>
                <a:gd name="connsiteX6043" fmla="*/ 2053114 w 6400800"/>
                <a:gd name="connsiteY6043" fmla="*/ 342424 h 514350"/>
                <a:gd name="connsiteX6044" fmla="*/ 2049304 w 6400800"/>
                <a:gd name="connsiteY6044" fmla="*/ 321469 h 514350"/>
                <a:gd name="connsiteX6045" fmla="*/ 2049304 w 6400800"/>
                <a:gd name="connsiteY6045" fmla="*/ 315754 h 514350"/>
                <a:gd name="connsiteX6046" fmla="*/ 2053114 w 6400800"/>
                <a:gd name="connsiteY6046" fmla="*/ 301466 h 514350"/>
                <a:gd name="connsiteX6047" fmla="*/ 2044541 w 6400800"/>
                <a:gd name="connsiteY6047" fmla="*/ 260509 h 514350"/>
                <a:gd name="connsiteX6048" fmla="*/ 2044541 w 6400800"/>
                <a:gd name="connsiteY6048" fmla="*/ 260509 h 514350"/>
                <a:gd name="connsiteX6049" fmla="*/ 2044541 w 6400800"/>
                <a:gd name="connsiteY6049" fmla="*/ 259556 h 514350"/>
                <a:gd name="connsiteX6050" fmla="*/ 2044541 w 6400800"/>
                <a:gd name="connsiteY6050" fmla="*/ 260509 h 514350"/>
                <a:gd name="connsiteX6051" fmla="*/ 2019776 w 6400800"/>
                <a:gd name="connsiteY6051" fmla="*/ 188119 h 514350"/>
                <a:gd name="connsiteX6052" fmla="*/ 2019776 w 6400800"/>
                <a:gd name="connsiteY6052" fmla="*/ 185261 h 514350"/>
                <a:gd name="connsiteX6053" fmla="*/ 2020729 w 6400800"/>
                <a:gd name="connsiteY6053" fmla="*/ 177641 h 514350"/>
                <a:gd name="connsiteX6054" fmla="*/ 2020729 w 6400800"/>
                <a:gd name="connsiteY6054" fmla="*/ 189071 h 514350"/>
                <a:gd name="connsiteX6055" fmla="*/ 2021681 w 6400800"/>
                <a:gd name="connsiteY6055" fmla="*/ 220504 h 514350"/>
                <a:gd name="connsiteX6056" fmla="*/ 2023586 w 6400800"/>
                <a:gd name="connsiteY6056" fmla="*/ 244316 h 514350"/>
                <a:gd name="connsiteX6057" fmla="*/ 2022634 w 6400800"/>
                <a:gd name="connsiteY6057" fmla="*/ 247174 h 514350"/>
                <a:gd name="connsiteX6058" fmla="*/ 2016919 w 6400800"/>
                <a:gd name="connsiteY6058" fmla="*/ 222409 h 514350"/>
                <a:gd name="connsiteX6059" fmla="*/ 2019776 w 6400800"/>
                <a:gd name="connsiteY6059" fmla="*/ 188119 h 514350"/>
                <a:gd name="connsiteX6060" fmla="*/ 1999774 w 6400800"/>
                <a:gd name="connsiteY6060" fmla="*/ 298609 h 514350"/>
                <a:gd name="connsiteX6061" fmla="*/ 1999774 w 6400800"/>
                <a:gd name="connsiteY6061" fmla="*/ 304324 h 514350"/>
                <a:gd name="connsiteX6062" fmla="*/ 1997869 w 6400800"/>
                <a:gd name="connsiteY6062" fmla="*/ 310039 h 514350"/>
                <a:gd name="connsiteX6063" fmla="*/ 1999774 w 6400800"/>
                <a:gd name="connsiteY6063" fmla="*/ 298609 h 514350"/>
                <a:gd name="connsiteX6064" fmla="*/ 1992154 w 6400800"/>
                <a:gd name="connsiteY6064" fmla="*/ 349091 h 514350"/>
                <a:gd name="connsiteX6065" fmla="*/ 1992154 w 6400800"/>
                <a:gd name="connsiteY6065" fmla="*/ 359569 h 514350"/>
                <a:gd name="connsiteX6066" fmla="*/ 1992154 w 6400800"/>
                <a:gd name="connsiteY6066" fmla="*/ 369094 h 514350"/>
                <a:gd name="connsiteX6067" fmla="*/ 1988344 w 6400800"/>
                <a:gd name="connsiteY6067" fmla="*/ 373856 h 514350"/>
                <a:gd name="connsiteX6068" fmla="*/ 1992154 w 6400800"/>
                <a:gd name="connsiteY6068" fmla="*/ 349091 h 514350"/>
                <a:gd name="connsiteX6069" fmla="*/ 1987391 w 6400800"/>
                <a:gd name="connsiteY6069" fmla="*/ 381476 h 514350"/>
                <a:gd name="connsiteX6070" fmla="*/ 1987391 w 6400800"/>
                <a:gd name="connsiteY6070" fmla="*/ 381476 h 514350"/>
                <a:gd name="connsiteX6071" fmla="*/ 1992154 w 6400800"/>
                <a:gd name="connsiteY6071" fmla="*/ 372904 h 514350"/>
                <a:gd name="connsiteX6072" fmla="*/ 1992154 w 6400800"/>
                <a:gd name="connsiteY6072" fmla="*/ 379571 h 514350"/>
                <a:gd name="connsiteX6073" fmla="*/ 1991201 w 6400800"/>
                <a:gd name="connsiteY6073" fmla="*/ 386239 h 514350"/>
                <a:gd name="connsiteX6074" fmla="*/ 1988344 w 6400800"/>
                <a:gd name="connsiteY6074" fmla="*/ 400526 h 514350"/>
                <a:gd name="connsiteX6075" fmla="*/ 1988344 w 6400800"/>
                <a:gd name="connsiteY6075" fmla="*/ 399574 h 514350"/>
                <a:gd name="connsiteX6076" fmla="*/ 1985486 w 6400800"/>
                <a:gd name="connsiteY6076" fmla="*/ 392906 h 514350"/>
                <a:gd name="connsiteX6077" fmla="*/ 1987391 w 6400800"/>
                <a:gd name="connsiteY6077" fmla="*/ 381476 h 514350"/>
                <a:gd name="connsiteX6078" fmla="*/ 1968341 w 6400800"/>
                <a:gd name="connsiteY6078" fmla="*/ 290989 h 514350"/>
                <a:gd name="connsiteX6079" fmla="*/ 1967389 w 6400800"/>
                <a:gd name="connsiteY6079" fmla="*/ 297656 h 514350"/>
                <a:gd name="connsiteX6080" fmla="*/ 1966436 w 6400800"/>
                <a:gd name="connsiteY6080" fmla="*/ 305276 h 514350"/>
                <a:gd name="connsiteX6081" fmla="*/ 1965484 w 6400800"/>
                <a:gd name="connsiteY6081" fmla="*/ 318611 h 514350"/>
                <a:gd name="connsiteX6082" fmla="*/ 1964531 w 6400800"/>
                <a:gd name="connsiteY6082" fmla="*/ 304324 h 514350"/>
                <a:gd name="connsiteX6083" fmla="*/ 1964531 w 6400800"/>
                <a:gd name="connsiteY6083" fmla="*/ 300514 h 514350"/>
                <a:gd name="connsiteX6084" fmla="*/ 1968341 w 6400800"/>
                <a:gd name="connsiteY6084" fmla="*/ 290989 h 514350"/>
                <a:gd name="connsiteX6085" fmla="*/ 1937861 w 6400800"/>
                <a:gd name="connsiteY6085" fmla="*/ 310039 h 514350"/>
                <a:gd name="connsiteX6086" fmla="*/ 1937861 w 6400800"/>
                <a:gd name="connsiteY6086" fmla="*/ 302419 h 514350"/>
                <a:gd name="connsiteX6087" fmla="*/ 1937861 w 6400800"/>
                <a:gd name="connsiteY6087" fmla="*/ 295751 h 514350"/>
                <a:gd name="connsiteX6088" fmla="*/ 1938814 w 6400800"/>
                <a:gd name="connsiteY6088" fmla="*/ 306229 h 514350"/>
                <a:gd name="connsiteX6089" fmla="*/ 1937861 w 6400800"/>
                <a:gd name="connsiteY6089" fmla="*/ 310039 h 514350"/>
                <a:gd name="connsiteX6090" fmla="*/ 1938814 w 6400800"/>
                <a:gd name="connsiteY6090" fmla="*/ 272891 h 514350"/>
                <a:gd name="connsiteX6091" fmla="*/ 1936909 w 6400800"/>
                <a:gd name="connsiteY6091" fmla="*/ 266224 h 514350"/>
                <a:gd name="connsiteX6092" fmla="*/ 1936909 w 6400800"/>
                <a:gd name="connsiteY6092" fmla="*/ 261461 h 514350"/>
                <a:gd name="connsiteX6093" fmla="*/ 1936909 w 6400800"/>
                <a:gd name="connsiteY6093" fmla="*/ 246221 h 514350"/>
                <a:gd name="connsiteX6094" fmla="*/ 1938814 w 6400800"/>
                <a:gd name="connsiteY6094" fmla="*/ 272891 h 514350"/>
                <a:gd name="connsiteX6095" fmla="*/ 1900714 w 6400800"/>
                <a:gd name="connsiteY6095" fmla="*/ 338614 h 514350"/>
                <a:gd name="connsiteX6096" fmla="*/ 1900714 w 6400800"/>
                <a:gd name="connsiteY6096" fmla="*/ 333851 h 514350"/>
                <a:gd name="connsiteX6097" fmla="*/ 1902619 w 6400800"/>
                <a:gd name="connsiteY6097" fmla="*/ 329089 h 514350"/>
                <a:gd name="connsiteX6098" fmla="*/ 1904524 w 6400800"/>
                <a:gd name="connsiteY6098" fmla="*/ 325279 h 514350"/>
                <a:gd name="connsiteX6099" fmla="*/ 1900714 w 6400800"/>
                <a:gd name="connsiteY6099" fmla="*/ 338614 h 514350"/>
                <a:gd name="connsiteX6100" fmla="*/ 1915954 w 6400800"/>
                <a:gd name="connsiteY6100" fmla="*/ 436721 h 514350"/>
                <a:gd name="connsiteX6101" fmla="*/ 1915954 w 6400800"/>
                <a:gd name="connsiteY6101" fmla="*/ 433864 h 514350"/>
                <a:gd name="connsiteX6102" fmla="*/ 1916906 w 6400800"/>
                <a:gd name="connsiteY6102" fmla="*/ 434816 h 514350"/>
                <a:gd name="connsiteX6103" fmla="*/ 1915954 w 6400800"/>
                <a:gd name="connsiteY6103" fmla="*/ 436721 h 514350"/>
                <a:gd name="connsiteX6104" fmla="*/ 1920716 w 6400800"/>
                <a:gd name="connsiteY6104" fmla="*/ 401479 h 514350"/>
                <a:gd name="connsiteX6105" fmla="*/ 1919764 w 6400800"/>
                <a:gd name="connsiteY6105" fmla="*/ 407194 h 514350"/>
                <a:gd name="connsiteX6106" fmla="*/ 1917859 w 6400800"/>
                <a:gd name="connsiteY6106" fmla="*/ 404336 h 514350"/>
                <a:gd name="connsiteX6107" fmla="*/ 1919764 w 6400800"/>
                <a:gd name="connsiteY6107" fmla="*/ 398621 h 514350"/>
                <a:gd name="connsiteX6108" fmla="*/ 1920716 w 6400800"/>
                <a:gd name="connsiteY6108" fmla="*/ 401479 h 514350"/>
                <a:gd name="connsiteX6109" fmla="*/ 1917859 w 6400800"/>
                <a:gd name="connsiteY6109" fmla="*/ 331946 h 514350"/>
                <a:gd name="connsiteX6110" fmla="*/ 1919764 w 6400800"/>
                <a:gd name="connsiteY6110" fmla="*/ 337661 h 514350"/>
                <a:gd name="connsiteX6111" fmla="*/ 1919764 w 6400800"/>
                <a:gd name="connsiteY6111" fmla="*/ 337661 h 514350"/>
                <a:gd name="connsiteX6112" fmla="*/ 1918811 w 6400800"/>
                <a:gd name="connsiteY6112" fmla="*/ 338614 h 514350"/>
                <a:gd name="connsiteX6113" fmla="*/ 1916906 w 6400800"/>
                <a:gd name="connsiteY6113" fmla="*/ 342424 h 514350"/>
                <a:gd name="connsiteX6114" fmla="*/ 1916906 w 6400800"/>
                <a:gd name="connsiteY6114" fmla="*/ 341471 h 514350"/>
                <a:gd name="connsiteX6115" fmla="*/ 1915954 w 6400800"/>
                <a:gd name="connsiteY6115" fmla="*/ 344329 h 514350"/>
                <a:gd name="connsiteX6116" fmla="*/ 1915001 w 6400800"/>
                <a:gd name="connsiteY6116" fmla="*/ 345281 h 514350"/>
                <a:gd name="connsiteX6117" fmla="*/ 1917859 w 6400800"/>
                <a:gd name="connsiteY6117" fmla="*/ 331946 h 514350"/>
                <a:gd name="connsiteX6118" fmla="*/ 1919764 w 6400800"/>
                <a:gd name="connsiteY6118" fmla="*/ 360521 h 514350"/>
                <a:gd name="connsiteX6119" fmla="*/ 1919764 w 6400800"/>
                <a:gd name="connsiteY6119" fmla="*/ 364331 h 514350"/>
                <a:gd name="connsiteX6120" fmla="*/ 1915001 w 6400800"/>
                <a:gd name="connsiteY6120" fmla="*/ 373856 h 514350"/>
                <a:gd name="connsiteX6121" fmla="*/ 1908334 w 6400800"/>
                <a:gd name="connsiteY6121" fmla="*/ 388144 h 514350"/>
                <a:gd name="connsiteX6122" fmla="*/ 1907381 w 6400800"/>
                <a:gd name="connsiteY6122" fmla="*/ 387191 h 514350"/>
                <a:gd name="connsiteX6123" fmla="*/ 1907381 w 6400800"/>
                <a:gd name="connsiteY6123" fmla="*/ 385286 h 514350"/>
                <a:gd name="connsiteX6124" fmla="*/ 1910239 w 6400800"/>
                <a:gd name="connsiteY6124" fmla="*/ 380524 h 514350"/>
                <a:gd name="connsiteX6125" fmla="*/ 1919764 w 6400800"/>
                <a:gd name="connsiteY6125" fmla="*/ 360521 h 514350"/>
                <a:gd name="connsiteX6126" fmla="*/ 1910239 w 6400800"/>
                <a:gd name="connsiteY6126" fmla="*/ 299561 h 514350"/>
                <a:gd name="connsiteX6127" fmla="*/ 1908334 w 6400800"/>
                <a:gd name="connsiteY6127" fmla="*/ 305276 h 514350"/>
                <a:gd name="connsiteX6128" fmla="*/ 1908334 w 6400800"/>
                <a:gd name="connsiteY6128" fmla="*/ 305276 h 514350"/>
                <a:gd name="connsiteX6129" fmla="*/ 1910239 w 6400800"/>
                <a:gd name="connsiteY6129" fmla="*/ 299561 h 514350"/>
                <a:gd name="connsiteX6130" fmla="*/ 1906429 w 6400800"/>
                <a:gd name="connsiteY6130" fmla="*/ 313849 h 514350"/>
                <a:gd name="connsiteX6131" fmla="*/ 1908334 w 6400800"/>
                <a:gd name="connsiteY6131" fmla="*/ 309086 h 514350"/>
                <a:gd name="connsiteX6132" fmla="*/ 1908334 w 6400800"/>
                <a:gd name="connsiteY6132" fmla="*/ 310039 h 514350"/>
                <a:gd name="connsiteX6133" fmla="*/ 1906429 w 6400800"/>
                <a:gd name="connsiteY6133" fmla="*/ 315754 h 514350"/>
                <a:gd name="connsiteX6134" fmla="*/ 1905476 w 6400800"/>
                <a:gd name="connsiteY6134" fmla="*/ 316706 h 514350"/>
                <a:gd name="connsiteX6135" fmla="*/ 1906429 w 6400800"/>
                <a:gd name="connsiteY6135" fmla="*/ 313849 h 514350"/>
                <a:gd name="connsiteX6136" fmla="*/ 1893094 w 6400800"/>
                <a:gd name="connsiteY6136" fmla="*/ 259556 h 514350"/>
                <a:gd name="connsiteX6137" fmla="*/ 1894046 w 6400800"/>
                <a:gd name="connsiteY6137" fmla="*/ 256699 h 514350"/>
                <a:gd name="connsiteX6138" fmla="*/ 1894999 w 6400800"/>
                <a:gd name="connsiteY6138" fmla="*/ 256699 h 514350"/>
                <a:gd name="connsiteX6139" fmla="*/ 1899761 w 6400800"/>
                <a:gd name="connsiteY6139" fmla="*/ 260509 h 514350"/>
                <a:gd name="connsiteX6140" fmla="*/ 1904524 w 6400800"/>
                <a:gd name="connsiteY6140" fmla="*/ 275749 h 514350"/>
                <a:gd name="connsiteX6141" fmla="*/ 1895951 w 6400800"/>
                <a:gd name="connsiteY6141" fmla="*/ 297656 h 514350"/>
                <a:gd name="connsiteX6142" fmla="*/ 1894046 w 6400800"/>
                <a:gd name="connsiteY6142" fmla="*/ 281464 h 514350"/>
                <a:gd name="connsiteX6143" fmla="*/ 1892141 w 6400800"/>
                <a:gd name="connsiteY6143" fmla="*/ 270034 h 514350"/>
                <a:gd name="connsiteX6144" fmla="*/ 1893094 w 6400800"/>
                <a:gd name="connsiteY6144" fmla="*/ 272891 h 514350"/>
                <a:gd name="connsiteX6145" fmla="*/ 1893094 w 6400800"/>
                <a:gd name="connsiteY6145" fmla="*/ 259556 h 514350"/>
                <a:gd name="connsiteX6146" fmla="*/ 1841659 w 6400800"/>
                <a:gd name="connsiteY6146" fmla="*/ 297656 h 514350"/>
                <a:gd name="connsiteX6147" fmla="*/ 1840706 w 6400800"/>
                <a:gd name="connsiteY6147" fmla="*/ 313849 h 514350"/>
                <a:gd name="connsiteX6148" fmla="*/ 1838801 w 6400800"/>
                <a:gd name="connsiteY6148" fmla="*/ 294799 h 514350"/>
                <a:gd name="connsiteX6149" fmla="*/ 1838801 w 6400800"/>
                <a:gd name="connsiteY6149" fmla="*/ 290989 h 514350"/>
                <a:gd name="connsiteX6150" fmla="*/ 1841659 w 6400800"/>
                <a:gd name="connsiteY6150" fmla="*/ 297656 h 514350"/>
                <a:gd name="connsiteX6151" fmla="*/ 1822609 w 6400800"/>
                <a:gd name="connsiteY6151" fmla="*/ 363379 h 514350"/>
                <a:gd name="connsiteX6152" fmla="*/ 1826419 w 6400800"/>
                <a:gd name="connsiteY6152" fmla="*/ 353854 h 514350"/>
                <a:gd name="connsiteX6153" fmla="*/ 1827371 w 6400800"/>
                <a:gd name="connsiteY6153" fmla="*/ 364331 h 514350"/>
                <a:gd name="connsiteX6154" fmla="*/ 1823561 w 6400800"/>
                <a:gd name="connsiteY6154" fmla="*/ 368141 h 514350"/>
                <a:gd name="connsiteX6155" fmla="*/ 1822609 w 6400800"/>
                <a:gd name="connsiteY6155" fmla="*/ 363379 h 514350"/>
                <a:gd name="connsiteX6156" fmla="*/ 1828324 w 6400800"/>
                <a:gd name="connsiteY6156" fmla="*/ 403384 h 514350"/>
                <a:gd name="connsiteX6157" fmla="*/ 1827371 w 6400800"/>
                <a:gd name="connsiteY6157" fmla="*/ 400526 h 514350"/>
                <a:gd name="connsiteX6158" fmla="*/ 1825466 w 6400800"/>
                <a:gd name="connsiteY6158" fmla="*/ 381476 h 514350"/>
                <a:gd name="connsiteX6159" fmla="*/ 1828324 w 6400800"/>
                <a:gd name="connsiteY6159" fmla="*/ 377666 h 514350"/>
                <a:gd name="connsiteX6160" fmla="*/ 1829276 w 6400800"/>
                <a:gd name="connsiteY6160" fmla="*/ 399574 h 514350"/>
                <a:gd name="connsiteX6161" fmla="*/ 1828324 w 6400800"/>
                <a:gd name="connsiteY6161" fmla="*/ 403384 h 514350"/>
                <a:gd name="connsiteX6162" fmla="*/ 1833086 w 6400800"/>
                <a:gd name="connsiteY6162" fmla="*/ 339566 h 514350"/>
                <a:gd name="connsiteX6163" fmla="*/ 1833086 w 6400800"/>
                <a:gd name="connsiteY6163" fmla="*/ 339566 h 514350"/>
                <a:gd name="connsiteX6164" fmla="*/ 1833086 w 6400800"/>
                <a:gd name="connsiteY6164" fmla="*/ 340519 h 514350"/>
                <a:gd name="connsiteX6165" fmla="*/ 1833086 w 6400800"/>
                <a:gd name="connsiteY6165" fmla="*/ 339566 h 514350"/>
                <a:gd name="connsiteX6166" fmla="*/ 1824514 w 6400800"/>
                <a:gd name="connsiteY6166" fmla="*/ 272891 h 514350"/>
                <a:gd name="connsiteX6167" fmla="*/ 1824514 w 6400800"/>
                <a:gd name="connsiteY6167" fmla="*/ 263366 h 514350"/>
                <a:gd name="connsiteX6168" fmla="*/ 1835944 w 6400800"/>
                <a:gd name="connsiteY6168" fmla="*/ 285274 h 514350"/>
                <a:gd name="connsiteX6169" fmla="*/ 1834991 w 6400800"/>
                <a:gd name="connsiteY6169" fmla="*/ 294799 h 514350"/>
                <a:gd name="connsiteX6170" fmla="*/ 1834039 w 6400800"/>
                <a:gd name="connsiteY6170" fmla="*/ 320516 h 514350"/>
                <a:gd name="connsiteX6171" fmla="*/ 1834039 w 6400800"/>
                <a:gd name="connsiteY6171" fmla="*/ 330994 h 514350"/>
                <a:gd name="connsiteX6172" fmla="*/ 1833086 w 6400800"/>
                <a:gd name="connsiteY6172" fmla="*/ 331946 h 514350"/>
                <a:gd name="connsiteX6173" fmla="*/ 1832134 w 6400800"/>
                <a:gd name="connsiteY6173" fmla="*/ 332899 h 514350"/>
                <a:gd name="connsiteX6174" fmla="*/ 1827371 w 6400800"/>
                <a:gd name="connsiteY6174" fmla="*/ 316706 h 514350"/>
                <a:gd name="connsiteX6175" fmla="*/ 1822609 w 6400800"/>
                <a:gd name="connsiteY6175" fmla="*/ 303371 h 514350"/>
                <a:gd name="connsiteX6176" fmla="*/ 1824514 w 6400800"/>
                <a:gd name="connsiteY6176" fmla="*/ 272891 h 514350"/>
                <a:gd name="connsiteX6177" fmla="*/ 1822609 w 6400800"/>
                <a:gd name="connsiteY6177" fmla="*/ 309086 h 514350"/>
                <a:gd name="connsiteX6178" fmla="*/ 1823561 w 6400800"/>
                <a:gd name="connsiteY6178" fmla="*/ 317659 h 514350"/>
                <a:gd name="connsiteX6179" fmla="*/ 1825466 w 6400800"/>
                <a:gd name="connsiteY6179" fmla="*/ 338614 h 514350"/>
                <a:gd name="connsiteX6180" fmla="*/ 1825466 w 6400800"/>
                <a:gd name="connsiteY6180" fmla="*/ 340519 h 514350"/>
                <a:gd name="connsiteX6181" fmla="*/ 1820704 w 6400800"/>
                <a:gd name="connsiteY6181" fmla="*/ 348139 h 514350"/>
                <a:gd name="connsiteX6182" fmla="*/ 1820704 w 6400800"/>
                <a:gd name="connsiteY6182" fmla="*/ 332899 h 514350"/>
                <a:gd name="connsiteX6183" fmla="*/ 1820704 w 6400800"/>
                <a:gd name="connsiteY6183" fmla="*/ 331946 h 514350"/>
                <a:gd name="connsiteX6184" fmla="*/ 1822609 w 6400800"/>
                <a:gd name="connsiteY6184" fmla="*/ 309086 h 514350"/>
                <a:gd name="connsiteX6185" fmla="*/ 1763554 w 6400800"/>
                <a:gd name="connsiteY6185" fmla="*/ 411956 h 514350"/>
                <a:gd name="connsiteX6186" fmla="*/ 1762601 w 6400800"/>
                <a:gd name="connsiteY6186" fmla="*/ 406241 h 514350"/>
                <a:gd name="connsiteX6187" fmla="*/ 1761649 w 6400800"/>
                <a:gd name="connsiteY6187" fmla="*/ 397669 h 514350"/>
                <a:gd name="connsiteX6188" fmla="*/ 1761649 w 6400800"/>
                <a:gd name="connsiteY6188" fmla="*/ 397669 h 514350"/>
                <a:gd name="connsiteX6189" fmla="*/ 1764506 w 6400800"/>
                <a:gd name="connsiteY6189" fmla="*/ 400526 h 514350"/>
                <a:gd name="connsiteX6190" fmla="*/ 1763554 w 6400800"/>
                <a:gd name="connsiteY6190" fmla="*/ 411956 h 514350"/>
                <a:gd name="connsiteX6191" fmla="*/ 1766411 w 6400800"/>
                <a:gd name="connsiteY6191" fmla="*/ 379571 h 514350"/>
                <a:gd name="connsiteX6192" fmla="*/ 1766411 w 6400800"/>
                <a:gd name="connsiteY6192" fmla="*/ 379571 h 514350"/>
                <a:gd name="connsiteX6193" fmla="*/ 1766411 w 6400800"/>
                <a:gd name="connsiteY6193" fmla="*/ 377666 h 514350"/>
                <a:gd name="connsiteX6194" fmla="*/ 1766411 w 6400800"/>
                <a:gd name="connsiteY6194" fmla="*/ 379571 h 514350"/>
                <a:gd name="connsiteX6195" fmla="*/ 1792129 w 6400800"/>
                <a:gd name="connsiteY6195" fmla="*/ 251936 h 514350"/>
                <a:gd name="connsiteX6196" fmla="*/ 1802606 w 6400800"/>
                <a:gd name="connsiteY6196" fmla="*/ 219551 h 514350"/>
                <a:gd name="connsiteX6197" fmla="*/ 1802606 w 6400800"/>
                <a:gd name="connsiteY6197" fmla="*/ 219551 h 514350"/>
                <a:gd name="connsiteX6198" fmla="*/ 1801654 w 6400800"/>
                <a:gd name="connsiteY6198" fmla="*/ 274796 h 514350"/>
                <a:gd name="connsiteX6199" fmla="*/ 1800701 w 6400800"/>
                <a:gd name="connsiteY6199" fmla="*/ 327184 h 514350"/>
                <a:gd name="connsiteX6200" fmla="*/ 1794034 w 6400800"/>
                <a:gd name="connsiteY6200" fmla="*/ 310991 h 514350"/>
                <a:gd name="connsiteX6201" fmla="*/ 1788319 w 6400800"/>
                <a:gd name="connsiteY6201" fmla="*/ 294799 h 514350"/>
                <a:gd name="connsiteX6202" fmla="*/ 1787366 w 6400800"/>
                <a:gd name="connsiteY6202" fmla="*/ 292894 h 514350"/>
                <a:gd name="connsiteX6203" fmla="*/ 1786414 w 6400800"/>
                <a:gd name="connsiteY6203" fmla="*/ 287179 h 514350"/>
                <a:gd name="connsiteX6204" fmla="*/ 1788319 w 6400800"/>
                <a:gd name="connsiteY6204" fmla="*/ 279559 h 514350"/>
                <a:gd name="connsiteX6205" fmla="*/ 1787366 w 6400800"/>
                <a:gd name="connsiteY6205" fmla="*/ 275749 h 514350"/>
                <a:gd name="connsiteX6206" fmla="*/ 1785461 w 6400800"/>
                <a:gd name="connsiteY6206" fmla="*/ 274796 h 514350"/>
                <a:gd name="connsiteX6207" fmla="*/ 1785461 w 6400800"/>
                <a:gd name="connsiteY6207" fmla="*/ 274796 h 514350"/>
                <a:gd name="connsiteX6208" fmla="*/ 1792129 w 6400800"/>
                <a:gd name="connsiteY6208" fmla="*/ 251936 h 514350"/>
                <a:gd name="connsiteX6209" fmla="*/ 1785461 w 6400800"/>
                <a:gd name="connsiteY6209" fmla="*/ 276701 h 514350"/>
                <a:gd name="connsiteX6210" fmla="*/ 1786414 w 6400800"/>
                <a:gd name="connsiteY6210" fmla="*/ 278606 h 514350"/>
                <a:gd name="connsiteX6211" fmla="*/ 1786414 w 6400800"/>
                <a:gd name="connsiteY6211" fmla="*/ 282416 h 514350"/>
                <a:gd name="connsiteX6212" fmla="*/ 1785461 w 6400800"/>
                <a:gd name="connsiteY6212" fmla="*/ 276701 h 514350"/>
                <a:gd name="connsiteX6213" fmla="*/ 1785461 w 6400800"/>
                <a:gd name="connsiteY6213" fmla="*/ 276701 h 514350"/>
                <a:gd name="connsiteX6214" fmla="*/ 1776889 w 6400800"/>
                <a:gd name="connsiteY6214" fmla="*/ 330994 h 514350"/>
                <a:gd name="connsiteX6215" fmla="*/ 1785461 w 6400800"/>
                <a:gd name="connsiteY6215" fmla="*/ 376714 h 514350"/>
                <a:gd name="connsiteX6216" fmla="*/ 1786414 w 6400800"/>
                <a:gd name="connsiteY6216" fmla="*/ 385286 h 514350"/>
                <a:gd name="connsiteX6217" fmla="*/ 1784509 w 6400800"/>
                <a:gd name="connsiteY6217" fmla="*/ 382429 h 514350"/>
                <a:gd name="connsiteX6218" fmla="*/ 1785461 w 6400800"/>
                <a:gd name="connsiteY6218" fmla="*/ 374809 h 514350"/>
                <a:gd name="connsiteX6219" fmla="*/ 1783556 w 6400800"/>
                <a:gd name="connsiteY6219" fmla="*/ 380524 h 514350"/>
                <a:gd name="connsiteX6220" fmla="*/ 1776889 w 6400800"/>
                <a:gd name="connsiteY6220" fmla="*/ 370999 h 514350"/>
                <a:gd name="connsiteX6221" fmla="*/ 1776889 w 6400800"/>
                <a:gd name="connsiteY6221" fmla="*/ 337661 h 514350"/>
                <a:gd name="connsiteX6222" fmla="*/ 1776889 w 6400800"/>
                <a:gd name="connsiteY6222" fmla="*/ 330994 h 514350"/>
                <a:gd name="connsiteX6223" fmla="*/ 1755934 w 6400800"/>
                <a:gd name="connsiteY6223" fmla="*/ 211931 h 514350"/>
                <a:gd name="connsiteX6224" fmla="*/ 1761649 w 6400800"/>
                <a:gd name="connsiteY6224" fmla="*/ 233839 h 514350"/>
                <a:gd name="connsiteX6225" fmla="*/ 1762601 w 6400800"/>
                <a:gd name="connsiteY6225" fmla="*/ 238601 h 514350"/>
                <a:gd name="connsiteX6226" fmla="*/ 1760696 w 6400800"/>
                <a:gd name="connsiteY6226" fmla="*/ 234791 h 514350"/>
                <a:gd name="connsiteX6227" fmla="*/ 1759744 w 6400800"/>
                <a:gd name="connsiteY6227" fmla="*/ 230981 h 514350"/>
                <a:gd name="connsiteX6228" fmla="*/ 1759744 w 6400800"/>
                <a:gd name="connsiteY6228" fmla="*/ 232886 h 514350"/>
                <a:gd name="connsiteX6229" fmla="*/ 1756886 w 6400800"/>
                <a:gd name="connsiteY6229" fmla="*/ 227171 h 514350"/>
                <a:gd name="connsiteX6230" fmla="*/ 1754981 w 6400800"/>
                <a:gd name="connsiteY6230" fmla="*/ 223361 h 514350"/>
                <a:gd name="connsiteX6231" fmla="*/ 1755934 w 6400800"/>
                <a:gd name="connsiteY6231" fmla="*/ 211931 h 514350"/>
                <a:gd name="connsiteX6232" fmla="*/ 1754981 w 6400800"/>
                <a:gd name="connsiteY6232" fmla="*/ 232886 h 514350"/>
                <a:gd name="connsiteX6233" fmla="*/ 1755934 w 6400800"/>
                <a:gd name="connsiteY6233" fmla="*/ 235744 h 514350"/>
                <a:gd name="connsiteX6234" fmla="*/ 1754981 w 6400800"/>
                <a:gd name="connsiteY6234" fmla="*/ 240506 h 514350"/>
                <a:gd name="connsiteX6235" fmla="*/ 1754981 w 6400800"/>
                <a:gd name="connsiteY6235" fmla="*/ 232886 h 514350"/>
                <a:gd name="connsiteX6236" fmla="*/ 1754029 w 6400800"/>
                <a:gd name="connsiteY6236" fmla="*/ 281464 h 514350"/>
                <a:gd name="connsiteX6237" fmla="*/ 1754981 w 6400800"/>
                <a:gd name="connsiteY6237" fmla="*/ 252889 h 514350"/>
                <a:gd name="connsiteX6238" fmla="*/ 1756886 w 6400800"/>
                <a:gd name="connsiteY6238" fmla="*/ 236696 h 514350"/>
                <a:gd name="connsiteX6239" fmla="*/ 1763554 w 6400800"/>
                <a:gd name="connsiteY6239" fmla="*/ 256699 h 514350"/>
                <a:gd name="connsiteX6240" fmla="*/ 1768316 w 6400800"/>
                <a:gd name="connsiteY6240" fmla="*/ 286226 h 514350"/>
                <a:gd name="connsiteX6241" fmla="*/ 1754981 w 6400800"/>
                <a:gd name="connsiteY6241" fmla="*/ 322421 h 514350"/>
                <a:gd name="connsiteX6242" fmla="*/ 1754029 w 6400800"/>
                <a:gd name="connsiteY6242" fmla="*/ 317659 h 514350"/>
                <a:gd name="connsiteX6243" fmla="*/ 1754029 w 6400800"/>
                <a:gd name="connsiteY6243" fmla="*/ 316706 h 514350"/>
                <a:gd name="connsiteX6244" fmla="*/ 1754029 w 6400800"/>
                <a:gd name="connsiteY6244" fmla="*/ 281464 h 514350"/>
                <a:gd name="connsiteX6245" fmla="*/ 1687354 w 6400800"/>
                <a:gd name="connsiteY6245" fmla="*/ 295751 h 514350"/>
                <a:gd name="connsiteX6246" fmla="*/ 1685449 w 6400800"/>
                <a:gd name="connsiteY6246" fmla="*/ 314801 h 514350"/>
                <a:gd name="connsiteX6247" fmla="*/ 1684496 w 6400800"/>
                <a:gd name="connsiteY6247" fmla="*/ 325279 h 514350"/>
                <a:gd name="connsiteX6248" fmla="*/ 1681639 w 6400800"/>
                <a:gd name="connsiteY6248" fmla="*/ 311944 h 514350"/>
                <a:gd name="connsiteX6249" fmla="*/ 1681639 w 6400800"/>
                <a:gd name="connsiteY6249" fmla="*/ 309086 h 514350"/>
                <a:gd name="connsiteX6250" fmla="*/ 1681639 w 6400800"/>
                <a:gd name="connsiteY6250" fmla="*/ 310039 h 514350"/>
                <a:gd name="connsiteX6251" fmla="*/ 1680686 w 6400800"/>
                <a:gd name="connsiteY6251" fmla="*/ 306229 h 514350"/>
                <a:gd name="connsiteX6252" fmla="*/ 1681639 w 6400800"/>
                <a:gd name="connsiteY6252" fmla="*/ 303371 h 514350"/>
                <a:gd name="connsiteX6253" fmla="*/ 1684496 w 6400800"/>
                <a:gd name="connsiteY6253" fmla="*/ 295751 h 514350"/>
                <a:gd name="connsiteX6254" fmla="*/ 1689259 w 6400800"/>
                <a:gd name="connsiteY6254" fmla="*/ 282416 h 514350"/>
                <a:gd name="connsiteX6255" fmla="*/ 1687354 w 6400800"/>
                <a:gd name="connsiteY6255" fmla="*/ 295751 h 514350"/>
                <a:gd name="connsiteX6256" fmla="*/ 1678781 w 6400800"/>
                <a:gd name="connsiteY6256" fmla="*/ 276701 h 514350"/>
                <a:gd name="connsiteX6257" fmla="*/ 1684496 w 6400800"/>
                <a:gd name="connsiteY6257" fmla="*/ 245269 h 514350"/>
                <a:gd name="connsiteX6258" fmla="*/ 1686401 w 6400800"/>
                <a:gd name="connsiteY6258" fmla="*/ 259556 h 514350"/>
                <a:gd name="connsiteX6259" fmla="*/ 1686401 w 6400800"/>
                <a:gd name="connsiteY6259" fmla="*/ 268129 h 514350"/>
                <a:gd name="connsiteX6260" fmla="*/ 1686401 w 6400800"/>
                <a:gd name="connsiteY6260" fmla="*/ 270986 h 514350"/>
                <a:gd name="connsiteX6261" fmla="*/ 1675924 w 6400800"/>
                <a:gd name="connsiteY6261" fmla="*/ 292894 h 514350"/>
                <a:gd name="connsiteX6262" fmla="*/ 1675924 w 6400800"/>
                <a:gd name="connsiteY6262" fmla="*/ 291941 h 514350"/>
                <a:gd name="connsiteX6263" fmla="*/ 1678781 w 6400800"/>
                <a:gd name="connsiteY6263" fmla="*/ 278606 h 514350"/>
                <a:gd name="connsiteX6264" fmla="*/ 1679734 w 6400800"/>
                <a:gd name="connsiteY6264" fmla="*/ 275749 h 514350"/>
                <a:gd name="connsiteX6265" fmla="*/ 1678781 w 6400800"/>
                <a:gd name="connsiteY6265" fmla="*/ 276701 h 514350"/>
                <a:gd name="connsiteX6266" fmla="*/ 1677829 w 6400800"/>
                <a:gd name="connsiteY6266" fmla="*/ 199549 h 514350"/>
                <a:gd name="connsiteX6267" fmla="*/ 1678781 w 6400800"/>
                <a:gd name="connsiteY6267" fmla="*/ 204311 h 514350"/>
                <a:gd name="connsiteX6268" fmla="*/ 1676876 w 6400800"/>
                <a:gd name="connsiteY6268" fmla="*/ 213836 h 514350"/>
                <a:gd name="connsiteX6269" fmla="*/ 1677829 w 6400800"/>
                <a:gd name="connsiteY6269" fmla="*/ 199549 h 514350"/>
                <a:gd name="connsiteX6270" fmla="*/ 1640681 w 6400800"/>
                <a:gd name="connsiteY6270" fmla="*/ 226219 h 514350"/>
                <a:gd name="connsiteX6271" fmla="*/ 1649254 w 6400800"/>
                <a:gd name="connsiteY6271" fmla="*/ 254794 h 514350"/>
                <a:gd name="connsiteX6272" fmla="*/ 1654016 w 6400800"/>
                <a:gd name="connsiteY6272" fmla="*/ 274796 h 514350"/>
                <a:gd name="connsiteX6273" fmla="*/ 1653064 w 6400800"/>
                <a:gd name="connsiteY6273" fmla="*/ 281464 h 514350"/>
                <a:gd name="connsiteX6274" fmla="*/ 1652111 w 6400800"/>
                <a:gd name="connsiteY6274" fmla="*/ 279559 h 514350"/>
                <a:gd name="connsiteX6275" fmla="*/ 1652111 w 6400800"/>
                <a:gd name="connsiteY6275" fmla="*/ 282416 h 514350"/>
                <a:gd name="connsiteX6276" fmla="*/ 1649254 w 6400800"/>
                <a:gd name="connsiteY6276" fmla="*/ 300514 h 514350"/>
                <a:gd name="connsiteX6277" fmla="*/ 1641634 w 6400800"/>
                <a:gd name="connsiteY6277" fmla="*/ 281464 h 514350"/>
                <a:gd name="connsiteX6278" fmla="*/ 1643539 w 6400800"/>
                <a:gd name="connsiteY6278" fmla="*/ 279559 h 514350"/>
                <a:gd name="connsiteX6279" fmla="*/ 1647349 w 6400800"/>
                <a:gd name="connsiteY6279" fmla="*/ 277654 h 514350"/>
                <a:gd name="connsiteX6280" fmla="*/ 1654016 w 6400800"/>
                <a:gd name="connsiteY6280" fmla="*/ 273844 h 514350"/>
                <a:gd name="connsiteX6281" fmla="*/ 1647349 w 6400800"/>
                <a:gd name="connsiteY6281" fmla="*/ 276701 h 514350"/>
                <a:gd name="connsiteX6282" fmla="*/ 1643539 w 6400800"/>
                <a:gd name="connsiteY6282" fmla="*/ 278606 h 514350"/>
                <a:gd name="connsiteX6283" fmla="*/ 1642586 w 6400800"/>
                <a:gd name="connsiteY6283" fmla="*/ 279559 h 514350"/>
                <a:gd name="connsiteX6284" fmla="*/ 1642586 w 6400800"/>
                <a:gd name="connsiteY6284" fmla="*/ 255746 h 514350"/>
                <a:gd name="connsiteX6285" fmla="*/ 1640681 w 6400800"/>
                <a:gd name="connsiteY6285" fmla="*/ 226219 h 514350"/>
                <a:gd name="connsiteX6286" fmla="*/ 1640681 w 6400800"/>
                <a:gd name="connsiteY6286" fmla="*/ 226219 h 514350"/>
                <a:gd name="connsiteX6287" fmla="*/ 1620679 w 6400800"/>
                <a:gd name="connsiteY6287" fmla="*/ 348139 h 514350"/>
                <a:gd name="connsiteX6288" fmla="*/ 1620679 w 6400800"/>
                <a:gd name="connsiteY6288" fmla="*/ 351949 h 514350"/>
                <a:gd name="connsiteX6289" fmla="*/ 1620679 w 6400800"/>
                <a:gd name="connsiteY6289" fmla="*/ 353854 h 514350"/>
                <a:gd name="connsiteX6290" fmla="*/ 1618774 w 6400800"/>
                <a:gd name="connsiteY6290" fmla="*/ 356711 h 514350"/>
                <a:gd name="connsiteX6291" fmla="*/ 1620679 w 6400800"/>
                <a:gd name="connsiteY6291" fmla="*/ 348139 h 514350"/>
                <a:gd name="connsiteX6292" fmla="*/ 1618774 w 6400800"/>
                <a:gd name="connsiteY6292" fmla="*/ 311944 h 514350"/>
                <a:gd name="connsiteX6293" fmla="*/ 1616869 w 6400800"/>
                <a:gd name="connsiteY6293" fmla="*/ 315754 h 514350"/>
                <a:gd name="connsiteX6294" fmla="*/ 1605439 w 6400800"/>
                <a:gd name="connsiteY6294" fmla="*/ 343376 h 514350"/>
                <a:gd name="connsiteX6295" fmla="*/ 1602581 w 6400800"/>
                <a:gd name="connsiteY6295" fmla="*/ 350996 h 514350"/>
                <a:gd name="connsiteX6296" fmla="*/ 1602581 w 6400800"/>
                <a:gd name="connsiteY6296" fmla="*/ 342424 h 514350"/>
                <a:gd name="connsiteX6297" fmla="*/ 1613059 w 6400800"/>
                <a:gd name="connsiteY6297" fmla="*/ 321469 h 514350"/>
                <a:gd name="connsiteX6298" fmla="*/ 1619726 w 6400800"/>
                <a:gd name="connsiteY6298" fmla="*/ 310039 h 514350"/>
                <a:gd name="connsiteX6299" fmla="*/ 1618774 w 6400800"/>
                <a:gd name="connsiteY6299" fmla="*/ 311944 h 514350"/>
                <a:gd name="connsiteX6300" fmla="*/ 1610201 w 6400800"/>
                <a:gd name="connsiteY6300" fmla="*/ 269081 h 514350"/>
                <a:gd name="connsiteX6301" fmla="*/ 1614011 w 6400800"/>
                <a:gd name="connsiteY6301" fmla="*/ 258604 h 514350"/>
                <a:gd name="connsiteX6302" fmla="*/ 1616869 w 6400800"/>
                <a:gd name="connsiteY6302" fmla="*/ 252889 h 514350"/>
                <a:gd name="connsiteX6303" fmla="*/ 1617821 w 6400800"/>
                <a:gd name="connsiteY6303" fmla="*/ 292894 h 514350"/>
                <a:gd name="connsiteX6304" fmla="*/ 1617821 w 6400800"/>
                <a:gd name="connsiteY6304" fmla="*/ 293846 h 514350"/>
                <a:gd name="connsiteX6305" fmla="*/ 1614011 w 6400800"/>
                <a:gd name="connsiteY6305" fmla="*/ 289084 h 514350"/>
                <a:gd name="connsiteX6306" fmla="*/ 1606391 w 6400800"/>
                <a:gd name="connsiteY6306" fmla="*/ 277654 h 514350"/>
                <a:gd name="connsiteX6307" fmla="*/ 1610201 w 6400800"/>
                <a:gd name="connsiteY6307" fmla="*/ 269081 h 514350"/>
                <a:gd name="connsiteX6308" fmla="*/ 1600676 w 6400800"/>
                <a:gd name="connsiteY6308" fmla="*/ 297656 h 514350"/>
                <a:gd name="connsiteX6309" fmla="*/ 1606391 w 6400800"/>
                <a:gd name="connsiteY6309" fmla="*/ 279559 h 514350"/>
                <a:gd name="connsiteX6310" fmla="*/ 1611154 w 6400800"/>
                <a:gd name="connsiteY6310" fmla="*/ 290989 h 514350"/>
                <a:gd name="connsiteX6311" fmla="*/ 1616869 w 6400800"/>
                <a:gd name="connsiteY6311" fmla="*/ 303371 h 514350"/>
                <a:gd name="connsiteX6312" fmla="*/ 1606391 w 6400800"/>
                <a:gd name="connsiteY6312" fmla="*/ 317659 h 514350"/>
                <a:gd name="connsiteX6313" fmla="*/ 1601629 w 6400800"/>
                <a:gd name="connsiteY6313" fmla="*/ 325279 h 514350"/>
                <a:gd name="connsiteX6314" fmla="*/ 1600676 w 6400800"/>
                <a:gd name="connsiteY6314" fmla="*/ 319564 h 514350"/>
                <a:gd name="connsiteX6315" fmla="*/ 1599724 w 6400800"/>
                <a:gd name="connsiteY6315" fmla="*/ 305276 h 514350"/>
                <a:gd name="connsiteX6316" fmla="*/ 1600676 w 6400800"/>
                <a:gd name="connsiteY6316" fmla="*/ 297656 h 514350"/>
                <a:gd name="connsiteX6317" fmla="*/ 1567339 w 6400800"/>
                <a:gd name="connsiteY6317" fmla="*/ 315754 h 514350"/>
                <a:gd name="connsiteX6318" fmla="*/ 1568291 w 6400800"/>
                <a:gd name="connsiteY6318" fmla="*/ 330041 h 514350"/>
                <a:gd name="connsiteX6319" fmla="*/ 1566386 w 6400800"/>
                <a:gd name="connsiteY6319" fmla="*/ 320516 h 514350"/>
                <a:gd name="connsiteX6320" fmla="*/ 1567339 w 6400800"/>
                <a:gd name="connsiteY6320" fmla="*/ 315754 h 514350"/>
                <a:gd name="connsiteX6321" fmla="*/ 1547336 w 6400800"/>
                <a:gd name="connsiteY6321" fmla="*/ 265271 h 514350"/>
                <a:gd name="connsiteX6322" fmla="*/ 1546384 w 6400800"/>
                <a:gd name="connsiteY6322" fmla="*/ 275749 h 514350"/>
                <a:gd name="connsiteX6323" fmla="*/ 1545431 w 6400800"/>
                <a:gd name="connsiteY6323" fmla="*/ 272891 h 514350"/>
                <a:gd name="connsiteX6324" fmla="*/ 1547336 w 6400800"/>
                <a:gd name="connsiteY6324" fmla="*/ 265271 h 514350"/>
                <a:gd name="connsiteX6325" fmla="*/ 1541621 w 6400800"/>
                <a:gd name="connsiteY6325" fmla="*/ 286226 h 514350"/>
                <a:gd name="connsiteX6326" fmla="*/ 1543526 w 6400800"/>
                <a:gd name="connsiteY6326" fmla="*/ 293846 h 514350"/>
                <a:gd name="connsiteX6327" fmla="*/ 1542574 w 6400800"/>
                <a:gd name="connsiteY6327" fmla="*/ 301466 h 514350"/>
                <a:gd name="connsiteX6328" fmla="*/ 1539716 w 6400800"/>
                <a:gd name="connsiteY6328" fmla="*/ 291941 h 514350"/>
                <a:gd name="connsiteX6329" fmla="*/ 1541621 w 6400800"/>
                <a:gd name="connsiteY6329" fmla="*/ 286226 h 514350"/>
                <a:gd name="connsiteX6330" fmla="*/ 1537811 w 6400800"/>
                <a:gd name="connsiteY6330" fmla="*/ 271939 h 514350"/>
                <a:gd name="connsiteX6331" fmla="*/ 1538764 w 6400800"/>
                <a:gd name="connsiteY6331" fmla="*/ 276701 h 514350"/>
                <a:gd name="connsiteX6332" fmla="*/ 1536859 w 6400800"/>
                <a:gd name="connsiteY6332" fmla="*/ 280511 h 514350"/>
                <a:gd name="connsiteX6333" fmla="*/ 1537811 w 6400800"/>
                <a:gd name="connsiteY6333" fmla="*/ 271939 h 514350"/>
                <a:gd name="connsiteX6334" fmla="*/ 1533049 w 6400800"/>
                <a:gd name="connsiteY6334" fmla="*/ 338614 h 514350"/>
                <a:gd name="connsiteX6335" fmla="*/ 1533049 w 6400800"/>
                <a:gd name="connsiteY6335" fmla="*/ 335756 h 514350"/>
                <a:gd name="connsiteX6336" fmla="*/ 1535906 w 6400800"/>
                <a:gd name="connsiteY6336" fmla="*/ 350044 h 514350"/>
                <a:gd name="connsiteX6337" fmla="*/ 1536859 w 6400800"/>
                <a:gd name="connsiteY6337" fmla="*/ 357664 h 514350"/>
                <a:gd name="connsiteX6338" fmla="*/ 1536859 w 6400800"/>
                <a:gd name="connsiteY6338" fmla="*/ 362426 h 514350"/>
                <a:gd name="connsiteX6339" fmla="*/ 1536859 w 6400800"/>
                <a:gd name="connsiteY6339" fmla="*/ 362426 h 514350"/>
                <a:gd name="connsiteX6340" fmla="*/ 1532096 w 6400800"/>
                <a:gd name="connsiteY6340" fmla="*/ 346234 h 514350"/>
                <a:gd name="connsiteX6341" fmla="*/ 1533049 w 6400800"/>
                <a:gd name="connsiteY6341" fmla="*/ 338614 h 514350"/>
                <a:gd name="connsiteX6342" fmla="*/ 1519714 w 6400800"/>
                <a:gd name="connsiteY6342" fmla="*/ 270986 h 514350"/>
                <a:gd name="connsiteX6343" fmla="*/ 1525429 w 6400800"/>
                <a:gd name="connsiteY6343" fmla="*/ 297656 h 514350"/>
                <a:gd name="connsiteX6344" fmla="*/ 1524476 w 6400800"/>
                <a:gd name="connsiteY6344" fmla="*/ 301466 h 514350"/>
                <a:gd name="connsiteX6345" fmla="*/ 1521619 w 6400800"/>
                <a:gd name="connsiteY6345" fmla="*/ 315754 h 514350"/>
                <a:gd name="connsiteX6346" fmla="*/ 1519714 w 6400800"/>
                <a:gd name="connsiteY6346" fmla="*/ 310991 h 514350"/>
                <a:gd name="connsiteX6347" fmla="*/ 1517809 w 6400800"/>
                <a:gd name="connsiteY6347" fmla="*/ 268129 h 514350"/>
                <a:gd name="connsiteX6348" fmla="*/ 1519714 w 6400800"/>
                <a:gd name="connsiteY6348" fmla="*/ 270986 h 514350"/>
                <a:gd name="connsiteX6349" fmla="*/ 1503521 w 6400800"/>
                <a:gd name="connsiteY6349" fmla="*/ 302419 h 514350"/>
                <a:gd name="connsiteX6350" fmla="*/ 1502569 w 6400800"/>
                <a:gd name="connsiteY6350" fmla="*/ 313849 h 514350"/>
                <a:gd name="connsiteX6351" fmla="*/ 1502569 w 6400800"/>
                <a:gd name="connsiteY6351" fmla="*/ 330041 h 514350"/>
                <a:gd name="connsiteX6352" fmla="*/ 1501616 w 6400800"/>
                <a:gd name="connsiteY6352" fmla="*/ 329089 h 514350"/>
                <a:gd name="connsiteX6353" fmla="*/ 1497806 w 6400800"/>
                <a:gd name="connsiteY6353" fmla="*/ 311944 h 514350"/>
                <a:gd name="connsiteX6354" fmla="*/ 1503521 w 6400800"/>
                <a:gd name="connsiteY6354" fmla="*/ 302419 h 514350"/>
                <a:gd name="connsiteX6355" fmla="*/ 1477804 w 6400800"/>
                <a:gd name="connsiteY6355" fmla="*/ 272891 h 514350"/>
                <a:gd name="connsiteX6356" fmla="*/ 1477804 w 6400800"/>
                <a:gd name="connsiteY6356" fmla="*/ 272891 h 514350"/>
                <a:gd name="connsiteX6357" fmla="*/ 1477804 w 6400800"/>
                <a:gd name="connsiteY6357" fmla="*/ 282416 h 514350"/>
                <a:gd name="connsiteX6358" fmla="*/ 1476851 w 6400800"/>
                <a:gd name="connsiteY6358" fmla="*/ 294799 h 514350"/>
                <a:gd name="connsiteX6359" fmla="*/ 1475899 w 6400800"/>
                <a:gd name="connsiteY6359" fmla="*/ 295751 h 514350"/>
                <a:gd name="connsiteX6360" fmla="*/ 1474946 w 6400800"/>
                <a:gd name="connsiteY6360" fmla="*/ 282416 h 514350"/>
                <a:gd name="connsiteX6361" fmla="*/ 1477804 w 6400800"/>
                <a:gd name="connsiteY6361" fmla="*/ 272891 h 514350"/>
                <a:gd name="connsiteX6362" fmla="*/ 1461611 w 6400800"/>
                <a:gd name="connsiteY6362" fmla="*/ 326231 h 514350"/>
                <a:gd name="connsiteX6363" fmla="*/ 1461611 w 6400800"/>
                <a:gd name="connsiteY6363" fmla="*/ 328136 h 514350"/>
                <a:gd name="connsiteX6364" fmla="*/ 1460659 w 6400800"/>
                <a:gd name="connsiteY6364" fmla="*/ 330041 h 514350"/>
                <a:gd name="connsiteX6365" fmla="*/ 1460659 w 6400800"/>
                <a:gd name="connsiteY6365" fmla="*/ 329089 h 514350"/>
                <a:gd name="connsiteX6366" fmla="*/ 1461611 w 6400800"/>
                <a:gd name="connsiteY6366" fmla="*/ 326231 h 514350"/>
                <a:gd name="connsiteX6367" fmla="*/ 1457801 w 6400800"/>
                <a:gd name="connsiteY6367" fmla="*/ 309086 h 514350"/>
                <a:gd name="connsiteX6368" fmla="*/ 1457801 w 6400800"/>
                <a:gd name="connsiteY6368" fmla="*/ 309086 h 514350"/>
                <a:gd name="connsiteX6369" fmla="*/ 1455896 w 6400800"/>
                <a:gd name="connsiteY6369" fmla="*/ 302419 h 514350"/>
                <a:gd name="connsiteX6370" fmla="*/ 1457801 w 6400800"/>
                <a:gd name="connsiteY6370" fmla="*/ 309086 h 514350"/>
                <a:gd name="connsiteX6371" fmla="*/ 1442561 w 6400800"/>
                <a:gd name="connsiteY6371" fmla="*/ 328136 h 514350"/>
                <a:gd name="connsiteX6372" fmla="*/ 1442561 w 6400800"/>
                <a:gd name="connsiteY6372" fmla="*/ 318611 h 514350"/>
                <a:gd name="connsiteX6373" fmla="*/ 1444466 w 6400800"/>
                <a:gd name="connsiteY6373" fmla="*/ 333851 h 514350"/>
                <a:gd name="connsiteX6374" fmla="*/ 1442561 w 6400800"/>
                <a:gd name="connsiteY6374" fmla="*/ 330041 h 514350"/>
                <a:gd name="connsiteX6375" fmla="*/ 1442561 w 6400800"/>
                <a:gd name="connsiteY6375" fmla="*/ 328136 h 514350"/>
                <a:gd name="connsiteX6376" fmla="*/ 1415891 w 6400800"/>
                <a:gd name="connsiteY6376" fmla="*/ 281464 h 514350"/>
                <a:gd name="connsiteX6377" fmla="*/ 1415891 w 6400800"/>
                <a:gd name="connsiteY6377" fmla="*/ 289084 h 514350"/>
                <a:gd name="connsiteX6378" fmla="*/ 1415891 w 6400800"/>
                <a:gd name="connsiteY6378" fmla="*/ 289084 h 514350"/>
                <a:gd name="connsiteX6379" fmla="*/ 1413034 w 6400800"/>
                <a:gd name="connsiteY6379" fmla="*/ 286226 h 514350"/>
                <a:gd name="connsiteX6380" fmla="*/ 1415891 w 6400800"/>
                <a:gd name="connsiteY6380" fmla="*/ 281464 h 514350"/>
                <a:gd name="connsiteX6381" fmla="*/ 1412081 w 6400800"/>
                <a:gd name="connsiteY6381" fmla="*/ 290036 h 514350"/>
                <a:gd name="connsiteX6382" fmla="*/ 1413986 w 6400800"/>
                <a:gd name="connsiteY6382" fmla="*/ 292894 h 514350"/>
                <a:gd name="connsiteX6383" fmla="*/ 1415891 w 6400800"/>
                <a:gd name="connsiteY6383" fmla="*/ 295751 h 514350"/>
                <a:gd name="connsiteX6384" fmla="*/ 1415891 w 6400800"/>
                <a:gd name="connsiteY6384" fmla="*/ 300514 h 514350"/>
                <a:gd name="connsiteX6385" fmla="*/ 1412081 w 6400800"/>
                <a:gd name="connsiteY6385" fmla="*/ 290036 h 514350"/>
                <a:gd name="connsiteX6386" fmla="*/ 1412081 w 6400800"/>
                <a:gd name="connsiteY6386" fmla="*/ 290036 h 514350"/>
                <a:gd name="connsiteX6387" fmla="*/ 1383506 w 6400800"/>
                <a:gd name="connsiteY6387" fmla="*/ 364331 h 514350"/>
                <a:gd name="connsiteX6388" fmla="*/ 1382554 w 6400800"/>
                <a:gd name="connsiteY6388" fmla="*/ 358616 h 514350"/>
                <a:gd name="connsiteX6389" fmla="*/ 1382554 w 6400800"/>
                <a:gd name="connsiteY6389" fmla="*/ 357664 h 514350"/>
                <a:gd name="connsiteX6390" fmla="*/ 1383506 w 6400800"/>
                <a:gd name="connsiteY6390" fmla="*/ 362426 h 514350"/>
                <a:gd name="connsiteX6391" fmla="*/ 1383506 w 6400800"/>
                <a:gd name="connsiteY6391" fmla="*/ 364331 h 514350"/>
                <a:gd name="connsiteX6392" fmla="*/ 1386364 w 6400800"/>
                <a:gd name="connsiteY6392" fmla="*/ 298609 h 514350"/>
                <a:gd name="connsiteX6393" fmla="*/ 1386364 w 6400800"/>
                <a:gd name="connsiteY6393" fmla="*/ 298609 h 514350"/>
                <a:gd name="connsiteX6394" fmla="*/ 1384459 w 6400800"/>
                <a:gd name="connsiteY6394" fmla="*/ 293846 h 514350"/>
                <a:gd name="connsiteX6395" fmla="*/ 1386364 w 6400800"/>
                <a:gd name="connsiteY6395" fmla="*/ 290989 h 514350"/>
                <a:gd name="connsiteX6396" fmla="*/ 1391126 w 6400800"/>
                <a:gd name="connsiteY6396" fmla="*/ 286226 h 514350"/>
                <a:gd name="connsiteX6397" fmla="*/ 1386364 w 6400800"/>
                <a:gd name="connsiteY6397" fmla="*/ 298609 h 514350"/>
                <a:gd name="connsiteX6398" fmla="*/ 1383506 w 6400800"/>
                <a:gd name="connsiteY6398" fmla="*/ 287179 h 514350"/>
                <a:gd name="connsiteX6399" fmla="*/ 1382554 w 6400800"/>
                <a:gd name="connsiteY6399" fmla="*/ 288131 h 514350"/>
                <a:gd name="connsiteX6400" fmla="*/ 1376839 w 6400800"/>
                <a:gd name="connsiteY6400" fmla="*/ 274796 h 514350"/>
                <a:gd name="connsiteX6401" fmla="*/ 1384459 w 6400800"/>
                <a:gd name="connsiteY6401" fmla="*/ 242411 h 514350"/>
                <a:gd name="connsiteX6402" fmla="*/ 1390174 w 6400800"/>
                <a:gd name="connsiteY6402" fmla="*/ 281464 h 514350"/>
                <a:gd name="connsiteX6403" fmla="*/ 1383506 w 6400800"/>
                <a:gd name="connsiteY6403" fmla="*/ 287179 h 514350"/>
                <a:gd name="connsiteX6404" fmla="*/ 1391126 w 6400800"/>
                <a:gd name="connsiteY6404" fmla="*/ 310991 h 514350"/>
                <a:gd name="connsiteX6405" fmla="*/ 1393031 w 6400800"/>
                <a:gd name="connsiteY6405" fmla="*/ 299561 h 514350"/>
                <a:gd name="connsiteX6406" fmla="*/ 1393031 w 6400800"/>
                <a:gd name="connsiteY6406" fmla="*/ 298609 h 514350"/>
                <a:gd name="connsiteX6407" fmla="*/ 1393984 w 6400800"/>
                <a:gd name="connsiteY6407" fmla="*/ 305276 h 514350"/>
                <a:gd name="connsiteX6408" fmla="*/ 1391126 w 6400800"/>
                <a:gd name="connsiteY6408" fmla="*/ 310991 h 514350"/>
                <a:gd name="connsiteX6409" fmla="*/ 1397794 w 6400800"/>
                <a:gd name="connsiteY6409" fmla="*/ 278606 h 514350"/>
                <a:gd name="connsiteX6410" fmla="*/ 1397794 w 6400800"/>
                <a:gd name="connsiteY6410" fmla="*/ 278606 h 514350"/>
                <a:gd name="connsiteX6411" fmla="*/ 1397794 w 6400800"/>
                <a:gd name="connsiteY6411" fmla="*/ 279559 h 514350"/>
                <a:gd name="connsiteX6412" fmla="*/ 1397794 w 6400800"/>
                <a:gd name="connsiteY6412" fmla="*/ 278606 h 514350"/>
                <a:gd name="connsiteX6413" fmla="*/ 1397794 w 6400800"/>
                <a:gd name="connsiteY6413" fmla="*/ 278606 h 514350"/>
                <a:gd name="connsiteX6414" fmla="*/ 1397794 w 6400800"/>
                <a:gd name="connsiteY6414" fmla="*/ 322421 h 514350"/>
                <a:gd name="connsiteX6415" fmla="*/ 1399699 w 6400800"/>
                <a:gd name="connsiteY6415" fmla="*/ 331946 h 514350"/>
                <a:gd name="connsiteX6416" fmla="*/ 1399699 w 6400800"/>
                <a:gd name="connsiteY6416" fmla="*/ 333851 h 514350"/>
                <a:gd name="connsiteX6417" fmla="*/ 1396841 w 6400800"/>
                <a:gd name="connsiteY6417" fmla="*/ 326231 h 514350"/>
                <a:gd name="connsiteX6418" fmla="*/ 1397794 w 6400800"/>
                <a:gd name="connsiteY6418" fmla="*/ 322421 h 514350"/>
                <a:gd name="connsiteX6419" fmla="*/ 1387316 w 6400800"/>
                <a:gd name="connsiteY6419" fmla="*/ 231934 h 514350"/>
                <a:gd name="connsiteX6420" fmla="*/ 1395889 w 6400800"/>
                <a:gd name="connsiteY6420" fmla="*/ 270986 h 514350"/>
                <a:gd name="connsiteX6421" fmla="*/ 1394936 w 6400800"/>
                <a:gd name="connsiteY6421" fmla="*/ 272891 h 514350"/>
                <a:gd name="connsiteX6422" fmla="*/ 1384459 w 6400800"/>
                <a:gd name="connsiteY6422" fmla="*/ 240506 h 514350"/>
                <a:gd name="connsiteX6423" fmla="*/ 1387316 w 6400800"/>
                <a:gd name="connsiteY6423" fmla="*/ 231934 h 514350"/>
                <a:gd name="connsiteX6424" fmla="*/ 1380649 w 6400800"/>
                <a:gd name="connsiteY6424" fmla="*/ 232886 h 514350"/>
                <a:gd name="connsiteX6425" fmla="*/ 1386364 w 6400800"/>
                <a:gd name="connsiteY6425" fmla="*/ 225266 h 514350"/>
                <a:gd name="connsiteX6426" fmla="*/ 1386364 w 6400800"/>
                <a:gd name="connsiteY6426" fmla="*/ 225266 h 514350"/>
                <a:gd name="connsiteX6427" fmla="*/ 1372076 w 6400800"/>
                <a:gd name="connsiteY6427" fmla="*/ 262414 h 514350"/>
                <a:gd name="connsiteX6428" fmla="*/ 1370171 w 6400800"/>
                <a:gd name="connsiteY6428" fmla="*/ 257651 h 514350"/>
                <a:gd name="connsiteX6429" fmla="*/ 1369219 w 6400800"/>
                <a:gd name="connsiteY6429" fmla="*/ 253841 h 514350"/>
                <a:gd name="connsiteX6430" fmla="*/ 1380649 w 6400800"/>
                <a:gd name="connsiteY6430" fmla="*/ 232886 h 514350"/>
                <a:gd name="connsiteX6431" fmla="*/ 1356836 w 6400800"/>
                <a:gd name="connsiteY6431" fmla="*/ 300514 h 514350"/>
                <a:gd name="connsiteX6432" fmla="*/ 1356836 w 6400800"/>
                <a:gd name="connsiteY6432" fmla="*/ 302419 h 514350"/>
                <a:gd name="connsiteX6433" fmla="*/ 1355884 w 6400800"/>
                <a:gd name="connsiteY6433" fmla="*/ 304324 h 514350"/>
                <a:gd name="connsiteX6434" fmla="*/ 1355884 w 6400800"/>
                <a:gd name="connsiteY6434" fmla="*/ 299561 h 514350"/>
                <a:gd name="connsiteX6435" fmla="*/ 1356836 w 6400800"/>
                <a:gd name="connsiteY6435" fmla="*/ 300514 h 514350"/>
                <a:gd name="connsiteX6436" fmla="*/ 1339691 w 6400800"/>
                <a:gd name="connsiteY6436" fmla="*/ 325279 h 514350"/>
                <a:gd name="connsiteX6437" fmla="*/ 1339691 w 6400800"/>
                <a:gd name="connsiteY6437" fmla="*/ 324326 h 514350"/>
                <a:gd name="connsiteX6438" fmla="*/ 1341596 w 6400800"/>
                <a:gd name="connsiteY6438" fmla="*/ 317659 h 514350"/>
                <a:gd name="connsiteX6439" fmla="*/ 1341596 w 6400800"/>
                <a:gd name="connsiteY6439" fmla="*/ 317659 h 514350"/>
                <a:gd name="connsiteX6440" fmla="*/ 1341596 w 6400800"/>
                <a:gd name="connsiteY6440" fmla="*/ 330994 h 514350"/>
                <a:gd name="connsiteX6441" fmla="*/ 1339691 w 6400800"/>
                <a:gd name="connsiteY6441" fmla="*/ 325279 h 514350"/>
                <a:gd name="connsiteX6442" fmla="*/ 1340644 w 6400800"/>
                <a:gd name="connsiteY6442" fmla="*/ 226219 h 514350"/>
                <a:gd name="connsiteX6443" fmla="*/ 1340644 w 6400800"/>
                <a:gd name="connsiteY6443" fmla="*/ 226219 h 514350"/>
                <a:gd name="connsiteX6444" fmla="*/ 1344454 w 6400800"/>
                <a:gd name="connsiteY6444" fmla="*/ 237649 h 514350"/>
                <a:gd name="connsiteX6445" fmla="*/ 1344454 w 6400800"/>
                <a:gd name="connsiteY6445" fmla="*/ 242411 h 514350"/>
                <a:gd name="connsiteX6446" fmla="*/ 1343501 w 6400800"/>
                <a:gd name="connsiteY6446" fmla="*/ 264319 h 514350"/>
                <a:gd name="connsiteX6447" fmla="*/ 1343501 w 6400800"/>
                <a:gd name="connsiteY6447" fmla="*/ 272891 h 514350"/>
                <a:gd name="connsiteX6448" fmla="*/ 1339691 w 6400800"/>
                <a:gd name="connsiteY6448" fmla="*/ 269081 h 514350"/>
                <a:gd name="connsiteX6449" fmla="*/ 1340644 w 6400800"/>
                <a:gd name="connsiteY6449" fmla="*/ 226219 h 514350"/>
                <a:gd name="connsiteX6450" fmla="*/ 1337786 w 6400800"/>
                <a:gd name="connsiteY6450" fmla="*/ 295751 h 514350"/>
                <a:gd name="connsiteX6451" fmla="*/ 1338739 w 6400800"/>
                <a:gd name="connsiteY6451" fmla="*/ 271939 h 514350"/>
                <a:gd name="connsiteX6452" fmla="*/ 1342549 w 6400800"/>
                <a:gd name="connsiteY6452" fmla="*/ 276701 h 514350"/>
                <a:gd name="connsiteX6453" fmla="*/ 1342549 w 6400800"/>
                <a:gd name="connsiteY6453" fmla="*/ 276701 h 514350"/>
                <a:gd name="connsiteX6454" fmla="*/ 1342549 w 6400800"/>
                <a:gd name="connsiteY6454" fmla="*/ 286226 h 514350"/>
                <a:gd name="connsiteX6455" fmla="*/ 1337786 w 6400800"/>
                <a:gd name="connsiteY6455" fmla="*/ 295751 h 514350"/>
                <a:gd name="connsiteX6456" fmla="*/ 1337786 w 6400800"/>
                <a:gd name="connsiteY6456" fmla="*/ 296704 h 514350"/>
                <a:gd name="connsiteX6457" fmla="*/ 1337786 w 6400800"/>
                <a:gd name="connsiteY6457" fmla="*/ 295751 h 514350"/>
                <a:gd name="connsiteX6458" fmla="*/ 1314926 w 6400800"/>
                <a:gd name="connsiteY6458" fmla="*/ 320516 h 514350"/>
                <a:gd name="connsiteX6459" fmla="*/ 1314926 w 6400800"/>
                <a:gd name="connsiteY6459" fmla="*/ 320516 h 514350"/>
                <a:gd name="connsiteX6460" fmla="*/ 1314926 w 6400800"/>
                <a:gd name="connsiteY6460" fmla="*/ 320516 h 514350"/>
                <a:gd name="connsiteX6461" fmla="*/ 1314926 w 6400800"/>
                <a:gd name="connsiteY6461" fmla="*/ 320516 h 514350"/>
                <a:gd name="connsiteX6462" fmla="*/ 1311116 w 6400800"/>
                <a:gd name="connsiteY6462" fmla="*/ 312896 h 514350"/>
                <a:gd name="connsiteX6463" fmla="*/ 1311116 w 6400800"/>
                <a:gd name="connsiteY6463" fmla="*/ 312896 h 514350"/>
                <a:gd name="connsiteX6464" fmla="*/ 1311116 w 6400800"/>
                <a:gd name="connsiteY6464" fmla="*/ 314801 h 514350"/>
                <a:gd name="connsiteX6465" fmla="*/ 1311116 w 6400800"/>
                <a:gd name="connsiteY6465" fmla="*/ 314801 h 514350"/>
                <a:gd name="connsiteX6466" fmla="*/ 1311116 w 6400800"/>
                <a:gd name="connsiteY6466" fmla="*/ 312896 h 514350"/>
                <a:gd name="connsiteX6467" fmla="*/ 1242536 w 6400800"/>
                <a:gd name="connsiteY6467" fmla="*/ 344329 h 514350"/>
                <a:gd name="connsiteX6468" fmla="*/ 1238726 w 6400800"/>
                <a:gd name="connsiteY6468" fmla="*/ 336709 h 514350"/>
                <a:gd name="connsiteX6469" fmla="*/ 1238726 w 6400800"/>
                <a:gd name="connsiteY6469" fmla="*/ 310991 h 514350"/>
                <a:gd name="connsiteX6470" fmla="*/ 1238726 w 6400800"/>
                <a:gd name="connsiteY6470" fmla="*/ 307181 h 514350"/>
                <a:gd name="connsiteX6471" fmla="*/ 1244441 w 6400800"/>
                <a:gd name="connsiteY6471" fmla="*/ 339566 h 514350"/>
                <a:gd name="connsiteX6472" fmla="*/ 1244441 w 6400800"/>
                <a:gd name="connsiteY6472" fmla="*/ 340519 h 514350"/>
                <a:gd name="connsiteX6473" fmla="*/ 1242536 w 6400800"/>
                <a:gd name="connsiteY6473" fmla="*/ 344329 h 514350"/>
                <a:gd name="connsiteX6474" fmla="*/ 1279684 w 6400800"/>
                <a:gd name="connsiteY6474" fmla="*/ 290989 h 514350"/>
                <a:gd name="connsiteX6475" fmla="*/ 1279684 w 6400800"/>
                <a:gd name="connsiteY6475" fmla="*/ 284321 h 514350"/>
                <a:gd name="connsiteX6476" fmla="*/ 1281589 w 6400800"/>
                <a:gd name="connsiteY6476" fmla="*/ 287179 h 514350"/>
                <a:gd name="connsiteX6477" fmla="*/ 1279684 w 6400800"/>
                <a:gd name="connsiteY6477" fmla="*/ 290989 h 514350"/>
                <a:gd name="connsiteX6478" fmla="*/ 1298734 w 6400800"/>
                <a:gd name="connsiteY6478" fmla="*/ 332899 h 514350"/>
                <a:gd name="connsiteX6479" fmla="*/ 1298734 w 6400800"/>
                <a:gd name="connsiteY6479" fmla="*/ 332899 h 514350"/>
                <a:gd name="connsiteX6480" fmla="*/ 1298734 w 6400800"/>
                <a:gd name="connsiteY6480" fmla="*/ 330994 h 514350"/>
                <a:gd name="connsiteX6481" fmla="*/ 1298734 w 6400800"/>
                <a:gd name="connsiteY6481" fmla="*/ 332899 h 514350"/>
                <a:gd name="connsiteX6482" fmla="*/ 1295876 w 6400800"/>
                <a:gd name="connsiteY6482" fmla="*/ 278606 h 514350"/>
                <a:gd name="connsiteX6483" fmla="*/ 1305401 w 6400800"/>
                <a:gd name="connsiteY6483" fmla="*/ 299561 h 514350"/>
                <a:gd name="connsiteX6484" fmla="*/ 1305401 w 6400800"/>
                <a:gd name="connsiteY6484" fmla="*/ 300514 h 514350"/>
                <a:gd name="connsiteX6485" fmla="*/ 1304449 w 6400800"/>
                <a:gd name="connsiteY6485" fmla="*/ 303371 h 514350"/>
                <a:gd name="connsiteX6486" fmla="*/ 1300639 w 6400800"/>
                <a:gd name="connsiteY6486" fmla="*/ 295751 h 514350"/>
                <a:gd name="connsiteX6487" fmla="*/ 1293971 w 6400800"/>
                <a:gd name="connsiteY6487" fmla="*/ 284321 h 514350"/>
                <a:gd name="connsiteX6488" fmla="*/ 1295876 w 6400800"/>
                <a:gd name="connsiteY6488" fmla="*/ 278606 h 514350"/>
                <a:gd name="connsiteX6489" fmla="*/ 1299686 w 6400800"/>
                <a:gd name="connsiteY6489" fmla="*/ 328136 h 514350"/>
                <a:gd name="connsiteX6490" fmla="*/ 1299686 w 6400800"/>
                <a:gd name="connsiteY6490" fmla="*/ 330041 h 514350"/>
                <a:gd name="connsiteX6491" fmla="*/ 1298734 w 6400800"/>
                <a:gd name="connsiteY6491" fmla="*/ 331946 h 514350"/>
                <a:gd name="connsiteX6492" fmla="*/ 1293019 w 6400800"/>
                <a:gd name="connsiteY6492" fmla="*/ 324326 h 514350"/>
                <a:gd name="connsiteX6493" fmla="*/ 1289209 w 6400800"/>
                <a:gd name="connsiteY6493" fmla="*/ 318611 h 514350"/>
                <a:gd name="connsiteX6494" fmla="*/ 1289209 w 6400800"/>
                <a:gd name="connsiteY6494" fmla="*/ 318611 h 514350"/>
                <a:gd name="connsiteX6495" fmla="*/ 1289209 w 6400800"/>
                <a:gd name="connsiteY6495" fmla="*/ 309086 h 514350"/>
                <a:gd name="connsiteX6496" fmla="*/ 1290161 w 6400800"/>
                <a:gd name="connsiteY6496" fmla="*/ 305276 h 514350"/>
                <a:gd name="connsiteX6497" fmla="*/ 1299686 w 6400800"/>
                <a:gd name="connsiteY6497" fmla="*/ 328136 h 514350"/>
                <a:gd name="connsiteX6498" fmla="*/ 1289209 w 6400800"/>
                <a:gd name="connsiteY6498" fmla="*/ 263366 h 514350"/>
                <a:gd name="connsiteX6499" fmla="*/ 1287304 w 6400800"/>
                <a:gd name="connsiteY6499" fmla="*/ 268129 h 514350"/>
                <a:gd name="connsiteX6500" fmla="*/ 1287304 w 6400800"/>
                <a:gd name="connsiteY6500" fmla="*/ 259556 h 514350"/>
                <a:gd name="connsiteX6501" fmla="*/ 1289209 w 6400800"/>
                <a:gd name="connsiteY6501" fmla="*/ 263366 h 514350"/>
                <a:gd name="connsiteX6502" fmla="*/ 1276826 w 6400800"/>
                <a:gd name="connsiteY6502" fmla="*/ 238601 h 514350"/>
                <a:gd name="connsiteX6503" fmla="*/ 1278731 w 6400800"/>
                <a:gd name="connsiteY6503" fmla="*/ 242411 h 514350"/>
                <a:gd name="connsiteX6504" fmla="*/ 1286351 w 6400800"/>
                <a:gd name="connsiteY6504" fmla="*/ 257651 h 514350"/>
                <a:gd name="connsiteX6505" fmla="*/ 1285399 w 6400800"/>
                <a:gd name="connsiteY6505" fmla="*/ 267176 h 514350"/>
                <a:gd name="connsiteX6506" fmla="*/ 1277779 w 6400800"/>
                <a:gd name="connsiteY6506" fmla="*/ 255746 h 514350"/>
                <a:gd name="connsiteX6507" fmla="*/ 1276826 w 6400800"/>
                <a:gd name="connsiteY6507" fmla="*/ 242411 h 514350"/>
                <a:gd name="connsiteX6508" fmla="*/ 1276826 w 6400800"/>
                <a:gd name="connsiteY6508" fmla="*/ 238601 h 514350"/>
                <a:gd name="connsiteX6509" fmla="*/ 1273016 w 6400800"/>
                <a:gd name="connsiteY6509" fmla="*/ 271939 h 514350"/>
                <a:gd name="connsiteX6510" fmla="*/ 1273969 w 6400800"/>
                <a:gd name="connsiteY6510" fmla="*/ 272891 h 514350"/>
                <a:gd name="connsiteX6511" fmla="*/ 1273016 w 6400800"/>
                <a:gd name="connsiteY6511" fmla="*/ 291941 h 514350"/>
                <a:gd name="connsiteX6512" fmla="*/ 1271111 w 6400800"/>
                <a:gd name="connsiteY6512" fmla="*/ 288131 h 514350"/>
                <a:gd name="connsiteX6513" fmla="*/ 1273016 w 6400800"/>
                <a:gd name="connsiteY6513" fmla="*/ 271939 h 514350"/>
                <a:gd name="connsiteX6514" fmla="*/ 1240631 w 6400800"/>
                <a:gd name="connsiteY6514" fmla="*/ 229076 h 514350"/>
                <a:gd name="connsiteX6515" fmla="*/ 1244441 w 6400800"/>
                <a:gd name="connsiteY6515" fmla="*/ 220504 h 514350"/>
                <a:gd name="connsiteX6516" fmla="*/ 1253966 w 6400800"/>
                <a:gd name="connsiteY6516" fmla="*/ 237649 h 514350"/>
                <a:gd name="connsiteX6517" fmla="*/ 1264444 w 6400800"/>
                <a:gd name="connsiteY6517" fmla="*/ 257651 h 514350"/>
                <a:gd name="connsiteX6518" fmla="*/ 1268254 w 6400800"/>
                <a:gd name="connsiteY6518" fmla="*/ 264319 h 514350"/>
                <a:gd name="connsiteX6519" fmla="*/ 1262539 w 6400800"/>
                <a:gd name="connsiteY6519" fmla="*/ 286226 h 514350"/>
                <a:gd name="connsiteX6520" fmla="*/ 1254919 w 6400800"/>
                <a:gd name="connsiteY6520" fmla="*/ 277654 h 514350"/>
                <a:gd name="connsiteX6521" fmla="*/ 1241584 w 6400800"/>
                <a:gd name="connsiteY6521" fmla="*/ 251936 h 514350"/>
                <a:gd name="connsiteX6522" fmla="*/ 1235869 w 6400800"/>
                <a:gd name="connsiteY6522" fmla="*/ 243364 h 514350"/>
                <a:gd name="connsiteX6523" fmla="*/ 1235869 w 6400800"/>
                <a:gd name="connsiteY6523" fmla="*/ 242411 h 514350"/>
                <a:gd name="connsiteX6524" fmla="*/ 1240631 w 6400800"/>
                <a:gd name="connsiteY6524" fmla="*/ 229076 h 514350"/>
                <a:gd name="connsiteX6525" fmla="*/ 1228249 w 6400800"/>
                <a:gd name="connsiteY6525" fmla="*/ 304324 h 514350"/>
                <a:gd name="connsiteX6526" fmla="*/ 1227296 w 6400800"/>
                <a:gd name="connsiteY6526" fmla="*/ 288131 h 514350"/>
                <a:gd name="connsiteX6527" fmla="*/ 1227296 w 6400800"/>
                <a:gd name="connsiteY6527" fmla="*/ 281464 h 514350"/>
                <a:gd name="connsiteX6528" fmla="*/ 1228249 w 6400800"/>
                <a:gd name="connsiteY6528" fmla="*/ 279559 h 514350"/>
                <a:gd name="connsiteX6529" fmla="*/ 1228249 w 6400800"/>
                <a:gd name="connsiteY6529" fmla="*/ 278606 h 514350"/>
                <a:gd name="connsiteX6530" fmla="*/ 1229201 w 6400800"/>
                <a:gd name="connsiteY6530" fmla="*/ 279559 h 514350"/>
                <a:gd name="connsiteX6531" fmla="*/ 1231106 w 6400800"/>
                <a:gd name="connsiteY6531" fmla="*/ 284321 h 514350"/>
                <a:gd name="connsiteX6532" fmla="*/ 1228249 w 6400800"/>
                <a:gd name="connsiteY6532" fmla="*/ 304324 h 514350"/>
                <a:gd name="connsiteX6533" fmla="*/ 1232059 w 6400800"/>
                <a:gd name="connsiteY6533" fmla="*/ 280511 h 514350"/>
                <a:gd name="connsiteX6534" fmla="*/ 1232059 w 6400800"/>
                <a:gd name="connsiteY6534" fmla="*/ 278606 h 514350"/>
                <a:gd name="connsiteX6535" fmla="*/ 1230154 w 6400800"/>
                <a:gd name="connsiteY6535" fmla="*/ 275749 h 514350"/>
                <a:gd name="connsiteX6536" fmla="*/ 1227296 w 6400800"/>
                <a:gd name="connsiteY6536" fmla="*/ 275749 h 514350"/>
                <a:gd name="connsiteX6537" fmla="*/ 1226344 w 6400800"/>
                <a:gd name="connsiteY6537" fmla="*/ 275749 h 514350"/>
                <a:gd name="connsiteX6538" fmla="*/ 1226344 w 6400800"/>
                <a:gd name="connsiteY6538" fmla="*/ 269081 h 514350"/>
                <a:gd name="connsiteX6539" fmla="*/ 1230154 w 6400800"/>
                <a:gd name="connsiteY6539" fmla="*/ 272891 h 514350"/>
                <a:gd name="connsiteX6540" fmla="*/ 1233011 w 6400800"/>
                <a:gd name="connsiteY6540" fmla="*/ 276701 h 514350"/>
                <a:gd name="connsiteX6541" fmla="*/ 1232059 w 6400800"/>
                <a:gd name="connsiteY6541" fmla="*/ 280511 h 514350"/>
                <a:gd name="connsiteX6542" fmla="*/ 1230154 w 6400800"/>
                <a:gd name="connsiteY6542" fmla="*/ 221456 h 514350"/>
                <a:gd name="connsiteX6543" fmla="*/ 1233964 w 6400800"/>
                <a:gd name="connsiteY6543" fmla="*/ 233839 h 514350"/>
                <a:gd name="connsiteX6544" fmla="*/ 1233964 w 6400800"/>
                <a:gd name="connsiteY6544" fmla="*/ 233839 h 514350"/>
                <a:gd name="connsiteX6545" fmla="*/ 1233011 w 6400800"/>
                <a:gd name="connsiteY6545" fmla="*/ 230029 h 514350"/>
                <a:gd name="connsiteX6546" fmla="*/ 1230154 w 6400800"/>
                <a:gd name="connsiteY6546" fmla="*/ 221456 h 514350"/>
                <a:gd name="connsiteX6547" fmla="*/ 1230154 w 6400800"/>
                <a:gd name="connsiteY6547" fmla="*/ 221456 h 514350"/>
                <a:gd name="connsiteX6548" fmla="*/ 1229201 w 6400800"/>
                <a:gd name="connsiteY6548" fmla="*/ 257651 h 514350"/>
                <a:gd name="connsiteX6549" fmla="*/ 1229201 w 6400800"/>
                <a:gd name="connsiteY6549" fmla="*/ 257651 h 514350"/>
                <a:gd name="connsiteX6550" fmla="*/ 1230154 w 6400800"/>
                <a:gd name="connsiteY6550" fmla="*/ 259556 h 514350"/>
                <a:gd name="connsiteX6551" fmla="*/ 1230154 w 6400800"/>
                <a:gd name="connsiteY6551" fmla="*/ 262414 h 514350"/>
                <a:gd name="connsiteX6552" fmla="*/ 1232059 w 6400800"/>
                <a:gd name="connsiteY6552" fmla="*/ 274796 h 514350"/>
                <a:gd name="connsiteX6553" fmla="*/ 1232059 w 6400800"/>
                <a:gd name="connsiteY6553" fmla="*/ 274796 h 514350"/>
                <a:gd name="connsiteX6554" fmla="*/ 1229201 w 6400800"/>
                <a:gd name="connsiteY6554" fmla="*/ 272891 h 514350"/>
                <a:gd name="connsiteX6555" fmla="*/ 1225391 w 6400800"/>
                <a:gd name="connsiteY6555" fmla="*/ 269081 h 514350"/>
                <a:gd name="connsiteX6556" fmla="*/ 1225391 w 6400800"/>
                <a:gd name="connsiteY6556" fmla="*/ 265271 h 514350"/>
                <a:gd name="connsiteX6557" fmla="*/ 1229201 w 6400800"/>
                <a:gd name="connsiteY6557" fmla="*/ 257651 h 514350"/>
                <a:gd name="connsiteX6558" fmla="*/ 1226344 w 6400800"/>
                <a:gd name="connsiteY6558" fmla="*/ 235744 h 514350"/>
                <a:gd name="connsiteX6559" fmla="*/ 1228249 w 6400800"/>
                <a:gd name="connsiteY6559" fmla="*/ 244316 h 514350"/>
                <a:gd name="connsiteX6560" fmla="*/ 1227296 w 6400800"/>
                <a:gd name="connsiteY6560" fmla="*/ 246221 h 514350"/>
                <a:gd name="connsiteX6561" fmla="*/ 1225391 w 6400800"/>
                <a:gd name="connsiteY6561" fmla="*/ 244316 h 514350"/>
                <a:gd name="connsiteX6562" fmla="*/ 1225391 w 6400800"/>
                <a:gd name="connsiteY6562" fmla="*/ 231934 h 514350"/>
                <a:gd name="connsiteX6563" fmla="*/ 1226344 w 6400800"/>
                <a:gd name="connsiteY6563" fmla="*/ 235744 h 514350"/>
                <a:gd name="connsiteX6564" fmla="*/ 1197769 w 6400800"/>
                <a:gd name="connsiteY6564" fmla="*/ 293846 h 514350"/>
                <a:gd name="connsiteX6565" fmla="*/ 1198721 w 6400800"/>
                <a:gd name="connsiteY6565" fmla="*/ 290036 h 514350"/>
                <a:gd name="connsiteX6566" fmla="*/ 1198721 w 6400800"/>
                <a:gd name="connsiteY6566" fmla="*/ 291941 h 514350"/>
                <a:gd name="connsiteX6567" fmla="*/ 1199674 w 6400800"/>
                <a:gd name="connsiteY6567" fmla="*/ 299561 h 514350"/>
                <a:gd name="connsiteX6568" fmla="*/ 1196816 w 6400800"/>
                <a:gd name="connsiteY6568" fmla="*/ 307181 h 514350"/>
                <a:gd name="connsiteX6569" fmla="*/ 1194911 w 6400800"/>
                <a:gd name="connsiteY6569" fmla="*/ 299561 h 514350"/>
                <a:gd name="connsiteX6570" fmla="*/ 1197769 w 6400800"/>
                <a:gd name="connsiteY6570" fmla="*/ 293846 h 514350"/>
                <a:gd name="connsiteX6571" fmla="*/ 1196816 w 6400800"/>
                <a:gd name="connsiteY6571" fmla="*/ 459581 h 514350"/>
                <a:gd name="connsiteX6572" fmla="*/ 1196816 w 6400800"/>
                <a:gd name="connsiteY6572" fmla="*/ 459581 h 514350"/>
                <a:gd name="connsiteX6573" fmla="*/ 1195864 w 6400800"/>
                <a:gd name="connsiteY6573" fmla="*/ 455771 h 514350"/>
                <a:gd name="connsiteX6574" fmla="*/ 1196816 w 6400800"/>
                <a:gd name="connsiteY6574" fmla="*/ 459581 h 514350"/>
                <a:gd name="connsiteX6575" fmla="*/ 1190149 w 6400800"/>
                <a:gd name="connsiteY6575" fmla="*/ 324326 h 514350"/>
                <a:gd name="connsiteX6576" fmla="*/ 1190149 w 6400800"/>
                <a:gd name="connsiteY6576" fmla="*/ 324326 h 514350"/>
                <a:gd name="connsiteX6577" fmla="*/ 1189196 w 6400800"/>
                <a:gd name="connsiteY6577" fmla="*/ 320516 h 514350"/>
                <a:gd name="connsiteX6578" fmla="*/ 1190149 w 6400800"/>
                <a:gd name="connsiteY6578" fmla="*/ 324326 h 514350"/>
                <a:gd name="connsiteX6579" fmla="*/ 1170146 w 6400800"/>
                <a:gd name="connsiteY6579" fmla="*/ 270986 h 514350"/>
                <a:gd name="connsiteX6580" fmla="*/ 1170146 w 6400800"/>
                <a:gd name="connsiteY6580" fmla="*/ 268129 h 514350"/>
                <a:gd name="connsiteX6581" fmla="*/ 1170146 w 6400800"/>
                <a:gd name="connsiteY6581" fmla="*/ 264319 h 514350"/>
                <a:gd name="connsiteX6582" fmla="*/ 1172051 w 6400800"/>
                <a:gd name="connsiteY6582" fmla="*/ 235744 h 514350"/>
                <a:gd name="connsiteX6583" fmla="*/ 1174909 w 6400800"/>
                <a:gd name="connsiteY6583" fmla="*/ 245269 h 514350"/>
                <a:gd name="connsiteX6584" fmla="*/ 1176814 w 6400800"/>
                <a:gd name="connsiteY6584" fmla="*/ 260509 h 514350"/>
                <a:gd name="connsiteX6585" fmla="*/ 1177766 w 6400800"/>
                <a:gd name="connsiteY6585" fmla="*/ 285274 h 514350"/>
                <a:gd name="connsiteX6586" fmla="*/ 1177766 w 6400800"/>
                <a:gd name="connsiteY6586" fmla="*/ 308134 h 514350"/>
                <a:gd name="connsiteX6587" fmla="*/ 1176814 w 6400800"/>
                <a:gd name="connsiteY6587" fmla="*/ 305276 h 514350"/>
                <a:gd name="connsiteX6588" fmla="*/ 1168241 w 6400800"/>
                <a:gd name="connsiteY6588" fmla="*/ 287179 h 514350"/>
                <a:gd name="connsiteX6589" fmla="*/ 1170146 w 6400800"/>
                <a:gd name="connsiteY6589" fmla="*/ 270986 h 514350"/>
                <a:gd name="connsiteX6590" fmla="*/ 1170146 w 6400800"/>
                <a:gd name="connsiteY6590" fmla="*/ 309086 h 514350"/>
                <a:gd name="connsiteX6591" fmla="*/ 1173956 w 6400800"/>
                <a:gd name="connsiteY6591" fmla="*/ 321469 h 514350"/>
                <a:gd name="connsiteX6592" fmla="*/ 1172051 w 6400800"/>
                <a:gd name="connsiteY6592" fmla="*/ 327184 h 514350"/>
                <a:gd name="connsiteX6593" fmla="*/ 1170146 w 6400800"/>
                <a:gd name="connsiteY6593" fmla="*/ 322421 h 514350"/>
                <a:gd name="connsiteX6594" fmla="*/ 1170146 w 6400800"/>
                <a:gd name="connsiteY6594" fmla="*/ 318611 h 514350"/>
                <a:gd name="connsiteX6595" fmla="*/ 1168241 w 6400800"/>
                <a:gd name="connsiteY6595" fmla="*/ 303371 h 514350"/>
                <a:gd name="connsiteX6596" fmla="*/ 1170146 w 6400800"/>
                <a:gd name="connsiteY6596" fmla="*/ 309086 h 514350"/>
                <a:gd name="connsiteX6597" fmla="*/ 1164431 w 6400800"/>
                <a:gd name="connsiteY6597" fmla="*/ 236696 h 514350"/>
                <a:gd name="connsiteX6598" fmla="*/ 1161574 w 6400800"/>
                <a:gd name="connsiteY6598" fmla="*/ 253841 h 514350"/>
                <a:gd name="connsiteX6599" fmla="*/ 1161574 w 6400800"/>
                <a:gd name="connsiteY6599" fmla="*/ 251936 h 514350"/>
                <a:gd name="connsiteX6600" fmla="*/ 1161574 w 6400800"/>
                <a:gd name="connsiteY6600" fmla="*/ 250984 h 514350"/>
                <a:gd name="connsiteX6601" fmla="*/ 1164431 w 6400800"/>
                <a:gd name="connsiteY6601" fmla="*/ 236696 h 514350"/>
                <a:gd name="connsiteX6602" fmla="*/ 1140619 w 6400800"/>
                <a:gd name="connsiteY6602" fmla="*/ 290036 h 514350"/>
                <a:gd name="connsiteX6603" fmla="*/ 1139666 w 6400800"/>
                <a:gd name="connsiteY6603" fmla="*/ 291941 h 514350"/>
                <a:gd name="connsiteX6604" fmla="*/ 1137761 w 6400800"/>
                <a:gd name="connsiteY6604" fmla="*/ 283369 h 514350"/>
                <a:gd name="connsiteX6605" fmla="*/ 1140619 w 6400800"/>
                <a:gd name="connsiteY6605" fmla="*/ 290036 h 514350"/>
                <a:gd name="connsiteX6606" fmla="*/ 1114901 w 6400800"/>
                <a:gd name="connsiteY6606" fmla="*/ 339566 h 514350"/>
                <a:gd name="connsiteX6607" fmla="*/ 1117759 w 6400800"/>
                <a:gd name="connsiteY6607" fmla="*/ 315754 h 514350"/>
                <a:gd name="connsiteX6608" fmla="*/ 1119664 w 6400800"/>
                <a:gd name="connsiteY6608" fmla="*/ 325279 h 514350"/>
                <a:gd name="connsiteX6609" fmla="*/ 1121569 w 6400800"/>
                <a:gd name="connsiteY6609" fmla="*/ 334804 h 514350"/>
                <a:gd name="connsiteX6610" fmla="*/ 1120616 w 6400800"/>
                <a:gd name="connsiteY6610" fmla="*/ 341471 h 514350"/>
                <a:gd name="connsiteX6611" fmla="*/ 1120616 w 6400800"/>
                <a:gd name="connsiteY6611" fmla="*/ 342424 h 514350"/>
                <a:gd name="connsiteX6612" fmla="*/ 1118711 w 6400800"/>
                <a:gd name="connsiteY6612" fmla="*/ 348139 h 514350"/>
                <a:gd name="connsiteX6613" fmla="*/ 1114901 w 6400800"/>
                <a:gd name="connsiteY6613" fmla="*/ 341471 h 514350"/>
                <a:gd name="connsiteX6614" fmla="*/ 1114901 w 6400800"/>
                <a:gd name="connsiteY6614" fmla="*/ 339566 h 514350"/>
                <a:gd name="connsiteX6615" fmla="*/ 1111091 w 6400800"/>
                <a:gd name="connsiteY6615" fmla="*/ 219551 h 514350"/>
                <a:gd name="connsiteX6616" fmla="*/ 1112044 w 6400800"/>
                <a:gd name="connsiteY6616" fmla="*/ 222409 h 514350"/>
                <a:gd name="connsiteX6617" fmla="*/ 1112996 w 6400800"/>
                <a:gd name="connsiteY6617" fmla="*/ 230029 h 514350"/>
                <a:gd name="connsiteX6618" fmla="*/ 1112996 w 6400800"/>
                <a:gd name="connsiteY6618" fmla="*/ 230029 h 514350"/>
                <a:gd name="connsiteX6619" fmla="*/ 1111091 w 6400800"/>
                <a:gd name="connsiteY6619" fmla="*/ 219551 h 514350"/>
                <a:gd name="connsiteX6620" fmla="*/ 1111091 w 6400800"/>
                <a:gd name="connsiteY6620" fmla="*/ 219551 h 514350"/>
                <a:gd name="connsiteX6621" fmla="*/ 1110139 w 6400800"/>
                <a:gd name="connsiteY6621" fmla="*/ 217646 h 514350"/>
                <a:gd name="connsiteX6622" fmla="*/ 1110139 w 6400800"/>
                <a:gd name="connsiteY6622" fmla="*/ 217646 h 514350"/>
                <a:gd name="connsiteX6623" fmla="*/ 1109186 w 6400800"/>
                <a:gd name="connsiteY6623" fmla="*/ 215741 h 514350"/>
                <a:gd name="connsiteX6624" fmla="*/ 1110139 w 6400800"/>
                <a:gd name="connsiteY6624" fmla="*/ 217646 h 514350"/>
                <a:gd name="connsiteX6625" fmla="*/ 1101566 w 6400800"/>
                <a:gd name="connsiteY6625" fmla="*/ 236696 h 514350"/>
                <a:gd name="connsiteX6626" fmla="*/ 1111091 w 6400800"/>
                <a:gd name="connsiteY6626" fmla="*/ 278606 h 514350"/>
                <a:gd name="connsiteX6627" fmla="*/ 1109186 w 6400800"/>
                <a:gd name="connsiteY6627" fmla="*/ 293846 h 514350"/>
                <a:gd name="connsiteX6628" fmla="*/ 1106329 w 6400800"/>
                <a:gd name="connsiteY6628" fmla="*/ 309086 h 514350"/>
                <a:gd name="connsiteX6629" fmla="*/ 1106329 w 6400800"/>
                <a:gd name="connsiteY6629" fmla="*/ 308134 h 514350"/>
                <a:gd name="connsiteX6630" fmla="*/ 1105376 w 6400800"/>
                <a:gd name="connsiteY6630" fmla="*/ 295751 h 514350"/>
                <a:gd name="connsiteX6631" fmla="*/ 1105376 w 6400800"/>
                <a:gd name="connsiteY6631" fmla="*/ 300514 h 514350"/>
                <a:gd name="connsiteX6632" fmla="*/ 1099661 w 6400800"/>
                <a:gd name="connsiteY6632" fmla="*/ 272891 h 514350"/>
                <a:gd name="connsiteX6633" fmla="*/ 1094899 w 6400800"/>
                <a:gd name="connsiteY6633" fmla="*/ 249079 h 514350"/>
                <a:gd name="connsiteX6634" fmla="*/ 1101566 w 6400800"/>
                <a:gd name="connsiteY6634" fmla="*/ 236696 h 514350"/>
                <a:gd name="connsiteX6635" fmla="*/ 1027271 w 6400800"/>
                <a:gd name="connsiteY6635" fmla="*/ 325279 h 514350"/>
                <a:gd name="connsiteX6636" fmla="*/ 1030129 w 6400800"/>
                <a:gd name="connsiteY6636" fmla="*/ 310991 h 514350"/>
                <a:gd name="connsiteX6637" fmla="*/ 1034891 w 6400800"/>
                <a:gd name="connsiteY6637" fmla="*/ 297656 h 514350"/>
                <a:gd name="connsiteX6638" fmla="*/ 1039654 w 6400800"/>
                <a:gd name="connsiteY6638" fmla="*/ 288131 h 514350"/>
                <a:gd name="connsiteX6639" fmla="*/ 1042511 w 6400800"/>
                <a:gd name="connsiteY6639" fmla="*/ 299561 h 514350"/>
                <a:gd name="connsiteX6640" fmla="*/ 1039654 w 6400800"/>
                <a:gd name="connsiteY6640" fmla="*/ 305276 h 514350"/>
                <a:gd name="connsiteX6641" fmla="*/ 1028224 w 6400800"/>
                <a:gd name="connsiteY6641" fmla="*/ 330994 h 514350"/>
                <a:gd name="connsiteX6642" fmla="*/ 1027271 w 6400800"/>
                <a:gd name="connsiteY6642" fmla="*/ 325279 h 514350"/>
                <a:gd name="connsiteX6643" fmla="*/ 1040606 w 6400800"/>
                <a:gd name="connsiteY6643" fmla="*/ 374809 h 514350"/>
                <a:gd name="connsiteX6644" fmla="*/ 1039654 w 6400800"/>
                <a:gd name="connsiteY6644" fmla="*/ 370999 h 514350"/>
                <a:gd name="connsiteX6645" fmla="*/ 1045369 w 6400800"/>
                <a:gd name="connsiteY6645" fmla="*/ 355759 h 514350"/>
                <a:gd name="connsiteX6646" fmla="*/ 1047274 w 6400800"/>
                <a:gd name="connsiteY6646" fmla="*/ 364331 h 514350"/>
                <a:gd name="connsiteX6647" fmla="*/ 1048226 w 6400800"/>
                <a:gd name="connsiteY6647" fmla="*/ 386239 h 514350"/>
                <a:gd name="connsiteX6648" fmla="*/ 1044416 w 6400800"/>
                <a:gd name="connsiteY6648" fmla="*/ 384334 h 514350"/>
                <a:gd name="connsiteX6649" fmla="*/ 1040606 w 6400800"/>
                <a:gd name="connsiteY6649" fmla="*/ 374809 h 514350"/>
                <a:gd name="connsiteX6650" fmla="*/ 1046321 w 6400800"/>
                <a:gd name="connsiteY6650" fmla="*/ 389096 h 514350"/>
                <a:gd name="connsiteX6651" fmla="*/ 1048226 w 6400800"/>
                <a:gd name="connsiteY6651" fmla="*/ 391001 h 514350"/>
                <a:gd name="connsiteX6652" fmla="*/ 1048226 w 6400800"/>
                <a:gd name="connsiteY6652" fmla="*/ 392906 h 514350"/>
                <a:gd name="connsiteX6653" fmla="*/ 1046321 w 6400800"/>
                <a:gd name="connsiteY6653" fmla="*/ 389096 h 514350"/>
                <a:gd name="connsiteX6654" fmla="*/ 1056799 w 6400800"/>
                <a:gd name="connsiteY6654" fmla="*/ 292894 h 514350"/>
                <a:gd name="connsiteX6655" fmla="*/ 1061561 w 6400800"/>
                <a:gd name="connsiteY6655" fmla="*/ 282416 h 514350"/>
                <a:gd name="connsiteX6656" fmla="*/ 1066324 w 6400800"/>
                <a:gd name="connsiteY6656" fmla="*/ 271939 h 514350"/>
                <a:gd name="connsiteX6657" fmla="*/ 1066324 w 6400800"/>
                <a:gd name="connsiteY6657" fmla="*/ 273844 h 514350"/>
                <a:gd name="connsiteX6658" fmla="*/ 1067276 w 6400800"/>
                <a:gd name="connsiteY6658" fmla="*/ 278606 h 514350"/>
                <a:gd name="connsiteX6659" fmla="*/ 1063466 w 6400800"/>
                <a:gd name="connsiteY6659" fmla="*/ 285274 h 514350"/>
                <a:gd name="connsiteX6660" fmla="*/ 1057751 w 6400800"/>
                <a:gd name="connsiteY6660" fmla="*/ 295751 h 514350"/>
                <a:gd name="connsiteX6661" fmla="*/ 1056799 w 6400800"/>
                <a:gd name="connsiteY6661" fmla="*/ 292894 h 514350"/>
                <a:gd name="connsiteX6662" fmla="*/ 1059656 w 6400800"/>
                <a:gd name="connsiteY6662" fmla="*/ 360521 h 514350"/>
                <a:gd name="connsiteX6663" fmla="*/ 1059656 w 6400800"/>
                <a:gd name="connsiteY6663" fmla="*/ 360521 h 514350"/>
                <a:gd name="connsiteX6664" fmla="*/ 1059656 w 6400800"/>
                <a:gd name="connsiteY6664" fmla="*/ 360521 h 514350"/>
                <a:gd name="connsiteX6665" fmla="*/ 1059656 w 6400800"/>
                <a:gd name="connsiteY6665" fmla="*/ 360521 h 514350"/>
                <a:gd name="connsiteX6666" fmla="*/ 1064419 w 6400800"/>
                <a:gd name="connsiteY6666" fmla="*/ 383381 h 514350"/>
                <a:gd name="connsiteX6667" fmla="*/ 1062514 w 6400800"/>
                <a:gd name="connsiteY6667" fmla="*/ 379571 h 514350"/>
                <a:gd name="connsiteX6668" fmla="*/ 1063466 w 6400800"/>
                <a:gd name="connsiteY6668" fmla="*/ 374809 h 514350"/>
                <a:gd name="connsiteX6669" fmla="*/ 1064419 w 6400800"/>
                <a:gd name="connsiteY6669" fmla="*/ 378619 h 514350"/>
                <a:gd name="connsiteX6670" fmla="*/ 1064419 w 6400800"/>
                <a:gd name="connsiteY6670" fmla="*/ 380524 h 514350"/>
                <a:gd name="connsiteX6671" fmla="*/ 1065371 w 6400800"/>
                <a:gd name="connsiteY6671" fmla="*/ 386239 h 514350"/>
                <a:gd name="connsiteX6672" fmla="*/ 1064419 w 6400800"/>
                <a:gd name="connsiteY6672" fmla="*/ 383381 h 514350"/>
                <a:gd name="connsiteX6673" fmla="*/ 1069181 w 6400800"/>
                <a:gd name="connsiteY6673" fmla="*/ 330994 h 514350"/>
                <a:gd name="connsiteX6674" fmla="*/ 1063466 w 6400800"/>
                <a:gd name="connsiteY6674" fmla="*/ 312896 h 514350"/>
                <a:gd name="connsiteX6675" fmla="*/ 1069181 w 6400800"/>
                <a:gd name="connsiteY6675" fmla="*/ 300514 h 514350"/>
                <a:gd name="connsiteX6676" fmla="*/ 1070134 w 6400800"/>
                <a:gd name="connsiteY6676" fmla="*/ 326231 h 514350"/>
                <a:gd name="connsiteX6677" fmla="*/ 1069181 w 6400800"/>
                <a:gd name="connsiteY6677" fmla="*/ 330994 h 514350"/>
                <a:gd name="connsiteX6678" fmla="*/ 1077754 w 6400800"/>
                <a:gd name="connsiteY6678" fmla="*/ 262414 h 514350"/>
                <a:gd name="connsiteX6679" fmla="*/ 1075849 w 6400800"/>
                <a:gd name="connsiteY6679" fmla="*/ 264319 h 514350"/>
                <a:gd name="connsiteX6680" fmla="*/ 1073944 w 6400800"/>
                <a:gd name="connsiteY6680" fmla="*/ 256699 h 514350"/>
                <a:gd name="connsiteX6681" fmla="*/ 1074896 w 6400800"/>
                <a:gd name="connsiteY6681" fmla="*/ 256699 h 514350"/>
                <a:gd name="connsiteX6682" fmla="*/ 1075849 w 6400800"/>
                <a:gd name="connsiteY6682" fmla="*/ 256699 h 514350"/>
                <a:gd name="connsiteX6683" fmla="*/ 1077754 w 6400800"/>
                <a:gd name="connsiteY6683" fmla="*/ 262414 h 514350"/>
                <a:gd name="connsiteX6684" fmla="*/ 1045369 w 6400800"/>
                <a:gd name="connsiteY6684" fmla="*/ 175736 h 514350"/>
                <a:gd name="connsiteX6685" fmla="*/ 1054894 w 6400800"/>
                <a:gd name="connsiteY6685" fmla="*/ 153829 h 514350"/>
                <a:gd name="connsiteX6686" fmla="*/ 1055846 w 6400800"/>
                <a:gd name="connsiteY6686" fmla="*/ 155734 h 514350"/>
                <a:gd name="connsiteX6687" fmla="*/ 1059656 w 6400800"/>
                <a:gd name="connsiteY6687" fmla="*/ 171926 h 514350"/>
                <a:gd name="connsiteX6688" fmla="*/ 1064419 w 6400800"/>
                <a:gd name="connsiteY6688" fmla="*/ 193834 h 514350"/>
                <a:gd name="connsiteX6689" fmla="*/ 1069181 w 6400800"/>
                <a:gd name="connsiteY6689" fmla="*/ 215741 h 514350"/>
                <a:gd name="connsiteX6690" fmla="*/ 1076801 w 6400800"/>
                <a:gd name="connsiteY6690" fmla="*/ 253841 h 514350"/>
                <a:gd name="connsiteX6691" fmla="*/ 1074896 w 6400800"/>
                <a:gd name="connsiteY6691" fmla="*/ 252889 h 514350"/>
                <a:gd name="connsiteX6692" fmla="*/ 1067276 w 6400800"/>
                <a:gd name="connsiteY6692" fmla="*/ 216694 h 514350"/>
                <a:gd name="connsiteX6693" fmla="*/ 1068229 w 6400800"/>
                <a:gd name="connsiteY6693" fmla="*/ 257651 h 514350"/>
                <a:gd name="connsiteX6694" fmla="*/ 1067276 w 6400800"/>
                <a:gd name="connsiteY6694" fmla="*/ 259556 h 514350"/>
                <a:gd name="connsiteX6695" fmla="*/ 1065371 w 6400800"/>
                <a:gd name="connsiteY6695" fmla="*/ 252889 h 514350"/>
                <a:gd name="connsiteX6696" fmla="*/ 1066324 w 6400800"/>
                <a:gd name="connsiteY6696" fmla="*/ 261461 h 514350"/>
                <a:gd name="connsiteX6697" fmla="*/ 1055846 w 6400800"/>
                <a:gd name="connsiteY6697" fmla="*/ 278606 h 514350"/>
                <a:gd name="connsiteX6698" fmla="*/ 1054894 w 6400800"/>
                <a:gd name="connsiteY6698" fmla="*/ 280511 h 514350"/>
                <a:gd name="connsiteX6699" fmla="*/ 1053941 w 6400800"/>
                <a:gd name="connsiteY6699" fmla="*/ 277654 h 514350"/>
                <a:gd name="connsiteX6700" fmla="*/ 1043464 w 6400800"/>
                <a:gd name="connsiteY6700" fmla="*/ 245269 h 514350"/>
                <a:gd name="connsiteX6701" fmla="*/ 1035844 w 6400800"/>
                <a:gd name="connsiteY6701" fmla="*/ 220504 h 514350"/>
                <a:gd name="connsiteX6702" fmla="*/ 1032034 w 6400800"/>
                <a:gd name="connsiteY6702" fmla="*/ 209074 h 514350"/>
                <a:gd name="connsiteX6703" fmla="*/ 1045369 w 6400800"/>
                <a:gd name="connsiteY6703" fmla="*/ 175736 h 514350"/>
                <a:gd name="connsiteX6704" fmla="*/ 1019651 w 6400800"/>
                <a:gd name="connsiteY6704" fmla="*/ 267176 h 514350"/>
                <a:gd name="connsiteX6705" fmla="*/ 1023461 w 6400800"/>
                <a:gd name="connsiteY6705" fmla="*/ 221456 h 514350"/>
                <a:gd name="connsiteX6706" fmla="*/ 1024414 w 6400800"/>
                <a:gd name="connsiteY6706" fmla="*/ 218599 h 514350"/>
                <a:gd name="connsiteX6707" fmla="*/ 1032034 w 6400800"/>
                <a:gd name="connsiteY6707" fmla="*/ 253841 h 514350"/>
                <a:gd name="connsiteX6708" fmla="*/ 1038701 w 6400800"/>
                <a:gd name="connsiteY6708" fmla="*/ 283369 h 514350"/>
                <a:gd name="connsiteX6709" fmla="*/ 1037749 w 6400800"/>
                <a:gd name="connsiteY6709" fmla="*/ 284321 h 514350"/>
                <a:gd name="connsiteX6710" fmla="*/ 1031081 w 6400800"/>
                <a:gd name="connsiteY6710" fmla="*/ 294799 h 514350"/>
                <a:gd name="connsiteX6711" fmla="*/ 1025366 w 6400800"/>
                <a:gd name="connsiteY6711" fmla="*/ 306229 h 514350"/>
                <a:gd name="connsiteX6712" fmla="*/ 1023461 w 6400800"/>
                <a:gd name="connsiteY6712" fmla="*/ 284321 h 514350"/>
                <a:gd name="connsiteX6713" fmla="*/ 1022509 w 6400800"/>
                <a:gd name="connsiteY6713" fmla="*/ 269081 h 514350"/>
                <a:gd name="connsiteX6714" fmla="*/ 1019651 w 6400800"/>
                <a:gd name="connsiteY6714" fmla="*/ 284321 h 514350"/>
                <a:gd name="connsiteX6715" fmla="*/ 1015841 w 6400800"/>
                <a:gd name="connsiteY6715" fmla="*/ 314801 h 514350"/>
                <a:gd name="connsiteX6716" fmla="*/ 1015841 w 6400800"/>
                <a:gd name="connsiteY6716" fmla="*/ 315754 h 514350"/>
                <a:gd name="connsiteX6717" fmla="*/ 1015841 w 6400800"/>
                <a:gd name="connsiteY6717" fmla="*/ 315754 h 514350"/>
                <a:gd name="connsiteX6718" fmla="*/ 1022509 w 6400800"/>
                <a:gd name="connsiteY6718" fmla="*/ 251936 h 514350"/>
                <a:gd name="connsiteX6719" fmla="*/ 1019651 w 6400800"/>
                <a:gd name="connsiteY6719" fmla="*/ 267176 h 514350"/>
                <a:gd name="connsiteX6720" fmla="*/ 1011079 w 6400800"/>
                <a:gd name="connsiteY6720" fmla="*/ 364331 h 514350"/>
                <a:gd name="connsiteX6721" fmla="*/ 1012031 w 6400800"/>
                <a:gd name="connsiteY6721" fmla="*/ 355759 h 514350"/>
                <a:gd name="connsiteX6722" fmla="*/ 1013936 w 6400800"/>
                <a:gd name="connsiteY6722" fmla="*/ 342424 h 514350"/>
                <a:gd name="connsiteX6723" fmla="*/ 1013936 w 6400800"/>
                <a:gd name="connsiteY6723" fmla="*/ 342424 h 514350"/>
                <a:gd name="connsiteX6724" fmla="*/ 1012031 w 6400800"/>
                <a:gd name="connsiteY6724" fmla="*/ 364331 h 514350"/>
                <a:gd name="connsiteX6725" fmla="*/ 1011079 w 6400800"/>
                <a:gd name="connsiteY6725" fmla="*/ 366236 h 514350"/>
                <a:gd name="connsiteX6726" fmla="*/ 1011079 w 6400800"/>
                <a:gd name="connsiteY6726" fmla="*/ 366236 h 514350"/>
                <a:gd name="connsiteX6727" fmla="*/ 1011079 w 6400800"/>
                <a:gd name="connsiteY6727" fmla="*/ 364331 h 514350"/>
                <a:gd name="connsiteX6728" fmla="*/ 1004411 w 6400800"/>
                <a:gd name="connsiteY6728" fmla="*/ 257651 h 514350"/>
                <a:gd name="connsiteX6729" fmla="*/ 1001554 w 6400800"/>
                <a:gd name="connsiteY6729" fmla="*/ 281464 h 514350"/>
                <a:gd name="connsiteX6730" fmla="*/ 996791 w 6400800"/>
                <a:gd name="connsiteY6730" fmla="*/ 271939 h 514350"/>
                <a:gd name="connsiteX6731" fmla="*/ 1004411 w 6400800"/>
                <a:gd name="connsiteY6731" fmla="*/ 257651 h 514350"/>
                <a:gd name="connsiteX6732" fmla="*/ 991076 w 6400800"/>
                <a:gd name="connsiteY6732" fmla="*/ 283369 h 514350"/>
                <a:gd name="connsiteX6733" fmla="*/ 995839 w 6400800"/>
                <a:gd name="connsiteY6733" fmla="*/ 273844 h 514350"/>
                <a:gd name="connsiteX6734" fmla="*/ 999649 w 6400800"/>
                <a:gd name="connsiteY6734" fmla="*/ 291941 h 514350"/>
                <a:gd name="connsiteX6735" fmla="*/ 995839 w 6400800"/>
                <a:gd name="connsiteY6735" fmla="*/ 326231 h 514350"/>
                <a:gd name="connsiteX6736" fmla="*/ 993934 w 6400800"/>
                <a:gd name="connsiteY6736" fmla="*/ 330994 h 514350"/>
                <a:gd name="connsiteX6737" fmla="*/ 992981 w 6400800"/>
                <a:gd name="connsiteY6737" fmla="*/ 320516 h 514350"/>
                <a:gd name="connsiteX6738" fmla="*/ 991076 w 6400800"/>
                <a:gd name="connsiteY6738" fmla="*/ 338614 h 514350"/>
                <a:gd name="connsiteX6739" fmla="*/ 990124 w 6400800"/>
                <a:gd name="connsiteY6739" fmla="*/ 341471 h 514350"/>
                <a:gd name="connsiteX6740" fmla="*/ 981551 w 6400800"/>
                <a:gd name="connsiteY6740" fmla="*/ 365284 h 514350"/>
                <a:gd name="connsiteX6741" fmla="*/ 980599 w 6400800"/>
                <a:gd name="connsiteY6741" fmla="*/ 363379 h 514350"/>
                <a:gd name="connsiteX6742" fmla="*/ 977741 w 6400800"/>
                <a:gd name="connsiteY6742" fmla="*/ 331946 h 514350"/>
                <a:gd name="connsiteX6743" fmla="*/ 975836 w 6400800"/>
                <a:gd name="connsiteY6743" fmla="*/ 311944 h 514350"/>
                <a:gd name="connsiteX6744" fmla="*/ 991076 w 6400800"/>
                <a:gd name="connsiteY6744" fmla="*/ 283369 h 514350"/>
                <a:gd name="connsiteX6745" fmla="*/ 960596 w 6400800"/>
                <a:gd name="connsiteY6745" fmla="*/ 298609 h 514350"/>
                <a:gd name="connsiteX6746" fmla="*/ 968216 w 6400800"/>
                <a:gd name="connsiteY6746" fmla="*/ 280511 h 514350"/>
                <a:gd name="connsiteX6747" fmla="*/ 967264 w 6400800"/>
                <a:gd name="connsiteY6747" fmla="*/ 294799 h 514350"/>
                <a:gd name="connsiteX6748" fmla="*/ 961549 w 6400800"/>
                <a:gd name="connsiteY6748" fmla="*/ 304324 h 514350"/>
                <a:gd name="connsiteX6749" fmla="*/ 961549 w 6400800"/>
                <a:gd name="connsiteY6749" fmla="*/ 303371 h 514350"/>
                <a:gd name="connsiteX6750" fmla="*/ 960596 w 6400800"/>
                <a:gd name="connsiteY6750" fmla="*/ 301466 h 514350"/>
                <a:gd name="connsiteX6751" fmla="*/ 960596 w 6400800"/>
                <a:gd name="connsiteY6751" fmla="*/ 298609 h 514350"/>
                <a:gd name="connsiteX6752" fmla="*/ 939641 w 6400800"/>
                <a:gd name="connsiteY6752" fmla="*/ 258604 h 514350"/>
                <a:gd name="connsiteX6753" fmla="*/ 939641 w 6400800"/>
                <a:gd name="connsiteY6753" fmla="*/ 258604 h 514350"/>
                <a:gd name="connsiteX6754" fmla="*/ 943451 w 6400800"/>
                <a:gd name="connsiteY6754" fmla="*/ 246221 h 514350"/>
                <a:gd name="connsiteX6755" fmla="*/ 943451 w 6400800"/>
                <a:gd name="connsiteY6755" fmla="*/ 251936 h 514350"/>
                <a:gd name="connsiteX6756" fmla="*/ 939641 w 6400800"/>
                <a:gd name="connsiteY6756" fmla="*/ 258604 h 514350"/>
                <a:gd name="connsiteX6757" fmla="*/ 939641 w 6400800"/>
                <a:gd name="connsiteY6757" fmla="*/ 258604 h 514350"/>
                <a:gd name="connsiteX6758" fmla="*/ 944404 w 6400800"/>
                <a:gd name="connsiteY6758" fmla="*/ 280511 h 514350"/>
                <a:gd name="connsiteX6759" fmla="*/ 943451 w 6400800"/>
                <a:gd name="connsiteY6759" fmla="*/ 273844 h 514350"/>
                <a:gd name="connsiteX6760" fmla="*/ 944404 w 6400800"/>
                <a:gd name="connsiteY6760" fmla="*/ 270986 h 514350"/>
                <a:gd name="connsiteX6761" fmla="*/ 944404 w 6400800"/>
                <a:gd name="connsiteY6761" fmla="*/ 271939 h 514350"/>
                <a:gd name="connsiteX6762" fmla="*/ 944404 w 6400800"/>
                <a:gd name="connsiteY6762" fmla="*/ 275749 h 514350"/>
                <a:gd name="connsiteX6763" fmla="*/ 944404 w 6400800"/>
                <a:gd name="connsiteY6763" fmla="*/ 280511 h 514350"/>
                <a:gd name="connsiteX6764" fmla="*/ 944404 w 6400800"/>
                <a:gd name="connsiteY6764" fmla="*/ 270986 h 514350"/>
                <a:gd name="connsiteX6765" fmla="*/ 944404 w 6400800"/>
                <a:gd name="connsiteY6765" fmla="*/ 270986 h 514350"/>
                <a:gd name="connsiteX6766" fmla="*/ 944404 w 6400800"/>
                <a:gd name="connsiteY6766" fmla="*/ 270986 h 514350"/>
                <a:gd name="connsiteX6767" fmla="*/ 944404 w 6400800"/>
                <a:gd name="connsiteY6767" fmla="*/ 270986 h 514350"/>
                <a:gd name="connsiteX6768" fmla="*/ 933926 w 6400800"/>
                <a:gd name="connsiteY6768" fmla="*/ 227171 h 514350"/>
                <a:gd name="connsiteX6769" fmla="*/ 958691 w 6400800"/>
                <a:gd name="connsiteY6769" fmla="*/ 138589 h 514350"/>
                <a:gd name="connsiteX6770" fmla="*/ 958691 w 6400800"/>
                <a:gd name="connsiteY6770" fmla="*/ 146209 h 514350"/>
                <a:gd name="connsiteX6771" fmla="*/ 953929 w 6400800"/>
                <a:gd name="connsiteY6771" fmla="*/ 203359 h 514350"/>
                <a:gd name="connsiteX6772" fmla="*/ 950119 w 6400800"/>
                <a:gd name="connsiteY6772" fmla="*/ 242411 h 514350"/>
                <a:gd name="connsiteX6773" fmla="*/ 948214 w 6400800"/>
                <a:gd name="connsiteY6773" fmla="*/ 246221 h 514350"/>
                <a:gd name="connsiteX6774" fmla="*/ 947261 w 6400800"/>
                <a:gd name="connsiteY6774" fmla="*/ 240506 h 514350"/>
                <a:gd name="connsiteX6775" fmla="*/ 949166 w 6400800"/>
                <a:gd name="connsiteY6775" fmla="*/ 233839 h 514350"/>
                <a:gd name="connsiteX6776" fmla="*/ 946309 w 6400800"/>
                <a:gd name="connsiteY6776" fmla="*/ 238601 h 514350"/>
                <a:gd name="connsiteX6777" fmla="*/ 944404 w 6400800"/>
                <a:gd name="connsiteY6777" fmla="*/ 230029 h 514350"/>
                <a:gd name="connsiteX6778" fmla="*/ 944404 w 6400800"/>
                <a:gd name="connsiteY6778" fmla="*/ 241459 h 514350"/>
                <a:gd name="connsiteX6779" fmla="*/ 939641 w 6400800"/>
                <a:gd name="connsiteY6779" fmla="*/ 251936 h 514350"/>
                <a:gd name="connsiteX6780" fmla="*/ 938689 w 6400800"/>
                <a:gd name="connsiteY6780" fmla="*/ 248126 h 514350"/>
                <a:gd name="connsiteX6781" fmla="*/ 936784 w 6400800"/>
                <a:gd name="connsiteY6781" fmla="*/ 241459 h 514350"/>
                <a:gd name="connsiteX6782" fmla="*/ 943451 w 6400800"/>
                <a:gd name="connsiteY6782" fmla="*/ 217646 h 514350"/>
                <a:gd name="connsiteX6783" fmla="*/ 934879 w 6400800"/>
                <a:gd name="connsiteY6783" fmla="*/ 235744 h 514350"/>
                <a:gd name="connsiteX6784" fmla="*/ 932974 w 6400800"/>
                <a:gd name="connsiteY6784" fmla="*/ 230029 h 514350"/>
                <a:gd name="connsiteX6785" fmla="*/ 933926 w 6400800"/>
                <a:gd name="connsiteY6785" fmla="*/ 227171 h 514350"/>
                <a:gd name="connsiteX6786" fmla="*/ 921544 w 6400800"/>
                <a:gd name="connsiteY6786" fmla="*/ 452914 h 514350"/>
                <a:gd name="connsiteX6787" fmla="*/ 920591 w 6400800"/>
                <a:gd name="connsiteY6787" fmla="*/ 451961 h 514350"/>
                <a:gd name="connsiteX6788" fmla="*/ 919639 w 6400800"/>
                <a:gd name="connsiteY6788" fmla="*/ 438626 h 514350"/>
                <a:gd name="connsiteX6789" fmla="*/ 921544 w 6400800"/>
                <a:gd name="connsiteY6789" fmla="*/ 452914 h 514350"/>
                <a:gd name="connsiteX6790" fmla="*/ 912019 w 6400800"/>
                <a:gd name="connsiteY6790" fmla="*/ 210979 h 514350"/>
                <a:gd name="connsiteX6791" fmla="*/ 915829 w 6400800"/>
                <a:gd name="connsiteY6791" fmla="*/ 227171 h 514350"/>
                <a:gd name="connsiteX6792" fmla="*/ 914876 w 6400800"/>
                <a:gd name="connsiteY6792" fmla="*/ 230029 h 514350"/>
                <a:gd name="connsiteX6793" fmla="*/ 912971 w 6400800"/>
                <a:gd name="connsiteY6793" fmla="*/ 236696 h 514350"/>
                <a:gd name="connsiteX6794" fmla="*/ 912019 w 6400800"/>
                <a:gd name="connsiteY6794" fmla="*/ 232886 h 514350"/>
                <a:gd name="connsiteX6795" fmla="*/ 912019 w 6400800"/>
                <a:gd name="connsiteY6795" fmla="*/ 228124 h 514350"/>
                <a:gd name="connsiteX6796" fmla="*/ 911066 w 6400800"/>
                <a:gd name="connsiteY6796" fmla="*/ 210979 h 514350"/>
                <a:gd name="connsiteX6797" fmla="*/ 911066 w 6400800"/>
                <a:gd name="connsiteY6797" fmla="*/ 204311 h 514350"/>
                <a:gd name="connsiteX6798" fmla="*/ 912019 w 6400800"/>
                <a:gd name="connsiteY6798" fmla="*/ 210979 h 514350"/>
                <a:gd name="connsiteX6799" fmla="*/ 833914 w 6400800"/>
                <a:gd name="connsiteY6799" fmla="*/ 333851 h 514350"/>
                <a:gd name="connsiteX6800" fmla="*/ 834866 w 6400800"/>
                <a:gd name="connsiteY6800" fmla="*/ 331946 h 514350"/>
                <a:gd name="connsiteX6801" fmla="*/ 834866 w 6400800"/>
                <a:gd name="connsiteY6801" fmla="*/ 337661 h 514350"/>
                <a:gd name="connsiteX6802" fmla="*/ 833914 w 6400800"/>
                <a:gd name="connsiteY6802" fmla="*/ 333851 h 514350"/>
                <a:gd name="connsiteX6803" fmla="*/ 847249 w 6400800"/>
                <a:gd name="connsiteY6803" fmla="*/ 304324 h 514350"/>
                <a:gd name="connsiteX6804" fmla="*/ 846296 w 6400800"/>
                <a:gd name="connsiteY6804" fmla="*/ 301466 h 514350"/>
                <a:gd name="connsiteX6805" fmla="*/ 846296 w 6400800"/>
                <a:gd name="connsiteY6805" fmla="*/ 299561 h 514350"/>
                <a:gd name="connsiteX6806" fmla="*/ 851059 w 6400800"/>
                <a:gd name="connsiteY6806" fmla="*/ 286226 h 514350"/>
                <a:gd name="connsiteX6807" fmla="*/ 847249 w 6400800"/>
                <a:gd name="connsiteY6807" fmla="*/ 304324 h 514350"/>
                <a:gd name="connsiteX6808" fmla="*/ 880586 w 6400800"/>
                <a:gd name="connsiteY6808" fmla="*/ 300514 h 514350"/>
                <a:gd name="connsiteX6809" fmla="*/ 876776 w 6400800"/>
                <a:gd name="connsiteY6809" fmla="*/ 319564 h 514350"/>
                <a:gd name="connsiteX6810" fmla="*/ 872966 w 6400800"/>
                <a:gd name="connsiteY6810" fmla="*/ 343376 h 514350"/>
                <a:gd name="connsiteX6811" fmla="*/ 869156 w 6400800"/>
                <a:gd name="connsiteY6811" fmla="*/ 350996 h 514350"/>
                <a:gd name="connsiteX6812" fmla="*/ 868204 w 6400800"/>
                <a:gd name="connsiteY6812" fmla="*/ 349091 h 514350"/>
                <a:gd name="connsiteX6813" fmla="*/ 867251 w 6400800"/>
                <a:gd name="connsiteY6813" fmla="*/ 348139 h 514350"/>
                <a:gd name="connsiteX6814" fmla="*/ 867251 w 6400800"/>
                <a:gd name="connsiteY6814" fmla="*/ 335756 h 514350"/>
                <a:gd name="connsiteX6815" fmla="*/ 866299 w 6400800"/>
                <a:gd name="connsiteY6815" fmla="*/ 301466 h 514350"/>
                <a:gd name="connsiteX6816" fmla="*/ 863441 w 6400800"/>
                <a:gd name="connsiteY6816" fmla="*/ 272891 h 514350"/>
                <a:gd name="connsiteX6817" fmla="*/ 861536 w 6400800"/>
                <a:gd name="connsiteY6817" fmla="*/ 257651 h 514350"/>
                <a:gd name="connsiteX6818" fmla="*/ 862489 w 6400800"/>
                <a:gd name="connsiteY6818" fmla="*/ 255746 h 514350"/>
                <a:gd name="connsiteX6819" fmla="*/ 862489 w 6400800"/>
                <a:gd name="connsiteY6819" fmla="*/ 255746 h 514350"/>
                <a:gd name="connsiteX6820" fmla="*/ 876776 w 6400800"/>
                <a:gd name="connsiteY6820" fmla="*/ 286226 h 514350"/>
                <a:gd name="connsiteX6821" fmla="*/ 881539 w 6400800"/>
                <a:gd name="connsiteY6821" fmla="*/ 296704 h 514350"/>
                <a:gd name="connsiteX6822" fmla="*/ 880586 w 6400800"/>
                <a:gd name="connsiteY6822" fmla="*/ 300514 h 514350"/>
                <a:gd name="connsiteX6823" fmla="*/ 885349 w 6400800"/>
                <a:gd name="connsiteY6823" fmla="*/ 318611 h 514350"/>
                <a:gd name="connsiteX6824" fmla="*/ 884396 w 6400800"/>
                <a:gd name="connsiteY6824" fmla="*/ 319564 h 514350"/>
                <a:gd name="connsiteX6825" fmla="*/ 883444 w 6400800"/>
                <a:gd name="connsiteY6825" fmla="*/ 320516 h 514350"/>
                <a:gd name="connsiteX6826" fmla="*/ 884396 w 6400800"/>
                <a:gd name="connsiteY6826" fmla="*/ 303371 h 514350"/>
                <a:gd name="connsiteX6827" fmla="*/ 887254 w 6400800"/>
                <a:gd name="connsiteY6827" fmla="*/ 310039 h 514350"/>
                <a:gd name="connsiteX6828" fmla="*/ 885349 w 6400800"/>
                <a:gd name="connsiteY6828" fmla="*/ 318611 h 514350"/>
                <a:gd name="connsiteX6829" fmla="*/ 900589 w 6400800"/>
                <a:gd name="connsiteY6829" fmla="*/ 246221 h 514350"/>
                <a:gd name="connsiteX6830" fmla="*/ 900589 w 6400800"/>
                <a:gd name="connsiteY6830" fmla="*/ 246221 h 514350"/>
                <a:gd name="connsiteX6831" fmla="*/ 898684 w 6400800"/>
                <a:gd name="connsiteY6831" fmla="*/ 234791 h 514350"/>
                <a:gd name="connsiteX6832" fmla="*/ 897731 w 6400800"/>
                <a:gd name="connsiteY6832" fmla="*/ 252889 h 514350"/>
                <a:gd name="connsiteX6833" fmla="*/ 897731 w 6400800"/>
                <a:gd name="connsiteY6833" fmla="*/ 253841 h 514350"/>
                <a:gd name="connsiteX6834" fmla="*/ 894874 w 6400800"/>
                <a:gd name="connsiteY6834" fmla="*/ 250031 h 514350"/>
                <a:gd name="connsiteX6835" fmla="*/ 897731 w 6400800"/>
                <a:gd name="connsiteY6835" fmla="*/ 254794 h 514350"/>
                <a:gd name="connsiteX6836" fmla="*/ 897731 w 6400800"/>
                <a:gd name="connsiteY6836" fmla="*/ 257651 h 514350"/>
                <a:gd name="connsiteX6837" fmla="*/ 896779 w 6400800"/>
                <a:gd name="connsiteY6837" fmla="*/ 264319 h 514350"/>
                <a:gd name="connsiteX6838" fmla="*/ 896779 w 6400800"/>
                <a:gd name="connsiteY6838" fmla="*/ 264319 h 514350"/>
                <a:gd name="connsiteX6839" fmla="*/ 896779 w 6400800"/>
                <a:gd name="connsiteY6839" fmla="*/ 264319 h 514350"/>
                <a:gd name="connsiteX6840" fmla="*/ 896779 w 6400800"/>
                <a:gd name="connsiteY6840" fmla="*/ 265271 h 514350"/>
                <a:gd name="connsiteX6841" fmla="*/ 896779 w 6400800"/>
                <a:gd name="connsiteY6841" fmla="*/ 270986 h 514350"/>
                <a:gd name="connsiteX6842" fmla="*/ 896779 w 6400800"/>
                <a:gd name="connsiteY6842" fmla="*/ 272891 h 514350"/>
                <a:gd name="connsiteX6843" fmla="*/ 895826 w 6400800"/>
                <a:gd name="connsiteY6843" fmla="*/ 285274 h 514350"/>
                <a:gd name="connsiteX6844" fmla="*/ 895826 w 6400800"/>
                <a:gd name="connsiteY6844" fmla="*/ 287179 h 514350"/>
                <a:gd name="connsiteX6845" fmla="*/ 891064 w 6400800"/>
                <a:gd name="connsiteY6845" fmla="*/ 279559 h 514350"/>
                <a:gd name="connsiteX6846" fmla="*/ 873919 w 6400800"/>
                <a:gd name="connsiteY6846" fmla="*/ 250984 h 514350"/>
                <a:gd name="connsiteX6847" fmla="*/ 869156 w 6400800"/>
                <a:gd name="connsiteY6847" fmla="*/ 243364 h 514350"/>
                <a:gd name="connsiteX6848" fmla="*/ 869156 w 6400800"/>
                <a:gd name="connsiteY6848" fmla="*/ 242411 h 514350"/>
                <a:gd name="connsiteX6849" fmla="*/ 878681 w 6400800"/>
                <a:gd name="connsiteY6849" fmla="*/ 215741 h 514350"/>
                <a:gd name="connsiteX6850" fmla="*/ 887254 w 6400800"/>
                <a:gd name="connsiteY6850" fmla="*/ 200501 h 514350"/>
                <a:gd name="connsiteX6851" fmla="*/ 895826 w 6400800"/>
                <a:gd name="connsiteY6851" fmla="*/ 223361 h 514350"/>
                <a:gd name="connsiteX6852" fmla="*/ 901541 w 6400800"/>
                <a:gd name="connsiteY6852" fmla="*/ 240506 h 514350"/>
                <a:gd name="connsiteX6853" fmla="*/ 900589 w 6400800"/>
                <a:gd name="connsiteY6853" fmla="*/ 246221 h 514350"/>
                <a:gd name="connsiteX6854" fmla="*/ 891064 w 6400800"/>
                <a:gd name="connsiteY6854" fmla="*/ 190976 h 514350"/>
                <a:gd name="connsiteX6855" fmla="*/ 892969 w 6400800"/>
                <a:gd name="connsiteY6855" fmla="*/ 187166 h 514350"/>
                <a:gd name="connsiteX6856" fmla="*/ 896779 w 6400800"/>
                <a:gd name="connsiteY6856" fmla="*/ 202406 h 514350"/>
                <a:gd name="connsiteX6857" fmla="*/ 891064 w 6400800"/>
                <a:gd name="connsiteY6857" fmla="*/ 190976 h 514350"/>
                <a:gd name="connsiteX6858" fmla="*/ 904399 w 6400800"/>
                <a:gd name="connsiteY6858" fmla="*/ 181451 h 514350"/>
                <a:gd name="connsiteX6859" fmla="*/ 904399 w 6400800"/>
                <a:gd name="connsiteY6859" fmla="*/ 183356 h 514350"/>
                <a:gd name="connsiteX6860" fmla="*/ 903446 w 6400800"/>
                <a:gd name="connsiteY6860" fmla="*/ 210979 h 514350"/>
                <a:gd name="connsiteX6861" fmla="*/ 903446 w 6400800"/>
                <a:gd name="connsiteY6861" fmla="*/ 210026 h 514350"/>
                <a:gd name="connsiteX6862" fmla="*/ 894874 w 6400800"/>
                <a:gd name="connsiteY6862" fmla="*/ 188119 h 514350"/>
                <a:gd name="connsiteX6863" fmla="*/ 903446 w 6400800"/>
                <a:gd name="connsiteY6863" fmla="*/ 173831 h 514350"/>
                <a:gd name="connsiteX6864" fmla="*/ 904399 w 6400800"/>
                <a:gd name="connsiteY6864" fmla="*/ 181451 h 514350"/>
                <a:gd name="connsiteX6865" fmla="*/ 888206 w 6400800"/>
                <a:gd name="connsiteY6865" fmla="*/ 137636 h 514350"/>
                <a:gd name="connsiteX6866" fmla="*/ 890111 w 6400800"/>
                <a:gd name="connsiteY6866" fmla="*/ 132874 h 514350"/>
                <a:gd name="connsiteX6867" fmla="*/ 898684 w 6400800"/>
                <a:gd name="connsiteY6867" fmla="*/ 161449 h 514350"/>
                <a:gd name="connsiteX6868" fmla="*/ 893921 w 6400800"/>
                <a:gd name="connsiteY6868" fmla="*/ 168116 h 514350"/>
                <a:gd name="connsiteX6869" fmla="*/ 885349 w 6400800"/>
                <a:gd name="connsiteY6869" fmla="*/ 180499 h 514350"/>
                <a:gd name="connsiteX6870" fmla="*/ 874871 w 6400800"/>
                <a:gd name="connsiteY6870" fmla="*/ 163354 h 514350"/>
                <a:gd name="connsiteX6871" fmla="*/ 888206 w 6400800"/>
                <a:gd name="connsiteY6871" fmla="*/ 137636 h 514350"/>
                <a:gd name="connsiteX6872" fmla="*/ 872966 w 6400800"/>
                <a:gd name="connsiteY6872" fmla="*/ 169069 h 514350"/>
                <a:gd name="connsiteX6873" fmla="*/ 881539 w 6400800"/>
                <a:gd name="connsiteY6873" fmla="*/ 188119 h 514350"/>
                <a:gd name="connsiteX6874" fmla="*/ 878681 w 6400800"/>
                <a:gd name="connsiteY6874" fmla="*/ 191929 h 514350"/>
                <a:gd name="connsiteX6875" fmla="*/ 856774 w 6400800"/>
                <a:gd name="connsiteY6875" fmla="*/ 226219 h 514350"/>
                <a:gd name="connsiteX6876" fmla="*/ 851059 w 6400800"/>
                <a:gd name="connsiteY6876" fmla="*/ 217646 h 514350"/>
                <a:gd name="connsiteX6877" fmla="*/ 872966 w 6400800"/>
                <a:gd name="connsiteY6877" fmla="*/ 169069 h 514350"/>
                <a:gd name="connsiteX6878" fmla="*/ 847249 w 6400800"/>
                <a:gd name="connsiteY6878" fmla="*/ 225266 h 514350"/>
                <a:gd name="connsiteX6879" fmla="*/ 848201 w 6400800"/>
                <a:gd name="connsiteY6879" fmla="*/ 223361 h 514350"/>
                <a:gd name="connsiteX6880" fmla="*/ 852011 w 6400800"/>
                <a:gd name="connsiteY6880" fmla="*/ 232886 h 514350"/>
                <a:gd name="connsiteX6881" fmla="*/ 845344 w 6400800"/>
                <a:gd name="connsiteY6881" fmla="*/ 243364 h 514350"/>
                <a:gd name="connsiteX6882" fmla="*/ 837724 w 6400800"/>
                <a:gd name="connsiteY6882" fmla="*/ 256699 h 514350"/>
                <a:gd name="connsiteX6883" fmla="*/ 836771 w 6400800"/>
                <a:gd name="connsiteY6883" fmla="*/ 250984 h 514350"/>
                <a:gd name="connsiteX6884" fmla="*/ 847249 w 6400800"/>
                <a:gd name="connsiteY6884" fmla="*/ 225266 h 514350"/>
                <a:gd name="connsiteX6885" fmla="*/ 835819 w 6400800"/>
                <a:gd name="connsiteY6885" fmla="*/ 195739 h 514350"/>
                <a:gd name="connsiteX6886" fmla="*/ 835819 w 6400800"/>
                <a:gd name="connsiteY6886" fmla="*/ 195739 h 514350"/>
                <a:gd name="connsiteX6887" fmla="*/ 840581 w 6400800"/>
                <a:gd name="connsiteY6887" fmla="*/ 206216 h 514350"/>
                <a:gd name="connsiteX6888" fmla="*/ 833914 w 6400800"/>
                <a:gd name="connsiteY6888" fmla="*/ 219551 h 514350"/>
                <a:gd name="connsiteX6889" fmla="*/ 832961 w 6400800"/>
                <a:gd name="connsiteY6889" fmla="*/ 221456 h 514350"/>
                <a:gd name="connsiteX6890" fmla="*/ 835819 w 6400800"/>
                <a:gd name="connsiteY6890" fmla="*/ 195739 h 514350"/>
                <a:gd name="connsiteX6891" fmla="*/ 826294 w 6400800"/>
                <a:gd name="connsiteY6891" fmla="*/ 274796 h 514350"/>
                <a:gd name="connsiteX6892" fmla="*/ 828199 w 6400800"/>
                <a:gd name="connsiteY6892" fmla="*/ 270986 h 514350"/>
                <a:gd name="connsiteX6893" fmla="*/ 828199 w 6400800"/>
                <a:gd name="connsiteY6893" fmla="*/ 272891 h 514350"/>
                <a:gd name="connsiteX6894" fmla="*/ 826294 w 6400800"/>
                <a:gd name="connsiteY6894" fmla="*/ 276701 h 514350"/>
                <a:gd name="connsiteX6895" fmla="*/ 826294 w 6400800"/>
                <a:gd name="connsiteY6895" fmla="*/ 274796 h 514350"/>
                <a:gd name="connsiteX6896" fmla="*/ 812006 w 6400800"/>
                <a:gd name="connsiteY6896" fmla="*/ 448151 h 514350"/>
                <a:gd name="connsiteX6897" fmla="*/ 812006 w 6400800"/>
                <a:gd name="connsiteY6897" fmla="*/ 448151 h 514350"/>
                <a:gd name="connsiteX6898" fmla="*/ 812006 w 6400800"/>
                <a:gd name="connsiteY6898" fmla="*/ 448151 h 514350"/>
                <a:gd name="connsiteX6899" fmla="*/ 812006 w 6400800"/>
                <a:gd name="connsiteY6899" fmla="*/ 448151 h 514350"/>
                <a:gd name="connsiteX6900" fmla="*/ 785336 w 6400800"/>
                <a:gd name="connsiteY6900" fmla="*/ 330041 h 514350"/>
                <a:gd name="connsiteX6901" fmla="*/ 782479 w 6400800"/>
                <a:gd name="connsiteY6901" fmla="*/ 325279 h 514350"/>
                <a:gd name="connsiteX6902" fmla="*/ 782479 w 6400800"/>
                <a:gd name="connsiteY6902" fmla="*/ 315754 h 514350"/>
                <a:gd name="connsiteX6903" fmla="*/ 786289 w 6400800"/>
                <a:gd name="connsiteY6903" fmla="*/ 326231 h 514350"/>
                <a:gd name="connsiteX6904" fmla="*/ 785336 w 6400800"/>
                <a:gd name="connsiteY6904" fmla="*/ 330041 h 514350"/>
                <a:gd name="connsiteX6905" fmla="*/ 797719 w 6400800"/>
                <a:gd name="connsiteY6905" fmla="*/ 271939 h 514350"/>
                <a:gd name="connsiteX6906" fmla="*/ 803434 w 6400800"/>
                <a:gd name="connsiteY6906" fmla="*/ 286226 h 514350"/>
                <a:gd name="connsiteX6907" fmla="*/ 802481 w 6400800"/>
                <a:gd name="connsiteY6907" fmla="*/ 288131 h 514350"/>
                <a:gd name="connsiteX6908" fmla="*/ 792956 w 6400800"/>
                <a:gd name="connsiteY6908" fmla="*/ 310039 h 514350"/>
                <a:gd name="connsiteX6909" fmla="*/ 792956 w 6400800"/>
                <a:gd name="connsiteY6909" fmla="*/ 309086 h 514350"/>
                <a:gd name="connsiteX6910" fmla="*/ 787241 w 6400800"/>
                <a:gd name="connsiteY6910" fmla="*/ 296704 h 514350"/>
                <a:gd name="connsiteX6911" fmla="*/ 795814 w 6400800"/>
                <a:gd name="connsiteY6911" fmla="*/ 266224 h 514350"/>
                <a:gd name="connsiteX6912" fmla="*/ 797719 w 6400800"/>
                <a:gd name="connsiteY6912" fmla="*/ 271939 h 514350"/>
                <a:gd name="connsiteX6913" fmla="*/ 790099 w 6400800"/>
                <a:gd name="connsiteY6913" fmla="*/ 253841 h 514350"/>
                <a:gd name="connsiteX6914" fmla="*/ 793909 w 6400800"/>
                <a:gd name="connsiteY6914" fmla="*/ 261461 h 514350"/>
                <a:gd name="connsiteX6915" fmla="*/ 793909 w 6400800"/>
                <a:gd name="connsiteY6915" fmla="*/ 262414 h 514350"/>
                <a:gd name="connsiteX6916" fmla="*/ 784384 w 6400800"/>
                <a:gd name="connsiteY6916" fmla="*/ 286226 h 514350"/>
                <a:gd name="connsiteX6917" fmla="*/ 785336 w 6400800"/>
                <a:gd name="connsiteY6917" fmla="*/ 273844 h 514350"/>
                <a:gd name="connsiteX6918" fmla="*/ 790099 w 6400800"/>
                <a:gd name="connsiteY6918" fmla="*/ 253841 h 514350"/>
                <a:gd name="connsiteX6919" fmla="*/ 773906 w 6400800"/>
                <a:gd name="connsiteY6919" fmla="*/ 236696 h 514350"/>
                <a:gd name="connsiteX6920" fmla="*/ 776764 w 6400800"/>
                <a:gd name="connsiteY6920" fmla="*/ 213836 h 514350"/>
                <a:gd name="connsiteX6921" fmla="*/ 783431 w 6400800"/>
                <a:gd name="connsiteY6921" fmla="*/ 229076 h 514350"/>
                <a:gd name="connsiteX6922" fmla="*/ 780574 w 6400800"/>
                <a:gd name="connsiteY6922" fmla="*/ 235744 h 514350"/>
                <a:gd name="connsiteX6923" fmla="*/ 777716 w 6400800"/>
                <a:gd name="connsiteY6923" fmla="*/ 231934 h 514350"/>
                <a:gd name="connsiteX6924" fmla="*/ 780574 w 6400800"/>
                <a:gd name="connsiteY6924" fmla="*/ 236696 h 514350"/>
                <a:gd name="connsiteX6925" fmla="*/ 773906 w 6400800"/>
                <a:gd name="connsiteY6925" fmla="*/ 255746 h 514350"/>
                <a:gd name="connsiteX6926" fmla="*/ 773906 w 6400800"/>
                <a:gd name="connsiteY6926" fmla="*/ 236696 h 514350"/>
                <a:gd name="connsiteX6927" fmla="*/ 724376 w 6400800"/>
                <a:gd name="connsiteY6927" fmla="*/ 219551 h 514350"/>
                <a:gd name="connsiteX6928" fmla="*/ 726281 w 6400800"/>
                <a:gd name="connsiteY6928" fmla="*/ 203359 h 514350"/>
                <a:gd name="connsiteX6929" fmla="*/ 726281 w 6400800"/>
                <a:gd name="connsiteY6929" fmla="*/ 229076 h 514350"/>
                <a:gd name="connsiteX6930" fmla="*/ 723424 w 6400800"/>
                <a:gd name="connsiteY6930" fmla="*/ 223361 h 514350"/>
                <a:gd name="connsiteX6931" fmla="*/ 724376 w 6400800"/>
                <a:gd name="connsiteY6931" fmla="*/ 219551 h 514350"/>
                <a:gd name="connsiteX6932" fmla="*/ 723424 w 6400800"/>
                <a:gd name="connsiteY6932" fmla="*/ 224314 h 514350"/>
                <a:gd name="connsiteX6933" fmla="*/ 724376 w 6400800"/>
                <a:gd name="connsiteY6933" fmla="*/ 235744 h 514350"/>
                <a:gd name="connsiteX6934" fmla="*/ 726281 w 6400800"/>
                <a:gd name="connsiteY6934" fmla="*/ 250984 h 514350"/>
                <a:gd name="connsiteX6935" fmla="*/ 726281 w 6400800"/>
                <a:gd name="connsiteY6935" fmla="*/ 251936 h 514350"/>
                <a:gd name="connsiteX6936" fmla="*/ 727234 w 6400800"/>
                <a:gd name="connsiteY6936" fmla="*/ 276701 h 514350"/>
                <a:gd name="connsiteX6937" fmla="*/ 727234 w 6400800"/>
                <a:gd name="connsiteY6937" fmla="*/ 288131 h 514350"/>
                <a:gd name="connsiteX6938" fmla="*/ 725329 w 6400800"/>
                <a:gd name="connsiteY6938" fmla="*/ 284321 h 514350"/>
                <a:gd name="connsiteX6939" fmla="*/ 717709 w 6400800"/>
                <a:gd name="connsiteY6939" fmla="*/ 260509 h 514350"/>
                <a:gd name="connsiteX6940" fmla="*/ 723424 w 6400800"/>
                <a:gd name="connsiteY6940" fmla="*/ 224314 h 514350"/>
                <a:gd name="connsiteX6941" fmla="*/ 710089 w 6400800"/>
                <a:gd name="connsiteY6941" fmla="*/ 308134 h 514350"/>
                <a:gd name="connsiteX6942" fmla="*/ 711041 w 6400800"/>
                <a:gd name="connsiteY6942" fmla="*/ 320516 h 514350"/>
                <a:gd name="connsiteX6943" fmla="*/ 717709 w 6400800"/>
                <a:gd name="connsiteY6943" fmla="*/ 373856 h 514350"/>
                <a:gd name="connsiteX6944" fmla="*/ 711041 w 6400800"/>
                <a:gd name="connsiteY6944" fmla="*/ 389096 h 514350"/>
                <a:gd name="connsiteX6945" fmla="*/ 709136 w 6400800"/>
                <a:gd name="connsiteY6945" fmla="*/ 383381 h 514350"/>
                <a:gd name="connsiteX6946" fmla="*/ 711041 w 6400800"/>
                <a:gd name="connsiteY6946" fmla="*/ 372904 h 514350"/>
                <a:gd name="connsiteX6947" fmla="*/ 713899 w 6400800"/>
                <a:gd name="connsiteY6947" fmla="*/ 352901 h 514350"/>
                <a:gd name="connsiteX6948" fmla="*/ 707231 w 6400800"/>
                <a:gd name="connsiteY6948" fmla="*/ 372904 h 514350"/>
                <a:gd name="connsiteX6949" fmla="*/ 706279 w 6400800"/>
                <a:gd name="connsiteY6949" fmla="*/ 374809 h 514350"/>
                <a:gd name="connsiteX6950" fmla="*/ 701516 w 6400800"/>
                <a:gd name="connsiteY6950" fmla="*/ 357664 h 514350"/>
                <a:gd name="connsiteX6951" fmla="*/ 701516 w 6400800"/>
                <a:gd name="connsiteY6951" fmla="*/ 357664 h 514350"/>
                <a:gd name="connsiteX6952" fmla="*/ 710089 w 6400800"/>
                <a:gd name="connsiteY6952" fmla="*/ 308134 h 514350"/>
                <a:gd name="connsiteX6953" fmla="*/ 676751 w 6400800"/>
                <a:gd name="connsiteY6953" fmla="*/ 253841 h 514350"/>
                <a:gd name="connsiteX6954" fmla="*/ 676751 w 6400800"/>
                <a:gd name="connsiteY6954" fmla="*/ 246221 h 514350"/>
                <a:gd name="connsiteX6955" fmla="*/ 679609 w 6400800"/>
                <a:gd name="connsiteY6955" fmla="*/ 220504 h 514350"/>
                <a:gd name="connsiteX6956" fmla="*/ 682466 w 6400800"/>
                <a:gd name="connsiteY6956" fmla="*/ 181451 h 514350"/>
                <a:gd name="connsiteX6957" fmla="*/ 682466 w 6400800"/>
                <a:gd name="connsiteY6957" fmla="*/ 178594 h 514350"/>
                <a:gd name="connsiteX6958" fmla="*/ 696754 w 6400800"/>
                <a:gd name="connsiteY6958" fmla="*/ 231934 h 514350"/>
                <a:gd name="connsiteX6959" fmla="*/ 705326 w 6400800"/>
                <a:gd name="connsiteY6959" fmla="*/ 267176 h 514350"/>
                <a:gd name="connsiteX6960" fmla="*/ 703421 w 6400800"/>
                <a:gd name="connsiteY6960" fmla="*/ 273844 h 514350"/>
                <a:gd name="connsiteX6961" fmla="*/ 694849 w 6400800"/>
                <a:gd name="connsiteY6961" fmla="*/ 307181 h 514350"/>
                <a:gd name="connsiteX6962" fmla="*/ 692944 w 6400800"/>
                <a:gd name="connsiteY6962" fmla="*/ 313849 h 514350"/>
                <a:gd name="connsiteX6963" fmla="*/ 690086 w 6400800"/>
                <a:gd name="connsiteY6963" fmla="*/ 322421 h 514350"/>
                <a:gd name="connsiteX6964" fmla="*/ 673894 w 6400800"/>
                <a:gd name="connsiteY6964" fmla="*/ 274796 h 514350"/>
                <a:gd name="connsiteX6965" fmla="*/ 676751 w 6400800"/>
                <a:gd name="connsiteY6965" fmla="*/ 253841 h 514350"/>
                <a:gd name="connsiteX6966" fmla="*/ 668179 w 6400800"/>
                <a:gd name="connsiteY6966" fmla="*/ 331946 h 514350"/>
                <a:gd name="connsiteX6967" fmla="*/ 668179 w 6400800"/>
                <a:gd name="connsiteY6967" fmla="*/ 330041 h 514350"/>
                <a:gd name="connsiteX6968" fmla="*/ 669131 w 6400800"/>
                <a:gd name="connsiteY6968" fmla="*/ 334804 h 514350"/>
                <a:gd name="connsiteX6969" fmla="*/ 671989 w 6400800"/>
                <a:gd name="connsiteY6969" fmla="*/ 346234 h 514350"/>
                <a:gd name="connsiteX6970" fmla="*/ 674846 w 6400800"/>
                <a:gd name="connsiteY6970" fmla="*/ 359569 h 514350"/>
                <a:gd name="connsiteX6971" fmla="*/ 676751 w 6400800"/>
                <a:gd name="connsiteY6971" fmla="*/ 370999 h 514350"/>
                <a:gd name="connsiteX6972" fmla="*/ 675799 w 6400800"/>
                <a:gd name="connsiteY6972" fmla="*/ 373856 h 514350"/>
                <a:gd name="connsiteX6973" fmla="*/ 674846 w 6400800"/>
                <a:gd name="connsiteY6973" fmla="*/ 377666 h 514350"/>
                <a:gd name="connsiteX6974" fmla="*/ 670084 w 6400800"/>
                <a:gd name="connsiteY6974" fmla="*/ 368141 h 514350"/>
                <a:gd name="connsiteX6975" fmla="*/ 664369 w 6400800"/>
                <a:gd name="connsiteY6975" fmla="*/ 358616 h 514350"/>
                <a:gd name="connsiteX6976" fmla="*/ 668179 w 6400800"/>
                <a:gd name="connsiteY6976" fmla="*/ 331946 h 514350"/>
                <a:gd name="connsiteX6977" fmla="*/ 656749 w 6400800"/>
                <a:gd name="connsiteY6977" fmla="*/ 266224 h 514350"/>
                <a:gd name="connsiteX6978" fmla="*/ 656749 w 6400800"/>
                <a:gd name="connsiteY6978" fmla="*/ 267176 h 514350"/>
                <a:gd name="connsiteX6979" fmla="*/ 656749 w 6400800"/>
                <a:gd name="connsiteY6979" fmla="*/ 269081 h 514350"/>
                <a:gd name="connsiteX6980" fmla="*/ 656749 w 6400800"/>
                <a:gd name="connsiteY6980" fmla="*/ 266224 h 514350"/>
                <a:gd name="connsiteX6981" fmla="*/ 608171 w 6400800"/>
                <a:gd name="connsiteY6981" fmla="*/ 318611 h 514350"/>
                <a:gd name="connsiteX6982" fmla="*/ 611981 w 6400800"/>
                <a:gd name="connsiteY6982" fmla="*/ 279559 h 514350"/>
                <a:gd name="connsiteX6983" fmla="*/ 613886 w 6400800"/>
                <a:gd name="connsiteY6983" fmla="*/ 288131 h 514350"/>
                <a:gd name="connsiteX6984" fmla="*/ 615791 w 6400800"/>
                <a:gd name="connsiteY6984" fmla="*/ 327184 h 514350"/>
                <a:gd name="connsiteX6985" fmla="*/ 615791 w 6400800"/>
                <a:gd name="connsiteY6985" fmla="*/ 331946 h 514350"/>
                <a:gd name="connsiteX6986" fmla="*/ 615791 w 6400800"/>
                <a:gd name="connsiteY6986" fmla="*/ 337661 h 514350"/>
                <a:gd name="connsiteX6987" fmla="*/ 613886 w 6400800"/>
                <a:gd name="connsiteY6987" fmla="*/ 333851 h 514350"/>
                <a:gd name="connsiteX6988" fmla="*/ 607219 w 6400800"/>
                <a:gd name="connsiteY6988" fmla="*/ 321469 h 514350"/>
                <a:gd name="connsiteX6989" fmla="*/ 608171 w 6400800"/>
                <a:gd name="connsiteY6989" fmla="*/ 318611 h 514350"/>
                <a:gd name="connsiteX6990" fmla="*/ 606266 w 6400800"/>
                <a:gd name="connsiteY6990" fmla="*/ 341471 h 514350"/>
                <a:gd name="connsiteX6991" fmla="*/ 615791 w 6400800"/>
                <a:gd name="connsiteY6991" fmla="*/ 364331 h 514350"/>
                <a:gd name="connsiteX6992" fmla="*/ 615791 w 6400800"/>
                <a:gd name="connsiteY6992" fmla="*/ 365284 h 514350"/>
                <a:gd name="connsiteX6993" fmla="*/ 611029 w 6400800"/>
                <a:gd name="connsiteY6993" fmla="*/ 375761 h 514350"/>
                <a:gd name="connsiteX6994" fmla="*/ 608171 w 6400800"/>
                <a:gd name="connsiteY6994" fmla="*/ 363379 h 514350"/>
                <a:gd name="connsiteX6995" fmla="*/ 605314 w 6400800"/>
                <a:gd name="connsiteY6995" fmla="*/ 350996 h 514350"/>
                <a:gd name="connsiteX6996" fmla="*/ 606266 w 6400800"/>
                <a:gd name="connsiteY6996" fmla="*/ 341471 h 514350"/>
                <a:gd name="connsiteX6997" fmla="*/ 606266 w 6400800"/>
                <a:gd name="connsiteY6997" fmla="*/ 424339 h 514350"/>
                <a:gd name="connsiteX6998" fmla="*/ 609124 w 6400800"/>
                <a:gd name="connsiteY6998" fmla="*/ 433864 h 514350"/>
                <a:gd name="connsiteX6999" fmla="*/ 607219 w 6400800"/>
                <a:gd name="connsiteY6999" fmla="*/ 436721 h 514350"/>
                <a:gd name="connsiteX7000" fmla="*/ 601504 w 6400800"/>
                <a:gd name="connsiteY7000" fmla="*/ 435769 h 514350"/>
                <a:gd name="connsiteX7001" fmla="*/ 606266 w 6400800"/>
                <a:gd name="connsiteY7001" fmla="*/ 424339 h 514350"/>
                <a:gd name="connsiteX7002" fmla="*/ 599599 w 6400800"/>
                <a:gd name="connsiteY7002" fmla="*/ 401479 h 514350"/>
                <a:gd name="connsiteX7003" fmla="*/ 599599 w 6400800"/>
                <a:gd name="connsiteY7003" fmla="*/ 401479 h 514350"/>
                <a:gd name="connsiteX7004" fmla="*/ 599599 w 6400800"/>
                <a:gd name="connsiteY7004" fmla="*/ 403384 h 514350"/>
                <a:gd name="connsiteX7005" fmla="*/ 599599 w 6400800"/>
                <a:gd name="connsiteY7005" fmla="*/ 401479 h 514350"/>
                <a:gd name="connsiteX7006" fmla="*/ 587216 w 6400800"/>
                <a:gd name="connsiteY7006" fmla="*/ 300514 h 514350"/>
                <a:gd name="connsiteX7007" fmla="*/ 591979 w 6400800"/>
                <a:gd name="connsiteY7007" fmla="*/ 310039 h 514350"/>
                <a:gd name="connsiteX7008" fmla="*/ 591026 w 6400800"/>
                <a:gd name="connsiteY7008" fmla="*/ 316706 h 514350"/>
                <a:gd name="connsiteX7009" fmla="*/ 591026 w 6400800"/>
                <a:gd name="connsiteY7009" fmla="*/ 316706 h 514350"/>
                <a:gd name="connsiteX7010" fmla="*/ 590074 w 6400800"/>
                <a:gd name="connsiteY7010" fmla="*/ 319564 h 514350"/>
                <a:gd name="connsiteX7011" fmla="*/ 587216 w 6400800"/>
                <a:gd name="connsiteY7011" fmla="*/ 311944 h 514350"/>
                <a:gd name="connsiteX7012" fmla="*/ 586264 w 6400800"/>
                <a:gd name="connsiteY7012" fmla="*/ 299561 h 514350"/>
                <a:gd name="connsiteX7013" fmla="*/ 587216 w 6400800"/>
                <a:gd name="connsiteY7013" fmla="*/ 300514 h 514350"/>
                <a:gd name="connsiteX7014" fmla="*/ 553879 w 6400800"/>
                <a:gd name="connsiteY7014" fmla="*/ 257651 h 514350"/>
                <a:gd name="connsiteX7015" fmla="*/ 555784 w 6400800"/>
                <a:gd name="connsiteY7015" fmla="*/ 233839 h 514350"/>
                <a:gd name="connsiteX7016" fmla="*/ 558641 w 6400800"/>
                <a:gd name="connsiteY7016" fmla="*/ 249079 h 514350"/>
                <a:gd name="connsiteX7017" fmla="*/ 556736 w 6400800"/>
                <a:gd name="connsiteY7017" fmla="*/ 247174 h 514350"/>
                <a:gd name="connsiteX7018" fmla="*/ 558641 w 6400800"/>
                <a:gd name="connsiteY7018" fmla="*/ 250984 h 514350"/>
                <a:gd name="connsiteX7019" fmla="*/ 570071 w 6400800"/>
                <a:gd name="connsiteY7019" fmla="*/ 297656 h 514350"/>
                <a:gd name="connsiteX7020" fmla="*/ 571976 w 6400800"/>
                <a:gd name="connsiteY7020" fmla="*/ 303371 h 514350"/>
                <a:gd name="connsiteX7021" fmla="*/ 569119 w 6400800"/>
                <a:gd name="connsiteY7021" fmla="*/ 312896 h 514350"/>
                <a:gd name="connsiteX7022" fmla="*/ 564356 w 6400800"/>
                <a:gd name="connsiteY7022" fmla="*/ 295751 h 514350"/>
                <a:gd name="connsiteX7023" fmla="*/ 553879 w 6400800"/>
                <a:gd name="connsiteY7023" fmla="*/ 266224 h 514350"/>
                <a:gd name="connsiteX7024" fmla="*/ 553879 w 6400800"/>
                <a:gd name="connsiteY7024" fmla="*/ 257651 h 514350"/>
                <a:gd name="connsiteX7025" fmla="*/ 551974 w 6400800"/>
                <a:gd name="connsiteY7025" fmla="*/ 295751 h 514350"/>
                <a:gd name="connsiteX7026" fmla="*/ 551974 w 6400800"/>
                <a:gd name="connsiteY7026" fmla="*/ 295751 h 514350"/>
                <a:gd name="connsiteX7027" fmla="*/ 552926 w 6400800"/>
                <a:gd name="connsiteY7027" fmla="*/ 298609 h 514350"/>
                <a:gd name="connsiteX7028" fmla="*/ 556736 w 6400800"/>
                <a:gd name="connsiteY7028" fmla="*/ 317659 h 514350"/>
                <a:gd name="connsiteX7029" fmla="*/ 557689 w 6400800"/>
                <a:gd name="connsiteY7029" fmla="*/ 321469 h 514350"/>
                <a:gd name="connsiteX7030" fmla="*/ 557689 w 6400800"/>
                <a:gd name="connsiteY7030" fmla="*/ 322421 h 514350"/>
                <a:gd name="connsiteX7031" fmla="*/ 557689 w 6400800"/>
                <a:gd name="connsiteY7031" fmla="*/ 326231 h 514350"/>
                <a:gd name="connsiteX7032" fmla="*/ 552926 w 6400800"/>
                <a:gd name="connsiteY7032" fmla="*/ 306229 h 514350"/>
                <a:gd name="connsiteX7033" fmla="*/ 551974 w 6400800"/>
                <a:gd name="connsiteY7033" fmla="*/ 295751 h 514350"/>
                <a:gd name="connsiteX7034" fmla="*/ 529114 w 6400800"/>
                <a:gd name="connsiteY7034" fmla="*/ 290036 h 514350"/>
                <a:gd name="connsiteX7035" fmla="*/ 529114 w 6400800"/>
                <a:gd name="connsiteY7035" fmla="*/ 290036 h 514350"/>
                <a:gd name="connsiteX7036" fmla="*/ 529114 w 6400800"/>
                <a:gd name="connsiteY7036" fmla="*/ 290036 h 514350"/>
                <a:gd name="connsiteX7037" fmla="*/ 529114 w 6400800"/>
                <a:gd name="connsiteY7037" fmla="*/ 290036 h 514350"/>
                <a:gd name="connsiteX7038" fmla="*/ 522446 w 6400800"/>
                <a:gd name="connsiteY7038" fmla="*/ 336709 h 514350"/>
                <a:gd name="connsiteX7039" fmla="*/ 523399 w 6400800"/>
                <a:gd name="connsiteY7039" fmla="*/ 329089 h 514350"/>
                <a:gd name="connsiteX7040" fmla="*/ 526256 w 6400800"/>
                <a:gd name="connsiteY7040" fmla="*/ 336709 h 514350"/>
                <a:gd name="connsiteX7041" fmla="*/ 531019 w 6400800"/>
                <a:gd name="connsiteY7041" fmla="*/ 350996 h 514350"/>
                <a:gd name="connsiteX7042" fmla="*/ 531971 w 6400800"/>
                <a:gd name="connsiteY7042" fmla="*/ 374809 h 514350"/>
                <a:gd name="connsiteX7043" fmla="*/ 533876 w 6400800"/>
                <a:gd name="connsiteY7043" fmla="*/ 403384 h 514350"/>
                <a:gd name="connsiteX7044" fmla="*/ 528161 w 6400800"/>
                <a:gd name="connsiteY7044" fmla="*/ 394811 h 514350"/>
                <a:gd name="connsiteX7045" fmla="*/ 532924 w 6400800"/>
                <a:gd name="connsiteY7045" fmla="*/ 410051 h 514350"/>
                <a:gd name="connsiteX7046" fmla="*/ 534829 w 6400800"/>
                <a:gd name="connsiteY7046" fmla="*/ 417671 h 514350"/>
                <a:gd name="connsiteX7047" fmla="*/ 535781 w 6400800"/>
                <a:gd name="connsiteY7047" fmla="*/ 430054 h 514350"/>
                <a:gd name="connsiteX7048" fmla="*/ 523399 w 6400800"/>
                <a:gd name="connsiteY7048" fmla="*/ 428149 h 514350"/>
                <a:gd name="connsiteX7049" fmla="*/ 522446 w 6400800"/>
                <a:gd name="connsiteY7049" fmla="*/ 427196 h 514350"/>
                <a:gd name="connsiteX7050" fmla="*/ 522446 w 6400800"/>
                <a:gd name="connsiteY7050" fmla="*/ 423386 h 514350"/>
                <a:gd name="connsiteX7051" fmla="*/ 527209 w 6400800"/>
                <a:gd name="connsiteY7051" fmla="*/ 410051 h 514350"/>
                <a:gd name="connsiteX7052" fmla="*/ 522446 w 6400800"/>
                <a:gd name="connsiteY7052" fmla="*/ 418624 h 514350"/>
                <a:gd name="connsiteX7053" fmla="*/ 521494 w 6400800"/>
                <a:gd name="connsiteY7053" fmla="*/ 405289 h 514350"/>
                <a:gd name="connsiteX7054" fmla="*/ 517684 w 6400800"/>
                <a:gd name="connsiteY7054" fmla="*/ 369094 h 514350"/>
                <a:gd name="connsiteX7055" fmla="*/ 522446 w 6400800"/>
                <a:gd name="connsiteY7055" fmla="*/ 336709 h 514350"/>
                <a:gd name="connsiteX7056" fmla="*/ 512921 w 6400800"/>
                <a:gd name="connsiteY7056" fmla="*/ 271939 h 514350"/>
                <a:gd name="connsiteX7057" fmla="*/ 509111 w 6400800"/>
                <a:gd name="connsiteY7057" fmla="*/ 287179 h 514350"/>
                <a:gd name="connsiteX7058" fmla="*/ 509111 w 6400800"/>
                <a:gd name="connsiteY7058" fmla="*/ 288131 h 514350"/>
                <a:gd name="connsiteX7059" fmla="*/ 507206 w 6400800"/>
                <a:gd name="connsiteY7059" fmla="*/ 275749 h 514350"/>
                <a:gd name="connsiteX7060" fmla="*/ 508159 w 6400800"/>
                <a:gd name="connsiteY7060" fmla="*/ 262414 h 514350"/>
                <a:gd name="connsiteX7061" fmla="*/ 509111 w 6400800"/>
                <a:gd name="connsiteY7061" fmla="*/ 262414 h 514350"/>
                <a:gd name="connsiteX7062" fmla="*/ 512921 w 6400800"/>
                <a:gd name="connsiteY7062" fmla="*/ 271939 h 514350"/>
                <a:gd name="connsiteX7063" fmla="*/ 497681 w 6400800"/>
                <a:gd name="connsiteY7063" fmla="*/ 207169 h 514350"/>
                <a:gd name="connsiteX7064" fmla="*/ 506254 w 6400800"/>
                <a:gd name="connsiteY7064" fmla="*/ 245269 h 514350"/>
                <a:gd name="connsiteX7065" fmla="*/ 509111 w 6400800"/>
                <a:gd name="connsiteY7065" fmla="*/ 256699 h 514350"/>
                <a:gd name="connsiteX7066" fmla="*/ 506254 w 6400800"/>
                <a:gd name="connsiteY7066" fmla="*/ 256699 h 514350"/>
                <a:gd name="connsiteX7067" fmla="*/ 505301 w 6400800"/>
                <a:gd name="connsiteY7067" fmla="*/ 256699 h 514350"/>
                <a:gd name="connsiteX7068" fmla="*/ 505301 w 6400800"/>
                <a:gd name="connsiteY7068" fmla="*/ 256699 h 514350"/>
                <a:gd name="connsiteX7069" fmla="*/ 497681 w 6400800"/>
                <a:gd name="connsiteY7069" fmla="*/ 207169 h 514350"/>
                <a:gd name="connsiteX7070" fmla="*/ 497681 w 6400800"/>
                <a:gd name="connsiteY7070" fmla="*/ 207169 h 514350"/>
                <a:gd name="connsiteX7071" fmla="*/ 487204 w 6400800"/>
                <a:gd name="connsiteY7071" fmla="*/ 419576 h 514350"/>
                <a:gd name="connsiteX7072" fmla="*/ 486251 w 6400800"/>
                <a:gd name="connsiteY7072" fmla="*/ 422434 h 514350"/>
                <a:gd name="connsiteX7073" fmla="*/ 483394 w 6400800"/>
                <a:gd name="connsiteY7073" fmla="*/ 422434 h 514350"/>
                <a:gd name="connsiteX7074" fmla="*/ 483394 w 6400800"/>
                <a:gd name="connsiteY7074" fmla="*/ 418624 h 514350"/>
                <a:gd name="connsiteX7075" fmla="*/ 481489 w 6400800"/>
                <a:gd name="connsiteY7075" fmla="*/ 401479 h 514350"/>
                <a:gd name="connsiteX7076" fmla="*/ 487204 w 6400800"/>
                <a:gd name="connsiteY7076" fmla="*/ 419576 h 514350"/>
                <a:gd name="connsiteX7077" fmla="*/ 437674 w 6400800"/>
                <a:gd name="connsiteY7077" fmla="*/ 390049 h 514350"/>
                <a:gd name="connsiteX7078" fmla="*/ 437674 w 6400800"/>
                <a:gd name="connsiteY7078" fmla="*/ 390049 h 514350"/>
                <a:gd name="connsiteX7079" fmla="*/ 437674 w 6400800"/>
                <a:gd name="connsiteY7079" fmla="*/ 388144 h 514350"/>
                <a:gd name="connsiteX7080" fmla="*/ 437674 w 6400800"/>
                <a:gd name="connsiteY7080" fmla="*/ 388144 h 514350"/>
                <a:gd name="connsiteX7081" fmla="*/ 437674 w 6400800"/>
                <a:gd name="connsiteY7081" fmla="*/ 390049 h 514350"/>
                <a:gd name="connsiteX7082" fmla="*/ 437674 w 6400800"/>
                <a:gd name="connsiteY7082" fmla="*/ 390049 h 514350"/>
                <a:gd name="connsiteX7083" fmla="*/ 448151 w 6400800"/>
                <a:gd name="connsiteY7083" fmla="*/ 362426 h 514350"/>
                <a:gd name="connsiteX7084" fmla="*/ 446246 w 6400800"/>
                <a:gd name="connsiteY7084" fmla="*/ 356711 h 514350"/>
                <a:gd name="connsiteX7085" fmla="*/ 449104 w 6400800"/>
                <a:gd name="connsiteY7085" fmla="*/ 347186 h 514350"/>
                <a:gd name="connsiteX7086" fmla="*/ 448151 w 6400800"/>
                <a:gd name="connsiteY7086" fmla="*/ 362426 h 514350"/>
                <a:gd name="connsiteX7087" fmla="*/ 436721 w 6400800"/>
                <a:gd name="connsiteY7087" fmla="*/ 227171 h 514350"/>
                <a:gd name="connsiteX7088" fmla="*/ 440531 w 6400800"/>
                <a:gd name="connsiteY7088" fmla="*/ 246221 h 514350"/>
                <a:gd name="connsiteX7089" fmla="*/ 434816 w 6400800"/>
                <a:gd name="connsiteY7089" fmla="*/ 234791 h 514350"/>
                <a:gd name="connsiteX7090" fmla="*/ 436721 w 6400800"/>
                <a:gd name="connsiteY7090" fmla="*/ 227171 h 514350"/>
                <a:gd name="connsiteX7091" fmla="*/ 428149 w 6400800"/>
                <a:gd name="connsiteY7091" fmla="*/ 280511 h 514350"/>
                <a:gd name="connsiteX7092" fmla="*/ 431959 w 6400800"/>
                <a:gd name="connsiteY7092" fmla="*/ 253841 h 514350"/>
                <a:gd name="connsiteX7093" fmla="*/ 432911 w 6400800"/>
                <a:gd name="connsiteY7093" fmla="*/ 258604 h 514350"/>
                <a:gd name="connsiteX7094" fmla="*/ 438626 w 6400800"/>
                <a:gd name="connsiteY7094" fmla="*/ 284321 h 514350"/>
                <a:gd name="connsiteX7095" fmla="*/ 439579 w 6400800"/>
                <a:gd name="connsiteY7095" fmla="*/ 290036 h 514350"/>
                <a:gd name="connsiteX7096" fmla="*/ 432911 w 6400800"/>
                <a:gd name="connsiteY7096" fmla="*/ 281464 h 514350"/>
                <a:gd name="connsiteX7097" fmla="*/ 439579 w 6400800"/>
                <a:gd name="connsiteY7097" fmla="*/ 295751 h 514350"/>
                <a:gd name="connsiteX7098" fmla="*/ 441484 w 6400800"/>
                <a:gd name="connsiteY7098" fmla="*/ 299561 h 514350"/>
                <a:gd name="connsiteX7099" fmla="*/ 443389 w 6400800"/>
                <a:gd name="connsiteY7099" fmla="*/ 312896 h 514350"/>
                <a:gd name="connsiteX7100" fmla="*/ 446246 w 6400800"/>
                <a:gd name="connsiteY7100" fmla="*/ 328136 h 514350"/>
                <a:gd name="connsiteX7101" fmla="*/ 447199 w 6400800"/>
                <a:gd name="connsiteY7101" fmla="*/ 335756 h 514350"/>
                <a:gd name="connsiteX7102" fmla="*/ 445294 w 6400800"/>
                <a:gd name="connsiteY7102" fmla="*/ 341471 h 514350"/>
                <a:gd name="connsiteX7103" fmla="*/ 442436 w 6400800"/>
                <a:gd name="connsiteY7103" fmla="*/ 349091 h 514350"/>
                <a:gd name="connsiteX7104" fmla="*/ 434816 w 6400800"/>
                <a:gd name="connsiteY7104" fmla="*/ 331946 h 514350"/>
                <a:gd name="connsiteX7105" fmla="*/ 434816 w 6400800"/>
                <a:gd name="connsiteY7105" fmla="*/ 317659 h 514350"/>
                <a:gd name="connsiteX7106" fmla="*/ 432911 w 6400800"/>
                <a:gd name="connsiteY7106" fmla="*/ 328136 h 514350"/>
                <a:gd name="connsiteX7107" fmla="*/ 423386 w 6400800"/>
                <a:gd name="connsiteY7107" fmla="*/ 303371 h 514350"/>
                <a:gd name="connsiteX7108" fmla="*/ 428149 w 6400800"/>
                <a:gd name="connsiteY7108" fmla="*/ 280511 h 514350"/>
                <a:gd name="connsiteX7109" fmla="*/ 418624 w 6400800"/>
                <a:gd name="connsiteY7109" fmla="*/ 345281 h 514350"/>
                <a:gd name="connsiteX7110" fmla="*/ 422434 w 6400800"/>
                <a:gd name="connsiteY7110" fmla="*/ 322421 h 514350"/>
                <a:gd name="connsiteX7111" fmla="*/ 427196 w 6400800"/>
                <a:gd name="connsiteY7111" fmla="*/ 339566 h 514350"/>
                <a:gd name="connsiteX7112" fmla="*/ 430054 w 6400800"/>
                <a:gd name="connsiteY7112" fmla="*/ 350996 h 514350"/>
                <a:gd name="connsiteX7113" fmla="*/ 428149 w 6400800"/>
                <a:gd name="connsiteY7113" fmla="*/ 362426 h 514350"/>
                <a:gd name="connsiteX7114" fmla="*/ 426244 w 6400800"/>
                <a:gd name="connsiteY7114" fmla="*/ 356711 h 514350"/>
                <a:gd name="connsiteX7115" fmla="*/ 420529 w 6400800"/>
                <a:gd name="connsiteY7115" fmla="*/ 344329 h 514350"/>
                <a:gd name="connsiteX7116" fmla="*/ 422434 w 6400800"/>
                <a:gd name="connsiteY7116" fmla="*/ 357664 h 514350"/>
                <a:gd name="connsiteX7117" fmla="*/ 424339 w 6400800"/>
                <a:gd name="connsiteY7117" fmla="*/ 372904 h 514350"/>
                <a:gd name="connsiteX7118" fmla="*/ 425291 w 6400800"/>
                <a:gd name="connsiteY7118" fmla="*/ 377666 h 514350"/>
                <a:gd name="connsiteX7119" fmla="*/ 424339 w 6400800"/>
                <a:gd name="connsiteY7119" fmla="*/ 375761 h 514350"/>
                <a:gd name="connsiteX7120" fmla="*/ 424339 w 6400800"/>
                <a:gd name="connsiteY7120" fmla="*/ 374809 h 514350"/>
                <a:gd name="connsiteX7121" fmla="*/ 418624 w 6400800"/>
                <a:gd name="connsiteY7121" fmla="*/ 351949 h 514350"/>
                <a:gd name="connsiteX7122" fmla="*/ 418624 w 6400800"/>
                <a:gd name="connsiteY7122" fmla="*/ 345281 h 514350"/>
                <a:gd name="connsiteX7123" fmla="*/ 406241 w 6400800"/>
                <a:gd name="connsiteY7123" fmla="*/ 261461 h 514350"/>
                <a:gd name="connsiteX7124" fmla="*/ 411956 w 6400800"/>
                <a:gd name="connsiteY7124" fmla="*/ 285274 h 514350"/>
                <a:gd name="connsiteX7125" fmla="*/ 407194 w 6400800"/>
                <a:gd name="connsiteY7125" fmla="*/ 310039 h 514350"/>
                <a:gd name="connsiteX7126" fmla="*/ 405289 w 6400800"/>
                <a:gd name="connsiteY7126" fmla="*/ 302419 h 514350"/>
                <a:gd name="connsiteX7127" fmla="*/ 406241 w 6400800"/>
                <a:gd name="connsiteY7127" fmla="*/ 261461 h 514350"/>
                <a:gd name="connsiteX7128" fmla="*/ 382429 w 6400800"/>
                <a:gd name="connsiteY7128" fmla="*/ 290036 h 514350"/>
                <a:gd name="connsiteX7129" fmla="*/ 381476 w 6400800"/>
                <a:gd name="connsiteY7129" fmla="*/ 293846 h 514350"/>
                <a:gd name="connsiteX7130" fmla="*/ 381476 w 6400800"/>
                <a:gd name="connsiteY7130" fmla="*/ 285274 h 514350"/>
                <a:gd name="connsiteX7131" fmla="*/ 382429 w 6400800"/>
                <a:gd name="connsiteY7131" fmla="*/ 290036 h 514350"/>
                <a:gd name="connsiteX7132" fmla="*/ 361474 w 6400800"/>
                <a:gd name="connsiteY7132" fmla="*/ 394811 h 514350"/>
                <a:gd name="connsiteX7133" fmla="*/ 361474 w 6400800"/>
                <a:gd name="connsiteY7133" fmla="*/ 404336 h 514350"/>
                <a:gd name="connsiteX7134" fmla="*/ 361474 w 6400800"/>
                <a:gd name="connsiteY7134" fmla="*/ 407194 h 514350"/>
                <a:gd name="connsiteX7135" fmla="*/ 354806 w 6400800"/>
                <a:gd name="connsiteY7135" fmla="*/ 383381 h 514350"/>
                <a:gd name="connsiteX7136" fmla="*/ 354806 w 6400800"/>
                <a:gd name="connsiteY7136" fmla="*/ 382429 h 514350"/>
                <a:gd name="connsiteX7137" fmla="*/ 352901 w 6400800"/>
                <a:gd name="connsiteY7137" fmla="*/ 373856 h 514350"/>
                <a:gd name="connsiteX7138" fmla="*/ 361474 w 6400800"/>
                <a:gd name="connsiteY7138" fmla="*/ 394811 h 514350"/>
                <a:gd name="connsiteX7139" fmla="*/ 347186 w 6400800"/>
                <a:gd name="connsiteY7139" fmla="*/ 307181 h 514350"/>
                <a:gd name="connsiteX7140" fmla="*/ 349091 w 6400800"/>
                <a:gd name="connsiteY7140" fmla="*/ 311944 h 514350"/>
                <a:gd name="connsiteX7141" fmla="*/ 347186 w 6400800"/>
                <a:gd name="connsiteY7141" fmla="*/ 309086 h 514350"/>
                <a:gd name="connsiteX7142" fmla="*/ 347186 w 6400800"/>
                <a:gd name="connsiteY7142" fmla="*/ 307181 h 514350"/>
                <a:gd name="connsiteX7143" fmla="*/ 347186 w 6400800"/>
                <a:gd name="connsiteY7143" fmla="*/ 429101 h 514350"/>
                <a:gd name="connsiteX7144" fmla="*/ 348139 w 6400800"/>
                <a:gd name="connsiteY7144" fmla="*/ 432911 h 514350"/>
                <a:gd name="connsiteX7145" fmla="*/ 346234 w 6400800"/>
                <a:gd name="connsiteY7145" fmla="*/ 432911 h 514350"/>
                <a:gd name="connsiteX7146" fmla="*/ 347186 w 6400800"/>
                <a:gd name="connsiteY7146" fmla="*/ 429101 h 514350"/>
                <a:gd name="connsiteX7147" fmla="*/ 310991 w 6400800"/>
                <a:gd name="connsiteY7147" fmla="*/ 439579 h 514350"/>
                <a:gd name="connsiteX7148" fmla="*/ 311944 w 6400800"/>
                <a:gd name="connsiteY7148" fmla="*/ 424339 h 514350"/>
                <a:gd name="connsiteX7149" fmla="*/ 317659 w 6400800"/>
                <a:gd name="connsiteY7149" fmla="*/ 438626 h 514350"/>
                <a:gd name="connsiteX7150" fmla="*/ 310991 w 6400800"/>
                <a:gd name="connsiteY7150" fmla="*/ 439579 h 514350"/>
                <a:gd name="connsiteX7151" fmla="*/ 302419 w 6400800"/>
                <a:gd name="connsiteY7151" fmla="*/ 230981 h 514350"/>
                <a:gd name="connsiteX7152" fmla="*/ 304324 w 6400800"/>
                <a:gd name="connsiteY7152" fmla="*/ 237649 h 514350"/>
                <a:gd name="connsiteX7153" fmla="*/ 307181 w 6400800"/>
                <a:gd name="connsiteY7153" fmla="*/ 252889 h 514350"/>
                <a:gd name="connsiteX7154" fmla="*/ 300514 w 6400800"/>
                <a:gd name="connsiteY7154" fmla="*/ 244316 h 514350"/>
                <a:gd name="connsiteX7155" fmla="*/ 302419 w 6400800"/>
                <a:gd name="connsiteY7155" fmla="*/ 230981 h 514350"/>
                <a:gd name="connsiteX7156" fmla="*/ 295751 w 6400800"/>
                <a:gd name="connsiteY7156" fmla="*/ 269081 h 514350"/>
                <a:gd name="connsiteX7157" fmla="*/ 297656 w 6400800"/>
                <a:gd name="connsiteY7157" fmla="*/ 262414 h 514350"/>
                <a:gd name="connsiteX7158" fmla="*/ 295751 w 6400800"/>
                <a:gd name="connsiteY7158" fmla="*/ 265271 h 514350"/>
                <a:gd name="connsiteX7159" fmla="*/ 297656 w 6400800"/>
                <a:gd name="connsiteY7159" fmla="*/ 251936 h 514350"/>
                <a:gd name="connsiteX7160" fmla="*/ 299561 w 6400800"/>
                <a:gd name="connsiteY7160" fmla="*/ 243364 h 514350"/>
                <a:gd name="connsiteX7161" fmla="*/ 301466 w 6400800"/>
                <a:gd name="connsiteY7161" fmla="*/ 247174 h 514350"/>
                <a:gd name="connsiteX7162" fmla="*/ 310039 w 6400800"/>
                <a:gd name="connsiteY7162" fmla="*/ 270986 h 514350"/>
                <a:gd name="connsiteX7163" fmla="*/ 319564 w 6400800"/>
                <a:gd name="connsiteY7163" fmla="*/ 312896 h 514350"/>
                <a:gd name="connsiteX7164" fmla="*/ 330041 w 6400800"/>
                <a:gd name="connsiteY7164" fmla="*/ 358616 h 514350"/>
                <a:gd name="connsiteX7165" fmla="*/ 330041 w 6400800"/>
                <a:gd name="connsiteY7165" fmla="*/ 362426 h 514350"/>
                <a:gd name="connsiteX7166" fmla="*/ 327184 w 6400800"/>
                <a:gd name="connsiteY7166" fmla="*/ 404336 h 514350"/>
                <a:gd name="connsiteX7167" fmla="*/ 327184 w 6400800"/>
                <a:gd name="connsiteY7167" fmla="*/ 404336 h 514350"/>
                <a:gd name="connsiteX7168" fmla="*/ 321469 w 6400800"/>
                <a:gd name="connsiteY7168" fmla="*/ 392906 h 514350"/>
                <a:gd name="connsiteX7169" fmla="*/ 310991 w 6400800"/>
                <a:gd name="connsiteY7169" fmla="*/ 362426 h 514350"/>
                <a:gd name="connsiteX7170" fmla="*/ 296704 w 6400800"/>
                <a:gd name="connsiteY7170" fmla="*/ 318611 h 514350"/>
                <a:gd name="connsiteX7171" fmla="*/ 291941 w 6400800"/>
                <a:gd name="connsiteY7171" fmla="*/ 302419 h 514350"/>
                <a:gd name="connsiteX7172" fmla="*/ 295751 w 6400800"/>
                <a:gd name="connsiteY7172" fmla="*/ 269081 h 514350"/>
                <a:gd name="connsiteX7173" fmla="*/ 283369 w 6400800"/>
                <a:gd name="connsiteY7173" fmla="*/ 378619 h 514350"/>
                <a:gd name="connsiteX7174" fmla="*/ 284321 w 6400800"/>
                <a:gd name="connsiteY7174" fmla="*/ 365284 h 514350"/>
                <a:gd name="connsiteX7175" fmla="*/ 285274 w 6400800"/>
                <a:gd name="connsiteY7175" fmla="*/ 363379 h 514350"/>
                <a:gd name="connsiteX7176" fmla="*/ 295751 w 6400800"/>
                <a:gd name="connsiteY7176" fmla="*/ 387191 h 514350"/>
                <a:gd name="connsiteX7177" fmla="*/ 302419 w 6400800"/>
                <a:gd name="connsiteY7177" fmla="*/ 400526 h 514350"/>
                <a:gd name="connsiteX7178" fmla="*/ 303371 w 6400800"/>
                <a:gd name="connsiteY7178" fmla="*/ 404336 h 514350"/>
                <a:gd name="connsiteX7179" fmla="*/ 301466 w 6400800"/>
                <a:gd name="connsiteY7179" fmla="*/ 412909 h 514350"/>
                <a:gd name="connsiteX7180" fmla="*/ 295751 w 6400800"/>
                <a:gd name="connsiteY7180" fmla="*/ 442436 h 514350"/>
                <a:gd name="connsiteX7181" fmla="*/ 283369 w 6400800"/>
                <a:gd name="connsiteY7181" fmla="*/ 444341 h 514350"/>
                <a:gd name="connsiteX7182" fmla="*/ 281464 w 6400800"/>
                <a:gd name="connsiteY7182" fmla="*/ 435769 h 514350"/>
                <a:gd name="connsiteX7183" fmla="*/ 281464 w 6400800"/>
                <a:gd name="connsiteY7183" fmla="*/ 407194 h 514350"/>
                <a:gd name="connsiteX7184" fmla="*/ 283369 w 6400800"/>
                <a:gd name="connsiteY7184" fmla="*/ 378619 h 514350"/>
                <a:gd name="connsiteX7185" fmla="*/ 237649 w 6400800"/>
                <a:gd name="connsiteY7185" fmla="*/ 415766 h 514350"/>
                <a:gd name="connsiteX7186" fmla="*/ 228124 w 6400800"/>
                <a:gd name="connsiteY7186" fmla="*/ 395764 h 514350"/>
                <a:gd name="connsiteX7187" fmla="*/ 229076 w 6400800"/>
                <a:gd name="connsiteY7187" fmla="*/ 383381 h 514350"/>
                <a:gd name="connsiteX7188" fmla="*/ 239554 w 6400800"/>
                <a:gd name="connsiteY7188" fmla="*/ 406241 h 514350"/>
                <a:gd name="connsiteX7189" fmla="*/ 237649 w 6400800"/>
                <a:gd name="connsiteY7189" fmla="*/ 415766 h 514350"/>
                <a:gd name="connsiteX7190" fmla="*/ 247174 w 6400800"/>
                <a:gd name="connsiteY7190" fmla="*/ 431006 h 514350"/>
                <a:gd name="connsiteX7191" fmla="*/ 248126 w 6400800"/>
                <a:gd name="connsiteY7191" fmla="*/ 425291 h 514350"/>
                <a:gd name="connsiteX7192" fmla="*/ 248126 w 6400800"/>
                <a:gd name="connsiteY7192" fmla="*/ 425291 h 514350"/>
                <a:gd name="connsiteX7193" fmla="*/ 247174 w 6400800"/>
                <a:gd name="connsiteY7193" fmla="*/ 431006 h 514350"/>
                <a:gd name="connsiteX7194" fmla="*/ 264319 w 6400800"/>
                <a:gd name="connsiteY7194" fmla="*/ 204311 h 514350"/>
                <a:gd name="connsiteX7195" fmla="*/ 270986 w 6400800"/>
                <a:gd name="connsiteY7195" fmla="*/ 185261 h 514350"/>
                <a:gd name="connsiteX7196" fmla="*/ 267176 w 6400800"/>
                <a:gd name="connsiteY7196" fmla="*/ 214789 h 514350"/>
                <a:gd name="connsiteX7197" fmla="*/ 266224 w 6400800"/>
                <a:gd name="connsiteY7197" fmla="*/ 210026 h 514350"/>
                <a:gd name="connsiteX7198" fmla="*/ 264319 w 6400800"/>
                <a:gd name="connsiteY7198" fmla="*/ 204311 h 514350"/>
                <a:gd name="connsiteX7199" fmla="*/ 264319 w 6400800"/>
                <a:gd name="connsiteY7199" fmla="*/ 204311 h 514350"/>
                <a:gd name="connsiteX7200" fmla="*/ 254794 w 6400800"/>
                <a:gd name="connsiteY7200" fmla="*/ 235744 h 514350"/>
                <a:gd name="connsiteX7201" fmla="*/ 258604 w 6400800"/>
                <a:gd name="connsiteY7201" fmla="*/ 220504 h 514350"/>
                <a:gd name="connsiteX7202" fmla="*/ 261461 w 6400800"/>
                <a:gd name="connsiteY7202" fmla="*/ 242411 h 514350"/>
                <a:gd name="connsiteX7203" fmla="*/ 262414 w 6400800"/>
                <a:gd name="connsiteY7203" fmla="*/ 245269 h 514350"/>
                <a:gd name="connsiteX7204" fmla="*/ 260509 w 6400800"/>
                <a:gd name="connsiteY7204" fmla="*/ 270034 h 514350"/>
                <a:gd name="connsiteX7205" fmla="*/ 257651 w 6400800"/>
                <a:gd name="connsiteY7205" fmla="*/ 264319 h 514350"/>
                <a:gd name="connsiteX7206" fmla="*/ 250984 w 6400800"/>
                <a:gd name="connsiteY7206" fmla="*/ 249079 h 514350"/>
                <a:gd name="connsiteX7207" fmla="*/ 254794 w 6400800"/>
                <a:gd name="connsiteY7207" fmla="*/ 235744 h 514350"/>
                <a:gd name="connsiteX7208" fmla="*/ 245269 w 6400800"/>
                <a:gd name="connsiteY7208" fmla="*/ 276701 h 514350"/>
                <a:gd name="connsiteX7209" fmla="*/ 249079 w 6400800"/>
                <a:gd name="connsiteY7209" fmla="*/ 260509 h 514350"/>
                <a:gd name="connsiteX7210" fmla="*/ 250984 w 6400800"/>
                <a:gd name="connsiteY7210" fmla="*/ 268129 h 514350"/>
                <a:gd name="connsiteX7211" fmla="*/ 258604 w 6400800"/>
                <a:gd name="connsiteY7211" fmla="*/ 292894 h 514350"/>
                <a:gd name="connsiteX7212" fmla="*/ 259556 w 6400800"/>
                <a:gd name="connsiteY7212" fmla="*/ 294799 h 514350"/>
                <a:gd name="connsiteX7213" fmla="*/ 259556 w 6400800"/>
                <a:gd name="connsiteY7213" fmla="*/ 297656 h 514350"/>
                <a:gd name="connsiteX7214" fmla="*/ 257651 w 6400800"/>
                <a:gd name="connsiteY7214" fmla="*/ 333851 h 514350"/>
                <a:gd name="connsiteX7215" fmla="*/ 250984 w 6400800"/>
                <a:gd name="connsiteY7215" fmla="*/ 309086 h 514350"/>
                <a:gd name="connsiteX7216" fmla="*/ 253841 w 6400800"/>
                <a:gd name="connsiteY7216" fmla="*/ 301466 h 514350"/>
                <a:gd name="connsiteX7217" fmla="*/ 250984 w 6400800"/>
                <a:gd name="connsiteY7217" fmla="*/ 307181 h 514350"/>
                <a:gd name="connsiteX7218" fmla="*/ 244316 w 6400800"/>
                <a:gd name="connsiteY7218" fmla="*/ 284321 h 514350"/>
                <a:gd name="connsiteX7219" fmla="*/ 245269 w 6400800"/>
                <a:gd name="connsiteY7219" fmla="*/ 276701 h 514350"/>
                <a:gd name="connsiteX7220" fmla="*/ 236696 w 6400800"/>
                <a:gd name="connsiteY7220" fmla="*/ 325279 h 514350"/>
                <a:gd name="connsiteX7221" fmla="*/ 237649 w 6400800"/>
                <a:gd name="connsiteY7221" fmla="*/ 322421 h 514350"/>
                <a:gd name="connsiteX7222" fmla="*/ 238601 w 6400800"/>
                <a:gd name="connsiteY7222" fmla="*/ 329089 h 514350"/>
                <a:gd name="connsiteX7223" fmla="*/ 235744 w 6400800"/>
                <a:gd name="connsiteY7223" fmla="*/ 335756 h 514350"/>
                <a:gd name="connsiteX7224" fmla="*/ 236696 w 6400800"/>
                <a:gd name="connsiteY7224" fmla="*/ 325279 h 514350"/>
                <a:gd name="connsiteX7225" fmla="*/ 234791 w 6400800"/>
                <a:gd name="connsiteY7225" fmla="*/ 353854 h 514350"/>
                <a:gd name="connsiteX7226" fmla="*/ 240506 w 6400800"/>
                <a:gd name="connsiteY7226" fmla="*/ 337661 h 514350"/>
                <a:gd name="connsiteX7227" fmla="*/ 241459 w 6400800"/>
                <a:gd name="connsiteY7227" fmla="*/ 342424 h 514350"/>
                <a:gd name="connsiteX7228" fmla="*/ 248126 w 6400800"/>
                <a:gd name="connsiteY7228" fmla="*/ 372904 h 514350"/>
                <a:gd name="connsiteX7229" fmla="*/ 247174 w 6400800"/>
                <a:gd name="connsiteY7229" fmla="*/ 378619 h 514350"/>
                <a:gd name="connsiteX7230" fmla="*/ 242411 w 6400800"/>
                <a:gd name="connsiteY7230" fmla="*/ 369094 h 514350"/>
                <a:gd name="connsiteX7231" fmla="*/ 234791 w 6400800"/>
                <a:gd name="connsiteY7231" fmla="*/ 353854 h 514350"/>
                <a:gd name="connsiteX7232" fmla="*/ 234791 w 6400800"/>
                <a:gd name="connsiteY7232" fmla="*/ 353854 h 514350"/>
                <a:gd name="connsiteX7233" fmla="*/ 222409 w 6400800"/>
                <a:gd name="connsiteY7233" fmla="*/ 297656 h 514350"/>
                <a:gd name="connsiteX7234" fmla="*/ 227171 w 6400800"/>
                <a:gd name="connsiteY7234" fmla="*/ 278606 h 514350"/>
                <a:gd name="connsiteX7235" fmla="*/ 228124 w 6400800"/>
                <a:gd name="connsiteY7235" fmla="*/ 284321 h 514350"/>
                <a:gd name="connsiteX7236" fmla="*/ 230029 w 6400800"/>
                <a:gd name="connsiteY7236" fmla="*/ 290989 h 514350"/>
                <a:gd name="connsiteX7237" fmla="*/ 222409 w 6400800"/>
                <a:gd name="connsiteY7237" fmla="*/ 324326 h 514350"/>
                <a:gd name="connsiteX7238" fmla="*/ 221456 w 6400800"/>
                <a:gd name="connsiteY7238" fmla="*/ 330041 h 514350"/>
                <a:gd name="connsiteX7239" fmla="*/ 220504 w 6400800"/>
                <a:gd name="connsiteY7239" fmla="*/ 329089 h 514350"/>
                <a:gd name="connsiteX7240" fmla="*/ 218599 w 6400800"/>
                <a:gd name="connsiteY7240" fmla="*/ 312896 h 514350"/>
                <a:gd name="connsiteX7241" fmla="*/ 222409 w 6400800"/>
                <a:gd name="connsiteY7241" fmla="*/ 297656 h 514350"/>
                <a:gd name="connsiteX7242" fmla="*/ 169069 w 6400800"/>
                <a:gd name="connsiteY7242" fmla="*/ 411956 h 514350"/>
                <a:gd name="connsiteX7243" fmla="*/ 169069 w 6400800"/>
                <a:gd name="connsiteY7243" fmla="*/ 412909 h 514350"/>
                <a:gd name="connsiteX7244" fmla="*/ 165259 w 6400800"/>
                <a:gd name="connsiteY7244" fmla="*/ 396716 h 514350"/>
                <a:gd name="connsiteX7245" fmla="*/ 164306 w 6400800"/>
                <a:gd name="connsiteY7245" fmla="*/ 375761 h 514350"/>
                <a:gd name="connsiteX7246" fmla="*/ 161449 w 6400800"/>
                <a:gd name="connsiteY7246" fmla="*/ 345281 h 514350"/>
                <a:gd name="connsiteX7247" fmla="*/ 158591 w 6400800"/>
                <a:gd name="connsiteY7247" fmla="*/ 321469 h 514350"/>
                <a:gd name="connsiteX7248" fmla="*/ 159544 w 6400800"/>
                <a:gd name="connsiteY7248" fmla="*/ 323374 h 514350"/>
                <a:gd name="connsiteX7249" fmla="*/ 162401 w 6400800"/>
                <a:gd name="connsiteY7249" fmla="*/ 328136 h 514350"/>
                <a:gd name="connsiteX7250" fmla="*/ 167164 w 6400800"/>
                <a:gd name="connsiteY7250" fmla="*/ 376714 h 514350"/>
                <a:gd name="connsiteX7251" fmla="*/ 170021 w 6400800"/>
                <a:gd name="connsiteY7251" fmla="*/ 402431 h 514350"/>
                <a:gd name="connsiteX7252" fmla="*/ 169069 w 6400800"/>
                <a:gd name="connsiteY7252" fmla="*/ 411956 h 514350"/>
                <a:gd name="connsiteX7253" fmla="*/ 209074 w 6400800"/>
                <a:gd name="connsiteY7253" fmla="*/ 350044 h 514350"/>
                <a:gd name="connsiteX7254" fmla="*/ 209074 w 6400800"/>
                <a:gd name="connsiteY7254" fmla="*/ 359569 h 514350"/>
                <a:gd name="connsiteX7255" fmla="*/ 207169 w 6400800"/>
                <a:gd name="connsiteY7255" fmla="*/ 356711 h 514350"/>
                <a:gd name="connsiteX7256" fmla="*/ 209074 w 6400800"/>
                <a:gd name="connsiteY7256" fmla="*/ 350044 h 514350"/>
                <a:gd name="connsiteX7257" fmla="*/ 170974 w 6400800"/>
                <a:gd name="connsiteY7257" fmla="*/ 259556 h 514350"/>
                <a:gd name="connsiteX7258" fmla="*/ 178594 w 6400800"/>
                <a:gd name="connsiteY7258" fmla="*/ 274796 h 514350"/>
                <a:gd name="connsiteX7259" fmla="*/ 187166 w 6400800"/>
                <a:gd name="connsiteY7259" fmla="*/ 291941 h 514350"/>
                <a:gd name="connsiteX7260" fmla="*/ 205264 w 6400800"/>
                <a:gd name="connsiteY7260" fmla="*/ 330041 h 514350"/>
                <a:gd name="connsiteX7261" fmla="*/ 200501 w 6400800"/>
                <a:gd name="connsiteY7261" fmla="*/ 343376 h 514350"/>
                <a:gd name="connsiteX7262" fmla="*/ 199549 w 6400800"/>
                <a:gd name="connsiteY7262" fmla="*/ 342424 h 514350"/>
                <a:gd name="connsiteX7263" fmla="*/ 180499 w 6400800"/>
                <a:gd name="connsiteY7263" fmla="*/ 310039 h 514350"/>
                <a:gd name="connsiteX7264" fmla="*/ 176689 w 6400800"/>
                <a:gd name="connsiteY7264" fmla="*/ 296704 h 514350"/>
                <a:gd name="connsiteX7265" fmla="*/ 176689 w 6400800"/>
                <a:gd name="connsiteY7265" fmla="*/ 305276 h 514350"/>
                <a:gd name="connsiteX7266" fmla="*/ 172879 w 6400800"/>
                <a:gd name="connsiteY7266" fmla="*/ 299561 h 514350"/>
                <a:gd name="connsiteX7267" fmla="*/ 171926 w 6400800"/>
                <a:gd name="connsiteY7267" fmla="*/ 298609 h 514350"/>
                <a:gd name="connsiteX7268" fmla="*/ 168116 w 6400800"/>
                <a:gd name="connsiteY7268" fmla="*/ 279559 h 514350"/>
                <a:gd name="connsiteX7269" fmla="*/ 158591 w 6400800"/>
                <a:gd name="connsiteY7269" fmla="*/ 235744 h 514350"/>
                <a:gd name="connsiteX7270" fmla="*/ 170974 w 6400800"/>
                <a:gd name="connsiteY7270" fmla="*/ 259556 h 514350"/>
                <a:gd name="connsiteX7271" fmla="*/ 161449 w 6400800"/>
                <a:gd name="connsiteY7271" fmla="*/ 307181 h 514350"/>
                <a:gd name="connsiteX7272" fmla="*/ 156686 w 6400800"/>
                <a:gd name="connsiteY7272" fmla="*/ 301466 h 514350"/>
                <a:gd name="connsiteX7273" fmla="*/ 155734 w 6400800"/>
                <a:gd name="connsiteY7273" fmla="*/ 297656 h 514350"/>
                <a:gd name="connsiteX7274" fmla="*/ 161449 w 6400800"/>
                <a:gd name="connsiteY7274" fmla="*/ 307181 h 514350"/>
                <a:gd name="connsiteX7275" fmla="*/ 130969 w 6400800"/>
                <a:gd name="connsiteY7275" fmla="*/ 280511 h 514350"/>
                <a:gd name="connsiteX7276" fmla="*/ 133826 w 6400800"/>
                <a:gd name="connsiteY7276" fmla="*/ 284321 h 514350"/>
                <a:gd name="connsiteX7277" fmla="*/ 145256 w 6400800"/>
                <a:gd name="connsiteY7277" fmla="*/ 301466 h 514350"/>
                <a:gd name="connsiteX7278" fmla="*/ 150971 w 6400800"/>
                <a:gd name="connsiteY7278" fmla="*/ 310039 h 514350"/>
                <a:gd name="connsiteX7279" fmla="*/ 150019 w 6400800"/>
                <a:gd name="connsiteY7279" fmla="*/ 341471 h 514350"/>
                <a:gd name="connsiteX7280" fmla="*/ 149066 w 6400800"/>
                <a:gd name="connsiteY7280" fmla="*/ 339566 h 514350"/>
                <a:gd name="connsiteX7281" fmla="*/ 145256 w 6400800"/>
                <a:gd name="connsiteY7281" fmla="*/ 328136 h 514350"/>
                <a:gd name="connsiteX7282" fmla="*/ 140494 w 6400800"/>
                <a:gd name="connsiteY7282" fmla="*/ 317659 h 514350"/>
                <a:gd name="connsiteX7283" fmla="*/ 132874 w 6400800"/>
                <a:gd name="connsiteY7283" fmla="*/ 301466 h 514350"/>
                <a:gd name="connsiteX7284" fmla="*/ 127159 w 6400800"/>
                <a:gd name="connsiteY7284" fmla="*/ 290989 h 514350"/>
                <a:gd name="connsiteX7285" fmla="*/ 130969 w 6400800"/>
                <a:gd name="connsiteY7285" fmla="*/ 280511 h 514350"/>
                <a:gd name="connsiteX7286" fmla="*/ 121444 w 6400800"/>
                <a:gd name="connsiteY7286" fmla="*/ 318611 h 514350"/>
                <a:gd name="connsiteX7287" fmla="*/ 127159 w 6400800"/>
                <a:gd name="connsiteY7287" fmla="*/ 294799 h 514350"/>
                <a:gd name="connsiteX7288" fmla="*/ 127159 w 6400800"/>
                <a:gd name="connsiteY7288" fmla="*/ 293846 h 514350"/>
                <a:gd name="connsiteX7289" fmla="*/ 129064 w 6400800"/>
                <a:gd name="connsiteY7289" fmla="*/ 303371 h 514350"/>
                <a:gd name="connsiteX7290" fmla="*/ 133826 w 6400800"/>
                <a:gd name="connsiteY7290" fmla="*/ 320516 h 514350"/>
                <a:gd name="connsiteX7291" fmla="*/ 138589 w 6400800"/>
                <a:gd name="connsiteY7291" fmla="*/ 342424 h 514350"/>
                <a:gd name="connsiteX7292" fmla="*/ 143351 w 6400800"/>
                <a:gd name="connsiteY7292" fmla="*/ 369094 h 514350"/>
                <a:gd name="connsiteX7293" fmla="*/ 148114 w 6400800"/>
                <a:gd name="connsiteY7293" fmla="*/ 398621 h 514350"/>
                <a:gd name="connsiteX7294" fmla="*/ 149066 w 6400800"/>
                <a:gd name="connsiteY7294" fmla="*/ 403384 h 514350"/>
                <a:gd name="connsiteX7295" fmla="*/ 149066 w 6400800"/>
                <a:gd name="connsiteY7295" fmla="*/ 411004 h 514350"/>
                <a:gd name="connsiteX7296" fmla="*/ 149066 w 6400800"/>
                <a:gd name="connsiteY7296" fmla="*/ 416719 h 514350"/>
                <a:gd name="connsiteX7297" fmla="*/ 138589 w 6400800"/>
                <a:gd name="connsiteY7297" fmla="*/ 388144 h 514350"/>
                <a:gd name="connsiteX7298" fmla="*/ 129064 w 6400800"/>
                <a:gd name="connsiteY7298" fmla="*/ 363379 h 514350"/>
                <a:gd name="connsiteX7299" fmla="*/ 131921 w 6400800"/>
                <a:gd name="connsiteY7299" fmla="*/ 358616 h 514350"/>
                <a:gd name="connsiteX7300" fmla="*/ 129064 w 6400800"/>
                <a:gd name="connsiteY7300" fmla="*/ 361474 h 514350"/>
                <a:gd name="connsiteX7301" fmla="*/ 124301 w 6400800"/>
                <a:gd name="connsiteY7301" fmla="*/ 350044 h 514350"/>
                <a:gd name="connsiteX7302" fmla="*/ 125254 w 6400800"/>
                <a:gd name="connsiteY7302" fmla="*/ 344329 h 514350"/>
                <a:gd name="connsiteX7303" fmla="*/ 129064 w 6400800"/>
                <a:gd name="connsiteY7303" fmla="*/ 328136 h 514350"/>
                <a:gd name="connsiteX7304" fmla="*/ 121444 w 6400800"/>
                <a:gd name="connsiteY7304" fmla="*/ 343376 h 514350"/>
                <a:gd name="connsiteX7305" fmla="*/ 121444 w 6400800"/>
                <a:gd name="connsiteY7305" fmla="*/ 343376 h 514350"/>
                <a:gd name="connsiteX7306" fmla="*/ 120491 w 6400800"/>
                <a:gd name="connsiteY7306" fmla="*/ 341471 h 514350"/>
                <a:gd name="connsiteX7307" fmla="*/ 117634 w 6400800"/>
                <a:gd name="connsiteY7307" fmla="*/ 334804 h 514350"/>
                <a:gd name="connsiteX7308" fmla="*/ 121444 w 6400800"/>
                <a:gd name="connsiteY7308" fmla="*/ 318611 h 514350"/>
                <a:gd name="connsiteX7309" fmla="*/ 116681 w 6400800"/>
                <a:gd name="connsiteY7309" fmla="*/ 393859 h 514350"/>
                <a:gd name="connsiteX7310" fmla="*/ 127159 w 6400800"/>
                <a:gd name="connsiteY7310" fmla="*/ 419576 h 514350"/>
                <a:gd name="connsiteX7311" fmla="*/ 113824 w 6400800"/>
                <a:gd name="connsiteY7311" fmla="*/ 414814 h 514350"/>
                <a:gd name="connsiteX7312" fmla="*/ 116681 w 6400800"/>
                <a:gd name="connsiteY7312" fmla="*/ 393859 h 514350"/>
                <a:gd name="connsiteX7313" fmla="*/ 91916 w 6400800"/>
                <a:gd name="connsiteY7313" fmla="*/ 341471 h 514350"/>
                <a:gd name="connsiteX7314" fmla="*/ 92869 w 6400800"/>
                <a:gd name="connsiteY7314" fmla="*/ 335756 h 514350"/>
                <a:gd name="connsiteX7315" fmla="*/ 94774 w 6400800"/>
                <a:gd name="connsiteY7315" fmla="*/ 340519 h 514350"/>
                <a:gd name="connsiteX7316" fmla="*/ 102394 w 6400800"/>
                <a:gd name="connsiteY7316" fmla="*/ 358616 h 514350"/>
                <a:gd name="connsiteX7317" fmla="*/ 96679 w 6400800"/>
                <a:gd name="connsiteY7317" fmla="*/ 384334 h 514350"/>
                <a:gd name="connsiteX7318" fmla="*/ 94774 w 6400800"/>
                <a:gd name="connsiteY7318" fmla="*/ 399574 h 514350"/>
                <a:gd name="connsiteX7319" fmla="*/ 93821 w 6400800"/>
                <a:gd name="connsiteY7319" fmla="*/ 400526 h 514350"/>
                <a:gd name="connsiteX7320" fmla="*/ 90964 w 6400800"/>
                <a:gd name="connsiteY7320" fmla="*/ 404336 h 514350"/>
                <a:gd name="connsiteX7321" fmla="*/ 88106 w 6400800"/>
                <a:gd name="connsiteY7321" fmla="*/ 382429 h 514350"/>
                <a:gd name="connsiteX7322" fmla="*/ 85249 w 6400800"/>
                <a:gd name="connsiteY7322" fmla="*/ 365284 h 514350"/>
                <a:gd name="connsiteX7323" fmla="*/ 91916 w 6400800"/>
                <a:gd name="connsiteY7323" fmla="*/ 341471 h 514350"/>
                <a:gd name="connsiteX7324" fmla="*/ 72866 w 6400800"/>
                <a:gd name="connsiteY7324" fmla="*/ 407194 h 514350"/>
                <a:gd name="connsiteX7325" fmla="*/ 72866 w 6400800"/>
                <a:gd name="connsiteY7325" fmla="*/ 409099 h 514350"/>
                <a:gd name="connsiteX7326" fmla="*/ 71914 w 6400800"/>
                <a:gd name="connsiteY7326" fmla="*/ 409099 h 514350"/>
                <a:gd name="connsiteX7327" fmla="*/ 72866 w 6400800"/>
                <a:gd name="connsiteY7327" fmla="*/ 407194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Lst>
              <a:rect l="l" t="t" r="r" b="b"/>
              <a:pathLst>
                <a:path w="6400800" h="514350">
                  <a:moveTo>
                    <a:pt x="7144" y="511016"/>
                  </a:moveTo>
                  <a:lnTo>
                    <a:pt x="6354604" y="511016"/>
                  </a:lnTo>
                  <a:lnTo>
                    <a:pt x="6354604" y="409099"/>
                  </a:lnTo>
                  <a:cubicBezTo>
                    <a:pt x="6346031" y="411004"/>
                    <a:pt x="6337459" y="413861"/>
                    <a:pt x="6327934" y="415766"/>
                  </a:cubicBezTo>
                  <a:cubicBezTo>
                    <a:pt x="6327934" y="411956"/>
                    <a:pt x="6327934" y="408146"/>
                    <a:pt x="6327934" y="404336"/>
                  </a:cubicBezTo>
                  <a:cubicBezTo>
                    <a:pt x="6328887" y="396716"/>
                    <a:pt x="6327934" y="389096"/>
                    <a:pt x="6328887" y="383381"/>
                  </a:cubicBezTo>
                  <a:cubicBezTo>
                    <a:pt x="6329839" y="371951"/>
                    <a:pt x="6329839" y="365284"/>
                    <a:pt x="6329839" y="365284"/>
                  </a:cubicBezTo>
                  <a:cubicBezTo>
                    <a:pt x="6329839" y="365284"/>
                    <a:pt x="6327934" y="371951"/>
                    <a:pt x="6324124" y="383381"/>
                  </a:cubicBezTo>
                  <a:cubicBezTo>
                    <a:pt x="6322219" y="389096"/>
                    <a:pt x="6321267" y="395764"/>
                    <a:pt x="6319362" y="404336"/>
                  </a:cubicBezTo>
                  <a:cubicBezTo>
                    <a:pt x="6318409" y="409099"/>
                    <a:pt x="6317456" y="413861"/>
                    <a:pt x="6316504" y="419576"/>
                  </a:cubicBezTo>
                  <a:cubicBezTo>
                    <a:pt x="6311742" y="420529"/>
                    <a:pt x="6306979" y="421481"/>
                    <a:pt x="6303169" y="423386"/>
                  </a:cubicBezTo>
                  <a:cubicBezTo>
                    <a:pt x="6303169" y="416719"/>
                    <a:pt x="6303169" y="411004"/>
                    <a:pt x="6304121" y="405289"/>
                  </a:cubicBezTo>
                  <a:cubicBezTo>
                    <a:pt x="6308884" y="390049"/>
                    <a:pt x="6314599" y="373856"/>
                    <a:pt x="6319362" y="358616"/>
                  </a:cubicBezTo>
                  <a:cubicBezTo>
                    <a:pt x="6320314" y="355759"/>
                    <a:pt x="6321267" y="352901"/>
                    <a:pt x="6322219" y="349091"/>
                  </a:cubicBezTo>
                  <a:cubicBezTo>
                    <a:pt x="6326029" y="336709"/>
                    <a:pt x="6330792" y="325279"/>
                    <a:pt x="6334601" y="312896"/>
                  </a:cubicBezTo>
                  <a:cubicBezTo>
                    <a:pt x="6340317" y="297656"/>
                    <a:pt x="6345079" y="283369"/>
                    <a:pt x="6349842" y="269081"/>
                  </a:cubicBezTo>
                  <a:cubicBezTo>
                    <a:pt x="6354604" y="254794"/>
                    <a:pt x="6359367" y="240506"/>
                    <a:pt x="6363176" y="228124"/>
                  </a:cubicBezTo>
                  <a:cubicBezTo>
                    <a:pt x="6367939" y="214789"/>
                    <a:pt x="6371749" y="202406"/>
                    <a:pt x="6375559" y="190976"/>
                  </a:cubicBezTo>
                  <a:cubicBezTo>
                    <a:pt x="6383179" y="168116"/>
                    <a:pt x="6388894" y="149066"/>
                    <a:pt x="6393656" y="134779"/>
                  </a:cubicBezTo>
                  <a:cubicBezTo>
                    <a:pt x="6397467" y="121444"/>
                    <a:pt x="6400324" y="113824"/>
                    <a:pt x="6400324" y="113824"/>
                  </a:cubicBezTo>
                  <a:cubicBezTo>
                    <a:pt x="6400324" y="113824"/>
                    <a:pt x="6396514" y="121444"/>
                    <a:pt x="6389846" y="133826"/>
                  </a:cubicBezTo>
                  <a:cubicBezTo>
                    <a:pt x="6386989" y="139541"/>
                    <a:pt x="6384131" y="146209"/>
                    <a:pt x="6380321" y="153829"/>
                  </a:cubicBezTo>
                  <a:cubicBezTo>
                    <a:pt x="6385084" y="136684"/>
                    <a:pt x="6389846" y="121444"/>
                    <a:pt x="6392704" y="110966"/>
                  </a:cubicBezTo>
                  <a:cubicBezTo>
                    <a:pt x="6396514" y="95726"/>
                    <a:pt x="6399371" y="87154"/>
                    <a:pt x="6399371" y="87154"/>
                  </a:cubicBezTo>
                  <a:cubicBezTo>
                    <a:pt x="6399371" y="87154"/>
                    <a:pt x="6395562" y="95726"/>
                    <a:pt x="6388894" y="109061"/>
                  </a:cubicBezTo>
                  <a:cubicBezTo>
                    <a:pt x="6386037" y="115729"/>
                    <a:pt x="6382226" y="125254"/>
                    <a:pt x="6377464" y="134779"/>
                  </a:cubicBezTo>
                  <a:cubicBezTo>
                    <a:pt x="6372701" y="144304"/>
                    <a:pt x="6367939" y="155734"/>
                    <a:pt x="6364129" y="168116"/>
                  </a:cubicBezTo>
                  <a:cubicBezTo>
                    <a:pt x="6354604" y="192881"/>
                    <a:pt x="6343174" y="222409"/>
                    <a:pt x="6332696" y="253841"/>
                  </a:cubicBezTo>
                  <a:cubicBezTo>
                    <a:pt x="6326981" y="270034"/>
                    <a:pt x="6321267" y="286226"/>
                    <a:pt x="6316504" y="302419"/>
                  </a:cubicBezTo>
                  <a:cubicBezTo>
                    <a:pt x="6315551" y="304324"/>
                    <a:pt x="6315551" y="306229"/>
                    <a:pt x="6314599" y="308134"/>
                  </a:cubicBezTo>
                  <a:cubicBezTo>
                    <a:pt x="6315551" y="300514"/>
                    <a:pt x="6316504" y="293846"/>
                    <a:pt x="6317456" y="287179"/>
                  </a:cubicBezTo>
                  <a:cubicBezTo>
                    <a:pt x="6318409" y="279559"/>
                    <a:pt x="6319362" y="272891"/>
                    <a:pt x="6319362" y="267176"/>
                  </a:cubicBezTo>
                  <a:cubicBezTo>
                    <a:pt x="6320314" y="256699"/>
                    <a:pt x="6320314" y="250031"/>
                    <a:pt x="6320314" y="250031"/>
                  </a:cubicBezTo>
                  <a:cubicBezTo>
                    <a:pt x="6320314" y="250031"/>
                    <a:pt x="6318409" y="255746"/>
                    <a:pt x="6314599" y="266224"/>
                  </a:cubicBezTo>
                  <a:cubicBezTo>
                    <a:pt x="6311742" y="276701"/>
                    <a:pt x="6306979" y="291941"/>
                    <a:pt x="6302217" y="310039"/>
                  </a:cubicBezTo>
                  <a:cubicBezTo>
                    <a:pt x="6299359" y="318611"/>
                    <a:pt x="6296501" y="329089"/>
                    <a:pt x="6293644" y="339566"/>
                  </a:cubicBezTo>
                  <a:cubicBezTo>
                    <a:pt x="6291739" y="347186"/>
                    <a:pt x="6288881" y="354806"/>
                    <a:pt x="6286976" y="362426"/>
                  </a:cubicBezTo>
                  <a:cubicBezTo>
                    <a:pt x="6286024" y="352901"/>
                    <a:pt x="6285071" y="343376"/>
                    <a:pt x="6284119" y="335756"/>
                  </a:cubicBezTo>
                  <a:cubicBezTo>
                    <a:pt x="6286024" y="330041"/>
                    <a:pt x="6286976" y="324326"/>
                    <a:pt x="6288881" y="318611"/>
                  </a:cubicBezTo>
                  <a:cubicBezTo>
                    <a:pt x="6293644" y="303371"/>
                    <a:pt x="6298406" y="289084"/>
                    <a:pt x="6302217" y="274796"/>
                  </a:cubicBezTo>
                  <a:cubicBezTo>
                    <a:pt x="6304121" y="268129"/>
                    <a:pt x="6306026" y="261461"/>
                    <a:pt x="6307931" y="255746"/>
                  </a:cubicBezTo>
                  <a:cubicBezTo>
                    <a:pt x="6309837" y="250031"/>
                    <a:pt x="6311742" y="244316"/>
                    <a:pt x="6313646" y="238601"/>
                  </a:cubicBezTo>
                  <a:cubicBezTo>
                    <a:pt x="6317456" y="228124"/>
                    <a:pt x="6320314" y="218599"/>
                    <a:pt x="6323171" y="210026"/>
                  </a:cubicBezTo>
                  <a:cubicBezTo>
                    <a:pt x="6327934" y="193834"/>
                    <a:pt x="6330792" y="185261"/>
                    <a:pt x="6330792" y="185261"/>
                  </a:cubicBezTo>
                  <a:cubicBezTo>
                    <a:pt x="6330792" y="185261"/>
                    <a:pt x="6326981" y="193834"/>
                    <a:pt x="6319362" y="208121"/>
                  </a:cubicBezTo>
                  <a:cubicBezTo>
                    <a:pt x="6315551" y="215741"/>
                    <a:pt x="6311742" y="224314"/>
                    <a:pt x="6306026" y="234791"/>
                  </a:cubicBezTo>
                  <a:cubicBezTo>
                    <a:pt x="6303169" y="239554"/>
                    <a:pt x="6301264" y="245269"/>
                    <a:pt x="6298406" y="250984"/>
                  </a:cubicBezTo>
                  <a:cubicBezTo>
                    <a:pt x="6295549" y="256699"/>
                    <a:pt x="6293644" y="263366"/>
                    <a:pt x="6290787" y="270034"/>
                  </a:cubicBezTo>
                  <a:cubicBezTo>
                    <a:pt x="6286976" y="279559"/>
                    <a:pt x="6282214" y="290036"/>
                    <a:pt x="6278404" y="301466"/>
                  </a:cubicBezTo>
                  <a:cubicBezTo>
                    <a:pt x="6277451" y="295751"/>
                    <a:pt x="6277451" y="292894"/>
                    <a:pt x="6277451" y="292894"/>
                  </a:cubicBezTo>
                  <a:cubicBezTo>
                    <a:pt x="6277451" y="292894"/>
                    <a:pt x="6277451" y="297656"/>
                    <a:pt x="6276499" y="306229"/>
                  </a:cubicBezTo>
                  <a:cubicBezTo>
                    <a:pt x="6275546" y="308134"/>
                    <a:pt x="6274594" y="310991"/>
                    <a:pt x="6273642" y="312896"/>
                  </a:cubicBezTo>
                  <a:cubicBezTo>
                    <a:pt x="6272689" y="315754"/>
                    <a:pt x="6271737" y="319564"/>
                    <a:pt x="6269831" y="322421"/>
                  </a:cubicBezTo>
                  <a:cubicBezTo>
                    <a:pt x="6270784" y="314801"/>
                    <a:pt x="6272689" y="308134"/>
                    <a:pt x="6273642" y="300514"/>
                  </a:cubicBezTo>
                  <a:cubicBezTo>
                    <a:pt x="6277451" y="283369"/>
                    <a:pt x="6280309" y="267176"/>
                    <a:pt x="6283167" y="252889"/>
                  </a:cubicBezTo>
                  <a:cubicBezTo>
                    <a:pt x="6285071" y="245269"/>
                    <a:pt x="6286024" y="238601"/>
                    <a:pt x="6287929" y="231934"/>
                  </a:cubicBezTo>
                  <a:cubicBezTo>
                    <a:pt x="6289834" y="225266"/>
                    <a:pt x="6290787" y="218599"/>
                    <a:pt x="6292692" y="212884"/>
                  </a:cubicBezTo>
                  <a:cubicBezTo>
                    <a:pt x="6295549" y="200501"/>
                    <a:pt x="6298406" y="190024"/>
                    <a:pt x="6300312" y="181451"/>
                  </a:cubicBezTo>
                  <a:cubicBezTo>
                    <a:pt x="6304121" y="164306"/>
                    <a:pt x="6306026" y="153829"/>
                    <a:pt x="6306026" y="153829"/>
                  </a:cubicBezTo>
                  <a:cubicBezTo>
                    <a:pt x="6306026" y="153829"/>
                    <a:pt x="6302217" y="163354"/>
                    <a:pt x="6296501" y="180499"/>
                  </a:cubicBezTo>
                  <a:cubicBezTo>
                    <a:pt x="6293644" y="189071"/>
                    <a:pt x="6289834" y="199549"/>
                    <a:pt x="6286024" y="210979"/>
                  </a:cubicBezTo>
                  <a:cubicBezTo>
                    <a:pt x="6284119" y="216694"/>
                    <a:pt x="6282214" y="223361"/>
                    <a:pt x="6279356" y="230029"/>
                  </a:cubicBezTo>
                  <a:cubicBezTo>
                    <a:pt x="6277451" y="236696"/>
                    <a:pt x="6275546" y="243364"/>
                    <a:pt x="6273642" y="250984"/>
                  </a:cubicBezTo>
                  <a:cubicBezTo>
                    <a:pt x="6269831" y="265271"/>
                    <a:pt x="6265069" y="281464"/>
                    <a:pt x="6260306" y="298609"/>
                  </a:cubicBezTo>
                  <a:cubicBezTo>
                    <a:pt x="6255544" y="315754"/>
                    <a:pt x="6251734" y="333851"/>
                    <a:pt x="6246971" y="351949"/>
                  </a:cubicBezTo>
                  <a:cubicBezTo>
                    <a:pt x="6244114" y="366236"/>
                    <a:pt x="6240304" y="381476"/>
                    <a:pt x="6236494" y="396716"/>
                  </a:cubicBezTo>
                  <a:cubicBezTo>
                    <a:pt x="6236494" y="395764"/>
                    <a:pt x="6235542" y="395764"/>
                    <a:pt x="6235542" y="394811"/>
                  </a:cubicBezTo>
                  <a:cubicBezTo>
                    <a:pt x="6235542" y="379571"/>
                    <a:pt x="6234589" y="370046"/>
                    <a:pt x="6234589" y="370046"/>
                  </a:cubicBezTo>
                  <a:cubicBezTo>
                    <a:pt x="6234589" y="370046"/>
                    <a:pt x="6233637" y="376714"/>
                    <a:pt x="6230779" y="389096"/>
                  </a:cubicBezTo>
                  <a:cubicBezTo>
                    <a:pt x="6229826" y="387191"/>
                    <a:pt x="6228874" y="386239"/>
                    <a:pt x="6227921" y="384334"/>
                  </a:cubicBezTo>
                  <a:cubicBezTo>
                    <a:pt x="6224112" y="378619"/>
                    <a:pt x="6220301" y="372904"/>
                    <a:pt x="6216492" y="367189"/>
                  </a:cubicBezTo>
                  <a:cubicBezTo>
                    <a:pt x="6218396" y="360521"/>
                    <a:pt x="6220301" y="354806"/>
                    <a:pt x="6223159" y="348139"/>
                  </a:cubicBezTo>
                  <a:cubicBezTo>
                    <a:pt x="6227921" y="334804"/>
                    <a:pt x="6232684" y="322421"/>
                    <a:pt x="6236494" y="310991"/>
                  </a:cubicBezTo>
                  <a:cubicBezTo>
                    <a:pt x="6240304" y="299561"/>
                    <a:pt x="6244114" y="289084"/>
                    <a:pt x="6247924" y="279559"/>
                  </a:cubicBezTo>
                  <a:cubicBezTo>
                    <a:pt x="6251734" y="270034"/>
                    <a:pt x="6254592" y="262414"/>
                    <a:pt x="6256496" y="254794"/>
                  </a:cubicBezTo>
                  <a:cubicBezTo>
                    <a:pt x="6261259" y="241459"/>
                    <a:pt x="6264117" y="233839"/>
                    <a:pt x="6264117" y="233839"/>
                  </a:cubicBezTo>
                  <a:cubicBezTo>
                    <a:pt x="6264117" y="233839"/>
                    <a:pt x="6260306" y="241459"/>
                    <a:pt x="6252687" y="253841"/>
                  </a:cubicBezTo>
                  <a:cubicBezTo>
                    <a:pt x="6248876" y="260509"/>
                    <a:pt x="6245067" y="268129"/>
                    <a:pt x="6240304" y="276701"/>
                  </a:cubicBezTo>
                  <a:cubicBezTo>
                    <a:pt x="6235542" y="285274"/>
                    <a:pt x="6230779" y="295751"/>
                    <a:pt x="6225064" y="307181"/>
                  </a:cubicBezTo>
                  <a:cubicBezTo>
                    <a:pt x="6220301" y="318611"/>
                    <a:pt x="6214587" y="330994"/>
                    <a:pt x="6208871" y="343376"/>
                  </a:cubicBezTo>
                  <a:cubicBezTo>
                    <a:pt x="6207919" y="346234"/>
                    <a:pt x="6206014" y="349091"/>
                    <a:pt x="6205062" y="351949"/>
                  </a:cubicBezTo>
                  <a:cubicBezTo>
                    <a:pt x="6205062" y="351949"/>
                    <a:pt x="6204109" y="350996"/>
                    <a:pt x="6204109" y="350996"/>
                  </a:cubicBezTo>
                  <a:cubicBezTo>
                    <a:pt x="6206967" y="340519"/>
                    <a:pt x="6208871" y="330041"/>
                    <a:pt x="6210776" y="320516"/>
                  </a:cubicBezTo>
                  <a:cubicBezTo>
                    <a:pt x="6214587" y="298609"/>
                    <a:pt x="6219349" y="280511"/>
                    <a:pt x="6222206" y="268129"/>
                  </a:cubicBezTo>
                  <a:cubicBezTo>
                    <a:pt x="6225064" y="255746"/>
                    <a:pt x="6226017" y="248126"/>
                    <a:pt x="6226017" y="248126"/>
                  </a:cubicBezTo>
                  <a:cubicBezTo>
                    <a:pt x="6226017" y="248126"/>
                    <a:pt x="6223159" y="254794"/>
                    <a:pt x="6218396" y="267176"/>
                  </a:cubicBezTo>
                  <a:cubicBezTo>
                    <a:pt x="6216492" y="272891"/>
                    <a:pt x="6213634" y="280511"/>
                    <a:pt x="6209824" y="289084"/>
                  </a:cubicBezTo>
                  <a:cubicBezTo>
                    <a:pt x="6206967" y="297656"/>
                    <a:pt x="6203156" y="307181"/>
                    <a:pt x="6199346" y="317659"/>
                  </a:cubicBezTo>
                  <a:cubicBezTo>
                    <a:pt x="6197442" y="323374"/>
                    <a:pt x="6195537" y="330041"/>
                    <a:pt x="6193631" y="335756"/>
                  </a:cubicBezTo>
                  <a:cubicBezTo>
                    <a:pt x="6190774" y="330994"/>
                    <a:pt x="6186964" y="326231"/>
                    <a:pt x="6184106" y="322421"/>
                  </a:cubicBezTo>
                  <a:cubicBezTo>
                    <a:pt x="6183154" y="321469"/>
                    <a:pt x="6182201" y="320516"/>
                    <a:pt x="6181249" y="318611"/>
                  </a:cubicBezTo>
                  <a:cubicBezTo>
                    <a:pt x="6182201" y="312896"/>
                    <a:pt x="6183154" y="307181"/>
                    <a:pt x="6184106" y="302419"/>
                  </a:cubicBezTo>
                  <a:cubicBezTo>
                    <a:pt x="6186012" y="291941"/>
                    <a:pt x="6186964" y="282416"/>
                    <a:pt x="6189821" y="274796"/>
                  </a:cubicBezTo>
                  <a:cubicBezTo>
                    <a:pt x="6193631" y="259556"/>
                    <a:pt x="6195537" y="250984"/>
                    <a:pt x="6195537" y="250984"/>
                  </a:cubicBezTo>
                  <a:cubicBezTo>
                    <a:pt x="6195537" y="250984"/>
                    <a:pt x="6191726" y="259556"/>
                    <a:pt x="6186012" y="273844"/>
                  </a:cubicBezTo>
                  <a:cubicBezTo>
                    <a:pt x="6183154" y="280511"/>
                    <a:pt x="6180296" y="290036"/>
                    <a:pt x="6176487" y="300514"/>
                  </a:cubicBezTo>
                  <a:cubicBezTo>
                    <a:pt x="6175534" y="303371"/>
                    <a:pt x="6174581" y="306229"/>
                    <a:pt x="6173629" y="309086"/>
                  </a:cubicBezTo>
                  <a:cubicBezTo>
                    <a:pt x="6173629" y="309086"/>
                    <a:pt x="6172676" y="308134"/>
                    <a:pt x="6172676" y="308134"/>
                  </a:cubicBezTo>
                  <a:cubicBezTo>
                    <a:pt x="6173629" y="303371"/>
                    <a:pt x="6174581" y="298609"/>
                    <a:pt x="6174581" y="294799"/>
                  </a:cubicBezTo>
                  <a:cubicBezTo>
                    <a:pt x="6176487" y="283369"/>
                    <a:pt x="6178392" y="272891"/>
                    <a:pt x="6180296" y="263366"/>
                  </a:cubicBezTo>
                  <a:cubicBezTo>
                    <a:pt x="6182201" y="253841"/>
                    <a:pt x="6184106" y="244316"/>
                    <a:pt x="6185059" y="236696"/>
                  </a:cubicBezTo>
                  <a:cubicBezTo>
                    <a:pt x="6186964" y="229076"/>
                    <a:pt x="6187917" y="221456"/>
                    <a:pt x="6188869" y="215741"/>
                  </a:cubicBezTo>
                  <a:cubicBezTo>
                    <a:pt x="6190774" y="204311"/>
                    <a:pt x="6192679" y="197644"/>
                    <a:pt x="6192679" y="197644"/>
                  </a:cubicBezTo>
                  <a:cubicBezTo>
                    <a:pt x="6192679" y="197644"/>
                    <a:pt x="6189821" y="203359"/>
                    <a:pt x="6185059" y="214789"/>
                  </a:cubicBezTo>
                  <a:cubicBezTo>
                    <a:pt x="6180296" y="225266"/>
                    <a:pt x="6174581" y="241459"/>
                    <a:pt x="6168867" y="260509"/>
                  </a:cubicBezTo>
                  <a:cubicBezTo>
                    <a:pt x="6166962" y="267176"/>
                    <a:pt x="6165056" y="273844"/>
                    <a:pt x="6163151" y="280511"/>
                  </a:cubicBezTo>
                  <a:cubicBezTo>
                    <a:pt x="6161246" y="270034"/>
                    <a:pt x="6160294" y="261461"/>
                    <a:pt x="6159342" y="253841"/>
                  </a:cubicBezTo>
                  <a:cubicBezTo>
                    <a:pt x="6156484" y="235744"/>
                    <a:pt x="6154579" y="225266"/>
                    <a:pt x="6154579" y="225266"/>
                  </a:cubicBezTo>
                  <a:cubicBezTo>
                    <a:pt x="6154579" y="225266"/>
                    <a:pt x="6155531" y="248126"/>
                    <a:pt x="6156484" y="285274"/>
                  </a:cubicBezTo>
                  <a:cubicBezTo>
                    <a:pt x="6151721" y="278606"/>
                    <a:pt x="6146959" y="272891"/>
                    <a:pt x="6143149" y="268129"/>
                  </a:cubicBezTo>
                  <a:cubicBezTo>
                    <a:pt x="6143149" y="268129"/>
                    <a:pt x="6143149" y="267176"/>
                    <a:pt x="6143149" y="267176"/>
                  </a:cubicBezTo>
                  <a:cubicBezTo>
                    <a:pt x="6144101" y="263366"/>
                    <a:pt x="6145054" y="259556"/>
                    <a:pt x="6146006" y="256699"/>
                  </a:cubicBezTo>
                  <a:cubicBezTo>
                    <a:pt x="6156484" y="210026"/>
                    <a:pt x="6161246" y="178594"/>
                    <a:pt x="6161246" y="178594"/>
                  </a:cubicBezTo>
                  <a:cubicBezTo>
                    <a:pt x="6161246" y="178594"/>
                    <a:pt x="6158389" y="186214"/>
                    <a:pt x="6152674" y="200501"/>
                  </a:cubicBezTo>
                  <a:cubicBezTo>
                    <a:pt x="6152674" y="199549"/>
                    <a:pt x="6152674" y="198596"/>
                    <a:pt x="6152674" y="197644"/>
                  </a:cubicBezTo>
                  <a:cubicBezTo>
                    <a:pt x="6154579" y="188119"/>
                    <a:pt x="6155531" y="179546"/>
                    <a:pt x="6156484" y="172879"/>
                  </a:cubicBezTo>
                  <a:cubicBezTo>
                    <a:pt x="6158389" y="158591"/>
                    <a:pt x="6160294" y="150971"/>
                    <a:pt x="6160294" y="150971"/>
                  </a:cubicBezTo>
                  <a:cubicBezTo>
                    <a:pt x="6160294" y="150971"/>
                    <a:pt x="6157437" y="158591"/>
                    <a:pt x="6152674" y="171926"/>
                  </a:cubicBezTo>
                  <a:cubicBezTo>
                    <a:pt x="6150769" y="178594"/>
                    <a:pt x="6147912" y="187166"/>
                    <a:pt x="6145054" y="196691"/>
                  </a:cubicBezTo>
                  <a:cubicBezTo>
                    <a:pt x="6143149" y="204311"/>
                    <a:pt x="6140292" y="211931"/>
                    <a:pt x="6138387" y="220504"/>
                  </a:cubicBezTo>
                  <a:cubicBezTo>
                    <a:pt x="6136481" y="209074"/>
                    <a:pt x="6135529" y="202406"/>
                    <a:pt x="6135529" y="202406"/>
                  </a:cubicBezTo>
                  <a:cubicBezTo>
                    <a:pt x="6135529" y="202406"/>
                    <a:pt x="6135529" y="209074"/>
                    <a:pt x="6134576" y="221456"/>
                  </a:cubicBezTo>
                  <a:cubicBezTo>
                    <a:pt x="6134576" y="227171"/>
                    <a:pt x="6132671" y="234791"/>
                    <a:pt x="6132671" y="242411"/>
                  </a:cubicBezTo>
                  <a:cubicBezTo>
                    <a:pt x="6132671" y="244316"/>
                    <a:pt x="6131719" y="246221"/>
                    <a:pt x="6131719" y="249079"/>
                  </a:cubicBezTo>
                  <a:cubicBezTo>
                    <a:pt x="6131719" y="250984"/>
                    <a:pt x="6130767" y="251936"/>
                    <a:pt x="6130767" y="253841"/>
                  </a:cubicBezTo>
                  <a:cubicBezTo>
                    <a:pt x="6129814" y="252889"/>
                    <a:pt x="6129814" y="251936"/>
                    <a:pt x="6129814" y="251936"/>
                  </a:cubicBezTo>
                  <a:cubicBezTo>
                    <a:pt x="6129814" y="251936"/>
                    <a:pt x="6129814" y="252889"/>
                    <a:pt x="6130767" y="254794"/>
                  </a:cubicBezTo>
                  <a:cubicBezTo>
                    <a:pt x="6130767" y="256699"/>
                    <a:pt x="6129814" y="258604"/>
                    <a:pt x="6129814" y="261461"/>
                  </a:cubicBezTo>
                  <a:cubicBezTo>
                    <a:pt x="6129814" y="250031"/>
                    <a:pt x="6129814" y="243364"/>
                    <a:pt x="6129814" y="243364"/>
                  </a:cubicBezTo>
                  <a:cubicBezTo>
                    <a:pt x="6129814" y="243364"/>
                    <a:pt x="6127909" y="254794"/>
                    <a:pt x="6126004" y="274796"/>
                  </a:cubicBezTo>
                  <a:cubicBezTo>
                    <a:pt x="6126004" y="276701"/>
                    <a:pt x="6126004" y="279559"/>
                    <a:pt x="6125051" y="281464"/>
                  </a:cubicBezTo>
                  <a:cubicBezTo>
                    <a:pt x="6124099" y="275749"/>
                    <a:pt x="6123146" y="270986"/>
                    <a:pt x="6122194" y="267176"/>
                  </a:cubicBezTo>
                  <a:cubicBezTo>
                    <a:pt x="6119337" y="251936"/>
                    <a:pt x="6117431" y="243364"/>
                    <a:pt x="6117431" y="243364"/>
                  </a:cubicBezTo>
                  <a:cubicBezTo>
                    <a:pt x="6117431" y="243364"/>
                    <a:pt x="6117431" y="251936"/>
                    <a:pt x="6118384" y="267176"/>
                  </a:cubicBezTo>
                  <a:cubicBezTo>
                    <a:pt x="6118384" y="275749"/>
                    <a:pt x="6119337" y="287179"/>
                    <a:pt x="6119337" y="300514"/>
                  </a:cubicBezTo>
                  <a:cubicBezTo>
                    <a:pt x="6117431" y="306229"/>
                    <a:pt x="6115526" y="311944"/>
                    <a:pt x="6114574" y="317659"/>
                  </a:cubicBezTo>
                  <a:cubicBezTo>
                    <a:pt x="6114574" y="313849"/>
                    <a:pt x="6114574" y="310991"/>
                    <a:pt x="6114574" y="307181"/>
                  </a:cubicBezTo>
                  <a:cubicBezTo>
                    <a:pt x="6113621" y="299561"/>
                    <a:pt x="6113621" y="292894"/>
                    <a:pt x="6112669" y="286226"/>
                  </a:cubicBezTo>
                  <a:cubicBezTo>
                    <a:pt x="6111717" y="279559"/>
                    <a:pt x="6110764" y="274796"/>
                    <a:pt x="6109812" y="270986"/>
                  </a:cubicBezTo>
                  <a:cubicBezTo>
                    <a:pt x="6106954" y="262414"/>
                    <a:pt x="6105049" y="258604"/>
                    <a:pt x="6105049" y="258604"/>
                  </a:cubicBezTo>
                  <a:cubicBezTo>
                    <a:pt x="6105049" y="258604"/>
                    <a:pt x="6105049" y="263366"/>
                    <a:pt x="6106001" y="272891"/>
                  </a:cubicBezTo>
                  <a:cubicBezTo>
                    <a:pt x="6106001" y="275749"/>
                    <a:pt x="6106001" y="278606"/>
                    <a:pt x="6106001" y="282416"/>
                  </a:cubicBezTo>
                  <a:cubicBezTo>
                    <a:pt x="6105049" y="279559"/>
                    <a:pt x="6105049" y="276701"/>
                    <a:pt x="6104096" y="273844"/>
                  </a:cubicBezTo>
                  <a:cubicBezTo>
                    <a:pt x="6103144" y="271939"/>
                    <a:pt x="6103144" y="270034"/>
                    <a:pt x="6102192" y="268129"/>
                  </a:cubicBezTo>
                  <a:cubicBezTo>
                    <a:pt x="6102192" y="263366"/>
                    <a:pt x="6101239" y="258604"/>
                    <a:pt x="6101239" y="253841"/>
                  </a:cubicBezTo>
                  <a:cubicBezTo>
                    <a:pt x="6102192" y="251936"/>
                    <a:pt x="6102192" y="249079"/>
                    <a:pt x="6103144" y="247174"/>
                  </a:cubicBezTo>
                  <a:cubicBezTo>
                    <a:pt x="6105049" y="238601"/>
                    <a:pt x="6106954" y="230981"/>
                    <a:pt x="6107906" y="225266"/>
                  </a:cubicBezTo>
                  <a:cubicBezTo>
                    <a:pt x="6110764" y="212884"/>
                    <a:pt x="6111717" y="205264"/>
                    <a:pt x="6111717" y="205264"/>
                  </a:cubicBezTo>
                  <a:cubicBezTo>
                    <a:pt x="6111717" y="205264"/>
                    <a:pt x="6108859" y="211931"/>
                    <a:pt x="6104096" y="223361"/>
                  </a:cubicBezTo>
                  <a:cubicBezTo>
                    <a:pt x="6103144" y="227171"/>
                    <a:pt x="6101239" y="230981"/>
                    <a:pt x="6099334" y="234791"/>
                  </a:cubicBezTo>
                  <a:cubicBezTo>
                    <a:pt x="6098381" y="220504"/>
                    <a:pt x="6097429" y="210026"/>
                    <a:pt x="6096476" y="206216"/>
                  </a:cubicBezTo>
                  <a:cubicBezTo>
                    <a:pt x="6096476" y="204311"/>
                    <a:pt x="6097429" y="201454"/>
                    <a:pt x="6097429" y="199549"/>
                  </a:cubicBezTo>
                  <a:cubicBezTo>
                    <a:pt x="6099334" y="191929"/>
                    <a:pt x="6100287" y="184309"/>
                    <a:pt x="6101239" y="177641"/>
                  </a:cubicBezTo>
                  <a:cubicBezTo>
                    <a:pt x="6102192" y="170974"/>
                    <a:pt x="6103144" y="163354"/>
                    <a:pt x="6104096" y="157639"/>
                  </a:cubicBezTo>
                  <a:cubicBezTo>
                    <a:pt x="6106001" y="145256"/>
                    <a:pt x="6106954" y="133826"/>
                    <a:pt x="6107906" y="124301"/>
                  </a:cubicBezTo>
                  <a:cubicBezTo>
                    <a:pt x="6109812" y="106204"/>
                    <a:pt x="6110764" y="95726"/>
                    <a:pt x="6110764" y="95726"/>
                  </a:cubicBezTo>
                  <a:cubicBezTo>
                    <a:pt x="6110764" y="95726"/>
                    <a:pt x="6107906" y="106204"/>
                    <a:pt x="6104096" y="124301"/>
                  </a:cubicBezTo>
                  <a:cubicBezTo>
                    <a:pt x="6102192" y="132874"/>
                    <a:pt x="6099334" y="144304"/>
                    <a:pt x="6096476" y="156686"/>
                  </a:cubicBezTo>
                  <a:cubicBezTo>
                    <a:pt x="6095524" y="163354"/>
                    <a:pt x="6093619" y="170021"/>
                    <a:pt x="6091714" y="176689"/>
                  </a:cubicBezTo>
                  <a:cubicBezTo>
                    <a:pt x="6089809" y="183356"/>
                    <a:pt x="6087904" y="190976"/>
                    <a:pt x="6085999" y="198596"/>
                  </a:cubicBezTo>
                  <a:cubicBezTo>
                    <a:pt x="6085046" y="203359"/>
                    <a:pt x="6083142" y="209074"/>
                    <a:pt x="6081237" y="214789"/>
                  </a:cubicBezTo>
                  <a:cubicBezTo>
                    <a:pt x="6077426" y="206216"/>
                    <a:pt x="6074569" y="201454"/>
                    <a:pt x="6074569" y="201454"/>
                  </a:cubicBezTo>
                  <a:cubicBezTo>
                    <a:pt x="6074569" y="201454"/>
                    <a:pt x="6076474" y="208121"/>
                    <a:pt x="6079331" y="219551"/>
                  </a:cubicBezTo>
                  <a:cubicBezTo>
                    <a:pt x="6078379" y="222409"/>
                    <a:pt x="6076474" y="225266"/>
                    <a:pt x="6073617" y="230029"/>
                  </a:cubicBezTo>
                  <a:cubicBezTo>
                    <a:pt x="6072664" y="231934"/>
                    <a:pt x="6071712" y="234791"/>
                    <a:pt x="6069806" y="237649"/>
                  </a:cubicBezTo>
                  <a:cubicBezTo>
                    <a:pt x="6069806" y="233839"/>
                    <a:pt x="6069806" y="230981"/>
                    <a:pt x="6069806" y="228124"/>
                  </a:cubicBezTo>
                  <a:cubicBezTo>
                    <a:pt x="6069806" y="213836"/>
                    <a:pt x="6069806" y="205264"/>
                    <a:pt x="6069806" y="205264"/>
                  </a:cubicBezTo>
                  <a:cubicBezTo>
                    <a:pt x="6069806" y="205264"/>
                    <a:pt x="6067901" y="213836"/>
                    <a:pt x="6065996" y="228124"/>
                  </a:cubicBezTo>
                  <a:cubicBezTo>
                    <a:pt x="6065044" y="235744"/>
                    <a:pt x="6063139" y="243364"/>
                    <a:pt x="6061234" y="253841"/>
                  </a:cubicBezTo>
                  <a:cubicBezTo>
                    <a:pt x="6060281" y="256699"/>
                    <a:pt x="6060281" y="259556"/>
                    <a:pt x="6059329" y="263366"/>
                  </a:cubicBezTo>
                  <a:cubicBezTo>
                    <a:pt x="6058376" y="265271"/>
                    <a:pt x="6058376" y="267176"/>
                    <a:pt x="6057424" y="268129"/>
                  </a:cubicBezTo>
                  <a:cubicBezTo>
                    <a:pt x="6054567" y="275749"/>
                    <a:pt x="6051709" y="285274"/>
                    <a:pt x="6048851" y="294799"/>
                  </a:cubicBezTo>
                  <a:cubicBezTo>
                    <a:pt x="6045994" y="304324"/>
                    <a:pt x="6044089" y="313849"/>
                    <a:pt x="6041231" y="324326"/>
                  </a:cubicBezTo>
                  <a:cubicBezTo>
                    <a:pt x="6041231" y="324326"/>
                    <a:pt x="6041231" y="325279"/>
                    <a:pt x="6041231" y="325279"/>
                  </a:cubicBezTo>
                  <a:cubicBezTo>
                    <a:pt x="6038374" y="318611"/>
                    <a:pt x="6036469" y="311944"/>
                    <a:pt x="6033612" y="306229"/>
                  </a:cubicBezTo>
                  <a:cubicBezTo>
                    <a:pt x="6032659" y="303371"/>
                    <a:pt x="6030754" y="299561"/>
                    <a:pt x="6029801" y="296704"/>
                  </a:cubicBezTo>
                  <a:cubicBezTo>
                    <a:pt x="6029801" y="296704"/>
                    <a:pt x="6029801" y="295751"/>
                    <a:pt x="6029801" y="295751"/>
                  </a:cubicBezTo>
                  <a:cubicBezTo>
                    <a:pt x="6030754" y="290036"/>
                    <a:pt x="6031706" y="285274"/>
                    <a:pt x="6031706" y="281464"/>
                  </a:cubicBezTo>
                  <a:cubicBezTo>
                    <a:pt x="6032659" y="272891"/>
                    <a:pt x="6033612" y="269081"/>
                    <a:pt x="6033612" y="269081"/>
                  </a:cubicBezTo>
                  <a:cubicBezTo>
                    <a:pt x="6033612" y="269081"/>
                    <a:pt x="6031706" y="272891"/>
                    <a:pt x="6027896" y="280511"/>
                  </a:cubicBezTo>
                  <a:cubicBezTo>
                    <a:pt x="6026944" y="282416"/>
                    <a:pt x="6025992" y="284321"/>
                    <a:pt x="6025039" y="286226"/>
                  </a:cubicBezTo>
                  <a:cubicBezTo>
                    <a:pt x="6023134" y="281464"/>
                    <a:pt x="6021229" y="276701"/>
                    <a:pt x="6020276" y="272891"/>
                  </a:cubicBezTo>
                  <a:cubicBezTo>
                    <a:pt x="6013609" y="254794"/>
                    <a:pt x="6008846" y="244316"/>
                    <a:pt x="6008846" y="244316"/>
                  </a:cubicBezTo>
                  <a:cubicBezTo>
                    <a:pt x="6008846" y="244316"/>
                    <a:pt x="6011704" y="254794"/>
                    <a:pt x="6016467" y="273844"/>
                  </a:cubicBezTo>
                  <a:cubicBezTo>
                    <a:pt x="6018371" y="279559"/>
                    <a:pt x="6020276" y="286226"/>
                    <a:pt x="6022181" y="293846"/>
                  </a:cubicBezTo>
                  <a:cubicBezTo>
                    <a:pt x="6021229" y="296704"/>
                    <a:pt x="6020276" y="299561"/>
                    <a:pt x="6019324" y="302419"/>
                  </a:cubicBezTo>
                  <a:cubicBezTo>
                    <a:pt x="6018371" y="305276"/>
                    <a:pt x="6017419" y="309086"/>
                    <a:pt x="6016467" y="311944"/>
                  </a:cubicBezTo>
                  <a:cubicBezTo>
                    <a:pt x="6014562" y="318611"/>
                    <a:pt x="6012656" y="326231"/>
                    <a:pt x="6010751" y="333851"/>
                  </a:cubicBezTo>
                  <a:cubicBezTo>
                    <a:pt x="6010751" y="333851"/>
                    <a:pt x="6010751" y="334804"/>
                    <a:pt x="6010751" y="334804"/>
                  </a:cubicBezTo>
                  <a:cubicBezTo>
                    <a:pt x="6007894" y="330041"/>
                    <a:pt x="6005989" y="325279"/>
                    <a:pt x="6003131" y="320516"/>
                  </a:cubicBezTo>
                  <a:cubicBezTo>
                    <a:pt x="6001226" y="316706"/>
                    <a:pt x="5999321" y="312896"/>
                    <a:pt x="5996464" y="308134"/>
                  </a:cubicBezTo>
                  <a:cubicBezTo>
                    <a:pt x="5997417" y="306229"/>
                    <a:pt x="5998369" y="304324"/>
                    <a:pt x="5999321" y="302419"/>
                  </a:cubicBezTo>
                  <a:cubicBezTo>
                    <a:pt x="6002179" y="294799"/>
                    <a:pt x="6005037" y="289084"/>
                    <a:pt x="6007894" y="283369"/>
                  </a:cubicBezTo>
                  <a:cubicBezTo>
                    <a:pt x="6012656" y="272891"/>
                    <a:pt x="6014562" y="267176"/>
                    <a:pt x="6014562" y="267176"/>
                  </a:cubicBezTo>
                  <a:cubicBezTo>
                    <a:pt x="6014562" y="267176"/>
                    <a:pt x="6010751" y="272891"/>
                    <a:pt x="6004084" y="281464"/>
                  </a:cubicBezTo>
                  <a:cubicBezTo>
                    <a:pt x="6001226" y="286226"/>
                    <a:pt x="5997417" y="291941"/>
                    <a:pt x="5993606" y="297656"/>
                  </a:cubicBezTo>
                  <a:cubicBezTo>
                    <a:pt x="5992654" y="289084"/>
                    <a:pt x="5990749" y="281464"/>
                    <a:pt x="5989796" y="273844"/>
                  </a:cubicBezTo>
                  <a:cubicBezTo>
                    <a:pt x="5990749" y="266224"/>
                    <a:pt x="5990749" y="258604"/>
                    <a:pt x="5991701" y="250984"/>
                  </a:cubicBezTo>
                  <a:cubicBezTo>
                    <a:pt x="5992654" y="235744"/>
                    <a:pt x="5995512" y="223361"/>
                    <a:pt x="5997417" y="212884"/>
                  </a:cubicBezTo>
                  <a:cubicBezTo>
                    <a:pt x="6001226" y="191929"/>
                    <a:pt x="6003131" y="179546"/>
                    <a:pt x="6003131" y="179546"/>
                  </a:cubicBezTo>
                  <a:cubicBezTo>
                    <a:pt x="6003131" y="179546"/>
                    <a:pt x="5999321" y="190976"/>
                    <a:pt x="5993606" y="211931"/>
                  </a:cubicBezTo>
                  <a:cubicBezTo>
                    <a:pt x="5990749" y="222409"/>
                    <a:pt x="5986939" y="233839"/>
                    <a:pt x="5985034" y="248126"/>
                  </a:cubicBezTo>
                  <a:cubicBezTo>
                    <a:pt x="5981224" y="233839"/>
                    <a:pt x="5978367" y="219551"/>
                    <a:pt x="5974556" y="206216"/>
                  </a:cubicBezTo>
                  <a:cubicBezTo>
                    <a:pt x="5974556" y="206216"/>
                    <a:pt x="5974556" y="206216"/>
                    <a:pt x="5974556" y="206216"/>
                  </a:cubicBezTo>
                  <a:cubicBezTo>
                    <a:pt x="5975509" y="195739"/>
                    <a:pt x="5976462" y="186214"/>
                    <a:pt x="5977414" y="178594"/>
                  </a:cubicBezTo>
                  <a:cubicBezTo>
                    <a:pt x="5978367" y="163354"/>
                    <a:pt x="5979319" y="153829"/>
                    <a:pt x="5979319" y="153829"/>
                  </a:cubicBezTo>
                  <a:cubicBezTo>
                    <a:pt x="5979319" y="153829"/>
                    <a:pt x="5977414" y="162401"/>
                    <a:pt x="5973604" y="177641"/>
                  </a:cubicBezTo>
                  <a:cubicBezTo>
                    <a:pt x="5972651" y="181451"/>
                    <a:pt x="5971699" y="186214"/>
                    <a:pt x="5969794" y="191929"/>
                  </a:cubicBezTo>
                  <a:cubicBezTo>
                    <a:pt x="5965984" y="180499"/>
                    <a:pt x="5963126" y="170021"/>
                    <a:pt x="5959317" y="160496"/>
                  </a:cubicBezTo>
                  <a:cubicBezTo>
                    <a:pt x="5954554" y="148114"/>
                    <a:pt x="5950744" y="137636"/>
                    <a:pt x="5946934" y="130016"/>
                  </a:cubicBezTo>
                  <a:cubicBezTo>
                    <a:pt x="5939314" y="112871"/>
                    <a:pt x="5934551" y="104299"/>
                    <a:pt x="5934551" y="104299"/>
                  </a:cubicBezTo>
                  <a:cubicBezTo>
                    <a:pt x="5934551" y="104299"/>
                    <a:pt x="5937409" y="113824"/>
                    <a:pt x="5943124" y="131921"/>
                  </a:cubicBezTo>
                  <a:cubicBezTo>
                    <a:pt x="5945981" y="140494"/>
                    <a:pt x="5948839" y="150971"/>
                    <a:pt x="5951696" y="163354"/>
                  </a:cubicBezTo>
                  <a:cubicBezTo>
                    <a:pt x="5955506" y="175736"/>
                    <a:pt x="5957412" y="189071"/>
                    <a:pt x="5961221" y="204311"/>
                  </a:cubicBezTo>
                  <a:cubicBezTo>
                    <a:pt x="5962174" y="208121"/>
                    <a:pt x="5963126" y="212884"/>
                    <a:pt x="5964079" y="216694"/>
                  </a:cubicBezTo>
                  <a:cubicBezTo>
                    <a:pt x="5964079" y="218599"/>
                    <a:pt x="5963126" y="220504"/>
                    <a:pt x="5962174" y="222409"/>
                  </a:cubicBezTo>
                  <a:cubicBezTo>
                    <a:pt x="5961221" y="226219"/>
                    <a:pt x="5959317" y="230981"/>
                    <a:pt x="5958364" y="235744"/>
                  </a:cubicBezTo>
                  <a:cubicBezTo>
                    <a:pt x="5957412" y="234791"/>
                    <a:pt x="5957412" y="233839"/>
                    <a:pt x="5956459" y="232886"/>
                  </a:cubicBezTo>
                  <a:cubicBezTo>
                    <a:pt x="5956459" y="231934"/>
                    <a:pt x="5956459" y="231934"/>
                    <a:pt x="5956459" y="231934"/>
                  </a:cubicBezTo>
                  <a:cubicBezTo>
                    <a:pt x="5956459" y="231934"/>
                    <a:pt x="5956459" y="231934"/>
                    <a:pt x="5956459" y="232886"/>
                  </a:cubicBezTo>
                  <a:cubicBezTo>
                    <a:pt x="5948839" y="219551"/>
                    <a:pt x="5943124" y="208121"/>
                    <a:pt x="5938362" y="199549"/>
                  </a:cubicBezTo>
                  <a:cubicBezTo>
                    <a:pt x="5931694" y="187166"/>
                    <a:pt x="5927884" y="180499"/>
                    <a:pt x="5927884" y="180499"/>
                  </a:cubicBezTo>
                  <a:cubicBezTo>
                    <a:pt x="5927884" y="180499"/>
                    <a:pt x="5937409" y="209074"/>
                    <a:pt x="5953601" y="250984"/>
                  </a:cubicBezTo>
                  <a:cubicBezTo>
                    <a:pt x="5953601" y="252889"/>
                    <a:pt x="5952649" y="253841"/>
                    <a:pt x="5952649" y="255746"/>
                  </a:cubicBezTo>
                  <a:cubicBezTo>
                    <a:pt x="5949792" y="264319"/>
                    <a:pt x="5947887" y="272891"/>
                    <a:pt x="5945029" y="282416"/>
                  </a:cubicBezTo>
                  <a:cubicBezTo>
                    <a:pt x="5945029" y="283369"/>
                    <a:pt x="5944076" y="284321"/>
                    <a:pt x="5944076" y="285274"/>
                  </a:cubicBezTo>
                  <a:cubicBezTo>
                    <a:pt x="5943124" y="280511"/>
                    <a:pt x="5941219" y="275749"/>
                    <a:pt x="5940267" y="271939"/>
                  </a:cubicBezTo>
                  <a:cubicBezTo>
                    <a:pt x="5936456" y="259556"/>
                    <a:pt x="5932646" y="247174"/>
                    <a:pt x="5928837" y="237649"/>
                  </a:cubicBezTo>
                  <a:cubicBezTo>
                    <a:pt x="5925979" y="230981"/>
                    <a:pt x="5924074" y="225266"/>
                    <a:pt x="5922169" y="220504"/>
                  </a:cubicBezTo>
                  <a:cubicBezTo>
                    <a:pt x="5923121" y="217646"/>
                    <a:pt x="5923121" y="216694"/>
                    <a:pt x="5923121" y="216694"/>
                  </a:cubicBezTo>
                  <a:cubicBezTo>
                    <a:pt x="5923121" y="216694"/>
                    <a:pt x="5922169" y="217646"/>
                    <a:pt x="5921217" y="219551"/>
                  </a:cubicBezTo>
                  <a:cubicBezTo>
                    <a:pt x="5920264" y="216694"/>
                    <a:pt x="5919312" y="213836"/>
                    <a:pt x="5917406" y="211931"/>
                  </a:cubicBezTo>
                  <a:cubicBezTo>
                    <a:pt x="5913596" y="204311"/>
                    <a:pt x="5910739" y="198596"/>
                    <a:pt x="5908834" y="194786"/>
                  </a:cubicBezTo>
                  <a:cubicBezTo>
                    <a:pt x="5908834" y="190976"/>
                    <a:pt x="5907881" y="187166"/>
                    <a:pt x="5907881" y="183356"/>
                  </a:cubicBezTo>
                  <a:cubicBezTo>
                    <a:pt x="5905976" y="168116"/>
                    <a:pt x="5905024" y="159544"/>
                    <a:pt x="5905024" y="159544"/>
                  </a:cubicBezTo>
                  <a:cubicBezTo>
                    <a:pt x="5905024" y="159544"/>
                    <a:pt x="5904071" y="168116"/>
                    <a:pt x="5904071" y="184309"/>
                  </a:cubicBezTo>
                  <a:cubicBezTo>
                    <a:pt x="5904071" y="191929"/>
                    <a:pt x="5903119" y="201454"/>
                    <a:pt x="5903119" y="211931"/>
                  </a:cubicBezTo>
                  <a:cubicBezTo>
                    <a:pt x="5903119" y="217646"/>
                    <a:pt x="5903119" y="223361"/>
                    <a:pt x="5902167" y="229076"/>
                  </a:cubicBezTo>
                  <a:cubicBezTo>
                    <a:pt x="5902167" y="234791"/>
                    <a:pt x="5902167" y="241459"/>
                    <a:pt x="5902167" y="248126"/>
                  </a:cubicBezTo>
                  <a:cubicBezTo>
                    <a:pt x="5902167" y="254794"/>
                    <a:pt x="5902167" y="262414"/>
                    <a:pt x="5903119" y="270034"/>
                  </a:cubicBezTo>
                  <a:cubicBezTo>
                    <a:pt x="5902167" y="274796"/>
                    <a:pt x="5901214" y="279559"/>
                    <a:pt x="5900262" y="285274"/>
                  </a:cubicBezTo>
                  <a:cubicBezTo>
                    <a:pt x="5900262" y="284321"/>
                    <a:pt x="5900262" y="283369"/>
                    <a:pt x="5899309" y="282416"/>
                  </a:cubicBezTo>
                  <a:cubicBezTo>
                    <a:pt x="5897404" y="274796"/>
                    <a:pt x="5896451" y="268129"/>
                    <a:pt x="5895499" y="263366"/>
                  </a:cubicBezTo>
                  <a:cubicBezTo>
                    <a:pt x="5893594" y="255746"/>
                    <a:pt x="5892642" y="250031"/>
                    <a:pt x="5891689" y="248126"/>
                  </a:cubicBezTo>
                  <a:cubicBezTo>
                    <a:pt x="5891689" y="246221"/>
                    <a:pt x="5891689" y="245269"/>
                    <a:pt x="5891689" y="245269"/>
                  </a:cubicBezTo>
                  <a:cubicBezTo>
                    <a:pt x="5891689" y="245269"/>
                    <a:pt x="5891689" y="246221"/>
                    <a:pt x="5890737" y="247174"/>
                  </a:cubicBezTo>
                  <a:cubicBezTo>
                    <a:pt x="5890737" y="247174"/>
                    <a:pt x="5890737" y="247174"/>
                    <a:pt x="5890737" y="247174"/>
                  </a:cubicBezTo>
                  <a:cubicBezTo>
                    <a:pt x="5890737" y="247174"/>
                    <a:pt x="5890737" y="247174"/>
                    <a:pt x="5890737" y="248126"/>
                  </a:cubicBezTo>
                  <a:cubicBezTo>
                    <a:pt x="5889784" y="251936"/>
                    <a:pt x="5885974" y="261461"/>
                    <a:pt x="5881212" y="275749"/>
                  </a:cubicBezTo>
                  <a:cubicBezTo>
                    <a:pt x="5880259" y="270986"/>
                    <a:pt x="5879306" y="266224"/>
                    <a:pt x="5878354" y="262414"/>
                  </a:cubicBezTo>
                  <a:cubicBezTo>
                    <a:pt x="5875496" y="248126"/>
                    <a:pt x="5874544" y="240506"/>
                    <a:pt x="5874544" y="240506"/>
                  </a:cubicBezTo>
                  <a:cubicBezTo>
                    <a:pt x="5874544" y="240506"/>
                    <a:pt x="5874544" y="248126"/>
                    <a:pt x="5874544" y="262414"/>
                  </a:cubicBezTo>
                  <a:cubicBezTo>
                    <a:pt x="5874544" y="270034"/>
                    <a:pt x="5875496" y="279559"/>
                    <a:pt x="5875496" y="290989"/>
                  </a:cubicBezTo>
                  <a:cubicBezTo>
                    <a:pt x="5874544" y="293846"/>
                    <a:pt x="5873592" y="295751"/>
                    <a:pt x="5873592" y="298609"/>
                  </a:cubicBezTo>
                  <a:cubicBezTo>
                    <a:pt x="5872639" y="290036"/>
                    <a:pt x="5872639" y="280511"/>
                    <a:pt x="5870734" y="271939"/>
                  </a:cubicBezTo>
                  <a:cubicBezTo>
                    <a:pt x="5869781" y="278606"/>
                    <a:pt x="5868829" y="286226"/>
                    <a:pt x="5867876" y="292894"/>
                  </a:cubicBezTo>
                  <a:cubicBezTo>
                    <a:pt x="5867876" y="285274"/>
                    <a:pt x="5867876" y="276701"/>
                    <a:pt x="5866924" y="269081"/>
                  </a:cubicBezTo>
                  <a:cubicBezTo>
                    <a:pt x="5866924" y="260509"/>
                    <a:pt x="5865971" y="251936"/>
                    <a:pt x="5865971" y="243364"/>
                  </a:cubicBezTo>
                  <a:cubicBezTo>
                    <a:pt x="5870734" y="231934"/>
                    <a:pt x="5873592" y="225266"/>
                    <a:pt x="5873592" y="225266"/>
                  </a:cubicBezTo>
                  <a:cubicBezTo>
                    <a:pt x="5873592" y="225266"/>
                    <a:pt x="5870734" y="230029"/>
                    <a:pt x="5865971" y="237649"/>
                  </a:cubicBezTo>
                  <a:cubicBezTo>
                    <a:pt x="5865971" y="234791"/>
                    <a:pt x="5865971" y="232886"/>
                    <a:pt x="5865971" y="230029"/>
                  </a:cubicBezTo>
                  <a:cubicBezTo>
                    <a:pt x="5865971" y="217646"/>
                    <a:pt x="5865019" y="205264"/>
                    <a:pt x="5865019" y="194786"/>
                  </a:cubicBezTo>
                  <a:cubicBezTo>
                    <a:pt x="5864067" y="172879"/>
                    <a:pt x="5863114" y="154781"/>
                    <a:pt x="5863114" y="141446"/>
                  </a:cubicBezTo>
                  <a:cubicBezTo>
                    <a:pt x="5862162" y="128111"/>
                    <a:pt x="5862162" y="121444"/>
                    <a:pt x="5862162" y="121444"/>
                  </a:cubicBezTo>
                  <a:cubicBezTo>
                    <a:pt x="5862162" y="121444"/>
                    <a:pt x="5861209" y="129064"/>
                    <a:pt x="5859304" y="141446"/>
                  </a:cubicBezTo>
                  <a:cubicBezTo>
                    <a:pt x="5858351" y="147161"/>
                    <a:pt x="5857399" y="153829"/>
                    <a:pt x="5856446" y="161449"/>
                  </a:cubicBezTo>
                  <a:cubicBezTo>
                    <a:pt x="5855494" y="145256"/>
                    <a:pt x="5854542" y="130969"/>
                    <a:pt x="5853589" y="120491"/>
                  </a:cubicBezTo>
                  <a:cubicBezTo>
                    <a:pt x="5852637" y="106204"/>
                    <a:pt x="5851684" y="98584"/>
                    <a:pt x="5851684" y="98584"/>
                  </a:cubicBezTo>
                  <a:cubicBezTo>
                    <a:pt x="5851684" y="98584"/>
                    <a:pt x="5850731" y="106204"/>
                    <a:pt x="5849779" y="120491"/>
                  </a:cubicBezTo>
                  <a:cubicBezTo>
                    <a:pt x="5848826" y="127159"/>
                    <a:pt x="5848826" y="135731"/>
                    <a:pt x="5847874" y="146209"/>
                  </a:cubicBezTo>
                  <a:cubicBezTo>
                    <a:pt x="5846921" y="155734"/>
                    <a:pt x="5846921" y="167164"/>
                    <a:pt x="5846921" y="179546"/>
                  </a:cubicBezTo>
                  <a:cubicBezTo>
                    <a:pt x="5845969" y="203359"/>
                    <a:pt x="5845969" y="231934"/>
                    <a:pt x="5846921" y="262414"/>
                  </a:cubicBezTo>
                  <a:cubicBezTo>
                    <a:pt x="5846921" y="264319"/>
                    <a:pt x="5846921" y="267176"/>
                    <a:pt x="5846921" y="269081"/>
                  </a:cubicBezTo>
                  <a:cubicBezTo>
                    <a:pt x="5845969" y="270986"/>
                    <a:pt x="5844064" y="272891"/>
                    <a:pt x="5843112" y="274796"/>
                  </a:cubicBezTo>
                  <a:cubicBezTo>
                    <a:pt x="5842159" y="270034"/>
                    <a:pt x="5841206" y="265271"/>
                    <a:pt x="5840254" y="261461"/>
                  </a:cubicBezTo>
                  <a:cubicBezTo>
                    <a:pt x="5840254" y="254794"/>
                    <a:pt x="5840254" y="248126"/>
                    <a:pt x="5841206" y="242411"/>
                  </a:cubicBezTo>
                  <a:cubicBezTo>
                    <a:pt x="5841206" y="230029"/>
                    <a:pt x="5841206" y="223361"/>
                    <a:pt x="5841206" y="223361"/>
                  </a:cubicBezTo>
                  <a:cubicBezTo>
                    <a:pt x="5841206" y="223361"/>
                    <a:pt x="5839301" y="230029"/>
                    <a:pt x="5837396" y="242411"/>
                  </a:cubicBezTo>
                  <a:cubicBezTo>
                    <a:pt x="5837396" y="243364"/>
                    <a:pt x="5837396" y="244316"/>
                    <a:pt x="5836444" y="245269"/>
                  </a:cubicBezTo>
                  <a:cubicBezTo>
                    <a:pt x="5833587" y="233839"/>
                    <a:pt x="5831681" y="224314"/>
                    <a:pt x="5829776" y="215741"/>
                  </a:cubicBezTo>
                  <a:cubicBezTo>
                    <a:pt x="5825967" y="198596"/>
                    <a:pt x="5824062" y="189071"/>
                    <a:pt x="5824062" y="189071"/>
                  </a:cubicBezTo>
                  <a:cubicBezTo>
                    <a:pt x="5824062" y="189071"/>
                    <a:pt x="5825014" y="198596"/>
                    <a:pt x="5825967" y="215741"/>
                  </a:cubicBezTo>
                  <a:cubicBezTo>
                    <a:pt x="5826919" y="224314"/>
                    <a:pt x="5827871" y="234791"/>
                    <a:pt x="5828824" y="246221"/>
                  </a:cubicBezTo>
                  <a:cubicBezTo>
                    <a:pt x="5829776" y="252889"/>
                    <a:pt x="5830729" y="260509"/>
                    <a:pt x="5831681" y="268129"/>
                  </a:cubicBezTo>
                  <a:cubicBezTo>
                    <a:pt x="5830729" y="270034"/>
                    <a:pt x="5828824" y="272891"/>
                    <a:pt x="5826919" y="276701"/>
                  </a:cubicBezTo>
                  <a:cubicBezTo>
                    <a:pt x="5826919" y="274796"/>
                    <a:pt x="5825967" y="272891"/>
                    <a:pt x="5825967" y="270986"/>
                  </a:cubicBezTo>
                  <a:cubicBezTo>
                    <a:pt x="5825014" y="263366"/>
                    <a:pt x="5823109" y="255746"/>
                    <a:pt x="5822156" y="250031"/>
                  </a:cubicBezTo>
                  <a:cubicBezTo>
                    <a:pt x="5820251" y="238601"/>
                    <a:pt x="5818346" y="231934"/>
                    <a:pt x="5818346" y="231934"/>
                  </a:cubicBezTo>
                  <a:cubicBezTo>
                    <a:pt x="5818346" y="231934"/>
                    <a:pt x="5818346" y="238601"/>
                    <a:pt x="5818346" y="250031"/>
                  </a:cubicBezTo>
                  <a:cubicBezTo>
                    <a:pt x="5818346" y="255746"/>
                    <a:pt x="5818346" y="262414"/>
                    <a:pt x="5818346" y="270986"/>
                  </a:cubicBezTo>
                  <a:cubicBezTo>
                    <a:pt x="5816442" y="267176"/>
                    <a:pt x="5814537" y="264319"/>
                    <a:pt x="5812631" y="262414"/>
                  </a:cubicBezTo>
                  <a:lnTo>
                    <a:pt x="5812631" y="246221"/>
                  </a:lnTo>
                  <a:lnTo>
                    <a:pt x="5814537" y="220504"/>
                  </a:lnTo>
                  <a:cubicBezTo>
                    <a:pt x="5815489" y="220504"/>
                    <a:pt x="5815489" y="220504"/>
                    <a:pt x="5816442" y="221456"/>
                  </a:cubicBezTo>
                  <a:cubicBezTo>
                    <a:pt x="5817394" y="222409"/>
                    <a:pt x="5818346" y="222409"/>
                    <a:pt x="5819299" y="224314"/>
                  </a:cubicBezTo>
                  <a:cubicBezTo>
                    <a:pt x="5821204" y="226219"/>
                    <a:pt x="5821204" y="229076"/>
                    <a:pt x="5822156" y="231934"/>
                  </a:cubicBezTo>
                  <a:cubicBezTo>
                    <a:pt x="5822156" y="229076"/>
                    <a:pt x="5822156" y="226219"/>
                    <a:pt x="5821204" y="223361"/>
                  </a:cubicBezTo>
                  <a:cubicBezTo>
                    <a:pt x="5820251" y="222409"/>
                    <a:pt x="5819299" y="220504"/>
                    <a:pt x="5818346" y="219551"/>
                  </a:cubicBezTo>
                  <a:cubicBezTo>
                    <a:pt x="5817394" y="218599"/>
                    <a:pt x="5815489" y="217646"/>
                    <a:pt x="5813584" y="217646"/>
                  </a:cubicBezTo>
                  <a:lnTo>
                    <a:pt x="5811679" y="217646"/>
                  </a:lnTo>
                  <a:lnTo>
                    <a:pt x="5811679" y="219551"/>
                  </a:lnTo>
                  <a:cubicBezTo>
                    <a:pt x="5809774" y="228124"/>
                    <a:pt x="5806917" y="237649"/>
                    <a:pt x="5805012" y="246221"/>
                  </a:cubicBezTo>
                  <a:cubicBezTo>
                    <a:pt x="5804059" y="250031"/>
                    <a:pt x="5804059" y="252889"/>
                    <a:pt x="5803106" y="256699"/>
                  </a:cubicBezTo>
                  <a:cubicBezTo>
                    <a:pt x="5801201" y="258604"/>
                    <a:pt x="5799296" y="261461"/>
                    <a:pt x="5796439" y="264319"/>
                  </a:cubicBezTo>
                  <a:cubicBezTo>
                    <a:pt x="5796439" y="259556"/>
                    <a:pt x="5795487" y="256699"/>
                    <a:pt x="5795487" y="253841"/>
                  </a:cubicBezTo>
                  <a:cubicBezTo>
                    <a:pt x="5794534" y="250031"/>
                    <a:pt x="5794534" y="248126"/>
                    <a:pt x="5794534" y="248126"/>
                  </a:cubicBezTo>
                  <a:cubicBezTo>
                    <a:pt x="5794534" y="248126"/>
                    <a:pt x="5794534" y="250031"/>
                    <a:pt x="5794534" y="253841"/>
                  </a:cubicBezTo>
                  <a:cubicBezTo>
                    <a:pt x="5794534" y="257651"/>
                    <a:pt x="5794534" y="262414"/>
                    <a:pt x="5793581" y="268129"/>
                  </a:cubicBezTo>
                  <a:cubicBezTo>
                    <a:pt x="5792629" y="269081"/>
                    <a:pt x="5792629" y="269081"/>
                    <a:pt x="5791676" y="270034"/>
                  </a:cubicBezTo>
                  <a:cubicBezTo>
                    <a:pt x="5791676" y="270034"/>
                    <a:pt x="5791676" y="270034"/>
                    <a:pt x="5791676" y="270034"/>
                  </a:cubicBezTo>
                  <a:lnTo>
                    <a:pt x="5787867" y="239554"/>
                  </a:lnTo>
                  <a:cubicBezTo>
                    <a:pt x="5791676" y="229076"/>
                    <a:pt x="5793581" y="224314"/>
                    <a:pt x="5793581" y="224314"/>
                  </a:cubicBezTo>
                  <a:cubicBezTo>
                    <a:pt x="5793581" y="224314"/>
                    <a:pt x="5791676" y="228124"/>
                    <a:pt x="5786914" y="234791"/>
                  </a:cubicBezTo>
                  <a:lnTo>
                    <a:pt x="5785009" y="205264"/>
                  </a:lnTo>
                  <a:cubicBezTo>
                    <a:pt x="5788819" y="197644"/>
                    <a:pt x="5791676" y="190024"/>
                    <a:pt x="5795487" y="183356"/>
                  </a:cubicBezTo>
                  <a:cubicBezTo>
                    <a:pt x="5795487" y="183356"/>
                    <a:pt x="5795487" y="184309"/>
                    <a:pt x="5795487" y="184309"/>
                  </a:cubicBezTo>
                  <a:cubicBezTo>
                    <a:pt x="5795487" y="184309"/>
                    <a:pt x="5795487" y="183356"/>
                    <a:pt x="5795487" y="183356"/>
                  </a:cubicBezTo>
                  <a:cubicBezTo>
                    <a:pt x="5796439" y="181451"/>
                    <a:pt x="5797392" y="179546"/>
                    <a:pt x="5797392" y="178594"/>
                  </a:cubicBezTo>
                  <a:cubicBezTo>
                    <a:pt x="5803106" y="165259"/>
                    <a:pt x="5808821" y="153829"/>
                    <a:pt x="5812631" y="145256"/>
                  </a:cubicBezTo>
                  <a:cubicBezTo>
                    <a:pt x="5821204" y="126206"/>
                    <a:pt x="5825967" y="115729"/>
                    <a:pt x="5825967" y="115729"/>
                  </a:cubicBezTo>
                  <a:cubicBezTo>
                    <a:pt x="5825967" y="115729"/>
                    <a:pt x="5820251" y="125254"/>
                    <a:pt x="5809774" y="143351"/>
                  </a:cubicBezTo>
                  <a:cubicBezTo>
                    <a:pt x="5805012" y="151924"/>
                    <a:pt x="5798344" y="162401"/>
                    <a:pt x="5791676" y="173831"/>
                  </a:cubicBezTo>
                  <a:cubicBezTo>
                    <a:pt x="5790724" y="172879"/>
                    <a:pt x="5789771" y="171926"/>
                    <a:pt x="5788819" y="170974"/>
                  </a:cubicBezTo>
                  <a:cubicBezTo>
                    <a:pt x="5786914" y="170021"/>
                    <a:pt x="5785009" y="169069"/>
                    <a:pt x="5783104" y="169069"/>
                  </a:cubicBezTo>
                  <a:lnTo>
                    <a:pt x="5781199" y="169069"/>
                  </a:lnTo>
                  <a:lnTo>
                    <a:pt x="5781199" y="170974"/>
                  </a:lnTo>
                  <a:lnTo>
                    <a:pt x="5777389" y="197644"/>
                  </a:lnTo>
                  <a:cubicBezTo>
                    <a:pt x="5774531" y="204311"/>
                    <a:pt x="5770721" y="210026"/>
                    <a:pt x="5766912" y="217646"/>
                  </a:cubicBezTo>
                  <a:cubicBezTo>
                    <a:pt x="5762149" y="226219"/>
                    <a:pt x="5757387" y="234791"/>
                    <a:pt x="5752624" y="244316"/>
                  </a:cubicBezTo>
                  <a:cubicBezTo>
                    <a:pt x="5752624" y="240506"/>
                    <a:pt x="5751671" y="236696"/>
                    <a:pt x="5751671" y="233839"/>
                  </a:cubicBezTo>
                  <a:cubicBezTo>
                    <a:pt x="5750719" y="228124"/>
                    <a:pt x="5749767" y="222409"/>
                    <a:pt x="5749767" y="216694"/>
                  </a:cubicBezTo>
                  <a:cubicBezTo>
                    <a:pt x="5754529" y="199549"/>
                    <a:pt x="5757387" y="190024"/>
                    <a:pt x="5757387" y="190024"/>
                  </a:cubicBezTo>
                  <a:cubicBezTo>
                    <a:pt x="5757387" y="190024"/>
                    <a:pt x="5754529" y="197644"/>
                    <a:pt x="5749767" y="210979"/>
                  </a:cubicBezTo>
                  <a:cubicBezTo>
                    <a:pt x="5749767" y="209074"/>
                    <a:pt x="5748814" y="206216"/>
                    <a:pt x="5748814" y="204311"/>
                  </a:cubicBezTo>
                  <a:cubicBezTo>
                    <a:pt x="5746909" y="188119"/>
                    <a:pt x="5745004" y="178594"/>
                    <a:pt x="5745004" y="178594"/>
                  </a:cubicBezTo>
                  <a:cubicBezTo>
                    <a:pt x="5745004" y="178594"/>
                    <a:pt x="5745004" y="188119"/>
                    <a:pt x="5745004" y="204311"/>
                  </a:cubicBezTo>
                  <a:cubicBezTo>
                    <a:pt x="5745004" y="210026"/>
                    <a:pt x="5745004" y="215741"/>
                    <a:pt x="5745004" y="222409"/>
                  </a:cubicBezTo>
                  <a:cubicBezTo>
                    <a:pt x="5745004" y="223361"/>
                    <a:pt x="5744051" y="224314"/>
                    <a:pt x="5744051" y="225266"/>
                  </a:cubicBezTo>
                  <a:cubicBezTo>
                    <a:pt x="5740242" y="234791"/>
                    <a:pt x="5736431" y="247174"/>
                    <a:pt x="5731669" y="259556"/>
                  </a:cubicBezTo>
                  <a:cubicBezTo>
                    <a:pt x="5731669" y="259556"/>
                    <a:pt x="5731669" y="258604"/>
                    <a:pt x="5731669" y="258604"/>
                  </a:cubicBezTo>
                  <a:cubicBezTo>
                    <a:pt x="5733574" y="245269"/>
                    <a:pt x="5734526" y="238601"/>
                    <a:pt x="5734526" y="238601"/>
                  </a:cubicBezTo>
                  <a:cubicBezTo>
                    <a:pt x="5734526" y="238601"/>
                    <a:pt x="5732621" y="246221"/>
                    <a:pt x="5727859" y="258604"/>
                  </a:cubicBezTo>
                  <a:cubicBezTo>
                    <a:pt x="5726906" y="260509"/>
                    <a:pt x="5726906" y="262414"/>
                    <a:pt x="5725954" y="264319"/>
                  </a:cubicBezTo>
                  <a:cubicBezTo>
                    <a:pt x="5725954" y="264319"/>
                    <a:pt x="5725954" y="263366"/>
                    <a:pt x="5725954" y="263366"/>
                  </a:cubicBezTo>
                  <a:cubicBezTo>
                    <a:pt x="5725954" y="263366"/>
                    <a:pt x="5725954" y="262414"/>
                    <a:pt x="5725954" y="262414"/>
                  </a:cubicBezTo>
                  <a:cubicBezTo>
                    <a:pt x="5725954" y="260509"/>
                    <a:pt x="5726906" y="258604"/>
                    <a:pt x="5726906" y="256699"/>
                  </a:cubicBezTo>
                  <a:cubicBezTo>
                    <a:pt x="5727859" y="251936"/>
                    <a:pt x="5728812" y="247174"/>
                    <a:pt x="5729764" y="242411"/>
                  </a:cubicBezTo>
                  <a:cubicBezTo>
                    <a:pt x="5730717" y="237649"/>
                    <a:pt x="5731669" y="233839"/>
                    <a:pt x="5732621" y="230029"/>
                  </a:cubicBezTo>
                  <a:cubicBezTo>
                    <a:pt x="5734526" y="222409"/>
                    <a:pt x="5736431" y="215741"/>
                    <a:pt x="5737384" y="210026"/>
                  </a:cubicBezTo>
                  <a:cubicBezTo>
                    <a:pt x="5740242" y="198596"/>
                    <a:pt x="5741194" y="191929"/>
                    <a:pt x="5741194" y="191929"/>
                  </a:cubicBezTo>
                  <a:cubicBezTo>
                    <a:pt x="5741194" y="191929"/>
                    <a:pt x="5740242" y="193834"/>
                    <a:pt x="5739289" y="196691"/>
                  </a:cubicBezTo>
                  <a:cubicBezTo>
                    <a:pt x="5740242" y="192881"/>
                    <a:pt x="5740242" y="190024"/>
                    <a:pt x="5740242" y="190024"/>
                  </a:cubicBezTo>
                  <a:cubicBezTo>
                    <a:pt x="5740242" y="190024"/>
                    <a:pt x="5737384" y="197644"/>
                    <a:pt x="5731669" y="211931"/>
                  </a:cubicBezTo>
                  <a:cubicBezTo>
                    <a:pt x="5730717" y="215741"/>
                    <a:pt x="5728812" y="219551"/>
                    <a:pt x="5726906" y="224314"/>
                  </a:cubicBezTo>
                  <a:cubicBezTo>
                    <a:pt x="5725954" y="225266"/>
                    <a:pt x="5725954" y="227171"/>
                    <a:pt x="5725001" y="228124"/>
                  </a:cubicBezTo>
                  <a:cubicBezTo>
                    <a:pt x="5723096" y="231934"/>
                    <a:pt x="5722144" y="235744"/>
                    <a:pt x="5720239" y="240506"/>
                  </a:cubicBezTo>
                  <a:cubicBezTo>
                    <a:pt x="5719287" y="243364"/>
                    <a:pt x="5718334" y="246221"/>
                    <a:pt x="5717381" y="250031"/>
                  </a:cubicBezTo>
                  <a:cubicBezTo>
                    <a:pt x="5716429" y="251936"/>
                    <a:pt x="5716429" y="252889"/>
                    <a:pt x="5715476" y="254794"/>
                  </a:cubicBezTo>
                  <a:cubicBezTo>
                    <a:pt x="5713571" y="260509"/>
                    <a:pt x="5711667" y="266224"/>
                    <a:pt x="5709762" y="272891"/>
                  </a:cubicBezTo>
                  <a:cubicBezTo>
                    <a:pt x="5707856" y="278606"/>
                    <a:pt x="5705951" y="284321"/>
                    <a:pt x="5704046" y="290989"/>
                  </a:cubicBezTo>
                  <a:cubicBezTo>
                    <a:pt x="5701189" y="285274"/>
                    <a:pt x="5699284" y="280511"/>
                    <a:pt x="5696426" y="275749"/>
                  </a:cubicBezTo>
                  <a:cubicBezTo>
                    <a:pt x="5695474" y="271939"/>
                    <a:pt x="5695474" y="269081"/>
                    <a:pt x="5695474" y="269081"/>
                  </a:cubicBezTo>
                  <a:cubicBezTo>
                    <a:pt x="5695474" y="269081"/>
                    <a:pt x="5695474" y="270034"/>
                    <a:pt x="5695474" y="272891"/>
                  </a:cubicBezTo>
                  <a:cubicBezTo>
                    <a:pt x="5692617" y="268129"/>
                    <a:pt x="5690712" y="263366"/>
                    <a:pt x="5688806" y="259556"/>
                  </a:cubicBezTo>
                  <a:cubicBezTo>
                    <a:pt x="5683092" y="249079"/>
                    <a:pt x="5680234" y="243364"/>
                    <a:pt x="5680234" y="243364"/>
                  </a:cubicBezTo>
                  <a:cubicBezTo>
                    <a:pt x="5680234" y="243364"/>
                    <a:pt x="5682139" y="250031"/>
                    <a:pt x="5684996" y="260509"/>
                  </a:cubicBezTo>
                  <a:cubicBezTo>
                    <a:pt x="5687854" y="269081"/>
                    <a:pt x="5690712" y="279559"/>
                    <a:pt x="5694521" y="292894"/>
                  </a:cubicBezTo>
                  <a:cubicBezTo>
                    <a:pt x="5694521" y="297656"/>
                    <a:pt x="5694521" y="302419"/>
                    <a:pt x="5694521" y="309086"/>
                  </a:cubicBezTo>
                  <a:cubicBezTo>
                    <a:pt x="5694521" y="313849"/>
                    <a:pt x="5694521" y="318611"/>
                    <a:pt x="5694521" y="323374"/>
                  </a:cubicBezTo>
                  <a:cubicBezTo>
                    <a:pt x="5693569" y="326231"/>
                    <a:pt x="5692617" y="329089"/>
                    <a:pt x="5691664" y="331946"/>
                  </a:cubicBezTo>
                  <a:cubicBezTo>
                    <a:pt x="5690712" y="330994"/>
                    <a:pt x="5690712" y="330041"/>
                    <a:pt x="5689759" y="329089"/>
                  </a:cubicBezTo>
                  <a:lnTo>
                    <a:pt x="5689759" y="320516"/>
                  </a:lnTo>
                  <a:cubicBezTo>
                    <a:pt x="5688806" y="309086"/>
                    <a:pt x="5688806" y="297656"/>
                    <a:pt x="5687854" y="286226"/>
                  </a:cubicBezTo>
                  <a:cubicBezTo>
                    <a:pt x="5686901" y="297656"/>
                    <a:pt x="5685949" y="308134"/>
                    <a:pt x="5684996" y="319564"/>
                  </a:cubicBezTo>
                  <a:cubicBezTo>
                    <a:pt x="5684044" y="317659"/>
                    <a:pt x="5683092" y="315754"/>
                    <a:pt x="5681187" y="312896"/>
                  </a:cubicBezTo>
                  <a:cubicBezTo>
                    <a:pt x="5679281" y="299561"/>
                    <a:pt x="5677376" y="286226"/>
                    <a:pt x="5675471" y="273844"/>
                  </a:cubicBezTo>
                  <a:cubicBezTo>
                    <a:pt x="5674519" y="267176"/>
                    <a:pt x="5673567" y="260509"/>
                    <a:pt x="5672614" y="253841"/>
                  </a:cubicBezTo>
                  <a:cubicBezTo>
                    <a:pt x="5671662" y="247174"/>
                    <a:pt x="5671662" y="241459"/>
                    <a:pt x="5670709" y="235744"/>
                  </a:cubicBezTo>
                  <a:cubicBezTo>
                    <a:pt x="5669756" y="224314"/>
                    <a:pt x="5668804" y="214789"/>
                    <a:pt x="5667851" y="207169"/>
                  </a:cubicBezTo>
                  <a:cubicBezTo>
                    <a:pt x="5666899" y="198596"/>
                    <a:pt x="5665946" y="192881"/>
                    <a:pt x="5665946" y="188119"/>
                  </a:cubicBezTo>
                  <a:cubicBezTo>
                    <a:pt x="5666899" y="185261"/>
                    <a:pt x="5666899" y="183356"/>
                    <a:pt x="5666899" y="183356"/>
                  </a:cubicBezTo>
                  <a:cubicBezTo>
                    <a:pt x="5666899" y="183356"/>
                    <a:pt x="5665946" y="184309"/>
                    <a:pt x="5665946" y="186214"/>
                  </a:cubicBezTo>
                  <a:cubicBezTo>
                    <a:pt x="5665946" y="183356"/>
                    <a:pt x="5664994" y="181451"/>
                    <a:pt x="5664994" y="181451"/>
                  </a:cubicBezTo>
                  <a:cubicBezTo>
                    <a:pt x="5664994" y="181451"/>
                    <a:pt x="5664994" y="184309"/>
                    <a:pt x="5664994" y="188119"/>
                  </a:cubicBezTo>
                  <a:cubicBezTo>
                    <a:pt x="5663089" y="192881"/>
                    <a:pt x="5659279" y="201454"/>
                    <a:pt x="5654517" y="211931"/>
                  </a:cubicBezTo>
                  <a:cubicBezTo>
                    <a:pt x="5654517" y="210026"/>
                    <a:pt x="5654517" y="207169"/>
                    <a:pt x="5653564" y="205264"/>
                  </a:cubicBezTo>
                  <a:cubicBezTo>
                    <a:pt x="5652612" y="199549"/>
                    <a:pt x="5652612" y="193834"/>
                    <a:pt x="5652612" y="189071"/>
                  </a:cubicBezTo>
                  <a:cubicBezTo>
                    <a:pt x="5655469" y="183356"/>
                    <a:pt x="5657374" y="179546"/>
                    <a:pt x="5657374" y="179546"/>
                  </a:cubicBezTo>
                  <a:cubicBezTo>
                    <a:pt x="5657374" y="179546"/>
                    <a:pt x="5655469" y="182404"/>
                    <a:pt x="5652612" y="187166"/>
                  </a:cubicBezTo>
                  <a:cubicBezTo>
                    <a:pt x="5652612" y="186214"/>
                    <a:pt x="5652612" y="186214"/>
                    <a:pt x="5652612" y="185261"/>
                  </a:cubicBezTo>
                  <a:cubicBezTo>
                    <a:pt x="5651659" y="173831"/>
                    <a:pt x="5651659" y="167164"/>
                    <a:pt x="5651659" y="167164"/>
                  </a:cubicBezTo>
                  <a:cubicBezTo>
                    <a:pt x="5651659" y="167164"/>
                    <a:pt x="5650706" y="171926"/>
                    <a:pt x="5649754" y="179546"/>
                  </a:cubicBezTo>
                  <a:cubicBezTo>
                    <a:pt x="5649754" y="179546"/>
                    <a:pt x="5649754" y="178594"/>
                    <a:pt x="5649754" y="178594"/>
                  </a:cubicBezTo>
                  <a:cubicBezTo>
                    <a:pt x="5648801" y="171926"/>
                    <a:pt x="5648801" y="166211"/>
                    <a:pt x="5647849" y="159544"/>
                  </a:cubicBezTo>
                  <a:cubicBezTo>
                    <a:pt x="5647849" y="153829"/>
                    <a:pt x="5646896" y="148114"/>
                    <a:pt x="5646896" y="142399"/>
                  </a:cubicBezTo>
                  <a:cubicBezTo>
                    <a:pt x="5645944" y="131921"/>
                    <a:pt x="5644992" y="122396"/>
                    <a:pt x="5645944" y="114776"/>
                  </a:cubicBezTo>
                  <a:cubicBezTo>
                    <a:pt x="5645944" y="99536"/>
                    <a:pt x="5644992" y="90011"/>
                    <a:pt x="5644992" y="90011"/>
                  </a:cubicBezTo>
                  <a:cubicBezTo>
                    <a:pt x="5644992" y="90011"/>
                    <a:pt x="5644039" y="98584"/>
                    <a:pt x="5641181" y="113824"/>
                  </a:cubicBezTo>
                  <a:cubicBezTo>
                    <a:pt x="5640229" y="121444"/>
                    <a:pt x="5639276" y="130969"/>
                    <a:pt x="5639276" y="141446"/>
                  </a:cubicBezTo>
                  <a:cubicBezTo>
                    <a:pt x="5639276" y="147161"/>
                    <a:pt x="5638324" y="152876"/>
                    <a:pt x="5638324" y="158591"/>
                  </a:cubicBezTo>
                  <a:cubicBezTo>
                    <a:pt x="5638324" y="164306"/>
                    <a:pt x="5638324" y="170974"/>
                    <a:pt x="5638324" y="177641"/>
                  </a:cubicBezTo>
                  <a:cubicBezTo>
                    <a:pt x="5638324" y="186214"/>
                    <a:pt x="5638324" y="195739"/>
                    <a:pt x="5639276" y="205264"/>
                  </a:cubicBezTo>
                  <a:cubicBezTo>
                    <a:pt x="5638324" y="206216"/>
                    <a:pt x="5638324" y="207169"/>
                    <a:pt x="5637371" y="208121"/>
                  </a:cubicBezTo>
                  <a:cubicBezTo>
                    <a:pt x="5637371" y="208121"/>
                    <a:pt x="5636419" y="209074"/>
                    <a:pt x="5636419" y="209074"/>
                  </a:cubicBezTo>
                  <a:cubicBezTo>
                    <a:pt x="5636419" y="208121"/>
                    <a:pt x="5636419" y="208121"/>
                    <a:pt x="5636419" y="208121"/>
                  </a:cubicBezTo>
                  <a:cubicBezTo>
                    <a:pt x="5636419" y="208121"/>
                    <a:pt x="5636419" y="208121"/>
                    <a:pt x="5636419" y="209074"/>
                  </a:cubicBezTo>
                  <a:cubicBezTo>
                    <a:pt x="5635467" y="210979"/>
                    <a:pt x="5633562" y="212884"/>
                    <a:pt x="5631656" y="215741"/>
                  </a:cubicBezTo>
                  <a:cubicBezTo>
                    <a:pt x="5628799" y="201454"/>
                    <a:pt x="5626894" y="192881"/>
                    <a:pt x="5626894" y="192881"/>
                  </a:cubicBezTo>
                  <a:cubicBezTo>
                    <a:pt x="5626894" y="192881"/>
                    <a:pt x="5626894" y="204311"/>
                    <a:pt x="5626894" y="222409"/>
                  </a:cubicBezTo>
                  <a:cubicBezTo>
                    <a:pt x="5626894" y="222409"/>
                    <a:pt x="5626894" y="222409"/>
                    <a:pt x="5626894" y="223361"/>
                  </a:cubicBezTo>
                  <a:cubicBezTo>
                    <a:pt x="5624037" y="219551"/>
                    <a:pt x="5621179" y="215741"/>
                    <a:pt x="5618321" y="211931"/>
                  </a:cubicBezTo>
                  <a:cubicBezTo>
                    <a:pt x="5608796" y="199549"/>
                    <a:pt x="5601176" y="189071"/>
                    <a:pt x="5593556" y="181451"/>
                  </a:cubicBezTo>
                  <a:cubicBezTo>
                    <a:pt x="5579269" y="165259"/>
                    <a:pt x="5570696" y="155734"/>
                    <a:pt x="5570696" y="155734"/>
                  </a:cubicBezTo>
                  <a:cubicBezTo>
                    <a:pt x="5570696" y="155734"/>
                    <a:pt x="5577364" y="166211"/>
                    <a:pt x="5590699" y="184309"/>
                  </a:cubicBezTo>
                  <a:cubicBezTo>
                    <a:pt x="5597367" y="192881"/>
                    <a:pt x="5604034" y="204311"/>
                    <a:pt x="5612606" y="217646"/>
                  </a:cubicBezTo>
                  <a:cubicBezTo>
                    <a:pt x="5613559" y="219551"/>
                    <a:pt x="5614512" y="221456"/>
                    <a:pt x="5616417" y="223361"/>
                  </a:cubicBezTo>
                  <a:cubicBezTo>
                    <a:pt x="5617369" y="226219"/>
                    <a:pt x="5618321" y="230029"/>
                    <a:pt x="5620226" y="233839"/>
                  </a:cubicBezTo>
                  <a:cubicBezTo>
                    <a:pt x="5620226" y="233839"/>
                    <a:pt x="5620226" y="233839"/>
                    <a:pt x="5620226" y="234791"/>
                  </a:cubicBezTo>
                  <a:cubicBezTo>
                    <a:pt x="5619274" y="236696"/>
                    <a:pt x="5618321" y="238601"/>
                    <a:pt x="5616417" y="241459"/>
                  </a:cubicBezTo>
                  <a:cubicBezTo>
                    <a:pt x="5616417" y="241459"/>
                    <a:pt x="5616417" y="240506"/>
                    <a:pt x="5616417" y="240506"/>
                  </a:cubicBezTo>
                  <a:cubicBezTo>
                    <a:pt x="5616417" y="240506"/>
                    <a:pt x="5616417" y="240506"/>
                    <a:pt x="5616417" y="241459"/>
                  </a:cubicBezTo>
                  <a:cubicBezTo>
                    <a:pt x="5615464" y="242411"/>
                    <a:pt x="5614512" y="244316"/>
                    <a:pt x="5614512" y="245269"/>
                  </a:cubicBezTo>
                  <a:cubicBezTo>
                    <a:pt x="5608796" y="255746"/>
                    <a:pt x="5602129" y="267176"/>
                    <a:pt x="5594509" y="280511"/>
                  </a:cubicBezTo>
                  <a:cubicBezTo>
                    <a:pt x="5594509" y="278606"/>
                    <a:pt x="5594509" y="277654"/>
                    <a:pt x="5594509" y="275749"/>
                  </a:cubicBezTo>
                  <a:cubicBezTo>
                    <a:pt x="5594509" y="272891"/>
                    <a:pt x="5594509" y="270986"/>
                    <a:pt x="5594509" y="268129"/>
                  </a:cubicBezTo>
                  <a:cubicBezTo>
                    <a:pt x="5595462" y="260509"/>
                    <a:pt x="5596414" y="256699"/>
                    <a:pt x="5596414" y="256699"/>
                  </a:cubicBezTo>
                  <a:cubicBezTo>
                    <a:pt x="5596414" y="256699"/>
                    <a:pt x="5595462" y="258604"/>
                    <a:pt x="5594509" y="263366"/>
                  </a:cubicBezTo>
                  <a:cubicBezTo>
                    <a:pt x="5594509" y="263366"/>
                    <a:pt x="5594509" y="262414"/>
                    <a:pt x="5594509" y="262414"/>
                  </a:cubicBezTo>
                  <a:cubicBezTo>
                    <a:pt x="5593556" y="257651"/>
                    <a:pt x="5593556" y="253841"/>
                    <a:pt x="5592604" y="250031"/>
                  </a:cubicBezTo>
                  <a:cubicBezTo>
                    <a:pt x="5591651" y="243364"/>
                    <a:pt x="5590699" y="238601"/>
                    <a:pt x="5590699" y="232886"/>
                  </a:cubicBezTo>
                  <a:cubicBezTo>
                    <a:pt x="5594509" y="223361"/>
                    <a:pt x="5596414" y="217646"/>
                    <a:pt x="5596414" y="217646"/>
                  </a:cubicBezTo>
                  <a:cubicBezTo>
                    <a:pt x="5596414" y="217646"/>
                    <a:pt x="5593556" y="221456"/>
                    <a:pt x="5589746" y="230029"/>
                  </a:cubicBezTo>
                  <a:cubicBezTo>
                    <a:pt x="5589746" y="230029"/>
                    <a:pt x="5589746" y="230029"/>
                    <a:pt x="5589746" y="230029"/>
                  </a:cubicBezTo>
                  <a:cubicBezTo>
                    <a:pt x="5587842" y="218599"/>
                    <a:pt x="5586889" y="211931"/>
                    <a:pt x="5586889" y="211931"/>
                  </a:cubicBezTo>
                  <a:cubicBezTo>
                    <a:pt x="5586889" y="211931"/>
                    <a:pt x="5585937" y="218599"/>
                    <a:pt x="5585937" y="230029"/>
                  </a:cubicBezTo>
                  <a:cubicBezTo>
                    <a:pt x="5585937" y="230029"/>
                    <a:pt x="5585937" y="230981"/>
                    <a:pt x="5585937" y="230981"/>
                  </a:cubicBezTo>
                  <a:cubicBezTo>
                    <a:pt x="5584984" y="225266"/>
                    <a:pt x="5584031" y="219551"/>
                    <a:pt x="5583079" y="213836"/>
                  </a:cubicBezTo>
                  <a:cubicBezTo>
                    <a:pt x="5583079" y="223361"/>
                    <a:pt x="5583079" y="232886"/>
                    <a:pt x="5583079" y="242411"/>
                  </a:cubicBezTo>
                  <a:cubicBezTo>
                    <a:pt x="5582126" y="243364"/>
                    <a:pt x="5582126" y="245269"/>
                    <a:pt x="5581174" y="246221"/>
                  </a:cubicBezTo>
                  <a:cubicBezTo>
                    <a:pt x="5580221" y="247174"/>
                    <a:pt x="5579269" y="249079"/>
                    <a:pt x="5579269" y="250031"/>
                  </a:cubicBezTo>
                  <a:cubicBezTo>
                    <a:pt x="5576412" y="235744"/>
                    <a:pt x="5574506" y="221456"/>
                    <a:pt x="5571649" y="209074"/>
                  </a:cubicBezTo>
                  <a:cubicBezTo>
                    <a:pt x="5570696" y="202406"/>
                    <a:pt x="5568792" y="194786"/>
                    <a:pt x="5567839" y="189071"/>
                  </a:cubicBezTo>
                  <a:cubicBezTo>
                    <a:pt x="5565934" y="182404"/>
                    <a:pt x="5564981" y="176689"/>
                    <a:pt x="5563076" y="170974"/>
                  </a:cubicBezTo>
                  <a:cubicBezTo>
                    <a:pt x="5560219" y="159544"/>
                    <a:pt x="5557362" y="150019"/>
                    <a:pt x="5555456" y="141446"/>
                  </a:cubicBezTo>
                  <a:cubicBezTo>
                    <a:pt x="5550694" y="125254"/>
                    <a:pt x="5548789" y="115729"/>
                    <a:pt x="5548789" y="115729"/>
                  </a:cubicBezTo>
                  <a:cubicBezTo>
                    <a:pt x="5548789" y="115729"/>
                    <a:pt x="5549742" y="125254"/>
                    <a:pt x="5551646" y="142399"/>
                  </a:cubicBezTo>
                  <a:cubicBezTo>
                    <a:pt x="5552599" y="150971"/>
                    <a:pt x="5554504" y="160496"/>
                    <a:pt x="5555456" y="172879"/>
                  </a:cubicBezTo>
                  <a:cubicBezTo>
                    <a:pt x="5556409" y="178594"/>
                    <a:pt x="5557362" y="185261"/>
                    <a:pt x="5558314" y="190976"/>
                  </a:cubicBezTo>
                  <a:cubicBezTo>
                    <a:pt x="5559267" y="197644"/>
                    <a:pt x="5559267" y="204311"/>
                    <a:pt x="5560219" y="211931"/>
                  </a:cubicBezTo>
                  <a:cubicBezTo>
                    <a:pt x="5561171" y="226219"/>
                    <a:pt x="5563076" y="241459"/>
                    <a:pt x="5564981" y="257651"/>
                  </a:cubicBezTo>
                  <a:cubicBezTo>
                    <a:pt x="5565934" y="263366"/>
                    <a:pt x="5565934" y="269081"/>
                    <a:pt x="5565934" y="274796"/>
                  </a:cubicBezTo>
                  <a:cubicBezTo>
                    <a:pt x="5564981" y="275749"/>
                    <a:pt x="5564981" y="277654"/>
                    <a:pt x="5564029" y="278606"/>
                  </a:cubicBezTo>
                  <a:cubicBezTo>
                    <a:pt x="5563076" y="280511"/>
                    <a:pt x="5562124" y="282416"/>
                    <a:pt x="5561171" y="284321"/>
                  </a:cubicBezTo>
                  <a:cubicBezTo>
                    <a:pt x="5557362" y="277654"/>
                    <a:pt x="5553551" y="270034"/>
                    <a:pt x="5549742" y="264319"/>
                  </a:cubicBezTo>
                  <a:cubicBezTo>
                    <a:pt x="5549742" y="263366"/>
                    <a:pt x="5548789" y="262414"/>
                    <a:pt x="5548789" y="261461"/>
                  </a:cubicBezTo>
                  <a:cubicBezTo>
                    <a:pt x="5546884" y="255746"/>
                    <a:pt x="5545931" y="250984"/>
                    <a:pt x="5544026" y="247174"/>
                  </a:cubicBezTo>
                  <a:cubicBezTo>
                    <a:pt x="5545931" y="234791"/>
                    <a:pt x="5547837" y="228124"/>
                    <a:pt x="5547837" y="228124"/>
                  </a:cubicBezTo>
                  <a:cubicBezTo>
                    <a:pt x="5547837" y="228124"/>
                    <a:pt x="5545931" y="232886"/>
                    <a:pt x="5542121" y="241459"/>
                  </a:cubicBezTo>
                  <a:cubicBezTo>
                    <a:pt x="5542121" y="240506"/>
                    <a:pt x="5541169" y="239554"/>
                    <a:pt x="5541169" y="238601"/>
                  </a:cubicBezTo>
                  <a:cubicBezTo>
                    <a:pt x="5540217" y="235744"/>
                    <a:pt x="5539264" y="232886"/>
                    <a:pt x="5538312" y="230029"/>
                  </a:cubicBezTo>
                  <a:cubicBezTo>
                    <a:pt x="5546884" y="192881"/>
                    <a:pt x="5551646" y="167164"/>
                    <a:pt x="5551646" y="167164"/>
                  </a:cubicBezTo>
                  <a:cubicBezTo>
                    <a:pt x="5551646" y="167164"/>
                    <a:pt x="5542121" y="190024"/>
                    <a:pt x="5528787" y="225266"/>
                  </a:cubicBezTo>
                  <a:cubicBezTo>
                    <a:pt x="5526881" y="221456"/>
                    <a:pt x="5524976" y="219551"/>
                    <a:pt x="5524976" y="217646"/>
                  </a:cubicBezTo>
                  <a:cubicBezTo>
                    <a:pt x="5524024" y="213836"/>
                    <a:pt x="5524024" y="210026"/>
                    <a:pt x="5524024" y="207169"/>
                  </a:cubicBezTo>
                  <a:cubicBezTo>
                    <a:pt x="5522119" y="192881"/>
                    <a:pt x="5521167" y="185261"/>
                    <a:pt x="5521167" y="185261"/>
                  </a:cubicBezTo>
                  <a:cubicBezTo>
                    <a:pt x="5521167" y="185261"/>
                    <a:pt x="5521167" y="192881"/>
                    <a:pt x="5520214" y="207169"/>
                  </a:cubicBezTo>
                  <a:cubicBezTo>
                    <a:pt x="5520214" y="213836"/>
                    <a:pt x="5520214" y="222409"/>
                    <a:pt x="5520214" y="232886"/>
                  </a:cubicBezTo>
                  <a:cubicBezTo>
                    <a:pt x="5520214" y="237649"/>
                    <a:pt x="5520214" y="243364"/>
                    <a:pt x="5520214" y="248126"/>
                  </a:cubicBezTo>
                  <a:cubicBezTo>
                    <a:pt x="5520214" y="249079"/>
                    <a:pt x="5520214" y="250031"/>
                    <a:pt x="5520214" y="250984"/>
                  </a:cubicBezTo>
                  <a:cubicBezTo>
                    <a:pt x="5515451" y="264319"/>
                    <a:pt x="5510689" y="277654"/>
                    <a:pt x="5505926" y="291941"/>
                  </a:cubicBezTo>
                  <a:cubicBezTo>
                    <a:pt x="5504974" y="294799"/>
                    <a:pt x="5504021" y="297656"/>
                    <a:pt x="5503069" y="300514"/>
                  </a:cubicBezTo>
                  <a:cubicBezTo>
                    <a:pt x="5501164" y="297656"/>
                    <a:pt x="5500212" y="293846"/>
                    <a:pt x="5498306" y="290989"/>
                  </a:cubicBezTo>
                  <a:cubicBezTo>
                    <a:pt x="5498306" y="289084"/>
                    <a:pt x="5498306" y="287179"/>
                    <a:pt x="5498306" y="285274"/>
                  </a:cubicBezTo>
                  <a:cubicBezTo>
                    <a:pt x="5499259" y="274796"/>
                    <a:pt x="5499259" y="269081"/>
                    <a:pt x="5499259" y="269081"/>
                  </a:cubicBezTo>
                  <a:cubicBezTo>
                    <a:pt x="5499259" y="269081"/>
                    <a:pt x="5497354" y="274796"/>
                    <a:pt x="5494496" y="284321"/>
                  </a:cubicBezTo>
                  <a:cubicBezTo>
                    <a:pt x="5489734" y="273844"/>
                    <a:pt x="5484971" y="265271"/>
                    <a:pt x="5481162" y="257651"/>
                  </a:cubicBezTo>
                  <a:cubicBezTo>
                    <a:pt x="5482114" y="255746"/>
                    <a:pt x="5482114" y="253841"/>
                    <a:pt x="5483067" y="251936"/>
                  </a:cubicBezTo>
                  <a:cubicBezTo>
                    <a:pt x="5486876" y="241459"/>
                    <a:pt x="5489734" y="231934"/>
                    <a:pt x="5492592" y="224314"/>
                  </a:cubicBezTo>
                  <a:cubicBezTo>
                    <a:pt x="5497354" y="209074"/>
                    <a:pt x="5500212" y="200501"/>
                    <a:pt x="5500212" y="200501"/>
                  </a:cubicBezTo>
                  <a:cubicBezTo>
                    <a:pt x="5500212" y="200501"/>
                    <a:pt x="5498306" y="205264"/>
                    <a:pt x="5493544" y="212884"/>
                  </a:cubicBezTo>
                  <a:cubicBezTo>
                    <a:pt x="5496401" y="203359"/>
                    <a:pt x="5500212" y="194786"/>
                    <a:pt x="5502117" y="188119"/>
                  </a:cubicBezTo>
                  <a:cubicBezTo>
                    <a:pt x="5507831" y="170974"/>
                    <a:pt x="5511642" y="160496"/>
                    <a:pt x="5511642" y="160496"/>
                  </a:cubicBezTo>
                  <a:cubicBezTo>
                    <a:pt x="5511642" y="160496"/>
                    <a:pt x="5506879" y="170021"/>
                    <a:pt x="5498306" y="186214"/>
                  </a:cubicBezTo>
                  <a:cubicBezTo>
                    <a:pt x="5494496" y="194786"/>
                    <a:pt x="5489734" y="204311"/>
                    <a:pt x="5484019" y="215741"/>
                  </a:cubicBezTo>
                  <a:cubicBezTo>
                    <a:pt x="5481162" y="221456"/>
                    <a:pt x="5478304" y="227171"/>
                    <a:pt x="5475446" y="233839"/>
                  </a:cubicBezTo>
                  <a:cubicBezTo>
                    <a:pt x="5474494" y="236696"/>
                    <a:pt x="5473542" y="238601"/>
                    <a:pt x="5472589" y="241459"/>
                  </a:cubicBezTo>
                  <a:cubicBezTo>
                    <a:pt x="5465921" y="228124"/>
                    <a:pt x="5461159" y="221456"/>
                    <a:pt x="5461159" y="221456"/>
                  </a:cubicBezTo>
                  <a:cubicBezTo>
                    <a:pt x="5461159" y="221456"/>
                    <a:pt x="5464017" y="231934"/>
                    <a:pt x="5469731" y="248126"/>
                  </a:cubicBezTo>
                  <a:cubicBezTo>
                    <a:pt x="5468779" y="250031"/>
                    <a:pt x="5467826" y="252889"/>
                    <a:pt x="5466874" y="254794"/>
                  </a:cubicBezTo>
                  <a:cubicBezTo>
                    <a:pt x="5466874" y="255746"/>
                    <a:pt x="5465921" y="256699"/>
                    <a:pt x="5465921" y="257651"/>
                  </a:cubicBezTo>
                  <a:cubicBezTo>
                    <a:pt x="5465921" y="257651"/>
                    <a:pt x="5464969" y="256699"/>
                    <a:pt x="5464969" y="256699"/>
                  </a:cubicBezTo>
                  <a:cubicBezTo>
                    <a:pt x="5461159" y="252889"/>
                    <a:pt x="5458301" y="249079"/>
                    <a:pt x="5455444" y="246221"/>
                  </a:cubicBezTo>
                  <a:cubicBezTo>
                    <a:pt x="5454492" y="240506"/>
                    <a:pt x="5453539" y="234791"/>
                    <a:pt x="5452587" y="230029"/>
                  </a:cubicBezTo>
                  <a:cubicBezTo>
                    <a:pt x="5451634" y="224314"/>
                    <a:pt x="5449729" y="219551"/>
                    <a:pt x="5448776" y="214789"/>
                  </a:cubicBezTo>
                  <a:cubicBezTo>
                    <a:pt x="5445919" y="205264"/>
                    <a:pt x="5444014" y="196691"/>
                    <a:pt x="5442109" y="190024"/>
                  </a:cubicBezTo>
                  <a:cubicBezTo>
                    <a:pt x="5442109" y="190024"/>
                    <a:pt x="5442109" y="190024"/>
                    <a:pt x="5442109" y="190024"/>
                  </a:cubicBezTo>
                  <a:cubicBezTo>
                    <a:pt x="5442109" y="184309"/>
                    <a:pt x="5442109" y="180499"/>
                    <a:pt x="5442109" y="180499"/>
                  </a:cubicBezTo>
                  <a:cubicBezTo>
                    <a:pt x="5442109" y="180499"/>
                    <a:pt x="5442109" y="182404"/>
                    <a:pt x="5441156" y="186214"/>
                  </a:cubicBezTo>
                  <a:cubicBezTo>
                    <a:pt x="5438299" y="174784"/>
                    <a:pt x="5436394" y="169069"/>
                    <a:pt x="5436394" y="169069"/>
                  </a:cubicBezTo>
                  <a:cubicBezTo>
                    <a:pt x="5436394" y="169069"/>
                    <a:pt x="5437346" y="176689"/>
                    <a:pt x="5438299" y="190976"/>
                  </a:cubicBezTo>
                  <a:cubicBezTo>
                    <a:pt x="5438299" y="192881"/>
                    <a:pt x="5438299" y="193834"/>
                    <a:pt x="5439251" y="195739"/>
                  </a:cubicBezTo>
                  <a:cubicBezTo>
                    <a:pt x="5437346" y="203359"/>
                    <a:pt x="5435442" y="212884"/>
                    <a:pt x="5433537" y="225266"/>
                  </a:cubicBezTo>
                  <a:cubicBezTo>
                    <a:pt x="5430679" y="223361"/>
                    <a:pt x="5429726" y="221456"/>
                    <a:pt x="5429726" y="221456"/>
                  </a:cubicBezTo>
                  <a:cubicBezTo>
                    <a:pt x="5429726" y="221456"/>
                    <a:pt x="5430679" y="223361"/>
                    <a:pt x="5433537" y="225266"/>
                  </a:cubicBezTo>
                  <a:cubicBezTo>
                    <a:pt x="5432584" y="230029"/>
                    <a:pt x="5431631" y="235744"/>
                    <a:pt x="5430679" y="240506"/>
                  </a:cubicBezTo>
                  <a:cubicBezTo>
                    <a:pt x="5429726" y="232886"/>
                    <a:pt x="5428774" y="228124"/>
                    <a:pt x="5428774" y="228124"/>
                  </a:cubicBezTo>
                  <a:cubicBezTo>
                    <a:pt x="5428774" y="228124"/>
                    <a:pt x="5428774" y="232886"/>
                    <a:pt x="5428774" y="242411"/>
                  </a:cubicBezTo>
                  <a:cubicBezTo>
                    <a:pt x="5426869" y="234791"/>
                    <a:pt x="5425917" y="228124"/>
                    <a:pt x="5424012" y="222409"/>
                  </a:cubicBezTo>
                  <a:cubicBezTo>
                    <a:pt x="5421154" y="208121"/>
                    <a:pt x="5419249" y="200501"/>
                    <a:pt x="5419249" y="200501"/>
                  </a:cubicBezTo>
                  <a:cubicBezTo>
                    <a:pt x="5419249" y="200501"/>
                    <a:pt x="5419249" y="209074"/>
                    <a:pt x="5420201" y="223361"/>
                  </a:cubicBezTo>
                  <a:cubicBezTo>
                    <a:pt x="5421154" y="235744"/>
                    <a:pt x="5422106" y="253841"/>
                    <a:pt x="5424964" y="274796"/>
                  </a:cubicBezTo>
                  <a:cubicBezTo>
                    <a:pt x="5424012" y="282416"/>
                    <a:pt x="5422106" y="290989"/>
                    <a:pt x="5420201" y="299561"/>
                  </a:cubicBezTo>
                  <a:cubicBezTo>
                    <a:pt x="5419249" y="301466"/>
                    <a:pt x="5419249" y="303371"/>
                    <a:pt x="5418296" y="305276"/>
                  </a:cubicBezTo>
                  <a:cubicBezTo>
                    <a:pt x="5417344" y="302419"/>
                    <a:pt x="5416392" y="300514"/>
                    <a:pt x="5415439" y="298609"/>
                  </a:cubicBezTo>
                  <a:cubicBezTo>
                    <a:pt x="5416392" y="294799"/>
                    <a:pt x="5417344" y="291941"/>
                    <a:pt x="5417344" y="291941"/>
                  </a:cubicBezTo>
                  <a:cubicBezTo>
                    <a:pt x="5417344" y="291941"/>
                    <a:pt x="5416392" y="293846"/>
                    <a:pt x="5414487" y="296704"/>
                  </a:cubicBezTo>
                  <a:cubicBezTo>
                    <a:pt x="5414487" y="296704"/>
                    <a:pt x="5414487" y="295751"/>
                    <a:pt x="5414487" y="295751"/>
                  </a:cubicBezTo>
                  <a:cubicBezTo>
                    <a:pt x="5413534" y="292894"/>
                    <a:pt x="5412581" y="290036"/>
                    <a:pt x="5411629" y="287179"/>
                  </a:cubicBezTo>
                  <a:cubicBezTo>
                    <a:pt x="5413534" y="274796"/>
                    <a:pt x="5414487" y="268129"/>
                    <a:pt x="5414487" y="268129"/>
                  </a:cubicBezTo>
                  <a:cubicBezTo>
                    <a:pt x="5414487" y="268129"/>
                    <a:pt x="5412581" y="272891"/>
                    <a:pt x="5409724" y="282416"/>
                  </a:cubicBezTo>
                  <a:cubicBezTo>
                    <a:pt x="5407819" y="276701"/>
                    <a:pt x="5405914" y="271939"/>
                    <a:pt x="5404009" y="267176"/>
                  </a:cubicBezTo>
                  <a:cubicBezTo>
                    <a:pt x="5402104" y="262414"/>
                    <a:pt x="5401151" y="258604"/>
                    <a:pt x="5399246" y="253841"/>
                  </a:cubicBezTo>
                  <a:cubicBezTo>
                    <a:pt x="5400199" y="240506"/>
                    <a:pt x="5400199" y="232886"/>
                    <a:pt x="5400199" y="232886"/>
                  </a:cubicBezTo>
                  <a:cubicBezTo>
                    <a:pt x="5400199" y="232886"/>
                    <a:pt x="5399246" y="237649"/>
                    <a:pt x="5396389" y="247174"/>
                  </a:cubicBezTo>
                  <a:cubicBezTo>
                    <a:pt x="5396389" y="246221"/>
                    <a:pt x="5395437" y="245269"/>
                    <a:pt x="5395437" y="244316"/>
                  </a:cubicBezTo>
                  <a:cubicBezTo>
                    <a:pt x="5390674" y="231934"/>
                    <a:pt x="5387817" y="224314"/>
                    <a:pt x="5387817" y="224314"/>
                  </a:cubicBezTo>
                  <a:cubicBezTo>
                    <a:pt x="5387817" y="224314"/>
                    <a:pt x="5388769" y="231934"/>
                    <a:pt x="5391626" y="245269"/>
                  </a:cubicBezTo>
                  <a:cubicBezTo>
                    <a:pt x="5392579" y="249079"/>
                    <a:pt x="5393531" y="252889"/>
                    <a:pt x="5394484" y="257651"/>
                  </a:cubicBezTo>
                  <a:cubicBezTo>
                    <a:pt x="5391626" y="269081"/>
                    <a:pt x="5388769" y="283369"/>
                    <a:pt x="5384959" y="300514"/>
                  </a:cubicBezTo>
                  <a:cubicBezTo>
                    <a:pt x="5384959" y="299561"/>
                    <a:pt x="5384959" y="298609"/>
                    <a:pt x="5384006" y="297656"/>
                  </a:cubicBezTo>
                  <a:cubicBezTo>
                    <a:pt x="5383054" y="288131"/>
                    <a:pt x="5382101" y="283369"/>
                    <a:pt x="5382101" y="283369"/>
                  </a:cubicBezTo>
                  <a:cubicBezTo>
                    <a:pt x="5382101" y="283369"/>
                    <a:pt x="5382101" y="284321"/>
                    <a:pt x="5382101" y="287179"/>
                  </a:cubicBezTo>
                  <a:cubicBezTo>
                    <a:pt x="5381149" y="283369"/>
                    <a:pt x="5380196" y="280511"/>
                    <a:pt x="5380196" y="276701"/>
                  </a:cubicBezTo>
                  <a:cubicBezTo>
                    <a:pt x="5380196" y="275749"/>
                    <a:pt x="5379244" y="273844"/>
                    <a:pt x="5379244" y="272891"/>
                  </a:cubicBezTo>
                  <a:cubicBezTo>
                    <a:pt x="5380196" y="270986"/>
                    <a:pt x="5380196" y="269081"/>
                    <a:pt x="5380196" y="269081"/>
                  </a:cubicBezTo>
                  <a:cubicBezTo>
                    <a:pt x="5380196" y="269081"/>
                    <a:pt x="5380196" y="270034"/>
                    <a:pt x="5379244" y="271939"/>
                  </a:cubicBezTo>
                  <a:cubicBezTo>
                    <a:pt x="5376387" y="260509"/>
                    <a:pt x="5374481" y="250984"/>
                    <a:pt x="5372576" y="241459"/>
                  </a:cubicBezTo>
                  <a:cubicBezTo>
                    <a:pt x="5372576" y="238601"/>
                    <a:pt x="5372576" y="235744"/>
                    <a:pt x="5373529" y="232886"/>
                  </a:cubicBezTo>
                  <a:cubicBezTo>
                    <a:pt x="5374481" y="217646"/>
                    <a:pt x="5376387" y="203359"/>
                    <a:pt x="5378292" y="190024"/>
                  </a:cubicBezTo>
                  <a:cubicBezTo>
                    <a:pt x="5379244" y="176689"/>
                    <a:pt x="5382101" y="165259"/>
                    <a:pt x="5384006" y="153829"/>
                  </a:cubicBezTo>
                  <a:cubicBezTo>
                    <a:pt x="5384959" y="148114"/>
                    <a:pt x="5385912" y="143351"/>
                    <a:pt x="5386864" y="138589"/>
                  </a:cubicBezTo>
                  <a:cubicBezTo>
                    <a:pt x="5387817" y="133826"/>
                    <a:pt x="5388769" y="130016"/>
                    <a:pt x="5389721" y="126206"/>
                  </a:cubicBezTo>
                  <a:cubicBezTo>
                    <a:pt x="5392579" y="110966"/>
                    <a:pt x="5394484" y="102394"/>
                    <a:pt x="5394484" y="102394"/>
                  </a:cubicBezTo>
                  <a:cubicBezTo>
                    <a:pt x="5394484" y="102394"/>
                    <a:pt x="5391626" y="110966"/>
                    <a:pt x="5385912" y="125254"/>
                  </a:cubicBezTo>
                  <a:cubicBezTo>
                    <a:pt x="5384959" y="129064"/>
                    <a:pt x="5383054" y="132874"/>
                    <a:pt x="5381149" y="137636"/>
                  </a:cubicBezTo>
                  <a:cubicBezTo>
                    <a:pt x="5379244" y="142399"/>
                    <a:pt x="5378292" y="147161"/>
                    <a:pt x="5376387" y="151924"/>
                  </a:cubicBezTo>
                  <a:cubicBezTo>
                    <a:pt x="5373529" y="162401"/>
                    <a:pt x="5369719" y="174784"/>
                    <a:pt x="5366862" y="188119"/>
                  </a:cubicBezTo>
                  <a:cubicBezTo>
                    <a:pt x="5365909" y="193834"/>
                    <a:pt x="5364004" y="199549"/>
                    <a:pt x="5363051" y="205264"/>
                  </a:cubicBezTo>
                  <a:cubicBezTo>
                    <a:pt x="5361146" y="199549"/>
                    <a:pt x="5360194" y="196691"/>
                    <a:pt x="5360194" y="196691"/>
                  </a:cubicBezTo>
                  <a:cubicBezTo>
                    <a:pt x="5360194" y="196691"/>
                    <a:pt x="5361146" y="201454"/>
                    <a:pt x="5361146" y="210979"/>
                  </a:cubicBezTo>
                  <a:cubicBezTo>
                    <a:pt x="5360194" y="217646"/>
                    <a:pt x="5358289" y="224314"/>
                    <a:pt x="5357337" y="230981"/>
                  </a:cubicBezTo>
                  <a:cubicBezTo>
                    <a:pt x="5356384" y="235744"/>
                    <a:pt x="5355431" y="240506"/>
                    <a:pt x="5355431" y="245269"/>
                  </a:cubicBezTo>
                  <a:cubicBezTo>
                    <a:pt x="5355431" y="241459"/>
                    <a:pt x="5354479" y="238601"/>
                    <a:pt x="5354479" y="235744"/>
                  </a:cubicBezTo>
                  <a:cubicBezTo>
                    <a:pt x="5354479" y="233839"/>
                    <a:pt x="5354479" y="231934"/>
                    <a:pt x="5354479" y="230029"/>
                  </a:cubicBezTo>
                  <a:cubicBezTo>
                    <a:pt x="5355431" y="217646"/>
                    <a:pt x="5355431" y="210979"/>
                    <a:pt x="5355431" y="210979"/>
                  </a:cubicBezTo>
                  <a:cubicBezTo>
                    <a:pt x="5355431" y="210979"/>
                    <a:pt x="5354479" y="214789"/>
                    <a:pt x="5352574" y="222409"/>
                  </a:cubicBezTo>
                  <a:cubicBezTo>
                    <a:pt x="5350669" y="210026"/>
                    <a:pt x="5348764" y="199549"/>
                    <a:pt x="5347812" y="190024"/>
                  </a:cubicBezTo>
                  <a:cubicBezTo>
                    <a:pt x="5347812" y="186214"/>
                    <a:pt x="5347812" y="182404"/>
                    <a:pt x="5347812" y="179546"/>
                  </a:cubicBezTo>
                  <a:cubicBezTo>
                    <a:pt x="5347812" y="167164"/>
                    <a:pt x="5347812" y="160496"/>
                    <a:pt x="5347812" y="160496"/>
                  </a:cubicBezTo>
                  <a:cubicBezTo>
                    <a:pt x="5347812" y="160496"/>
                    <a:pt x="5346859" y="165259"/>
                    <a:pt x="5344954" y="173831"/>
                  </a:cubicBezTo>
                  <a:cubicBezTo>
                    <a:pt x="5342096" y="158591"/>
                    <a:pt x="5341144" y="150019"/>
                    <a:pt x="5341144" y="150019"/>
                  </a:cubicBezTo>
                  <a:cubicBezTo>
                    <a:pt x="5341144" y="150019"/>
                    <a:pt x="5341144" y="160496"/>
                    <a:pt x="5342096" y="177641"/>
                  </a:cubicBezTo>
                  <a:cubicBezTo>
                    <a:pt x="5342096" y="180499"/>
                    <a:pt x="5342096" y="184309"/>
                    <a:pt x="5342096" y="187166"/>
                  </a:cubicBezTo>
                  <a:cubicBezTo>
                    <a:pt x="5341144" y="190976"/>
                    <a:pt x="5341144" y="195739"/>
                    <a:pt x="5340192" y="200501"/>
                  </a:cubicBezTo>
                  <a:cubicBezTo>
                    <a:pt x="5339239" y="209074"/>
                    <a:pt x="5337334" y="218599"/>
                    <a:pt x="5337334" y="229076"/>
                  </a:cubicBezTo>
                  <a:cubicBezTo>
                    <a:pt x="5337334" y="239554"/>
                    <a:pt x="5336381" y="250984"/>
                    <a:pt x="5336381" y="263366"/>
                  </a:cubicBezTo>
                  <a:cubicBezTo>
                    <a:pt x="5336381" y="269081"/>
                    <a:pt x="5336381" y="275749"/>
                    <a:pt x="5336381" y="282416"/>
                  </a:cubicBezTo>
                  <a:cubicBezTo>
                    <a:pt x="5336381" y="282416"/>
                    <a:pt x="5336381" y="282416"/>
                    <a:pt x="5336381" y="282416"/>
                  </a:cubicBezTo>
                  <a:cubicBezTo>
                    <a:pt x="5335429" y="286226"/>
                    <a:pt x="5334476" y="290036"/>
                    <a:pt x="5333524" y="293846"/>
                  </a:cubicBezTo>
                  <a:cubicBezTo>
                    <a:pt x="5333524" y="292894"/>
                    <a:pt x="5332571" y="291941"/>
                    <a:pt x="5332571" y="291941"/>
                  </a:cubicBezTo>
                  <a:cubicBezTo>
                    <a:pt x="5330667" y="287179"/>
                    <a:pt x="5329714" y="282416"/>
                    <a:pt x="5327809" y="278606"/>
                  </a:cubicBezTo>
                  <a:cubicBezTo>
                    <a:pt x="5323999" y="269081"/>
                    <a:pt x="5321142" y="259556"/>
                    <a:pt x="5319237" y="252889"/>
                  </a:cubicBezTo>
                  <a:cubicBezTo>
                    <a:pt x="5313521" y="238601"/>
                    <a:pt x="5310664" y="230029"/>
                    <a:pt x="5310664" y="230029"/>
                  </a:cubicBezTo>
                  <a:cubicBezTo>
                    <a:pt x="5310664" y="230029"/>
                    <a:pt x="5312569" y="238601"/>
                    <a:pt x="5315426" y="253841"/>
                  </a:cubicBezTo>
                  <a:cubicBezTo>
                    <a:pt x="5316379" y="257651"/>
                    <a:pt x="5317331" y="262414"/>
                    <a:pt x="5318284" y="267176"/>
                  </a:cubicBezTo>
                  <a:cubicBezTo>
                    <a:pt x="5316379" y="264319"/>
                    <a:pt x="5315426" y="263366"/>
                    <a:pt x="5315426" y="263366"/>
                  </a:cubicBezTo>
                  <a:cubicBezTo>
                    <a:pt x="5315426" y="263366"/>
                    <a:pt x="5317331" y="268129"/>
                    <a:pt x="5320189" y="276701"/>
                  </a:cubicBezTo>
                  <a:cubicBezTo>
                    <a:pt x="5320189" y="278606"/>
                    <a:pt x="5321142" y="279559"/>
                    <a:pt x="5321142" y="281464"/>
                  </a:cubicBezTo>
                  <a:cubicBezTo>
                    <a:pt x="5322094" y="286226"/>
                    <a:pt x="5323046" y="291941"/>
                    <a:pt x="5324951" y="297656"/>
                  </a:cubicBezTo>
                  <a:cubicBezTo>
                    <a:pt x="5325904" y="300514"/>
                    <a:pt x="5326856" y="303371"/>
                    <a:pt x="5326856" y="306229"/>
                  </a:cubicBezTo>
                  <a:cubicBezTo>
                    <a:pt x="5323999" y="310991"/>
                    <a:pt x="5320189" y="316706"/>
                    <a:pt x="5316379" y="322421"/>
                  </a:cubicBezTo>
                  <a:cubicBezTo>
                    <a:pt x="5313521" y="327184"/>
                    <a:pt x="5309712" y="332899"/>
                    <a:pt x="5306854" y="338614"/>
                  </a:cubicBezTo>
                  <a:cubicBezTo>
                    <a:pt x="5303996" y="343376"/>
                    <a:pt x="5301139" y="349091"/>
                    <a:pt x="5298281" y="354806"/>
                  </a:cubicBezTo>
                  <a:cubicBezTo>
                    <a:pt x="5298281" y="350996"/>
                    <a:pt x="5298281" y="347186"/>
                    <a:pt x="5298281" y="344329"/>
                  </a:cubicBezTo>
                  <a:cubicBezTo>
                    <a:pt x="5299234" y="334804"/>
                    <a:pt x="5300187" y="326231"/>
                    <a:pt x="5301139" y="318611"/>
                  </a:cubicBezTo>
                  <a:cubicBezTo>
                    <a:pt x="5303044" y="308134"/>
                    <a:pt x="5303996" y="299561"/>
                    <a:pt x="5305901" y="291941"/>
                  </a:cubicBezTo>
                  <a:cubicBezTo>
                    <a:pt x="5309712" y="276701"/>
                    <a:pt x="5311617" y="269081"/>
                    <a:pt x="5311617" y="269081"/>
                  </a:cubicBezTo>
                  <a:cubicBezTo>
                    <a:pt x="5311617" y="269081"/>
                    <a:pt x="5307806" y="276701"/>
                    <a:pt x="5302092" y="290989"/>
                  </a:cubicBezTo>
                  <a:cubicBezTo>
                    <a:pt x="5301139" y="293846"/>
                    <a:pt x="5300187" y="295751"/>
                    <a:pt x="5299234" y="298609"/>
                  </a:cubicBezTo>
                  <a:cubicBezTo>
                    <a:pt x="5299234" y="276701"/>
                    <a:pt x="5299234" y="263366"/>
                    <a:pt x="5299234" y="263366"/>
                  </a:cubicBezTo>
                  <a:cubicBezTo>
                    <a:pt x="5299234" y="263366"/>
                    <a:pt x="5295424" y="284321"/>
                    <a:pt x="5290662" y="317659"/>
                  </a:cubicBezTo>
                  <a:cubicBezTo>
                    <a:pt x="5290662" y="315754"/>
                    <a:pt x="5289709" y="314801"/>
                    <a:pt x="5289709" y="312896"/>
                  </a:cubicBezTo>
                  <a:cubicBezTo>
                    <a:pt x="5287804" y="306229"/>
                    <a:pt x="5286851" y="300514"/>
                    <a:pt x="5284946" y="295751"/>
                  </a:cubicBezTo>
                  <a:cubicBezTo>
                    <a:pt x="5284946" y="295751"/>
                    <a:pt x="5284946" y="295751"/>
                    <a:pt x="5284946" y="295751"/>
                  </a:cubicBezTo>
                  <a:cubicBezTo>
                    <a:pt x="5284946" y="295751"/>
                    <a:pt x="5284946" y="295751"/>
                    <a:pt x="5284946" y="295751"/>
                  </a:cubicBezTo>
                  <a:cubicBezTo>
                    <a:pt x="5283994" y="291941"/>
                    <a:pt x="5283042" y="288131"/>
                    <a:pt x="5282089" y="284321"/>
                  </a:cubicBezTo>
                  <a:cubicBezTo>
                    <a:pt x="5282089" y="283369"/>
                    <a:pt x="5282089" y="283369"/>
                    <a:pt x="5281137" y="282416"/>
                  </a:cubicBezTo>
                  <a:cubicBezTo>
                    <a:pt x="5285899" y="264319"/>
                    <a:pt x="5288756" y="252889"/>
                    <a:pt x="5288756" y="252889"/>
                  </a:cubicBezTo>
                  <a:cubicBezTo>
                    <a:pt x="5288756" y="252889"/>
                    <a:pt x="5284946" y="260509"/>
                    <a:pt x="5279231" y="273844"/>
                  </a:cubicBezTo>
                  <a:cubicBezTo>
                    <a:pt x="5278279" y="269081"/>
                    <a:pt x="5276374" y="265271"/>
                    <a:pt x="5275421" y="262414"/>
                  </a:cubicBezTo>
                  <a:cubicBezTo>
                    <a:pt x="5270659" y="250031"/>
                    <a:pt x="5268754" y="243364"/>
                    <a:pt x="5268754" y="243364"/>
                  </a:cubicBezTo>
                  <a:cubicBezTo>
                    <a:pt x="5268754" y="243364"/>
                    <a:pt x="5269706" y="250031"/>
                    <a:pt x="5271612" y="262414"/>
                  </a:cubicBezTo>
                  <a:cubicBezTo>
                    <a:pt x="5272564" y="268129"/>
                    <a:pt x="5273517" y="275749"/>
                    <a:pt x="5274469" y="283369"/>
                  </a:cubicBezTo>
                  <a:cubicBezTo>
                    <a:pt x="5270659" y="290989"/>
                    <a:pt x="5266849" y="300514"/>
                    <a:pt x="5263039" y="310039"/>
                  </a:cubicBezTo>
                  <a:cubicBezTo>
                    <a:pt x="5263039" y="305276"/>
                    <a:pt x="5263039" y="302419"/>
                    <a:pt x="5263039" y="302419"/>
                  </a:cubicBezTo>
                  <a:cubicBezTo>
                    <a:pt x="5263039" y="302419"/>
                    <a:pt x="5262087" y="305276"/>
                    <a:pt x="5260181" y="310039"/>
                  </a:cubicBezTo>
                  <a:cubicBezTo>
                    <a:pt x="5260181" y="310039"/>
                    <a:pt x="5260181" y="309086"/>
                    <a:pt x="5260181" y="309086"/>
                  </a:cubicBezTo>
                  <a:cubicBezTo>
                    <a:pt x="5260181" y="306229"/>
                    <a:pt x="5260181" y="303371"/>
                    <a:pt x="5261134" y="301466"/>
                  </a:cubicBezTo>
                  <a:cubicBezTo>
                    <a:pt x="5261134" y="294799"/>
                    <a:pt x="5262087" y="289084"/>
                    <a:pt x="5262087" y="284321"/>
                  </a:cubicBezTo>
                  <a:cubicBezTo>
                    <a:pt x="5263039" y="274796"/>
                    <a:pt x="5263039" y="269081"/>
                    <a:pt x="5263039" y="269081"/>
                  </a:cubicBezTo>
                  <a:cubicBezTo>
                    <a:pt x="5263039" y="269081"/>
                    <a:pt x="5261134" y="273844"/>
                    <a:pt x="5258276" y="283369"/>
                  </a:cubicBezTo>
                  <a:cubicBezTo>
                    <a:pt x="5258276" y="284321"/>
                    <a:pt x="5257324" y="286226"/>
                    <a:pt x="5257324" y="287179"/>
                  </a:cubicBezTo>
                  <a:cubicBezTo>
                    <a:pt x="5256371" y="282416"/>
                    <a:pt x="5256371" y="277654"/>
                    <a:pt x="5255419" y="273844"/>
                  </a:cubicBezTo>
                  <a:cubicBezTo>
                    <a:pt x="5255419" y="272891"/>
                    <a:pt x="5255419" y="271939"/>
                    <a:pt x="5255419" y="271939"/>
                  </a:cubicBezTo>
                  <a:cubicBezTo>
                    <a:pt x="5255419" y="271939"/>
                    <a:pt x="5255419" y="271939"/>
                    <a:pt x="5255419" y="270986"/>
                  </a:cubicBezTo>
                  <a:cubicBezTo>
                    <a:pt x="5256371" y="268129"/>
                    <a:pt x="5256371" y="266224"/>
                    <a:pt x="5256371" y="266224"/>
                  </a:cubicBezTo>
                  <a:cubicBezTo>
                    <a:pt x="5256371" y="266224"/>
                    <a:pt x="5256371" y="267176"/>
                    <a:pt x="5255419" y="268129"/>
                  </a:cubicBezTo>
                  <a:cubicBezTo>
                    <a:pt x="5256371" y="255746"/>
                    <a:pt x="5257324" y="244316"/>
                    <a:pt x="5258276" y="232886"/>
                  </a:cubicBezTo>
                  <a:cubicBezTo>
                    <a:pt x="5262087" y="188119"/>
                    <a:pt x="5263039" y="158591"/>
                    <a:pt x="5263039" y="158591"/>
                  </a:cubicBezTo>
                  <a:cubicBezTo>
                    <a:pt x="5263039" y="158591"/>
                    <a:pt x="5258276" y="175736"/>
                    <a:pt x="5252562" y="204311"/>
                  </a:cubicBezTo>
                  <a:cubicBezTo>
                    <a:pt x="5253514" y="193834"/>
                    <a:pt x="5254467" y="183356"/>
                    <a:pt x="5255419" y="173831"/>
                  </a:cubicBezTo>
                  <a:cubicBezTo>
                    <a:pt x="5256371" y="160496"/>
                    <a:pt x="5257324" y="150019"/>
                    <a:pt x="5258276" y="140494"/>
                  </a:cubicBezTo>
                  <a:cubicBezTo>
                    <a:pt x="5260181" y="121444"/>
                    <a:pt x="5260181" y="110966"/>
                    <a:pt x="5260181" y="110966"/>
                  </a:cubicBezTo>
                  <a:cubicBezTo>
                    <a:pt x="5260181" y="110966"/>
                    <a:pt x="5257324" y="121444"/>
                    <a:pt x="5254467" y="139541"/>
                  </a:cubicBezTo>
                  <a:cubicBezTo>
                    <a:pt x="5252562" y="149066"/>
                    <a:pt x="5250656" y="159544"/>
                    <a:pt x="5247799" y="172879"/>
                  </a:cubicBezTo>
                  <a:cubicBezTo>
                    <a:pt x="5246846" y="179546"/>
                    <a:pt x="5244942" y="186214"/>
                    <a:pt x="5243989" y="192881"/>
                  </a:cubicBezTo>
                  <a:cubicBezTo>
                    <a:pt x="5243989" y="195739"/>
                    <a:pt x="5243037" y="198596"/>
                    <a:pt x="5243037" y="201454"/>
                  </a:cubicBezTo>
                  <a:cubicBezTo>
                    <a:pt x="5242084" y="197644"/>
                    <a:pt x="5241131" y="194786"/>
                    <a:pt x="5241131" y="194786"/>
                  </a:cubicBezTo>
                  <a:cubicBezTo>
                    <a:pt x="5241131" y="194786"/>
                    <a:pt x="5241131" y="199549"/>
                    <a:pt x="5241131" y="209074"/>
                  </a:cubicBezTo>
                  <a:cubicBezTo>
                    <a:pt x="5241131" y="210979"/>
                    <a:pt x="5240179" y="213836"/>
                    <a:pt x="5240179" y="215741"/>
                  </a:cubicBezTo>
                  <a:cubicBezTo>
                    <a:pt x="5239226" y="225266"/>
                    <a:pt x="5237321" y="235744"/>
                    <a:pt x="5235417" y="246221"/>
                  </a:cubicBezTo>
                  <a:cubicBezTo>
                    <a:pt x="5234464" y="248126"/>
                    <a:pt x="5232559" y="250984"/>
                    <a:pt x="5230654" y="252889"/>
                  </a:cubicBezTo>
                  <a:cubicBezTo>
                    <a:pt x="5227796" y="256699"/>
                    <a:pt x="5225892" y="261461"/>
                    <a:pt x="5222081" y="266224"/>
                  </a:cubicBezTo>
                  <a:cubicBezTo>
                    <a:pt x="5220176" y="270034"/>
                    <a:pt x="5217319" y="274796"/>
                    <a:pt x="5215414" y="279559"/>
                  </a:cubicBezTo>
                  <a:cubicBezTo>
                    <a:pt x="5215414" y="279559"/>
                    <a:pt x="5215414" y="279559"/>
                    <a:pt x="5215414" y="278606"/>
                  </a:cubicBezTo>
                  <a:cubicBezTo>
                    <a:pt x="5216367" y="276701"/>
                    <a:pt x="5216367" y="275749"/>
                    <a:pt x="5216367" y="275749"/>
                  </a:cubicBezTo>
                  <a:cubicBezTo>
                    <a:pt x="5216367" y="275749"/>
                    <a:pt x="5216367" y="276701"/>
                    <a:pt x="5215414" y="277654"/>
                  </a:cubicBezTo>
                  <a:cubicBezTo>
                    <a:pt x="5213509" y="267176"/>
                    <a:pt x="5212556" y="257651"/>
                    <a:pt x="5211604" y="249079"/>
                  </a:cubicBezTo>
                  <a:cubicBezTo>
                    <a:pt x="5210651" y="239554"/>
                    <a:pt x="5209699" y="230981"/>
                    <a:pt x="5208746" y="224314"/>
                  </a:cubicBezTo>
                  <a:cubicBezTo>
                    <a:pt x="5206842" y="210979"/>
                    <a:pt x="5205889" y="202406"/>
                    <a:pt x="5205889" y="202406"/>
                  </a:cubicBezTo>
                  <a:cubicBezTo>
                    <a:pt x="5205889" y="202406"/>
                    <a:pt x="5205889" y="210026"/>
                    <a:pt x="5204937" y="224314"/>
                  </a:cubicBezTo>
                  <a:cubicBezTo>
                    <a:pt x="5204937" y="230981"/>
                    <a:pt x="5204937" y="239554"/>
                    <a:pt x="5204937" y="249079"/>
                  </a:cubicBezTo>
                  <a:cubicBezTo>
                    <a:pt x="5204937" y="253841"/>
                    <a:pt x="5204937" y="258604"/>
                    <a:pt x="5204937" y="264319"/>
                  </a:cubicBezTo>
                  <a:cubicBezTo>
                    <a:pt x="5204937" y="270034"/>
                    <a:pt x="5204937" y="275749"/>
                    <a:pt x="5205889" y="281464"/>
                  </a:cubicBezTo>
                  <a:cubicBezTo>
                    <a:pt x="5205889" y="284321"/>
                    <a:pt x="5205889" y="286226"/>
                    <a:pt x="5205889" y="289084"/>
                  </a:cubicBezTo>
                  <a:cubicBezTo>
                    <a:pt x="5204937" y="287179"/>
                    <a:pt x="5203984" y="286226"/>
                    <a:pt x="5203984" y="286226"/>
                  </a:cubicBezTo>
                  <a:cubicBezTo>
                    <a:pt x="5203984" y="286226"/>
                    <a:pt x="5204937" y="288131"/>
                    <a:pt x="5205889" y="290989"/>
                  </a:cubicBezTo>
                  <a:cubicBezTo>
                    <a:pt x="5205889" y="290989"/>
                    <a:pt x="5205889" y="290989"/>
                    <a:pt x="5205889" y="291941"/>
                  </a:cubicBezTo>
                  <a:cubicBezTo>
                    <a:pt x="5204937" y="290036"/>
                    <a:pt x="5203984" y="289084"/>
                    <a:pt x="5203984" y="287179"/>
                  </a:cubicBezTo>
                  <a:cubicBezTo>
                    <a:pt x="5203984" y="287179"/>
                    <a:pt x="5203984" y="287179"/>
                    <a:pt x="5203984" y="287179"/>
                  </a:cubicBezTo>
                  <a:cubicBezTo>
                    <a:pt x="5203984" y="287179"/>
                    <a:pt x="5203984" y="287179"/>
                    <a:pt x="5203984" y="287179"/>
                  </a:cubicBezTo>
                  <a:cubicBezTo>
                    <a:pt x="5201126" y="281464"/>
                    <a:pt x="5199221" y="278606"/>
                    <a:pt x="5199221" y="278606"/>
                  </a:cubicBezTo>
                  <a:cubicBezTo>
                    <a:pt x="5199221" y="278606"/>
                    <a:pt x="5200174" y="283369"/>
                    <a:pt x="5202079" y="290989"/>
                  </a:cubicBezTo>
                  <a:cubicBezTo>
                    <a:pt x="5201126" y="292894"/>
                    <a:pt x="5200174" y="295751"/>
                    <a:pt x="5198269" y="300514"/>
                  </a:cubicBezTo>
                  <a:cubicBezTo>
                    <a:pt x="5197317" y="298609"/>
                    <a:pt x="5196364" y="297656"/>
                    <a:pt x="5195412" y="295751"/>
                  </a:cubicBezTo>
                  <a:cubicBezTo>
                    <a:pt x="5193506" y="284321"/>
                    <a:pt x="5192554" y="273844"/>
                    <a:pt x="5191601" y="263366"/>
                  </a:cubicBezTo>
                  <a:cubicBezTo>
                    <a:pt x="5187792" y="232886"/>
                    <a:pt x="5185887" y="208121"/>
                    <a:pt x="5184934" y="190024"/>
                  </a:cubicBezTo>
                  <a:cubicBezTo>
                    <a:pt x="5183981" y="181451"/>
                    <a:pt x="5183981" y="173831"/>
                    <a:pt x="5183981" y="169069"/>
                  </a:cubicBezTo>
                  <a:cubicBezTo>
                    <a:pt x="5183981" y="164306"/>
                    <a:pt x="5183981" y="161449"/>
                    <a:pt x="5183981" y="161449"/>
                  </a:cubicBezTo>
                  <a:cubicBezTo>
                    <a:pt x="5183981" y="161449"/>
                    <a:pt x="5183981" y="164306"/>
                    <a:pt x="5183029" y="169069"/>
                  </a:cubicBezTo>
                  <a:cubicBezTo>
                    <a:pt x="5182076" y="173831"/>
                    <a:pt x="5182076" y="180499"/>
                    <a:pt x="5181124" y="190024"/>
                  </a:cubicBezTo>
                  <a:cubicBezTo>
                    <a:pt x="5181124" y="196691"/>
                    <a:pt x="5180171" y="204311"/>
                    <a:pt x="5180171" y="211931"/>
                  </a:cubicBezTo>
                  <a:cubicBezTo>
                    <a:pt x="5179219" y="212884"/>
                    <a:pt x="5178267" y="213836"/>
                    <a:pt x="5177314" y="215741"/>
                  </a:cubicBezTo>
                  <a:cubicBezTo>
                    <a:pt x="5174456" y="219551"/>
                    <a:pt x="5170646" y="224314"/>
                    <a:pt x="5165884" y="231934"/>
                  </a:cubicBezTo>
                  <a:cubicBezTo>
                    <a:pt x="5164931" y="232886"/>
                    <a:pt x="5163979" y="234791"/>
                    <a:pt x="5163979" y="235744"/>
                  </a:cubicBezTo>
                  <a:cubicBezTo>
                    <a:pt x="5163026" y="233839"/>
                    <a:pt x="5162074" y="231934"/>
                    <a:pt x="5161121" y="230029"/>
                  </a:cubicBezTo>
                  <a:cubicBezTo>
                    <a:pt x="5161121" y="230029"/>
                    <a:pt x="5161121" y="229076"/>
                    <a:pt x="5161121" y="229076"/>
                  </a:cubicBezTo>
                  <a:cubicBezTo>
                    <a:pt x="5162074" y="222409"/>
                    <a:pt x="5162074" y="217646"/>
                    <a:pt x="5163026" y="213836"/>
                  </a:cubicBezTo>
                  <a:cubicBezTo>
                    <a:pt x="5163979" y="210026"/>
                    <a:pt x="5163979" y="208121"/>
                    <a:pt x="5163979" y="208121"/>
                  </a:cubicBezTo>
                  <a:cubicBezTo>
                    <a:pt x="5163979" y="208121"/>
                    <a:pt x="5161121" y="213836"/>
                    <a:pt x="5158264" y="224314"/>
                  </a:cubicBezTo>
                  <a:cubicBezTo>
                    <a:pt x="5157312" y="222409"/>
                    <a:pt x="5156359" y="221456"/>
                    <a:pt x="5156359" y="220504"/>
                  </a:cubicBezTo>
                  <a:cubicBezTo>
                    <a:pt x="5152549" y="213836"/>
                    <a:pt x="5149692" y="208121"/>
                    <a:pt x="5147787" y="205264"/>
                  </a:cubicBezTo>
                  <a:cubicBezTo>
                    <a:pt x="5146834" y="195739"/>
                    <a:pt x="5145881" y="186214"/>
                    <a:pt x="5144929" y="178594"/>
                  </a:cubicBezTo>
                  <a:cubicBezTo>
                    <a:pt x="5143024" y="159544"/>
                    <a:pt x="5141119" y="149066"/>
                    <a:pt x="5141119" y="149066"/>
                  </a:cubicBezTo>
                  <a:cubicBezTo>
                    <a:pt x="5141119" y="149066"/>
                    <a:pt x="5141119" y="159544"/>
                    <a:pt x="5141119" y="178594"/>
                  </a:cubicBezTo>
                  <a:cubicBezTo>
                    <a:pt x="5141119" y="197644"/>
                    <a:pt x="5141119" y="224314"/>
                    <a:pt x="5141119" y="255746"/>
                  </a:cubicBezTo>
                  <a:cubicBezTo>
                    <a:pt x="5141119" y="256699"/>
                    <a:pt x="5141119" y="257651"/>
                    <a:pt x="5141119" y="258604"/>
                  </a:cubicBezTo>
                  <a:cubicBezTo>
                    <a:pt x="5140167" y="259556"/>
                    <a:pt x="5140167" y="259556"/>
                    <a:pt x="5139214" y="260509"/>
                  </a:cubicBezTo>
                  <a:cubicBezTo>
                    <a:pt x="5138262" y="261461"/>
                    <a:pt x="5136356" y="263366"/>
                    <a:pt x="5134451" y="265271"/>
                  </a:cubicBezTo>
                  <a:cubicBezTo>
                    <a:pt x="5131594" y="216694"/>
                    <a:pt x="5128737" y="184309"/>
                    <a:pt x="5128737" y="184309"/>
                  </a:cubicBezTo>
                  <a:cubicBezTo>
                    <a:pt x="5128737" y="184309"/>
                    <a:pt x="5126831" y="204311"/>
                    <a:pt x="5124926" y="236696"/>
                  </a:cubicBezTo>
                  <a:cubicBezTo>
                    <a:pt x="5121117" y="225266"/>
                    <a:pt x="5119212" y="219551"/>
                    <a:pt x="5119212" y="219551"/>
                  </a:cubicBezTo>
                  <a:cubicBezTo>
                    <a:pt x="5119212" y="219551"/>
                    <a:pt x="5121117" y="230029"/>
                    <a:pt x="5123974" y="249079"/>
                  </a:cubicBezTo>
                  <a:cubicBezTo>
                    <a:pt x="5123974" y="251936"/>
                    <a:pt x="5123974" y="255746"/>
                    <a:pt x="5123021" y="258604"/>
                  </a:cubicBezTo>
                  <a:cubicBezTo>
                    <a:pt x="5122069" y="263366"/>
                    <a:pt x="5121117" y="270034"/>
                    <a:pt x="5120164" y="279559"/>
                  </a:cubicBezTo>
                  <a:cubicBezTo>
                    <a:pt x="5119212" y="281464"/>
                    <a:pt x="5117306" y="283369"/>
                    <a:pt x="5116354" y="285274"/>
                  </a:cubicBezTo>
                  <a:cubicBezTo>
                    <a:pt x="5113496" y="289084"/>
                    <a:pt x="5109687" y="293846"/>
                    <a:pt x="5106829" y="298609"/>
                  </a:cubicBezTo>
                  <a:cubicBezTo>
                    <a:pt x="5105876" y="299561"/>
                    <a:pt x="5104924" y="301466"/>
                    <a:pt x="5103971" y="303371"/>
                  </a:cubicBezTo>
                  <a:cubicBezTo>
                    <a:pt x="5097304" y="287179"/>
                    <a:pt x="5090637" y="272891"/>
                    <a:pt x="5085874" y="261461"/>
                  </a:cubicBezTo>
                  <a:cubicBezTo>
                    <a:pt x="5085874" y="261461"/>
                    <a:pt x="5085874" y="261461"/>
                    <a:pt x="5086826" y="261461"/>
                  </a:cubicBezTo>
                  <a:cubicBezTo>
                    <a:pt x="5089684" y="260509"/>
                    <a:pt x="5091589" y="260509"/>
                    <a:pt x="5091589" y="260509"/>
                  </a:cubicBezTo>
                  <a:cubicBezTo>
                    <a:pt x="5091589" y="260509"/>
                    <a:pt x="5089684" y="260509"/>
                    <a:pt x="5086826" y="260509"/>
                  </a:cubicBezTo>
                  <a:cubicBezTo>
                    <a:pt x="5086826" y="260509"/>
                    <a:pt x="5085874" y="260509"/>
                    <a:pt x="5085874" y="260509"/>
                  </a:cubicBezTo>
                  <a:cubicBezTo>
                    <a:pt x="5078254" y="243364"/>
                    <a:pt x="5073492" y="232886"/>
                    <a:pt x="5071587" y="230029"/>
                  </a:cubicBezTo>
                  <a:cubicBezTo>
                    <a:pt x="5071587" y="225266"/>
                    <a:pt x="5071587" y="222409"/>
                    <a:pt x="5071587" y="222409"/>
                  </a:cubicBezTo>
                  <a:cubicBezTo>
                    <a:pt x="5071587" y="222409"/>
                    <a:pt x="5070634" y="224314"/>
                    <a:pt x="5069681" y="227171"/>
                  </a:cubicBezTo>
                  <a:cubicBezTo>
                    <a:pt x="5066824" y="214789"/>
                    <a:pt x="5063967" y="203359"/>
                    <a:pt x="5062062" y="192881"/>
                  </a:cubicBezTo>
                  <a:cubicBezTo>
                    <a:pt x="5061109" y="186214"/>
                    <a:pt x="5059204" y="180499"/>
                    <a:pt x="5058251" y="174784"/>
                  </a:cubicBezTo>
                  <a:cubicBezTo>
                    <a:pt x="5057299" y="169069"/>
                    <a:pt x="5056346" y="164306"/>
                    <a:pt x="5055394" y="159544"/>
                  </a:cubicBezTo>
                  <a:cubicBezTo>
                    <a:pt x="5051584" y="140494"/>
                    <a:pt x="5049679" y="130016"/>
                    <a:pt x="5049679" y="130016"/>
                  </a:cubicBezTo>
                  <a:cubicBezTo>
                    <a:pt x="5049679" y="130016"/>
                    <a:pt x="5050631" y="140494"/>
                    <a:pt x="5050631" y="159544"/>
                  </a:cubicBezTo>
                  <a:cubicBezTo>
                    <a:pt x="5050631" y="164306"/>
                    <a:pt x="5051584" y="169069"/>
                    <a:pt x="5051584" y="174784"/>
                  </a:cubicBezTo>
                  <a:cubicBezTo>
                    <a:pt x="5052537" y="180499"/>
                    <a:pt x="5052537" y="186214"/>
                    <a:pt x="5053489" y="192881"/>
                  </a:cubicBezTo>
                  <a:cubicBezTo>
                    <a:pt x="5055394" y="206216"/>
                    <a:pt x="5056346" y="220504"/>
                    <a:pt x="5059204" y="236696"/>
                  </a:cubicBezTo>
                  <a:cubicBezTo>
                    <a:pt x="5060156" y="240506"/>
                    <a:pt x="5061109" y="245269"/>
                    <a:pt x="5061109" y="249079"/>
                  </a:cubicBezTo>
                  <a:cubicBezTo>
                    <a:pt x="5059204" y="254794"/>
                    <a:pt x="5057299" y="262414"/>
                    <a:pt x="5055394" y="270034"/>
                  </a:cubicBezTo>
                  <a:cubicBezTo>
                    <a:pt x="5054442" y="270986"/>
                    <a:pt x="5053489" y="270986"/>
                    <a:pt x="5052537" y="271939"/>
                  </a:cubicBezTo>
                  <a:cubicBezTo>
                    <a:pt x="5052537" y="271939"/>
                    <a:pt x="5052537" y="271939"/>
                    <a:pt x="5052537" y="271939"/>
                  </a:cubicBezTo>
                  <a:cubicBezTo>
                    <a:pt x="5051584" y="269081"/>
                    <a:pt x="5051584" y="267176"/>
                    <a:pt x="5051584" y="267176"/>
                  </a:cubicBezTo>
                  <a:cubicBezTo>
                    <a:pt x="5051584" y="267176"/>
                    <a:pt x="5051584" y="268129"/>
                    <a:pt x="5051584" y="269081"/>
                  </a:cubicBezTo>
                  <a:cubicBezTo>
                    <a:pt x="5050631" y="266224"/>
                    <a:pt x="5049679" y="264319"/>
                    <a:pt x="5048726" y="261461"/>
                  </a:cubicBezTo>
                  <a:cubicBezTo>
                    <a:pt x="5048726" y="261461"/>
                    <a:pt x="5048726" y="261461"/>
                    <a:pt x="5048726" y="261461"/>
                  </a:cubicBezTo>
                  <a:cubicBezTo>
                    <a:pt x="5049679" y="255746"/>
                    <a:pt x="5050631" y="252889"/>
                    <a:pt x="5050631" y="252889"/>
                  </a:cubicBezTo>
                  <a:cubicBezTo>
                    <a:pt x="5050631" y="252889"/>
                    <a:pt x="5049679" y="254794"/>
                    <a:pt x="5047774" y="259556"/>
                  </a:cubicBezTo>
                  <a:cubicBezTo>
                    <a:pt x="5043964" y="250984"/>
                    <a:pt x="5041106" y="243364"/>
                    <a:pt x="5039201" y="236696"/>
                  </a:cubicBezTo>
                  <a:cubicBezTo>
                    <a:pt x="5034439" y="222409"/>
                    <a:pt x="5031581" y="214789"/>
                    <a:pt x="5031581" y="214789"/>
                  </a:cubicBezTo>
                  <a:cubicBezTo>
                    <a:pt x="5031581" y="214789"/>
                    <a:pt x="5033487" y="223361"/>
                    <a:pt x="5035392" y="237649"/>
                  </a:cubicBezTo>
                  <a:cubicBezTo>
                    <a:pt x="5036344" y="243364"/>
                    <a:pt x="5037296" y="249079"/>
                    <a:pt x="5039201" y="256699"/>
                  </a:cubicBezTo>
                  <a:cubicBezTo>
                    <a:pt x="5038249" y="258604"/>
                    <a:pt x="5036344" y="261461"/>
                    <a:pt x="5034439" y="265271"/>
                  </a:cubicBezTo>
                  <a:cubicBezTo>
                    <a:pt x="5034439" y="264319"/>
                    <a:pt x="5034439" y="263366"/>
                    <a:pt x="5034439" y="262414"/>
                  </a:cubicBezTo>
                  <a:cubicBezTo>
                    <a:pt x="5033487" y="253841"/>
                    <a:pt x="5031581" y="247174"/>
                    <a:pt x="5030629" y="241459"/>
                  </a:cubicBezTo>
                  <a:cubicBezTo>
                    <a:pt x="5028724" y="230029"/>
                    <a:pt x="5026819" y="223361"/>
                    <a:pt x="5026819" y="223361"/>
                  </a:cubicBezTo>
                  <a:cubicBezTo>
                    <a:pt x="5026819" y="223361"/>
                    <a:pt x="5026819" y="230029"/>
                    <a:pt x="5025867" y="242411"/>
                  </a:cubicBezTo>
                  <a:cubicBezTo>
                    <a:pt x="5025867" y="248126"/>
                    <a:pt x="5025867" y="255746"/>
                    <a:pt x="5025867" y="263366"/>
                  </a:cubicBezTo>
                  <a:cubicBezTo>
                    <a:pt x="5025867" y="267176"/>
                    <a:pt x="5025867" y="271939"/>
                    <a:pt x="5025867" y="276701"/>
                  </a:cubicBezTo>
                  <a:cubicBezTo>
                    <a:pt x="5025867" y="277654"/>
                    <a:pt x="5025867" y="279559"/>
                    <a:pt x="5025867" y="281464"/>
                  </a:cubicBezTo>
                  <a:cubicBezTo>
                    <a:pt x="5020151" y="274796"/>
                    <a:pt x="5015389" y="268129"/>
                    <a:pt x="5010626" y="263366"/>
                  </a:cubicBezTo>
                  <a:cubicBezTo>
                    <a:pt x="5003006" y="255746"/>
                    <a:pt x="4998244" y="250984"/>
                    <a:pt x="4995387" y="248126"/>
                  </a:cubicBezTo>
                  <a:cubicBezTo>
                    <a:pt x="4996339" y="245269"/>
                    <a:pt x="4997292" y="243364"/>
                    <a:pt x="4997292" y="243364"/>
                  </a:cubicBezTo>
                  <a:cubicBezTo>
                    <a:pt x="4997292" y="243364"/>
                    <a:pt x="4996339" y="245269"/>
                    <a:pt x="4994434" y="248126"/>
                  </a:cubicBezTo>
                  <a:cubicBezTo>
                    <a:pt x="4993481" y="247174"/>
                    <a:pt x="4992529" y="246221"/>
                    <a:pt x="4992529" y="246221"/>
                  </a:cubicBezTo>
                  <a:cubicBezTo>
                    <a:pt x="4994434" y="211931"/>
                    <a:pt x="4994434" y="190024"/>
                    <a:pt x="4994434" y="190024"/>
                  </a:cubicBezTo>
                  <a:cubicBezTo>
                    <a:pt x="4994434" y="190024"/>
                    <a:pt x="4988719" y="210026"/>
                    <a:pt x="4983004" y="240506"/>
                  </a:cubicBezTo>
                  <a:cubicBezTo>
                    <a:pt x="4982051" y="239554"/>
                    <a:pt x="4981099" y="238601"/>
                    <a:pt x="4981099" y="238601"/>
                  </a:cubicBezTo>
                  <a:cubicBezTo>
                    <a:pt x="4967764" y="226219"/>
                    <a:pt x="4959192" y="219551"/>
                    <a:pt x="4959192" y="219551"/>
                  </a:cubicBezTo>
                  <a:cubicBezTo>
                    <a:pt x="4959192" y="219551"/>
                    <a:pt x="4965859" y="227171"/>
                    <a:pt x="4978242" y="241459"/>
                  </a:cubicBezTo>
                  <a:cubicBezTo>
                    <a:pt x="4979194" y="243364"/>
                    <a:pt x="4981099" y="244316"/>
                    <a:pt x="4982051" y="246221"/>
                  </a:cubicBezTo>
                  <a:cubicBezTo>
                    <a:pt x="4982051" y="247174"/>
                    <a:pt x="4982051" y="248126"/>
                    <a:pt x="4982051" y="248126"/>
                  </a:cubicBezTo>
                  <a:cubicBezTo>
                    <a:pt x="4980146" y="257651"/>
                    <a:pt x="4978242" y="268129"/>
                    <a:pt x="4976337" y="279559"/>
                  </a:cubicBezTo>
                  <a:cubicBezTo>
                    <a:pt x="4974431" y="283369"/>
                    <a:pt x="4971574" y="287179"/>
                    <a:pt x="4969669" y="290989"/>
                  </a:cubicBezTo>
                  <a:cubicBezTo>
                    <a:pt x="4965859" y="281464"/>
                    <a:pt x="4963001" y="272891"/>
                    <a:pt x="4960144" y="265271"/>
                  </a:cubicBezTo>
                  <a:cubicBezTo>
                    <a:pt x="4960144" y="265271"/>
                    <a:pt x="4960144" y="264319"/>
                    <a:pt x="4960144" y="264319"/>
                  </a:cubicBezTo>
                  <a:cubicBezTo>
                    <a:pt x="4960144" y="253841"/>
                    <a:pt x="4960144" y="245269"/>
                    <a:pt x="4959192" y="237649"/>
                  </a:cubicBezTo>
                  <a:cubicBezTo>
                    <a:pt x="4958239" y="223361"/>
                    <a:pt x="4958239" y="215741"/>
                    <a:pt x="4958239" y="214789"/>
                  </a:cubicBezTo>
                  <a:cubicBezTo>
                    <a:pt x="4963001" y="194786"/>
                    <a:pt x="4965859" y="177641"/>
                    <a:pt x="4968717" y="164306"/>
                  </a:cubicBezTo>
                  <a:cubicBezTo>
                    <a:pt x="4972526" y="145256"/>
                    <a:pt x="4974431" y="134779"/>
                    <a:pt x="4974431" y="134779"/>
                  </a:cubicBezTo>
                  <a:cubicBezTo>
                    <a:pt x="4974431" y="134779"/>
                    <a:pt x="4970621" y="145256"/>
                    <a:pt x="4964906" y="163354"/>
                  </a:cubicBezTo>
                  <a:cubicBezTo>
                    <a:pt x="4962049" y="171926"/>
                    <a:pt x="4959192" y="181451"/>
                    <a:pt x="4955381" y="191929"/>
                  </a:cubicBezTo>
                  <a:cubicBezTo>
                    <a:pt x="4955381" y="182404"/>
                    <a:pt x="4955381" y="176689"/>
                    <a:pt x="4955381" y="176689"/>
                  </a:cubicBezTo>
                  <a:cubicBezTo>
                    <a:pt x="4955381" y="176689"/>
                    <a:pt x="4954429" y="186214"/>
                    <a:pt x="4952524" y="202406"/>
                  </a:cubicBezTo>
                  <a:cubicBezTo>
                    <a:pt x="4952524" y="202406"/>
                    <a:pt x="4952524" y="203359"/>
                    <a:pt x="4952524" y="203359"/>
                  </a:cubicBezTo>
                  <a:cubicBezTo>
                    <a:pt x="4949667" y="210979"/>
                    <a:pt x="4947762" y="218599"/>
                    <a:pt x="4944904" y="227171"/>
                  </a:cubicBezTo>
                  <a:cubicBezTo>
                    <a:pt x="4944904" y="227171"/>
                    <a:pt x="4944904" y="226219"/>
                    <a:pt x="4944904" y="226219"/>
                  </a:cubicBezTo>
                  <a:cubicBezTo>
                    <a:pt x="4939189" y="209074"/>
                    <a:pt x="4936331" y="199549"/>
                    <a:pt x="4936331" y="199549"/>
                  </a:cubicBezTo>
                  <a:cubicBezTo>
                    <a:pt x="4936331" y="199549"/>
                    <a:pt x="4938237" y="213836"/>
                    <a:pt x="4942046" y="236696"/>
                  </a:cubicBezTo>
                  <a:cubicBezTo>
                    <a:pt x="4942046" y="237649"/>
                    <a:pt x="4941094" y="238601"/>
                    <a:pt x="4941094" y="239554"/>
                  </a:cubicBezTo>
                  <a:cubicBezTo>
                    <a:pt x="4935379" y="255746"/>
                    <a:pt x="4929664" y="273844"/>
                    <a:pt x="4922996" y="292894"/>
                  </a:cubicBezTo>
                  <a:cubicBezTo>
                    <a:pt x="4922996" y="291941"/>
                    <a:pt x="4922996" y="290036"/>
                    <a:pt x="4922996" y="289084"/>
                  </a:cubicBezTo>
                  <a:cubicBezTo>
                    <a:pt x="4921092" y="275749"/>
                    <a:pt x="4920139" y="269081"/>
                    <a:pt x="4920139" y="269081"/>
                  </a:cubicBezTo>
                  <a:cubicBezTo>
                    <a:pt x="4920139" y="269081"/>
                    <a:pt x="4919187" y="276701"/>
                    <a:pt x="4919187" y="290036"/>
                  </a:cubicBezTo>
                  <a:cubicBezTo>
                    <a:pt x="4919187" y="291941"/>
                    <a:pt x="4919187" y="293846"/>
                    <a:pt x="4919187" y="296704"/>
                  </a:cubicBezTo>
                  <a:cubicBezTo>
                    <a:pt x="4918234" y="293846"/>
                    <a:pt x="4918234" y="290989"/>
                    <a:pt x="4917281" y="289084"/>
                  </a:cubicBezTo>
                  <a:cubicBezTo>
                    <a:pt x="4915376" y="279559"/>
                    <a:pt x="4913471" y="271939"/>
                    <a:pt x="4911567" y="266224"/>
                  </a:cubicBezTo>
                  <a:cubicBezTo>
                    <a:pt x="4907756" y="253841"/>
                    <a:pt x="4904899" y="246221"/>
                    <a:pt x="4904899" y="246221"/>
                  </a:cubicBezTo>
                  <a:cubicBezTo>
                    <a:pt x="4904899" y="246221"/>
                    <a:pt x="4905851" y="253841"/>
                    <a:pt x="4907756" y="267176"/>
                  </a:cubicBezTo>
                  <a:cubicBezTo>
                    <a:pt x="4908709" y="273844"/>
                    <a:pt x="4908709" y="281464"/>
                    <a:pt x="4909662" y="290989"/>
                  </a:cubicBezTo>
                  <a:cubicBezTo>
                    <a:pt x="4910614" y="299561"/>
                    <a:pt x="4910614" y="310039"/>
                    <a:pt x="4911567" y="321469"/>
                  </a:cubicBezTo>
                  <a:cubicBezTo>
                    <a:pt x="4910614" y="323374"/>
                    <a:pt x="4909662" y="325279"/>
                    <a:pt x="4908709" y="327184"/>
                  </a:cubicBezTo>
                  <a:cubicBezTo>
                    <a:pt x="4906804" y="322421"/>
                    <a:pt x="4903946" y="317659"/>
                    <a:pt x="4902042" y="313849"/>
                  </a:cubicBezTo>
                  <a:cubicBezTo>
                    <a:pt x="4899184" y="308134"/>
                    <a:pt x="4896326" y="302419"/>
                    <a:pt x="4894421" y="298609"/>
                  </a:cubicBezTo>
                  <a:cubicBezTo>
                    <a:pt x="4893469" y="290036"/>
                    <a:pt x="4892517" y="285274"/>
                    <a:pt x="4892517" y="285274"/>
                  </a:cubicBezTo>
                  <a:cubicBezTo>
                    <a:pt x="4892517" y="285274"/>
                    <a:pt x="4892517" y="288131"/>
                    <a:pt x="4891564" y="293846"/>
                  </a:cubicBezTo>
                  <a:cubicBezTo>
                    <a:pt x="4889659" y="290989"/>
                    <a:pt x="4888706" y="289084"/>
                    <a:pt x="4888706" y="289084"/>
                  </a:cubicBezTo>
                  <a:cubicBezTo>
                    <a:pt x="4888706" y="289084"/>
                    <a:pt x="4889659" y="291941"/>
                    <a:pt x="4891564" y="295751"/>
                  </a:cubicBezTo>
                  <a:cubicBezTo>
                    <a:pt x="4890612" y="306229"/>
                    <a:pt x="4888706" y="324326"/>
                    <a:pt x="4887754" y="348139"/>
                  </a:cubicBezTo>
                  <a:cubicBezTo>
                    <a:pt x="4887754" y="350996"/>
                    <a:pt x="4887754" y="354806"/>
                    <a:pt x="4887754" y="357664"/>
                  </a:cubicBezTo>
                  <a:cubicBezTo>
                    <a:pt x="4885849" y="354806"/>
                    <a:pt x="4883944" y="352901"/>
                    <a:pt x="4882991" y="350996"/>
                  </a:cubicBezTo>
                  <a:cubicBezTo>
                    <a:pt x="4882991" y="347186"/>
                    <a:pt x="4882039" y="343376"/>
                    <a:pt x="4882039" y="338614"/>
                  </a:cubicBezTo>
                  <a:cubicBezTo>
                    <a:pt x="4882039" y="338614"/>
                    <a:pt x="4882039" y="337661"/>
                    <a:pt x="4882039" y="337661"/>
                  </a:cubicBezTo>
                  <a:cubicBezTo>
                    <a:pt x="4882991" y="333851"/>
                    <a:pt x="4882991" y="330041"/>
                    <a:pt x="4883944" y="327184"/>
                  </a:cubicBezTo>
                  <a:cubicBezTo>
                    <a:pt x="4884896" y="324326"/>
                    <a:pt x="4884896" y="321469"/>
                    <a:pt x="4885849" y="319564"/>
                  </a:cubicBezTo>
                  <a:cubicBezTo>
                    <a:pt x="4886801" y="315754"/>
                    <a:pt x="4887754" y="312896"/>
                    <a:pt x="4887754" y="312896"/>
                  </a:cubicBezTo>
                  <a:cubicBezTo>
                    <a:pt x="4887754" y="312896"/>
                    <a:pt x="4886801" y="314801"/>
                    <a:pt x="4884896" y="318611"/>
                  </a:cubicBezTo>
                  <a:cubicBezTo>
                    <a:pt x="4883944" y="320516"/>
                    <a:pt x="4882991" y="323374"/>
                    <a:pt x="4882039" y="326231"/>
                  </a:cubicBezTo>
                  <a:cubicBezTo>
                    <a:pt x="4882039" y="327184"/>
                    <a:pt x="4882039" y="327184"/>
                    <a:pt x="4882039" y="328136"/>
                  </a:cubicBezTo>
                  <a:cubicBezTo>
                    <a:pt x="4882039" y="327184"/>
                    <a:pt x="4882039" y="326231"/>
                    <a:pt x="4882039" y="326231"/>
                  </a:cubicBezTo>
                  <a:cubicBezTo>
                    <a:pt x="4880134" y="312896"/>
                    <a:pt x="4878229" y="300514"/>
                    <a:pt x="4877276" y="288131"/>
                  </a:cubicBezTo>
                  <a:cubicBezTo>
                    <a:pt x="4876324" y="279559"/>
                    <a:pt x="4874419" y="270986"/>
                    <a:pt x="4873466" y="263366"/>
                  </a:cubicBezTo>
                  <a:cubicBezTo>
                    <a:pt x="4875372" y="253841"/>
                    <a:pt x="4876324" y="245269"/>
                    <a:pt x="4878229" y="238601"/>
                  </a:cubicBezTo>
                  <a:cubicBezTo>
                    <a:pt x="4881087" y="221456"/>
                    <a:pt x="4882039" y="211931"/>
                    <a:pt x="4882039" y="211931"/>
                  </a:cubicBezTo>
                  <a:cubicBezTo>
                    <a:pt x="4882039" y="211931"/>
                    <a:pt x="4879181" y="221456"/>
                    <a:pt x="4874419" y="237649"/>
                  </a:cubicBezTo>
                  <a:cubicBezTo>
                    <a:pt x="4873466" y="241459"/>
                    <a:pt x="4872514" y="245269"/>
                    <a:pt x="4870609" y="249079"/>
                  </a:cubicBezTo>
                  <a:cubicBezTo>
                    <a:pt x="4869656" y="242411"/>
                    <a:pt x="4867751" y="236696"/>
                    <a:pt x="4866799" y="231934"/>
                  </a:cubicBezTo>
                  <a:cubicBezTo>
                    <a:pt x="4863941" y="218599"/>
                    <a:pt x="4862037" y="210979"/>
                    <a:pt x="4862037" y="210979"/>
                  </a:cubicBezTo>
                  <a:cubicBezTo>
                    <a:pt x="4862037" y="210979"/>
                    <a:pt x="4862037" y="218599"/>
                    <a:pt x="4862989" y="232886"/>
                  </a:cubicBezTo>
                  <a:cubicBezTo>
                    <a:pt x="4862989" y="237649"/>
                    <a:pt x="4863941" y="242411"/>
                    <a:pt x="4863941" y="248126"/>
                  </a:cubicBezTo>
                  <a:cubicBezTo>
                    <a:pt x="4863941" y="250984"/>
                    <a:pt x="4863941" y="255746"/>
                    <a:pt x="4863941" y="261461"/>
                  </a:cubicBezTo>
                  <a:cubicBezTo>
                    <a:pt x="4862989" y="262414"/>
                    <a:pt x="4862037" y="263366"/>
                    <a:pt x="4860131" y="264319"/>
                  </a:cubicBezTo>
                  <a:cubicBezTo>
                    <a:pt x="4856322" y="268129"/>
                    <a:pt x="4850606" y="272891"/>
                    <a:pt x="4843939" y="281464"/>
                  </a:cubicBezTo>
                  <a:cubicBezTo>
                    <a:pt x="4842987" y="277654"/>
                    <a:pt x="4842034" y="273844"/>
                    <a:pt x="4841081" y="270986"/>
                  </a:cubicBezTo>
                  <a:cubicBezTo>
                    <a:pt x="4842034" y="268129"/>
                    <a:pt x="4842987" y="266224"/>
                    <a:pt x="4842987" y="266224"/>
                  </a:cubicBezTo>
                  <a:cubicBezTo>
                    <a:pt x="4842987" y="266224"/>
                    <a:pt x="4842034" y="267176"/>
                    <a:pt x="4841081" y="269081"/>
                  </a:cubicBezTo>
                  <a:cubicBezTo>
                    <a:pt x="4840129" y="265271"/>
                    <a:pt x="4840129" y="262414"/>
                    <a:pt x="4840129" y="262414"/>
                  </a:cubicBezTo>
                  <a:cubicBezTo>
                    <a:pt x="4840129" y="262414"/>
                    <a:pt x="4840129" y="265271"/>
                    <a:pt x="4840129" y="270034"/>
                  </a:cubicBezTo>
                  <a:cubicBezTo>
                    <a:pt x="4838224" y="271939"/>
                    <a:pt x="4836319" y="274796"/>
                    <a:pt x="4833462" y="278606"/>
                  </a:cubicBezTo>
                  <a:cubicBezTo>
                    <a:pt x="4830604" y="283369"/>
                    <a:pt x="4826794" y="288131"/>
                    <a:pt x="4822984" y="294799"/>
                  </a:cubicBezTo>
                  <a:cubicBezTo>
                    <a:pt x="4821079" y="297656"/>
                    <a:pt x="4819174" y="301466"/>
                    <a:pt x="4816316" y="304324"/>
                  </a:cubicBezTo>
                  <a:cubicBezTo>
                    <a:pt x="4814412" y="308134"/>
                    <a:pt x="4812506" y="311944"/>
                    <a:pt x="4809649" y="315754"/>
                  </a:cubicBezTo>
                  <a:cubicBezTo>
                    <a:pt x="4809649" y="316706"/>
                    <a:pt x="4808697" y="317659"/>
                    <a:pt x="4807744" y="318611"/>
                  </a:cubicBezTo>
                  <a:cubicBezTo>
                    <a:pt x="4807744" y="309086"/>
                    <a:pt x="4807744" y="304324"/>
                    <a:pt x="4807744" y="304324"/>
                  </a:cubicBezTo>
                  <a:cubicBezTo>
                    <a:pt x="4807744" y="304324"/>
                    <a:pt x="4805839" y="312896"/>
                    <a:pt x="4803934" y="327184"/>
                  </a:cubicBezTo>
                  <a:cubicBezTo>
                    <a:pt x="4801076" y="331946"/>
                    <a:pt x="4798219" y="336709"/>
                    <a:pt x="4795362" y="342424"/>
                  </a:cubicBezTo>
                  <a:cubicBezTo>
                    <a:pt x="4795362" y="335756"/>
                    <a:pt x="4795362" y="330041"/>
                    <a:pt x="4795362" y="324326"/>
                  </a:cubicBezTo>
                  <a:cubicBezTo>
                    <a:pt x="4795362" y="319564"/>
                    <a:pt x="4795362" y="315754"/>
                    <a:pt x="4795362" y="311944"/>
                  </a:cubicBezTo>
                  <a:cubicBezTo>
                    <a:pt x="4796314" y="308134"/>
                    <a:pt x="4796314" y="305276"/>
                    <a:pt x="4796314" y="302419"/>
                  </a:cubicBezTo>
                  <a:cubicBezTo>
                    <a:pt x="4796314" y="300514"/>
                    <a:pt x="4796314" y="299561"/>
                    <a:pt x="4797266" y="297656"/>
                  </a:cubicBezTo>
                  <a:cubicBezTo>
                    <a:pt x="4799172" y="286226"/>
                    <a:pt x="4802029" y="274796"/>
                    <a:pt x="4803934" y="264319"/>
                  </a:cubicBezTo>
                  <a:cubicBezTo>
                    <a:pt x="4811554" y="221456"/>
                    <a:pt x="4815364" y="192881"/>
                    <a:pt x="4815364" y="192881"/>
                  </a:cubicBezTo>
                  <a:cubicBezTo>
                    <a:pt x="4815364" y="192881"/>
                    <a:pt x="4804887" y="220504"/>
                    <a:pt x="4792504" y="262414"/>
                  </a:cubicBezTo>
                  <a:cubicBezTo>
                    <a:pt x="4791551" y="264319"/>
                    <a:pt x="4791551" y="266224"/>
                    <a:pt x="4790599" y="268129"/>
                  </a:cubicBezTo>
                  <a:cubicBezTo>
                    <a:pt x="4788694" y="256699"/>
                    <a:pt x="4788694" y="250031"/>
                    <a:pt x="4788694" y="250031"/>
                  </a:cubicBezTo>
                  <a:cubicBezTo>
                    <a:pt x="4788694" y="250031"/>
                    <a:pt x="4788694" y="257651"/>
                    <a:pt x="4787741" y="270986"/>
                  </a:cubicBezTo>
                  <a:cubicBezTo>
                    <a:pt x="4787741" y="273844"/>
                    <a:pt x="4787741" y="277654"/>
                    <a:pt x="4787741" y="281464"/>
                  </a:cubicBezTo>
                  <a:cubicBezTo>
                    <a:pt x="4785837" y="287179"/>
                    <a:pt x="4783931" y="292894"/>
                    <a:pt x="4782979" y="299561"/>
                  </a:cubicBezTo>
                  <a:cubicBezTo>
                    <a:pt x="4782979" y="297656"/>
                    <a:pt x="4782979" y="295751"/>
                    <a:pt x="4782979" y="293846"/>
                  </a:cubicBezTo>
                  <a:cubicBezTo>
                    <a:pt x="4783931" y="282416"/>
                    <a:pt x="4783931" y="271939"/>
                    <a:pt x="4784884" y="263366"/>
                  </a:cubicBezTo>
                  <a:cubicBezTo>
                    <a:pt x="4785837" y="253841"/>
                    <a:pt x="4785837" y="246221"/>
                    <a:pt x="4786789" y="239554"/>
                  </a:cubicBezTo>
                  <a:cubicBezTo>
                    <a:pt x="4788694" y="226219"/>
                    <a:pt x="4789647" y="218599"/>
                    <a:pt x="4789647" y="218599"/>
                  </a:cubicBezTo>
                  <a:cubicBezTo>
                    <a:pt x="4789647" y="218599"/>
                    <a:pt x="4787741" y="226219"/>
                    <a:pt x="4782979" y="238601"/>
                  </a:cubicBezTo>
                  <a:cubicBezTo>
                    <a:pt x="4781074" y="245269"/>
                    <a:pt x="4779169" y="252889"/>
                    <a:pt x="4777264" y="262414"/>
                  </a:cubicBezTo>
                  <a:cubicBezTo>
                    <a:pt x="4776312" y="264319"/>
                    <a:pt x="4776312" y="266224"/>
                    <a:pt x="4776312" y="269081"/>
                  </a:cubicBezTo>
                  <a:cubicBezTo>
                    <a:pt x="4774406" y="257651"/>
                    <a:pt x="4773454" y="251936"/>
                    <a:pt x="4773454" y="251936"/>
                  </a:cubicBezTo>
                  <a:cubicBezTo>
                    <a:pt x="4773454" y="251936"/>
                    <a:pt x="4773454" y="264319"/>
                    <a:pt x="4773454" y="284321"/>
                  </a:cubicBezTo>
                  <a:cubicBezTo>
                    <a:pt x="4772501" y="287179"/>
                    <a:pt x="4772501" y="290989"/>
                    <a:pt x="4771549" y="293846"/>
                  </a:cubicBezTo>
                  <a:cubicBezTo>
                    <a:pt x="4771549" y="294799"/>
                    <a:pt x="4771549" y="294799"/>
                    <a:pt x="4771549" y="295751"/>
                  </a:cubicBezTo>
                  <a:cubicBezTo>
                    <a:pt x="4769644" y="273844"/>
                    <a:pt x="4767739" y="260509"/>
                    <a:pt x="4767739" y="260509"/>
                  </a:cubicBezTo>
                  <a:cubicBezTo>
                    <a:pt x="4767739" y="260509"/>
                    <a:pt x="4765834" y="274796"/>
                    <a:pt x="4764881" y="297656"/>
                  </a:cubicBezTo>
                  <a:cubicBezTo>
                    <a:pt x="4762024" y="290036"/>
                    <a:pt x="4758214" y="283369"/>
                    <a:pt x="4755356" y="276701"/>
                  </a:cubicBezTo>
                  <a:cubicBezTo>
                    <a:pt x="4753451" y="273844"/>
                    <a:pt x="4752499" y="271939"/>
                    <a:pt x="4750594" y="270034"/>
                  </a:cubicBezTo>
                  <a:cubicBezTo>
                    <a:pt x="4753451" y="260509"/>
                    <a:pt x="4755356" y="251936"/>
                    <a:pt x="4758214" y="243364"/>
                  </a:cubicBezTo>
                  <a:cubicBezTo>
                    <a:pt x="4767739" y="209074"/>
                    <a:pt x="4774406" y="180499"/>
                    <a:pt x="4780122" y="161449"/>
                  </a:cubicBezTo>
                  <a:cubicBezTo>
                    <a:pt x="4784884" y="141446"/>
                    <a:pt x="4787741" y="130016"/>
                    <a:pt x="4787741" y="130016"/>
                  </a:cubicBezTo>
                  <a:cubicBezTo>
                    <a:pt x="4787741" y="130016"/>
                    <a:pt x="4782979" y="140494"/>
                    <a:pt x="4776312" y="160496"/>
                  </a:cubicBezTo>
                  <a:cubicBezTo>
                    <a:pt x="4769644" y="179546"/>
                    <a:pt x="4759166" y="207169"/>
                    <a:pt x="4747737" y="240506"/>
                  </a:cubicBezTo>
                  <a:cubicBezTo>
                    <a:pt x="4745831" y="246221"/>
                    <a:pt x="4743926" y="251936"/>
                    <a:pt x="4742022" y="257651"/>
                  </a:cubicBezTo>
                  <a:cubicBezTo>
                    <a:pt x="4742022" y="257651"/>
                    <a:pt x="4742022" y="257651"/>
                    <a:pt x="4742022" y="257651"/>
                  </a:cubicBezTo>
                  <a:cubicBezTo>
                    <a:pt x="4737259" y="251936"/>
                    <a:pt x="4732497" y="248126"/>
                    <a:pt x="4727734" y="244316"/>
                  </a:cubicBezTo>
                  <a:cubicBezTo>
                    <a:pt x="4725829" y="242411"/>
                    <a:pt x="4722972" y="241459"/>
                    <a:pt x="4721066" y="240506"/>
                  </a:cubicBezTo>
                  <a:cubicBezTo>
                    <a:pt x="4719162" y="239554"/>
                    <a:pt x="4717256" y="238601"/>
                    <a:pt x="4716304" y="238601"/>
                  </a:cubicBezTo>
                  <a:cubicBezTo>
                    <a:pt x="4713447" y="237649"/>
                    <a:pt x="4712494" y="237649"/>
                    <a:pt x="4712494" y="237649"/>
                  </a:cubicBezTo>
                  <a:cubicBezTo>
                    <a:pt x="4712494" y="237649"/>
                    <a:pt x="4713447" y="238601"/>
                    <a:pt x="4716304" y="239554"/>
                  </a:cubicBezTo>
                  <a:cubicBezTo>
                    <a:pt x="4719162" y="240506"/>
                    <a:pt x="4722019" y="243364"/>
                    <a:pt x="4725829" y="246221"/>
                  </a:cubicBezTo>
                  <a:cubicBezTo>
                    <a:pt x="4729639" y="250031"/>
                    <a:pt x="4733449" y="254794"/>
                    <a:pt x="4736306" y="260509"/>
                  </a:cubicBezTo>
                  <a:cubicBezTo>
                    <a:pt x="4737259" y="262414"/>
                    <a:pt x="4738212" y="264319"/>
                    <a:pt x="4739164" y="266224"/>
                  </a:cubicBezTo>
                  <a:cubicBezTo>
                    <a:pt x="4736306" y="274796"/>
                    <a:pt x="4732497" y="284321"/>
                    <a:pt x="4729639" y="293846"/>
                  </a:cubicBezTo>
                  <a:cubicBezTo>
                    <a:pt x="4729639" y="294799"/>
                    <a:pt x="4729639" y="294799"/>
                    <a:pt x="4728687" y="295751"/>
                  </a:cubicBezTo>
                  <a:cubicBezTo>
                    <a:pt x="4728687" y="295751"/>
                    <a:pt x="4728687" y="295751"/>
                    <a:pt x="4728687" y="294799"/>
                  </a:cubicBezTo>
                  <a:cubicBezTo>
                    <a:pt x="4728687" y="291941"/>
                    <a:pt x="4728687" y="290989"/>
                    <a:pt x="4728687" y="290989"/>
                  </a:cubicBezTo>
                  <a:cubicBezTo>
                    <a:pt x="4728687" y="290989"/>
                    <a:pt x="4728687" y="291941"/>
                    <a:pt x="4727734" y="293846"/>
                  </a:cubicBezTo>
                  <a:cubicBezTo>
                    <a:pt x="4723924" y="285274"/>
                    <a:pt x="4720114" y="277654"/>
                    <a:pt x="4717256" y="270986"/>
                  </a:cubicBezTo>
                  <a:cubicBezTo>
                    <a:pt x="4716304" y="269081"/>
                    <a:pt x="4715351" y="267176"/>
                    <a:pt x="4714399" y="265271"/>
                  </a:cubicBezTo>
                  <a:cubicBezTo>
                    <a:pt x="4715351" y="257651"/>
                    <a:pt x="4716304" y="252889"/>
                    <a:pt x="4716304" y="252889"/>
                  </a:cubicBezTo>
                  <a:cubicBezTo>
                    <a:pt x="4716304" y="252889"/>
                    <a:pt x="4715351" y="256699"/>
                    <a:pt x="4713447" y="262414"/>
                  </a:cubicBezTo>
                  <a:cubicBezTo>
                    <a:pt x="4708684" y="252889"/>
                    <a:pt x="4706779" y="248126"/>
                    <a:pt x="4706779" y="248126"/>
                  </a:cubicBezTo>
                  <a:cubicBezTo>
                    <a:pt x="4706779" y="248126"/>
                    <a:pt x="4708684" y="254794"/>
                    <a:pt x="4712494" y="267176"/>
                  </a:cubicBezTo>
                  <a:cubicBezTo>
                    <a:pt x="4711541" y="270034"/>
                    <a:pt x="4710589" y="273844"/>
                    <a:pt x="4708684" y="277654"/>
                  </a:cubicBezTo>
                  <a:cubicBezTo>
                    <a:pt x="4700112" y="251936"/>
                    <a:pt x="4694397" y="236696"/>
                    <a:pt x="4694397" y="236696"/>
                  </a:cubicBezTo>
                  <a:cubicBezTo>
                    <a:pt x="4694397" y="236696"/>
                    <a:pt x="4697254" y="258604"/>
                    <a:pt x="4702969" y="293846"/>
                  </a:cubicBezTo>
                  <a:cubicBezTo>
                    <a:pt x="4700112" y="304324"/>
                    <a:pt x="4696301" y="317659"/>
                    <a:pt x="4691539" y="331946"/>
                  </a:cubicBezTo>
                  <a:cubicBezTo>
                    <a:pt x="4691539" y="330994"/>
                    <a:pt x="4690587" y="330041"/>
                    <a:pt x="4690587" y="329089"/>
                  </a:cubicBezTo>
                  <a:cubicBezTo>
                    <a:pt x="4685824" y="319564"/>
                    <a:pt x="4682966" y="313849"/>
                    <a:pt x="4682966" y="313849"/>
                  </a:cubicBezTo>
                  <a:cubicBezTo>
                    <a:pt x="4682966" y="313849"/>
                    <a:pt x="4683919" y="316706"/>
                    <a:pt x="4684872" y="322421"/>
                  </a:cubicBezTo>
                  <a:cubicBezTo>
                    <a:pt x="4684872" y="322421"/>
                    <a:pt x="4684872" y="322421"/>
                    <a:pt x="4684872" y="322421"/>
                  </a:cubicBezTo>
                  <a:cubicBezTo>
                    <a:pt x="4676299" y="310991"/>
                    <a:pt x="4671537" y="304324"/>
                    <a:pt x="4671537" y="304324"/>
                  </a:cubicBezTo>
                  <a:cubicBezTo>
                    <a:pt x="4671537" y="304324"/>
                    <a:pt x="4675347" y="311944"/>
                    <a:pt x="4682014" y="324326"/>
                  </a:cubicBezTo>
                  <a:cubicBezTo>
                    <a:pt x="4683919" y="328136"/>
                    <a:pt x="4686776" y="332899"/>
                    <a:pt x="4688681" y="337661"/>
                  </a:cubicBezTo>
                  <a:cubicBezTo>
                    <a:pt x="4688681" y="338614"/>
                    <a:pt x="4688681" y="339566"/>
                    <a:pt x="4689634" y="340519"/>
                  </a:cubicBezTo>
                  <a:cubicBezTo>
                    <a:pt x="4687729" y="349091"/>
                    <a:pt x="4684872" y="356711"/>
                    <a:pt x="4682966" y="366236"/>
                  </a:cubicBezTo>
                  <a:cubicBezTo>
                    <a:pt x="4681062" y="364331"/>
                    <a:pt x="4680109" y="361474"/>
                    <a:pt x="4678204" y="359569"/>
                  </a:cubicBezTo>
                  <a:cubicBezTo>
                    <a:pt x="4675347" y="355759"/>
                    <a:pt x="4671537" y="351949"/>
                    <a:pt x="4669631" y="349091"/>
                  </a:cubicBezTo>
                  <a:cubicBezTo>
                    <a:pt x="4669631" y="349091"/>
                    <a:pt x="4669631" y="349091"/>
                    <a:pt x="4668679" y="348139"/>
                  </a:cubicBezTo>
                  <a:cubicBezTo>
                    <a:pt x="4669631" y="341471"/>
                    <a:pt x="4669631" y="335756"/>
                    <a:pt x="4669631" y="330994"/>
                  </a:cubicBezTo>
                  <a:cubicBezTo>
                    <a:pt x="4670584" y="318611"/>
                    <a:pt x="4669631" y="310991"/>
                    <a:pt x="4669631" y="310991"/>
                  </a:cubicBezTo>
                  <a:cubicBezTo>
                    <a:pt x="4669631" y="310991"/>
                    <a:pt x="4669631" y="311944"/>
                    <a:pt x="4669631" y="313849"/>
                  </a:cubicBezTo>
                  <a:cubicBezTo>
                    <a:pt x="4669631" y="310039"/>
                    <a:pt x="4670584" y="305276"/>
                    <a:pt x="4670584" y="301466"/>
                  </a:cubicBezTo>
                  <a:cubicBezTo>
                    <a:pt x="4670584" y="296704"/>
                    <a:pt x="4670584" y="291941"/>
                    <a:pt x="4670584" y="287179"/>
                  </a:cubicBezTo>
                  <a:cubicBezTo>
                    <a:pt x="4672489" y="282416"/>
                    <a:pt x="4673441" y="278606"/>
                    <a:pt x="4675347" y="274796"/>
                  </a:cubicBezTo>
                  <a:cubicBezTo>
                    <a:pt x="4683919" y="259556"/>
                    <a:pt x="4689634" y="250984"/>
                    <a:pt x="4689634" y="250984"/>
                  </a:cubicBezTo>
                  <a:cubicBezTo>
                    <a:pt x="4689634" y="250984"/>
                    <a:pt x="4686776" y="254794"/>
                    <a:pt x="4681062" y="262414"/>
                  </a:cubicBezTo>
                  <a:cubicBezTo>
                    <a:pt x="4684872" y="252889"/>
                    <a:pt x="4686776" y="248126"/>
                    <a:pt x="4686776" y="248126"/>
                  </a:cubicBezTo>
                  <a:cubicBezTo>
                    <a:pt x="4686776" y="248126"/>
                    <a:pt x="4682966" y="254794"/>
                    <a:pt x="4675347" y="265271"/>
                  </a:cubicBezTo>
                  <a:cubicBezTo>
                    <a:pt x="4673441" y="267176"/>
                    <a:pt x="4672489" y="270034"/>
                    <a:pt x="4670584" y="272891"/>
                  </a:cubicBezTo>
                  <a:cubicBezTo>
                    <a:pt x="4670584" y="270986"/>
                    <a:pt x="4670584" y="270034"/>
                    <a:pt x="4670584" y="268129"/>
                  </a:cubicBezTo>
                  <a:cubicBezTo>
                    <a:pt x="4669631" y="261461"/>
                    <a:pt x="4669631" y="255746"/>
                    <a:pt x="4668679" y="250984"/>
                  </a:cubicBezTo>
                  <a:cubicBezTo>
                    <a:pt x="4668679" y="250031"/>
                    <a:pt x="4668679" y="248126"/>
                    <a:pt x="4669631" y="247174"/>
                  </a:cubicBezTo>
                  <a:cubicBezTo>
                    <a:pt x="4671537" y="230981"/>
                    <a:pt x="4671537" y="222409"/>
                    <a:pt x="4671537" y="222409"/>
                  </a:cubicBezTo>
                  <a:cubicBezTo>
                    <a:pt x="4671537" y="222409"/>
                    <a:pt x="4671537" y="224314"/>
                    <a:pt x="4670584" y="229076"/>
                  </a:cubicBezTo>
                  <a:cubicBezTo>
                    <a:pt x="4669631" y="231934"/>
                    <a:pt x="4668679" y="236696"/>
                    <a:pt x="4666774" y="242411"/>
                  </a:cubicBezTo>
                  <a:cubicBezTo>
                    <a:pt x="4666774" y="242411"/>
                    <a:pt x="4666774" y="242411"/>
                    <a:pt x="4666774" y="241459"/>
                  </a:cubicBezTo>
                  <a:cubicBezTo>
                    <a:pt x="4666774" y="241459"/>
                    <a:pt x="4666774" y="241459"/>
                    <a:pt x="4666774" y="241459"/>
                  </a:cubicBezTo>
                  <a:cubicBezTo>
                    <a:pt x="4666774" y="241459"/>
                    <a:pt x="4666774" y="241459"/>
                    <a:pt x="4666774" y="241459"/>
                  </a:cubicBezTo>
                  <a:cubicBezTo>
                    <a:pt x="4665822" y="235744"/>
                    <a:pt x="4663916" y="230981"/>
                    <a:pt x="4662012" y="228124"/>
                  </a:cubicBezTo>
                  <a:cubicBezTo>
                    <a:pt x="4661059" y="224314"/>
                    <a:pt x="4660106" y="222409"/>
                    <a:pt x="4660106" y="222409"/>
                  </a:cubicBezTo>
                  <a:cubicBezTo>
                    <a:pt x="4660106" y="222409"/>
                    <a:pt x="4660106" y="224314"/>
                    <a:pt x="4661059" y="228124"/>
                  </a:cubicBezTo>
                  <a:cubicBezTo>
                    <a:pt x="4662012" y="231934"/>
                    <a:pt x="4662964" y="237649"/>
                    <a:pt x="4662964" y="244316"/>
                  </a:cubicBezTo>
                  <a:cubicBezTo>
                    <a:pt x="4662964" y="245269"/>
                    <a:pt x="4662964" y="245269"/>
                    <a:pt x="4662964" y="246221"/>
                  </a:cubicBezTo>
                  <a:cubicBezTo>
                    <a:pt x="4662964" y="246221"/>
                    <a:pt x="4662964" y="246221"/>
                    <a:pt x="4662964" y="246221"/>
                  </a:cubicBezTo>
                  <a:cubicBezTo>
                    <a:pt x="4660106" y="250031"/>
                    <a:pt x="4657249" y="254794"/>
                    <a:pt x="4654391" y="262414"/>
                  </a:cubicBezTo>
                  <a:cubicBezTo>
                    <a:pt x="4653439" y="265271"/>
                    <a:pt x="4652487" y="268129"/>
                    <a:pt x="4650581" y="271939"/>
                  </a:cubicBezTo>
                  <a:cubicBezTo>
                    <a:pt x="4649629" y="267176"/>
                    <a:pt x="4647724" y="264319"/>
                    <a:pt x="4646772" y="261461"/>
                  </a:cubicBezTo>
                  <a:cubicBezTo>
                    <a:pt x="4646772" y="260509"/>
                    <a:pt x="4645819" y="259556"/>
                    <a:pt x="4645819" y="259556"/>
                  </a:cubicBezTo>
                  <a:cubicBezTo>
                    <a:pt x="4645819" y="257651"/>
                    <a:pt x="4646772" y="255746"/>
                    <a:pt x="4646772" y="253841"/>
                  </a:cubicBezTo>
                  <a:cubicBezTo>
                    <a:pt x="4648676" y="243364"/>
                    <a:pt x="4650581" y="234791"/>
                    <a:pt x="4653439" y="227171"/>
                  </a:cubicBezTo>
                  <a:cubicBezTo>
                    <a:pt x="4657249" y="212884"/>
                    <a:pt x="4660106" y="204311"/>
                    <a:pt x="4660106" y="204311"/>
                  </a:cubicBezTo>
                  <a:cubicBezTo>
                    <a:pt x="4660106" y="204311"/>
                    <a:pt x="4656297" y="211931"/>
                    <a:pt x="4650581" y="226219"/>
                  </a:cubicBezTo>
                  <a:cubicBezTo>
                    <a:pt x="4647724" y="232886"/>
                    <a:pt x="4643914" y="241459"/>
                    <a:pt x="4641056" y="251936"/>
                  </a:cubicBezTo>
                  <a:cubicBezTo>
                    <a:pt x="4639151" y="256699"/>
                    <a:pt x="4637247" y="261461"/>
                    <a:pt x="4636294" y="267176"/>
                  </a:cubicBezTo>
                  <a:cubicBezTo>
                    <a:pt x="4636294" y="264319"/>
                    <a:pt x="4636294" y="261461"/>
                    <a:pt x="4636294" y="259556"/>
                  </a:cubicBezTo>
                  <a:cubicBezTo>
                    <a:pt x="4636294" y="251936"/>
                    <a:pt x="4637247" y="246221"/>
                    <a:pt x="4638199" y="242411"/>
                  </a:cubicBezTo>
                  <a:cubicBezTo>
                    <a:pt x="4639151" y="238601"/>
                    <a:pt x="4639151" y="235744"/>
                    <a:pt x="4639151" y="235744"/>
                  </a:cubicBezTo>
                  <a:cubicBezTo>
                    <a:pt x="4639151" y="235744"/>
                    <a:pt x="4638199" y="237649"/>
                    <a:pt x="4637247" y="241459"/>
                  </a:cubicBezTo>
                  <a:cubicBezTo>
                    <a:pt x="4636294" y="245269"/>
                    <a:pt x="4633437" y="250984"/>
                    <a:pt x="4632484" y="258604"/>
                  </a:cubicBezTo>
                  <a:cubicBezTo>
                    <a:pt x="4632484" y="258604"/>
                    <a:pt x="4632484" y="258604"/>
                    <a:pt x="4632484" y="258604"/>
                  </a:cubicBezTo>
                  <a:cubicBezTo>
                    <a:pt x="4631531" y="255746"/>
                    <a:pt x="4631531" y="254794"/>
                    <a:pt x="4631531" y="254794"/>
                  </a:cubicBezTo>
                  <a:cubicBezTo>
                    <a:pt x="4631531" y="254794"/>
                    <a:pt x="4631531" y="256699"/>
                    <a:pt x="4632484" y="259556"/>
                  </a:cubicBezTo>
                  <a:cubicBezTo>
                    <a:pt x="4630579" y="267176"/>
                    <a:pt x="4629626" y="275749"/>
                    <a:pt x="4628674" y="285274"/>
                  </a:cubicBezTo>
                  <a:cubicBezTo>
                    <a:pt x="4628674" y="288131"/>
                    <a:pt x="4628674" y="290989"/>
                    <a:pt x="4628674" y="293846"/>
                  </a:cubicBezTo>
                  <a:cubicBezTo>
                    <a:pt x="4627722" y="296704"/>
                    <a:pt x="4626769" y="300514"/>
                    <a:pt x="4625816" y="303371"/>
                  </a:cubicBezTo>
                  <a:cubicBezTo>
                    <a:pt x="4619149" y="298609"/>
                    <a:pt x="4614387" y="295751"/>
                    <a:pt x="4610576" y="293846"/>
                  </a:cubicBezTo>
                  <a:cubicBezTo>
                    <a:pt x="4606766" y="291941"/>
                    <a:pt x="4604862" y="290989"/>
                    <a:pt x="4604862" y="290989"/>
                  </a:cubicBezTo>
                  <a:cubicBezTo>
                    <a:pt x="4604862" y="290989"/>
                    <a:pt x="4606766" y="291941"/>
                    <a:pt x="4610576" y="294799"/>
                  </a:cubicBezTo>
                  <a:cubicBezTo>
                    <a:pt x="4614387" y="296704"/>
                    <a:pt x="4619149" y="301466"/>
                    <a:pt x="4624864" y="307181"/>
                  </a:cubicBezTo>
                  <a:cubicBezTo>
                    <a:pt x="4624864" y="307181"/>
                    <a:pt x="4624864" y="307181"/>
                    <a:pt x="4625816" y="308134"/>
                  </a:cubicBezTo>
                  <a:cubicBezTo>
                    <a:pt x="4624864" y="313849"/>
                    <a:pt x="4622959" y="319564"/>
                    <a:pt x="4622006" y="325279"/>
                  </a:cubicBezTo>
                  <a:cubicBezTo>
                    <a:pt x="4621054" y="330994"/>
                    <a:pt x="4620101" y="337661"/>
                    <a:pt x="4619149" y="343376"/>
                  </a:cubicBezTo>
                  <a:cubicBezTo>
                    <a:pt x="4615339" y="330041"/>
                    <a:pt x="4611529" y="317659"/>
                    <a:pt x="4607719" y="306229"/>
                  </a:cubicBezTo>
                  <a:cubicBezTo>
                    <a:pt x="4605814" y="300514"/>
                    <a:pt x="4604862" y="295751"/>
                    <a:pt x="4602956" y="290989"/>
                  </a:cubicBezTo>
                  <a:cubicBezTo>
                    <a:pt x="4602004" y="282416"/>
                    <a:pt x="4601051" y="274796"/>
                    <a:pt x="4601051" y="269081"/>
                  </a:cubicBezTo>
                  <a:cubicBezTo>
                    <a:pt x="4599147" y="255746"/>
                    <a:pt x="4599147" y="248126"/>
                    <a:pt x="4599147" y="248126"/>
                  </a:cubicBezTo>
                  <a:cubicBezTo>
                    <a:pt x="4599147" y="248126"/>
                    <a:pt x="4598194" y="255746"/>
                    <a:pt x="4597241" y="269081"/>
                  </a:cubicBezTo>
                  <a:cubicBezTo>
                    <a:pt x="4597241" y="270034"/>
                    <a:pt x="4597241" y="270986"/>
                    <a:pt x="4597241" y="271939"/>
                  </a:cubicBezTo>
                  <a:cubicBezTo>
                    <a:pt x="4594384" y="263366"/>
                    <a:pt x="4591526" y="255746"/>
                    <a:pt x="4589622" y="250031"/>
                  </a:cubicBezTo>
                  <a:cubicBezTo>
                    <a:pt x="4589622" y="247174"/>
                    <a:pt x="4589622" y="244316"/>
                    <a:pt x="4589622" y="240506"/>
                  </a:cubicBezTo>
                  <a:cubicBezTo>
                    <a:pt x="4590574" y="225266"/>
                    <a:pt x="4590574" y="210979"/>
                    <a:pt x="4590574" y="197644"/>
                  </a:cubicBezTo>
                  <a:cubicBezTo>
                    <a:pt x="4591526" y="144304"/>
                    <a:pt x="4590574" y="109061"/>
                    <a:pt x="4590574" y="109061"/>
                  </a:cubicBezTo>
                  <a:cubicBezTo>
                    <a:pt x="4590574" y="109061"/>
                    <a:pt x="4584859" y="144304"/>
                    <a:pt x="4579144" y="197644"/>
                  </a:cubicBezTo>
                  <a:cubicBezTo>
                    <a:pt x="4578191" y="210979"/>
                    <a:pt x="4576287" y="225266"/>
                    <a:pt x="4574381" y="240506"/>
                  </a:cubicBezTo>
                  <a:cubicBezTo>
                    <a:pt x="4573429" y="245269"/>
                    <a:pt x="4573429" y="250984"/>
                    <a:pt x="4573429" y="256699"/>
                  </a:cubicBezTo>
                  <a:cubicBezTo>
                    <a:pt x="4573429" y="256699"/>
                    <a:pt x="4572476" y="257651"/>
                    <a:pt x="4572476" y="257651"/>
                  </a:cubicBezTo>
                  <a:cubicBezTo>
                    <a:pt x="4569619" y="259556"/>
                    <a:pt x="4566762" y="262414"/>
                    <a:pt x="4563904" y="265271"/>
                  </a:cubicBezTo>
                  <a:cubicBezTo>
                    <a:pt x="4563904" y="265271"/>
                    <a:pt x="4563904" y="264319"/>
                    <a:pt x="4563904" y="264319"/>
                  </a:cubicBezTo>
                  <a:cubicBezTo>
                    <a:pt x="4561999" y="261461"/>
                    <a:pt x="4560094" y="258604"/>
                    <a:pt x="4559141" y="255746"/>
                  </a:cubicBezTo>
                  <a:cubicBezTo>
                    <a:pt x="4559141" y="253841"/>
                    <a:pt x="4560094" y="250984"/>
                    <a:pt x="4560094" y="249079"/>
                  </a:cubicBezTo>
                  <a:cubicBezTo>
                    <a:pt x="4570572" y="195739"/>
                    <a:pt x="4576287" y="159544"/>
                    <a:pt x="4576287" y="159544"/>
                  </a:cubicBezTo>
                  <a:cubicBezTo>
                    <a:pt x="4576287" y="159544"/>
                    <a:pt x="4564856" y="192881"/>
                    <a:pt x="4550569" y="243364"/>
                  </a:cubicBezTo>
                  <a:cubicBezTo>
                    <a:pt x="4550569" y="243364"/>
                    <a:pt x="4550569" y="243364"/>
                    <a:pt x="4550569" y="243364"/>
                  </a:cubicBezTo>
                  <a:cubicBezTo>
                    <a:pt x="4550569" y="243364"/>
                    <a:pt x="4550569" y="243364"/>
                    <a:pt x="4550569" y="243364"/>
                  </a:cubicBezTo>
                  <a:cubicBezTo>
                    <a:pt x="4550569" y="244316"/>
                    <a:pt x="4549616" y="245269"/>
                    <a:pt x="4549616" y="246221"/>
                  </a:cubicBezTo>
                  <a:cubicBezTo>
                    <a:pt x="4549616" y="247174"/>
                    <a:pt x="4549616" y="248126"/>
                    <a:pt x="4548664" y="248126"/>
                  </a:cubicBezTo>
                  <a:cubicBezTo>
                    <a:pt x="4548664" y="248126"/>
                    <a:pt x="4548664" y="248126"/>
                    <a:pt x="4548664" y="248126"/>
                  </a:cubicBezTo>
                  <a:cubicBezTo>
                    <a:pt x="4548664" y="248126"/>
                    <a:pt x="4548664" y="248126"/>
                    <a:pt x="4548664" y="248126"/>
                  </a:cubicBezTo>
                  <a:cubicBezTo>
                    <a:pt x="4544854" y="261461"/>
                    <a:pt x="4540091" y="276701"/>
                    <a:pt x="4536281" y="292894"/>
                  </a:cubicBezTo>
                  <a:cubicBezTo>
                    <a:pt x="4534376" y="261461"/>
                    <a:pt x="4531519" y="241459"/>
                    <a:pt x="4531519" y="241459"/>
                  </a:cubicBezTo>
                  <a:cubicBezTo>
                    <a:pt x="4531519" y="241459"/>
                    <a:pt x="4527709" y="266224"/>
                    <a:pt x="4525804" y="303371"/>
                  </a:cubicBezTo>
                  <a:cubicBezTo>
                    <a:pt x="4525804" y="305276"/>
                    <a:pt x="4525804" y="307181"/>
                    <a:pt x="4525804" y="309086"/>
                  </a:cubicBezTo>
                  <a:cubicBezTo>
                    <a:pt x="4524851" y="308134"/>
                    <a:pt x="4524851" y="308134"/>
                    <a:pt x="4524851" y="308134"/>
                  </a:cubicBezTo>
                  <a:cubicBezTo>
                    <a:pt x="4524851" y="308134"/>
                    <a:pt x="4524851" y="309086"/>
                    <a:pt x="4525804" y="310039"/>
                  </a:cubicBezTo>
                  <a:cubicBezTo>
                    <a:pt x="4524851" y="317659"/>
                    <a:pt x="4524851" y="325279"/>
                    <a:pt x="4523899" y="333851"/>
                  </a:cubicBezTo>
                  <a:cubicBezTo>
                    <a:pt x="4523899" y="334804"/>
                    <a:pt x="4523899" y="336709"/>
                    <a:pt x="4523899" y="337661"/>
                  </a:cubicBezTo>
                  <a:cubicBezTo>
                    <a:pt x="4523899" y="338614"/>
                    <a:pt x="4523899" y="338614"/>
                    <a:pt x="4522947" y="339566"/>
                  </a:cubicBezTo>
                  <a:cubicBezTo>
                    <a:pt x="4521041" y="333851"/>
                    <a:pt x="4519137" y="328136"/>
                    <a:pt x="4517231" y="322421"/>
                  </a:cubicBezTo>
                  <a:cubicBezTo>
                    <a:pt x="4516279" y="314801"/>
                    <a:pt x="4515326" y="307181"/>
                    <a:pt x="4514374" y="301466"/>
                  </a:cubicBezTo>
                  <a:cubicBezTo>
                    <a:pt x="4515326" y="299561"/>
                    <a:pt x="4516279" y="298609"/>
                    <a:pt x="4517231" y="297656"/>
                  </a:cubicBezTo>
                  <a:cubicBezTo>
                    <a:pt x="4520089" y="293846"/>
                    <a:pt x="4521041" y="291941"/>
                    <a:pt x="4521041" y="291941"/>
                  </a:cubicBezTo>
                  <a:cubicBezTo>
                    <a:pt x="4521041" y="291941"/>
                    <a:pt x="4519137" y="293846"/>
                    <a:pt x="4516279" y="297656"/>
                  </a:cubicBezTo>
                  <a:cubicBezTo>
                    <a:pt x="4515326" y="298609"/>
                    <a:pt x="4515326" y="299561"/>
                    <a:pt x="4514374" y="300514"/>
                  </a:cubicBezTo>
                  <a:cubicBezTo>
                    <a:pt x="4514374" y="299561"/>
                    <a:pt x="4514374" y="299561"/>
                    <a:pt x="4514374" y="298609"/>
                  </a:cubicBezTo>
                  <a:cubicBezTo>
                    <a:pt x="4515326" y="296704"/>
                    <a:pt x="4516279" y="294799"/>
                    <a:pt x="4517231" y="293846"/>
                  </a:cubicBezTo>
                  <a:cubicBezTo>
                    <a:pt x="4519137" y="290036"/>
                    <a:pt x="4520089" y="288131"/>
                    <a:pt x="4520089" y="288131"/>
                  </a:cubicBezTo>
                  <a:cubicBezTo>
                    <a:pt x="4520089" y="288131"/>
                    <a:pt x="4519137" y="290036"/>
                    <a:pt x="4516279" y="292894"/>
                  </a:cubicBezTo>
                  <a:cubicBezTo>
                    <a:pt x="4515326" y="293846"/>
                    <a:pt x="4515326" y="294799"/>
                    <a:pt x="4514374" y="295751"/>
                  </a:cubicBezTo>
                  <a:cubicBezTo>
                    <a:pt x="4513422" y="290036"/>
                    <a:pt x="4512469" y="285274"/>
                    <a:pt x="4512469" y="281464"/>
                  </a:cubicBezTo>
                  <a:cubicBezTo>
                    <a:pt x="4511516" y="272891"/>
                    <a:pt x="4511516" y="268129"/>
                    <a:pt x="4511516" y="268129"/>
                  </a:cubicBezTo>
                  <a:cubicBezTo>
                    <a:pt x="4511516" y="268129"/>
                    <a:pt x="4511516" y="270034"/>
                    <a:pt x="4510564" y="272891"/>
                  </a:cubicBezTo>
                  <a:cubicBezTo>
                    <a:pt x="4508659" y="259556"/>
                    <a:pt x="4506754" y="250984"/>
                    <a:pt x="4506754" y="250984"/>
                  </a:cubicBezTo>
                  <a:cubicBezTo>
                    <a:pt x="4506754" y="250984"/>
                    <a:pt x="4506754" y="267176"/>
                    <a:pt x="4506754" y="292894"/>
                  </a:cubicBezTo>
                  <a:cubicBezTo>
                    <a:pt x="4504849" y="289084"/>
                    <a:pt x="4502944" y="285274"/>
                    <a:pt x="4501991" y="282416"/>
                  </a:cubicBezTo>
                  <a:cubicBezTo>
                    <a:pt x="4499134" y="276701"/>
                    <a:pt x="4496276" y="271939"/>
                    <a:pt x="4494372" y="267176"/>
                  </a:cubicBezTo>
                  <a:cubicBezTo>
                    <a:pt x="4491514" y="262414"/>
                    <a:pt x="4489609" y="258604"/>
                    <a:pt x="4486751" y="254794"/>
                  </a:cubicBezTo>
                  <a:cubicBezTo>
                    <a:pt x="4483894" y="250984"/>
                    <a:pt x="4481989" y="248126"/>
                    <a:pt x="4480084" y="245269"/>
                  </a:cubicBezTo>
                  <a:cubicBezTo>
                    <a:pt x="4478179" y="242411"/>
                    <a:pt x="4476274" y="240506"/>
                    <a:pt x="4474369" y="238601"/>
                  </a:cubicBezTo>
                  <a:cubicBezTo>
                    <a:pt x="4471512" y="235744"/>
                    <a:pt x="4470559" y="233839"/>
                    <a:pt x="4469606" y="233839"/>
                  </a:cubicBezTo>
                  <a:cubicBezTo>
                    <a:pt x="4470559" y="230981"/>
                    <a:pt x="4471512" y="228124"/>
                    <a:pt x="4471512" y="225266"/>
                  </a:cubicBezTo>
                  <a:cubicBezTo>
                    <a:pt x="4474369" y="214789"/>
                    <a:pt x="4476274" y="206216"/>
                    <a:pt x="4477226" y="198596"/>
                  </a:cubicBezTo>
                  <a:cubicBezTo>
                    <a:pt x="4480084" y="184309"/>
                    <a:pt x="4481037" y="175736"/>
                    <a:pt x="4481037" y="175736"/>
                  </a:cubicBezTo>
                  <a:cubicBezTo>
                    <a:pt x="4481037" y="175736"/>
                    <a:pt x="4478179" y="183356"/>
                    <a:pt x="4473416" y="197644"/>
                  </a:cubicBezTo>
                  <a:cubicBezTo>
                    <a:pt x="4471512" y="204311"/>
                    <a:pt x="4467701" y="212884"/>
                    <a:pt x="4463891" y="222409"/>
                  </a:cubicBezTo>
                  <a:cubicBezTo>
                    <a:pt x="4461034" y="229076"/>
                    <a:pt x="4458176" y="236696"/>
                    <a:pt x="4455319" y="244316"/>
                  </a:cubicBezTo>
                  <a:cubicBezTo>
                    <a:pt x="4454366" y="240506"/>
                    <a:pt x="4453414" y="237649"/>
                    <a:pt x="4453414" y="237649"/>
                  </a:cubicBezTo>
                  <a:cubicBezTo>
                    <a:pt x="4453414" y="237649"/>
                    <a:pt x="4453414" y="240506"/>
                    <a:pt x="4454366" y="247174"/>
                  </a:cubicBezTo>
                  <a:cubicBezTo>
                    <a:pt x="4453414" y="249079"/>
                    <a:pt x="4452462" y="251936"/>
                    <a:pt x="4451509" y="253841"/>
                  </a:cubicBezTo>
                  <a:cubicBezTo>
                    <a:pt x="4446747" y="265271"/>
                    <a:pt x="4441984" y="276701"/>
                    <a:pt x="4436269" y="289084"/>
                  </a:cubicBezTo>
                  <a:cubicBezTo>
                    <a:pt x="4436269" y="288131"/>
                    <a:pt x="4435316" y="288131"/>
                    <a:pt x="4435316" y="287179"/>
                  </a:cubicBezTo>
                  <a:cubicBezTo>
                    <a:pt x="4436269" y="283369"/>
                    <a:pt x="4437222" y="278606"/>
                    <a:pt x="4438174" y="274796"/>
                  </a:cubicBezTo>
                  <a:cubicBezTo>
                    <a:pt x="4440079" y="265271"/>
                    <a:pt x="4441984" y="255746"/>
                    <a:pt x="4444841" y="247174"/>
                  </a:cubicBezTo>
                  <a:cubicBezTo>
                    <a:pt x="4449604" y="229076"/>
                    <a:pt x="4452462" y="211931"/>
                    <a:pt x="4454366" y="195739"/>
                  </a:cubicBezTo>
                  <a:cubicBezTo>
                    <a:pt x="4457224" y="179546"/>
                    <a:pt x="4459129" y="165259"/>
                    <a:pt x="4460081" y="151924"/>
                  </a:cubicBezTo>
                  <a:cubicBezTo>
                    <a:pt x="4461034" y="145256"/>
                    <a:pt x="4461987" y="139541"/>
                    <a:pt x="4461987" y="133826"/>
                  </a:cubicBezTo>
                  <a:cubicBezTo>
                    <a:pt x="4461987" y="128111"/>
                    <a:pt x="4462939" y="123349"/>
                    <a:pt x="4462939" y="118586"/>
                  </a:cubicBezTo>
                  <a:cubicBezTo>
                    <a:pt x="4463891" y="99536"/>
                    <a:pt x="4463891" y="89059"/>
                    <a:pt x="4463891" y="89059"/>
                  </a:cubicBezTo>
                  <a:cubicBezTo>
                    <a:pt x="4463891" y="89059"/>
                    <a:pt x="4461987" y="99536"/>
                    <a:pt x="4458176" y="118586"/>
                  </a:cubicBezTo>
                  <a:cubicBezTo>
                    <a:pt x="4457224" y="123349"/>
                    <a:pt x="4456272" y="128111"/>
                    <a:pt x="4455319" y="133826"/>
                  </a:cubicBezTo>
                  <a:cubicBezTo>
                    <a:pt x="4454366" y="139541"/>
                    <a:pt x="4452462" y="145256"/>
                    <a:pt x="4451509" y="151924"/>
                  </a:cubicBezTo>
                  <a:cubicBezTo>
                    <a:pt x="4448651" y="164306"/>
                    <a:pt x="4445794" y="178594"/>
                    <a:pt x="4441984" y="194786"/>
                  </a:cubicBezTo>
                  <a:cubicBezTo>
                    <a:pt x="4438174" y="210026"/>
                    <a:pt x="4434364" y="227171"/>
                    <a:pt x="4428649" y="245269"/>
                  </a:cubicBezTo>
                  <a:cubicBezTo>
                    <a:pt x="4426744" y="252889"/>
                    <a:pt x="4423887" y="261461"/>
                    <a:pt x="4421981" y="269081"/>
                  </a:cubicBezTo>
                  <a:cubicBezTo>
                    <a:pt x="4419124" y="265271"/>
                    <a:pt x="4417219" y="261461"/>
                    <a:pt x="4414362" y="258604"/>
                  </a:cubicBezTo>
                  <a:cubicBezTo>
                    <a:pt x="4406741" y="247174"/>
                    <a:pt x="4400074" y="237649"/>
                    <a:pt x="4394359" y="230029"/>
                  </a:cubicBezTo>
                  <a:cubicBezTo>
                    <a:pt x="4391501" y="227171"/>
                    <a:pt x="4389597" y="224314"/>
                    <a:pt x="4387691" y="221456"/>
                  </a:cubicBezTo>
                  <a:cubicBezTo>
                    <a:pt x="4392454" y="195739"/>
                    <a:pt x="4395312" y="180499"/>
                    <a:pt x="4395312" y="180499"/>
                  </a:cubicBezTo>
                  <a:cubicBezTo>
                    <a:pt x="4395312" y="180499"/>
                    <a:pt x="4390549" y="193834"/>
                    <a:pt x="4382929" y="215741"/>
                  </a:cubicBezTo>
                  <a:cubicBezTo>
                    <a:pt x="4378166" y="209074"/>
                    <a:pt x="4375309" y="206216"/>
                    <a:pt x="4375309" y="206216"/>
                  </a:cubicBezTo>
                  <a:cubicBezTo>
                    <a:pt x="4375309" y="206216"/>
                    <a:pt x="4378166" y="210979"/>
                    <a:pt x="4381976" y="218599"/>
                  </a:cubicBezTo>
                  <a:cubicBezTo>
                    <a:pt x="4378166" y="230029"/>
                    <a:pt x="4374356" y="244316"/>
                    <a:pt x="4369594" y="259556"/>
                  </a:cubicBezTo>
                  <a:cubicBezTo>
                    <a:pt x="4368641" y="248126"/>
                    <a:pt x="4368641" y="241459"/>
                    <a:pt x="4368641" y="241459"/>
                  </a:cubicBezTo>
                  <a:cubicBezTo>
                    <a:pt x="4368641" y="241459"/>
                    <a:pt x="4367689" y="249079"/>
                    <a:pt x="4366737" y="263366"/>
                  </a:cubicBezTo>
                  <a:cubicBezTo>
                    <a:pt x="4366737" y="267176"/>
                    <a:pt x="4365784" y="270986"/>
                    <a:pt x="4365784" y="274796"/>
                  </a:cubicBezTo>
                  <a:cubicBezTo>
                    <a:pt x="4364831" y="277654"/>
                    <a:pt x="4363879" y="281464"/>
                    <a:pt x="4362926" y="285274"/>
                  </a:cubicBezTo>
                  <a:cubicBezTo>
                    <a:pt x="4362926" y="284321"/>
                    <a:pt x="4362926" y="283369"/>
                    <a:pt x="4362926" y="282416"/>
                  </a:cubicBezTo>
                  <a:cubicBezTo>
                    <a:pt x="4361974" y="269081"/>
                    <a:pt x="4361022" y="261461"/>
                    <a:pt x="4361022" y="261461"/>
                  </a:cubicBezTo>
                  <a:cubicBezTo>
                    <a:pt x="4361022" y="261461"/>
                    <a:pt x="4360069" y="269081"/>
                    <a:pt x="4359116" y="283369"/>
                  </a:cubicBezTo>
                  <a:cubicBezTo>
                    <a:pt x="4359116" y="285274"/>
                    <a:pt x="4359116" y="288131"/>
                    <a:pt x="4359116" y="290989"/>
                  </a:cubicBezTo>
                  <a:cubicBezTo>
                    <a:pt x="4358164" y="291941"/>
                    <a:pt x="4358164" y="293846"/>
                    <a:pt x="4357212" y="295751"/>
                  </a:cubicBezTo>
                  <a:cubicBezTo>
                    <a:pt x="4355306" y="291941"/>
                    <a:pt x="4353401" y="288131"/>
                    <a:pt x="4351497" y="284321"/>
                  </a:cubicBezTo>
                  <a:cubicBezTo>
                    <a:pt x="4351497" y="274796"/>
                    <a:pt x="4351497" y="266224"/>
                    <a:pt x="4351497" y="257651"/>
                  </a:cubicBezTo>
                  <a:cubicBezTo>
                    <a:pt x="4351497" y="250984"/>
                    <a:pt x="4351497" y="245269"/>
                    <a:pt x="4351497" y="238601"/>
                  </a:cubicBezTo>
                  <a:cubicBezTo>
                    <a:pt x="4351497" y="232886"/>
                    <a:pt x="4350544" y="227171"/>
                    <a:pt x="4349591" y="221456"/>
                  </a:cubicBezTo>
                  <a:cubicBezTo>
                    <a:pt x="4348639" y="210979"/>
                    <a:pt x="4346734" y="201454"/>
                    <a:pt x="4345781" y="194786"/>
                  </a:cubicBezTo>
                  <a:cubicBezTo>
                    <a:pt x="4343876" y="179546"/>
                    <a:pt x="4342924" y="170974"/>
                    <a:pt x="4342924" y="170974"/>
                  </a:cubicBezTo>
                  <a:cubicBezTo>
                    <a:pt x="4342924" y="170974"/>
                    <a:pt x="4342924" y="179546"/>
                    <a:pt x="4341972" y="194786"/>
                  </a:cubicBezTo>
                  <a:cubicBezTo>
                    <a:pt x="4341972" y="201454"/>
                    <a:pt x="4341972" y="209074"/>
                    <a:pt x="4341972" y="217646"/>
                  </a:cubicBezTo>
                  <a:cubicBezTo>
                    <a:pt x="4341019" y="210026"/>
                    <a:pt x="4340066" y="205264"/>
                    <a:pt x="4340066" y="205264"/>
                  </a:cubicBezTo>
                  <a:cubicBezTo>
                    <a:pt x="4340066" y="205264"/>
                    <a:pt x="4340066" y="212884"/>
                    <a:pt x="4339114" y="226219"/>
                  </a:cubicBezTo>
                  <a:cubicBezTo>
                    <a:pt x="4339114" y="232886"/>
                    <a:pt x="4339114" y="240506"/>
                    <a:pt x="4338162" y="250031"/>
                  </a:cubicBezTo>
                  <a:cubicBezTo>
                    <a:pt x="4338162" y="250984"/>
                    <a:pt x="4338162" y="251936"/>
                    <a:pt x="4338162" y="252889"/>
                  </a:cubicBezTo>
                  <a:cubicBezTo>
                    <a:pt x="4338162" y="251936"/>
                    <a:pt x="4337209" y="250984"/>
                    <a:pt x="4337209" y="250984"/>
                  </a:cubicBezTo>
                  <a:cubicBezTo>
                    <a:pt x="4330541" y="231934"/>
                    <a:pt x="4324826" y="213836"/>
                    <a:pt x="4318159" y="196691"/>
                  </a:cubicBezTo>
                  <a:cubicBezTo>
                    <a:pt x="4306729" y="163354"/>
                    <a:pt x="4296251" y="135731"/>
                    <a:pt x="4289584" y="116681"/>
                  </a:cubicBezTo>
                  <a:cubicBezTo>
                    <a:pt x="4282916" y="97631"/>
                    <a:pt x="4278154" y="86201"/>
                    <a:pt x="4278154" y="86201"/>
                  </a:cubicBezTo>
                  <a:cubicBezTo>
                    <a:pt x="4278154" y="86201"/>
                    <a:pt x="4281012" y="97631"/>
                    <a:pt x="4285774" y="117634"/>
                  </a:cubicBezTo>
                  <a:cubicBezTo>
                    <a:pt x="4291489" y="137636"/>
                    <a:pt x="4298156" y="166211"/>
                    <a:pt x="4307681" y="199549"/>
                  </a:cubicBezTo>
                  <a:cubicBezTo>
                    <a:pt x="4315301" y="228124"/>
                    <a:pt x="4324826" y="261461"/>
                    <a:pt x="4334351" y="295751"/>
                  </a:cubicBezTo>
                  <a:cubicBezTo>
                    <a:pt x="4334351" y="295751"/>
                    <a:pt x="4334351" y="296704"/>
                    <a:pt x="4334351" y="296704"/>
                  </a:cubicBezTo>
                  <a:cubicBezTo>
                    <a:pt x="4334351" y="295751"/>
                    <a:pt x="4334351" y="294799"/>
                    <a:pt x="4334351" y="294799"/>
                  </a:cubicBezTo>
                  <a:cubicBezTo>
                    <a:pt x="4334351" y="294799"/>
                    <a:pt x="4334351" y="296704"/>
                    <a:pt x="4334351" y="301466"/>
                  </a:cubicBezTo>
                  <a:cubicBezTo>
                    <a:pt x="4334351" y="306229"/>
                    <a:pt x="4333399" y="310991"/>
                    <a:pt x="4333399" y="315754"/>
                  </a:cubicBezTo>
                  <a:cubicBezTo>
                    <a:pt x="4332447" y="325279"/>
                    <a:pt x="4331494" y="334804"/>
                    <a:pt x="4329589" y="344329"/>
                  </a:cubicBezTo>
                  <a:cubicBezTo>
                    <a:pt x="4329589" y="344329"/>
                    <a:pt x="4328637" y="343376"/>
                    <a:pt x="4328637" y="343376"/>
                  </a:cubicBezTo>
                  <a:cubicBezTo>
                    <a:pt x="4327684" y="342424"/>
                    <a:pt x="4327684" y="341471"/>
                    <a:pt x="4326731" y="340519"/>
                  </a:cubicBezTo>
                  <a:cubicBezTo>
                    <a:pt x="4326731" y="338614"/>
                    <a:pt x="4325779" y="335756"/>
                    <a:pt x="4325779" y="333851"/>
                  </a:cubicBezTo>
                  <a:cubicBezTo>
                    <a:pt x="4321969" y="309086"/>
                    <a:pt x="4318159" y="286226"/>
                    <a:pt x="4315301" y="267176"/>
                  </a:cubicBezTo>
                  <a:cubicBezTo>
                    <a:pt x="4308634" y="228124"/>
                    <a:pt x="4301966" y="202406"/>
                    <a:pt x="4301966" y="202406"/>
                  </a:cubicBezTo>
                  <a:cubicBezTo>
                    <a:pt x="4301966" y="202406"/>
                    <a:pt x="4301966" y="229076"/>
                    <a:pt x="4303872" y="268129"/>
                  </a:cubicBezTo>
                  <a:cubicBezTo>
                    <a:pt x="4303872" y="270034"/>
                    <a:pt x="4303872" y="271939"/>
                    <a:pt x="4303872" y="274796"/>
                  </a:cubicBezTo>
                  <a:cubicBezTo>
                    <a:pt x="4302919" y="279559"/>
                    <a:pt x="4302919" y="284321"/>
                    <a:pt x="4301966" y="290036"/>
                  </a:cubicBezTo>
                  <a:cubicBezTo>
                    <a:pt x="4301966" y="292894"/>
                    <a:pt x="4301014" y="296704"/>
                    <a:pt x="4300062" y="300514"/>
                  </a:cubicBezTo>
                  <a:cubicBezTo>
                    <a:pt x="4296251" y="295751"/>
                    <a:pt x="4292441" y="290989"/>
                    <a:pt x="4288631" y="286226"/>
                  </a:cubicBezTo>
                  <a:cubicBezTo>
                    <a:pt x="4292441" y="292894"/>
                    <a:pt x="4295299" y="298609"/>
                    <a:pt x="4299109" y="305276"/>
                  </a:cubicBezTo>
                  <a:cubicBezTo>
                    <a:pt x="4298156" y="310991"/>
                    <a:pt x="4297204" y="316706"/>
                    <a:pt x="4296251" y="323374"/>
                  </a:cubicBezTo>
                  <a:cubicBezTo>
                    <a:pt x="4295299" y="330041"/>
                    <a:pt x="4293394" y="337661"/>
                    <a:pt x="4292441" y="346234"/>
                  </a:cubicBezTo>
                  <a:cubicBezTo>
                    <a:pt x="4291489" y="345281"/>
                    <a:pt x="4291489" y="344329"/>
                    <a:pt x="4290537" y="343376"/>
                  </a:cubicBezTo>
                  <a:cubicBezTo>
                    <a:pt x="4289584" y="330994"/>
                    <a:pt x="4289584" y="319564"/>
                    <a:pt x="4288631" y="308134"/>
                  </a:cubicBezTo>
                  <a:cubicBezTo>
                    <a:pt x="4285774" y="262414"/>
                    <a:pt x="4281964" y="231934"/>
                    <a:pt x="4281964" y="231934"/>
                  </a:cubicBezTo>
                  <a:cubicBezTo>
                    <a:pt x="4281964" y="231934"/>
                    <a:pt x="4279106" y="262414"/>
                    <a:pt x="4277201" y="309086"/>
                  </a:cubicBezTo>
                  <a:cubicBezTo>
                    <a:pt x="4277201" y="311944"/>
                    <a:pt x="4277201" y="315754"/>
                    <a:pt x="4277201" y="318611"/>
                  </a:cubicBezTo>
                  <a:cubicBezTo>
                    <a:pt x="4276249" y="315754"/>
                    <a:pt x="4274344" y="312896"/>
                    <a:pt x="4273391" y="310039"/>
                  </a:cubicBezTo>
                  <a:cubicBezTo>
                    <a:pt x="4273391" y="308134"/>
                    <a:pt x="4272439" y="305276"/>
                    <a:pt x="4272439" y="303371"/>
                  </a:cubicBezTo>
                  <a:cubicBezTo>
                    <a:pt x="4271487" y="292894"/>
                    <a:pt x="4271487" y="283369"/>
                    <a:pt x="4270534" y="273844"/>
                  </a:cubicBezTo>
                  <a:cubicBezTo>
                    <a:pt x="4270534" y="269081"/>
                    <a:pt x="4269581" y="265271"/>
                    <a:pt x="4269581" y="260509"/>
                  </a:cubicBezTo>
                  <a:cubicBezTo>
                    <a:pt x="4269581" y="258604"/>
                    <a:pt x="4269581" y="257651"/>
                    <a:pt x="4269581" y="255746"/>
                  </a:cubicBezTo>
                  <a:cubicBezTo>
                    <a:pt x="4269581" y="248126"/>
                    <a:pt x="4270534" y="241459"/>
                    <a:pt x="4270534" y="234791"/>
                  </a:cubicBezTo>
                  <a:cubicBezTo>
                    <a:pt x="4273391" y="187166"/>
                    <a:pt x="4273391" y="155734"/>
                    <a:pt x="4273391" y="155734"/>
                  </a:cubicBezTo>
                  <a:cubicBezTo>
                    <a:pt x="4273391" y="155734"/>
                    <a:pt x="4265772" y="187166"/>
                    <a:pt x="4259104" y="233839"/>
                  </a:cubicBezTo>
                  <a:cubicBezTo>
                    <a:pt x="4257199" y="245269"/>
                    <a:pt x="4255294" y="258604"/>
                    <a:pt x="4253389" y="271939"/>
                  </a:cubicBezTo>
                  <a:cubicBezTo>
                    <a:pt x="4253389" y="270986"/>
                    <a:pt x="4252437" y="270986"/>
                    <a:pt x="4252437" y="270034"/>
                  </a:cubicBezTo>
                  <a:cubicBezTo>
                    <a:pt x="4252437" y="267176"/>
                    <a:pt x="4253389" y="264319"/>
                    <a:pt x="4253389" y="262414"/>
                  </a:cubicBezTo>
                  <a:cubicBezTo>
                    <a:pt x="4255294" y="248126"/>
                    <a:pt x="4255294" y="240506"/>
                    <a:pt x="4255294" y="240506"/>
                  </a:cubicBezTo>
                  <a:cubicBezTo>
                    <a:pt x="4255294" y="240506"/>
                    <a:pt x="4253389" y="248126"/>
                    <a:pt x="4249579" y="262414"/>
                  </a:cubicBezTo>
                  <a:cubicBezTo>
                    <a:pt x="4249579" y="263366"/>
                    <a:pt x="4249579" y="264319"/>
                    <a:pt x="4248626" y="264319"/>
                  </a:cubicBezTo>
                  <a:cubicBezTo>
                    <a:pt x="4247674" y="263366"/>
                    <a:pt x="4247674" y="262414"/>
                    <a:pt x="4246722" y="261461"/>
                  </a:cubicBezTo>
                  <a:cubicBezTo>
                    <a:pt x="4245769" y="260509"/>
                    <a:pt x="4244816" y="259556"/>
                    <a:pt x="4244816" y="257651"/>
                  </a:cubicBezTo>
                  <a:cubicBezTo>
                    <a:pt x="4244816" y="253841"/>
                    <a:pt x="4244816" y="251936"/>
                    <a:pt x="4244816" y="251936"/>
                  </a:cubicBezTo>
                  <a:cubicBezTo>
                    <a:pt x="4244816" y="251936"/>
                    <a:pt x="4244816" y="253841"/>
                    <a:pt x="4243864" y="256699"/>
                  </a:cubicBezTo>
                  <a:cubicBezTo>
                    <a:pt x="4242912" y="254794"/>
                    <a:pt x="4241959" y="252889"/>
                    <a:pt x="4240054" y="251936"/>
                  </a:cubicBezTo>
                  <a:cubicBezTo>
                    <a:pt x="4236244" y="246221"/>
                    <a:pt x="4232434" y="240506"/>
                    <a:pt x="4229576" y="235744"/>
                  </a:cubicBezTo>
                  <a:cubicBezTo>
                    <a:pt x="4223862" y="227171"/>
                    <a:pt x="4220051" y="222409"/>
                    <a:pt x="4220051" y="222409"/>
                  </a:cubicBezTo>
                  <a:cubicBezTo>
                    <a:pt x="4220051" y="222409"/>
                    <a:pt x="4221956" y="228124"/>
                    <a:pt x="4226719" y="237649"/>
                  </a:cubicBezTo>
                  <a:cubicBezTo>
                    <a:pt x="4228624" y="242411"/>
                    <a:pt x="4231481" y="248126"/>
                    <a:pt x="4234339" y="254794"/>
                  </a:cubicBezTo>
                  <a:cubicBezTo>
                    <a:pt x="4235291" y="255746"/>
                    <a:pt x="4235291" y="257651"/>
                    <a:pt x="4236244" y="258604"/>
                  </a:cubicBezTo>
                  <a:cubicBezTo>
                    <a:pt x="4234339" y="256699"/>
                    <a:pt x="4233387" y="253841"/>
                    <a:pt x="4231481" y="251936"/>
                  </a:cubicBezTo>
                  <a:cubicBezTo>
                    <a:pt x="4227672" y="246221"/>
                    <a:pt x="4223862" y="242411"/>
                    <a:pt x="4220051" y="237649"/>
                  </a:cubicBezTo>
                  <a:cubicBezTo>
                    <a:pt x="4213384" y="229076"/>
                    <a:pt x="4206716" y="223361"/>
                    <a:pt x="4202906" y="219551"/>
                  </a:cubicBezTo>
                  <a:cubicBezTo>
                    <a:pt x="4199097" y="215741"/>
                    <a:pt x="4196239" y="213836"/>
                    <a:pt x="4196239" y="213836"/>
                  </a:cubicBezTo>
                  <a:cubicBezTo>
                    <a:pt x="4196239" y="213836"/>
                    <a:pt x="4198144" y="216694"/>
                    <a:pt x="4201954" y="220504"/>
                  </a:cubicBezTo>
                  <a:cubicBezTo>
                    <a:pt x="4205764" y="225266"/>
                    <a:pt x="4211479" y="230981"/>
                    <a:pt x="4216241" y="240506"/>
                  </a:cubicBezTo>
                  <a:cubicBezTo>
                    <a:pt x="4219099" y="245269"/>
                    <a:pt x="4222909" y="250031"/>
                    <a:pt x="4225766" y="255746"/>
                  </a:cubicBezTo>
                  <a:cubicBezTo>
                    <a:pt x="4228624" y="261461"/>
                    <a:pt x="4232434" y="267176"/>
                    <a:pt x="4235291" y="273844"/>
                  </a:cubicBezTo>
                  <a:cubicBezTo>
                    <a:pt x="4235291" y="273844"/>
                    <a:pt x="4235291" y="273844"/>
                    <a:pt x="4235291" y="274796"/>
                  </a:cubicBezTo>
                  <a:cubicBezTo>
                    <a:pt x="4235291" y="276701"/>
                    <a:pt x="4235291" y="279559"/>
                    <a:pt x="4235291" y="282416"/>
                  </a:cubicBezTo>
                  <a:cubicBezTo>
                    <a:pt x="4235291" y="282416"/>
                    <a:pt x="4234339" y="281464"/>
                    <a:pt x="4234339" y="281464"/>
                  </a:cubicBezTo>
                  <a:cubicBezTo>
                    <a:pt x="4231481" y="277654"/>
                    <a:pt x="4229576" y="276701"/>
                    <a:pt x="4229576" y="276701"/>
                  </a:cubicBezTo>
                  <a:cubicBezTo>
                    <a:pt x="4229576" y="276701"/>
                    <a:pt x="4231481" y="278606"/>
                    <a:pt x="4233387" y="282416"/>
                  </a:cubicBezTo>
                  <a:cubicBezTo>
                    <a:pt x="4233387" y="283369"/>
                    <a:pt x="4234339" y="283369"/>
                    <a:pt x="4235291" y="284321"/>
                  </a:cubicBezTo>
                  <a:cubicBezTo>
                    <a:pt x="4235291" y="284321"/>
                    <a:pt x="4235291" y="284321"/>
                    <a:pt x="4235291" y="285274"/>
                  </a:cubicBezTo>
                  <a:cubicBezTo>
                    <a:pt x="4233387" y="292894"/>
                    <a:pt x="4231481" y="301466"/>
                    <a:pt x="4229576" y="310039"/>
                  </a:cubicBezTo>
                  <a:cubicBezTo>
                    <a:pt x="4225766" y="301466"/>
                    <a:pt x="4222909" y="295751"/>
                    <a:pt x="4222909" y="295751"/>
                  </a:cubicBezTo>
                  <a:cubicBezTo>
                    <a:pt x="4222909" y="295751"/>
                    <a:pt x="4224814" y="303371"/>
                    <a:pt x="4228624" y="316706"/>
                  </a:cubicBezTo>
                  <a:cubicBezTo>
                    <a:pt x="4227672" y="319564"/>
                    <a:pt x="4227672" y="323374"/>
                    <a:pt x="4226719" y="327184"/>
                  </a:cubicBezTo>
                  <a:cubicBezTo>
                    <a:pt x="4225766" y="331946"/>
                    <a:pt x="4224814" y="336709"/>
                    <a:pt x="4223862" y="341471"/>
                  </a:cubicBezTo>
                  <a:cubicBezTo>
                    <a:pt x="4223862" y="338614"/>
                    <a:pt x="4222909" y="336709"/>
                    <a:pt x="4222909" y="334804"/>
                  </a:cubicBezTo>
                  <a:cubicBezTo>
                    <a:pt x="4221004" y="320516"/>
                    <a:pt x="4219099" y="311944"/>
                    <a:pt x="4219099" y="311944"/>
                  </a:cubicBezTo>
                  <a:cubicBezTo>
                    <a:pt x="4219099" y="311944"/>
                    <a:pt x="4219099" y="319564"/>
                    <a:pt x="4219099" y="331946"/>
                  </a:cubicBezTo>
                  <a:cubicBezTo>
                    <a:pt x="4218147" y="329089"/>
                    <a:pt x="4218147" y="326231"/>
                    <a:pt x="4217194" y="322421"/>
                  </a:cubicBezTo>
                  <a:cubicBezTo>
                    <a:pt x="4206716" y="272891"/>
                    <a:pt x="4198144" y="240506"/>
                    <a:pt x="4198144" y="240506"/>
                  </a:cubicBezTo>
                  <a:cubicBezTo>
                    <a:pt x="4198144" y="240506"/>
                    <a:pt x="4200049" y="273844"/>
                    <a:pt x="4205764" y="323374"/>
                  </a:cubicBezTo>
                  <a:cubicBezTo>
                    <a:pt x="4206716" y="335756"/>
                    <a:pt x="4208622" y="350044"/>
                    <a:pt x="4210526" y="364331"/>
                  </a:cubicBezTo>
                  <a:cubicBezTo>
                    <a:pt x="4210526" y="364331"/>
                    <a:pt x="4210526" y="363379"/>
                    <a:pt x="4210526" y="363379"/>
                  </a:cubicBezTo>
                  <a:cubicBezTo>
                    <a:pt x="4209574" y="357664"/>
                    <a:pt x="4207669" y="353854"/>
                    <a:pt x="4206716" y="350044"/>
                  </a:cubicBezTo>
                  <a:cubicBezTo>
                    <a:pt x="4204812" y="342424"/>
                    <a:pt x="4202906" y="338614"/>
                    <a:pt x="4202906" y="338614"/>
                  </a:cubicBezTo>
                  <a:cubicBezTo>
                    <a:pt x="4202906" y="338614"/>
                    <a:pt x="4202906" y="343376"/>
                    <a:pt x="4202906" y="350996"/>
                  </a:cubicBezTo>
                  <a:cubicBezTo>
                    <a:pt x="4202906" y="354806"/>
                    <a:pt x="4202906" y="359569"/>
                    <a:pt x="4202906" y="365284"/>
                  </a:cubicBezTo>
                  <a:cubicBezTo>
                    <a:pt x="4202906" y="368141"/>
                    <a:pt x="4202906" y="370999"/>
                    <a:pt x="4202906" y="373856"/>
                  </a:cubicBezTo>
                  <a:cubicBezTo>
                    <a:pt x="4202906" y="375761"/>
                    <a:pt x="4202906" y="377666"/>
                    <a:pt x="4202906" y="380524"/>
                  </a:cubicBezTo>
                  <a:cubicBezTo>
                    <a:pt x="4202906" y="379571"/>
                    <a:pt x="4202906" y="379571"/>
                    <a:pt x="4201954" y="378619"/>
                  </a:cubicBezTo>
                  <a:cubicBezTo>
                    <a:pt x="4201954" y="372904"/>
                    <a:pt x="4201001" y="367189"/>
                    <a:pt x="4201001" y="361474"/>
                  </a:cubicBezTo>
                  <a:cubicBezTo>
                    <a:pt x="4199097" y="318611"/>
                    <a:pt x="4196239" y="290989"/>
                    <a:pt x="4196239" y="290989"/>
                  </a:cubicBezTo>
                  <a:cubicBezTo>
                    <a:pt x="4196239" y="290989"/>
                    <a:pt x="4193381" y="310991"/>
                    <a:pt x="4191476" y="343376"/>
                  </a:cubicBezTo>
                  <a:cubicBezTo>
                    <a:pt x="4190524" y="340519"/>
                    <a:pt x="4189571" y="338614"/>
                    <a:pt x="4188619" y="335756"/>
                  </a:cubicBezTo>
                  <a:cubicBezTo>
                    <a:pt x="4185761" y="329089"/>
                    <a:pt x="4183856" y="323374"/>
                    <a:pt x="4181951" y="319564"/>
                  </a:cubicBezTo>
                  <a:cubicBezTo>
                    <a:pt x="4181951" y="318611"/>
                    <a:pt x="4180999" y="317659"/>
                    <a:pt x="4180999" y="316706"/>
                  </a:cubicBezTo>
                  <a:cubicBezTo>
                    <a:pt x="4180999" y="291941"/>
                    <a:pt x="4180999" y="271939"/>
                    <a:pt x="4180999" y="256699"/>
                  </a:cubicBezTo>
                  <a:cubicBezTo>
                    <a:pt x="4180999" y="239554"/>
                    <a:pt x="4180999" y="230029"/>
                    <a:pt x="4180999" y="230029"/>
                  </a:cubicBezTo>
                  <a:cubicBezTo>
                    <a:pt x="4180999" y="230029"/>
                    <a:pt x="4180046" y="239554"/>
                    <a:pt x="4177189" y="256699"/>
                  </a:cubicBezTo>
                  <a:cubicBezTo>
                    <a:pt x="4177189" y="260509"/>
                    <a:pt x="4176236" y="265271"/>
                    <a:pt x="4175284" y="270034"/>
                  </a:cubicBezTo>
                  <a:cubicBezTo>
                    <a:pt x="4175284" y="263366"/>
                    <a:pt x="4174331" y="257651"/>
                    <a:pt x="4174331" y="251936"/>
                  </a:cubicBezTo>
                  <a:cubicBezTo>
                    <a:pt x="4172426" y="207169"/>
                    <a:pt x="4168616" y="176689"/>
                    <a:pt x="4168616" y="176689"/>
                  </a:cubicBezTo>
                  <a:cubicBezTo>
                    <a:pt x="4168616" y="176689"/>
                    <a:pt x="4164806" y="207169"/>
                    <a:pt x="4162901" y="251936"/>
                  </a:cubicBezTo>
                  <a:cubicBezTo>
                    <a:pt x="4161949" y="263366"/>
                    <a:pt x="4161949" y="274796"/>
                    <a:pt x="4160996" y="287179"/>
                  </a:cubicBezTo>
                  <a:cubicBezTo>
                    <a:pt x="4158139" y="292894"/>
                    <a:pt x="4156234" y="298609"/>
                    <a:pt x="4154329" y="303371"/>
                  </a:cubicBezTo>
                  <a:cubicBezTo>
                    <a:pt x="4151471" y="295751"/>
                    <a:pt x="4149566" y="288131"/>
                    <a:pt x="4146709" y="280511"/>
                  </a:cubicBezTo>
                  <a:cubicBezTo>
                    <a:pt x="4144804" y="267176"/>
                    <a:pt x="4141946" y="255746"/>
                    <a:pt x="4140041" y="246221"/>
                  </a:cubicBezTo>
                  <a:cubicBezTo>
                    <a:pt x="4137184" y="231934"/>
                    <a:pt x="4133374" y="224314"/>
                    <a:pt x="4133374" y="224314"/>
                  </a:cubicBezTo>
                  <a:cubicBezTo>
                    <a:pt x="4133374" y="224314"/>
                    <a:pt x="4134326" y="226219"/>
                    <a:pt x="4134326" y="230029"/>
                  </a:cubicBezTo>
                  <a:cubicBezTo>
                    <a:pt x="4135279" y="233839"/>
                    <a:pt x="4135279" y="239554"/>
                    <a:pt x="4136231" y="247174"/>
                  </a:cubicBezTo>
                  <a:cubicBezTo>
                    <a:pt x="4136231" y="248126"/>
                    <a:pt x="4136231" y="249079"/>
                    <a:pt x="4136231" y="250031"/>
                  </a:cubicBezTo>
                  <a:cubicBezTo>
                    <a:pt x="4130516" y="230981"/>
                    <a:pt x="4123849" y="213836"/>
                    <a:pt x="4118134" y="197644"/>
                  </a:cubicBezTo>
                  <a:cubicBezTo>
                    <a:pt x="4108609" y="166211"/>
                    <a:pt x="4100036" y="139541"/>
                    <a:pt x="4093369" y="121444"/>
                  </a:cubicBezTo>
                  <a:cubicBezTo>
                    <a:pt x="4087654" y="103346"/>
                    <a:pt x="4083844" y="92869"/>
                    <a:pt x="4083844" y="92869"/>
                  </a:cubicBezTo>
                  <a:cubicBezTo>
                    <a:pt x="4083844" y="92869"/>
                    <a:pt x="4085749" y="103346"/>
                    <a:pt x="4089559" y="122396"/>
                  </a:cubicBezTo>
                  <a:cubicBezTo>
                    <a:pt x="4093369" y="141446"/>
                    <a:pt x="4099084" y="168116"/>
                    <a:pt x="4106704" y="200501"/>
                  </a:cubicBezTo>
                  <a:cubicBezTo>
                    <a:pt x="4110514" y="215741"/>
                    <a:pt x="4115276" y="231934"/>
                    <a:pt x="4119086" y="248126"/>
                  </a:cubicBezTo>
                  <a:cubicBezTo>
                    <a:pt x="4118134" y="251936"/>
                    <a:pt x="4118134" y="256699"/>
                    <a:pt x="4117181" y="262414"/>
                  </a:cubicBezTo>
                  <a:cubicBezTo>
                    <a:pt x="4116229" y="270034"/>
                    <a:pt x="4115276" y="279559"/>
                    <a:pt x="4114324" y="290036"/>
                  </a:cubicBezTo>
                  <a:cubicBezTo>
                    <a:pt x="4113371" y="288131"/>
                    <a:pt x="4111466" y="286226"/>
                    <a:pt x="4110514" y="284321"/>
                  </a:cubicBezTo>
                  <a:cubicBezTo>
                    <a:pt x="4113371" y="274796"/>
                    <a:pt x="4114324" y="269081"/>
                    <a:pt x="4114324" y="269081"/>
                  </a:cubicBezTo>
                  <a:cubicBezTo>
                    <a:pt x="4114324" y="269081"/>
                    <a:pt x="4112419" y="273844"/>
                    <a:pt x="4108609" y="282416"/>
                  </a:cubicBezTo>
                  <a:cubicBezTo>
                    <a:pt x="4106704" y="279559"/>
                    <a:pt x="4104799" y="276701"/>
                    <a:pt x="4102894" y="273844"/>
                  </a:cubicBezTo>
                  <a:cubicBezTo>
                    <a:pt x="4100989" y="270034"/>
                    <a:pt x="4098131" y="266224"/>
                    <a:pt x="4096226" y="263366"/>
                  </a:cubicBezTo>
                  <a:cubicBezTo>
                    <a:pt x="4097179" y="262414"/>
                    <a:pt x="4097179" y="262414"/>
                    <a:pt x="4097179" y="262414"/>
                  </a:cubicBezTo>
                  <a:cubicBezTo>
                    <a:pt x="4097179" y="262414"/>
                    <a:pt x="4097179" y="262414"/>
                    <a:pt x="4096226" y="263366"/>
                  </a:cubicBezTo>
                  <a:cubicBezTo>
                    <a:pt x="4094321" y="259556"/>
                    <a:pt x="4092416" y="256699"/>
                    <a:pt x="4090511" y="253841"/>
                  </a:cubicBezTo>
                  <a:cubicBezTo>
                    <a:pt x="4090511" y="253841"/>
                    <a:pt x="4090511" y="252889"/>
                    <a:pt x="4090511" y="252889"/>
                  </a:cubicBezTo>
                  <a:cubicBezTo>
                    <a:pt x="4090511" y="248126"/>
                    <a:pt x="4090511" y="243364"/>
                    <a:pt x="4090511" y="238601"/>
                  </a:cubicBezTo>
                  <a:cubicBezTo>
                    <a:pt x="4090511" y="230029"/>
                    <a:pt x="4090511" y="222409"/>
                    <a:pt x="4090511" y="215741"/>
                  </a:cubicBezTo>
                  <a:cubicBezTo>
                    <a:pt x="4090511" y="203359"/>
                    <a:pt x="4089559" y="195739"/>
                    <a:pt x="4089559" y="195739"/>
                  </a:cubicBezTo>
                  <a:cubicBezTo>
                    <a:pt x="4089559" y="195739"/>
                    <a:pt x="4088606" y="202406"/>
                    <a:pt x="4086701" y="214789"/>
                  </a:cubicBezTo>
                  <a:cubicBezTo>
                    <a:pt x="4085749" y="221456"/>
                    <a:pt x="4084796" y="228124"/>
                    <a:pt x="4083844" y="236696"/>
                  </a:cubicBezTo>
                  <a:cubicBezTo>
                    <a:pt x="4083844" y="237649"/>
                    <a:pt x="4083844" y="238601"/>
                    <a:pt x="4083844" y="239554"/>
                  </a:cubicBezTo>
                  <a:cubicBezTo>
                    <a:pt x="4082891" y="238601"/>
                    <a:pt x="4082891" y="237649"/>
                    <a:pt x="4081939" y="236696"/>
                  </a:cubicBezTo>
                  <a:cubicBezTo>
                    <a:pt x="4081939" y="235744"/>
                    <a:pt x="4081939" y="235744"/>
                    <a:pt x="4081939" y="234791"/>
                  </a:cubicBezTo>
                  <a:cubicBezTo>
                    <a:pt x="4081939" y="225266"/>
                    <a:pt x="4081939" y="216694"/>
                    <a:pt x="4081939" y="210026"/>
                  </a:cubicBezTo>
                  <a:cubicBezTo>
                    <a:pt x="4081939" y="195739"/>
                    <a:pt x="4081939" y="188119"/>
                    <a:pt x="4081939" y="188119"/>
                  </a:cubicBezTo>
                  <a:cubicBezTo>
                    <a:pt x="4081939" y="188119"/>
                    <a:pt x="4080034" y="195739"/>
                    <a:pt x="4078129" y="210026"/>
                  </a:cubicBezTo>
                  <a:cubicBezTo>
                    <a:pt x="4077176" y="214789"/>
                    <a:pt x="4076224" y="220504"/>
                    <a:pt x="4075271" y="227171"/>
                  </a:cubicBezTo>
                  <a:cubicBezTo>
                    <a:pt x="4065746" y="210979"/>
                    <a:pt x="4059079" y="202406"/>
                    <a:pt x="4059079" y="202406"/>
                  </a:cubicBezTo>
                  <a:cubicBezTo>
                    <a:pt x="4059079" y="202406"/>
                    <a:pt x="4063841" y="214789"/>
                    <a:pt x="4073366" y="236696"/>
                  </a:cubicBezTo>
                  <a:cubicBezTo>
                    <a:pt x="4072414" y="241459"/>
                    <a:pt x="4071461" y="246221"/>
                    <a:pt x="4071461" y="250984"/>
                  </a:cubicBezTo>
                  <a:cubicBezTo>
                    <a:pt x="4070509" y="256699"/>
                    <a:pt x="4069556" y="261461"/>
                    <a:pt x="4067651" y="268129"/>
                  </a:cubicBezTo>
                  <a:cubicBezTo>
                    <a:pt x="4066699" y="271939"/>
                    <a:pt x="4065746" y="275749"/>
                    <a:pt x="4064794" y="279559"/>
                  </a:cubicBezTo>
                  <a:cubicBezTo>
                    <a:pt x="4063841" y="270986"/>
                    <a:pt x="4062889" y="262414"/>
                    <a:pt x="4061936" y="253841"/>
                  </a:cubicBezTo>
                  <a:cubicBezTo>
                    <a:pt x="4059079" y="237649"/>
                    <a:pt x="4057174" y="221456"/>
                    <a:pt x="4054316" y="207169"/>
                  </a:cubicBezTo>
                  <a:cubicBezTo>
                    <a:pt x="4053364" y="199549"/>
                    <a:pt x="4052411" y="192881"/>
                    <a:pt x="4050506" y="186214"/>
                  </a:cubicBezTo>
                  <a:cubicBezTo>
                    <a:pt x="4049554" y="179546"/>
                    <a:pt x="4047649" y="173831"/>
                    <a:pt x="4046696" y="168116"/>
                  </a:cubicBezTo>
                  <a:cubicBezTo>
                    <a:pt x="4043839" y="156686"/>
                    <a:pt x="4041934" y="146209"/>
                    <a:pt x="4040029" y="137636"/>
                  </a:cubicBezTo>
                  <a:cubicBezTo>
                    <a:pt x="4036219" y="121444"/>
                    <a:pt x="4034314" y="111919"/>
                    <a:pt x="4034314" y="111919"/>
                  </a:cubicBezTo>
                  <a:cubicBezTo>
                    <a:pt x="4034314" y="111919"/>
                    <a:pt x="4035266" y="121444"/>
                    <a:pt x="4036219" y="138589"/>
                  </a:cubicBezTo>
                  <a:cubicBezTo>
                    <a:pt x="4037171" y="147161"/>
                    <a:pt x="4038124" y="157639"/>
                    <a:pt x="4039076" y="169069"/>
                  </a:cubicBezTo>
                  <a:cubicBezTo>
                    <a:pt x="4040029" y="180499"/>
                    <a:pt x="4040981" y="193834"/>
                    <a:pt x="4042886" y="208121"/>
                  </a:cubicBezTo>
                  <a:cubicBezTo>
                    <a:pt x="4043839" y="217646"/>
                    <a:pt x="4044791" y="228124"/>
                    <a:pt x="4044791" y="238601"/>
                  </a:cubicBezTo>
                  <a:cubicBezTo>
                    <a:pt x="4037171" y="196691"/>
                    <a:pt x="4031456" y="170021"/>
                    <a:pt x="4031456" y="170021"/>
                  </a:cubicBezTo>
                  <a:cubicBezTo>
                    <a:pt x="4031456" y="170021"/>
                    <a:pt x="4032409" y="203359"/>
                    <a:pt x="4036219" y="252889"/>
                  </a:cubicBezTo>
                  <a:cubicBezTo>
                    <a:pt x="4036219" y="256699"/>
                    <a:pt x="4037171" y="260509"/>
                    <a:pt x="4037171" y="264319"/>
                  </a:cubicBezTo>
                  <a:cubicBezTo>
                    <a:pt x="4036219" y="266224"/>
                    <a:pt x="4036219" y="269081"/>
                    <a:pt x="4035266" y="271939"/>
                  </a:cubicBezTo>
                  <a:cubicBezTo>
                    <a:pt x="4033361" y="270034"/>
                    <a:pt x="4031456" y="268129"/>
                    <a:pt x="4030504" y="266224"/>
                  </a:cubicBezTo>
                  <a:cubicBezTo>
                    <a:pt x="4027646" y="263366"/>
                    <a:pt x="4025741" y="260509"/>
                    <a:pt x="4023836" y="258604"/>
                  </a:cubicBezTo>
                  <a:cubicBezTo>
                    <a:pt x="4018121" y="247174"/>
                    <a:pt x="4013359" y="237649"/>
                    <a:pt x="4009549" y="229076"/>
                  </a:cubicBezTo>
                  <a:cubicBezTo>
                    <a:pt x="4000976" y="212884"/>
                    <a:pt x="3996214" y="203359"/>
                    <a:pt x="3996214" y="203359"/>
                  </a:cubicBezTo>
                  <a:cubicBezTo>
                    <a:pt x="3996214" y="203359"/>
                    <a:pt x="4000024" y="212884"/>
                    <a:pt x="4005739" y="230981"/>
                  </a:cubicBezTo>
                  <a:cubicBezTo>
                    <a:pt x="4008596" y="237649"/>
                    <a:pt x="4011454" y="246221"/>
                    <a:pt x="4014311" y="255746"/>
                  </a:cubicBezTo>
                  <a:cubicBezTo>
                    <a:pt x="4010501" y="248126"/>
                    <a:pt x="4007644" y="243364"/>
                    <a:pt x="4007644" y="243364"/>
                  </a:cubicBezTo>
                  <a:cubicBezTo>
                    <a:pt x="4007644" y="243364"/>
                    <a:pt x="4010501" y="251936"/>
                    <a:pt x="4015264" y="267176"/>
                  </a:cubicBezTo>
                  <a:cubicBezTo>
                    <a:pt x="4018121" y="274796"/>
                    <a:pt x="4020979" y="284321"/>
                    <a:pt x="4024789" y="294799"/>
                  </a:cubicBezTo>
                  <a:cubicBezTo>
                    <a:pt x="4025741" y="296704"/>
                    <a:pt x="4026694" y="299561"/>
                    <a:pt x="4026694" y="301466"/>
                  </a:cubicBezTo>
                  <a:cubicBezTo>
                    <a:pt x="4023836" y="310039"/>
                    <a:pt x="4020026" y="319564"/>
                    <a:pt x="4017169" y="329089"/>
                  </a:cubicBezTo>
                  <a:cubicBezTo>
                    <a:pt x="4017169" y="329089"/>
                    <a:pt x="4016216" y="328136"/>
                    <a:pt x="4016216" y="328136"/>
                  </a:cubicBezTo>
                  <a:cubicBezTo>
                    <a:pt x="4011454" y="325279"/>
                    <a:pt x="4008596" y="322421"/>
                    <a:pt x="4005739" y="320516"/>
                  </a:cubicBezTo>
                  <a:cubicBezTo>
                    <a:pt x="4005739" y="319564"/>
                    <a:pt x="4005739" y="318611"/>
                    <a:pt x="4005739" y="318611"/>
                  </a:cubicBezTo>
                  <a:cubicBezTo>
                    <a:pt x="4005739" y="315754"/>
                    <a:pt x="4004786" y="313849"/>
                    <a:pt x="4004786" y="310991"/>
                  </a:cubicBezTo>
                  <a:cubicBezTo>
                    <a:pt x="4004786" y="285274"/>
                    <a:pt x="4002881" y="269081"/>
                    <a:pt x="4002881" y="269081"/>
                  </a:cubicBezTo>
                  <a:cubicBezTo>
                    <a:pt x="4002881" y="269081"/>
                    <a:pt x="4001929" y="274796"/>
                    <a:pt x="4000024" y="284321"/>
                  </a:cubicBezTo>
                  <a:cubicBezTo>
                    <a:pt x="3996214" y="261461"/>
                    <a:pt x="3993356" y="248126"/>
                    <a:pt x="3993356" y="248126"/>
                  </a:cubicBezTo>
                  <a:cubicBezTo>
                    <a:pt x="3993356" y="248126"/>
                    <a:pt x="3993356" y="262414"/>
                    <a:pt x="3993356" y="286226"/>
                  </a:cubicBezTo>
                  <a:cubicBezTo>
                    <a:pt x="3993356" y="286226"/>
                    <a:pt x="3992404" y="286226"/>
                    <a:pt x="3992404" y="286226"/>
                  </a:cubicBezTo>
                  <a:cubicBezTo>
                    <a:pt x="3991451" y="286226"/>
                    <a:pt x="3990499" y="287179"/>
                    <a:pt x="3990499" y="287179"/>
                  </a:cubicBezTo>
                  <a:cubicBezTo>
                    <a:pt x="3988594" y="289084"/>
                    <a:pt x="3986689" y="290989"/>
                    <a:pt x="3985736" y="292894"/>
                  </a:cubicBezTo>
                  <a:lnTo>
                    <a:pt x="3985736" y="292894"/>
                  </a:lnTo>
                  <a:lnTo>
                    <a:pt x="3985736" y="293846"/>
                  </a:lnTo>
                  <a:cubicBezTo>
                    <a:pt x="3984784" y="300514"/>
                    <a:pt x="3983831" y="307181"/>
                    <a:pt x="3983831" y="313849"/>
                  </a:cubicBezTo>
                  <a:cubicBezTo>
                    <a:pt x="3981926" y="310039"/>
                    <a:pt x="3980021" y="307181"/>
                    <a:pt x="3978116" y="303371"/>
                  </a:cubicBezTo>
                  <a:cubicBezTo>
                    <a:pt x="3983831" y="284321"/>
                    <a:pt x="3987641" y="272891"/>
                    <a:pt x="3987641" y="272891"/>
                  </a:cubicBezTo>
                  <a:cubicBezTo>
                    <a:pt x="3987641" y="272891"/>
                    <a:pt x="3982879" y="282416"/>
                    <a:pt x="3976211" y="298609"/>
                  </a:cubicBezTo>
                  <a:cubicBezTo>
                    <a:pt x="3975259" y="296704"/>
                    <a:pt x="3974306" y="295751"/>
                    <a:pt x="3973354" y="293846"/>
                  </a:cubicBezTo>
                  <a:cubicBezTo>
                    <a:pt x="3973354" y="291941"/>
                    <a:pt x="3973354" y="290036"/>
                    <a:pt x="3973354" y="288131"/>
                  </a:cubicBezTo>
                  <a:cubicBezTo>
                    <a:pt x="3973354" y="288131"/>
                    <a:pt x="3973354" y="288131"/>
                    <a:pt x="3973354" y="287179"/>
                  </a:cubicBezTo>
                  <a:cubicBezTo>
                    <a:pt x="3975259" y="283369"/>
                    <a:pt x="3976211" y="280511"/>
                    <a:pt x="3977164" y="278606"/>
                  </a:cubicBezTo>
                  <a:cubicBezTo>
                    <a:pt x="3979069" y="273844"/>
                    <a:pt x="3980974" y="270986"/>
                    <a:pt x="3980974" y="270986"/>
                  </a:cubicBezTo>
                  <a:cubicBezTo>
                    <a:pt x="3980974" y="270986"/>
                    <a:pt x="3979069" y="272891"/>
                    <a:pt x="3976211" y="277654"/>
                  </a:cubicBezTo>
                  <a:cubicBezTo>
                    <a:pt x="3975259" y="278606"/>
                    <a:pt x="3974306" y="280511"/>
                    <a:pt x="3973354" y="282416"/>
                  </a:cubicBezTo>
                  <a:cubicBezTo>
                    <a:pt x="3973354" y="271939"/>
                    <a:pt x="3974306" y="262414"/>
                    <a:pt x="3974306" y="254794"/>
                  </a:cubicBezTo>
                  <a:cubicBezTo>
                    <a:pt x="3975259" y="238601"/>
                    <a:pt x="3975259" y="230029"/>
                    <a:pt x="3975259" y="230029"/>
                  </a:cubicBezTo>
                  <a:cubicBezTo>
                    <a:pt x="3975259" y="230029"/>
                    <a:pt x="3973354" y="238601"/>
                    <a:pt x="3970496" y="254794"/>
                  </a:cubicBezTo>
                  <a:cubicBezTo>
                    <a:pt x="3969544" y="262414"/>
                    <a:pt x="3967639" y="271939"/>
                    <a:pt x="3965734" y="281464"/>
                  </a:cubicBezTo>
                  <a:cubicBezTo>
                    <a:pt x="3964781" y="278606"/>
                    <a:pt x="3962876" y="276701"/>
                    <a:pt x="3961924" y="274796"/>
                  </a:cubicBezTo>
                  <a:cubicBezTo>
                    <a:pt x="3961924" y="272891"/>
                    <a:pt x="3962876" y="270986"/>
                    <a:pt x="3962876" y="269081"/>
                  </a:cubicBezTo>
                  <a:cubicBezTo>
                    <a:pt x="3965734" y="253841"/>
                    <a:pt x="3966686" y="245269"/>
                    <a:pt x="3966686" y="245269"/>
                  </a:cubicBezTo>
                  <a:cubicBezTo>
                    <a:pt x="3966686" y="245269"/>
                    <a:pt x="3963829" y="253841"/>
                    <a:pt x="3959066" y="268129"/>
                  </a:cubicBezTo>
                  <a:cubicBezTo>
                    <a:pt x="3959066" y="268129"/>
                    <a:pt x="3959066" y="269081"/>
                    <a:pt x="3959066" y="269081"/>
                  </a:cubicBezTo>
                  <a:cubicBezTo>
                    <a:pt x="3959066" y="268129"/>
                    <a:pt x="3958114" y="267176"/>
                    <a:pt x="3958114" y="267176"/>
                  </a:cubicBezTo>
                  <a:cubicBezTo>
                    <a:pt x="3958114" y="267176"/>
                    <a:pt x="3958114" y="268129"/>
                    <a:pt x="3958114" y="269081"/>
                  </a:cubicBezTo>
                  <a:cubicBezTo>
                    <a:pt x="3957161" y="267176"/>
                    <a:pt x="3956209" y="266224"/>
                    <a:pt x="3955256" y="264319"/>
                  </a:cubicBezTo>
                  <a:cubicBezTo>
                    <a:pt x="3955256" y="258604"/>
                    <a:pt x="3955256" y="252889"/>
                    <a:pt x="3954304" y="247174"/>
                  </a:cubicBezTo>
                  <a:cubicBezTo>
                    <a:pt x="3954304" y="235744"/>
                    <a:pt x="3952399" y="224314"/>
                    <a:pt x="3951446" y="214789"/>
                  </a:cubicBezTo>
                  <a:cubicBezTo>
                    <a:pt x="3950494" y="205264"/>
                    <a:pt x="3949541" y="196691"/>
                    <a:pt x="3947636" y="190024"/>
                  </a:cubicBezTo>
                  <a:cubicBezTo>
                    <a:pt x="3944779" y="176689"/>
                    <a:pt x="3943826" y="169069"/>
                    <a:pt x="3943826" y="169069"/>
                  </a:cubicBezTo>
                  <a:cubicBezTo>
                    <a:pt x="3943826" y="169069"/>
                    <a:pt x="3943826" y="176689"/>
                    <a:pt x="3943826" y="190024"/>
                  </a:cubicBezTo>
                  <a:cubicBezTo>
                    <a:pt x="3943826" y="196691"/>
                    <a:pt x="3943826" y="205264"/>
                    <a:pt x="3943826" y="214789"/>
                  </a:cubicBezTo>
                  <a:cubicBezTo>
                    <a:pt x="3943826" y="218599"/>
                    <a:pt x="3943826" y="222409"/>
                    <a:pt x="3943826" y="225266"/>
                  </a:cubicBezTo>
                  <a:cubicBezTo>
                    <a:pt x="3942874" y="221456"/>
                    <a:pt x="3941921" y="218599"/>
                    <a:pt x="3940969" y="215741"/>
                  </a:cubicBezTo>
                  <a:cubicBezTo>
                    <a:pt x="3940016" y="212884"/>
                    <a:pt x="3939064" y="210026"/>
                    <a:pt x="3939064" y="207169"/>
                  </a:cubicBezTo>
                  <a:cubicBezTo>
                    <a:pt x="3940016" y="206216"/>
                    <a:pt x="3940016" y="205264"/>
                    <a:pt x="3940016" y="205264"/>
                  </a:cubicBezTo>
                  <a:cubicBezTo>
                    <a:pt x="3940016" y="205264"/>
                    <a:pt x="3940016" y="206216"/>
                    <a:pt x="3939064" y="206216"/>
                  </a:cubicBezTo>
                  <a:cubicBezTo>
                    <a:pt x="3937159" y="201454"/>
                    <a:pt x="3936206" y="197644"/>
                    <a:pt x="3936206" y="197644"/>
                  </a:cubicBezTo>
                  <a:cubicBezTo>
                    <a:pt x="3936206" y="197644"/>
                    <a:pt x="3936206" y="201454"/>
                    <a:pt x="3937159" y="208121"/>
                  </a:cubicBezTo>
                  <a:cubicBezTo>
                    <a:pt x="3935254" y="210026"/>
                    <a:pt x="3932396" y="212884"/>
                    <a:pt x="3929539" y="216694"/>
                  </a:cubicBezTo>
                  <a:cubicBezTo>
                    <a:pt x="3928586" y="210026"/>
                    <a:pt x="3926681" y="204311"/>
                    <a:pt x="3925729" y="197644"/>
                  </a:cubicBezTo>
                  <a:cubicBezTo>
                    <a:pt x="3922871" y="183356"/>
                    <a:pt x="3919061" y="170021"/>
                    <a:pt x="3916204" y="158591"/>
                  </a:cubicBezTo>
                  <a:cubicBezTo>
                    <a:pt x="3915251" y="153829"/>
                    <a:pt x="3913346" y="148114"/>
                    <a:pt x="3912394" y="144304"/>
                  </a:cubicBezTo>
                  <a:cubicBezTo>
                    <a:pt x="3913346" y="142399"/>
                    <a:pt x="3914299" y="141446"/>
                    <a:pt x="3915251" y="139541"/>
                  </a:cubicBezTo>
                  <a:cubicBezTo>
                    <a:pt x="3927634" y="121444"/>
                    <a:pt x="3935254" y="110966"/>
                    <a:pt x="3935254" y="110966"/>
                  </a:cubicBezTo>
                  <a:cubicBezTo>
                    <a:pt x="3935254" y="110966"/>
                    <a:pt x="3926681" y="120491"/>
                    <a:pt x="3912394" y="136684"/>
                  </a:cubicBezTo>
                  <a:cubicBezTo>
                    <a:pt x="3911441" y="137636"/>
                    <a:pt x="3911441" y="138589"/>
                    <a:pt x="3910489" y="138589"/>
                  </a:cubicBezTo>
                  <a:cubicBezTo>
                    <a:pt x="3909536" y="134779"/>
                    <a:pt x="3908584" y="131921"/>
                    <a:pt x="3906679" y="128111"/>
                  </a:cubicBezTo>
                  <a:cubicBezTo>
                    <a:pt x="3900964" y="111919"/>
                    <a:pt x="3898106" y="102394"/>
                    <a:pt x="3898106" y="102394"/>
                  </a:cubicBezTo>
                  <a:cubicBezTo>
                    <a:pt x="3898106" y="102394"/>
                    <a:pt x="3900011" y="111919"/>
                    <a:pt x="3902869" y="129064"/>
                  </a:cubicBezTo>
                  <a:cubicBezTo>
                    <a:pt x="3903821" y="132874"/>
                    <a:pt x="3904774" y="137636"/>
                    <a:pt x="3905726" y="143351"/>
                  </a:cubicBezTo>
                  <a:cubicBezTo>
                    <a:pt x="3905726" y="143351"/>
                    <a:pt x="3905726" y="143351"/>
                    <a:pt x="3905726" y="143351"/>
                  </a:cubicBezTo>
                  <a:cubicBezTo>
                    <a:pt x="3900011" y="150019"/>
                    <a:pt x="3894296" y="158591"/>
                    <a:pt x="3887629" y="167164"/>
                  </a:cubicBezTo>
                  <a:cubicBezTo>
                    <a:pt x="3880961" y="175736"/>
                    <a:pt x="3874294" y="185261"/>
                    <a:pt x="3866674" y="195739"/>
                  </a:cubicBezTo>
                  <a:cubicBezTo>
                    <a:pt x="3864769" y="190976"/>
                    <a:pt x="3863816" y="186214"/>
                    <a:pt x="3862864" y="182404"/>
                  </a:cubicBezTo>
                  <a:cubicBezTo>
                    <a:pt x="3857149" y="165259"/>
                    <a:pt x="3854291" y="155734"/>
                    <a:pt x="3854291" y="155734"/>
                  </a:cubicBezTo>
                  <a:cubicBezTo>
                    <a:pt x="3854291" y="155734"/>
                    <a:pt x="3856196" y="166211"/>
                    <a:pt x="3859054" y="183356"/>
                  </a:cubicBezTo>
                  <a:cubicBezTo>
                    <a:pt x="3860006" y="189071"/>
                    <a:pt x="3861911" y="195739"/>
                    <a:pt x="3862864" y="202406"/>
                  </a:cubicBezTo>
                  <a:cubicBezTo>
                    <a:pt x="3860959" y="204311"/>
                    <a:pt x="3860006" y="207169"/>
                    <a:pt x="3858101" y="209074"/>
                  </a:cubicBezTo>
                  <a:cubicBezTo>
                    <a:pt x="3856196" y="211931"/>
                    <a:pt x="3855244" y="213836"/>
                    <a:pt x="3853339" y="216694"/>
                  </a:cubicBezTo>
                  <a:cubicBezTo>
                    <a:pt x="3851434" y="208121"/>
                    <a:pt x="3850481" y="200501"/>
                    <a:pt x="3849529" y="195739"/>
                  </a:cubicBezTo>
                  <a:cubicBezTo>
                    <a:pt x="3850481" y="189071"/>
                    <a:pt x="3851434" y="183356"/>
                    <a:pt x="3852386" y="178594"/>
                  </a:cubicBezTo>
                  <a:cubicBezTo>
                    <a:pt x="3854291" y="166211"/>
                    <a:pt x="3855244" y="158591"/>
                    <a:pt x="3855244" y="158591"/>
                  </a:cubicBezTo>
                  <a:cubicBezTo>
                    <a:pt x="3855244" y="158591"/>
                    <a:pt x="3853339" y="165259"/>
                    <a:pt x="3848576" y="177641"/>
                  </a:cubicBezTo>
                  <a:cubicBezTo>
                    <a:pt x="3846671" y="184309"/>
                    <a:pt x="3844766" y="190976"/>
                    <a:pt x="3841909" y="199549"/>
                  </a:cubicBezTo>
                  <a:cubicBezTo>
                    <a:pt x="3840956" y="204311"/>
                    <a:pt x="3839051" y="208121"/>
                    <a:pt x="3838099" y="212884"/>
                  </a:cubicBezTo>
                  <a:cubicBezTo>
                    <a:pt x="3837146" y="216694"/>
                    <a:pt x="3836194" y="221456"/>
                    <a:pt x="3835241" y="225266"/>
                  </a:cubicBezTo>
                  <a:cubicBezTo>
                    <a:pt x="3835241" y="224314"/>
                    <a:pt x="3834289" y="223361"/>
                    <a:pt x="3834289" y="222409"/>
                  </a:cubicBezTo>
                  <a:cubicBezTo>
                    <a:pt x="3831431" y="217646"/>
                    <a:pt x="3828574" y="212884"/>
                    <a:pt x="3825716" y="209074"/>
                  </a:cubicBezTo>
                  <a:cubicBezTo>
                    <a:pt x="3815239" y="193834"/>
                    <a:pt x="3809524" y="184309"/>
                    <a:pt x="3809524" y="184309"/>
                  </a:cubicBezTo>
                  <a:cubicBezTo>
                    <a:pt x="3809524" y="184309"/>
                    <a:pt x="3814286" y="193834"/>
                    <a:pt x="3821906" y="210979"/>
                  </a:cubicBezTo>
                  <a:cubicBezTo>
                    <a:pt x="3823811" y="214789"/>
                    <a:pt x="3825716" y="219551"/>
                    <a:pt x="3828574" y="224314"/>
                  </a:cubicBezTo>
                  <a:cubicBezTo>
                    <a:pt x="3829526" y="227171"/>
                    <a:pt x="3831431" y="230981"/>
                    <a:pt x="3832384" y="234791"/>
                  </a:cubicBezTo>
                  <a:cubicBezTo>
                    <a:pt x="3831431" y="241459"/>
                    <a:pt x="3829526" y="248126"/>
                    <a:pt x="3828574" y="254794"/>
                  </a:cubicBezTo>
                  <a:cubicBezTo>
                    <a:pt x="3827621" y="256699"/>
                    <a:pt x="3826669" y="257651"/>
                    <a:pt x="3825716" y="259556"/>
                  </a:cubicBezTo>
                  <a:cubicBezTo>
                    <a:pt x="3823811" y="262414"/>
                    <a:pt x="3821906" y="266224"/>
                    <a:pt x="3820954" y="269081"/>
                  </a:cubicBezTo>
                  <a:cubicBezTo>
                    <a:pt x="3820954" y="268129"/>
                    <a:pt x="3820001" y="268129"/>
                    <a:pt x="3820001" y="267176"/>
                  </a:cubicBezTo>
                  <a:cubicBezTo>
                    <a:pt x="3810476" y="255746"/>
                    <a:pt x="3804761" y="249079"/>
                    <a:pt x="3804761" y="249079"/>
                  </a:cubicBezTo>
                  <a:cubicBezTo>
                    <a:pt x="3804761" y="249079"/>
                    <a:pt x="3809524" y="256699"/>
                    <a:pt x="3817144" y="270034"/>
                  </a:cubicBezTo>
                  <a:cubicBezTo>
                    <a:pt x="3818096" y="270986"/>
                    <a:pt x="3818096" y="271939"/>
                    <a:pt x="3819049" y="272891"/>
                  </a:cubicBezTo>
                  <a:cubicBezTo>
                    <a:pt x="3815239" y="280511"/>
                    <a:pt x="3811429" y="287179"/>
                    <a:pt x="3806666" y="294799"/>
                  </a:cubicBezTo>
                  <a:cubicBezTo>
                    <a:pt x="3806666" y="294799"/>
                    <a:pt x="3806666" y="294799"/>
                    <a:pt x="3806666" y="294799"/>
                  </a:cubicBezTo>
                  <a:cubicBezTo>
                    <a:pt x="3805714" y="293846"/>
                    <a:pt x="3804761" y="291941"/>
                    <a:pt x="3803809" y="290989"/>
                  </a:cubicBezTo>
                  <a:cubicBezTo>
                    <a:pt x="3803809" y="290036"/>
                    <a:pt x="3803809" y="289084"/>
                    <a:pt x="3802856" y="287179"/>
                  </a:cubicBezTo>
                  <a:cubicBezTo>
                    <a:pt x="3801904" y="283369"/>
                    <a:pt x="3800951" y="280511"/>
                    <a:pt x="3799999" y="276701"/>
                  </a:cubicBezTo>
                  <a:cubicBezTo>
                    <a:pt x="3798094" y="270034"/>
                    <a:pt x="3796189" y="265271"/>
                    <a:pt x="3795236" y="260509"/>
                  </a:cubicBezTo>
                  <a:cubicBezTo>
                    <a:pt x="3792379" y="250984"/>
                    <a:pt x="3790474" y="246221"/>
                    <a:pt x="3790474" y="246221"/>
                  </a:cubicBezTo>
                  <a:cubicBezTo>
                    <a:pt x="3790474" y="246221"/>
                    <a:pt x="3790474" y="251936"/>
                    <a:pt x="3791426" y="260509"/>
                  </a:cubicBezTo>
                  <a:cubicBezTo>
                    <a:pt x="3791426" y="264319"/>
                    <a:pt x="3792379" y="269081"/>
                    <a:pt x="3792379" y="273844"/>
                  </a:cubicBezTo>
                  <a:cubicBezTo>
                    <a:pt x="3790474" y="271939"/>
                    <a:pt x="3789521" y="270034"/>
                    <a:pt x="3787616" y="268129"/>
                  </a:cubicBezTo>
                  <a:cubicBezTo>
                    <a:pt x="3783806" y="263366"/>
                    <a:pt x="3779996" y="259556"/>
                    <a:pt x="3777139" y="255746"/>
                  </a:cubicBezTo>
                  <a:cubicBezTo>
                    <a:pt x="3776186" y="251936"/>
                    <a:pt x="3774281" y="249079"/>
                    <a:pt x="3773329" y="246221"/>
                  </a:cubicBezTo>
                  <a:cubicBezTo>
                    <a:pt x="3767614" y="231934"/>
                    <a:pt x="3764756" y="224314"/>
                    <a:pt x="3764756" y="224314"/>
                  </a:cubicBezTo>
                  <a:cubicBezTo>
                    <a:pt x="3764756" y="224314"/>
                    <a:pt x="3766661" y="232886"/>
                    <a:pt x="3769519" y="247174"/>
                  </a:cubicBezTo>
                  <a:cubicBezTo>
                    <a:pt x="3771424" y="254794"/>
                    <a:pt x="3773329" y="263366"/>
                    <a:pt x="3776186" y="273844"/>
                  </a:cubicBezTo>
                  <a:cubicBezTo>
                    <a:pt x="3778091" y="281464"/>
                    <a:pt x="3779996" y="290989"/>
                    <a:pt x="3781901" y="299561"/>
                  </a:cubicBezTo>
                  <a:cubicBezTo>
                    <a:pt x="3775234" y="275749"/>
                    <a:pt x="3767614" y="253841"/>
                    <a:pt x="3760946" y="234791"/>
                  </a:cubicBezTo>
                  <a:cubicBezTo>
                    <a:pt x="3759041" y="229076"/>
                    <a:pt x="3757136" y="224314"/>
                    <a:pt x="3755231" y="218599"/>
                  </a:cubicBezTo>
                  <a:cubicBezTo>
                    <a:pt x="3758089" y="214789"/>
                    <a:pt x="3759041" y="211931"/>
                    <a:pt x="3759041" y="211931"/>
                  </a:cubicBezTo>
                  <a:cubicBezTo>
                    <a:pt x="3759041" y="211931"/>
                    <a:pt x="3757136" y="213836"/>
                    <a:pt x="3754279" y="217646"/>
                  </a:cubicBezTo>
                  <a:cubicBezTo>
                    <a:pt x="3753326" y="213836"/>
                    <a:pt x="3752374" y="210979"/>
                    <a:pt x="3750469" y="208121"/>
                  </a:cubicBezTo>
                  <a:cubicBezTo>
                    <a:pt x="3752374" y="201454"/>
                    <a:pt x="3752374" y="197644"/>
                    <a:pt x="3752374" y="197644"/>
                  </a:cubicBezTo>
                  <a:cubicBezTo>
                    <a:pt x="3752374" y="197644"/>
                    <a:pt x="3751421" y="200501"/>
                    <a:pt x="3748564" y="205264"/>
                  </a:cubicBezTo>
                  <a:cubicBezTo>
                    <a:pt x="3739991" y="181451"/>
                    <a:pt x="3734276" y="167164"/>
                    <a:pt x="3734276" y="167164"/>
                  </a:cubicBezTo>
                  <a:cubicBezTo>
                    <a:pt x="3734276" y="167164"/>
                    <a:pt x="3737134" y="186214"/>
                    <a:pt x="3742849" y="217646"/>
                  </a:cubicBezTo>
                  <a:cubicBezTo>
                    <a:pt x="3740944" y="222409"/>
                    <a:pt x="3738086" y="229076"/>
                    <a:pt x="3736181" y="236696"/>
                  </a:cubicBezTo>
                  <a:cubicBezTo>
                    <a:pt x="3736181" y="237649"/>
                    <a:pt x="3736181" y="237649"/>
                    <a:pt x="3735229" y="238601"/>
                  </a:cubicBezTo>
                  <a:cubicBezTo>
                    <a:pt x="3733324" y="240506"/>
                    <a:pt x="3731419" y="243364"/>
                    <a:pt x="3730466" y="245269"/>
                  </a:cubicBezTo>
                  <a:cubicBezTo>
                    <a:pt x="3728561" y="242411"/>
                    <a:pt x="3727609" y="239554"/>
                    <a:pt x="3726656" y="236696"/>
                  </a:cubicBezTo>
                  <a:cubicBezTo>
                    <a:pt x="3726656" y="235744"/>
                    <a:pt x="3726656" y="234791"/>
                    <a:pt x="3726656" y="232886"/>
                  </a:cubicBezTo>
                  <a:cubicBezTo>
                    <a:pt x="3726656" y="221456"/>
                    <a:pt x="3725704" y="214789"/>
                    <a:pt x="3725704" y="214789"/>
                  </a:cubicBezTo>
                  <a:cubicBezTo>
                    <a:pt x="3725704" y="214789"/>
                    <a:pt x="3724751" y="220504"/>
                    <a:pt x="3722846" y="230029"/>
                  </a:cubicBezTo>
                  <a:cubicBezTo>
                    <a:pt x="3722846" y="230029"/>
                    <a:pt x="3722846" y="229076"/>
                    <a:pt x="3721894" y="229076"/>
                  </a:cubicBezTo>
                  <a:cubicBezTo>
                    <a:pt x="3721894" y="229076"/>
                    <a:pt x="3721894" y="229076"/>
                    <a:pt x="3721894" y="229076"/>
                  </a:cubicBezTo>
                  <a:cubicBezTo>
                    <a:pt x="3723799" y="215741"/>
                    <a:pt x="3724751" y="203359"/>
                    <a:pt x="3725704" y="190976"/>
                  </a:cubicBezTo>
                  <a:cubicBezTo>
                    <a:pt x="3726656" y="184309"/>
                    <a:pt x="3726656" y="178594"/>
                    <a:pt x="3727609" y="172879"/>
                  </a:cubicBezTo>
                  <a:cubicBezTo>
                    <a:pt x="3728561" y="167164"/>
                    <a:pt x="3729514" y="161449"/>
                    <a:pt x="3730466" y="155734"/>
                  </a:cubicBezTo>
                  <a:cubicBezTo>
                    <a:pt x="3732371" y="145256"/>
                    <a:pt x="3733324" y="135731"/>
                    <a:pt x="3734276" y="128111"/>
                  </a:cubicBezTo>
                  <a:cubicBezTo>
                    <a:pt x="3736181" y="112871"/>
                    <a:pt x="3737134" y="104299"/>
                    <a:pt x="3737134" y="104299"/>
                  </a:cubicBezTo>
                  <a:cubicBezTo>
                    <a:pt x="3737134" y="104299"/>
                    <a:pt x="3734276" y="112871"/>
                    <a:pt x="3730466" y="127159"/>
                  </a:cubicBezTo>
                  <a:cubicBezTo>
                    <a:pt x="3728561" y="134779"/>
                    <a:pt x="3725704" y="143351"/>
                    <a:pt x="3722846" y="153829"/>
                  </a:cubicBezTo>
                  <a:cubicBezTo>
                    <a:pt x="3720941" y="158591"/>
                    <a:pt x="3719989" y="164306"/>
                    <a:pt x="3718084" y="170021"/>
                  </a:cubicBezTo>
                  <a:cubicBezTo>
                    <a:pt x="3717131" y="175736"/>
                    <a:pt x="3715226" y="182404"/>
                    <a:pt x="3714274" y="188119"/>
                  </a:cubicBezTo>
                  <a:cubicBezTo>
                    <a:pt x="3713321" y="194786"/>
                    <a:pt x="3711416" y="201454"/>
                    <a:pt x="3710464" y="208121"/>
                  </a:cubicBezTo>
                  <a:cubicBezTo>
                    <a:pt x="3710464" y="208121"/>
                    <a:pt x="3710464" y="208121"/>
                    <a:pt x="3710464" y="207169"/>
                  </a:cubicBezTo>
                  <a:cubicBezTo>
                    <a:pt x="3702844" y="194786"/>
                    <a:pt x="3697129" y="184309"/>
                    <a:pt x="3691414" y="174784"/>
                  </a:cubicBezTo>
                  <a:cubicBezTo>
                    <a:pt x="3684746" y="164306"/>
                    <a:pt x="3679984" y="155734"/>
                    <a:pt x="3677126" y="150971"/>
                  </a:cubicBezTo>
                  <a:cubicBezTo>
                    <a:pt x="3678079" y="142399"/>
                    <a:pt x="3678079" y="137636"/>
                    <a:pt x="3678079" y="137636"/>
                  </a:cubicBezTo>
                  <a:cubicBezTo>
                    <a:pt x="3678079" y="137636"/>
                    <a:pt x="3677126" y="141446"/>
                    <a:pt x="3675221" y="149066"/>
                  </a:cubicBezTo>
                  <a:cubicBezTo>
                    <a:pt x="3674269" y="148114"/>
                    <a:pt x="3674269" y="147161"/>
                    <a:pt x="3674269" y="147161"/>
                  </a:cubicBezTo>
                  <a:cubicBezTo>
                    <a:pt x="3674269" y="147161"/>
                    <a:pt x="3674269" y="148114"/>
                    <a:pt x="3675221" y="150019"/>
                  </a:cubicBezTo>
                  <a:cubicBezTo>
                    <a:pt x="3674269" y="153829"/>
                    <a:pt x="3673316" y="158591"/>
                    <a:pt x="3672364" y="164306"/>
                  </a:cubicBezTo>
                  <a:cubicBezTo>
                    <a:pt x="3670459" y="172879"/>
                    <a:pt x="3668554" y="182404"/>
                    <a:pt x="3665696" y="194786"/>
                  </a:cubicBezTo>
                  <a:cubicBezTo>
                    <a:pt x="3664744" y="199549"/>
                    <a:pt x="3663791" y="204311"/>
                    <a:pt x="3662839" y="209074"/>
                  </a:cubicBezTo>
                  <a:cubicBezTo>
                    <a:pt x="3662839" y="209074"/>
                    <a:pt x="3662839" y="210026"/>
                    <a:pt x="3661886" y="210026"/>
                  </a:cubicBezTo>
                  <a:cubicBezTo>
                    <a:pt x="3660934" y="211931"/>
                    <a:pt x="3659029" y="214789"/>
                    <a:pt x="3658076" y="216694"/>
                  </a:cubicBezTo>
                  <a:cubicBezTo>
                    <a:pt x="3659029" y="190976"/>
                    <a:pt x="3658076" y="174784"/>
                    <a:pt x="3658076" y="174784"/>
                  </a:cubicBezTo>
                  <a:cubicBezTo>
                    <a:pt x="3658076" y="174784"/>
                    <a:pt x="3652361" y="200501"/>
                    <a:pt x="3645694" y="239554"/>
                  </a:cubicBezTo>
                  <a:cubicBezTo>
                    <a:pt x="3645694" y="241459"/>
                    <a:pt x="3644741" y="244316"/>
                    <a:pt x="3644741" y="246221"/>
                  </a:cubicBezTo>
                  <a:cubicBezTo>
                    <a:pt x="3644741" y="247174"/>
                    <a:pt x="3643789" y="248126"/>
                    <a:pt x="3643789" y="249079"/>
                  </a:cubicBezTo>
                  <a:cubicBezTo>
                    <a:pt x="3642836" y="251936"/>
                    <a:pt x="3641884" y="255746"/>
                    <a:pt x="3640931" y="259556"/>
                  </a:cubicBezTo>
                  <a:cubicBezTo>
                    <a:pt x="3636169" y="249079"/>
                    <a:pt x="3633311" y="243364"/>
                    <a:pt x="3633311" y="243364"/>
                  </a:cubicBezTo>
                  <a:cubicBezTo>
                    <a:pt x="3633311" y="243364"/>
                    <a:pt x="3635216" y="250984"/>
                    <a:pt x="3639979" y="265271"/>
                  </a:cubicBezTo>
                  <a:cubicBezTo>
                    <a:pt x="3639026" y="268129"/>
                    <a:pt x="3638074" y="271939"/>
                    <a:pt x="3637121" y="275749"/>
                  </a:cubicBezTo>
                  <a:cubicBezTo>
                    <a:pt x="3631406" y="266224"/>
                    <a:pt x="3627596" y="261461"/>
                    <a:pt x="3627596" y="261461"/>
                  </a:cubicBezTo>
                  <a:cubicBezTo>
                    <a:pt x="3627596" y="261461"/>
                    <a:pt x="3630454" y="268129"/>
                    <a:pt x="3635216" y="280511"/>
                  </a:cubicBezTo>
                  <a:cubicBezTo>
                    <a:pt x="3635216" y="280511"/>
                    <a:pt x="3635216" y="280511"/>
                    <a:pt x="3635216" y="281464"/>
                  </a:cubicBezTo>
                  <a:cubicBezTo>
                    <a:pt x="3633311" y="290036"/>
                    <a:pt x="3631406" y="299561"/>
                    <a:pt x="3630454" y="309086"/>
                  </a:cubicBezTo>
                  <a:cubicBezTo>
                    <a:pt x="3629501" y="316706"/>
                    <a:pt x="3628549" y="324326"/>
                    <a:pt x="3627596" y="332899"/>
                  </a:cubicBezTo>
                  <a:cubicBezTo>
                    <a:pt x="3624739" y="325279"/>
                    <a:pt x="3622834" y="318611"/>
                    <a:pt x="3620929" y="312896"/>
                  </a:cubicBezTo>
                  <a:cubicBezTo>
                    <a:pt x="3620929" y="310991"/>
                    <a:pt x="3620929" y="309086"/>
                    <a:pt x="3620929" y="309086"/>
                  </a:cubicBezTo>
                  <a:cubicBezTo>
                    <a:pt x="3620929" y="309086"/>
                    <a:pt x="3620929" y="310039"/>
                    <a:pt x="3619976" y="310991"/>
                  </a:cubicBezTo>
                  <a:cubicBezTo>
                    <a:pt x="3619976" y="310039"/>
                    <a:pt x="3619024" y="309086"/>
                    <a:pt x="3619024" y="308134"/>
                  </a:cubicBezTo>
                  <a:cubicBezTo>
                    <a:pt x="3620929" y="295751"/>
                    <a:pt x="3621881" y="284321"/>
                    <a:pt x="3622834" y="272891"/>
                  </a:cubicBezTo>
                  <a:cubicBezTo>
                    <a:pt x="3624739" y="252889"/>
                    <a:pt x="3625691" y="234791"/>
                    <a:pt x="3626644" y="221456"/>
                  </a:cubicBezTo>
                  <a:cubicBezTo>
                    <a:pt x="3629501" y="215741"/>
                    <a:pt x="3630454" y="211931"/>
                    <a:pt x="3630454" y="211931"/>
                  </a:cubicBezTo>
                  <a:cubicBezTo>
                    <a:pt x="3630454" y="211931"/>
                    <a:pt x="3629501" y="213836"/>
                    <a:pt x="3626644" y="216694"/>
                  </a:cubicBezTo>
                  <a:cubicBezTo>
                    <a:pt x="3626644" y="215741"/>
                    <a:pt x="3626644" y="214789"/>
                    <a:pt x="3626644" y="214789"/>
                  </a:cubicBezTo>
                  <a:cubicBezTo>
                    <a:pt x="3626644" y="200501"/>
                    <a:pt x="3626644" y="192881"/>
                    <a:pt x="3626644" y="192881"/>
                  </a:cubicBezTo>
                  <a:cubicBezTo>
                    <a:pt x="3626644" y="192881"/>
                    <a:pt x="3624739" y="200501"/>
                    <a:pt x="3622834" y="214789"/>
                  </a:cubicBezTo>
                  <a:cubicBezTo>
                    <a:pt x="3621881" y="217646"/>
                    <a:pt x="3621881" y="221456"/>
                    <a:pt x="3620929" y="226219"/>
                  </a:cubicBezTo>
                  <a:cubicBezTo>
                    <a:pt x="3620929" y="226219"/>
                    <a:pt x="3620929" y="226219"/>
                    <a:pt x="3620929" y="227171"/>
                  </a:cubicBezTo>
                  <a:cubicBezTo>
                    <a:pt x="3618071" y="231934"/>
                    <a:pt x="3614261" y="237649"/>
                    <a:pt x="3609499" y="243364"/>
                  </a:cubicBezTo>
                  <a:cubicBezTo>
                    <a:pt x="3607594" y="246221"/>
                    <a:pt x="3605689" y="249079"/>
                    <a:pt x="3603784" y="251936"/>
                  </a:cubicBezTo>
                  <a:cubicBezTo>
                    <a:pt x="3607594" y="242411"/>
                    <a:pt x="3610451" y="233839"/>
                    <a:pt x="3613309" y="225266"/>
                  </a:cubicBezTo>
                  <a:cubicBezTo>
                    <a:pt x="3615214" y="219551"/>
                    <a:pt x="3617119" y="213836"/>
                    <a:pt x="3619024" y="208121"/>
                  </a:cubicBezTo>
                  <a:cubicBezTo>
                    <a:pt x="3620929" y="202406"/>
                    <a:pt x="3622834" y="197644"/>
                    <a:pt x="3624739" y="192881"/>
                  </a:cubicBezTo>
                  <a:cubicBezTo>
                    <a:pt x="3628549" y="183356"/>
                    <a:pt x="3631406" y="174784"/>
                    <a:pt x="3634264" y="168116"/>
                  </a:cubicBezTo>
                  <a:cubicBezTo>
                    <a:pt x="3639026" y="153829"/>
                    <a:pt x="3642836" y="146209"/>
                    <a:pt x="3642836" y="146209"/>
                  </a:cubicBezTo>
                  <a:cubicBezTo>
                    <a:pt x="3642836" y="146209"/>
                    <a:pt x="3639026" y="153829"/>
                    <a:pt x="3631406" y="166211"/>
                  </a:cubicBezTo>
                  <a:cubicBezTo>
                    <a:pt x="3627596" y="172879"/>
                    <a:pt x="3623786" y="180499"/>
                    <a:pt x="3618071" y="189071"/>
                  </a:cubicBezTo>
                  <a:cubicBezTo>
                    <a:pt x="3615214" y="193834"/>
                    <a:pt x="3613309" y="198596"/>
                    <a:pt x="3610451" y="203359"/>
                  </a:cubicBezTo>
                  <a:cubicBezTo>
                    <a:pt x="3607594" y="209074"/>
                    <a:pt x="3605689" y="213836"/>
                    <a:pt x="3602831" y="219551"/>
                  </a:cubicBezTo>
                  <a:cubicBezTo>
                    <a:pt x="3598069" y="229076"/>
                    <a:pt x="3593306" y="238601"/>
                    <a:pt x="3588544" y="250031"/>
                  </a:cubicBezTo>
                  <a:cubicBezTo>
                    <a:pt x="3588544" y="245269"/>
                    <a:pt x="3588544" y="242411"/>
                    <a:pt x="3588544" y="242411"/>
                  </a:cubicBezTo>
                  <a:cubicBezTo>
                    <a:pt x="3588544" y="242411"/>
                    <a:pt x="3587591" y="248126"/>
                    <a:pt x="3585686" y="256699"/>
                  </a:cubicBezTo>
                  <a:cubicBezTo>
                    <a:pt x="3585686" y="256699"/>
                    <a:pt x="3585686" y="256699"/>
                    <a:pt x="3585686" y="257651"/>
                  </a:cubicBezTo>
                  <a:cubicBezTo>
                    <a:pt x="3583781" y="261461"/>
                    <a:pt x="3581876" y="266224"/>
                    <a:pt x="3579971" y="270986"/>
                  </a:cubicBezTo>
                  <a:cubicBezTo>
                    <a:pt x="3578066" y="274796"/>
                    <a:pt x="3576161" y="278606"/>
                    <a:pt x="3573304" y="282416"/>
                  </a:cubicBezTo>
                  <a:cubicBezTo>
                    <a:pt x="3571399" y="275749"/>
                    <a:pt x="3569494" y="269081"/>
                    <a:pt x="3568541" y="263366"/>
                  </a:cubicBezTo>
                  <a:cubicBezTo>
                    <a:pt x="3566636" y="257651"/>
                    <a:pt x="3565684" y="252889"/>
                    <a:pt x="3564731" y="248126"/>
                  </a:cubicBezTo>
                  <a:cubicBezTo>
                    <a:pt x="3564731" y="248126"/>
                    <a:pt x="3564731" y="248126"/>
                    <a:pt x="3564731" y="248126"/>
                  </a:cubicBezTo>
                  <a:cubicBezTo>
                    <a:pt x="3563779" y="244316"/>
                    <a:pt x="3563779" y="241459"/>
                    <a:pt x="3562826" y="237649"/>
                  </a:cubicBezTo>
                  <a:cubicBezTo>
                    <a:pt x="3562826" y="236696"/>
                    <a:pt x="3562826" y="235744"/>
                    <a:pt x="3561874" y="233839"/>
                  </a:cubicBezTo>
                  <a:cubicBezTo>
                    <a:pt x="3564731" y="230029"/>
                    <a:pt x="3566636" y="227171"/>
                    <a:pt x="3566636" y="227171"/>
                  </a:cubicBezTo>
                  <a:cubicBezTo>
                    <a:pt x="3566636" y="227171"/>
                    <a:pt x="3564731" y="229076"/>
                    <a:pt x="3561874" y="230981"/>
                  </a:cubicBezTo>
                  <a:cubicBezTo>
                    <a:pt x="3559969" y="222409"/>
                    <a:pt x="3559016" y="218599"/>
                    <a:pt x="3559016" y="218599"/>
                  </a:cubicBezTo>
                  <a:cubicBezTo>
                    <a:pt x="3559016" y="218599"/>
                    <a:pt x="3559016" y="223361"/>
                    <a:pt x="3559016" y="231934"/>
                  </a:cubicBezTo>
                  <a:cubicBezTo>
                    <a:pt x="3557111" y="228124"/>
                    <a:pt x="3556159" y="224314"/>
                    <a:pt x="3554254" y="220504"/>
                  </a:cubicBezTo>
                  <a:cubicBezTo>
                    <a:pt x="3559969" y="211931"/>
                    <a:pt x="3564731" y="204311"/>
                    <a:pt x="3569494" y="197644"/>
                  </a:cubicBezTo>
                  <a:cubicBezTo>
                    <a:pt x="3576161" y="189071"/>
                    <a:pt x="3580924" y="180499"/>
                    <a:pt x="3585686" y="174784"/>
                  </a:cubicBezTo>
                  <a:cubicBezTo>
                    <a:pt x="3595211" y="162401"/>
                    <a:pt x="3600926" y="154781"/>
                    <a:pt x="3600926" y="154781"/>
                  </a:cubicBezTo>
                  <a:cubicBezTo>
                    <a:pt x="3600926" y="154781"/>
                    <a:pt x="3594259" y="160496"/>
                    <a:pt x="3582829" y="171926"/>
                  </a:cubicBezTo>
                  <a:cubicBezTo>
                    <a:pt x="3577114" y="176689"/>
                    <a:pt x="3570446" y="184309"/>
                    <a:pt x="3562826" y="192881"/>
                  </a:cubicBezTo>
                  <a:cubicBezTo>
                    <a:pt x="3558064" y="197644"/>
                    <a:pt x="3553301" y="203359"/>
                    <a:pt x="3549491" y="209074"/>
                  </a:cubicBezTo>
                  <a:cubicBezTo>
                    <a:pt x="3545681" y="199549"/>
                    <a:pt x="3542824" y="193834"/>
                    <a:pt x="3542824" y="193834"/>
                  </a:cubicBezTo>
                  <a:cubicBezTo>
                    <a:pt x="3542824" y="193834"/>
                    <a:pt x="3543776" y="200501"/>
                    <a:pt x="3546634" y="212884"/>
                  </a:cubicBezTo>
                  <a:cubicBezTo>
                    <a:pt x="3544729" y="215741"/>
                    <a:pt x="3541871" y="218599"/>
                    <a:pt x="3539966" y="222409"/>
                  </a:cubicBezTo>
                  <a:cubicBezTo>
                    <a:pt x="3539966" y="222409"/>
                    <a:pt x="3539014" y="223361"/>
                    <a:pt x="3539014" y="223361"/>
                  </a:cubicBezTo>
                  <a:cubicBezTo>
                    <a:pt x="3539014" y="219551"/>
                    <a:pt x="3539014" y="214789"/>
                    <a:pt x="3539014" y="210979"/>
                  </a:cubicBezTo>
                  <a:cubicBezTo>
                    <a:pt x="3539014" y="200501"/>
                    <a:pt x="3539014" y="191929"/>
                    <a:pt x="3539014" y="184309"/>
                  </a:cubicBezTo>
                  <a:cubicBezTo>
                    <a:pt x="3539014" y="180499"/>
                    <a:pt x="3539014" y="176689"/>
                    <a:pt x="3539014" y="173831"/>
                  </a:cubicBezTo>
                  <a:cubicBezTo>
                    <a:pt x="3539966" y="170974"/>
                    <a:pt x="3540919" y="170021"/>
                    <a:pt x="3540919" y="170021"/>
                  </a:cubicBezTo>
                  <a:cubicBezTo>
                    <a:pt x="3540919" y="170021"/>
                    <a:pt x="3539966" y="170974"/>
                    <a:pt x="3539014" y="172879"/>
                  </a:cubicBezTo>
                  <a:cubicBezTo>
                    <a:pt x="3539014" y="166211"/>
                    <a:pt x="3539014" y="162401"/>
                    <a:pt x="3539014" y="162401"/>
                  </a:cubicBezTo>
                  <a:cubicBezTo>
                    <a:pt x="3539014" y="162401"/>
                    <a:pt x="3538061" y="167164"/>
                    <a:pt x="3537109" y="176689"/>
                  </a:cubicBezTo>
                  <a:cubicBezTo>
                    <a:pt x="3535204" y="180499"/>
                    <a:pt x="3531394" y="184309"/>
                    <a:pt x="3527584" y="190976"/>
                  </a:cubicBezTo>
                  <a:cubicBezTo>
                    <a:pt x="3522821" y="197644"/>
                    <a:pt x="3518059" y="205264"/>
                    <a:pt x="3511391" y="214789"/>
                  </a:cubicBezTo>
                  <a:cubicBezTo>
                    <a:pt x="3511391" y="214789"/>
                    <a:pt x="3511391" y="215741"/>
                    <a:pt x="3510439" y="215741"/>
                  </a:cubicBezTo>
                  <a:cubicBezTo>
                    <a:pt x="3509486" y="210026"/>
                    <a:pt x="3509486" y="205264"/>
                    <a:pt x="3508534" y="201454"/>
                  </a:cubicBezTo>
                  <a:cubicBezTo>
                    <a:pt x="3506629" y="188119"/>
                    <a:pt x="3505676" y="180499"/>
                    <a:pt x="3505676" y="180499"/>
                  </a:cubicBezTo>
                  <a:cubicBezTo>
                    <a:pt x="3505676" y="180499"/>
                    <a:pt x="3505676" y="188119"/>
                    <a:pt x="3504724" y="202406"/>
                  </a:cubicBezTo>
                  <a:cubicBezTo>
                    <a:pt x="3504724" y="209074"/>
                    <a:pt x="3504724" y="216694"/>
                    <a:pt x="3503771" y="226219"/>
                  </a:cubicBezTo>
                  <a:cubicBezTo>
                    <a:pt x="3502819" y="228124"/>
                    <a:pt x="3501866" y="229076"/>
                    <a:pt x="3500914" y="230981"/>
                  </a:cubicBezTo>
                  <a:cubicBezTo>
                    <a:pt x="3498056" y="235744"/>
                    <a:pt x="3495199" y="241459"/>
                    <a:pt x="3491389" y="247174"/>
                  </a:cubicBezTo>
                  <a:cubicBezTo>
                    <a:pt x="3488531" y="241459"/>
                    <a:pt x="3486626" y="235744"/>
                    <a:pt x="3483769" y="230029"/>
                  </a:cubicBezTo>
                  <a:cubicBezTo>
                    <a:pt x="3479006" y="218599"/>
                    <a:pt x="3474244" y="209074"/>
                    <a:pt x="3469481" y="200501"/>
                  </a:cubicBezTo>
                  <a:cubicBezTo>
                    <a:pt x="3470434" y="197644"/>
                    <a:pt x="3471386" y="193834"/>
                    <a:pt x="3471386" y="190976"/>
                  </a:cubicBezTo>
                  <a:cubicBezTo>
                    <a:pt x="3473291" y="182404"/>
                    <a:pt x="3475196" y="174784"/>
                    <a:pt x="3477101" y="167164"/>
                  </a:cubicBezTo>
                  <a:cubicBezTo>
                    <a:pt x="3479006" y="159544"/>
                    <a:pt x="3480911" y="152876"/>
                    <a:pt x="3482816" y="146209"/>
                  </a:cubicBezTo>
                  <a:cubicBezTo>
                    <a:pt x="3486626" y="132874"/>
                    <a:pt x="3489484" y="121444"/>
                    <a:pt x="3492341" y="111919"/>
                  </a:cubicBezTo>
                  <a:cubicBezTo>
                    <a:pt x="3497104" y="92869"/>
                    <a:pt x="3499961" y="82391"/>
                    <a:pt x="3499961" y="82391"/>
                  </a:cubicBezTo>
                  <a:cubicBezTo>
                    <a:pt x="3499961" y="82391"/>
                    <a:pt x="3496151" y="92869"/>
                    <a:pt x="3488531" y="110966"/>
                  </a:cubicBezTo>
                  <a:cubicBezTo>
                    <a:pt x="3484721" y="120491"/>
                    <a:pt x="3480911" y="130969"/>
                    <a:pt x="3476149" y="144304"/>
                  </a:cubicBezTo>
                  <a:cubicBezTo>
                    <a:pt x="3473291" y="150971"/>
                    <a:pt x="3471386" y="157639"/>
                    <a:pt x="3468529" y="164306"/>
                  </a:cubicBezTo>
                  <a:cubicBezTo>
                    <a:pt x="3466624" y="170974"/>
                    <a:pt x="3464719" y="177641"/>
                    <a:pt x="3461861" y="185261"/>
                  </a:cubicBezTo>
                  <a:cubicBezTo>
                    <a:pt x="3456146" y="173831"/>
                    <a:pt x="3452336" y="168116"/>
                    <a:pt x="3452336" y="168116"/>
                  </a:cubicBezTo>
                  <a:cubicBezTo>
                    <a:pt x="3452336" y="168116"/>
                    <a:pt x="3455194" y="175736"/>
                    <a:pt x="3460909" y="189071"/>
                  </a:cubicBezTo>
                  <a:cubicBezTo>
                    <a:pt x="3457099" y="200501"/>
                    <a:pt x="3454241" y="211931"/>
                    <a:pt x="3450431" y="225266"/>
                  </a:cubicBezTo>
                  <a:cubicBezTo>
                    <a:pt x="3447574" y="220504"/>
                    <a:pt x="3444716" y="214789"/>
                    <a:pt x="3441859" y="210026"/>
                  </a:cubicBezTo>
                  <a:cubicBezTo>
                    <a:pt x="3441859" y="209074"/>
                    <a:pt x="3441859" y="208121"/>
                    <a:pt x="3442811" y="208121"/>
                  </a:cubicBezTo>
                  <a:cubicBezTo>
                    <a:pt x="3444716" y="197644"/>
                    <a:pt x="3445669" y="190976"/>
                    <a:pt x="3445669" y="190976"/>
                  </a:cubicBezTo>
                  <a:cubicBezTo>
                    <a:pt x="3445669" y="190976"/>
                    <a:pt x="3442811" y="196691"/>
                    <a:pt x="3439001" y="205264"/>
                  </a:cubicBezTo>
                  <a:cubicBezTo>
                    <a:pt x="3439001" y="205264"/>
                    <a:pt x="3439001" y="205264"/>
                    <a:pt x="3439001" y="205264"/>
                  </a:cubicBezTo>
                  <a:cubicBezTo>
                    <a:pt x="3439001" y="190976"/>
                    <a:pt x="3439001" y="177641"/>
                    <a:pt x="3438049" y="165259"/>
                  </a:cubicBezTo>
                  <a:cubicBezTo>
                    <a:pt x="3438049" y="153829"/>
                    <a:pt x="3437096" y="144304"/>
                    <a:pt x="3437096" y="135731"/>
                  </a:cubicBezTo>
                  <a:cubicBezTo>
                    <a:pt x="3436144" y="127159"/>
                    <a:pt x="3436144" y="119539"/>
                    <a:pt x="3435191" y="112871"/>
                  </a:cubicBezTo>
                  <a:cubicBezTo>
                    <a:pt x="3434239" y="100489"/>
                    <a:pt x="3433286" y="92869"/>
                    <a:pt x="3433286" y="92869"/>
                  </a:cubicBezTo>
                  <a:cubicBezTo>
                    <a:pt x="3433286" y="92869"/>
                    <a:pt x="3432334" y="100489"/>
                    <a:pt x="3431381" y="112871"/>
                  </a:cubicBezTo>
                  <a:cubicBezTo>
                    <a:pt x="3430429" y="122396"/>
                    <a:pt x="3429476" y="134779"/>
                    <a:pt x="3428524" y="149066"/>
                  </a:cubicBezTo>
                  <a:cubicBezTo>
                    <a:pt x="3428524" y="149066"/>
                    <a:pt x="3428524" y="150019"/>
                    <a:pt x="3428524" y="150019"/>
                  </a:cubicBezTo>
                  <a:cubicBezTo>
                    <a:pt x="3427571" y="143351"/>
                    <a:pt x="3426619" y="137636"/>
                    <a:pt x="3426619" y="131921"/>
                  </a:cubicBezTo>
                  <a:cubicBezTo>
                    <a:pt x="3424714" y="120491"/>
                    <a:pt x="3423761" y="113824"/>
                    <a:pt x="3423761" y="113824"/>
                  </a:cubicBezTo>
                  <a:cubicBezTo>
                    <a:pt x="3423761" y="113824"/>
                    <a:pt x="3422809" y="120491"/>
                    <a:pt x="3422809" y="131921"/>
                  </a:cubicBezTo>
                  <a:cubicBezTo>
                    <a:pt x="3422809" y="142399"/>
                    <a:pt x="3421856" y="157639"/>
                    <a:pt x="3420904" y="174784"/>
                  </a:cubicBezTo>
                  <a:cubicBezTo>
                    <a:pt x="3418046" y="170021"/>
                    <a:pt x="3415189" y="166211"/>
                    <a:pt x="3412331" y="162401"/>
                  </a:cubicBezTo>
                  <a:cubicBezTo>
                    <a:pt x="3405664" y="152876"/>
                    <a:pt x="3400901" y="146209"/>
                    <a:pt x="3398044" y="141446"/>
                  </a:cubicBezTo>
                  <a:cubicBezTo>
                    <a:pt x="3398996" y="135731"/>
                    <a:pt x="3400901" y="129064"/>
                    <a:pt x="3401854" y="123349"/>
                  </a:cubicBezTo>
                  <a:cubicBezTo>
                    <a:pt x="3399949" y="128111"/>
                    <a:pt x="3398044" y="133826"/>
                    <a:pt x="3396139" y="139541"/>
                  </a:cubicBezTo>
                  <a:cubicBezTo>
                    <a:pt x="3393281" y="135731"/>
                    <a:pt x="3391376" y="132874"/>
                    <a:pt x="3391376" y="132874"/>
                  </a:cubicBezTo>
                  <a:cubicBezTo>
                    <a:pt x="3391376" y="132874"/>
                    <a:pt x="3392329" y="134779"/>
                    <a:pt x="3395186" y="139541"/>
                  </a:cubicBezTo>
                  <a:cubicBezTo>
                    <a:pt x="3395186" y="140494"/>
                    <a:pt x="3395186" y="140494"/>
                    <a:pt x="3395186" y="141446"/>
                  </a:cubicBezTo>
                  <a:cubicBezTo>
                    <a:pt x="3391376" y="153829"/>
                    <a:pt x="3386614" y="166211"/>
                    <a:pt x="3382804" y="177641"/>
                  </a:cubicBezTo>
                  <a:cubicBezTo>
                    <a:pt x="3382804" y="175736"/>
                    <a:pt x="3382804" y="174784"/>
                    <a:pt x="3382804" y="172879"/>
                  </a:cubicBezTo>
                  <a:cubicBezTo>
                    <a:pt x="3381851" y="158591"/>
                    <a:pt x="3381851" y="150971"/>
                    <a:pt x="3381851" y="150971"/>
                  </a:cubicBezTo>
                  <a:cubicBezTo>
                    <a:pt x="3381851" y="150971"/>
                    <a:pt x="3380899" y="158591"/>
                    <a:pt x="3378994" y="172879"/>
                  </a:cubicBezTo>
                  <a:cubicBezTo>
                    <a:pt x="3378041" y="179546"/>
                    <a:pt x="3377089" y="188119"/>
                    <a:pt x="3376136" y="197644"/>
                  </a:cubicBezTo>
                  <a:cubicBezTo>
                    <a:pt x="3372326" y="210026"/>
                    <a:pt x="3368516" y="222409"/>
                    <a:pt x="3365659" y="234791"/>
                  </a:cubicBezTo>
                  <a:cubicBezTo>
                    <a:pt x="3363754" y="240506"/>
                    <a:pt x="3361849" y="247174"/>
                    <a:pt x="3358991" y="253841"/>
                  </a:cubicBezTo>
                  <a:cubicBezTo>
                    <a:pt x="3358991" y="254794"/>
                    <a:pt x="3358039" y="256699"/>
                    <a:pt x="3358039" y="257651"/>
                  </a:cubicBezTo>
                  <a:cubicBezTo>
                    <a:pt x="3355181" y="250984"/>
                    <a:pt x="3353276" y="244316"/>
                    <a:pt x="3351371" y="239554"/>
                  </a:cubicBezTo>
                  <a:cubicBezTo>
                    <a:pt x="3351371" y="238601"/>
                    <a:pt x="3351371" y="237649"/>
                    <a:pt x="3351371" y="237649"/>
                  </a:cubicBezTo>
                  <a:cubicBezTo>
                    <a:pt x="3351371" y="237649"/>
                    <a:pt x="3351371" y="237649"/>
                    <a:pt x="3351371" y="238601"/>
                  </a:cubicBezTo>
                  <a:cubicBezTo>
                    <a:pt x="3347561" y="228124"/>
                    <a:pt x="3344704" y="221456"/>
                    <a:pt x="3344704" y="221456"/>
                  </a:cubicBezTo>
                  <a:cubicBezTo>
                    <a:pt x="3344704" y="221456"/>
                    <a:pt x="3346609" y="230981"/>
                    <a:pt x="3349466" y="248126"/>
                  </a:cubicBezTo>
                  <a:cubicBezTo>
                    <a:pt x="3348514" y="252889"/>
                    <a:pt x="3348514" y="258604"/>
                    <a:pt x="3347561" y="265271"/>
                  </a:cubicBezTo>
                  <a:cubicBezTo>
                    <a:pt x="3346609" y="270986"/>
                    <a:pt x="3346609" y="276701"/>
                    <a:pt x="3345656" y="283369"/>
                  </a:cubicBezTo>
                  <a:cubicBezTo>
                    <a:pt x="3344704" y="284321"/>
                    <a:pt x="3344704" y="285274"/>
                    <a:pt x="3343751" y="287179"/>
                  </a:cubicBezTo>
                  <a:cubicBezTo>
                    <a:pt x="3341846" y="283369"/>
                    <a:pt x="3340894" y="278606"/>
                    <a:pt x="3339941" y="274796"/>
                  </a:cubicBezTo>
                  <a:cubicBezTo>
                    <a:pt x="3335179" y="259556"/>
                    <a:pt x="3329464" y="245269"/>
                    <a:pt x="3325654" y="231934"/>
                  </a:cubicBezTo>
                  <a:cubicBezTo>
                    <a:pt x="3326606" y="227171"/>
                    <a:pt x="3327559" y="221456"/>
                    <a:pt x="3328511" y="216694"/>
                  </a:cubicBezTo>
                  <a:cubicBezTo>
                    <a:pt x="3332321" y="199549"/>
                    <a:pt x="3334226" y="184309"/>
                    <a:pt x="3338036" y="170974"/>
                  </a:cubicBezTo>
                  <a:cubicBezTo>
                    <a:pt x="3340894" y="157639"/>
                    <a:pt x="3343751" y="145256"/>
                    <a:pt x="3346609" y="136684"/>
                  </a:cubicBezTo>
                  <a:cubicBezTo>
                    <a:pt x="3352324" y="117634"/>
                    <a:pt x="3355181" y="106204"/>
                    <a:pt x="3355181" y="106204"/>
                  </a:cubicBezTo>
                  <a:cubicBezTo>
                    <a:pt x="3355181" y="106204"/>
                    <a:pt x="3350419" y="116681"/>
                    <a:pt x="3342799" y="134779"/>
                  </a:cubicBezTo>
                  <a:cubicBezTo>
                    <a:pt x="3338989" y="144304"/>
                    <a:pt x="3335179" y="155734"/>
                    <a:pt x="3330416" y="169069"/>
                  </a:cubicBezTo>
                  <a:cubicBezTo>
                    <a:pt x="3325654" y="180499"/>
                    <a:pt x="3322796" y="193834"/>
                    <a:pt x="3318986" y="208121"/>
                  </a:cubicBezTo>
                  <a:cubicBezTo>
                    <a:pt x="3318986" y="206216"/>
                    <a:pt x="3318986" y="205264"/>
                    <a:pt x="3318986" y="203359"/>
                  </a:cubicBezTo>
                  <a:cubicBezTo>
                    <a:pt x="3319939" y="200501"/>
                    <a:pt x="3319939" y="198596"/>
                    <a:pt x="3320891" y="195739"/>
                  </a:cubicBezTo>
                  <a:cubicBezTo>
                    <a:pt x="3323749" y="185261"/>
                    <a:pt x="3325654" y="176689"/>
                    <a:pt x="3327559" y="170021"/>
                  </a:cubicBezTo>
                  <a:cubicBezTo>
                    <a:pt x="3330416" y="155734"/>
                    <a:pt x="3332321" y="147161"/>
                    <a:pt x="3332321" y="147161"/>
                  </a:cubicBezTo>
                  <a:cubicBezTo>
                    <a:pt x="3332321" y="147161"/>
                    <a:pt x="3329464" y="154781"/>
                    <a:pt x="3323749" y="169069"/>
                  </a:cubicBezTo>
                  <a:cubicBezTo>
                    <a:pt x="3323749" y="170021"/>
                    <a:pt x="3322796" y="170974"/>
                    <a:pt x="3322796" y="171926"/>
                  </a:cubicBezTo>
                  <a:cubicBezTo>
                    <a:pt x="3322796" y="170021"/>
                    <a:pt x="3323749" y="167164"/>
                    <a:pt x="3323749" y="165259"/>
                  </a:cubicBezTo>
                  <a:cubicBezTo>
                    <a:pt x="3325654" y="158591"/>
                    <a:pt x="3326606" y="152876"/>
                    <a:pt x="3328511" y="147161"/>
                  </a:cubicBezTo>
                  <a:cubicBezTo>
                    <a:pt x="3331369" y="135731"/>
                    <a:pt x="3334226" y="125254"/>
                    <a:pt x="3336131" y="116681"/>
                  </a:cubicBezTo>
                  <a:cubicBezTo>
                    <a:pt x="3339941" y="99536"/>
                    <a:pt x="3341846" y="90011"/>
                    <a:pt x="3341846" y="90011"/>
                  </a:cubicBezTo>
                  <a:cubicBezTo>
                    <a:pt x="3341846" y="90011"/>
                    <a:pt x="3338036" y="99536"/>
                    <a:pt x="3332321" y="114776"/>
                  </a:cubicBezTo>
                  <a:cubicBezTo>
                    <a:pt x="3329464" y="122396"/>
                    <a:pt x="3325654" y="132874"/>
                    <a:pt x="3321844" y="143351"/>
                  </a:cubicBezTo>
                  <a:cubicBezTo>
                    <a:pt x="3319939" y="149066"/>
                    <a:pt x="3318034" y="154781"/>
                    <a:pt x="3315176" y="161449"/>
                  </a:cubicBezTo>
                  <a:cubicBezTo>
                    <a:pt x="3313271" y="168116"/>
                    <a:pt x="3311366" y="174784"/>
                    <a:pt x="3308509" y="181451"/>
                  </a:cubicBezTo>
                  <a:cubicBezTo>
                    <a:pt x="3308509" y="181451"/>
                    <a:pt x="3308509" y="181451"/>
                    <a:pt x="3308509" y="181451"/>
                  </a:cubicBezTo>
                  <a:cubicBezTo>
                    <a:pt x="3307556" y="179546"/>
                    <a:pt x="3307556" y="178594"/>
                    <a:pt x="3306604" y="176689"/>
                  </a:cubicBezTo>
                  <a:cubicBezTo>
                    <a:pt x="3298031" y="153829"/>
                    <a:pt x="3292316" y="140494"/>
                    <a:pt x="3292316" y="140494"/>
                  </a:cubicBezTo>
                  <a:cubicBezTo>
                    <a:pt x="3292316" y="140494"/>
                    <a:pt x="3297079" y="158591"/>
                    <a:pt x="3305651" y="189071"/>
                  </a:cubicBezTo>
                  <a:cubicBezTo>
                    <a:pt x="3301841" y="201454"/>
                    <a:pt x="3298031" y="213836"/>
                    <a:pt x="3294221" y="227171"/>
                  </a:cubicBezTo>
                  <a:cubicBezTo>
                    <a:pt x="3294221" y="228124"/>
                    <a:pt x="3293269" y="230029"/>
                    <a:pt x="3293269" y="230981"/>
                  </a:cubicBezTo>
                  <a:cubicBezTo>
                    <a:pt x="3293269" y="230029"/>
                    <a:pt x="3292316" y="230029"/>
                    <a:pt x="3292316" y="229076"/>
                  </a:cubicBezTo>
                  <a:cubicBezTo>
                    <a:pt x="3282791" y="209074"/>
                    <a:pt x="3277076" y="197644"/>
                    <a:pt x="3277076" y="197644"/>
                  </a:cubicBezTo>
                  <a:cubicBezTo>
                    <a:pt x="3277076" y="197644"/>
                    <a:pt x="3282791" y="211931"/>
                    <a:pt x="3291364" y="237649"/>
                  </a:cubicBezTo>
                  <a:cubicBezTo>
                    <a:pt x="3289459" y="244316"/>
                    <a:pt x="3287554" y="250984"/>
                    <a:pt x="3285649" y="257651"/>
                  </a:cubicBezTo>
                  <a:cubicBezTo>
                    <a:pt x="3282791" y="253841"/>
                    <a:pt x="3279934" y="249079"/>
                    <a:pt x="3277076" y="246221"/>
                  </a:cubicBezTo>
                  <a:cubicBezTo>
                    <a:pt x="3276124" y="245269"/>
                    <a:pt x="3275171" y="243364"/>
                    <a:pt x="3274219" y="242411"/>
                  </a:cubicBezTo>
                  <a:cubicBezTo>
                    <a:pt x="3276124" y="215741"/>
                    <a:pt x="3277076" y="199549"/>
                    <a:pt x="3277076" y="199549"/>
                  </a:cubicBezTo>
                  <a:cubicBezTo>
                    <a:pt x="3277076" y="199549"/>
                    <a:pt x="3275171" y="206216"/>
                    <a:pt x="3272314" y="217646"/>
                  </a:cubicBezTo>
                  <a:cubicBezTo>
                    <a:pt x="3271361" y="222409"/>
                    <a:pt x="3269456" y="228124"/>
                    <a:pt x="3268504" y="234791"/>
                  </a:cubicBezTo>
                  <a:cubicBezTo>
                    <a:pt x="3265646" y="230029"/>
                    <a:pt x="3261836" y="226219"/>
                    <a:pt x="3258979" y="223361"/>
                  </a:cubicBezTo>
                  <a:cubicBezTo>
                    <a:pt x="3247549" y="210979"/>
                    <a:pt x="3241834" y="203359"/>
                    <a:pt x="3241834" y="203359"/>
                  </a:cubicBezTo>
                  <a:cubicBezTo>
                    <a:pt x="3241834" y="203359"/>
                    <a:pt x="3247549" y="211931"/>
                    <a:pt x="3256121" y="226219"/>
                  </a:cubicBezTo>
                  <a:cubicBezTo>
                    <a:pt x="3259931" y="230981"/>
                    <a:pt x="3262789" y="236696"/>
                    <a:pt x="3266599" y="243364"/>
                  </a:cubicBezTo>
                  <a:cubicBezTo>
                    <a:pt x="3264694" y="250031"/>
                    <a:pt x="3262789" y="256699"/>
                    <a:pt x="3260884" y="265271"/>
                  </a:cubicBezTo>
                  <a:cubicBezTo>
                    <a:pt x="3258979" y="271939"/>
                    <a:pt x="3257074" y="279559"/>
                    <a:pt x="3256121" y="288131"/>
                  </a:cubicBezTo>
                  <a:cubicBezTo>
                    <a:pt x="3256121" y="287179"/>
                    <a:pt x="3256121" y="287179"/>
                    <a:pt x="3256121" y="287179"/>
                  </a:cubicBezTo>
                  <a:cubicBezTo>
                    <a:pt x="3256121" y="287179"/>
                    <a:pt x="3256121" y="288131"/>
                    <a:pt x="3256121" y="289084"/>
                  </a:cubicBezTo>
                  <a:cubicBezTo>
                    <a:pt x="3256121" y="290989"/>
                    <a:pt x="3255169" y="291941"/>
                    <a:pt x="3255169" y="293846"/>
                  </a:cubicBezTo>
                  <a:cubicBezTo>
                    <a:pt x="3254216" y="292894"/>
                    <a:pt x="3254216" y="291941"/>
                    <a:pt x="3253264" y="290036"/>
                  </a:cubicBezTo>
                  <a:cubicBezTo>
                    <a:pt x="3253264" y="284321"/>
                    <a:pt x="3254216" y="280511"/>
                    <a:pt x="3254216" y="280511"/>
                  </a:cubicBezTo>
                  <a:cubicBezTo>
                    <a:pt x="3254216" y="280511"/>
                    <a:pt x="3253264" y="282416"/>
                    <a:pt x="3252311" y="287179"/>
                  </a:cubicBezTo>
                  <a:cubicBezTo>
                    <a:pt x="3248501" y="280511"/>
                    <a:pt x="3246596" y="276701"/>
                    <a:pt x="3246596" y="276701"/>
                  </a:cubicBezTo>
                  <a:cubicBezTo>
                    <a:pt x="3246596" y="276701"/>
                    <a:pt x="3248501" y="281464"/>
                    <a:pt x="3251359" y="290989"/>
                  </a:cubicBezTo>
                  <a:cubicBezTo>
                    <a:pt x="3250406" y="292894"/>
                    <a:pt x="3250406" y="295751"/>
                    <a:pt x="3249454" y="298609"/>
                  </a:cubicBezTo>
                  <a:cubicBezTo>
                    <a:pt x="3248501" y="300514"/>
                    <a:pt x="3248501" y="302419"/>
                    <a:pt x="3247549" y="304324"/>
                  </a:cubicBezTo>
                  <a:cubicBezTo>
                    <a:pt x="3247549" y="302419"/>
                    <a:pt x="3246596" y="301466"/>
                    <a:pt x="3246596" y="301466"/>
                  </a:cubicBezTo>
                  <a:cubicBezTo>
                    <a:pt x="3246596" y="301466"/>
                    <a:pt x="3246596" y="303371"/>
                    <a:pt x="3246596" y="306229"/>
                  </a:cubicBezTo>
                  <a:cubicBezTo>
                    <a:pt x="3245644" y="310039"/>
                    <a:pt x="3244691" y="313849"/>
                    <a:pt x="3243739" y="317659"/>
                  </a:cubicBezTo>
                  <a:cubicBezTo>
                    <a:pt x="3242786" y="312896"/>
                    <a:pt x="3240881" y="308134"/>
                    <a:pt x="3239929" y="304324"/>
                  </a:cubicBezTo>
                  <a:cubicBezTo>
                    <a:pt x="3241834" y="299561"/>
                    <a:pt x="3242786" y="296704"/>
                    <a:pt x="3242786" y="296704"/>
                  </a:cubicBezTo>
                  <a:cubicBezTo>
                    <a:pt x="3242786" y="296704"/>
                    <a:pt x="3241834" y="298609"/>
                    <a:pt x="3238976" y="302419"/>
                  </a:cubicBezTo>
                  <a:cubicBezTo>
                    <a:pt x="3238024" y="299561"/>
                    <a:pt x="3237071" y="296704"/>
                    <a:pt x="3236119" y="293846"/>
                  </a:cubicBezTo>
                  <a:cubicBezTo>
                    <a:pt x="3236119" y="292894"/>
                    <a:pt x="3235166" y="291941"/>
                    <a:pt x="3235166" y="290036"/>
                  </a:cubicBezTo>
                  <a:cubicBezTo>
                    <a:pt x="3238024" y="284321"/>
                    <a:pt x="3239929" y="278606"/>
                    <a:pt x="3241834" y="273844"/>
                  </a:cubicBezTo>
                  <a:cubicBezTo>
                    <a:pt x="3244691" y="267176"/>
                    <a:pt x="3247549" y="261461"/>
                    <a:pt x="3249454" y="256699"/>
                  </a:cubicBezTo>
                  <a:cubicBezTo>
                    <a:pt x="3254216" y="247174"/>
                    <a:pt x="3256121" y="242411"/>
                    <a:pt x="3256121" y="242411"/>
                  </a:cubicBezTo>
                  <a:cubicBezTo>
                    <a:pt x="3256121" y="242411"/>
                    <a:pt x="3252311" y="247174"/>
                    <a:pt x="3245644" y="254794"/>
                  </a:cubicBezTo>
                  <a:cubicBezTo>
                    <a:pt x="3242786" y="258604"/>
                    <a:pt x="3238976" y="263366"/>
                    <a:pt x="3235166" y="270034"/>
                  </a:cubicBezTo>
                  <a:cubicBezTo>
                    <a:pt x="3233261" y="271939"/>
                    <a:pt x="3232309" y="274796"/>
                    <a:pt x="3230404" y="276701"/>
                  </a:cubicBezTo>
                  <a:cubicBezTo>
                    <a:pt x="3230404" y="275749"/>
                    <a:pt x="3229451" y="273844"/>
                    <a:pt x="3229451" y="272891"/>
                  </a:cubicBezTo>
                  <a:cubicBezTo>
                    <a:pt x="3227546" y="266224"/>
                    <a:pt x="3224689" y="260509"/>
                    <a:pt x="3222784" y="253841"/>
                  </a:cubicBezTo>
                  <a:cubicBezTo>
                    <a:pt x="3220879" y="250031"/>
                    <a:pt x="3219926" y="245269"/>
                    <a:pt x="3218021" y="241459"/>
                  </a:cubicBezTo>
                  <a:cubicBezTo>
                    <a:pt x="3218021" y="239554"/>
                    <a:pt x="3218021" y="238601"/>
                    <a:pt x="3218021" y="236696"/>
                  </a:cubicBezTo>
                  <a:cubicBezTo>
                    <a:pt x="3219926" y="226219"/>
                    <a:pt x="3221831" y="215741"/>
                    <a:pt x="3222784" y="206216"/>
                  </a:cubicBezTo>
                  <a:cubicBezTo>
                    <a:pt x="3225641" y="191929"/>
                    <a:pt x="3227546" y="178594"/>
                    <a:pt x="3229451" y="166211"/>
                  </a:cubicBezTo>
                  <a:cubicBezTo>
                    <a:pt x="3231356" y="154781"/>
                    <a:pt x="3233261" y="144304"/>
                    <a:pt x="3235166" y="135731"/>
                  </a:cubicBezTo>
                  <a:cubicBezTo>
                    <a:pt x="3238024" y="118586"/>
                    <a:pt x="3239929" y="109061"/>
                    <a:pt x="3239929" y="109061"/>
                  </a:cubicBezTo>
                  <a:cubicBezTo>
                    <a:pt x="3239929" y="109061"/>
                    <a:pt x="3237071" y="118586"/>
                    <a:pt x="3231356" y="134779"/>
                  </a:cubicBezTo>
                  <a:cubicBezTo>
                    <a:pt x="3226594" y="150971"/>
                    <a:pt x="3218974" y="175736"/>
                    <a:pt x="3212306" y="204311"/>
                  </a:cubicBezTo>
                  <a:cubicBezTo>
                    <a:pt x="3211354" y="208121"/>
                    <a:pt x="3210401" y="211931"/>
                    <a:pt x="3209449" y="215741"/>
                  </a:cubicBezTo>
                  <a:cubicBezTo>
                    <a:pt x="3207544" y="210979"/>
                    <a:pt x="3206591" y="207169"/>
                    <a:pt x="3204686" y="204311"/>
                  </a:cubicBezTo>
                  <a:cubicBezTo>
                    <a:pt x="3204686" y="186214"/>
                    <a:pt x="3203734" y="175736"/>
                    <a:pt x="3203734" y="175736"/>
                  </a:cubicBezTo>
                  <a:cubicBezTo>
                    <a:pt x="3203734" y="175736"/>
                    <a:pt x="3202781" y="187166"/>
                    <a:pt x="3200876" y="206216"/>
                  </a:cubicBezTo>
                  <a:cubicBezTo>
                    <a:pt x="3199924" y="215741"/>
                    <a:pt x="3198019" y="227171"/>
                    <a:pt x="3196114" y="240506"/>
                  </a:cubicBezTo>
                  <a:cubicBezTo>
                    <a:pt x="3196114" y="241459"/>
                    <a:pt x="3196114" y="242411"/>
                    <a:pt x="3195161" y="243364"/>
                  </a:cubicBezTo>
                  <a:cubicBezTo>
                    <a:pt x="3195161" y="234791"/>
                    <a:pt x="3196114" y="226219"/>
                    <a:pt x="3196114" y="217646"/>
                  </a:cubicBezTo>
                  <a:cubicBezTo>
                    <a:pt x="3197066" y="204311"/>
                    <a:pt x="3197066" y="191929"/>
                    <a:pt x="3198019" y="180499"/>
                  </a:cubicBezTo>
                  <a:cubicBezTo>
                    <a:pt x="3198971" y="169069"/>
                    <a:pt x="3198971" y="159544"/>
                    <a:pt x="3199924" y="151924"/>
                  </a:cubicBezTo>
                  <a:cubicBezTo>
                    <a:pt x="3200876" y="135731"/>
                    <a:pt x="3200876" y="127159"/>
                    <a:pt x="3200876" y="127159"/>
                  </a:cubicBezTo>
                  <a:cubicBezTo>
                    <a:pt x="3200876" y="127159"/>
                    <a:pt x="3198971" y="135731"/>
                    <a:pt x="3195161" y="151924"/>
                  </a:cubicBezTo>
                  <a:cubicBezTo>
                    <a:pt x="3192304" y="168116"/>
                    <a:pt x="3187541" y="190976"/>
                    <a:pt x="3184684" y="217646"/>
                  </a:cubicBezTo>
                  <a:cubicBezTo>
                    <a:pt x="3183731" y="223361"/>
                    <a:pt x="3182779" y="230029"/>
                    <a:pt x="3181826" y="235744"/>
                  </a:cubicBezTo>
                  <a:cubicBezTo>
                    <a:pt x="3180874" y="233839"/>
                    <a:pt x="3179921" y="232886"/>
                    <a:pt x="3179921" y="231934"/>
                  </a:cubicBezTo>
                  <a:cubicBezTo>
                    <a:pt x="3179921" y="227171"/>
                    <a:pt x="3179921" y="224314"/>
                    <a:pt x="3179921" y="224314"/>
                  </a:cubicBezTo>
                  <a:cubicBezTo>
                    <a:pt x="3179921" y="224314"/>
                    <a:pt x="3179921" y="226219"/>
                    <a:pt x="3178969" y="230029"/>
                  </a:cubicBezTo>
                  <a:cubicBezTo>
                    <a:pt x="3178016" y="228124"/>
                    <a:pt x="3177064" y="227171"/>
                    <a:pt x="3177064" y="227171"/>
                  </a:cubicBezTo>
                  <a:cubicBezTo>
                    <a:pt x="3177064" y="227171"/>
                    <a:pt x="3178016" y="229076"/>
                    <a:pt x="3178016" y="231934"/>
                  </a:cubicBezTo>
                  <a:cubicBezTo>
                    <a:pt x="3177064" y="236696"/>
                    <a:pt x="3176111" y="243364"/>
                    <a:pt x="3174206" y="250984"/>
                  </a:cubicBezTo>
                  <a:cubicBezTo>
                    <a:pt x="3173254" y="258604"/>
                    <a:pt x="3171349" y="267176"/>
                    <a:pt x="3170396" y="277654"/>
                  </a:cubicBezTo>
                  <a:cubicBezTo>
                    <a:pt x="3170396" y="276701"/>
                    <a:pt x="3170396" y="276701"/>
                    <a:pt x="3169444" y="275749"/>
                  </a:cubicBezTo>
                  <a:cubicBezTo>
                    <a:pt x="3168491" y="254794"/>
                    <a:pt x="3165634" y="234791"/>
                    <a:pt x="3163729" y="215741"/>
                  </a:cubicBezTo>
                  <a:cubicBezTo>
                    <a:pt x="3163729" y="212884"/>
                    <a:pt x="3162776" y="210026"/>
                    <a:pt x="3162776" y="207169"/>
                  </a:cubicBezTo>
                  <a:cubicBezTo>
                    <a:pt x="3162776" y="206216"/>
                    <a:pt x="3163729" y="204311"/>
                    <a:pt x="3163729" y="203359"/>
                  </a:cubicBezTo>
                  <a:cubicBezTo>
                    <a:pt x="3169444" y="174784"/>
                    <a:pt x="3172301" y="150019"/>
                    <a:pt x="3174206" y="132874"/>
                  </a:cubicBezTo>
                  <a:cubicBezTo>
                    <a:pt x="3176111" y="115729"/>
                    <a:pt x="3178016" y="106204"/>
                    <a:pt x="3178016" y="106204"/>
                  </a:cubicBezTo>
                  <a:cubicBezTo>
                    <a:pt x="3178016" y="106204"/>
                    <a:pt x="3175159" y="115729"/>
                    <a:pt x="3170396" y="131921"/>
                  </a:cubicBezTo>
                  <a:cubicBezTo>
                    <a:pt x="3167539" y="143351"/>
                    <a:pt x="3162776" y="159544"/>
                    <a:pt x="3158014" y="177641"/>
                  </a:cubicBezTo>
                  <a:cubicBezTo>
                    <a:pt x="3157061" y="171926"/>
                    <a:pt x="3156109" y="165259"/>
                    <a:pt x="3154204" y="159544"/>
                  </a:cubicBezTo>
                  <a:cubicBezTo>
                    <a:pt x="3152299" y="150971"/>
                    <a:pt x="3150394" y="142399"/>
                    <a:pt x="3149441" y="134779"/>
                  </a:cubicBezTo>
                  <a:cubicBezTo>
                    <a:pt x="3147536" y="127159"/>
                    <a:pt x="3145631" y="119539"/>
                    <a:pt x="3143726" y="112871"/>
                  </a:cubicBezTo>
                  <a:cubicBezTo>
                    <a:pt x="3139916" y="99536"/>
                    <a:pt x="3137059" y="87154"/>
                    <a:pt x="3133249" y="77629"/>
                  </a:cubicBezTo>
                  <a:cubicBezTo>
                    <a:pt x="3126581" y="58579"/>
                    <a:pt x="3122771" y="47149"/>
                    <a:pt x="3122771" y="47149"/>
                  </a:cubicBezTo>
                  <a:cubicBezTo>
                    <a:pt x="3122771" y="47149"/>
                    <a:pt x="3125629" y="58579"/>
                    <a:pt x="3129439" y="78581"/>
                  </a:cubicBezTo>
                  <a:cubicBezTo>
                    <a:pt x="3132296" y="88106"/>
                    <a:pt x="3134201" y="100489"/>
                    <a:pt x="3136106" y="114776"/>
                  </a:cubicBezTo>
                  <a:cubicBezTo>
                    <a:pt x="3137059" y="121444"/>
                    <a:pt x="3138964" y="129064"/>
                    <a:pt x="3139916" y="136684"/>
                  </a:cubicBezTo>
                  <a:cubicBezTo>
                    <a:pt x="3140869" y="144304"/>
                    <a:pt x="3141821" y="152876"/>
                    <a:pt x="3142774" y="161449"/>
                  </a:cubicBezTo>
                  <a:cubicBezTo>
                    <a:pt x="3145631" y="177641"/>
                    <a:pt x="3146584" y="195739"/>
                    <a:pt x="3147536" y="213836"/>
                  </a:cubicBezTo>
                  <a:cubicBezTo>
                    <a:pt x="3147536" y="214789"/>
                    <a:pt x="3146584" y="215741"/>
                    <a:pt x="3146584" y="217646"/>
                  </a:cubicBezTo>
                  <a:cubicBezTo>
                    <a:pt x="3145631" y="214789"/>
                    <a:pt x="3144679" y="211931"/>
                    <a:pt x="3143726" y="210026"/>
                  </a:cubicBezTo>
                  <a:cubicBezTo>
                    <a:pt x="3141821" y="205264"/>
                    <a:pt x="3139916" y="201454"/>
                    <a:pt x="3138964" y="196691"/>
                  </a:cubicBezTo>
                  <a:cubicBezTo>
                    <a:pt x="3137059" y="190024"/>
                    <a:pt x="3136106" y="184309"/>
                    <a:pt x="3134201" y="179546"/>
                  </a:cubicBezTo>
                  <a:cubicBezTo>
                    <a:pt x="3129439" y="164306"/>
                    <a:pt x="3126581" y="155734"/>
                    <a:pt x="3126581" y="155734"/>
                  </a:cubicBezTo>
                  <a:cubicBezTo>
                    <a:pt x="3126581" y="155734"/>
                    <a:pt x="3127534" y="161449"/>
                    <a:pt x="3129439" y="172879"/>
                  </a:cubicBezTo>
                  <a:cubicBezTo>
                    <a:pt x="3125629" y="164306"/>
                    <a:pt x="3121819" y="155734"/>
                    <a:pt x="3118961" y="150019"/>
                  </a:cubicBezTo>
                  <a:cubicBezTo>
                    <a:pt x="3116104" y="144304"/>
                    <a:pt x="3114199" y="139541"/>
                    <a:pt x="3112294" y="136684"/>
                  </a:cubicBezTo>
                  <a:cubicBezTo>
                    <a:pt x="3108484" y="128111"/>
                    <a:pt x="3105626" y="120491"/>
                    <a:pt x="3102769" y="113824"/>
                  </a:cubicBezTo>
                  <a:cubicBezTo>
                    <a:pt x="3095149" y="96679"/>
                    <a:pt x="3090386" y="87154"/>
                    <a:pt x="3090386" y="87154"/>
                  </a:cubicBezTo>
                  <a:cubicBezTo>
                    <a:pt x="3090386" y="87154"/>
                    <a:pt x="3093244" y="97631"/>
                    <a:pt x="3099911" y="114776"/>
                  </a:cubicBezTo>
                  <a:cubicBezTo>
                    <a:pt x="3102769" y="123349"/>
                    <a:pt x="3105626" y="133826"/>
                    <a:pt x="3109436" y="146209"/>
                  </a:cubicBezTo>
                  <a:cubicBezTo>
                    <a:pt x="3111341" y="152876"/>
                    <a:pt x="3113246" y="159544"/>
                    <a:pt x="3115151" y="167164"/>
                  </a:cubicBezTo>
                  <a:cubicBezTo>
                    <a:pt x="3111341" y="159544"/>
                    <a:pt x="3109436" y="155734"/>
                    <a:pt x="3109436" y="155734"/>
                  </a:cubicBezTo>
                  <a:cubicBezTo>
                    <a:pt x="3109436" y="155734"/>
                    <a:pt x="3111341" y="163354"/>
                    <a:pt x="3116104" y="176689"/>
                  </a:cubicBezTo>
                  <a:cubicBezTo>
                    <a:pt x="3118009" y="181451"/>
                    <a:pt x="3119914" y="188119"/>
                    <a:pt x="3121819" y="194786"/>
                  </a:cubicBezTo>
                  <a:cubicBezTo>
                    <a:pt x="3122771" y="200501"/>
                    <a:pt x="3124676" y="207169"/>
                    <a:pt x="3125629" y="213836"/>
                  </a:cubicBezTo>
                  <a:cubicBezTo>
                    <a:pt x="3124676" y="214789"/>
                    <a:pt x="3124676" y="215741"/>
                    <a:pt x="3123724" y="215741"/>
                  </a:cubicBezTo>
                  <a:cubicBezTo>
                    <a:pt x="3123724" y="212884"/>
                    <a:pt x="3122771" y="210979"/>
                    <a:pt x="3122771" y="210979"/>
                  </a:cubicBezTo>
                  <a:cubicBezTo>
                    <a:pt x="3122771" y="210979"/>
                    <a:pt x="3122771" y="212884"/>
                    <a:pt x="3122771" y="216694"/>
                  </a:cubicBezTo>
                  <a:cubicBezTo>
                    <a:pt x="3119914" y="219551"/>
                    <a:pt x="3117056" y="223361"/>
                    <a:pt x="3113246" y="228124"/>
                  </a:cubicBezTo>
                  <a:cubicBezTo>
                    <a:pt x="3113246" y="228124"/>
                    <a:pt x="3113246" y="228124"/>
                    <a:pt x="3113246" y="228124"/>
                  </a:cubicBezTo>
                  <a:cubicBezTo>
                    <a:pt x="3112294" y="213836"/>
                    <a:pt x="3111341" y="201454"/>
                    <a:pt x="3110389" y="191929"/>
                  </a:cubicBezTo>
                  <a:cubicBezTo>
                    <a:pt x="3109436" y="178594"/>
                    <a:pt x="3108484" y="171926"/>
                    <a:pt x="3108484" y="171926"/>
                  </a:cubicBezTo>
                  <a:cubicBezTo>
                    <a:pt x="3108484" y="171926"/>
                    <a:pt x="3107531" y="179546"/>
                    <a:pt x="3106579" y="192881"/>
                  </a:cubicBezTo>
                  <a:cubicBezTo>
                    <a:pt x="3105626" y="202406"/>
                    <a:pt x="3105626" y="213836"/>
                    <a:pt x="3104674" y="228124"/>
                  </a:cubicBezTo>
                  <a:cubicBezTo>
                    <a:pt x="3104674" y="228124"/>
                    <a:pt x="3104674" y="227171"/>
                    <a:pt x="3104674" y="227171"/>
                  </a:cubicBezTo>
                  <a:cubicBezTo>
                    <a:pt x="3099911" y="214789"/>
                    <a:pt x="3097054" y="208121"/>
                    <a:pt x="3097054" y="208121"/>
                  </a:cubicBezTo>
                  <a:cubicBezTo>
                    <a:pt x="3097054" y="208121"/>
                    <a:pt x="3098006" y="215741"/>
                    <a:pt x="3100864" y="228124"/>
                  </a:cubicBezTo>
                  <a:cubicBezTo>
                    <a:pt x="3101816" y="232886"/>
                    <a:pt x="3102769" y="238601"/>
                    <a:pt x="3103721" y="244316"/>
                  </a:cubicBezTo>
                  <a:cubicBezTo>
                    <a:pt x="3100864" y="248126"/>
                    <a:pt x="3098959" y="251936"/>
                    <a:pt x="3096101" y="255746"/>
                  </a:cubicBezTo>
                  <a:cubicBezTo>
                    <a:pt x="3093244" y="260509"/>
                    <a:pt x="3090386" y="264319"/>
                    <a:pt x="3087529" y="270034"/>
                  </a:cubicBezTo>
                  <a:cubicBezTo>
                    <a:pt x="3085624" y="263366"/>
                    <a:pt x="3083719" y="257651"/>
                    <a:pt x="3082766" y="252889"/>
                  </a:cubicBezTo>
                  <a:cubicBezTo>
                    <a:pt x="3078956" y="241459"/>
                    <a:pt x="3077051" y="233839"/>
                    <a:pt x="3077051" y="233839"/>
                  </a:cubicBezTo>
                  <a:cubicBezTo>
                    <a:pt x="3077051" y="233839"/>
                    <a:pt x="3078004" y="240506"/>
                    <a:pt x="3078956" y="252889"/>
                  </a:cubicBezTo>
                  <a:cubicBezTo>
                    <a:pt x="3078956" y="256699"/>
                    <a:pt x="3079909" y="260509"/>
                    <a:pt x="3079909" y="264319"/>
                  </a:cubicBezTo>
                  <a:cubicBezTo>
                    <a:pt x="3078956" y="261461"/>
                    <a:pt x="3078004" y="258604"/>
                    <a:pt x="3077051" y="255746"/>
                  </a:cubicBezTo>
                  <a:cubicBezTo>
                    <a:pt x="3076099" y="252889"/>
                    <a:pt x="3075146" y="250984"/>
                    <a:pt x="3074194" y="248126"/>
                  </a:cubicBezTo>
                  <a:cubicBezTo>
                    <a:pt x="3074194" y="246221"/>
                    <a:pt x="3074194" y="244316"/>
                    <a:pt x="3074194" y="242411"/>
                  </a:cubicBezTo>
                  <a:cubicBezTo>
                    <a:pt x="3074194" y="237649"/>
                    <a:pt x="3075146" y="232886"/>
                    <a:pt x="3075146" y="229076"/>
                  </a:cubicBezTo>
                  <a:cubicBezTo>
                    <a:pt x="3076099" y="226219"/>
                    <a:pt x="3077051" y="223361"/>
                    <a:pt x="3077051" y="220504"/>
                  </a:cubicBezTo>
                  <a:cubicBezTo>
                    <a:pt x="3080861" y="208121"/>
                    <a:pt x="3082766" y="197644"/>
                    <a:pt x="3086576" y="189071"/>
                  </a:cubicBezTo>
                  <a:cubicBezTo>
                    <a:pt x="3092291" y="171926"/>
                    <a:pt x="3096101" y="161449"/>
                    <a:pt x="3096101" y="161449"/>
                  </a:cubicBezTo>
                  <a:cubicBezTo>
                    <a:pt x="3096101" y="161449"/>
                    <a:pt x="3091339" y="170974"/>
                    <a:pt x="3083719" y="188119"/>
                  </a:cubicBezTo>
                  <a:cubicBezTo>
                    <a:pt x="3079909" y="196691"/>
                    <a:pt x="3076099" y="207169"/>
                    <a:pt x="3071336" y="218599"/>
                  </a:cubicBezTo>
                  <a:cubicBezTo>
                    <a:pt x="3070384" y="220504"/>
                    <a:pt x="3069431" y="222409"/>
                    <a:pt x="3068479" y="224314"/>
                  </a:cubicBezTo>
                  <a:cubicBezTo>
                    <a:pt x="3068479" y="221456"/>
                    <a:pt x="3068479" y="218599"/>
                    <a:pt x="3068479" y="216694"/>
                  </a:cubicBezTo>
                  <a:cubicBezTo>
                    <a:pt x="3068479" y="213836"/>
                    <a:pt x="3069431" y="211931"/>
                    <a:pt x="3069431" y="209074"/>
                  </a:cubicBezTo>
                  <a:cubicBezTo>
                    <a:pt x="3070384" y="198596"/>
                    <a:pt x="3071336" y="189071"/>
                    <a:pt x="3072289" y="181451"/>
                  </a:cubicBezTo>
                  <a:cubicBezTo>
                    <a:pt x="3073241" y="166211"/>
                    <a:pt x="3073241" y="157639"/>
                    <a:pt x="3073241" y="157639"/>
                  </a:cubicBezTo>
                  <a:cubicBezTo>
                    <a:pt x="3073241" y="157639"/>
                    <a:pt x="3071336" y="166211"/>
                    <a:pt x="3067526" y="180499"/>
                  </a:cubicBezTo>
                  <a:cubicBezTo>
                    <a:pt x="3067526" y="181451"/>
                    <a:pt x="3067526" y="182404"/>
                    <a:pt x="3066574" y="183356"/>
                  </a:cubicBezTo>
                  <a:cubicBezTo>
                    <a:pt x="3065621" y="169069"/>
                    <a:pt x="3065621" y="157639"/>
                    <a:pt x="3064669" y="148114"/>
                  </a:cubicBezTo>
                  <a:cubicBezTo>
                    <a:pt x="3064669" y="146209"/>
                    <a:pt x="3064669" y="145256"/>
                    <a:pt x="3064669" y="145256"/>
                  </a:cubicBezTo>
                  <a:cubicBezTo>
                    <a:pt x="3064669" y="145256"/>
                    <a:pt x="3064669" y="145256"/>
                    <a:pt x="3064669" y="146209"/>
                  </a:cubicBezTo>
                  <a:cubicBezTo>
                    <a:pt x="3063716" y="136684"/>
                    <a:pt x="3063716" y="131921"/>
                    <a:pt x="3063716" y="131921"/>
                  </a:cubicBezTo>
                  <a:cubicBezTo>
                    <a:pt x="3063716" y="131921"/>
                    <a:pt x="3061811" y="148114"/>
                    <a:pt x="3058954" y="174784"/>
                  </a:cubicBezTo>
                  <a:cubicBezTo>
                    <a:pt x="3058001" y="179546"/>
                    <a:pt x="3057049" y="185261"/>
                    <a:pt x="3056096" y="190976"/>
                  </a:cubicBezTo>
                  <a:cubicBezTo>
                    <a:pt x="3055144" y="193834"/>
                    <a:pt x="3055144" y="197644"/>
                    <a:pt x="3054191" y="201454"/>
                  </a:cubicBezTo>
                  <a:cubicBezTo>
                    <a:pt x="3052286" y="196691"/>
                    <a:pt x="3050381" y="192881"/>
                    <a:pt x="3049429" y="189071"/>
                  </a:cubicBezTo>
                  <a:cubicBezTo>
                    <a:pt x="3049429" y="189071"/>
                    <a:pt x="3049429" y="189071"/>
                    <a:pt x="3049429" y="188119"/>
                  </a:cubicBezTo>
                  <a:cubicBezTo>
                    <a:pt x="3052286" y="174784"/>
                    <a:pt x="3053239" y="162401"/>
                    <a:pt x="3056096" y="151924"/>
                  </a:cubicBezTo>
                  <a:cubicBezTo>
                    <a:pt x="3060859" y="131921"/>
                    <a:pt x="3062764" y="120491"/>
                    <a:pt x="3062764" y="120491"/>
                  </a:cubicBezTo>
                  <a:cubicBezTo>
                    <a:pt x="3062764" y="120491"/>
                    <a:pt x="3058954" y="130969"/>
                    <a:pt x="3052286" y="150971"/>
                  </a:cubicBezTo>
                  <a:cubicBezTo>
                    <a:pt x="3048476" y="160496"/>
                    <a:pt x="3045619" y="172879"/>
                    <a:pt x="3041809" y="186214"/>
                  </a:cubicBezTo>
                  <a:cubicBezTo>
                    <a:pt x="3039904" y="192881"/>
                    <a:pt x="3037999" y="200501"/>
                    <a:pt x="3036094" y="208121"/>
                  </a:cubicBezTo>
                  <a:cubicBezTo>
                    <a:pt x="3035141" y="210979"/>
                    <a:pt x="3035141" y="213836"/>
                    <a:pt x="3034189" y="215741"/>
                  </a:cubicBezTo>
                  <a:cubicBezTo>
                    <a:pt x="3033236" y="211931"/>
                    <a:pt x="3032284" y="209074"/>
                    <a:pt x="3032284" y="205264"/>
                  </a:cubicBezTo>
                  <a:cubicBezTo>
                    <a:pt x="3038951" y="181451"/>
                    <a:pt x="3044666" y="162401"/>
                    <a:pt x="3048476" y="148114"/>
                  </a:cubicBezTo>
                  <a:cubicBezTo>
                    <a:pt x="3053239" y="131921"/>
                    <a:pt x="3057049" y="123349"/>
                    <a:pt x="3057049" y="123349"/>
                  </a:cubicBezTo>
                  <a:cubicBezTo>
                    <a:pt x="3057049" y="123349"/>
                    <a:pt x="3056096" y="125254"/>
                    <a:pt x="3054191" y="129064"/>
                  </a:cubicBezTo>
                  <a:cubicBezTo>
                    <a:pt x="3052286" y="132874"/>
                    <a:pt x="3049429" y="138589"/>
                    <a:pt x="3045619" y="146209"/>
                  </a:cubicBezTo>
                  <a:cubicBezTo>
                    <a:pt x="3040856" y="155734"/>
                    <a:pt x="3035141" y="169069"/>
                    <a:pt x="3029426" y="184309"/>
                  </a:cubicBezTo>
                  <a:cubicBezTo>
                    <a:pt x="3029426" y="177641"/>
                    <a:pt x="3028474" y="171926"/>
                    <a:pt x="3029426" y="167164"/>
                  </a:cubicBezTo>
                  <a:cubicBezTo>
                    <a:pt x="3030379" y="150019"/>
                    <a:pt x="3030379" y="140494"/>
                    <a:pt x="3030379" y="140494"/>
                  </a:cubicBezTo>
                  <a:cubicBezTo>
                    <a:pt x="3030379" y="140494"/>
                    <a:pt x="3028474" y="150019"/>
                    <a:pt x="3025616" y="166211"/>
                  </a:cubicBezTo>
                  <a:cubicBezTo>
                    <a:pt x="3023711" y="174784"/>
                    <a:pt x="3023711" y="184309"/>
                    <a:pt x="3022759" y="196691"/>
                  </a:cubicBezTo>
                  <a:cubicBezTo>
                    <a:pt x="3022759" y="198596"/>
                    <a:pt x="3022759" y="200501"/>
                    <a:pt x="3022759" y="202406"/>
                  </a:cubicBezTo>
                  <a:cubicBezTo>
                    <a:pt x="3021806" y="205264"/>
                    <a:pt x="3020854" y="208121"/>
                    <a:pt x="3019901" y="210979"/>
                  </a:cubicBezTo>
                  <a:cubicBezTo>
                    <a:pt x="3017044" y="218599"/>
                    <a:pt x="3014186" y="226219"/>
                    <a:pt x="3011329" y="234791"/>
                  </a:cubicBezTo>
                  <a:cubicBezTo>
                    <a:pt x="3009424" y="230981"/>
                    <a:pt x="3008471" y="228124"/>
                    <a:pt x="3007519" y="226219"/>
                  </a:cubicBezTo>
                  <a:cubicBezTo>
                    <a:pt x="3009424" y="219551"/>
                    <a:pt x="3011329" y="215741"/>
                    <a:pt x="3011329" y="215741"/>
                  </a:cubicBezTo>
                  <a:cubicBezTo>
                    <a:pt x="3011329" y="215741"/>
                    <a:pt x="3009424" y="218599"/>
                    <a:pt x="3006566" y="222409"/>
                  </a:cubicBezTo>
                  <a:cubicBezTo>
                    <a:pt x="3004661" y="215741"/>
                    <a:pt x="3003709" y="209074"/>
                    <a:pt x="3001804" y="202406"/>
                  </a:cubicBezTo>
                  <a:cubicBezTo>
                    <a:pt x="3001804" y="200501"/>
                    <a:pt x="3000851" y="199549"/>
                    <a:pt x="3000851" y="197644"/>
                  </a:cubicBezTo>
                  <a:cubicBezTo>
                    <a:pt x="3001804" y="194786"/>
                    <a:pt x="3002756" y="191929"/>
                    <a:pt x="3003709" y="189071"/>
                  </a:cubicBezTo>
                  <a:cubicBezTo>
                    <a:pt x="3006566" y="179546"/>
                    <a:pt x="3008471" y="170974"/>
                    <a:pt x="3011329" y="164306"/>
                  </a:cubicBezTo>
                  <a:cubicBezTo>
                    <a:pt x="3016091" y="150971"/>
                    <a:pt x="3018949" y="142399"/>
                    <a:pt x="3018949" y="142399"/>
                  </a:cubicBezTo>
                  <a:cubicBezTo>
                    <a:pt x="3018949" y="142399"/>
                    <a:pt x="3015139" y="150019"/>
                    <a:pt x="3007519" y="162401"/>
                  </a:cubicBezTo>
                  <a:cubicBezTo>
                    <a:pt x="3004661" y="168116"/>
                    <a:pt x="3001804" y="174784"/>
                    <a:pt x="2997994" y="182404"/>
                  </a:cubicBezTo>
                  <a:cubicBezTo>
                    <a:pt x="2997041" y="177641"/>
                    <a:pt x="2996089" y="172879"/>
                    <a:pt x="2995136" y="169069"/>
                  </a:cubicBezTo>
                  <a:cubicBezTo>
                    <a:pt x="3002756" y="140494"/>
                    <a:pt x="3009424" y="117634"/>
                    <a:pt x="3014186" y="100489"/>
                  </a:cubicBezTo>
                  <a:cubicBezTo>
                    <a:pt x="3017044" y="90011"/>
                    <a:pt x="3019901" y="82391"/>
                    <a:pt x="3021806" y="76676"/>
                  </a:cubicBezTo>
                  <a:cubicBezTo>
                    <a:pt x="3023711" y="70961"/>
                    <a:pt x="3024664" y="68104"/>
                    <a:pt x="3024664" y="68104"/>
                  </a:cubicBezTo>
                  <a:cubicBezTo>
                    <a:pt x="3024664" y="68104"/>
                    <a:pt x="3023711" y="70961"/>
                    <a:pt x="3020854" y="75724"/>
                  </a:cubicBezTo>
                  <a:cubicBezTo>
                    <a:pt x="3017996" y="80486"/>
                    <a:pt x="3015139" y="88106"/>
                    <a:pt x="3010376" y="98584"/>
                  </a:cubicBezTo>
                  <a:cubicBezTo>
                    <a:pt x="3006566" y="108109"/>
                    <a:pt x="3001804" y="120491"/>
                    <a:pt x="2996089" y="134779"/>
                  </a:cubicBezTo>
                  <a:cubicBezTo>
                    <a:pt x="2994184" y="139541"/>
                    <a:pt x="2993231" y="143351"/>
                    <a:pt x="2991326" y="148114"/>
                  </a:cubicBezTo>
                  <a:cubicBezTo>
                    <a:pt x="2989421" y="138589"/>
                    <a:pt x="2988469" y="130016"/>
                    <a:pt x="2987516" y="122396"/>
                  </a:cubicBezTo>
                  <a:cubicBezTo>
                    <a:pt x="2985611" y="103346"/>
                    <a:pt x="2984659" y="91916"/>
                    <a:pt x="2984659" y="91916"/>
                  </a:cubicBezTo>
                  <a:cubicBezTo>
                    <a:pt x="2984659" y="91916"/>
                    <a:pt x="2984659" y="103346"/>
                    <a:pt x="2983706" y="122396"/>
                  </a:cubicBezTo>
                  <a:cubicBezTo>
                    <a:pt x="2983706" y="131921"/>
                    <a:pt x="2984659" y="144304"/>
                    <a:pt x="2985611" y="157639"/>
                  </a:cubicBezTo>
                  <a:cubicBezTo>
                    <a:pt x="2985611" y="159544"/>
                    <a:pt x="2985611" y="161449"/>
                    <a:pt x="2985611" y="163354"/>
                  </a:cubicBezTo>
                  <a:cubicBezTo>
                    <a:pt x="2983706" y="169069"/>
                    <a:pt x="2981801" y="175736"/>
                    <a:pt x="2978944" y="182404"/>
                  </a:cubicBezTo>
                  <a:cubicBezTo>
                    <a:pt x="2973229" y="199549"/>
                    <a:pt x="2967514" y="218599"/>
                    <a:pt x="2960846" y="238601"/>
                  </a:cubicBezTo>
                  <a:cubicBezTo>
                    <a:pt x="2959894" y="236696"/>
                    <a:pt x="2959894" y="234791"/>
                    <a:pt x="2959894" y="234791"/>
                  </a:cubicBezTo>
                  <a:cubicBezTo>
                    <a:pt x="2959894" y="234791"/>
                    <a:pt x="2959894" y="236696"/>
                    <a:pt x="2960846" y="239554"/>
                  </a:cubicBezTo>
                  <a:cubicBezTo>
                    <a:pt x="2957036" y="250984"/>
                    <a:pt x="2954179" y="262414"/>
                    <a:pt x="2950369" y="274796"/>
                  </a:cubicBezTo>
                  <a:cubicBezTo>
                    <a:pt x="2951321" y="268129"/>
                    <a:pt x="2952274" y="264319"/>
                    <a:pt x="2952274" y="264319"/>
                  </a:cubicBezTo>
                  <a:cubicBezTo>
                    <a:pt x="2952274" y="264319"/>
                    <a:pt x="2949416" y="271939"/>
                    <a:pt x="2944654" y="284321"/>
                  </a:cubicBezTo>
                  <a:cubicBezTo>
                    <a:pt x="2944654" y="284321"/>
                    <a:pt x="2944654" y="283369"/>
                    <a:pt x="2944654" y="283369"/>
                  </a:cubicBezTo>
                  <a:cubicBezTo>
                    <a:pt x="2944654" y="281464"/>
                    <a:pt x="2944654" y="279559"/>
                    <a:pt x="2945606" y="277654"/>
                  </a:cubicBezTo>
                  <a:cubicBezTo>
                    <a:pt x="2947511" y="263366"/>
                    <a:pt x="2948464" y="250984"/>
                    <a:pt x="2949416" y="238601"/>
                  </a:cubicBezTo>
                  <a:cubicBezTo>
                    <a:pt x="2950369" y="232886"/>
                    <a:pt x="2950369" y="226219"/>
                    <a:pt x="2951321" y="221456"/>
                  </a:cubicBezTo>
                  <a:cubicBezTo>
                    <a:pt x="2952274" y="215741"/>
                    <a:pt x="2953226" y="210979"/>
                    <a:pt x="2953226" y="205264"/>
                  </a:cubicBezTo>
                  <a:cubicBezTo>
                    <a:pt x="2954179" y="195739"/>
                    <a:pt x="2955131" y="186214"/>
                    <a:pt x="2956084" y="179546"/>
                  </a:cubicBezTo>
                  <a:cubicBezTo>
                    <a:pt x="2957989" y="165259"/>
                    <a:pt x="2958941" y="156686"/>
                    <a:pt x="2958941" y="156686"/>
                  </a:cubicBezTo>
                  <a:cubicBezTo>
                    <a:pt x="2958941" y="156686"/>
                    <a:pt x="2957036" y="164306"/>
                    <a:pt x="2952274" y="178594"/>
                  </a:cubicBezTo>
                  <a:cubicBezTo>
                    <a:pt x="2950369" y="185261"/>
                    <a:pt x="2948464" y="193834"/>
                    <a:pt x="2945606" y="203359"/>
                  </a:cubicBezTo>
                  <a:cubicBezTo>
                    <a:pt x="2944654" y="208121"/>
                    <a:pt x="2942749" y="212884"/>
                    <a:pt x="2941796" y="218599"/>
                  </a:cubicBezTo>
                  <a:cubicBezTo>
                    <a:pt x="2940844" y="224314"/>
                    <a:pt x="2939891" y="230029"/>
                    <a:pt x="2937986" y="235744"/>
                  </a:cubicBezTo>
                  <a:cubicBezTo>
                    <a:pt x="2936081" y="246221"/>
                    <a:pt x="2933224" y="257651"/>
                    <a:pt x="2931319" y="270034"/>
                  </a:cubicBezTo>
                  <a:cubicBezTo>
                    <a:pt x="2930366" y="266224"/>
                    <a:pt x="2930366" y="263366"/>
                    <a:pt x="2929414" y="260509"/>
                  </a:cubicBezTo>
                  <a:cubicBezTo>
                    <a:pt x="2929414" y="258604"/>
                    <a:pt x="2928461" y="257651"/>
                    <a:pt x="2928461" y="256699"/>
                  </a:cubicBezTo>
                  <a:cubicBezTo>
                    <a:pt x="2930366" y="253841"/>
                    <a:pt x="2931319" y="251936"/>
                    <a:pt x="2931319" y="251936"/>
                  </a:cubicBezTo>
                  <a:cubicBezTo>
                    <a:pt x="2931319" y="251936"/>
                    <a:pt x="2930366" y="252889"/>
                    <a:pt x="2927509" y="254794"/>
                  </a:cubicBezTo>
                  <a:cubicBezTo>
                    <a:pt x="2926556" y="251936"/>
                    <a:pt x="2925604" y="249079"/>
                    <a:pt x="2925604" y="247174"/>
                  </a:cubicBezTo>
                  <a:cubicBezTo>
                    <a:pt x="2929414" y="237649"/>
                    <a:pt x="2931319" y="231934"/>
                    <a:pt x="2931319" y="231934"/>
                  </a:cubicBezTo>
                  <a:cubicBezTo>
                    <a:pt x="2931319" y="231934"/>
                    <a:pt x="2928461" y="235744"/>
                    <a:pt x="2924651" y="243364"/>
                  </a:cubicBezTo>
                  <a:cubicBezTo>
                    <a:pt x="2923699" y="241459"/>
                    <a:pt x="2923699" y="239554"/>
                    <a:pt x="2922746" y="237649"/>
                  </a:cubicBezTo>
                  <a:lnTo>
                    <a:pt x="2922746" y="236696"/>
                  </a:lnTo>
                  <a:lnTo>
                    <a:pt x="2921794" y="236696"/>
                  </a:lnTo>
                  <a:cubicBezTo>
                    <a:pt x="2919889" y="236696"/>
                    <a:pt x="2917984" y="236696"/>
                    <a:pt x="2916079" y="236696"/>
                  </a:cubicBezTo>
                  <a:lnTo>
                    <a:pt x="2916079" y="236696"/>
                  </a:lnTo>
                  <a:cubicBezTo>
                    <a:pt x="2928461" y="200501"/>
                    <a:pt x="2935129" y="176689"/>
                    <a:pt x="2935129" y="176689"/>
                  </a:cubicBezTo>
                  <a:cubicBezTo>
                    <a:pt x="2935129" y="176689"/>
                    <a:pt x="2924651" y="196691"/>
                    <a:pt x="2909411" y="230029"/>
                  </a:cubicBezTo>
                  <a:cubicBezTo>
                    <a:pt x="2907506" y="222409"/>
                    <a:pt x="2904649" y="216694"/>
                    <a:pt x="2902744" y="211931"/>
                  </a:cubicBezTo>
                  <a:cubicBezTo>
                    <a:pt x="2901791" y="206216"/>
                    <a:pt x="2900839" y="201454"/>
                    <a:pt x="2900839" y="195739"/>
                  </a:cubicBezTo>
                  <a:cubicBezTo>
                    <a:pt x="2899886" y="188119"/>
                    <a:pt x="2898934" y="180499"/>
                    <a:pt x="2897981" y="173831"/>
                  </a:cubicBezTo>
                  <a:cubicBezTo>
                    <a:pt x="2897029" y="167164"/>
                    <a:pt x="2897029" y="160496"/>
                    <a:pt x="2896076" y="153829"/>
                  </a:cubicBezTo>
                  <a:cubicBezTo>
                    <a:pt x="2895124" y="141446"/>
                    <a:pt x="2894171" y="130969"/>
                    <a:pt x="2893219" y="121444"/>
                  </a:cubicBezTo>
                  <a:cubicBezTo>
                    <a:pt x="2891314" y="103346"/>
                    <a:pt x="2890361" y="93821"/>
                    <a:pt x="2890361" y="93821"/>
                  </a:cubicBezTo>
                  <a:cubicBezTo>
                    <a:pt x="2890361" y="93821"/>
                    <a:pt x="2890361" y="104299"/>
                    <a:pt x="2889409" y="121444"/>
                  </a:cubicBezTo>
                  <a:cubicBezTo>
                    <a:pt x="2889409" y="130016"/>
                    <a:pt x="2889409" y="141446"/>
                    <a:pt x="2889409" y="153829"/>
                  </a:cubicBezTo>
                  <a:cubicBezTo>
                    <a:pt x="2889409" y="160496"/>
                    <a:pt x="2889409" y="166211"/>
                    <a:pt x="2889409" y="173831"/>
                  </a:cubicBezTo>
                  <a:cubicBezTo>
                    <a:pt x="2889409" y="180499"/>
                    <a:pt x="2890361" y="188119"/>
                    <a:pt x="2890361" y="195739"/>
                  </a:cubicBezTo>
                  <a:cubicBezTo>
                    <a:pt x="2890361" y="200501"/>
                    <a:pt x="2891314" y="206216"/>
                    <a:pt x="2891314" y="211931"/>
                  </a:cubicBezTo>
                  <a:cubicBezTo>
                    <a:pt x="2890361" y="213836"/>
                    <a:pt x="2889409" y="215741"/>
                    <a:pt x="2887504" y="217646"/>
                  </a:cubicBezTo>
                  <a:cubicBezTo>
                    <a:pt x="2886551" y="218599"/>
                    <a:pt x="2885599" y="220504"/>
                    <a:pt x="2885599" y="221456"/>
                  </a:cubicBezTo>
                  <a:cubicBezTo>
                    <a:pt x="2883694" y="212884"/>
                    <a:pt x="2882741" y="204311"/>
                    <a:pt x="2880836" y="195739"/>
                  </a:cubicBezTo>
                  <a:cubicBezTo>
                    <a:pt x="2878931" y="185261"/>
                    <a:pt x="2877026" y="174784"/>
                    <a:pt x="2874169" y="166211"/>
                  </a:cubicBezTo>
                  <a:cubicBezTo>
                    <a:pt x="2872264" y="157639"/>
                    <a:pt x="2870359" y="150019"/>
                    <a:pt x="2867501" y="144304"/>
                  </a:cubicBezTo>
                  <a:cubicBezTo>
                    <a:pt x="2863691" y="131921"/>
                    <a:pt x="2860834" y="125254"/>
                    <a:pt x="2860834" y="125254"/>
                  </a:cubicBezTo>
                  <a:cubicBezTo>
                    <a:pt x="2860834" y="125254"/>
                    <a:pt x="2861786" y="132874"/>
                    <a:pt x="2863691" y="145256"/>
                  </a:cubicBezTo>
                  <a:cubicBezTo>
                    <a:pt x="2864644" y="151924"/>
                    <a:pt x="2865596" y="159544"/>
                    <a:pt x="2866549" y="168116"/>
                  </a:cubicBezTo>
                  <a:cubicBezTo>
                    <a:pt x="2867501" y="176689"/>
                    <a:pt x="2868454" y="187166"/>
                    <a:pt x="2869406" y="197644"/>
                  </a:cubicBezTo>
                  <a:cubicBezTo>
                    <a:pt x="2870359" y="208121"/>
                    <a:pt x="2871311" y="220504"/>
                    <a:pt x="2872264" y="232886"/>
                  </a:cubicBezTo>
                  <a:cubicBezTo>
                    <a:pt x="2872264" y="237649"/>
                    <a:pt x="2873216" y="242411"/>
                    <a:pt x="2873216" y="247174"/>
                  </a:cubicBezTo>
                  <a:cubicBezTo>
                    <a:pt x="2870359" y="253841"/>
                    <a:pt x="2867501" y="262414"/>
                    <a:pt x="2864644" y="270034"/>
                  </a:cubicBezTo>
                  <a:cubicBezTo>
                    <a:pt x="2863691" y="270986"/>
                    <a:pt x="2863691" y="272891"/>
                    <a:pt x="2863691" y="274796"/>
                  </a:cubicBezTo>
                  <a:cubicBezTo>
                    <a:pt x="2860834" y="269081"/>
                    <a:pt x="2857976" y="263366"/>
                    <a:pt x="2855119" y="257651"/>
                  </a:cubicBezTo>
                  <a:cubicBezTo>
                    <a:pt x="2850356" y="248126"/>
                    <a:pt x="2845594" y="239554"/>
                    <a:pt x="2841784" y="230029"/>
                  </a:cubicBezTo>
                  <a:cubicBezTo>
                    <a:pt x="2855119" y="229076"/>
                    <a:pt x="2855119" y="226219"/>
                    <a:pt x="2855119" y="226219"/>
                  </a:cubicBezTo>
                  <a:cubicBezTo>
                    <a:pt x="2855119" y="226219"/>
                    <a:pt x="2854166" y="228124"/>
                    <a:pt x="2853214" y="231934"/>
                  </a:cubicBezTo>
                  <a:cubicBezTo>
                    <a:pt x="2849404" y="224314"/>
                    <a:pt x="2844641" y="215741"/>
                    <a:pt x="2840831" y="209074"/>
                  </a:cubicBezTo>
                  <a:cubicBezTo>
                    <a:pt x="2857024" y="174784"/>
                    <a:pt x="2866549" y="150971"/>
                    <a:pt x="2866549" y="150971"/>
                  </a:cubicBezTo>
                  <a:cubicBezTo>
                    <a:pt x="2866549" y="150971"/>
                    <a:pt x="2853214" y="169069"/>
                    <a:pt x="2835116" y="198596"/>
                  </a:cubicBezTo>
                  <a:cubicBezTo>
                    <a:pt x="2833211" y="194786"/>
                    <a:pt x="2831306" y="191929"/>
                    <a:pt x="2829401" y="188119"/>
                  </a:cubicBezTo>
                  <a:cubicBezTo>
                    <a:pt x="2826544" y="170021"/>
                    <a:pt x="2823686" y="151924"/>
                    <a:pt x="2820829" y="132874"/>
                  </a:cubicBezTo>
                  <a:cubicBezTo>
                    <a:pt x="2820829" y="146209"/>
                    <a:pt x="2820829" y="160496"/>
                    <a:pt x="2821781" y="173831"/>
                  </a:cubicBezTo>
                  <a:cubicBezTo>
                    <a:pt x="2817019" y="166211"/>
                    <a:pt x="2812256" y="158591"/>
                    <a:pt x="2807494" y="151924"/>
                  </a:cubicBezTo>
                  <a:cubicBezTo>
                    <a:pt x="2797969" y="137636"/>
                    <a:pt x="2790349" y="125254"/>
                    <a:pt x="2782729" y="115729"/>
                  </a:cubicBezTo>
                  <a:cubicBezTo>
                    <a:pt x="2768441" y="95726"/>
                    <a:pt x="2759869" y="85249"/>
                    <a:pt x="2759869" y="85249"/>
                  </a:cubicBezTo>
                  <a:cubicBezTo>
                    <a:pt x="2759869" y="85249"/>
                    <a:pt x="2766536" y="97631"/>
                    <a:pt x="2778919" y="118586"/>
                  </a:cubicBezTo>
                  <a:cubicBezTo>
                    <a:pt x="2785586" y="129064"/>
                    <a:pt x="2792254" y="142399"/>
                    <a:pt x="2799874" y="156686"/>
                  </a:cubicBezTo>
                  <a:cubicBezTo>
                    <a:pt x="2803684" y="164306"/>
                    <a:pt x="2808446" y="171926"/>
                    <a:pt x="2812256" y="180499"/>
                  </a:cubicBezTo>
                  <a:cubicBezTo>
                    <a:pt x="2815114" y="186214"/>
                    <a:pt x="2817971" y="191929"/>
                    <a:pt x="2820829" y="197644"/>
                  </a:cubicBezTo>
                  <a:cubicBezTo>
                    <a:pt x="2820829" y="199549"/>
                    <a:pt x="2820829" y="202406"/>
                    <a:pt x="2820829" y="204311"/>
                  </a:cubicBezTo>
                  <a:cubicBezTo>
                    <a:pt x="2820829" y="209074"/>
                    <a:pt x="2821781" y="213836"/>
                    <a:pt x="2821781" y="218599"/>
                  </a:cubicBezTo>
                  <a:cubicBezTo>
                    <a:pt x="2819876" y="221456"/>
                    <a:pt x="2818924" y="224314"/>
                    <a:pt x="2817019" y="227171"/>
                  </a:cubicBezTo>
                  <a:cubicBezTo>
                    <a:pt x="2813209" y="222409"/>
                    <a:pt x="2810351" y="216694"/>
                    <a:pt x="2806541" y="211931"/>
                  </a:cubicBezTo>
                  <a:cubicBezTo>
                    <a:pt x="2806541" y="210979"/>
                    <a:pt x="2805589" y="210979"/>
                    <a:pt x="2805589" y="210026"/>
                  </a:cubicBezTo>
                  <a:cubicBezTo>
                    <a:pt x="2806541" y="209074"/>
                    <a:pt x="2806541" y="208121"/>
                    <a:pt x="2806541" y="208121"/>
                  </a:cubicBezTo>
                  <a:cubicBezTo>
                    <a:pt x="2806541" y="208121"/>
                    <a:pt x="2806541" y="208121"/>
                    <a:pt x="2805589" y="209074"/>
                  </a:cubicBezTo>
                  <a:cubicBezTo>
                    <a:pt x="2800826" y="202406"/>
                    <a:pt x="2796064" y="196691"/>
                    <a:pt x="2792254" y="191929"/>
                  </a:cubicBezTo>
                  <a:cubicBezTo>
                    <a:pt x="2782729" y="179546"/>
                    <a:pt x="2775109" y="169069"/>
                    <a:pt x="2767489" y="161449"/>
                  </a:cubicBezTo>
                  <a:cubicBezTo>
                    <a:pt x="2766536" y="160496"/>
                    <a:pt x="2766536" y="159544"/>
                    <a:pt x="2765584" y="158591"/>
                  </a:cubicBezTo>
                  <a:cubicBezTo>
                    <a:pt x="2765584" y="157639"/>
                    <a:pt x="2765584" y="156686"/>
                    <a:pt x="2765584" y="155734"/>
                  </a:cubicBezTo>
                  <a:cubicBezTo>
                    <a:pt x="2764631" y="145256"/>
                    <a:pt x="2762726" y="135731"/>
                    <a:pt x="2762726" y="128111"/>
                  </a:cubicBezTo>
                  <a:cubicBezTo>
                    <a:pt x="2760821" y="112871"/>
                    <a:pt x="2759869" y="103346"/>
                    <a:pt x="2759869" y="103346"/>
                  </a:cubicBezTo>
                  <a:cubicBezTo>
                    <a:pt x="2759869" y="103346"/>
                    <a:pt x="2759869" y="111919"/>
                    <a:pt x="2758916" y="128111"/>
                  </a:cubicBezTo>
                  <a:cubicBezTo>
                    <a:pt x="2758916" y="134779"/>
                    <a:pt x="2758916" y="141446"/>
                    <a:pt x="2758916" y="150019"/>
                  </a:cubicBezTo>
                  <a:cubicBezTo>
                    <a:pt x="2750344" y="140494"/>
                    <a:pt x="2745581" y="135731"/>
                    <a:pt x="2745581" y="135731"/>
                  </a:cubicBezTo>
                  <a:cubicBezTo>
                    <a:pt x="2745581" y="135731"/>
                    <a:pt x="2750344" y="142399"/>
                    <a:pt x="2758916" y="153829"/>
                  </a:cubicBezTo>
                  <a:cubicBezTo>
                    <a:pt x="2758916" y="154781"/>
                    <a:pt x="2758916" y="155734"/>
                    <a:pt x="2758916" y="155734"/>
                  </a:cubicBezTo>
                  <a:cubicBezTo>
                    <a:pt x="2758916" y="161449"/>
                    <a:pt x="2758916" y="167164"/>
                    <a:pt x="2758916" y="172879"/>
                  </a:cubicBezTo>
                  <a:cubicBezTo>
                    <a:pt x="2758916" y="178594"/>
                    <a:pt x="2759869" y="185261"/>
                    <a:pt x="2759869" y="191929"/>
                  </a:cubicBezTo>
                  <a:cubicBezTo>
                    <a:pt x="2759869" y="200501"/>
                    <a:pt x="2760821" y="210026"/>
                    <a:pt x="2761774" y="219551"/>
                  </a:cubicBezTo>
                  <a:cubicBezTo>
                    <a:pt x="2761774" y="218599"/>
                    <a:pt x="2760821" y="217646"/>
                    <a:pt x="2760821" y="217646"/>
                  </a:cubicBezTo>
                  <a:cubicBezTo>
                    <a:pt x="2760821" y="216694"/>
                    <a:pt x="2760821" y="216694"/>
                    <a:pt x="2760821" y="216694"/>
                  </a:cubicBezTo>
                  <a:cubicBezTo>
                    <a:pt x="2760821" y="216694"/>
                    <a:pt x="2760821" y="216694"/>
                    <a:pt x="2760821" y="217646"/>
                  </a:cubicBezTo>
                  <a:cubicBezTo>
                    <a:pt x="2749391" y="189071"/>
                    <a:pt x="2741771" y="172879"/>
                    <a:pt x="2741771" y="172879"/>
                  </a:cubicBezTo>
                  <a:cubicBezTo>
                    <a:pt x="2741771" y="172879"/>
                    <a:pt x="2747486" y="193834"/>
                    <a:pt x="2757011" y="228124"/>
                  </a:cubicBezTo>
                  <a:cubicBezTo>
                    <a:pt x="2754154" y="236696"/>
                    <a:pt x="2749391" y="250984"/>
                    <a:pt x="2743676" y="268129"/>
                  </a:cubicBezTo>
                  <a:cubicBezTo>
                    <a:pt x="2740819" y="262414"/>
                    <a:pt x="2737961" y="258604"/>
                    <a:pt x="2736056" y="254794"/>
                  </a:cubicBezTo>
                  <a:cubicBezTo>
                    <a:pt x="2737009" y="241459"/>
                    <a:pt x="2737009" y="232886"/>
                    <a:pt x="2737009" y="232886"/>
                  </a:cubicBezTo>
                  <a:cubicBezTo>
                    <a:pt x="2737009" y="232886"/>
                    <a:pt x="2735104" y="238601"/>
                    <a:pt x="2732246" y="249079"/>
                  </a:cubicBezTo>
                  <a:cubicBezTo>
                    <a:pt x="2731294" y="247174"/>
                    <a:pt x="2730341" y="246221"/>
                    <a:pt x="2730341" y="246221"/>
                  </a:cubicBezTo>
                  <a:cubicBezTo>
                    <a:pt x="2730341" y="246221"/>
                    <a:pt x="2730341" y="247174"/>
                    <a:pt x="2731294" y="250031"/>
                  </a:cubicBezTo>
                  <a:cubicBezTo>
                    <a:pt x="2730341" y="252889"/>
                    <a:pt x="2730341" y="254794"/>
                    <a:pt x="2729389" y="258604"/>
                  </a:cubicBezTo>
                  <a:lnTo>
                    <a:pt x="2729389" y="247174"/>
                  </a:lnTo>
                  <a:lnTo>
                    <a:pt x="2731294" y="218599"/>
                  </a:lnTo>
                  <a:cubicBezTo>
                    <a:pt x="2732246" y="218599"/>
                    <a:pt x="2732246" y="218599"/>
                    <a:pt x="2733199" y="219551"/>
                  </a:cubicBezTo>
                  <a:cubicBezTo>
                    <a:pt x="2734151" y="220504"/>
                    <a:pt x="2735104" y="221456"/>
                    <a:pt x="2736056" y="222409"/>
                  </a:cubicBezTo>
                  <a:cubicBezTo>
                    <a:pt x="2737961" y="224314"/>
                    <a:pt x="2737961" y="228124"/>
                    <a:pt x="2738914" y="230981"/>
                  </a:cubicBezTo>
                  <a:cubicBezTo>
                    <a:pt x="2738914" y="228124"/>
                    <a:pt x="2738914" y="225266"/>
                    <a:pt x="2737961" y="222409"/>
                  </a:cubicBezTo>
                  <a:cubicBezTo>
                    <a:pt x="2737009" y="220504"/>
                    <a:pt x="2736056" y="219551"/>
                    <a:pt x="2735104" y="218599"/>
                  </a:cubicBezTo>
                  <a:cubicBezTo>
                    <a:pt x="2734151" y="217646"/>
                    <a:pt x="2732246" y="216694"/>
                    <a:pt x="2730341" y="216694"/>
                  </a:cubicBezTo>
                  <a:lnTo>
                    <a:pt x="2728436" y="216694"/>
                  </a:lnTo>
                  <a:lnTo>
                    <a:pt x="2728436" y="218599"/>
                  </a:lnTo>
                  <a:cubicBezTo>
                    <a:pt x="2726531" y="228124"/>
                    <a:pt x="2723674" y="238601"/>
                    <a:pt x="2721769" y="248126"/>
                  </a:cubicBezTo>
                  <a:cubicBezTo>
                    <a:pt x="2720816" y="251936"/>
                    <a:pt x="2720816" y="256699"/>
                    <a:pt x="2719864" y="260509"/>
                  </a:cubicBezTo>
                  <a:cubicBezTo>
                    <a:pt x="2718911" y="258604"/>
                    <a:pt x="2717959" y="256699"/>
                    <a:pt x="2717006" y="254794"/>
                  </a:cubicBezTo>
                  <a:cubicBezTo>
                    <a:pt x="2717006" y="254794"/>
                    <a:pt x="2717006" y="253841"/>
                    <a:pt x="2717006" y="253841"/>
                  </a:cubicBezTo>
                  <a:cubicBezTo>
                    <a:pt x="2717959" y="244316"/>
                    <a:pt x="2718911" y="238601"/>
                    <a:pt x="2718911" y="238601"/>
                  </a:cubicBezTo>
                  <a:cubicBezTo>
                    <a:pt x="2718911" y="238601"/>
                    <a:pt x="2717959" y="241459"/>
                    <a:pt x="2716054" y="247174"/>
                  </a:cubicBezTo>
                  <a:cubicBezTo>
                    <a:pt x="2717006" y="204311"/>
                    <a:pt x="2716054" y="176689"/>
                    <a:pt x="2716054" y="176689"/>
                  </a:cubicBezTo>
                  <a:cubicBezTo>
                    <a:pt x="2716054" y="176689"/>
                    <a:pt x="2715101" y="185261"/>
                    <a:pt x="2713196" y="198596"/>
                  </a:cubicBezTo>
                  <a:cubicBezTo>
                    <a:pt x="2712244" y="207169"/>
                    <a:pt x="2710339" y="217646"/>
                    <a:pt x="2709386" y="230029"/>
                  </a:cubicBezTo>
                  <a:cubicBezTo>
                    <a:pt x="2707481" y="226219"/>
                    <a:pt x="2706529" y="221456"/>
                    <a:pt x="2704624" y="218599"/>
                  </a:cubicBezTo>
                  <a:lnTo>
                    <a:pt x="2703671" y="199549"/>
                  </a:lnTo>
                  <a:lnTo>
                    <a:pt x="2703671" y="163354"/>
                  </a:lnTo>
                  <a:cubicBezTo>
                    <a:pt x="2704624" y="163354"/>
                    <a:pt x="2705576" y="163354"/>
                    <a:pt x="2706529" y="164306"/>
                  </a:cubicBezTo>
                  <a:cubicBezTo>
                    <a:pt x="2708434" y="165259"/>
                    <a:pt x="2709386" y="166211"/>
                    <a:pt x="2710339" y="167164"/>
                  </a:cubicBezTo>
                  <a:cubicBezTo>
                    <a:pt x="2712244" y="170021"/>
                    <a:pt x="2713196" y="173831"/>
                    <a:pt x="2714149" y="176689"/>
                  </a:cubicBezTo>
                  <a:cubicBezTo>
                    <a:pt x="2714149" y="172879"/>
                    <a:pt x="2713196" y="169069"/>
                    <a:pt x="2712244" y="166211"/>
                  </a:cubicBezTo>
                  <a:cubicBezTo>
                    <a:pt x="2711291" y="164306"/>
                    <a:pt x="2710339" y="163354"/>
                    <a:pt x="2708434" y="161449"/>
                  </a:cubicBezTo>
                  <a:cubicBezTo>
                    <a:pt x="2706529" y="160496"/>
                    <a:pt x="2704624" y="159544"/>
                    <a:pt x="2702719" y="159544"/>
                  </a:cubicBezTo>
                  <a:lnTo>
                    <a:pt x="2700814" y="159544"/>
                  </a:lnTo>
                  <a:lnTo>
                    <a:pt x="2700814" y="161449"/>
                  </a:lnTo>
                  <a:lnTo>
                    <a:pt x="2697004" y="193834"/>
                  </a:lnTo>
                  <a:cubicBezTo>
                    <a:pt x="2694146" y="186214"/>
                    <a:pt x="2693194" y="181451"/>
                    <a:pt x="2693194" y="181451"/>
                  </a:cubicBezTo>
                  <a:cubicBezTo>
                    <a:pt x="2693194" y="181451"/>
                    <a:pt x="2694146" y="187166"/>
                    <a:pt x="2697004" y="198596"/>
                  </a:cubicBezTo>
                  <a:lnTo>
                    <a:pt x="2697004" y="198596"/>
                  </a:lnTo>
                  <a:cubicBezTo>
                    <a:pt x="2696051" y="210979"/>
                    <a:pt x="2696051" y="224314"/>
                    <a:pt x="2696051" y="236696"/>
                  </a:cubicBezTo>
                  <a:cubicBezTo>
                    <a:pt x="2696051" y="245269"/>
                    <a:pt x="2696051" y="253841"/>
                    <a:pt x="2697004" y="262414"/>
                  </a:cubicBezTo>
                  <a:cubicBezTo>
                    <a:pt x="2697004" y="262414"/>
                    <a:pt x="2697004" y="263366"/>
                    <a:pt x="2697004" y="263366"/>
                  </a:cubicBezTo>
                  <a:cubicBezTo>
                    <a:pt x="2697004" y="264319"/>
                    <a:pt x="2696051" y="265271"/>
                    <a:pt x="2696051" y="265271"/>
                  </a:cubicBezTo>
                  <a:cubicBezTo>
                    <a:pt x="2695099" y="264319"/>
                    <a:pt x="2694146" y="262414"/>
                    <a:pt x="2694146" y="261461"/>
                  </a:cubicBezTo>
                  <a:cubicBezTo>
                    <a:pt x="2691289" y="255746"/>
                    <a:pt x="2688431" y="250984"/>
                    <a:pt x="2685574" y="246221"/>
                  </a:cubicBezTo>
                  <a:cubicBezTo>
                    <a:pt x="2682716" y="233839"/>
                    <a:pt x="2680811" y="221456"/>
                    <a:pt x="2677954" y="210979"/>
                  </a:cubicBezTo>
                  <a:cubicBezTo>
                    <a:pt x="2677001" y="207169"/>
                    <a:pt x="2677001" y="204311"/>
                    <a:pt x="2676049" y="200501"/>
                  </a:cubicBezTo>
                  <a:cubicBezTo>
                    <a:pt x="2677954" y="190976"/>
                    <a:pt x="2679859" y="182404"/>
                    <a:pt x="2681764" y="173831"/>
                  </a:cubicBezTo>
                  <a:cubicBezTo>
                    <a:pt x="2683669" y="162401"/>
                    <a:pt x="2685574" y="152876"/>
                    <a:pt x="2687479" y="144304"/>
                  </a:cubicBezTo>
                  <a:cubicBezTo>
                    <a:pt x="2690336" y="128111"/>
                    <a:pt x="2691289" y="118586"/>
                    <a:pt x="2691289" y="118586"/>
                  </a:cubicBezTo>
                  <a:cubicBezTo>
                    <a:pt x="2691289" y="118586"/>
                    <a:pt x="2688431" y="128111"/>
                    <a:pt x="2683669" y="143351"/>
                  </a:cubicBezTo>
                  <a:cubicBezTo>
                    <a:pt x="2681764" y="149066"/>
                    <a:pt x="2679859" y="155734"/>
                    <a:pt x="2677954" y="162401"/>
                  </a:cubicBezTo>
                  <a:cubicBezTo>
                    <a:pt x="2677001" y="166211"/>
                    <a:pt x="2675096" y="170974"/>
                    <a:pt x="2673191" y="176689"/>
                  </a:cubicBezTo>
                  <a:cubicBezTo>
                    <a:pt x="2673191" y="176689"/>
                    <a:pt x="2673191" y="177641"/>
                    <a:pt x="2673191" y="177641"/>
                  </a:cubicBezTo>
                  <a:cubicBezTo>
                    <a:pt x="2673191" y="176689"/>
                    <a:pt x="2672239" y="174784"/>
                    <a:pt x="2672239" y="173831"/>
                  </a:cubicBezTo>
                  <a:cubicBezTo>
                    <a:pt x="2670334" y="163354"/>
                    <a:pt x="2668429" y="153829"/>
                    <a:pt x="2666524" y="146209"/>
                  </a:cubicBezTo>
                  <a:cubicBezTo>
                    <a:pt x="2663666" y="130969"/>
                    <a:pt x="2661761" y="121444"/>
                    <a:pt x="2661761" y="121444"/>
                  </a:cubicBezTo>
                  <a:cubicBezTo>
                    <a:pt x="2661761" y="121444"/>
                    <a:pt x="2661761" y="130016"/>
                    <a:pt x="2662714" y="146209"/>
                  </a:cubicBezTo>
                  <a:cubicBezTo>
                    <a:pt x="2663666" y="158591"/>
                    <a:pt x="2664619" y="176689"/>
                    <a:pt x="2666524" y="196691"/>
                  </a:cubicBezTo>
                  <a:cubicBezTo>
                    <a:pt x="2666524" y="197644"/>
                    <a:pt x="2665571" y="199549"/>
                    <a:pt x="2665571" y="200501"/>
                  </a:cubicBezTo>
                  <a:cubicBezTo>
                    <a:pt x="2665571" y="201454"/>
                    <a:pt x="2664619" y="203359"/>
                    <a:pt x="2664619" y="204311"/>
                  </a:cubicBezTo>
                  <a:cubicBezTo>
                    <a:pt x="2658904" y="192881"/>
                    <a:pt x="2653189" y="183356"/>
                    <a:pt x="2649379" y="174784"/>
                  </a:cubicBezTo>
                  <a:cubicBezTo>
                    <a:pt x="2639854" y="152876"/>
                    <a:pt x="2634139" y="141446"/>
                    <a:pt x="2634139" y="141446"/>
                  </a:cubicBezTo>
                  <a:cubicBezTo>
                    <a:pt x="2634139" y="141446"/>
                    <a:pt x="2637949" y="153829"/>
                    <a:pt x="2646521" y="176689"/>
                  </a:cubicBezTo>
                  <a:cubicBezTo>
                    <a:pt x="2650331" y="187166"/>
                    <a:pt x="2656046" y="199549"/>
                    <a:pt x="2661761" y="214789"/>
                  </a:cubicBezTo>
                  <a:cubicBezTo>
                    <a:pt x="2661761" y="215741"/>
                    <a:pt x="2661761" y="215741"/>
                    <a:pt x="2660809" y="216694"/>
                  </a:cubicBezTo>
                  <a:cubicBezTo>
                    <a:pt x="2656999" y="210026"/>
                    <a:pt x="2655094" y="204311"/>
                    <a:pt x="2652236" y="201454"/>
                  </a:cubicBezTo>
                  <a:cubicBezTo>
                    <a:pt x="2649379" y="197644"/>
                    <a:pt x="2648426" y="196691"/>
                    <a:pt x="2648426" y="196691"/>
                  </a:cubicBezTo>
                  <a:cubicBezTo>
                    <a:pt x="2648426" y="196691"/>
                    <a:pt x="2649379" y="198596"/>
                    <a:pt x="2651284" y="202406"/>
                  </a:cubicBezTo>
                  <a:cubicBezTo>
                    <a:pt x="2654141" y="206216"/>
                    <a:pt x="2655094" y="211931"/>
                    <a:pt x="2657951" y="218599"/>
                  </a:cubicBezTo>
                  <a:cubicBezTo>
                    <a:pt x="2657951" y="220504"/>
                    <a:pt x="2658904" y="222409"/>
                    <a:pt x="2658904" y="223361"/>
                  </a:cubicBezTo>
                  <a:cubicBezTo>
                    <a:pt x="2658904" y="224314"/>
                    <a:pt x="2657951" y="225266"/>
                    <a:pt x="2657951" y="226219"/>
                  </a:cubicBezTo>
                  <a:cubicBezTo>
                    <a:pt x="2654141" y="214789"/>
                    <a:pt x="2650331" y="203359"/>
                    <a:pt x="2647474" y="193834"/>
                  </a:cubicBezTo>
                  <a:cubicBezTo>
                    <a:pt x="2644616" y="184309"/>
                    <a:pt x="2640806" y="175736"/>
                    <a:pt x="2638901" y="169069"/>
                  </a:cubicBezTo>
                  <a:cubicBezTo>
                    <a:pt x="2634139" y="154781"/>
                    <a:pt x="2631281" y="147161"/>
                    <a:pt x="2631281" y="147161"/>
                  </a:cubicBezTo>
                  <a:cubicBezTo>
                    <a:pt x="2631281" y="147161"/>
                    <a:pt x="2632234" y="155734"/>
                    <a:pt x="2635091" y="170021"/>
                  </a:cubicBezTo>
                  <a:cubicBezTo>
                    <a:pt x="2637949" y="184309"/>
                    <a:pt x="2641759" y="205264"/>
                    <a:pt x="2647474" y="230029"/>
                  </a:cubicBezTo>
                  <a:cubicBezTo>
                    <a:pt x="2648426" y="235744"/>
                    <a:pt x="2650331" y="241459"/>
                    <a:pt x="2651284" y="247174"/>
                  </a:cubicBezTo>
                  <a:cubicBezTo>
                    <a:pt x="2648426" y="255746"/>
                    <a:pt x="2645569" y="264319"/>
                    <a:pt x="2642711" y="273844"/>
                  </a:cubicBezTo>
                  <a:cubicBezTo>
                    <a:pt x="2641759" y="272891"/>
                    <a:pt x="2641759" y="271939"/>
                    <a:pt x="2640806" y="270034"/>
                  </a:cubicBezTo>
                  <a:cubicBezTo>
                    <a:pt x="2640806" y="269081"/>
                    <a:pt x="2639854" y="269081"/>
                    <a:pt x="2639854" y="268129"/>
                  </a:cubicBezTo>
                  <a:cubicBezTo>
                    <a:pt x="2642711" y="238601"/>
                    <a:pt x="2643664" y="220504"/>
                    <a:pt x="2643664" y="220504"/>
                  </a:cubicBezTo>
                  <a:cubicBezTo>
                    <a:pt x="2643664" y="220504"/>
                    <a:pt x="2640806" y="230029"/>
                    <a:pt x="2636996" y="247174"/>
                  </a:cubicBezTo>
                  <a:cubicBezTo>
                    <a:pt x="2636996" y="220504"/>
                    <a:pt x="2636044" y="204311"/>
                    <a:pt x="2636044" y="204311"/>
                  </a:cubicBezTo>
                  <a:cubicBezTo>
                    <a:pt x="2636044" y="204311"/>
                    <a:pt x="2633186" y="217646"/>
                    <a:pt x="2630329" y="240506"/>
                  </a:cubicBezTo>
                  <a:cubicBezTo>
                    <a:pt x="2628424" y="228124"/>
                    <a:pt x="2625566" y="216694"/>
                    <a:pt x="2623661" y="206216"/>
                  </a:cubicBezTo>
                  <a:cubicBezTo>
                    <a:pt x="2618899" y="182404"/>
                    <a:pt x="2614136" y="162401"/>
                    <a:pt x="2610326" y="147161"/>
                  </a:cubicBezTo>
                  <a:cubicBezTo>
                    <a:pt x="2613184" y="141446"/>
                    <a:pt x="2615089" y="137636"/>
                    <a:pt x="2615089" y="137636"/>
                  </a:cubicBezTo>
                  <a:cubicBezTo>
                    <a:pt x="2615089" y="137636"/>
                    <a:pt x="2613184" y="140494"/>
                    <a:pt x="2610326" y="145256"/>
                  </a:cubicBezTo>
                  <a:cubicBezTo>
                    <a:pt x="2610326" y="144304"/>
                    <a:pt x="2610326" y="144304"/>
                    <a:pt x="2609374" y="143351"/>
                  </a:cubicBezTo>
                  <a:cubicBezTo>
                    <a:pt x="2605564" y="128111"/>
                    <a:pt x="2603659" y="119539"/>
                    <a:pt x="2603659" y="119539"/>
                  </a:cubicBezTo>
                  <a:cubicBezTo>
                    <a:pt x="2603659" y="119539"/>
                    <a:pt x="2604611" y="128111"/>
                    <a:pt x="2605564" y="144304"/>
                  </a:cubicBezTo>
                  <a:cubicBezTo>
                    <a:pt x="2605564" y="146209"/>
                    <a:pt x="2605564" y="149066"/>
                    <a:pt x="2606516" y="150971"/>
                  </a:cubicBezTo>
                  <a:cubicBezTo>
                    <a:pt x="2604611" y="153829"/>
                    <a:pt x="2602706" y="155734"/>
                    <a:pt x="2600801" y="158591"/>
                  </a:cubicBezTo>
                  <a:cubicBezTo>
                    <a:pt x="2596991" y="163354"/>
                    <a:pt x="2594134" y="169069"/>
                    <a:pt x="2589371" y="175736"/>
                  </a:cubicBezTo>
                  <a:cubicBezTo>
                    <a:pt x="2589371" y="174784"/>
                    <a:pt x="2589371" y="172879"/>
                    <a:pt x="2588419" y="171926"/>
                  </a:cubicBezTo>
                  <a:cubicBezTo>
                    <a:pt x="2585561" y="155734"/>
                    <a:pt x="2583656" y="147161"/>
                    <a:pt x="2583656" y="147161"/>
                  </a:cubicBezTo>
                  <a:cubicBezTo>
                    <a:pt x="2583656" y="147161"/>
                    <a:pt x="2583656" y="156686"/>
                    <a:pt x="2584609" y="171926"/>
                  </a:cubicBezTo>
                  <a:cubicBezTo>
                    <a:pt x="2584609" y="174784"/>
                    <a:pt x="2584609" y="178594"/>
                    <a:pt x="2585561" y="182404"/>
                  </a:cubicBezTo>
                  <a:cubicBezTo>
                    <a:pt x="2585561" y="182404"/>
                    <a:pt x="2585561" y="182404"/>
                    <a:pt x="2585561" y="182404"/>
                  </a:cubicBezTo>
                  <a:cubicBezTo>
                    <a:pt x="2582704" y="187166"/>
                    <a:pt x="2579846" y="192881"/>
                    <a:pt x="2576036" y="198596"/>
                  </a:cubicBezTo>
                  <a:cubicBezTo>
                    <a:pt x="2575084" y="190976"/>
                    <a:pt x="2575084" y="183356"/>
                    <a:pt x="2574131" y="177641"/>
                  </a:cubicBezTo>
                  <a:cubicBezTo>
                    <a:pt x="2573179" y="165259"/>
                    <a:pt x="2573179" y="157639"/>
                    <a:pt x="2573179" y="157639"/>
                  </a:cubicBezTo>
                  <a:cubicBezTo>
                    <a:pt x="2573179" y="157639"/>
                    <a:pt x="2572226" y="162401"/>
                    <a:pt x="2571274" y="170974"/>
                  </a:cubicBezTo>
                  <a:cubicBezTo>
                    <a:pt x="2571274" y="170974"/>
                    <a:pt x="2571274" y="170021"/>
                    <a:pt x="2571274" y="170021"/>
                  </a:cubicBezTo>
                  <a:cubicBezTo>
                    <a:pt x="2570321" y="162401"/>
                    <a:pt x="2570321" y="155734"/>
                    <a:pt x="2569369" y="149066"/>
                  </a:cubicBezTo>
                  <a:cubicBezTo>
                    <a:pt x="2569369" y="142399"/>
                    <a:pt x="2568416" y="135731"/>
                    <a:pt x="2568416" y="130016"/>
                  </a:cubicBezTo>
                  <a:cubicBezTo>
                    <a:pt x="2567464" y="118586"/>
                    <a:pt x="2566511" y="108109"/>
                    <a:pt x="2567464" y="99536"/>
                  </a:cubicBezTo>
                  <a:cubicBezTo>
                    <a:pt x="2567464" y="82391"/>
                    <a:pt x="2566511" y="72866"/>
                    <a:pt x="2566511" y="72866"/>
                  </a:cubicBezTo>
                  <a:cubicBezTo>
                    <a:pt x="2566511" y="72866"/>
                    <a:pt x="2565559" y="82391"/>
                    <a:pt x="2562701" y="99536"/>
                  </a:cubicBezTo>
                  <a:cubicBezTo>
                    <a:pt x="2561749" y="108109"/>
                    <a:pt x="2560796" y="118586"/>
                    <a:pt x="2560796" y="130016"/>
                  </a:cubicBezTo>
                  <a:cubicBezTo>
                    <a:pt x="2560796" y="135731"/>
                    <a:pt x="2559844" y="142399"/>
                    <a:pt x="2559844" y="149066"/>
                  </a:cubicBezTo>
                  <a:cubicBezTo>
                    <a:pt x="2559844" y="155734"/>
                    <a:pt x="2559844" y="162401"/>
                    <a:pt x="2559844" y="170021"/>
                  </a:cubicBezTo>
                  <a:cubicBezTo>
                    <a:pt x="2559844" y="178594"/>
                    <a:pt x="2559844" y="187166"/>
                    <a:pt x="2560796" y="195739"/>
                  </a:cubicBezTo>
                  <a:cubicBezTo>
                    <a:pt x="2559844" y="192881"/>
                    <a:pt x="2558891" y="191929"/>
                    <a:pt x="2558891" y="191929"/>
                  </a:cubicBezTo>
                  <a:cubicBezTo>
                    <a:pt x="2558891" y="191929"/>
                    <a:pt x="2559844" y="194786"/>
                    <a:pt x="2561749" y="200501"/>
                  </a:cubicBezTo>
                  <a:cubicBezTo>
                    <a:pt x="2561749" y="206216"/>
                    <a:pt x="2562701" y="211931"/>
                    <a:pt x="2562701" y="217646"/>
                  </a:cubicBezTo>
                  <a:cubicBezTo>
                    <a:pt x="2562701" y="219551"/>
                    <a:pt x="2562701" y="221456"/>
                    <a:pt x="2562701" y="223361"/>
                  </a:cubicBezTo>
                  <a:cubicBezTo>
                    <a:pt x="2558891" y="230981"/>
                    <a:pt x="2555081" y="238601"/>
                    <a:pt x="2551271" y="247174"/>
                  </a:cubicBezTo>
                  <a:cubicBezTo>
                    <a:pt x="2550319" y="239554"/>
                    <a:pt x="2550319" y="233839"/>
                    <a:pt x="2549366" y="230029"/>
                  </a:cubicBezTo>
                  <a:cubicBezTo>
                    <a:pt x="2553176" y="219551"/>
                    <a:pt x="2555081" y="212884"/>
                    <a:pt x="2555081" y="212884"/>
                  </a:cubicBezTo>
                  <a:cubicBezTo>
                    <a:pt x="2555081" y="212884"/>
                    <a:pt x="2552224" y="218599"/>
                    <a:pt x="2546509" y="228124"/>
                  </a:cubicBezTo>
                  <a:cubicBezTo>
                    <a:pt x="2546509" y="226219"/>
                    <a:pt x="2547461" y="224314"/>
                    <a:pt x="2547461" y="222409"/>
                  </a:cubicBezTo>
                  <a:cubicBezTo>
                    <a:pt x="2551271" y="206216"/>
                    <a:pt x="2553176" y="196691"/>
                    <a:pt x="2553176" y="196691"/>
                  </a:cubicBezTo>
                  <a:cubicBezTo>
                    <a:pt x="2553176" y="196691"/>
                    <a:pt x="2549366" y="205264"/>
                    <a:pt x="2543651" y="221456"/>
                  </a:cubicBezTo>
                  <a:cubicBezTo>
                    <a:pt x="2541746" y="228124"/>
                    <a:pt x="2538889" y="236696"/>
                    <a:pt x="2536984" y="246221"/>
                  </a:cubicBezTo>
                  <a:cubicBezTo>
                    <a:pt x="2536984" y="245269"/>
                    <a:pt x="2536984" y="245269"/>
                    <a:pt x="2536984" y="244316"/>
                  </a:cubicBezTo>
                  <a:cubicBezTo>
                    <a:pt x="2535079" y="230029"/>
                    <a:pt x="2534126" y="221456"/>
                    <a:pt x="2534126" y="221456"/>
                  </a:cubicBezTo>
                  <a:cubicBezTo>
                    <a:pt x="2534126" y="221456"/>
                    <a:pt x="2534126" y="230029"/>
                    <a:pt x="2533174" y="244316"/>
                  </a:cubicBezTo>
                  <a:cubicBezTo>
                    <a:pt x="2533174" y="246221"/>
                    <a:pt x="2533174" y="249079"/>
                    <a:pt x="2533174" y="250984"/>
                  </a:cubicBezTo>
                  <a:cubicBezTo>
                    <a:pt x="2533174" y="249079"/>
                    <a:pt x="2532221" y="247174"/>
                    <a:pt x="2532221" y="245269"/>
                  </a:cubicBezTo>
                  <a:cubicBezTo>
                    <a:pt x="2529364" y="233839"/>
                    <a:pt x="2527459" y="223361"/>
                    <a:pt x="2524601" y="213836"/>
                  </a:cubicBezTo>
                  <a:cubicBezTo>
                    <a:pt x="2521744" y="204311"/>
                    <a:pt x="2519839" y="196691"/>
                    <a:pt x="2517934" y="190024"/>
                  </a:cubicBezTo>
                  <a:cubicBezTo>
                    <a:pt x="2513171" y="176689"/>
                    <a:pt x="2511266" y="169069"/>
                    <a:pt x="2511266" y="169069"/>
                  </a:cubicBezTo>
                  <a:cubicBezTo>
                    <a:pt x="2511266" y="169069"/>
                    <a:pt x="2512219" y="176689"/>
                    <a:pt x="2514124" y="190976"/>
                  </a:cubicBezTo>
                  <a:cubicBezTo>
                    <a:pt x="2515076" y="197644"/>
                    <a:pt x="2516029" y="206216"/>
                    <a:pt x="2516981" y="215741"/>
                  </a:cubicBezTo>
                  <a:cubicBezTo>
                    <a:pt x="2517934" y="225266"/>
                    <a:pt x="2518886" y="235744"/>
                    <a:pt x="2520791" y="248126"/>
                  </a:cubicBezTo>
                  <a:cubicBezTo>
                    <a:pt x="2521744" y="257651"/>
                    <a:pt x="2522696" y="267176"/>
                    <a:pt x="2523649" y="277654"/>
                  </a:cubicBezTo>
                  <a:cubicBezTo>
                    <a:pt x="2522696" y="279559"/>
                    <a:pt x="2521744" y="281464"/>
                    <a:pt x="2521744" y="282416"/>
                  </a:cubicBezTo>
                  <a:cubicBezTo>
                    <a:pt x="2519839" y="274796"/>
                    <a:pt x="2517934" y="269081"/>
                    <a:pt x="2516981" y="263366"/>
                  </a:cubicBezTo>
                  <a:cubicBezTo>
                    <a:pt x="2513171" y="250031"/>
                    <a:pt x="2511266" y="243364"/>
                    <a:pt x="2511266" y="243364"/>
                  </a:cubicBezTo>
                  <a:cubicBezTo>
                    <a:pt x="2511266" y="243364"/>
                    <a:pt x="2512219" y="250984"/>
                    <a:pt x="2513171" y="264319"/>
                  </a:cubicBezTo>
                  <a:cubicBezTo>
                    <a:pt x="2513171" y="268129"/>
                    <a:pt x="2514124" y="272891"/>
                    <a:pt x="2514124" y="277654"/>
                  </a:cubicBezTo>
                  <a:cubicBezTo>
                    <a:pt x="2510314" y="269081"/>
                    <a:pt x="2507456" y="262414"/>
                    <a:pt x="2504599" y="256699"/>
                  </a:cubicBezTo>
                  <a:cubicBezTo>
                    <a:pt x="2504599" y="254794"/>
                    <a:pt x="2504599" y="253841"/>
                    <a:pt x="2504599" y="253841"/>
                  </a:cubicBezTo>
                  <a:cubicBezTo>
                    <a:pt x="2504599" y="253841"/>
                    <a:pt x="2504599" y="254794"/>
                    <a:pt x="2503646" y="255746"/>
                  </a:cubicBezTo>
                  <a:cubicBezTo>
                    <a:pt x="2499836" y="248126"/>
                    <a:pt x="2497931" y="243364"/>
                    <a:pt x="2497931" y="243364"/>
                  </a:cubicBezTo>
                  <a:cubicBezTo>
                    <a:pt x="2497931" y="243364"/>
                    <a:pt x="2499836" y="249079"/>
                    <a:pt x="2502694" y="259556"/>
                  </a:cubicBezTo>
                  <a:cubicBezTo>
                    <a:pt x="2501741" y="261461"/>
                    <a:pt x="2500789" y="264319"/>
                    <a:pt x="2499836" y="267176"/>
                  </a:cubicBezTo>
                  <a:cubicBezTo>
                    <a:pt x="2499836" y="268129"/>
                    <a:pt x="2498884" y="269081"/>
                    <a:pt x="2498884" y="270034"/>
                  </a:cubicBezTo>
                  <a:cubicBezTo>
                    <a:pt x="2496979" y="253841"/>
                    <a:pt x="2496026" y="237649"/>
                    <a:pt x="2494121" y="223361"/>
                  </a:cubicBezTo>
                  <a:cubicBezTo>
                    <a:pt x="2495074" y="222409"/>
                    <a:pt x="2495074" y="221456"/>
                    <a:pt x="2496026" y="220504"/>
                  </a:cubicBezTo>
                  <a:cubicBezTo>
                    <a:pt x="2500789" y="212884"/>
                    <a:pt x="2504599" y="207169"/>
                    <a:pt x="2506504" y="203359"/>
                  </a:cubicBezTo>
                  <a:cubicBezTo>
                    <a:pt x="2509361" y="199549"/>
                    <a:pt x="2510314" y="197644"/>
                    <a:pt x="2510314" y="197644"/>
                  </a:cubicBezTo>
                  <a:cubicBezTo>
                    <a:pt x="2510314" y="197644"/>
                    <a:pt x="2508409" y="199549"/>
                    <a:pt x="2505551" y="203359"/>
                  </a:cubicBezTo>
                  <a:cubicBezTo>
                    <a:pt x="2502694" y="206216"/>
                    <a:pt x="2497931" y="210979"/>
                    <a:pt x="2493169" y="217646"/>
                  </a:cubicBezTo>
                  <a:cubicBezTo>
                    <a:pt x="2493169" y="217646"/>
                    <a:pt x="2493169" y="216694"/>
                    <a:pt x="2493169" y="216694"/>
                  </a:cubicBezTo>
                  <a:cubicBezTo>
                    <a:pt x="2492216" y="210026"/>
                    <a:pt x="2492216" y="203359"/>
                    <a:pt x="2491264" y="196691"/>
                  </a:cubicBezTo>
                  <a:cubicBezTo>
                    <a:pt x="2497931" y="188119"/>
                    <a:pt x="2501741" y="183356"/>
                    <a:pt x="2501741" y="183356"/>
                  </a:cubicBezTo>
                  <a:cubicBezTo>
                    <a:pt x="2501741" y="183356"/>
                    <a:pt x="2497931" y="187166"/>
                    <a:pt x="2490311" y="192881"/>
                  </a:cubicBezTo>
                  <a:cubicBezTo>
                    <a:pt x="2489359" y="187166"/>
                    <a:pt x="2489359" y="181451"/>
                    <a:pt x="2489359" y="176689"/>
                  </a:cubicBezTo>
                  <a:cubicBezTo>
                    <a:pt x="2492216" y="171926"/>
                    <a:pt x="2495074" y="168116"/>
                    <a:pt x="2497931" y="165259"/>
                  </a:cubicBezTo>
                  <a:cubicBezTo>
                    <a:pt x="2500789" y="161449"/>
                    <a:pt x="2502694" y="159544"/>
                    <a:pt x="2502694" y="159544"/>
                  </a:cubicBezTo>
                  <a:cubicBezTo>
                    <a:pt x="2502694" y="159544"/>
                    <a:pt x="2500789" y="161449"/>
                    <a:pt x="2496979" y="164306"/>
                  </a:cubicBezTo>
                  <a:cubicBezTo>
                    <a:pt x="2495074" y="166211"/>
                    <a:pt x="2492216" y="169069"/>
                    <a:pt x="2489359" y="171926"/>
                  </a:cubicBezTo>
                  <a:cubicBezTo>
                    <a:pt x="2489359" y="165259"/>
                    <a:pt x="2488406" y="158591"/>
                    <a:pt x="2488406" y="153829"/>
                  </a:cubicBezTo>
                  <a:cubicBezTo>
                    <a:pt x="2488406" y="146209"/>
                    <a:pt x="2487454" y="139541"/>
                    <a:pt x="2487454" y="135731"/>
                  </a:cubicBezTo>
                  <a:cubicBezTo>
                    <a:pt x="2491264" y="129064"/>
                    <a:pt x="2494121" y="125254"/>
                    <a:pt x="2494121" y="125254"/>
                  </a:cubicBezTo>
                  <a:cubicBezTo>
                    <a:pt x="2494121" y="125254"/>
                    <a:pt x="2492216" y="128111"/>
                    <a:pt x="2487454" y="132874"/>
                  </a:cubicBezTo>
                  <a:cubicBezTo>
                    <a:pt x="2487454" y="130969"/>
                    <a:pt x="2487454" y="129064"/>
                    <a:pt x="2487454" y="129064"/>
                  </a:cubicBezTo>
                  <a:cubicBezTo>
                    <a:pt x="2487454" y="129064"/>
                    <a:pt x="2487454" y="130969"/>
                    <a:pt x="2486501" y="132874"/>
                  </a:cubicBezTo>
                  <a:cubicBezTo>
                    <a:pt x="2483644" y="136684"/>
                    <a:pt x="2479834" y="140494"/>
                    <a:pt x="2475071" y="146209"/>
                  </a:cubicBezTo>
                  <a:cubicBezTo>
                    <a:pt x="2469356" y="152876"/>
                    <a:pt x="2462689" y="161449"/>
                    <a:pt x="2455069" y="171926"/>
                  </a:cubicBezTo>
                  <a:cubicBezTo>
                    <a:pt x="2451259" y="176689"/>
                    <a:pt x="2447449" y="182404"/>
                    <a:pt x="2442686" y="188119"/>
                  </a:cubicBezTo>
                  <a:cubicBezTo>
                    <a:pt x="2439829" y="192881"/>
                    <a:pt x="2436019" y="197644"/>
                    <a:pt x="2433161" y="203359"/>
                  </a:cubicBezTo>
                  <a:cubicBezTo>
                    <a:pt x="2433161" y="199549"/>
                    <a:pt x="2432209" y="195739"/>
                    <a:pt x="2432209" y="191929"/>
                  </a:cubicBezTo>
                  <a:cubicBezTo>
                    <a:pt x="2428399" y="158591"/>
                    <a:pt x="2426494" y="130969"/>
                    <a:pt x="2425541" y="110966"/>
                  </a:cubicBezTo>
                  <a:cubicBezTo>
                    <a:pt x="2425541" y="101441"/>
                    <a:pt x="2424589" y="93821"/>
                    <a:pt x="2424589" y="88106"/>
                  </a:cubicBezTo>
                  <a:cubicBezTo>
                    <a:pt x="2424589" y="82391"/>
                    <a:pt x="2424589" y="80486"/>
                    <a:pt x="2424589" y="80486"/>
                  </a:cubicBezTo>
                  <a:cubicBezTo>
                    <a:pt x="2424589" y="80486"/>
                    <a:pt x="2424589" y="83344"/>
                    <a:pt x="2423636" y="88106"/>
                  </a:cubicBezTo>
                  <a:cubicBezTo>
                    <a:pt x="2422684" y="92869"/>
                    <a:pt x="2422684" y="101441"/>
                    <a:pt x="2421731" y="110966"/>
                  </a:cubicBezTo>
                  <a:cubicBezTo>
                    <a:pt x="2420779" y="120491"/>
                    <a:pt x="2420779" y="132874"/>
                    <a:pt x="2420779" y="146209"/>
                  </a:cubicBezTo>
                  <a:cubicBezTo>
                    <a:pt x="2420779" y="159544"/>
                    <a:pt x="2420779" y="175736"/>
                    <a:pt x="2421731" y="191929"/>
                  </a:cubicBezTo>
                  <a:cubicBezTo>
                    <a:pt x="2421731" y="200501"/>
                    <a:pt x="2422684" y="210026"/>
                    <a:pt x="2422684" y="220504"/>
                  </a:cubicBezTo>
                  <a:cubicBezTo>
                    <a:pt x="2416969" y="230029"/>
                    <a:pt x="2411254" y="239554"/>
                    <a:pt x="2405539" y="250031"/>
                  </a:cubicBezTo>
                  <a:cubicBezTo>
                    <a:pt x="2404586" y="251936"/>
                    <a:pt x="2403634" y="254794"/>
                    <a:pt x="2401729" y="256699"/>
                  </a:cubicBezTo>
                  <a:cubicBezTo>
                    <a:pt x="2401729" y="256699"/>
                    <a:pt x="2400776" y="255746"/>
                    <a:pt x="2400776" y="255746"/>
                  </a:cubicBezTo>
                  <a:cubicBezTo>
                    <a:pt x="2397919" y="247174"/>
                    <a:pt x="2395061" y="239554"/>
                    <a:pt x="2392204" y="233839"/>
                  </a:cubicBezTo>
                  <a:cubicBezTo>
                    <a:pt x="2389346" y="208121"/>
                    <a:pt x="2386489" y="186214"/>
                    <a:pt x="2385536" y="170974"/>
                  </a:cubicBezTo>
                  <a:cubicBezTo>
                    <a:pt x="2384584" y="162401"/>
                    <a:pt x="2383631" y="155734"/>
                    <a:pt x="2382679" y="150971"/>
                  </a:cubicBezTo>
                  <a:cubicBezTo>
                    <a:pt x="2383631" y="147161"/>
                    <a:pt x="2384584" y="144304"/>
                    <a:pt x="2384584" y="140494"/>
                  </a:cubicBezTo>
                  <a:cubicBezTo>
                    <a:pt x="2384584" y="138589"/>
                    <a:pt x="2383631" y="137636"/>
                    <a:pt x="2382679" y="135731"/>
                  </a:cubicBezTo>
                  <a:cubicBezTo>
                    <a:pt x="2385536" y="129064"/>
                    <a:pt x="2388394" y="121444"/>
                    <a:pt x="2390299" y="114776"/>
                  </a:cubicBezTo>
                  <a:cubicBezTo>
                    <a:pt x="2413159" y="53816"/>
                    <a:pt x="2427446" y="12859"/>
                    <a:pt x="2427446" y="12859"/>
                  </a:cubicBezTo>
                  <a:cubicBezTo>
                    <a:pt x="2427446" y="12859"/>
                    <a:pt x="2407444" y="50959"/>
                    <a:pt x="2380774" y="110014"/>
                  </a:cubicBezTo>
                  <a:cubicBezTo>
                    <a:pt x="2374106" y="124301"/>
                    <a:pt x="2366486" y="140494"/>
                    <a:pt x="2358866" y="157639"/>
                  </a:cubicBezTo>
                  <a:cubicBezTo>
                    <a:pt x="2357914" y="160496"/>
                    <a:pt x="2356009" y="163354"/>
                    <a:pt x="2355056" y="166211"/>
                  </a:cubicBezTo>
                  <a:cubicBezTo>
                    <a:pt x="2356009" y="162401"/>
                    <a:pt x="2356961" y="158591"/>
                    <a:pt x="2357914" y="155734"/>
                  </a:cubicBezTo>
                  <a:cubicBezTo>
                    <a:pt x="2360771" y="141446"/>
                    <a:pt x="2362676" y="132874"/>
                    <a:pt x="2362676" y="132874"/>
                  </a:cubicBezTo>
                  <a:cubicBezTo>
                    <a:pt x="2362676" y="132874"/>
                    <a:pt x="2359819" y="140494"/>
                    <a:pt x="2354104" y="154781"/>
                  </a:cubicBezTo>
                  <a:cubicBezTo>
                    <a:pt x="2351246" y="161449"/>
                    <a:pt x="2348389" y="170021"/>
                    <a:pt x="2344579" y="179546"/>
                  </a:cubicBezTo>
                  <a:cubicBezTo>
                    <a:pt x="2340769" y="189071"/>
                    <a:pt x="2336959" y="200501"/>
                    <a:pt x="2334101" y="211931"/>
                  </a:cubicBezTo>
                  <a:cubicBezTo>
                    <a:pt x="2334101" y="211931"/>
                    <a:pt x="2334101" y="211931"/>
                    <a:pt x="2334101" y="211931"/>
                  </a:cubicBezTo>
                  <a:cubicBezTo>
                    <a:pt x="2336006" y="197644"/>
                    <a:pt x="2338864" y="184309"/>
                    <a:pt x="2340769" y="171926"/>
                  </a:cubicBezTo>
                  <a:cubicBezTo>
                    <a:pt x="2343626" y="156686"/>
                    <a:pt x="2344579" y="143351"/>
                    <a:pt x="2347436" y="130969"/>
                  </a:cubicBezTo>
                  <a:cubicBezTo>
                    <a:pt x="2350294" y="118586"/>
                    <a:pt x="2352199" y="108109"/>
                    <a:pt x="2354104" y="99536"/>
                  </a:cubicBezTo>
                  <a:cubicBezTo>
                    <a:pt x="2357914" y="82391"/>
                    <a:pt x="2358866" y="71914"/>
                    <a:pt x="2358866" y="71914"/>
                  </a:cubicBezTo>
                  <a:cubicBezTo>
                    <a:pt x="2358866" y="71914"/>
                    <a:pt x="2355056" y="81439"/>
                    <a:pt x="2350294" y="98584"/>
                  </a:cubicBezTo>
                  <a:cubicBezTo>
                    <a:pt x="2347436" y="107156"/>
                    <a:pt x="2344579" y="117634"/>
                    <a:pt x="2340769" y="129064"/>
                  </a:cubicBezTo>
                  <a:cubicBezTo>
                    <a:pt x="2336959" y="140494"/>
                    <a:pt x="2333149" y="154781"/>
                    <a:pt x="2330291" y="170021"/>
                  </a:cubicBezTo>
                  <a:cubicBezTo>
                    <a:pt x="2328386" y="177641"/>
                    <a:pt x="2326481" y="185261"/>
                    <a:pt x="2324576" y="193834"/>
                  </a:cubicBezTo>
                  <a:cubicBezTo>
                    <a:pt x="2323624" y="190976"/>
                    <a:pt x="2321719" y="188119"/>
                    <a:pt x="2320766" y="185261"/>
                  </a:cubicBezTo>
                  <a:cubicBezTo>
                    <a:pt x="2324576" y="168116"/>
                    <a:pt x="2326481" y="157639"/>
                    <a:pt x="2326481" y="157639"/>
                  </a:cubicBezTo>
                  <a:cubicBezTo>
                    <a:pt x="2326481" y="157639"/>
                    <a:pt x="2323624" y="165259"/>
                    <a:pt x="2318861" y="179546"/>
                  </a:cubicBezTo>
                  <a:cubicBezTo>
                    <a:pt x="2316004" y="173831"/>
                    <a:pt x="2315051" y="170974"/>
                    <a:pt x="2315051" y="170974"/>
                  </a:cubicBezTo>
                  <a:cubicBezTo>
                    <a:pt x="2315051" y="170974"/>
                    <a:pt x="2316004" y="174784"/>
                    <a:pt x="2317909" y="181451"/>
                  </a:cubicBezTo>
                  <a:cubicBezTo>
                    <a:pt x="2316956" y="185261"/>
                    <a:pt x="2315051" y="189071"/>
                    <a:pt x="2313146" y="193834"/>
                  </a:cubicBezTo>
                  <a:cubicBezTo>
                    <a:pt x="2312194" y="192881"/>
                    <a:pt x="2312194" y="191929"/>
                    <a:pt x="2311241" y="190976"/>
                  </a:cubicBezTo>
                  <a:cubicBezTo>
                    <a:pt x="2314099" y="161449"/>
                    <a:pt x="2314099" y="141446"/>
                    <a:pt x="2314099" y="141446"/>
                  </a:cubicBezTo>
                  <a:cubicBezTo>
                    <a:pt x="2314099" y="141446"/>
                    <a:pt x="2306479" y="165259"/>
                    <a:pt x="2298859" y="202406"/>
                  </a:cubicBezTo>
                  <a:cubicBezTo>
                    <a:pt x="2296954" y="211931"/>
                    <a:pt x="2294096" y="221456"/>
                    <a:pt x="2292191" y="231934"/>
                  </a:cubicBezTo>
                  <a:cubicBezTo>
                    <a:pt x="2291239" y="237649"/>
                    <a:pt x="2290286" y="244316"/>
                    <a:pt x="2289334" y="250031"/>
                  </a:cubicBezTo>
                  <a:cubicBezTo>
                    <a:pt x="2288381" y="252889"/>
                    <a:pt x="2287429" y="255746"/>
                    <a:pt x="2285524" y="259556"/>
                  </a:cubicBezTo>
                  <a:cubicBezTo>
                    <a:pt x="2282666" y="267176"/>
                    <a:pt x="2279809" y="276701"/>
                    <a:pt x="2275999" y="287179"/>
                  </a:cubicBezTo>
                  <a:cubicBezTo>
                    <a:pt x="2275999" y="287179"/>
                    <a:pt x="2275999" y="288131"/>
                    <a:pt x="2275999" y="288131"/>
                  </a:cubicBezTo>
                  <a:cubicBezTo>
                    <a:pt x="2275999" y="286226"/>
                    <a:pt x="2275999" y="284321"/>
                    <a:pt x="2275999" y="282416"/>
                  </a:cubicBezTo>
                  <a:cubicBezTo>
                    <a:pt x="2276951" y="271939"/>
                    <a:pt x="2276951" y="265271"/>
                    <a:pt x="2276951" y="265271"/>
                  </a:cubicBezTo>
                  <a:cubicBezTo>
                    <a:pt x="2276951" y="265271"/>
                    <a:pt x="2275046" y="270986"/>
                    <a:pt x="2272189" y="281464"/>
                  </a:cubicBezTo>
                  <a:cubicBezTo>
                    <a:pt x="2271236" y="284321"/>
                    <a:pt x="2270284" y="287179"/>
                    <a:pt x="2269331" y="290989"/>
                  </a:cubicBezTo>
                  <a:cubicBezTo>
                    <a:pt x="2269331" y="290989"/>
                    <a:pt x="2269331" y="290989"/>
                    <a:pt x="2269331" y="290989"/>
                  </a:cubicBezTo>
                  <a:cubicBezTo>
                    <a:pt x="2269331" y="280511"/>
                    <a:pt x="2268379" y="270034"/>
                    <a:pt x="2269331" y="261461"/>
                  </a:cubicBezTo>
                  <a:cubicBezTo>
                    <a:pt x="2270284" y="252889"/>
                    <a:pt x="2269331" y="245269"/>
                    <a:pt x="2270284" y="238601"/>
                  </a:cubicBezTo>
                  <a:cubicBezTo>
                    <a:pt x="2271236" y="232886"/>
                    <a:pt x="2271236" y="228124"/>
                    <a:pt x="2272189" y="225266"/>
                  </a:cubicBezTo>
                  <a:cubicBezTo>
                    <a:pt x="2275046" y="215741"/>
                    <a:pt x="2275999" y="210979"/>
                    <a:pt x="2275999" y="210979"/>
                  </a:cubicBezTo>
                  <a:cubicBezTo>
                    <a:pt x="2275999" y="210979"/>
                    <a:pt x="2272189" y="218599"/>
                    <a:pt x="2266474" y="232886"/>
                  </a:cubicBezTo>
                  <a:cubicBezTo>
                    <a:pt x="2267426" y="230029"/>
                    <a:pt x="2267426" y="228124"/>
                    <a:pt x="2267426" y="228124"/>
                  </a:cubicBezTo>
                  <a:cubicBezTo>
                    <a:pt x="2267426" y="228124"/>
                    <a:pt x="2265521" y="230981"/>
                    <a:pt x="2263616" y="235744"/>
                  </a:cubicBezTo>
                  <a:cubicBezTo>
                    <a:pt x="2264569" y="226219"/>
                    <a:pt x="2265521" y="220504"/>
                    <a:pt x="2265521" y="220504"/>
                  </a:cubicBezTo>
                  <a:cubicBezTo>
                    <a:pt x="2265521" y="220504"/>
                    <a:pt x="2262664" y="230029"/>
                    <a:pt x="2256949" y="247174"/>
                  </a:cubicBezTo>
                  <a:cubicBezTo>
                    <a:pt x="2255044" y="250984"/>
                    <a:pt x="2253139" y="253841"/>
                    <a:pt x="2252186" y="258604"/>
                  </a:cubicBezTo>
                  <a:cubicBezTo>
                    <a:pt x="2251234" y="259556"/>
                    <a:pt x="2251234" y="260509"/>
                    <a:pt x="2250281" y="262414"/>
                  </a:cubicBezTo>
                  <a:cubicBezTo>
                    <a:pt x="2252186" y="255746"/>
                    <a:pt x="2253139" y="249079"/>
                    <a:pt x="2255044" y="243364"/>
                  </a:cubicBezTo>
                  <a:cubicBezTo>
                    <a:pt x="2260759" y="216694"/>
                    <a:pt x="2264569" y="194786"/>
                    <a:pt x="2267426" y="178594"/>
                  </a:cubicBezTo>
                  <a:cubicBezTo>
                    <a:pt x="2269331" y="163354"/>
                    <a:pt x="2270284" y="153829"/>
                    <a:pt x="2270284" y="153829"/>
                  </a:cubicBezTo>
                  <a:cubicBezTo>
                    <a:pt x="2270284" y="153829"/>
                    <a:pt x="2267426" y="162401"/>
                    <a:pt x="2262664" y="177641"/>
                  </a:cubicBezTo>
                  <a:cubicBezTo>
                    <a:pt x="2260759" y="185261"/>
                    <a:pt x="2257901" y="194786"/>
                    <a:pt x="2254091" y="205264"/>
                  </a:cubicBezTo>
                  <a:cubicBezTo>
                    <a:pt x="2251234" y="212884"/>
                    <a:pt x="2249329" y="221456"/>
                    <a:pt x="2246471" y="230981"/>
                  </a:cubicBezTo>
                  <a:cubicBezTo>
                    <a:pt x="2244566" y="234791"/>
                    <a:pt x="2243614" y="239554"/>
                    <a:pt x="2241709" y="244316"/>
                  </a:cubicBezTo>
                  <a:cubicBezTo>
                    <a:pt x="2240756" y="240506"/>
                    <a:pt x="2239804" y="236696"/>
                    <a:pt x="2239804" y="233839"/>
                  </a:cubicBezTo>
                  <a:cubicBezTo>
                    <a:pt x="2235994" y="215741"/>
                    <a:pt x="2233136" y="205264"/>
                    <a:pt x="2233136" y="205264"/>
                  </a:cubicBezTo>
                  <a:cubicBezTo>
                    <a:pt x="2233136" y="205264"/>
                    <a:pt x="2235041" y="224314"/>
                    <a:pt x="2237899" y="255746"/>
                  </a:cubicBezTo>
                  <a:cubicBezTo>
                    <a:pt x="2236946" y="259556"/>
                    <a:pt x="2235041" y="264319"/>
                    <a:pt x="2234089" y="269081"/>
                  </a:cubicBezTo>
                  <a:cubicBezTo>
                    <a:pt x="2234089" y="269081"/>
                    <a:pt x="2233136" y="270034"/>
                    <a:pt x="2233136" y="270034"/>
                  </a:cubicBezTo>
                  <a:cubicBezTo>
                    <a:pt x="2233136" y="268129"/>
                    <a:pt x="2233136" y="265271"/>
                    <a:pt x="2233136" y="263366"/>
                  </a:cubicBezTo>
                  <a:cubicBezTo>
                    <a:pt x="2233136" y="253841"/>
                    <a:pt x="2232184" y="244316"/>
                    <a:pt x="2231231" y="234791"/>
                  </a:cubicBezTo>
                  <a:cubicBezTo>
                    <a:pt x="2230279" y="225266"/>
                    <a:pt x="2229326" y="216694"/>
                    <a:pt x="2228374" y="207169"/>
                  </a:cubicBezTo>
                  <a:cubicBezTo>
                    <a:pt x="2229326" y="198596"/>
                    <a:pt x="2230279" y="193834"/>
                    <a:pt x="2230279" y="193834"/>
                  </a:cubicBezTo>
                  <a:cubicBezTo>
                    <a:pt x="2230279" y="193834"/>
                    <a:pt x="2229326" y="197644"/>
                    <a:pt x="2226469" y="204311"/>
                  </a:cubicBezTo>
                  <a:cubicBezTo>
                    <a:pt x="2225516" y="202406"/>
                    <a:pt x="2224564" y="201454"/>
                    <a:pt x="2222659" y="200501"/>
                  </a:cubicBezTo>
                  <a:cubicBezTo>
                    <a:pt x="2221706" y="200501"/>
                    <a:pt x="2221706" y="199549"/>
                    <a:pt x="2220754" y="199549"/>
                  </a:cubicBezTo>
                  <a:cubicBezTo>
                    <a:pt x="2219801" y="199549"/>
                    <a:pt x="2218849" y="199549"/>
                    <a:pt x="2217896" y="199549"/>
                  </a:cubicBezTo>
                  <a:cubicBezTo>
                    <a:pt x="2215991" y="200501"/>
                    <a:pt x="2215991" y="201454"/>
                    <a:pt x="2215039" y="202406"/>
                  </a:cubicBezTo>
                  <a:cubicBezTo>
                    <a:pt x="2213134" y="206216"/>
                    <a:pt x="2213134" y="210979"/>
                    <a:pt x="2213134" y="214789"/>
                  </a:cubicBezTo>
                  <a:cubicBezTo>
                    <a:pt x="2214086" y="210979"/>
                    <a:pt x="2215039" y="206216"/>
                    <a:pt x="2217896" y="203359"/>
                  </a:cubicBezTo>
                  <a:cubicBezTo>
                    <a:pt x="2218849" y="202406"/>
                    <a:pt x="2218849" y="201454"/>
                    <a:pt x="2219801" y="201454"/>
                  </a:cubicBezTo>
                  <a:cubicBezTo>
                    <a:pt x="2219801" y="201454"/>
                    <a:pt x="2220754" y="201454"/>
                    <a:pt x="2220754" y="202406"/>
                  </a:cubicBezTo>
                  <a:cubicBezTo>
                    <a:pt x="2221706" y="203359"/>
                    <a:pt x="2222659" y="205264"/>
                    <a:pt x="2223611" y="207169"/>
                  </a:cubicBezTo>
                  <a:lnTo>
                    <a:pt x="2223611" y="215741"/>
                  </a:lnTo>
                  <a:cubicBezTo>
                    <a:pt x="2223611" y="215741"/>
                    <a:pt x="2223611" y="215741"/>
                    <a:pt x="2223611" y="215741"/>
                  </a:cubicBezTo>
                  <a:cubicBezTo>
                    <a:pt x="2221706" y="222409"/>
                    <a:pt x="2218849" y="230981"/>
                    <a:pt x="2215991" y="241459"/>
                  </a:cubicBezTo>
                  <a:cubicBezTo>
                    <a:pt x="2213134" y="250984"/>
                    <a:pt x="2209324" y="262414"/>
                    <a:pt x="2206466" y="274796"/>
                  </a:cubicBezTo>
                  <a:cubicBezTo>
                    <a:pt x="2203609" y="287179"/>
                    <a:pt x="2199799" y="299561"/>
                    <a:pt x="2196941" y="313849"/>
                  </a:cubicBezTo>
                  <a:cubicBezTo>
                    <a:pt x="2195989" y="308134"/>
                    <a:pt x="2195989" y="305276"/>
                    <a:pt x="2195989" y="305276"/>
                  </a:cubicBezTo>
                  <a:cubicBezTo>
                    <a:pt x="2195989" y="305276"/>
                    <a:pt x="2195989" y="310039"/>
                    <a:pt x="2195036" y="317659"/>
                  </a:cubicBezTo>
                  <a:cubicBezTo>
                    <a:pt x="2194084" y="315754"/>
                    <a:pt x="2193131" y="314801"/>
                    <a:pt x="2193131" y="314801"/>
                  </a:cubicBezTo>
                  <a:cubicBezTo>
                    <a:pt x="2193131" y="314801"/>
                    <a:pt x="2194084" y="315754"/>
                    <a:pt x="2195036" y="318611"/>
                  </a:cubicBezTo>
                  <a:cubicBezTo>
                    <a:pt x="2195036" y="320516"/>
                    <a:pt x="2195036" y="321469"/>
                    <a:pt x="2195036" y="323374"/>
                  </a:cubicBezTo>
                  <a:cubicBezTo>
                    <a:pt x="2194084" y="327184"/>
                    <a:pt x="2193131" y="330994"/>
                    <a:pt x="2192179" y="334804"/>
                  </a:cubicBezTo>
                  <a:cubicBezTo>
                    <a:pt x="2191226" y="332899"/>
                    <a:pt x="2191226" y="331946"/>
                    <a:pt x="2190274" y="330994"/>
                  </a:cubicBezTo>
                  <a:cubicBezTo>
                    <a:pt x="2190274" y="330041"/>
                    <a:pt x="2191226" y="330041"/>
                    <a:pt x="2191226" y="330041"/>
                  </a:cubicBezTo>
                  <a:cubicBezTo>
                    <a:pt x="2191226" y="330041"/>
                    <a:pt x="2191226" y="330041"/>
                    <a:pt x="2190274" y="330994"/>
                  </a:cubicBezTo>
                  <a:cubicBezTo>
                    <a:pt x="2189321" y="328136"/>
                    <a:pt x="2188369" y="326231"/>
                    <a:pt x="2188369" y="326231"/>
                  </a:cubicBezTo>
                  <a:cubicBezTo>
                    <a:pt x="2188369" y="326231"/>
                    <a:pt x="2188369" y="328136"/>
                    <a:pt x="2189321" y="331946"/>
                  </a:cubicBezTo>
                  <a:cubicBezTo>
                    <a:pt x="2189321" y="331946"/>
                    <a:pt x="2188369" y="332899"/>
                    <a:pt x="2188369" y="332899"/>
                  </a:cubicBezTo>
                  <a:cubicBezTo>
                    <a:pt x="2186464" y="321469"/>
                    <a:pt x="2185511" y="315754"/>
                    <a:pt x="2185511" y="315754"/>
                  </a:cubicBezTo>
                  <a:cubicBezTo>
                    <a:pt x="2185511" y="315754"/>
                    <a:pt x="2185511" y="323374"/>
                    <a:pt x="2184559" y="336709"/>
                  </a:cubicBezTo>
                  <a:cubicBezTo>
                    <a:pt x="2184559" y="336709"/>
                    <a:pt x="2184559" y="336709"/>
                    <a:pt x="2184559" y="337661"/>
                  </a:cubicBezTo>
                  <a:cubicBezTo>
                    <a:pt x="2183606" y="339566"/>
                    <a:pt x="2181701" y="341471"/>
                    <a:pt x="2179796" y="343376"/>
                  </a:cubicBezTo>
                  <a:cubicBezTo>
                    <a:pt x="2179796" y="342424"/>
                    <a:pt x="2178844" y="341471"/>
                    <a:pt x="2178844" y="340519"/>
                  </a:cubicBezTo>
                  <a:cubicBezTo>
                    <a:pt x="2183606" y="320516"/>
                    <a:pt x="2188369" y="301466"/>
                    <a:pt x="2192179" y="283369"/>
                  </a:cubicBezTo>
                  <a:cubicBezTo>
                    <a:pt x="2205514" y="228124"/>
                    <a:pt x="2212181" y="190024"/>
                    <a:pt x="2212181" y="190024"/>
                  </a:cubicBezTo>
                  <a:cubicBezTo>
                    <a:pt x="2212181" y="190024"/>
                    <a:pt x="2199799" y="222409"/>
                    <a:pt x="2183606" y="272891"/>
                  </a:cubicBezTo>
                  <a:cubicBezTo>
                    <a:pt x="2184559" y="266224"/>
                    <a:pt x="2186464" y="259556"/>
                    <a:pt x="2187416" y="253841"/>
                  </a:cubicBezTo>
                  <a:cubicBezTo>
                    <a:pt x="2189321" y="246221"/>
                    <a:pt x="2190274" y="239554"/>
                    <a:pt x="2192179" y="231934"/>
                  </a:cubicBezTo>
                  <a:cubicBezTo>
                    <a:pt x="2194084" y="224314"/>
                    <a:pt x="2195989" y="216694"/>
                    <a:pt x="2196941" y="210026"/>
                  </a:cubicBezTo>
                  <a:cubicBezTo>
                    <a:pt x="2197894" y="204311"/>
                    <a:pt x="2199799" y="198596"/>
                    <a:pt x="2200751" y="193834"/>
                  </a:cubicBezTo>
                  <a:cubicBezTo>
                    <a:pt x="2201704" y="189071"/>
                    <a:pt x="2203609" y="184309"/>
                    <a:pt x="2204561" y="179546"/>
                  </a:cubicBezTo>
                  <a:cubicBezTo>
                    <a:pt x="2207419" y="170021"/>
                    <a:pt x="2209324" y="162401"/>
                    <a:pt x="2211229" y="155734"/>
                  </a:cubicBezTo>
                  <a:cubicBezTo>
                    <a:pt x="2215039" y="142399"/>
                    <a:pt x="2217896" y="134779"/>
                    <a:pt x="2217896" y="134779"/>
                  </a:cubicBezTo>
                  <a:cubicBezTo>
                    <a:pt x="2217896" y="134779"/>
                    <a:pt x="2215039" y="139541"/>
                    <a:pt x="2211229" y="148114"/>
                  </a:cubicBezTo>
                  <a:cubicBezTo>
                    <a:pt x="2211229" y="148114"/>
                    <a:pt x="2211229" y="147161"/>
                    <a:pt x="2211229" y="147161"/>
                  </a:cubicBezTo>
                  <a:cubicBezTo>
                    <a:pt x="2213134" y="139541"/>
                    <a:pt x="2215039" y="131921"/>
                    <a:pt x="2216944" y="125254"/>
                  </a:cubicBezTo>
                  <a:cubicBezTo>
                    <a:pt x="2218849" y="118586"/>
                    <a:pt x="2220754" y="111919"/>
                    <a:pt x="2222659" y="105251"/>
                  </a:cubicBezTo>
                  <a:cubicBezTo>
                    <a:pt x="2226469" y="92869"/>
                    <a:pt x="2229326" y="81439"/>
                    <a:pt x="2233136" y="72866"/>
                  </a:cubicBezTo>
                  <a:cubicBezTo>
                    <a:pt x="2238851" y="54769"/>
                    <a:pt x="2242661" y="45244"/>
                    <a:pt x="2242661" y="45244"/>
                  </a:cubicBezTo>
                  <a:cubicBezTo>
                    <a:pt x="2242661" y="45244"/>
                    <a:pt x="2237899" y="54769"/>
                    <a:pt x="2229326" y="71914"/>
                  </a:cubicBezTo>
                  <a:cubicBezTo>
                    <a:pt x="2224564" y="80486"/>
                    <a:pt x="2220754" y="90964"/>
                    <a:pt x="2215991" y="103346"/>
                  </a:cubicBezTo>
                  <a:cubicBezTo>
                    <a:pt x="2213134" y="109061"/>
                    <a:pt x="2211229" y="115729"/>
                    <a:pt x="2208371" y="122396"/>
                  </a:cubicBezTo>
                  <a:cubicBezTo>
                    <a:pt x="2205514" y="129064"/>
                    <a:pt x="2203609" y="136684"/>
                    <a:pt x="2200751" y="144304"/>
                  </a:cubicBezTo>
                  <a:cubicBezTo>
                    <a:pt x="2195036" y="159544"/>
                    <a:pt x="2190274" y="176689"/>
                    <a:pt x="2184559" y="193834"/>
                  </a:cubicBezTo>
                  <a:cubicBezTo>
                    <a:pt x="2181701" y="204311"/>
                    <a:pt x="2177891" y="215741"/>
                    <a:pt x="2175034" y="228124"/>
                  </a:cubicBezTo>
                  <a:cubicBezTo>
                    <a:pt x="2175986" y="218599"/>
                    <a:pt x="2176939" y="210026"/>
                    <a:pt x="2177891" y="203359"/>
                  </a:cubicBezTo>
                  <a:cubicBezTo>
                    <a:pt x="2178844" y="198596"/>
                    <a:pt x="2178844" y="193834"/>
                    <a:pt x="2178844" y="190024"/>
                  </a:cubicBezTo>
                  <a:cubicBezTo>
                    <a:pt x="2179796" y="186214"/>
                    <a:pt x="2180749" y="184309"/>
                    <a:pt x="2180749" y="184309"/>
                  </a:cubicBezTo>
                  <a:cubicBezTo>
                    <a:pt x="2180749" y="184309"/>
                    <a:pt x="2179796" y="185261"/>
                    <a:pt x="2179796" y="187166"/>
                  </a:cubicBezTo>
                  <a:cubicBezTo>
                    <a:pt x="2180749" y="180499"/>
                    <a:pt x="2180749" y="176689"/>
                    <a:pt x="2180749" y="176689"/>
                  </a:cubicBezTo>
                  <a:cubicBezTo>
                    <a:pt x="2180749" y="176689"/>
                    <a:pt x="2178844" y="183356"/>
                    <a:pt x="2175986" y="194786"/>
                  </a:cubicBezTo>
                  <a:cubicBezTo>
                    <a:pt x="2174081" y="198596"/>
                    <a:pt x="2172176" y="202406"/>
                    <a:pt x="2170271" y="208121"/>
                  </a:cubicBezTo>
                  <a:cubicBezTo>
                    <a:pt x="2163604" y="223361"/>
                    <a:pt x="2155031" y="245269"/>
                    <a:pt x="2144554" y="271939"/>
                  </a:cubicBezTo>
                  <a:cubicBezTo>
                    <a:pt x="2141696" y="279559"/>
                    <a:pt x="2137886" y="288131"/>
                    <a:pt x="2135029" y="296704"/>
                  </a:cubicBezTo>
                  <a:cubicBezTo>
                    <a:pt x="2135029" y="296704"/>
                    <a:pt x="2135029" y="296704"/>
                    <a:pt x="2135029" y="295751"/>
                  </a:cubicBezTo>
                  <a:cubicBezTo>
                    <a:pt x="2133124" y="290989"/>
                    <a:pt x="2131219" y="286226"/>
                    <a:pt x="2129314" y="282416"/>
                  </a:cubicBezTo>
                  <a:cubicBezTo>
                    <a:pt x="2133124" y="261461"/>
                    <a:pt x="2135981" y="244316"/>
                    <a:pt x="2137886" y="231934"/>
                  </a:cubicBezTo>
                  <a:cubicBezTo>
                    <a:pt x="2139791" y="217646"/>
                    <a:pt x="2141696" y="210026"/>
                    <a:pt x="2141696" y="210026"/>
                  </a:cubicBezTo>
                  <a:cubicBezTo>
                    <a:pt x="2141696" y="210026"/>
                    <a:pt x="2138839" y="217646"/>
                    <a:pt x="2134076" y="230981"/>
                  </a:cubicBezTo>
                  <a:cubicBezTo>
                    <a:pt x="2131219" y="239554"/>
                    <a:pt x="2127409" y="250984"/>
                    <a:pt x="2123599" y="263366"/>
                  </a:cubicBezTo>
                  <a:cubicBezTo>
                    <a:pt x="2123599" y="260509"/>
                    <a:pt x="2122646" y="257651"/>
                    <a:pt x="2122646" y="253841"/>
                  </a:cubicBezTo>
                  <a:cubicBezTo>
                    <a:pt x="2120741" y="238601"/>
                    <a:pt x="2118836" y="225266"/>
                    <a:pt x="2117884" y="211931"/>
                  </a:cubicBezTo>
                  <a:cubicBezTo>
                    <a:pt x="2115979" y="198596"/>
                    <a:pt x="2114074" y="187166"/>
                    <a:pt x="2112169" y="176689"/>
                  </a:cubicBezTo>
                  <a:cubicBezTo>
                    <a:pt x="2110264" y="166211"/>
                    <a:pt x="2108359" y="157639"/>
                    <a:pt x="2107406" y="150019"/>
                  </a:cubicBezTo>
                  <a:cubicBezTo>
                    <a:pt x="2104549" y="134779"/>
                    <a:pt x="2102644" y="127159"/>
                    <a:pt x="2102644" y="127159"/>
                  </a:cubicBezTo>
                  <a:cubicBezTo>
                    <a:pt x="2102644" y="127159"/>
                    <a:pt x="2102644" y="135731"/>
                    <a:pt x="2103596" y="150971"/>
                  </a:cubicBezTo>
                  <a:cubicBezTo>
                    <a:pt x="2103596" y="155734"/>
                    <a:pt x="2104549" y="161449"/>
                    <a:pt x="2104549" y="168116"/>
                  </a:cubicBezTo>
                  <a:cubicBezTo>
                    <a:pt x="2104549" y="171926"/>
                    <a:pt x="2104549" y="176689"/>
                    <a:pt x="2104549" y="183356"/>
                  </a:cubicBezTo>
                  <a:cubicBezTo>
                    <a:pt x="2104549" y="190024"/>
                    <a:pt x="2105501" y="197644"/>
                    <a:pt x="2105501" y="207169"/>
                  </a:cubicBezTo>
                  <a:cubicBezTo>
                    <a:pt x="2105501" y="212884"/>
                    <a:pt x="2106454" y="218599"/>
                    <a:pt x="2106454" y="225266"/>
                  </a:cubicBezTo>
                  <a:cubicBezTo>
                    <a:pt x="2105501" y="224314"/>
                    <a:pt x="2105501" y="222409"/>
                    <a:pt x="2104549" y="221456"/>
                  </a:cubicBezTo>
                  <a:cubicBezTo>
                    <a:pt x="2104549" y="221456"/>
                    <a:pt x="2104549" y="221456"/>
                    <a:pt x="2104549" y="221456"/>
                  </a:cubicBezTo>
                  <a:lnTo>
                    <a:pt x="2104549" y="221456"/>
                  </a:lnTo>
                  <a:cubicBezTo>
                    <a:pt x="2103596" y="219551"/>
                    <a:pt x="2102644" y="217646"/>
                    <a:pt x="2102644" y="215741"/>
                  </a:cubicBezTo>
                  <a:cubicBezTo>
                    <a:pt x="2102644" y="211931"/>
                    <a:pt x="2101691" y="208121"/>
                    <a:pt x="2101691" y="205264"/>
                  </a:cubicBezTo>
                  <a:cubicBezTo>
                    <a:pt x="2100739" y="193834"/>
                    <a:pt x="2099786" y="184309"/>
                    <a:pt x="2098834" y="176689"/>
                  </a:cubicBezTo>
                  <a:cubicBezTo>
                    <a:pt x="2098834" y="173831"/>
                    <a:pt x="2097881" y="170974"/>
                    <a:pt x="2097881" y="168116"/>
                  </a:cubicBezTo>
                  <a:cubicBezTo>
                    <a:pt x="2100739" y="155734"/>
                    <a:pt x="2102644" y="149066"/>
                    <a:pt x="2102644" y="149066"/>
                  </a:cubicBezTo>
                  <a:cubicBezTo>
                    <a:pt x="2102644" y="149066"/>
                    <a:pt x="2100739" y="153829"/>
                    <a:pt x="2096929" y="162401"/>
                  </a:cubicBezTo>
                  <a:cubicBezTo>
                    <a:pt x="2095976" y="155734"/>
                    <a:pt x="2095024" y="151924"/>
                    <a:pt x="2095024" y="151924"/>
                  </a:cubicBezTo>
                  <a:cubicBezTo>
                    <a:pt x="2095024" y="151924"/>
                    <a:pt x="2095024" y="157639"/>
                    <a:pt x="2095024" y="167164"/>
                  </a:cubicBezTo>
                  <a:cubicBezTo>
                    <a:pt x="2088356" y="182404"/>
                    <a:pt x="2078831" y="206216"/>
                    <a:pt x="2066449" y="235744"/>
                  </a:cubicBezTo>
                  <a:cubicBezTo>
                    <a:pt x="2063591" y="243364"/>
                    <a:pt x="2060734" y="250984"/>
                    <a:pt x="2056924" y="259556"/>
                  </a:cubicBezTo>
                  <a:cubicBezTo>
                    <a:pt x="2061686" y="234791"/>
                    <a:pt x="2063591" y="219551"/>
                    <a:pt x="2063591" y="219551"/>
                  </a:cubicBezTo>
                  <a:cubicBezTo>
                    <a:pt x="2063591" y="219551"/>
                    <a:pt x="2058829" y="231934"/>
                    <a:pt x="2052161" y="252889"/>
                  </a:cubicBezTo>
                  <a:cubicBezTo>
                    <a:pt x="2051209" y="250984"/>
                    <a:pt x="2050256" y="249079"/>
                    <a:pt x="2050256" y="248126"/>
                  </a:cubicBezTo>
                  <a:cubicBezTo>
                    <a:pt x="2050256" y="238601"/>
                    <a:pt x="2050256" y="233839"/>
                    <a:pt x="2050256" y="233839"/>
                  </a:cubicBezTo>
                  <a:cubicBezTo>
                    <a:pt x="2050256" y="233839"/>
                    <a:pt x="2049304" y="237649"/>
                    <a:pt x="2048351" y="244316"/>
                  </a:cubicBezTo>
                  <a:cubicBezTo>
                    <a:pt x="2047399" y="241459"/>
                    <a:pt x="2046446" y="240506"/>
                    <a:pt x="2046446" y="240506"/>
                  </a:cubicBezTo>
                  <a:cubicBezTo>
                    <a:pt x="2046446" y="240506"/>
                    <a:pt x="2047399" y="242411"/>
                    <a:pt x="2047399" y="247174"/>
                  </a:cubicBezTo>
                  <a:cubicBezTo>
                    <a:pt x="2046446" y="251936"/>
                    <a:pt x="2045494" y="258604"/>
                    <a:pt x="2044541" y="266224"/>
                  </a:cubicBezTo>
                  <a:cubicBezTo>
                    <a:pt x="2044541" y="264319"/>
                    <a:pt x="2043589" y="261461"/>
                    <a:pt x="2043589" y="259556"/>
                  </a:cubicBezTo>
                  <a:cubicBezTo>
                    <a:pt x="2042636" y="255746"/>
                    <a:pt x="2042636" y="252889"/>
                    <a:pt x="2041684" y="249079"/>
                  </a:cubicBezTo>
                  <a:cubicBezTo>
                    <a:pt x="2046446" y="210026"/>
                    <a:pt x="2048351" y="184309"/>
                    <a:pt x="2048351" y="184309"/>
                  </a:cubicBezTo>
                  <a:cubicBezTo>
                    <a:pt x="2048351" y="184309"/>
                    <a:pt x="2044541" y="196691"/>
                    <a:pt x="2039779" y="216694"/>
                  </a:cubicBezTo>
                  <a:cubicBezTo>
                    <a:pt x="2038826" y="218599"/>
                    <a:pt x="2037874" y="220504"/>
                    <a:pt x="2036921" y="223361"/>
                  </a:cubicBezTo>
                  <a:cubicBezTo>
                    <a:pt x="2036921" y="221456"/>
                    <a:pt x="2035969" y="220504"/>
                    <a:pt x="2035969" y="218599"/>
                  </a:cubicBezTo>
                  <a:cubicBezTo>
                    <a:pt x="2034064" y="206216"/>
                    <a:pt x="2032159" y="195739"/>
                    <a:pt x="2031206" y="187166"/>
                  </a:cubicBezTo>
                  <a:cubicBezTo>
                    <a:pt x="2030254" y="179546"/>
                    <a:pt x="2029301" y="173831"/>
                    <a:pt x="2028349" y="169069"/>
                  </a:cubicBezTo>
                  <a:cubicBezTo>
                    <a:pt x="2030254" y="154781"/>
                    <a:pt x="2031206" y="147161"/>
                    <a:pt x="2031206" y="147161"/>
                  </a:cubicBezTo>
                  <a:cubicBezTo>
                    <a:pt x="2031206" y="147161"/>
                    <a:pt x="2030254" y="150971"/>
                    <a:pt x="2028349" y="157639"/>
                  </a:cubicBezTo>
                  <a:cubicBezTo>
                    <a:pt x="2029301" y="145256"/>
                    <a:pt x="2030254" y="138589"/>
                    <a:pt x="2030254" y="138589"/>
                  </a:cubicBezTo>
                  <a:cubicBezTo>
                    <a:pt x="2030254" y="138589"/>
                    <a:pt x="2028349" y="146209"/>
                    <a:pt x="2023586" y="160496"/>
                  </a:cubicBezTo>
                  <a:cubicBezTo>
                    <a:pt x="2021681" y="167164"/>
                    <a:pt x="2019776" y="176689"/>
                    <a:pt x="2017871" y="186214"/>
                  </a:cubicBezTo>
                  <a:cubicBezTo>
                    <a:pt x="2017871" y="188119"/>
                    <a:pt x="2016919" y="190024"/>
                    <a:pt x="2016919" y="191929"/>
                  </a:cubicBezTo>
                  <a:cubicBezTo>
                    <a:pt x="2016919" y="191929"/>
                    <a:pt x="2016919" y="190976"/>
                    <a:pt x="2016919" y="190976"/>
                  </a:cubicBezTo>
                  <a:cubicBezTo>
                    <a:pt x="2018824" y="170021"/>
                    <a:pt x="2019776" y="158591"/>
                    <a:pt x="2019776" y="158591"/>
                  </a:cubicBezTo>
                  <a:cubicBezTo>
                    <a:pt x="2019776" y="158591"/>
                    <a:pt x="2017871" y="166211"/>
                    <a:pt x="2015014" y="178594"/>
                  </a:cubicBezTo>
                  <a:cubicBezTo>
                    <a:pt x="2015014" y="176689"/>
                    <a:pt x="2014061" y="174784"/>
                    <a:pt x="2014061" y="174784"/>
                  </a:cubicBezTo>
                  <a:cubicBezTo>
                    <a:pt x="2014061" y="174784"/>
                    <a:pt x="2014061" y="175736"/>
                    <a:pt x="2014061" y="177641"/>
                  </a:cubicBezTo>
                  <a:cubicBezTo>
                    <a:pt x="2013109" y="172879"/>
                    <a:pt x="2012156" y="168116"/>
                    <a:pt x="2011204" y="163354"/>
                  </a:cubicBezTo>
                  <a:cubicBezTo>
                    <a:pt x="2008346" y="148114"/>
                    <a:pt x="2006441" y="135731"/>
                    <a:pt x="2003584" y="125254"/>
                  </a:cubicBezTo>
                  <a:cubicBezTo>
                    <a:pt x="1999774" y="104299"/>
                    <a:pt x="1996916" y="91916"/>
                    <a:pt x="1996916" y="91916"/>
                  </a:cubicBezTo>
                  <a:cubicBezTo>
                    <a:pt x="1996916" y="91916"/>
                    <a:pt x="1997869" y="104299"/>
                    <a:pt x="1999774" y="125254"/>
                  </a:cubicBezTo>
                  <a:cubicBezTo>
                    <a:pt x="2000726" y="135731"/>
                    <a:pt x="2001679" y="149066"/>
                    <a:pt x="2003584" y="164306"/>
                  </a:cubicBezTo>
                  <a:cubicBezTo>
                    <a:pt x="2004536" y="175736"/>
                    <a:pt x="2006441" y="189071"/>
                    <a:pt x="2008346" y="203359"/>
                  </a:cubicBezTo>
                  <a:cubicBezTo>
                    <a:pt x="2005489" y="213836"/>
                    <a:pt x="2002631" y="227171"/>
                    <a:pt x="1999774" y="240506"/>
                  </a:cubicBezTo>
                  <a:cubicBezTo>
                    <a:pt x="1995011" y="262414"/>
                    <a:pt x="1990249" y="288131"/>
                    <a:pt x="1984534" y="314801"/>
                  </a:cubicBezTo>
                  <a:cubicBezTo>
                    <a:pt x="1984534" y="303371"/>
                    <a:pt x="1984534" y="292894"/>
                    <a:pt x="1984534" y="283369"/>
                  </a:cubicBezTo>
                  <a:cubicBezTo>
                    <a:pt x="1984534" y="277654"/>
                    <a:pt x="1984534" y="271939"/>
                    <a:pt x="1984534" y="267176"/>
                  </a:cubicBezTo>
                  <a:cubicBezTo>
                    <a:pt x="1985486" y="265271"/>
                    <a:pt x="1986439" y="263366"/>
                    <a:pt x="1986439" y="263366"/>
                  </a:cubicBezTo>
                  <a:cubicBezTo>
                    <a:pt x="1986439" y="263366"/>
                    <a:pt x="1985486" y="264319"/>
                    <a:pt x="1984534" y="265271"/>
                  </a:cubicBezTo>
                  <a:cubicBezTo>
                    <a:pt x="1984534" y="257651"/>
                    <a:pt x="1984534" y="250031"/>
                    <a:pt x="1985486" y="243364"/>
                  </a:cubicBezTo>
                  <a:cubicBezTo>
                    <a:pt x="1986439" y="231934"/>
                    <a:pt x="1986439" y="221456"/>
                    <a:pt x="1987391" y="212884"/>
                  </a:cubicBezTo>
                  <a:cubicBezTo>
                    <a:pt x="1988344" y="195739"/>
                    <a:pt x="1989296" y="186214"/>
                    <a:pt x="1989296" y="186214"/>
                  </a:cubicBezTo>
                  <a:cubicBezTo>
                    <a:pt x="1989296" y="186214"/>
                    <a:pt x="1987391" y="195739"/>
                    <a:pt x="1983581" y="211931"/>
                  </a:cubicBezTo>
                  <a:cubicBezTo>
                    <a:pt x="1981676" y="220504"/>
                    <a:pt x="1979771" y="230029"/>
                    <a:pt x="1978819" y="242411"/>
                  </a:cubicBezTo>
                  <a:cubicBezTo>
                    <a:pt x="1976914" y="253841"/>
                    <a:pt x="1975961" y="267176"/>
                    <a:pt x="1974056" y="281464"/>
                  </a:cubicBezTo>
                  <a:cubicBezTo>
                    <a:pt x="1974056" y="281464"/>
                    <a:pt x="1973104" y="282416"/>
                    <a:pt x="1973104" y="282416"/>
                  </a:cubicBezTo>
                  <a:cubicBezTo>
                    <a:pt x="1971199" y="284321"/>
                    <a:pt x="1970246" y="286226"/>
                    <a:pt x="1968341" y="289084"/>
                  </a:cubicBezTo>
                  <a:cubicBezTo>
                    <a:pt x="1968341" y="287179"/>
                    <a:pt x="1968341" y="285274"/>
                    <a:pt x="1968341" y="283369"/>
                  </a:cubicBezTo>
                  <a:cubicBezTo>
                    <a:pt x="1971199" y="277654"/>
                    <a:pt x="1973104" y="274796"/>
                    <a:pt x="1973104" y="274796"/>
                  </a:cubicBezTo>
                  <a:cubicBezTo>
                    <a:pt x="1973104" y="274796"/>
                    <a:pt x="1971199" y="276701"/>
                    <a:pt x="1968341" y="280511"/>
                  </a:cubicBezTo>
                  <a:cubicBezTo>
                    <a:pt x="1970246" y="255746"/>
                    <a:pt x="1972151" y="235744"/>
                    <a:pt x="1973104" y="224314"/>
                  </a:cubicBezTo>
                  <a:cubicBezTo>
                    <a:pt x="1975961" y="201454"/>
                    <a:pt x="1976914" y="187166"/>
                    <a:pt x="1976914" y="187166"/>
                  </a:cubicBezTo>
                  <a:cubicBezTo>
                    <a:pt x="1976914" y="187166"/>
                    <a:pt x="1973104" y="198596"/>
                    <a:pt x="1967389" y="218599"/>
                  </a:cubicBezTo>
                  <a:cubicBezTo>
                    <a:pt x="1967389" y="217646"/>
                    <a:pt x="1967389" y="216694"/>
                    <a:pt x="1967389" y="216694"/>
                  </a:cubicBezTo>
                  <a:cubicBezTo>
                    <a:pt x="1967389" y="216694"/>
                    <a:pt x="1967389" y="217646"/>
                    <a:pt x="1966436" y="220504"/>
                  </a:cubicBezTo>
                  <a:cubicBezTo>
                    <a:pt x="1963579" y="229076"/>
                    <a:pt x="1960721" y="238601"/>
                    <a:pt x="1957864" y="250031"/>
                  </a:cubicBezTo>
                  <a:cubicBezTo>
                    <a:pt x="1955959" y="256699"/>
                    <a:pt x="1954054" y="264319"/>
                    <a:pt x="1952149" y="271939"/>
                  </a:cubicBezTo>
                  <a:cubicBezTo>
                    <a:pt x="1947386" y="250031"/>
                    <a:pt x="1944529" y="232886"/>
                    <a:pt x="1941671" y="221456"/>
                  </a:cubicBezTo>
                  <a:cubicBezTo>
                    <a:pt x="1941671" y="218599"/>
                    <a:pt x="1942624" y="215741"/>
                    <a:pt x="1942624" y="213836"/>
                  </a:cubicBezTo>
                  <a:cubicBezTo>
                    <a:pt x="1946434" y="203359"/>
                    <a:pt x="1949291" y="193834"/>
                    <a:pt x="1952149" y="186214"/>
                  </a:cubicBezTo>
                  <a:cubicBezTo>
                    <a:pt x="1958816" y="168116"/>
                    <a:pt x="1962626" y="157639"/>
                    <a:pt x="1962626" y="157639"/>
                  </a:cubicBezTo>
                  <a:cubicBezTo>
                    <a:pt x="1962626" y="157639"/>
                    <a:pt x="1957864" y="167164"/>
                    <a:pt x="1948339" y="185261"/>
                  </a:cubicBezTo>
                  <a:cubicBezTo>
                    <a:pt x="1947386" y="187166"/>
                    <a:pt x="1946434" y="189071"/>
                    <a:pt x="1945481" y="190976"/>
                  </a:cubicBezTo>
                  <a:cubicBezTo>
                    <a:pt x="1945481" y="190024"/>
                    <a:pt x="1945481" y="189071"/>
                    <a:pt x="1945481" y="189071"/>
                  </a:cubicBezTo>
                  <a:cubicBezTo>
                    <a:pt x="1945481" y="189071"/>
                    <a:pt x="1945481" y="190024"/>
                    <a:pt x="1944529" y="192881"/>
                  </a:cubicBezTo>
                  <a:cubicBezTo>
                    <a:pt x="1942624" y="196691"/>
                    <a:pt x="1940719" y="201454"/>
                    <a:pt x="1938814" y="205264"/>
                  </a:cubicBezTo>
                  <a:cubicBezTo>
                    <a:pt x="1936909" y="170021"/>
                    <a:pt x="1935004" y="148114"/>
                    <a:pt x="1935004" y="148114"/>
                  </a:cubicBezTo>
                  <a:cubicBezTo>
                    <a:pt x="1935004" y="148114"/>
                    <a:pt x="1931194" y="178594"/>
                    <a:pt x="1928336" y="224314"/>
                  </a:cubicBezTo>
                  <a:cubicBezTo>
                    <a:pt x="1928336" y="225266"/>
                    <a:pt x="1928336" y="227171"/>
                    <a:pt x="1928336" y="229076"/>
                  </a:cubicBezTo>
                  <a:cubicBezTo>
                    <a:pt x="1927384" y="231934"/>
                    <a:pt x="1925479" y="234791"/>
                    <a:pt x="1924526" y="236696"/>
                  </a:cubicBezTo>
                  <a:cubicBezTo>
                    <a:pt x="1921669" y="243364"/>
                    <a:pt x="1918811" y="250984"/>
                    <a:pt x="1915001" y="258604"/>
                  </a:cubicBezTo>
                  <a:cubicBezTo>
                    <a:pt x="1914049" y="261461"/>
                    <a:pt x="1912144" y="265271"/>
                    <a:pt x="1911191" y="268129"/>
                  </a:cubicBezTo>
                  <a:cubicBezTo>
                    <a:pt x="1910239" y="265271"/>
                    <a:pt x="1908334" y="262414"/>
                    <a:pt x="1907381" y="259556"/>
                  </a:cubicBezTo>
                  <a:lnTo>
                    <a:pt x="1907381" y="258604"/>
                  </a:lnTo>
                  <a:lnTo>
                    <a:pt x="1907381" y="258604"/>
                  </a:lnTo>
                  <a:cubicBezTo>
                    <a:pt x="1905476" y="256699"/>
                    <a:pt x="1903571" y="254794"/>
                    <a:pt x="1900714" y="253841"/>
                  </a:cubicBezTo>
                  <a:cubicBezTo>
                    <a:pt x="1899761" y="253841"/>
                    <a:pt x="1898809" y="252889"/>
                    <a:pt x="1897856" y="252889"/>
                  </a:cubicBezTo>
                  <a:cubicBezTo>
                    <a:pt x="1897856" y="252889"/>
                    <a:pt x="1896904" y="252889"/>
                    <a:pt x="1896904" y="252889"/>
                  </a:cubicBezTo>
                  <a:cubicBezTo>
                    <a:pt x="1896904" y="251936"/>
                    <a:pt x="1896904" y="251936"/>
                    <a:pt x="1896904" y="250984"/>
                  </a:cubicBezTo>
                  <a:cubicBezTo>
                    <a:pt x="1896904" y="249079"/>
                    <a:pt x="1897856" y="247174"/>
                    <a:pt x="1897856" y="246221"/>
                  </a:cubicBezTo>
                  <a:cubicBezTo>
                    <a:pt x="1899761" y="240506"/>
                    <a:pt x="1900714" y="234791"/>
                    <a:pt x="1902619" y="230029"/>
                  </a:cubicBezTo>
                  <a:cubicBezTo>
                    <a:pt x="1903571" y="228124"/>
                    <a:pt x="1903571" y="226219"/>
                    <a:pt x="1903571" y="226219"/>
                  </a:cubicBezTo>
                  <a:cubicBezTo>
                    <a:pt x="1903571" y="226219"/>
                    <a:pt x="1903571" y="226219"/>
                    <a:pt x="1902619" y="227171"/>
                  </a:cubicBezTo>
                  <a:cubicBezTo>
                    <a:pt x="1903571" y="222409"/>
                    <a:pt x="1905476" y="218599"/>
                    <a:pt x="1906429" y="214789"/>
                  </a:cubicBezTo>
                  <a:cubicBezTo>
                    <a:pt x="1909286" y="205264"/>
                    <a:pt x="1912144" y="196691"/>
                    <a:pt x="1915001" y="190976"/>
                  </a:cubicBezTo>
                  <a:cubicBezTo>
                    <a:pt x="1919764" y="177641"/>
                    <a:pt x="1922621" y="170021"/>
                    <a:pt x="1922621" y="170021"/>
                  </a:cubicBezTo>
                  <a:cubicBezTo>
                    <a:pt x="1922621" y="170021"/>
                    <a:pt x="1918811" y="176689"/>
                    <a:pt x="1911191" y="189071"/>
                  </a:cubicBezTo>
                  <a:cubicBezTo>
                    <a:pt x="1907381" y="194786"/>
                    <a:pt x="1903571" y="203359"/>
                    <a:pt x="1899761" y="211931"/>
                  </a:cubicBezTo>
                  <a:cubicBezTo>
                    <a:pt x="1897856" y="216694"/>
                    <a:pt x="1894999" y="221456"/>
                    <a:pt x="1893094" y="226219"/>
                  </a:cubicBezTo>
                  <a:cubicBezTo>
                    <a:pt x="1892141" y="229076"/>
                    <a:pt x="1890236" y="231934"/>
                    <a:pt x="1889284" y="235744"/>
                  </a:cubicBezTo>
                  <a:cubicBezTo>
                    <a:pt x="1889284" y="234791"/>
                    <a:pt x="1889284" y="233839"/>
                    <a:pt x="1888331" y="232886"/>
                  </a:cubicBezTo>
                  <a:cubicBezTo>
                    <a:pt x="1888331" y="227171"/>
                    <a:pt x="1888331" y="221456"/>
                    <a:pt x="1889284" y="216694"/>
                  </a:cubicBezTo>
                  <a:cubicBezTo>
                    <a:pt x="1889284" y="210979"/>
                    <a:pt x="1890236" y="205264"/>
                    <a:pt x="1891189" y="200501"/>
                  </a:cubicBezTo>
                  <a:cubicBezTo>
                    <a:pt x="1892141" y="195739"/>
                    <a:pt x="1893094" y="190976"/>
                    <a:pt x="1894046" y="187166"/>
                  </a:cubicBezTo>
                  <a:cubicBezTo>
                    <a:pt x="1895951" y="179546"/>
                    <a:pt x="1897856" y="172879"/>
                    <a:pt x="1899761" y="169069"/>
                  </a:cubicBezTo>
                  <a:cubicBezTo>
                    <a:pt x="1901666" y="165259"/>
                    <a:pt x="1902619" y="162401"/>
                    <a:pt x="1902619" y="162401"/>
                  </a:cubicBezTo>
                  <a:cubicBezTo>
                    <a:pt x="1902619" y="162401"/>
                    <a:pt x="1901666" y="164306"/>
                    <a:pt x="1898809" y="168116"/>
                  </a:cubicBezTo>
                  <a:cubicBezTo>
                    <a:pt x="1895951" y="171926"/>
                    <a:pt x="1893094" y="177641"/>
                    <a:pt x="1890236" y="186214"/>
                  </a:cubicBezTo>
                  <a:cubicBezTo>
                    <a:pt x="1889284" y="190024"/>
                    <a:pt x="1887379" y="194786"/>
                    <a:pt x="1885474" y="199549"/>
                  </a:cubicBezTo>
                  <a:cubicBezTo>
                    <a:pt x="1884521" y="204311"/>
                    <a:pt x="1883569" y="209074"/>
                    <a:pt x="1882616" y="213836"/>
                  </a:cubicBezTo>
                  <a:cubicBezTo>
                    <a:pt x="1882616" y="211931"/>
                    <a:pt x="1882616" y="210026"/>
                    <a:pt x="1882616" y="210026"/>
                  </a:cubicBezTo>
                  <a:cubicBezTo>
                    <a:pt x="1882616" y="210026"/>
                    <a:pt x="1880711" y="216694"/>
                    <a:pt x="1878806" y="228124"/>
                  </a:cubicBezTo>
                  <a:cubicBezTo>
                    <a:pt x="1877854" y="232886"/>
                    <a:pt x="1876901" y="237649"/>
                    <a:pt x="1874996" y="243364"/>
                  </a:cubicBezTo>
                  <a:cubicBezTo>
                    <a:pt x="1874996" y="239554"/>
                    <a:pt x="1874996" y="237649"/>
                    <a:pt x="1874996" y="237649"/>
                  </a:cubicBezTo>
                  <a:cubicBezTo>
                    <a:pt x="1874996" y="237649"/>
                    <a:pt x="1874044" y="244316"/>
                    <a:pt x="1872139" y="255746"/>
                  </a:cubicBezTo>
                  <a:cubicBezTo>
                    <a:pt x="1871186" y="260509"/>
                    <a:pt x="1870234" y="266224"/>
                    <a:pt x="1868329" y="270986"/>
                  </a:cubicBezTo>
                  <a:cubicBezTo>
                    <a:pt x="1868329" y="267176"/>
                    <a:pt x="1869281" y="263366"/>
                    <a:pt x="1869281" y="259556"/>
                  </a:cubicBezTo>
                  <a:cubicBezTo>
                    <a:pt x="1871186" y="243364"/>
                    <a:pt x="1873091" y="228124"/>
                    <a:pt x="1874996" y="213836"/>
                  </a:cubicBezTo>
                  <a:cubicBezTo>
                    <a:pt x="1875949" y="207169"/>
                    <a:pt x="1876901" y="200501"/>
                    <a:pt x="1877854" y="193834"/>
                  </a:cubicBezTo>
                  <a:cubicBezTo>
                    <a:pt x="1878806" y="187166"/>
                    <a:pt x="1880711" y="181451"/>
                    <a:pt x="1881664" y="175736"/>
                  </a:cubicBezTo>
                  <a:cubicBezTo>
                    <a:pt x="1883569" y="164306"/>
                    <a:pt x="1885474" y="154781"/>
                    <a:pt x="1888331" y="146209"/>
                  </a:cubicBezTo>
                  <a:cubicBezTo>
                    <a:pt x="1892141" y="130016"/>
                    <a:pt x="1894999" y="120491"/>
                    <a:pt x="1894999" y="120491"/>
                  </a:cubicBezTo>
                  <a:cubicBezTo>
                    <a:pt x="1894999" y="120491"/>
                    <a:pt x="1891189" y="129064"/>
                    <a:pt x="1885474" y="144304"/>
                  </a:cubicBezTo>
                  <a:cubicBezTo>
                    <a:pt x="1882616" y="151924"/>
                    <a:pt x="1878806" y="161449"/>
                    <a:pt x="1875949" y="172879"/>
                  </a:cubicBezTo>
                  <a:cubicBezTo>
                    <a:pt x="1874044" y="178594"/>
                    <a:pt x="1872139" y="184309"/>
                    <a:pt x="1870234" y="190976"/>
                  </a:cubicBezTo>
                  <a:cubicBezTo>
                    <a:pt x="1868329" y="197644"/>
                    <a:pt x="1867376" y="204311"/>
                    <a:pt x="1865471" y="210979"/>
                  </a:cubicBezTo>
                  <a:cubicBezTo>
                    <a:pt x="1863566" y="219551"/>
                    <a:pt x="1860709" y="229076"/>
                    <a:pt x="1858804" y="238601"/>
                  </a:cubicBezTo>
                  <a:cubicBezTo>
                    <a:pt x="1858804" y="221456"/>
                    <a:pt x="1857851" y="206216"/>
                    <a:pt x="1856899" y="194786"/>
                  </a:cubicBezTo>
                  <a:cubicBezTo>
                    <a:pt x="1855946" y="181451"/>
                    <a:pt x="1854994" y="172879"/>
                    <a:pt x="1854994" y="172879"/>
                  </a:cubicBezTo>
                  <a:cubicBezTo>
                    <a:pt x="1854994" y="172879"/>
                    <a:pt x="1854041" y="180499"/>
                    <a:pt x="1853089" y="194786"/>
                  </a:cubicBezTo>
                  <a:cubicBezTo>
                    <a:pt x="1852136" y="208121"/>
                    <a:pt x="1850231" y="228124"/>
                    <a:pt x="1848326" y="250984"/>
                  </a:cubicBezTo>
                  <a:cubicBezTo>
                    <a:pt x="1847374" y="260509"/>
                    <a:pt x="1846421" y="271939"/>
                    <a:pt x="1845469" y="282416"/>
                  </a:cubicBezTo>
                  <a:cubicBezTo>
                    <a:pt x="1843564" y="279559"/>
                    <a:pt x="1841659" y="276701"/>
                    <a:pt x="1839754" y="273844"/>
                  </a:cubicBezTo>
                  <a:cubicBezTo>
                    <a:pt x="1839754" y="270986"/>
                    <a:pt x="1838801" y="269081"/>
                    <a:pt x="1838801" y="269081"/>
                  </a:cubicBezTo>
                  <a:cubicBezTo>
                    <a:pt x="1838801" y="269081"/>
                    <a:pt x="1838801" y="270034"/>
                    <a:pt x="1838801" y="272891"/>
                  </a:cubicBezTo>
                  <a:cubicBezTo>
                    <a:pt x="1834039" y="266224"/>
                    <a:pt x="1830229" y="260509"/>
                    <a:pt x="1827371" y="256699"/>
                  </a:cubicBezTo>
                  <a:cubicBezTo>
                    <a:pt x="1829276" y="216694"/>
                    <a:pt x="1828324" y="190976"/>
                    <a:pt x="1828324" y="190976"/>
                  </a:cubicBezTo>
                  <a:cubicBezTo>
                    <a:pt x="1828324" y="190976"/>
                    <a:pt x="1826419" y="202406"/>
                    <a:pt x="1822609" y="222409"/>
                  </a:cubicBezTo>
                  <a:cubicBezTo>
                    <a:pt x="1822609" y="219551"/>
                    <a:pt x="1822609" y="217646"/>
                    <a:pt x="1822609" y="214789"/>
                  </a:cubicBezTo>
                  <a:cubicBezTo>
                    <a:pt x="1822609" y="196691"/>
                    <a:pt x="1821656" y="178594"/>
                    <a:pt x="1822609" y="161449"/>
                  </a:cubicBezTo>
                  <a:cubicBezTo>
                    <a:pt x="1823561" y="144304"/>
                    <a:pt x="1823561" y="129064"/>
                    <a:pt x="1823561" y="113824"/>
                  </a:cubicBezTo>
                  <a:cubicBezTo>
                    <a:pt x="1824514" y="54769"/>
                    <a:pt x="1823561" y="15716"/>
                    <a:pt x="1823561" y="15716"/>
                  </a:cubicBezTo>
                  <a:cubicBezTo>
                    <a:pt x="1823561" y="15716"/>
                    <a:pt x="1817846" y="54769"/>
                    <a:pt x="1812131" y="112871"/>
                  </a:cubicBezTo>
                  <a:cubicBezTo>
                    <a:pt x="1811179" y="127159"/>
                    <a:pt x="1809274" y="143351"/>
                    <a:pt x="1807369" y="160496"/>
                  </a:cubicBezTo>
                  <a:cubicBezTo>
                    <a:pt x="1805464" y="175736"/>
                    <a:pt x="1805464" y="191929"/>
                    <a:pt x="1805464" y="209074"/>
                  </a:cubicBezTo>
                  <a:cubicBezTo>
                    <a:pt x="1803559" y="210026"/>
                    <a:pt x="1802606" y="210979"/>
                    <a:pt x="1801654" y="211931"/>
                  </a:cubicBezTo>
                  <a:lnTo>
                    <a:pt x="1801654" y="211931"/>
                  </a:lnTo>
                  <a:lnTo>
                    <a:pt x="1801654" y="212884"/>
                  </a:lnTo>
                  <a:cubicBezTo>
                    <a:pt x="1797844" y="221456"/>
                    <a:pt x="1794034" y="229076"/>
                    <a:pt x="1790224" y="237649"/>
                  </a:cubicBezTo>
                  <a:cubicBezTo>
                    <a:pt x="1790224" y="217646"/>
                    <a:pt x="1790224" y="207169"/>
                    <a:pt x="1790224" y="207169"/>
                  </a:cubicBezTo>
                  <a:cubicBezTo>
                    <a:pt x="1790224" y="207169"/>
                    <a:pt x="1788319" y="218599"/>
                    <a:pt x="1786414" y="239554"/>
                  </a:cubicBezTo>
                  <a:cubicBezTo>
                    <a:pt x="1786414" y="243364"/>
                    <a:pt x="1785461" y="246221"/>
                    <a:pt x="1784509" y="250984"/>
                  </a:cubicBezTo>
                  <a:cubicBezTo>
                    <a:pt x="1784509" y="251936"/>
                    <a:pt x="1784509" y="251936"/>
                    <a:pt x="1783556" y="252889"/>
                  </a:cubicBezTo>
                  <a:cubicBezTo>
                    <a:pt x="1779746" y="236696"/>
                    <a:pt x="1776889" y="226219"/>
                    <a:pt x="1776889" y="226219"/>
                  </a:cubicBezTo>
                  <a:cubicBezTo>
                    <a:pt x="1776889" y="226219"/>
                    <a:pt x="1776889" y="236696"/>
                    <a:pt x="1777841" y="253841"/>
                  </a:cubicBezTo>
                  <a:cubicBezTo>
                    <a:pt x="1774031" y="244316"/>
                    <a:pt x="1771174" y="236696"/>
                    <a:pt x="1768316" y="230029"/>
                  </a:cubicBezTo>
                  <a:cubicBezTo>
                    <a:pt x="1763554" y="219551"/>
                    <a:pt x="1760696" y="211931"/>
                    <a:pt x="1759744" y="209074"/>
                  </a:cubicBezTo>
                  <a:cubicBezTo>
                    <a:pt x="1759744" y="209074"/>
                    <a:pt x="1759744" y="208121"/>
                    <a:pt x="1759744" y="208121"/>
                  </a:cubicBezTo>
                  <a:cubicBezTo>
                    <a:pt x="1761649" y="202406"/>
                    <a:pt x="1761649" y="198596"/>
                    <a:pt x="1761649" y="198596"/>
                  </a:cubicBezTo>
                  <a:cubicBezTo>
                    <a:pt x="1761649" y="198596"/>
                    <a:pt x="1760696" y="200501"/>
                    <a:pt x="1759744" y="203359"/>
                  </a:cubicBezTo>
                  <a:cubicBezTo>
                    <a:pt x="1759744" y="200501"/>
                    <a:pt x="1759744" y="197644"/>
                    <a:pt x="1759744" y="195739"/>
                  </a:cubicBezTo>
                  <a:cubicBezTo>
                    <a:pt x="1760696" y="187166"/>
                    <a:pt x="1760696" y="178594"/>
                    <a:pt x="1761649" y="171926"/>
                  </a:cubicBezTo>
                  <a:cubicBezTo>
                    <a:pt x="1762601" y="158591"/>
                    <a:pt x="1762601" y="151924"/>
                    <a:pt x="1762601" y="151924"/>
                  </a:cubicBezTo>
                  <a:cubicBezTo>
                    <a:pt x="1762601" y="151924"/>
                    <a:pt x="1760696" y="159544"/>
                    <a:pt x="1756886" y="171926"/>
                  </a:cubicBezTo>
                  <a:cubicBezTo>
                    <a:pt x="1754981" y="180499"/>
                    <a:pt x="1752124" y="191929"/>
                    <a:pt x="1749266" y="205264"/>
                  </a:cubicBezTo>
                  <a:cubicBezTo>
                    <a:pt x="1746409" y="200501"/>
                    <a:pt x="1745456" y="197644"/>
                    <a:pt x="1745456" y="197644"/>
                  </a:cubicBezTo>
                  <a:cubicBezTo>
                    <a:pt x="1745456" y="197644"/>
                    <a:pt x="1746409" y="201454"/>
                    <a:pt x="1749266" y="208121"/>
                  </a:cubicBezTo>
                  <a:cubicBezTo>
                    <a:pt x="1748314" y="213836"/>
                    <a:pt x="1747361" y="219551"/>
                    <a:pt x="1746409" y="225266"/>
                  </a:cubicBezTo>
                  <a:cubicBezTo>
                    <a:pt x="1746409" y="226219"/>
                    <a:pt x="1746409" y="227171"/>
                    <a:pt x="1746409" y="228124"/>
                  </a:cubicBezTo>
                  <a:cubicBezTo>
                    <a:pt x="1741646" y="193834"/>
                    <a:pt x="1737836" y="171926"/>
                    <a:pt x="1737836" y="171926"/>
                  </a:cubicBezTo>
                  <a:cubicBezTo>
                    <a:pt x="1737836" y="171926"/>
                    <a:pt x="1736884" y="204311"/>
                    <a:pt x="1738789" y="252889"/>
                  </a:cubicBezTo>
                  <a:cubicBezTo>
                    <a:pt x="1737836" y="253841"/>
                    <a:pt x="1737836" y="255746"/>
                    <a:pt x="1736884" y="256699"/>
                  </a:cubicBezTo>
                  <a:cubicBezTo>
                    <a:pt x="1735931" y="253841"/>
                    <a:pt x="1735931" y="252889"/>
                    <a:pt x="1735931" y="252889"/>
                  </a:cubicBezTo>
                  <a:cubicBezTo>
                    <a:pt x="1735931" y="252889"/>
                    <a:pt x="1735931" y="254794"/>
                    <a:pt x="1735931" y="257651"/>
                  </a:cubicBezTo>
                  <a:cubicBezTo>
                    <a:pt x="1734979" y="259556"/>
                    <a:pt x="1734026" y="261461"/>
                    <a:pt x="1733074" y="264319"/>
                  </a:cubicBezTo>
                  <a:cubicBezTo>
                    <a:pt x="1731169" y="270034"/>
                    <a:pt x="1729264" y="276701"/>
                    <a:pt x="1727359" y="283369"/>
                  </a:cubicBezTo>
                  <a:cubicBezTo>
                    <a:pt x="1725454" y="288131"/>
                    <a:pt x="1723549" y="293846"/>
                    <a:pt x="1722596" y="299561"/>
                  </a:cubicBezTo>
                  <a:cubicBezTo>
                    <a:pt x="1720691" y="278606"/>
                    <a:pt x="1718786" y="267176"/>
                    <a:pt x="1718786" y="267176"/>
                  </a:cubicBezTo>
                  <a:cubicBezTo>
                    <a:pt x="1718786" y="267176"/>
                    <a:pt x="1717834" y="286226"/>
                    <a:pt x="1716881" y="317659"/>
                  </a:cubicBezTo>
                  <a:cubicBezTo>
                    <a:pt x="1716881" y="317659"/>
                    <a:pt x="1716881" y="318611"/>
                    <a:pt x="1716881" y="318611"/>
                  </a:cubicBezTo>
                  <a:cubicBezTo>
                    <a:pt x="1715929" y="317659"/>
                    <a:pt x="1715929" y="316706"/>
                    <a:pt x="1714976" y="316706"/>
                  </a:cubicBezTo>
                  <a:cubicBezTo>
                    <a:pt x="1712119" y="307181"/>
                    <a:pt x="1710214" y="297656"/>
                    <a:pt x="1707356" y="288131"/>
                  </a:cubicBezTo>
                  <a:cubicBezTo>
                    <a:pt x="1708309" y="270034"/>
                    <a:pt x="1709261" y="252889"/>
                    <a:pt x="1709261" y="237649"/>
                  </a:cubicBezTo>
                  <a:cubicBezTo>
                    <a:pt x="1711166" y="192881"/>
                    <a:pt x="1710214" y="163354"/>
                    <a:pt x="1710214" y="163354"/>
                  </a:cubicBezTo>
                  <a:cubicBezTo>
                    <a:pt x="1710214" y="163354"/>
                    <a:pt x="1705451" y="189071"/>
                    <a:pt x="1698784" y="229076"/>
                  </a:cubicBezTo>
                  <a:cubicBezTo>
                    <a:pt x="1696879" y="219551"/>
                    <a:pt x="1695926" y="210979"/>
                    <a:pt x="1694021" y="203359"/>
                  </a:cubicBezTo>
                  <a:cubicBezTo>
                    <a:pt x="1695926" y="191929"/>
                    <a:pt x="1697831" y="180499"/>
                    <a:pt x="1699736" y="170021"/>
                  </a:cubicBezTo>
                  <a:cubicBezTo>
                    <a:pt x="1702594" y="151924"/>
                    <a:pt x="1705451" y="134779"/>
                    <a:pt x="1706404" y="119539"/>
                  </a:cubicBezTo>
                  <a:cubicBezTo>
                    <a:pt x="1708309" y="104299"/>
                    <a:pt x="1709261" y="91916"/>
                    <a:pt x="1710214" y="80486"/>
                  </a:cubicBezTo>
                  <a:cubicBezTo>
                    <a:pt x="1712119" y="59531"/>
                    <a:pt x="1713071" y="47149"/>
                    <a:pt x="1713071" y="47149"/>
                  </a:cubicBezTo>
                  <a:cubicBezTo>
                    <a:pt x="1713071" y="47149"/>
                    <a:pt x="1710214" y="59531"/>
                    <a:pt x="1706404" y="80486"/>
                  </a:cubicBezTo>
                  <a:cubicBezTo>
                    <a:pt x="1704499" y="90964"/>
                    <a:pt x="1701641" y="104299"/>
                    <a:pt x="1698784" y="118586"/>
                  </a:cubicBezTo>
                  <a:cubicBezTo>
                    <a:pt x="1695926" y="133826"/>
                    <a:pt x="1692116" y="150019"/>
                    <a:pt x="1688306" y="168116"/>
                  </a:cubicBezTo>
                  <a:cubicBezTo>
                    <a:pt x="1688306" y="169069"/>
                    <a:pt x="1687354" y="170974"/>
                    <a:pt x="1687354" y="171926"/>
                  </a:cubicBezTo>
                  <a:cubicBezTo>
                    <a:pt x="1685449" y="164306"/>
                    <a:pt x="1684496" y="160496"/>
                    <a:pt x="1684496" y="160496"/>
                  </a:cubicBezTo>
                  <a:cubicBezTo>
                    <a:pt x="1684496" y="160496"/>
                    <a:pt x="1684496" y="167164"/>
                    <a:pt x="1685449" y="179546"/>
                  </a:cubicBezTo>
                  <a:cubicBezTo>
                    <a:pt x="1684496" y="185261"/>
                    <a:pt x="1682591" y="191929"/>
                    <a:pt x="1681639" y="197644"/>
                  </a:cubicBezTo>
                  <a:cubicBezTo>
                    <a:pt x="1680686" y="195739"/>
                    <a:pt x="1680686" y="194786"/>
                    <a:pt x="1680686" y="192881"/>
                  </a:cubicBezTo>
                  <a:cubicBezTo>
                    <a:pt x="1681639" y="186214"/>
                    <a:pt x="1681639" y="180499"/>
                    <a:pt x="1681639" y="174784"/>
                  </a:cubicBezTo>
                  <a:cubicBezTo>
                    <a:pt x="1681639" y="162401"/>
                    <a:pt x="1682591" y="151924"/>
                    <a:pt x="1682591" y="143351"/>
                  </a:cubicBezTo>
                  <a:cubicBezTo>
                    <a:pt x="1682591" y="126206"/>
                    <a:pt x="1683544" y="115729"/>
                    <a:pt x="1683544" y="115729"/>
                  </a:cubicBezTo>
                  <a:cubicBezTo>
                    <a:pt x="1683544" y="115729"/>
                    <a:pt x="1681639" y="125254"/>
                    <a:pt x="1678781" y="143351"/>
                  </a:cubicBezTo>
                  <a:cubicBezTo>
                    <a:pt x="1677829" y="151924"/>
                    <a:pt x="1675924" y="162401"/>
                    <a:pt x="1674019" y="174784"/>
                  </a:cubicBezTo>
                  <a:cubicBezTo>
                    <a:pt x="1672114" y="187166"/>
                    <a:pt x="1669256" y="200501"/>
                    <a:pt x="1666399" y="215741"/>
                  </a:cubicBezTo>
                  <a:cubicBezTo>
                    <a:pt x="1665446" y="220504"/>
                    <a:pt x="1664494" y="226219"/>
                    <a:pt x="1663541" y="231934"/>
                  </a:cubicBezTo>
                  <a:cubicBezTo>
                    <a:pt x="1662589" y="228124"/>
                    <a:pt x="1661636" y="225266"/>
                    <a:pt x="1661636" y="225266"/>
                  </a:cubicBezTo>
                  <a:cubicBezTo>
                    <a:pt x="1661636" y="225266"/>
                    <a:pt x="1661636" y="229076"/>
                    <a:pt x="1662589" y="236696"/>
                  </a:cubicBezTo>
                  <a:cubicBezTo>
                    <a:pt x="1661636" y="242411"/>
                    <a:pt x="1660684" y="248126"/>
                    <a:pt x="1659731" y="253841"/>
                  </a:cubicBezTo>
                  <a:cubicBezTo>
                    <a:pt x="1659731" y="252889"/>
                    <a:pt x="1658779" y="251936"/>
                    <a:pt x="1658779" y="251936"/>
                  </a:cubicBezTo>
                  <a:cubicBezTo>
                    <a:pt x="1654969" y="240506"/>
                    <a:pt x="1650206" y="230981"/>
                    <a:pt x="1646396" y="223361"/>
                  </a:cubicBezTo>
                  <a:cubicBezTo>
                    <a:pt x="1645444" y="220504"/>
                    <a:pt x="1643539" y="218599"/>
                    <a:pt x="1642586" y="215741"/>
                  </a:cubicBezTo>
                  <a:cubicBezTo>
                    <a:pt x="1642586" y="210979"/>
                    <a:pt x="1642586" y="207169"/>
                    <a:pt x="1642586" y="202406"/>
                  </a:cubicBezTo>
                  <a:cubicBezTo>
                    <a:pt x="1641634" y="186214"/>
                    <a:pt x="1641634" y="170021"/>
                    <a:pt x="1640681" y="154781"/>
                  </a:cubicBezTo>
                  <a:cubicBezTo>
                    <a:pt x="1639729" y="139541"/>
                    <a:pt x="1637824" y="125254"/>
                    <a:pt x="1635919" y="111919"/>
                  </a:cubicBezTo>
                  <a:cubicBezTo>
                    <a:pt x="1630204" y="58579"/>
                    <a:pt x="1624489" y="23336"/>
                    <a:pt x="1624489" y="23336"/>
                  </a:cubicBezTo>
                  <a:cubicBezTo>
                    <a:pt x="1624489" y="23336"/>
                    <a:pt x="1623536" y="58579"/>
                    <a:pt x="1624489" y="111919"/>
                  </a:cubicBezTo>
                  <a:cubicBezTo>
                    <a:pt x="1624489" y="125254"/>
                    <a:pt x="1624489" y="139541"/>
                    <a:pt x="1625441" y="154781"/>
                  </a:cubicBezTo>
                  <a:cubicBezTo>
                    <a:pt x="1626394" y="170021"/>
                    <a:pt x="1624489" y="186214"/>
                    <a:pt x="1625441" y="202406"/>
                  </a:cubicBezTo>
                  <a:cubicBezTo>
                    <a:pt x="1625441" y="210026"/>
                    <a:pt x="1625441" y="217646"/>
                    <a:pt x="1625441" y="225266"/>
                  </a:cubicBezTo>
                  <a:cubicBezTo>
                    <a:pt x="1625441" y="227171"/>
                    <a:pt x="1625441" y="229076"/>
                    <a:pt x="1625441" y="230981"/>
                  </a:cubicBezTo>
                  <a:cubicBezTo>
                    <a:pt x="1624489" y="230029"/>
                    <a:pt x="1624489" y="228124"/>
                    <a:pt x="1623536" y="227171"/>
                  </a:cubicBezTo>
                  <a:cubicBezTo>
                    <a:pt x="1620679" y="211931"/>
                    <a:pt x="1619726" y="203359"/>
                    <a:pt x="1619726" y="203359"/>
                  </a:cubicBezTo>
                  <a:cubicBezTo>
                    <a:pt x="1619726" y="203359"/>
                    <a:pt x="1619726" y="208121"/>
                    <a:pt x="1619726" y="217646"/>
                  </a:cubicBezTo>
                  <a:cubicBezTo>
                    <a:pt x="1613059" y="201454"/>
                    <a:pt x="1608296" y="190976"/>
                    <a:pt x="1608296" y="190976"/>
                  </a:cubicBezTo>
                  <a:cubicBezTo>
                    <a:pt x="1608296" y="190976"/>
                    <a:pt x="1612106" y="207169"/>
                    <a:pt x="1619726" y="233839"/>
                  </a:cubicBezTo>
                  <a:cubicBezTo>
                    <a:pt x="1619726" y="236696"/>
                    <a:pt x="1619726" y="239554"/>
                    <a:pt x="1619726" y="242411"/>
                  </a:cubicBezTo>
                  <a:cubicBezTo>
                    <a:pt x="1615916" y="236696"/>
                    <a:pt x="1613059" y="233839"/>
                    <a:pt x="1613059" y="233839"/>
                  </a:cubicBezTo>
                  <a:cubicBezTo>
                    <a:pt x="1613059" y="233839"/>
                    <a:pt x="1614964" y="238601"/>
                    <a:pt x="1619726" y="247174"/>
                  </a:cubicBezTo>
                  <a:cubicBezTo>
                    <a:pt x="1616869" y="250984"/>
                    <a:pt x="1614011" y="256699"/>
                    <a:pt x="1610201" y="264319"/>
                  </a:cubicBezTo>
                  <a:cubicBezTo>
                    <a:pt x="1609249" y="266224"/>
                    <a:pt x="1608296" y="268129"/>
                    <a:pt x="1607344" y="270034"/>
                  </a:cubicBezTo>
                  <a:cubicBezTo>
                    <a:pt x="1607344" y="269081"/>
                    <a:pt x="1606391" y="269081"/>
                    <a:pt x="1606391" y="269081"/>
                  </a:cubicBezTo>
                  <a:cubicBezTo>
                    <a:pt x="1606391" y="269081"/>
                    <a:pt x="1606391" y="269081"/>
                    <a:pt x="1607344" y="270034"/>
                  </a:cubicBezTo>
                  <a:cubicBezTo>
                    <a:pt x="1605439" y="273844"/>
                    <a:pt x="1603534" y="277654"/>
                    <a:pt x="1601629" y="282416"/>
                  </a:cubicBezTo>
                  <a:cubicBezTo>
                    <a:pt x="1601629" y="277654"/>
                    <a:pt x="1600676" y="273844"/>
                    <a:pt x="1600676" y="269081"/>
                  </a:cubicBezTo>
                  <a:cubicBezTo>
                    <a:pt x="1598771" y="243364"/>
                    <a:pt x="1596866" y="221456"/>
                    <a:pt x="1595914" y="207169"/>
                  </a:cubicBezTo>
                  <a:cubicBezTo>
                    <a:pt x="1594961" y="191929"/>
                    <a:pt x="1594009" y="183356"/>
                    <a:pt x="1594009" y="183356"/>
                  </a:cubicBezTo>
                  <a:cubicBezTo>
                    <a:pt x="1594009" y="183356"/>
                    <a:pt x="1593056" y="191929"/>
                    <a:pt x="1592104" y="207169"/>
                  </a:cubicBezTo>
                  <a:cubicBezTo>
                    <a:pt x="1592104" y="212884"/>
                    <a:pt x="1591151" y="219551"/>
                    <a:pt x="1591151" y="227171"/>
                  </a:cubicBezTo>
                  <a:cubicBezTo>
                    <a:pt x="1589246" y="216694"/>
                    <a:pt x="1586389" y="207169"/>
                    <a:pt x="1583531" y="197644"/>
                  </a:cubicBezTo>
                  <a:cubicBezTo>
                    <a:pt x="1581626" y="190976"/>
                    <a:pt x="1579721" y="185261"/>
                    <a:pt x="1578769" y="179546"/>
                  </a:cubicBezTo>
                  <a:cubicBezTo>
                    <a:pt x="1576864" y="173831"/>
                    <a:pt x="1574959" y="168116"/>
                    <a:pt x="1573054" y="163354"/>
                  </a:cubicBezTo>
                  <a:cubicBezTo>
                    <a:pt x="1569244" y="152876"/>
                    <a:pt x="1566386" y="144304"/>
                    <a:pt x="1563529" y="137636"/>
                  </a:cubicBezTo>
                  <a:cubicBezTo>
                    <a:pt x="1556861" y="123349"/>
                    <a:pt x="1554004" y="115729"/>
                    <a:pt x="1554004" y="115729"/>
                  </a:cubicBezTo>
                  <a:cubicBezTo>
                    <a:pt x="1554004" y="115729"/>
                    <a:pt x="1555909" y="124301"/>
                    <a:pt x="1560671" y="138589"/>
                  </a:cubicBezTo>
                  <a:cubicBezTo>
                    <a:pt x="1562576" y="146209"/>
                    <a:pt x="1564481" y="154781"/>
                    <a:pt x="1567339" y="165259"/>
                  </a:cubicBezTo>
                  <a:cubicBezTo>
                    <a:pt x="1568291" y="170021"/>
                    <a:pt x="1569244" y="175736"/>
                    <a:pt x="1571149" y="181451"/>
                  </a:cubicBezTo>
                  <a:cubicBezTo>
                    <a:pt x="1572101" y="187166"/>
                    <a:pt x="1573054" y="192881"/>
                    <a:pt x="1574006" y="199549"/>
                  </a:cubicBezTo>
                  <a:cubicBezTo>
                    <a:pt x="1576864" y="211931"/>
                    <a:pt x="1577816" y="226219"/>
                    <a:pt x="1579721" y="240506"/>
                  </a:cubicBezTo>
                  <a:cubicBezTo>
                    <a:pt x="1581626" y="253841"/>
                    <a:pt x="1582579" y="269081"/>
                    <a:pt x="1584484" y="283369"/>
                  </a:cubicBezTo>
                  <a:cubicBezTo>
                    <a:pt x="1581626" y="274796"/>
                    <a:pt x="1579721" y="266224"/>
                    <a:pt x="1576864" y="258604"/>
                  </a:cubicBezTo>
                  <a:cubicBezTo>
                    <a:pt x="1575911" y="255746"/>
                    <a:pt x="1574959" y="252889"/>
                    <a:pt x="1573054" y="249079"/>
                  </a:cubicBezTo>
                  <a:cubicBezTo>
                    <a:pt x="1573054" y="249079"/>
                    <a:pt x="1573054" y="248126"/>
                    <a:pt x="1573054" y="247174"/>
                  </a:cubicBezTo>
                  <a:cubicBezTo>
                    <a:pt x="1573054" y="243364"/>
                    <a:pt x="1573054" y="238601"/>
                    <a:pt x="1572101" y="234791"/>
                  </a:cubicBezTo>
                  <a:cubicBezTo>
                    <a:pt x="1571149" y="221456"/>
                    <a:pt x="1569244" y="209074"/>
                    <a:pt x="1567339" y="198596"/>
                  </a:cubicBezTo>
                  <a:cubicBezTo>
                    <a:pt x="1566386" y="192881"/>
                    <a:pt x="1564481" y="188119"/>
                    <a:pt x="1563529" y="184309"/>
                  </a:cubicBezTo>
                  <a:cubicBezTo>
                    <a:pt x="1561624" y="179546"/>
                    <a:pt x="1560671" y="175736"/>
                    <a:pt x="1558766" y="171926"/>
                  </a:cubicBezTo>
                  <a:cubicBezTo>
                    <a:pt x="1555909" y="164306"/>
                    <a:pt x="1553051" y="159544"/>
                    <a:pt x="1550194" y="155734"/>
                  </a:cubicBezTo>
                  <a:cubicBezTo>
                    <a:pt x="1548289" y="151924"/>
                    <a:pt x="1546384" y="150019"/>
                    <a:pt x="1546384" y="150019"/>
                  </a:cubicBezTo>
                  <a:cubicBezTo>
                    <a:pt x="1546384" y="150019"/>
                    <a:pt x="1547336" y="151924"/>
                    <a:pt x="1549241" y="155734"/>
                  </a:cubicBezTo>
                  <a:cubicBezTo>
                    <a:pt x="1551146" y="159544"/>
                    <a:pt x="1553051" y="165259"/>
                    <a:pt x="1554956" y="171926"/>
                  </a:cubicBezTo>
                  <a:cubicBezTo>
                    <a:pt x="1555909" y="175736"/>
                    <a:pt x="1556861" y="179546"/>
                    <a:pt x="1557814" y="184309"/>
                  </a:cubicBezTo>
                  <a:cubicBezTo>
                    <a:pt x="1557814" y="189071"/>
                    <a:pt x="1558766" y="193834"/>
                    <a:pt x="1559719" y="198596"/>
                  </a:cubicBezTo>
                  <a:cubicBezTo>
                    <a:pt x="1559719" y="203359"/>
                    <a:pt x="1560671" y="208121"/>
                    <a:pt x="1560671" y="213836"/>
                  </a:cubicBezTo>
                  <a:cubicBezTo>
                    <a:pt x="1560671" y="214789"/>
                    <a:pt x="1560671" y="215741"/>
                    <a:pt x="1559719" y="216694"/>
                  </a:cubicBezTo>
                  <a:cubicBezTo>
                    <a:pt x="1558766" y="213836"/>
                    <a:pt x="1556861" y="210979"/>
                    <a:pt x="1555909" y="208121"/>
                  </a:cubicBezTo>
                  <a:cubicBezTo>
                    <a:pt x="1554004" y="203359"/>
                    <a:pt x="1551146" y="199549"/>
                    <a:pt x="1549241" y="194786"/>
                  </a:cubicBezTo>
                  <a:cubicBezTo>
                    <a:pt x="1545431" y="186214"/>
                    <a:pt x="1541621" y="179546"/>
                    <a:pt x="1537811" y="173831"/>
                  </a:cubicBezTo>
                  <a:cubicBezTo>
                    <a:pt x="1530191" y="162401"/>
                    <a:pt x="1526381" y="156686"/>
                    <a:pt x="1526381" y="156686"/>
                  </a:cubicBezTo>
                  <a:cubicBezTo>
                    <a:pt x="1526381" y="156686"/>
                    <a:pt x="1529239" y="163354"/>
                    <a:pt x="1534001" y="175736"/>
                  </a:cubicBezTo>
                  <a:cubicBezTo>
                    <a:pt x="1536859" y="181451"/>
                    <a:pt x="1539716" y="189071"/>
                    <a:pt x="1542574" y="197644"/>
                  </a:cubicBezTo>
                  <a:cubicBezTo>
                    <a:pt x="1543526" y="201454"/>
                    <a:pt x="1545431" y="205264"/>
                    <a:pt x="1546384" y="209074"/>
                  </a:cubicBezTo>
                  <a:cubicBezTo>
                    <a:pt x="1546384" y="208121"/>
                    <a:pt x="1545431" y="208121"/>
                    <a:pt x="1545431" y="208121"/>
                  </a:cubicBezTo>
                  <a:cubicBezTo>
                    <a:pt x="1545431" y="208121"/>
                    <a:pt x="1546384" y="209074"/>
                    <a:pt x="1546384" y="210979"/>
                  </a:cubicBezTo>
                  <a:cubicBezTo>
                    <a:pt x="1548289" y="215741"/>
                    <a:pt x="1549241" y="220504"/>
                    <a:pt x="1551146" y="226219"/>
                  </a:cubicBezTo>
                  <a:cubicBezTo>
                    <a:pt x="1552099" y="228124"/>
                    <a:pt x="1552099" y="229076"/>
                    <a:pt x="1552099" y="230981"/>
                  </a:cubicBezTo>
                  <a:cubicBezTo>
                    <a:pt x="1552099" y="232886"/>
                    <a:pt x="1553051" y="233839"/>
                    <a:pt x="1553051" y="235744"/>
                  </a:cubicBezTo>
                  <a:cubicBezTo>
                    <a:pt x="1553051" y="237649"/>
                    <a:pt x="1553051" y="239554"/>
                    <a:pt x="1554004" y="241459"/>
                  </a:cubicBezTo>
                  <a:cubicBezTo>
                    <a:pt x="1554004" y="242411"/>
                    <a:pt x="1554004" y="243364"/>
                    <a:pt x="1554004" y="244316"/>
                  </a:cubicBezTo>
                  <a:cubicBezTo>
                    <a:pt x="1554004" y="246221"/>
                    <a:pt x="1553051" y="248126"/>
                    <a:pt x="1553051" y="250031"/>
                  </a:cubicBezTo>
                  <a:cubicBezTo>
                    <a:pt x="1551146" y="253841"/>
                    <a:pt x="1549241" y="257651"/>
                    <a:pt x="1547336" y="263366"/>
                  </a:cubicBezTo>
                  <a:cubicBezTo>
                    <a:pt x="1545431" y="258604"/>
                    <a:pt x="1543526" y="254794"/>
                    <a:pt x="1542574" y="251936"/>
                  </a:cubicBezTo>
                  <a:cubicBezTo>
                    <a:pt x="1542574" y="249079"/>
                    <a:pt x="1542574" y="245269"/>
                    <a:pt x="1542574" y="243364"/>
                  </a:cubicBezTo>
                  <a:cubicBezTo>
                    <a:pt x="1542574" y="230029"/>
                    <a:pt x="1542574" y="222409"/>
                    <a:pt x="1542574" y="222409"/>
                  </a:cubicBezTo>
                  <a:cubicBezTo>
                    <a:pt x="1542574" y="222409"/>
                    <a:pt x="1541621" y="230029"/>
                    <a:pt x="1538764" y="243364"/>
                  </a:cubicBezTo>
                  <a:cubicBezTo>
                    <a:pt x="1538764" y="243364"/>
                    <a:pt x="1538764" y="243364"/>
                    <a:pt x="1538764" y="243364"/>
                  </a:cubicBezTo>
                  <a:cubicBezTo>
                    <a:pt x="1534001" y="232886"/>
                    <a:pt x="1531144" y="226219"/>
                    <a:pt x="1531144" y="226219"/>
                  </a:cubicBezTo>
                  <a:cubicBezTo>
                    <a:pt x="1531144" y="226219"/>
                    <a:pt x="1533049" y="234791"/>
                    <a:pt x="1537811" y="250031"/>
                  </a:cubicBezTo>
                  <a:cubicBezTo>
                    <a:pt x="1537811" y="252889"/>
                    <a:pt x="1536859" y="255746"/>
                    <a:pt x="1536859" y="258604"/>
                  </a:cubicBezTo>
                  <a:cubicBezTo>
                    <a:pt x="1534954" y="251936"/>
                    <a:pt x="1533049" y="245269"/>
                    <a:pt x="1531144" y="239554"/>
                  </a:cubicBezTo>
                  <a:cubicBezTo>
                    <a:pt x="1529239" y="232886"/>
                    <a:pt x="1527334" y="227171"/>
                    <a:pt x="1525429" y="220504"/>
                  </a:cubicBezTo>
                  <a:cubicBezTo>
                    <a:pt x="1524476" y="217646"/>
                    <a:pt x="1523524" y="214789"/>
                    <a:pt x="1521619" y="211931"/>
                  </a:cubicBezTo>
                  <a:cubicBezTo>
                    <a:pt x="1518761" y="173831"/>
                    <a:pt x="1515904" y="150019"/>
                    <a:pt x="1515904" y="150019"/>
                  </a:cubicBezTo>
                  <a:cubicBezTo>
                    <a:pt x="1515904" y="150019"/>
                    <a:pt x="1514951" y="166211"/>
                    <a:pt x="1513046" y="192881"/>
                  </a:cubicBezTo>
                  <a:cubicBezTo>
                    <a:pt x="1510189" y="187166"/>
                    <a:pt x="1508284" y="182404"/>
                    <a:pt x="1506379" y="177641"/>
                  </a:cubicBezTo>
                  <a:cubicBezTo>
                    <a:pt x="1499711" y="163354"/>
                    <a:pt x="1495901" y="154781"/>
                    <a:pt x="1495901" y="154781"/>
                  </a:cubicBezTo>
                  <a:cubicBezTo>
                    <a:pt x="1495901" y="154781"/>
                    <a:pt x="1497806" y="163354"/>
                    <a:pt x="1502569" y="178594"/>
                  </a:cubicBezTo>
                  <a:cubicBezTo>
                    <a:pt x="1503521" y="182404"/>
                    <a:pt x="1504474" y="186214"/>
                    <a:pt x="1505426" y="190024"/>
                  </a:cubicBezTo>
                  <a:cubicBezTo>
                    <a:pt x="1505426" y="189071"/>
                    <a:pt x="1504474" y="189071"/>
                    <a:pt x="1504474" y="189071"/>
                  </a:cubicBezTo>
                  <a:cubicBezTo>
                    <a:pt x="1504474" y="189071"/>
                    <a:pt x="1506379" y="196691"/>
                    <a:pt x="1510189" y="210026"/>
                  </a:cubicBezTo>
                  <a:cubicBezTo>
                    <a:pt x="1510189" y="210979"/>
                    <a:pt x="1511141" y="212884"/>
                    <a:pt x="1511141" y="213836"/>
                  </a:cubicBezTo>
                  <a:cubicBezTo>
                    <a:pt x="1511141" y="220504"/>
                    <a:pt x="1510189" y="227171"/>
                    <a:pt x="1510189" y="233839"/>
                  </a:cubicBezTo>
                  <a:cubicBezTo>
                    <a:pt x="1510189" y="241459"/>
                    <a:pt x="1509236" y="250031"/>
                    <a:pt x="1509236" y="258604"/>
                  </a:cubicBezTo>
                  <a:cubicBezTo>
                    <a:pt x="1503521" y="241459"/>
                    <a:pt x="1498759" y="230981"/>
                    <a:pt x="1498759" y="230981"/>
                  </a:cubicBezTo>
                  <a:cubicBezTo>
                    <a:pt x="1498759" y="230981"/>
                    <a:pt x="1501616" y="248126"/>
                    <a:pt x="1508284" y="275749"/>
                  </a:cubicBezTo>
                  <a:cubicBezTo>
                    <a:pt x="1508284" y="279559"/>
                    <a:pt x="1508284" y="283369"/>
                    <a:pt x="1507331" y="288131"/>
                  </a:cubicBezTo>
                  <a:cubicBezTo>
                    <a:pt x="1506379" y="290036"/>
                    <a:pt x="1505426" y="290989"/>
                    <a:pt x="1504474" y="292894"/>
                  </a:cubicBezTo>
                  <a:cubicBezTo>
                    <a:pt x="1503521" y="294799"/>
                    <a:pt x="1501616" y="296704"/>
                    <a:pt x="1500664" y="298609"/>
                  </a:cubicBezTo>
                  <a:cubicBezTo>
                    <a:pt x="1497806" y="287179"/>
                    <a:pt x="1495901" y="275749"/>
                    <a:pt x="1493044" y="266224"/>
                  </a:cubicBezTo>
                  <a:cubicBezTo>
                    <a:pt x="1495901" y="253841"/>
                    <a:pt x="1497806" y="246221"/>
                    <a:pt x="1497806" y="246221"/>
                  </a:cubicBezTo>
                  <a:cubicBezTo>
                    <a:pt x="1497806" y="246221"/>
                    <a:pt x="1495901" y="251936"/>
                    <a:pt x="1491139" y="260509"/>
                  </a:cubicBezTo>
                  <a:cubicBezTo>
                    <a:pt x="1491139" y="260509"/>
                    <a:pt x="1491139" y="259556"/>
                    <a:pt x="1491139" y="259556"/>
                  </a:cubicBezTo>
                  <a:cubicBezTo>
                    <a:pt x="1491139" y="253841"/>
                    <a:pt x="1490186" y="249079"/>
                    <a:pt x="1490186" y="244316"/>
                  </a:cubicBezTo>
                  <a:cubicBezTo>
                    <a:pt x="1490186" y="242411"/>
                    <a:pt x="1490186" y="240506"/>
                    <a:pt x="1489234" y="238601"/>
                  </a:cubicBezTo>
                  <a:cubicBezTo>
                    <a:pt x="1489234" y="237649"/>
                    <a:pt x="1489234" y="237649"/>
                    <a:pt x="1489234" y="237649"/>
                  </a:cubicBezTo>
                  <a:cubicBezTo>
                    <a:pt x="1489234" y="237649"/>
                    <a:pt x="1489234" y="237649"/>
                    <a:pt x="1489234" y="238601"/>
                  </a:cubicBezTo>
                  <a:cubicBezTo>
                    <a:pt x="1488281" y="230981"/>
                    <a:pt x="1488281" y="225266"/>
                    <a:pt x="1486376" y="219551"/>
                  </a:cubicBezTo>
                  <a:cubicBezTo>
                    <a:pt x="1483519" y="206216"/>
                    <a:pt x="1482566" y="198596"/>
                    <a:pt x="1482566" y="198596"/>
                  </a:cubicBezTo>
                  <a:cubicBezTo>
                    <a:pt x="1482566" y="198596"/>
                    <a:pt x="1482566" y="206216"/>
                    <a:pt x="1482566" y="220504"/>
                  </a:cubicBezTo>
                  <a:cubicBezTo>
                    <a:pt x="1482566" y="222409"/>
                    <a:pt x="1482566" y="225266"/>
                    <a:pt x="1482566" y="228124"/>
                  </a:cubicBezTo>
                  <a:cubicBezTo>
                    <a:pt x="1476851" y="206216"/>
                    <a:pt x="1473041" y="193834"/>
                    <a:pt x="1473041" y="193834"/>
                  </a:cubicBezTo>
                  <a:cubicBezTo>
                    <a:pt x="1473041" y="193834"/>
                    <a:pt x="1474946" y="220504"/>
                    <a:pt x="1479709" y="259556"/>
                  </a:cubicBezTo>
                  <a:cubicBezTo>
                    <a:pt x="1479709" y="260509"/>
                    <a:pt x="1478756" y="261461"/>
                    <a:pt x="1478756" y="262414"/>
                  </a:cubicBezTo>
                  <a:cubicBezTo>
                    <a:pt x="1477804" y="263366"/>
                    <a:pt x="1477804" y="265271"/>
                    <a:pt x="1476851" y="266224"/>
                  </a:cubicBezTo>
                  <a:cubicBezTo>
                    <a:pt x="1476851" y="263366"/>
                    <a:pt x="1475899" y="260509"/>
                    <a:pt x="1475899" y="257651"/>
                  </a:cubicBezTo>
                  <a:cubicBezTo>
                    <a:pt x="1473994" y="244316"/>
                    <a:pt x="1473041" y="232886"/>
                    <a:pt x="1471136" y="221456"/>
                  </a:cubicBezTo>
                  <a:cubicBezTo>
                    <a:pt x="1469231" y="210979"/>
                    <a:pt x="1468279" y="201454"/>
                    <a:pt x="1466374" y="193834"/>
                  </a:cubicBezTo>
                  <a:cubicBezTo>
                    <a:pt x="1462564" y="178594"/>
                    <a:pt x="1460659" y="170021"/>
                    <a:pt x="1460659" y="170021"/>
                  </a:cubicBezTo>
                  <a:cubicBezTo>
                    <a:pt x="1460659" y="170021"/>
                    <a:pt x="1461611" y="178594"/>
                    <a:pt x="1462564" y="193834"/>
                  </a:cubicBezTo>
                  <a:cubicBezTo>
                    <a:pt x="1463516" y="201454"/>
                    <a:pt x="1463516" y="210979"/>
                    <a:pt x="1464469" y="221456"/>
                  </a:cubicBezTo>
                  <a:cubicBezTo>
                    <a:pt x="1465421" y="231934"/>
                    <a:pt x="1465421" y="244316"/>
                    <a:pt x="1465421" y="257651"/>
                  </a:cubicBezTo>
                  <a:cubicBezTo>
                    <a:pt x="1465421" y="263366"/>
                    <a:pt x="1465421" y="269081"/>
                    <a:pt x="1465421" y="275749"/>
                  </a:cubicBezTo>
                  <a:cubicBezTo>
                    <a:pt x="1462564" y="265271"/>
                    <a:pt x="1458754" y="254794"/>
                    <a:pt x="1455896" y="246221"/>
                  </a:cubicBezTo>
                  <a:cubicBezTo>
                    <a:pt x="1453039" y="235744"/>
                    <a:pt x="1450181" y="226219"/>
                    <a:pt x="1447324" y="218599"/>
                  </a:cubicBezTo>
                  <a:cubicBezTo>
                    <a:pt x="1442561" y="203359"/>
                    <a:pt x="1439704" y="194786"/>
                    <a:pt x="1439704" y="194786"/>
                  </a:cubicBezTo>
                  <a:cubicBezTo>
                    <a:pt x="1439704" y="194786"/>
                    <a:pt x="1440656" y="202406"/>
                    <a:pt x="1442561" y="215741"/>
                  </a:cubicBezTo>
                  <a:cubicBezTo>
                    <a:pt x="1439704" y="203359"/>
                    <a:pt x="1437799" y="193834"/>
                    <a:pt x="1435894" y="185261"/>
                  </a:cubicBezTo>
                  <a:cubicBezTo>
                    <a:pt x="1435894" y="169069"/>
                    <a:pt x="1435894" y="159544"/>
                    <a:pt x="1435894" y="159544"/>
                  </a:cubicBezTo>
                  <a:cubicBezTo>
                    <a:pt x="1435894" y="159544"/>
                    <a:pt x="1434941" y="164306"/>
                    <a:pt x="1433036" y="173831"/>
                  </a:cubicBezTo>
                  <a:cubicBezTo>
                    <a:pt x="1431131" y="165259"/>
                    <a:pt x="1430179" y="160496"/>
                    <a:pt x="1430179" y="160496"/>
                  </a:cubicBezTo>
                  <a:cubicBezTo>
                    <a:pt x="1430179" y="160496"/>
                    <a:pt x="1430179" y="162401"/>
                    <a:pt x="1430179" y="166211"/>
                  </a:cubicBezTo>
                  <a:cubicBezTo>
                    <a:pt x="1428274" y="158591"/>
                    <a:pt x="1427321" y="151924"/>
                    <a:pt x="1425416" y="147161"/>
                  </a:cubicBezTo>
                  <a:cubicBezTo>
                    <a:pt x="1421606" y="134779"/>
                    <a:pt x="1418749" y="127159"/>
                    <a:pt x="1418749" y="127159"/>
                  </a:cubicBezTo>
                  <a:cubicBezTo>
                    <a:pt x="1418749" y="127159"/>
                    <a:pt x="1419701" y="134779"/>
                    <a:pt x="1421606" y="148114"/>
                  </a:cubicBezTo>
                  <a:cubicBezTo>
                    <a:pt x="1422559" y="154781"/>
                    <a:pt x="1423511" y="162401"/>
                    <a:pt x="1423511" y="171926"/>
                  </a:cubicBezTo>
                  <a:cubicBezTo>
                    <a:pt x="1424464" y="181451"/>
                    <a:pt x="1424464" y="190976"/>
                    <a:pt x="1425416" y="202406"/>
                  </a:cubicBezTo>
                  <a:cubicBezTo>
                    <a:pt x="1425416" y="208121"/>
                    <a:pt x="1426369" y="212884"/>
                    <a:pt x="1426369" y="218599"/>
                  </a:cubicBezTo>
                  <a:cubicBezTo>
                    <a:pt x="1425416" y="224314"/>
                    <a:pt x="1424464" y="230029"/>
                    <a:pt x="1424464" y="235744"/>
                  </a:cubicBezTo>
                  <a:cubicBezTo>
                    <a:pt x="1423511" y="231934"/>
                    <a:pt x="1422559" y="229076"/>
                    <a:pt x="1421606" y="226219"/>
                  </a:cubicBezTo>
                  <a:cubicBezTo>
                    <a:pt x="1419701" y="219551"/>
                    <a:pt x="1416844" y="214789"/>
                    <a:pt x="1415891" y="210026"/>
                  </a:cubicBezTo>
                  <a:cubicBezTo>
                    <a:pt x="1412081" y="201454"/>
                    <a:pt x="1410176" y="195739"/>
                    <a:pt x="1410176" y="195739"/>
                  </a:cubicBezTo>
                  <a:cubicBezTo>
                    <a:pt x="1410176" y="195739"/>
                    <a:pt x="1411129" y="201454"/>
                    <a:pt x="1412081" y="210979"/>
                  </a:cubicBezTo>
                  <a:cubicBezTo>
                    <a:pt x="1413034" y="215741"/>
                    <a:pt x="1413986" y="221456"/>
                    <a:pt x="1414939" y="228124"/>
                  </a:cubicBezTo>
                  <a:cubicBezTo>
                    <a:pt x="1415891" y="234791"/>
                    <a:pt x="1416844" y="241459"/>
                    <a:pt x="1416844" y="250031"/>
                  </a:cubicBezTo>
                  <a:cubicBezTo>
                    <a:pt x="1416844" y="255746"/>
                    <a:pt x="1417796" y="261461"/>
                    <a:pt x="1418749" y="268129"/>
                  </a:cubicBezTo>
                  <a:cubicBezTo>
                    <a:pt x="1416844" y="270986"/>
                    <a:pt x="1414939" y="273844"/>
                    <a:pt x="1413034" y="277654"/>
                  </a:cubicBezTo>
                  <a:cubicBezTo>
                    <a:pt x="1412081" y="275749"/>
                    <a:pt x="1412081" y="273844"/>
                    <a:pt x="1411129" y="271939"/>
                  </a:cubicBezTo>
                  <a:cubicBezTo>
                    <a:pt x="1406366" y="237649"/>
                    <a:pt x="1401604" y="215741"/>
                    <a:pt x="1401604" y="215741"/>
                  </a:cubicBezTo>
                  <a:cubicBezTo>
                    <a:pt x="1401604" y="215741"/>
                    <a:pt x="1401604" y="226219"/>
                    <a:pt x="1400651" y="243364"/>
                  </a:cubicBezTo>
                  <a:cubicBezTo>
                    <a:pt x="1397794" y="233839"/>
                    <a:pt x="1394936" y="226219"/>
                    <a:pt x="1392079" y="219551"/>
                  </a:cubicBezTo>
                  <a:cubicBezTo>
                    <a:pt x="1392079" y="217646"/>
                    <a:pt x="1393031" y="215741"/>
                    <a:pt x="1393031" y="213836"/>
                  </a:cubicBezTo>
                  <a:cubicBezTo>
                    <a:pt x="1393984" y="212884"/>
                    <a:pt x="1394936" y="211931"/>
                    <a:pt x="1395889" y="210979"/>
                  </a:cubicBezTo>
                  <a:cubicBezTo>
                    <a:pt x="1399699" y="207169"/>
                    <a:pt x="1400651" y="205264"/>
                    <a:pt x="1400651" y="205264"/>
                  </a:cubicBezTo>
                  <a:cubicBezTo>
                    <a:pt x="1400651" y="205264"/>
                    <a:pt x="1398746" y="207169"/>
                    <a:pt x="1394936" y="210026"/>
                  </a:cubicBezTo>
                  <a:cubicBezTo>
                    <a:pt x="1394936" y="210026"/>
                    <a:pt x="1393984" y="210979"/>
                    <a:pt x="1393031" y="210979"/>
                  </a:cubicBezTo>
                  <a:cubicBezTo>
                    <a:pt x="1393984" y="205264"/>
                    <a:pt x="1394936" y="202406"/>
                    <a:pt x="1394936" y="202406"/>
                  </a:cubicBezTo>
                  <a:cubicBezTo>
                    <a:pt x="1394936" y="202406"/>
                    <a:pt x="1393031" y="206216"/>
                    <a:pt x="1391126" y="212884"/>
                  </a:cubicBezTo>
                  <a:cubicBezTo>
                    <a:pt x="1391126" y="212884"/>
                    <a:pt x="1390174" y="213836"/>
                    <a:pt x="1390174" y="213836"/>
                  </a:cubicBezTo>
                  <a:cubicBezTo>
                    <a:pt x="1386364" y="204311"/>
                    <a:pt x="1384459" y="199549"/>
                    <a:pt x="1384459" y="199549"/>
                  </a:cubicBezTo>
                  <a:cubicBezTo>
                    <a:pt x="1384459" y="199549"/>
                    <a:pt x="1385411" y="205264"/>
                    <a:pt x="1387316" y="215741"/>
                  </a:cubicBezTo>
                  <a:cubicBezTo>
                    <a:pt x="1384459" y="218599"/>
                    <a:pt x="1382554" y="220504"/>
                    <a:pt x="1378744" y="224314"/>
                  </a:cubicBezTo>
                  <a:cubicBezTo>
                    <a:pt x="1374934" y="229076"/>
                    <a:pt x="1371124" y="233839"/>
                    <a:pt x="1367314" y="240506"/>
                  </a:cubicBezTo>
                  <a:cubicBezTo>
                    <a:pt x="1363504" y="230029"/>
                    <a:pt x="1358741" y="219551"/>
                    <a:pt x="1354931" y="209074"/>
                  </a:cubicBezTo>
                  <a:cubicBezTo>
                    <a:pt x="1354931" y="199549"/>
                    <a:pt x="1354931" y="191929"/>
                    <a:pt x="1354931" y="185261"/>
                  </a:cubicBezTo>
                  <a:cubicBezTo>
                    <a:pt x="1354931" y="167164"/>
                    <a:pt x="1354931" y="157639"/>
                    <a:pt x="1354931" y="157639"/>
                  </a:cubicBezTo>
                  <a:cubicBezTo>
                    <a:pt x="1354931" y="157639"/>
                    <a:pt x="1353026" y="168116"/>
                    <a:pt x="1351121" y="185261"/>
                  </a:cubicBezTo>
                  <a:cubicBezTo>
                    <a:pt x="1350169" y="189071"/>
                    <a:pt x="1350169" y="192881"/>
                    <a:pt x="1349216" y="197644"/>
                  </a:cubicBezTo>
                  <a:cubicBezTo>
                    <a:pt x="1347311" y="193834"/>
                    <a:pt x="1345406" y="190024"/>
                    <a:pt x="1343501" y="186214"/>
                  </a:cubicBezTo>
                  <a:cubicBezTo>
                    <a:pt x="1343501" y="181451"/>
                    <a:pt x="1344454" y="175736"/>
                    <a:pt x="1344454" y="171926"/>
                  </a:cubicBezTo>
                  <a:cubicBezTo>
                    <a:pt x="1344454" y="166211"/>
                    <a:pt x="1344454" y="161449"/>
                    <a:pt x="1344454" y="157639"/>
                  </a:cubicBezTo>
                  <a:cubicBezTo>
                    <a:pt x="1344454" y="151924"/>
                    <a:pt x="1345406" y="147161"/>
                    <a:pt x="1345406" y="142399"/>
                  </a:cubicBezTo>
                  <a:cubicBezTo>
                    <a:pt x="1346359" y="129064"/>
                    <a:pt x="1346359" y="120491"/>
                    <a:pt x="1346359" y="120491"/>
                  </a:cubicBezTo>
                  <a:cubicBezTo>
                    <a:pt x="1346359" y="120491"/>
                    <a:pt x="1344454" y="128111"/>
                    <a:pt x="1341596" y="141446"/>
                  </a:cubicBezTo>
                  <a:cubicBezTo>
                    <a:pt x="1340644" y="148114"/>
                    <a:pt x="1338739" y="156686"/>
                    <a:pt x="1336834" y="166211"/>
                  </a:cubicBezTo>
                  <a:cubicBezTo>
                    <a:pt x="1336834" y="167164"/>
                    <a:pt x="1336834" y="168116"/>
                    <a:pt x="1335881" y="169069"/>
                  </a:cubicBezTo>
                  <a:cubicBezTo>
                    <a:pt x="1333024" y="162401"/>
                    <a:pt x="1330166" y="156686"/>
                    <a:pt x="1327309" y="150971"/>
                  </a:cubicBezTo>
                  <a:cubicBezTo>
                    <a:pt x="1299686" y="91916"/>
                    <a:pt x="1280636" y="53816"/>
                    <a:pt x="1280636" y="53816"/>
                  </a:cubicBezTo>
                  <a:cubicBezTo>
                    <a:pt x="1280636" y="53816"/>
                    <a:pt x="1293971" y="94774"/>
                    <a:pt x="1317784" y="155734"/>
                  </a:cubicBezTo>
                  <a:cubicBezTo>
                    <a:pt x="1322546" y="168116"/>
                    <a:pt x="1327309" y="180499"/>
                    <a:pt x="1332071" y="193834"/>
                  </a:cubicBezTo>
                  <a:cubicBezTo>
                    <a:pt x="1332071" y="195739"/>
                    <a:pt x="1332071" y="196691"/>
                    <a:pt x="1331119" y="197644"/>
                  </a:cubicBezTo>
                  <a:cubicBezTo>
                    <a:pt x="1329214" y="209074"/>
                    <a:pt x="1327309" y="222409"/>
                    <a:pt x="1326356" y="235744"/>
                  </a:cubicBezTo>
                  <a:cubicBezTo>
                    <a:pt x="1324451" y="249079"/>
                    <a:pt x="1323499" y="263366"/>
                    <a:pt x="1321594" y="277654"/>
                  </a:cubicBezTo>
                  <a:cubicBezTo>
                    <a:pt x="1321594" y="283369"/>
                    <a:pt x="1320641" y="288131"/>
                    <a:pt x="1319689" y="293846"/>
                  </a:cubicBezTo>
                  <a:cubicBezTo>
                    <a:pt x="1318736" y="292894"/>
                    <a:pt x="1318736" y="291941"/>
                    <a:pt x="1317784" y="290989"/>
                  </a:cubicBezTo>
                  <a:cubicBezTo>
                    <a:pt x="1317784" y="289084"/>
                    <a:pt x="1317784" y="289084"/>
                    <a:pt x="1317784" y="289084"/>
                  </a:cubicBezTo>
                  <a:cubicBezTo>
                    <a:pt x="1317784" y="289084"/>
                    <a:pt x="1317784" y="290036"/>
                    <a:pt x="1316831" y="290989"/>
                  </a:cubicBezTo>
                  <a:cubicBezTo>
                    <a:pt x="1316831" y="290036"/>
                    <a:pt x="1315879" y="289084"/>
                    <a:pt x="1315879" y="288131"/>
                  </a:cubicBezTo>
                  <a:cubicBezTo>
                    <a:pt x="1314926" y="287179"/>
                    <a:pt x="1314926" y="286226"/>
                    <a:pt x="1313974" y="285274"/>
                  </a:cubicBezTo>
                  <a:cubicBezTo>
                    <a:pt x="1315879" y="259556"/>
                    <a:pt x="1316831" y="244316"/>
                    <a:pt x="1316831" y="244316"/>
                  </a:cubicBezTo>
                  <a:cubicBezTo>
                    <a:pt x="1316831" y="244316"/>
                    <a:pt x="1313974" y="256699"/>
                    <a:pt x="1309211" y="277654"/>
                  </a:cubicBezTo>
                  <a:cubicBezTo>
                    <a:pt x="1305401" y="271939"/>
                    <a:pt x="1302544" y="266224"/>
                    <a:pt x="1298734" y="260509"/>
                  </a:cubicBezTo>
                  <a:cubicBezTo>
                    <a:pt x="1304449" y="235744"/>
                    <a:pt x="1310164" y="213836"/>
                    <a:pt x="1313974" y="199549"/>
                  </a:cubicBezTo>
                  <a:cubicBezTo>
                    <a:pt x="1317784" y="182404"/>
                    <a:pt x="1319689" y="172879"/>
                    <a:pt x="1319689" y="172879"/>
                  </a:cubicBezTo>
                  <a:cubicBezTo>
                    <a:pt x="1319689" y="172879"/>
                    <a:pt x="1307306" y="202406"/>
                    <a:pt x="1291114" y="249079"/>
                  </a:cubicBezTo>
                  <a:cubicBezTo>
                    <a:pt x="1287304" y="243364"/>
                    <a:pt x="1284446" y="238601"/>
                    <a:pt x="1281589" y="234791"/>
                  </a:cubicBezTo>
                  <a:cubicBezTo>
                    <a:pt x="1273016" y="222409"/>
                    <a:pt x="1267301" y="215741"/>
                    <a:pt x="1267301" y="215741"/>
                  </a:cubicBezTo>
                  <a:cubicBezTo>
                    <a:pt x="1267301" y="215741"/>
                    <a:pt x="1270159" y="222409"/>
                    <a:pt x="1275874" y="232886"/>
                  </a:cubicBezTo>
                  <a:cubicBezTo>
                    <a:pt x="1274921" y="234791"/>
                    <a:pt x="1273969" y="238601"/>
                    <a:pt x="1272064" y="243364"/>
                  </a:cubicBezTo>
                  <a:cubicBezTo>
                    <a:pt x="1268254" y="237649"/>
                    <a:pt x="1264444" y="231934"/>
                    <a:pt x="1261586" y="227171"/>
                  </a:cubicBezTo>
                  <a:cubicBezTo>
                    <a:pt x="1257776" y="221456"/>
                    <a:pt x="1253014" y="215741"/>
                    <a:pt x="1249204" y="210979"/>
                  </a:cubicBezTo>
                  <a:cubicBezTo>
                    <a:pt x="1248251" y="210026"/>
                    <a:pt x="1248251" y="209074"/>
                    <a:pt x="1247299" y="208121"/>
                  </a:cubicBezTo>
                  <a:cubicBezTo>
                    <a:pt x="1250156" y="203359"/>
                    <a:pt x="1251109" y="199549"/>
                    <a:pt x="1251109" y="199549"/>
                  </a:cubicBezTo>
                  <a:cubicBezTo>
                    <a:pt x="1251109" y="199549"/>
                    <a:pt x="1249204" y="202406"/>
                    <a:pt x="1246346" y="206216"/>
                  </a:cubicBezTo>
                  <a:cubicBezTo>
                    <a:pt x="1239679" y="197644"/>
                    <a:pt x="1233964" y="190024"/>
                    <a:pt x="1229201" y="184309"/>
                  </a:cubicBezTo>
                  <a:cubicBezTo>
                    <a:pt x="1217771" y="170974"/>
                    <a:pt x="1211104" y="162401"/>
                    <a:pt x="1211104" y="162401"/>
                  </a:cubicBezTo>
                  <a:cubicBezTo>
                    <a:pt x="1211104" y="162401"/>
                    <a:pt x="1216819" y="170974"/>
                    <a:pt x="1226344" y="186214"/>
                  </a:cubicBezTo>
                  <a:cubicBezTo>
                    <a:pt x="1231106" y="192881"/>
                    <a:pt x="1235869" y="202406"/>
                    <a:pt x="1242536" y="211931"/>
                  </a:cubicBezTo>
                  <a:cubicBezTo>
                    <a:pt x="1240631" y="214789"/>
                    <a:pt x="1238726" y="217646"/>
                    <a:pt x="1236821" y="220504"/>
                  </a:cubicBezTo>
                  <a:cubicBezTo>
                    <a:pt x="1235869" y="222409"/>
                    <a:pt x="1234916" y="224314"/>
                    <a:pt x="1233011" y="226219"/>
                  </a:cubicBezTo>
                  <a:cubicBezTo>
                    <a:pt x="1233011" y="221456"/>
                    <a:pt x="1232059" y="217646"/>
                    <a:pt x="1231106" y="212884"/>
                  </a:cubicBezTo>
                  <a:cubicBezTo>
                    <a:pt x="1231106" y="211931"/>
                    <a:pt x="1230154" y="210026"/>
                    <a:pt x="1228249" y="209074"/>
                  </a:cubicBezTo>
                  <a:cubicBezTo>
                    <a:pt x="1228249" y="209074"/>
                    <a:pt x="1227296" y="209074"/>
                    <a:pt x="1226344" y="209074"/>
                  </a:cubicBezTo>
                  <a:cubicBezTo>
                    <a:pt x="1225391" y="206216"/>
                    <a:pt x="1224439" y="202406"/>
                    <a:pt x="1223486" y="199549"/>
                  </a:cubicBezTo>
                  <a:cubicBezTo>
                    <a:pt x="1218724" y="187166"/>
                    <a:pt x="1215866" y="179546"/>
                    <a:pt x="1215866" y="179546"/>
                  </a:cubicBezTo>
                  <a:cubicBezTo>
                    <a:pt x="1215866" y="179546"/>
                    <a:pt x="1216819" y="187166"/>
                    <a:pt x="1219676" y="200501"/>
                  </a:cubicBezTo>
                  <a:cubicBezTo>
                    <a:pt x="1220629" y="204311"/>
                    <a:pt x="1220629" y="208121"/>
                    <a:pt x="1221581" y="211931"/>
                  </a:cubicBezTo>
                  <a:cubicBezTo>
                    <a:pt x="1221581" y="212884"/>
                    <a:pt x="1220629" y="212884"/>
                    <a:pt x="1220629" y="213836"/>
                  </a:cubicBezTo>
                  <a:cubicBezTo>
                    <a:pt x="1214914" y="208121"/>
                    <a:pt x="1211104" y="203359"/>
                    <a:pt x="1207294" y="200501"/>
                  </a:cubicBezTo>
                  <a:cubicBezTo>
                    <a:pt x="1203484" y="197644"/>
                    <a:pt x="1201579" y="195739"/>
                    <a:pt x="1201579" y="195739"/>
                  </a:cubicBezTo>
                  <a:cubicBezTo>
                    <a:pt x="1201579" y="195739"/>
                    <a:pt x="1203484" y="197644"/>
                    <a:pt x="1206341" y="201454"/>
                  </a:cubicBezTo>
                  <a:cubicBezTo>
                    <a:pt x="1209199" y="205264"/>
                    <a:pt x="1213009" y="210979"/>
                    <a:pt x="1217771" y="217646"/>
                  </a:cubicBezTo>
                  <a:lnTo>
                    <a:pt x="1217771" y="217646"/>
                  </a:lnTo>
                  <a:cubicBezTo>
                    <a:pt x="1216819" y="222409"/>
                    <a:pt x="1216819" y="227171"/>
                    <a:pt x="1216819" y="231934"/>
                  </a:cubicBezTo>
                  <a:cubicBezTo>
                    <a:pt x="1207294" y="223361"/>
                    <a:pt x="1202531" y="219551"/>
                    <a:pt x="1202531" y="219551"/>
                  </a:cubicBezTo>
                  <a:cubicBezTo>
                    <a:pt x="1202531" y="219551"/>
                    <a:pt x="1207294" y="226219"/>
                    <a:pt x="1215866" y="236696"/>
                  </a:cubicBezTo>
                  <a:cubicBezTo>
                    <a:pt x="1215866" y="240506"/>
                    <a:pt x="1214914" y="245269"/>
                    <a:pt x="1214914" y="249079"/>
                  </a:cubicBezTo>
                  <a:cubicBezTo>
                    <a:pt x="1214914" y="250984"/>
                    <a:pt x="1214914" y="252889"/>
                    <a:pt x="1214914" y="255746"/>
                  </a:cubicBezTo>
                  <a:cubicBezTo>
                    <a:pt x="1214914" y="253841"/>
                    <a:pt x="1213961" y="252889"/>
                    <a:pt x="1213961" y="250984"/>
                  </a:cubicBezTo>
                  <a:cubicBezTo>
                    <a:pt x="1213961" y="250984"/>
                    <a:pt x="1213961" y="250031"/>
                    <a:pt x="1213961" y="250031"/>
                  </a:cubicBezTo>
                  <a:cubicBezTo>
                    <a:pt x="1213961" y="249079"/>
                    <a:pt x="1214914" y="249079"/>
                    <a:pt x="1214914" y="249079"/>
                  </a:cubicBezTo>
                  <a:cubicBezTo>
                    <a:pt x="1214914" y="249079"/>
                    <a:pt x="1214914" y="249079"/>
                    <a:pt x="1213961" y="250031"/>
                  </a:cubicBezTo>
                  <a:cubicBezTo>
                    <a:pt x="1212056" y="242411"/>
                    <a:pt x="1209199" y="235744"/>
                    <a:pt x="1207294" y="229076"/>
                  </a:cubicBezTo>
                  <a:cubicBezTo>
                    <a:pt x="1204436" y="222409"/>
                    <a:pt x="1202531" y="216694"/>
                    <a:pt x="1200626" y="212884"/>
                  </a:cubicBezTo>
                  <a:cubicBezTo>
                    <a:pt x="1195864" y="204311"/>
                    <a:pt x="1193959" y="198596"/>
                    <a:pt x="1193959" y="198596"/>
                  </a:cubicBezTo>
                  <a:cubicBezTo>
                    <a:pt x="1193959" y="198596"/>
                    <a:pt x="1194911" y="204311"/>
                    <a:pt x="1196816" y="213836"/>
                  </a:cubicBezTo>
                  <a:cubicBezTo>
                    <a:pt x="1197769" y="218599"/>
                    <a:pt x="1198721" y="224314"/>
                    <a:pt x="1200626" y="230981"/>
                  </a:cubicBezTo>
                  <a:cubicBezTo>
                    <a:pt x="1201579" y="237649"/>
                    <a:pt x="1202531" y="245269"/>
                    <a:pt x="1204436" y="252889"/>
                  </a:cubicBezTo>
                  <a:cubicBezTo>
                    <a:pt x="1204436" y="254794"/>
                    <a:pt x="1205389" y="256699"/>
                    <a:pt x="1205389" y="258604"/>
                  </a:cubicBezTo>
                  <a:cubicBezTo>
                    <a:pt x="1202531" y="251936"/>
                    <a:pt x="1199674" y="245269"/>
                    <a:pt x="1196816" y="239554"/>
                  </a:cubicBezTo>
                  <a:cubicBezTo>
                    <a:pt x="1193959" y="233839"/>
                    <a:pt x="1191101" y="229076"/>
                    <a:pt x="1189196" y="224314"/>
                  </a:cubicBezTo>
                  <a:cubicBezTo>
                    <a:pt x="1184434" y="216694"/>
                    <a:pt x="1181576" y="211931"/>
                    <a:pt x="1181576" y="211931"/>
                  </a:cubicBezTo>
                  <a:cubicBezTo>
                    <a:pt x="1181576" y="211931"/>
                    <a:pt x="1183481" y="216694"/>
                    <a:pt x="1185386" y="225266"/>
                  </a:cubicBezTo>
                  <a:cubicBezTo>
                    <a:pt x="1187291" y="230029"/>
                    <a:pt x="1188244" y="234791"/>
                    <a:pt x="1190149" y="241459"/>
                  </a:cubicBezTo>
                  <a:cubicBezTo>
                    <a:pt x="1192054" y="247174"/>
                    <a:pt x="1193006" y="254794"/>
                    <a:pt x="1194911" y="262414"/>
                  </a:cubicBezTo>
                  <a:cubicBezTo>
                    <a:pt x="1195864" y="267176"/>
                    <a:pt x="1196816" y="271939"/>
                    <a:pt x="1197769" y="276701"/>
                  </a:cubicBezTo>
                  <a:cubicBezTo>
                    <a:pt x="1196816" y="279559"/>
                    <a:pt x="1194911" y="281464"/>
                    <a:pt x="1193959" y="284321"/>
                  </a:cubicBezTo>
                  <a:cubicBezTo>
                    <a:pt x="1193959" y="284321"/>
                    <a:pt x="1193959" y="283369"/>
                    <a:pt x="1193959" y="283369"/>
                  </a:cubicBezTo>
                  <a:cubicBezTo>
                    <a:pt x="1193959" y="282416"/>
                    <a:pt x="1193006" y="280511"/>
                    <a:pt x="1193006" y="279559"/>
                  </a:cubicBezTo>
                  <a:cubicBezTo>
                    <a:pt x="1193959" y="277654"/>
                    <a:pt x="1193959" y="276701"/>
                    <a:pt x="1193959" y="276701"/>
                  </a:cubicBezTo>
                  <a:cubicBezTo>
                    <a:pt x="1193959" y="276701"/>
                    <a:pt x="1193959" y="277654"/>
                    <a:pt x="1193006" y="278606"/>
                  </a:cubicBezTo>
                  <a:cubicBezTo>
                    <a:pt x="1190149" y="268129"/>
                    <a:pt x="1187291" y="258604"/>
                    <a:pt x="1184434" y="250984"/>
                  </a:cubicBezTo>
                  <a:cubicBezTo>
                    <a:pt x="1179671" y="239554"/>
                    <a:pt x="1176814" y="231934"/>
                    <a:pt x="1174909" y="227171"/>
                  </a:cubicBezTo>
                  <a:cubicBezTo>
                    <a:pt x="1174909" y="226219"/>
                    <a:pt x="1174909" y="224314"/>
                    <a:pt x="1174909" y="223361"/>
                  </a:cubicBezTo>
                  <a:cubicBezTo>
                    <a:pt x="1174909" y="212884"/>
                    <a:pt x="1175861" y="204311"/>
                    <a:pt x="1175861" y="196691"/>
                  </a:cubicBezTo>
                  <a:cubicBezTo>
                    <a:pt x="1175861" y="182404"/>
                    <a:pt x="1174909" y="173831"/>
                    <a:pt x="1174909" y="173831"/>
                  </a:cubicBezTo>
                  <a:cubicBezTo>
                    <a:pt x="1174909" y="173831"/>
                    <a:pt x="1173956" y="182404"/>
                    <a:pt x="1172051" y="196691"/>
                  </a:cubicBezTo>
                  <a:cubicBezTo>
                    <a:pt x="1171099" y="204311"/>
                    <a:pt x="1169194" y="212884"/>
                    <a:pt x="1168241" y="223361"/>
                  </a:cubicBezTo>
                  <a:cubicBezTo>
                    <a:pt x="1168241" y="224314"/>
                    <a:pt x="1168241" y="225266"/>
                    <a:pt x="1168241" y="226219"/>
                  </a:cubicBezTo>
                  <a:cubicBezTo>
                    <a:pt x="1167289" y="229076"/>
                    <a:pt x="1165384" y="232886"/>
                    <a:pt x="1162526" y="238601"/>
                  </a:cubicBezTo>
                  <a:cubicBezTo>
                    <a:pt x="1161574" y="230981"/>
                    <a:pt x="1160621" y="223361"/>
                    <a:pt x="1158716" y="215741"/>
                  </a:cubicBezTo>
                  <a:cubicBezTo>
                    <a:pt x="1156811" y="206216"/>
                    <a:pt x="1153954" y="197644"/>
                    <a:pt x="1152049" y="189071"/>
                  </a:cubicBezTo>
                  <a:cubicBezTo>
                    <a:pt x="1143476" y="155734"/>
                    <a:pt x="1136809" y="133826"/>
                    <a:pt x="1136809" y="133826"/>
                  </a:cubicBezTo>
                  <a:cubicBezTo>
                    <a:pt x="1136809" y="133826"/>
                    <a:pt x="1137761" y="156686"/>
                    <a:pt x="1140619" y="190024"/>
                  </a:cubicBezTo>
                  <a:cubicBezTo>
                    <a:pt x="1141571" y="198596"/>
                    <a:pt x="1142524" y="208121"/>
                    <a:pt x="1143476" y="217646"/>
                  </a:cubicBezTo>
                  <a:cubicBezTo>
                    <a:pt x="1144429" y="227171"/>
                    <a:pt x="1144429" y="237649"/>
                    <a:pt x="1146334" y="248126"/>
                  </a:cubicBezTo>
                  <a:cubicBezTo>
                    <a:pt x="1146334" y="252889"/>
                    <a:pt x="1147286" y="256699"/>
                    <a:pt x="1147286" y="261461"/>
                  </a:cubicBezTo>
                  <a:cubicBezTo>
                    <a:pt x="1147286" y="261461"/>
                    <a:pt x="1147286" y="261461"/>
                    <a:pt x="1147286" y="261461"/>
                  </a:cubicBezTo>
                  <a:cubicBezTo>
                    <a:pt x="1147286" y="259556"/>
                    <a:pt x="1147286" y="258604"/>
                    <a:pt x="1147286" y="258604"/>
                  </a:cubicBezTo>
                  <a:cubicBezTo>
                    <a:pt x="1147286" y="258604"/>
                    <a:pt x="1147286" y="259556"/>
                    <a:pt x="1147286" y="260509"/>
                  </a:cubicBezTo>
                  <a:cubicBezTo>
                    <a:pt x="1146334" y="257651"/>
                    <a:pt x="1144429" y="254794"/>
                    <a:pt x="1143476" y="251936"/>
                  </a:cubicBezTo>
                  <a:cubicBezTo>
                    <a:pt x="1142524" y="250984"/>
                    <a:pt x="1142524" y="250031"/>
                    <a:pt x="1141571" y="249079"/>
                  </a:cubicBezTo>
                  <a:cubicBezTo>
                    <a:pt x="1141571" y="242411"/>
                    <a:pt x="1141571" y="237649"/>
                    <a:pt x="1141571" y="237649"/>
                  </a:cubicBezTo>
                  <a:cubicBezTo>
                    <a:pt x="1141571" y="237649"/>
                    <a:pt x="1140619" y="240506"/>
                    <a:pt x="1139666" y="246221"/>
                  </a:cubicBezTo>
                  <a:cubicBezTo>
                    <a:pt x="1136809" y="241459"/>
                    <a:pt x="1134904" y="236696"/>
                    <a:pt x="1132046" y="231934"/>
                  </a:cubicBezTo>
                  <a:cubicBezTo>
                    <a:pt x="1132046" y="231934"/>
                    <a:pt x="1132046" y="230981"/>
                    <a:pt x="1132046" y="230981"/>
                  </a:cubicBezTo>
                  <a:cubicBezTo>
                    <a:pt x="1128236" y="211931"/>
                    <a:pt x="1124426" y="193834"/>
                    <a:pt x="1120616" y="177641"/>
                  </a:cubicBezTo>
                  <a:cubicBezTo>
                    <a:pt x="1116806" y="161449"/>
                    <a:pt x="1113949" y="146209"/>
                    <a:pt x="1110139" y="132874"/>
                  </a:cubicBezTo>
                  <a:cubicBezTo>
                    <a:pt x="1106329" y="119539"/>
                    <a:pt x="1103471" y="108109"/>
                    <a:pt x="1100614" y="98584"/>
                  </a:cubicBezTo>
                  <a:cubicBezTo>
                    <a:pt x="1094899" y="79534"/>
                    <a:pt x="1092041" y="69056"/>
                    <a:pt x="1092041" y="69056"/>
                  </a:cubicBezTo>
                  <a:cubicBezTo>
                    <a:pt x="1092041" y="69056"/>
                    <a:pt x="1093946" y="80486"/>
                    <a:pt x="1096804" y="99536"/>
                  </a:cubicBezTo>
                  <a:cubicBezTo>
                    <a:pt x="1098709" y="109061"/>
                    <a:pt x="1100614" y="121444"/>
                    <a:pt x="1103471" y="134779"/>
                  </a:cubicBezTo>
                  <a:cubicBezTo>
                    <a:pt x="1106329" y="148114"/>
                    <a:pt x="1108234" y="163354"/>
                    <a:pt x="1110139" y="180499"/>
                  </a:cubicBezTo>
                  <a:cubicBezTo>
                    <a:pt x="1111091" y="186214"/>
                    <a:pt x="1112044" y="192881"/>
                    <a:pt x="1112996" y="199549"/>
                  </a:cubicBezTo>
                  <a:cubicBezTo>
                    <a:pt x="1112044" y="197644"/>
                    <a:pt x="1111091" y="196691"/>
                    <a:pt x="1110139" y="194786"/>
                  </a:cubicBezTo>
                  <a:cubicBezTo>
                    <a:pt x="1109186" y="192881"/>
                    <a:pt x="1107281" y="190976"/>
                    <a:pt x="1106329" y="190024"/>
                  </a:cubicBezTo>
                  <a:cubicBezTo>
                    <a:pt x="1106329" y="189071"/>
                    <a:pt x="1106329" y="189071"/>
                    <a:pt x="1105376" y="188119"/>
                  </a:cubicBezTo>
                  <a:cubicBezTo>
                    <a:pt x="1101566" y="177641"/>
                    <a:pt x="1098709" y="168116"/>
                    <a:pt x="1095851" y="160496"/>
                  </a:cubicBezTo>
                  <a:cubicBezTo>
                    <a:pt x="1090136" y="145256"/>
                    <a:pt x="1087279" y="136684"/>
                    <a:pt x="1087279" y="136684"/>
                  </a:cubicBezTo>
                  <a:cubicBezTo>
                    <a:pt x="1087279" y="136684"/>
                    <a:pt x="1089184" y="145256"/>
                    <a:pt x="1092041" y="161449"/>
                  </a:cubicBezTo>
                  <a:cubicBezTo>
                    <a:pt x="1093946" y="169069"/>
                    <a:pt x="1095851" y="178594"/>
                    <a:pt x="1098709" y="190024"/>
                  </a:cubicBezTo>
                  <a:cubicBezTo>
                    <a:pt x="1100614" y="197644"/>
                    <a:pt x="1102519" y="207169"/>
                    <a:pt x="1103471" y="215741"/>
                  </a:cubicBezTo>
                  <a:cubicBezTo>
                    <a:pt x="1099661" y="206216"/>
                    <a:pt x="1097756" y="200501"/>
                    <a:pt x="1097756" y="200501"/>
                  </a:cubicBezTo>
                  <a:cubicBezTo>
                    <a:pt x="1097756" y="200501"/>
                    <a:pt x="1099661" y="209074"/>
                    <a:pt x="1102519" y="224314"/>
                  </a:cubicBezTo>
                  <a:cubicBezTo>
                    <a:pt x="1100614" y="227171"/>
                    <a:pt x="1097756" y="230981"/>
                    <a:pt x="1094899" y="233839"/>
                  </a:cubicBezTo>
                  <a:cubicBezTo>
                    <a:pt x="1092994" y="225266"/>
                    <a:pt x="1091089" y="216694"/>
                    <a:pt x="1089184" y="209074"/>
                  </a:cubicBezTo>
                  <a:cubicBezTo>
                    <a:pt x="1086326" y="182404"/>
                    <a:pt x="1084421" y="166211"/>
                    <a:pt x="1084421" y="166211"/>
                  </a:cubicBezTo>
                  <a:cubicBezTo>
                    <a:pt x="1084421" y="166211"/>
                    <a:pt x="1084421" y="172879"/>
                    <a:pt x="1083469" y="184309"/>
                  </a:cubicBezTo>
                  <a:cubicBezTo>
                    <a:pt x="1080611" y="171926"/>
                    <a:pt x="1077754" y="160496"/>
                    <a:pt x="1073944" y="149066"/>
                  </a:cubicBezTo>
                  <a:cubicBezTo>
                    <a:pt x="1071086" y="140494"/>
                    <a:pt x="1069181" y="131921"/>
                    <a:pt x="1066324" y="123349"/>
                  </a:cubicBezTo>
                  <a:cubicBezTo>
                    <a:pt x="1072991" y="105251"/>
                    <a:pt x="1075849" y="94774"/>
                    <a:pt x="1075849" y="94774"/>
                  </a:cubicBezTo>
                  <a:cubicBezTo>
                    <a:pt x="1075849" y="94774"/>
                    <a:pt x="1072039" y="103346"/>
                    <a:pt x="1064419" y="119539"/>
                  </a:cubicBezTo>
                  <a:cubicBezTo>
                    <a:pt x="1062514" y="112871"/>
                    <a:pt x="1059656" y="106204"/>
                    <a:pt x="1057751" y="100489"/>
                  </a:cubicBezTo>
                  <a:cubicBezTo>
                    <a:pt x="1054894" y="92869"/>
                    <a:pt x="1052036" y="85249"/>
                    <a:pt x="1050131" y="78581"/>
                  </a:cubicBezTo>
                  <a:cubicBezTo>
                    <a:pt x="1047274" y="71914"/>
                    <a:pt x="1044416" y="65246"/>
                    <a:pt x="1042511" y="59531"/>
                  </a:cubicBezTo>
                  <a:cubicBezTo>
                    <a:pt x="1037749" y="47149"/>
                    <a:pt x="1032986" y="36671"/>
                    <a:pt x="1029176" y="28099"/>
                  </a:cubicBezTo>
                  <a:cubicBezTo>
                    <a:pt x="1017746" y="16669"/>
                    <a:pt x="1012984" y="7144"/>
                    <a:pt x="1012984" y="7144"/>
                  </a:cubicBezTo>
                  <a:cubicBezTo>
                    <a:pt x="1012984" y="7144"/>
                    <a:pt x="1016794" y="17621"/>
                    <a:pt x="1022509" y="34766"/>
                  </a:cubicBezTo>
                  <a:cubicBezTo>
                    <a:pt x="1025366" y="43339"/>
                    <a:pt x="1029176" y="54769"/>
                    <a:pt x="1032986" y="67151"/>
                  </a:cubicBezTo>
                  <a:cubicBezTo>
                    <a:pt x="1034891" y="73819"/>
                    <a:pt x="1036796" y="79534"/>
                    <a:pt x="1038701" y="87154"/>
                  </a:cubicBezTo>
                  <a:cubicBezTo>
                    <a:pt x="1040606" y="93821"/>
                    <a:pt x="1042511" y="101441"/>
                    <a:pt x="1044416" y="109061"/>
                  </a:cubicBezTo>
                  <a:cubicBezTo>
                    <a:pt x="1044416" y="109061"/>
                    <a:pt x="1044416" y="110014"/>
                    <a:pt x="1044416" y="110014"/>
                  </a:cubicBezTo>
                  <a:cubicBezTo>
                    <a:pt x="1039654" y="101441"/>
                    <a:pt x="1037749" y="96679"/>
                    <a:pt x="1037749" y="96679"/>
                  </a:cubicBezTo>
                  <a:cubicBezTo>
                    <a:pt x="1037749" y="96679"/>
                    <a:pt x="1039654" y="104299"/>
                    <a:pt x="1044416" y="117634"/>
                  </a:cubicBezTo>
                  <a:cubicBezTo>
                    <a:pt x="1046321" y="124301"/>
                    <a:pt x="1049179" y="131921"/>
                    <a:pt x="1051084" y="141446"/>
                  </a:cubicBezTo>
                  <a:cubicBezTo>
                    <a:pt x="1051084" y="143351"/>
                    <a:pt x="1052036" y="144304"/>
                    <a:pt x="1052036" y="146209"/>
                  </a:cubicBezTo>
                  <a:cubicBezTo>
                    <a:pt x="1048226" y="153829"/>
                    <a:pt x="1043464" y="163354"/>
                    <a:pt x="1037749" y="172879"/>
                  </a:cubicBezTo>
                  <a:cubicBezTo>
                    <a:pt x="1033939" y="180499"/>
                    <a:pt x="1029176" y="188119"/>
                    <a:pt x="1024414" y="195739"/>
                  </a:cubicBezTo>
                  <a:cubicBezTo>
                    <a:pt x="1024414" y="194786"/>
                    <a:pt x="1023461" y="193834"/>
                    <a:pt x="1023461" y="192881"/>
                  </a:cubicBezTo>
                  <a:cubicBezTo>
                    <a:pt x="1023461" y="190024"/>
                    <a:pt x="1023461" y="187166"/>
                    <a:pt x="1023461" y="184309"/>
                  </a:cubicBezTo>
                  <a:cubicBezTo>
                    <a:pt x="1024414" y="169069"/>
                    <a:pt x="1024414" y="154781"/>
                    <a:pt x="1024414" y="142399"/>
                  </a:cubicBezTo>
                  <a:cubicBezTo>
                    <a:pt x="1024414" y="130016"/>
                    <a:pt x="1024414" y="119539"/>
                    <a:pt x="1023461" y="110014"/>
                  </a:cubicBezTo>
                  <a:cubicBezTo>
                    <a:pt x="1023461" y="101441"/>
                    <a:pt x="1022509" y="93821"/>
                    <a:pt x="1021556" y="89059"/>
                  </a:cubicBezTo>
                  <a:cubicBezTo>
                    <a:pt x="1020604" y="84296"/>
                    <a:pt x="1020604" y="81439"/>
                    <a:pt x="1020604" y="81439"/>
                  </a:cubicBezTo>
                  <a:cubicBezTo>
                    <a:pt x="1020604" y="81439"/>
                    <a:pt x="1020604" y="84296"/>
                    <a:pt x="1020604" y="89059"/>
                  </a:cubicBezTo>
                  <a:cubicBezTo>
                    <a:pt x="1020604" y="93821"/>
                    <a:pt x="1019651" y="100489"/>
                    <a:pt x="1019651" y="110014"/>
                  </a:cubicBezTo>
                  <a:cubicBezTo>
                    <a:pt x="1018699" y="124301"/>
                    <a:pt x="1016794" y="142399"/>
                    <a:pt x="1014889" y="165259"/>
                  </a:cubicBezTo>
                  <a:cubicBezTo>
                    <a:pt x="1013936" y="162401"/>
                    <a:pt x="1013936" y="161449"/>
                    <a:pt x="1013936" y="161449"/>
                  </a:cubicBezTo>
                  <a:cubicBezTo>
                    <a:pt x="1013936" y="161449"/>
                    <a:pt x="1013936" y="163354"/>
                    <a:pt x="1014889" y="168116"/>
                  </a:cubicBezTo>
                  <a:cubicBezTo>
                    <a:pt x="1013936" y="172879"/>
                    <a:pt x="1013936" y="178594"/>
                    <a:pt x="1012984" y="183356"/>
                  </a:cubicBezTo>
                  <a:cubicBezTo>
                    <a:pt x="1011079" y="196691"/>
                    <a:pt x="1009174" y="210026"/>
                    <a:pt x="1007269" y="224314"/>
                  </a:cubicBezTo>
                  <a:cubicBezTo>
                    <a:pt x="996791" y="242411"/>
                    <a:pt x="984409" y="262414"/>
                    <a:pt x="972026" y="283369"/>
                  </a:cubicBezTo>
                  <a:cubicBezTo>
                    <a:pt x="972026" y="277654"/>
                    <a:pt x="971074" y="273844"/>
                    <a:pt x="971074" y="269081"/>
                  </a:cubicBezTo>
                  <a:cubicBezTo>
                    <a:pt x="972979" y="263366"/>
                    <a:pt x="975836" y="256699"/>
                    <a:pt x="977741" y="251936"/>
                  </a:cubicBezTo>
                  <a:cubicBezTo>
                    <a:pt x="983456" y="235744"/>
                    <a:pt x="989171" y="220504"/>
                    <a:pt x="992981" y="206216"/>
                  </a:cubicBezTo>
                  <a:cubicBezTo>
                    <a:pt x="996791" y="192881"/>
                    <a:pt x="1000601" y="180499"/>
                    <a:pt x="1002506" y="170974"/>
                  </a:cubicBezTo>
                  <a:cubicBezTo>
                    <a:pt x="1007269" y="150971"/>
                    <a:pt x="1009174" y="139541"/>
                    <a:pt x="1009174" y="139541"/>
                  </a:cubicBezTo>
                  <a:cubicBezTo>
                    <a:pt x="1009174" y="139541"/>
                    <a:pt x="1005364" y="150971"/>
                    <a:pt x="998696" y="170021"/>
                  </a:cubicBezTo>
                  <a:cubicBezTo>
                    <a:pt x="995839" y="179546"/>
                    <a:pt x="990124" y="190976"/>
                    <a:pt x="985361" y="204311"/>
                  </a:cubicBezTo>
                  <a:cubicBezTo>
                    <a:pt x="980599" y="217646"/>
                    <a:pt x="972979" y="231934"/>
                    <a:pt x="966311" y="248126"/>
                  </a:cubicBezTo>
                  <a:cubicBezTo>
                    <a:pt x="964406" y="251936"/>
                    <a:pt x="962501" y="255746"/>
                    <a:pt x="960596" y="260509"/>
                  </a:cubicBezTo>
                  <a:cubicBezTo>
                    <a:pt x="961549" y="248126"/>
                    <a:pt x="961549" y="236696"/>
                    <a:pt x="961549" y="225266"/>
                  </a:cubicBezTo>
                  <a:cubicBezTo>
                    <a:pt x="966311" y="212884"/>
                    <a:pt x="969169" y="206216"/>
                    <a:pt x="969169" y="206216"/>
                  </a:cubicBezTo>
                  <a:cubicBezTo>
                    <a:pt x="969169" y="206216"/>
                    <a:pt x="966311" y="210979"/>
                    <a:pt x="961549" y="218599"/>
                  </a:cubicBezTo>
                  <a:cubicBezTo>
                    <a:pt x="961549" y="213836"/>
                    <a:pt x="961549" y="210026"/>
                    <a:pt x="961549" y="206216"/>
                  </a:cubicBezTo>
                  <a:cubicBezTo>
                    <a:pt x="961549" y="182404"/>
                    <a:pt x="960596" y="162401"/>
                    <a:pt x="958691" y="149066"/>
                  </a:cubicBezTo>
                  <a:cubicBezTo>
                    <a:pt x="957739" y="143351"/>
                    <a:pt x="957739" y="138589"/>
                    <a:pt x="956786" y="134779"/>
                  </a:cubicBezTo>
                  <a:cubicBezTo>
                    <a:pt x="956786" y="132874"/>
                    <a:pt x="957739" y="131921"/>
                    <a:pt x="957739" y="131921"/>
                  </a:cubicBezTo>
                  <a:cubicBezTo>
                    <a:pt x="957739" y="131921"/>
                    <a:pt x="957739" y="132874"/>
                    <a:pt x="956786" y="133826"/>
                  </a:cubicBezTo>
                  <a:cubicBezTo>
                    <a:pt x="956786" y="133826"/>
                    <a:pt x="956786" y="132874"/>
                    <a:pt x="956786" y="132874"/>
                  </a:cubicBezTo>
                  <a:cubicBezTo>
                    <a:pt x="955834" y="129064"/>
                    <a:pt x="955834" y="127159"/>
                    <a:pt x="955834" y="127159"/>
                  </a:cubicBezTo>
                  <a:cubicBezTo>
                    <a:pt x="955834" y="127159"/>
                    <a:pt x="955834" y="130969"/>
                    <a:pt x="955834" y="136684"/>
                  </a:cubicBezTo>
                  <a:cubicBezTo>
                    <a:pt x="951071" y="147161"/>
                    <a:pt x="940594" y="171926"/>
                    <a:pt x="927259" y="206216"/>
                  </a:cubicBezTo>
                  <a:cubicBezTo>
                    <a:pt x="927259" y="206216"/>
                    <a:pt x="927259" y="205264"/>
                    <a:pt x="927259" y="205264"/>
                  </a:cubicBezTo>
                  <a:cubicBezTo>
                    <a:pt x="928211" y="196691"/>
                    <a:pt x="929164" y="189071"/>
                    <a:pt x="930116" y="183356"/>
                  </a:cubicBezTo>
                  <a:cubicBezTo>
                    <a:pt x="932021" y="170974"/>
                    <a:pt x="932974" y="164306"/>
                    <a:pt x="932974" y="164306"/>
                  </a:cubicBezTo>
                  <a:cubicBezTo>
                    <a:pt x="932974" y="164306"/>
                    <a:pt x="930116" y="170974"/>
                    <a:pt x="926306" y="183356"/>
                  </a:cubicBezTo>
                  <a:cubicBezTo>
                    <a:pt x="924401" y="189071"/>
                    <a:pt x="922496" y="195739"/>
                    <a:pt x="920591" y="203359"/>
                  </a:cubicBezTo>
                  <a:cubicBezTo>
                    <a:pt x="916781" y="192881"/>
                    <a:pt x="913924" y="182404"/>
                    <a:pt x="910114" y="171926"/>
                  </a:cubicBezTo>
                  <a:cubicBezTo>
                    <a:pt x="909161" y="169069"/>
                    <a:pt x="908209" y="167164"/>
                    <a:pt x="907256" y="164306"/>
                  </a:cubicBezTo>
                  <a:cubicBezTo>
                    <a:pt x="909161" y="161449"/>
                    <a:pt x="910114" y="159544"/>
                    <a:pt x="912019" y="157639"/>
                  </a:cubicBezTo>
                  <a:cubicBezTo>
                    <a:pt x="920591" y="145256"/>
                    <a:pt x="927259" y="133826"/>
                    <a:pt x="933926" y="124301"/>
                  </a:cubicBezTo>
                  <a:cubicBezTo>
                    <a:pt x="946309" y="106204"/>
                    <a:pt x="953929" y="95726"/>
                    <a:pt x="953929" y="95726"/>
                  </a:cubicBezTo>
                  <a:cubicBezTo>
                    <a:pt x="953929" y="95726"/>
                    <a:pt x="945356" y="105251"/>
                    <a:pt x="931069" y="121444"/>
                  </a:cubicBezTo>
                  <a:cubicBezTo>
                    <a:pt x="923449" y="129064"/>
                    <a:pt x="915829" y="140494"/>
                    <a:pt x="906304" y="151924"/>
                  </a:cubicBezTo>
                  <a:cubicBezTo>
                    <a:pt x="905351" y="152876"/>
                    <a:pt x="904399" y="153829"/>
                    <a:pt x="904399" y="154781"/>
                  </a:cubicBezTo>
                  <a:cubicBezTo>
                    <a:pt x="901541" y="147161"/>
                    <a:pt x="898684" y="139541"/>
                    <a:pt x="894874" y="131921"/>
                  </a:cubicBezTo>
                  <a:lnTo>
                    <a:pt x="892016" y="126206"/>
                  </a:lnTo>
                  <a:cubicBezTo>
                    <a:pt x="893921" y="122396"/>
                    <a:pt x="895826" y="118586"/>
                    <a:pt x="897731" y="115729"/>
                  </a:cubicBezTo>
                  <a:cubicBezTo>
                    <a:pt x="905351" y="100489"/>
                    <a:pt x="912019" y="87154"/>
                    <a:pt x="918686" y="77629"/>
                  </a:cubicBezTo>
                  <a:cubicBezTo>
                    <a:pt x="931069" y="56674"/>
                    <a:pt x="937736" y="44291"/>
                    <a:pt x="937736" y="44291"/>
                  </a:cubicBezTo>
                  <a:cubicBezTo>
                    <a:pt x="937736" y="44291"/>
                    <a:pt x="929164" y="55721"/>
                    <a:pt x="914876" y="74771"/>
                  </a:cubicBezTo>
                  <a:cubicBezTo>
                    <a:pt x="907256" y="84296"/>
                    <a:pt x="899636" y="96679"/>
                    <a:pt x="890111" y="110966"/>
                  </a:cubicBezTo>
                  <a:cubicBezTo>
                    <a:pt x="889159" y="112871"/>
                    <a:pt x="887254" y="114776"/>
                    <a:pt x="886301" y="116681"/>
                  </a:cubicBezTo>
                  <a:lnTo>
                    <a:pt x="874871" y="92869"/>
                  </a:lnTo>
                  <a:lnTo>
                    <a:pt x="873919" y="90964"/>
                  </a:lnTo>
                  <a:lnTo>
                    <a:pt x="872966" y="91916"/>
                  </a:lnTo>
                  <a:cubicBezTo>
                    <a:pt x="871061" y="92869"/>
                    <a:pt x="869156" y="93821"/>
                    <a:pt x="868204" y="95726"/>
                  </a:cubicBezTo>
                  <a:cubicBezTo>
                    <a:pt x="867251" y="97631"/>
                    <a:pt x="866299" y="99536"/>
                    <a:pt x="866299" y="101441"/>
                  </a:cubicBezTo>
                  <a:cubicBezTo>
                    <a:pt x="866299" y="105251"/>
                    <a:pt x="867251" y="110014"/>
                    <a:pt x="868204" y="113824"/>
                  </a:cubicBezTo>
                  <a:cubicBezTo>
                    <a:pt x="867251" y="110014"/>
                    <a:pt x="867251" y="106204"/>
                    <a:pt x="868204" y="102394"/>
                  </a:cubicBezTo>
                  <a:cubicBezTo>
                    <a:pt x="868204" y="100489"/>
                    <a:pt x="869156" y="99536"/>
                    <a:pt x="870109" y="97631"/>
                  </a:cubicBezTo>
                  <a:cubicBezTo>
                    <a:pt x="871061" y="96679"/>
                    <a:pt x="872014" y="96679"/>
                    <a:pt x="872966" y="95726"/>
                  </a:cubicBezTo>
                  <a:lnTo>
                    <a:pt x="882491" y="122396"/>
                  </a:lnTo>
                  <a:cubicBezTo>
                    <a:pt x="880586" y="126206"/>
                    <a:pt x="877729" y="129064"/>
                    <a:pt x="875824" y="132874"/>
                  </a:cubicBezTo>
                  <a:cubicBezTo>
                    <a:pt x="871061" y="141446"/>
                    <a:pt x="866299" y="150019"/>
                    <a:pt x="860584" y="159544"/>
                  </a:cubicBezTo>
                  <a:cubicBezTo>
                    <a:pt x="852964" y="172879"/>
                    <a:pt x="845344" y="188119"/>
                    <a:pt x="837724" y="203359"/>
                  </a:cubicBezTo>
                  <a:cubicBezTo>
                    <a:pt x="834866" y="198596"/>
                    <a:pt x="832961" y="195739"/>
                    <a:pt x="832009" y="194786"/>
                  </a:cubicBezTo>
                  <a:cubicBezTo>
                    <a:pt x="834866" y="170974"/>
                    <a:pt x="836771" y="151924"/>
                    <a:pt x="838676" y="137636"/>
                  </a:cubicBezTo>
                  <a:cubicBezTo>
                    <a:pt x="839629" y="123349"/>
                    <a:pt x="840581" y="115729"/>
                    <a:pt x="840581" y="115729"/>
                  </a:cubicBezTo>
                  <a:cubicBezTo>
                    <a:pt x="840581" y="115729"/>
                    <a:pt x="838676" y="123349"/>
                    <a:pt x="834866" y="137636"/>
                  </a:cubicBezTo>
                  <a:cubicBezTo>
                    <a:pt x="831056" y="151924"/>
                    <a:pt x="826294" y="170974"/>
                    <a:pt x="820579" y="194786"/>
                  </a:cubicBezTo>
                  <a:cubicBezTo>
                    <a:pt x="819626" y="197644"/>
                    <a:pt x="819626" y="200501"/>
                    <a:pt x="818674" y="204311"/>
                  </a:cubicBezTo>
                  <a:cubicBezTo>
                    <a:pt x="817721" y="202406"/>
                    <a:pt x="816769" y="199549"/>
                    <a:pt x="815816" y="197644"/>
                  </a:cubicBezTo>
                  <a:cubicBezTo>
                    <a:pt x="810101" y="183356"/>
                    <a:pt x="807244" y="174784"/>
                    <a:pt x="807244" y="174784"/>
                  </a:cubicBezTo>
                  <a:cubicBezTo>
                    <a:pt x="807244" y="174784"/>
                    <a:pt x="809149" y="183356"/>
                    <a:pt x="812006" y="198596"/>
                  </a:cubicBezTo>
                  <a:cubicBezTo>
                    <a:pt x="812959" y="202406"/>
                    <a:pt x="813911" y="206216"/>
                    <a:pt x="814864" y="210979"/>
                  </a:cubicBezTo>
                  <a:cubicBezTo>
                    <a:pt x="814864" y="212884"/>
                    <a:pt x="815816" y="214789"/>
                    <a:pt x="815816" y="216694"/>
                  </a:cubicBezTo>
                  <a:cubicBezTo>
                    <a:pt x="813911" y="224314"/>
                    <a:pt x="812959" y="231934"/>
                    <a:pt x="811054" y="239554"/>
                  </a:cubicBezTo>
                  <a:cubicBezTo>
                    <a:pt x="809149" y="226219"/>
                    <a:pt x="808196" y="219551"/>
                    <a:pt x="808196" y="219551"/>
                  </a:cubicBezTo>
                  <a:cubicBezTo>
                    <a:pt x="808196" y="219551"/>
                    <a:pt x="807244" y="236696"/>
                    <a:pt x="807244" y="264319"/>
                  </a:cubicBezTo>
                  <a:cubicBezTo>
                    <a:pt x="807244" y="265271"/>
                    <a:pt x="807244" y="265271"/>
                    <a:pt x="807244" y="266224"/>
                  </a:cubicBezTo>
                  <a:cubicBezTo>
                    <a:pt x="804386" y="259556"/>
                    <a:pt x="801529" y="252889"/>
                    <a:pt x="798671" y="246221"/>
                  </a:cubicBezTo>
                  <a:cubicBezTo>
                    <a:pt x="799624" y="241459"/>
                    <a:pt x="800576" y="239554"/>
                    <a:pt x="800576" y="239554"/>
                  </a:cubicBezTo>
                  <a:cubicBezTo>
                    <a:pt x="800576" y="239554"/>
                    <a:pt x="799624" y="241459"/>
                    <a:pt x="797719" y="245269"/>
                  </a:cubicBezTo>
                  <a:cubicBezTo>
                    <a:pt x="797719" y="244316"/>
                    <a:pt x="796766" y="243364"/>
                    <a:pt x="796766" y="242411"/>
                  </a:cubicBezTo>
                  <a:cubicBezTo>
                    <a:pt x="795814" y="239554"/>
                    <a:pt x="793909" y="236696"/>
                    <a:pt x="792956" y="233839"/>
                  </a:cubicBezTo>
                  <a:cubicBezTo>
                    <a:pt x="794861" y="229076"/>
                    <a:pt x="795814" y="223361"/>
                    <a:pt x="796766" y="218599"/>
                  </a:cubicBezTo>
                  <a:cubicBezTo>
                    <a:pt x="802481" y="196691"/>
                    <a:pt x="806291" y="177641"/>
                    <a:pt x="809149" y="164306"/>
                  </a:cubicBezTo>
                  <a:cubicBezTo>
                    <a:pt x="811054" y="150971"/>
                    <a:pt x="812959" y="143351"/>
                    <a:pt x="812959" y="143351"/>
                  </a:cubicBezTo>
                  <a:cubicBezTo>
                    <a:pt x="812959" y="143351"/>
                    <a:pt x="810101" y="150971"/>
                    <a:pt x="805339" y="163354"/>
                  </a:cubicBezTo>
                  <a:cubicBezTo>
                    <a:pt x="803434" y="170021"/>
                    <a:pt x="800576" y="177641"/>
                    <a:pt x="796766" y="186214"/>
                  </a:cubicBezTo>
                  <a:cubicBezTo>
                    <a:pt x="793909" y="194786"/>
                    <a:pt x="790099" y="205264"/>
                    <a:pt x="785336" y="215741"/>
                  </a:cubicBezTo>
                  <a:cubicBezTo>
                    <a:pt x="785336" y="216694"/>
                    <a:pt x="784384" y="217646"/>
                    <a:pt x="784384" y="218599"/>
                  </a:cubicBezTo>
                  <a:cubicBezTo>
                    <a:pt x="781526" y="213836"/>
                    <a:pt x="779621" y="209074"/>
                    <a:pt x="776764" y="205264"/>
                  </a:cubicBezTo>
                  <a:cubicBezTo>
                    <a:pt x="775811" y="204311"/>
                    <a:pt x="775811" y="203359"/>
                    <a:pt x="774859" y="202406"/>
                  </a:cubicBezTo>
                  <a:cubicBezTo>
                    <a:pt x="774859" y="202406"/>
                    <a:pt x="774859" y="202406"/>
                    <a:pt x="774859" y="201454"/>
                  </a:cubicBezTo>
                  <a:cubicBezTo>
                    <a:pt x="777716" y="176689"/>
                    <a:pt x="779621" y="156686"/>
                    <a:pt x="780574" y="142399"/>
                  </a:cubicBezTo>
                  <a:cubicBezTo>
                    <a:pt x="781526" y="128111"/>
                    <a:pt x="781526" y="119539"/>
                    <a:pt x="781526" y="119539"/>
                  </a:cubicBezTo>
                  <a:cubicBezTo>
                    <a:pt x="781526" y="119539"/>
                    <a:pt x="779621" y="127159"/>
                    <a:pt x="776764" y="141446"/>
                  </a:cubicBezTo>
                  <a:cubicBezTo>
                    <a:pt x="775811" y="148114"/>
                    <a:pt x="772954" y="156686"/>
                    <a:pt x="771049" y="167164"/>
                  </a:cubicBezTo>
                  <a:cubicBezTo>
                    <a:pt x="769144" y="173831"/>
                    <a:pt x="768191" y="181451"/>
                    <a:pt x="766286" y="189071"/>
                  </a:cubicBezTo>
                  <a:cubicBezTo>
                    <a:pt x="763429" y="185261"/>
                    <a:pt x="760571" y="181451"/>
                    <a:pt x="758666" y="178594"/>
                  </a:cubicBezTo>
                  <a:cubicBezTo>
                    <a:pt x="753904" y="171926"/>
                    <a:pt x="748189" y="166211"/>
                    <a:pt x="745331" y="163354"/>
                  </a:cubicBezTo>
                  <a:cubicBezTo>
                    <a:pt x="742474" y="159544"/>
                    <a:pt x="740569" y="157639"/>
                    <a:pt x="740569" y="157639"/>
                  </a:cubicBezTo>
                  <a:cubicBezTo>
                    <a:pt x="740569" y="157639"/>
                    <a:pt x="741521" y="159544"/>
                    <a:pt x="744379" y="163354"/>
                  </a:cubicBezTo>
                  <a:cubicBezTo>
                    <a:pt x="747236" y="167164"/>
                    <a:pt x="751046" y="172879"/>
                    <a:pt x="754856" y="180499"/>
                  </a:cubicBezTo>
                  <a:cubicBezTo>
                    <a:pt x="757714" y="185261"/>
                    <a:pt x="760571" y="190976"/>
                    <a:pt x="763429" y="196691"/>
                  </a:cubicBezTo>
                  <a:cubicBezTo>
                    <a:pt x="763429" y="197644"/>
                    <a:pt x="763429" y="198596"/>
                    <a:pt x="762476" y="199549"/>
                  </a:cubicBezTo>
                  <a:cubicBezTo>
                    <a:pt x="759619" y="211931"/>
                    <a:pt x="756761" y="224314"/>
                    <a:pt x="753904" y="238601"/>
                  </a:cubicBezTo>
                  <a:cubicBezTo>
                    <a:pt x="749141" y="230029"/>
                    <a:pt x="747236" y="224314"/>
                    <a:pt x="747236" y="224314"/>
                  </a:cubicBezTo>
                  <a:cubicBezTo>
                    <a:pt x="747236" y="224314"/>
                    <a:pt x="749141" y="230981"/>
                    <a:pt x="752951" y="241459"/>
                  </a:cubicBezTo>
                  <a:cubicBezTo>
                    <a:pt x="751999" y="242411"/>
                    <a:pt x="751999" y="242411"/>
                    <a:pt x="751046" y="243364"/>
                  </a:cubicBezTo>
                  <a:cubicBezTo>
                    <a:pt x="749141" y="246221"/>
                    <a:pt x="749141" y="250031"/>
                    <a:pt x="749141" y="252889"/>
                  </a:cubicBezTo>
                  <a:cubicBezTo>
                    <a:pt x="750094" y="250031"/>
                    <a:pt x="751046" y="246221"/>
                    <a:pt x="752951" y="244316"/>
                  </a:cubicBezTo>
                  <a:cubicBezTo>
                    <a:pt x="752951" y="244316"/>
                    <a:pt x="752951" y="244316"/>
                    <a:pt x="752951" y="244316"/>
                  </a:cubicBezTo>
                  <a:cubicBezTo>
                    <a:pt x="750094" y="256699"/>
                    <a:pt x="747236" y="269081"/>
                    <a:pt x="744379" y="282416"/>
                  </a:cubicBezTo>
                  <a:cubicBezTo>
                    <a:pt x="743426" y="287179"/>
                    <a:pt x="742474" y="291941"/>
                    <a:pt x="741521" y="296704"/>
                  </a:cubicBezTo>
                  <a:cubicBezTo>
                    <a:pt x="740569" y="299561"/>
                    <a:pt x="739616" y="302419"/>
                    <a:pt x="738664" y="306229"/>
                  </a:cubicBezTo>
                  <a:cubicBezTo>
                    <a:pt x="738664" y="306229"/>
                    <a:pt x="738664" y="306229"/>
                    <a:pt x="738664" y="306229"/>
                  </a:cubicBezTo>
                  <a:cubicBezTo>
                    <a:pt x="738664" y="302419"/>
                    <a:pt x="737711" y="297656"/>
                    <a:pt x="737711" y="293846"/>
                  </a:cubicBezTo>
                  <a:cubicBezTo>
                    <a:pt x="736759" y="285274"/>
                    <a:pt x="735806" y="277654"/>
                    <a:pt x="733901" y="270034"/>
                  </a:cubicBezTo>
                  <a:cubicBezTo>
                    <a:pt x="732949" y="266224"/>
                    <a:pt x="731996" y="263366"/>
                    <a:pt x="731996" y="259556"/>
                  </a:cubicBezTo>
                  <a:cubicBezTo>
                    <a:pt x="731996" y="258604"/>
                    <a:pt x="731996" y="258604"/>
                    <a:pt x="731044" y="257651"/>
                  </a:cubicBezTo>
                  <a:cubicBezTo>
                    <a:pt x="729139" y="238601"/>
                    <a:pt x="727234" y="223361"/>
                    <a:pt x="725329" y="210979"/>
                  </a:cubicBezTo>
                  <a:cubicBezTo>
                    <a:pt x="723424" y="195739"/>
                    <a:pt x="722471" y="186214"/>
                    <a:pt x="722471" y="186214"/>
                  </a:cubicBezTo>
                  <a:cubicBezTo>
                    <a:pt x="722471" y="186214"/>
                    <a:pt x="722471" y="190976"/>
                    <a:pt x="722471" y="199549"/>
                  </a:cubicBezTo>
                  <a:cubicBezTo>
                    <a:pt x="720566" y="204311"/>
                    <a:pt x="715804" y="220504"/>
                    <a:pt x="709136" y="243364"/>
                  </a:cubicBezTo>
                  <a:cubicBezTo>
                    <a:pt x="707231" y="238601"/>
                    <a:pt x="706279" y="233839"/>
                    <a:pt x="704374" y="229076"/>
                  </a:cubicBezTo>
                  <a:cubicBezTo>
                    <a:pt x="698659" y="211931"/>
                    <a:pt x="692944" y="195739"/>
                    <a:pt x="687229" y="181451"/>
                  </a:cubicBezTo>
                  <a:cubicBezTo>
                    <a:pt x="684371" y="174784"/>
                    <a:pt x="682466" y="168116"/>
                    <a:pt x="679609" y="161449"/>
                  </a:cubicBezTo>
                  <a:cubicBezTo>
                    <a:pt x="679609" y="156686"/>
                    <a:pt x="679609" y="151924"/>
                    <a:pt x="679609" y="148114"/>
                  </a:cubicBezTo>
                  <a:cubicBezTo>
                    <a:pt x="679609" y="138589"/>
                    <a:pt x="679609" y="130016"/>
                    <a:pt x="679609" y="122396"/>
                  </a:cubicBezTo>
                  <a:cubicBezTo>
                    <a:pt x="679609" y="108109"/>
                    <a:pt x="678656" y="100489"/>
                    <a:pt x="678656" y="100489"/>
                  </a:cubicBezTo>
                  <a:cubicBezTo>
                    <a:pt x="678656" y="100489"/>
                    <a:pt x="677704" y="108109"/>
                    <a:pt x="675799" y="122396"/>
                  </a:cubicBezTo>
                  <a:cubicBezTo>
                    <a:pt x="674846" y="128111"/>
                    <a:pt x="673894" y="135731"/>
                    <a:pt x="672941" y="144304"/>
                  </a:cubicBezTo>
                  <a:cubicBezTo>
                    <a:pt x="669131" y="134779"/>
                    <a:pt x="665321" y="127159"/>
                    <a:pt x="663416" y="122396"/>
                  </a:cubicBezTo>
                  <a:cubicBezTo>
                    <a:pt x="660559" y="117634"/>
                    <a:pt x="659606" y="114776"/>
                    <a:pt x="659606" y="114776"/>
                  </a:cubicBezTo>
                  <a:cubicBezTo>
                    <a:pt x="659606" y="114776"/>
                    <a:pt x="660559" y="117634"/>
                    <a:pt x="662464" y="123349"/>
                  </a:cubicBezTo>
                  <a:cubicBezTo>
                    <a:pt x="664369" y="129064"/>
                    <a:pt x="667226" y="136684"/>
                    <a:pt x="670084" y="147161"/>
                  </a:cubicBezTo>
                  <a:cubicBezTo>
                    <a:pt x="671036" y="149066"/>
                    <a:pt x="671036" y="151924"/>
                    <a:pt x="671989" y="153829"/>
                  </a:cubicBezTo>
                  <a:cubicBezTo>
                    <a:pt x="671989" y="157639"/>
                    <a:pt x="671036" y="160496"/>
                    <a:pt x="671036" y="164306"/>
                  </a:cubicBezTo>
                  <a:cubicBezTo>
                    <a:pt x="670084" y="170021"/>
                    <a:pt x="669131" y="175736"/>
                    <a:pt x="668179" y="181451"/>
                  </a:cubicBezTo>
                  <a:cubicBezTo>
                    <a:pt x="666274" y="193834"/>
                    <a:pt x="664369" y="206216"/>
                    <a:pt x="662464" y="219551"/>
                  </a:cubicBezTo>
                  <a:cubicBezTo>
                    <a:pt x="661511" y="226219"/>
                    <a:pt x="660559" y="232886"/>
                    <a:pt x="658654" y="239554"/>
                  </a:cubicBezTo>
                  <a:cubicBezTo>
                    <a:pt x="657701" y="236696"/>
                    <a:pt x="656749" y="233839"/>
                    <a:pt x="655796" y="231934"/>
                  </a:cubicBezTo>
                  <a:cubicBezTo>
                    <a:pt x="656749" y="218599"/>
                    <a:pt x="657701" y="210026"/>
                    <a:pt x="657701" y="210026"/>
                  </a:cubicBezTo>
                  <a:cubicBezTo>
                    <a:pt x="657701" y="210026"/>
                    <a:pt x="655796" y="215741"/>
                    <a:pt x="653891" y="226219"/>
                  </a:cubicBezTo>
                  <a:cubicBezTo>
                    <a:pt x="648176" y="212884"/>
                    <a:pt x="643414" y="201454"/>
                    <a:pt x="638651" y="191929"/>
                  </a:cubicBezTo>
                  <a:cubicBezTo>
                    <a:pt x="634841" y="184309"/>
                    <a:pt x="631984" y="178594"/>
                    <a:pt x="630079" y="174784"/>
                  </a:cubicBezTo>
                  <a:cubicBezTo>
                    <a:pt x="628174" y="170974"/>
                    <a:pt x="627221" y="169069"/>
                    <a:pt x="627221" y="169069"/>
                  </a:cubicBezTo>
                  <a:cubicBezTo>
                    <a:pt x="627221" y="169069"/>
                    <a:pt x="630079" y="178594"/>
                    <a:pt x="635794" y="193834"/>
                  </a:cubicBezTo>
                  <a:cubicBezTo>
                    <a:pt x="639604" y="205264"/>
                    <a:pt x="644366" y="221456"/>
                    <a:pt x="649129" y="240506"/>
                  </a:cubicBezTo>
                  <a:cubicBezTo>
                    <a:pt x="649129" y="241459"/>
                    <a:pt x="649129" y="242411"/>
                    <a:pt x="650081" y="244316"/>
                  </a:cubicBezTo>
                  <a:cubicBezTo>
                    <a:pt x="649129" y="250031"/>
                    <a:pt x="648176" y="255746"/>
                    <a:pt x="647224" y="262414"/>
                  </a:cubicBezTo>
                  <a:cubicBezTo>
                    <a:pt x="646271" y="268129"/>
                    <a:pt x="645319" y="273844"/>
                    <a:pt x="644366" y="279559"/>
                  </a:cubicBezTo>
                  <a:cubicBezTo>
                    <a:pt x="643414" y="285274"/>
                    <a:pt x="643414" y="291941"/>
                    <a:pt x="642461" y="298609"/>
                  </a:cubicBezTo>
                  <a:cubicBezTo>
                    <a:pt x="642461" y="298609"/>
                    <a:pt x="642461" y="298609"/>
                    <a:pt x="642461" y="298609"/>
                  </a:cubicBezTo>
                  <a:cubicBezTo>
                    <a:pt x="642461" y="296704"/>
                    <a:pt x="642461" y="294799"/>
                    <a:pt x="642461" y="294799"/>
                  </a:cubicBezTo>
                  <a:cubicBezTo>
                    <a:pt x="642461" y="294799"/>
                    <a:pt x="642461" y="302419"/>
                    <a:pt x="641509" y="315754"/>
                  </a:cubicBezTo>
                  <a:cubicBezTo>
                    <a:pt x="641509" y="316706"/>
                    <a:pt x="641509" y="316706"/>
                    <a:pt x="641509" y="317659"/>
                  </a:cubicBezTo>
                  <a:cubicBezTo>
                    <a:pt x="640556" y="314801"/>
                    <a:pt x="639604" y="311944"/>
                    <a:pt x="639604" y="309086"/>
                  </a:cubicBezTo>
                  <a:cubicBezTo>
                    <a:pt x="640556" y="306229"/>
                    <a:pt x="640556" y="304324"/>
                    <a:pt x="640556" y="304324"/>
                  </a:cubicBezTo>
                  <a:cubicBezTo>
                    <a:pt x="640556" y="304324"/>
                    <a:pt x="639604" y="305276"/>
                    <a:pt x="638651" y="307181"/>
                  </a:cubicBezTo>
                  <a:cubicBezTo>
                    <a:pt x="636746" y="299561"/>
                    <a:pt x="634841" y="291941"/>
                    <a:pt x="632936" y="284321"/>
                  </a:cubicBezTo>
                  <a:cubicBezTo>
                    <a:pt x="630079" y="271939"/>
                    <a:pt x="626269" y="260509"/>
                    <a:pt x="624364" y="250031"/>
                  </a:cubicBezTo>
                  <a:cubicBezTo>
                    <a:pt x="622459" y="239554"/>
                    <a:pt x="619601" y="230981"/>
                    <a:pt x="617696" y="223361"/>
                  </a:cubicBezTo>
                  <a:cubicBezTo>
                    <a:pt x="616744" y="218599"/>
                    <a:pt x="615791" y="214789"/>
                    <a:pt x="614839" y="210979"/>
                  </a:cubicBezTo>
                  <a:cubicBezTo>
                    <a:pt x="615791" y="204311"/>
                    <a:pt x="615791" y="197644"/>
                    <a:pt x="615791" y="190024"/>
                  </a:cubicBezTo>
                  <a:cubicBezTo>
                    <a:pt x="616744" y="169069"/>
                    <a:pt x="617696" y="148114"/>
                    <a:pt x="617696" y="126206"/>
                  </a:cubicBezTo>
                  <a:cubicBezTo>
                    <a:pt x="613886" y="146209"/>
                    <a:pt x="610076" y="166211"/>
                    <a:pt x="607219" y="187166"/>
                  </a:cubicBezTo>
                  <a:cubicBezTo>
                    <a:pt x="607219" y="186214"/>
                    <a:pt x="607219" y="185261"/>
                    <a:pt x="606266" y="184309"/>
                  </a:cubicBezTo>
                  <a:cubicBezTo>
                    <a:pt x="606266" y="186214"/>
                    <a:pt x="606266" y="188119"/>
                    <a:pt x="606266" y="189071"/>
                  </a:cubicBezTo>
                  <a:cubicBezTo>
                    <a:pt x="604361" y="197644"/>
                    <a:pt x="603409" y="207169"/>
                    <a:pt x="601504" y="215741"/>
                  </a:cubicBezTo>
                  <a:cubicBezTo>
                    <a:pt x="600551" y="213836"/>
                    <a:pt x="600551" y="211931"/>
                    <a:pt x="599599" y="210979"/>
                  </a:cubicBezTo>
                  <a:cubicBezTo>
                    <a:pt x="593884" y="198596"/>
                    <a:pt x="591026" y="191929"/>
                    <a:pt x="591026" y="191929"/>
                  </a:cubicBezTo>
                  <a:cubicBezTo>
                    <a:pt x="591026" y="191929"/>
                    <a:pt x="592931" y="199549"/>
                    <a:pt x="595789" y="212884"/>
                  </a:cubicBezTo>
                  <a:cubicBezTo>
                    <a:pt x="596741" y="217646"/>
                    <a:pt x="597694" y="223361"/>
                    <a:pt x="599599" y="230029"/>
                  </a:cubicBezTo>
                  <a:cubicBezTo>
                    <a:pt x="598646" y="237649"/>
                    <a:pt x="596741" y="244316"/>
                    <a:pt x="595789" y="251936"/>
                  </a:cubicBezTo>
                  <a:cubicBezTo>
                    <a:pt x="592931" y="266224"/>
                    <a:pt x="591026" y="280511"/>
                    <a:pt x="589121" y="294799"/>
                  </a:cubicBezTo>
                  <a:cubicBezTo>
                    <a:pt x="586264" y="290989"/>
                    <a:pt x="584359" y="288131"/>
                    <a:pt x="582454" y="284321"/>
                  </a:cubicBezTo>
                  <a:cubicBezTo>
                    <a:pt x="583406" y="277654"/>
                    <a:pt x="584359" y="270986"/>
                    <a:pt x="585311" y="265271"/>
                  </a:cubicBezTo>
                  <a:cubicBezTo>
                    <a:pt x="586264" y="256699"/>
                    <a:pt x="587216" y="250031"/>
                    <a:pt x="588169" y="244316"/>
                  </a:cubicBezTo>
                  <a:cubicBezTo>
                    <a:pt x="590074" y="232886"/>
                    <a:pt x="591026" y="225266"/>
                    <a:pt x="591026" y="225266"/>
                  </a:cubicBezTo>
                  <a:cubicBezTo>
                    <a:pt x="591026" y="225266"/>
                    <a:pt x="588169" y="231934"/>
                    <a:pt x="584359" y="243364"/>
                  </a:cubicBezTo>
                  <a:cubicBezTo>
                    <a:pt x="583406" y="247174"/>
                    <a:pt x="581501" y="252889"/>
                    <a:pt x="579596" y="258604"/>
                  </a:cubicBezTo>
                  <a:cubicBezTo>
                    <a:pt x="578644" y="248126"/>
                    <a:pt x="578644" y="239554"/>
                    <a:pt x="577691" y="231934"/>
                  </a:cubicBezTo>
                  <a:cubicBezTo>
                    <a:pt x="576739" y="218599"/>
                    <a:pt x="575786" y="210979"/>
                    <a:pt x="575786" y="210979"/>
                  </a:cubicBezTo>
                  <a:cubicBezTo>
                    <a:pt x="575786" y="210979"/>
                    <a:pt x="574834" y="218599"/>
                    <a:pt x="573881" y="230981"/>
                  </a:cubicBezTo>
                  <a:cubicBezTo>
                    <a:pt x="572929" y="240506"/>
                    <a:pt x="571976" y="252889"/>
                    <a:pt x="571024" y="267176"/>
                  </a:cubicBezTo>
                  <a:cubicBezTo>
                    <a:pt x="571024" y="267176"/>
                    <a:pt x="571024" y="267176"/>
                    <a:pt x="571024" y="267176"/>
                  </a:cubicBezTo>
                  <a:cubicBezTo>
                    <a:pt x="570071" y="265271"/>
                    <a:pt x="568166" y="264319"/>
                    <a:pt x="567214" y="262414"/>
                  </a:cubicBezTo>
                  <a:cubicBezTo>
                    <a:pt x="561499" y="245269"/>
                    <a:pt x="556736" y="230981"/>
                    <a:pt x="552926" y="219551"/>
                  </a:cubicBezTo>
                  <a:cubicBezTo>
                    <a:pt x="552926" y="219551"/>
                    <a:pt x="552926" y="218599"/>
                    <a:pt x="552926" y="218599"/>
                  </a:cubicBezTo>
                  <a:cubicBezTo>
                    <a:pt x="553879" y="208121"/>
                    <a:pt x="554831" y="198596"/>
                    <a:pt x="555784" y="189071"/>
                  </a:cubicBezTo>
                  <a:cubicBezTo>
                    <a:pt x="556736" y="179546"/>
                    <a:pt x="557689" y="170021"/>
                    <a:pt x="558641" y="162401"/>
                  </a:cubicBezTo>
                  <a:cubicBezTo>
                    <a:pt x="559594" y="154781"/>
                    <a:pt x="560546" y="147161"/>
                    <a:pt x="561499" y="141446"/>
                  </a:cubicBezTo>
                  <a:cubicBezTo>
                    <a:pt x="563404" y="130016"/>
                    <a:pt x="564356" y="123349"/>
                    <a:pt x="564356" y="123349"/>
                  </a:cubicBezTo>
                  <a:cubicBezTo>
                    <a:pt x="564356" y="123349"/>
                    <a:pt x="561499" y="130016"/>
                    <a:pt x="557689" y="140494"/>
                  </a:cubicBezTo>
                  <a:cubicBezTo>
                    <a:pt x="555784" y="146209"/>
                    <a:pt x="553879" y="152876"/>
                    <a:pt x="551021" y="160496"/>
                  </a:cubicBezTo>
                  <a:cubicBezTo>
                    <a:pt x="548164" y="168116"/>
                    <a:pt x="546259" y="177641"/>
                    <a:pt x="544354" y="187166"/>
                  </a:cubicBezTo>
                  <a:cubicBezTo>
                    <a:pt x="542449" y="196691"/>
                    <a:pt x="540544" y="207169"/>
                    <a:pt x="537686" y="218599"/>
                  </a:cubicBezTo>
                  <a:cubicBezTo>
                    <a:pt x="536734" y="222409"/>
                    <a:pt x="536734" y="227171"/>
                    <a:pt x="535781" y="231934"/>
                  </a:cubicBezTo>
                  <a:cubicBezTo>
                    <a:pt x="535781" y="228124"/>
                    <a:pt x="534829" y="224314"/>
                    <a:pt x="534829" y="220504"/>
                  </a:cubicBezTo>
                  <a:cubicBezTo>
                    <a:pt x="534829" y="214789"/>
                    <a:pt x="533876" y="210026"/>
                    <a:pt x="532924" y="205264"/>
                  </a:cubicBezTo>
                  <a:cubicBezTo>
                    <a:pt x="532924" y="198596"/>
                    <a:pt x="533876" y="192881"/>
                    <a:pt x="533876" y="186214"/>
                  </a:cubicBezTo>
                  <a:cubicBezTo>
                    <a:pt x="533876" y="179546"/>
                    <a:pt x="534829" y="172879"/>
                    <a:pt x="534829" y="166211"/>
                  </a:cubicBezTo>
                  <a:cubicBezTo>
                    <a:pt x="534829" y="159544"/>
                    <a:pt x="534829" y="153829"/>
                    <a:pt x="534829" y="148114"/>
                  </a:cubicBezTo>
                  <a:cubicBezTo>
                    <a:pt x="534829" y="136684"/>
                    <a:pt x="534829" y="127159"/>
                    <a:pt x="534829" y="118586"/>
                  </a:cubicBezTo>
                  <a:cubicBezTo>
                    <a:pt x="534829" y="102394"/>
                    <a:pt x="533876" y="92869"/>
                    <a:pt x="533876" y="92869"/>
                  </a:cubicBezTo>
                  <a:cubicBezTo>
                    <a:pt x="533876" y="92869"/>
                    <a:pt x="532924" y="102394"/>
                    <a:pt x="531019" y="118586"/>
                  </a:cubicBezTo>
                  <a:cubicBezTo>
                    <a:pt x="530066" y="126206"/>
                    <a:pt x="529114" y="136684"/>
                    <a:pt x="528161" y="147161"/>
                  </a:cubicBezTo>
                  <a:cubicBezTo>
                    <a:pt x="527209" y="152876"/>
                    <a:pt x="527209" y="158591"/>
                    <a:pt x="526256" y="165259"/>
                  </a:cubicBezTo>
                  <a:cubicBezTo>
                    <a:pt x="525304" y="171926"/>
                    <a:pt x="524351" y="177641"/>
                    <a:pt x="523399" y="185261"/>
                  </a:cubicBezTo>
                  <a:cubicBezTo>
                    <a:pt x="522446" y="189071"/>
                    <a:pt x="522446" y="192881"/>
                    <a:pt x="521494" y="197644"/>
                  </a:cubicBezTo>
                  <a:cubicBezTo>
                    <a:pt x="518636" y="187166"/>
                    <a:pt x="516731" y="177641"/>
                    <a:pt x="513874" y="170021"/>
                  </a:cubicBezTo>
                  <a:cubicBezTo>
                    <a:pt x="509111" y="153829"/>
                    <a:pt x="506254" y="144304"/>
                    <a:pt x="506254" y="144304"/>
                  </a:cubicBezTo>
                  <a:cubicBezTo>
                    <a:pt x="506254" y="144304"/>
                    <a:pt x="507206" y="153829"/>
                    <a:pt x="510064" y="170974"/>
                  </a:cubicBezTo>
                  <a:cubicBezTo>
                    <a:pt x="511969" y="184309"/>
                    <a:pt x="513874" y="201454"/>
                    <a:pt x="517684" y="222409"/>
                  </a:cubicBezTo>
                  <a:cubicBezTo>
                    <a:pt x="517684" y="225266"/>
                    <a:pt x="516731" y="227171"/>
                    <a:pt x="516731" y="230029"/>
                  </a:cubicBezTo>
                  <a:cubicBezTo>
                    <a:pt x="515779" y="237649"/>
                    <a:pt x="514826" y="244316"/>
                    <a:pt x="512921" y="251936"/>
                  </a:cubicBezTo>
                  <a:cubicBezTo>
                    <a:pt x="499586" y="210026"/>
                    <a:pt x="490061" y="181451"/>
                    <a:pt x="487204" y="172879"/>
                  </a:cubicBezTo>
                  <a:cubicBezTo>
                    <a:pt x="486251" y="167164"/>
                    <a:pt x="485299" y="164306"/>
                    <a:pt x="485299" y="164306"/>
                  </a:cubicBezTo>
                  <a:cubicBezTo>
                    <a:pt x="485299" y="164306"/>
                    <a:pt x="486251" y="173831"/>
                    <a:pt x="486251" y="189071"/>
                  </a:cubicBezTo>
                  <a:cubicBezTo>
                    <a:pt x="487204" y="196691"/>
                    <a:pt x="487204" y="207169"/>
                    <a:pt x="488156" y="217646"/>
                  </a:cubicBezTo>
                  <a:cubicBezTo>
                    <a:pt x="488156" y="224314"/>
                    <a:pt x="489109" y="230981"/>
                    <a:pt x="489109" y="238601"/>
                  </a:cubicBezTo>
                  <a:cubicBezTo>
                    <a:pt x="488156" y="232886"/>
                    <a:pt x="487204" y="228124"/>
                    <a:pt x="486251" y="223361"/>
                  </a:cubicBezTo>
                  <a:cubicBezTo>
                    <a:pt x="485299" y="217646"/>
                    <a:pt x="484346" y="212884"/>
                    <a:pt x="482441" y="207169"/>
                  </a:cubicBezTo>
                  <a:cubicBezTo>
                    <a:pt x="480536" y="202406"/>
                    <a:pt x="479584" y="197644"/>
                    <a:pt x="478631" y="192881"/>
                  </a:cubicBezTo>
                  <a:cubicBezTo>
                    <a:pt x="475774" y="184309"/>
                    <a:pt x="473869" y="176689"/>
                    <a:pt x="471964" y="170021"/>
                  </a:cubicBezTo>
                  <a:cubicBezTo>
                    <a:pt x="468154" y="157639"/>
                    <a:pt x="465296" y="150019"/>
                    <a:pt x="465296" y="150019"/>
                  </a:cubicBezTo>
                  <a:cubicBezTo>
                    <a:pt x="465296" y="150019"/>
                    <a:pt x="466249" y="157639"/>
                    <a:pt x="468154" y="170021"/>
                  </a:cubicBezTo>
                  <a:cubicBezTo>
                    <a:pt x="469106" y="176689"/>
                    <a:pt x="470059" y="184309"/>
                    <a:pt x="471011" y="193834"/>
                  </a:cubicBezTo>
                  <a:cubicBezTo>
                    <a:pt x="471964" y="198596"/>
                    <a:pt x="471964" y="203359"/>
                    <a:pt x="472916" y="208121"/>
                  </a:cubicBezTo>
                  <a:cubicBezTo>
                    <a:pt x="473869" y="212884"/>
                    <a:pt x="473869" y="218599"/>
                    <a:pt x="474821" y="224314"/>
                  </a:cubicBezTo>
                  <a:cubicBezTo>
                    <a:pt x="475774" y="233839"/>
                    <a:pt x="476726" y="244316"/>
                    <a:pt x="478631" y="255746"/>
                  </a:cubicBezTo>
                  <a:cubicBezTo>
                    <a:pt x="477679" y="250031"/>
                    <a:pt x="475774" y="245269"/>
                    <a:pt x="474821" y="240506"/>
                  </a:cubicBezTo>
                  <a:cubicBezTo>
                    <a:pt x="467201" y="211931"/>
                    <a:pt x="460534" y="188119"/>
                    <a:pt x="455771" y="170974"/>
                  </a:cubicBezTo>
                  <a:cubicBezTo>
                    <a:pt x="450056" y="154781"/>
                    <a:pt x="447199" y="145256"/>
                    <a:pt x="447199" y="145256"/>
                  </a:cubicBezTo>
                  <a:cubicBezTo>
                    <a:pt x="447199" y="145256"/>
                    <a:pt x="449104" y="154781"/>
                    <a:pt x="451961" y="171926"/>
                  </a:cubicBezTo>
                  <a:cubicBezTo>
                    <a:pt x="453866" y="180499"/>
                    <a:pt x="454819" y="190976"/>
                    <a:pt x="457676" y="202406"/>
                  </a:cubicBezTo>
                  <a:cubicBezTo>
                    <a:pt x="459581" y="213836"/>
                    <a:pt x="462439" y="227171"/>
                    <a:pt x="464344" y="242411"/>
                  </a:cubicBezTo>
                  <a:cubicBezTo>
                    <a:pt x="466249" y="254794"/>
                    <a:pt x="469106" y="268129"/>
                    <a:pt x="471011" y="282416"/>
                  </a:cubicBezTo>
                  <a:cubicBezTo>
                    <a:pt x="469106" y="278606"/>
                    <a:pt x="468154" y="275749"/>
                    <a:pt x="467201" y="272891"/>
                  </a:cubicBezTo>
                  <a:cubicBezTo>
                    <a:pt x="462439" y="262414"/>
                    <a:pt x="459581" y="255746"/>
                    <a:pt x="459581" y="255746"/>
                  </a:cubicBezTo>
                  <a:cubicBezTo>
                    <a:pt x="459581" y="255746"/>
                    <a:pt x="460534" y="262414"/>
                    <a:pt x="463391" y="273844"/>
                  </a:cubicBezTo>
                  <a:cubicBezTo>
                    <a:pt x="464344" y="279559"/>
                    <a:pt x="466249" y="286226"/>
                    <a:pt x="468154" y="293846"/>
                  </a:cubicBezTo>
                  <a:cubicBezTo>
                    <a:pt x="469106" y="297656"/>
                    <a:pt x="470059" y="302419"/>
                    <a:pt x="471011" y="306229"/>
                  </a:cubicBezTo>
                  <a:cubicBezTo>
                    <a:pt x="471964" y="310991"/>
                    <a:pt x="472916" y="315754"/>
                    <a:pt x="473869" y="320516"/>
                  </a:cubicBezTo>
                  <a:cubicBezTo>
                    <a:pt x="475774" y="330041"/>
                    <a:pt x="477679" y="340519"/>
                    <a:pt x="479584" y="351949"/>
                  </a:cubicBezTo>
                  <a:cubicBezTo>
                    <a:pt x="479584" y="352901"/>
                    <a:pt x="479584" y="352901"/>
                    <a:pt x="479584" y="353854"/>
                  </a:cubicBezTo>
                  <a:cubicBezTo>
                    <a:pt x="479584" y="353854"/>
                    <a:pt x="479584" y="352901"/>
                    <a:pt x="478631" y="351949"/>
                  </a:cubicBezTo>
                  <a:cubicBezTo>
                    <a:pt x="476726" y="347186"/>
                    <a:pt x="473869" y="343376"/>
                    <a:pt x="471964" y="338614"/>
                  </a:cubicBezTo>
                  <a:cubicBezTo>
                    <a:pt x="471011" y="333851"/>
                    <a:pt x="471011" y="329089"/>
                    <a:pt x="470059" y="324326"/>
                  </a:cubicBezTo>
                  <a:cubicBezTo>
                    <a:pt x="468154" y="309086"/>
                    <a:pt x="465296" y="294799"/>
                    <a:pt x="462439" y="280511"/>
                  </a:cubicBezTo>
                  <a:cubicBezTo>
                    <a:pt x="459581" y="266224"/>
                    <a:pt x="455771" y="252889"/>
                    <a:pt x="452914" y="240506"/>
                  </a:cubicBezTo>
                  <a:cubicBezTo>
                    <a:pt x="449104" y="228124"/>
                    <a:pt x="445294" y="215741"/>
                    <a:pt x="441484" y="205264"/>
                  </a:cubicBezTo>
                  <a:cubicBezTo>
                    <a:pt x="440531" y="201454"/>
                    <a:pt x="438626" y="198596"/>
                    <a:pt x="437674" y="194786"/>
                  </a:cubicBezTo>
                  <a:cubicBezTo>
                    <a:pt x="438626" y="185261"/>
                    <a:pt x="439579" y="175736"/>
                    <a:pt x="440531" y="167164"/>
                  </a:cubicBezTo>
                  <a:cubicBezTo>
                    <a:pt x="441484" y="151924"/>
                    <a:pt x="442436" y="139541"/>
                    <a:pt x="442436" y="128111"/>
                  </a:cubicBezTo>
                  <a:cubicBezTo>
                    <a:pt x="442436" y="106204"/>
                    <a:pt x="441484" y="94774"/>
                    <a:pt x="441484" y="94774"/>
                  </a:cubicBezTo>
                  <a:cubicBezTo>
                    <a:pt x="441484" y="94774"/>
                    <a:pt x="440531" y="107156"/>
                    <a:pt x="438626" y="128111"/>
                  </a:cubicBezTo>
                  <a:cubicBezTo>
                    <a:pt x="437674" y="138589"/>
                    <a:pt x="435769" y="151924"/>
                    <a:pt x="433864" y="166211"/>
                  </a:cubicBezTo>
                  <a:cubicBezTo>
                    <a:pt x="432911" y="170021"/>
                    <a:pt x="432911" y="173831"/>
                    <a:pt x="431959" y="178594"/>
                  </a:cubicBezTo>
                  <a:cubicBezTo>
                    <a:pt x="431959" y="177641"/>
                    <a:pt x="431006" y="176689"/>
                    <a:pt x="431006" y="175736"/>
                  </a:cubicBezTo>
                  <a:cubicBezTo>
                    <a:pt x="427196" y="167164"/>
                    <a:pt x="423386" y="159544"/>
                    <a:pt x="419576" y="153829"/>
                  </a:cubicBezTo>
                  <a:cubicBezTo>
                    <a:pt x="412909" y="142399"/>
                    <a:pt x="408146" y="135731"/>
                    <a:pt x="408146" y="135731"/>
                  </a:cubicBezTo>
                  <a:cubicBezTo>
                    <a:pt x="408146" y="135731"/>
                    <a:pt x="411004" y="143351"/>
                    <a:pt x="415766" y="155734"/>
                  </a:cubicBezTo>
                  <a:cubicBezTo>
                    <a:pt x="418624" y="161449"/>
                    <a:pt x="420529" y="170021"/>
                    <a:pt x="423386" y="178594"/>
                  </a:cubicBezTo>
                  <a:cubicBezTo>
                    <a:pt x="425291" y="184309"/>
                    <a:pt x="427196" y="190024"/>
                    <a:pt x="428149" y="195739"/>
                  </a:cubicBezTo>
                  <a:cubicBezTo>
                    <a:pt x="427196" y="201454"/>
                    <a:pt x="425291" y="208121"/>
                    <a:pt x="424339" y="214789"/>
                  </a:cubicBezTo>
                  <a:cubicBezTo>
                    <a:pt x="424339" y="214789"/>
                    <a:pt x="424339" y="214789"/>
                    <a:pt x="424339" y="214789"/>
                  </a:cubicBezTo>
                  <a:cubicBezTo>
                    <a:pt x="418624" y="206216"/>
                    <a:pt x="415766" y="202406"/>
                    <a:pt x="415766" y="202406"/>
                  </a:cubicBezTo>
                  <a:cubicBezTo>
                    <a:pt x="415766" y="202406"/>
                    <a:pt x="417671" y="208121"/>
                    <a:pt x="421481" y="216694"/>
                  </a:cubicBezTo>
                  <a:cubicBezTo>
                    <a:pt x="422434" y="218599"/>
                    <a:pt x="423386" y="220504"/>
                    <a:pt x="423386" y="223361"/>
                  </a:cubicBezTo>
                  <a:cubicBezTo>
                    <a:pt x="420529" y="238601"/>
                    <a:pt x="416719" y="255746"/>
                    <a:pt x="412909" y="272891"/>
                  </a:cubicBezTo>
                  <a:cubicBezTo>
                    <a:pt x="410051" y="264319"/>
                    <a:pt x="407194" y="257651"/>
                    <a:pt x="405289" y="253841"/>
                  </a:cubicBezTo>
                  <a:cubicBezTo>
                    <a:pt x="405289" y="253841"/>
                    <a:pt x="405289" y="253841"/>
                    <a:pt x="405289" y="253841"/>
                  </a:cubicBezTo>
                  <a:cubicBezTo>
                    <a:pt x="405289" y="237649"/>
                    <a:pt x="405289" y="223361"/>
                    <a:pt x="404336" y="210026"/>
                  </a:cubicBezTo>
                  <a:cubicBezTo>
                    <a:pt x="403384" y="196691"/>
                    <a:pt x="403384" y="185261"/>
                    <a:pt x="401479" y="176689"/>
                  </a:cubicBezTo>
                  <a:cubicBezTo>
                    <a:pt x="398621" y="158591"/>
                    <a:pt x="396716" y="148114"/>
                    <a:pt x="396716" y="148114"/>
                  </a:cubicBezTo>
                  <a:cubicBezTo>
                    <a:pt x="396716" y="148114"/>
                    <a:pt x="396716" y="158591"/>
                    <a:pt x="397669" y="177641"/>
                  </a:cubicBezTo>
                  <a:cubicBezTo>
                    <a:pt x="397669" y="186214"/>
                    <a:pt x="397669" y="195739"/>
                    <a:pt x="396716" y="206216"/>
                  </a:cubicBezTo>
                  <a:cubicBezTo>
                    <a:pt x="394811" y="214789"/>
                    <a:pt x="391954" y="228124"/>
                    <a:pt x="389096" y="244316"/>
                  </a:cubicBezTo>
                  <a:cubicBezTo>
                    <a:pt x="386239" y="235744"/>
                    <a:pt x="384334" y="227171"/>
                    <a:pt x="381476" y="219551"/>
                  </a:cubicBezTo>
                  <a:cubicBezTo>
                    <a:pt x="379571" y="212884"/>
                    <a:pt x="377666" y="205264"/>
                    <a:pt x="374809" y="199549"/>
                  </a:cubicBezTo>
                  <a:cubicBezTo>
                    <a:pt x="373856" y="197644"/>
                    <a:pt x="373856" y="196691"/>
                    <a:pt x="372904" y="194786"/>
                  </a:cubicBezTo>
                  <a:cubicBezTo>
                    <a:pt x="372904" y="193834"/>
                    <a:pt x="372904" y="192881"/>
                    <a:pt x="372904" y="190976"/>
                  </a:cubicBezTo>
                  <a:cubicBezTo>
                    <a:pt x="371951" y="186214"/>
                    <a:pt x="370999" y="181451"/>
                    <a:pt x="370046" y="177641"/>
                  </a:cubicBezTo>
                  <a:cubicBezTo>
                    <a:pt x="368141" y="169069"/>
                    <a:pt x="367189" y="162401"/>
                    <a:pt x="366236" y="155734"/>
                  </a:cubicBezTo>
                  <a:cubicBezTo>
                    <a:pt x="365284" y="152876"/>
                    <a:pt x="365284" y="150019"/>
                    <a:pt x="364331" y="148114"/>
                  </a:cubicBezTo>
                  <a:cubicBezTo>
                    <a:pt x="363379" y="140494"/>
                    <a:pt x="363379" y="135731"/>
                    <a:pt x="363379" y="135731"/>
                  </a:cubicBezTo>
                  <a:cubicBezTo>
                    <a:pt x="363379" y="135731"/>
                    <a:pt x="363379" y="137636"/>
                    <a:pt x="363379" y="140494"/>
                  </a:cubicBezTo>
                  <a:cubicBezTo>
                    <a:pt x="362426" y="138589"/>
                    <a:pt x="362426" y="136684"/>
                    <a:pt x="362426" y="136684"/>
                  </a:cubicBezTo>
                  <a:cubicBezTo>
                    <a:pt x="362426" y="136684"/>
                    <a:pt x="362426" y="142399"/>
                    <a:pt x="362426" y="151924"/>
                  </a:cubicBezTo>
                  <a:cubicBezTo>
                    <a:pt x="362426" y="154781"/>
                    <a:pt x="362426" y="158591"/>
                    <a:pt x="361474" y="163354"/>
                  </a:cubicBezTo>
                  <a:cubicBezTo>
                    <a:pt x="359569" y="159544"/>
                    <a:pt x="358616" y="155734"/>
                    <a:pt x="357664" y="151924"/>
                  </a:cubicBezTo>
                  <a:cubicBezTo>
                    <a:pt x="350996" y="135731"/>
                    <a:pt x="348139" y="127159"/>
                    <a:pt x="348139" y="127159"/>
                  </a:cubicBezTo>
                  <a:cubicBezTo>
                    <a:pt x="348139" y="127159"/>
                    <a:pt x="350044" y="136684"/>
                    <a:pt x="353854" y="153829"/>
                  </a:cubicBezTo>
                  <a:cubicBezTo>
                    <a:pt x="355759" y="162401"/>
                    <a:pt x="358616" y="171926"/>
                    <a:pt x="361474" y="183356"/>
                  </a:cubicBezTo>
                  <a:cubicBezTo>
                    <a:pt x="361474" y="186214"/>
                    <a:pt x="361474" y="189071"/>
                    <a:pt x="361474" y="192881"/>
                  </a:cubicBezTo>
                  <a:cubicBezTo>
                    <a:pt x="359569" y="187166"/>
                    <a:pt x="357664" y="184309"/>
                    <a:pt x="357664" y="184309"/>
                  </a:cubicBezTo>
                  <a:cubicBezTo>
                    <a:pt x="357664" y="184309"/>
                    <a:pt x="358616" y="189071"/>
                    <a:pt x="360521" y="198596"/>
                  </a:cubicBezTo>
                  <a:cubicBezTo>
                    <a:pt x="360521" y="205264"/>
                    <a:pt x="360521" y="212884"/>
                    <a:pt x="359569" y="221456"/>
                  </a:cubicBezTo>
                  <a:cubicBezTo>
                    <a:pt x="357664" y="216694"/>
                    <a:pt x="356711" y="211931"/>
                    <a:pt x="355759" y="208121"/>
                  </a:cubicBezTo>
                  <a:cubicBezTo>
                    <a:pt x="352901" y="199549"/>
                    <a:pt x="350996" y="193834"/>
                    <a:pt x="350996" y="193834"/>
                  </a:cubicBezTo>
                  <a:cubicBezTo>
                    <a:pt x="350996" y="193834"/>
                    <a:pt x="350996" y="199549"/>
                    <a:pt x="351949" y="208121"/>
                  </a:cubicBezTo>
                  <a:cubicBezTo>
                    <a:pt x="351949" y="212884"/>
                    <a:pt x="352901" y="218599"/>
                    <a:pt x="352901" y="224314"/>
                  </a:cubicBezTo>
                  <a:cubicBezTo>
                    <a:pt x="353854" y="230981"/>
                    <a:pt x="353854" y="237649"/>
                    <a:pt x="353854" y="246221"/>
                  </a:cubicBezTo>
                  <a:cubicBezTo>
                    <a:pt x="353854" y="253841"/>
                    <a:pt x="354806" y="262414"/>
                    <a:pt x="354806" y="270986"/>
                  </a:cubicBezTo>
                  <a:cubicBezTo>
                    <a:pt x="355759" y="279559"/>
                    <a:pt x="355759" y="289084"/>
                    <a:pt x="355759" y="299561"/>
                  </a:cubicBezTo>
                  <a:cubicBezTo>
                    <a:pt x="355759" y="305276"/>
                    <a:pt x="356711" y="310991"/>
                    <a:pt x="356711" y="316706"/>
                  </a:cubicBezTo>
                  <a:cubicBezTo>
                    <a:pt x="352901" y="310039"/>
                    <a:pt x="349091" y="303371"/>
                    <a:pt x="346234" y="298609"/>
                  </a:cubicBezTo>
                  <a:cubicBezTo>
                    <a:pt x="346234" y="297656"/>
                    <a:pt x="345281" y="297656"/>
                    <a:pt x="345281" y="296704"/>
                  </a:cubicBezTo>
                  <a:cubicBezTo>
                    <a:pt x="345281" y="294799"/>
                    <a:pt x="345281" y="293846"/>
                    <a:pt x="345281" y="291941"/>
                  </a:cubicBezTo>
                  <a:cubicBezTo>
                    <a:pt x="346234" y="282416"/>
                    <a:pt x="347186" y="274796"/>
                    <a:pt x="348139" y="267176"/>
                  </a:cubicBezTo>
                  <a:cubicBezTo>
                    <a:pt x="349091" y="253841"/>
                    <a:pt x="350044" y="246221"/>
                    <a:pt x="350044" y="246221"/>
                  </a:cubicBezTo>
                  <a:cubicBezTo>
                    <a:pt x="350044" y="246221"/>
                    <a:pt x="348139" y="253841"/>
                    <a:pt x="344329" y="267176"/>
                  </a:cubicBezTo>
                  <a:cubicBezTo>
                    <a:pt x="342424" y="272891"/>
                    <a:pt x="341471" y="279559"/>
                    <a:pt x="339566" y="287179"/>
                  </a:cubicBezTo>
                  <a:cubicBezTo>
                    <a:pt x="339566" y="287179"/>
                    <a:pt x="339566" y="287179"/>
                    <a:pt x="339566" y="287179"/>
                  </a:cubicBezTo>
                  <a:cubicBezTo>
                    <a:pt x="339566" y="287179"/>
                    <a:pt x="339566" y="287179"/>
                    <a:pt x="339566" y="288131"/>
                  </a:cubicBezTo>
                  <a:cubicBezTo>
                    <a:pt x="339566" y="289084"/>
                    <a:pt x="338614" y="290036"/>
                    <a:pt x="338614" y="291941"/>
                  </a:cubicBezTo>
                  <a:cubicBezTo>
                    <a:pt x="338614" y="293846"/>
                    <a:pt x="337661" y="295751"/>
                    <a:pt x="337661" y="297656"/>
                  </a:cubicBezTo>
                  <a:cubicBezTo>
                    <a:pt x="332899" y="290036"/>
                    <a:pt x="328136" y="283369"/>
                    <a:pt x="324326" y="277654"/>
                  </a:cubicBezTo>
                  <a:cubicBezTo>
                    <a:pt x="320516" y="263366"/>
                    <a:pt x="315754" y="249079"/>
                    <a:pt x="310991" y="233839"/>
                  </a:cubicBezTo>
                  <a:cubicBezTo>
                    <a:pt x="308134" y="226219"/>
                    <a:pt x="306229" y="219551"/>
                    <a:pt x="303371" y="211931"/>
                  </a:cubicBezTo>
                  <a:cubicBezTo>
                    <a:pt x="304324" y="206216"/>
                    <a:pt x="305276" y="201454"/>
                    <a:pt x="306229" y="196691"/>
                  </a:cubicBezTo>
                  <a:cubicBezTo>
                    <a:pt x="310039" y="179546"/>
                    <a:pt x="312896" y="164306"/>
                    <a:pt x="316706" y="150971"/>
                  </a:cubicBezTo>
                  <a:cubicBezTo>
                    <a:pt x="320516" y="137636"/>
                    <a:pt x="322421" y="125254"/>
                    <a:pt x="326231" y="115729"/>
                  </a:cubicBezTo>
                  <a:cubicBezTo>
                    <a:pt x="331946" y="96679"/>
                    <a:pt x="335756" y="85249"/>
                    <a:pt x="335756" y="85249"/>
                  </a:cubicBezTo>
                  <a:cubicBezTo>
                    <a:pt x="335756" y="85249"/>
                    <a:pt x="330994" y="95726"/>
                    <a:pt x="323374" y="113824"/>
                  </a:cubicBezTo>
                  <a:cubicBezTo>
                    <a:pt x="319564" y="123349"/>
                    <a:pt x="315754" y="134779"/>
                    <a:pt x="310991" y="148114"/>
                  </a:cubicBezTo>
                  <a:cubicBezTo>
                    <a:pt x="309086" y="154781"/>
                    <a:pt x="306229" y="161449"/>
                    <a:pt x="303371" y="169069"/>
                  </a:cubicBezTo>
                  <a:cubicBezTo>
                    <a:pt x="301466" y="175736"/>
                    <a:pt x="299561" y="183356"/>
                    <a:pt x="297656" y="190024"/>
                  </a:cubicBezTo>
                  <a:cubicBezTo>
                    <a:pt x="293846" y="179546"/>
                    <a:pt x="290989" y="170021"/>
                    <a:pt x="287179" y="159544"/>
                  </a:cubicBezTo>
                  <a:cubicBezTo>
                    <a:pt x="290036" y="172879"/>
                    <a:pt x="291941" y="185261"/>
                    <a:pt x="294799" y="198596"/>
                  </a:cubicBezTo>
                  <a:cubicBezTo>
                    <a:pt x="290989" y="213836"/>
                    <a:pt x="287179" y="230029"/>
                    <a:pt x="283369" y="247174"/>
                  </a:cubicBezTo>
                  <a:cubicBezTo>
                    <a:pt x="282416" y="252889"/>
                    <a:pt x="281464" y="258604"/>
                    <a:pt x="279559" y="264319"/>
                  </a:cubicBezTo>
                  <a:cubicBezTo>
                    <a:pt x="278606" y="260509"/>
                    <a:pt x="277654" y="257651"/>
                    <a:pt x="276701" y="253841"/>
                  </a:cubicBezTo>
                  <a:cubicBezTo>
                    <a:pt x="276701" y="245269"/>
                    <a:pt x="277654" y="235744"/>
                    <a:pt x="278606" y="227171"/>
                  </a:cubicBezTo>
                  <a:cubicBezTo>
                    <a:pt x="280511" y="205264"/>
                    <a:pt x="281464" y="185261"/>
                    <a:pt x="284321" y="166211"/>
                  </a:cubicBezTo>
                  <a:cubicBezTo>
                    <a:pt x="285274" y="156686"/>
                    <a:pt x="286226" y="148114"/>
                    <a:pt x="287179" y="139541"/>
                  </a:cubicBezTo>
                  <a:cubicBezTo>
                    <a:pt x="288131" y="130969"/>
                    <a:pt x="290036" y="123349"/>
                    <a:pt x="290989" y="115729"/>
                  </a:cubicBezTo>
                  <a:cubicBezTo>
                    <a:pt x="293846" y="100489"/>
                    <a:pt x="294799" y="87154"/>
                    <a:pt x="297656" y="76676"/>
                  </a:cubicBezTo>
                  <a:cubicBezTo>
                    <a:pt x="302419" y="54769"/>
                    <a:pt x="304324" y="42386"/>
                    <a:pt x="304324" y="42386"/>
                  </a:cubicBezTo>
                  <a:cubicBezTo>
                    <a:pt x="304324" y="42386"/>
                    <a:pt x="300514" y="54769"/>
                    <a:pt x="293846" y="75724"/>
                  </a:cubicBezTo>
                  <a:cubicBezTo>
                    <a:pt x="290036" y="86201"/>
                    <a:pt x="287179" y="99536"/>
                    <a:pt x="283369" y="114776"/>
                  </a:cubicBezTo>
                  <a:cubicBezTo>
                    <a:pt x="281464" y="122396"/>
                    <a:pt x="279559" y="130016"/>
                    <a:pt x="277654" y="138589"/>
                  </a:cubicBezTo>
                  <a:cubicBezTo>
                    <a:pt x="275749" y="147161"/>
                    <a:pt x="274796" y="156686"/>
                    <a:pt x="272891" y="165259"/>
                  </a:cubicBezTo>
                  <a:cubicBezTo>
                    <a:pt x="271939" y="170021"/>
                    <a:pt x="270986" y="173831"/>
                    <a:pt x="270034" y="178594"/>
                  </a:cubicBezTo>
                  <a:cubicBezTo>
                    <a:pt x="268129" y="182404"/>
                    <a:pt x="265271" y="188119"/>
                    <a:pt x="261461" y="196691"/>
                  </a:cubicBezTo>
                  <a:cubicBezTo>
                    <a:pt x="260509" y="191929"/>
                    <a:pt x="258604" y="187166"/>
                    <a:pt x="258604" y="183356"/>
                  </a:cubicBezTo>
                  <a:cubicBezTo>
                    <a:pt x="255746" y="170021"/>
                    <a:pt x="253841" y="161449"/>
                    <a:pt x="253841" y="161449"/>
                  </a:cubicBezTo>
                  <a:cubicBezTo>
                    <a:pt x="253841" y="161449"/>
                    <a:pt x="253841" y="169069"/>
                    <a:pt x="254794" y="183356"/>
                  </a:cubicBezTo>
                  <a:cubicBezTo>
                    <a:pt x="254794" y="190024"/>
                    <a:pt x="255746" y="197644"/>
                    <a:pt x="256699" y="207169"/>
                  </a:cubicBezTo>
                  <a:cubicBezTo>
                    <a:pt x="253841" y="213836"/>
                    <a:pt x="250984" y="222409"/>
                    <a:pt x="247174" y="231934"/>
                  </a:cubicBezTo>
                  <a:cubicBezTo>
                    <a:pt x="246221" y="232886"/>
                    <a:pt x="246221" y="234791"/>
                    <a:pt x="245269" y="236696"/>
                  </a:cubicBezTo>
                  <a:cubicBezTo>
                    <a:pt x="243364" y="231934"/>
                    <a:pt x="242411" y="230029"/>
                    <a:pt x="242411" y="230029"/>
                  </a:cubicBezTo>
                  <a:cubicBezTo>
                    <a:pt x="242411" y="230029"/>
                    <a:pt x="243364" y="233839"/>
                    <a:pt x="244316" y="240506"/>
                  </a:cubicBezTo>
                  <a:cubicBezTo>
                    <a:pt x="241459" y="247174"/>
                    <a:pt x="239554" y="254794"/>
                    <a:pt x="236696" y="262414"/>
                  </a:cubicBezTo>
                  <a:cubicBezTo>
                    <a:pt x="232886" y="250031"/>
                    <a:pt x="229076" y="238601"/>
                    <a:pt x="226219" y="227171"/>
                  </a:cubicBezTo>
                  <a:cubicBezTo>
                    <a:pt x="223361" y="219551"/>
                    <a:pt x="221456" y="210979"/>
                    <a:pt x="218599" y="204311"/>
                  </a:cubicBezTo>
                  <a:cubicBezTo>
                    <a:pt x="215741" y="196691"/>
                    <a:pt x="213836" y="190024"/>
                    <a:pt x="210979" y="184309"/>
                  </a:cubicBezTo>
                  <a:cubicBezTo>
                    <a:pt x="206216" y="171926"/>
                    <a:pt x="202406" y="160496"/>
                    <a:pt x="198596" y="150971"/>
                  </a:cubicBezTo>
                  <a:cubicBezTo>
                    <a:pt x="191929" y="132874"/>
                    <a:pt x="187166" y="122396"/>
                    <a:pt x="187166" y="122396"/>
                  </a:cubicBezTo>
                  <a:cubicBezTo>
                    <a:pt x="187166" y="122396"/>
                    <a:pt x="190024" y="132874"/>
                    <a:pt x="194786" y="151924"/>
                  </a:cubicBezTo>
                  <a:cubicBezTo>
                    <a:pt x="197644" y="161449"/>
                    <a:pt x="200501" y="172879"/>
                    <a:pt x="204311" y="186214"/>
                  </a:cubicBezTo>
                  <a:cubicBezTo>
                    <a:pt x="206216" y="192881"/>
                    <a:pt x="208121" y="199549"/>
                    <a:pt x="210026" y="207169"/>
                  </a:cubicBezTo>
                  <a:cubicBezTo>
                    <a:pt x="211931" y="214789"/>
                    <a:pt x="213836" y="222409"/>
                    <a:pt x="215741" y="230981"/>
                  </a:cubicBezTo>
                  <a:cubicBezTo>
                    <a:pt x="218599" y="245269"/>
                    <a:pt x="222409" y="260509"/>
                    <a:pt x="226219" y="275749"/>
                  </a:cubicBezTo>
                  <a:cubicBezTo>
                    <a:pt x="224314" y="280511"/>
                    <a:pt x="221456" y="287179"/>
                    <a:pt x="218599" y="295751"/>
                  </a:cubicBezTo>
                  <a:cubicBezTo>
                    <a:pt x="218599" y="296704"/>
                    <a:pt x="217646" y="297656"/>
                    <a:pt x="217646" y="298609"/>
                  </a:cubicBezTo>
                  <a:cubicBezTo>
                    <a:pt x="216694" y="286226"/>
                    <a:pt x="215741" y="274796"/>
                    <a:pt x="214789" y="266224"/>
                  </a:cubicBezTo>
                  <a:cubicBezTo>
                    <a:pt x="213836" y="250984"/>
                    <a:pt x="212884" y="241459"/>
                    <a:pt x="212884" y="241459"/>
                  </a:cubicBezTo>
                  <a:cubicBezTo>
                    <a:pt x="212884" y="241459"/>
                    <a:pt x="211931" y="250031"/>
                    <a:pt x="210979" y="266224"/>
                  </a:cubicBezTo>
                  <a:cubicBezTo>
                    <a:pt x="210026" y="277654"/>
                    <a:pt x="210026" y="291941"/>
                    <a:pt x="209074" y="309086"/>
                  </a:cubicBezTo>
                  <a:cubicBezTo>
                    <a:pt x="204311" y="301466"/>
                    <a:pt x="200501" y="293846"/>
                    <a:pt x="196691" y="287179"/>
                  </a:cubicBezTo>
                  <a:cubicBezTo>
                    <a:pt x="192881" y="281464"/>
                    <a:pt x="190024" y="275749"/>
                    <a:pt x="187166" y="270034"/>
                  </a:cubicBezTo>
                  <a:cubicBezTo>
                    <a:pt x="183356" y="265271"/>
                    <a:pt x="180499" y="260509"/>
                    <a:pt x="177641" y="255746"/>
                  </a:cubicBezTo>
                  <a:cubicBezTo>
                    <a:pt x="171926" y="246221"/>
                    <a:pt x="166211" y="238601"/>
                    <a:pt x="161449" y="231934"/>
                  </a:cubicBezTo>
                  <a:cubicBezTo>
                    <a:pt x="159544" y="230029"/>
                    <a:pt x="158591" y="227171"/>
                    <a:pt x="156686" y="225266"/>
                  </a:cubicBezTo>
                  <a:cubicBezTo>
                    <a:pt x="154781" y="214789"/>
                    <a:pt x="152876" y="209074"/>
                    <a:pt x="152876" y="209074"/>
                  </a:cubicBezTo>
                  <a:cubicBezTo>
                    <a:pt x="152876" y="209074"/>
                    <a:pt x="152876" y="212884"/>
                    <a:pt x="152876" y="219551"/>
                  </a:cubicBezTo>
                  <a:cubicBezTo>
                    <a:pt x="149066" y="213836"/>
                    <a:pt x="146209" y="210979"/>
                    <a:pt x="146209" y="210979"/>
                  </a:cubicBezTo>
                  <a:cubicBezTo>
                    <a:pt x="146209" y="210979"/>
                    <a:pt x="148114" y="215741"/>
                    <a:pt x="152876" y="224314"/>
                  </a:cubicBezTo>
                  <a:cubicBezTo>
                    <a:pt x="153829" y="235744"/>
                    <a:pt x="154781" y="253841"/>
                    <a:pt x="156686" y="275749"/>
                  </a:cubicBezTo>
                  <a:cubicBezTo>
                    <a:pt x="153829" y="271939"/>
                    <a:pt x="150971" y="267176"/>
                    <a:pt x="148114" y="263366"/>
                  </a:cubicBezTo>
                  <a:cubicBezTo>
                    <a:pt x="139541" y="252889"/>
                    <a:pt x="131921" y="242411"/>
                    <a:pt x="124301" y="233839"/>
                  </a:cubicBezTo>
                  <a:cubicBezTo>
                    <a:pt x="116681" y="225266"/>
                    <a:pt x="110966" y="217646"/>
                    <a:pt x="104299" y="212884"/>
                  </a:cubicBezTo>
                  <a:cubicBezTo>
                    <a:pt x="94774" y="203359"/>
                    <a:pt x="88106" y="197644"/>
                    <a:pt x="88106" y="197644"/>
                  </a:cubicBezTo>
                  <a:cubicBezTo>
                    <a:pt x="88106" y="197644"/>
                    <a:pt x="93821" y="205264"/>
                    <a:pt x="103346" y="217646"/>
                  </a:cubicBezTo>
                  <a:cubicBezTo>
                    <a:pt x="108109" y="223361"/>
                    <a:pt x="113824" y="231934"/>
                    <a:pt x="119539" y="240506"/>
                  </a:cubicBezTo>
                  <a:cubicBezTo>
                    <a:pt x="126206" y="249079"/>
                    <a:pt x="131921" y="260509"/>
                    <a:pt x="139541" y="271939"/>
                  </a:cubicBezTo>
                  <a:cubicBezTo>
                    <a:pt x="143351" y="278606"/>
                    <a:pt x="148114" y="285274"/>
                    <a:pt x="151924" y="292894"/>
                  </a:cubicBezTo>
                  <a:cubicBezTo>
                    <a:pt x="151924" y="294799"/>
                    <a:pt x="151924" y="295751"/>
                    <a:pt x="151924" y="297656"/>
                  </a:cubicBezTo>
                  <a:cubicBezTo>
                    <a:pt x="151924" y="297656"/>
                    <a:pt x="150971" y="296704"/>
                    <a:pt x="150971" y="296704"/>
                  </a:cubicBezTo>
                  <a:cubicBezTo>
                    <a:pt x="145256" y="290989"/>
                    <a:pt x="140494" y="285274"/>
                    <a:pt x="136684" y="282416"/>
                  </a:cubicBezTo>
                  <a:cubicBezTo>
                    <a:pt x="134779" y="280511"/>
                    <a:pt x="133826" y="279559"/>
                    <a:pt x="131921" y="278606"/>
                  </a:cubicBezTo>
                  <a:cubicBezTo>
                    <a:pt x="132874" y="275749"/>
                    <a:pt x="132874" y="274796"/>
                    <a:pt x="132874" y="274796"/>
                  </a:cubicBezTo>
                  <a:cubicBezTo>
                    <a:pt x="132874" y="274796"/>
                    <a:pt x="131921" y="275749"/>
                    <a:pt x="130969" y="278606"/>
                  </a:cubicBezTo>
                  <a:cubicBezTo>
                    <a:pt x="125254" y="273844"/>
                    <a:pt x="122396" y="270986"/>
                    <a:pt x="122396" y="270986"/>
                  </a:cubicBezTo>
                  <a:cubicBezTo>
                    <a:pt x="122396" y="270986"/>
                    <a:pt x="125254" y="274796"/>
                    <a:pt x="130016" y="280511"/>
                  </a:cubicBezTo>
                  <a:cubicBezTo>
                    <a:pt x="128111" y="283369"/>
                    <a:pt x="126206" y="288131"/>
                    <a:pt x="123349" y="293846"/>
                  </a:cubicBezTo>
                  <a:cubicBezTo>
                    <a:pt x="120491" y="299561"/>
                    <a:pt x="117634" y="308134"/>
                    <a:pt x="114776" y="316706"/>
                  </a:cubicBezTo>
                  <a:cubicBezTo>
                    <a:pt x="113824" y="318611"/>
                    <a:pt x="113824" y="319564"/>
                    <a:pt x="112871" y="321469"/>
                  </a:cubicBezTo>
                  <a:cubicBezTo>
                    <a:pt x="110014" y="313849"/>
                    <a:pt x="107156" y="306229"/>
                    <a:pt x="103346" y="299561"/>
                  </a:cubicBezTo>
                  <a:cubicBezTo>
                    <a:pt x="97631" y="286226"/>
                    <a:pt x="91916" y="273844"/>
                    <a:pt x="86201" y="262414"/>
                  </a:cubicBezTo>
                  <a:cubicBezTo>
                    <a:pt x="83344" y="255746"/>
                    <a:pt x="80486" y="250984"/>
                    <a:pt x="78581" y="245269"/>
                  </a:cubicBezTo>
                  <a:cubicBezTo>
                    <a:pt x="75724" y="240506"/>
                    <a:pt x="72866" y="235744"/>
                    <a:pt x="70961" y="230981"/>
                  </a:cubicBezTo>
                  <a:cubicBezTo>
                    <a:pt x="66199" y="222409"/>
                    <a:pt x="61436" y="213836"/>
                    <a:pt x="57626" y="208121"/>
                  </a:cubicBezTo>
                  <a:cubicBezTo>
                    <a:pt x="50006" y="195739"/>
                    <a:pt x="46196" y="188119"/>
                    <a:pt x="46196" y="188119"/>
                  </a:cubicBezTo>
                  <a:cubicBezTo>
                    <a:pt x="46196" y="188119"/>
                    <a:pt x="49054" y="195739"/>
                    <a:pt x="54769" y="210026"/>
                  </a:cubicBezTo>
                  <a:cubicBezTo>
                    <a:pt x="57626" y="216694"/>
                    <a:pt x="60484" y="225266"/>
                    <a:pt x="64294" y="234791"/>
                  </a:cubicBezTo>
                  <a:cubicBezTo>
                    <a:pt x="66199" y="239554"/>
                    <a:pt x="68104" y="244316"/>
                    <a:pt x="70009" y="250031"/>
                  </a:cubicBezTo>
                  <a:cubicBezTo>
                    <a:pt x="71914" y="254794"/>
                    <a:pt x="73819" y="260509"/>
                    <a:pt x="75724" y="266224"/>
                  </a:cubicBezTo>
                  <a:cubicBezTo>
                    <a:pt x="78581" y="274796"/>
                    <a:pt x="82391" y="283369"/>
                    <a:pt x="85249" y="292894"/>
                  </a:cubicBezTo>
                  <a:cubicBezTo>
                    <a:pt x="83344" y="290036"/>
                    <a:pt x="81439" y="286226"/>
                    <a:pt x="79534" y="284321"/>
                  </a:cubicBezTo>
                  <a:cubicBezTo>
                    <a:pt x="74771" y="277654"/>
                    <a:pt x="71914" y="271939"/>
                    <a:pt x="68104" y="268129"/>
                  </a:cubicBezTo>
                  <a:cubicBezTo>
                    <a:pt x="61436" y="258604"/>
                    <a:pt x="57626" y="253841"/>
                    <a:pt x="57626" y="253841"/>
                  </a:cubicBezTo>
                  <a:cubicBezTo>
                    <a:pt x="57626" y="253841"/>
                    <a:pt x="59531" y="259556"/>
                    <a:pt x="64294" y="270034"/>
                  </a:cubicBezTo>
                  <a:cubicBezTo>
                    <a:pt x="66199" y="274796"/>
                    <a:pt x="69056" y="281464"/>
                    <a:pt x="71914" y="288131"/>
                  </a:cubicBezTo>
                  <a:cubicBezTo>
                    <a:pt x="76676" y="295751"/>
                    <a:pt x="79534" y="303371"/>
                    <a:pt x="83344" y="311944"/>
                  </a:cubicBezTo>
                  <a:cubicBezTo>
                    <a:pt x="86201" y="317659"/>
                    <a:pt x="88106" y="324326"/>
                    <a:pt x="90964" y="330994"/>
                  </a:cubicBezTo>
                  <a:cubicBezTo>
                    <a:pt x="90011" y="333851"/>
                    <a:pt x="89059" y="336709"/>
                    <a:pt x="87154" y="339566"/>
                  </a:cubicBezTo>
                  <a:cubicBezTo>
                    <a:pt x="85249" y="343376"/>
                    <a:pt x="83344" y="348139"/>
                    <a:pt x="81439" y="352901"/>
                  </a:cubicBezTo>
                  <a:cubicBezTo>
                    <a:pt x="80486" y="348139"/>
                    <a:pt x="79534" y="343376"/>
                    <a:pt x="78581" y="339566"/>
                  </a:cubicBezTo>
                  <a:cubicBezTo>
                    <a:pt x="75724" y="326231"/>
                    <a:pt x="72866" y="312896"/>
                    <a:pt x="70009" y="301466"/>
                  </a:cubicBezTo>
                  <a:cubicBezTo>
                    <a:pt x="67151" y="290036"/>
                    <a:pt x="64294" y="278606"/>
                    <a:pt x="61436" y="269081"/>
                  </a:cubicBezTo>
                  <a:cubicBezTo>
                    <a:pt x="58579" y="259556"/>
                    <a:pt x="56674" y="250984"/>
                    <a:pt x="53816" y="244316"/>
                  </a:cubicBezTo>
                  <a:cubicBezTo>
                    <a:pt x="49054" y="230981"/>
                    <a:pt x="46196" y="223361"/>
                    <a:pt x="46196" y="223361"/>
                  </a:cubicBezTo>
                  <a:cubicBezTo>
                    <a:pt x="46196" y="223361"/>
                    <a:pt x="47149" y="230981"/>
                    <a:pt x="50006" y="245269"/>
                  </a:cubicBezTo>
                  <a:cubicBezTo>
                    <a:pt x="50959" y="251936"/>
                    <a:pt x="51911" y="260509"/>
                    <a:pt x="53816" y="270034"/>
                  </a:cubicBezTo>
                  <a:cubicBezTo>
                    <a:pt x="55721" y="279559"/>
                    <a:pt x="56674" y="290989"/>
                    <a:pt x="58579" y="302419"/>
                  </a:cubicBezTo>
                  <a:cubicBezTo>
                    <a:pt x="60484" y="314801"/>
                    <a:pt x="61436" y="327184"/>
                    <a:pt x="64294" y="340519"/>
                  </a:cubicBezTo>
                  <a:cubicBezTo>
                    <a:pt x="66199" y="353854"/>
                    <a:pt x="67151" y="367189"/>
                    <a:pt x="69056" y="381476"/>
                  </a:cubicBezTo>
                  <a:cubicBezTo>
                    <a:pt x="68104" y="382429"/>
                    <a:pt x="68104" y="383381"/>
                    <a:pt x="67151" y="385286"/>
                  </a:cubicBezTo>
                  <a:cubicBezTo>
                    <a:pt x="64294" y="391954"/>
                    <a:pt x="62389" y="398621"/>
                    <a:pt x="60484" y="405289"/>
                  </a:cubicBezTo>
                  <a:cubicBezTo>
                    <a:pt x="60484" y="406241"/>
                    <a:pt x="60484" y="406241"/>
                    <a:pt x="59531" y="407194"/>
                  </a:cubicBezTo>
                  <a:cubicBezTo>
                    <a:pt x="58579" y="407194"/>
                    <a:pt x="57626" y="407194"/>
                    <a:pt x="56674" y="407194"/>
                  </a:cubicBezTo>
                  <a:cubicBezTo>
                    <a:pt x="55721" y="404336"/>
                    <a:pt x="55721" y="402431"/>
                    <a:pt x="54769" y="399574"/>
                  </a:cubicBezTo>
                  <a:cubicBezTo>
                    <a:pt x="51911" y="387191"/>
                    <a:pt x="49054" y="375761"/>
                    <a:pt x="46196" y="364331"/>
                  </a:cubicBezTo>
                  <a:cubicBezTo>
                    <a:pt x="43339" y="352901"/>
                    <a:pt x="40481" y="342424"/>
                    <a:pt x="37624" y="332899"/>
                  </a:cubicBezTo>
                  <a:cubicBezTo>
                    <a:pt x="31909" y="313849"/>
                    <a:pt x="26194" y="297656"/>
                    <a:pt x="21431" y="287179"/>
                  </a:cubicBezTo>
                  <a:cubicBezTo>
                    <a:pt x="16669" y="276701"/>
                    <a:pt x="13811" y="270034"/>
                    <a:pt x="13811" y="270034"/>
                  </a:cubicBezTo>
                  <a:cubicBezTo>
                    <a:pt x="13811" y="270034"/>
                    <a:pt x="14764" y="276701"/>
                    <a:pt x="17621" y="288131"/>
                  </a:cubicBezTo>
                  <a:cubicBezTo>
                    <a:pt x="18574" y="293846"/>
                    <a:pt x="20479" y="300514"/>
                    <a:pt x="21431" y="309086"/>
                  </a:cubicBezTo>
                  <a:cubicBezTo>
                    <a:pt x="23336" y="316706"/>
                    <a:pt x="24289" y="326231"/>
                    <a:pt x="26194" y="335756"/>
                  </a:cubicBezTo>
                  <a:cubicBezTo>
                    <a:pt x="28099" y="345281"/>
                    <a:pt x="30004" y="355759"/>
                    <a:pt x="31909" y="367189"/>
                  </a:cubicBezTo>
                  <a:cubicBezTo>
                    <a:pt x="35719" y="378619"/>
                    <a:pt x="37624" y="390049"/>
                    <a:pt x="39529" y="402431"/>
                  </a:cubicBezTo>
                  <a:cubicBezTo>
                    <a:pt x="39529" y="403384"/>
                    <a:pt x="39529" y="403384"/>
                    <a:pt x="39529" y="404336"/>
                  </a:cubicBezTo>
                  <a:cubicBezTo>
                    <a:pt x="29051" y="402431"/>
                    <a:pt x="18574" y="401479"/>
                    <a:pt x="7144" y="399574"/>
                  </a:cubicBezTo>
                  <a:lnTo>
                    <a:pt x="7144" y="511016"/>
                  </a:lnTo>
                  <a:close/>
                  <a:moveTo>
                    <a:pt x="6277451" y="364331"/>
                  </a:moveTo>
                  <a:cubicBezTo>
                    <a:pt x="6278404" y="362426"/>
                    <a:pt x="6278404" y="359569"/>
                    <a:pt x="6279356" y="357664"/>
                  </a:cubicBezTo>
                  <a:cubicBezTo>
                    <a:pt x="6279356" y="358616"/>
                    <a:pt x="6279356" y="360521"/>
                    <a:pt x="6279356" y="361474"/>
                  </a:cubicBezTo>
                  <a:cubicBezTo>
                    <a:pt x="6278404" y="370999"/>
                    <a:pt x="6278404" y="384334"/>
                    <a:pt x="6277451" y="399574"/>
                  </a:cubicBezTo>
                  <a:cubicBezTo>
                    <a:pt x="6274594" y="409099"/>
                    <a:pt x="6270784" y="419576"/>
                    <a:pt x="6267926" y="430054"/>
                  </a:cubicBezTo>
                  <a:cubicBezTo>
                    <a:pt x="6266974" y="430054"/>
                    <a:pt x="6266974" y="430054"/>
                    <a:pt x="6266021" y="430054"/>
                  </a:cubicBezTo>
                  <a:cubicBezTo>
                    <a:pt x="6264117" y="427196"/>
                    <a:pt x="6262212" y="424339"/>
                    <a:pt x="6260306" y="421481"/>
                  </a:cubicBezTo>
                  <a:cubicBezTo>
                    <a:pt x="6266021" y="402431"/>
                    <a:pt x="6271737" y="383381"/>
                    <a:pt x="6277451" y="364331"/>
                  </a:cubicBezTo>
                  <a:close/>
                  <a:moveTo>
                    <a:pt x="6211729" y="425291"/>
                  </a:moveTo>
                  <a:cubicBezTo>
                    <a:pt x="6211729" y="415766"/>
                    <a:pt x="6212681" y="406241"/>
                    <a:pt x="6212681" y="398621"/>
                  </a:cubicBezTo>
                  <a:cubicBezTo>
                    <a:pt x="6212681" y="395764"/>
                    <a:pt x="6212681" y="392906"/>
                    <a:pt x="6213634" y="390049"/>
                  </a:cubicBezTo>
                  <a:cubicBezTo>
                    <a:pt x="6214587" y="391001"/>
                    <a:pt x="6215539" y="392906"/>
                    <a:pt x="6216492" y="393859"/>
                  </a:cubicBezTo>
                  <a:cubicBezTo>
                    <a:pt x="6220301" y="398621"/>
                    <a:pt x="6224112" y="403384"/>
                    <a:pt x="6227921" y="408146"/>
                  </a:cubicBezTo>
                  <a:cubicBezTo>
                    <a:pt x="6226969" y="410051"/>
                    <a:pt x="6226017" y="411956"/>
                    <a:pt x="6225064" y="412909"/>
                  </a:cubicBezTo>
                  <a:cubicBezTo>
                    <a:pt x="6224112" y="414814"/>
                    <a:pt x="6222206" y="417671"/>
                    <a:pt x="6221254" y="420529"/>
                  </a:cubicBezTo>
                  <a:cubicBezTo>
                    <a:pt x="6220301" y="423386"/>
                    <a:pt x="6219349" y="426244"/>
                    <a:pt x="6218396" y="429101"/>
                  </a:cubicBezTo>
                  <a:cubicBezTo>
                    <a:pt x="6218396" y="430054"/>
                    <a:pt x="6218396" y="430054"/>
                    <a:pt x="6217444" y="431006"/>
                  </a:cubicBezTo>
                  <a:cubicBezTo>
                    <a:pt x="6217444" y="430054"/>
                    <a:pt x="6217444" y="429101"/>
                    <a:pt x="6217444" y="429101"/>
                  </a:cubicBezTo>
                  <a:cubicBezTo>
                    <a:pt x="6216492" y="419576"/>
                    <a:pt x="6215539" y="413861"/>
                    <a:pt x="6215539" y="413861"/>
                  </a:cubicBezTo>
                  <a:cubicBezTo>
                    <a:pt x="6215539" y="413861"/>
                    <a:pt x="6214587" y="419576"/>
                    <a:pt x="6213634" y="429101"/>
                  </a:cubicBezTo>
                  <a:cubicBezTo>
                    <a:pt x="6213634" y="432911"/>
                    <a:pt x="6212681" y="436721"/>
                    <a:pt x="6211729" y="441484"/>
                  </a:cubicBezTo>
                  <a:cubicBezTo>
                    <a:pt x="6211729" y="435769"/>
                    <a:pt x="6211729" y="430054"/>
                    <a:pt x="6211729" y="425291"/>
                  </a:cubicBezTo>
                  <a:close/>
                  <a:moveTo>
                    <a:pt x="6183154" y="343376"/>
                  </a:moveTo>
                  <a:cubicBezTo>
                    <a:pt x="6185059" y="346234"/>
                    <a:pt x="6186012" y="348139"/>
                    <a:pt x="6187917" y="350996"/>
                  </a:cubicBezTo>
                  <a:cubicBezTo>
                    <a:pt x="6188869" y="352901"/>
                    <a:pt x="6190774" y="354806"/>
                    <a:pt x="6191726" y="356711"/>
                  </a:cubicBezTo>
                  <a:cubicBezTo>
                    <a:pt x="6188869" y="366236"/>
                    <a:pt x="6186012" y="376714"/>
                    <a:pt x="6183154" y="388144"/>
                  </a:cubicBezTo>
                  <a:cubicBezTo>
                    <a:pt x="6183154" y="389096"/>
                    <a:pt x="6182201" y="391001"/>
                    <a:pt x="6182201" y="391954"/>
                  </a:cubicBezTo>
                  <a:cubicBezTo>
                    <a:pt x="6182201" y="386239"/>
                    <a:pt x="6181249" y="381476"/>
                    <a:pt x="6181249" y="375761"/>
                  </a:cubicBezTo>
                  <a:cubicBezTo>
                    <a:pt x="6181249" y="374809"/>
                    <a:pt x="6181249" y="373856"/>
                    <a:pt x="6181249" y="372904"/>
                  </a:cubicBezTo>
                  <a:cubicBezTo>
                    <a:pt x="6181249" y="362426"/>
                    <a:pt x="6182201" y="352901"/>
                    <a:pt x="6183154" y="343376"/>
                  </a:cubicBezTo>
                  <a:close/>
                  <a:moveTo>
                    <a:pt x="6144101" y="308134"/>
                  </a:moveTo>
                  <a:cubicBezTo>
                    <a:pt x="6145054" y="297656"/>
                    <a:pt x="6146959" y="287179"/>
                    <a:pt x="6147912" y="276701"/>
                  </a:cubicBezTo>
                  <a:cubicBezTo>
                    <a:pt x="6149817" y="280511"/>
                    <a:pt x="6151721" y="284321"/>
                    <a:pt x="6153626" y="289084"/>
                  </a:cubicBezTo>
                  <a:cubicBezTo>
                    <a:pt x="6156484" y="293846"/>
                    <a:pt x="6158389" y="299561"/>
                    <a:pt x="6161246" y="305276"/>
                  </a:cubicBezTo>
                  <a:cubicBezTo>
                    <a:pt x="6160294" y="308134"/>
                    <a:pt x="6159342" y="313849"/>
                    <a:pt x="6157437" y="319564"/>
                  </a:cubicBezTo>
                  <a:cubicBezTo>
                    <a:pt x="6155531" y="325279"/>
                    <a:pt x="6154579" y="332899"/>
                    <a:pt x="6152674" y="342424"/>
                  </a:cubicBezTo>
                  <a:cubicBezTo>
                    <a:pt x="6151721" y="347186"/>
                    <a:pt x="6150769" y="351949"/>
                    <a:pt x="6150769" y="356711"/>
                  </a:cubicBezTo>
                  <a:cubicBezTo>
                    <a:pt x="6150769" y="358616"/>
                    <a:pt x="6149817" y="359569"/>
                    <a:pt x="6149817" y="360521"/>
                  </a:cubicBezTo>
                  <a:cubicBezTo>
                    <a:pt x="6149817" y="362426"/>
                    <a:pt x="6148864" y="363379"/>
                    <a:pt x="6148864" y="365284"/>
                  </a:cubicBezTo>
                  <a:cubicBezTo>
                    <a:pt x="6146959" y="362426"/>
                    <a:pt x="6146006" y="360521"/>
                    <a:pt x="6146006" y="360521"/>
                  </a:cubicBezTo>
                  <a:cubicBezTo>
                    <a:pt x="6146006" y="360521"/>
                    <a:pt x="6146959" y="363379"/>
                    <a:pt x="6147912" y="368141"/>
                  </a:cubicBezTo>
                  <a:cubicBezTo>
                    <a:pt x="6146959" y="374809"/>
                    <a:pt x="6146006" y="382429"/>
                    <a:pt x="6145054" y="389096"/>
                  </a:cubicBezTo>
                  <a:cubicBezTo>
                    <a:pt x="6145054" y="388144"/>
                    <a:pt x="6144101" y="387191"/>
                    <a:pt x="6144101" y="386239"/>
                  </a:cubicBezTo>
                  <a:cubicBezTo>
                    <a:pt x="6144101" y="385286"/>
                    <a:pt x="6143149" y="385286"/>
                    <a:pt x="6143149" y="384334"/>
                  </a:cubicBezTo>
                  <a:cubicBezTo>
                    <a:pt x="6143149" y="379571"/>
                    <a:pt x="6142196" y="373856"/>
                    <a:pt x="6142196" y="369094"/>
                  </a:cubicBezTo>
                  <a:cubicBezTo>
                    <a:pt x="6141244" y="360521"/>
                    <a:pt x="6140292" y="351949"/>
                    <a:pt x="6139339" y="343376"/>
                  </a:cubicBezTo>
                  <a:cubicBezTo>
                    <a:pt x="6142196" y="331946"/>
                    <a:pt x="6143149" y="319564"/>
                    <a:pt x="6144101" y="308134"/>
                  </a:cubicBezTo>
                  <a:close/>
                  <a:moveTo>
                    <a:pt x="6095524" y="384334"/>
                  </a:moveTo>
                  <a:cubicBezTo>
                    <a:pt x="6093619" y="393859"/>
                    <a:pt x="6090762" y="403384"/>
                    <a:pt x="6088856" y="412909"/>
                  </a:cubicBezTo>
                  <a:cubicBezTo>
                    <a:pt x="6086951" y="420529"/>
                    <a:pt x="6085046" y="428149"/>
                    <a:pt x="6083142" y="435769"/>
                  </a:cubicBezTo>
                  <a:cubicBezTo>
                    <a:pt x="6081237" y="428149"/>
                    <a:pt x="6079331" y="419576"/>
                    <a:pt x="6076474" y="411956"/>
                  </a:cubicBezTo>
                  <a:cubicBezTo>
                    <a:pt x="6077426" y="405289"/>
                    <a:pt x="6078379" y="397669"/>
                    <a:pt x="6079331" y="391001"/>
                  </a:cubicBezTo>
                  <a:cubicBezTo>
                    <a:pt x="6080284" y="383381"/>
                    <a:pt x="6082189" y="375761"/>
                    <a:pt x="6084094" y="368141"/>
                  </a:cubicBezTo>
                  <a:lnTo>
                    <a:pt x="6088856" y="347186"/>
                  </a:lnTo>
                  <a:cubicBezTo>
                    <a:pt x="6089809" y="347186"/>
                    <a:pt x="6090762" y="347186"/>
                    <a:pt x="6091714" y="348139"/>
                  </a:cubicBezTo>
                  <a:cubicBezTo>
                    <a:pt x="6093619" y="349091"/>
                    <a:pt x="6094571" y="350044"/>
                    <a:pt x="6095524" y="350996"/>
                  </a:cubicBezTo>
                  <a:cubicBezTo>
                    <a:pt x="6098381" y="352901"/>
                    <a:pt x="6099334" y="356711"/>
                    <a:pt x="6100287" y="359569"/>
                  </a:cubicBezTo>
                  <a:cubicBezTo>
                    <a:pt x="6099334" y="367189"/>
                    <a:pt x="6097429" y="375761"/>
                    <a:pt x="6095524" y="384334"/>
                  </a:cubicBezTo>
                  <a:close/>
                  <a:moveTo>
                    <a:pt x="6102192" y="206216"/>
                  </a:moveTo>
                  <a:cubicBezTo>
                    <a:pt x="6102192" y="211931"/>
                    <a:pt x="6102192" y="222409"/>
                    <a:pt x="6101239" y="235744"/>
                  </a:cubicBezTo>
                  <a:cubicBezTo>
                    <a:pt x="6101239" y="237649"/>
                    <a:pt x="6101239" y="239554"/>
                    <a:pt x="6101239" y="241459"/>
                  </a:cubicBezTo>
                  <a:cubicBezTo>
                    <a:pt x="6101239" y="241459"/>
                    <a:pt x="6101239" y="242411"/>
                    <a:pt x="6101239" y="242411"/>
                  </a:cubicBezTo>
                  <a:cubicBezTo>
                    <a:pt x="6101239" y="242411"/>
                    <a:pt x="6101239" y="242411"/>
                    <a:pt x="6101239" y="242411"/>
                  </a:cubicBezTo>
                  <a:cubicBezTo>
                    <a:pt x="6101239" y="241459"/>
                    <a:pt x="6100287" y="240506"/>
                    <a:pt x="6100287" y="239554"/>
                  </a:cubicBezTo>
                  <a:cubicBezTo>
                    <a:pt x="6099334" y="236696"/>
                    <a:pt x="6098381" y="233839"/>
                    <a:pt x="6097429" y="230981"/>
                  </a:cubicBezTo>
                  <a:cubicBezTo>
                    <a:pt x="6099334" y="222409"/>
                    <a:pt x="6100287" y="213836"/>
                    <a:pt x="6102192" y="206216"/>
                  </a:cubicBezTo>
                  <a:close/>
                  <a:moveTo>
                    <a:pt x="6100287" y="284321"/>
                  </a:moveTo>
                  <a:cubicBezTo>
                    <a:pt x="6099334" y="282416"/>
                    <a:pt x="6099334" y="281464"/>
                    <a:pt x="6098381" y="279559"/>
                  </a:cubicBezTo>
                  <a:cubicBezTo>
                    <a:pt x="6098381" y="278606"/>
                    <a:pt x="6099334" y="277654"/>
                    <a:pt x="6099334" y="277654"/>
                  </a:cubicBezTo>
                  <a:cubicBezTo>
                    <a:pt x="6099334" y="279559"/>
                    <a:pt x="6099334" y="281464"/>
                    <a:pt x="6100287" y="284321"/>
                  </a:cubicBezTo>
                  <a:close/>
                  <a:moveTo>
                    <a:pt x="6093619" y="247174"/>
                  </a:moveTo>
                  <a:cubicBezTo>
                    <a:pt x="6094571" y="250031"/>
                    <a:pt x="6094571" y="252889"/>
                    <a:pt x="6095524" y="255746"/>
                  </a:cubicBezTo>
                  <a:cubicBezTo>
                    <a:pt x="6094571" y="258604"/>
                    <a:pt x="6092667" y="261461"/>
                    <a:pt x="6091714" y="264319"/>
                  </a:cubicBezTo>
                  <a:cubicBezTo>
                    <a:pt x="6091714" y="263366"/>
                    <a:pt x="6090762" y="262414"/>
                    <a:pt x="6090762" y="262414"/>
                  </a:cubicBezTo>
                  <a:cubicBezTo>
                    <a:pt x="6091714" y="257651"/>
                    <a:pt x="6092667" y="251936"/>
                    <a:pt x="6093619" y="247174"/>
                  </a:cubicBezTo>
                  <a:close/>
                  <a:moveTo>
                    <a:pt x="6088856" y="269081"/>
                  </a:moveTo>
                  <a:cubicBezTo>
                    <a:pt x="6088856" y="269081"/>
                    <a:pt x="6088856" y="270034"/>
                    <a:pt x="6088856" y="270034"/>
                  </a:cubicBezTo>
                  <a:cubicBezTo>
                    <a:pt x="6088856" y="270034"/>
                    <a:pt x="6088856" y="270034"/>
                    <a:pt x="6088856" y="270034"/>
                  </a:cubicBezTo>
                  <a:cubicBezTo>
                    <a:pt x="6088856" y="270986"/>
                    <a:pt x="6087904" y="271939"/>
                    <a:pt x="6087904" y="272891"/>
                  </a:cubicBezTo>
                  <a:cubicBezTo>
                    <a:pt x="6088856" y="270986"/>
                    <a:pt x="6088856" y="270034"/>
                    <a:pt x="6088856" y="269081"/>
                  </a:cubicBezTo>
                  <a:close/>
                  <a:moveTo>
                    <a:pt x="6067901" y="369094"/>
                  </a:moveTo>
                  <a:cubicBezTo>
                    <a:pt x="6072664" y="358616"/>
                    <a:pt x="6076474" y="349091"/>
                    <a:pt x="6080284" y="339566"/>
                  </a:cubicBezTo>
                  <a:cubicBezTo>
                    <a:pt x="6082189" y="334804"/>
                    <a:pt x="6084094" y="330041"/>
                    <a:pt x="6085046" y="326231"/>
                  </a:cubicBezTo>
                  <a:cubicBezTo>
                    <a:pt x="6085999" y="321469"/>
                    <a:pt x="6087904" y="317659"/>
                    <a:pt x="6088856" y="313849"/>
                  </a:cubicBezTo>
                  <a:cubicBezTo>
                    <a:pt x="6090762" y="306229"/>
                    <a:pt x="6092667" y="299561"/>
                    <a:pt x="6093619" y="293846"/>
                  </a:cubicBezTo>
                  <a:cubicBezTo>
                    <a:pt x="6093619" y="293846"/>
                    <a:pt x="6093619" y="293846"/>
                    <a:pt x="6093619" y="293846"/>
                  </a:cubicBezTo>
                  <a:cubicBezTo>
                    <a:pt x="6094571" y="299561"/>
                    <a:pt x="6095524" y="305276"/>
                    <a:pt x="6096476" y="310991"/>
                  </a:cubicBezTo>
                  <a:cubicBezTo>
                    <a:pt x="6098381" y="319564"/>
                    <a:pt x="6098381" y="329089"/>
                    <a:pt x="6100287" y="339566"/>
                  </a:cubicBezTo>
                  <a:cubicBezTo>
                    <a:pt x="6100287" y="345281"/>
                    <a:pt x="6101239" y="350044"/>
                    <a:pt x="6101239" y="355759"/>
                  </a:cubicBezTo>
                  <a:cubicBezTo>
                    <a:pt x="6101239" y="355759"/>
                    <a:pt x="6101239" y="355759"/>
                    <a:pt x="6101239" y="355759"/>
                  </a:cubicBezTo>
                  <a:cubicBezTo>
                    <a:pt x="6101239" y="356711"/>
                    <a:pt x="6100287" y="358616"/>
                    <a:pt x="6100287" y="359569"/>
                  </a:cubicBezTo>
                  <a:cubicBezTo>
                    <a:pt x="6100287" y="355759"/>
                    <a:pt x="6099334" y="352901"/>
                    <a:pt x="6097429" y="350044"/>
                  </a:cubicBezTo>
                  <a:cubicBezTo>
                    <a:pt x="6096476" y="348139"/>
                    <a:pt x="6094571" y="347186"/>
                    <a:pt x="6093619" y="345281"/>
                  </a:cubicBezTo>
                  <a:cubicBezTo>
                    <a:pt x="6091714" y="344329"/>
                    <a:pt x="6089809" y="343376"/>
                    <a:pt x="6087904" y="342424"/>
                  </a:cubicBezTo>
                  <a:lnTo>
                    <a:pt x="6085999" y="341471"/>
                  </a:lnTo>
                  <a:lnTo>
                    <a:pt x="6085046" y="343376"/>
                  </a:lnTo>
                  <a:cubicBezTo>
                    <a:pt x="6082189" y="350996"/>
                    <a:pt x="6079331" y="357664"/>
                    <a:pt x="6076474" y="365284"/>
                  </a:cubicBezTo>
                  <a:cubicBezTo>
                    <a:pt x="6074569" y="371951"/>
                    <a:pt x="6071712" y="377666"/>
                    <a:pt x="6069806" y="384334"/>
                  </a:cubicBezTo>
                  <a:cubicBezTo>
                    <a:pt x="6068854" y="380524"/>
                    <a:pt x="6067901" y="376714"/>
                    <a:pt x="6065996" y="372904"/>
                  </a:cubicBezTo>
                  <a:cubicBezTo>
                    <a:pt x="6066949" y="371951"/>
                    <a:pt x="6067901" y="370999"/>
                    <a:pt x="6067901" y="369094"/>
                  </a:cubicBezTo>
                  <a:close/>
                  <a:moveTo>
                    <a:pt x="6035517" y="310039"/>
                  </a:moveTo>
                  <a:cubicBezTo>
                    <a:pt x="6035517" y="309086"/>
                    <a:pt x="6035517" y="309086"/>
                    <a:pt x="6035517" y="308134"/>
                  </a:cubicBezTo>
                  <a:cubicBezTo>
                    <a:pt x="6036469" y="312896"/>
                    <a:pt x="6038374" y="318611"/>
                    <a:pt x="6040279" y="324326"/>
                  </a:cubicBezTo>
                  <a:cubicBezTo>
                    <a:pt x="6041231" y="329089"/>
                    <a:pt x="6042184" y="333851"/>
                    <a:pt x="6044089" y="338614"/>
                  </a:cubicBezTo>
                  <a:cubicBezTo>
                    <a:pt x="6042184" y="344329"/>
                    <a:pt x="6040279" y="350044"/>
                    <a:pt x="6038374" y="355759"/>
                  </a:cubicBezTo>
                  <a:cubicBezTo>
                    <a:pt x="6036469" y="345281"/>
                    <a:pt x="6035517" y="336709"/>
                    <a:pt x="6033612" y="330041"/>
                  </a:cubicBezTo>
                  <a:cubicBezTo>
                    <a:pt x="6034564" y="323374"/>
                    <a:pt x="6034564" y="315754"/>
                    <a:pt x="6035517" y="310039"/>
                  </a:cubicBezTo>
                  <a:close/>
                  <a:moveTo>
                    <a:pt x="6012656" y="361474"/>
                  </a:moveTo>
                  <a:cubicBezTo>
                    <a:pt x="6012656" y="362426"/>
                    <a:pt x="6012656" y="363379"/>
                    <a:pt x="6012656" y="363379"/>
                  </a:cubicBezTo>
                  <a:cubicBezTo>
                    <a:pt x="6012656" y="362426"/>
                    <a:pt x="6012656" y="361474"/>
                    <a:pt x="6012656" y="359569"/>
                  </a:cubicBezTo>
                  <a:cubicBezTo>
                    <a:pt x="6012656" y="360521"/>
                    <a:pt x="6012656" y="360521"/>
                    <a:pt x="6012656" y="361474"/>
                  </a:cubicBezTo>
                  <a:close/>
                  <a:moveTo>
                    <a:pt x="6007894" y="351949"/>
                  </a:moveTo>
                  <a:cubicBezTo>
                    <a:pt x="6007894" y="351949"/>
                    <a:pt x="6007894" y="352901"/>
                    <a:pt x="6007894" y="352901"/>
                  </a:cubicBezTo>
                  <a:cubicBezTo>
                    <a:pt x="6007894" y="351949"/>
                    <a:pt x="6007894" y="351949"/>
                    <a:pt x="6007894" y="351949"/>
                  </a:cubicBezTo>
                  <a:cubicBezTo>
                    <a:pt x="6007894" y="350996"/>
                    <a:pt x="6007894" y="351949"/>
                    <a:pt x="6007894" y="351949"/>
                  </a:cubicBezTo>
                  <a:close/>
                  <a:moveTo>
                    <a:pt x="5976462" y="410051"/>
                  </a:moveTo>
                  <a:cubicBezTo>
                    <a:pt x="5975509" y="407194"/>
                    <a:pt x="5974556" y="404336"/>
                    <a:pt x="5973604" y="402431"/>
                  </a:cubicBezTo>
                  <a:cubicBezTo>
                    <a:pt x="5973604" y="401479"/>
                    <a:pt x="5972651" y="399574"/>
                    <a:pt x="5972651" y="398621"/>
                  </a:cubicBezTo>
                  <a:cubicBezTo>
                    <a:pt x="5972651" y="395764"/>
                    <a:pt x="5971699" y="392906"/>
                    <a:pt x="5971699" y="391001"/>
                  </a:cubicBezTo>
                  <a:cubicBezTo>
                    <a:pt x="5972651" y="389096"/>
                    <a:pt x="5972651" y="387191"/>
                    <a:pt x="5973604" y="386239"/>
                  </a:cubicBezTo>
                  <a:cubicBezTo>
                    <a:pt x="5975509" y="382429"/>
                    <a:pt x="5976462" y="378619"/>
                    <a:pt x="5977414" y="374809"/>
                  </a:cubicBezTo>
                  <a:cubicBezTo>
                    <a:pt x="5977414" y="385286"/>
                    <a:pt x="5976462" y="397669"/>
                    <a:pt x="5976462" y="410051"/>
                  </a:cubicBezTo>
                  <a:close/>
                  <a:moveTo>
                    <a:pt x="5976462" y="239554"/>
                  </a:moveTo>
                  <a:cubicBezTo>
                    <a:pt x="5977414" y="243364"/>
                    <a:pt x="5977414" y="246221"/>
                    <a:pt x="5978367" y="250031"/>
                  </a:cubicBezTo>
                  <a:cubicBezTo>
                    <a:pt x="5978367" y="251936"/>
                    <a:pt x="5979319" y="254794"/>
                    <a:pt x="5979319" y="256699"/>
                  </a:cubicBezTo>
                  <a:cubicBezTo>
                    <a:pt x="5977414" y="253841"/>
                    <a:pt x="5976462" y="250984"/>
                    <a:pt x="5974556" y="248126"/>
                  </a:cubicBezTo>
                  <a:cubicBezTo>
                    <a:pt x="5975509" y="245269"/>
                    <a:pt x="5975509" y="242411"/>
                    <a:pt x="5976462" y="239554"/>
                  </a:cubicBezTo>
                  <a:close/>
                  <a:moveTo>
                    <a:pt x="5965984" y="291941"/>
                  </a:moveTo>
                  <a:cubicBezTo>
                    <a:pt x="5965984" y="290036"/>
                    <a:pt x="5966937" y="288131"/>
                    <a:pt x="5966937" y="286226"/>
                  </a:cubicBezTo>
                  <a:cubicBezTo>
                    <a:pt x="5966937" y="285274"/>
                    <a:pt x="5967889" y="283369"/>
                    <a:pt x="5967889" y="282416"/>
                  </a:cubicBezTo>
                  <a:cubicBezTo>
                    <a:pt x="5968842" y="277654"/>
                    <a:pt x="5969794" y="273844"/>
                    <a:pt x="5970746" y="269081"/>
                  </a:cubicBezTo>
                  <a:cubicBezTo>
                    <a:pt x="5974556" y="278606"/>
                    <a:pt x="5979319" y="289084"/>
                    <a:pt x="5983129" y="298609"/>
                  </a:cubicBezTo>
                  <a:cubicBezTo>
                    <a:pt x="5982176" y="309086"/>
                    <a:pt x="5981224" y="319564"/>
                    <a:pt x="5980271" y="330994"/>
                  </a:cubicBezTo>
                  <a:cubicBezTo>
                    <a:pt x="5980271" y="330994"/>
                    <a:pt x="5980271" y="331946"/>
                    <a:pt x="5979319" y="331946"/>
                  </a:cubicBezTo>
                  <a:cubicBezTo>
                    <a:pt x="5977414" y="329089"/>
                    <a:pt x="5976462" y="328136"/>
                    <a:pt x="5976462" y="328136"/>
                  </a:cubicBezTo>
                  <a:cubicBezTo>
                    <a:pt x="5976462" y="328136"/>
                    <a:pt x="5977414" y="330041"/>
                    <a:pt x="5979319" y="332899"/>
                  </a:cubicBezTo>
                  <a:cubicBezTo>
                    <a:pt x="5977414" y="336709"/>
                    <a:pt x="5974556" y="341471"/>
                    <a:pt x="5972651" y="346234"/>
                  </a:cubicBezTo>
                  <a:cubicBezTo>
                    <a:pt x="5970746" y="349091"/>
                    <a:pt x="5969794" y="352901"/>
                    <a:pt x="5967889" y="355759"/>
                  </a:cubicBezTo>
                  <a:cubicBezTo>
                    <a:pt x="5967889" y="355759"/>
                    <a:pt x="5967889" y="355759"/>
                    <a:pt x="5967889" y="355759"/>
                  </a:cubicBezTo>
                  <a:cubicBezTo>
                    <a:pt x="5967889" y="353854"/>
                    <a:pt x="5967889" y="352901"/>
                    <a:pt x="5966937" y="351949"/>
                  </a:cubicBezTo>
                  <a:cubicBezTo>
                    <a:pt x="5965984" y="346234"/>
                    <a:pt x="5965984" y="339566"/>
                    <a:pt x="5965031" y="333851"/>
                  </a:cubicBezTo>
                  <a:cubicBezTo>
                    <a:pt x="5964079" y="321469"/>
                    <a:pt x="5964079" y="310039"/>
                    <a:pt x="5963126" y="299561"/>
                  </a:cubicBezTo>
                  <a:cubicBezTo>
                    <a:pt x="5964079" y="296704"/>
                    <a:pt x="5965031" y="294799"/>
                    <a:pt x="5965984" y="291941"/>
                  </a:cubicBezTo>
                  <a:close/>
                  <a:moveTo>
                    <a:pt x="5952649" y="385286"/>
                  </a:moveTo>
                  <a:cubicBezTo>
                    <a:pt x="5952649" y="385286"/>
                    <a:pt x="5952649" y="385286"/>
                    <a:pt x="5952649" y="385286"/>
                  </a:cubicBezTo>
                  <a:cubicBezTo>
                    <a:pt x="5952649" y="385286"/>
                    <a:pt x="5952649" y="385286"/>
                    <a:pt x="5952649" y="385286"/>
                  </a:cubicBezTo>
                  <a:cubicBezTo>
                    <a:pt x="5952649" y="385286"/>
                    <a:pt x="5952649" y="385286"/>
                    <a:pt x="5952649" y="385286"/>
                  </a:cubicBezTo>
                  <a:close/>
                  <a:moveTo>
                    <a:pt x="5934551" y="339566"/>
                  </a:moveTo>
                  <a:cubicBezTo>
                    <a:pt x="5934551" y="337661"/>
                    <a:pt x="5933599" y="334804"/>
                    <a:pt x="5933599" y="332899"/>
                  </a:cubicBezTo>
                  <a:cubicBezTo>
                    <a:pt x="5933599" y="331946"/>
                    <a:pt x="5933599" y="331946"/>
                    <a:pt x="5933599" y="330994"/>
                  </a:cubicBezTo>
                  <a:cubicBezTo>
                    <a:pt x="5934551" y="332899"/>
                    <a:pt x="5934551" y="334804"/>
                    <a:pt x="5935504" y="336709"/>
                  </a:cubicBezTo>
                  <a:cubicBezTo>
                    <a:pt x="5935504" y="337661"/>
                    <a:pt x="5934551" y="338614"/>
                    <a:pt x="5934551" y="339566"/>
                  </a:cubicBezTo>
                  <a:close/>
                  <a:moveTo>
                    <a:pt x="5948839" y="371951"/>
                  </a:moveTo>
                  <a:cubicBezTo>
                    <a:pt x="5947887" y="374809"/>
                    <a:pt x="5946934" y="378619"/>
                    <a:pt x="5945981" y="382429"/>
                  </a:cubicBezTo>
                  <a:cubicBezTo>
                    <a:pt x="5945029" y="386239"/>
                    <a:pt x="5944076" y="389096"/>
                    <a:pt x="5943124" y="392906"/>
                  </a:cubicBezTo>
                  <a:cubicBezTo>
                    <a:pt x="5943124" y="387191"/>
                    <a:pt x="5943124" y="382429"/>
                    <a:pt x="5943124" y="378619"/>
                  </a:cubicBezTo>
                  <a:cubicBezTo>
                    <a:pt x="5943124" y="378619"/>
                    <a:pt x="5943124" y="378619"/>
                    <a:pt x="5943124" y="378619"/>
                  </a:cubicBezTo>
                  <a:cubicBezTo>
                    <a:pt x="5945029" y="373856"/>
                    <a:pt x="5945981" y="370046"/>
                    <a:pt x="5946934" y="365284"/>
                  </a:cubicBezTo>
                  <a:cubicBezTo>
                    <a:pt x="5946934" y="367189"/>
                    <a:pt x="5947887" y="370046"/>
                    <a:pt x="5948839" y="371951"/>
                  </a:cubicBezTo>
                  <a:close/>
                  <a:moveTo>
                    <a:pt x="5930742" y="234791"/>
                  </a:moveTo>
                  <a:cubicBezTo>
                    <a:pt x="5933599" y="245269"/>
                    <a:pt x="5935504" y="256699"/>
                    <a:pt x="5938362" y="269081"/>
                  </a:cubicBezTo>
                  <a:cubicBezTo>
                    <a:pt x="5941219" y="280511"/>
                    <a:pt x="5942171" y="293846"/>
                    <a:pt x="5945029" y="307181"/>
                  </a:cubicBezTo>
                  <a:cubicBezTo>
                    <a:pt x="5943124" y="312896"/>
                    <a:pt x="5941219" y="317659"/>
                    <a:pt x="5940267" y="323374"/>
                  </a:cubicBezTo>
                  <a:cubicBezTo>
                    <a:pt x="5940267" y="323374"/>
                    <a:pt x="5940267" y="324326"/>
                    <a:pt x="5940267" y="324326"/>
                  </a:cubicBezTo>
                  <a:cubicBezTo>
                    <a:pt x="5937409" y="318611"/>
                    <a:pt x="5934551" y="312896"/>
                    <a:pt x="5931694" y="307181"/>
                  </a:cubicBezTo>
                  <a:cubicBezTo>
                    <a:pt x="5930742" y="299561"/>
                    <a:pt x="5929789" y="291941"/>
                    <a:pt x="5928837" y="284321"/>
                  </a:cubicBezTo>
                  <a:cubicBezTo>
                    <a:pt x="5927884" y="277654"/>
                    <a:pt x="5927884" y="271939"/>
                    <a:pt x="5926931" y="266224"/>
                  </a:cubicBezTo>
                  <a:cubicBezTo>
                    <a:pt x="5928837" y="261461"/>
                    <a:pt x="5929789" y="259556"/>
                    <a:pt x="5929789" y="259556"/>
                  </a:cubicBezTo>
                  <a:cubicBezTo>
                    <a:pt x="5929789" y="259556"/>
                    <a:pt x="5928837" y="261461"/>
                    <a:pt x="5926931" y="264319"/>
                  </a:cubicBezTo>
                  <a:cubicBezTo>
                    <a:pt x="5925979" y="257651"/>
                    <a:pt x="5925026" y="251936"/>
                    <a:pt x="5925026" y="245269"/>
                  </a:cubicBezTo>
                  <a:cubicBezTo>
                    <a:pt x="5925979" y="241459"/>
                    <a:pt x="5926931" y="237649"/>
                    <a:pt x="5926931" y="233839"/>
                  </a:cubicBezTo>
                  <a:cubicBezTo>
                    <a:pt x="5927884" y="230981"/>
                    <a:pt x="5927884" y="228124"/>
                    <a:pt x="5928837" y="226219"/>
                  </a:cubicBezTo>
                  <a:cubicBezTo>
                    <a:pt x="5928837" y="229076"/>
                    <a:pt x="5929789" y="231934"/>
                    <a:pt x="5930742" y="234791"/>
                  </a:cubicBezTo>
                  <a:close/>
                  <a:moveTo>
                    <a:pt x="5923121" y="209074"/>
                  </a:moveTo>
                  <a:cubicBezTo>
                    <a:pt x="5924074" y="212884"/>
                    <a:pt x="5925979" y="217646"/>
                    <a:pt x="5926931" y="222409"/>
                  </a:cubicBezTo>
                  <a:cubicBezTo>
                    <a:pt x="5925026" y="225266"/>
                    <a:pt x="5924074" y="229076"/>
                    <a:pt x="5922169" y="232886"/>
                  </a:cubicBezTo>
                  <a:cubicBezTo>
                    <a:pt x="5921217" y="223361"/>
                    <a:pt x="5920264" y="214789"/>
                    <a:pt x="5919312" y="206216"/>
                  </a:cubicBezTo>
                  <a:cubicBezTo>
                    <a:pt x="5919312" y="201454"/>
                    <a:pt x="5918359" y="197644"/>
                    <a:pt x="5918359" y="193834"/>
                  </a:cubicBezTo>
                  <a:cubicBezTo>
                    <a:pt x="5920264" y="197644"/>
                    <a:pt x="5921217" y="202406"/>
                    <a:pt x="5923121" y="209074"/>
                  </a:cubicBezTo>
                  <a:close/>
                  <a:moveTo>
                    <a:pt x="5901214" y="244316"/>
                  </a:moveTo>
                  <a:cubicBezTo>
                    <a:pt x="5901214" y="247174"/>
                    <a:pt x="5901214" y="251936"/>
                    <a:pt x="5901214" y="258604"/>
                  </a:cubicBezTo>
                  <a:cubicBezTo>
                    <a:pt x="5901214" y="264319"/>
                    <a:pt x="5901214" y="270986"/>
                    <a:pt x="5902167" y="278606"/>
                  </a:cubicBezTo>
                  <a:cubicBezTo>
                    <a:pt x="5902167" y="286226"/>
                    <a:pt x="5903119" y="293846"/>
                    <a:pt x="5904071" y="302419"/>
                  </a:cubicBezTo>
                  <a:cubicBezTo>
                    <a:pt x="5903119" y="304324"/>
                    <a:pt x="5901214" y="307181"/>
                    <a:pt x="5900262" y="310039"/>
                  </a:cubicBezTo>
                  <a:cubicBezTo>
                    <a:pt x="5898356" y="300514"/>
                    <a:pt x="5896451" y="291941"/>
                    <a:pt x="5895499" y="284321"/>
                  </a:cubicBezTo>
                  <a:cubicBezTo>
                    <a:pt x="5897404" y="264319"/>
                    <a:pt x="5900262" y="250984"/>
                    <a:pt x="5901214" y="244316"/>
                  </a:cubicBezTo>
                  <a:close/>
                  <a:moveTo>
                    <a:pt x="5903119" y="324326"/>
                  </a:moveTo>
                  <a:cubicBezTo>
                    <a:pt x="5903119" y="325279"/>
                    <a:pt x="5903119" y="327184"/>
                    <a:pt x="5903119" y="328136"/>
                  </a:cubicBezTo>
                  <a:cubicBezTo>
                    <a:pt x="5903119" y="327184"/>
                    <a:pt x="5903119" y="326231"/>
                    <a:pt x="5902167" y="325279"/>
                  </a:cubicBezTo>
                  <a:cubicBezTo>
                    <a:pt x="5903119" y="325279"/>
                    <a:pt x="5903119" y="324326"/>
                    <a:pt x="5903119" y="324326"/>
                  </a:cubicBezTo>
                  <a:close/>
                  <a:moveTo>
                    <a:pt x="5892642" y="348139"/>
                  </a:moveTo>
                  <a:cubicBezTo>
                    <a:pt x="5892642" y="350044"/>
                    <a:pt x="5892642" y="350996"/>
                    <a:pt x="5893594" y="352901"/>
                  </a:cubicBezTo>
                  <a:cubicBezTo>
                    <a:pt x="5893594" y="353854"/>
                    <a:pt x="5893594" y="354806"/>
                    <a:pt x="5893594" y="355759"/>
                  </a:cubicBezTo>
                  <a:cubicBezTo>
                    <a:pt x="5892642" y="353854"/>
                    <a:pt x="5892642" y="351949"/>
                    <a:pt x="5891689" y="350996"/>
                  </a:cubicBezTo>
                  <a:cubicBezTo>
                    <a:pt x="5892642" y="350044"/>
                    <a:pt x="5892642" y="349091"/>
                    <a:pt x="5892642" y="348139"/>
                  </a:cubicBezTo>
                  <a:close/>
                  <a:moveTo>
                    <a:pt x="5893594" y="373856"/>
                  </a:moveTo>
                  <a:cubicBezTo>
                    <a:pt x="5895499" y="379571"/>
                    <a:pt x="5897404" y="385286"/>
                    <a:pt x="5898356" y="391954"/>
                  </a:cubicBezTo>
                  <a:cubicBezTo>
                    <a:pt x="5899309" y="396716"/>
                    <a:pt x="5901214" y="402431"/>
                    <a:pt x="5902167" y="408146"/>
                  </a:cubicBezTo>
                  <a:cubicBezTo>
                    <a:pt x="5903119" y="411004"/>
                    <a:pt x="5903119" y="414814"/>
                    <a:pt x="5904071" y="417671"/>
                  </a:cubicBezTo>
                  <a:cubicBezTo>
                    <a:pt x="5904071" y="417671"/>
                    <a:pt x="5904071" y="417671"/>
                    <a:pt x="5904071" y="417671"/>
                  </a:cubicBezTo>
                  <a:cubicBezTo>
                    <a:pt x="5899309" y="407194"/>
                    <a:pt x="5895499" y="397669"/>
                    <a:pt x="5890737" y="387191"/>
                  </a:cubicBezTo>
                  <a:cubicBezTo>
                    <a:pt x="5889784" y="386239"/>
                    <a:pt x="5889784" y="385286"/>
                    <a:pt x="5888831" y="383381"/>
                  </a:cubicBezTo>
                  <a:lnTo>
                    <a:pt x="5887879" y="357664"/>
                  </a:lnTo>
                  <a:cubicBezTo>
                    <a:pt x="5887879" y="357664"/>
                    <a:pt x="5887879" y="356711"/>
                    <a:pt x="5888831" y="356711"/>
                  </a:cubicBezTo>
                  <a:cubicBezTo>
                    <a:pt x="5889784" y="363379"/>
                    <a:pt x="5891689" y="368141"/>
                    <a:pt x="5893594" y="373856"/>
                  </a:cubicBezTo>
                  <a:close/>
                  <a:moveTo>
                    <a:pt x="5886926" y="321469"/>
                  </a:moveTo>
                  <a:cubicBezTo>
                    <a:pt x="5887879" y="317659"/>
                    <a:pt x="5887879" y="314801"/>
                    <a:pt x="5888831" y="311944"/>
                  </a:cubicBezTo>
                  <a:cubicBezTo>
                    <a:pt x="5888831" y="312896"/>
                    <a:pt x="5888831" y="313849"/>
                    <a:pt x="5888831" y="314801"/>
                  </a:cubicBezTo>
                  <a:cubicBezTo>
                    <a:pt x="5888831" y="318611"/>
                    <a:pt x="5889784" y="322421"/>
                    <a:pt x="5889784" y="326231"/>
                  </a:cubicBezTo>
                  <a:cubicBezTo>
                    <a:pt x="5888831" y="328136"/>
                    <a:pt x="5887879" y="330041"/>
                    <a:pt x="5885974" y="332899"/>
                  </a:cubicBezTo>
                  <a:cubicBezTo>
                    <a:pt x="5885974" y="330041"/>
                    <a:pt x="5885974" y="327184"/>
                    <a:pt x="5885974" y="325279"/>
                  </a:cubicBezTo>
                  <a:cubicBezTo>
                    <a:pt x="5885974" y="323374"/>
                    <a:pt x="5886926" y="322421"/>
                    <a:pt x="5886926" y="321469"/>
                  </a:cubicBezTo>
                  <a:close/>
                  <a:moveTo>
                    <a:pt x="5858351" y="279559"/>
                  </a:moveTo>
                  <a:cubicBezTo>
                    <a:pt x="5858351" y="281464"/>
                    <a:pt x="5858351" y="282416"/>
                    <a:pt x="5858351" y="284321"/>
                  </a:cubicBezTo>
                  <a:cubicBezTo>
                    <a:pt x="5858351" y="284321"/>
                    <a:pt x="5858351" y="285274"/>
                    <a:pt x="5858351" y="285274"/>
                  </a:cubicBezTo>
                  <a:cubicBezTo>
                    <a:pt x="5858351" y="284321"/>
                    <a:pt x="5857399" y="283369"/>
                    <a:pt x="5857399" y="281464"/>
                  </a:cubicBezTo>
                  <a:cubicBezTo>
                    <a:pt x="5857399" y="281464"/>
                    <a:pt x="5857399" y="280511"/>
                    <a:pt x="5858351" y="279559"/>
                  </a:cubicBezTo>
                  <a:close/>
                  <a:moveTo>
                    <a:pt x="5841206" y="264319"/>
                  </a:moveTo>
                  <a:cubicBezTo>
                    <a:pt x="5841206" y="266224"/>
                    <a:pt x="5840254" y="268129"/>
                    <a:pt x="5840254" y="270034"/>
                  </a:cubicBezTo>
                  <a:cubicBezTo>
                    <a:pt x="5840254" y="272891"/>
                    <a:pt x="5839301" y="274796"/>
                    <a:pt x="5839301" y="277654"/>
                  </a:cubicBezTo>
                  <a:cubicBezTo>
                    <a:pt x="5839301" y="275749"/>
                    <a:pt x="5838349" y="273844"/>
                    <a:pt x="5838349" y="271939"/>
                  </a:cubicBezTo>
                  <a:cubicBezTo>
                    <a:pt x="5840254" y="269081"/>
                    <a:pt x="5840254" y="267176"/>
                    <a:pt x="5841206" y="264319"/>
                  </a:cubicBezTo>
                  <a:close/>
                  <a:moveTo>
                    <a:pt x="5828824" y="305276"/>
                  </a:moveTo>
                  <a:cubicBezTo>
                    <a:pt x="5827871" y="306229"/>
                    <a:pt x="5827871" y="307181"/>
                    <a:pt x="5826919" y="308134"/>
                  </a:cubicBezTo>
                  <a:cubicBezTo>
                    <a:pt x="5826919" y="307181"/>
                    <a:pt x="5826919" y="307181"/>
                    <a:pt x="5826919" y="306229"/>
                  </a:cubicBezTo>
                  <a:cubicBezTo>
                    <a:pt x="5827871" y="304324"/>
                    <a:pt x="5828824" y="301466"/>
                    <a:pt x="5829776" y="299561"/>
                  </a:cubicBezTo>
                  <a:cubicBezTo>
                    <a:pt x="5828824" y="302419"/>
                    <a:pt x="5828824" y="303371"/>
                    <a:pt x="5828824" y="305276"/>
                  </a:cubicBezTo>
                  <a:close/>
                  <a:moveTo>
                    <a:pt x="5823109" y="259556"/>
                  </a:moveTo>
                  <a:cubicBezTo>
                    <a:pt x="5824062" y="262414"/>
                    <a:pt x="5825967" y="266224"/>
                    <a:pt x="5827871" y="270986"/>
                  </a:cubicBezTo>
                  <a:cubicBezTo>
                    <a:pt x="5827871" y="271939"/>
                    <a:pt x="5828824" y="272891"/>
                    <a:pt x="5828824" y="273844"/>
                  </a:cubicBezTo>
                  <a:cubicBezTo>
                    <a:pt x="5828824" y="277654"/>
                    <a:pt x="5828824" y="281464"/>
                    <a:pt x="5828824" y="286226"/>
                  </a:cubicBezTo>
                  <a:cubicBezTo>
                    <a:pt x="5826919" y="289084"/>
                    <a:pt x="5825967" y="291941"/>
                    <a:pt x="5824062" y="295751"/>
                  </a:cubicBezTo>
                  <a:lnTo>
                    <a:pt x="5824062" y="294799"/>
                  </a:lnTo>
                  <a:lnTo>
                    <a:pt x="5823109" y="267176"/>
                  </a:lnTo>
                  <a:lnTo>
                    <a:pt x="5823109" y="259556"/>
                  </a:lnTo>
                  <a:close/>
                  <a:moveTo>
                    <a:pt x="5813584" y="252889"/>
                  </a:moveTo>
                  <a:cubicBezTo>
                    <a:pt x="5813584" y="254794"/>
                    <a:pt x="5812631" y="256699"/>
                    <a:pt x="5812631" y="258604"/>
                  </a:cubicBezTo>
                  <a:cubicBezTo>
                    <a:pt x="5811679" y="256699"/>
                    <a:pt x="5811679" y="255746"/>
                    <a:pt x="5811679" y="255746"/>
                  </a:cubicBezTo>
                  <a:cubicBezTo>
                    <a:pt x="5811679" y="255746"/>
                    <a:pt x="5811679" y="258604"/>
                    <a:pt x="5811679" y="262414"/>
                  </a:cubicBezTo>
                  <a:cubicBezTo>
                    <a:pt x="5811679" y="264319"/>
                    <a:pt x="5810726" y="265271"/>
                    <a:pt x="5810726" y="267176"/>
                  </a:cubicBezTo>
                  <a:cubicBezTo>
                    <a:pt x="5809774" y="276701"/>
                    <a:pt x="5808821" y="285274"/>
                    <a:pt x="5808821" y="294799"/>
                  </a:cubicBezTo>
                  <a:lnTo>
                    <a:pt x="5808821" y="304324"/>
                  </a:lnTo>
                  <a:lnTo>
                    <a:pt x="5807869" y="300514"/>
                  </a:lnTo>
                  <a:cubicBezTo>
                    <a:pt x="5808821" y="286226"/>
                    <a:pt x="5807869" y="273844"/>
                    <a:pt x="5806917" y="264319"/>
                  </a:cubicBezTo>
                  <a:cubicBezTo>
                    <a:pt x="5806917" y="263366"/>
                    <a:pt x="5806917" y="263366"/>
                    <a:pt x="5806917" y="262414"/>
                  </a:cubicBezTo>
                  <a:cubicBezTo>
                    <a:pt x="5809774" y="258604"/>
                    <a:pt x="5812631" y="254794"/>
                    <a:pt x="5813584" y="252889"/>
                  </a:cubicBezTo>
                  <a:close/>
                  <a:moveTo>
                    <a:pt x="5804059" y="268129"/>
                  </a:moveTo>
                  <a:cubicBezTo>
                    <a:pt x="5804059" y="268129"/>
                    <a:pt x="5804059" y="269081"/>
                    <a:pt x="5804059" y="269081"/>
                  </a:cubicBezTo>
                  <a:lnTo>
                    <a:pt x="5804059" y="268129"/>
                  </a:lnTo>
                  <a:cubicBezTo>
                    <a:pt x="5804059" y="268129"/>
                    <a:pt x="5804059" y="268129"/>
                    <a:pt x="5804059" y="268129"/>
                  </a:cubicBezTo>
                  <a:close/>
                  <a:moveTo>
                    <a:pt x="5799296" y="164306"/>
                  </a:moveTo>
                  <a:cubicBezTo>
                    <a:pt x="5800249" y="165259"/>
                    <a:pt x="5801201" y="165259"/>
                    <a:pt x="5802154" y="166211"/>
                  </a:cubicBezTo>
                  <a:cubicBezTo>
                    <a:pt x="5800249" y="170021"/>
                    <a:pt x="5798344" y="172879"/>
                    <a:pt x="5796439" y="176689"/>
                  </a:cubicBezTo>
                  <a:lnTo>
                    <a:pt x="5796439" y="163354"/>
                  </a:lnTo>
                  <a:cubicBezTo>
                    <a:pt x="5797392" y="163354"/>
                    <a:pt x="5798344" y="163354"/>
                    <a:pt x="5799296" y="164306"/>
                  </a:cubicBezTo>
                  <a:close/>
                  <a:moveTo>
                    <a:pt x="5770721" y="386239"/>
                  </a:moveTo>
                  <a:cubicBezTo>
                    <a:pt x="5770721" y="385286"/>
                    <a:pt x="5770721" y="384334"/>
                    <a:pt x="5770721" y="383381"/>
                  </a:cubicBezTo>
                  <a:cubicBezTo>
                    <a:pt x="5770721" y="383381"/>
                    <a:pt x="5770721" y="382429"/>
                    <a:pt x="5770721" y="382429"/>
                  </a:cubicBezTo>
                  <a:cubicBezTo>
                    <a:pt x="5770721" y="384334"/>
                    <a:pt x="5770721" y="385286"/>
                    <a:pt x="5771674" y="387191"/>
                  </a:cubicBezTo>
                  <a:cubicBezTo>
                    <a:pt x="5771674" y="386239"/>
                    <a:pt x="5771674" y="386239"/>
                    <a:pt x="5770721" y="386239"/>
                  </a:cubicBezTo>
                  <a:close/>
                  <a:moveTo>
                    <a:pt x="5782151" y="253841"/>
                  </a:moveTo>
                  <a:cubicBezTo>
                    <a:pt x="5781199" y="254794"/>
                    <a:pt x="5781199" y="256699"/>
                    <a:pt x="5780246" y="258604"/>
                  </a:cubicBezTo>
                  <a:cubicBezTo>
                    <a:pt x="5779294" y="261461"/>
                    <a:pt x="5778342" y="264319"/>
                    <a:pt x="5777389" y="267176"/>
                  </a:cubicBezTo>
                  <a:cubicBezTo>
                    <a:pt x="5776437" y="270034"/>
                    <a:pt x="5775484" y="272891"/>
                    <a:pt x="5773579" y="275749"/>
                  </a:cubicBezTo>
                  <a:cubicBezTo>
                    <a:pt x="5773579" y="274796"/>
                    <a:pt x="5772626" y="274796"/>
                    <a:pt x="5772626" y="273844"/>
                  </a:cubicBezTo>
                  <a:cubicBezTo>
                    <a:pt x="5772626" y="273844"/>
                    <a:pt x="5772626" y="272891"/>
                    <a:pt x="5771674" y="272891"/>
                  </a:cubicBezTo>
                  <a:cubicBezTo>
                    <a:pt x="5777389" y="256699"/>
                    <a:pt x="5781199" y="246221"/>
                    <a:pt x="5783104" y="241459"/>
                  </a:cubicBezTo>
                  <a:cubicBezTo>
                    <a:pt x="5783104" y="245269"/>
                    <a:pt x="5783104" y="250031"/>
                    <a:pt x="5782151" y="253841"/>
                  </a:cubicBezTo>
                  <a:close/>
                  <a:moveTo>
                    <a:pt x="5785962" y="221456"/>
                  </a:moveTo>
                  <a:cubicBezTo>
                    <a:pt x="5785009" y="227171"/>
                    <a:pt x="5785009" y="232886"/>
                    <a:pt x="5784056" y="239554"/>
                  </a:cubicBezTo>
                  <a:cubicBezTo>
                    <a:pt x="5784056" y="239554"/>
                    <a:pt x="5784056" y="240506"/>
                    <a:pt x="5784056" y="240506"/>
                  </a:cubicBezTo>
                  <a:cubicBezTo>
                    <a:pt x="5782151" y="244316"/>
                    <a:pt x="5777389" y="253841"/>
                    <a:pt x="5770721" y="267176"/>
                  </a:cubicBezTo>
                  <a:cubicBezTo>
                    <a:pt x="5770721" y="265271"/>
                    <a:pt x="5769769" y="263366"/>
                    <a:pt x="5769769" y="261461"/>
                  </a:cubicBezTo>
                  <a:cubicBezTo>
                    <a:pt x="5769769" y="260509"/>
                    <a:pt x="5769769" y="259556"/>
                    <a:pt x="5769769" y="258604"/>
                  </a:cubicBezTo>
                  <a:cubicBezTo>
                    <a:pt x="5775484" y="246221"/>
                    <a:pt x="5781199" y="233839"/>
                    <a:pt x="5785962" y="221456"/>
                  </a:cubicBezTo>
                  <a:close/>
                  <a:moveTo>
                    <a:pt x="5754529" y="333851"/>
                  </a:moveTo>
                  <a:cubicBezTo>
                    <a:pt x="5751671" y="338614"/>
                    <a:pt x="5749767" y="343376"/>
                    <a:pt x="5746909" y="348139"/>
                  </a:cubicBezTo>
                  <a:cubicBezTo>
                    <a:pt x="5746909" y="347186"/>
                    <a:pt x="5745956" y="347186"/>
                    <a:pt x="5745956" y="346234"/>
                  </a:cubicBezTo>
                  <a:cubicBezTo>
                    <a:pt x="5748814" y="337661"/>
                    <a:pt x="5751671" y="330041"/>
                    <a:pt x="5754529" y="322421"/>
                  </a:cubicBezTo>
                  <a:cubicBezTo>
                    <a:pt x="5754529" y="325279"/>
                    <a:pt x="5754529" y="329089"/>
                    <a:pt x="5754529" y="333851"/>
                  </a:cubicBezTo>
                  <a:cubicBezTo>
                    <a:pt x="5754529" y="333851"/>
                    <a:pt x="5754529" y="333851"/>
                    <a:pt x="5754529" y="333851"/>
                  </a:cubicBezTo>
                  <a:close/>
                  <a:moveTo>
                    <a:pt x="5762149" y="302419"/>
                  </a:moveTo>
                  <a:cubicBezTo>
                    <a:pt x="5762149" y="303371"/>
                    <a:pt x="5762149" y="303371"/>
                    <a:pt x="5762149" y="302419"/>
                  </a:cubicBezTo>
                  <a:cubicBezTo>
                    <a:pt x="5762149" y="303371"/>
                    <a:pt x="5761196" y="303371"/>
                    <a:pt x="5762149" y="302419"/>
                  </a:cubicBezTo>
                  <a:cubicBezTo>
                    <a:pt x="5761196" y="303371"/>
                    <a:pt x="5761196" y="303371"/>
                    <a:pt x="5762149" y="302419"/>
                  </a:cubicBezTo>
                  <a:close/>
                  <a:moveTo>
                    <a:pt x="5761196" y="304324"/>
                  </a:moveTo>
                  <a:cubicBezTo>
                    <a:pt x="5761196" y="304324"/>
                    <a:pt x="5761196" y="305276"/>
                    <a:pt x="5762149" y="305276"/>
                  </a:cubicBezTo>
                  <a:cubicBezTo>
                    <a:pt x="5762149" y="306229"/>
                    <a:pt x="5762149" y="307181"/>
                    <a:pt x="5762149" y="308134"/>
                  </a:cubicBezTo>
                  <a:cubicBezTo>
                    <a:pt x="5762149" y="309086"/>
                    <a:pt x="5762149" y="309086"/>
                    <a:pt x="5762149" y="310039"/>
                  </a:cubicBezTo>
                  <a:cubicBezTo>
                    <a:pt x="5761196" y="313849"/>
                    <a:pt x="5760244" y="316706"/>
                    <a:pt x="5759292" y="320516"/>
                  </a:cubicBezTo>
                  <a:cubicBezTo>
                    <a:pt x="5758339" y="323374"/>
                    <a:pt x="5758339" y="325279"/>
                    <a:pt x="5757387" y="328136"/>
                  </a:cubicBezTo>
                  <a:cubicBezTo>
                    <a:pt x="5756434" y="324326"/>
                    <a:pt x="5755481" y="321469"/>
                    <a:pt x="5755481" y="320516"/>
                  </a:cubicBezTo>
                  <a:cubicBezTo>
                    <a:pt x="5757387" y="314801"/>
                    <a:pt x="5759292" y="309086"/>
                    <a:pt x="5761196" y="304324"/>
                  </a:cubicBezTo>
                  <a:close/>
                  <a:moveTo>
                    <a:pt x="5760244" y="289084"/>
                  </a:moveTo>
                  <a:cubicBezTo>
                    <a:pt x="5760244" y="290036"/>
                    <a:pt x="5759292" y="290036"/>
                    <a:pt x="5759292" y="290989"/>
                  </a:cubicBezTo>
                  <a:cubicBezTo>
                    <a:pt x="5757387" y="293846"/>
                    <a:pt x="5754529" y="297656"/>
                    <a:pt x="5751671" y="301466"/>
                  </a:cubicBezTo>
                  <a:cubicBezTo>
                    <a:pt x="5750719" y="302419"/>
                    <a:pt x="5749767" y="304324"/>
                    <a:pt x="5748814" y="305276"/>
                  </a:cubicBezTo>
                  <a:cubicBezTo>
                    <a:pt x="5752624" y="296704"/>
                    <a:pt x="5755481" y="288131"/>
                    <a:pt x="5759292" y="280511"/>
                  </a:cubicBezTo>
                  <a:cubicBezTo>
                    <a:pt x="5760244" y="284321"/>
                    <a:pt x="5760244" y="286226"/>
                    <a:pt x="5760244" y="289084"/>
                  </a:cubicBezTo>
                  <a:close/>
                  <a:moveTo>
                    <a:pt x="5756434" y="227171"/>
                  </a:moveTo>
                  <a:cubicBezTo>
                    <a:pt x="5756434" y="231934"/>
                    <a:pt x="5756434" y="237649"/>
                    <a:pt x="5756434" y="243364"/>
                  </a:cubicBezTo>
                  <a:cubicBezTo>
                    <a:pt x="5756434" y="246221"/>
                    <a:pt x="5756434" y="248126"/>
                    <a:pt x="5757387" y="250984"/>
                  </a:cubicBezTo>
                  <a:cubicBezTo>
                    <a:pt x="5756434" y="253841"/>
                    <a:pt x="5754529" y="256699"/>
                    <a:pt x="5753576" y="259556"/>
                  </a:cubicBezTo>
                  <a:cubicBezTo>
                    <a:pt x="5749767" y="268129"/>
                    <a:pt x="5745004" y="276701"/>
                    <a:pt x="5741194" y="285274"/>
                  </a:cubicBezTo>
                  <a:cubicBezTo>
                    <a:pt x="5746909" y="262414"/>
                    <a:pt x="5752624" y="243364"/>
                    <a:pt x="5756434" y="227171"/>
                  </a:cubicBezTo>
                  <a:close/>
                  <a:moveTo>
                    <a:pt x="5676424" y="184309"/>
                  </a:moveTo>
                  <a:cubicBezTo>
                    <a:pt x="5676424" y="188119"/>
                    <a:pt x="5676424" y="192881"/>
                    <a:pt x="5676424" y="198596"/>
                  </a:cubicBezTo>
                  <a:cubicBezTo>
                    <a:pt x="5676424" y="206216"/>
                    <a:pt x="5676424" y="216694"/>
                    <a:pt x="5676424" y="228124"/>
                  </a:cubicBezTo>
                  <a:cubicBezTo>
                    <a:pt x="5676424" y="233839"/>
                    <a:pt x="5676424" y="239554"/>
                    <a:pt x="5676424" y="246221"/>
                  </a:cubicBezTo>
                  <a:cubicBezTo>
                    <a:pt x="5676424" y="252889"/>
                    <a:pt x="5677376" y="259556"/>
                    <a:pt x="5677376" y="266224"/>
                  </a:cubicBezTo>
                  <a:cubicBezTo>
                    <a:pt x="5677376" y="270034"/>
                    <a:pt x="5677376" y="273844"/>
                    <a:pt x="5678329" y="276701"/>
                  </a:cubicBezTo>
                  <a:cubicBezTo>
                    <a:pt x="5678329" y="276701"/>
                    <a:pt x="5678329" y="276701"/>
                    <a:pt x="5678329" y="276701"/>
                  </a:cubicBezTo>
                  <a:cubicBezTo>
                    <a:pt x="5677376" y="270986"/>
                    <a:pt x="5676424" y="265271"/>
                    <a:pt x="5675471" y="259556"/>
                  </a:cubicBezTo>
                  <a:cubicBezTo>
                    <a:pt x="5674519" y="253841"/>
                    <a:pt x="5673567" y="248126"/>
                    <a:pt x="5672614" y="242411"/>
                  </a:cubicBezTo>
                  <a:cubicBezTo>
                    <a:pt x="5671662" y="235744"/>
                    <a:pt x="5670709" y="229076"/>
                    <a:pt x="5669756" y="223361"/>
                  </a:cubicBezTo>
                  <a:cubicBezTo>
                    <a:pt x="5669756" y="221456"/>
                    <a:pt x="5668804" y="218599"/>
                    <a:pt x="5668804" y="216694"/>
                  </a:cubicBezTo>
                  <a:cubicBezTo>
                    <a:pt x="5671662" y="202406"/>
                    <a:pt x="5674519" y="190976"/>
                    <a:pt x="5676424" y="184309"/>
                  </a:cubicBezTo>
                  <a:close/>
                  <a:moveTo>
                    <a:pt x="5652612" y="263366"/>
                  </a:moveTo>
                  <a:cubicBezTo>
                    <a:pt x="5652612" y="262414"/>
                    <a:pt x="5652612" y="262414"/>
                    <a:pt x="5653564" y="261461"/>
                  </a:cubicBezTo>
                  <a:cubicBezTo>
                    <a:pt x="5654517" y="262414"/>
                    <a:pt x="5654517" y="263366"/>
                    <a:pt x="5655469" y="264319"/>
                  </a:cubicBezTo>
                  <a:cubicBezTo>
                    <a:pt x="5655469" y="265271"/>
                    <a:pt x="5655469" y="266224"/>
                    <a:pt x="5655469" y="268129"/>
                  </a:cubicBezTo>
                  <a:cubicBezTo>
                    <a:pt x="5656421" y="273844"/>
                    <a:pt x="5656421" y="279559"/>
                    <a:pt x="5657374" y="286226"/>
                  </a:cubicBezTo>
                  <a:cubicBezTo>
                    <a:pt x="5655469" y="280511"/>
                    <a:pt x="5654517" y="274796"/>
                    <a:pt x="5652612" y="269081"/>
                  </a:cubicBezTo>
                  <a:cubicBezTo>
                    <a:pt x="5652612" y="268129"/>
                    <a:pt x="5652612" y="268129"/>
                    <a:pt x="5651659" y="267176"/>
                  </a:cubicBezTo>
                  <a:cubicBezTo>
                    <a:pt x="5652612" y="265271"/>
                    <a:pt x="5652612" y="264319"/>
                    <a:pt x="5652612" y="263366"/>
                  </a:cubicBezTo>
                  <a:close/>
                  <a:moveTo>
                    <a:pt x="5650706" y="205264"/>
                  </a:moveTo>
                  <a:cubicBezTo>
                    <a:pt x="5650706" y="208121"/>
                    <a:pt x="5650706" y="210979"/>
                    <a:pt x="5651659" y="212884"/>
                  </a:cubicBezTo>
                  <a:cubicBezTo>
                    <a:pt x="5650706" y="210979"/>
                    <a:pt x="5649754" y="209074"/>
                    <a:pt x="5649754" y="207169"/>
                  </a:cubicBezTo>
                  <a:cubicBezTo>
                    <a:pt x="5649754" y="206216"/>
                    <a:pt x="5649754" y="205264"/>
                    <a:pt x="5650706" y="205264"/>
                  </a:cubicBezTo>
                  <a:close/>
                  <a:moveTo>
                    <a:pt x="5647849" y="209074"/>
                  </a:moveTo>
                  <a:cubicBezTo>
                    <a:pt x="5647849" y="211931"/>
                    <a:pt x="5648801" y="215741"/>
                    <a:pt x="5649754" y="219551"/>
                  </a:cubicBezTo>
                  <a:cubicBezTo>
                    <a:pt x="5650706" y="224314"/>
                    <a:pt x="5650706" y="230029"/>
                    <a:pt x="5651659" y="235744"/>
                  </a:cubicBezTo>
                  <a:cubicBezTo>
                    <a:pt x="5651659" y="235744"/>
                    <a:pt x="5651659" y="235744"/>
                    <a:pt x="5651659" y="236696"/>
                  </a:cubicBezTo>
                  <a:cubicBezTo>
                    <a:pt x="5649754" y="233839"/>
                    <a:pt x="5647849" y="230981"/>
                    <a:pt x="5645944" y="228124"/>
                  </a:cubicBezTo>
                  <a:cubicBezTo>
                    <a:pt x="5644992" y="224314"/>
                    <a:pt x="5644992" y="220504"/>
                    <a:pt x="5644039" y="216694"/>
                  </a:cubicBezTo>
                  <a:cubicBezTo>
                    <a:pt x="5644992" y="213836"/>
                    <a:pt x="5646896" y="211931"/>
                    <a:pt x="5647849" y="209074"/>
                  </a:cubicBezTo>
                  <a:close/>
                  <a:moveTo>
                    <a:pt x="5642134" y="370046"/>
                  </a:moveTo>
                  <a:cubicBezTo>
                    <a:pt x="5642134" y="372904"/>
                    <a:pt x="5643087" y="374809"/>
                    <a:pt x="5643087" y="377666"/>
                  </a:cubicBezTo>
                  <a:cubicBezTo>
                    <a:pt x="5642134" y="379571"/>
                    <a:pt x="5642134" y="382429"/>
                    <a:pt x="5641181" y="385286"/>
                  </a:cubicBezTo>
                  <a:cubicBezTo>
                    <a:pt x="5641181" y="379571"/>
                    <a:pt x="5641181" y="374809"/>
                    <a:pt x="5642134" y="370046"/>
                  </a:cubicBezTo>
                  <a:close/>
                  <a:moveTo>
                    <a:pt x="5624037" y="272891"/>
                  </a:moveTo>
                  <a:cubicBezTo>
                    <a:pt x="5624989" y="268129"/>
                    <a:pt x="5624989" y="263366"/>
                    <a:pt x="5625942" y="258604"/>
                  </a:cubicBezTo>
                  <a:cubicBezTo>
                    <a:pt x="5625942" y="256699"/>
                    <a:pt x="5625942" y="255746"/>
                    <a:pt x="5625942" y="254794"/>
                  </a:cubicBezTo>
                  <a:cubicBezTo>
                    <a:pt x="5627846" y="250031"/>
                    <a:pt x="5629751" y="245269"/>
                    <a:pt x="5632609" y="241459"/>
                  </a:cubicBezTo>
                  <a:cubicBezTo>
                    <a:pt x="5633562" y="239554"/>
                    <a:pt x="5634514" y="238601"/>
                    <a:pt x="5634514" y="236696"/>
                  </a:cubicBezTo>
                  <a:cubicBezTo>
                    <a:pt x="5635467" y="239554"/>
                    <a:pt x="5636419" y="242411"/>
                    <a:pt x="5637371" y="245269"/>
                  </a:cubicBezTo>
                  <a:cubicBezTo>
                    <a:pt x="5638324" y="249079"/>
                    <a:pt x="5639276" y="253841"/>
                    <a:pt x="5640229" y="259556"/>
                  </a:cubicBezTo>
                  <a:cubicBezTo>
                    <a:pt x="5640229" y="261461"/>
                    <a:pt x="5640229" y="264319"/>
                    <a:pt x="5640229" y="266224"/>
                  </a:cubicBezTo>
                  <a:cubicBezTo>
                    <a:pt x="5637371" y="272891"/>
                    <a:pt x="5634514" y="280511"/>
                    <a:pt x="5631656" y="288131"/>
                  </a:cubicBezTo>
                  <a:cubicBezTo>
                    <a:pt x="5628799" y="284321"/>
                    <a:pt x="5626894" y="280511"/>
                    <a:pt x="5624037" y="277654"/>
                  </a:cubicBezTo>
                  <a:cubicBezTo>
                    <a:pt x="5623084" y="275749"/>
                    <a:pt x="5624037" y="273844"/>
                    <a:pt x="5624037" y="272891"/>
                  </a:cubicBezTo>
                  <a:close/>
                  <a:moveTo>
                    <a:pt x="5623084" y="289084"/>
                  </a:moveTo>
                  <a:cubicBezTo>
                    <a:pt x="5623084" y="288131"/>
                    <a:pt x="5623084" y="288131"/>
                    <a:pt x="5623084" y="287179"/>
                  </a:cubicBezTo>
                  <a:cubicBezTo>
                    <a:pt x="5624037" y="288131"/>
                    <a:pt x="5624037" y="290036"/>
                    <a:pt x="5624989" y="290989"/>
                  </a:cubicBezTo>
                  <a:cubicBezTo>
                    <a:pt x="5625942" y="292894"/>
                    <a:pt x="5626894" y="295751"/>
                    <a:pt x="5626894" y="298609"/>
                  </a:cubicBezTo>
                  <a:cubicBezTo>
                    <a:pt x="5626894" y="299561"/>
                    <a:pt x="5626894" y="299561"/>
                    <a:pt x="5625942" y="300514"/>
                  </a:cubicBezTo>
                  <a:cubicBezTo>
                    <a:pt x="5625942" y="300514"/>
                    <a:pt x="5625942" y="300514"/>
                    <a:pt x="5625942" y="300514"/>
                  </a:cubicBezTo>
                  <a:cubicBezTo>
                    <a:pt x="5624989" y="298609"/>
                    <a:pt x="5624037" y="297656"/>
                    <a:pt x="5622131" y="295751"/>
                  </a:cubicBezTo>
                  <a:cubicBezTo>
                    <a:pt x="5622131" y="293846"/>
                    <a:pt x="5622131" y="290989"/>
                    <a:pt x="5623084" y="289084"/>
                  </a:cubicBezTo>
                  <a:close/>
                  <a:moveTo>
                    <a:pt x="5621179" y="310991"/>
                  </a:moveTo>
                  <a:cubicBezTo>
                    <a:pt x="5621179" y="310991"/>
                    <a:pt x="5621179" y="310991"/>
                    <a:pt x="5621179" y="310991"/>
                  </a:cubicBezTo>
                  <a:cubicBezTo>
                    <a:pt x="5621179" y="310991"/>
                    <a:pt x="5621179" y="310991"/>
                    <a:pt x="5621179" y="310991"/>
                  </a:cubicBezTo>
                  <a:cubicBezTo>
                    <a:pt x="5621179" y="310991"/>
                    <a:pt x="5621179" y="310991"/>
                    <a:pt x="5621179" y="310991"/>
                  </a:cubicBezTo>
                  <a:close/>
                  <a:moveTo>
                    <a:pt x="5618321" y="270034"/>
                  </a:moveTo>
                  <a:cubicBezTo>
                    <a:pt x="5618321" y="270034"/>
                    <a:pt x="5618321" y="270986"/>
                    <a:pt x="5618321" y="270034"/>
                  </a:cubicBezTo>
                  <a:cubicBezTo>
                    <a:pt x="5618321" y="270986"/>
                    <a:pt x="5618321" y="270986"/>
                    <a:pt x="5618321" y="270034"/>
                  </a:cubicBezTo>
                  <a:cubicBezTo>
                    <a:pt x="5618321" y="270986"/>
                    <a:pt x="5618321" y="270034"/>
                    <a:pt x="5618321" y="270034"/>
                  </a:cubicBezTo>
                  <a:close/>
                  <a:moveTo>
                    <a:pt x="5617369" y="272891"/>
                  </a:moveTo>
                  <a:cubicBezTo>
                    <a:pt x="5617369" y="272891"/>
                    <a:pt x="5617369" y="273844"/>
                    <a:pt x="5618321" y="273844"/>
                  </a:cubicBezTo>
                  <a:cubicBezTo>
                    <a:pt x="5617369" y="277654"/>
                    <a:pt x="5617369" y="282416"/>
                    <a:pt x="5616417" y="286226"/>
                  </a:cubicBezTo>
                  <a:cubicBezTo>
                    <a:pt x="5615464" y="285274"/>
                    <a:pt x="5614512" y="283369"/>
                    <a:pt x="5613559" y="282416"/>
                  </a:cubicBezTo>
                  <a:cubicBezTo>
                    <a:pt x="5614512" y="279559"/>
                    <a:pt x="5615464" y="276701"/>
                    <a:pt x="5617369" y="272891"/>
                  </a:cubicBezTo>
                  <a:close/>
                  <a:moveTo>
                    <a:pt x="5608796" y="290989"/>
                  </a:moveTo>
                  <a:cubicBezTo>
                    <a:pt x="5608796" y="290989"/>
                    <a:pt x="5609749" y="290989"/>
                    <a:pt x="5608796" y="290989"/>
                  </a:cubicBezTo>
                  <a:cubicBezTo>
                    <a:pt x="5609749" y="291941"/>
                    <a:pt x="5610701" y="293846"/>
                    <a:pt x="5611654" y="294799"/>
                  </a:cubicBezTo>
                  <a:cubicBezTo>
                    <a:pt x="5612606" y="295751"/>
                    <a:pt x="5612606" y="296704"/>
                    <a:pt x="5613559" y="297656"/>
                  </a:cubicBezTo>
                  <a:cubicBezTo>
                    <a:pt x="5612606" y="302419"/>
                    <a:pt x="5612606" y="306229"/>
                    <a:pt x="5611654" y="310991"/>
                  </a:cubicBezTo>
                  <a:cubicBezTo>
                    <a:pt x="5610701" y="305276"/>
                    <a:pt x="5609749" y="298609"/>
                    <a:pt x="5608796" y="292894"/>
                  </a:cubicBezTo>
                  <a:cubicBezTo>
                    <a:pt x="5608796" y="291941"/>
                    <a:pt x="5608796" y="291941"/>
                    <a:pt x="5608796" y="290989"/>
                  </a:cubicBezTo>
                  <a:close/>
                  <a:moveTo>
                    <a:pt x="5594509" y="241459"/>
                  </a:moveTo>
                  <a:cubicBezTo>
                    <a:pt x="5594509" y="247174"/>
                    <a:pt x="5594509" y="252889"/>
                    <a:pt x="5595462" y="258604"/>
                  </a:cubicBezTo>
                  <a:cubicBezTo>
                    <a:pt x="5595462" y="258604"/>
                    <a:pt x="5595462" y="259556"/>
                    <a:pt x="5595462" y="259556"/>
                  </a:cubicBezTo>
                  <a:cubicBezTo>
                    <a:pt x="5595462" y="260509"/>
                    <a:pt x="5595462" y="260509"/>
                    <a:pt x="5595462" y="261461"/>
                  </a:cubicBezTo>
                  <a:cubicBezTo>
                    <a:pt x="5594509" y="260509"/>
                    <a:pt x="5594509" y="260509"/>
                    <a:pt x="5593556" y="259556"/>
                  </a:cubicBezTo>
                  <a:cubicBezTo>
                    <a:pt x="5593556" y="256699"/>
                    <a:pt x="5592604" y="252889"/>
                    <a:pt x="5592604" y="250031"/>
                  </a:cubicBezTo>
                  <a:cubicBezTo>
                    <a:pt x="5591651" y="246221"/>
                    <a:pt x="5593556" y="244316"/>
                    <a:pt x="5594509" y="241459"/>
                  </a:cubicBezTo>
                  <a:close/>
                  <a:moveTo>
                    <a:pt x="5578317" y="284321"/>
                  </a:moveTo>
                  <a:cubicBezTo>
                    <a:pt x="5578317" y="285274"/>
                    <a:pt x="5578317" y="285274"/>
                    <a:pt x="5578317" y="286226"/>
                  </a:cubicBezTo>
                  <a:cubicBezTo>
                    <a:pt x="5578317" y="286226"/>
                    <a:pt x="5578317" y="285274"/>
                    <a:pt x="5577364" y="285274"/>
                  </a:cubicBezTo>
                  <a:cubicBezTo>
                    <a:pt x="5578317" y="284321"/>
                    <a:pt x="5578317" y="284321"/>
                    <a:pt x="5578317" y="284321"/>
                  </a:cubicBezTo>
                  <a:close/>
                  <a:moveTo>
                    <a:pt x="5573554" y="299561"/>
                  </a:moveTo>
                  <a:cubicBezTo>
                    <a:pt x="5574506" y="301466"/>
                    <a:pt x="5575459" y="303371"/>
                    <a:pt x="5576412" y="305276"/>
                  </a:cubicBezTo>
                  <a:cubicBezTo>
                    <a:pt x="5576412" y="306229"/>
                    <a:pt x="5577364" y="306229"/>
                    <a:pt x="5577364" y="307181"/>
                  </a:cubicBezTo>
                  <a:cubicBezTo>
                    <a:pt x="5577364" y="311944"/>
                    <a:pt x="5576412" y="317659"/>
                    <a:pt x="5576412" y="325279"/>
                  </a:cubicBezTo>
                  <a:cubicBezTo>
                    <a:pt x="5576412" y="326231"/>
                    <a:pt x="5576412" y="327184"/>
                    <a:pt x="5576412" y="328136"/>
                  </a:cubicBezTo>
                  <a:cubicBezTo>
                    <a:pt x="5576412" y="325279"/>
                    <a:pt x="5575459" y="322421"/>
                    <a:pt x="5575459" y="319564"/>
                  </a:cubicBezTo>
                  <a:cubicBezTo>
                    <a:pt x="5574506" y="313849"/>
                    <a:pt x="5573554" y="309086"/>
                    <a:pt x="5573554" y="303371"/>
                  </a:cubicBezTo>
                  <a:cubicBezTo>
                    <a:pt x="5572601" y="301466"/>
                    <a:pt x="5573554" y="300514"/>
                    <a:pt x="5573554" y="299561"/>
                  </a:cubicBezTo>
                  <a:close/>
                  <a:moveTo>
                    <a:pt x="5550694" y="308134"/>
                  </a:moveTo>
                  <a:cubicBezTo>
                    <a:pt x="5550694" y="305276"/>
                    <a:pt x="5549742" y="303371"/>
                    <a:pt x="5549742" y="301466"/>
                  </a:cubicBezTo>
                  <a:cubicBezTo>
                    <a:pt x="5550694" y="299561"/>
                    <a:pt x="5550694" y="296704"/>
                    <a:pt x="5551646" y="294799"/>
                  </a:cubicBezTo>
                  <a:cubicBezTo>
                    <a:pt x="5551646" y="293846"/>
                    <a:pt x="5552599" y="292894"/>
                    <a:pt x="5552599" y="291941"/>
                  </a:cubicBezTo>
                  <a:cubicBezTo>
                    <a:pt x="5553551" y="294799"/>
                    <a:pt x="5553551" y="298609"/>
                    <a:pt x="5554504" y="302419"/>
                  </a:cubicBezTo>
                  <a:cubicBezTo>
                    <a:pt x="5553551" y="303371"/>
                    <a:pt x="5553551" y="304324"/>
                    <a:pt x="5552599" y="306229"/>
                  </a:cubicBezTo>
                  <a:cubicBezTo>
                    <a:pt x="5551646" y="306229"/>
                    <a:pt x="5551646" y="307181"/>
                    <a:pt x="5550694" y="308134"/>
                  </a:cubicBezTo>
                  <a:close/>
                  <a:moveTo>
                    <a:pt x="5557362" y="313849"/>
                  </a:moveTo>
                  <a:cubicBezTo>
                    <a:pt x="5557362" y="313849"/>
                    <a:pt x="5557362" y="314801"/>
                    <a:pt x="5557362" y="313849"/>
                  </a:cubicBezTo>
                  <a:cubicBezTo>
                    <a:pt x="5556409" y="315754"/>
                    <a:pt x="5554504" y="317659"/>
                    <a:pt x="5553551" y="318611"/>
                  </a:cubicBezTo>
                  <a:cubicBezTo>
                    <a:pt x="5554504" y="315754"/>
                    <a:pt x="5555456" y="312896"/>
                    <a:pt x="5556409" y="310039"/>
                  </a:cubicBezTo>
                  <a:cubicBezTo>
                    <a:pt x="5556409" y="311944"/>
                    <a:pt x="5557362" y="312896"/>
                    <a:pt x="5557362" y="313849"/>
                  </a:cubicBezTo>
                  <a:cubicBezTo>
                    <a:pt x="5557362" y="313849"/>
                    <a:pt x="5557362" y="313849"/>
                    <a:pt x="5557362" y="313849"/>
                  </a:cubicBezTo>
                  <a:close/>
                  <a:moveTo>
                    <a:pt x="5561171" y="359569"/>
                  </a:moveTo>
                  <a:cubicBezTo>
                    <a:pt x="5561171" y="360521"/>
                    <a:pt x="5561171" y="360521"/>
                    <a:pt x="5561171" y="361474"/>
                  </a:cubicBezTo>
                  <a:cubicBezTo>
                    <a:pt x="5561171" y="361474"/>
                    <a:pt x="5560219" y="360521"/>
                    <a:pt x="5560219" y="360521"/>
                  </a:cubicBezTo>
                  <a:cubicBezTo>
                    <a:pt x="5559267" y="357664"/>
                    <a:pt x="5559267" y="353854"/>
                    <a:pt x="5558314" y="350996"/>
                  </a:cubicBezTo>
                  <a:cubicBezTo>
                    <a:pt x="5559267" y="348139"/>
                    <a:pt x="5560219" y="345281"/>
                    <a:pt x="5560219" y="342424"/>
                  </a:cubicBezTo>
                  <a:cubicBezTo>
                    <a:pt x="5561171" y="348139"/>
                    <a:pt x="5561171" y="353854"/>
                    <a:pt x="5561171" y="359569"/>
                  </a:cubicBezTo>
                  <a:close/>
                  <a:moveTo>
                    <a:pt x="5559267" y="303371"/>
                  </a:moveTo>
                  <a:cubicBezTo>
                    <a:pt x="5559267" y="303371"/>
                    <a:pt x="5559267" y="304324"/>
                    <a:pt x="5559267" y="303371"/>
                  </a:cubicBezTo>
                  <a:cubicBezTo>
                    <a:pt x="5559267" y="304324"/>
                    <a:pt x="5559267" y="304324"/>
                    <a:pt x="5559267" y="303371"/>
                  </a:cubicBezTo>
                  <a:cubicBezTo>
                    <a:pt x="5559267" y="303371"/>
                    <a:pt x="5559267" y="303371"/>
                    <a:pt x="5559267" y="303371"/>
                  </a:cubicBezTo>
                  <a:close/>
                  <a:moveTo>
                    <a:pt x="5557362" y="277654"/>
                  </a:moveTo>
                  <a:cubicBezTo>
                    <a:pt x="5557362" y="279559"/>
                    <a:pt x="5557362" y="281464"/>
                    <a:pt x="5558314" y="283369"/>
                  </a:cubicBezTo>
                  <a:cubicBezTo>
                    <a:pt x="5558314" y="287179"/>
                    <a:pt x="5559267" y="290989"/>
                    <a:pt x="5559267" y="293846"/>
                  </a:cubicBezTo>
                  <a:cubicBezTo>
                    <a:pt x="5558314" y="294799"/>
                    <a:pt x="5558314" y="295751"/>
                    <a:pt x="5557362" y="296704"/>
                  </a:cubicBezTo>
                  <a:cubicBezTo>
                    <a:pt x="5556409" y="292894"/>
                    <a:pt x="5555456" y="290036"/>
                    <a:pt x="5554504" y="287179"/>
                  </a:cubicBezTo>
                  <a:cubicBezTo>
                    <a:pt x="5554504" y="284321"/>
                    <a:pt x="5556409" y="281464"/>
                    <a:pt x="5557362" y="277654"/>
                  </a:cubicBezTo>
                  <a:close/>
                  <a:moveTo>
                    <a:pt x="5553551" y="252889"/>
                  </a:moveTo>
                  <a:cubicBezTo>
                    <a:pt x="5553551" y="252889"/>
                    <a:pt x="5553551" y="252889"/>
                    <a:pt x="5553551" y="252889"/>
                  </a:cubicBezTo>
                  <a:cubicBezTo>
                    <a:pt x="5553551" y="253841"/>
                    <a:pt x="5553551" y="253841"/>
                    <a:pt x="5553551" y="253841"/>
                  </a:cubicBezTo>
                  <a:cubicBezTo>
                    <a:pt x="5554504" y="258604"/>
                    <a:pt x="5554504" y="263366"/>
                    <a:pt x="5555456" y="268129"/>
                  </a:cubicBezTo>
                  <a:cubicBezTo>
                    <a:pt x="5555456" y="269081"/>
                    <a:pt x="5555456" y="270034"/>
                    <a:pt x="5555456" y="270986"/>
                  </a:cubicBezTo>
                  <a:cubicBezTo>
                    <a:pt x="5554504" y="272891"/>
                    <a:pt x="5553551" y="273844"/>
                    <a:pt x="5552599" y="275749"/>
                  </a:cubicBezTo>
                  <a:cubicBezTo>
                    <a:pt x="5551646" y="276701"/>
                    <a:pt x="5550694" y="278606"/>
                    <a:pt x="5549742" y="280511"/>
                  </a:cubicBezTo>
                  <a:cubicBezTo>
                    <a:pt x="5549742" y="280511"/>
                    <a:pt x="5549742" y="280511"/>
                    <a:pt x="5549742" y="280511"/>
                  </a:cubicBezTo>
                  <a:cubicBezTo>
                    <a:pt x="5549742" y="280511"/>
                    <a:pt x="5549742" y="280511"/>
                    <a:pt x="5549742" y="280511"/>
                  </a:cubicBezTo>
                  <a:cubicBezTo>
                    <a:pt x="5548789" y="282416"/>
                    <a:pt x="5547837" y="284321"/>
                    <a:pt x="5545931" y="286226"/>
                  </a:cubicBezTo>
                  <a:cubicBezTo>
                    <a:pt x="5545931" y="284321"/>
                    <a:pt x="5544979" y="282416"/>
                    <a:pt x="5544979" y="281464"/>
                  </a:cubicBezTo>
                  <a:cubicBezTo>
                    <a:pt x="5545931" y="279559"/>
                    <a:pt x="5545931" y="277654"/>
                    <a:pt x="5546884" y="275749"/>
                  </a:cubicBezTo>
                  <a:cubicBezTo>
                    <a:pt x="5547837" y="270986"/>
                    <a:pt x="5548789" y="266224"/>
                    <a:pt x="5549742" y="261461"/>
                  </a:cubicBezTo>
                  <a:cubicBezTo>
                    <a:pt x="5552599" y="258604"/>
                    <a:pt x="5553551" y="255746"/>
                    <a:pt x="5553551" y="252889"/>
                  </a:cubicBezTo>
                  <a:close/>
                  <a:moveTo>
                    <a:pt x="5548789" y="226219"/>
                  </a:moveTo>
                  <a:cubicBezTo>
                    <a:pt x="5548789" y="227171"/>
                    <a:pt x="5549742" y="229076"/>
                    <a:pt x="5549742" y="230029"/>
                  </a:cubicBezTo>
                  <a:cubicBezTo>
                    <a:pt x="5549742" y="231934"/>
                    <a:pt x="5550694" y="232886"/>
                    <a:pt x="5550694" y="234791"/>
                  </a:cubicBezTo>
                  <a:cubicBezTo>
                    <a:pt x="5549742" y="232886"/>
                    <a:pt x="5548789" y="230981"/>
                    <a:pt x="5547837" y="230029"/>
                  </a:cubicBezTo>
                  <a:cubicBezTo>
                    <a:pt x="5548789" y="229076"/>
                    <a:pt x="5548789" y="227171"/>
                    <a:pt x="5548789" y="226219"/>
                  </a:cubicBezTo>
                  <a:close/>
                  <a:moveTo>
                    <a:pt x="5546884" y="235744"/>
                  </a:moveTo>
                  <a:cubicBezTo>
                    <a:pt x="5547837" y="238601"/>
                    <a:pt x="5548789" y="241459"/>
                    <a:pt x="5550694" y="244316"/>
                  </a:cubicBezTo>
                  <a:cubicBezTo>
                    <a:pt x="5548789" y="249079"/>
                    <a:pt x="5546884" y="253841"/>
                    <a:pt x="5544979" y="259556"/>
                  </a:cubicBezTo>
                  <a:cubicBezTo>
                    <a:pt x="5544979" y="260509"/>
                    <a:pt x="5544026" y="261461"/>
                    <a:pt x="5544026" y="262414"/>
                  </a:cubicBezTo>
                  <a:cubicBezTo>
                    <a:pt x="5544026" y="260509"/>
                    <a:pt x="5543074" y="258604"/>
                    <a:pt x="5543074" y="257651"/>
                  </a:cubicBezTo>
                  <a:cubicBezTo>
                    <a:pt x="5543074" y="256699"/>
                    <a:pt x="5543074" y="255746"/>
                    <a:pt x="5542121" y="254794"/>
                  </a:cubicBezTo>
                  <a:cubicBezTo>
                    <a:pt x="5544026" y="248126"/>
                    <a:pt x="5545931" y="241459"/>
                    <a:pt x="5546884" y="235744"/>
                  </a:cubicBezTo>
                  <a:close/>
                  <a:moveTo>
                    <a:pt x="5540217" y="218599"/>
                  </a:moveTo>
                  <a:cubicBezTo>
                    <a:pt x="5540217" y="219551"/>
                    <a:pt x="5540217" y="219551"/>
                    <a:pt x="5539264" y="220504"/>
                  </a:cubicBezTo>
                  <a:cubicBezTo>
                    <a:pt x="5539264" y="221456"/>
                    <a:pt x="5538312" y="222409"/>
                    <a:pt x="5538312" y="223361"/>
                  </a:cubicBezTo>
                  <a:cubicBezTo>
                    <a:pt x="5537359" y="218599"/>
                    <a:pt x="5537359" y="214789"/>
                    <a:pt x="5536406" y="210026"/>
                  </a:cubicBezTo>
                  <a:cubicBezTo>
                    <a:pt x="5537359" y="211931"/>
                    <a:pt x="5538312" y="214789"/>
                    <a:pt x="5540217" y="218599"/>
                  </a:cubicBezTo>
                  <a:close/>
                  <a:moveTo>
                    <a:pt x="5507831" y="312896"/>
                  </a:moveTo>
                  <a:cubicBezTo>
                    <a:pt x="5507831" y="313849"/>
                    <a:pt x="5507831" y="313849"/>
                    <a:pt x="5507831" y="312896"/>
                  </a:cubicBezTo>
                  <a:cubicBezTo>
                    <a:pt x="5507831" y="313849"/>
                    <a:pt x="5507831" y="313849"/>
                    <a:pt x="5507831" y="313849"/>
                  </a:cubicBezTo>
                  <a:cubicBezTo>
                    <a:pt x="5507831" y="313849"/>
                    <a:pt x="5507831" y="313849"/>
                    <a:pt x="5507831" y="312896"/>
                  </a:cubicBezTo>
                  <a:close/>
                  <a:moveTo>
                    <a:pt x="5481162" y="326231"/>
                  </a:moveTo>
                  <a:cubicBezTo>
                    <a:pt x="5481162" y="327184"/>
                    <a:pt x="5480209" y="329089"/>
                    <a:pt x="5480209" y="330994"/>
                  </a:cubicBezTo>
                  <a:cubicBezTo>
                    <a:pt x="5480209" y="329089"/>
                    <a:pt x="5480209" y="326231"/>
                    <a:pt x="5479256" y="324326"/>
                  </a:cubicBezTo>
                  <a:cubicBezTo>
                    <a:pt x="5479256" y="323374"/>
                    <a:pt x="5479256" y="323374"/>
                    <a:pt x="5479256" y="322421"/>
                  </a:cubicBezTo>
                  <a:cubicBezTo>
                    <a:pt x="5479256" y="318611"/>
                    <a:pt x="5478304" y="315754"/>
                    <a:pt x="5478304" y="311944"/>
                  </a:cubicBezTo>
                  <a:cubicBezTo>
                    <a:pt x="5479256" y="315754"/>
                    <a:pt x="5480209" y="320516"/>
                    <a:pt x="5482114" y="325279"/>
                  </a:cubicBezTo>
                  <a:cubicBezTo>
                    <a:pt x="5481162" y="325279"/>
                    <a:pt x="5481162" y="325279"/>
                    <a:pt x="5481162" y="326231"/>
                  </a:cubicBezTo>
                  <a:close/>
                  <a:moveTo>
                    <a:pt x="5493544" y="339566"/>
                  </a:moveTo>
                  <a:cubicBezTo>
                    <a:pt x="5493544" y="339566"/>
                    <a:pt x="5493544" y="339566"/>
                    <a:pt x="5493544" y="339566"/>
                  </a:cubicBezTo>
                  <a:cubicBezTo>
                    <a:pt x="5493544" y="339566"/>
                    <a:pt x="5493544" y="339566"/>
                    <a:pt x="5493544" y="339566"/>
                  </a:cubicBezTo>
                  <a:cubicBezTo>
                    <a:pt x="5493544" y="339566"/>
                    <a:pt x="5493544" y="339566"/>
                    <a:pt x="5493544" y="339566"/>
                  </a:cubicBezTo>
                  <a:close/>
                  <a:moveTo>
                    <a:pt x="5488781" y="261461"/>
                  </a:moveTo>
                  <a:cubicBezTo>
                    <a:pt x="5488781" y="261461"/>
                    <a:pt x="5488781" y="261461"/>
                    <a:pt x="5488781" y="261461"/>
                  </a:cubicBezTo>
                  <a:cubicBezTo>
                    <a:pt x="5489734" y="263366"/>
                    <a:pt x="5489734" y="265271"/>
                    <a:pt x="5490687" y="267176"/>
                  </a:cubicBezTo>
                  <a:cubicBezTo>
                    <a:pt x="5489734" y="266224"/>
                    <a:pt x="5488781" y="265271"/>
                    <a:pt x="5487829" y="264319"/>
                  </a:cubicBezTo>
                  <a:cubicBezTo>
                    <a:pt x="5487829" y="263366"/>
                    <a:pt x="5487829" y="262414"/>
                    <a:pt x="5488781" y="261461"/>
                  </a:cubicBezTo>
                  <a:close/>
                  <a:moveTo>
                    <a:pt x="5483067" y="280511"/>
                  </a:moveTo>
                  <a:cubicBezTo>
                    <a:pt x="5484019" y="277654"/>
                    <a:pt x="5484971" y="275749"/>
                    <a:pt x="5484971" y="272891"/>
                  </a:cubicBezTo>
                  <a:cubicBezTo>
                    <a:pt x="5488781" y="278606"/>
                    <a:pt x="5492592" y="285274"/>
                    <a:pt x="5496401" y="291941"/>
                  </a:cubicBezTo>
                  <a:cubicBezTo>
                    <a:pt x="5497354" y="293846"/>
                    <a:pt x="5498306" y="295751"/>
                    <a:pt x="5500212" y="297656"/>
                  </a:cubicBezTo>
                  <a:cubicBezTo>
                    <a:pt x="5499259" y="300514"/>
                    <a:pt x="5498306" y="303371"/>
                    <a:pt x="5497354" y="307181"/>
                  </a:cubicBezTo>
                  <a:cubicBezTo>
                    <a:pt x="5497354" y="308134"/>
                    <a:pt x="5497354" y="310039"/>
                    <a:pt x="5496401" y="310991"/>
                  </a:cubicBezTo>
                  <a:cubicBezTo>
                    <a:pt x="5494496" y="309086"/>
                    <a:pt x="5493544" y="307181"/>
                    <a:pt x="5493544" y="307181"/>
                  </a:cubicBezTo>
                  <a:cubicBezTo>
                    <a:pt x="5493544" y="307181"/>
                    <a:pt x="5494496" y="309086"/>
                    <a:pt x="5495449" y="311944"/>
                  </a:cubicBezTo>
                  <a:cubicBezTo>
                    <a:pt x="5495449" y="314801"/>
                    <a:pt x="5494496" y="316706"/>
                    <a:pt x="5494496" y="319564"/>
                  </a:cubicBezTo>
                  <a:cubicBezTo>
                    <a:pt x="5493544" y="323374"/>
                    <a:pt x="5493544" y="326231"/>
                    <a:pt x="5492592" y="330041"/>
                  </a:cubicBezTo>
                  <a:cubicBezTo>
                    <a:pt x="5491639" y="330994"/>
                    <a:pt x="5490687" y="331946"/>
                    <a:pt x="5488781" y="333851"/>
                  </a:cubicBezTo>
                  <a:cubicBezTo>
                    <a:pt x="5487829" y="330994"/>
                    <a:pt x="5486876" y="329089"/>
                    <a:pt x="5485924" y="327184"/>
                  </a:cubicBezTo>
                  <a:cubicBezTo>
                    <a:pt x="5485924" y="321469"/>
                    <a:pt x="5486876" y="316706"/>
                    <a:pt x="5487829" y="312896"/>
                  </a:cubicBezTo>
                  <a:cubicBezTo>
                    <a:pt x="5488781" y="304324"/>
                    <a:pt x="5489734" y="299561"/>
                    <a:pt x="5489734" y="299561"/>
                  </a:cubicBezTo>
                  <a:cubicBezTo>
                    <a:pt x="5489734" y="299561"/>
                    <a:pt x="5487829" y="304324"/>
                    <a:pt x="5484019" y="311944"/>
                  </a:cubicBezTo>
                  <a:cubicBezTo>
                    <a:pt x="5484019" y="312896"/>
                    <a:pt x="5484019" y="312896"/>
                    <a:pt x="5483067" y="313849"/>
                  </a:cubicBezTo>
                  <a:cubicBezTo>
                    <a:pt x="5483067" y="313849"/>
                    <a:pt x="5483067" y="312896"/>
                    <a:pt x="5483067" y="312896"/>
                  </a:cubicBezTo>
                  <a:cubicBezTo>
                    <a:pt x="5480209" y="300514"/>
                    <a:pt x="5478304" y="292894"/>
                    <a:pt x="5478304" y="292894"/>
                  </a:cubicBezTo>
                  <a:cubicBezTo>
                    <a:pt x="5478304" y="292894"/>
                    <a:pt x="5478304" y="298609"/>
                    <a:pt x="5479256" y="309086"/>
                  </a:cubicBezTo>
                  <a:cubicBezTo>
                    <a:pt x="5479256" y="309086"/>
                    <a:pt x="5479256" y="308134"/>
                    <a:pt x="5479256" y="308134"/>
                  </a:cubicBezTo>
                  <a:cubicBezTo>
                    <a:pt x="5478304" y="305276"/>
                    <a:pt x="5477351" y="303371"/>
                    <a:pt x="5476399" y="300514"/>
                  </a:cubicBezTo>
                  <a:cubicBezTo>
                    <a:pt x="5479256" y="293846"/>
                    <a:pt x="5481162" y="287179"/>
                    <a:pt x="5483067" y="280511"/>
                  </a:cubicBezTo>
                  <a:close/>
                  <a:moveTo>
                    <a:pt x="5472589" y="254794"/>
                  </a:moveTo>
                  <a:cubicBezTo>
                    <a:pt x="5473542" y="255746"/>
                    <a:pt x="5474494" y="256699"/>
                    <a:pt x="5475446" y="258604"/>
                  </a:cubicBezTo>
                  <a:cubicBezTo>
                    <a:pt x="5474494" y="261461"/>
                    <a:pt x="5472589" y="265271"/>
                    <a:pt x="5471637" y="268129"/>
                  </a:cubicBezTo>
                  <a:cubicBezTo>
                    <a:pt x="5470684" y="261461"/>
                    <a:pt x="5469731" y="255746"/>
                    <a:pt x="5468779" y="249079"/>
                  </a:cubicBezTo>
                  <a:cubicBezTo>
                    <a:pt x="5469731" y="250984"/>
                    <a:pt x="5471637" y="252889"/>
                    <a:pt x="5472589" y="254794"/>
                  </a:cubicBezTo>
                  <a:close/>
                  <a:moveTo>
                    <a:pt x="5452587" y="208121"/>
                  </a:moveTo>
                  <a:cubicBezTo>
                    <a:pt x="5452587" y="209074"/>
                    <a:pt x="5452587" y="210026"/>
                    <a:pt x="5452587" y="210026"/>
                  </a:cubicBezTo>
                  <a:cubicBezTo>
                    <a:pt x="5453539" y="214789"/>
                    <a:pt x="5454492" y="220504"/>
                    <a:pt x="5454492" y="225266"/>
                  </a:cubicBezTo>
                  <a:cubicBezTo>
                    <a:pt x="5454492" y="226219"/>
                    <a:pt x="5454492" y="227171"/>
                    <a:pt x="5454492" y="228124"/>
                  </a:cubicBezTo>
                  <a:cubicBezTo>
                    <a:pt x="5453539" y="227171"/>
                    <a:pt x="5451634" y="226219"/>
                    <a:pt x="5450681" y="225266"/>
                  </a:cubicBezTo>
                  <a:cubicBezTo>
                    <a:pt x="5451634" y="219551"/>
                    <a:pt x="5452587" y="212884"/>
                    <a:pt x="5452587" y="208121"/>
                  </a:cubicBezTo>
                  <a:close/>
                  <a:moveTo>
                    <a:pt x="5449729" y="250031"/>
                  </a:moveTo>
                  <a:cubicBezTo>
                    <a:pt x="5450681" y="242411"/>
                    <a:pt x="5450681" y="234791"/>
                    <a:pt x="5451634" y="228124"/>
                  </a:cubicBezTo>
                  <a:cubicBezTo>
                    <a:pt x="5452587" y="229076"/>
                    <a:pt x="5452587" y="229076"/>
                    <a:pt x="5453539" y="230029"/>
                  </a:cubicBezTo>
                  <a:cubicBezTo>
                    <a:pt x="5454492" y="230981"/>
                    <a:pt x="5455444" y="231934"/>
                    <a:pt x="5455444" y="232886"/>
                  </a:cubicBezTo>
                  <a:cubicBezTo>
                    <a:pt x="5455444" y="236696"/>
                    <a:pt x="5456396" y="239554"/>
                    <a:pt x="5456396" y="243364"/>
                  </a:cubicBezTo>
                  <a:cubicBezTo>
                    <a:pt x="5457349" y="255746"/>
                    <a:pt x="5458301" y="268129"/>
                    <a:pt x="5459254" y="282416"/>
                  </a:cubicBezTo>
                  <a:cubicBezTo>
                    <a:pt x="5460206" y="288131"/>
                    <a:pt x="5460206" y="293846"/>
                    <a:pt x="5460206" y="299561"/>
                  </a:cubicBezTo>
                  <a:cubicBezTo>
                    <a:pt x="5458301" y="304324"/>
                    <a:pt x="5457349" y="309086"/>
                    <a:pt x="5455444" y="313849"/>
                  </a:cubicBezTo>
                  <a:cubicBezTo>
                    <a:pt x="5452587" y="302419"/>
                    <a:pt x="5450681" y="290989"/>
                    <a:pt x="5447824" y="280511"/>
                  </a:cubicBezTo>
                  <a:cubicBezTo>
                    <a:pt x="5447824" y="279559"/>
                    <a:pt x="5447824" y="277654"/>
                    <a:pt x="5446871" y="276701"/>
                  </a:cubicBezTo>
                  <a:cubicBezTo>
                    <a:pt x="5448776" y="267176"/>
                    <a:pt x="5448776" y="257651"/>
                    <a:pt x="5449729" y="250031"/>
                  </a:cubicBezTo>
                  <a:close/>
                  <a:moveTo>
                    <a:pt x="5443062" y="327184"/>
                  </a:moveTo>
                  <a:cubicBezTo>
                    <a:pt x="5444014" y="332899"/>
                    <a:pt x="5444967" y="338614"/>
                    <a:pt x="5445919" y="343376"/>
                  </a:cubicBezTo>
                  <a:cubicBezTo>
                    <a:pt x="5444967" y="340519"/>
                    <a:pt x="5444014" y="337661"/>
                    <a:pt x="5443062" y="334804"/>
                  </a:cubicBezTo>
                  <a:cubicBezTo>
                    <a:pt x="5442109" y="332899"/>
                    <a:pt x="5443062" y="330041"/>
                    <a:pt x="5443062" y="327184"/>
                  </a:cubicBezTo>
                  <a:close/>
                  <a:moveTo>
                    <a:pt x="5417344" y="318611"/>
                  </a:moveTo>
                  <a:cubicBezTo>
                    <a:pt x="5418296" y="316706"/>
                    <a:pt x="5418296" y="314801"/>
                    <a:pt x="5419249" y="312896"/>
                  </a:cubicBezTo>
                  <a:cubicBezTo>
                    <a:pt x="5420201" y="315754"/>
                    <a:pt x="5421154" y="318611"/>
                    <a:pt x="5421154" y="320516"/>
                  </a:cubicBezTo>
                  <a:cubicBezTo>
                    <a:pt x="5421154" y="320516"/>
                    <a:pt x="5421154" y="321469"/>
                    <a:pt x="5421154" y="321469"/>
                  </a:cubicBezTo>
                  <a:cubicBezTo>
                    <a:pt x="5421154" y="320516"/>
                    <a:pt x="5421154" y="320516"/>
                    <a:pt x="5421154" y="320516"/>
                  </a:cubicBezTo>
                  <a:cubicBezTo>
                    <a:pt x="5421154" y="320516"/>
                    <a:pt x="5421154" y="321469"/>
                    <a:pt x="5421154" y="322421"/>
                  </a:cubicBezTo>
                  <a:cubicBezTo>
                    <a:pt x="5420201" y="325279"/>
                    <a:pt x="5419249" y="329089"/>
                    <a:pt x="5418296" y="331946"/>
                  </a:cubicBezTo>
                  <a:cubicBezTo>
                    <a:pt x="5417344" y="330994"/>
                    <a:pt x="5417344" y="330041"/>
                    <a:pt x="5417344" y="329089"/>
                  </a:cubicBezTo>
                  <a:cubicBezTo>
                    <a:pt x="5417344" y="326231"/>
                    <a:pt x="5417344" y="322421"/>
                    <a:pt x="5417344" y="318611"/>
                  </a:cubicBezTo>
                  <a:close/>
                  <a:moveTo>
                    <a:pt x="5416392" y="334804"/>
                  </a:moveTo>
                  <a:cubicBezTo>
                    <a:pt x="5416392" y="335756"/>
                    <a:pt x="5416392" y="335756"/>
                    <a:pt x="5417344" y="335756"/>
                  </a:cubicBezTo>
                  <a:cubicBezTo>
                    <a:pt x="5417344" y="336709"/>
                    <a:pt x="5416392" y="337661"/>
                    <a:pt x="5416392" y="337661"/>
                  </a:cubicBezTo>
                  <a:cubicBezTo>
                    <a:pt x="5416392" y="336709"/>
                    <a:pt x="5416392" y="335756"/>
                    <a:pt x="5416392" y="334804"/>
                  </a:cubicBezTo>
                  <a:close/>
                  <a:moveTo>
                    <a:pt x="5405914" y="325279"/>
                  </a:moveTo>
                  <a:cubicBezTo>
                    <a:pt x="5406867" y="302419"/>
                    <a:pt x="5407819" y="284321"/>
                    <a:pt x="5407819" y="271939"/>
                  </a:cubicBezTo>
                  <a:cubicBezTo>
                    <a:pt x="5407819" y="270034"/>
                    <a:pt x="5407819" y="269081"/>
                    <a:pt x="5407819" y="267176"/>
                  </a:cubicBezTo>
                  <a:cubicBezTo>
                    <a:pt x="5409724" y="274796"/>
                    <a:pt x="5411629" y="283369"/>
                    <a:pt x="5414487" y="292894"/>
                  </a:cubicBezTo>
                  <a:cubicBezTo>
                    <a:pt x="5414487" y="292894"/>
                    <a:pt x="5414487" y="292894"/>
                    <a:pt x="5414487" y="293846"/>
                  </a:cubicBezTo>
                  <a:cubicBezTo>
                    <a:pt x="5413534" y="296704"/>
                    <a:pt x="5412581" y="299561"/>
                    <a:pt x="5411629" y="303371"/>
                  </a:cubicBezTo>
                  <a:cubicBezTo>
                    <a:pt x="5408771" y="311944"/>
                    <a:pt x="5406867" y="321469"/>
                    <a:pt x="5404962" y="331946"/>
                  </a:cubicBezTo>
                  <a:cubicBezTo>
                    <a:pt x="5404962" y="331946"/>
                    <a:pt x="5404962" y="332899"/>
                    <a:pt x="5404962" y="332899"/>
                  </a:cubicBezTo>
                  <a:cubicBezTo>
                    <a:pt x="5404962" y="330994"/>
                    <a:pt x="5404962" y="328136"/>
                    <a:pt x="5405914" y="325279"/>
                  </a:cubicBezTo>
                  <a:close/>
                  <a:moveTo>
                    <a:pt x="5384006" y="310991"/>
                  </a:moveTo>
                  <a:cubicBezTo>
                    <a:pt x="5384959" y="318611"/>
                    <a:pt x="5385912" y="326231"/>
                    <a:pt x="5386864" y="334804"/>
                  </a:cubicBezTo>
                  <a:cubicBezTo>
                    <a:pt x="5385912" y="336709"/>
                    <a:pt x="5385912" y="339566"/>
                    <a:pt x="5384959" y="341471"/>
                  </a:cubicBezTo>
                  <a:cubicBezTo>
                    <a:pt x="5384006" y="335756"/>
                    <a:pt x="5383054" y="330041"/>
                    <a:pt x="5382101" y="325279"/>
                  </a:cubicBezTo>
                  <a:cubicBezTo>
                    <a:pt x="5381149" y="317659"/>
                    <a:pt x="5380196" y="310991"/>
                    <a:pt x="5378292" y="305276"/>
                  </a:cubicBezTo>
                  <a:cubicBezTo>
                    <a:pt x="5379244" y="301466"/>
                    <a:pt x="5380196" y="298609"/>
                    <a:pt x="5381149" y="294799"/>
                  </a:cubicBezTo>
                  <a:cubicBezTo>
                    <a:pt x="5382101" y="299561"/>
                    <a:pt x="5383054" y="305276"/>
                    <a:pt x="5384006" y="310991"/>
                  </a:cubicBezTo>
                  <a:close/>
                  <a:moveTo>
                    <a:pt x="5379244" y="274796"/>
                  </a:moveTo>
                  <a:cubicBezTo>
                    <a:pt x="5379244" y="273844"/>
                    <a:pt x="5379244" y="272891"/>
                    <a:pt x="5379244" y="271939"/>
                  </a:cubicBezTo>
                  <a:cubicBezTo>
                    <a:pt x="5379244" y="275749"/>
                    <a:pt x="5380196" y="280511"/>
                    <a:pt x="5381149" y="284321"/>
                  </a:cubicBezTo>
                  <a:cubicBezTo>
                    <a:pt x="5381149" y="284321"/>
                    <a:pt x="5381149" y="285274"/>
                    <a:pt x="5380196" y="285274"/>
                  </a:cubicBezTo>
                  <a:cubicBezTo>
                    <a:pt x="5379244" y="287179"/>
                    <a:pt x="5379244" y="288131"/>
                    <a:pt x="5378292" y="290036"/>
                  </a:cubicBezTo>
                  <a:cubicBezTo>
                    <a:pt x="5378292" y="285274"/>
                    <a:pt x="5378292" y="280511"/>
                    <a:pt x="5379244" y="274796"/>
                  </a:cubicBezTo>
                  <a:close/>
                  <a:moveTo>
                    <a:pt x="5332571" y="321469"/>
                  </a:moveTo>
                  <a:cubicBezTo>
                    <a:pt x="5334476" y="316706"/>
                    <a:pt x="5336381" y="312896"/>
                    <a:pt x="5338287" y="309086"/>
                  </a:cubicBezTo>
                  <a:cubicBezTo>
                    <a:pt x="5338287" y="309086"/>
                    <a:pt x="5338287" y="310039"/>
                    <a:pt x="5338287" y="310039"/>
                  </a:cubicBezTo>
                  <a:cubicBezTo>
                    <a:pt x="5334476" y="323374"/>
                    <a:pt x="5330667" y="337661"/>
                    <a:pt x="5326856" y="351949"/>
                  </a:cubicBezTo>
                  <a:cubicBezTo>
                    <a:pt x="5325904" y="345281"/>
                    <a:pt x="5324951" y="340519"/>
                    <a:pt x="5323999" y="336709"/>
                  </a:cubicBezTo>
                  <a:cubicBezTo>
                    <a:pt x="5327809" y="330994"/>
                    <a:pt x="5330667" y="326231"/>
                    <a:pt x="5332571" y="321469"/>
                  </a:cubicBezTo>
                  <a:close/>
                  <a:moveTo>
                    <a:pt x="5319237" y="350996"/>
                  </a:moveTo>
                  <a:cubicBezTo>
                    <a:pt x="5320189" y="348139"/>
                    <a:pt x="5322094" y="345281"/>
                    <a:pt x="5323046" y="342424"/>
                  </a:cubicBezTo>
                  <a:cubicBezTo>
                    <a:pt x="5323046" y="350044"/>
                    <a:pt x="5322094" y="359569"/>
                    <a:pt x="5322094" y="371951"/>
                  </a:cubicBezTo>
                  <a:cubicBezTo>
                    <a:pt x="5321142" y="368141"/>
                    <a:pt x="5320189" y="365284"/>
                    <a:pt x="5319237" y="362426"/>
                  </a:cubicBezTo>
                  <a:cubicBezTo>
                    <a:pt x="5319237" y="357664"/>
                    <a:pt x="5319237" y="353854"/>
                    <a:pt x="5319237" y="350996"/>
                  </a:cubicBezTo>
                  <a:close/>
                  <a:moveTo>
                    <a:pt x="5316379" y="392906"/>
                  </a:moveTo>
                  <a:cubicBezTo>
                    <a:pt x="5316379" y="389096"/>
                    <a:pt x="5317331" y="386239"/>
                    <a:pt x="5317331" y="382429"/>
                  </a:cubicBezTo>
                  <a:cubicBezTo>
                    <a:pt x="5317331" y="384334"/>
                    <a:pt x="5318284" y="387191"/>
                    <a:pt x="5318284" y="390049"/>
                  </a:cubicBezTo>
                  <a:cubicBezTo>
                    <a:pt x="5317331" y="392906"/>
                    <a:pt x="5316379" y="395764"/>
                    <a:pt x="5315426" y="399574"/>
                  </a:cubicBezTo>
                  <a:cubicBezTo>
                    <a:pt x="5316379" y="396716"/>
                    <a:pt x="5316379" y="394811"/>
                    <a:pt x="5316379" y="392906"/>
                  </a:cubicBezTo>
                  <a:close/>
                  <a:moveTo>
                    <a:pt x="5285899" y="293846"/>
                  </a:moveTo>
                  <a:cubicBezTo>
                    <a:pt x="5285899" y="295751"/>
                    <a:pt x="5285899" y="296704"/>
                    <a:pt x="5286851" y="298609"/>
                  </a:cubicBezTo>
                  <a:cubicBezTo>
                    <a:pt x="5285899" y="299561"/>
                    <a:pt x="5284946" y="300514"/>
                    <a:pt x="5283994" y="302419"/>
                  </a:cubicBezTo>
                  <a:cubicBezTo>
                    <a:pt x="5284946" y="299561"/>
                    <a:pt x="5285899" y="296704"/>
                    <a:pt x="5285899" y="293846"/>
                  </a:cubicBezTo>
                  <a:close/>
                  <a:moveTo>
                    <a:pt x="5279231" y="319564"/>
                  </a:moveTo>
                  <a:cubicBezTo>
                    <a:pt x="5280184" y="316706"/>
                    <a:pt x="5281137" y="313849"/>
                    <a:pt x="5282089" y="311944"/>
                  </a:cubicBezTo>
                  <a:cubicBezTo>
                    <a:pt x="5283994" y="308134"/>
                    <a:pt x="5285899" y="305276"/>
                    <a:pt x="5287804" y="302419"/>
                  </a:cubicBezTo>
                  <a:cubicBezTo>
                    <a:pt x="5287804" y="304324"/>
                    <a:pt x="5288756" y="307181"/>
                    <a:pt x="5288756" y="309086"/>
                  </a:cubicBezTo>
                  <a:cubicBezTo>
                    <a:pt x="5289709" y="318611"/>
                    <a:pt x="5290662" y="329089"/>
                    <a:pt x="5292567" y="340519"/>
                  </a:cubicBezTo>
                  <a:cubicBezTo>
                    <a:pt x="5290662" y="347186"/>
                    <a:pt x="5288756" y="354806"/>
                    <a:pt x="5287804" y="363379"/>
                  </a:cubicBezTo>
                  <a:cubicBezTo>
                    <a:pt x="5287804" y="359569"/>
                    <a:pt x="5287804" y="354806"/>
                    <a:pt x="5287804" y="351949"/>
                  </a:cubicBezTo>
                  <a:cubicBezTo>
                    <a:pt x="5287804" y="341471"/>
                    <a:pt x="5287804" y="335756"/>
                    <a:pt x="5287804" y="335756"/>
                  </a:cubicBezTo>
                  <a:cubicBezTo>
                    <a:pt x="5287804" y="335756"/>
                    <a:pt x="5286851" y="341471"/>
                    <a:pt x="5283994" y="350996"/>
                  </a:cubicBezTo>
                  <a:cubicBezTo>
                    <a:pt x="5283042" y="355759"/>
                    <a:pt x="5282089" y="362426"/>
                    <a:pt x="5280184" y="369094"/>
                  </a:cubicBezTo>
                  <a:cubicBezTo>
                    <a:pt x="5280184" y="369094"/>
                    <a:pt x="5280184" y="369094"/>
                    <a:pt x="5280184" y="370046"/>
                  </a:cubicBezTo>
                  <a:cubicBezTo>
                    <a:pt x="5279231" y="363379"/>
                    <a:pt x="5278279" y="356711"/>
                    <a:pt x="5277326" y="350044"/>
                  </a:cubicBezTo>
                  <a:cubicBezTo>
                    <a:pt x="5276374" y="345281"/>
                    <a:pt x="5276374" y="340519"/>
                    <a:pt x="5275421" y="335756"/>
                  </a:cubicBezTo>
                  <a:cubicBezTo>
                    <a:pt x="5275421" y="330041"/>
                    <a:pt x="5277326" y="324326"/>
                    <a:pt x="5279231" y="319564"/>
                  </a:cubicBezTo>
                  <a:close/>
                  <a:moveTo>
                    <a:pt x="5236369" y="318611"/>
                  </a:moveTo>
                  <a:cubicBezTo>
                    <a:pt x="5236369" y="319564"/>
                    <a:pt x="5235417" y="319564"/>
                    <a:pt x="5235417" y="320516"/>
                  </a:cubicBezTo>
                  <a:cubicBezTo>
                    <a:pt x="5233512" y="317659"/>
                    <a:pt x="5232559" y="314801"/>
                    <a:pt x="5230654" y="311944"/>
                  </a:cubicBezTo>
                  <a:cubicBezTo>
                    <a:pt x="5230654" y="311944"/>
                    <a:pt x="5230654" y="310991"/>
                    <a:pt x="5230654" y="310991"/>
                  </a:cubicBezTo>
                  <a:cubicBezTo>
                    <a:pt x="5233512" y="305276"/>
                    <a:pt x="5236369" y="300514"/>
                    <a:pt x="5239226" y="295751"/>
                  </a:cubicBezTo>
                  <a:cubicBezTo>
                    <a:pt x="5238274" y="303371"/>
                    <a:pt x="5237321" y="310991"/>
                    <a:pt x="5236369" y="318611"/>
                  </a:cubicBezTo>
                  <a:close/>
                  <a:moveTo>
                    <a:pt x="5230654" y="281464"/>
                  </a:moveTo>
                  <a:cubicBezTo>
                    <a:pt x="5233512" y="275749"/>
                    <a:pt x="5235417" y="270034"/>
                    <a:pt x="5237321" y="265271"/>
                  </a:cubicBezTo>
                  <a:cubicBezTo>
                    <a:pt x="5239226" y="260509"/>
                    <a:pt x="5242084" y="255746"/>
                    <a:pt x="5243989" y="251936"/>
                  </a:cubicBezTo>
                  <a:cubicBezTo>
                    <a:pt x="5243037" y="255746"/>
                    <a:pt x="5243037" y="259556"/>
                    <a:pt x="5242084" y="264319"/>
                  </a:cubicBezTo>
                  <a:cubicBezTo>
                    <a:pt x="5241131" y="270034"/>
                    <a:pt x="5240179" y="276701"/>
                    <a:pt x="5240179" y="283369"/>
                  </a:cubicBezTo>
                  <a:cubicBezTo>
                    <a:pt x="5236369" y="288131"/>
                    <a:pt x="5232559" y="293846"/>
                    <a:pt x="5228749" y="299561"/>
                  </a:cubicBezTo>
                  <a:cubicBezTo>
                    <a:pt x="5228749" y="296704"/>
                    <a:pt x="5227796" y="292894"/>
                    <a:pt x="5227796" y="290036"/>
                  </a:cubicBezTo>
                  <a:cubicBezTo>
                    <a:pt x="5227796" y="286226"/>
                    <a:pt x="5228749" y="284321"/>
                    <a:pt x="5230654" y="281464"/>
                  </a:cubicBezTo>
                  <a:close/>
                  <a:moveTo>
                    <a:pt x="5211604" y="344329"/>
                  </a:moveTo>
                  <a:cubicBezTo>
                    <a:pt x="5212556" y="343376"/>
                    <a:pt x="5212556" y="342424"/>
                    <a:pt x="5213509" y="341471"/>
                  </a:cubicBezTo>
                  <a:cubicBezTo>
                    <a:pt x="5213509" y="341471"/>
                    <a:pt x="5213509" y="341471"/>
                    <a:pt x="5213509" y="341471"/>
                  </a:cubicBezTo>
                  <a:cubicBezTo>
                    <a:pt x="5213509" y="341471"/>
                    <a:pt x="5213509" y="342424"/>
                    <a:pt x="5213509" y="342424"/>
                  </a:cubicBezTo>
                  <a:cubicBezTo>
                    <a:pt x="5212556" y="343376"/>
                    <a:pt x="5212556" y="344329"/>
                    <a:pt x="5211604" y="344329"/>
                  </a:cubicBezTo>
                  <a:cubicBezTo>
                    <a:pt x="5211604" y="345281"/>
                    <a:pt x="5211604" y="345281"/>
                    <a:pt x="5211604" y="344329"/>
                  </a:cubicBezTo>
                  <a:close/>
                  <a:moveTo>
                    <a:pt x="5214462" y="343376"/>
                  </a:moveTo>
                  <a:cubicBezTo>
                    <a:pt x="5215414" y="345281"/>
                    <a:pt x="5216367" y="346234"/>
                    <a:pt x="5216367" y="348139"/>
                  </a:cubicBezTo>
                  <a:cubicBezTo>
                    <a:pt x="5215414" y="350044"/>
                    <a:pt x="5214462" y="350996"/>
                    <a:pt x="5213509" y="352901"/>
                  </a:cubicBezTo>
                  <a:cubicBezTo>
                    <a:pt x="5213509" y="351949"/>
                    <a:pt x="5212556" y="351949"/>
                    <a:pt x="5212556" y="350996"/>
                  </a:cubicBezTo>
                  <a:cubicBezTo>
                    <a:pt x="5212556" y="350044"/>
                    <a:pt x="5212556" y="350044"/>
                    <a:pt x="5212556" y="349091"/>
                  </a:cubicBezTo>
                  <a:cubicBezTo>
                    <a:pt x="5212556" y="347186"/>
                    <a:pt x="5213509" y="345281"/>
                    <a:pt x="5214462" y="343376"/>
                  </a:cubicBezTo>
                  <a:cubicBezTo>
                    <a:pt x="5213509" y="343376"/>
                    <a:pt x="5213509" y="343376"/>
                    <a:pt x="5214462" y="343376"/>
                  </a:cubicBezTo>
                  <a:close/>
                  <a:moveTo>
                    <a:pt x="5211604" y="290989"/>
                  </a:moveTo>
                  <a:cubicBezTo>
                    <a:pt x="5211604" y="290989"/>
                    <a:pt x="5211604" y="291941"/>
                    <a:pt x="5211604" y="290989"/>
                  </a:cubicBezTo>
                  <a:cubicBezTo>
                    <a:pt x="5212556" y="292894"/>
                    <a:pt x="5212556" y="294799"/>
                    <a:pt x="5213509" y="296704"/>
                  </a:cubicBezTo>
                  <a:cubicBezTo>
                    <a:pt x="5212556" y="298609"/>
                    <a:pt x="5211604" y="300514"/>
                    <a:pt x="5210651" y="302419"/>
                  </a:cubicBezTo>
                  <a:cubicBezTo>
                    <a:pt x="5211604" y="297656"/>
                    <a:pt x="5211604" y="293846"/>
                    <a:pt x="5211604" y="290989"/>
                  </a:cubicBezTo>
                  <a:close/>
                  <a:moveTo>
                    <a:pt x="5189696" y="260509"/>
                  </a:moveTo>
                  <a:cubicBezTo>
                    <a:pt x="5189696" y="261461"/>
                    <a:pt x="5189696" y="263366"/>
                    <a:pt x="5189696" y="264319"/>
                  </a:cubicBezTo>
                  <a:cubicBezTo>
                    <a:pt x="5188744" y="262414"/>
                    <a:pt x="5187792" y="260509"/>
                    <a:pt x="5186839" y="258604"/>
                  </a:cubicBezTo>
                  <a:cubicBezTo>
                    <a:pt x="5186839" y="258604"/>
                    <a:pt x="5186839" y="257651"/>
                    <a:pt x="5187792" y="257651"/>
                  </a:cubicBezTo>
                  <a:cubicBezTo>
                    <a:pt x="5188744" y="255746"/>
                    <a:pt x="5189696" y="254794"/>
                    <a:pt x="5189696" y="253841"/>
                  </a:cubicBezTo>
                  <a:cubicBezTo>
                    <a:pt x="5189696" y="255746"/>
                    <a:pt x="5189696" y="258604"/>
                    <a:pt x="5189696" y="260509"/>
                  </a:cubicBezTo>
                  <a:close/>
                  <a:moveTo>
                    <a:pt x="5178267" y="230981"/>
                  </a:moveTo>
                  <a:cubicBezTo>
                    <a:pt x="5181124" y="223361"/>
                    <a:pt x="5184934" y="217646"/>
                    <a:pt x="5186839" y="213836"/>
                  </a:cubicBezTo>
                  <a:cubicBezTo>
                    <a:pt x="5187792" y="212884"/>
                    <a:pt x="5187792" y="210979"/>
                    <a:pt x="5188744" y="210026"/>
                  </a:cubicBezTo>
                  <a:cubicBezTo>
                    <a:pt x="5188744" y="212884"/>
                    <a:pt x="5188744" y="215741"/>
                    <a:pt x="5188744" y="219551"/>
                  </a:cubicBezTo>
                  <a:cubicBezTo>
                    <a:pt x="5188744" y="230029"/>
                    <a:pt x="5188744" y="241459"/>
                    <a:pt x="5188744" y="254794"/>
                  </a:cubicBezTo>
                  <a:cubicBezTo>
                    <a:pt x="5187792" y="255746"/>
                    <a:pt x="5186839" y="256699"/>
                    <a:pt x="5185887" y="258604"/>
                  </a:cubicBezTo>
                  <a:cubicBezTo>
                    <a:pt x="5185887" y="258604"/>
                    <a:pt x="5185887" y="258604"/>
                    <a:pt x="5185887" y="258604"/>
                  </a:cubicBezTo>
                  <a:cubicBezTo>
                    <a:pt x="5183029" y="252889"/>
                    <a:pt x="5180171" y="248126"/>
                    <a:pt x="5178267" y="243364"/>
                  </a:cubicBezTo>
                  <a:cubicBezTo>
                    <a:pt x="5177314" y="241459"/>
                    <a:pt x="5176362" y="240506"/>
                    <a:pt x="5175409" y="238601"/>
                  </a:cubicBezTo>
                  <a:cubicBezTo>
                    <a:pt x="5176362" y="234791"/>
                    <a:pt x="5177314" y="232886"/>
                    <a:pt x="5178267" y="230981"/>
                  </a:cubicBezTo>
                  <a:close/>
                  <a:moveTo>
                    <a:pt x="5168742" y="238601"/>
                  </a:moveTo>
                  <a:cubicBezTo>
                    <a:pt x="5168742" y="239554"/>
                    <a:pt x="5168742" y="239554"/>
                    <a:pt x="5168742" y="238601"/>
                  </a:cubicBezTo>
                  <a:cubicBezTo>
                    <a:pt x="5168742" y="239554"/>
                    <a:pt x="5168742" y="239554"/>
                    <a:pt x="5168742" y="238601"/>
                  </a:cubicBezTo>
                  <a:cubicBezTo>
                    <a:pt x="5168742" y="239554"/>
                    <a:pt x="5168742" y="239554"/>
                    <a:pt x="5168742" y="238601"/>
                  </a:cubicBezTo>
                  <a:close/>
                  <a:moveTo>
                    <a:pt x="5166837" y="280511"/>
                  </a:moveTo>
                  <a:cubicBezTo>
                    <a:pt x="5166837" y="272891"/>
                    <a:pt x="5167789" y="266224"/>
                    <a:pt x="5167789" y="259556"/>
                  </a:cubicBezTo>
                  <a:cubicBezTo>
                    <a:pt x="5167789" y="259556"/>
                    <a:pt x="5167789" y="259556"/>
                    <a:pt x="5167789" y="259556"/>
                  </a:cubicBezTo>
                  <a:cubicBezTo>
                    <a:pt x="5168742" y="255746"/>
                    <a:pt x="5170646" y="251936"/>
                    <a:pt x="5171599" y="248126"/>
                  </a:cubicBezTo>
                  <a:cubicBezTo>
                    <a:pt x="5173504" y="252889"/>
                    <a:pt x="5175409" y="257651"/>
                    <a:pt x="5177314" y="263366"/>
                  </a:cubicBezTo>
                  <a:cubicBezTo>
                    <a:pt x="5178267" y="264319"/>
                    <a:pt x="5178267" y="266224"/>
                    <a:pt x="5179219" y="267176"/>
                  </a:cubicBezTo>
                  <a:cubicBezTo>
                    <a:pt x="5178267" y="268129"/>
                    <a:pt x="5177314" y="270034"/>
                    <a:pt x="5176362" y="271939"/>
                  </a:cubicBezTo>
                  <a:cubicBezTo>
                    <a:pt x="5173504" y="275749"/>
                    <a:pt x="5170646" y="281464"/>
                    <a:pt x="5166837" y="287179"/>
                  </a:cubicBezTo>
                  <a:cubicBezTo>
                    <a:pt x="5166837" y="283369"/>
                    <a:pt x="5166837" y="281464"/>
                    <a:pt x="5166837" y="280511"/>
                  </a:cubicBezTo>
                  <a:close/>
                  <a:moveTo>
                    <a:pt x="5166837" y="307181"/>
                  </a:moveTo>
                  <a:cubicBezTo>
                    <a:pt x="5167789" y="303371"/>
                    <a:pt x="5168742" y="299561"/>
                    <a:pt x="5170646" y="296704"/>
                  </a:cubicBezTo>
                  <a:cubicBezTo>
                    <a:pt x="5170646" y="295751"/>
                    <a:pt x="5171599" y="294799"/>
                    <a:pt x="5171599" y="293846"/>
                  </a:cubicBezTo>
                  <a:cubicBezTo>
                    <a:pt x="5173504" y="291941"/>
                    <a:pt x="5175409" y="290036"/>
                    <a:pt x="5176362" y="289084"/>
                  </a:cubicBezTo>
                  <a:cubicBezTo>
                    <a:pt x="5179219" y="286226"/>
                    <a:pt x="5181124" y="284321"/>
                    <a:pt x="5181124" y="284321"/>
                  </a:cubicBezTo>
                  <a:cubicBezTo>
                    <a:pt x="5181124" y="284321"/>
                    <a:pt x="5179219" y="285274"/>
                    <a:pt x="5175409" y="288131"/>
                  </a:cubicBezTo>
                  <a:cubicBezTo>
                    <a:pt x="5174456" y="289084"/>
                    <a:pt x="5173504" y="289084"/>
                    <a:pt x="5172551" y="290036"/>
                  </a:cubicBezTo>
                  <a:cubicBezTo>
                    <a:pt x="5175409" y="283369"/>
                    <a:pt x="5177314" y="277654"/>
                    <a:pt x="5179219" y="272891"/>
                  </a:cubicBezTo>
                  <a:cubicBezTo>
                    <a:pt x="5179219" y="271939"/>
                    <a:pt x="5180171" y="270986"/>
                    <a:pt x="5180171" y="270034"/>
                  </a:cubicBezTo>
                  <a:cubicBezTo>
                    <a:pt x="5182076" y="273844"/>
                    <a:pt x="5183029" y="276701"/>
                    <a:pt x="5184934" y="280511"/>
                  </a:cubicBezTo>
                  <a:cubicBezTo>
                    <a:pt x="5186839" y="284321"/>
                    <a:pt x="5188744" y="289084"/>
                    <a:pt x="5190649" y="292894"/>
                  </a:cubicBezTo>
                  <a:cubicBezTo>
                    <a:pt x="5190649" y="294799"/>
                    <a:pt x="5190649" y="296704"/>
                    <a:pt x="5190649" y="298609"/>
                  </a:cubicBezTo>
                  <a:cubicBezTo>
                    <a:pt x="5191601" y="308134"/>
                    <a:pt x="5191601" y="318611"/>
                    <a:pt x="5192554" y="330041"/>
                  </a:cubicBezTo>
                  <a:cubicBezTo>
                    <a:pt x="5192554" y="331946"/>
                    <a:pt x="5192554" y="333851"/>
                    <a:pt x="5192554" y="335756"/>
                  </a:cubicBezTo>
                  <a:cubicBezTo>
                    <a:pt x="5192554" y="335756"/>
                    <a:pt x="5192554" y="336709"/>
                    <a:pt x="5192554" y="336709"/>
                  </a:cubicBezTo>
                  <a:cubicBezTo>
                    <a:pt x="5192554" y="337661"/>
                    <a:pt x="5191601" y="337661"/>
                    <a:pt x="5191601" y="338614"/>
                  </a:cubicBezTo>
                  <a:cubicBezTo>
                    <a:pt x="5190649" y="341471"/>
                    <a:pt x="5188744" y="345281"/>
                    <a:pt x="5187792" y="348139"/>
                  </a:cubicBezTo>
                  <a:cubicBezTo>
                    <a:pt x="5185887" y="324326"/>
                    <a:pt x="5183981" y="309086"/>
                    <a:pt x="5183981" y="309086"/>
                  </a:cubicBezTo>
                  <a:cubicBezTo>
                    <a:pt x="5183981" y="309086"/>
                    <a:pt x="5180171" y="324326"/>
                    <a:pt x="5177314" y="348139"/>
                  </a:cubicBezTo>
                  <a:cubicBezTo>
                    <a:pt x="5177314" y="350044"/>
                    <a:pt x="5176362" y="352901"/>
                    <a:pt x="5176362" y="354806"/>
                  </a:cubicBezTo>
                  <a:cubicBezTo>
                    <a:pt x="5175409" y="352901"/>
                    <a:pt x="5174456" y="350996"/>
                    <a:pt x="5174456" y="349091"/>
                  </a:cubicBezTo>
                  <a:cubicBezTo>
                    <a:pt x="5173504" y="346234"/>
                    <a:pt x="5172551" y="344329"/>
                    <a:pt x="5171599" y="341471"/>
                  </a:cubicBezTo>
                  <a:cubicBezTo>
                    <a:pt x="5172551" y="336709"/>
                    <a:pt x="5173504" y="332899"/>
                    <a:pt x="5173504" y="328136"/>
                  </a:cubicBezTo>
                  <a:cubicBezTo>
                    <a:pt x="5172551" y="331946"/>
                    <a:pt x="5171599" y="334804"/>
                    <a:pt x="5169694" y="338614"/>
                  </a:cubicBezTo>
                  <a:cubicBezTo>
                    <a:pt x="5168742" y="337661"/>
                    <a:pt x="5168742" y="335756"/>
                    <a:pt x="5167789" y="334804"/>
                  </a:cubicBezTo>
                  <a:cubicBezTo>
                    <a:pt x="5166837" y="327184"/>
                    <a:pt x="5166837" y="320516"/>
                    <a:pt x="5165884" y="312896"/>
                  </a:cubicBezTo>
                  <a:cubicBezTo>
                    <a:pt x="5166837" y="310991"/>
                    <a:pt x="5166837" y="309086"/>
                    <a:pt x="5166837" y="307181"/>
                  </a:cubicBezTo>
                  <a:close/>
                  <a:moveTo>
                    <a:pt x="5161121" y="218599"/>
                  </a:moveTo>
                  <a:cubicBezTo>
                    <a:pt x="5162074" y="221456"/>
                    <a:pt x="5163979" y="225266"/>
                    <a:pt x="5164931" y="229076"/>
                  </a:cubicBezTo>
                  <a:cubicBezTo>
                    <a:pt x="5163979" y="234791"/>
                    <a:pt x="5162074" y="240506"/>
                    <a:pt x="5161121" y="248126"/>
                  </a:cubicBezTo>
                  <a:cubicBezTo>
                    <a:pt x="5160169" y="232886"/>
                    <a:pt x="5158264" y="218599"/>
                    <a:pt x="5157312" y="206216"/>
                  </a:cubicBezTo>
                  <a:cubicBezTo>
                    <a:pt x="5158264" y="209074"/>
                    <a:pt x="5159217" y="213836"/>
                    <a:pt x="5161121" y="218599"/>
                  </a:cubicBezTo>
                  <a:close/>
                  <a:moveTo>
                    <a:pt x="5148739" y="256699"/>
                  </a:moveTo>
                  <a:cubicBezTo>
                    <a:pt x="5148739" y="255746"/>
                    <a:pt x="5149692" y="255746"/>
                    <a:pt x="5149692" y="255746"/>
                  </a:cubicBezTo>
                  <a:cubicBezTo>
                    <a:pt x="5149692" y="264319"/>
                    <a:pt x="5149692" y="273844"/>
                    <a:pt x="5149692" y="283369"/>
                  </a:cubicBezTo>
                  <a:cubicBezTo>
                    <a:pt x="5149692" y="283369"/>
                    <a:pt x="5149692" y="284321"/>
                    <a:pt x="5149692" y="284321"/>
                  </a:cubicBezTo>
                  <a:cubicBezTo>
                    <a:pt x="5147787" y="276701"/>
                    <a:pt x="5144929" y="270034"/>
                    <a:pt x="5143024" y="263366"/>
                  </a:cubicBezTo>
                  <a:cubicBezTo>
                    <a:pt x="5145881" y="261461"/>
                    <a:pt x="5147787" y="258604"/>
                    <a:pt x="5148739" y="256699"/>
                  </a:cubicBezTo>
                  <a:close/>
                  <a:moveTo>
                    <a:pt x="5087779" y="317659"/>
                  </a:moveTo>
                  <a:cubicBezTo>
                    <a:pt x="5087779" y="316706"/>
                    <a:pt x="5087779" y="316706"/>
                    <a:pt x="5087779" y="315754"/>
                  </a:cubicBezTo>
                  <a:cubicBezTo>
                    <a:pt x="5087779" y="316706"/>
                    <a:pt x="5087779" y="316706"/>
                    <a:pt x="5087779" y="317659"/>
                  </a:cubicBezTo>
                  <a:cubicBezTo>
                    <a:pt x="5087779" y="317659"/>
                    <a:pt x="5087779" y="317659"/>
                    <a:pt x="5087779" y="317659"/>
                  </a:cubicBezTo>
                  <a:close/>
                  <a:moveTo>
                    <a:pt x="5122069" y="298609"/>
                  </a:moveTo>
                  <a:cubicBezTo>
                    <a:pt x="5123974" y="294799"/>
                    <a:pt x="5126831" y="290989"/>
                    <a:pt x="5128737" y="287179"/>
                  </a:cubicBezTo>
                  <a:cubicBezTo>
                    <a:pt x="5127784" y="298609"/>
                    <a:pt x="5125879" y="311944"/>
                    <a:pt x="5124926" y="327184"/>
                  </a:cubicBezTo>
                  <a:cubicBezTo>
                    <a:pt x="5123974" y="324326"/>
                    <a:pt x="5122069" y="321469"/>
                    <a:pt x="5121117" y="318611"/>
                  </a:cubicBezTo>
                  <a:cubicBezTo>
                    <a:pt x="5119212" y="314801"/>
                    <a:pt x="5118259" y="311944"/>
                    <a:pt x="5117306" y="308134"/>
                  </a:cubicBezTo>
                  <a:cubicBezTo>
                    <a:pt x="5118259" y="304324"/>
                    <a:pt x="5120164" y="301466"/>
                    <a:pt x="5122069" y="298609"/>
                  </a:cubicBezTo>
                  <a:close/>
                  <a:moveTo>
                    <a:pt x="5110639" y="321469"/>
                  </a:moveTo>
                  <a:cubicBezTo>
                    <a:pt x="5110639" y="321469"/>
                    <a:pt x="5110639" y="321469"/>
                    <a:pt x="5110639" y="321469"/>
                  </a:cubicBezTo>
                  <a:cubicBezTo>
                    <a:pt x="5113496" y="329089"/>
                    <a:pt x="5115401" y="336709"/>
                    <a:pt x="5118259" y="344329"/>
                  </a:cubicBezTo>
                  <a:cubicBezTo>
                    <a:pt x="5117306" y="345281"/>
                    <a:pt x="5117306" y="346234"/>
                    <a:pt x="5116354" y="347186"/>
                  </a:cubicBezTo>
                  <a:cubicBezTo>
                    <a:pt x="5115401" y="348139"/>
                    <a:pt x="5115401" y="349091"/>
                    <a:pt x="5114449" y="349091"/>
                  </a:cubicBezTo>
                  <a:cubicBezTo>
                    <a:pt x="5113496" y="344329"/>
                    <a:pt x="5111592" y="339566"/>
                    <a:pt x="5110639" y="335756"/>
                  </a:cubicBezTo>
                  <a:cubicBezTo>
                    <a:pt x="5109687" y="332899"/>
                    <a:pt x="5108734" y="330041"/>
                    <a:pt x="5107781" y="327184"/>
                  </a:cubicBezTo>
                  <a:cubicBezTo>
                    <a:pt x="5108734" y="325279"/>
                    <a:pt x="5109687" y="323374"/>
                    <a:pt x="5110639" y="321469"/>
                  </a:cubicBezTo>
                  <a:close/>
                  <a:moveTo>
                    <a:pt x="5105876" y="308134"/>
                  </a:moveTo>
                  <a:cubicBezTo>
                    <a:pt x="5104924" y="309086"/>
                    <a:pt x="5103971" y="310991"/>
                    <a:pt x="5103019" y="311944"/>
                  </a:cubicBezTo>
                  <a:cubicBezTo>
                    <a:pt x="5102067" y="310039"/>
                    <a:pt x="5102067" y="308134"/>
                    <a:pt x="5101114" y="306229"/>
                  </a:cubicBezTo>
                  <a:cubicBezTo>
                    <a:pt x="5101114" y="305276"/>
                    <a:pt x="5101114" y="304324"/>
                    <a:pt x="5101114" y="304324"/>
                  </a:cubicBezTo>
                  <a:cubicBezTo>
                    <a:pt x="5101114" y="304324"/>
                    <a:pt x="5101114" y="304324"/>
                    <a:pt x="5101114" y="305276"/>
                  </a:cubicBezTo>
                  <a:cubicBezTo>
                    <a:pt x="5099209" y="299561"/>
                    <a:pt x="5098256" y="293846"/>
                    <a:pt x="5096351" y="288131"/>
                  </a:cubicBezTo>
                  <a:cubicBezTo>
                    <a:pt x="5096351" y="285274"/>
                    <a:pt x="5097304" y="282416"/>
                    <a:pt x="5097304" y="281464"/>
                  </a:cubicBezTo>
                  <a:cubicBezTo>
                    <a:pt x="5100162" y="290989"/>
                    <a:pt x="5103019" y="299561"/>
                    <a:pt x="5105876" y="308134"/>
                  </a:cubicBezTo>
                  <a:close/>
                  <a:moveTo>
                    <a:pt x="5097304" y="282416"/>
                  </a:moveTo>
                  <a:cubicBezTo>
                    <a:pt x="5097304" y="283369"/>
                    <a:pt x="5096351" y="284321"/>
                    <a:pt x="5095399" y="286226"/>
                  </a:cubicBezTo>
                  <a:cubicBezTo>
                    <a:pt x="5094446" y="284321"/>
                    <a:pt x="5094446" y="281464"/>
                    <a:pt x="5093494" y="279559"/>
                  </a:cubicBezTo>
                  <a:cubicBezTo>
                    <a:pt x="5091589" y="271939"/>
                    <a:pt x="5089684" y="265271"/>
                    <a:pt x="5087779" y="258604"/>
                  </a:cubicBezTo>
                  <a:cubicBezTo>
                    <a:pt x="5087779" y="258604"/>
                    <a:pt x="5088731" y="257651"/>
                    <a:pt x="5089684" y="257651"/>
                  </a:cubicBezTo>
                  <a:cubicBezTo>
                    <a:pt x="5092542" y="265271"/>
                    <a:pt x="5094446" y="273844"/>
                    <a:pt x="5097304" y="282416"/>
                  </a:cubicBezTo>
                  <a:close/>
                  <a:moveTo>
                    <a:pt x="5080159" y="224314"/>
                  </a:moveTo>
                  <a:cubicBezTo>
                    <a:pt x="5081112" y="228124"/>
                    <a:pt x="5083969" y="238601"/>
                    <a:pt x="5089684" y="254794"/>
                  </a:cubicBezTo>
                  <a:cubicBezTo>
                    <a:pt x="5089684" y="254794"/>
                    <a:pt x="5088731" y="254794"/>
                    <a:pt x="5087779" y="254794"/>
                  </a:cubicBezTo>
                  <a:cubicBezTo>
                    <a:pt x="5085874" y="245269"/>
                    <a:pt x="5083017" y="236696"/>
                    <a:pt x="5081112" y="228124"/>
                  </a:cubicBezTo>
                  <a:cubicBezTo>
                    <a:pt x="5081112" y="228124"/>
                    <a:pt x="5080159" y="227171"/>
                    <a:pt x="5080159" y="224314"/>
                  </a:cubicBezTo>
                  <a:cubicBezTo>
                    <a:pt x="5080159" y="225266"/>
                    <a:pt x="5080159" y="225266"/>
                    <a:pt x="5080159" y="224314"/>
                  </a:cubicBezTo>
                  <a:close/>
                  <a:moveTo>
                    <a:pt x="5076349" y="272891"/>
                  </a:moveTo>
                  <a:cubicBezTo>
                    <a:pt x="5076349" y="270986"/>
                    <a:pt x="5076349" y="270034"/>
                    <a:pt x="5076349" y="268129"/>
                  </a:cubicBezTo>
                  <a:cubicBezTo>
                    <a:pt x="5077301" y="272891"/>
                    <a:pt x="5078254" y="277654"/>
                    <a:pt x="5079206" y="283369"/>
                  </a:cubicBezTo>
                  <a:cubicBezTo>
                    <a:pt x="5080159" y="289084"/>
                    <a:pt x="5082064" y="295751"/>
                    <a:pt x="5083017" y="301466"/>
                  </a:cubicBezTo>
                  <a:cubicBezTo>
                    <a:pt x="5083017" y="302419"/>
                    <a:pt x="5083017" y="303371"/>
                    <a:pt x="5083017" y="304324"/>
                  </a:cubicBezTo>
                  <a:cubicBezTo>
                    <a:pt x="5083017" y="306229"/>
                    <a:pt x="5082064" y="309086"/>
                    <a:pt x="5082064" y="311944"/>
                  </a:cubicBezTo>
                  <a:cubicBezTo>
                    <a:pt x="5079206" y="305276"/>
                    <a:pt x="5076349" y="298609"/>
                    <a:pt x="5073492" y="292894"/>
                  </a:cubicBezTo>
                  <a:cubicBezTo>
                    <a:pt x="5074444" y="285274"/>
                    <a:pt x="5075396" y="278606"/>
                    <a:pt x="5076349" y="272891"/>
                  </a:cubicBezTo>
                  <a:close/>
                  <a:moveTo>
                    <a:pt x="5066824" y="377666"/>
                  </a:moveTo>
                  <a:cubicBezTo>
                    <a:pt x="5066824" y="378619"/>
                    <a:pt x="5066824" y="379571"/>
                    <a:pt x="5066824" y="380524"/>
                  </a:cubicBezTo>
                  <a:cubicBezTo>
                    <a:pt x="5066824" y="381476"/>
                    <a:pt x="5066824" y="382429"/>
                    <a:pt x="5066824" y="383381"/>
                  </a:cubicBezTo>
                  <a:cubicBezTo>
                    <a:pt x="5066824" y="383381"/>
                    <a:pt x="5066824" y="384334"/>
                    <a:pt x="5065871" y="384334"/>
                  </a:cubicBezTo>
                  <a:cubicBezTo>
                    <a:pt x="5065871" y="383381"/>
                    <a:pt x="5064919" y="382429"/>
                    <a:pt x="5064919" y="381476"/>
                  </a:cubicBezTo>
                  <a:cubicBezTo>
                    <a:pt x="5065871" y="380524"/>
                    <a:pt x="5065871" y="379571"/>
                    <a:pt x="5066824" y="377666"/>
                  </a:cubicBezTo>
                  <a:close/>
                  <a:moveTo>
                    <a:pt x="5057299" y="303371"/>
                  </a:moveTo>
                  <a:cubicBezTo>
                    <a:pt x="5055394" y="300514"/>
                    <a:pt x="5053489" y="297656"/>
                    <a:pt x="5051584" y="294799"/>
                  </a:cubicBezTo>
                  <a:cubicBezTo>
                    <a:pt x="5051584" y="293846"/>
                    <a:pt x="5051584" y="291941"/>
                    <a:pt x="5052537" y="290989"/>
                  </a:cubicBezTo>
                  <a:cubicBezTo>
                    <a:pt x="5053489" y="290036"/>
                    <a:pt x="5054442" y="288131"/>
                    <a:pt x="5055394" y="287179"/>
                  </a:cubicBezTo>
                  <a:cubicBezTo>
                    <a:pt x="5056346" y="291941"/>
                    <a:pt x="5056346" y="297656"/>
                    <a:pt x="5057299" y="303371"/>
                  </a:cubicBezTo>
                  <a:close/>
                  <a:moveTo>
                    <a:pt x="5050631" y="252889"/>
                  </a:moveTo>
                  <a:cubicBezTo>
                    <a:pt x="5051584" y="254794"/>
                    <a:pt x="5051584" y="256699"/>
                    <a:pt x="5052537" y="258604"/>
                  </a:cubicBezTo>
                  <a:cubicBezTo>
                    <a:pt x="5052537" y="259556"/>
                    <a:pt x="5052537" y="260509"/>
                    <a:pt x="5053489" y="260509"/>
                  </a:cubicBezTo>
                  <a:cubicBezTo>
                    <a:pt x="5053489" y="262414"/>
                    <a:pt x="5053489" y="265271"/>
                    <a:pt x="5054442" y="268129"/>
                  </a:cubicBezTo>
                  <a:cubicBezTo>
                    <a:pt x="5053489" y="270034"/>
                    <a:pt x="5053489" y="271939"/>
                    <a:pt x="5052537" y="273844"/>
                  </a:cubicBezTo>
                  <a:cubicBezTo>
                    <a:pt x="5052537" y="274796"/>
                    <a:pt x="5051584" y="275749"/>
                    <a:pt x="5051584" y="276701"/>
                  </a:cubicBezTo>
                  <a:cubicBezTo>
                    <a:pt x="5050631" y="277654"/>
                    <a:pt x="5049679" y="278606"/>
                    <a:pt x="5048726" y="279559"/>
                  </a:cubicBezTo>
                  <a:cubicBezTo>
                    <a:pt x="5048726" y="279559"/>
                    <a:pt x="5048726" y="278606"/>
                    <a:pt x="5048726" y="278606"/>
                  </a:cubicBezTo>
                  <a:cubicBezTo>
                    <a:pt x="5048726" y="277654"/>
                    <a:pt x="5048726" y="275749"/>
                    <a:pt x="5048726" y="274796"/>
                  </a:cubicBezTo>
                  <a:cubicBezTo>
                    <a:pt x="5048726" y="271939"/>
                    <a:pt x="5048726" y="270034"/>
                    <a:pt x="5049679" y="268129"/>
                  </a:cubicBezTo>
                  <a:cubicBezTo>
                    <a:pt x="5049679" y="264319"/>
                    <a:pt x="5050631" y="262414"/>
                    <a:pt x="5050631" y="262414"/>
                  </a:cubicBezTo>
                  <a:cubicBezTo>
                    <a:pt x="5050631" y="262414"/>
                    <a:pt x="5049679" y="264319"/>
                    <a:pt x="5048726" y="268129"/>
                  </a:cubicBezTo>
                  <a:cubicBezTo>
                    <a:pt x="5048726" y="268129"/>
                    <a:pt x="5048726" y="269081"/>
                    <a:pt x="5048726" y="269081"/>
                  </a:cubicBezTo>
                  <a:cubicBezTo>
                    <a:pt x="5048726" y="268129"/>
                    <a:pt x="5048726" y="267176"/>
                    <a:pt x="5048726" y="266224"/>
                  </a:cubicBezTo>
                  <a:cubicBezTo>
                    <a:pt x="5048726" y="260509"/>
                    <a:pt x="5049679" y="256699"/>
                    <a:pt x="5050631" y="252889"/>
                  </a:cubicBezTo>
                  <a:close/>
                  <a:moveTo>
                    <a:pt x="5020151" y="390049"/>
                  </a:moveTo>
                  <a:cubicBezTo>
                    <a:pt x="5018246" y="385286"/>
                    <a:pt x="5016342" y="380524"/>
                    <a:pt x="5014437" y="376714"/>
                  </a:cubicBezTo>
                  <a:cubicBezTo>
                    <a:pt x="5014437" y="376714"/>
                    <a:pt x="5014437" y="375761"/>
                    <a:pt x="5014437" y="375761"/>
                  </a:cubicBezTo>
                  <a:cubicBezTo>
                    <a:pt x="5017294" y="365284"/>
                    <a:pt x="5020151" y="355759"/>
                    <a:pt x="5022056" y="347186"/>
                  </a:cubicBezTo>
                  <a:cubicBezTo>
                    <a:pt x="5022056" y="347186"/>
                    <a:pt x="5022056" y="348139"/>
                    <a:pt x="5022056" y="348139"/>
                  </a:cubicBezTo>
                  <a:cubicBezTo>
                    <a:pt x="5022056" y="352901"/>
                    <a:pt x="5022056" y="357664"/>
                    <a:pt x="5022056" y="363379"/>
                  </a:cubicBezTo>
                  <a:cubicBezTo>
                    <a:pt x="5022056" y="368141"/>
                    <a:pt x="5023009" y="373856"/>
                    <a:pt x="5023009" y="379571"/>
                  </a:cubicBezTo>
                  <a:cubicBezTo>
                    <a:pt x="5023009" y="381476"/>
                    <a:pt x="5023009" y="384334"/>
                    <a:pt x="5023962" y="386239"/>
                  </a:cubicBezTo>
                  <a:cubicBezTo>
                    <a:pt x="5023009" y="386239"/>
                    <a:pt x="5022056" y="388144"/>
                    <a:pt x="5020151" y="390049"/>
                  </a:cubicBezTo>
                  <a:close/>
                  <a:moveTo>
                    <a:pt x="5024914" y="400526"/>
                  </a:moveTo>
                  <a:cubicBezTo>
                    <a:pt x="5024914" y="400526"/>
                    <a:pt x="5024914" y="400526"/>
                    <a:pt x="5024914" y="400526"/>
                  </a:cubicBezTo>
                  <a:cubicBezTo>
                    <a:pt x="5024914" y="400526"/>
                    <a:pt x="5024914" y="400526"/>
                    <a:pt x="5024914" y="400526"/>
                  </a:cubicBezTo>
                  <a:cubicBezTo>
                    <a:pt x="5024914" y="400526"/>
                    <a:pt x="5024914" y="400526"/>
                    <a:pt x="5024914" y="400526"/>
                  </a:cubicBezTo>
                  <a:close/>
                  <a:moveTo>
                    <a:pt x="5035392" y="314801"/>
                  </a:moveTo>
                  <a:cubicBezTo>
                    <a:pt x="5035392" y="315754"/>
                    <a:pt x="5035392" y="316706"/>
                    <a:pt x="5035392" y="317659"/>
                  </a:cubicBezTo>
                  <a:cubicBezTo>
                    <a:pt x="5034439" y="329089"/>
                    <a:pt x="5032534" y="341471"/>
                    <a:pt x="5031581" y="353854"/>
                  </a:cubicBezTo>
                  <a:cubicBezTo>
                    <a:pt x="5031581" y="353854"/>
                    <a:pt x="5031581" y="353854"/>
                    <a:pt x="5031581" y="353854"/>
                  </a:cubicBezTo>
                  <a:cubicBezTo>
                    <a:pt x="5031581" y="353854"/>
                    <a:pt x="5031581" y="354806"/>
                    <a:pt x="5031581" y="354806"/>
                  </a:cubicBezTo>
                  <a:cubicBezTo>
                    <a:pt x="5031581" y="351949"/>
                    <a:pt x="5030629" y="349091"/>
                    <a:pt x="5030629" y="347186"/>
                  </a:cubicBezTo>
                  <a:cubicBezTo>
                    <a:pt x="5029676" y="340519"/>
                    <a:pt x="5028724" y="334804"/>
                    <a:pt x="5027771" y="329089"/>
                  </a:cubicBezTo>
                  <a:cubicBezTo>
                    <a:pt x="5027771" y="328136"/>
                    <a:pt x="5028724" y="326231"/>
                    <a:pt x="5028724" y="325279"/>
                  </a:cubicBezTo>
                  <a:cubicBezTo>
                    <a:pt x="5029676" y="323374"/>
                    <a:pt x="5030629" y="321469"/>
                    <a:pt x="5032534" y="319564"/>
                  </a:cubicBezTo>
                  <a:cubicBezTo>
                    <a:pt x="5033487" y="317659"/>
                    <a:pt x="5034439" y="315754"/>
                    <a:pt x="5035392" y="314801"/>
                  </a:cubicBezTo>
                  <a:close/>
                  <a:moveTo>
                    <a:pt x="5006817" y="242411"/>
                  </a:moveTo>
                  <a:cubicBezTo>
                    <a:pt x="5009674" y="246221"/>
                    <a:pt x="5013484" y="251936"/>
                    <a:pt x="5019199" y="259556"/>
                  </a:cubicBezTo>
                  <a:cubicBezTo>
                    <a:pt x="5022056" y="262414"/>
                    <a:pt x="5023962" y="266224"/>
                    <a:pt x="5025867" y="270034"/>
                  </a:cubicBezTo>
                  <a:cubicBezTo>
                    <a:pt x="5023962" y="268129"/>
                    <a:pt x="5022056" y="265271"/>
                    <a:pt x="5021104" y="263366"/>
                  </a:cubicBezTo>
                  <a:cubicBezTo>
                    <a:pt x="5019199" y="260509"/>
                    <a:pt x="5016342" y="258604"/>
                    <a:pt x="5014437" y="255746"/>
                  </a:cubicBezTo>
                  <a:cubicBezTo>
                    <a:pt x="5011579" y="251936"/>
                    <a:pt x="5007769" y="249079"/>
                    <a:pt x="5004912" y="245269"/>
                  </a:cubicBezTo>
                  <a:cubicBezTo>
                    <a:pt x="5006817" y="244316"/>
                    <a:pt x="5006817" y="243364"/>
                    <a:pt x="5006817" y="242411"/>
                  </a:cubicBezTo>
                  <a:close/>
                  <a:moveTo>
                    <a:pt x="5004912" y="242411"/>
                  </a:moveTo>
                  <a:cubicBezTo>
                    <a:pt x="5004912" y="241459"/>
                    <a:pt x="5004912" y="240506"/>
                    <a:pt x="5004912" y="238601"/>
                  </a:cubicBezTo>
                  <a:cubicBezTo>
                    <a:pt x="5004912" y="238601"/>
                    <a:pt x="5005864" y="239554"/>
                    <a:pt x="5006817" y="241459"/>
                  </a:cubicBezTo>
                  <a:cubicBezTo>
                    <a:pt x="5005864" y="242411"/>
                    <a:pt x="5005864" y="243364"/>
                    <a:pt x="5004912" y="244316"/>
                  </a:cubicBezTo>
                  <a:cubicBezTo>
                    <a:pt x="5004912" y="244316"/>
                    <a:pt x="5004912" y="244316"/>
                    <a:pt x="5004912" y="243364"/>
                  </a:cubicBezTo>
                  <a:cubicBezTo>
                    <a:pt x="5003959" y="243364"/>
                    <a:pt x="5003959" y="242411"/>
                    <a:pt x="5004912" y="242411"/>
                  </a:cubicBezTo>
                  <a:close/>
                  <a:moveTo>
                    <a:pt x="4999196" y="303371"/>
                  </a:moveTo>
                  <a:cubicBezTo>
                    <a:pt x="5001101" y="285274"/>
                    <a:pt x="5002054" y="268129"/>
                    <a:pt x="5003006" y="252889"/>
                  </a:cubicBezTo>
                  <a:cubicBezTo>
                    <a:pt x="5004912" y="255746"/>
                    <a:pt x="5006817" y="257651"/>
                    <a:pt x="5008721" y="260509"/>
                  </a:cubicBezTo>
                  <a:cubicBezTo>
                    <a:pt x="5010626" y="263366"/>
                    <a:pt x="5012531" y="266224"/>
                    <a:pt x="5014437" y="268129"/>
                  </a:cubicBezTo>
                  <a:cubicBezTo>
                    <a:pt x="5016342" y="270986"/>
                    <a:pt x="5018246" y="273844"/>
                    <a:pt x="5020151" y="276701"/>
                  </a:cubicBezTo>
                  <a:cubicBezTo>
                    <a:pt x="5023009" y="281464"/>
                    <a:pt x="5026819" y="287179"/>
                    <a:pt x="5029676" y="292894"/>
                  </a:cubicBezTo>
                  <a:cubicBezTo>
                    <a:pt x="5029676" y="292894"/>
                    <a:pt x="5029676" y="293846"/>
                    <a:pt x="5029676" y="293846"/>
                  </a:cubicBezTo>
                  <a:cubicBezTo>
                    <a:pt x="5028724" y="296704"/>
                    <a:pt x="5026819" y="299561"/>
                    <a:pt x="5025867" y="302419"/>
                  </a:cubicBezTo>
                  <a:cubicBezTo>
                    <a:pt x="5024914" y="303371"/>
                    <a:pt x="5023962" y="304324"/>
                    <a:pt x="5023009" y="305276"/>
                  </a:cubicBezTo>
                  <a:cubicBezTo>
                    <a:pt x="5023009" y="302419"/>
                    <a:pt x="5022056" y="301466"/>
                    <a:pt x="5022056" y="301466"/>
                  </a:cubicBezTo>
                  <a:cubicBezTo>
                    <a:pt x="5022056" y="301466"/>
                    <a:pt x="5022056" y="303371"/>
                    <a:pt x="5022056" y="306229"/>
                  </a:cubicBezTo>
                  <a:cubicBezTo>
                    <a:pt x="5021104" y="307181"/>
                    <a:pt x="5020151" y="308134"/>
                    <a:pt x="5019199" y="309086"/>
                  </a:cubicBezTo>
                  <a:cubicBezTo>
                    <a:pt x="5017294" y="311944"/>
                    <a:pt x="5014437" y="314801"/>
                    <a:pt x="5012531" y="318611"/>
                  </a:cubicBezTo>
                  <a:cubicBezTo>
                    <a:pt x="5012531" y="316706"/>
                    <a:pt x="5013484" y="313849"/>
                    <a:pt x="5013484" y="311944"/>
                  </a:cubicBezTo>
                  <a:cubicBezTo>
                    <a:pt x="5014437" y="305276"/>
                    <a:pt x="5015389" y="299561"/>
                    <a:pt x="5017294" y="294799"/>
                  </a:cubicBezTo>
                  <a:cubicBezTo>
                    <a:pt x="5019199" y="285274"/>
                    <a:pt x="5020151" y="279559"/>
                    <a:pt x="5020151" y="279559"/>
                  </a:cubicBezTo>
                  <a:cubicBezTo>
                    <a:pt x="5020151" y="279559"/>
                    <a:pt x="5017294" y="284321"/>
                    <a:pt x="5013484" y="293846"/>
                  </a:cubicBezTo>
                  <a:cubicBezTo>
                    <a:pt x="5011579" y="298609"/>
                    <a:pt x="5008721" y="304324"/>
                    <a:pt x="5006817" y="310039"/>
                  </a:cubicBezTo>
                  <a:cubicBezTo>
                    <a:pt x="5003959" y="316706"/>
                    <a:pt x="5002054" y="324326"/>
                    <a:pt x="4999196" y="331946"/>
                  </a:cubicBezTo>
                  <a:cubicBezTo>
                    <a:pt x="4999196" y="331946"/>
                    <a:pt x="4999196" y="332899"/>
                    <a:pt x="4999196" y="332899"/>
                  </a:cubicBezTo>
                  <a:cubicBezTo>
                    <a:pt x="4998244" y="330994"/>
                    <a:pt x="4997292" y="329089"/>
                    <a:pt x="4997292" y="327184"/>
                  </a:cubicBezTo>
                  <a:cubicBezTo>
                    <a:pt x="4998244" y="320516"/>
                    <a:pt x="4998244" y="311944"/>
                    <a:pt x="4999196" y="303371"/>
                  </a:cubicBezTo>
                  <a:close/>
                  <a:moveTo>
                    <a:pt x="4968717" y="208121"/>
                  </a:moveTo>
                  <a:cubicBezTo>
                    <a:pt x="4968717" y="209074"/>
                    <a:pt x="4968717" y="210026"/>
                    <a:pt x="4967764" y="212884"/>
                  </a:cubicBezTo>
                  <a:cubicBezTo>
                    <a:pt x="4967764" y="213836"/>
                    <a:pt x="4966812" y="215741"/>
                    <a:pt x="4966812" y="217646"/>
                  </a:cubicBezTo>
                  <a:cubicBezTo>
                    <a:pt x="4966812" y="216694"/>
                    <a:pt x="4966812" y="216694"/>
                    <a:pt x="4966812" y="215741"/>
                  </a:cubicBezTo>
                  <a:cubicBezTo>
                    <a:pt x="4967764" y="213836"/>
                    <a:pt x="4968717" y="210979"/>
                    <a:pt x="4968717" y="208121"/>
                  </a:cubicBezTo>
                  <a:close/>
                  <a:moveTo>
                    <a:pt x="4960144" y="364331"/>
                  </a:moveTo>
                  <a:cubicBezTo>
                    <a:pt x="4960144" y="370046"/>
                    <a:pt x="4961096" y="375761"/>
                    <a:pt x="4961096" y="381476"/>
                  </a:cubicBezTo>
                  <a:cubicBezTo>
                    <a:pt x="4960144" y="384334"/>
                    <a:pt x="4959192" y="388144"/>
                    <a:pt x="4958239" y="391001"/>
                  </a:cubicBezTo>
                  <a:cubicBezTo>
                    <a:pt x="4958239" y="389096"/>
                    <a:pt x="4957287" y="387191"/>
                    <a:pt x="4957287" y="386239"/>
                  </a:cubicBezTo>
                  <a:cubicBezTo>
                    <a:pt x="4957287" y="384334"/>
                    <a:pt x="4957287" y="382429"/>
                    <a:pt x="4957287" y="380524"/>
                  </a:cubicBezTo>
                  <a:cubicBezTo>
                    <a:pt x="4957287" y="371951"/>
                    <a:pt x="4957287" y="363379"/>
                    <a:pt x="4956334" y="356711"/>
                  </a:cubicBezTo>
                  <a:cubicBezTo>
                    <a:pt x="4956334" y="354806"/>
                    <a:pt x="4956334" y="353854"/>
                    <a:pt x="4956334" y="351949"/>
                  </a:cubicBezTo>
                  <a:cubicBezTo>
                    <a:pt x="4957287" y="350996"/>
                    <a:pt x="4958239" y="349091"/>
                    <a:pt x="4958239" y="348139"/>
                  </a:cubicBezTo>
                  <a:cubicBezTo>
                    <a:pt x="4959192" y="352901"/>
                    <a:pt x="4959192" y="358616"/>
                    <a:pt x="4960144" y="364331"/>
                  </a:cubicBezTo>
                  <a:close/>
                  <a:moveTo>
                    <a:pt x="4957287" y="256699"/>
                  </a:moveTo>
                  <a:cubicBezTo>
                    <a:pt x="4957287" y="257651"/>
                    <a:pt x="4957287" y="258604"/>
                    <a:pt x="4957287" y="258604"/>
                  </a:cubicBezTo>
                  <a:cubicBezTo>
                    <a:pt x="4957287" y="258604"/>
                    <a:pt x="4957287" y="259556"/>
                    <a:pt x="4957287" y="259556"/>
                  </a:cubicBezTo>
                  <a:cubicBezTo>
                    <a:pt x="4956334" y="262414"/>
                    <a:pt x="4956334" y="264319"/>
                    <a:pt x="4955381" y="267176"/>
                  </a:cubicBezTo>
                  <a:cubicBezTo>
                    <a:pt x="4955381" y="266224"/>
                    <a:pt x="4954429" y="266224"/>
                    <a:pt x="4954429" y="265271"/>
                  </a:cubicBezTo>
                  <a:cubicBezTo>
                    <a:pt x="4955381" y="263366"/>
                    <a:pt x="4956334" y="259556"/>
                    <a:pt x="4957287" y="256699"/>
                  </a:cubicBezTo>
                  <a:close/>
                  <a:moveTo>
                    <a:pt x="4954429" y="268129"/>
                  </a:moveTo>
                  <a:cubicBezTo>
                    <a:pt x="4954429" y="269081"/>
                    <a:pt x="4955381" y="270034"/>
                    <a:pt x="4955381" y="270986"/>
                  </a:cubicBezTo>
                  <a:cubicBezTo>
                    <a:pt x="4954429" y="276701"/>
                    <a:pt x="4952524" y="283369"/>
                    <a:pt x="4951571" y="290036"/>
                  </a:cubicBezTo>
                  <a:cubicBezTo>
                    <a:pt x="4949667" y="298609"/>
                    <a:pt x="4947762" y="307181"/>
                    <a:pt x="4944904" y="316706"/>
                  </a:cubicBezTo>
                  <a:cubicBezTo>
                    <a:pt x="4943951" y="312896"/>
                    <a:pt x="4943951" y="310991"/>
                    <a:pt x="4943951" y="310991"/>
                  </a:cubicBezTo>
                  <a:cubicBezTo>
                    <a:pt x="4943951" y="310991"/>
                    <a:pt x="4943951" y="314801"/>
                    <a:pt x="4943951" y="320516"/>
                  </a:cubicBezTo>
                  <a:cubicBezTo>
                    <a:pt x="4942999" y="326231"/>
                    <a:pt x="4941094" y="330994"/>
                    <a:pt x="4940142" y="336709"/>
                  </a:cubicBezTo>
                  <a:cubicBezTo>
                    <a:pt x="4940142" y="336709"/>
                    <a:pt x="4940142" y="335756"/>
                    <a:pt x="4940142" y="335756"/>
                  </a:cubicBezTo>
                  <a:cubicBezTo>
                    <a:pt x="4939189" y="331946"/>
                    <a:pt x="4939189" y="329089"/>
                    <a:pt x="4938237" y="325279"/>
                  </a:cubicBezTo>
                  <a:cubicBezTo>
                    <a:pt x="4943951" y="306229"/>
                    <a:pt x="4949667" y="286226"/>
                    <a:pt x="4954429" y="268129"/>
                  </a:cubicBezTo>
                  <a:close/>
                  <a:moveTo>
                    <a:pt x="4922044" y="378619"/>
                  </a:moveTo>
                  <a:cubicBezTo>
                    <a:pt x="4922044" y="378619"/>
                    <a:pt x="4922044" y="378619"/>
                    <a:pt x="4922044" y="378619"/>
                  </a:cubicBezTo>
                  <a:cubicBezTo>
                    <a:pt x="4922044" y="379571"/>
                    <a:pt x="4922044" y="379571"/>
                    <a:pt x="4922044" y="378619"/>
                  </a:cubicBezTo>
                  <a:cubicBezTo>
                    <a:pt x="4922044" y="379571"/>
                    <a:pt x="4922044" y="378619"/>
                    <a:pt x="4922044" y="378619"/>
                  </a:cubicBezTo>
                  <a:close/>
                  <a:moveTo>
                    <a:pt x="4908709" y="307181"/>
                  </a:moveTo>
                  <a:cubicBezTo>
                    <a:pt x="4910614" y="312896"/>
                    <a:pt x="4912519" y="318611"/>
                    <a:pt x="4915376" y="326231"/>
                  </a:cubicBezTo>
                  <a:cubicBezTo>
                    <a:pt x="4913471" y="330041"/>
                    <a:pt x="4911567" y="334804"/>
                    <a:pt x="4909662" y="338614"/>
                  </a:cubicBezTo>
                  <a:cubicBezTo>
                    <a:pt x="4908709" y="327184"/>
                    <a:pt x="4907756" y="316706"/>
                    <a:pt x="4906804" y="308134"/>
                  </a:cubicBezTo>
                  <a:cubicBezTo>
                    <a:pt x="4906804" y="306229"/>
                    <a:pt x="4906804" y="305276"/>
                    <a:pt x="4906804" y="305276"/>
                  </a:cubicBezTo>
                  <a:cubicBezTo>
                    <a:pt x="4906804" y="305276"/>
                    <a:pt x="4906804" y="306229"/>
                    <a:pt x="4905851" y="307181"/>
                  </a:cubicBezTo>
                  <a:cubicBezTo>
                    <a:pt x="4905851" y="303371"/>
                    <a:pt x="4904899" y="300514"/>
                    <a:pt x="4904899" y="297656"/>
                  </a:cubicBezTo>
                  <a:cubicBezTo>
                    <a:pt x="4906804" y="300514"/>
                    <a:pt x="4907756" y="303371"/>
                    <a:pt x="4908709" y="307181"/>
                  </a:cubicBezTo>
                  <a:close/>
                  <a:moveTo>
                    <a:pt x="4897279" y="351949"/>
                  </a:moveTo>
                  <a:cubicBezTo>
                    <a:pt x="4897279" y="356711"/>
                    <a:pt x="4897279" y="360521"/>
                    <a:pt x="4896326" y="365284"/>
                  </a:cubicBezTo>
                  <a:cubicBezTo>
                    <a:pt x="4896326" y="366236"/>
                    <a:pt x="4895374" y="367189"/>
                    <a:pt x="4895374" y="368141"/>
                  </a:cubicBezTo>
                  <a:cubicBezTo>
                    <a:pt x="4895374" y="365284"/>
                    <a:pt x="4894421" y="361474"/>
                    <a:pt x="4894421" y="357664"/>
                  </a:cubicBezTo>
                  <a:cubicBezTo>
                    <a:pt x="4893469" y="351949"/>
                    <a:pt x="4893469" y="347186"/>
                    <a:pt x="4892517" y="341471"/>
                  </a:cubicBezTo>
                  <a:cubicBezTo>
                    <a:pt x="4894421" y="345281"/>
                    <a:pt x="4895374" y="348139"/>
                    <a:pt x="4897279" y="351949"/>
                  </a:cubicBezTo>
                  <a:close/>
                  <a:moveTo>
                    <a:pt x="4822984" y="387191"/>
                  </a:moveTo>
                  <a:cubicBezTo>
                    <a:pt x="4822984" y="386239"/>
                    <a:pt x="4822984" y="386239"/>
                    <a:pt x="4822984" y="385286"/>
                  </a:cubicBezTo>
                  <a:cubicBezTo>
                    <a:pt x="4822984" y="386239"/>
                    <a:pt x="4822984" y="387191"/>
                    <a:pt x="4822984" y="387191"/>
                  </a:cubicBezTo>
                  <a:cubicBezTo>
                    <a:pt x="4822984" y="387191"/>
                    <a:pt x="4822984" y="387191"/>
                    <a:pt x="4822984" y="387191"/>
                  </a:cubicBezTo>
                  <a:close/>
                  <a:moveTo>
                    <a:pt x="4842987" y="338614"/>
                  </a:moveTo>
                  <a:cubicBezTo>
                    <a:pt x="4842987" y="344329"/>
                    <a:pt x="4842987" y="350044"/>
                    <a:pt x="4842987" y="356711"/>
                  </a:cubicBezTo>
                  <a:cubicBezTo>
                    <a:pt x="4842987" y="357664"/>
                    <a:pt x="4842987" y="359569"/>
                    <a:pt x="4842987" y="360521"/>
                  </a:cubicBezTo>
                  <a:cubicBezTo>
                    <a:pt x="4842034" y="366236"/>
                    <a:pt x="4841081" y="373856"/>
                    <a:pt x="4840129" y="382429"/>
                  </a:cubicBezTo>
                  <a:cubicBezTo>
                    <a:pt x="4839176" y="385286"/>
                    <a:pt x="4839176" y="387191"/>
                    <a:pt x="4838224" y="390049"/>
                  </a:cubicBezTo>
                  <a:cubicBezTo>
                    <a:pt x="4834414" y="389096"/>
                    <a:pt x="4830604" y="388144"/>
                    <a:pt x="4826794" y="387191"/>
                  </a:cubicBezTo>
                  <a:cubicBezTo>
                    <a:pt x="4825841" y="384334"/>
                    <a:pt x="4824889" y="381476"/>
                    <a:pt x="4824889" y="379571"/>
                  </a:cubicBezTo>
                  <a:cubicBezTo>
                    <a:pt x="4825841" y="376714"/>
                    <a:pt x="4826794" y="373856"/>
                    <a:pt x="4827747" y="370999"/>
                  </a:cubicBezTo>
                  <a:cubicBezTo>
                    <a:pt x="4830604" y="361474"/>
                    <a:pt x="4834414" y="352901"/>
                    <a:pt x="4838224" y="346234"/>
                  </a:cubicBezTo>
                  <a:cubicBezTo>
                    <a:pt x="4840129" y="342424"/>
                    <a:pt x="4842034" y="339566"/>
                    <a:pt x="4843939" y="336709"/>
                  </a:cubicBezTo>
                  <a:cubicBezTo>
                    <a:pt x="4842987" y="337661"/>
                    <a:pt x="4842987" y="338614"/>
                    <a:pt x="4842987" y="338614"/>
                  </a:cubicBezTo>
                  <a:cubicBezTo>
                    <a:pt x="4842987" y="338614"/>
                    <a:pt x="4842987" y="338614"/>
                    <a:pt x="4842987" y="338614"/>
                  </a:cubicBezTo>
                  <a:close/>
                  <a:moveTo>
                    <a:pt x="4843939" y="329089"/>
                  </a:moveTo>
                  <a:cubicBezTo>
                    <a:pt x="4843939" y="329089"/>
                    <a:pt x="4843939" y="329089"/>
                    <a:pt x="4843939" y="329089"/>
                  </a:cubicBezTo>
                  <a:cubicBezTo>
                    <a:pt x="4841081" y="324326"/>
                    <a:pt x="4838224" y="320516"/>
                    <a:pt x="4836319" y="318611"/>
                  </a:cubicBezTo>
                  <a:cubicBezTo>
                    <a:pt x="4836319" y="318611"/>
                    <a:pt x="4836319" y="318611"/>
                    <a:pt x="4836319" y="318611"/>
                  </a:cubicBezTo>
                  <a:cubicBezTo>
                    <a:pt x="4837272" y="316706"/>
                    <a:pt x="4838224" y="315754"/>
                    <a:pt x="4839176" y="314801"/>
                  </a:cubicBezTo>
                  <a:cubicBezTo>
                    <a:pt x="4840129" y="316706"/>
                    <a:pt x="4841081" y="319564"/>
                    <a:pt x="4842987" y="321469"/>
                  </a:cubicBezTo>
                  <a:cubicBezTo>
                    <a:pt x="4842987" y="322421"/>
                    <a:pt x="4843939" y="323374"/>
                    <a:pt x="4843939" y="323374"/>
                  </a:cubicBezTo>
                  <a:cubicBezTo>
                    <a:pt x="4843939" y="325279"/>
                    <a:pt x="4843939" y="327184"/>
                    <a:pt x="4843939" y="329089"/>
                  </a:cubicBezTo>
                  <a:close/>
                  <a:moveTo>
                    <a:pt x="4845844" y="296704"/>
                  </a:moveTo>
                  <a:cubicBezTo>
                    <a:pt x="4845844" y="302419"/>
                    <a:pt x="4844891" y="309086"/>
                    <a:pt x="4844891" y="316706"/>
                  </a:cubicBezTo>
                  <a:cubicBezTo>
                    <a:pt x="4842987" y="314801"/>
                    <a:pt x="4842034" y="311944"/>
                    <a:pt x="4840129" y="310039"/>
                  </a:cubicBezTo>
                  <a:cubicBezTo>
                    <a:pt x="4839176" y="309086"/>
                    <a:pt x="4838224" y="307181"/>
                    <a:pt x="4837272" y="306229"/>
                  </a:cubicBezTo>
                  <a:cubicBezTo>
                    <a:pt x="4840129" y="300514"/>
                    <a:pt x="4842987" y="295751"/>
                    <a:pt x="4845844" y="290989"/>
                  </a:cubicBezTo>
                  <a:cubicBezTo>
                    <a:pt x="4846797" y="290036"/>
                    <a:pt x="4846797" y="289084"/>
                    <a:pt x="4847749" y="288131"/>
                  </a:cubicBezTo>
                  <a:cubicBezTo>
                    <a:pt x="4846797" y="290989"/>
                    <a:pt x="4845844" y="293846"/>
                    <a:pt x="4845844" y="296704"/>
                  </a:cubicBezTo>
                  <a:close/>
                  <a:moveTo>
                    <a:pt x="4869656" y="325279"/>
                  </a:moveTo>
                  <a:cubicBezTo>
                    <a:pt x="4869656" y="326231"/>
                    <a:pt x="4869656" y="326231"/>
                    <a:pt x="4869656" y="327184"/>
                  </a:cubicBezTo>
                  <a:cubicBezTo>
                    <a:pt x="4869656" y="327184"/>
                    <a:pt x="4869656" y="326231"/>
                    <a:pt x="4869656" y="325279"/>
                  </a:cubicBezTo>
                  <a:cubicBezTo>
                    <a:pt x="4869656" y="323374"/>
                    <a:pt x="4869656" y="320516"/>
                    <a:pt x="4869656" y="318611"/>
                  </a:cubicBezTo>
                  <a:cubicBezTo>
                    <a:pt x="4869656" y="320516"/>
                    <a:pt x="4869656" y="323374"/>
                    <a:pt x="4869656" y="325279"/>
                  </a:cubicBezTo>
                  <a:close/>
                  <a:moveTo>
                    <a:pt x="4854416" y="276701"/>
                  </a:moveTo>
                  <a:cubicBezTo>
                    <a:pt x="4860131" y="267176"/>
                    <a:pt x="4865847" y="261461"/>
                    <a:pt x="4868704" y="256699"/>
                  </a:cubicBezTo>
                  <a:cubicBezTo>
                    <a:pt x="4869656" y="255746"/>
                    <a:pt x="4870609" y="253841"/>
                    <a:pt x="4871562" y="252889"/>
                  </a:cubicBezTo>
                  <a:cubicBezTo>
                    <a:pt x="4871562" y="254794"/>
                    <a:pt x="4871562" y="257651"/>
                    <a:pt x="4871562" y="259556"/>
                  </a:cubicBezTo>
                  <a:cubicBezTo>
                    <a:pt x="4868704" y="270986"/>
                    <a:pt x="4864894" y="283369"/>
                    <a:pt x="4861084" y="296704"/>
                  </a:cubicBezTo>
                  <a:cubicBezTo>
                    <a:pt x="4861084" y="297656"/>
                    <a:pt x="4860131" y="299561"/>
                    <a:pt x="4860131" y="300514"/>
                  </a:cubicBezTo>
                  <a:cubicBezTo>
                    <a:pt x="4857274" y="291941"/>
                    <a:pt x="4855369" y="284321"/>
                    <a:pt x="4853464" y="278606"/>
                  </a:cubicBezTo>
                  <a:cubicBezTo>
                    <a:pt x="4854416" y="277654"/>
                    <a:pt x="4854416" y="277654"/>
                    <a:pt x="4854416" y="276701"/>
                  </a:cubicBezTo>
                  <a:cubicBezTo>
                    <a:pt x="4854416" y="276701"/>
                    <a:pt x="4854416" y="276701"/>
                    <a:pt x="4854416" y="276701"/>
                  </a:cubicBezTo>
                  <a:close/>
                  <a:moveTo>
                    <a:pt x="4850606" y="281464"/>
                  </a:moveTo>
                  <a:cubicBezTo>
                    <a:pt x="4852512" y="290989"/>
                    <a:pt x="4854416" y="303371"/>
                    <a:pt x="4857274" y="316706"/>
                  </a:cubicBezTo>
                  <a:cubicBezTo>
                    <a:pt x="4856322" y="321469"/>
                    <a:pt x="4855369" y="325279"/>
                    <a:pt x="4854416" y="330041"/>
                  </a:cubicBezTo>
                  <a:cubicBezTo>
                    <a:pt x="4853464" y="329089"/>
                    <a:pt x="4852512" y="327184"/>
                    <a:pt x="4852512" y="326231"/>
                  </a:cubicBezTo>
                  <a:cubicBezTo>
                    <a:pt x="4852512" y="325279"/>
                    <a:pt x="4852512" y="323374"/>
                    <a:pt x="4852512" y="322421"/>
                  </a:cubicBezTo>
                  <a:cubicBezTo>
                    <a:pt x="4851559" y="311944"/>
                    <a:pt x="4851559" y="303371"/>
                    <a:pt x="4850606" y="295751"/>
                  </a:cubicBezTo>
                  <a:cubicBezTo>
                    <a:pt x="4850606" y="290989"/>
                    <a:pt x="4849654" y="287179"/>
                    <a:pt x="4849654" y="284321"/>
                  </a:cubicBezTo>
                  <a:cubicBezTo>
                    <a:pt x="4849654" y="283369"/>
                    <a:pt x="4849654" y="282416"/>
                    <a:pt x="4850606" y="281464"/>
                  </a:cubicBezTo>
                  <a:close/>
                  <a:moveTo>
                    <a:pt x="4838224" y="290036"/>
                  </a:moveTo>
                  <a:cubicBezTo>
                    <a:pt x="4841081" y="283369"/>
                    <a:pt x="4843939" y="277654"/>
                    <a:pt x="4845844" y="272891"/>
                  </a:cubicBezTo>
                  <a:cubicBezTo>
                    <a:pt x="4846797" y="270034"/>
                    <a:pt x="4847749" y="267176"/>
                    <a:pt x="4848701" y="265271"/>
                  </a:cubicBezTo>
                  <a:cubicBezTo>
                    <a:pt x="4848701" y="268129"/>
                    <a:pt x="4849654" y="271939"/>
                    <a:pt x="4849654" y="275749"/>
                  </a:cubicBezTo>
                  <a:cubicBezTo>
                    <a:pt x="4848701" y="276701"/>
                    <a:pt x="4848701" y="277654"/>
                    <a:pt x="4847749" y="277654"/>
                  </a:cubicBezTo>
                  <a:cubicBezTo>
                    <a:pt x="4847749" y="274796"/>
                    <a:pt x="4847749" y="273844"/>
                    <a:pt x="4847749" y="273844"/>
                  </a:cubicBezTo>
                  <a:cubicBezTo>
                    <a:pt x="4847749" y="273844"/>
                    <a:pt x="4847749" y="275749"/>
                    <a:pt x="4847749" y="278606"/>
                  </a:cubicBezTo>
                  <a:cubicBezTo>
                    <a:pt x="4845844" y="281464"/>
                    <a:pt x="4842987" y="284321"/>
                    <a:pt x="4841081" y="288131"/>
                  </a:cubicBezTo>
                  <a:cubicBezTo>
                    <a:pt x="4840129" y="290036"/>
                    <a:pt x="4838224" y="291941"/>
                    <a:pt x="4836319" y="294799"/>
                  </a:cubicBezTo>
                  <a:cubicBezTo>
                    <a:pt x="4836319" y="292894"/>
                    <a:pt x="4837272" y="291941"/>
                    <a:pt x="4838224" y="290036"/>
                  </a:cubicBezTo>
                  <a:close/>
                  <a:moveTo>
                    <a:pt x="4835366" y="309086"/>
                  </a:moveTo>
                  <a:cubicBezTo>
                    <a:pt x="4835366" y="309086"/>
                    <a:pt x="4835366" y="308134"/>
                    <a:pt x="4836319" y="308134"/>
                  </a:cubicBezTo>
                  <a:cubicBezTo>
                    <a:pt x="4837272" y="309086"/>
                    <a:pt x="4837272" y="310039"/>
                    <a:pt x="4838224" y="311944"/>
                  </a:cubicBezTo>
                  <a:cubicBezTo>
                    <a:pt x="4838224" y="312896"/>
                    <a:pt x="4839176" y="312896"/>
                    <a:pt x="4839176" y="313849"/>
                  </a:cubicBezTo>
                  <a:cubicBezTo>
                    <a:pt x="4838224" y="314801"/>
                    <a:pt x="4837272" y="315754"/>
                    <a:pt x="4835366" y="317659"/>
                  </a:cubicBezTo>
                  <a:cubicBezTo>
                    <a:pt x="4835366" y="317659"/>
                    <a:pt x="4835366" y="317659"/>
                    <a:pt x="4835366" y="317659"/>
                  </a:cubicBezTo>
                  <a:cubicBezTo>
                    <a:pt x="4835366" y="317659"/>
                    <a:pt x="4834414" y="316706"/>
                    <a:pt x="4834414" y="316706"/>
                  </a:cubicBezTo>
                  <a:cubicBezTo>
                    <a:pt x="4833462" y="315754"/>
                    <a:pt x="4833462" y="315754"/>
                    <a:pt x="4832509" y="314801"/>
                  </a:cubicBezTo>
                  <a:cubicBezTo>
                    <a:pt x="4833462" y="312896"/>
                    <a:pt x="4834414" y="310991"/>
                    <a:pt x="4835366" y="309086"/>
                  </a:cubicBezTo>
                  <a:close/>
                  <a:moveTo>
                    <a:pt x="4830604" y="319564"/>
                  </a:moveTo>
                  <a:cubicBezTo>
                    <a:pt x="4831556" y="317659"/>
                    <a:pt x="4831556" y="316706"/>
                    <a:pt x="4832509" y="314801"/>
                  </a:cubicBezTo>
                  <a:cubicBezTo>
                    <a:pt x="4832509" y="315754"/>
                    <a:pt x="4833462" y="315754"/>
                    <a:pt x="4833462" y="316706"/>
                  </a:cubicBezTo>
                  <a:cubicBezTo>
                    <a:pt x="4833462" y="317659"/>
                    <a:pt x="4834414" y="317659"/>
                    <a:pt x="4834414" y="318611"/>
                  </a:cubicBezTo>
                  <a:cubicBezTo>
                    <a:pt x="4832509" y="320516"/>
                    <a:pt x="4830604" y="322421"/>
                    <a:pt x="4828699" y="324326"/>
                  </a:cubicBezTo>
                  <a:cubicBezTo>
                    <a:pt x="4829651" y="322421"/>
                    <a:pt x="4829651" y="320516"/>
                    <a:pt x="4830604" y="319564"/>
                  </a:cubicBezTo>
                  <a:close/>
                  <a:moveTo>
                    <a:pt x="4817269" y="364331"/>
                  </a:moveTo>
                  <a:cubicBezTo>
                    <a:pt x="4817269" y="361474"/>
                    <a:pt x="4817269" y="359569"/>
                    <a:pt x="4817269" y="356711"/>
                  </a:cubicBezTo>
                  <a:cubicBezTo>
                    <a:pt x="4820126" y="349091"/>
                    <a:pt x="4822984" y="342424"/>
                    <a:pt x="4824889" y="335756"/>
                  </a:cubicBezTo>
                  <a:cubicBezTo>
                    <a:pt x="4824889" y="335756"/>
                    <a:pt x="4825841" y="334804"/>
                    <a:pt x="4825841" y="334804"/>
                  </a:cubicBezTo>
                  <a:cubicBezTo>
                    <a:pt x="4829651" y="328136"/>
                    <a:pt x="4833462" y="323374"/>
                    <a:pt x="4835366" y="319564"/>
                  </a:cubicBezTo>
                  <a:cubicBezTo>
                    <a:pt x="4835366" y="320516"/>
                    <a:pt x="4836319" y="321469"/>
                    <a:pt x="4837272" y="322421"/>
                  </a:cubicBezTo>
                  <a:cubicBezTo>
                    <a:pt x="4838224" y="324326"/>
                    <a:pt x="4839176" y="327184"/>
                    <a:pt x="4841081" y="330994"/>
                  </a:cubicBezTo>
                  <a:cubicBezTo>
                    <a:pt x="4842034" y="332899"/>
                    <a:pt x="4842034" y="333851"/>
                    <a:pt x="4842987" y="335756"/>
                  </a:cubicBezTo>
                  <a:cubicBezTo>
                    <a:pt x="4840129" y="338614"/>
                    <a:pt x="4838224" y="341471"/>
                    <a:pt x="4835366" y="345281"/>
                  </a:cubicBezTo>
                  <a:cubicBezTo>
                    <a:pt x="4831556" y="350996"/>
                    <a:pt x="4826794" y="357664"/>
                    <a:pt x="4822984" y="366236"/>
                  </a:cubicBezTo>
                  <a:cubicBezTo>
                    <a:pt x="4822031" y="367189"/>
                    <a:pt x="4821079" y="368141"/>
                    <a:pt x="4820126" y="369094"/>
                  </a:cubicBezTo>
                  <a:cubicBezTo>
                    <a:pt x="4819174" y="370046"/>
                    <a:pt x="4818222" y="370999"/>
                    <a:pt x="4817269" y="371951"/>
                  </a:cubicBezTo>
                  <a:cubicBezTo>
                    <a:pt x="4816316" y="369094"/>
                    <a:pt x="4817269" y="366236"/>
                    <a:pt x="4817269" y="364331"/>
                  </a:cubicBezTo>
                  <a:close/>
                  <a:moveTo>
                    <a:pt x="4816316" y="376714"/>
                  </a:moveTo>
                  <a:cubicBezTo>
                    <a:pt x="4817269" y="373856"/>
                    <a:pt x="4819174" y="370999"/>
                    <a:pt x="4820126" y="370046"/>
                  </a:cubicBezTo>
                  <a:cubicBezTo>
                    <a:pt x="4820126" y="370046"/>
                    <a:pt x="4820126" y="370046"/>
                    <a:pt x="4820126" y="370046"/>
                  </a:cubicBezTo>
                  <a:cubicBezTo>
                    <a:pt x="4820126" y="370046"/>
                    <a:pt x="4820126" y="370046"/>
                    <a:pt x="4820126" y="370046"/>
                  </a:cubicBezTo>
                  <a:cubicBezTo>
                    <a:pt x="4819174" y="372904"/>
                    <a:pt x="4817269" y="375761"/>
                    <a:pt x="4816316" y="378619"/>
                  </a:cubicBezTo>
                  <a:cubicBezTo>
                    <a:pt x="4816316" y="376714"/>
                    <a:pt x="4816316" y="376714"/>
                    <a:pt x="4816316" y="376714"/>
                  </a:cubicBezTo>
                  <a:close/>
                  <a:moveTo>
                    <a:pt x="4762024" y="305276"/>
                  </a:moveTo>
                  <a:cubicBezTo>
                    <a:pt x="4762024" y="306229"/>
                    <a:pt x="4762976" y="312896"/>
                    <a:pt x="4763929" y="322421"/>
                  </a:cubicBezTo>
                  <a:cubicBezTo>
                    <a:pt x="4762024" y="317659"/>
                    <a:pt x="4761072" y="313849"/>
                    <a:pt x="4760119" y="309086"/>
                  </a:cubicBezTo>
                  <a:cubicBezTo>
                    <a:pt x="4761072" y="306229"/>
                    <a:pt x="4761072" y="303371"/>
                    <a:pt x="4762024" y="300514"/>
                  </a:cubicBezTo>
                  <a:cubicBezTo>
                    <a:pt x="4762024" y="302419"/>
                    <a:pt x="4762024" y="303371"/>
                    <a:pt x="4762024" y="305276"/>
                  </a:cubicBezTo>
                  <a:close/>
                  <a:moveTo>
                    <a:pt x="4755356" y="279559"/>
                  </a:moveTo>
                  <a:cubicBezTo>
                    <a:pt x="4757262" y="284321"/>
                    <a:pt x="4758214" y="289084"/>
                    <a:pt x="4760119" y="294799"/>
                  </a:cubicBezTo>
                  <a:cubicBezTo>
                    <a:pt x="4760119" y="295751"/>
                    <a:pt x="4760119" y="296704"/>
                    <a:pt x="4761072" y="297656"/>
                  </a:cubicBezTo>
                  <a:cubicBezTo>
                    <a:pt x="4760119" y="299561"/>
                    <a:pt x="4759166" y="301466"/>
                    <a:pt x="4758214" y="304324"/>
                  </a:cubicBezTo>
                  <a:cubicBezTo>
                    <a:pt x="4757262" y="300514"/>
                    <a:pt x="4755356" y="296704"/>
                    <a:pt x="4754404" y="292894"/>
                  </a:cubicBezTo>
                  <a:cubicBezTo>
                    <a:pt x="4754404" y="288131"/>
                    <a:pt x="4754404" y="284321"/>
                    <a:pt x="4755356" y="279559"/>
                  </a:cubicBezTo>
                  <a:close/>
                  <a:moveTo>
                    <a:pt x="4759166" y="342424"/>
                  </a:moveTo>
                  <a:cubicBezTo>
                    <a:pt x="4757262" y="338614"/>
                    <a:pt x="4756309" y="335756"/>
                    <a:pt x="4755356" y="331946"/>
                  </a:cubicBezTo>
                  <a:cubicBezTo>
                    <a:pt x="4755356" y="330041"/>
                    <a:pt x="4756309" y="328136"/>
                    <a:pt x="4756309" y="326231"/>
                  </a:cubicBezTo>
                  <a:cubicBezTo>
                    <a:pt x="4757262" y="330994"/>
                    <a:pt x="4758214" y="336709"/>
                    <a:pt x="4759166" y="342424"/>
                  </a:cubicBezTo>
                  <a:close/>
                  <a:moveTo>
                    <a:pt x="4753451" y="312896"/>
                  </a:moveTo>
                  <a:cubicBezTo>
                    <a:pt x="4753451" y="313849"/>
                    <a:pt x="4753451" y="314801"/>
                    <a:pt x="4754404" y="315754"/>
                  </a:cubicBezTo>
                  <a:cubicBezTo>
                    <a:pt x="4754404" y="316706"/>
                    <a:pt x="4754404" y="316706"/>
                    <a:pt x="4753451" y="317659"/>
                  </a:cubicBezTo>
                  <a:cubicBezTo>
                    <a:pt x="4753451" y="315754"/>
                    <a:pt x="4753451" y="313849"/>
                    <a:pt x="4753451" y="312896"/>
                  </a:cubicBezTo>
                  <a:close/>
                  <a:moveTo>
                    <a:pt x="4755356" y="373856"/>
                  </a:moveTo>
                  <a:cubicBezTo>
                    <a:pt x="4755356" y="374809"/>
                    <a:pt x="4755356" y="374809"/>
                    <a:pt x="4756309" y="375761"/>
                  </a:cubicBezTo>
                  <a:cubicBezTo>
                    <a:pt x="4755356" y="376714"/>
                    <a:pt x="4755356" y="378619"/>
                    <a:pt x="4754404" y="379571"/>
                  </a:cubicBezTo>
                  <a:cubicBezTo>
                    <a:pt x="4753451" y="379571"/>
                    <a:pt x="4753451" y="379571"/>
                    <a:pt x="4752499" y="379571"/>
                  </a:cubicBezTo>
                  <a:cubicBezTo>
                    <a:pt x="4753451" y="377666"/>
                    <a:pt x="4754404" y="375761"/>
                    <a:pt x="4755356" y="373856"/>
                  </a:cubicBezTo>
                  <a:close/>
                  <a:moveTo>
                    <a:pt x="4748689" y="291941"/>
                  </a:moveTo>
                  <a:cubicBezTo>
                    <a:pt x="4747737" y="295751"/>
                    <a:pt x="4747737" y="299561"/>
                    <a:pt x="4746784" y="303371"/>
                  </a:cubicBezTo>
                  <a:cubicBezTo>
                    <a:pt x="4746784" y="303371"/>
                    <a:pt x="4746784" y="303371"/>
                    <a:pt x="4746784" y="303371"/>
                  </a:cubicBezTo>
                  <a:cubicBezTo>
                    <a:pt x="4746784" y="302419"/>
                    <a:pt x="4746784" y="300514"/>
                    <a:pt x="4746784" y="299561"/>
                  </a:cubicBezTo>
                  <a:cubicBezTo>
                    <a:pt x="4746784" y="296704"/>
                    <a:pt x="4747737" y="293846"/>
                    <a:pt x="4748689" y="291941"/>
                  </a:cubicBezTo>
                  <a:close/>
                  <a:moveTo>
                    <a:pt x="4738212" y="327184"/>
                  </a:moveTo>
                  <a:cubicBezTo>
                    <a:pt x="4738212" y="331946"/>
                    <a:pt x="4737259" y="335756"/>
                    <a:pt x="4737259" y="341471"/>
                  </a:cubicBezTo>
                  <a:cubicBezTo>
                    <a:pt x="4737259" y="339566"/>
                    <a:pt x="4736306" y="338614"/>
                    <a:pt x="4736306" y="336709"/>
                  </a:cubicBezTo>
                  <a:cubicBezTo>
                    <a:pt x="4737259" y="332899"/>
                    <a:pt x="4737259" y="330041"/>
                    <a:pt x="4738212" y="327184"/>
                  </a:cubicBezTo>
                  <a:close/>
                  <a:moveTo>
                    <a:pt x="4720114" y="261461"/>
                  </a:moveTo>
                  <a:cubicBezTo>
                    <a:pt x="4720114" y="261461"/>
                    <a:pt x="4720114" y="261461"/>
                    <a:pt x="4720114" y="261461"/>
                  </a:cubicBezTo>
                  <a:cubicBezTo>
                    <a:pt x="4722972" y="270034"/>
                    <a:pt x="4725829" y="279559"/>
                    <a:pt x="4729639" y="290989"/>
                  </a:cubicBezTo>
                  <a:cubicBezTo>
                    <a:pt x="4730591" y="292894"/>
                    <a:pt x="4730591" y="294799"/>
                    <a:pt x="4731544" y="296704"/>
                  </a:cubicBezTo>
                  <a:cubicBezTo>
                    <a:pt x="4730591" y="300514"/>
                    <a:pt x="4728687" y="304324"/>
                    <a:pt x="4727734" y="308134"/>
                  </a:cubicBezTo>
                  <a:cubicBezTo>
                    <a:pt x="4726781" y="304324"/>
                    <a:pt x="4724876" y="299561"/>
                    <a:pt x="4723924" y="295751"/>
                  </a:cubicBezTo>
                  <a:cubicBezTo>
                    <a:pt x="4722019" y="289084"/>
                    <a:pt x="4720114" y="282416"/>
                    <a:pt x="4718209" y="276701"/>
                  </a:cubicBezTo>
                  <a:cubicBezTo>
                    <a:pt x="4718209" y="270034"/>
                    <a:pt x="4719162" y="265271"/>
                    <a:pt x="4720114" y="261461"/>
                  </a:cubicBezTo>
                  <a:close/>
                  <a:moveTo>
                    <a:pt x="4709637" y="324326"/>
                  </a:moveTo>
                  <a:cubicBezTo>
                    <a:pt x="4711541" y="315754"/>
                    <a:pt x="4712494" y="308134"/>
                    <a:pt x="4713447" y="301466"/>
                  </a:cubicBezTo>
                  <a:cubicBezTo>
                    <a:pt x="4715351" y="310991"/>
                    <a:pt x="4717256" y="321469"/>
                    <a:pt x="4719162" y="331946"/>
                  </a:cubicBezTo>
                  <a:cubicBezTo>
                    <a:pt x="4718209" y="335756"/>
                    <a:pt x="4716304" y="339566"/>
                    <a:pt x="4715351" y="343376"/>
                  </a:cubicBezTo>
                  <a:cubicBezTo>
                    <a:pt x="4715351" y="343376"/>
                    <a:pt x="4715351" y="343376"/>
                    <a:pt x="4715351" y="343376"/>
                  </a:cubicBezTo>
                  <a:cubicBezTo>
                    <a:pt x="4712494" y="339566"/>
                    <a:pt x="4709637" y="335756"/>
                    <a:pt x="4707731" y="332899"/>
                  </a:cubicBezTo>
                  <a:cubicBezTo>
                    <a:pt x="4708684" y="330041"/>
                    <a:pt x="4708684" y="327184"/>
                    <a:pt x="4709637" y="324326"/>
                  </a:cubicBezTo>
                  <a:close/>
                  <a:moveTo>
                    <a:pt x="4703922" y="355759"/>
                  </a:moveTo>
                  <a:cubicBezTo>
                    <a:pt x="4704874" y="357664"/>
                    <a:pt x="4704874" y="358616"/>
                    <a:pt x="4705826" y="360521"/>
                  </a:cubicBezTo>
                  <a:cubicBezTo>
                    <a:pt x="4706779" y="363379"/>
                    <a:pt x="4707731" y="366236"/>
                    <a:pt x="4708684" y="369094"/>
                  </a:cubicBezTo>
                  <a:cubicBezTo>
                    <a:pt x="4707731" y="371951"/>
                    <a:pt x="4705826" y="374809"/>
                    <a:pt x="4704874" y="377666"/>
                  </a:cubicBezTo>
                  <a:cubicBezTo>
                    <a:pt x="4704874" y="377666"/>
                    <a:pt x="4704874" y="376714"/>
                    <a:pt x="4704874" y="376714"/>
                  </a:cubicBezTo>
                  <a:cubicBezTo>
                    <a:pt x="4703922" y="374809"/>
                    <a:pt x="4702969" y="373856"/>
                    <a:pt x="4702016" y="371951"/>
                  </a:cubicBezTo>
                  <a:cubicBezTo>
                    <a:pt x="4702016" y="366236"/>
                    <a:pt x="4702969" y="361474"/>
                    <a:pt x="4703922" y="355759"/>
                  </a:cubicBezTo>
                  <a:close/>
                  <a:moveTo>
                    <a:pt x="4682966" y="380524"/>
                  </a:moveTo>
                  <a:cubicBezTo>
                    <a:pt x="4682014" y="384334"/>
                    <a:pt x="4681062" y="388144"/>
                    <a:pt x="4680109" y="392906"/>
                  </a:cubicBezTo>
                  <a:cubicBezTo>
                    <a:pt x="4679156" y="392906"/>
                    <a:pt x="4677251" y="393859"/>
                    <a:pt x="4676299" y="393859"/>
                  </a:cubicBezTo>
                  <a:cubicBezTo>
                    <a:pt x="4676299" y="391954"/>
                    <a:pt x="4675347" y="390049"/>
                    <a:pt x="4675347" y="388144"/>
                  </a:cubicBezTo>
                  <a:cubicBezTo>
                    <a:pt x="4678204" y="384334"/>
                    <a:pt x="4681062" y="381476"/>
                    <a:pt x="4682966" y="378619"/>
                  </a:cubicBezTo>
                  <a:cubicBezTo>
                    <a:pt x="4682014" y="379571"/>
                    <a:pt x="4682966" y="380524"/>
                    <a:pt x="4682966" y="380524"/>
                  </a:cubicBezTo>
                  <a:close/>
                  <a:moveTo>
                    <a:pt x="4672489" y="361474"/>
                  </a:moveTo>
                  <a:cubicBezTo>
                    <a:pt x="4674394" y="365284"/>
                    <a:pt x="4677251" y="370046"/>
                    <a:pt x="4679156" y="373856"/>
                  </a:cubicBezTo>
                  <a:cubicBezTo>
                    <a:pt x="4677251" y="375761"/>
                    <a:pt x="4674394" y="377666"/>
                    <a:pt x="4672489" y="379571"/>
                  </a:cubicBezTo>
                  <a:cubicBezTo>
                    <a:pt x="4672489" y="378619"/>
                    <a:pt x="4672489" y="377666"/>
                    <a:pt x="4671537" y="376714"/>
                  </a:cubicBezTo>
                  <a:cubicBezTo>
                    <a:pt x="4671537" y="374809"/>
                    <a:pt x="4670584" y="372904"/>
                    <a:pt x="4670584" y="370999"/>
                  </a:cubicBezTo>
                  <a:cubicBezTo>
                    <a:pt x="4671537" y="368141"/>
                    <a:pt x="4671537" y="364331"/>
                    <a:pt x="4672489" y="361474"/>
                  </a:cubicBezTo>
                  <a:close/>
                  <a:moveTo>
                    <a:pt x="4661059" y="265271"/>
                  </a:moveTo>
                  <a:cubicBezTo>
                    <a:pt x="4662012" y="260509"/>
                    <a:pt x="4662964" y="256699"/>
                    <a:pt x="4663916" y="252889"/>
                  </a:cubicBezTo>
                  <a:cubicBezTo>
                    <a:pt x="4665822" y="246221"/>
                    <a:pt x="4667726" y="241459"/>
                    <a:pt x="4669631" y="237649"/>
                  </a:cubicBezTo>
                  <a:cubicBezTo>
                    <a:pt x="4669631" y="239554"/>
                    <a:pt x="4669631" y="240506"/>
                    <a:pt x="4669631" y="242411"/>
                  </a:cubicBezTo>
                  <a:cubicBezTo>
                    <a:pt x="4667726" y="250031"/>
                    <a:pt x="4664869" y="259556"/>
                    <a:pt x="4661059" y="269081"/>
                  </a:cubicBezTo>
                  <a:cubicBezTo>
                    <a:pt x="4661059" y="268129"/>
                    <a:pt x="4661059" y="266224"/>
                    <a:pt x="4661059" y="265271"/>
                  </a:cubicBezTo>
                  <a:close/>
                  <a:moveTo>
                    <a:pt x="4645819" y="278606"/>
                  </a:moveTo>
                  <a:cubicBezTo>
                    <a:pt x="4646772" y="271939"/>
                    <a:pt x="4647724" y="266224"/>
                    <a:pt x="4648676" y="260509"/>
                  </a:cubicBezTo>
                  <a:cubicBezTo>
                    <a:pt x="4649629" y="257651"/>
                    <a:pt x="4649629" y="253841"/>
                    <a:pt x="4650581" y="250984"/>
                  </a:cubicBezTo>
                  <a:cubicBezTo>
                    <a:pt x="4650581" y="250984"/>
                    <a:pt x="4650581" y="251936"/>
                    <a:pt x="4650581" y="251936"/>
                  </a:cubicBezTo>
                  <a:cubicBezTo>
                    <a:pt x="4651534" y="254794"/>
                    <a:pt x="4652487" y="259556"/>
                    <a:pt x="4652487" y="265271"/>
                  </a:cubicBezTo>
                  <a:cubicBezTo>
                    <a:pt x="4652487" y="267176"/>
                    <a:pt x="4652487" y="269081"/>
                    <a:pt x="4652487" y="270034"/>
                  </a:cubicBezTo>
                  <a:cubicBezTo>
                    <a:pt x="4651534" y="272891"/>
                    <a:pt x="4651534" y="275749"/>
                    <a:pt x="4650581" y="278606"/>
                  </a:cubicBezTo>
                  <a:cubicBezTo>
                    <a:pt x="4649629" y="282416"/>
                    <a:pt x="4648676" y="287179"/>
                    <a:pt x="4648676" y="290989"/>
                  </a:cubicBezTo>
                  <a:cubicBezTo>
                    <a:pt x="4648676" y="287179"/>
                    <a:pt x="4646772" y="283369"/>
                    <a:pt x="4645819" y="278606"/>
                  </a:cubicBezTo>
                  <a:cubicBezTo>
                    <a:pt x="4645819" y="278606"/>
                    <a:pt x="4645819" y="278606"/>
                    <a:pt x="4645819" y="278606"/>
                  </a:cubicBezTo>
                  <a:close/>
                  <a:moveTo>
                    <a:pt x="4642962" y="293846"/>
                  </a:moveTo>
                  <a:cubicBezTo>
                    <a:pt x="4643914" y="296704"/>
                    <a:pt x="4643914" y="299561"/>
                    <a:pt x="4644866" y="302419"/>
                  </a:cubicBezTo>
                  <a:cubicBezTo>
                    <a:pt x="4644866" y="304324"/>
                    <a:pt x="4645819" y="307181"/>
                    <a:pt x="4645819" y="309086"/>
                  </a:cubicBezTo>
                  <a:cubicBezTo>
                    <a:pt x="4645819" y="309086"/>
                    <a:pt x="4645819" y="309086"/>
                    <a:pt x="4645819" y="309086"/>
                  </a:cubicBezTo>
                  <a:cubicBezTo>
                    <a:pt x="4644866" y="308134"/>
                    <a:pt x="4643914" y="307181"/>
                    <a:pt x="4642962" y="306229"/>
                  </a:cubicBezTo>
                  <a:cubicBezTo>
                    <a:pt x="4642962" y="304324"/>
                    <a:pt x="4642009" y="302419"/>
                    <a:pt x="4642009" y="299561"/>
                  </a:cubicBezTo>
                  <a:cubicBezTo>
                    <a:pt x="4642962" y="297656"/>
                    <a:pt x="4642962" y="295751"/>
                    <a:pt x="4642962" y="293846"/>
                  </a:cubicBezTo>
                  <a:close/>
                  <a:moveTo>
                    <a:pt x="4595337" y="280511"/>
                  </a:moveTo>
                  <a:cubicBezTo>
                    <a:pt x="4596289" y="284321"/>
                    <a:pt x="4597241" y="289084"/>
                    <a:pt x="4598194" y="293846"/>
                  </a:cubicBezTo>
                  <a:cubicBezTo>
                    <a:pt x="4598194" y="295751"/>
                    <a:pt x="4598194" y="298609"/>
                    <a:pt x="4598194" y="300514"/>
                  </a:cubicBezTo>
                  <a:cubicBezTo>
                    <a:pt x="4598194" y="304324"/>
                    <a:pt x="4598194" y="308134"/>
                    <a:pt x="4598194" y="311944"/>
                  </a:cubicBezTo>
                  <a:cubicBezTo>
                    <a:pt x="4597241" y="313849"/>
                    <a:pt x="4597241" y="316706"/>
                    <a:pt x="4596289" y="319564"/>
                  </a:cubicBezTo>
                  <a:cubicBezTo>
                    <a:pt x="4595337" y="316706"/>
                    <a:pt x="4594384" y="314801"/>
                    <a:pt x="4593431" y="311944"/>
                  </a:cubicBezTo>
                  <a:cubicBezTo>
                    <a:pt x="4593431" y="310039"/>
                    <a:pt x="4593431" y="307181"/>
                    <a:pt x="4593431" y="305276"/>
                  </a:cubicBezTo>
                  <a:cubicBezTo>
                    <a:pt x="4593431" y="298609"/>
                    <a:pt x="4593431" y="292894"/>
                    <a:pt x="4593431" y="286226"/>
                  </a:cubicBezTo>
                  <a:cubicBezTo>
                    <a:pt x="4593431" y="284321"/>
                    <a:pt x="4594384" y="282416"/>
                    <a:pt x="4595337" y="280511"/>
                  </a:cubicBezTo>
                  <a:cubicBezTo>
                    <a:pt x="4595337" y="280511"/>
                    <a:pt x="4595337" y="280511"/>
                    <a:pt x="4595337" y="280511"/>
                  </a:cubicBezTo>
                  <a:close/>
                  <a:moveTo>
                    <a:pt x="4595337" y="277654"/>
                  </a:moveTo>
                  <a:cubicBezTo>
                    <a:pt x="4594384" y="278606"/>
                    <a:pt x="4594384" y="278606"/>
                    <a:pt x="4593431" y="279559"/>
                  </a:cubicBezTo>
                  <a:cubicBezTo>
                    <a:pt x="4593431" y="279559"/>
                    <a:pt x="4593431" y="280511"/>
                    <a:pt x="4592479" y="280511"/>
                  </a:cubicBezTo>
                  <a:cubicBezTo>
                    <a:pt x="4592479" y="274796"/>
                    <a:pt x="4592479" y="269081"/>
                    <a:pt x="4592479" y="263366"/>
                  </a:cubicBezTo>
                  <a:cubicBezTo>
                    <a:pt x="4593431" y="267176"/>
                    <a:pt x="4594384" y="271939"/>
                    <a:pt x="4595337" y="277654"/>
                  </a:cubicBezTo>
                  <a:close/>
                  <a:moveTo>
                    <a:pt x="4576287" y="253841"/>
                  </a:moveTo>
                  <a:cubicBezTo>
                    <a:pt x="4576287" y="260509"/>
                    <a:pt x="4576287" y="267176"/>
                    <a:pt x="4575334" y="273844"/>
                  </a:cubicBezTo>
                  <a:cubicBezTo>
                    <a:pt x="4573429" y="270034"/>
                    <a:pt x="4571524" y="266224"/>
                    <a:pt x="4569619" y="262414"/>
                  </a:cubicBezTo>
                  <a:cubicBezTo>
                    <a:pt x="4572476" y="259556"/>
                    <a:pt x="4574381" y="256699"/>
                    <a:pt x="4576287" y="253841"/>
                  </a:cubicBezTo>
                  <a:close/>
                  <a:moveTo>
                    <a:pt x="4566762" y="268129"/>
                  </a:moveTo>
                  <a:cubicBezTo>
                    <a:pt x="4566762" y="268129"/>
                    <a:pt x="4566762" y="269081"/>
                    <a:pt x="4566762" y="268129"/>
                  </a:cubicBezTo>
                  <a:cubicBezTo>
                    <a:pt x="4568666" y="273844"/>
                    <a:pt x="4570572" y="278606"/>
                    <a:pt x="4571524" y="284321"/>
                  </a:cubicBezTo>
                  <a:cubicBezTo>
                    <a:pt x="4572476" y="288131"/>
                    <a:pt x="4573429" y="292894"/>
                    <a:pt x="4574381" y="296704"/>
                  </a:cubicBezTo>
                  <a:cubicBezTo>
                    <a:pt x="4574381" y="298609"/>
                    <a:pt x="4574381" y="299561"/>
                    <a:pt x="4574381" y="301466"/>
                  </a:cubicBezTo>
                  <a:cubicBezTo>
                    <a:pt x="4570572" y="293846"/>
                    <a:pt x="4568666" y="289084"/>
                    <a:pt x="4568666" y="289084"/>
                  </a:cubicBezTo>
                  <a:cubicBezTo>
                    <a:pt x="4568666" y="289084"/>
                    <a:pt x="4570572" y="296704"/>
                    <a:pt x="4574381" y="309086"/>
                  </a:cubicBezTo>
                  <a:cubicBezTo>
                    <a:pt x="4573429" y="310991"/>
                    <a:pt x="4572476" y="312896"/>
                    <a:pt x="4571524" y="314801"/>
                  </a:cubicBezTo>
                  <a:cubicBezTo>
                    <a:pt x="4571524" y="314801"/>
                    <a:pt x="4571524" y="314801"/>
                    <a:pt x="4571524" y="315754"/>
                  </a:cubicBezTo>
                  <a:cubicBezTo>
                    <a:pt x="4568666" y="293846"/>
                    <a:pt x="4566762" y="278606"/>
                    <a:pt x="4564856" y="271939"/>
                  </a:cubicBezTo>
                  <a:cubicBezTo>
                    <a:pt x="4564856" y="270986"/>
                    <a:pt x="4565809" y="270034"/>
                    <a:pt x="4566762" y="268129"/>
                  </a:cubicBezTo>
                  <a:close/>
                  <a:moveTo>
                    <a:pt x="4560094" y="254794"/>
                  </a:moveTo>
                  <a:cubicBezTo>
                    <a:pt x="4561047" y="256699"/>
                    <a:pt x="4561999" y="258604"/>
                    <a:pt x="4562951" y="260509"/>
                  </a:cubicBezTo>
                  <a:cubicBezTo>
                    <a:pt x="4561999" y="261461"/>
                    <a:pt x="4561047" y="262414"/>
                    <a:pt x="4561047" y="263366"/>
                  </a:cubicBezTo>
                  <a:cubicBezTo>
                    <a:pt x="4560094" y="265271"/>
                    <a:pt x="4558189" y="266224"/>
                    <a:pt x="4557237" y="268129"/>
                  </a:cubicBezTo>
                  <a:cubicBezTo>
                    <a:pt x="4558189" y="263366"/>
                    <a:pt x="4559141" y="258604"/>
                    <a:pt x="4560094" y="254794"/>
                  </a:cubicBezTo>
                  <a:close/>
                  <a:moveTo>
                    <a:pt x="4548664" y="317659"/>
                  </a:moveTo>
                  <a:cubicBezTo>
                    <a:pt x="4551522" y="307181"/>
                    <a:pt x="4554379" y="298609"/>
                    <a:pt x="4557237" y="290036"/>
                  </a:cubicBezTo>
                  <a:cubicBezTo>
                    <a:pt x="4559141" y="284321"/>
                    <a:pt x="4561047" y="279559"/>
                    <a:pt x="4562951" y="275749"/>
                  </a:cubicBezTo>
                  <a:cubicBezTo>
                    <a:pt x="4561999" y="283369"/>
                    <a:pt x="4561047" y="298609"/>
                    <a:pt x="4560094" y="318611"/>
                  </a:cubicBezTo>
                  <a:cubicBezTo>
                    <a:pt x="4557237" y="313849"/>
                    <a:pt x="4555331" y="310991"/>
                    <a:pt x="4555331" y="310991"/>
                  </a:cubicBezTo>
                  <a:cubicBezTo>
                    <a:pt x="4555331" y="310991"/>
                    <a:pt x="4557237" y="314801"/>
                    <a:pt x="4560094" y="321469"/>
                  </a:cubicBezTo>
                  <a:cubicBezTo>
                    <a:pt x="4560094" y="321469"/>
                    <a:pt x="4560094" y="321469"/>
                    <a:pt x="4560094" y="321469"/>
                  </a:cubicBezTo>
                  <a:cubicBezTo>
                    <a:pt x="4560094" y="328136"/>
                    <a:pt x="4559141" y="334804"/>
                    <a:pt x="4559141" y="342424"/>
                  </a:cubicBezTo>
                  <a:cubicBezTo>
                    <a:pt x="4558189" y="346234"/>
                    <a:pt x="4556284" y="349091"/>
                    <a:pt x="4555331" y="352901"/>
                  </a:cubicBezTo>
                  <a:cubicBezTo>
                    <a:pt x="4554379" y="355759"/>
                    <a:pt x="4553426" y="358616"/>
                    <a:pt x="4552474" y="361474"/>
                  </a:cubicBezTo>
                  <a:cubicBezTo>
                    <a:pt x="4550569" y="354806"/>
                    <a:pt x="4549616" y="349091"/>
                    <a:pt x="4547712" y="343376"/>
                  </a:cubicBezTo>
                  <a:cubicBezTo>
                    <a:pt x="4547712" y="333851"/>
                    <a:pt x="4547712" y="328136"/>
                    <a:pt x="4547712" y="328136"/>
                  </a:cubicBezTo>
                  <a:cubicBezTo>
                    <a:pt x="4547712" y="328136"/>
                    <a:pt x="4546759" y="331946"/>
                    <a:pt x="4545806" y="338614"/>
                  </a:cubicBezTo>
                  <a:cubicBezTo>
                    <a:pt x="4545806" y="338614"/>
                    <a:pt x="4545806" y="337661"/>
                    <a:pt x="4545806" y="337661"/>
                  </a:cubicBezTo>
                  <a:cubicBezTo>
                    <a:pt x="4545806" y="336709"/>
                    <a:pt x="4545806" y="336709"/>
                    <a:pt x="4544854" y="335756"/>
                  </a:cubicBezTo>
                  <a:cubicBezTo>
                    <a:pt x="4546759" y="329089"/>
                    <a:pt x="4547712" y="323374"/>
                    <a:pt x="4548664" y="317659"/>
                  </a:cubicBezTo>
                  <a:close/>
                  <a:moveTo>
                    <a:pt x="4457224" y="306229"/>
                  </a:moveTo>
                  <a:cubicBezTo>
                    <a:pt x="4457224" y="306229"/>
                    <a:pt x="4456272" y="306229"/>
                    <a:pt x="4457224" y="306229"/>
                  </a:cubicBezTo>
                  <a:cubicBezTo>
                    <a:pt x="4457224" y="305276"/>
                    <a:pt x="4457224" y="305276"/>
                    <a:pt x="4457224" y="304324"/>
                  </a:cubicBezTo>
                  <a:cubicBezTo>
                    <a:pt x="4457224" y="305276"/>
                    <a:pt x="4457224" y="306229"/>
                    <a:pt x="4457224" y="306229"/>
                  </a:cubicBezTo>
                  <a:close/>
                  <a:moveTo>
                    <a:pt x="4478179" y="359569"/>
                  </a:moveTo>
                  <a:cubicBezTo>
                    <a:pt x="4477226" y="352901"/>
                    <a:pt x="4476274" y="346234"/>
                    <a:pt x="4476274" y="339566"/>
                  </a:cubicBezTo>
                  <a:cubicBezTo>
                    <a:pt x="4476274" y="338614"/>
                    <a:pt x="4476274" y="337661"/>
                    <a:pt x="4476274" y="336709"/>
                  </a:cubicBezTo>
                  <a:cubicBezTo>
                    <a:pt x="4479131" y="340519"/>
                    <a:pt x="4481037" y="343376"/>
                    <a:pt x="4483894" y="347186"/>
                  </a:cubicBezTo>
                  <a:cubicBezTo>
                    <a:pt x="4481037" y="350996"/>
                    <a:pt x="4480084" y="355759"/>
                    <a:pt x="4478179" y="359569"/>
                  </a:cubicBezTo>
                  <a:close/>
                  <a:moveTo>
                    <a:pt x="4497229" y="371951"/>
                  </a:moveTo>
                  <a:cubicBezTo>
                    <a:pt x="4497229" y="370046"/>
                    <a:pt x="4497229" y="369094"/>
                    <a:pt x="4497229" y="367189"/>
                  </a:cubicBezTo>
                  <a:cubicBezTo>
                    <a:pt x="4497229" y="368141"/>
                    <a:pt x="4497229" y="369094"/>
                    <a:pt x="4498181" y="370046"/>
                  </a:cubicBezTo>
                  <a:cubicBezTo>
                    <a:pt x="4497229" y="370999"/>
                    <a:pt x="4497229" y="370999"/>
                    <a:pt x="4497229" y="371951"/>
                  </a:cubicBezTo>
                  <a:close/>
                  <a:moveTo>
                    <a:pt x="4504849" y="322421"/>
                  </a:moveTo>
                  <a:cubicBezTo>
                    <a:pt x="4504849" y="325279"/>
                    <a:pt x="4504849" y="328136"/>
                    <a:pt x="4504849" y="330994"/>
                  </a:cubicBezTo>
                  <a:cubicBezTo>
                    <a:pt x="4503897" y="333851"/>
                    <a:pt x="4502944" y="337661"/>
                    <a:pt x="4501991" y="341471"/>
                  </a:cubicBezTo>
                  <a:cubicBezTo>
                    <a:pt x="4501991" y="343376"/>
                    <a:pt x="4501039" y="346234"/>
                    <a:pt x="4501039" y="348139"/>
                  </a:cubicBezTo>
                  <a:cubicBezTo>
                    <a:pt x="4500087" y="347186"/>
                    <a:pt x="4499134" y="346234"/>
                    <a:pt x="4499134" y="345281"/>
                  </a:cubicBezTo>
                  <a:cubicBezTo>
                    <a:pt x="4499134" y="344329"/>
                    <a:pt x="4498181" y="343376"/>
                    <a:pt x="4498181" y="342424"/>
                  </a:cubicBezTo>
                  <a:cubicBezTo>
                    <a:pt x="4499134" y="336709"/>
                    <a:pt x="4501039" y="330994"/>
                    <a:pt x="4501991" y="326231"/>
                  </a:cubicBezTo>
                  <a:cubicBezTo>
                    <a:pt x="4502944" y="320516"/>
                    <a:pt x="4504849" y="315754"/>
                    <a:pt x="4506754" y="310991"/>
                  </a:cubicBezTo>
                  <a:cubicBezTo>
                    <a:pt x="4505801" y="314801"/>
                    <a:pt x="4505801" y="318611"/>
                    <a:pt x="4504849" y="322421"/>
                  </a:cubicBezTo>
                  <a:close/>
                  <a:moveTo>
                    <a:pt x="4462939" y="250984"/>
                  </a:moveTo>
                  <a:cubicBezTo>
                    <a:pt x="4465797" y="242411"/>
                    <a:pt x="4468654" y="233839"/>
                    <a:pt x="4470559" y="226219"/>
                  </a:cubicBezTo>
                  <a:cubicBezTo>
                    <a:pt x="4470559" y="227171"/>
                    <a:pt x="4472464" y="229076"/>
                    <a:pt x="4474369" y="231934"/>
                  </a:cubicBezTo>
                  <a:cubicBezTo>
                    <a:pt x="4475322" y="233839"/>
                    <a:pt x="4477226" y="235744"/>
                    <a:pt x="4479131" y="238601"/>
                  </a:cubicBezTo>
                  <a:cubicBezTo>
                    <a:pt x="4481037" y="241459"/>
                    <a:pt x="4481989" y="245269"/>
                    <a:pt x="4483894" y="248126"/>
                  </a:cubicBezTo>
                  <a:cubicBezTo>
                    <a:pt x="4485799" y="251936"/>
                    <a:pt x="4487704" y="255746"/>
                    <a:pt x="4489609" y="260509"/>
                  </a:cubicBezTo>
                  <a:cubicBezTo>
                    <a:pt x="4491514" y="265271"/>
                    <a:pt x="4493419" y="270034"/>
                    <a:pt x="4495324" y="275749"/>
                  </a:cubicBezTo>
                  <a:cubicBezTo>
                    <a:pt x="4497229" y="281464"/>
                    <a:pt x="4499134" y="287179"/>
                    <a:pt x="4501039" y="293846"/>
                  </a:cubicBezTo>
                  <a:cubicBezTo>
                    <a:pt x="4501991" y="296704"/>
                    <a:pt x="4502944" y="299561"/>
                    <a:pt x="4503897" y="303371"/>
                  </a:cubicBezTo>
                  <a:cubicBezTo>
                    <a:pt x="4501991" y="308134"/>
                    <a:pt x="4499134" y="312896"/>
                    <a:pt x="4497229" y="317659"/>
                  </a:cubicBezTo>
                  <a:cubicBezTo>
                    <a:pt x="4496276" y="320516"/>
                    <a:pt x="4494372" y="323374"/>
                    <a:pt x="4493419" y="326231"/>
                  </a:cubicBezTo>
                  <a:cubicBezTo>
                    <a:pt x="4490562" y="297656"/>
                    <a:pt x="4488656" y="280511"/>
                    <a:pt x="4488656" y="280511"/>
                  </a:cubicBezTo>
                  <a:cubicBezTo>
                    <a:pt x="4488656" y="280511"/>
                    <a:pt x="4487704" y="294799"/>
                    <a:pt x="4487704" y="319564"/>
                  </a:cubicBezTo>
                  <a:cubicBezTo>
                    <a:pt x="4486751" y="316706"/>
                    <a:pt x="4484847" y="313849"/>
                    <a:pt x="4483894" y="311944"/>
                  </a:cubicBezTo>
                  <a:cubicBezTo>
                    <a:pt x="4477226" y="297656"/>
                    <a:pt x="4473416" y="289084"/>
                    <a:pt x="4473416" y="289084"/>
                  </a:cubicBezTo>
                  <a:cubicBezTo>
                    <a:pt x="4473416" y="289084"/>
                    <a:pt x="4476274" y="297656"/>
                    <a:pt x="4481037" y="312896"/>
                  </a:cubicBezTo>
                  <a:cubicBezTo>
                    <a:pt x="4482941" y="317659"/>
                    <a:pt x="4484847" y="323374"/>
                    <a:pt x="4486751" y="330041"/>
                  </a:cubicBezTo>
                  <a:cubicBezTo>
                    <a:pt x="4485799" y="329089"/>
                    <a:pt x="4485799" y="328136"/>
                    <a:pt x="4484847" y="328136"/>
                  </a:cubicBezTo>
                  <a:cubicBezTo>
                    <a:pt x="4481037" y="324326"/>
                    <a:pt x="4478179" y="321469"/>
                    <a:pt x="4475322" y="318611"/>
                  </a:cubicBezTo>
                  <a:cubicBezTo>
                    <a:pt x="4474369" y="313849"/>
                    <a:pt x="4473416" y="309086"/>
                    <a:pt x="4473416" y="304324"/>
                  </a:cubicBezTo>
                  <a:cubicBezTo>
                    <a:pt x="4471512" y="294799"/>
                    <a:pt x="4470559" y="286226"/>
                    <a:pt x="4468654" y="278606"/>
                  </a:cubicBezTo>
                  <a:cubicBezTo>
                    <a:pt x="4474369" y="264319"/>
                    <a:pt x="4477226" y="256699"/>
                    <a:pt x="4477226" y="256699"/>
                  </a:cubicBezTo>
                  <a:cubicBezTo>
                    <a:pt x="4477226" y="256699"/>
                    <a:pt x="4473416" y="262414"/>
                    <a:pt x="4466749" y="273844"/>
                  </a:cubicBezTo>
                  <a:cubicBezTo>
                    <a:pt x="4465797" y="268129"/>
                    <a:pt x="4464844" y="263366"/>
                    <a:pt x="4462939" y="258604"/>
                  </a:cubicBezTo>
                  <a:cubicBezTo>
                    <a:pt x="4462939" y="257651"/>
                    <a:pt x="4462939" y="256699"/>
                    <a:pt x="4462939" y="256699"/>
                  </a:cubicBezTo>
                  <a:cubicBezTo>
                    <a:pt x="4461987" y="253841"/>
                    <a:pt x="4461987" y="252889"/>
                    <a:pt x="4462939" y="250984"/>
                  </a:cubicBezTo>
                  <a:close/>
                  <a:moveTo>
                    <a:pt x="4461034" y="255746"/>
                  </a:moveTo>
                  <a:cubicBezTo>
                    <a:pt x="4461034" y="255746"/>
                    <a:pt x="4461034" y="256699"/>
                    <a:pt x="4461034" y="255746"/>
                  </a:cubicBezTo>
                  <a:cubicBezTo>
                    <a:pt x="4461034" y="256699"/>
                    <a:pt x="4461034" y="256699"/>
                    <a:pt x="4461034" y="255746"/>
                  </a:cubicBezTo>
                  <a:cubicBezTo>
                    <a:pt x="4461034" y="255746"/>
                    <a:pt x="4461034" y="255746"/>
                    <a:pt x="4461034" y="255746"/>
                  </a:cubicBezTo>
                  <a:close/>
                  <a:moveTo>
                    <a:pt x="4455319" y="274796"/>
                  </a:moveTo>
                  <a:cubicBezTo>
                    <a:pt x="4456272" y="272891"/>
                    <a:pt x="4457224" y="270034"/>
                    <a:pt x="4457224" y="268129"/>
                  </a:cubicBezTo>
                  <a:cubicBezTo>
                    <a:pt x="4457224" y="270034"/>
                    <a:pt x="4457224" y="271939"/>
                    <a:pt x="4457224" y="273844"/>
                  </a:cubicBezTo>
                  <a:cubicBezTo>
                    <a:pt x="4457224" y="277654"/>
                    <a:pt x="4457224" y="280511"/>
                    <a:pt x="4458176" y="284321"/>
                  </a:cubicBezTo>
                  <a:cubicBezTo>
                    <a:pt x="4457224" y="287179"/>
                    <a:pt x="4455319" y="290036"/>
                    <a:pt x="4454366" y="292894"/>
                  </a:cubicBezTo>
                  <a:cubicBezTo>
                    <a:pt x="4454366" y="287179"/>
                    <a:pt x="4454366" y="280511"/>
                    <a:pt x="4455319" y="274796"/>
                  </a:cubicBezTo>
                  <a:close/>
                  <a:moveTo>
                    <a:pt x="4449604" y="361474"/>
                  </a:moveTo>
                  <a:cubicBezTo>
                    <a:pt x="4450556" y="353854"/>
                    <a:pt x="4450556" y="346234"/>
                    <a:pt x="4451509" y="339566"/>
                  </a:cubicBezTo>
                  <a:cubicBezTo>
                    <a:pt x="4452462" y="340519"/>
                    <a:pt x="4452462" y="342424"/>
                    <a:pt x="4453414" y="343376"/>
                  </a:cubicBezTo>
                  <a:cubicBezTo>
                    <a:pt x="4453414" y="343376"/>
                    <a:pt x="4453414" y="343376"/>
                    <a:pt x="4453414" y="344329"/>
                  </a:cubicBezTo>
                  <a:cubicBezTo>
                    <a:pt x="4453414" y="344329"/>
                    <a:pt x="4453414" y="344329"/>
                    <a:pt x="4453414" y="344329"/>
                  </a:cubicBezTo>
                  <a:cubicBezTo>
                    <a:pt x="4452462" y="350996"/>
                    <a:pt x="4451509" y="358616"/>
                    <a:pt x="4451509" y="366236"/>
                  </a:cubicBezTo>
                  <a:cubicBezTo>
                    <a:pt x="4450556" y="372904"/>
                    <a:pt x="4449604" y="380524"/>
                    <a:pt x="4448651" y="388144"/>
                  </a:cubicBezTo>
                  <a:cubicBezTo>
                    <a:pt x="4447699" y="387191"/>
                    <a:pt x="4447699" y="387191"/>
                    <a:pt x="4446747" y="386239"/>
                  </a:cubicBezTo>
                  <a:cubicBezTo>
                    <a:pt x="4447699" y="377666"/>
                    <a:pt x="4448651" y="370046"/>
                    <a:pt x="4449604" y="361474"/>
                  </a:cubicBezTo>
                  <a:close/>
                  <a:moveTo>
                    <a:pt x="4386739" y="331946"/>
                  </a:moveTo>
                  <a:cubicBezTo>
                    <a:pt x="4387691" y="332899"/>
                    <a:pt x="4388644" y="334804"/>
                    <a:pt x="4390549" y="335756"/>
                  </a:cubicBezTo>
                  <a:cubicBezTo>
                    <a:pt x="4390549" y="337661"/>
                    <a:pt x="4390549" y="339566"/>
                    <a:pt x="4390549" y="342424"/>
                  </a:cubicBezTo>
                  <a:cubicBezTo>
                    <a:pt x="4389597" y="343376"/>
                    <a:pt x="4388644" y="345281"/>
                    <a:pt x="4386739" y="347186"/>
                  </a:cubicBezTo>
                  <a:cubicBezTo>
                    <a:pt x="4386739" y="341471"/>
                    <a:pt x="4386739" y="336709"/>
                    <a:pt x="4386739" y="331946"/>
                  </a:cubicBezTo>
                  <a:close/>
                  <a:moveTo>
                    <a:pt x="4389597" y="376714"/>
                  </a:moveTo>
                  <a:cubicBezTo>
                    <a:pt x="4389597" y="376714"/>
                    <a:pt x="4389597" y="375761"/>
                    <a:pt x="4388644" y="375761"/>
                  </a:cubicBezTo>
                  <a:cubicBezTo>
                    <a:pt x="4388644" y="373856"/>
                    <a:pt x="4387691" y="371951"/>
                    <a:pt x="4387691" y="370046"/>
                  </a:cubicBezTo>
                  <a:cubicBezTo>
                    <a:pt x="4387691" y="367189"/>
                    <a:pt x="4387691" y="363379"/>
                    <a:pt x="4387691" y="360521"/>
                  </a:cubicBezTo>
                  <a:cubicBezTo>
                    <a:pt x="4387691" y="357664"/>
                    <a:pt x="4387691" y="354806"/>
                    <a:pt x="4387691" y="351949"/>
                  </a:cubicBezTo>
                  <a:cubicBezTo>
                    <a:pt x="4388644" y="349091"/>
                    <a:pt x="4390549" y="347186"/>
                    <a:pt x="4391501" y="345281"/>
                  </a:cubicBezTo>
                  <a:cubicBezTo>
                    <a:pt x="4391501" y="346234"/>
                    <a:pt x="4391501" y="348139"/>
                    <a:pt x="4391501" y="349091"/>
                  </a:cubicBezTo>
                  <a:cubicBezTo>
                    <a:pt x="4391501" y="355759"/>
                    <a:pt x="4392454" y="362426"/>
                    <a:pt x="4392454" y="370046"/>
                  </a:cubicBezTo>
                  <a:cubicBezTo>
                    <a:pt x="4390549" y="371951"/>
                    <a:pt x="4389597" y="374809"/>
                    <a:pt x="4389597" y="376714"/>
                  </a:cubicBezTo>
                  <a:close/>
                  <a:moveTo>
                    <a:pt x="4424839" y="351949"/>
                  </a:moveTo>
                  <a:cubicBezTo>
                    <a:pt x="4424839" y="352901"/>
                    <a:pt x="4424839" y="353854"/>
                    <a:pt x="4424839" y="354806"/>
                  </a:cubicBezTo>
                  <a:cubicBezTo>
                    <a:pt x="4423887" y="355759"/>
                    <a:pt x="4423887" y="356711"/>
                    <a:pt x="4422934" y="356711"/>
                  </a:cubicBezTo>
                  <a:cubicBezTo>
                    <a:pt x="4422934" y="354806"/>
                    <a:pt x="4423887" y="353854"/>
                    <a:pt x="4424839" y="351949"/>
                  </a:cubicBezTo>
                  <a:close/>
                  <a:moveTo>
                    <a:pt x="4415314" y="411004"/>
                  </a:moveTo>
                  <a:cubicBezTo>
                    <a:pt x="4415314" y="411004"/>
                    <a:pt x="4415314" y="411956"/>
                    <a:pt x="4415314" y="411956"/>
                  </a:cubicBezTo>
                  <a:cubicBezTo>
                    <a:pt x="4414362" y="411004"/>
                    <a:pt x="4413409" y="410051"/>
                    <a:pt x="4412456" y="409099"/>
                  </a:cubicBezTo>
                  <a:cubicBezTo>
                    <a:pt x="4412456" y="401479"/>
                    <a:pt x="4412456" y="392906"/>
                    <a:pt x="4411504" y="385286"/>
                  </a:cubicBezTo>
                  <a:cubicBezTo>
                    <a:pt x="4414362" y="380524"/>
                    <a:pt x="4417219" y="376714"/>
                    <a:pt x="4420076" y="372904"/>
                  </a:cubicBezTo>
                  <a:cubicBezTo>
                    <a:pt x="4420076" y="373856"/>
                    <a:pt x="4421029" y="373856"/>
                    <a:pt x="4421029" y="374809"/>
                  </a:cubicBezTo>
                  <a:cubicBezTo>
                    <a:pt x="4419124" y="386239"/>
                    <a:pt x="4417219" y="397669"/>
                    <a:pt x="4415314" y="411004"/>
                  </a:cubicBezTo>
                  <a:close/>
                  <a:moveTo>
                    <a:pt x="4410551" y="254794"/>
                  </a:moveTo>
                  <a:cubicBezTo>
                    <a:pt x="4413409" y="260509"/>
                    <a:pt x="4417219" y="267176"/>
                    <a:pt x="4421029" y="273844"/>
                  </a:cubicBezTo>
                  <a:cubicBezTo>
                    <a:pt x="4419124" y="280511"/>
                    <a:pt x="4417219" y="287179"/>
                    <a:pt x="4415314" y="293846"/>
                  </a:cubicBezTo>
                  <a:cubicBezTo>
                    <a:pt x="4413409" y="301466"/>
                    <a:pt x="4410551" y="309086"/>
                    <a:pt x="4408647" y="316706"/>
                  </a:cubicBezTo>
                  <a:cubicBezTo>
                    <a:pt x="4407694" y="305276"/>
                    <a:pt x="4406741" y="297656"/>
                    <a:pt x="4406741" y="297656"/>
                  </a:cubicBezTo>
                  <a:cubicBezTo>
                    <a:pt x="4406741" y="297656"/>
                    <a:pt x="4404837" y="310991"/>
                    <a:pt x="4402931" y="331946"/>
                  </a:cubicBezTo>
                  <a:cubicBezTo>
                    <a:pt x="4402931" y="333851"/>
                    <a:pt x="4401979" y="335756"/>
                    <a:pt x="4401026" y="337661"/>
                  </a:cubicBezTo>
                  <a:cubicBezTo>
                    <a:pt x="4401026" y="337661"/>
                    <a:pt x="4400074" y="336709"/>
                    <a:pt x="4400074" y="336709"/>
                  </a:cubicBezTo>
                  <a:cubicBezTo>
                    <a:pt x="4393406" y="295751"/>
                    <a:pt x="4388644" y="270034"/>
                    <a:pt x="4388644" y="270034"/>
                  </a:cubicBezTo>
                  <a:cubicBezTo>
                    <a:pt x="4388644" y="270034"/>
                    <a:pt x="4388644" y="292894"/>
                    <a:pt x="4389597" y="328136"/>
                  </a:cubicBezTo>
                  <a:cubicBezTo>
                    <a:pt x="4388644" y="327184"/>
                    <a:pt x="4387691" y="326231"/>
                    <a:pt x="4386739" y="325279"/>
                  </a:cubicBezTo>
                  <a:cubicBezTo>
                    <a:pt x="4386739" y="324326"/>
                    <a:pt x="4386739" y="324326"/>
                    <a:pt x="4386739" y="323374"/>
                  </a:cubicBezTo>
                  <a:cubicBezTo>
                    <a:pt x="4387691" y="311944"/>
                    <a:pt x="4386739" y="300514"/>
                    <a:pt x="4387691" y="290989"/>
                  </a:cubicBezTo>
                  <a:cubicBezTo>
                    <a:pt x="4388644" y="280511"/>
                    <a:pt x="4388644" y="271939"/>
                    <a:pt x="4389597" y="263366"/>
                  </a:cubicBezTo>
                  <a:cubicBezTo>
                    <a:pt x="4390549" y="254794"/>
                    <a:pt x="4390549" y="248126"/>
                    <a:pt x="4391501" y="242411"/>
                  </a:cubicBezTo>
                  <a:cubicBezTo>
                    <a:pt x="4392454" y="233839"/>
                    <a:pt x="4393406" y="228124"/>
                    <a:pt x="4393406" y="225266"/>
                  </a:cubicBezTo>
                  <a:cubicBezTo>
                    <a:pt x="4399122" y="232886"/>
                    <a:pt x="4403884" y="243364"/>
                    <a:pt x="4410551" y="254794"/>
                  </a:cubicBezTo>
                  <a:close/>
                  <a:moveTo>
                    <a:pt x="4389597" y="217646"/>
                  </a:moveTo>
                  <a:cubicBezTo>
                    <a:pt x="4390549" y="219551"/>
                    <a:pt x="4392454" y="221456"/>
                    <a:pt x="4393406" y="224314"/>
                  </a:cubicBezTo>
                  <a:cubicBezTo>
                    <a:pt x="4392454" y="227171"/>
                    <a:pt x="4390549" y="232886"/>
                    <a:pt x="4387691" y="240506"/>
                  </a:cubicBezTo>
                  <a:cubicBezTo>
                    <a:pt x="4385787" y="246221"/>
                    <a:pt x="4383881" y="252889"/>
                    <a:pt x="4381976" y="260509"/>
                  </a:cubicBezTo>
                  <a:cubicBezTo>
                    <a:pt x="4381976" y="259556"/>
                    <a:pt x="4381976" y="257651"/>
                    <a:pt x="4381976" y="256699"/>
                  </a:cubicBezTo>
                  <a:cubicBezTo>
                    <a:pt x="4384834" y="242411"/>
                    <a:pt x="4386739" y="229076"/>
                    <a:pt x="4389597" y="217646"/>
                  </a:cubicBezTo>
                  <a:close/>
                  <a:moveTo>
                    <a:pt x="4374356" y="291941"/>
                  </a:moveTo>
                  <a:cubicBezTo>
                    <a:pt x="4374356" y="291941"/>
                    <a:pt x="4374356" y="292894"/>
                    <a:pt x="4374356" y="292894"/>
                  </a:cubicBezTo>
                  <a:cubicBezTo>
                    <a:pt x="4374356" y="292894"/>
                    <a:pt x="4374356" y="292894"/>
                    <a:pt x="4374356" y="291941"/>
                  </a:cubicBezTo>
                  <a:cubicBezTo>
                    <a:pt x="4374356" y="291941"/>
                    <a:pt x="4374356" y="291941"/>
                    <a:pt x="4374356" y="291941"/>
                  </a:cubicBezTo>
                  <a:close/>
                  <a:moveTo>
                    <a:pt x="4360069" y="282416"/>
                  </a:moveTo>
                  <a:cubicBezTo>
                    <a:pt x="4360069" y="284321"/>
                    <a:pt x="4360069" y="287179"/>
                    <a:pt x="4360069" y="290036"/>
                  </a:cubicBezTo>
                  <a:cubicBezTo>
                    <a:pt x="4360069" y="289084"/>
                    <a:pt x="4359116" y="288131"/>
                    <a:pt x="4359116" y="288131"/>
                  </a:cubicBezTo>
                  <a:cubicBezTo>
                    <a:pt x="4359116" y="285274"/>
                    <a:pt x="4359116" y="283369"/>
                    <a:pt x="4360069" y="282416"/>
                  </a:cubicBezTo>
                  <a:close/>
                  <a:moveTo>
                    <a:pt x="4313397" y="387191"/>
                  </a:moveTo>
                  <a:cubicBezTo>
                    <a:pt x="4312444" y="388144"/>
                    <a:pt x="4312444" y="390049"/>
                    <a:pt x="4311491" y="391001"/>
                  </a:cubicBezTo>
                  <a:cubicBezTo>
                    <a:pt x="4312444" y="389096"/>
                    <a:pt x="4312444" y="388144"/>
                    <a:pt x="4313397" y="387191"/>
                  </a:cubicBezTo>
                  <a:cubicBezTo>
                    <a:pt x="4313397" y="386239"/>
                    <a:pt x="4313397" y="387191"/>
                    <a:pt x="4313397" y="387191"/>
                  </a:cubicBezTo>
                  <a:close/>
                  <a:moveTo>
                    <a:pt x="4311491" y="351949"/>
                  </a:moveTo>
                  <a:cubicBezTo>
                    <a:pt x="4311491" y="356711"/>
                    <a:pt x="4312444" y="360521"/>
                    <a:pt x="4312444" y="365284"/>
                  </a:cubicBezTo>
                  <a:cubicBezTo>
                    <a:pt x="4311491" y="364331"/>
                    <a:pt x="4311491" y="364331"/>
                    <a:pt x="4311491" y="363379"/>
                  </a:cubicBezTo>
                  <a:cubicBezTo>
                    <a:pt x="4311491" y="358616"/>
                    <a:pt x="4311491" y="355759"/>
                    <a:pt x="4311491" y="351949"/>
                  </a:cubicBezTo>
                  <a:close/>
                  <a:moveTo>
                    <a:pt x="4247674" y="313849"/>
                  </a:moveTo>
                  <a:cubicBezTo>
                    <a:pt x="4247674" y="312896"/>
                    <a:pt x="4247674" y="312896"/>
                    <a:pt x="4247674" y="311944"/>
                  </a:cubicBezTo>
                  <a:cubicBezTo>
                    <a:pt x="4247674" y="312896"/>
                    <a:pt x="4247674" y="312896"/>
                    <a:pt x="4247674" y="313849"/>
                  </a:cubicBezTo>
                  <a:cubicBezTo>
                    <a:pt x="4247674" y="317659"/>
                    <a:pt x="4247674" y="320516"/>
                    <a:pt x="4246722" y="324326"/>
                  </a:cubicBezTo>
                  <a:cubicBezTo>
                    <a:pt x="4246722" y="323374"/>
                    <a:pt x="4246722" y="322421"/>
                    <a:pt x="4246722" y="322421"/>
                  </a:cubicBezTo>
                  <a:cubicBezTo>
                    <a:pt x="4246722" y="318611"/>
                    <a:pt x="4247674" y="315754"/>
                    <a:pt x="4247674" y="313849"/>
                  </a:cubicBezTo>
                  <a:close/>
                  <a:moveTo>
                    <a:pt x="4181951" y="367189"/>
                  </a:moveTo>
                  <a:cubicBezTo>
                    <a:pt x="4181951" y="351949"/>
                    <a:pt x="4182904" y="337661"/>
                    <a:pt x="4182904" y="324326"/>
                  </a:cubicBezTo>
                  <a:cubicBezTo>
                    <a:pt x="4182904" y="326231"/>
                    <a:pt x="4183856" y="328136"/>
                    <a:pt x="4183856" y="330041"/>
                  </a:cubicBezTo>
                  <a:cubicBezTo>
                    <a:pt x="4184809" y="333851"/>
                    <a:pt x="4185761" y="336709"/>
                    <a:pt x="4185761" y="340519"/>
                  </a:cubicBezTo>
                  <a:cubicBezTo>
                    <a:pt x="4185761" y="341471"/>
                    <a:pt x="4185761" y="342424"/>
                    <a:pt x="4185761" y="342424"/>
                  </a:cubicBezTo>
                  <a:cubicBezTo>
                    <a:pt x="4184809" y="339566"/>
                    <a:pt x="4183856" y="338614"/>
                    <a:pt x="4183856" y="338614"/>
                  </a:cubicBezTo>
                  <a:cubicBezTo>
                    <a:pt x="4183856" y="338614"/>
                    <a:pt x="4184809" y="345281"/>
                    <a:pt x="4187666" y="357664"/>
                  </a:cubicBezTo>
                  <a:cubicBezTo>
                    <a:pt x="4187666" y="360521"/>
                    <a:pt x="4188619" y="362426"/>
                    <a:pt x="4189571" y="365284"/>
                  </a:cubicBezTo>
                  <a:cubicBezTo>
                    <a:pt x="4189571" y="368141"/>
                    <a:pt x="4190524" y="370999"/>
                    <a:pt x="4191476" y="373856"/>
                  </a:cubicBezTo>
                  <a:cubicBezTo>
                    <a:pt x="4191476" y="377666"/>
                    <a:pt x="4190524" y="382429"/>
                    <a:pt x="4190524" y="386239"/>
                  </a:cubicBezTo>
                  <a:cubicBezTo>
                    <a:pt x="4190524" y="388144"/>
                    <a:pt x="4190524" y="390049"/>
                    <a:pt x="4190524" y="391954"/>
                  </a:cubicBezTo>
                  <a:cubicBezTo>
                    <a:pt x="4187666" y="383381"/>
                    <a:pt x="4184809" y="374809"/>
                    <a:pt x="4181951" y="367189"/>
                  </a:cubicBezTo>
                  <a:cubicBezTo>
                    <a:pt x="4181951" y="369094"/>
                    <a:pt x="4181951" y="368141"/>
                    <a:pt x="4181951" y="367189"/>
                  </a:cubicBezTo>
                  <a:close/>
                  <a:moveTo>
                    <a:pt x="4161949" y="401479"/>
                  </a:moveTo>
                  <a:cubicBezTo>
                    <a:pt x="4161949" y="400526"/>
                    <a:pt x="4161949" y="400526"/>
                    <a:pt x="4161949" y="399574"/>
                  </a:cubicBezTo>
                  <a:cubicBezTo>
                    <a:pt x="4161949" y="399574"/>
                    <a:pt x="4161949" y="399574"/>
                    <a:pt x="4161949" y="399574"/>
                  </a:cubicBezTo>
                  <a:cubicBezTo>
                    <a:pt x="4161949" y="400526"/>
                    <a:pt x="4161949" y="401479"/>
                    <a:pt x="4161949" y="401479"/>
                  </a:cubicBezTo>
                  <a:close/>
                  <a:moveTo>
                    <a:pt x="4160044" y="306229"/>
                  </a:moveTo>
                  <a:cubicBezTo>
                    <a:pt x="4160044" y="299561"/>
                    <a:pt x="4160996" y="295751"/>
                    <a:pt x="4160996" y="292894"/>
                  </a:cubicBezTo>
                  <a:cubicBezTo>
                    <a:pt x="4161949" y="289084"/>
                    <a:pt x="4162901" y="286226"/>
                    <a:pt x="4163854" y="282416"/>
                  </a:cubicBezTo>
                  <a:cubicBezTo>
                    <a:pt x="4163854" y="292894"/>
                    <a:pt x="4162901" y="303371"/>
                    <a:pt x="4162901" y="313849"/>
                  </a:cubicBezTo>
                  <a:cubicBezTo>
                    <a:pt x="4161949" y="310991"/>
                    <a:pt x="4160996" y="309086"/>
                    <a:pt x="4160044" y="306229"/>
                  </a:cubicBezTo>
                  <a:cubicBezTo>
                    <a:pt x="4160044" y="306229"/>
                    <a:pt x="4160044" y="306229"/>
                    <a:pt x="4160044" y="306229"/>
                  </a:cubicBezTo>
                  <a:close/>
                  <a:moveTo>
                    <a:pt x="4128611" y="354806"/>
                  </a:moveTo>
                  <a:cubicBezTo>
                    <a:pt x="4128611" y="350996"/>
                    <a:pt x="4128611" y="347186"/>
                    <a:pt x="4127659" y="343376"/>
                  </a:cubicBezTo>
                  <a:cubicBezTo>
                    <a:pt x="4127659" y="345281"/>
                    <a:pt x="4127659" y="347186"/>
                    <a:pt x="4128611" y="350044"/>
                  </a:cubicBezTo>
                  <a:cubicBezTo>
                    <a:pt x="4129564" y="354806"/>
                    <a:pt x="4129564" y="360521"/>
                    <a:pt x="4130516" y="365284"/>
                  </a:cubicBezTo>
                  <a:cubicBezTo>
                    <a:pt x="4129564" y="361474"/>
                    <a:pt x="4129564" y="358616"/>
                    <a:pt x="4128611" y="354806"/>
                  </a:cubicBezTo>
                  <a:close/>
                  <a:moveTo>
                    <a:pt x="4124801" y="255746"/>
                  </a:moveTo>
                  <a:cubicBezTo>
                    <a:pt x="4124801" y="252889"/>
                    <a:pt x="4124801" y="250031"/>
                    <a:pt x="4124801" y="248126"/>
                  </a:cubicBezTo>
                  <a:cubicBezTo>
                    <a:pt x="4129564" y="265271"/>
                    <a:pt x="4134326" y="284321"/>
                    <a:pt x="4140041" y="303371"/>
                  </a:cubicBezTo>
                  <a:cubicBezTo>
                    <a:pt x="4140041" y="304324"/>
                    <a:pt x="4140994" y="306229"/>
                    <a:pt x="4140994" y="307181"/>
                  </a:cubicBezTo>
                  <a:cubicBezTo>
                    <a:pt x="4140994" y="311944"/>
                    <a:pt x="4140994" y="316706"/>
                    <a:pt x="4140994" y="321469"/>
                  </a:cubicBezTo>
                  <a:cubicBezTo>
                    <a:pt x="4136231" y="310991"/>
                    <a:pt x="4133374" y="305276"/>
                    <a:pt x="4133374" y="305276"/>
                  </a:cubicBezTo>
                  <a:cubicBezTo>
                    <a:pt x="4133374" y="305276"/>
                    <a:pt x="4134326" y="308134"/>
                    <a:pt x="4135279" y="312896"/>
                  </a:cubicBezTo>
                  <a:cubicBezTo>
                    <a:pt x="4132421" y="309086"/>
                    <a:pt x="4130516" y="304324"/>
                    <a:pt x="4127659" y="300514"/>
                  </a:cubicBezTo>
                  <a:cubicBezTo>
                    <a:pt x="4125754" y="293846"/>
                    <a:pt x="4124801" y="288131"/>
                    <a:pt x="4123849" y="284321"/>
                  </a:cubicBezTo>
                  <a:cubicBezTo>
                    <a:pt x="4124801" y="273844"/>
                    <a:pt x="4124801" y="264319"/>
                    <a:pt x="4124801" y="255746"/>
                  </a:cubicBezTo>
                  <a:close/>
                  <a:moveTo>
                    <a:pt x="4095274" y="395764"/>
                  </a:moveTo>
                  <a:cubicBezTo>
                    <a:pt x="4094321" y="395764"/>
                    <a:pt x="4094321" y="395764"/>
                    <a:pt x="4095274" y="395764"/>
                  </a:cubicBezTo>
                  <a:cubicBezTo>
                    <a:pt x="4095274" y="394811"/>
                    <a:pt x="4095274" y="394811"/>
                    <a:pt x="4095274" y="394811"/>
                  </a:cubicBezTo>
                  <a:cubicBezTo>
                    <a:pt x="4095274" y="394811"/>
                    <a:pt x="4095274" y="395764"/>
                    <a:pt x="4095274" y="395764"/>
                  </a:cubicBezTo>
                  <a:close/>
                  <a:moveTo>
                    <a:pt x="4093369" y="386239"/>
                  </a:moveTo>
                  <a:cubicBezTo>
                    <a:pt x="4093369" y="383381"/>
                    <a:pt x="4093369" y="379571"/>
                    <a:pt x="4093369" y="376714"/>
                  </a:cubicBezTo>
                  <a:cubicBezTo>
                    <a:pt x="4094321" y="378619"/>
                    <a:pt x="4095274" y="380524"/>
                    <a:pt x="4096226" y="382429"/>
                  </a:cubicBezTo>
                  <a:cubicBezTo>
                    <a:pt x="4094321" y="384334"/>
                    <a:pt x="4094321" y="385286"/>
                    <a:pt x="4093369" y="386239"/>
                  </a:cubicBezTo>
                  <a:close/>
                  <a:moveTo>
                    <a:pt x="4097179" y="342424"/>
                  </a:moveTo>
                  <a:cubicBezTo>
                    <a:pt x="4098131" y="339566"/>
                    <a:pt x="4098131" y="337661"/>
                    <a:pt x="4099084" y="334804"/>
                  </a:cubicBezTo>
                  <a:cubicBezTo>
                    <a:pt x="4099084" y="335756"/>
                    <a:pt x="4099084" y="336709"/>
                    <a:pt x="4099084" y="337661"/>
                  </a:cubicBezTo>
                  <a:cubicBezTo>
                    <a:pt x="4099084" y="339566"/>
                    <a:pt x="4098131" y="340519"/>
                    <a:pt x="4097179" y="342424"/>
                  </a:cubicBezTo>
                  <a:close/>
                  <a:moveTo>
                    <a:pt x="4100989" y="353854"/>
                  </a:moveTo>
                  <a:cubicBezTo>
                    <a:pt x="4100989" y="352901"/>
                    <a:pt x="4100989" y="351949"/>
                    <a:pt x="4100989" y="351949"/>
                  </a:cubicBezTo>
                  <a:cubicBezTo>
                    <a:pt x="4100989" y="351949"/>
                    <a:pt x="4100989" y="351949"/>
                    <a:pt x="4100989" y="351949"/>
                  </a:cubicBezTo>
                  <a:cubicBezTo>
                    <a:pt x="4100989" y="352901"/>
                    <a:pt x="4100989" y="353854"/>
                    <a:pt x="4100989" y="353854"/>
                  </a:cubicBezTo>
                  <a:cubicBezTo>
                    <a:pt x="4100989" y="354806"/>
                    <a:pt x="4100989" y="353854"/>
                    <a:pt x="4100989" y="353854"/>
                  </a:cubicBezTo>
                  <a:close/>
                  <a:moveTo>
                    <a:pt x="4115276" y="322421"/>
                  </a:moveTo>
                  <a:cubicBezTo>
                    <a:pt x="4115276" y="330994"/>
                    <a:pt x="4114324" y="341471"/>
                    <a:pt x="4114324" y="350996"/>
                  </a:cubicBezTo>
                  <a:cubicBezTo>
                    <a:pt x="4113371" y="336709"/>
                    <a:pt x="4111466" y="327184"/>
                    <a:pt x="4111466" y="327184"/>
                  </a:cubicBezTo>
                  <a:cubicBezTo>
                    <a:pt x="4111466" y="327184"/>
                    <a:pt x="4110514" y="332899"/>
                    <a:pt x="4108609" y="342424"/>
                  </a:cubicBezTo>
                  <a:cubicBezTo>
                    <a:pt x="4108609" y="342424"/>
                    <a:pt x="4107656" y="341471"/>
                    <a:pt x="4107656" y="341471"/>
                  </a:cubicBezTo>
                  <a:cubicBezTo>
                    <a:pt x="4107656" y="339566"/>
                    <a:pt x="4106704" y="338614"/>
                    <a:pt x="4106704" y="336709"/>
                  </a:cubicBezTo>
                  <a:cubicBezTo>
                    <a:pt x="4108609" y="330994"/>
                    <a:pt x="4111466" y="326231"/>
                    <a:pt x="4113371" y="322421"/>
                  </a:cubicBezTo>
                  <a:cubicBezTo>
                    <a:pt x="4114324" y="321469"/>
                    <a:pt x="4114324" y="319564"/>
                    <a:pt x="4115276" y="318611"/>
                  </a:cubicBezTo>
                  <a:cubicBezTo>
                    <a:pt x="4115276" y="319564"/>
                    <a:pt x="4115276" y="320516"/>
                    <a:pt x="4115276" y="322421"/>
                  </a:cubicBezTo>
                  <a:close/>
                  <a:moveTo>
                    <a:pt x="4109561" y="295751"/>
                  </a:moveTo>
                  <a:cubicBezTo>
                    <a:pt x="4111466" y="299561"/>
                    <a:pt x="4113371" y="303371"/>
                    <a:pt x="4116229" y="308134"/>
                  </a:cubicBezTo>
                  <a:cubicBezTo>
                    <a:pt x="4116229" y="309086"/>
                    <a:pt x="4116229" y="310991"/>
                    <a:pt x="4116229" y="311944"/>
                  </a:cubicBezTo>
                  <a:cubicBezTo>
                    <a:pt x="4114324" y="314801"/>
                    <a:pt x="4112419" y="316706"/>
                    <a:pt x="4110514" y="320516"/>
                  </a:cubicBezTo>
                  <a:cubicBezTo>
                    <a:pt x="4108609" y="323374"/>
                    <a:pt x="4106704" y="326231"/>
                    <a:pt x="4104799" y="329089"/>
                  </a:cubicBezTo>
                  <a:cubicBezTo>
                    <a:pt x="4103846" y="326231"/>
                    <a:pt x="4102894" y="324326"/>
                    <a:pt x="4102894" y="322421"/>
                  </a:cubicBezTo>
                  <a:cubicBezTo>
                    <a:pt x="4105751" y="311944"/>
                    <a:pt x="4107656" y="303371"/>
                    <a:pt x="4109561" y="295751"/>
                  </a:cubicBezTo>
                  <a:close/>
                  <a:moveTo>
                    <a:pt x="4092416" y="294799"/>
                  </a:moveTo>
                  <a:cubicBezTo>
                    <a:pt x="4093369" y="284321"/>
                    <a:pt x="4093369" y="274796"/>
                    <a:pt x="4094321" y="265271"/>
                  </a:cubicBezTo>
                  <a:cubicBezTo>
                    <a:pt x="4095274" y="268129"/>
                    <a:pt x="4096226" y="270034"/>
                    <a:pt x="4098131" y="272891"/>
                  </a:cubicBezTo>
                  <a:cubicBezTo>
                    <a:pt x="4100989" y="278606"/>
                    <a:pt x="4103846" y="284321"/>
                    <a:pt x="4106704" y="290989"/>
                  </a:cubicBezTo>
                  <a:cubicBezTo>
                    <a:pt x="4103846" y="296704"/>
                    <a:pt x="4101941" y="304324"/>
                    <a:pt x="4098131" y="311944"/>
                  </a:cubicBezTo>
                  <a:cubicBezTo>
                    <a:pt x="4097179" y="308134"/>
                    <a:pt x="4096226" y="306229"/>
                    <a:pt x="4096226" y="306229"/>
                  </a:cubicBezTo>
                  <a:cubicBezTo>
                    <a:pt x="4096226" y="306229"/>
                    <a:pt x="4096226" y="310039"/>
                    <a:pt x="4097179" y="315754"/>
                  </a:cubicBezTo>
                  <a:cubicBezTo>
                    <a:pt x="4095274" y="320516"/>
                    <a:pt x="4093369" y="324326"/>
                    <a:pt x="4092416" y="329089"/>
                  </a:cubicBezTo>
                  <a:cubicBezTo>
                    <a:pt x="4092416" y="328136"/>
                    <a:pt x="4091464" y="326231"/>
                    <a:pt x="4091464" y="325279"/>
                  </a:cubicBezTo>
                  <a:cubicBezTo>
                    <a:pt x="4091464" y="324326"/>
                    <a:pt x="4090511" y="323374"/>
                    <a:pt x="4090511" y="321469"/>
                  </a:cubicBezTo>
                  <a:cubicBezTo>
                    <a:pt x="4091464" y="311944"/>
                    <a:pt x="4092416" y="303371"/>
                    <a:pt x="4092416" y="294799"/>
                  </a:cubicBezTo>
                  <a:close/>
                  <a:moveTo>
                    <a:pt x="4085749" y="244316"/>
                  </a:moveTo>
                  <a:cubicBezTo>
                    <a:pt x="4085749" y="245269"/>
                    <a:pt x="4085749" y="245269"/>
                    <a:pt x="4085749" y="244316"/>
                  </a:cubicBezTo>
                  <a:cubicBezTo>
                    <a:pt x="4085749" y="247174"/>
                    <a:pt x="4085749" y="248126"/>
                    <a:pt x="4084796" y="250031"/>
                  </a:cubicBezTo>
                  <a:cubicBezTo>
                    <a:pt x="4084796" y="249079"/>
                    <a:pt x="4084796" y="246221"/>
                    <a:pt x="4085749" y="244316"/>
                  </a:cubicBezTo>
                  <a:close/>
                  <a:moveTo>
                    <a:pt x="4043839" y="279559"/>
                  </a:moveTo>
                  <a:cubicBezTo>
                    <a:pt x="4044791" y="280511"/>
                    <a:pt x="4044791" y="280511"/>
                    <a:pt x="4043839" y="279559"/>
                  </a:cubicBezTo>
                  <a:cubicBezTo>
                    <a:pt x="4044791" y="281464"/>
                    <a:pt x="4044791" y="282416"/>
                    <a:pt x="4044791" y="283369"/>
                  </a:cubicBezTo>
                  <a:cubicBezTo>
                    <a:pt x="4043839" y="282416"/>
                    <a:pt x="4043839" y="281464"/>
                    <a:pt x="4043839" y="281464"/>
                  </a:cubicBezTo>
                  <a:cubicBezTo>
                    <a:pt x="4043839" y="281464"/>
                    <a:pt x="4043839" y="283369"/>
                    <a:pt x="4044791" y="286226"/>
                  </a:cubicBezTo>
                  <a:cubicBezTo>
                    <a:pt x="4044791" y="287179"/>
                    <a:pt x="4044791" y="288131"/>
                    <a:pt x="4044791" y="290036"/>
                  </a:cubicBezTo>
                  <a:cubicBezTo>
                    <a:pt x="4043839" y="288131"/>
                    <a:pt x="4042886" y="286226"/>
                    <a:pt x="4042886" y="284321"/>
                  </a:cubicBezTo>
                  <a:cubicBezTo>
                    <a:pt x="4043839" y="282416"/>
                    <a:pt x="4043839" y="281464"/>
                    <a:pt x="4043839" y="279559"/>
                  </a:cubicBezTo>
                  <a:close/>
                  <a:moveTo>
                    <a:pt x="4044791" y="333851"/>
                  </a:moveTo>
                  <a:cubicBezTo>
                    <a:pt x="4044791" y="333851"/>
                    <a:pt x="4044791" y="333851"/>
                    <a:pt x="4044791" y="333851"/>
                  </a:cubicBezTo>
                  <a:cubicBezTo>
                    <a:pt x="4044791" y="335756"/>
                    <a:pt x="4044791" y="337661"/>
                    <a:pt x="4044791" y="339566"/>
                  </a:cubicBezTo>
                  <a:cubicBezTo>
                    <a:pt x="4043839" y="338614"/>
                    <a:pt x="4043839" y="338614"/>
                    <a:pt x="4042886" y="337661"/>
                  </a:cubicBezTo>
                  <a:cubicBezTo>
                    <a:pt x="4042886" y="335756"/>
                    <a:pt x="4043839" y="334804"/>
                    <a:pt x="4044791" y="333851"/>
                  </a:cubicBezTo>
                  <a:close/>
                  <a:moveTo>
                    <a:pt x="4039076" y="271939"/>
                  </a:moveTo>
                  <a:cubicBezTo>
                    <a:pt x="4039076" y="272891"/>
                    <a:pt x="4039076" y="272891"/>
                    <a:pt x="4039076" y="273844"/>
                  </a:cubicBezTo>
                  <a:cubicBezTo>
                    <a:pt x="4039076" y="272891"/>
                    <a:pt x="4038124" y="271939"/>
                    <a:pt x="4038124" y="270034"/>
                  </a:cubicBezTo>
                  <a:cubicBezTo>
                    <a:pt x="4037171" y="268129"/>
                    <a:pt x="4037171" y="267176"/>
                    <a:pt x="4036219" y="265271"/>
                  </a:cubicBezTo>
                  <a:cubicBezTo>
                    <a:pt x="4037171" y="267176"/>
                    <a:pt x="4038124" y="269081"/>
                    <a:pt x="4039076" y="271939"/>
                  </a:cubicBezTo>
                  <a:close/>
                  <a:moveTo>
                    <a:pt x="4033361" y="358616"/>
                  </a:moveTo>
                  <a:cubicBezTo>
                    <a:pt x="4033361" y="355759"/>
                    <a:pt x="4034314" y="353854"/>
                    <a:pt x="4034314" y="351949"/>
                  </a:cubicBezTo>
                  <a:cubicBezTo>
                    <a:pt x="4035266" y="350044"/>
                    <a:pt x="4037171" y="347186"/>
                    <a:pt x="4038124" y="345281"/>
                  </a:cubicBezTo>
                  <a:cubicBezTo>
                    <a:pt x="4040029" y="347186"/>
                    <a:pt x="4041934" y="350044"/>
                    <a:pt x="4043839" y="351949"/>
                  </a:cubicBezTo>
                  <a:cubicBezTo>
                    <a:pt x="4042886" y="363379"/>
                    <a:pt x="4041934" y="376714"/>
                    <a:pt x="4040981" y="391954"/>
                  </a:cubicBezTo>
                  <a:cubicBezTo>
                    <a:pt x="4039076" y="398621"/>
                    <a:pt x="4037171" y="406241"/>
                    <a:pt x="4035266" y="413861"/>
                  </a:cubicBezTo>
                  <a:cubicBezTo>
                    <a:pt x="4033361" y="407194"/>
                    <a:pt x="4030504" y="401479"/>
                    <a:pt x="4029551" y="395764"/>
                  </a:cubicBezTo>
                  <a:cubicBezTo>
                    <a:pt x="4028599" y="392906"/>
                    <a:pt x="4027646" y="391001"/>
                    <a:pt x="4027646" y="388144"/>
                  </a:cubicBezTo>
                  <a:cubicBezTo>
                    <a:pt x="4029551" y="377666"/>
                    <a:pt x="4031456" y="368141"/>
                    <a:pt x="4033361" y="358616"/>
                  </a:cubicBezTo>
                  <a:close/>
                  <a:moveTo>
                    <a:pt x="4020026" y="324326"/>
                  </a:moveTo>
                  <a:cubicBezTo>
                    <a:pt x="4020979" y="325279"/>
                    <a:pt x="4020979" y="325279"/>
                    <a:pt x="4021931" y="326231"/>
                  </a:cubicBezTo>
                  <a:cubicBezTo>
                    <a:pt x="4020979" y="329089"/>
                    <a:pt x="4020026" y="331946"/>
                    <a:pt x="4019074" y="334804"/>
                  </a:cubicBezTo>
                  <a:cubicBezTo>
                    <a:pt x="4018121" y="336709"/>
                    <a:pt x="4018121" y="339566"/>
                    <a:pt x="4017169" y="341471"/>
                  </a:cubicBezTo>
                  <a:cubicBezTo>
                    <a:pt x="4017169" y="341471"/>
                    <a:pt x="4017169" y="342424"/>
                    <a:pt x="4016216" y="342424"/>
                  </a:cubicBezTo>
                  <a:cubicBezTo>
                    <a:pt x="4016216" y="343376"/>
                    <a:pt x="4015264" y="343376"/>
                    <a:pt x="4015264" y="344329"/>
                  </a:cubicBezTo>
                  <a:cubicBezTo>
                    <a:pt x="4014311" y="333851"/>
                    <a:pt x="4012406" y="324326"/>
                    <a:pt x="4011454" y="315754"/>
                  </a:cubicBezTo>
                  <a:cubicBezTo>
                    <a:pt x="4014311" y="317659"/>
                    <a:pt x="4017169" y="320516"/>
                    <a:pt x="4020026" y="324326"/>
                  </a:cubicBezTo>
                  <a:close/>
                  <a:moveTo>
                    <a:pt x="3999071" y="282416"/>
                  </a:moveTo>
                  <a:cubicBezTo>
                    <a:pt x="4000024" y="282416"/>
                    <a:pt x="4000024" y="282416"/>
                    <a:pt x="3999071" y="282416"/>
                  </a:cubicBezTo>
                  <a:cubicBezTo>
                    <a:pt x="4000024" y="290989"/>
                    <a:pt x="4000024" y="300514"/>
                    <a:pt x="4000024" y="310991"/>
                  </a:cubicBezTo>
                  <a:cubicBezTo>
                    <a:pt x="4000024" y="312896"/>
                    <a:pt x="4000024" y="314801"/>
                    <a:pt x="4000024" y="316706"/>
                  </a:cubicBezTo>
                  <a:cubicBezTo>
                    <a:pt x="4000024" y="319564"/>
                    <a:pt x="3999071" y="322421"/>
                    <a:pt x="3999071" y="325279"/>
                  </a:cubicBezTo>
                  <a:cubicBezTo>
                    <a:pt x="3999071" y="325279"/>
                    <a:pt x="3999071" y="326231"/>
                    <a:pt x="3999071" y="327184"/>
                  </a:cubicBezTo>
                  <a:cubicBezTo>
                    <a:pt x="3999071" y="326231"/>
                    <a:pt x="3998119" y="325279"/>
                    <a:pt x="3998119" y="324326"/>
                  </a:cubicBezTo>
                  <a:lnTo>
                    <a:pt x="3997166" y="314801"/>
                  </a:lnTo>
                  <a:lnTo>
                    <a:pt x="3996214" y="286226"/>
                  </a:lnTo>
                  <a:cubicBezTo>
                    <a:pt x="3997166" y="285274"/>
                    <a:pt x="3998119" y="284321"/>
                    <a:pt x="3999071" y="282416"/>
                  </a:cubicBezTo>
                  <a:close/>
                  <a:moveTo>
                    <a:pt x="3983831" y="405289"/>
                  </a:moveTo>
                  <a:cubicBezTo>
                    <a:pt x="3982879" y="408146"/>
                    <a:pt x="3981926" y="410051"/>
                    <a:pt x="3980021" y="412909"/>
                  </a:cubicBezTo>
                  <a:cubicBezTo>
                    <a:pt x="3980021" y="412909"/>
                    <a:pt x="3980021" y="412909"/>
                    <a:pt x="3980021" y="412909"/>
                  </a:cubicBezTo>
                  <a:cubicBezTo>
                    <a:pt x="3981926" y="407194"/>
                    <a:pt x="3981926" y="404336"/>
                    <a:pt x="3982879" y="402431"/>
                  </a:cubicBezTo>
                  <a:cubicBezTo>
                    <a:pt x="3982879" y="403384"/>
                    <a:pt x="3982879" y="404336"/>
                    <a:pt x="3983831" y="405289"/>
                  </a:cubicBezTo>
                  <a:close/>
                  <a:moveTo>
                    <a:pt x="3980974" y="395764"/>
                  </a:moveTo>
                  <a:cubicBezTo>
                    <a:pt x="3981926" y="397669"/>
                    <a:pt x="3981926" y="399574"/>
                    <a:pt x="3982879" y="401479"/>
                  </a:cubicBezTo>
                  <a:cubicBezTo>
                    <a:pt x="3982879" y="402431"/>
                    <a:pt x="3980974" y="404336"/>
                    <a:pt x="3979069" y="407194"/>
                  </a:cubicBezTo>
                  <a:cubicBezTo>
                    <a:pt x="3979069" y="407194"/>
                    <a:pt x="3979069" y="406241"/>
                    <a:pt x="3979069" y="406241"/>
                  </a:cubicBezTo>
                  <a:cubicBezTo>
                    <a:pt x="3980021" y="403384"/>
                    <a:pt x="3980021" y="399574"/>
                    <a:pt x="3980974" y="395764"/>
                  </a:cubicBezTo>
                  <a:close/>
                  <a:moveTo>
                    <a:pt x="3976211" y="378619"/>
                  </a:moveTo>
                  <a:cubicBezTo>
                    <a:pt x="3976211" y="378619"/>
                    <a:pt x="3976211" y="378619"/>
                    <a:pt x="3976211" y="378619"/>
                  </a:cubicBezTo>
                  <a:cubicBezTo>
                    <a:pt x="3976211" y="379571"/>
                    <a:pt x="3976211" y="379571"/>
                    <a:pt x="3976211" y="380524"/>
                  </a:cubicBezTo>
                  <a:cubicBezTo>
                    <a:pt x="3976211" y="379571"/>
                    <a:pt x="3976211" y="378619"/>
                    <a:pt x="3976211" y="378619"/>
                  </a:cubicBezTo>
                  <a:close/>
                  <a:moveTo>
                    <a:pt x="3948589" y="255746"/>
                  </a:moveTo>
                  <a:cubicBezTo>
                    <a:pt x="3948589" y="262414"/>
                    <a:pt x="3947636" y="270034"/>
                    <a:pt x="3946684" y="277654"/>
                  </a:cubicBezTo>
                  <a:cubicBezTo>
                    <a:pt x="3946684" y="279559"/>
                    <a:pt x="3946684" y="282416"/>
                    <a:pt x="3945731" y="285274"/>
                  </a:cubicBezTo>
                  <a:cubicBezTo>
                    <a:pt x="3944779" y="278606"/>
                    <a:pt x="3944779" y="272891"/>
                    <a:pt x="3943826" y="266224"/>
                  </a:cubicBezTo>
                  <a:cubicBezTo>
                    <a:pt x="3942874" y="257651"/>
                    <a:pt x="3940969" y="249079"/>
                    <a:pt x="3940016" y="240506"/>
                  </a:cubicBezTo>
                  <a:cubicBezTo>
                    <a:pt x="3940016" y="240506"/>
                    <a:pt x="3940016" y="240506"/>
                    <a:pt x="3940016" y="239554"/>
                  </a:cubicBezTo>
                  <a:cubicBezTo>
                    <a:pt x="3940016" y="238601"/>
                    <a:pt x="3940016" y="237649"/>
                    <a:pt x="3940016" y="236696"/>
                  </a:cubicBezTo>
                  <a:cubicBezTo>
                    <a:pt x="3940969" y="237649"/>
                    <a:pt x="3941921" y="239554"/>
                    <a:pt x="3942874" y="240506"/>
                  </a:cubicBezTo>
                  <a:cubicBezTo>
                    <a:pt x="3944779" y="243364"/>
                    <a:pt x="3945731" y="245269"/>
                    <a:pt x="3947636" y="248126"/>
                  </a:cubicBezTo>
                  <a:cubicBezTo>
                    <a:pt x="3948589" y="251936"/>
                    <a:pt x="3948589" y="253841"/>
                    <a:pt x="3948589" y="255746"/>
                  </a:cubicBezTo>
                  <a:close/>
                  <a:moveTo>
                    <a:pt x="3943826" y="205264"/>
                  </a:moveTo>
                  <a:cubicBezTo>
                    <a:pt x="3943826" y="207169"/>
                    <a:pt x="3943826" y="209074"/>
                    <a:pt x="3943826" y="210979"/>
                  </a:cubicBezTo>
                  <a:cubicBezTo>
                    <a:pt x="3943826" y="216694"/>
                    <a:pt x="3944779" y="223361"/>
                    <a:pt x="3945731" y="230981"/>
                  </a:cubicBezTo>
                  <a:cubicBezTo>
                    <a:pt x="3945731" y="232886"/>
                    <a:pt x="3945731" y="234791"/>
                    <a:pt x="3946684" y="236696"/>
                  </a:cubicBezTo>
                  <a:cubicBezTo>
                    <a:pt x="3943826" y="233839"/>
                    <a:pt x="3941921" y="230029"/>
                    <a:pt x="3939064" y="228124"/>
                  </a:cubicBezTo>
                  <a:cubicBezTo>
                    <a:pt x="3938111" y="224314"/>
                    <a:pt x="3938111" y="219551"/>
                    <a:pt x="3937159" y="215741"/>
                  </a:cubicBezTo>
                  <a:cubicBezTo>
                    <a:pt x="3940016" y="210979"/>
                    <a:pt x="3941921" y="208121"/>
                    <a:pt x="3943826" y="205264"/>
                  </a:cubicBezTo>
                  <a:close/>
                  <a:moveTo>
                    <a:pt x="3866674" y="369094"/>
                  </a:moveTo>
                  <a:cubicBezTo>
                    <a:pt x="3866674" y="369094"/>
                    <a:pt x="3866674" y="368141"/>
                    <a:pt x="3867626" y="368141"/>
                  </a:cubicBezTo>
                  <a:cubicBezTo>
                    <a:pt x="3867626" y="369094"/>
                    <a:pt x="3867626" y="370046"/>
                    <a:pt x="3867626" y="370999"/>
                  </a:cubicBezTo>
                  <a:cubicBezTo>
                    <a:pt x="3867626" y="370046"/>
                    <a:pt x="3866674" y="370046"/>
                    <a:pt x="3866674" y="369094"/>
                  </a:cubicBezTo>
                  <a:close/>
                  <a:moveTo>
                    <a:pt x="3886676" y="354806"/>
                  </a:moveTo>
                  <a:cubicBezTo>
                    <a:pt x="3885724" y="351949"/>
                    <a:pt x="3883819" y="350044"/>
                    <a:pt x="3882866" y="348139"/>
                  </a:cubicBezTo>
                  <a:cubicBezTo>
                    <a:pt x="3882866" y="345281"/>
                    <a:pt x="3881914" y="341471"/>
                    <a:pt x="3881914" y="338614"/>
                  </a:cubicBezTo>
                  <a:cubicBezTo>
                    <a:pt x="3883819" y="343376"/>
                    <a:pt x="3885724" y="349091"/>
                    <a:pt x="3886676" y="354806"/>
                  </a:cubicBezTo>
                  <a:cubicBezTo>
                    <a:pt x="3887629" y="354806"/>
                    <a:pt x="3887629" y="355759"/>
                    <a:pt x="3887629" y="356711"/>
                  </a:cubicBezTo>
                  <a:cubicBezTo>
                    <a:pt x="3887629" y="355759"/>
                    <a:pt x="3887629" y="354806"/>
                    <a:pt x="3886676" y="354806"/>
                  </a:cubicBezTo>
                  <a:close/>
                  <a:moveTo>
                    <a:pt x="3897154" y="278606"/>
                  </a:moveTo>
                  <a:cubicBezTo>
                    <a:pt x="3899059" y="275749"/>
                    <a:pt x="3900011" y="272891"/>
                    <a:pt x="3901916" y="270986"/>
                  </a:cubicBezTo>
                  <a:cubicBezTo>
                    <a:pt x="3901916" y="270986"/>
                    <a:pt x="3901916" y="270986"/>
                    <a:pt x="3901916" y="270986"/>
                  </a:cubicBezTo>
                  <a:cubicBezTo>
                    <a:pt x="3900964" y="273844"/>
                    <a:pt x="3899059" y="276701"/>
                    <a:pt x="3897154" y="278606"/>
                  </a:cubicBezTo>
                  <a:cubicBezTo>
                    <a:pt x="3898106" y="279559"/>
                    <a:pt x="3897154" y="279559"/>
                    <a:pt x="3897154" y="278606"/>
                  </a:cubicBezTo>
                  <a:close/>
                  <a:moveTo>
                    <a:pt x="3900011" y="291941"/>
                  </a:moveTo>
                  <a:cubicBezTo>
                    <a:pt x="3900011" y="290989"/>
                    <a:pt x="3900964" y="289084"/>
                    <a:pt x="3901916" y="288131"/>
                  </a:cubicBezTo>
                  <a:cubicBezTo>
                    <a:pt x="3901916" y="287179"/>
                    <a:pt x="3902869" y="287179"/>
                    <a:pt x="3902869" y="286226"/>
                  </a:cubicBezTo>
                  <a:cubicBezTo>
                    <a:pt x="3902869" y="290036"/>
                    <a:pt x="3902869" y="293846"/>
                    <a:pt x="3903821" y="297656"/>
                  </a:cubicBezTo>
                  <a:cubicBezTo>
                    <a:pt x="3903821" y="298609"/>
                    <a:pt x="3903821" y="300514"/>
                    <a:pt x="3902869" y="301466"/>
                  </a:cubicBezTo>
                  <a:cubicBezTo>
                    <a:pt x="3902869" y="300514"/>
                    <a:pt x="3902869" y="299561"/>
                    <a:pt x="3901916" y="298609"/>
                  </a:cubicBezTo>
                  <a:cubicBezTo>
                    <a:pt x="3901916" y="295751"/>
                    <a:pt x="3900964" y="293846"/>
                    <a:pt x="3900011" y="291941"/>
                  </a:cubicBezTo>
                  <a:close/>
                  <a:moveTo>
                    <a:pt x="3903821" y="431006"/>
                  </a:moveTo>
                  <a:cubicBezTo>
                    <a:pt x="3903821" y="431006"/>
                    <a:pt x="3903821" y="431959"/>
                    <a:pt x="3902869" y="431959"/>
                  </a:cubicBezTo>
                  <a:lnTo>
                    <a:pt x="3901916" y="431959"/>
                  </a:lnTo>
                  <a:cubicBezTo>
                    <a:pt x="3902869" y="430054"/>
                    <a:pt x="3902869" y="428149"/>
                    <a:pt x="3903821" y="426244"/>
                  </a:cubicBezTo>
                  <a:cubicBezTo>
                    <a:pt x="3903821" y="427196"/>
                    <a:pt x="3903821" y="427196"/>
                    <a:pt x="3904774" y="428149"/>
                  </a:cubicBezTo>
                  <a:cubicBezTo>
                    <a:pt x="3903821" y="429101"/>
                    <a:pt x="3903821" y="430054"/>
                    <a:pt x="3903821" y="431006"/>
                  </a:cubicBezTo>
                  <a:close/>
                  <a:moveTo>
                    <a:pt x="3925729" y="309086"/>
                  </a:moveTo>
                  <a:cubicBezTo>
                    <a:pt x="3923824" y="301466"/>
                    <a:pt x="3922871" y="297656"/>
                    <a:pt x="3922871" y="297656"/>
                  </a:cubicBezTo>
                  <a:cubicBezTo>
                    <a:pt x="3922871" y="297656"/>
                    <a:pt x="3922871" y="301466"/>
                    <a:pt x="3923824" y="308134"/>
                  </a:cubicBezTo>
                  <a:cubicBezTo>
                    <a:pt x="3920966" y="297656"/>
                    <a:pt x="3919061" y="291941"/>
                    <a:pt x="3919061" y="291941"/>
                  </a:cubicBezTo>
                  <a:cubicBezTo>
                    <a:pt x="3919061" y="291941"/>
                    <a:pt x="3920014" y="301466"/>
                    <a:pt x="3922871" y="317659"/>
                  </a:cubicBezTo>
                  <a:cubicBezTo>
                    <a:pt x="3922871" y="320516"/>
                    <a:pt x="3923824" y="322421"/>
                    <a:pt x="3923824" y="325279"/>
                  </a:cubicBezTo>
                  <a:cubicBezTo>
                    <a:pt x="3922871" y="328136"/>
                    <a:pt x="3922871" y="331946"/>
                    <a:pt x="3921919" y="334804"/>
                  </a:cubicBezTo>
                  <a:cubicBezTo>
                    <a:pt x="3921919" y="334804"/>
                    <a:pt x="3921919" y="335756"/>
                    <a:pt x="3921919" y="335756"/>
                  </a:cubicBezTo>
                  <a:cubicBezTo>
                    <a:pt x="3921919" y="333851"/>
                    <a:pt x="3920966" y="331946"/>
                    <a:pt x="3920966" y="330041"/>
                  </a:cubicBezTo>
                  <a:cubicBezTo>
                    <a:pt x="3919061" y="319564"/>
                    <a:pt x="3917156" y="310039"/>
                    <a:pt x="3915251" y="301466"/>
                  </a:cubicBezTo>
                  <a:cubicBezTo>
                    <a:pt x="3913346" y="293846"/>
                    <a:pt x="3912394" y="287179"/>
                    <a:pt x="3911441" y="281464"/>
                  </a:cubicBezTo>
                  <a:cubicBezTo>
                    <a:pt x="3911441" y="273844"/>
                    <a:pt x="3912394" y="268129"/>
                    <a:pt x="3912394" y="264319"/>
                  </a:cubicBezTo>
                  <a:cubicBezTo>
                    <a:pt x="3912394" y="264319"/>
                    <a:pt x="3912394" y="263366"/>
                    <a:pt x="3912394" y="263366"/>
                  </a:cubicBezTo>
                  <a:cubicBezTo>
                    <a:pt x="3914299" y="265271"/>
                    <a:pt x="3917156" y="268129"/>
                    <a:pt x="3919061" y="270986"/>
                  </a:cubicBezTo>
                  <a:cubicBezTo>
                    <a:pt x="3920966" y="272891"/>
                    <a:pt x="3922871" y="274796"/>
                    <a:pt x="3923824" y="277654"/>
                  </a:cubicBezTo>
                  <a:cubicBezTo>
                    <a:pt x="3923824" y="277654"/>
                    <a:pt x="3923824" y="280511"/>
                    <a:pt x="3924776" y="284321"/>
                  </a:cubicBezTo>
                  <a:cubicBezTo>
                    <a:pt x="3922871" y="279559"/>
                    <a:pt x="3921919" y="277654"/>
                    <a:pt x="3921919" y="277654"/>
                  </a:cubicBezTo>
                  <a:cubicBezTo>
                    <a:pt x="3921919" y="277654"/>
                    <a:pt x="3923824" y="284321"/>
                    <a:pt x="3926681" y="296704"/>
                  </a:cubicBezTo>
                  <a:cubicBezTo>
                    <a:pt x="3926681" y="298609"/>
                    <a:pt x="3927634" y="301466"/>
                    <a:pt x="3927634" y="304324"/>
                  </a:cubicBezTo>
                  <a:cubicBezTo>
                    <a:pt x="3927634" y="304324"/>
                    <a:pt x="3927634" y="304324"/>
                    <a:pt x="3927634" y="305276"/>
                  </a:cubicBezTo>
                  <a:cubicBezTo>
                    <a:pt x="3926681" y="304324"/>
                    <a:pt x="3925729" y="306229"/>
                    <a:pt x="3925729" y="309086"/>
                  </a:cubicBezTo>
                  <a:close/>
                  <a:moveTo>
                    <a:pt x="3929539" y="287179"/>
                  </a:moveTo>
                  <a:cubicBezTo>
                    <a:pt x="3929539" y="289084"/>
                    <a:pt x="3928586" y="290989"/>
                    <a:pt x="3928586" y="292894"/>
                  </a:cubicBezTo>
                  <a:cubicBezTo>
                    <a:pt x="3928586" y="291941"/>
                    <a:pt x="3927634" y="290989"/>
                    <a:pt x="3927634" y="290036"/>
                  </a:cubicBezTo>
                  <a:cubicBezTo>
                    <a:pt x="3924776" y="281464"/>
                    <a:pt x="3923824" y="275749"/>
                    <a:pt x="3923824" y="275749"/>
                  </a:cubicBezTo>
                  <a:cubicBezTo>
                    <a:pt x="3924776" y="277654"/>
                    <a:pt x="3926681" y="279559"/>
                    <a:pt x="3927634" y="281464"/>
                  </a:cubicBezTo>
                  <a:cubicBezTo>
                    <a:pt x="3928586" y="282416"/>
                    <a:pt x="3928586" y="283369"/>
                    <a:pt x="3929539" y="284321"/>
                  </a:cubicBezTo>
                  <a:cubicBezTo>
                    <a:pt x="3929539" y="284321"/>
                    <a:pt x="3929539" y="285274"/>
                    <a:pt x="3929539" y="287179"/>
                  </a:cubicBezTo>
                  <a:close/>
                  <a:moveTo>
                    <a:pt x="3926681" y="242411"/>
                  </a:moveTo>
                  <a:cubicBezTo>
                    <a:pt x="3927634" y="251936"/>
                    <a:pt x="3928586" y="261461"/>
                    <a:pt x="3928586" y="270986"/>
                  </a:cubicBezTo>
                  <a:cubicBezTo>
                    <a:pt x="3926681" y="269081"/>
                    <a:pt x="3924776" y="266224"/>
                    <a:pt x="3921919" y="265271"/>
                  </a:cubicBezTo>
                  <a:cubicBezTo>
                    <a:pt x="3919061" y="262414"/>
                    <a:pt x="3916204" y="259556"/>
                    <a:pt x="3913346" y="257651"/>
                  </a:cubicBezTo>
                  <a:cubicBezTo>
                    <a:pt x="3915251" y="253841"/>
                    <a:pt x="3916204" y="250031"/>
                    <a:pt x="3917156" y="246221"/>
                  </a:cubicBezTo>
                  <a:cubicBezTo>
                    <a:pt x="3920014" y="241459"/>
                    <a:pt x="3922871" y="236696"/>
                    <a:pt x="3925729" y="232886"/>
                  </a:cubicBezTo>
                  <a:cubicBezTo>
                    <a:pt x="3925729" y="235744"/>
                    <a:pt x="3925729" y="239554"/>
                    <a:pt x="3926681" y="242411"/>
                  </a:cubicBezTo>
                  <a:close/>
                  <a:moveTo>
                    <a:pt x="3900964" y="168116"/>
                  </a:moveTo>
                  <a:cubicBezTo>
                    <a:pt x="3905726" y="160496"/>
                    <a:pt x="3910489" y="153829"/>
                    <a:pt x="3914299" y="147161"/>
                  </a:cubicBezTo>
                  <a:cubicBezTo>
                    <a:pt x="3914299" y="150019"/>
                    <a:pt x="3915251" y="152876"/>
                    <a:pt x="3915251" y="156686"/>
                  </a:cubicBezTo>
                  <a:cubicBezTo>
                    <a:pt x="3917156" y="168116"/>
                    <a:pt x="3919061" y="181451"/>
                    <a:pt x="3920966" y="196691"/>
                  </a:cubicBezTo>
                  <a:cubicBezTo>
                    <a:pt x="3921919" y="202406"/>
                    <a:pt x="3921919" y="208121"/>
                    <a:pt x="3922871" y="213836"/>
                  </a:cubicBezTo>
                  <a:cubicBezTo>
                    <a:pt x="3920966" y="211931"/>
                    <a:pt x="3920014" y="210979"/>
                    <a:pt x="3920014" y="210979"/>
                  </a:cubicBezTo>
                  <a:cubicBezTo>
                    <a:pt x="3920014" y="210979"/>
                    <a:pt x="3920966" y="212884"/>
                    <a:pt x="3923824" y="214789"/>
                  </a:cubicBezTo>
                  <a:cubicBezTo>
                    <a:pt x="3923824" y="218599"/>
                    <a:pt x="3924776" y="222409"/>
                    <a:pt x="3924776" y="226219"/>
                  </a:cubicBezTo>
                  <a:cubicBezTo>
                    <a:pt x="3919061" y="232886"/>
                    <a:pt x="3913346" y="240506"/>
                    <a:pt x="3906679" y="249079"/>
                  </a:cubicBezTo>
                  <a:cubicBezTo>
                    <a:pt x="3905726" y="250031"/>
                    <a:pt x="3905726" y="250984"/>
                    <a:pt x="3904774" y="251936"/>
                  </a:cubicBezTo>
                  <a:cubicBezTo>
                    <a:pt x="3903821" y="251936"/>
                    <a:pt x="3903821" y="250984"/>
                    <a:pt x="3902869" y="250984"/>
                  </a:cubicBezTo>
                  <a:cubicBezTo>
                    <a:pt x="3901916" y="245269"/>
                    <a:pt x="3900964" y="242411"/>
                    <a:pt x="3900964" y="242411"/>
                  </a:cubicBezTo>
                  <a:cubicBezTo>
                    <a:pt x="3900964" y="242411"/>
                    <a:pt x="3900964" y="245269"/>
                    <a:pt x="3900964" y="249079"/>
                  </a:cubicBezTo>
                  <a:cubicBezTo>
                    <a:pt x="3900011" y="248126"/>
                    <a:pt x="3898106" y="247174"/>
                    <a:pt x="3897154" y="247174"/>
                  </a:cubicBezTo>
                  <a:cubicBezTo>
                    <a:pt x="3893344" y="245269"/>
                    <a:pt x="3891439" y="243364"/>
                    <a:pt x="3891439" y="243364"/>
                  </a:cubicBezTo>
                  <a:cubicBezTo>
                    <a:pt x="3891439" y="243364"/>
                    <a:pt x="3893344" y="245269"/>
                    <a:pt x="3896201" y="248126"/>
                  </a:cubicBezTo>
                  <a:cubicBezTo>
                    <a:pt x="3897154" y="249079"/>
                    <a:pt x="3899059" y="250984"/>
                    <a:pt x="3900964" y="251936"/>
                  </a:cubicBezTo>
                  <a:cubicBezTo>
                    <a:pt x="3900964" y="253841"/>
                    <a:pt x="3900964" y="254794"/>
                    <a:pt x="3900964" y="256699"/>
                  </a:cubicBezTo>
                  <a:cubicBezTo>
                    <a:pt x="3899059" y="259556"/>
                    <a:pt x="3896201" y="263366"/>
                    <a:pt x="3894296" y="266224"/>
                  </a:cubicBezTo>
                  <a:cubicBezTo>
                    <a:pt x="3893344" y="261461"/>
                    <a:pt x="3891439" y="255746"/>
                    <a:pt x="3890486" y="250984"/>
                  </a:cubicBezTo>
                  <a:cubicBezTo>
                    <a:pt x="3886676" y="235744"/>
                    <a:pt x="3883819" y="222409"/>
                    <a:pt x="3880009" y="210026"/>
                  </a:cubicBezTo>
                  <a:cubicBezTo>
                    <a:pt x="3880009" y="209074"/>
                    <a:pt x="3879056" y="207169"/>
                    <a:pt x="3879056" y="206216"/>
                  </a:cubicBezTo>
                  <a:cubicBezTo>
                    <a:pt x="3886676" y="191929"/>
                    <a:pt x="3894296" y="178594"/>
                    <a:pt x="3900964" y="168116"/>
                  </a:cubicBezTo>
                  <a:close/>
                  <a:moveTo>
                    <a:pt x="3873341" y="214789"/>
                  </a:moveTo>
                  <a:cubicBezTo>
                    <a:pt x="3875246" y="226219"/>
                    <a:pt x="3877151" y="238601"/>
                    <a:pt x="3879056" y="251936"/>
                  </a:cubicBezTo>
                  <a:cubicBezTo>
                    <a:pt x="3880009" y="260509"/>
                    <a:pt x="3881914" y="270034"/>
                    <a:pt x="3883819" y="280511"/>
                  </a:cubicBezTo>
                  <a:cubicBezTo>
                    <a:pt x="3883819" y="281464"/>
                    <a:pt x="3882866" y="281464"/>
                    <a:pt x="3882866" y="282416"/>
                  </a:cubicBezTo>
                  <a:cubicBezTo>
                    <a:pt x="3880009" y="273844"/>
                    <a:pt x="3878104" y="266224"/>
                    <a:pt x="3875246" y="259556"/>
                  </a:cubicBezTo>
                  <a:cubicBezTo>
                    <a:pt x="3871436" y="250031"/>
                    <a:pt x="3868579" y="241459"/>
                    <a:pt x="3865721" y="234791"/>
                  </a:cubicBezTo>
                  <a:cubicBezTo>
                    <a:pt x="3865721" y="233839"/>
                    <a:pt x="3864769" y="232886"/>
                    <a:pt x="3864769" y="231934"/>
                  </a:cubicBezTo>
                  <a:cubicBezTo>
                    <a:pt x="3867626" y="225266"/>
                    <a:pt x="3870484" y="219551"/>
                    <a:pt x="3873341" y="214789"/>
                  </a:cubicBezTo>
                  <a:close/>
                  <a:moveTo>
                    <a:pt x="3864769" y="341471"/>
                  </a:moveTo>
                  <a:cubicBezTo>
                    <a:pt x="3863816" y="342424"/>
                    <a:pt x="3863816" y="344329"/>
                    <a:pt x="3862864" y="345281"/>
                  </a:cubicBezTo>
                  <a:cubicBezTo>
                    <a:pt x="3862864" y="344329"/>
                    <a:pt x="3863816" y="343376"/>
                    <a:pt x="3864769" y="341471"/>
                  </a:cubicBezTo>
                  <a:cubicBezTo>
                    <a:pt x="3864769" y="341471"/>
                    <a:pt x="3864769" y="341471"/>
                    <a:pt x="3864769" y="341471"/>
                  </a:cubicBezTo>
                  <a:close/>
                  <a:moveTo>
                    <a:pt x="3854291" y="211931"/>
                  </a:moveTo>
                  <a:cubicBezTo>
                    <a:pt x="3854291" y="208121"/>
                    <a:pt x="3855244" y="204311"/>
                    <a:pt x="3856196" y="201454"/>
                  </a:cubicBezTo>
                  <a:cubicBezTo>
                    <a:pt x="3856196" y="206216"/>
                    <a:pt x="3856196" y="212884"/>
                    <a:pt x="3857149" y="220504"/>
                  </a:cubicBezTo>
                  <a:cubicBezTo>
                    <a:pt x="3856196" y="222409"/>
                    <a:pt x="3855244" y="224314"/>
                    <a:pt x="3854291" y="226219"/>
                  </a:cubicBezTo>
                  <a:cubicBezTo>
                    <a:pt x="3853339" y="220504"/>
                    <a:pt x="3854291" y="215741"/>
                    <a:pt x="3854291" y="211931"/>
                  </a:cubicBezTo>
                  <a:close/>
                  <a:moveTo>
                    <a:pt x="3849529" y="262414"/>
                  </a:moveTo>
                  <a:cubicBezTo>
                    <a:pt x="3849529" y="260509"/>
                    <a:pt x="3849529" y="259556"/>
                    <a:pt x="3849529" y="257651"/>
                  </a:cubicBezTo>
                  <a:cubicBezTo>
                    <a:pt x="3849529" y="257651"/>
                    <a:pt x="3849529" y="256699"/>
                    <a:pt x="3850481" y="256699"/>
                  </a:cubicBezTo>
                  <a:cubicBezTo>
                    <a:pt x="3853339" y="263366"/>
                    <a:pt x="3856196" y="270986"/>
                    <a:pt x="3859054" y="278606"/>
                  </a:cubicBezTo>
                  <a:cubicBezTo>
                    <a:pt x="3859054" y="279559"/>
                    <a:pt x="3859054" y="279559"/>
                    <a:pt x="3860006" y="280511"/>
                  </a:cubicBezTo>
                  <a:cubicBezTo>
                    <a:pt x="3860959" y="290989"/>
                    <a:pt x="3861911" y="302419"/>
                    <a:pt x="3862864" y="313849"/>
                  </a:cubicBezTo>
                  <a:cubicBezTo>
                    <a:pt x="3862864" y="313849"/>
                    <a:pt x="3862864" y="313849"/>
                    <a:pt x="3862864" y="313849"/>
                  </a:cubicBezTo>
                  <a:cubicBezTo>
                    <a:pt x="3858101" y="305276"/>
                    <a:pt x="3852386" y="298609"/>
                    <a:pt x="3847624" y="291941"/>
                  </a:cubicBezTo>
                  <a:cubicBezTo>
                    <a:pt x="3848576" y="281464"/>
                    <a:pt x="3848576" y="271939"/>
                    <a:pt x="3849529" y="262414"/>
                  </a:cubicBezTo>
                  <a:close/>
                  <a:moveTo>
                    <a:pt x="3846671" y="308134"/>
                  </a:moveTo>
                  <a:cubicBezTo>
                    <a:pt x="3849529" y="312896"/>
                    <a:pt x="3852386" y="318611"/>
                    <a:pt x="3855244" y="323374"/>
                  </a:cubicBezTo>
                  <a:cubicBezTo>
                    <a:pt x="3855244" y="324326"/>
                    <a:pt x="3856196" y="324326"/>
                    <a:pt x="3856196" y="325279"/>
                  </a:cubicBezTo>
                  <a:cubicBezTo>
                    <a:pt x="3856196" y="326231"/>
                    <a:pt x="3855244" y="326231"/>
                    <a:pt x="3855244" y="327184"/>
                  </a:cubicBezTo>
                  <a:cubicBezTo>
                    <a:pt x="3853339" y="330041"/>
                    <a:pt x="3851434" y="333851"/>
                    <a:pt x="3849529" y="336709"/>
                  </a:cubicBezTo>
                  <a:cubicBezTo>
                    <a:pt x="3848576" y="334804"/>
                    <a:pt x="3846671" y="331946"/>
                    <a:pt x="3845719" y="330041"/>
                  </a:cubicBezTo>
                  <a:cubicBezTo>
                    <a:pt x="3845719" y="323374"/>
                    <a:pt x="3846671" y="315754"/>
                    <a:pt x="3846671" y="308134"/>
                  </a:cubicBezTo>
                  <a:close/>
                  <a:moveTo>
                    <a:pt x="3843814" y="415766"/>
                  </a:moveTo>
                  <a:cubicBezTo>
                    <a:pt x="3844766" y="413861"/>
                    <a:pt x="3845719" y="411956"/>
                    <a:pt x="3846671" y="410051"/>
                  </a:cubicBezTo>
                  <a:cubicBezTo>
                    <a:pt x="3846671" y="411956"/>
                    <a:pt x="3847624" y="414814"/>
                    <a:pt x="3847624" y="416719"/>
                  </a:cubicBezTo>
                  <a:cubicBezTo>
                    <a:pt x="3847624" y="417671"/>
                    <a:pt x="3847624" y="418624"/>
                    <a:pt x="3847624" y="419576"/>
                  </a:cubicBezTo>
                  <a:cubicBezTo>
                    <a:pt x="3847624" y="420529"/>
                    <a:pt x="3846671" y="421481"/>
                    <a:pt x="3846671" y="422434"/>
                  </a:cubicBezTo>
                  <a:cubicBezTo>
                    <a:pt x="3845719" y="423386"/>
                    <a:pt x="3845719" y="425291"/>
                    <a:pt x="3844766" y="426244"/>
                  </a:cubicBezTo>
                  <a:lnTo>
                    <a:pt x="3842861" y="426244"/>
                  </a:lnTo>
                  <a:cubicBezTo>
                    <a:pt x="3843814" y="422434"/>
                    <a:pt x="3843814" y="418624"/>
                    <a:pt x="3843814" y="415766"/>
                  </a:cubicBezTo>
                  <a:close/>
                  <a:moveTo>
                    <a:pt x="3830479" y="297656"/>
                  </a:moveTo>
                  <a:cubicBezTo>
                    <a:pt x="3830479" y="298609"/>
                    <a:pt x="3830479" y="298609"/>
                    <a:pt x="3830479" y="299561"/>
                  </a:cubicBezTo>
                  <a:cubicBezTo>
                    <a:pt x="3830479" y="300514"/>
                    <a:pt x="3830479" y="300514"/>
                    <a:pt x="3830479" y="301466"/>
                  </a:cubicBezTo>
                  <a:cubicBezTo>
                    <a:pt x="3830479" y="303371"/>
                    <a:pt x="3830479" y="305276"/>
                    <a:pt x="3829526" y="307181"/>
                  </a:cubicBezTo>
                  <a:cubicBezTo>
                    <a:pt x="3828574" y="306229"/>
                    <a:pt x="3827621" y="305276"/>
                    <a:pt x="3827621" y="304324"/>
                  </a:cubicBezTo>
                  <a:cubicBezTo>
                    <a:pt x="3828574" y="301466"/>
                    <a:pt x="3829526" y="299561"/>
                    <a:pt x="3830479" y="297656"/>
                  </a:cubicBezTo>
                  <a:close/>
                  <a:moveTo>
                    <a:pt x="3826669" y="305276"/>
                  </a:moveTo>
                  <a:cubicBezTo>
                    <a:pt x="3827621" y="306229"/>
                    <a:pt x="3827621" y="308134"/>
                    <a:pt x="3828574" y="310039"/>
                  </a:cubicBezTo>
                  <a:cubicBezTo>
                    <a:pt x="3828574" y="311944"/>
                    <a:pt x="3828574" y="312896"/>
                    <a:pt x="3827621" y="314801"/>
                  </a:cubicBezTo>
                  <a:cubicBezTo>
                    <a:pt x="3826669" y="312896"/>
                    <a:pt x="3824764" y="310991"/>
                    <a:pt x="3823811" y="309086"/>
                  </a:cubicBezTo>
                  <a:cubicBezTo>
                    <a:pt x="3825716" y="307181"/>
                    <a:pt x="3825716" y="306229"/>
                    <a:pt x="3826669" y="305276"/>
                  </a:cubicBezTo>
                  <a:close/>
                  <a:moveTo>
                    <a:pt x="3820001" y="319564"/>
                  </a:moveTo>
                  <a:cubicBezTo>
                    <a:pt x="3821906" y="323374"/>
                    <a:pt x="3823811" y="328136"/>
                    <a:pt x="3826669" y="332899"/>
                  </a:cubicBezTo>
                  <a:cubicBezTo>
                    <a:pt x="3826669" y="332899"/>
                    <a:pt x="3826669" y="333851"/>
                    <a:pt x="3827621" y="333851"/>
                  </a:cubicBezTo>
                  <a:cubicBezTo>
                    <a:pt x="3827621" y="336709"/>
                    <a:pt x="3826669" y="339566"/>
                    <a:pt x="3826669" y="343376"/>
                  </a:cubicBezTo>
                  <a:cubicBezTo>
                    <a:pt x="3825716" y="354806"/>
                    <a:pt x="3825716" y="366236"/>
                    <a:pt x="3824764" y="377666"/>
                  </a:cubicBezTo>
                  <a:cubicBezTo>
                    <a:pt x="3823811" y="372904"/>
                    <a:pt x="3821906" y="368141"/>
                    <a:pt x="3820954" y="364331"/>
                  </a:cubicBezTo>
                  <a:cubicBezTo>
                    <a:pt x="3820954" y="360521"/>
                    <a:pt x="3820001" y="356711"/>
                    <a:pt x="3820001" y="352901"/>
                  </a:cubicBezTo>
                  <a:cubicBezTo>
                    <a:pt x="3820001" y="347186"/>
                    <a:pt x="3819049" y="341471"/>
                    <a:pt x="3818096" y="336709"/>
                  </a:cubicBezTo>
                  <a:cubicBezTo>
                    <a:pt x="3820001" y="333851"/>
                    <a:pt x="3821906" y="332899"/>
                    <a:pt x="3821906" y="332899"/>
                  </a:cubicBezTo>
                  <a:cubicBezTo>
                    <a:pt x="3821906" y="332899"/>
                    <a:pt x="3820954" y="333851"/>
                    <a:pt x="3818096" y="335756"/>
                  </a:cubicBezTo>
                  <a:cubicBezTo>
                    <a:pt x="3818096" y="332899"/>
                    <a:pt x="3817144" y="329089"/>
                    <a:pt x="3817144" y="326231"/>
                  </a:cubicBezTo>
                  <a:cubicBezTo>
                    <a:pt x="3818096" y="323374"/>
                    <a:pt x="3819049" y="321469"/>
                    <a:pt x="3820001" y="319564"/>
                  </a:cubicBezTo>
                  <a:close/>
                  <a:moveTo>
                    <a:pt x="3788569" y="264319"/>
                  </a:moveTo>
                  <a:cubicBezTo>
                    <a:pt x="3789521" y="266224"/>
                    <a:pt x="3791426" y="268129"/>
                    <a:pt x="3792379" y="270986"/>
                  </a:cubicBezTo>
                  <a:cubicBezTo>
                    <a:pt x="3795236" y="274796"/>
                    <a:pt x="3798094" y="280511"/>
                    <a:pt x="3800951" y="285274"/>
                  </a:cubicBezTo>
                  <a:cubicBezTo>
                    <a:pt x="3800951" y="286226"/>
                    <a:pt x="3800951" y="286226"/>
                    <a:pt x="3800951" y="287179"/>
                  </a:cubicBezTo>
                  <a:cubicBezTo>
                    <a:pt x="3800951" y="290989"/>
                    <a:pt x="3800951" y="294799"/>
                    <a:pt x="3800951" y="298609"/>
                  </a:cubicBezTo>
                  <a:cubicBezTo>
                    <a:pt x="3800951" y="299561"/>
                    <a:pt x="3800951" y="300514"/>
                    <a:pt x="3800951" y="300514"/>
                  </a:cubicBezTo>
                  <a:cubicBezTo>
                    <a:pt x="3799999" y="295751"/>
                    <a:pt x="3798094" y="291941"/>
                    <a:pt x="3797141" y="287179"/>
                  </a:cubicBezTo>
                  <a:cubicBezTo>
                    <a:pt x="3797141" y="286226"/>
                    <a:pt x="3796189" y="285274"/>
                    <a:pt x="3796189" y="285274"/>
                  </a:cubicBezTo>
                  <a:cubicBezTo>
                    <a:pt x="3796189" y="282416"/>
                    <a:pt x="3796189" y="280511"/>
                    <a:pt x="3796189" y="280511"/>
                  </a:cubicBezTo>
                  <a:cubicBezTo>
                    <a:pt x="3796189" y="280511"/>
                    <a:pt x="3796189" y="281464"/>
                    <a:pt x="3795236" y="283369"/>
                  </a:cubicBezTo>
                  <a:cubicBezTo>
                    <a:pt x="3794284" y="279559"/>
                    <a:pt x="3792379" y="275749"/>
                    <a:pt x="3791426" y="271939"/>
                  </a:cubicBezTo>
                  <a:cubicBezTo>
                    <a:pt x="3790474" y="269081"/>
                    <a:pt x="3789521" y="266224"/>
                    <a:pt x="3788569" y="264319"/>
                  </a:cubicBezTo>
                  <a:close/>
                  <a:moveTo>
                    <a:pt x="3748564" y="364331"/>
                  </a:moveTo>
                  <a:cubicBezTo>
                    <a:pt x="3748564" y="359569"/>
                    <a:pt x="3748564" y="355759"/>
                    <a:pt x="3748564" y="351949"/>
                  </a:cubicBezTo>
                  <a:cubicBezTo>
                    <a:pt x="3749516" y="353854"/>
                    <a:pt x="3749516" y="355759"/>
                    <a:pt x="3750469" y="358616"/>
                  </a:cubicBezTo>
                  <a:cubicBezTo>
                    <a:pt x="3749516" y="359569"/>
                    <a:pt x="3749516" y="361474"/>
                    <a:pt x="3748564" y="364331"/>
                  </a:cubicBezTo>
                  <a:close/>
                  <a:moveTo>
                    <a:pt x="3762851" y="399574"/>
                  </a:moveTo>
                  <a:cubicBezTo>
                    <a:pt x="3761899" y="401479"/>
                    <a:pt x="3760946" y="403384"/>
                    <a:pt x="3759994" y="405289"/>
                  </a:cubicBezTo>
                  <a:cubicBezTo>
                    <a:pt x="3759994" y="400526"/>
                    <a:pt x="3760946" y="395764"/>
                    <a:pt x="3760946" y="391954"/>
                  </a:cubicBezTo>
                  <a:cubicBezTo>
                    <a:pt x="3760946" y="391954"/>
                    <a:pt x="3760946" y="391001"/>
                    <a:pt x="3760946" y="391001"/>
                  </a:cubicBezTo>
                  <a:cubicBezTo>
                    <a:pt x="3761899" y="392906"/>
                    <a:pt x="3761899" y="394811"/>
                    <a:pt x="3762851" y="396716"/>
                  </a:cubicBezTo>
                  <a:cubicBezTo>
                    <a:pt x="3763804" y="397669"/>
                    <a:pt x="3762851" y="398621"/>
                    <a:pt x="3762851" y="399574"/>
                  </a:cubicBezTo>
                  <a:close/>
                  <a:moveTo>
                    <a:pt x="3770471" y="290036"/>
                  </a:moveTo>
                  <a:cubicBezTo>
                    <a:pt x="3772376" y="296704"/>
                    <a:pt x="3773329" y="302419"/>
                    <a:pt x="3775234" y="309086"/>
                  </a:cubicBezTo>
                  <a:cubicBezTo>
                    <a:pt x="3774281" y="306229"/>
                    <a:pt x="3773329" y="304324"/>
                    <a:pt x="3771424" y="301466"/>
                  </a:cubicBezTo>
                  <a:cubicBezTo>
                    <a:pt x="3771424" y="300514"/>
                    <a:pt x="3770471" y="300514"/>
                    <a:pt x="3770471" y="299561"/>
                  </a:cubicBezTo>
                  <a:cubicBezTo>
                    <a:pt x="3770471" y="296704"/>
                    <a:pt x="3770471" y="293846"/>
                    <a:pt x="3770471" y="290989"/>
                  </a:cubicBezTo>
                  <a:cubicBezTo>
                    <a:pt x="3770471" y="290989"/>
                    <a:pt x="3770471" y="290036"/>
                    <a:pt x="3770471" y="290036"/>
                  </a:cubicBezTo>
                  <a:close/>
                  <a:moveTo>
                    <a:pt x="3769519" y="370046"/>
                  </a:moveTo>
                  <a:cubicBezTo>
                    <a:pt x="3769519" y="370999"/>
                    <a:pt x="3769519" y="371951"/>
                    <a:pt x="3770471" y="372904"/>
                  </a:cubicBezTo>
                  <a:cubicBezTo>
                    <a:pt x="3769519" y="370999"/>
                    <a:pt x="3768566" y="369094"/>
                    <a:pt x="3767614" y="366236"/>
                  </a:cubicBezTo>
                  <a:cubicBezTo>
                    <a:pt x="3767614" y="362426"/>
                    <a:pt x="3767614" y="359569"/>
                    <a:pt x="3767614" y="359569"/>
                  </a:cubicBezTo>
                  <a:cubicBezTo>
                    <a:pt x="3767614" y="359569"/>
                    <a:pt x="3767614" y="361474"/>
                    <a:pt x="3766661" y="364331"/>
                  </a:cubicBezTo>
                  <a:cubicBezTo>
                    <a:pt x="3765709" y="363379"/>
                    <a:pt x="3765709" y="361474"/>
                    <a:pt x="3764756" y="360521"/>
                  </a:cubicBezTo>
                  <a:cubicBezTo>
                    <a:pt x="3764756" y="359569"/>
                    <a:pt x="3764756" y="358616"/>
                    <a:pt x="3764756" y="357664"/>
                  </a:cubicBezTo>
                  <a:cubicBezTo>
                    <a:pt x="3764756" y="355759"/>
                    <a:pt x="3765709" y="353854"/>
                    <a:pt x="3765709" y="351949"/>
                  </a:cubicBezTo>
                  <a:cubicBezTo>
                    <a:pt x="3767614" y="358616"/>
                    <a:pt x="3768566" y="364331"/>
                    <a:pt x="3769519" y="370046"/>
                  </a:cubicBezTo>
                  <a:close/>
                  <a:moveTo>
                    <a:pt x="3753326" y="250031"/>
                  </a:moveTo>
                  <a:cubicBezTo>
                    <a:pt x="3754279" y="245269"/>
                    <a:pt x="3754279" y="241459"/>
                    <a:pt x="3755231" y="236696"/>
                  </a:cubicBezTo>
                  <a:cubicBezTo>
                    <a:pt x="3755231" y="235744"/>
                    <a:pt x="3755231" y="233839"/>
                    <a:pt x="3756184" y="232886"/>
                  </a:cubicBezTo>
                  <a:cubicBezTo>
                    <a:pt x="3757136" y="231934"/>
                    <a:pt x="3757136" y="230981"/>
                    <a:pt x="3758089" y="230029"/>
                  </a:cubicBezTo>
                  <a:cubicBezTo>
                    <a:pt x="3759041" y="232886"/>
                    <a:pt x="3759041" y="234791"/>
                    <a:pt x="3759994" y="237649"/>
                  </a:cubicBezTo>
                  <a:cubicBezTo>
                    <a:pt x="3762851" y="250984"/>
                    <a:pt x="3766661" y="266224"/>
                    <a:pt x="3769519" y="281464"/>
                  </a:cubicBezTo>
                  <a:cubicBezTo>
                    <a:pt x="3768566" y="284321"/>
                    <a:pt x="3768566" y="287179"/>
                    <a:pt x="3767614" y="290036"/>
                  </a:cubicBezTo>
                  <a:cubicBezTo>
                    <a:pt x="3767614" y="290036"/>
                    <a:pt x="3767614" y="290036"/>
                    <a:pt x="3767614" y="290989"/>
                  </a:cubicBezTo>
                  <a:cubicBezTo>
                    <a:pt x="3762851" y="280511"/>
                    <a:pt x="3757136" y="270986"/>
                    <a:pt x="3752374" y="261461"/>
                  </a:cubicBezTo>
                  <a:cubicBezTo>
                    <a:pt x="3752374" y="258604"/>
                    <a:pt x="3752374" y="253841"/>
                    <a:pt x="3753326" y="250031"/>
                  </a:cubicBezTo>
                  <a:close/>
                  <a:moveTo>
                    <a:pt x="3748564" y="296704"/>
                  </a:moveTo>
                  <a:cubicBezTo>
                    <a:pt x="3748564" y="296704"/>
                    <a:pt x="3748564" y="296704"/>
                    <a:pt x="3748564" y="296704"/>
                  </a:cubicBezTo>
                  <a:cubicBezTo>
                    <a:pt x="3751421" y="301466"/>
                    <a:pt x="3753326" y="307181"/>
                    <a:pt x="3756184" y="313849"/>
                  </a:cubicBezTo>
                  <a:cubicBezTo>
                    <a:pt x="3756184" y="314801"/>
                    <a:pt x="3757136" y="315754"/>
                    <a:pt x="3757136" y="316706"/>
                  </a:cubicBezTo>
                  <a:cubicBezTo>
                    <a:pt x="3758089" y="318611"/>
                    <a:pt x="3758089" y="321469"/>
                    <a:pt x="3759041" y="323374"/>
                  </a:cubicBezTo>
                  <a:cubicBezTo>
                    <a:pt x="3758089" y="325279"/>
                    <a:pt x="3758089" y="328136"/>
                    <a:pt x="3757136" y="330041"/>
                  </a:cubicBezTo>
                  <a:cubicBezTo>
                    <a:pt x="3756184" y="333851"/>
                    <a:pt x="3755231" y="337661"/>
                    <a:pt x="3754279" y="341471"/>
                  </a:cubicBezTo>
                  <a:cubicBezTo>
                    <a:pt x="3753326" y="339566"/>
                    <a:pt x="3751421" y="337661"/>
                    <a:pt x="3750469" y="335756"/>
                  </a:cubicBezTo>
                  <a:cubicBezTo>
                    <a:pt x="3749516" y="333851"/>
                    <a:pt x="3748564" y="332899"/>
                    <a:pt x="3747611" y="331946"/>
                  </a:cubicBezTo>
                  <a:cubicBezTo>
                    <a:pt x="3748564" y="320516"/>
                    <a:pt x="3748564" y="308134"/>
                    <a:pt x="3748564" y="296704"/>
                  </a:cubicBezTo>
                  <a:close/>
                  <a:moveTo>
                    <a:pt x="3738086" y="273844"/>
                  </a:moveTo>
                  <a:cubicBezTo>
                    <a:pt x="3738086" y="273844"/>
                    <a:pt x="3738086" y="273844"/>
                    <a:pt x="3738086" y="273844"/>
                  </a:cubicBezTo>
                  <a:cubicBezTo>
                    <a:pt x="3738086" y="274796"/>
                    <a:pt x="3738086" y="274796"/>
                    <a:pt x="3738086" y="274796"/>
                  </a:cubicBezTo>
                  <a:cubicBezTo>
                    <a:pt x="3738086" y="273844"/>
                    <a:pt x="3738086" y="273844"/>
                    <a:pt x="3738086" y="273844"/>
                  </a:cubicBezTo>
                  <a:close/>
                  <a:moveTo>
                    <a:pt x="3689509" y="326231"/>
                  </a:moveTo>
                  <a:cubicBezTo>
                    <a:pt x="3688556" y="328136"/>
                    <a:pt x="3687604" y="330041"/>
                    <a:pt x="3686651" y="331946"/>
                  </a:cubicBezTo>
                  <a:cubicBezTo>
                    <a:pt x="3686651" y="331946"/>
                    <a:pt x="3686651" y="330994"/>
                    <a:pt x="3685699" y="330994"/>
                  </a:cubicBezTo>
                  <a:cubicBezTo>
                    <a:pt x="3685699" y="328136"/>
                    <a:pt x="3685699" y="325279"/>
                    <a:pt x="3685699" y="322421"/>
                  </a:cubicBezTo>
                  <a:cubicBezTo>
                    <a:pt x="3685699" y="319564"/>
                    <a:pt x="3685699" y="316706"/>
                    <a:pt x="3685699" y="313849"/>
                  </a:cubicBezTo>
                  <a:cubicBezTo>
                    <a:pt x="3686651" y="316706"/>
                    <a:pt x="3688556" y="320516"/>
                    <a:pt x="3689509" y="325279"/>
                  </a:cubicBezTo>
                  <a:cubicBezTo>
                    <a:pt x="3689509" y="326231"/>
                    <a:pt x="3689509" y="326231"/>
                    <a:pt x="3689509" y="326231"/>
                  </a:cubicBezTo>
                  <a:close/>
                  <a:moveTo>
                    <a:pt x="3716179" y="211931"/>
                  </a:moveTo>
                  <a:cubicBezTo>
                    <a:pt x="3718084" y="214789"/>
                    <a:pt x="3719036" y="218599"/>
                    <a:pt x="3720941" y="221456"/>
                  </a:cubicBezTo>
                  <a:cubicBezTo>
                    <a:pt x="3719989" y="224314"/>
                    <a:pt x="3719989" y="227171"/>
                    <a:pt x="3719036" y="230029"/>
                  </a:cubicBezTo>
                  <a:cubicBezTo>
                    <a:pt x="3719036" y="230981"/>
                    <a:pt x="3719036" y="232886"/>
                    <a:pt x="3718084" y="233839"/>
                  </a:cubicBezTo>
                  <a:cubicBezTo>
                    <a:pt x="3715226" y="230029"/>
                    <a:pt x="3713321" y="228124"/>
                    <a:pt x="3713321" y="228124"/>
                  </a:cubicBezTo>
                  <a:cubicBezTo>
                    <a:pt x="3713321" y="228124"/>
                    <a:pt x="3715226" y="230981"/>
                    <a:pt x="3717131" y="235744"/>
                  </a:cubicBezTo>
                  <a:cubicBezTo>
                    <a:pt x="3716179" y="241459"/>
                    <a:pt x="3715226" y="247174"/>
                    <a:pt x="3714274" y="253841"/>
                  </a:cubicBezTo>
                  <a:cubicBezTo>
                    <a:pt x="3714274" y="252889"/>
                    <a:pt x="3714274" y="251936"/>
                    <a:pt x="3714274" y="250984"/>
                  </a:cubicBezTo>
                  <a:cubicBezTo>
                    <a:pt x="3714274" y="246221"/>
                    <a:pt x="3713321" y="242411"/>
                    <a:pt x="3713321" y="238601"/>
                  </a:cubicBezTo>
                  <a:cubicBezTo>
                    <a:pt x="3713321" y="234791"/>
                    <a:pt x="3713321" y="230981"/>
                    <a:pt x="3713321" y="227171"/>
                  </a:cubicBezTo>
                  <a:cubicBezTo>
                    <a:pt x="3713321" y="219551"/>
                    <a:pt x="3712369" y="213836"/>
                    <a:pt x="3712369" y="208121"/>
                  </a:cubicBezTo>
                  <a:cubicBezTo>
                    <a:pt x="3712369" y="207169"/>
                    <a:pt x="3712369" y="206216"/>
                    <a:pt x="3712369" y="205264"/>
                  </a:cubicBezTo>
                  <a:cubicBezTo>
                    <a:pt x="3713321" y="207169"/>
                    <a:pt x="3714274" y="209074"/>
                    <a:pt x="3716179" y="211931"/>
                  </a:cubicBezTo>
                  <a:close/>
                  <a:moveTo>
                    <a:pt x="3679984" y="236696"/>
                  </a:moveTo>
                  <a:cubicBezTo>
                    <a:pt x="3681889" y="222409"/>
                    <a:pt x="3683794" y="209074"/>
                    <a:pt x="3684746" y="196691"/>
                  </a:cubicBezTo>
                  <a:cubicBezTo>
                    <a:pt x="3685699" y="185261"/>
                    <a:pt x="3687604" y="174784"/>
                    <a:pt x="3687604" y="166211"/>
                  </a:cubicBezTo>
                  <a:cubicBezTo>
                    <a:pt x="3687604" y="161449"/>
                    <a:pt x="3688556" y="157639"/>
                    <a:pt x="3688556" y="154781"/>
                  </a:cubicBezTo>
                  <a:cubicBezTo>
                    <a:pt x="3690461" y="159544"/>
                    <a:pt x="3694271" y="168116"/>
                    <a:pt x="3699034" y="178594"/>
                  </a:cubicBezTo>
                  <a:cubicBezTo>
                    <a:pt x="3701891" y="184309"/>
                    <a:pt x="3704749" y="191929"/>
                    <a:pt x="3708559" y="199549"/>
                  </a:cubicBezTo>
                  <a:cubicBezTo>
                    <a:pt x="3708559" y="201454"/>
                    <a:pt x="3707606" y="204311"/>
                    <a:pt x="3707606" y="207169"/>
                  </a:cubicBezTo>
                  <a:cubicBezTo>
                    <a:pt x="3706654" y="211931"/>
                    <a:pt x="3705701" y="218599"/>
                    <a:pt x="3704749" y="226219"/>
                  </a:cubicBezTo>
                  <a:cubicBezTo>
                    <a:pt x="3703796" y="230029"/>
                    <a:pt x="3703796" y="233839"/>
                    <a:pt x="3702844" y="237649"/>
                  </a:cubicBezTo>
                  <a:cubicBezTo>
                    <a:pt x="3702844" y="241459"/>
                    <a:pt x="3701891" y="246221"/>
                    <a:pt x="3701891" y="250984"/>
                  </a:cubicBezTo>
                  <a:cubicBezTo>
                    <a:pt x="3700939" y="259556"/>
                    <a:pt x="3700939" y="270034"/>
                    <a:pt x="3700939" y="280511"/>
                  </a:cubicBezTo>
                  <a:cubicBezTo>
                    <a:pt x="3700939" y="287179"/>
                    <a:pt x="3700939" y="293846"/>
                    <a:pt x="3700939" y="300514"/>
                  </a:cubicBezTo>
                  <a:cubicBezTo>
                    <a:pt x="3699034" y="293846"/>
                    <a:pt x="3697129" y="290036"/>
                    <a:pt x="3697129" y="290036"/>
                  </a:cubicBezTo>
                  <a:cubicBezTo>
                    <a:pt x="3697129" y="290036"/>
                    <a:pt x="3698081" y="296704"/>
                    <a:pt x="3699034" y="308134"/>
                  </a:cubicBezTo>
                  <a:cubicBezTo>
                    <a:pt x="3696176" y="312896"/>
                    <a:pt x="3693319" y="317659"/>
                    <a:pt x="3690461" y="322421"/>
                  </a:cubicBezTo>
                  <a:cubicBezTo>
                    <a:pt x="3687604" y="317659"/>
                    <a:pt x="3685699" y="313849"/>
                    <a:pt x="3683794" y="310991"/>
                  </a:cubicBezTo>
                  <a:cubicBezTo>
                    <a:pt x="3683794" y="305276"/>
                    <a:pt x="3683794" y="302419"/>
                    <a:pt x="3683794" y="302419"/>
                  </a:cubicBezTo>
                  <a:cubicBezTo>
                    <a:pt x="3683794" y="302419"/>
                    <a:pt x="3683794" y="304324"/>
                    <a:pt x="3682841" y="308134"/>
                  </a:cubicBezTo>
                  <a:cubicBezTo>
                    <a:pt x="3680936" y="304324"/>
                    <a:pt x="3679031" y="302419"/>
                    <a:pt x="3679031" y="302419"/>
                  </a:cubicBezTo>
                  <a:cubicBezTo>
                    <a:pt x="3679031" y="302419"/>
                    <a:pt x="3679984" y="305276"/>
                    <a:pt x="3681889" y="310991"/>
                  </a:cubicBezTo>
                  <a:cubicBezTo>
                    <a:pt x="3680936" y="313849"/>
                    <a:pt x="3680936" y="318611"/>
                    <a:pt x="3679984" y="323374"/>
                  </a:cubicBezTo>
                  <a:cubicBezTo>
                    <a:pt x="3677126" y="317659"/>
                    <a:pt x="3675221" y="311944"/>
                    <a:pt x="3672364" y="307181"/>
                  </a:cubicBezTo>
                  <a:cubicBezTo>
                    <a:pt x="3674269" y="300514"/>
                    <a:pt x="3676174" y="294799"/>
                    <a:pt x="3677126" y="289084"/>
                  </a:cubicBezTo>
                  <a:cubicBezTo>
                    <a:pt x="3679031" y="283369"/>
                    <a:pt x="3680936" y="277654"/>
                    <a:pt x="3681889" y="272891"/>
                  </a:cubicBezTo>
                  <a:cubicBezTo>
                    <a:pt x="3683794" y="268129"/>
                    <a:pt x="3685699" y="264319"/>
                    <a:pt x="3686651" y="260509"/>
                  </a:cubicBezTo>
                  <a:cubicBezTo>
                    <a:pt x="3690461" y="253841"/>
                    <a:pt x="3692366" y="250031"/>
                    <a:pt x="3692366" y="250031"/>
                  </a:cubicBezTo>
                  <a:cubicBezTo>
                    <a:pt x="3692366" y="250031"/>
                    <a:pt x="3689509" y="252889"/>
                    <a:pt x="3683794" y="258604"/>
                  </a:cubicBezTo>
                  <a:cubicBezTo>
                    <a:pt x="3680936" y="261461"/>
                    <a:pt x="3678079" y="265271"/>
                    <a:pt x="3675221" y="270034"/>
                  </a:cubicBezTo>
                  <a:cubicBezTo>
                    <a:pt x="3674269" y="271939"/>
                    <a:pt x="3673316" y="273844"/>
                    <a:pt x="3671411" y="275749"/>
                  </a:cubicBezTo>
                  <a:cubicBezTo>
                    <a:pt x="3677126" y="261461"/>
                    <a:pt x="3679031" y="248126"/>
                    <a:pt x="3679984" y="236696"/>
                  </a:cubicBezTo>
                  <a:close/>
                  <a:moveTo>
                    <a:pt x="3678079" y="342424"/>
                  </a:moveTo>
                  <a:cubicBezTo>
                    <a:pt x="3678079" y="344329"/>
                    <a:pt x="3677126" y="346234"/>
                    <a:pt x="3677126" y="349091"/>
                  </a:cubicBezTo>
                  <a:cubicBezTo>
                    <a:pt x="3677126" y="347186"/>
                    <a:pt x="3676174" y="345281"/>
                    <a:pt x="3676174" y="343376"/>
                  </a:cubicBezTo>
                  <a:cubicBezTo>
                    <a:pt x="3675221" y="340519"/>
                    <a:pt x="3675221" y="337661"/>
                    <a:pt x="3674269" y="335756"/>
                  </a:cubicBezTo>
                  <a:cubicBezTo>
                    <a:pt x="3675221" y="337661"/>
                    <a:pt x="3676174" y="340519"/>
                    <a:pt x="3678079" y="342424"/>
                  </a:cubicBezTo>
                  <a:close/>
                  <a:moveTo>
                    <a:pt x="3664744" y="355759"/>
                  </a:moveTo>
                  <a:cubicBezTo>
                    <a:pt x="3664744" y="357664"/>
                    <a:pt x="3664744" y="360521"/>
                    <a:pt x="3664744" y="362426"/>
                  </a:cubicBezTo>
                  <a:cubicBezTo>
                    <a:pt x="3664744" y="365284"/>
                    <a:pt x="3663791" y="368141"/>
                    <a:pt x="3663791" y="371951"/>
                  </a:cubicBezTo>
                  <a:cubicBezTo>
                    <a:pt x="3663791" y="371951"/>
                    <a:pt x="3663791" y="371951"/>
                    <a:pt x="3663791" y="371951"/>
                  </a:cubicBezTo>
                  <a:cubicBezTo>
                    <a:pt x="3663791" y="370046"/>
                    <a:pt x="3662839" y="368141"/>
                    <a:pt x="3662839" y="367189"/>
                  </a:cubicBezTo>
                  <a:cubicBezTo>
                    <a:pt x="3662839" y="367189"/>
                    <a:pt x="3662839" y="367189"/>
                    <a:pt x="3662839" y="366236"/>
                  </a:cubicBezTo>
                  <a:cubicBezTo>
                    <a:pt x="3663791" y="363379"/>
                    <a:pt x="3664744" y="359569"/>
                    <a:pt x="3664744" y="355759"/>
                  </a:cubicBezTo>
                  <a:close/>
                  <a:moveTo>
                    <a:pt x="3603784" y="369094"/>
                  </a:moveTo>
                  <a:cubicBezTo>
                    <a:pt x="3603784" y="367189"/>
                    <a:pt x="3602831" y="365284"/>
                    <a:pt x="3602831" y="363379"/>
                  </a:cubicBezTo>
                  <a:cubicBezTo>
                    <a:pt x="3603784" y="359569"/>
                    <a:pt x="3604736" y="355759"/>
                    <a:pt x="3605689" y="352901"/>
                  </a:cubicBezTo>
                  <a:cubicBezTo>
                    <a:pt x="3605689" y="351949"/>
                    <a:pt x="3606641" y="350996"/>
                    <a:pt x="3606641" y="350044"/>
                  </a:cubicBezTo>
                  <a:cubicBezTo>
                    <a:pt x="3606641" y="350996"/>
                    <a:pt x="3607594" y="351949"/>
                    <a:pt x="3607594" y="352901"/>
                  </a:cubicBezTo>
                  <a:lnTo>
                    <a:pt x="3607594" y="353854"/>
                  </a:lnTo>
                  <a:cubicBezTo>
                    <a:pt x="3605689" y="358616"/>
                    <a:pt x="3604736" y="364331"/>
                    <a:pt x="3603784" y="369094"/>
                  </a:cubicBezTo>
                  <a:close/>
                  <a:moveTo>
                    <a:pt x="3612356" y="329089"/>
                  </a:moveTo>
                  <a:cubicBezTo>
                    <a:pt x="3612356" y="329089"/>
                    <a:pt x="3611404" y="328136"/>
                    <a:pt x="3611404" y="327184"/>
                  </a:cubicBezTo>
                  <a:cubicBezTo>
                    <a:pt x="3611404" y="325279"/>
                    <a:pt x="3611404" y="323374"/>
                    <a:pt x="3610451" y="321469"/>
                  </a:cubicBezTo>
                  <a:cubicBezTo>
                    <a:pt x="3611404" y="322421"/>
                    <a:pt x="3612356" y="323374"/>
                    <a:pt x="3613309" y="324326"/>
                  </a:cubicBezTo>
                  <a:cubicBezTo>
                    <a:pt x="3613309" y="326231"/>
                    <a:pt x="3612356" y="327184"/>
                    <a:pt x="3612356" y="329089"/>
                  </a:cubicBezTo>
                  <a:close/>
                  <a:moveTo>
                    <a:pt x="3633311" y="366236"/>
                  </a:moveTo>
                  <a:cubicBezTo>
                    <a:pt x="3632359" y="363379"/>
                    <a:pt x="3630454" y="361474"/>
                    <a:pt x="3629501" y="358616"/>
                  </a:cubicBezTo>
                  <a:cubicBezTo>
                    <a:pt x="3629501" y="357664"/>
                    <a:pt x="3629501" y="355759"/>
                    <a:pt x="3629501" y="354806"/>
                  </a:cubicBezTo>
                  <a:cubicBezTo>
                    <a:pt x="3631406" y="357664"/>
                    <a:pt x="3632359" y="361474"/>
                    <a:pt x="3633311" y="366236"/>
                  </a:cubicBezTo>
                  <a:cubicBezTo>
                    <a:pt x="3633311" y="366236"/>
                    <a:pt x="3634264" y="366236"/>
                    <a:pt x="3633311" y="366236"/>
                  </a:cubicBezTo>
                  <a:cubicBezTo>
                    <a:pt x="3634264" y="366236"/>
                    <a:pt x="3633311" y="366236"/>
                    <a:pt x="3633311" y="366236"/>
                  </a:cubicBezTo>
                  <a:close/>
                  <a:moveTo>
                    <a:pt x="3632359" y="331946"/>
                  </a:moveTo>
                  <a:cubicBezTo>
                    <a:pt x="3633311" y="336709"/>
                    <a:pt x="3634264" y="342424"/>
                    <a:pt x="3635216" y="348139"/>
                  </a:cubicBezTo>
                  <a:cubicBezTo>
                    <a:pt x="3634264" y="346234"/>
                    <a:pt x="3632359" y="343376"/>
                    <a:pt x="3631406" y="341471"/>
                  </a:cubicBezTo>
                  <a:cubicBezTo>
                    <a:pt x="3631406" y="337661"/>
                    <a:pt x="3631406" y="334804"/>
                    <a:pt x="3632359" y="331946"/>
                  </a:cubicBezTo>
                  <a:close/>
                  <a:moveTo>
                    <a:pt x="3618071" y="270034"/>
                  </a:moveTo>
                  <a:cubicBezTo>
                    <a:pt x="3621881" y="261461"/>
                    <a:pt x="3624739" y="252889"/>
                    <a:pt x="3628549" y="246221"/>
                  </a:cubicBezTo>
                  <a:cubicBezTo>
                    <a:pt x="3629501" y="244316"/>
                    <a:pt x="3629501" y="243364"/>
                    <a:pt x="3630454" y="242411"/>
                  </a:cubicBezTo>
                  <a:cubicBezTo>
                    <a:pt x="3629501" y="249079"/>
                    <a:pt x="3627596" y="256699"/>
                    <a:pt x="3625691" y="265271"/>
                  </a:cubicBezTo>
                  <a:cubicBezTo>
                    <a:pt x="3623786" y="267176"/>
                    <a:pt x="3620929" y="269081"/>
                    <a:pt x="3618071" y="271939"/>
                  </a:cubicBezTo>
                  <a:cubicBezTo>
                    <a:pt x="3618071" y="270986"/>
                    <a:pt x="3618071" y="270034"/>
                    <a:pt x="3618071" y="270034"/>
                  </a:cubicBezTo>
                  <a:close/>
                  <a:moveTo>
                    <a:pt x="3601879" y="310039"/>
                  </a:moveTo>
                  <a:cubicBezTo>
                    <a:pt x="3603784" y="306229"/>
                    <a:pt x="3604736" y="302419"/>
                    <a:pt x="3606641" y="298609"/>
                  </a:cubicBezTo>
                  <a:cubicBezTo>
                    <a:pt x="3609499" y="291941"/>
                    <a:pt x="3612356" y="285274"/>
                    <a:pt x="3615214" y="278606"/>
                  </a:cubicBezTo>
                  <a:cubicBezTo>
                    <a:pt x="3617119" y="276701"/>
                    <a:pt x="3619024" y="273844"/>
                    <a:pt x="3619976" y="271939"/>
                  </a:cubicBezTo>
                  <a:cubicBezTo>
                    <a:pt x="3621881" y="270034"/>
                    <a:pt x="3623786" y="268129"/>
                    <a:pt x="3625691" y="266224"/>
                  </a:cubicBezTo>
                  <a:cubicBezTo>
                    <a:pt x="3625691" y="268129"/>
                    <a:pt x="3624739" y="269081"/>
                    <a:pt x="3624739" y="270986"/>
                  </a:cubicBezTo>
                  <a:cubicBezTo>
                    <a:pt x="3621881" y="282416"/>
                    <a:pt x="3619976" y="295751"/>
                    <a:pt x="3617119" y="309086"/>
                  </a:cubicBezTo>
                  <a:cubicBezTo>
                    <a:pt x="3616166" y="312896"/>
                    <a:pt x="3615214" y="317659"/>
                    <a:pt x="3614261" y="322421"/>
                  </a:cubicBezTo>
                  <a:cubicBezTo>
                    <a:pt x="3613309" y="321469"/>
                    <a:pt x="3612356" y="320516"/>
                    <a:pt x="3611404" y="320516"/>
                  </a:cubicBezTo>
                  <a:cubicBezTo>
                    <a:pt x="3610451" y="312896"/>
                    <a:pt x="3610451" y="306229"/>
                    <a:pt x="3609499" y="298609"/>
                  </a:cubicBezTo>
                  <a:cubicBezTo>
                    <a:pt x="3609499" y="305276"/>
                    <a:pt x="3608546" y="311944"/>
                    <a:pt x="3608546" y="318611"/>
                  </a:cubicBezTo>
                  <a:cubicBezTo>
                    <a:pt x="3607594" y="318611"/>
                    <a:pt x="3606641" y="317659"/>
                    <a:pt x="3606641" y="317659"/>
                  </a:cubicBezTo>
                  <a:cubicBezTo>
                    <a:pt x="3607594" y="318611"/>
                    <a:pt x="3608546" y="318611"/>
                    <a:pt x="3608546" y="319564"/>
                  </a:cubicBezTo>
                  <a:cubicBezTo>
                    <a:pt x="3608546" y="320516"/>
                    <a:pt x="3608546" y="321469"/>
                    <a:pt x="3608546" y="322421"/>
                  </a:cubicBezTo>
                  <a:cubicBezTo>
                    <a:pt x="3606641" y="318611"/>
                    <a:pt x="3604736" y="315754"/>
                    <a:pt x="3602831" y="312896"/>
                  </a:cubicBezTo>
                  <a:cubicBezTo>
                    <a:pt x="3601879" y="310991"/>
                    <a:pt x="3601879" y="310039"/>
                    <a:pt x="3601879" y="310039"/>
                  </a:cubicBezTo>
                  <a:close/>
                  <a:moveTo>
                    <a:pt x="3600926" y="335756"/>
                  </a:moveTo>
                  <a:cubicBezTo>
                    <a:pt x="3601879" y="339566"/>
                    <a:pt x="3603784" y="342424"/>
                    <a:pt x="3604736" y="346234"/>
                  </a:cubicBezTo>
                  <a:cubicBezTo>
                    <a:pt x="3603784" y="348139"/>
                    <a:pt x="3602831" y="350044"/>
                    <a:pt x="3601879" y="351949"/>
                  </a:cubicBezTo>
                  <a:cubicBezTo>
                    <a:pt x="3601879" y="351949"/>
                    <a:pt x="3601879" y="352901"/>
                    <a:pt x="3600926" y="352901"/>
                  </a:cubicBezTo>
                  <a:cubicBezTo>
                    <a:pt x="3600926" y="350044"/>
                    <a:pt x="3599974" y="348139"/>
                    <a:pt x="3599974" y="345281"/>
                  </a:cubicBezTo>
                  <a:cubicBezTo>
                    <a:pt x="3599974" y="342424"/>
                    <a:pt x="3600926" y="338614"/>
                    <a:pt x="3600926" y="335756"/>
                  </a:cubicBezTo>
                  <a:close/>
                  <a:moveTo>
                    <a:pt x="3556159" y="342424"/>
                  </a:moveTo>
                  <a:cubicBezTo>
                    <a:pt x="3556159" y="335756"/>
                    <a:pt x="3557111" y="330041"/>
                    <a:pt x="3557111" y="324326"/>
                  </a:cubicBezTo>
                  <a:cubicBezTo>
                    <a:pt x="3557111" y="325279"/>
                    <a:pt x="3558064" y="327184"/>
                    <a:pt x="3558064" y="328136"/>
                  </a:cubicBezTo>
                  <a:cubicBezTo>
                    <a:pt x="3558064" y="330041"/>
                    <a:pt x="3559016" y="331946"/>
                    <a:pt x="3559016" y="333851"/>
                  </a:cubicBezTo>
                  <a:cubicBezTo>
                    <a:pt x="3559016" y="333851"/>
                    <a:pt x="3559016" y="334804"/>
                    <a:pt x="3559016" y="334804"/>
                  </a:cubicBezTo>
                  <a:cubicBezTo>
                    <a:pt x="3558064" y="337661"/>
                    <a:pt x="3557111" y="339566"/>
                    <a:pt x="3556159" y="342424"/>
                  </a:cubicBezTo>
                  <a:close/>
                  <a:moveTo>
                    <a:pt x="3559969" y="279559"/>
                  </a:moveTo>
                  <a:cubicBezTo>
                    <a:pt x="3559016" y="277654"/>
                    <a:pt x="3559016" y="276701"/>
                    <a:pt x="3559016" y="274796"/>
                  </a:cubicBezTo>
                  <a:cubicBezTo>
                    <a:pt x="3559969" y="275749"/>
                    <a:pt x="3560921" y="275749"/>
                    <a:pt x="3561874" y="276701"/>
                  </a:cubicBezTo>
                  <a:cubicBezTo>
                    <a:pt x="3563779" y="277654"/>
                    <a:pt x="3564731" y="278606"/>
                    <a:pt x="3566636" y="280511"/>
                  </a:cubicBezTo>
                  <a:cubicBezTo>
                    <a:pt x="3565684" y="282416"/>
                    <a:pt x="3563779" y="284321"/>
                    <a:pt x="3562826" y="287179"/>
                  </a:cubicBezTo>
                  <a:cubicBezTo>
                    <a:pt x="3561874" y="285274"/>
                    <a:pt x="3560921" y="282416"/>
                    <a:pt x="3559969" y="279559"/>
                  </a:cubicBezTo>
                  <a:close/>
                  <a:moveTo>
                    <a:pt x="3571399" y="287179"/>
                  </a:moveTo>
                  <a:cubicBezTo>
                    <a:pt x="3571399" y="294799"/>
                    <a:pt x="3571399" y="303371"/>
                    <a:pt x="3571399" y="311944"/>
                  </a:cubicBezTo>
                  <a:cubicBezTo>
                    <a:pt x="3570446" y="312896"/>
                    <a:pt x="3570446" y="313849"/>
                    <a:pt x="3569494" y="314801"/>
                  </a:cubicBezTo>
                  <a:cubicBezTo>
                    <a:pt x="3567589" y="307181"/>
                    <a:pt x="3565684" y="299561"/>
                    <a:pt x="3562826" y="292894"/>
                  </a:cubicBezTo>
                  <a:cubicBezTo>
                    <a:pt x="3563779" y="289084"/>
                    <a:pt x="3565684" y="285274"/>
                    <a:pt x="3566636" y="282416"/>
                  </a:cubicBezTo>
                  <a:cubicBezTo>
                    <a:pt x="3568541" y="283369"/>
                    <a:pt x="3570446" y="284321"/>
                    <a:pt x="3571399" y="287179"/>
                  </a:cubicBezTo>
                  <a:cubicBezTo>
                    <a:pt x="3571399" y="286226"/>
                    <a:pt x="3571399" y="286226"/>
                    <a:pt x="3571399" y="287179"/>
                  </a:cubicBezTo>
                  <a:close/>
                  <a:moveTo>
                    <a:pt x="3571399" y="281464"/>
                  </a:moveTo>
                  <a:cubicBezTo>
                    <a:pt x="3570446" y="280511"/>
                    <a:pt x="3569494" y="280511"/>
                    <a:pt x="3568541" y="279559"/>
                  </a:cubicBezTo>
                  <a:cubicBezTo>
                    <a:pt x="3568541" y="279559"/>
                    <a:pt x="3568541" y="279559"/>
                    <a:pt x="3568541" y="279559"/>
                  </a:cubicBezTo>
                  <a:cubicBezTo>
                    <a:pt x="3570446" y="276701"/>
                    <a:pt x="3571399" y="274796"/>
                    <a:pt x="3571399" y="273844"/>
                  </a:cubicBezTo>
                  <a:cubicBezTo>
                    <a:pt x="3571399" y="276701"/>
                    <a:pt x="3571399" y="279559"/>
                    <a:pt x="3571399" y="281464"/>
                  </a:cubicBezTo>
                  <a:close/>
                  <a:moveTo>
                    <a:pt x="3567589" y="250031"/>
                  </a:moveTo>
                  <a:cubicBezTo>
                    <a:pt x="3568541" y="254794"/>
                    <a:pt x="3569494" y="260509"/>
                    <a:pt x="3570446" y="265271"/>
                  </a:cubicBezTo>
                  <a:cubicBezTo>
                    <a:pt x="3570446" y="267176"/>
                    <a:pt x="3571399" y="270034"/>
                    <a:pt x="3571399" y="271939"/>
                  </a:cubicBezTo>
                  <a:cubicBezTo>
                    <a:pt x="3571399" y="271939"/>
                    <a:pt x="3571399" y="272891"/>
                    <a:pt x="3571399" y="272891"/>
                  </a:cubicBezTo>
                  <a:cubicBezTo>
                    <a:pt x="3571399" y="272891"/>
                    <a:pt x="3569494" y="274796"/>
                    <a:pt x="3567589" y="277654"/>
                  </a:cubicBezTo>
                  <a:cubicBezTo>
                    <a:pt x="3567589" y="277654"/>
                    <a:pt x="3567589" y="277654"/>
                    <a:pt x="3567589" y="277654"/>
                  </a:cubicBezTo>
                  <a:cubicBezTo>
                    <a:pt x="3565684" y="276701"/>
                    <a:pt x="3563779" y="274796"/>
                    <a:pt x="3561874" y="274796"/>
                  </a:cubicBezTo>
                  <a:cubicBezTo>
                    <a:pt x="3559969" y="273844"/>
                    <a:pt x="3559016" y="273844"/>
                    <a:pt x="3558064" y="272891"/>
                  </a:cubicBezTo>
                  <a:cubicBezTo>
                    <a:pt x="3557111" y="269081"/>
                    <a:pt x="3555206" y="264319"/>
                    <a:pt x="3554254" y="260509"/>
                  </a:cubicBezTo>
                  <a:cubicBezTo>
                    <a:pt x="3555206" y="259556"/>
                    <a:pt x="3555206" y="258604"/>
                    <a:pt x="3556159" y="257651"/>
                  </a:cubicBezTo>
                  <a:cubicBezTo>
                    <a:pt x="3559969" y="251936"/>
                    <a:pt x="3562826" y="247174"/>
                    <a:pt x="3566636" y="243364"/>
                  </a:cubicBezTo>
                  <a:cubicBezTo>
                    <a:pt x="3567589" y="246221"/>
                    <a:pt x="3567589" y="248126"/>
                    <a:pt x="3567589" y="250031"/>
                  </a:cubicBezTo>
                  <a:close/>
                  <a:moveTo>
                    <a:pt x="3561874" y="229076"/>
                  </a:moveTo>
                  <a:cubicBezTo>
                    <a:pt x="3561874" y="228124"/>
                    <a:pt x="3562826" y="228124"/>
                    <a:pt x="3562826" y="227171"/>
                  </a:cubicBezTo>
                  <a:cubicBezTo>
                    <a:pt x="3563779" y="230029"/>
                    <a:pt x="3563779" y="232886"/>
                    <a:pt x="3564731" y="235744"/>
                  </a:cubicBezTo>
                  <a:cubicBezTo>
                    <a:pt x="3564731" y="236696"/>
                    <a:pt x="3564731" y="237649"/>
                    <a:pt x="3565684" y="238601"/>
                  </a:cubicBezTo>
                  <a:cubicBezTo>
                    <a:pt x="3561874" y="241459"/>
                    <a:pt x="3557111" y="246221"/>
                    <a:pt x="3552349" y="251936"/>
                  </a:cubicBezTo>
                  <a:cubicBezTo>
                    <a:pt x="3552349" y="250031"/>
                    <a:pt x="3551396" y="248126"/>
                    <a:pt x="3551396" y="247174"/>
                  </a:cubicBezTo>
                  <a:cubicBezTo>
                    <a:pt x="3555206" y="241459"/>
                    <a:pt x="3558064" y="234791"/>
                    <a:pt x="3561874" y="229076"/>
                  </a:cubicBezTo>
                  <a:close/>
                  <a:moveTo>
                    <a:pt x="3551396" y="293846"/>
                  </a:moveTo>
                  <a:cubicBezTo>
                    <a:pt x="3552349" y="298609"/>
                    <a:pt x="3553301" y="303371"/>
                    <a:pt x="3554254" y="307181"/>
                  </a:cubicBezTo>
                  <a:cubicBezTo>
                    <a:pt x="3553301" y="311944"/>
                    <a:pt x="3551396" y="315754"/>
                    <a:pt x="3550444" y="321469"/>
                  </a:cubicBezTo>
                  <a:cubicBezTo>
                    <a:pt x="3549491" y="325279"/>
                    <a:pt x="3548539" y="329089"/>
                    <a:pt x="3547586" y="333851"/>
                  </a:cubicBezTo>
                  <a:cubicBezTo>
                    <a:pt x="3547586" y="332899"/>
                    <a:pt x="3546634" y="332899"/>
                    <a:pt x="3546634" y="331946"/>
                  </a:cubicBezTo>
                  <a:cubicBezTo>
                    <a:pt x="3545681" y="330041"/>
                    <a:pt x="3544729" y="329089"/>
                    <a:pt x="3543776" y="327184"/>
                  </a:cubicBezTo>
                  <a:cubicBezTo>
                    <a:pt x="3544729" y="319564"/>
                    <a:pt x="3544729" y="312896"/>
                    <a:pt x="3544729" y="306229"/>
                  </a:cubicBezTo>
                  <a:cubicBezTo>
                    <a:pt x="3545681" y="299561"/>
                    <a:pt x="3546634" y="292894"/>
                    <a:pt x="3547586" y="286226"/>
                  </a:cubicBezTo>
                  <a:cubicBezTo>
                    <a:pt x="3547586" y="283369"/>
                    <a:pt x="3548539" y="279559"/>
                    <a:pt x="3548539" y="276701"/>
                  </a:cubicBezTo>
                  <a:cubicBezTo>
                    <a:pt x="3548539" y="282416"/>
                    <a:pt x="3550444" y="288131"/>
                    <a:pt x="3551396" y="293846"/>
                  </a:cubicBezTo>
                  <a:close/>
                  <a:moveTo>
                    <a:pt x="3543776" y="191929"/>
                  </a:moveTo>
                  <a:cubicBezTo>
                    <a:pt x="3545681" y="187166"/>
                    <a:pt x="3547586" y="183356"/>
                    <a:pt x="3549491" y="180499"/>
                  </a:cubicBezTo>
                  <a:cubicBezTo>
                    <a:pt x="3549491" y="181451"/>
                    <a:pt x="3549491" y="183356"/>
                    <a:pt x="3548539" y="185261"/>
                  </a:cubicBezTo>
                  <a:cubicBezTo>
                    <a:pt x="3547586" y="192881"/>
                    <a:pt x="3546634" y="201454"/>
                    <a:pt x="3544729" y="211931"/>
                  </a:cubicBezTo>
                  <a:cubicBezTo>
                    <a:pt x="3544729" y="213836"/>
                    <a:pt x="3543776" y="215741"/>
                    <a:pt x="3543776" y="217646"/>
                  </a:cubicBezTo>
                  <a:cubicBezTo>
                    <a:pt x="3541871" y="210026"/>
                    <a:pt x="3539966" y="204311"/>
                    <a:pt x="3539014" y="200501"/>
                  </a:cubicBezTo>
                  <a:cubicBezTo>
                    <a:pt x="3540919" y="196691"/>
                    <a:pt x="3541871" y="194786"/>
                    <a:pt x="3543776" y="191929"/>
                  </a:cubicBezTo>
                  <a:close/>
                  <a:moveTo>
                    <a:pt x="3530441" y="217646"/>
                  </a:moveTo>
                  <a:cubicBezTo>
                    <a:pt x="3533299" y="211931"/>
                    <a:pt x="3536156" y="206216"/>
                    <a:pt x="3539014" y="201454"/>
                  </a:cubicBezTo>
                  <a:cubicBezTo>
                    <a:pt x="3539014" y="205264"/>
                    <a:pt x="3539966" y="210979"/>
                    <a:pt x="3540919" y="217646"/>
                  </a:cubicBezTo>
                  <a:cubicBezTo>
                    <a:pt x="3540919" y="221456"/>
                    <a:pt x="3541871" y="226219"/>
                    <a:pt x="3542824" y="231934"/>
                  </a:cubicBezTo>
                  <a:cubicBezTo>
                    <a:pt x="3541871" y="234791"/>
                    <a:pt x="3541871" y="237649"/>
                    <a:pt x="3540919" y="240506"/>
                  </a:cubicBezTo>
                  <a:cubicBezTo>
                    <a:pt x="3537109" y="246221"/>
                    <a:pt x="3532346" y="252889"/>
                    <a:pt x="3528536" y="259556"/>
                  </a:cubicBezTo>
                  <a:cubicBezTo>
                    <a:pt x="3528536" y="258604"/>
                    <a:pt x="3528536" y="257651"/>
                    <a:pt x="3528536" y="257651"/>
                  </a:cubicBezTo>
                  <a:cubicBezTo>
                    <a:pt x="3528536" y="251936"/>
                    <a:pt x="3528536" y="246221"/>
                    <a:pt x="3527584" y="240506"/>
                  </a:cubicBezTo>
                  <a:cubicBezTo>
                    <a:pt x="3527584" y="236696"/>
                    <a:pt x="3526631" y="232886"/>
                    <a:pt x="3526631" y="229076"/>
                  </a:cubicBezTo>
                  <a:cubicBezTo>
                    <a:pt x="3527584" y="224314"/>
                    <a:pt x="3528536" y="220504"/>
                    <a:pt x="3530441" y="217646"/>
                  </a:cubicBezTo>
                  <a:close/>
                  <a:moveTo>
                    <a:pt x="3490436" y="321469"/>
                  </a:moveTo>
                  <a:cubicBezTo>
                    <a:pt x="3490436" y="320516"/>
                    <a:pt x="3490436" y="318611"/>
                    <a:pt x="3490436" y="317659"/>
                  </a:cubicBezTo>
                  <a:cubicBezTo>
                    <a:pt x="3490436" y="318611"/>
                    <a:pt x="3491389" y="319564"/>
                    <a:pt x="3491389" y="319564"/>
                  </a:cubicBezTo>
                  <a:cubicBezTo>
                    <a:pt x="3491389" y="320516"/>
                    <a:pt x="3491389" y="320516"/>
                    <a:pt x="3490436" y="321469"/>
                  </a:cubicBezTo>
                  <a:close/>
                  <a:moveTo>
                    <a:pt x="3514249" y="250984"/>
                  </a:moveTo>
                  <a:cubicBezTo>
                    <a:pt x="3515201" y="249079"/>
                    <a:pt x="3516154" y="247174"/>
                    <a:pt x="3516154" y="246221"/>
                  </a:cubicBezTo>
                  <a:cubicBezTo>
                    <a:pt x="3516154" y="250031"/>
                    <a:pt x="3516154" y="253841"/>
                    <a:pt x="3515201" y="257651"/>
                  </a:cubicBezTo>
                  <a:cubicBezTo>
                    <a:pt x="3515201" y="261461"/>
                    <a:pt x="3514249" y="266224"/>
                    <a:pt x="3514249" y="270986"/>
                  </a:cubicBezTo>
                  <a:cubicBezTo>
                    <a:pt x="3513296" y="267176"/>
                    <a:pt x="3511391" y="263366"/>
                    <a:pt x="3509486" y="259556"/>
                  </a:cubicBezTo>
                  <a:cubicBezTo>
                    <a:pt x="3512344" y="255746"/>
                    <a:pt x="3513296" y="252889"/>
                    <a:pt x="3514249" y="250984"/>
                  </a:cubicBezTo>
                  <a:close/>
                  <a:moveTo>
                    <a:pt x="3504724" y="271939"/>
                  </a:moveTo>
                  <a:cubicBezTo>
                    <a:pt x="3504724" y="272891"/>
                    <a:pt x="3505676" y="273844"/>
                    <a:pt x="3505676" y="274796"/>
                  </a:cubicBezTo>
                  <a:cubicBezTo>
                    <a:pt x="3506629" y="279559"/>
                    <a:pt x="3508534" y="283369"/>
                    <a:pt x="3509486" y="288131"/>
                  </a:cubicBezTo>
                  <a:cubicBezTo>
                    <a:pt x="3508534" y="290036"/>
                    <a:pt x="3507581" y="291941"/>
                    <a:pt x="3505676" y="293846"/>
                  </a:cubicBezTo>
                  <a:cubicBezTo>
                    <a:pt x="3505676" y="290036"/>
                    <a:pt x="3504724" y="286226"/>
                    <a:pt x="3504724" y="282416"/>
                  </a:cubicBezTo>
                  <a:cubicBezTo>
                    <a:pt x="3504724" y="279559"/>
                    <a:pt x="3504724" y="275749"/>
                    <a:pt x="3504724" y="271939"/>
                  </a:cubicBezTo>
                  <a:cubicBezTo>
                    <a:pt x="3504724" y="272891"/>
                    <a:pt x="3504724" y="272891"/>
                    <a:pt x="3504724" y="271939"/>
                  </a:cubicBezTo>
                  <a:close/>
                  <a:moveTo>
                    <a:pt x="3501866" y="398621"/>
                  </a:moveTo>
                  <a:cubicBezTo>
                    <a:pt x="3499961" y="389096"/>
                    <a:pt x="3497104" y="380524"/>
                    <a:pt x="3495199" y="371951"/>
                  </a:cubicBezTo>
                  <a:cubicBezTo>
                    <a:pt x="3495199" y="370999"/>
                    <a:pt x="3494246" y="370046"/>
                    <a:pt x="3494246" y="369094"/>
                  </a:cubicBezTo>
                  <a:cubicBezTo>
                    <a:pt x="3496151" y="365284"/>
                    <a:pt x="3498056" y="361474"/>
                    <a:pt x="3499961" y="357664"/>
                  </a:cubicBezTo>
                  <a:cubicBezTo>
                    <a:pt x="3500914" y="370999"/>
                    <a:pt x="3500914" y="384334"/>
                    <a:pt x="3501866" y="398621"/>
                  </a:cubicBezTo>
                  <a:close/>
                  <a:moveTo>
                    <a:pt x="3496151" y="290036"/>
                  </a:moveTo>
                  <a:cubicBezTo>
                    <a:pt x="3497104" y="288131"/>
                    <a:pt x="3498056" y="286226"/>
                    <a:pt x="3499009" y="284321"/>
                  </a:cubicBezTo>
                  <a:cubicBezTo>
                    <a:pt x="3499009" y="288131"/>
                    <a:pt x="3499009" y="291941"/>
                    <a:pt x="3499009" y="295751"/>
                  </a:cubicBezTo>
                  <a:cubicBezTo>
                    <a:pt x="3498056" y="293846"/>
                    <a:pt x="3497104" y="291941"/>
                    <a:pt x="3496151" y="290036"/>
                  </a:cubicBezTo>
                  <a:close/>
                  <a:moveTo>
                    <a:pt x="3496151" y="252889"/>
                  </a:moveTo>
                  <a:cubicBezTo>
                    <a:pt x="3496151" y="250984"/>
                    <a:pt x="3496151" y="249079"/>
                    <a:pt x="3496151" y="247174"/>
                  </a:cubicBezTo>
                  <a:cubicBezTo>
                    <a:pt x="3497104" y="250031"/>
                    <a:pt x="3498056" y="252889"/>
                    <a:pt x="3499009" y="254794"/>
                  </a:cubicBezTo>
                  <a:cubicBezTo>
                    <a:pt x="3498056" y="256699"/>
                    <a:pt x="3496151" y="258604"/>
                    <a:pt x="3495199" y="261461"/>
                  </a:cubicBezTo>
                  <a:cubicBezTo>
                    <a:pt x="3495199" y="258604"/>
                    <a:pt x="3496151" y="255746"/>
                    <a:pt x="3496151" y="252889"/>
                  </a:cubicBezTo>
                  <a:close/>
                  <a:moveTo>
                    <a:pt x="3481864" y="205264"/>
                  </a:moveTo>
                  <a:cubicBezTo>
                    <a:pt x="3484721" y="212884"/>
                    <a:pt x="3488531" y="220504"/>
                    <a:pt x="3491389" y="230029"/>
                  </a:cubicBezTo>
                  <a:cubicBezTo>
                    <a:pt x="3492341" y="233839"/>
                    <a:pt x="3494246" y="238601"/>
                    <a:pt x="3495199" y="243364"/>
                  </a:cubicBezTo>
                  <a:cubicBezTo>
                    <a:pt x="3494246" y="245269"/>
                    <a:pt x="3493294" y="248126"/>
                    <a:pt x="3492341" y="251936"/>
                  </a:cubicBezTo>
                  <a:cubicBezTo>
                    <a:pt x="3491389" y="256699"/>
                    <a:pt x="3489484" y="261461"/>
                    <a:pt x="3487579" y="268129"/>
                  </a:cubicBezTo>
                  <a:cubicBezTo>
                    <a:pt x="3487579" y="269081"/>
                    <a:pt x="3487579" y="269081"/>
                    <a:pt x="3486626" y="270034"/>
                  </a:cubicBezTo>
                  <a:cubicBezTo>
                    <a:pt x="3484721" y="265271"/>
                    <a:pt x="3481864" y="260509"/>
                    <a:pt x="3479959" y="255746"/>
                  </a:cubicBezTo>
                  <a:cubicBezTo>
                    <a:pt x="3479959" y="245269"/>
                    <a:pt x="3479959" y="235744"/>
                    <a:pt x="3479959" y="228124"/>
                  </a:cubicBezTo>
                  <a:cubicBezTo>
                    <a:pt x="3479959" y="221456"/>
                    <a:pt x="3479959" y="216694"/>
                    <a:pt x="3479959" y="213836"/>
                  </a:cubicBezTo>
                  <a:cubicBezTo>
                    <a:pt x="3480911" y="211931"/>
                    <a:pt x="3480911" y="208121"/>
                    <a:pt x="3481864" y="205264"/>
                  </a:cubicBezTo>
                  <a:close/>
                  <a:moveTo>
                    <a:pt x="3473291" y="241459"/>
                  </a:moveTo>
                  <a:cubicBezTo>
                    <a:pt x="3474244" y="239554"/>
                    <a:pt x="3474244" y="236696"/>
                    <a:pt x="3475196" y="234791"/>
                  </a:cubicBezTo>
                  <a:cubicBezTo>
                    <a:pt x="3474244" y="236696"/>
                    <a:pt x="3474244" y="239554"/>
                    <a:pt x="3473291" y="241459"/>
                  </a:cubicBezTo>
                  <a:cubicBezTo>
                    <a:pt x="3473291" y="242411"/>
                    <a:pt x="3473291" y="241459"/>
                    <a:pt x="3473291" y="241459"/>
                  </a:cubicBezTo>
                  <a:cubicBezTo>
                    <a:pt x="3473291" y="241459"/>
                    <a:pt x="3473291" y="241459"/>
                    <a:pt x="3473291" y="241459"/>
                  </a:cubicBezTo>
                  <a:close/>
                  <a:moveTo>
                    <a:pt x="3468529" y="260509"/>
                  </a:moveTo>
                  <a:cubicBezTo>
                    <a:pt x="3468529" y="261461"/>
                    <a:pt x="3469481" y="262414"/>
                    <a:pt x="3469481" y="263366"/>
                  </a:cubicBezTo>
                  <a:cubicBezTo>
                    <a:pt x="3469481" y="266224"/>
                    <a:pt x="3468529" y="268129"/>
                    <a:pt x="3468529" y="270986"/>
                  </a:cubicBezTo>
                  <a:cubicBezTo>
                    <a:pt x="3467576" y="279559"/>
                    <a:pt x="3466624" y="290036"/>
                    <a:pt x="3465671" y="300514"/>
                  </a:cubicBezTo>
                  <a:cubicBezTo>
                    <a:pt x="3464719" y="306229"/>
                    <a:pt x="3464719" y="311944"/>
                    <a:pt x="3464719" y="318611"/>
                  </a:cubicBezTo>
                  <a:cubicBezTo>
                    <a:pt x="3464719" y="319564"/>
                    <a:pt x="3463766" y="320516"/>
                    <a:pt x="3463766" y="321469"/>
                  </a:cubicBezTo>
                  <a:cubicBezTo>
                    <a:pt x="3462814" y="316706"/>
                    <a:pt x="3460909" y="311944"/>
                    <a:pt x="3459956" y="307181"/>
                  </a:cubicBezTo>
                  <a:cubicBezTo>
                    <a:pt x="3459956" y="307181"/>
                    <a:pt x="3459956" y="306229"/>
                    <a:pt x="3459956" y="306229"/>
                  </a:cubicBezTo>
                  <a:cubicBezTo>
                    <a:pt x="3459956" y="304324"/>
                    <a:pt x="3460909" y="302419"/>
                    <a:pt x="3460909" y="300514"/>
                  </a:cubicBezTo>
                  <a:cubicBezTo>
                    <a:pt x="3463766" y="287179"/>
                    <a:pt x="3466624" y="273844"/>
                    <a:pt x="3468529" y="260509"/>
                  </a:cubicBezTo>
                  <a:close/>
                  <a:moveTo>
                    <a:pt x="3451384" y="237649"/>
                  </a:moveTo>
                  <a:cubicBezTo>
                    <a:pt x="3451384" y="231934"/>
                    <a:pt x="3451384" y="227171"/>
                    <a:pt x="3451384" y="221456"/>
                  </a:cubicBezTo>
                  <a:cubicBezTo>
                    <a:pt x="3451384" y="221456"/>
                    <a:pt x="3451384" y="221456"/>
                    <a:pt x="3451384" y="222409"/>
                  </a:cubicBezTo>
                  <a:cubicBezTo>
                    <a:pt x="3453289" y="227171"/>
                    <a:pt x="3456146" y="231934"/>
                    <a:pt x="3458051" y="237649"/>
                  </a:cubicBezTo>
                  <a:cubicBezTo>
                    <a:pt x="3458051" y="237649"/>
                    <a:pt x="3458051" y="238601"/>
                    <a:pt x="3458051" y="238601"/>
                  </a:cubicBezTo>
                  <a:cubicBezTo>
                    <a:pt x="3455194" y="248126"/>
                    <a:pt x="3452336" y="257651"/>
                    <a:pt x="3450431" y="267176"/>
                  </a:cubicBezTo>
                  <a:cubicBezTo>
                    <a:pt x="3450431" y="267176"/>
                    <a:pt x="3450431" y="267176"/>
                    <a:pt x="3450431" y="267176"/>
                  </a:cubicBezTo>
                  <a:cubicBezTo>
                    <a:pt x="3451384" y="256699"/>
                    <a:pt x="3451384" y="247174"/>
                    <a:pt x="3451384" y="237649"/>
                  </a:cubicBezTo>
                  <a:close/>
                  <a:moveTo>
                    <a:pt x="3405664" y="273844"/>
                  </a:moveTo>
                  <a:cubicBezTo>
                    <a:pt x="3406616" y="268129"/>
                    <a:pt x="3406616" y="263366"/>
                    <a:pt x="3406616" y="258604"/>
                  </a:cubicBezTo>
                  <a:cubicBezTo>
                    <a:pt x="3406616" y="253841"/>
                    <a:pt x="3406616" y="249079"/>
                    <a:pt x="3406616" y="245269"/>
                  </a:cubicBezTo>
                  <a:cubicBezTo>
                    <a:pt x="3406616" y="247174"/>
                    <a:pt x="3407569" y="251936"/>
                    <a:pt x="3409474" y="259556"/>
                  </a:cubicBezTo>
                  <a:cubicBezTo>
                    <a:pt x="3409474" y="264319"/>
                    <a:pt x="3407569" y="269081"/>
                    <a:pt x="3405664" y="273844"/>
                  </a:cubicBezTo>
                  <a:close/>
                  <a:moveTo>
                    <a:pt x="3416141" y="335756"/>
                  </a:moveTo>
                  <a:cubicBezTo>
                    <a:pt x="3416141" y="341471"/>
                    <a:pt x="3416141" y="347186"/>
                    <a:pt x="3416141" y="353854"/>
                  </a:cubicBezTo>
                  <a:cubicBezTo>
                    <a:pt x="3416141" y="351949"/>
                    <a:pt x="3415189" y="350044"/>
                    <a:pt x="3415189" y="348139"/>
                  </a:cubicBezTo>
                  <a:cubicBezTo>
                    <a:pt x="3414236" y="340519"/>
                    <a:pt x="3414236" y="333851"/>
                    <a:pt x="3413284" y="328136"/>
                  </a:cubicBezTo>
                  <a:cubicBezTo>
                    <a:pt x="3413284" y="328136"/>
                    <a:pt x="3413284" y="328136"/>
                    <a:pt x="3413284" y="328136"/>
                  </a:cubicBezTo>
                  <a:cubicBezTo>
                    <a:pt x="3414236" y="325279"/>
                    <a:pt x="3415189" y="323374"/>
                    <a:pt x="3417094" y="320516"/>
                  </a:cubicBezTo>
                  <a:cubicBezTo>
                    <a:pt x="3417094" y="324326"/>
                    <a:pt x="3417094" y="329089"/>
                    <a:pt x="3416141" y="335756"/>
                  </a:cubicBezTo>
                  <a:close/>
                  <a:moveTo>
                    <a:pt x="3421856" y="320516"/>
                  </a:moveTo>
                  <a:cubicBezTo>
                    <a:pt x="3420904" y="324326"/>
                    <a:pt x="3420904" y="329089"/>
                    <a:pt x="3419951" y="332899"/>
                  </a:cubicBezTo>
                  <a:cubicBezTo>
                    <a:pt x="3418999" y="326231"/>
                    <a:pt x="3418999" y="320516"/>
                    <a:pt x="3418046" y="316706"/>
                  </a:cubicBezTo>
                  <a:cubicBezTo>
                    <a:pt x="3418999" y="314801"/>
                    <a:pt x="3419951" y="312896"/>
                    <a:pt x="3420904" y="310991"/>
                  </a:cubicBezTo>
                  <a:cubicBezTo>
                    <a:pt x="3420904" y="310039"/>
                    <a:pt x="3421856" y="309086"/>
                    <a:pt x="3421856" y="308134"/>
                  </a:cubicBezTo>
                  <a:cubicBezTo>
                    <a:pt x="3421856" y="310039"/>
                    <a:pt x="3422809" y="310991"/>
                    <a:pt x="3422809" y="312896"/>
                  </a:cubicBezTo>
                  <a:cubicBezTo>
                    <a:pt x="3422809" y="314801"/>
                    <a:pt x="3422809" y="317659"/>
                    <a:pt x="3421856" y="320516"/>
                  </a:cubicBezTo>
                  <a:close/>
                  <a:moveTo>
                    <a:pt x="3410426" y="139541"/>
                  </a:moveTo>
                  <a:cubicBezTo>
                    <a:pt x="3413284" y="145256"/>
                    <a:pt x="3417094" y="151924"/>
                    <a:pt x="3421856" y="161449"/>
                  </a:cubicBezTo>
                  <a:cubicBezTo>
                    <a:pt x="3424714" y="167164"/>
                    <a:pt x="3428524" y="173831"/>
                    <a:pt x="3433286" y="181451"/>
                  </a:cubicBezTo>
                  <a:cubicBezTo>
                    <a:pt x="3431381" y="187166"/>
                    <a:pt x="3430429" y="192881"/>
                    <a:pt x="3428524" y="198596"/>
                  </a:cubicBezTo>
                  <a:cubicBezTo>
                    <a:pt x="3427571" y="202406"/>
                    <a:pt x="3426619" y="206216"/>
                    <a:pt x="3425666" y="210026"/>
                  </a:cubicBezTo>
                  <a:cubicBezTo>
                    <a:pt x="3424714" y="205264"/>
                    <a:pt x="3423761" y="200501"/>
                    <a:pt x="3422809" y="195739"/>
                  </a:cubicBezTo>
                  <a:cubicBezTo>
                    <a:pt x="3419951" y="183356"/>
                    <a:pt x="3417094" y="171926"/>
                    <a:pt x="3415189" y="163354"/>
                  </a:cubicBezTo>
                  <a:cubicBezTo>
                    <a:pt x="3413284" y="154781"/>
                    <a:pt x="3411379" y="148114"/>
                    <a:pt x="3410426" y="143351"/>
                  </a:cubicBezTo>
                  <a:cubicBezTo>
                    <a:pt x="3409474" y="141446"/>
                    <a:pt x="3410426" y="140494"/>
                    <a:pt x="3410426" y="139541"/>
                  </a:cubicBezTo>
                  <a:close/>
                  <a:moveTo>
                    <a:pt x="3408521" y="136684"/>
                  </a:moveTo>
                  <a:cubicBezTo>
                    <a:pt x="3408521" y="136684"/>
                    <a:pt x="3408521" y="136684"/>
                    <a:pt x="3408521" y="136684"/>
                  </a:cubicBezTo>
                  <a:cubicBezTo>
                    <a:pt x="3408521" y="136684"/>
                    <a:pt x="3408521" y="136684"/>
                    <a:pt x="3408521" y="136684"/>
                  </a:cubicBezTo>
                  <a:cubicBezTo>
                    <a:pt x="3408521" y="136684"/>
                    <a:pt x="3408521" y="136684"/>
                    <a:pt x="3408521" y="136684"/>
                  </a:cubicBezTo>
                  <a:close/>
                  <a:moveTo>
                    <a:pt x="3395186" y="266224"/>
                  </a:moveTo>
                  <a:cubicBezTo>
                    <a:pt x="3396139" y="251936"/>
                    <a:pt x="3396139" y="239554"/>
                    <a:pt x="3396139" y="227171"/>
                  </a:cubicBezTo>
                  <a:cubicBezTo>
                    <a:pt x="3396139" y="222409"/>
                    <a:pt x="3396139" y="217646"/>
                    <a:pt x="3396139" y="212884"/>
                  </a:cubicBezTo>
                  <a:cubicBezTo>
                    <a:pt x="3397091" y="210026"/>
                    <a:pt x="3398044" y="207169"/>
                    <a:pt x="3398996" y="204311"/>
                  </a:cubicBezTo>
                  <a:cubicBezTo>
                    <a:pt x="3398044" y="206216"/>
                    <a:pt x="3397091" y="208121"/>
                    <a:pt x="3396139" y="210026"/>
                  </a:cubicBezTo>
                  <a:cubicBezTo>
                    <a:pt x="3396139" y="207169"/>
                    <a:pt x="3396139" y="204311"/>
                    <a:pt x="3396139" y="202406"/>
                  </a:cubicBezTo>
                  <a:cubicBezTo>
                    <a:pt x="3397091" y="199549"/>
                    <a:pt x="3397091" y="197644"/>
                    <a:pt x="3398044" y="194786"/>
                  </a:cubicBezTo>
                  <a:cubicBezTo>
                    <a:pt x="3401854" y="178594"/>
                    <a:pt x="3405664" y="162401"/>
                    <a:pt x="3408521" y="145256"/>
                  </a:cubicBezTo>
                  <a:cubicBezTo>
                    <a:pt x="3408521" y="150019"/>
                    <a:pt x="3409474" y="155734"/>
                    <a:pt x="3410426" y="162401"/>
                  </a:cubicBezTo>
                  <a:cubicBezTo>
                    <a:pt x="3411379" y="171926"/>
                    <a:pt x="3412331" y="182404"/>
                    <a:pt x="3414236" y="195739"/>
                  </a:cubicBezTo>
                  <a:cubicBezTo>
                    <a:pt x="3415189" y="202406"/>
                    <a:pt x="3416141" y="209074"/>
                    <a:pt x="3417094" y="215741"/>
                  </a:cubicBezTo>
                  <a:cubicBezTo>
                    <a:pt x="3418046" y="220504"/>
                    <a:pt x="3418999" y="224314"/>
                    <a:pt x="3419951" y="229076"/>
                  </a:cubicBezTo>
                  <a:cubicBezTo>
                    <a:pt x="3418999" y="230981"/>
                    <a:pt x="3418999" y="232886"/>
                    <a:pt x="3418046" y="233839"/>
                  </a:cubicBezTo>
                  <a:cubicBezTo>
                    <a:pt x="3416141" y="240506"/>
                    <a:pt x="3414236" y="247174"/>
                    <a:pt x="3411379" y="253841"/>
                  </a:cubicBezTo>
                  <a:cubicBezTo>
                    <a:pt x="3408521" y="248126"/>
                    <a:pt x="3407569" y="245269"/>
                    <a:pt x="3407569" y="244316"/>
                  </a:cubicBezTo>
                  <a:cubicBezTo>
                    <a:pt x="3407569" y="242411"/>
                    <a:pt x="3407569" y="241459"/>
                    <a:pt x="3407569" y="239554"/>
                  </a:cubicBezTo>
                  <a:cubicBezTo>
                    <a:pt x="3407569" y="230029"/>
                    <a:pt x="3407569" y="224314"/>
                    <a:pt x="3407569" y="224314"/>
                  </a:cubicBezTo>
                  <a:cubicBezTo>
                    <a:pt x="3407569" y="224314"/>
                    <a:pt x="3405664" y="230029"/>
                    <a:pt x="3403759" y="239554"/>
                  </a:cubicBezTo>
                  <a:cubicBezTo>
                    <a:pt x="3402806" y="244316"/>
                    <a:pt x="3400901" y="250031"/>
                    <a:pt x="3399949" y="256699"/>
                  </a:cubicBezTo>
                  <a:cubicBezTo>
                    <a:pt x="3398996" y="262414"/>
                    <a:pt x="3397091" y="269081"/>
                    <a:pt x="3395186" y="275749"/>
                  </a:cubicBezTo>
                  <a:cubicBezTo>
                    <a:pt x="3395186" y="273844"/>
                    <a:pt x="3395186" y="270034"/>
                    <a:pt x="3395186" y="266224"/>
                  </a:cubicBezTo>
                  <a:close/>
                  <a:moveTo>
                    <a:pt x="3363754" y="252889"/>
                  </a:moveTo>
                  <a:cubicBezTo>
                    <a:pt x="3364706" y="256699"/>
                    <a:pt x="3365659" y="260509"/>
                    <a:pt x="3365659" y="264319"/>
                  </a:cubicBezTo>
                  <a:cubicBezTo>
                    <a:pt x="3364706" y="266224"/>
                    <a:pt x="3363754" y="267176"/>
                    <a:pt x="3363754" y="269081"/>
                  </a:cubicBezTo>
                  <a:cubicBezTo>
                    <a:pt x="3363754" y="262414"/>
                    <a:pt x="3363754" y="257651"/>
                    <a:pt x="3363754" y="252889"/>
                  </a:cubicBezTo>
                  <a:close/>
                  <a:moveTo>
                    <a:pt x="3321844" y="351949"/>
                  </a:moveTo>
                  <a:cubicBezTo>
                    <a:pt x="3321844" y="349091"/>
                    <a:pt x="3322796" y="345281"/>
                    <a:pt x="3322796" y="342424"/>
                  </a:cubicBezTo>
                  <a:cubicBezTo>
                    <a:pt x="3322796" y="344329"/>
                    <a:pt x="3323749" y="346234"/>
                    <a:pt x="3323749" y="347186"/>
                  </a:cubicBezTo>
                  <a:cubicBezTo>
                    <a:pt x="3323749" y="349091"/>
                    <a:pt x="3322796" y="350044"/>
                    <a:pt x="3321844" y="351949"/>
                  </a:cubicBezTo>
                  <a:close/>
                  <a:moveTo>
                    <a:pt x="3340894" y="273844"/>
                  </a:moveTo>
                  <a:cubicBezTo>
                    <a:pt x="3342799" y="282416"/>
                    <a:pt x="3345656" y="290036"/>
                    <a:pt x="3347561" y="298609"/>
                  </a:cubicBezTo>
                  <a:cubicBezTo>
                    <a:pt x="3346609" y="300514"/>
                    <a:pt x="3345656" y="302419"/>
                    <a:pt x="3344704" y="304324"/>
                  </a:cubicBezTo>
                  <a:cubicBezTo>
                    <a:pt x="3342799" y="299561"/>
                    <a:pt x="3340894" y="295751"/>
                    <a:pt x="3338989" y="290989"/>
                  </a:cubicBezTo>
                  <a:cubicBezTo>
                    <a:pt x="3338036" y="276701"/>
                    <a:pt x="3336131" y="263366"/>
                    <a:pt x="3335179" y="251936"/>
                  </a:cubicBezTo>
                  <a:cubicBezTo>
                    <a:pt x="3337084" y="259556"/>
                    <a:pt x="3338989" y="266224"/>
                    <a:pt x="3340894" y="273844"/>
                  </a:cubicBezTo>
                  <a:close/>
                  <a:moveTo>
                    <a:pt x="3330416" y="376714"/>
                  </a:moveTo>
                  <a:cubicBezTo>
                    <a:pt x="3330416" y="377666"/>
                    <a:pt x="3330416" y="378619"/>
                    <a:pt x="3331369" y="379571"/>
                  </a:cubicBezTo>
                  <a:cubicBezTo>
                    <a:pt x="3330416" y="380524"/>
                    <a:pt x="3330416" y="382429"/>
                    <a:pt x="3329464" y="384334"/>
                  </a:cubicBezTo>
                  <a:cubicBezTo>
                    <a:pt x="3329464" y="383381"/>
                    <a:pt x="3328511" y="382429"/>
                    <a:pt x="3328511" y="381476"/>
                  </a:cubicBezTo>
                  <a:cubicBezTo>
                    <a:pt x="3328511" y="379571"/>
                    <a:pt x="3329464" y="378619"/>
                    <a:pt x="3330416" y="376714"/>
                  </a:cubicBezTo>
                  <a:close/>
                  <a:moveTo>
                    <a:pt x="3329464" y="202406"/>
                  </a:moveTo>
                  <a:cubicBezTo>
                    <a:pt x="3329464" y="203359"/>
                    <a:pt x="3329464" y="205264"/>
                    <a:pt x="3329464" y="207169"/>
                  </a:cubicBezTo>
                  <a:cubicBezTo>
                    <a:pt x="3329464" y="206216"/>
                    <a:pt x="3329464" y="206216"/>
                    <a:pt x="3328511" y="205264"/>
                  </a:cubicBezTo>
                  <a:cubicBezTo>
                    <a:pt x="3329464" y="204311"/>
                    <a:pt x="3329464" y="203359"/>
                    <a:pt x="3329464" y="202406"/>
                  </a:cubicBezTo>
                  <a:close/>
                  <a:moveTo>
                    <a:pt x="3326606" y="302419"/>
                  </a:moveTo>
                  <a:cubicBezTo>
                    <a:pt x="3327559" y="305276"/>
                    <a:pt x="3328511" y="307181"/>
                    <a:pt x="3329464" y="310039"/>
                  </a:cubicBezTo>
                  <a:cubicBezTo>
                    <a:pt x="3329464" y="310991"/>
                    <a:pt x="3329464" y="310991"/>
                    <a:pt x="3329464" y="311944"/>
                  </a:cubicBezTo>
                  <a:cubicBezTo>
                    <a:pt x="3328511" y="310039"/>
                    <a:pt x="3327559" y="308134"/>
                    <a:pt x="3326606" y="306229"/>
                  </a:cubicBezTo>
                  <a:cubicBezTo>
                    <a:pt x="3326606" y="304324"/>
                    <a:pt x="3326606" y="303371"/>
                    <a:pt x="3326606" y="302419"/>
                  </a:cubicBezTo>
                  <a:close/>
                  <a:moveTo>
                    <a:pt x="3323749" y="227171"/>
                  </a:moveTo>
                  <a:cubicBezTo>
                    <a:pt x="3324701" y="224314"/>
                    <a:pt x="3324701" y="221456"/>
                    <a:pt x="3325654" y="219551"/>
                  </a:cubicBezTo>
                  <a:cubicBezTo>
                    <a:pt x="3325654" y="220504"/>
                    <a:pt x="3325654" y="220504"/>
                    <a:pt x="3325654" y="221456"/>
                  </a:cubicBezTo>
                  <a:cubicBezTo>
                    <a:pt x="3322796" y="232886"/>
                    <a:pt x="3320891" y="244316"/>
                    <a:pt x="3318034" y="256699"/>
                  </a:cubicBezTo>
                  <a:cubicBezTo>
                    <a:pt x="3318034" y="256699"/>
                    <a:pt x="3318034" y="255746"/>
                    <a:pt x="3317081" y="255746"/>
                  </a:cubicBezTo>
                  <a:cubicBezTo>
                    <a:pt x="3319939" y="245269"/>
                    <a:pt x="3321844" y="235744"/>
                    <a:pt x="3323749" y="227171"/>
                  </a:cubicBezTo>
                  <a:close/>
                  <a:moveTo>
                    <a:pt x="3315176" y="269081"/>
                  </a:moveTo>
                  <a:cubicBezTo>
                    <a:pt x="3315176" y="270034"/>
                    <a:pt x="3316129" y="270986"/>
                    <a:pt x="3316129" y="270986"/>
                  </a:cubicBezTo>
                  <a:cubicBezTo>
                    <a:pt x="3315176" y="274796"/>
                    <a:pt x="3315176" y="278606"/>
                    <a:pt x="3314224" y="282416"/>
                  </a:cubicBezTo>
                  <a:cubicBezTo>
                    <a:pt x="3314224" y="281464"/>
                    <a:pt x="3313271" y="280511"/>
                    <a:pt x="3313271" y="280511"/>
                  </a:cubicBezTo>
                  <a:cubicBezTo>
                    <a:pt x="3313271" y="276701"/>
                    <a:pt x="3314224" y="272891"/>
                    <a:pt x="3315176" y="269081"/>
                  </a:cubicBezTo>
                  <a:close/>
                  <a:moveTo>
                    <a:pt x="3305651" y="310991"/>
                  </a:moveTo>
                  <a:cubicBezTo>
                    <a:pt x="3306604" y="307181"/>
                    <a:pt x="3307556" y="302419"/>
                    <a:pt x="3308509" y="298609"/>
                  </a:cubicBezTo>
                  <a:cubicBezTo>
                    <a:pt x="3309461" y="299561"/>
                    <a:pt x="3309461" y="301466"/>
                    <a:pt x="3310414" y="302419"/>
                  </a:cubicBezTo>
                  <a:cubicBezTo>
                    <a:pt x="3309461" y="308134"/>
                    <a:pt x="3308509" y="314801"/>
                    <a:pt x="3307556" y="320516"/>
                  </a:cubicBezTo>
                  <a:cubicBezTo>
                    <a:pt x="3306604" y="318611"/>
                    <a:pt x="3305651" y="315754"/>
                    <a:pt x="3304699" y="313849"/>
                  </a:cubicBezTo>
                  <a:cubicBezTo>
                    <a:pt x="3305651" y="313849"/>
                    <a:pt x="3305651" y="312896"/>
                    <a:pt x="3305651" y="310991"/>
                  </a:cubicBezTo>
                  <a:close/>
                  <a:moveTo>
                    <a:pt x="3302794" y="327184"/>
                  </a:moveTo>
                  <a:cubicBezTo>
                    <a:pt x="3303746" y="330041"/>
                    <a:pt x="3303746" y="332899"/>
                    <a:pt x="3304699" y="335756"/>
                  </a:cubicBezTo>
                  <a:cubicBezTo>
                    <a:pt x="3303746" y="339566"/>
                    <a:pt x="3302794" y="344329"/>
                    <a:pt x="3300889" y="349091"/>
                  </a:cubicBezTo>
                  <a:cubicBezTo>
                    <a:pt x="3299936" y="350996"/>
                    <a:pt x="3299936" y="353854"/>
                    <a:pt x="3298984" y="355759"/>
                  </a:cubicBezTo>
                  <a:cubicBezTo>
                    <a:pt x="3298031" y="354806"/>
                    <a:pt x="3298031" y="352901"/>
                    <a:pt x="3297079" y="351949"/>
                  </a:cubicBezTo>
                  <a:cubicBezTo>
                    <a:pt x="3298984" y="343376"/>
                    <a:pt x="3300889" y="334804"/>
                    <a:pt x="3302794" y="327184"/>
                  </a:cubicBezTo>
                  <a:close/>
                  <a:moveTo>
                    <a:pt x="3279934" y="297656"/>
                  </a:moveTo>
                  <a:cubicBezTo>
                    <a:pt x="3279934" y="294799"/>
                    <a:pt x="3279934" y="291941"/>
                    <a:pt x="3280886" y="289084"/>
                  </a:cubicBezTo>
                  <a:cubicBezTo>
                    <a:pt x="3281839" y="280511"/>
                    <a:pt x="3282791" y="271939"/>
                    <a:pt x="3283744" y="263366"/>
                  </a:cubicBezTo>
                  <a:cubicBezTo>
                    <a:pt x="3283744" y="259556"/>
                    <a:pt x="3284696" y="255746"/>
                    <a:pt x="3284696" y="252889"/>
                  </a:cubicBezTo>
                  <a:cubicBezTo>
                    <a:pt x="3287554" y="258604"/>
                    <a:pt x="3290411" y="264319"/>
                    <a:pt x="3293269" y="270034"/>
                  </a:cubicBezTo>
                  <a:cubicBezTo>
                    <a:pt x="3292316" y="272891"/>
                    <a:pt x="3292316" y="274796"/>
                    <a:pt x="3291364" y="277654"/>
                  </a:cubicBezTo>
                  <a:cubicBezTo>
                    <a:pt x="3291364" y="279559"/>
                    <a:pt x="3290411" y="281464"/>
                    <a:pt x="3290411" y="283369"/>
                  </a:cubicBezTo>
                  <a:cubicBezTo>
                    <a:pt x="3289459" y="271939"/>
                    <a:pt x="3289459" y="264319"/>
                    <a:pt x="3289459" y="264319"/>
                  </a:cubicBezTo>
                  <a:cubicBezTo>
                    <a:pt x="3289459" y="264319"/>
                    <a:pt x="3285649" y="285274"/>
                    <a:pt x="3281839" y="317659"/>
                  </a:cubicBezTo>
                  <a:cubicBezTo>
                    <a:pt x="3281839" y="317659"/>
                    <a:pt x="3280886" y="317659"/>
                    <a:pt x="3280886" y="317659"/>
                  </a:cubicBezTo>
                  <a:cubicBezTo>
                    <a:pt x="3280886" y="317659"/>
                    <a:pt x="3280886" y="316706"/>
                    <a:pt x="3280886" y="316706"/>
                  </a:cubicBezTo>
                  <a:cubicBezTo>
                    <a:pt x="3280886" y="316706"/>
                    <a:pt x="3280886" y="315754"/>
                    <a:pt x="3279934" y="315754"/>
                  </a:cubicBezTo>
                  <a:cubicBezTo>
                    <a:pt x="3279934" y="314801"/>
                    <a:pt x="3278981" y="314801"/>
                    <a:pt x="3278981" y="313849"/>
                  </a:cubicBezTo>
                  <a:cubicBezTo>
                    <a:pt x="3278981" y="308134"/>
                    <a:pt x="3279934" y="302419"/>
                    <a:pt x="3279934" y="297656"/>
                  </a:cubicBezTo>
                  <a:close/>
                  <a:moveTo>
                    <a:pt x="3263741" y="295751"/>
                  </a:moveTo>
                  <a:cubicBezTo>
                    <a:pt x="3263741" y="294799"/>
                    <a:pt x="3263741" y="293846"/>
                    <a:pt x="3263741" y="293846"/>
                  </a:cubicBezTo>
                  <a:cubicBezTo>
                    <a:pt x="3263741" y="293846"/>
                    <a:pt x="3263741" y="294799"/>
                    <a:pt x="3263741" y="295751"/>
                  </a:cubicBezTo>
                  <a:cubicBezTo>
                    <a:pt x="3264694" y="295751"/>
                    <a:pt x="3264694" y="295751"/>
                    <a:pt x="3264694" y="296704"/>
                  </a:cubicBezTo>
                  <a:cubicBezTo>
                    <a:pt x="3263741" y="299561"/>
                    <a:pt x="3262789" y="303371"/>
                    <a:pt x="3262789" y="306229"/>
                  </a:cubicBezTo>
                  <a:cubicBezTo>
                    <a:pt x="3262789" y="302419"/>
                    <a:pt x="3263741" y="298609"/>
                    <a:pt x="3263741" y="295751"/>
                  </a:cubicBezTo>
                  <a:close/>
                  <a:moveTo>
                    <a:pt x="3232309" y="381476"/>
                  </a:moveTo>
                  <a:cubicBezTo>
                    <a:pt x="3232309" y="372904"/>
                    <a:pt x="3232309" y="365284"/>
                    <a:pt x="3232309" y="357664"/>
                  </a:cubicBezTo>
                  <a:cubicBezTo>
                    <a:pt x="3232309" y="357664"/>
                    <a:pt x="3232309" y="358616"/>
                    <a:pt x="3232309" y="358616"/>
                  </a:cubicBezTo>
                  <a:cubicBezTo>
                    <a:pt x="3232309" y="359569"/>
                    <a:pt x="3232309" y="360521"/>
                    <a:pt x="3233261" y="360521"/>
                  </a:cubicBezTo>
                  <a:cubicBezTo>
                    <a:pt x="3233261" y="367189"/>
                    <a:pt x="3233261" y="373856"/>
                    <a:pt x="3232309" y="381476"/>
                  </a:cubicBezTo>
                  <a:close/>
                  <a:moveTo>
                    <a:pt x="3239929" y="327184"/>
                  </a:moveTo>
                  <a:cubicBezTo>
                    <a:pt x="3240881" y="330994"/>
                    <a:pt x="3240881" y="335756"/>
                    <a:pt x="3241834" y="339566"/>
                  </a:cubicBezTo>
                  <a:cubicBezTo>
                    <a:pt x="3240881" y="337661"/>
                    <a:pt x="3239929" y="335756"/>
                    <a:pt x="3239929" y="333851"/>
                  </a:cubicBezTo>
                  <a:cubicBezTo>
                    <a:pt x="3239929" y="331946"/>
                    <a:pt x="3239929" y="330994"/>
                    <a:pt x="3239929" y="329089"/>
                  </a:cubicBezTo>
                  <a:cubicBezTo>
                    <a:pt x="3238976" y="328136"/>
                    <a:pt x="3239929" y="328136"/>
                    <a:pt x="3239929" y="327184"/>
                  </a:cubicBezTo>
                  <a:close/>
                  <a:moveTo>
                    <a:pt x="3234214" y="318611"/>
                  </a:moveTo>
                  <a:cubicBezTo>
                    <a:pt x="3235166" y="315754"/>
                    <a:pt x="3236119" y="312896"/>
                    <a:pt x="3237071" y="310039"/>
                  </a:cubicBezTo>
                  <a:cubicBezTo>
                    <a:pt x="3237071" y="311944"/>
                    <a:pt x="3238024" y="313849"/>
                    <a:pt x="3238024" y="314801"/>
                  </a:cubicBezTo>
                  <a:cubicBezTo>
                    <a:pt x="3238024" y="315754"/>
                    <a:pt x="3238024" y="315754"/>
                    <a:pt x="3238024" y="316706"/>
                  </a:cubicBezTo>
                  <a:cubicBezTo>
                    <a:pt x="3238024" y="316706"/>
                    <a:pt x="3238024" y="317659"/>
                    <a:pt x="3237071" y="317659"/>
                  </a:cubicBezTo>
                  <a:cubicBezTo>
                    <a:pt x="3237071" y="314801"/>
                    <a:pt x="3236119" y="311944"/>
                    <a:pt x="3237071" y="311944"/>
                  </a:cubicBezTo>
                  <a:cubicBezTo>
                    <a:pt x="3238024" y="311944"/>
                    <a:pt x="3237071" y="314801"/>
                    <a:pt x="3236119" y="319564"/>
                  </a:cubicBezTo>
                  <a:cubicBezTo>
                    <a:pt x="3235166" y="320516"/>
                    <a:pt x="3235166" y="321469"/>
                    <a:pt x="3234214" y="322421"/>
                  </a:cubicBezTo>
                  <a:cubicBezTo>
                    <a:pt x="3234214" y="321469"/>
                    <a:pt x="3233261" y="320516"/>
                    <a:pt x="3233261" y="319564"/>
                  </a:cubicBezTo>
                  <a:cubicBezTo>
                    <a:pt x="3234214" y="319564"/>
                    <a:pt x="3234214" y="319564"/>
                    <a:pt x="3234214" y="318611"/>
                  </a:cubicBezTo>
                  <a:close/>
                  <a:moveTo>
                    <a:pt x="3233261" y="286226"/>
                  </a:moveTo>
                  <a:cubicBezTo>
                    <a:pt x="3233261" y="287179"/>
                    <a:pt x="3233261" y="287179"/>
                    <a:pt x="3233261" y="288131"/>
                  </a:cubicBezTo>
                  <a:cubicBezTo>
                    <a:pt x="3233261" y="289084"/>
                    <a:pt x="3232309" y="289084"/>
                    <a:pt x="3232309" y="290036"/>
                  </a:cubicBezTo>
                  <a:cubicBezTo>
                    <a:pt x="3232309" y="287179"/>
                    <a:pt x="3232309" y="285274"/>
                    <a:pt x="3232309" y="282416"/>
                  </a:cubicBezTo>
                  <a:cubicBezTo>
                    <a:pt x="3232309" y="284321"/>
                    <a:pt x="3233261" y="285274"/>
                    <a:pt x="3233261" y="286226"/>
                  </a:cubicBezTo>
                  <a:close/>
                  <a:moveTo>
                    <a:pt x="3222784" y="285274"/>
                  </a:moveTo>
                  <a:cubicBezTo>
                    <a:pt x="3222784" y="281464"/>
                    <a:pt x="3222784" y="277654"/>
                    <a:pt x="3223736" y="273844"/>
                  </a:cubicBezTo>
                  <a:cubicBezTo>
                    <a:pt x="3224689" y="271939"/>
                    <a:pt x="3224689" y="270034"/>
                    <a:pt x="3224689" y="270034"/>
                  </a:cubicBezTo>
                  <a:cubicBezTo>
                    <a:pt x="3224689" y="270034"/>
                    <a:pt x="3224689" y="270034"/>
                    <a:pt x="3224689" y="270986"/>
                  </a:cubicBezTo>
                  <a:cubicBezTo>
                    <a:pt x="3225641" y="265271"/>
                    <a:pt x="3226594" y="259556"/>
                    <a:pt x="3227546" y="253841"/>
                  </a:cubicBezTo>
                  <a:cubicBezTo>
                    <a:pt x="3227546" y="253841"/>
                    <a:pt x="3227546" y="253841"/>
                    <a:pt x="3227546" y="253841"/>
                  </a:cubicBezTo>
                  <a:cubicBezTo>
                    <a:pt x="3226594" y="264319"/>
                    <a:pt x="3225641" y="277654"/>
                    <a:pt x="3223736" y="292894"/>
                  </a:cubicBezTo>
                  <a:cubicBezTo>
                    <a:pt x="3223736" y="292894"/>
                    <a:pt x="3223736" y="291941"/>
                    <a:pt x="3222784" y="291941"/>
                  </a:cubicBezTo>
                  <a:cubicBezTo>
                    <a:pt x="3222784" y="291941"/>
                    <a:pt x="3222784" y="291941"/>
                    <a:pt x="3222784" y="290989"/>
                  </a:cubicBezTo>
                  <a:cubicBezTo>
                    <a:pt x="3221831" y="289084"/>
                    <a:pt x="3221831" y="287179"/>
                    <a:pt x="3222784" y="285274"/>
                  </a:cubicBezTo>
                  <a:close/>
                  <a:moveTo>
                    <a:pt x="3217069" y="207169"/>
                  </a:moveTo>
                  <a:cubicBezTo>
                    <a:pt x="3218021" y="210979"/>
                    <a:pt x="3218974" y="214789"/>
                    <a:pt x="3219926" y="219551"/>
                  </a:cubicBezTo>
                  <a:cubicBezTo>
                    <a:pt x="3218021" y="225266"/>
                    <a:pt x="3217069" y="231934"/>
                    <a:pt x="3215164" y="238601"/>
                  </a:cubicBezTo>
                  <a:cubicBezTo>
                    <a:pt x="3215164" y="226219"/>
                    <a:pt x="3217069" y="215741"/>
                    <a:pt x="3217069" y="207169"/>
                  </a:cubicBezTo>
                  <a:close/>
                  <a:moveTo>
                    <a:pt x="3191351" y="249079"/>
                  </a:moveTo>
                  <a:cubicBezTo>
                    <a:pt x="3191351" y="242411"/>
                    <a:pt x="3192304" y="236696"/>
                    <a:pt x="3192304" y="232886"/>
                  </a:cubicBezTo>
                  <a:cubicBezTo>
                    <a:pt x="3193256" y="234791"/>
                    <a:pt x="3193256" y="235744"/>
                    <a:pt x="3194209" y="238601"/>
                  </a:cubicBezTo>
                  <a:cubicBezTo>
                    <a:pt x="3193256" y="247174"/>
                    <a:pt x="3192304" y="255746"/>
                    <a:pt x="3191351" y="265271"/>
                  </a:cubicBezTo>
                  <a:cubicBezTo>
                    <a:pt x="3191351" y="258604"/>
                    <a:pt x="3191351" y="253841"/>
                    <a:pt x="3191351" y="249079"/>
                  </a:cubicBezTo>
                  <a:close/>
                  <a:moveTo>
                    <a:pt x="3155156" y="313849"/>
                  </a:moveTo>
                  <a:cubicBezTo>
                    <a:pt x="3155156" y="315754"/>
                    <a:pt x="3156109" y="317659"/>
                    <a:pt x="3156109" y="320516"/>
                  </a:cubicBezTo>
                  <a:cubicBezTo>
                    <a:pt x="3156109" y="325279"/>
                    <a:pt x="3157061" y="330041"/>
                    <a:pt x="3158014" y="334804"/>
                  </a:cubicBezTo>
                  <a:cubicBezTo>
                    <a:pt x="3157061" y="341471"/>
                    <a:pt x="3155156" y="348139"/>
                    <a:pt x="3154204" y="354806"/>
                  </a:cubicBezTo>
                  <a:cubicBezTo>
                    <a:pt x="3153251" y="353854"/>
                    <a:pt x="3153251" y="352901"/>
                    <a:pt x="3152299" y="351949"/>
                  </a:cubicBezTo>
                  <a:cubicBezTo>
                    <a:pt x="3152299" y="350996"/>
                    <a:pt x="3152299" y="350044"/>
                    <a:pt x="3152299" y="350044"/>
                  </a:cubicBezTo>
                  <a:cubicBezTo>
                    <a:pt x="3152299" y="348139"/>
                    <a:pt x="3151346" y="347186"/>
                    <a:pt x="3151346" y="345281"/>
                  </a:cubicBezTo>
                  <a:cubicBezTo>
                    <a:pt x="3151346" y="345281"/>
                    <a:pt x="3151346" y="344329"/>
                    <a:pt x="3151346" y="344329"/>
                  </a:cubicBezTo>
                  <a:lnTo>
                    <a:pt x="3151346" y="338614"/>
                  </a:lnTo>
                  <a:cubicBezTo>
                    <a:pt x="3151346" y="329089"/>
                    <a:pt x="3153251" y="321469"/>
                    <a:pt x="3155156" y="313849"/>
                  </a:cubicBezTo>
                  <a:close/>
                  <a:moveTo>
                    <a:pt x="3139916" y="213836"/>
                  </a:moveTo>
                  <a:cubicBezTo>
                    <a:pt x="3140869" y="220504"/>
                    <a:pt x="3142774" y="228124"/>
                    <a:pt x="3143726" y="235744"/>
                  </a:cubicBezTo>
                  <a:cubicBezTo>
                    <a:pt x="3145631" y="246221"/>
                    <a:pt x="3147536" y="256699"/>
                    <a:pt x="3148489" y="267176"/>
                  </a:cubicBezTo>
                  <a:cubicBezTo>
                    <a:pt x="3146584" y="272891"/>
                    <a:pt x="3145631" y="278606"/>
                    <a:pt x="3143726" y="284321"/>
                  </a:cubicBezTo>
                  <a:cubicBezTo>
                    <a:pt x="3140869" y="251936"/>
                    <a:pt x="3138964" y="228124"/>
                    <a:pt x="3137059" y="216694"/>
                  </a:cubicBezTo>
                  <a:cubicBezTo>
                    <a:pt x="3138011" y="215741"/>
                    <a:pt x="3138964" y="214789"/>
                    <a:pt x="3139916" y="213836"/>
                  </a:cubicBezTo>
                  <a:close/>
                  <a:moveTo>
                    <a:pt x="3130391" y="337661"/>
                  </a:moveTo>
                  <a:cubicBezTo>
                    <a:pt x="3130391" y="336709"/>
                    <a:pt x="3130391" y="336709"/>
                    <a:pt x="3130391" y="335756"/>
                  </a:cubicBezTo>
                  <a:cubicBezTo>
                    <a:pt x="3130391" y="335756"/>
                    <a:pt x="3130391" y="335756"/>
                    <a:pt x="3130391" y="335756"/>
                  </a:cubicBezTo>
                  <a:cubicBezTo>
                    <a:pt x="3130391" y="336709"/>
                    <a:pt x="3130391" y="336709"/>
                    <a:pt x="3130391" y="337661"/>
                  </a:cubicBezTo>
                  <a:close/>
                  <a:moveTo>
                    <a:pt x="3130391" y="328136"/>
                  </a:moveTo>
                  <a:cubicBezTo>
                    <a:pt x="3130391" y="328136"/>
                    <a:pt x="3130391" y="327184"/>
                    <a:pt x="3130391" y="328136"/>
                  </a:cubicBezTo>
                  <a:cubicBezTo>
                    <a:pt x="3130391" y="327184"/>
                    <a:pt x="3130391" y="328136"/>
                    <a:pt x="3130391" y="328136"/>
                  </a:cubicBezTo>
                  <a:cubicBezTo>
                    <a:pt x="3130391" y="328136"/>
                    <a:pt x="3130391" y="328136"/>
                    <a:pt x="3130391" y="328136"/>
                  </a:cubicBezTo>
                  <a:close/>
                  <a:moveTo>
                    <a:pt x="3133249" y="276701"/>
                  </a:moveTo>
                  <a:cubicBezTo>
                    <a:pt x="3133249" y="276701"/>
                    <a:pt x="3133249" y="275749"/>
                    <a:pt x="3133249" y="276701"/>
                  </a:cubicBezTo>
                  <a:cubicBezTo>
                    <a:pt x="3131344" y="270034"/>
                    <a:pt x="3129439" y="264319"/>
                    <a:pt x="3128486" y="259556"/>
                  </a:cubicBezTo>
                  <a:cubicBezTo>
                    <a:pt x="3128486" y="254794"/>
                    <a:pt x="3128486" y="250031"/>
                    <a:pt x="3127534" y="246221"/>
                  </a:cubicBezTo>
                  <a:cubicBezTo>
                    <a:pt x="3131344" y="235744"/>
                    <a:pt x="3134201" y="228124"/>
                    <a:pt x="3135154" y="223361"/>
                  </a:cubicBezTo>
                  <a:cubicBezTo>
                    <a:pt x="3135154" y="235744"/>
                    <a:pt x="3134201" y="253841"/>
                    <a:pt x="3133249" y="276701"/>
                  </a:cubicBezTo>
                  <a:close/>
                  <a:moveTo>
                    <a:pt x="3130391" y="229076"/>
                  </a:moveTo>
                  <a:cubicBezTo>
                    <a:pt x="3132296" y="225266"/>
                    <a:pt x="3134201" y="222409"/>
                    <a:pt x="3136106" y="219551"/>
                  </a:cubicBezTo>
                  <a:cubicBezTo>
                    <a:pt x="3136106" y="220504"/>
                    <a:pt x="3136106" y="220504"/>
                    <a:pt x="3136106" y="221456"/>
                  </a:cubicBezTo>
                  <a:cubicBezTo>
                    <a:pt x="3134201" y="224314"/>
                    <a:pt x="3131344" y="229076"/>
                    <a:pt x="3127534" y="236696"/>
                  </a:cubicBezTo>
                  <a:cubicBezTo>
                    <a:pt x="3127534" y="235744"/>
                    <a:pt x="3127534" y="235744"/>
                    <a:pt x="3127534" y="234791"/>
                  </a:cubicBezTo>
                  <a:cubicBezTo>
                    <a:pt x="3128486" y="232886"/>
                    <a:pt x="3129439" y="230981"/>
                    <a:pt x="3130391" y="229076"/>
                  </a:cubicBezTo>
                  <a:close/>
                  <a:moveTo>
                    <a:pt x="3114199" y="290036"/>
                  </a:moveTo>
                  <a:cubicBezTo>
                    <a:pt x="3114199" y="289084"/>
                    <a:pt x="3113246" y="288131"/>
                    <a:pt x="3113246" y="287179"/>
                  </a:cubicBezTo>
                  <a:cubicBezTo>
                    <a:pt x="3113246" y="287179"/>
                    <a:pt x="3113246" y="287179"/>
                    <a:pt x="3113246" y="286226"/>
                  </a:cubicBezTo>
                  <a:cubicBezTo>
                    <a:pt x="3114199" y="284321"/>
                    <a:pt x="3114199" y="283369"/>
                    <a:pt x="3115151" y="281464"/>
                  </a:cubicBezTo>
                  <a:cubicBezTo>
                    <a:pt x="3114199" y="284321"/>
                    <a:pt x="3114199" y="287179"/>
                    <a:pt x="3114199" y="290036"/>
                  </a:cubicBezTo>
                  <a:close/>
                  <a:moveTo>
                    <a:pt x="3115151" y="257651"/>
                  </a:moveTo>
                  <a:cubicBezTo>
                    <a:pt x="3115151" y="256699"/>
                    <a:pt x="3116104" y="256699"/>
                    <a:pt x="3116104" y="255746"/>
                  </a:cubicBezTo>
                  <a:cubicBezTo>
                    <a:pt x="3116104" y="256699"/>
                    <a:pt x="3116104" y="257651"/>
                    <a:pt x="3115151" y="257651"/>
                  </a:cubicBezTo>
                  <a:cubicBezTo>
                    <a:pt x="3114199" y="261461"/>
                    <a:pt x="3111341" y="265271"/>
                    <a:pt x="3109436" y="270034"/>
                  </a:cubicBezTo>
                  <a:cubicBezTo>
                    <a:pt x="3111341" y="266224"/>
                    <a:pt x="3113246" y="261461"/>
                    <a:pt x="3115151" y="257651"/>
                  </a:cubicBezTo>
                  <a:close/>
                  <a:moveTo>
                    <a:pt x="3110389" y="292894"/>
                  </a:moveTo>
                  <a:cubicBezTo>
                    <a:pt x="3111341" y="297656"/>
                    <a:pt x="3112294" y="302419"/>
                    <a:pt x="3113246" y="309086"/>
                  </a:cubicBezTo>
                  <a:cubicBezTo>
                    <a:pt x="3113246" y="310039"/>
                    <a:pt x="3113246" y="310991"/>
                    <a:pt x="3114199" y="311944"/>
                  </a:cubicBezTo>
                  <a:cubicBezTo>
                    <a:pt x="3114199" y="314801"/>
                    <a:pt x="3114199" y="317659"/>
                    <a:pt x="3114199" y="321469"/>
                  </a:cubicBezTo>
                  <a:cubicBezTo>
                    <a:pt x="3114199" y="321469"/>
                    <a:pt x="3114199" y="320516"/>
                    <a:pt x="3114199" y="319564"/>
                  </a:cubicBezTo>
                  <a:cubicBezTo>
                    <a:pt x="3113246" y="315754"/>
                    <a:pt x="3112294" y="312896"/>
                    <a:pt x="3110389" y="309086"/>
                  </a:cubicBezTo>
                  <a:cubicBezTo>
                    <a:pt x="3110389" y="306229"/>
                    <a:pt x="3109436" y="303371"/>
                    <a:pt x="3109436" y="300514"/>
                  </a:cubicBezTo>
                  <a:cubicBezTo>
                    <a:pt x="3109436" y="300514"/>
                    <a:pt x="3109436" y="299561"/>
                    <a:pt x="3109436" y="299561"/>
                  </a:cubicBezTo>
                  <a:cubicBezTo>
                    <a:pt x="3108484" y="297656"/>
                    <a:pt x="3109436" y="295751"/>
                    <a:pt x="3110389" y="292894"/>
                  </a:cubicBezTo>
                  <a:close/>
                  <a:moveTo>
                    <a:pt x="3098006" y="350996"/>
                  </a:moveTo>
                  <a:cubicBezTo>
                    <a:pt x="3098006" y="350996"/>
                    <a:pt x="3098006" y="350996"/>
                    <a:pt x="3098006" y="350996"/>
                  </a:cubicBezTo>
                  <a:cubicBezTo>
                    <a:pt x="3098006" y="351949"/>
                    <a:pt x="3098006" y="352901"/>
                    <a:pt x="3098006" y="353854"/>
                  </a:cubicBezTo>
                  <a:cubicBezTo>
                    <a:pt x="3098006" y="353854"/>
                    <a:pt x="3098006" y="353854"/>
                    <a:pt x="3097054" y="354806"/>
                  </a:cubicBezTo>
                  <a:cubicBezTo>
                    <a:pt x="3097054" y="353854"/>
                    <a:pt x="3098006" y="351949"/>
                    <a:pt x="3098006" y="350996"/>
                  </a:cubicBezTo>
                  <a:close/>
                  <a:moveTo>
                    <a:pt x="3093244" y="377666"/>
                  </a:moveTo>
                  <a:cubicBezTo>
                    <a:pt x="3095149" y="372904"/>
                    <a:pt x="3097054" y="370046"/>
                    <a:pt x="3097054" y="370046"/>
                  </a:cubicBezTo>
                  <a:cubicBezTo>
                    <a:pt x="3097054" y="370046"/>
                    <a:pt x="3096101" y="371951"/>
                    <a:pt x="3094196" y="373856"/>
                  </a:cubicBezTo>
                  <a:cubicBezTo>
                    <a:pt x="3095149" y="368141"/>
                    <a:pt x="3096101" y="361474"/>
                    <a:pt x="3097054" y="355759"/>
                  </a:cubicBezTo>
                  <a:cubicBezTo>
                    <a:pt x="3097054" y="354806"/>
                    <a:pt x="3098006" y="354806"/>
                    <a:pt x="3098006" y="353854"/>
                  </a:cubicBezTo>
                  <a:cubicBezTo>
                    <a:pt x="3098006" y="359569"/>
                    <a:pt x="3098006" y="366236"/>
                    <a:pt x="3098006" y="371951"/>
                  </a:cubicBezTo>
                  <a:cubicBezTo>
                    <a:pt x="3098006" y="375761"/>
                    <a:pt x="3098006" y="379571"/>
                    <a:pt x="3098006" y="383381"/>
                  </a:cubicBezTo>
                  <a:lnTo>
                    <a:pt x="3095149" y="383381"/>
                  </a:lnTo>
                  <a:cubicBezTo>
                    <a:pt x="3095149" y="383381"/>
                    <a:pt x="3095149" y="383381"/>
                    <a:pt x="3095149" y="383381"/>
                  </a:cubicBezTo>
                  <a:cubicBezTo>
                    <a:pt x="3094196" y="381476"/>
                    <a:pt x="3094196" y="379571"/>
                    <a:pt x="3093244" y="378619"/>
                  </a:cubicBezTo>
                  <a:cubicBezTo>
                    <a:pt x="3093244" y="379571"/>
                    <a:pt x="3093244" y="378619"/>
                    <a:pt x="3093244" y="377666"/>
                  </a:cubicBezTo>
                  <a:close/>
                  <a:moveTo>
                    <a:pt x="3084671" y="293846"/>
                  </a:moveTo>
                  <a:cubicBezTo>
                    <a:pt x="3084671" y="288131"/>
                    <a:pt x="3085624" y="282416"/>
                    <a:pt x="3085624" y="276701"/>
                  </a:cubicBezTo>
                  <a:cubicBezTo>
                    <a:pt x="3085624" y="277654"/>
                    <a:pt x="3085624" y="277654"/>
                    <a:pt x="3085624" y="278606"/>
                  </a:cubicBezTo>
                  <a:cubicBezTo>
                    <a:pt x="3086576" y="281464"/>
                    <a:pt x="3087529" y="285274"/>
                    <a:pt x="3088481" y="289084"/>
                  </a:cubicBezTo>
                  <a:cubicBezTo>
                    <a:pt x="3087529" y="290036"/>
                    <a:pt x="3087529" y="290989"/>
                    <a:pt x="3086576" y="291941"/>
                  </a:cubicBezTo>
                  <a:cubicBezTo>
                    <a:pt x="3085624" y="292894"/>
                    <a:pt x="3084671" y="294799"/>
                    <a:pt x="3084671" y="296704"/>
                  </a:cubicBezTo>
                  <a:cubicBezTo>
                    <a:pt x="3084671" y="294799"/>
                    <a:pt x="3084671" y="294799"/>
                    <a:pt x="3084671" y="293846"/>
                  </a:cubicBezTo>
                  <a:close/>
                  <a:moveTo>
                    <a:pt x="3086576" y="348139"/>
                  </a:moveTo>
                  <a:cubicBezTo>
                    <a:pt x="3086576" y="349091"/>
                    <a:pt x="3086576" y="349091"/>
                    <a:pt x="3086576" y="350044"/>
                  </a:cubicBezTo>
                  <a:cubicBezTo>
                    <a:pt x="3085624" y="353854"/>
                    <a:pt x="3084671" y="357664"/>
                    <a:pt x="3083719" y="361474"/>
                  </a:cubicBezTo>
                  <a:cubicBezTo>
                    <a:pt x="3083719" y="360521"/>
                    <a:pt x="3083719" y="358616"/>
                    <a:pt x="3083719" y="357664"/>
                  </a:cubicBezTo>
                  <a:cubicBezTo>
                    <a:pt x="3084671" y="353854"/>
                    <a:pt x="3085624" y="350996"/>
                    <a:pt x="3086576" y="348139"/>
                  </a:cubicBezTo>
                  <a:close/>
                  <a:moveTo>
                    <a:pt x="3057049" y="235744"/>
                  </a:moveTo>
                  <a:cubicBezTo>
                    <a:pt x="3058001" y="227171"/>
                    <a:pt x="3058954" y="218599"/>
                    <a:pt x="3059906" y="210979"/>
                  </a:cubicBezTo>
                  <a:cubicBezTo>
                    <a:pt x="3060859" y="204311"/>
                    <a:pt x="3061811" y="197644"/>
                    <a:pt x="3062764" y="191929"/>
                  </a:cubicBezTo>
                  <a:cubicBezTo>
                    <a:pt x="3063716" y="195739"/>
                    <a:pt x="3065621" y="201454"/>
                    <a:pt x="3067526" y="209074"/>
                  </a:cubicBezTo>
                  <a:cubicBezTo>
                    <a:pt x="3067526" y="213836"/>
                    <a:pt x="3066574" y="217646"/>
                    <a:pt x="3066574" y="222409"/>
                  </a:cubicBezTo>
                  <a:cubicBezTo>
                    <a:pt x="3065621" y="231934"/>
                    <a:pt x="3064669" y="242411"/>
                    <a:pt x="3063716" y="253841"/>
                  </a:cubicBezTo>
                  <a:cubicBezTo>
                    <a:pt x="3062764" y="258604"/>
                    <a:pt x="3060859" y="263366"/>
                    <a:pt x="3059906" y="268129"/>
                  </a:cubicBezTo>
                  <a:cubicBezTo>
                    <a:pt x="3058954" y="262414"/>
                    <a:pt x="3058001" y="257651"/>
                    <a:pt x="3057049" y="252889"/>
                  </a:cubicBezTo>
                  <a:cubicBezTo>
                    <a:pt x="3057049" y="250984"/>
                    <a:pt x="3056096" y="250031"/>
                    <a:pt x="3056096" y="248126"/>
                  </a:cubicBezTo>
                  <a:cubicBezTo>
                    <a:pt x="3056096" y="244316"/>
                    <a:pt x="3056096" y="239554"/>
                    <a:pt x="3057049" y="235744"/>
                  </a:cubicBezTo>
                  <a:close/>
                  <a:moveTo>
                    <a:pt x="3002756" y="307181"/>
                  </a:moveTo>
                  <a:cubicBezTo>
                    <a:pt x="3002756" y="308134"/>
                    <a:pt x="3001804" y="309086"/>
                    <a:pt x="3001804" y="310039"/>
                  </a:cubicBezTo>
                  <a:cubicBezTo>
                    <a:pt x="3001804" y="308134"/>
                    <a:pt x="3002756" y="307181"/>
                    <a:pt x="3002756" y="305276"/>
                  </a:cubicBezTo>
                  <a:cubicBezTo>
                    <a:pt x="3004661" y="298609"/>
                    <a:pt x="3005614" y="292894"/>
                    <a:pt x="3006566" y="286226"/>
                  </a:cubicBezTo>
                  <a:cubicBezTo>
                    <a:pt x="3007519" y="287179"/>
                    <a:pt x="3007519" y="289084"/>
                    <a:pt x="3008471" y="290036"/>
                  </a:cubicBezTo>
                  <a:cubicBezTo>
                    <a:pt x="3006566" y="295751"/>
                    <a:pt x="3004661" y="301466"/>
                    <a:pt x="3002756" y="307181"/>
                  </a:cubicBezTo>
                  <a:close/>
                  <a:moveTo>
                    <a:pt x="3036094" y="249079"/>
                  </a:moveTo>
                  <a:cubicBezTo>
                    <a:pt x="3036094" y="254794"/>
                    <a:pt x="3036094" y="260509"/>
                    <a:pt x="3036094" y="266224"/>
                  </a:cubicBezTo>
                  <a:cubicBezTo>
                    <a:pt x="3035141" y="263366"/>
                    <a:pt x="3034189" y="260509"/>
                    <a:pt x="3033236" y="258604"/>
                  </a:cubicBezTo>
                  <a:cubicBezTo>
                    <a:pt x="3034189" y="255746"/>
                    <a:pt x="3035141" y="252889"/>
                    <a:pt x="3036094" y="249079"/>
                  </a:cubicBezTo>
                  <a:close/>
                  <a:moveTo>
                    <a:pt x="3030379" y="269081"/>
                  </a:moveTo>
                  <a:cubicBezTo>
                    <a:pt x="3030379" y="269081"/>
                    <a:pt x="3030379" y="270034"/>
                    <a:pt x="3030379" y="269081"/>
                  </a:cubicBezTo>
                  <a:cubicBezTo>
                    <a:pt x="3030379" y="270034"/>
                    <a:pt x="3030379" y="270034"/>
                    <a:pt x="3030379" y="269081"/>
                  </a:cubicBezTo>
                  <a:cubicBezTo>
                    <a:pt x="3030379" y="269081"/>
                    <a:pt x="3030379" y="269081"/>
                    <a:pt x="3030379" y="269081"/>
                  </a:cubicBezTo>
                  <a:close/>
                  <a:moveTo>
                    <a:pt x="3027521" y="353854"/>
                  </a:moveTo>
                  <a:cubicBezTo>
                    <a:pt x="3026569" y="356711"/>
                    <a:pt x="3024664" y="360521"/>
                    <a:pt x="3023711" y="364331"/>
                  </a:cubicBezTo>
                  <a:cubicBezTo>
                    <a:pt x="3021806" y="370046"/>
                    <a:pt x="3019901" y="376714"/>
                    <a:pt x="3017996" y="383381"/>
                  </a:cubicBezTo>
                  <a:cubicBezTo>
                    <a:pt x="3017996" y="384334"/>
                    <a:pt x="3017044" y="384334"/>
                    <a:pt x="3017044" y="385286"/>
                  </a:cubicBezTo>
                  <a:cubicBezTo>
                    <a:pt x="3016091" y="382429"/>
                    <a:pt x="3015139" y="379571"/>
                    <a:pt x="3015139" y="376714"/>
                  </a:cubicBezTo>
                  <a:cubicBezTo>
                    <a:pt x="3017044" y="372904"/>
                    <a:pt x="3018949" y="370046"/>
                    <a:pt x="3020854" y="366236"/>
                  </a:cubicBezTo>
                  <a:cubicBezTo>
                    <a:pt x="3023711" y="361474"/>
                    <a:pt x="3025616" y="357664"/>
                    <a:pt x="3028474" y="352901"/>
                  </a:cubicBezTo>
                  <a:cubicBezTo>
                    <a:pt x="3027521" y="352901"/>
                    <a:pt x="3027521" y="353854"/>
                    <a:pt x="3027521" y="353854"/>
                  </a:cubicBezTo>
                  <a:close/>
                  <a:moveTo>
                    <a:pt x="3021806" y="230029"/>
                  </a:moveTo>
                  <a:cubicBezTo>
                    <a:pt x="3022759" y="231934"/>
                    <a:pt x="3022759" y="235744"/>
                    <a:pt x="3024664" y="241459"/>
                  </a:cubicBezTo>
                  <a:cubicBezTo>
                    <a:pt x="3024664" y="241459"/>
                    <a:pt x="3024664" y="241459"/>
                    <a:pt x="3024664" y="241459"/>
                  </a:cubicBezTo>
                  <a:cubicBezTo>
                    <a:pt x="3022759" y="237649"/>
                    <a:pt x="3022759" y="233839"/>
                    <a:pt x="3021806" y="230029"/>
                  </a:cubicBezTo>
                  <a:cubicBezTo>
                    <a:pt x="3021806" y="230029"/>
                    <a:pt x="3021806" y="230029"/>
                    <a:pt x="3021806" y="230029"/>
                  </a:cubicBezTo>
                  <a:close/>
                  <a:moveTo>
                    <a:pt x="3020854" y="305276"/>
                  </a:moveTo>
                  <a:cubicBezTo>
                    <a:pt x="3020854" y="305276"/>
                    <a:pt x="3020854" y="305276"/>
                    <a:pt x="3020854" y="305276"/>
                  </a:cubicBezTo>
                  <a:cubicBezTo>
                    <a:pt x="3020854" y="306229"/>
                    <a:pt x="3020854" y="305276"/>
                    <a:pt x="3020854" y="305276"/>
                  </a:cubicBezTo>
                  <a:cubicBezTo>
                    <a:pt x="3020854" y="305276"/>
                    <a:pt x="3020854" y="305276"/>
                    <a:pt x="3020854" y="305276"/>
                  </a:cubicBezTo>
                  <a:close/>
                  <a:moveTo>
                    <a:pt x="3017996" y="317659"/>
                  </a:moveTo>
                  <a:cubicBezTo>
                    <a:pt x="3018949" y="321469"/>
                    <a:pt x="3020854" y="325279"/>
                    <a:pt x="3021806" y="329089"/>
                  </a:cubicBezTo>
                  <a:cubicBezTo>
                    <a:pt x="3022759" y="332899"/>
                    <a:pt x="3023711" y="336709"/>
                    <a:pt x="3025616" y="339566"/>
                  </a:cubicBezTo>
                  <a:cubicBezTo>
                    <a:pt x="3020854" y="345281"/>
                    <a:pt x="3016091" y="351949"/>
                    <a:pt x="3011329" y="359569"/>
                  </a:cubicBezTo>
                  <a:cubicBezTo>
                    <a:pt x="3011329" y="359569"/>
                    <a:pt x="3011329" y="359569"/>
                    <a:pt x="3011329" y="360521"/>
                  </a:cubicBezTo>
                  <a:cubicBezTo>
                    <a:pt x="3010376" y="357664"/>
                    <a:pt x="3009424" y="354806"/>
                    <a:pt x="3009424" y="351949"/>
                  </a:cubicBezTo>
                  <a:cubicBezTo>
                    <a:pt x="3011329" y="340519"/>
                    <a:pt x="3015139" y="329089"/>
                    <a:pt x="3017996" y="317659"/>
                  </a:cubicBezTo>
                  <a:close/>
                  <a:moveTo>
                    <a:pt x="3013234" y="257651"/>
                  </a:moveTo>
                  <a:cubicBezTo>
                    <a:pt x="3013234" y="258604"/>
                    <a:pt x="3013234" y="259556"/>
                    <a:pt x="3014186" y="261461"/>
                  </a:cubicBezTo>
                  <a:cubicBezTo>
                    <a:pt x="3014186" y="263366"/>
                    <a:pt x="3015139" y="266224"/>
                    <a:pt x="3015139" y="269081"/>
                  </a:cubicBezTo>
                  <a:cubicBezTo>
                    <a:pt x="3013234" y="273844"/>
                    <a:pt x="3012281" y="279559"/>
                    <a:pt x="3010376" y="284321"/>
                  </a:cubicBezTo>
                  <a:cubicBezTo>
                    <a:pt x="3010376" y="283369"/>
                    <a:pt x="3009424" y="283369"/>
                    <a:pt x="3009424" y="282416"/>
                  </a:cubicBezTo>
                  <a:cubicBezTo>
                    <a:pt x="3009424" y="281464"/>
                    <a:pt x="3008471" y="280511"/>
                    <a:pt x="3008471" y="279559"/>
                  </a:cubicBezTo>
                  <a:cubicBezTo>
                    <a:pt x="3008471" y="278606"/>
                    <a:pt x="3008471" y="277654"/>
                    <a:pt x="3009424" y="276701"/>
                  </a:cubicBezTo>
                  <a:cubicBezTo>
                    <a:pt x="3010376" y="270034"/>
                    <a:pt x="3011329" y="263366"/>
                    <a:pt x="3013234" y="257651"/>
                  </a:cubicBezTo>
                  <a:close/>
                  <a:moveTo>
                    <a:pt x="3008471" y="230029"/>
                  </a:moveTo>
                  <a:cubicBezTo>
                    <a:pt x="3009424" y="234791"/>
                    <a:pt x="3010376" y="239554"/>
                    <a:pt x="3010376" y="244316"/>
                  </a:cubicBezTo>
                  <a:cubicBezTo>
                    <a:pt x="3009424" y="246221"/>
                    <a:pt x="3008471" y="249079"/>
                    <a:pt x="3007519" y="250984"/>
                  </a:cubicBezTo>
                  <a:cubicBezTo>
                    <a:pt x="3005614" y="254794"/>
                    <a:pt x="3003709" y="259556"/>
                    <a:pt x="3001804" y="264319"/>
                  </a:cubicBezTo>
                  <a:cubicBezTo>
                    <a:pt x="3003709" y="251936"/>
                    <a:pt x="3005614" y="240506"/>
                    <a:pt x="3008471" y="230029"/>
                  </a:cubicBezTo>
                  <a:close/>
                  <a:moveTo>
                    <a:pt x="3003709" y="195739"/>
                  </a:moveTo>
                  <a:cubicBezTo>
                    <a:pt x="3003709" y="198596"/>
                    <a:pt x="3004661" y="202406"/>
                    <a:pt x="3004661" y="205264"/>
                  </a:cubicBezTo>
                  <a:cubicBezTo>
                    <a:pt x="3002756" y="210979"/>
                    <a:pt x="3000851" y="216694"/>
                    <a:pt x="2997994" y="223361"/>
                  </a:cubicBezTo>
                  <a:cubicBezTo>
                    <a:pt x="2993231" y="235744"/>
                    <a:pt x="2990374" y="248126"/>
                    <a:pt x="2986564" y="262414"/>
                  </a:cubicBezTo>
                  <a:cubicBezTo>
                    <a:pt x="2985611" y="265271"/>
                    <a:pt x="2985611" y="268129"/>
                    <a:pt x="2984659" y="270986"/>
                  </a:cubicBezTo>
                  <a:cubicBezTo>
                    <a:pt x="2984659" y="270986"/>
                    <a:pt x="2984659" y="270986"/>
                    <a:pt x="2984659" y="270986"/>
                  </a:cubicBezTo>
                  <a:cubicBezTo>
                    <a:pt x="2991326" y="243364"/>
                    <a:pt x="2997994" y="218599"/>
                    <a:pt x="3003709" y="195739"/>
                  </a:cubicBezTo>
                  <a:close/>
                  <a:moveTo>
                    <a:pt x="2974181" y="311944"/>
                  </a:moveTo>
                  <a:cubicBezTo>
                    <a:pt x="2976086" y="302419"/>
                    <a:pt x="2978944" y="292894"/>
                    <a:pt x="2980849" y="284321"/>
                  </a:cubicBezTo>
                  <a:cubicBezTo>
                    <a:pt x="2980849" y="284321"/>
                    <a:pt x="2980849" y="285274"/>
                    <a:pt x="2980849" y="285274"/>
                  </a:cubicBezTo>
                  <a:cubicBezTo>
                    <a:pt x="2978944" y="291941"/>
                    <a:pt x="2977991" y="299561"/>
                    <a:pt x="2976086" y="307181"/>
                  </a:cubicBezTo>
                  <a:cubicBezTo>
                    <a:pt x="2975134" y="313849"/>
                    <a:pt x="2973229" y="320516"/>
                    <a:pt x="2972276" y="327184"/>
                  </a:cubicBezTo>
                  <a:cubicBezTo>
                    <a:pt x="2971324" y="325279"/>
                    <a:pt x="2971324" y="324326"/>
                    <a:pt x="2970371" y="322421"/>
                  </a:cubicBezTo>
                  <a:cubicBezTo>
                    <a:pt x="2972276" y="318611"/>
                    <a:pt x="2973229" y="314801"/>
                    <a:pt x="2974181" y="311944"/>
                  </a:cubicBezTo>
                  <a:close/>
                  <a:moveTo>
                    <a:pt x="2964656" y="349091"/>
                  </a:moveTo>
                  <a:cubicBezTo>
                    <a:pt x="2965609" y="344329"/>
                    <a:pt x="2967514" y="339566"/>
                    <a:pt x="2968466" y="334804"/>
                  </a:cubicBezTo>
                  <a:cubicBezTo>
                    <a:pt x="2969419" y="337661"/>
                    <a:pt x="2970371" y="341471"/>
                    <a:pt x="2970371" y="344329"/>
                  </a:cubicBezTo>
                  <a:cubicBezTo>
                    <a:pt x="2970371" y="347186"/>
                    <a:pt x="2969419" y="350996"/>
                    <a:pt x="2969419" y="353854"/>
                  </a:cubicBezTo>
                  <a:cubicBezTo>
                    <a:pt x="2968466" y="361474"/>
                    <a:pt x="2967514" y="369094"/>
                    <a:pt x="2966561" y="377666"/>
                  </a:cubicBezTo>
                  <a:cubicBezTo>
                    <a:pt x="2965609" y="373856"/>
                    <a:pt x="2964656" y="369094"/>
                    <a:pt x="2963704" y="366236"/>
                  </a:cubicBezTo>
                  <a:cubicBezTo>
                    <a:pt x="2967514" y="350996"/>
                    <a:pt x="2969419" y="341471"/>
                    <a:pt x="2969419" y="341471"/>
                  </a:cubicBezTo>
                  <a:cubicBezTo>
                    <a:pt x="2969419" y="341471"/>
                    <a:pt x="2967514" y="344329"/>
                    <a:pt x="2964656" y="349091"/>
                  </a:cubicBezTo>
                  <a:close/>
                  <a:moveTo>
                    <a:pt x="2958941" y="383381"/>
                  </a:moveTo>
                  <a:cubicBezTo>
                    <a:pt x="2958941" y="383381"/>
                    <a:pt x="2958941" y="384334"/>
                    <a:pt x="2958941" y="383381"/>
                  </a:cubicBezTo>
                  <a:cubicBezTo>
                    <a:pt x="2958941" y="384334"/>
                    <a:pt x="2958941" y="384334"/>
                    <a:pt x="2958941" y="383381"/>
                  </a:cubicBezTo>
                  <a:cubicBezTo>
                    <a:pt x="2958941" y="384334"/>
                    <a:pt x="2958941" y="384334"/>
                    <a:pt x="2958941" y="383381"/>
                  </a:cubicBezTo>
                  <a:cubicBezTo>
                    <a:pt x="2958941" y="384334"/>
                    <a:pt x="2958941" y="383381"/>
                    <a:pt x="2958941" y="383381"/>
                  </a:cubicBezTo>
                  <a:close/>
                  <a:moveTo>
                    <a:pt x="2936081" y="284321"/>
                  </a:moveTo>
                  <a:cubicBezTo>
                    <a:pt x="2935129" y="280511"/>
                    <a:pt x="2935129" y="277654"/>
                    <a:pt x="2934176" y="273844"/>
                  </a:cubicBezTo>
                  <a:cubicBezTo>
                    <a:pt x="2935129" y="272891"/>
                    <a:pt x="2935129" y="271939"/>
                    <a:pt x="2936081" y="271939"/>
                  </a:cubicBezTo>
                  <a:cubicBezTo>
                    <a:pt x="2936081" y="276701"/>
                    <a:pt x="2936081" y="280511"/>
                    <a:pt x="2936081" y="284321"/>
                  </a:cubicBezTo>
                  <a:close/>
                  <a:moveTo>
                    <a:pt x="2936081" y="267176"/>
                  </a:moveTo>
                  <a:cubicBezTo>
                    <a:pt x="2936081" y="267176"/>
                    <a:pt x="2936081" y="267176"/>
                    <a:pt x="2936081" y="267176"/>
                  </a:cubicBezTo>
                  <a:cubicBezTo>
                    <a:pt x="2935129" y="268129"/>
                    <a:pt x="2935129" y="268129"/>
                    <a:pt x="2934176" y="269081"/>
                  </a:cubicBezTo>
                  <a:cubicBezTo>
                    <a:pt x="2935129" y="268129"/>
                    <a:pt x="2935129" y="266224"/>
                    <a:pt x="2936081" y="265271"/>
                  </a:cubicBezTo>
                  <a:cubicBezTo>
                    <a:pt x="2935129" y="265271"/>
                    <a:pt x="2936081" y="266224"/>
                    <a:pt x="2936081" y="267176"/>
                  </a:cubicBezTo>
                  <a:close/>
                  <a:moveTo>
                    <a:pt x="2929414" y="243364"/>
                  </a:moveTo>
                  <a:lnTo>
                    <a:pt x="2930366" y="243364"/>
                  </a:lnTo>
                  <a:lnTo>
                    <a:pt x="2933224" y="244316"/>
                  </a:lnTo>
                  <a:cubicBezTo>
                    <a:pt x="2933224" y="248126"/>
                    <a:pt x="2934176" y="251936"/>
                    <a:pt x="2934176" y="255746"/>
                  </a:cubicBezTo>
                  <a:cubicBezTo>
                    <a:pt x="2933224" y="257651"/>
                    <a:pt x="2932271" y="259556"/>
                    <a:pt x="2931319" y="261461"/>
                  </a:cubicBezTo>
                  <a:cubicBezTo>
                    <a:pt x="2930366" y="256699"/>
                    <a:pt x="2929414" y="251936"/>
                    <a:pt x="2927509" y="248126"/>
                  </a:cubicBezTo>
                  <a:cubicBezTo>
                    <a:pt x="2928461" y="246221"/>
                    <a:pt x="2929414" y="245269"/>
                    <a:pt x="2929414" y="243364"/>
                  </a:cubicBezTo>
                  <a:close/>
                  <a:moveTo>
                    <a:pt x="2917984" y="351949"/>
                  </a:moveTo>
                  <a:cubicBezTo>
                    <a:pt x="2917984" y="352901"/>
                    <a:pt x="2917984" y="352901"/>
                    <a:pt x="2918936" y="353854"/>
                  </a:cubicBezTo>
                  <a:cubicBezTo>
                    <a:pt x="2918936" y="356711"/>
                    <a:pt x="2919889" y="360521"/>
                    <a:pt x="2919889" y="363379"/>
                  </a:cubicBezTo>
                  <a:cubicBezTo>
                    <a:pt x="2920841" y="369094"/>
                    <a:pt x="2921794" y="374809"/>
                    <a:pt x="2922746" y="380524"/>
                  </a:cubicBezTo>
                  <a:cubicBezTo>
                    <a:pt x="2921794" y="380524"/>
                    <a:pt x="2921794" y="380524"/>
                    <a:pt x="2920841" y="380524"/>
                  </a:cubicBezTo>
                  <a:cubicBezTo>
                    <a:pt x="2918936" y="374809"/>
                    <a:pt x="2916079" y="368141"/>
                    <a:pt x="2913221" y="362426"/>
                  </a:cubicBezTo>
                  <a:cubicBezTo>
                    <a:pt x="2914174" y="358616"/>
                    <a:pt x="2916079" y="355759"/>
                    <a:pt x="2917984" y="351949"/>
                  </a:cubicBezTo>
                  <a:close/>
                  <a:moveTo>
                    <a:pt x="2904649" y="224314"/>
                  </a:moveTo>
                  <a:cubicBezTo>
                    <a:pt x="2904649" y="224314"/>
                    <a:pt x="2904649" y="224314"/>
                    <a:pt x="2904649" y="224314"/>
                  </a:cubicBezTo>
                  <a:cubicBezTo>
                    <a:pt x="2904649" y="228124"/>
                    <a:pt x="2903696" y="232886"/>
                    <a:pt x="2903696" y="237649"/>
                  </a:cubicBezTo>
                  <a:cubicBezTo>
                    <a:pt x="2903696" y="241459"/>
                    <a:pt x="2902744" y="245269"/>
                    <a:pt x="2902744" y="250031"/>
                  </a:cubicBezTo>
                  <a:cubicBezTo>
                    <a:pt x="2901791" y="245269"/>
                    <a:pt x="2901791" y="240506"/>
                    <a:pt x="2900839" y="235744"/>
                  </a:cubicBezTo>
                  <a:cubicBezTo>
                    <a:pt x="2901791" y="231934"/>
                    <a:pt x="2902744" y="228124"/>
                    <a:pt x="2904649" y="224314"/>
                  </a:cubicBezTo>
                  <a:close/>
                  <a:moveTo>
                    <a:pt x="2885599" y="294799"/>
                  </a:moveTo>
                  <a:cubicBezTo>
                    <a:pt x="2886551" y="290036"/>
                    <a:pt x="2887504" y="285274"/>
                    <a:pt x="2888456" y="280511"/>
                  </a:cubicBezTo>
                  <a:cubicBezTo>
                    <a:pt x="2888456" y="289084"/>
                    <a:pt x="2889409" y="298609"/>
                    <a:pt x="2889409" y="308134"/>
                  </a:cubicBezTo>
                  <a:cubicBezTo>
                    <a:pt x="2887504" y="304324"/>
                    <a:pt x="2886551" y="301466"/>
                    <a:pt x="2884646" y="297656"/>
                  </a:cubicBezTo>
                  <a:cubicBezTo>
                    <a:pt x="2884646" y="296704"/>
                    <a:pt x="2885599" y="295751"/>
                    <a:pt x="2885599" y="294799"/>
                  </a:cubicBezTo>
                  <a:close/>
                  <a:moveTo>
                    <a:pt x="2869406" y="301466"/>
                  </a:moveTo>
                  <a:cubicBezTo>
                    <a:pt x="2869406" y="302419"/>
                    <a:pt x="2869406" y="302419"/>
                    <a:pt x="2869406" y="301466"/>
                  </a:cubicBezTo>
                  <a:cubicBezTo>
                    <a:pt x="2869406" y="302419"/>
                    <a:pt x="2869406" y="302419"/>
                    <a:pt x="2869406" y="302419"/>
                  </a:cubicBezTo>
                  <a:cubicBezTo>
                    <a:pt x="2869406" y="303371"/>
                    <a:pt x="2868454" y="304324"/>
                    <a:pt x="2868454" y="305276"/>
                  </a:cubicBezTo>
                  <a:cubicBezTo>
                    <a:pt x="2864644" y="298609"/>
                    <a:pt x="2860834" y="290989"/>
                    <a:pt x="2856071" y="284321"/>
                  </a:cubicBezTo>
                  <a:cubicBezTo>
                    <a:pt x="2856071" y="283369"/>
                    <a:pt x="2855119" y="283369"/>
                    <a:pt x="2855119" y="282416"/>
                  </a:cubicBezTo>
                  <a:cubicBezTo>
                    <a:pt x="2856071" y="279559"/>
                    <a:pt x="2857024" y="276701"/>
                    <a:pt x="2857976" y="273844"/>
                  </a:cubicBezTo>
                  <a:cubicBezTo>
                    <a:pt x="2861786" y="283369"/>
                    <a:pt x="2865596" y="292894"/>
                    <a:pt x="2869406" y="301466"/>
                  </a:cubicBezTo>
                  <a:close/>
                  <a:moveTo>
                    <a:pt x="2851309" y="262414"/>
                  </a:moveTo>
                  <a:cubicBezTo>
                    <a:pt x="2851309" y="261461"/>
                    <a:pt x="2851309" y="260509"/>
                    <a:pt x="2851309" y="259556"/>
                  </a:cubicBezTo>
                  <a:cubicBezTo>
                    <a:pt x="2852261" y="262414"/>
                    <a:pt x="2853214" y="264319"/>
                    <a:pt x="2855119" y="267176"/>
                  </a:cubicBezTo>
                  <a:cubicBezTo>
                    <a:pt x="2855119" y="268129"/>
                    <a:pt x="2856071" y="268129"/>
                    <a:pt x="2856071" y="269081"/>
                  </a:cubicBezTo>
                  <a:cubicBezTo>
                    <a:pt x="2855119" y="270986"/>
                    <a:pt x="2853214" y="273844"/>
                    <a:pt x="2851309" y="276701"/>
                  </a:cubicBezTo>
                  <a:cubicBezTo>
                    <a:pt x="2851309" y="275749"/>
                    <a:pt x="2850356" y="275749"/>
                    <a:pt x="2850356" y="274796"/>
                  </a:cubicBezTo>
                  <a:cubicBezTo>
                    <a:pt x="2850356" y="270986"/>
                    <a:pt x="2851309" y="267176"/>
                    <a:pt x="2851309" y="262414"/>
                  </a:cubicBezTo>
                  <a:close/>
                  <a:moveTo>
                    <a:pt x="2848451" y="312896"/>
                  </a:moveTo>
                  <a:cubicBezTo>
                    <a:pt x="2848451" y="309086"/>
                    <a:pt x="2848451" y="306229"/>
                    <a:pt x="2848451" y="302419"/>
                  </a:cubicBezTo>
                  <a:cubicBezTo>
                    <a:pt x="2852261" y="310039"/>
                    <a:pt x="2857024" y="318611"/>
                    <a:pt x="2860834" y="327184"/>
                  </a:cubicBezTo>
                  <a:cubicBezTo>
                    <a:pt x="2858929" y="332899"/>
                    <a:pt x="2857024" y="338614"/>
                    <a:pt x="2856071" y="344329"/>
                  </a:cubicBezTo>
                  <a:cubicBezTo>
                    <a:pt x="2855119" y="348139"/>
                    <a:pt x="2854166" y="351949"/>
                    <a:pt x="2853214" y="355759"/>
                  </a:cubicBezTo>
                  <a:cubicBezTo>
                    <a:pt x="2852261" y="350996"/>
                    <a:pt x="2852261" y="346234"/>
                    <a:pt x="2851309" y="341471"/>
                  </a:cubicBezTo>
                  <a:cubicBezTo>
                    <a:pt x="2850356" y="332899"/>
                    <a:pt x="2849404" y="324326"/>
                    <a:pt x="2847499" y="316706"/>
                  </a:cubicBezTo>
                  <a:cubicBezTo>
                    <a:pt x="2848451" y="315754"/>
                    <a:pt x="2848451" y="313849"/>
                    <a:pt x="2848451" y="312896"/>
                  </a:cubicBezTo>
                  <a:close/>
                  <a:moveTo>
                    <a:pt x="2836069" y="226219"/>
                  </a:moveTo>
                  <a:cubicBezTo>
                    <a:pt x="2839879" y="234791"/>
                    <a:pt x="2843689" y="243364"/>
                    <a:pt x="2847499" y="251936"/>
                  </a:cubicBezTo>
                  <a:cubicBezTo>
                    <a:pt x="2846546" y="254794"/>
                    <a:pt x="2845594" y="257651"/>
                    <a:pt x="2844641" y="261461"/>
                  </a:cubicBezTo>
                  <a:cubicBezTo>
                    <a:pt x="2844641" y="262414"/>
                    <a:pt x="2843689" y="264319"/>
                    <a:pt x="2843689" y="266224"/>
                  </a:cubicBezTo>
                  <a:cubicBezTo>
                    <a:pt x="2841784" y="263366"/>
                    <a:pt x="2840831" y="261461"/>
                    <a:pt x="2838926" y="258604"/>
                  </a:cubicBezTo>
                  <a:cubicBezTo>
                    <a:pt x="2837974" y="249079"/>
                    <a:pt x="2836069" y="238601"/>
                    <a:pt x="2834164" y="229076"/>
                  </a:cubicBezTo>
                  <a:cubicBezTo>
                    <a:pt x="2836069" y="228124"/>
                    <a:pt x="2836069" y="227171"/>
                    <a:pt x="2836069" y="226219"/>
                  </a:cubicBezTo>
                  <a:close/>
                  <a:moveTo>
                    <a:pt x="2830354" y="305276"/>
                  </a:moveTo>
                  <a:cubicBezTo>
                    <a:pt x="2830354" y="308134"/>
                    <a:pt x="2830354" y="310039"/>
                    <a:pt x="2831306" y="312896"/>
                  </a:cubicBezTo>
                  <a:cubicBezTo>
                    <a:pt x="2831306" y="312896"/>
                    <a:pt x="2831306" y="312896"/>
                    <a:pt x="2831306" y="313849"/>
                  </a:cubicBezTo>
                  <a:cubicBezTo>
                    <a:pt x="2831306" y="311944"/>
                    <a:pt x="2831306" y="310039"/>
                    <a:pt x="2830354" y="308134"/>
                  </a:cubicBezTo>
                  <a:cubicBezTo>
                    <a:pt x="2830354" y="307181"/>
                    <a:pt x="2830354" y="306229"/>
                    <a:pt x="2830354" y="305276"/>
                  </a:cubicBezTo>
                  <a:close/>
                  <a:moveTo>
                    <a:pt x="2829401" y="292894"/>
                  </a:moveTo>
                  <a:cubicBezTo>
                    <a:pt x="2829401" y="294799"/>
                    <a:pt x="2829401" y="296704"/>
                    <a:pt x="2830354" y="299561"/>
                  </a:cubicBezTo>
                  <a:cubicBezTo>
                    <a:pt x="2830354" y="300514"/>
                    <a:pt x="2830354" y="300514"/>
                    <a:pt x="2829401" y="301466"/>
                  </a:cubicBezTo>
                  <a:cubicBezTo>
                    <a:pt x="2829401" y="300514"/>
                    <a:pt x="2829401" y="300514"/>
                    <a:pt x="2829401" y="299561"/>
                  </a:cubicBezTo>
                  <a:cubicBezTo>
                    <a:pt x="2828449" y="296704"/>
                    <a:pt x="2828449" y="294799"/>
                    <a:pt x="2829401" y="292894"/>
                  </a:cubicBezTo>
                  <a:close/>
                  <a:moveTo>
                    <a:pt x="2785586" y="268129"/>
                  </a:moveTo>
                  <a:cubicBezTo>
                    <a:pt x="2784634" y="269081"/>
                    <a:pt x="2783681" y="270034"/>
                    <a:pt x="2782729" y="271939"/>
                  </a:cubicBezTo>
                  <a:cubicBezTo>
                    <a:pt x="2782729" y="270986"/>
                    <a:pt x="2782729" y="270034"/>
                    <a:pt x="2782729" y="269081"/>
                  </a:cubicBezTo>
                  <a:cubicBezTo>
                    <a:pt x="2782729" y="268129"/>
                    <a:pt x="2782729" y="266224"/>
                    <a:pt x="2782729" y="265271"/>
                  </a:cubicBezTo>
                  <a:cubicBezTo>
                    <a:pt x="2783681" y="263366"/>
                    <a:pt x="2785586" y="260509"/>
                    <a:pt x="2786539" y="258604"/>
                  </a:cubicBezTo>
                  <a:cubicBezTo>
                    <a:pt x="2786539" y="259556"/>
                    <a:pt x="2786539" y="259556"/>
                    <a:pt x="2786539" y="260509"/>
                  </a:cubicBezTo>
                  <a:cubicBezTo>
                    <a:pt x="2785586" y="262414"/>
                    <a:pt x="2785586" y="265271"/>
                    <a:pt x="2785586" y="268129"/>
                  </a:cubicBezTo>
                  <a:close/>
                  <a:moveTo>
                    <a:pt x="2796064" y="268129"/>
                  </a:moveTo>
                  <a:cubicBezTo>
                    <a:pt x="2796064" y="267176"/>
                    <a:pt x="2796064" y="267176"/>
                    <a:pt x="2796064" y="268129"/>
                  </a:cubicBezTo>
                  <a:cubicBezTo>
                    <a:pt x="2797016" y="266224"/>
                    <a:pt x="2797969" y="264319"/>
                    <a:pt x="2798921" y="263366"/>
                  </a:cubicBezTo>
                  <a:cubicBezTo>
                    <a:pt x="2797969" y="264319"/>
                    <a:pt x="2797016" y="266224"/>
                    <a:pt x="2796064" y="268129"/>
                  </a:cubicBezTo>
                  <a:close/>
                  <a:moveTo>
                    <a:pt x="2803684" y="314801"/>
                  </a:moveTo>
                  <a:cubicBezTo>
                    <a:pt x="2803684" y="315754"/>
                    <a:pt x="2802731" y="317659"/>
                    <a:pt x="2802731" y="318611"/>
                  </a:cubicBezTo>
                  <a:cubicBezTo>
                    <a:pt x="2802731" y="320516"/>
                    <a:pt x="2801779" y="322421"/>
                    <a:pt x="2801779" y="325279"/>
                  </a:cubicBezTo>
                  <a:cubicBezTo>
                    <a:pt x="2800826" y="322421"/>
                    <a:pt x="2799874" y="320516"/>
                    <a:pt x="2798921" y="317659"/>
                  </a:cubicBezTo>
                  <a:cubicBezTo>
                    <a:pt x="2798921" y="316706"/>
                    <a:pt x="2798921" y="316706"/>
                    <a:pt x="2798921" y="315754"/>
                  </a:cubicBezTo>
                  <a:cubicBezTo>
                    <a:pt x="2798921" y="315754"/>
                    <a:pt x="2798921" y="315754"/>
                    <a:pt x="2798921" y="315754"/>
                  </a:cubicBezTo>
                  <a:cubicBezTo>
                    <a:pt x="2799874" y="311944"/>
                    <a:pt x="2800826" y="308134"/>
                    <a:pt x="2801779" y="304324"/>
                  </a:cubicBezTo>
                  <a:cubicBezTo>
                    <a:pt x="2802731" y="307181"/>
                    <a:pt x="2802731" y="310039"/>
                    <a:pt x="2803684" y="312896"/>
                  </a:cubicBezTo>
                  <a:cubicBezTo>
                    <a:pt x="2803684" y="313849"/>
                    <a:pt x="2803684" y="313849"/>
                    <a:pt x="2803684" y="314801"/>
                  </a:cubicBezTo>
                  <a:close/>
                  <a:moveTo>
                    <a:pt x="2810351" y="280511"/>
                  </a:moveTo>
                  <a:cubicBezTo>
                    <a:pt x="2808446" y="287179"/>
                    <a:pt x="2807494" y="294799"/>
                    <a:pt x="2805589" y="302419"/>
                  </a:cubicBezTo>
                  <a:cubicBezTo>
                    <a:pt x="2804636" y="301466"/>
                    <a:pt x="2804636" y="299561"/>
                    <a:pt x="2803684" y="298609"/>
                  </a:cubicBezTo>
                  <a:cubicBezTo>
                    <a:pt x="2803684" y="297656"/>
                    <a:pt x="2803684" y="297656"/>
                    <a:pt x="2802731" y="296704"/>
                  </a:cubicBezTo>
                  <a:cubicBezTo>
                    <a:pt x="2803684" y="292894"/>
                    <a:pt x="2804636" y="290036"/>
                    <a:pt x="2805589" y="287179"/>
                  </a:cubicBezTo>
                  <a:cubicBezTo>
                    <a:pt x="2806541" y="284321"/>
                    <a:pt x="2808446" y="280511"/>
                    <a:pt x="2809399" y="277654"/>
                  </a:cubicBezTo>
                  <a:cubicBezTo>
                    <a:pt x="2809399" y="276701"/>
                    <a:pt x="2810351" y="275749"/>
                    <a:pt x="2810351" y="275749"/>
                  </a:cubicBezTo>
                  <a:cubicBezTo>
                    <a:pt x="2811304" y="276701"/>
                    <a:pt x="2810351" y="278606"/>
                    <a:pt x="2810351" y="280511"/>
                  </a:cubicBezTo>
                  <a:close/>
                  <a:moveTo>
                    <a:pt x="2811304" y="276701"/>
                  </a:moveTo>
                  <a:cubicBezTo>
                    <a:pt x="2811304" y="275749"/>
                    <a:pt x="2811304" y="275749"/>
                    <a:pt x="2811304" y="274796"/>
                  </a:cubicBezTo>
                  <a:cubicBezTo>
                    <a:pt x="2812256" y="273844"/>
                    <a:pt x="2812256" y="271939"/>
                    <a:pt x="2813209" y="270986"/>
                  </a:cubicBezTo>
                  <a:cubicBezTo>
                    <a:pt x="2812256" y="272891"/>
                    <a:pt x="2812256" y="274796"/>
                    <a:pt x="2811304" y="276701"/>
                  </a:cubicBezTo>
                  <a:close/>
                  <a:moveTo>
                    <a:pt x="2812256" y="236696"/>
                  </a:moveTo>
                  <a:cubicBezTo>
                    <a:pt x="2810351" y="239554"/>
                    <a:pt x="2808446" y="243364"/>
                    <a:pt x="2806541" y="246221"/>
                  </a:cubicBezTo>
                  <a:cubicBezTo>
                    <a:pt x="2804636" y="248126"/>
                    <a:pt x="2802731" y="250031"/>
                    <a:pt x="2799874" y="251936"/>
                  </a:cubicBezTo>
                  <a:cubicBezTo>
                    <a:pt x="2797969" y="253841"/>
                    <a:pt x="2796064" y="255746"/>
                    <a:pt x="2794159" y="257651"/>
                  </a:cubicBezTo>
                  <a:cubicBezTo>
                    <a:pt x="2793206" y="252889"/>
                    <a:pt x="2792254" y="249079"/>
                    <a:pt x="2792254" y="245269"/>
                  </a:cubicBezTo>
                  <a:cubicBezTo>
                    <a:pt x="2793206" y="242411"/>
                    <a:pt x="2795111" y="240506"/>
                    <a:pt x="2796064" y="238601"/>
                  </a:cubicBezTo>
                  <a:cubicBezTo>
                    <a:pt x="2799874" y="231934"/>
                    <a:pt x="2802731" y="227171"/>
                    <a:pt x="2804636" y="224314"/>
                  </a:cubicBezTo>
                  <a:cubicBezTo>
                    <a:pt x="2807494" y="228124"/>
                    <a:pt x="2809399" y="232886"/>
                    <a:pt x="2812256" y="236696"/>
                  </a:cubicBezTo>
                  <a:close/>
                  <a:moveTo>
                    <a:pt x="2804636" y="223361"/>
                  </a:moveTo>
                  <a:cubicBezTo>
                    <a:pt x="2802731" y="225266"/>
                    <a:pt x="2798921" y="229076"/>
                    <a:pt x="2794159" y="235744"/>
                  </a:cubicBezTo>
                  <a:cubicBezTo>
                    <a:pt x="2793206" y="236696"/>
                    <a:pt x="2793206" y="237649"/>
                    <a:pt x="2792254" y="238601"/>
                  </a:cubicBezTo>
                  <a:cubicBezTo>
                    <a:pt x="2792254" y="238601"/>
                    <a:pt x="2792254" y="238601"/>
                    <a:pt x="2792254" y="238601"/>
                  </a:cubicBezTo>
                  <a:cubicBezTo>
                    <a:pt x="2794159" y="235744"/>
                    <a:pt x="2795111" y="232886"/>
                    <a:pt x="2796064" y="230981"/>
                  </a:cubicBezTo>
                  <a:cubicBezTo>
                    <a:pt x="2797969" y="226219"/>
                    <a:pt x="2800826" y="222409"/>
                    <a:pt x="2801779" y="219551"/>
                  </a:cubicBezTo>
                  <a:cubicBezTo>
                    <a:pt x="2802731" y="220504"/>
                    <a:pt x="2803684" y="222409"/>
                    <a:pt x="2804636" y="223361"/>
                  </a:cubicBezTo>
                  <a:close/>
                  <a:moveTo>
                    <a:pt x="2787491" y="196691"/>
                  </a:moveTo>
                  <a:cubicBezTo>
                    <a:pt x="2792254" y="203359"/>
                    <a:pt x="2796064" y="210026"/>
                    <a:pt x="2800826" y="217646"/>
                  </a:cubicBezTo>
                  <a:cubicBezTo>
                    <a:pt x="2798921" y="220504"/>
                    <a:pt x="2796064" y="224314"/>
                    <a:pt x="2792254" y="228124"/>
                  </a:cubicBezTo>
                  <a:cubicBezTo>
                    <a:pt x="2791301" y="229076"/>
                    <a:pt x="2790349" y="230029"/>
                    <a:pt x="2790349" y="230981"/>
                  </a:cubicBezTo>
                  <a:cubicBezTo>
                    <a:pt x="2789396" y="226219"/>
                    <a:pt x="2788444" y="222409"/>
                    <a:pt x="2787491" y="218599"/>
                  </a:cubicBezTo>
                  <a:cubicBezTo>
                    <a:pt x="2783681" y="205264"/>
                    <a:pt x="2781776" y="196691"/>
                    <a:pt x="2781776" y="196691"/>
                  </a:cubicBezTo>
                  <a:cubicBezTo>
                    <a:pt x="2781776" y="196691"/>
                    <a:pt x="2782729" y="204311"/>
                    <a:pt x="2783681" y="218599"/>
                  </a:cubicBezTo>
                  <a:cubicBezTo>
                    <a:pt x="2784634" y="224314"/>
                    <a:pt x="2784634" y="230981"/>
                    <a:pt x="2784634" y="237649"/>
                  </a:cubicBezTo>
                  <a:cubicBezTo>
                    <a:pt x="2783681" y="239554"/>
                    <a:pt x="2781776" y="241459"/>
                    <a:pt x="2780824" y="243364"/>
                  </a:cubicBezTo>
                  <a:cubicBezTo>
                    <a:pt x="2779871" y="227171"/>
                    <a:pt x="2779871" y="213836"/>
                    <a:pt x="2778919" y="204311"/>
                  </a:cubicBezTo>
                  <a:cubicBezTo>
                    <a:pt x="2777966" y="192881"/>
                    <a:pt x="2777966" y="186214"/>
                    <a:pt x="2777966" y="186214"/>
                  </a:cubicBezTo>
                  <a:cubicBezTo>
                    <a:pt x="2777966" y="186214"/>
                    <a:pt x="2777014" y="192881"/>
                    <a:pt x="2775109" y="204311"/>
                  </a:cubicBezTo>
                  <a:cubicBezTo>
                    <a:pt x="2775109" y="207169"/>
                    <a:pt x="2774156" y="210979"/>
                    <a:pt x="2774156" y="214789"/>
                  </a:cubicBezTo>
                  <a:cubicBezTo>
                    <a:pt x="2773204" y="206216"/>
                    <a:pt x="2772251" y="198596"/>
                    <a:pt x="2770346" y="190976"/>
                  </a:cubicBezTo>
                  <a:cubicBezTo>
                    <a:pt x="2770346" y="190024"/>
                    <a:pt x="2770346" y="190024"/>
                    <a:pt x="2770346" y="189071"/>
                  </a:cubicBezTo>
                  <a:cubicBezTo>
                    <a:pt x="2770346" y="188119"/>
                    <a:pt x="2770346" y="186214"/>
                    <a:pt x="2770346" y="185261"/>
                  </a:cubicBezTo>
                  <a:cubicBezTo>
                    <a:pt x="2769394" y="174784"/>
                    <a:pt x="2768441" y="168116"/>
                    <a:pt x="2768441" y="166211"/>
                  </a:cubicBezTo>
                  <a:cubicBezTo>
                    <a:pt x="2774156" y="174784"/>
                    <a:pt x="2779871" y="185261"/>
                    <a:pt x="2787491" y="196691"/>
                  </a:cubicBezTo>
                  <a:close/>
                  <a:moveTo>
                    <a:pt x="2767489" y="167164"/>
                  </a:moveTo>
                  <a:cubicBezTo>
                    <a:pt x="2767489" y="168116"/>
                    <a:pt x="2767489" y="169069"/>
                    <a:pt x="2767489" y="170974"/>
                  </a:cubicBezTo>
                  <a:cubicBezTo>
                    <a:pt x="2767489" y="169069"/>
                    <a:pt x="2767489" y="168116"/>
                    <a:pt x="2766536" y="166211"/>
                  </a:cubicBezTo>
                  <a:cubicBezTo>
                    <a:pt x="2767489" y="166211"/>
                    <a:pt x="2767489" y="166211"/>
                    <a:pt x="2767489" y="167164"/>
                  </a:cubicBezTo>
                  <a:close/>
                  <a:moveTo>
                    <a:pt x="2757964" y="342424"/>
                  </a:moveTo>
                  <a:cubicBezTo>
                    <a:pt x="2757011" y="340519"/>
                    <a:pt x="2756059" y="338614"/>
                    <a:pt x="2755106" y="336709"/>
                  </a:cubicBezTo>
                  <a:cubicBezTo>
                    <a:pt x="2756059" y="333851"/>
                    <a:pt x="2757964" y="331946"/>
                    <a:pt x="2758916" y="329089"/>
                  </a:cubicBezTo>
                  <a:cubicBezTo>
                    <a:pt x="2759869" y="330041"/>
                    <a:pt x="2759869" y="331946"/>
                    <a:pt x="2760821" y="332899"/>
                  </a:cubicBezTo>
                  <a:cubicBezTo>
                    <a:pt x="2759869" y="336709"/>
                    <a:pt x="2758916" y="339566"/>
                    <a:pt x="2757964" y="342424"/>
                  </a:cubicBezTo>
                  <a:close/>
                  <a:moveTo>
                    <a:pt x="2762726" y="327184"/>
                  </a:moveTo>
                  <a:cubicBezTo>
                    <a:pt x="2762726" y="328136"/>
                    <a:pt x="2761774" y="329089"/>
                    <a:pt x="2761774" y="330994"/>
                  </a:cubicBezTo>
                  <a:cubicBezTo>
                    <a:pt x="2760821" y="330041"/>
                    <a:pt x="2760821" y="329089"/>
                    <a:pt x="2759869" y="328136"/>
                  </a:cubicBezTo>
                  <a:cubicBezTo>
                    <a:pt x="2760821" y="327184"/>
                    <a:pt x="2760821" y="325279"/>
                    <a:pt x="2761774" y="324326"/>
                  </a:cubicBezTo>
                  <a:cubicBezTo>
                    <a:pt x="2762726" y="325279"/>
                    <a:pt x="2762726" y="326231"/>
                    <a:pt x="2762726" y="327184"/>
                  </a:cubicBezTo>
                  <a:cubicBezTo>
                    <a:pt x="2762726" y="327184"/>
                    <a:pt x="2762726" y="327184"/>
                    <a:pt x="2762726" y="327184"/>
                  </a:cubicBezTo>
                  <a:close/>
                  <a:moveTo>
                    <a:pt x="2762726" y="250031"/>
                  </a:moveTo>
                  <a:cubicBezTo>
                    <a:pt x="2762726" y="256699"/>
                    <a:pt x="2762726" y="263366"/>
                    <a:pt x="2762726" y="270034"/>
                  </a:cubicBezTo>
                  <a:cubicBezTo>
                    <a:pt x="2759869" y="273844"/>
                    <a:pt x="2757011" y="278606"/>
                    <a:pt x="2754154" y="282416"/>
                  </a:cubicBezTo>
                  <a:cubicBezTo>
                    <a:pt x="2754154" y="283369"/>
                    <a:pt x="2753201" y="283369"/>
                    <a:pt x="2753201" y="284321"/>
                  </a:cubicBezTo>
                  <a:cubicBezTo>
                    <a:pt x="2753201" y="283369"/>
                    <a:pt x="2752249" y="283369"/>
                    <a:pt x="2752249" y="282416"/>
                  </a:cubicBezTo>
                  <a:cubicBezTo>
                    <a:pt x="2752249" y="281464"/>
                    <a:pt x="2753201" y="280511"/>
                    <a:pt x="2753201" y="278606"/>
                  </a:cubicBezTo>
                  <a:cubicBezTo>
                    <a:pt x="2754154" y="274796"/>
                    <a:pt x="2755106" y="270986"/>
                    <a:pt x="2756059" y="267176"/>
                  </a:cubicBezTo>
                  <a:cubicBezTo>
                    <a:pt x="2757964" y="260509"/>
                    <a:pt x="2759869" y="255746"/>
                    <a:pt x="2761774" y="251936"/>
                  </a:cubicBezTo>
                  <a:cubicBezTo>
                    <a:pt x="2761774" y="251936"/>
                    <a:pt x="2761774" y="250031"/>
                    <a:pt x="2762726" y="250031"/>
                  </a:cubicBezTo>
                  <a:cubicBezTo>
                    <a:pt x="2762726" y="250031"/>
                    <a:pt x="2762726" y="250031"/>
                    <a:pt x="2762726" y="250031"/>
                  </a:cubicBezTo>
                  <a:close/>
                  <a:moveTo>
                    <a:pt x="2753201" y="250031"/>
                  </a:moveTo>
                  <a:cubicBezTo>
                    <a:pt x="2755106" y="242411"/>
                    <a:pt x="2756059" y="236696"/>
                    <a:pt x="2757011" y="230981"/>
                  </a:cubicBezTo>
                  <a:cubicBezTo>
                    <a:pt x="2758916" y="236696"/>
                    <a:pt x="2760821" y="242411"/>
                    <a:pt x="2762726" y="249079"/>
                  </a:cubicBezTo>
                  <a:cubicBezTo>
                    <a:pt x="2761774" y="250031"/>
                    <a:pt x="2761774" y="250984"/>
                    <a:pt x="2760821" y="252889"/>
                  </a:cubicBezTo>
                  <a:cubicBezTo>
                    <a:pt x="2758916" y="255746"/>
                    <a:pt x="2756059" y="260509"/>
                    <a:pt x="2752249" y="267176"/>
                  </a:cubicBezTo>
                  <a:cubicBezTo>
                    <a:pt x="2750344" y="270034"/>
                    <a:pt x="2749391" y="272891"/>
                    <a:pt x="2748439" y="275749"/>
                  </a:cubicBezTo>
                  <a:cubicBezTo>
                    <a:pt x="2748439" y="275749"/>
                    <a:pt x="2748439" y="274796"/>
                    <a:pt x="2747486" y="274796"/>
                  </a:cubicBezTo>
                  <a:cubicBezTo>
                    <a:pt x="2749391" y="265271"/>
                    <a:pt x="2751296" y="256699"/>
                    <a:pt x="2753201" y="250031"/>
                  </a:cubicBezTo>
                  <a:close/>
                  <a:moveTo>
                    <a:pt x="2749391" y="362426"/>
                  </a:moveTo>
                  <a:cubicBezTo>
                    <a:pt x="2748439" y="360521"/>
                    <a:pt x="2747486" y="359569"/>
                    <a:pt x="2746534" y="357664"/>
                  </a:cubicBezTo>
                  <a:cubicBezTo>
                    <a:pt x="2746534" y="356711"/>
                    <a:pt x="2746534" y="355759"/>
                    <a:pt x="2746534" y="354806"/>
                  </a:cubicBezTo>
                  <a:cubicBezTo>
                    <a:pt x="2747486" y="356711"/>
                    <a:pt x="2748439" y="359569"/>
                    <a:pt x="2749391" y="362426"/>
                  </a:cubicBezTo>
                  <a:close/>
                  <a:moveTo>
                    <a:pt x="2734151" y="258604"/>
                  </a:moveTo>
                  <a:cubicBezTo>
                    <a:pt x="2736056" y="262414"/>
                    <a:pt x="2737961" y="268129"/>
                    <a:pt x="2740819" y="273844"/>
                  </a:cubicBezTo>
                  <a:cubicBezTo>
                    <a:pt x="2738914" y="278606"/>
                    <a:pt x="2737009" y="284321"/>
                    <a:pt x="2735104" y="290036"/>
                  </a:cubicBezTo>
                  <a:cubicBezTo>
                    <a:pt x="2735104" y="288131"/>
                    <a:pt x="2734151" y="287179"/>
                    <a:pt x="2734151" y="287179"/>
                  </a:cubicBezTo>
                  <a:cubicBezTo>
                    <a:pt x="2734151" y="287179"/>
                    <a:pt x="2734151" y="289084"/>
                    <a:pt x="2734151" y="291941"/>
                  </a:cubicBezTo>
                  <a:cubicBezTo>
                    <a:pt x="2734151" y="291941"/>
                    <a:pt x="2734151" y="291941"/>
                    <a:pt x="2734151" y="291941"/>
                  </a:cubicBezTo>
                  <a:cubicBezTo>
                    <a:pt x="2733199" y="290989"/>
                    <a:pt x="2733199" y="290036"/>
                    <a:pt x="2732246" y="289084"/>
                  </a:cubicBezTo>
                  <a:cubicBezTo>
                    <a:pt x="2732246" y="288131"/>
                    <a:pt x="2731294" y="287179"/>
                    <a:pt x="2731294" y="286226"/>
                  </a:cubicBezTo>
                  <a:cubicBezTo>
                    <a:pt x="2733199" y="275749"/>
                    <a:pt x="2734151" y="266224"/>
                    <a:pt x="2734151" y="258604"/>
                  </a:cubicBezTo>
                  <a:close/>
                  <a:moveTo>
                    <a:pt x="2715101" y="290989"/>
                  </a:moveTo>
                  <a:cubicBezTo>
                    <a:pt x="2715101" y="284321"/>
                    <a:pt x="2715101" y="278606"/>
                    <a:pt x="2716054" y="273844"/>
                  </a:cubicBezTo>
                  <a:cubicBezTo>
                    <a:pt x="2717006" y="274796"/>
                    <a:pt x="2717006" y="276701"/>
                    <a:pt x="2717959" y="278606"/>
                  </a:cubicBezTo>
                  <a:cubicBezTo>
                    <a:pt x="2717006" y="287179"/>
                    <a:pt x="2717006" y="295751"/>
                    <a:pt x="2716054" y="304324"/>
                  </a:cubicBezTo>
                  <a:cubicBezTo>
                    <a:pt x="2716054" y="304324"/>
                    <a:pt x="2715101" y="303371"/>
                    <a:pt x="2715101" y="303371"/>
                  </a:cubicBezTo>
                  <a:cubicBezTo>
                    <a:pt x="2714149" y="298609"/>
                    <a:pt x="2715101" y="294799"/>
                    <a:pt x="2715101" y="290989"/>
                  </a:cubicBezTo>
                  <a:close/>
                  <a:moveTo>
                    <a:pt x="2705576" y="243364"/>
                  </a:moveTo>
                  <a:cubicBezTo>
                    <a:pt x="2705576" y="244316"/>
                    <a:pt x="2705576" y="246221"/>
                    <a:pt x="2704624" y="247174"/>
                  </a:cubicBezTo>
                  <a:lnTo>
                    <a:pt x="2703671" y="238601"/>
                  </a:lnTo>
                  <a:cubicBezTo>
                    <a:pt x="2704624" y="239554"/>
                    <a:pt x="2705576" y="241459"/>
                    <a:pt x="2705576" y="243364"/>
                  </a:cubicBezTo>
                  <a:close/>
                  <a:moveTo>
                    <a:pt x="2697956" y="312896"/>
                  </a:moveTo>
                  <a:cubicBezTo>
                    <a:pt x="2697956" y="312896"/>
                    <a:pt x="2697956" y="313849"/>
                    <a:pt x="2697956" y="313849"/>
                  </a:cubicBezTo>
                  <a:cubicBezTo>
                    <a:pt x="2697956" y="312896"/>
                    <a:pt x="2697956" y="311944"/>
                    <a:pt x="2697956" y="310991"/>
                  </a:cubicBezTo>
                  <a:lnTo>
                    <a:pt x="2697956" y="312896"/>
                  </a:lnTo>
                  <a:close/>
                  <a:moveTo>
                    <a:pt x="2664619" y="234791"/>
                  </a:moveTo>
                  <a:cubicBezTo>
                    <a:pt x="2665571" y="235744"/>
                    <a:pt x="2665571" y="237649"/>
                    <a:pt x="2666524" y="238601"/>
                  </a:cubicBezTo>
                  <a:cubicBezTo>
                    <a:pt x="2668429" y="253841"/>
                    <a:pt x="2670334" y="270034"/>
                    <a:pt x="2673191" y="287179"/>
                  </a:cubicBezTo>
                  <a:cubicBezTo>
                    <a:pt x="2672239" y="284321"/>
                    <a:pt x="2671286" y="282416"/>
                    <a:pt x="2670334" y="279559"/>
                  </a:cubicBezTo>
                  <a:cubicBezTo>
                    <a:pt x="2670334" y="279559"/>
                    <a:pt x="2670334" y="278606"/>
                    <a:pt x="2670334" y="278606"/>
                  </a:cubicBezTo>
                  <a:cubicBezTo>
                    <a:pt x="2670334" y="276701"/>
                    <a:pt x="2671286" y="276701"/>
                    <a:pt x="2671286" y="276701"/>
                  </a:cubicBezTo>
                  <a:cubicBezTo>
                    <a:pt x="2671286" y="276701"/>
                    <a:pt x="2671286" y="277654"/>
                    <a:pt x="2670334" y="278606"/>
                  </a:cubicBezTo>
                  <a:cubicBezTo>
                    <a:pt x="2669381" y="266224"/>
                    <a:pt x="2667476" y="255746"/>
                    <a:pt x="2664619" y="246221"/>
                  </a:cubicBezTo>
                  <a:cubicBezTo>
                    <a:pt x="2664619" y="244316"/>
                    <a:pt x="2663666" y="242411"/>
                    <a:pt x="2663666" y="240506"/>
                  </a:cubicBezTo>
                  <a:cubicBezTo>
                    <a:pt x="2663666" y="238601"/>
                    <a:pt x="2663666" y="236696"/>
                    <a:pt x="2664619" y="234791"/>
                  </a:cubicBezTo>
                  <a:close/>
                  <a:moveTo>
                    <a:pt x="2657951" y="339566"/>
                  </a:moveTo>
                  <a:cubicBezTo>
                    <a:pt x="2656999" y="338614"/>
                    <a:pt x="2656999" y="337661"/>
                    <a:pt x="2656046" y="336709"/>
                  </a:cubicBezTo>
                  <a:cubicBezTo>
                    <a:pt x="2656999" y="332899"/>
                    <a:pt x="2656999" y="329089"/>
                    <a:pt x="2657951" y="325279"/>
                  </a:cubicBezTo>
                  <a:cubicBezTo>
                    <a:pt x="2658904" y="330041"/>
                    <a:pt x="2657951" y="334804"/>
                    <a:pt x="2657951" y="339566"/>
                  </a:cubicBezTo>
                  <a:close/>
                  <a:moveTo>
                    <a:pt x="2654141" y="277654"/>
                  </a:moveTo>
                  <a:cubicBezTo>
                    <a:pt x="2656046" y="284321"/>
                    <a:pt x="2657951" y="291941"/>
                    <a:pt x="2659856" y="298609"/>
                  </a:cubicBezTo>
                  <a:cubicBezTo>
                    <a:pt x="2659856" y="298609"/>
                    <a:pt x="2659856" y="299561"/>
                    <a:pt x="2659856" y="299561"/>
                  </a:cubicBezTo>
                  <a:cubicBezTo>
                    <a:pt x="2657951" y="304324"/>
                    <a:pt x="2656046" y="310039"/>
                    <a:pt x="2653189" y="316706"/>
                  </a:cubicBezTo>
                  <a:cubicBezTo>
                    <a:pt x="2653189" y="317659"/>
                    <a:pt x="2652236" y="318611"/>
                    <a:pt x="2652236" y="319564"/>
                  </a:cubicBezTo>
                  <a:cubicBezTo>
                    <a:pt x="2651284" y="316706"/>
                    <a:pt x="2651284" y="313849"/>
                    <a:pt x="2650331" y="311944"/>
                  </a:cubicBezTo>
                  <a:cubicBezTo>
                    <a:pt x="2649379" y="308134"/>
                    <a:pt x="2648426" y="305276"/>
                    <a:pt x="2647474" y="301466"/>
                  </a:cubicBezTo>
                  <a:cubicBezTo>
                    <a:pt x="2649379" y="293846"/>
                    <a:pt x="2651284" y="286226"/>
                    <a:pt x="2654141" y="277654"/>
                  </a:cubicBezTo>
                  <a:close/>
                  <a:moveTo>
                    <a:pt x="2633186" y="283369"/>
                  </a:moveTo>
                  <a:cubicBezTo>
                    <a:pt x="2633186" y="284321"/>
                    <a:pt x="2633186" y="284321"/>
                    <a:pt x="2633186" y="285274"/>
                  </a:cubicBezTo>
                  <a:cubicBezTo>
                    <a:pt x="2633186" y="285274"/>
                    <a:pt x="2633186" y="286226"/>
                    <a:pt x="2633186" y="286226"/>
                  </a:cubicBezTo>
                  <a:cubicBezTo>
                    <a:pt x="2633186" y="287179"/>
                    <a:pt x="2632234" y="288131"/>
                    <a:pt x="2632234" y="290036"/>
                  </a:cubicBezTo>
                  <a:cubicBezTo>
                    <a:pt x="2633186" y="287179"/>
                    <a:pt x="2633186" y="285274"/>
                    <a:pt x="2633186" y="283369"/>
                  </a:cubicBezTo>
                  <a:close/>
                  <a:moveTo>
                    <a:pt x="2578894" y="242411"/>
                  </a:moveTo>
                  <a:cubicBezTo>
                    <a:pt x="2578894" y="242411"/>
                    <a:pt x="2578894" y="241459"/>
                    <a:pt x="2577941" y="241459"/>
                  </a:cubicBezTo>
                  <a:cubicBezTo>
                    <a:pt x="2578894" y="239554"/>
                    <a:pt x="2579846" y="237649"/>
                    <a:pt x="2580799" y="235744"/>
                  </a:cubicBezTo>
                  <a:cubicBezTo>
                    <a:pt x="2580799" y="235744"/>
                    <a:pt x="2580799" y="235744"/>
                    <a:pt x="2580799" y="235744"/>
                  </a:cubicBezTo>
                  <a:cubicBezTo>
                    <a:pt x="2580799" y="238601"/>
                    <a:pt x="2579846" y="240506"/>
                    <a:pt x="2578894" y="242411"/>
                  </a:cubicBezTo>
                  <a:close/>
                  <a:moveTo>
                    <a:pt x="2597944" y="275749"/>
                  </a:moveTo>
                  <a:cubicBezTo>
                    <a:pt x="2597944" y="275749"/>
                    <a:pt x="2597944" y="274796"/>
                    <a:pt x="2597944" y="274796"/>
                  </a:cubicBezTo>
                  <a:cubicBezTo>
                    <a:pt x="2597944" y="274796"/>
                    <a:pt x="2598896" y="275749"/>
                    <a:pt x="2597944" y="275749"/>
                  </a:cubicBezTo>
                  <a:cubicBezTo>
                    <a:pt x="2598896" y="275749"/>
                    <a:pt x="2597944" y="275749"/>
                    <a:pt x="2597944" y="275749"/>
                  </a:cubicBezTo>
                  <a:close/>
                  <a:moveTo>
                    <a:pt x="2616041" y="309086"/>
                  </a:moveTo>
                  <a:cubicBezTo>
                    <a:pt x="2615089" y="312896"/>
                    <a:pt x="2614136" y="315754"/>
                    <a:pt x="2613184" y="319564"/>
                  </a:cubicBezTo>
                  <a:cubicBezTo>
                    <a:pt x="2613184" y="318611"/>
                    <a:pt x="2613184" y="318611"/>
                    <a:pt x="2613184" y="318611"/>
                  </a:cubicBezTo>
                  <a:cubicBezTo>
                    <a:pt x="2613184" y="318611"/>
                    <a:pt x="2613184" y="319564"/>
                    <a:pt x="2613184" y="319564"/>
                  </a:cubicBezTo>
                  <a:cubicBezTo>
                    <a:pt x="2613184" y="319564"/>
                    <a:pt x="2613184" y="319564"/>
                    <a:pt x="2613184" y="319564"/>
                  </a:cubicBezTo>
                  <a:cubicBezTo>
                    <a:pt x="2609374" y="309086"/>
                    <a:pt x="2604611" y="298609"/>
                    <a:pt x="2600801" y="289084"/>
                  </a:cubicBezTo>
                  <a:cubicBezTo>
                    <a:pt x="2601754" y="287179"/>
                    <a:pt x="2602706" y="284321"/>
                    <a:pt x="2602706" y="282416"/>
                  </a:cubicBezTo>
                  <a:cubicBezTo>
                    <a:pt x="2605564" y="287179"/>
                    <a:pt x="2609374" y="292894"/>
                    <a:pt x="2612231" y="299561"/>
                  </a:cubicBezTo>
                  <a:cubicBezTo>
                    <a:pt x="2613184" y="302419"/>
                    <a:pt x="2615089" y="305276"/>
                    <a:pt x="2616041" y="308134"/>
                  </a:cubicBezTo>
                  <a:lnTo>
                    <a:pt x="2616041" y="309086"/>
                  </a:lnTo>
                  <a:lnTo>
                    <a:pt x="2616041" y="309086"/>
                  </a:lnTo>
                  <a:close/>
                  <a:moveTo>
                    <a:pt x="2604611" y="276701"/>
                  </a:moveTo>
                  <a:cubicBezTo>
                    <a:pt x="2605564" y="272891"/>
                    <a:pt x="2607469" y="270034"/>
                    <a:pt x="2608421" y="267176"/>
                  </a:cubicBezTo>
                  <a:cubicBezTo>
                    <a:pt x="2609374" y="271939"/>
                    <a:pt x="2612231" y="279559"/>
                    <a:pt x="2615089" y="290036"/>
                  </a:cubicBezTo>
                  <a:cubicBezTo>
                    <a:pt x="2611279" y="285274"/>
                    <a:pt x="2608421" y="280511"/>
                    <a:pt x="2604611" y="276701"/>
                  </a:cubicBezTo>
                  <a:close/>
                  <a:moveTo>
                    <a:pt x="2614136" y="276701"/>
                  </a:moveTo>
                  <a:cubicBezTo>
                    <a:pt x="2612231" y="271939"/>
                    <a:pt x="2610326" y="268129"/>
                    <a:pt x="2609374" y="266224"/>
                  </a:cubicBezTo>
                  <a:cubicBezTo>
                    <a:pt x="2610326" y="263366"/>
                    <a:pt x="2611279" y="260509"/>
                    <a:pt x="2612231" y="257651"/>
                  </a:cubicBezTo>
                  <a:cubicBezTo>
                    <a:pt x="2612231" y="263366"/>
                    <a:pt x="2613184" y="270034"/>
                    <a:pt x="2614136" y="276701"/>
                  </a:cubicBezTo>
                  <a:close/>
                  <a:moveTo>
                    <a:pt x="2606516" y="208121"/>
                  </a:moveTo>
                  <a:cubicBezTo>
                    <a:pt x="2607469" y="221456"/>
                    <a:pt x="2609374" y="235744"/>
                    <a:pt x="2611279" y="250984"/>
                  </a:cubicBezTo>
                  <a:cubicBezTo>
                    <a:pt x="2611279" y="250984"/>
                    <a:pt x="2611279" y="251936"/>
                    <a:pt x="2611279" y="251936"/>
                  </a:cubicBezTo>
                  <a:cubicBezTo>
                    <a:pt x="2608421" y="256699"/>
                    <a:pt x="2604611" y="263366"/>
                    <a:pt x="2600801" y="271939"/>
                  </a:cubicBezTo>
                  <a:cubicBezTo>
                    <a:pt x="2599849" y="270034"/>
                    <a:pt x="2598896" y="269081"/>
                    <a:pt x="2597944" y="268129"/>
                  </a:cubicBezTo>
                  <a:cubicBezTo>
                    <a:pt x="2596991" y="257651"/>
                    <a:pt x="2596039" y="247174"/>
                    <a:pt x="2595086" y="237649"/>
                  </a:cubicBezTo>
                  <a:cubicBezTo>
                    <a:pt x="2595086" y="234791"/>
                    <a:pt x="2594134" y="230981"/>
                    <a:pt x="2594134" y="228124"/>
                  </a:cubicBezTo>
                  <a:cubicBezTo>
                    <a:pt x="2598896" y="207169"/>
                    <a:pt x="2602706" y="190976"/>
                    <a:pt x="2605564" y="179546"/>
                  </a:cubicBezTo>
                  <a:cubicBezTo>
                    <a:pt x="2604611" y="188119"/>
                    <a:pt x="2605564" y="197644"/>
                    <a:pt x="2606516" y="208121"/>
                  </a:cubicBezTo>
                  <a:close/>
                  <a:moveTo>
                    <a:pt x="2586514" y="186214"/>
                  </a:moveTo>
                  <a:cubicBezTo>
                    <a:pt x="2591276" y="175736"/>
                    <a:pt x="2595086" y="167164"/>
                    <a:pt x="2598896" y="159544"/>
                  </a:cubicBezTo>
                  <a:cubicBezTo>
                    <a:pt x="2599849" y="157639"/>
                    <a:pt x="2600801" y="155734"/>
                    <a:pt x="2601754" y="153829"/>
                  </a:cubicBezTo>
                  <a:cubicBezTo>
                    <a:pt x="2602706" y="159544"/>
                    <a:pt x="2602706" y="166211"/>
                    <a:pt x="2603659" y="173831"/>
                  </a:cubicBezTo>
                  <a:cubicBezTo>
                    <a:pt x="2600801" y="182404"/>
                    <a:pt x="2596039" y="194786"/>
                    <a:pt x="2590324" y="210979"/>
                  </a:cubicBezTo>
                  <a:cubicBezTo>
                    <a:pt x="2589371" y="202406"/>
                    <a:pt x="2587466" y="194786"/>
                    <a:pt x="2586514" y="187166"/>
                  </a:cubicBezTo>
                  <a:cubicBezTo>
                    <a:pt x="2586514" y="187166"/>
                    <a:pt x="2586514" y="187166"/>
                    <a:pt x="2586514" y="186214"/>
                  </a:cubicBezTo>
                  <a:close/>
                  <a:moveTo>
                    <a:pt x="2584609" y="408146"/>
                  </a:moveTo>
                  <a:cubicBezTo>
                    <a:pt x="2584609" y="408146"/>
                    <a:pt x="2584609" y="409099"/>
                    <a:pt x="2584609" y="408146"/>
                  </a:cubicBezTo>
                  <a:cubicBezTo>
                    <a:pt x="2583656" y="403384"/>
                    <a:pt x="2582704" y="398621"/>
                    <a:pt x="2581751" y="393859"/>
                  </a:cubicBezTo>
                  <a:cubicBezTo>
                    <a:pt x="2582704" y="398621"/>
                    <a:pt x="2583656" y="403384"/>
                    <a:pt x="2584609" y="408146"/>
                  </a:cubicBezTo>
                  <a:close/>
                  <a:moveTo>
                    <a:pt x="2580799" y="199549"/>
                  </a:moveTo>
                  <a:cubicBezTo>
                    <a:pt x="2580799" y="208121"/>
                    <a:pt x="2581751" y="217646"/>
                    <a:pt x="2581751" y="228124"/>
                  </a:cubicBezTo>
                  <a:cubicBezTo>
                    <a:pt x="2580799" y="229076"/>
                    <a:pt x="2579846" y="230029"/>
                    <a:pt x="2578894" y="231934"/>
                  </a:cubicBezTo>
                  <a:cubicBezTo>
                    <a:pt x="2577941" y="232886"/>
                    <a:pt x="2576989" y="234791"/>
                    <a:pt x="2575084" y="236696"/>
                  </a:cubicBezTo>
                  <a:cubicBezTo>
                    <a:pt x="2574131" y="235744"/>
                    <a:pt x="2574131" y="234791"/>
                    <a:pt x="2573179" y="233839"/>
                  </a:cubicBezTo>
                  <a:cubicBezTo>
                    <a:pt x="2573179" y="231934"/>
                    <a:pt x="2573179" y="230981"/>
                    <a:pt x="2572226" y="229076"/>
                  </a:cubicBezTo>
                  <a:cubicBezTo>
                    <a:pt x="2572226" y="226219"/>
                    <a:pt x="2571274" y="222409"/>
                    <a:pt x="2571274" y="219551"/>
                  </a:cubicBezTo>
                  <a:cubicBezTo>
                    <a:pt x="2575084" y="211931"/>
                    <a:pt x="2577941" y="206216"/>
                    <a:pt x="2580799" y="199549"/>
                  </a:cubicBezTo>
                  <a:close/>
                  <a:moveTo>
                    <a:pt x="2569369" y="320516"/>
                  </a:moveTo>
                  <a:cubicBezTo>
                    <a:pt x="2569369" y="322421"/>
                    <a:pt x="2570321" y="325279"/>
                    <a:pt x="2570321" y="327184"/>
                  </a:cubicBezTo>
                  <a:cubicBezTo>
                    <a:pt x="2570321" y="328136"/>
                    <a:pt x="2570321" y="329089"/>
                    <a:pt x="2571274" y="330041"/>
                  </a:cubicBezTo>
                  <a:cubicBezTo>
                    <a:pt x="2568416" y="334804"/>
                    <a:pt x="2566511" y="339566"/>
                    <a:pt x="2563654" y="345281"/>
                  </a:cubicBezTo>
                  <a:cubicBezTo>
                    <a:pt x="2563654" y="344329"/>
                    <a:pt x="2562701" y="343376"/>
                    <a:pt x="2562701" y="342424"/>
                  </a:cubicBezTo>
                  <a:cubicBezTo>
                    <a:pt x="2565559" y="334804"/>
                    <a:pt x="2567464" y="328136"/>
                    <a:pt x="2569369" y="320516"/>
                  </a:cubicBezTo>
                  <a:close/>
                  <a:moveTo>
                    <a:pt x="2556034" y="262414"/>
                  </a:moveTo>
                  <a:cubicBezTo>
                    <a:pt x="2556986" y="258604"/>
                    <a:pt x="2558891" y="255746"/>
                    <a:pt x="2559844" y="251936"/>
                  </a:cubicBezTo>
                  <a:cubicBezTo>
                    <a:pt x="2559844" y="253841"/>
                    <a:pt x="2559844" y="255746"/>
                    <a:pt x="2560796" y="257651"/>
                  </a:cubicBezTo>
                  <a:cubicBezTo>
                    <a:pt x="2560796" y="258604"/>
                    <a:pt x="2559844" y="258604"/>
                    <a:pt x="2559844" y="259556"/>
                  </a:cubicBezTo>
                  <a:cubicBezTo>
                    <a:pt x="2557939" y="262414"/>
                    <a:pt x="2556034" y="266224"/>
                    <a:pt x="2554129" y="269081"/>
                  </a:cubicBezTo>
                  <a:cubicBezTo>
                    <a:pt x="2554129" y="266224"/>
                    <a:pt x="2555081" y="264319"/>
                    <a:pt x="2556034" y="262414"/>
                  </a:cubicBezTo>
                  <a:close/>
                  <a:moveTo>
                    <a:pt x="2561749" y="276701"/>
                  </a:moveTo>
                  <a:cubicBezTo>
                    <a:pt x="2561749" y="275749"/>
                    <a:pt x="2561749" y="275749"/>
                    <a:pt x="2562701" y="274796"/>
                  </a:cubicBezTo>
                  <a:cubicBezTo>
                    <a:pt x="2563654" y="278606"/>
                    <a:pt x="2563654" y="283369"/>
                    <a:pt x="2564606" y="287179"/>
                  </a:cubicBezTo>
                  <a:cubicBezTo>
                    <a:pt x="2562701" y="293846"/>
                    <a:pt x="2559844" y="301466"/>
                    <a:pt x="2557939" y="309086"/>
                  </a:cubicBezTo>
                  <a:cubicBezTo>
                    <a:pt x="2556986" y="310991"/>
                    <a:pt x="2556986" y="312896"/>
                    <a:pt x="2556034" y="313849"/>
                  </a:cubicBezTo>
                  <a:cubicBezTo>
                    <a:pt x="2555081" y="308134"/>
                    <a:pt x="2554129" y="302419"/>
                    <a:pt x="2553176" y="296704"/>
                  </a:cubicBezTo>
                  <a:cubicBezTo>
                    <a:pt x="2556034" y="290036"/>
                    <a:pt x="2558891" y="282416"/>
                    <a:pt x="2561749" y="276701"/>
                  </a:cubicBezTo>
                  <a:close/>
                  <a:moveTo>
                    <a:pt x="2538889" y="252889"/>
                  </a:moveTo>
                  <a:cubicBezTo>
                    <a:pt x="2539841" y="249079"/>
                    <a:pt x="2539841" y="245269"/>
                    <a:pt x="2540794" y="242411"/>
                  </a:cubicBezTo>
                  <a:cubicBezTo>
                    <a:pt x="2540794" y="241459"/>
                    <a:pt x="2541746" y="239554"/>
                    <a:pt x="2542699" y="238601"/>
                  </a:cubicBezTo>
                  <a:cubicBezTo>
                    <a:pt x="2543651" y="236696"/>
                    <a:pt x="2543651" y="234791"/>
                    <a:pt x="2544604" y="233839"/>
                  </a:cubicBezTo>
                  <a:cubicBezTo>
                    <a:pt x="2544604" y="237649"/>
                    <a:pt x="2543651" y="242411"/>
                    <a:pt x="2543651" y="248126"/>
                  </a:cubicBezTo>
                  <a:cubicBezTo>
                    <a:pt x="2543651" y="250984"/>
                    <a:pt x="2543651" y="253841"/>
                    <a:pt x="2542699" y="257651"/>
                  </a:cubicBezTo>
                  <a:cubicBezTo>
                    <a:pt x="2540794" y="261461"/>
                    <a:pt x="2539841" y="264319"/>
                    <a:pt x="2537936" y="268129"/>
                  </a:cubicBezTo>
                  <a:cubicBezTo>
                    <a:pt x="2537936" y="263366"/>
                    <a:pt x="2537936" y="257651"/>
                    <a:pt x="2538889" y="252889"/>
                  </a:cubicBezTo>
                  <a:close/>
                  <a:moveTo>
                    <a:pt x="2521744" y="475774"/>
                  </a:moveTo>
                  <a:cubicBezTo>
                    <a:pt x="2521744" y="478631"/>
                    <a:pt x="2522696" y="481489"/>
                    <a:pt x="2522696" y="484346"/>
                  </a:cubicBezTo>
                  <a:cubicBezTo>
                    <a:pt x="2521744" y="482441"/>
                    <a:pt x="2521744" y="481489"/>
                    <a:pt x="2520791" y="479584"/>
                  </a:cubicBezTo>
                  <a:cubicBezTo>
                    <a:pt x="2521744" y="478631"/>
                    <a:pt x="2521744" y="477679"/>
                    <a:pt x="2521744" y="475774"/>
                  </a:cubicBezTo>
                  <a:close/>
                  <a:moveTo>
                    <a:pt x="2514124" y="323374"/>
                  </a:moveTo>
                  <a:cubicBezTo>
                    <a:pt x="2514124" y="323374"/>
                    <a:pt x="2515076" y="323374"/>
                    <a:pt x="2514124" y="323374"/>
                  </a:cubicBezTo>
                  <a:cubicBezTo>
                    <a:pt x="2514124" y="325279"/>
                    <a:pt x="2513171" y="326231"/>
                    <a:pt x="2513171" y="328136"/>
                  </a:cubicBezTo>
                  <a:cubicBezTo>
                    <a:pt x="2513171" y="328136"/>
                    <a:pt x="2513171" y="328136"/>
                    <a:pt x="2513171" y="329089"/>
                  </a:cubicBezTo>
                  <a:cubicBezTo>
                    <a:pt x="2513171" y="326231"/>
                    <a:pt x="2514124" y="324326"/>
                    <a:pt x="2514124" y="323374"/>
                  </a:cubicBezTo>
                  <a:close/>
                  <a:moveTo>
                    <a:pt x="2509361" y="300514"/>
                  </a:moveTo>
                  <a:cubicBezTo>
                    <a:pt x="2509361" y="301466"/>
                    <a:pt x="2509361" y="301466"/>
                    <a:pt x="2508409" y="302419"/>
                  </a:cubicBezTo>
                  <a:cubicBezTo>
                    <a:pt x="2508409" y="302419"/>
                    <a:pt x="2508409" y="302419"/>
                    <a:pt x="2508409" y="302419"/>
                  </a:cubicBezTo>
                  <a:cubicBezTo>
                    <a:pt x="2508409" y="299561"/>
                    <a:pt x="2507456" y="297656"/>
                    <a:pt x="2507456" y="294799"/>
                  </a:cubicBezTo>
                  <a:cubicBezTo>
                    <a:pt x="2508409" y="296704"/>
                    <a:pt x="2509361" y="298609"/>
                    <a:pt x="2509361" y="300514"/>
                  </a:cubicBezTo>
                  <a:close/>
                  <a:moveTo>
                    <a:pt x="2496979" y="292894"/>
                  </a:moveTo>
                  <a:cubicBezTo>
                    <a:pt x="2497931" y="290989"/>
                    <a:pt x="2497931" y="290036"/>
                    <a:pt x="2497931" y="290036"/>
                  </a:cubicBezTo>
                  <a:cubicBezTo>
                    <a:pt x="2497931" y="290036"/>
                    <a:pt x="2497931" y="290989"/>
                    <a:pt x="2496979" y="290989"/>
                  </a:cubicBezTo>
                  <a:cubicBezTo>
                    <a:pt x="2496979" y="289084"/>
                    <a:pt x="2496979" y="286226"/>
                    <a:pt x="2497931" y="284321"/>
                  </a:cubicBezTo>
                  <a:cubicBezTo>
                    <a:pt x="2497931" y="278606"/>
                    <a:pt x="2498884" y="272891"/>
                    <a:pt x="2498884" y="269081"/>
                  </a:cubicBezTo>
                  <a:cubicBezTo>
                    <a:pt x="2498884" y="268129"/>
                    <a:pt x="2498884" y="267176"/>
                    <a:pt x="2498884" y="266224"/>
                  </a:cubicBezTo>
                  <a:cubicBezTo>
                    <a:pt x="2499836" y="270034"/>
                    <a:pt x="2500789" y="273844"/>
                    <a:pt x="2502694" y="277654"/>
                  </a:cubicBezTo>
                  <a:cubicBezTo>
                    <a:pt x="2502694" y="279559"/>
                    <a:pt x="2502694" y="281464"/>
                    <a:pt x="2502694" y="283369"/>
                  </a:cubicBezTo>
                  <a:cubicBezTo>
                    <a:pt x="2502694" y="288131"/>
                    <a:pt x="2501741" y="294799"/>
                    <a:pt x="2501741" y="302419"/>
                  </a:cubicBezTo>
                  <a:cubicBezTo>
                    <a:pt x="2501741" y="306229"/>
                    <a:pt x="2501741" y="310039"/>
                    <a:pt x="2501741" y="313849"/>
                  </a:cubicBezTo>
                  <a:cubicBezTo>
                    <a:pt x="2501741" y="317659"/>
                    <a:pt x="2500789" y="321469"/>
                    <a:pt x="2500789" y="325279"/>
                  </a:cubicBezTo>
                  <a:cubicBezTo>
                    <a:pt x="2500789" y="325279"/>
                    <a:pt x="2500789" y="326231"/>
                    <a:pt x="2500789" y="326231"/>
                  </a:cubicBezTo>
                  <a:cubicBezTo>
                    <a:pt x="2500789" y="322421"/>
                    <a:pt x="2499836" y="319564"/>
                    <a:pt x="2499836" y="315754"/>
                  </a:cubicBezTo>
                  <a:cubicBezTo>
                    <a:pt x="2499836" y="313849"/>
                    <a:pt x="2499836" y="311944"/>
                    <a:pt x="2499836" y="310039"/>
                  </a:cubicBezTo>
                  <a:cubicBezTo>
                    <a:pt x="2499836" y="305276"/>
                    <a:pt x="2500789" y="300514"/>
                    <a:pt x="2500789" y="297656"/>
                  </a:cubicBezTo>
                  <a:cubicBezTo>
                    <a:pt x="2500789" y="290989"/>
                    <a:pt x="2500789" y="286226"/>
                    <a:pt x="2500789" y="286226"/>
                  </a:cubicBezTo>
                  <a:cubicBezTo>
                    <a:pt x="2500789" y="286226"/>
                    <a:pt x="2498884" y="289084"/>
                    <a:pt x="2496979" y="292894"/>
                  </a:cubicBezTo>
                  <a:cubicBezTo>
                    <a:pt x="2496979" y="293846"/>
                    <a:pt x="2496979" y="293846"/>
                    <a:pt x="2496979" y="292894"/>
                  </a:cubicBezTo>
                  <a:close/>
                  <a:moveTo>
                    <a:pt x="2449354" y="334804"/>
                  </a:moveTo>
                  <a:cubicBezTo>
                    <a:pt x="2448401" y="332899"/>
                    <a:pt x="2448401" y="330041"/>
                    <a:pt x="2447449" y="328136"/>
                  </a:cubicBezTo>
                  <a:cubicBezTo>
                    <a:pt x="2448401" y="326231"/>
                    <a:pt x="2449354" y="323374"/>
                    <a:pt x="2450306" y="321469"/>
                  </a:cubicBezTo>
                  <a:cubicBezTo>
                    <a:pt x="2450306" y="321469"/>
                    <a:pt x="2450306" y="322421"/>
                    <a:pt x="2450306" y="322421"/>
                  </a:cubicBezTo>
                  <a:cubicBezTo>
                    <a:pt x="2450306" y="323374"/>
                    <a:pt x="2450306" y="323374"/>
                    <a:pt x="2451259" y="324326"/>
                  </a:cubicBezTo>
                  <a:cubicBezTo>
                    <a:pt x="2450306" y="327184"/>
                    <a:pt x="2449354" y="330994"/>
                    <a:pt x="2449354" y="334804"/>
                  </a:cubicBezTo>
                  <a:close/>
                  <a:moveTo>
                    <a:pt x="2450306" y="254794"/>
                  </a:moveTo>
                  <a:cubicBezTo>
                    <a:pt x="2450306" y="253841"/>
                    <a:pt x="2451259" y="252889"/>
                    <a:pt x="2451259" y="251936"/>
                  </a:cubicBezTo>
                  <a:cubicBezTo>
                    <a:pt x="2451259" y="251936"/>
                    <a:pt x="2451259" y="251936"/>
                    <a:pt x="2451259" y="250984"/>
                  </a:cubicBezTo>
                  <a:cubicBezTo>
                    <a:pt x="2451259" y="250984"/>
                    <a:pt x="2451259" y="251936"/>
                    <a:pt x="2451259" y="251936"/>
                  </a:cubicBezTo>
                  <a:cubicBezTo>
                    <a:pt x="2451259" y="252889"/>
                    <a:pt x="2451259" y="253841"/>
                    <a:pt x="2450306" y="254794"/>
                  </a:cubicBezTo>
                  <a:close/>
                  <a:moveTo>
                    <a:pt x="2452211" y="251936"/>
                  </a:moveTo>
                  <a:cubicBezTo>
                    <a:pt x="2452211" y="251936"/>
                    <a:pt x="2452211" y="250984"/>
                    <a:pt x="2451259" y="250984"/>
                  </a:cubicBezTo>
                  <a:cubicBezTo>
                    <a:pt x="2453164" y="246221"/>
                    <a:pt x="2454116" y="242411"/>
                    <a:pt x="2456021" y="238601"/>
                  </a:cubicBezTo>
                  <a:cubicBezTo>
                    <a:pt x="2457926" y="236696"/>
                    <a:pt x="2458879" y="233839"/>
                    <a:pt x="2460784" y="231934"/>
                  </a:cubicBezTo>
                  <a:cubicBezTo>
                    <a:pt x="2460784" y="232886"/>
                    <a:pt x="2459831" y="234791"/>
                    <a:pt x="2459831" y="235744"/>
                  </a:cubicBezTo>
                  <a:cubicBezTo>
                    <a:pt x="2458879" y="239554"/>
                    <a:pt x="2456974" y="243364"/>
                    <a:pt x="2456021" y="248126"/>
                  </a:cubicBezTo>
                  <a:cubicBezTo>
                    <a:pt x="2455069" y="248126"/>
                    <a:pt x="2454116" y="250031"/>
                    <a:pt x="2452211" y="251936"/>
                  </a:cubicBezTo>
                  <a:close/>
                  <a:moveTo>
                    <a:pt x="2457926" y="266224"/>
                  </a:moveTo>
                  <a:cubicBezTo>
                    <a:pt x="2457926" y="267176"/>
                    <a:pt x="2456974" y="267176"/>
                    <a:pt x="2456974" y="268129"/>
                  </a:cubicBezTo>
                  <a:cubicBezTo>
                    <a:pt x="2457926" y="267176"/>
                    <a:pt x="2457926" y="266224"/>
                    <a:pt x="2457926" y="266224"/>
                  </a:cubicBezTo>
                  <a:cubicBezTo>
                    <a:pt x="2457926" y="265271"/>
                    <a:pt x="2457926" y="266224"/>
                    <a:pt x="2457926" y="266224"/>
                  </a:cubicBezTo>
                  <a:close/>
                  <a:moveTo>
                    <a:pt x="2457926" y="374809"/>
                  </a:moveTo>
                  <a:cubicBezTo>
                    <a:pt x="2456974" y="371951"/>
                    <a:pt x="2456974" y="369094"/>
                    <a:pt x="2456021" y="367189"/>
                  </a:cubicBezTo>
                  <a:cubicBezTo>
                    <a:pt x="2456021" y="365284"/>
                    <a:pt x="2456021" y="364331"/>
                    <a:pt x="2456021" y="362426"/>
                  </a:cubicBezTo>
                  <a:cubicBezTo>
                    <a:pt x="2456021" y="355759"/>
                    <a:pt x="2456021" y="350044"/>
                    <a:pt x="2456021" y="344329"/>
                  </a:cubicBezTo>
                  <a:cubicBezTo>
                    <a:pt x="2456974" y="347186"/>
                    <a:pt x="2457926" y="350996"/>
                    <a:pt x="2458879" y="354806"/>
                  </a:cubicBezTo>
                  <a:cubicBezTo>
                    <a:pt x="2459831" y="361474"/>
                    <a:pt x="2458879" y="368141"/>
                    <a:pt x="2457926" y="374809"/>
                  </a:cubicBezTo>
                  <a:close/>
                  <a:moveTo>
                    <a:pt x="2456974" y="308134"/>
                  </a:moveTo>
                  <a:cubicBezTo>
                    <a:pt x="2456974" y="307181"/>
                    <a:pt x="2456974" y="306229"/>
                    <a:pt x="2456974" y="305276"/>
                  </a:cubicBezTo>
                  <a:cubicBezTo>
                    <a:pt x="2456974" y="304324"/>
                    <a:pt x="2457926" y="303371"/>
                    <a:pt x="2457926" y="302419"/>
                  </a:cubicBezTo>
                  <a:cubicBezTo>
                    <a:pt x="2458879" y="306229"/>
                    <a:pt x="2458879" y="310039"/>
                    <a:pt x="2459831" y="313849"/>
                  </a:cubicBezTo>
                  <a:cubicBezTo>
                    <a:pt x="2459831" y="314801"/>
                    <a:pt x="2459831" y="315754"/>
                    <a:pt x="2460784" y="317659"/>
                  </a:cubicBezTo>
                  <a:cubicBezTo>
                    <a:pt x="2458879" y="313849"/>
                    <a:pt x="2457926" y="310991"/>
                    <a:pt x="2456974" y="308134"/>
                  </a:cubicBezTo>
                  <a:close/>
                  <a:moveTo>
                    <a:pt x="2458879" y="290036"/>
                  </a:moveTo>
                  <a:cubicBezTo>
                    <a:pt x="2458879" y="289084"/>
                    <a:pt x="2459831" y="288131"/>
                    <a:pt x="2459831" y="287179"/>
                  </a:cubicBezTo>
                  <a:cubicBezTo>
                    <a:pt x="2460784" y="284321"/>
                    <a:pt x="2461736" y="280511"/>
                    <a:pt x="2463641" y="277654"/>
                  </a:cubicBezTo>
                  <a:cubicBezTo>
                    <a:pt x="2464594" y="278606"/>
                    <a:pt x="2464594" y="280511"/>
                    <a:pt x="2465546" y="281464"/>
                  </a:cubicBezTo>
                  <a:cubicBezTo>
                    <a:pt x="2463641" y="284321"/>
                    <a:pt x="2461736" y="287179"/>
                    <a:pt x="2458879" y="290036"/>
                  </a:cubicBezTo>
                  <a:close/>
                  <a:moveTo>
                    <a:pt x="2464594" y="305276"/>
                  </a:moveTo>
                  <a:cubicBezTo>
                    <a:pt x="2463641" y="301466"/>
                    <a:pt x="2462689" y="298609"/>
                    <a:pt x="2460784" y="295751"/>
                  </a:cubicBezTo>
                  <a:cubicBezTo>
                    <a:pt x="2460784" y="294799"/>
                    <a:pt x="2461736" y="293846"/>
                    <a:pt x="2462689" y="292894"/>
                  </a:cubicBezTo>
                  <a:cubicBezTo>
                    <a:pt x="2464594" y="290036"/>
                    <a:pt x="2465546" y="287179"/>
                    <a:pt x="2466499" y="285274"/>
                  </a:cubicBezTo>
                  <a:cubicBezTo>
                    <a:pt x="2465546" y="290989"/>
                    <a:pt x="2465546" y="297656"/>
                    <a:pt x="2464594" y="305276"/>
                  </a:cubicBezTo>
                  <a:close/>
                  <a:moveTo>
                    <a:pt x="2467451" y="274796"/>
                  </a:moveTo>
                  <a:cubicBezTo>
                    <a:pt x="2467451" y="273844"/>
                    <a:pt x="2466499" y="272891"/>
                    <a:pt x="2466499" y="272891"/>
                  </a:cubicBezTo>
                  <a:cubicBezTo>
                    <a:pt x="2467451" y="270986"/>
                    <a:pt x="2467451" y="270034"/>
                    <a:pt x="2468404" y="268129"/>
                  </a:cubicBezTo>
                  <a:cubicBezTo>
                    <a:pt x="2468404" y="270034"/>
                    <a:pt x="2467451" y="272891"/>
                    <a:pt x="2467451" y="274796"/>
                  </a:cubicBezTo>
                  <a:close/>
                  <a:moveTo>
                    <a:pt x="2471261" y="233839"/>
                  </a:moveTo>
                  <a:cubicBezTo>
                    <a:pt x="2471261" y="233839"/>
                    <a:pt x="2471261" y="237649"/>
                    <a:pt x="2470309" y="245269"/>
                  </a:cubicBezTo>
                  <a:cubicBezTo>
                    <a:pt x="2470309" y="245269"/>
                    <a:pt x="2470309" y="246221"/>
                    <a:pt x="2469356" y="246221"/>
                  </a:cubicBezTo>
                  <a:cubicBezTo>
                    <a:pt x="2466499" y="251936"/>
                    <a:pt x="2462689" y="256699"/>
                    <a:pt x="2459831" y="263366"/>
                  </a:cubicBezTo>
                  <a:cubicBezTo>
                    <a:pt x="2459831" y="262414"/>
                    <a:pt x="2458879" y="262414"/>
                    <a:pt x="2458879" y="261461"/>
                  </a:cubicBezTo>
                  <a:cubicBezTo>
                    <a:pt x="2459831" y="256699"/>
                    <a:pt x="2460784" y="250984"/>
                    <a:pt x="2461736" y="247174"/>
                  </a:cubicBezTo>
                  <a:cubicBezTo>
                    <a:pt x="2461736" y="246221"/>
                    <a:pt x="2462689" y="246221"/>
                    <a:pt x="2462689" y="245269"/>
                  </a:cubicBezTo>
                  <a:cubicBezTo>
                    <a:pt x="2466499" y="239554"/>
                    <a:pt x="2469356" y="234791"/>
                    <a:pt x="2472214" y="231934"/>
                  </a:cubicBezTo>
                  <a:cubicBezTo>
                    <a:pt x="2472214" y="231934"/>
                    <a:pt x="2472214" y="231934"/>
                    <a:pt x="2472214" y="231934"/>
                  </a:cubicBezTo>
                  <a:cubicBezTo>
                    <a:pt x="2472214" y="234791"/>
                    <a:pt x="2473166" y="237649"/>
                    <a:pt x="2473166" y="240506"/>
                  </a:cubicBezTo>
                  <a:cubicBezTo>
                    <a:pt x="2473166" y="241459"/>
                    <a:pt x="2472214" y="241459"/>
                    <a:pt x="2472214" y="242411"/>
                  </a:cubicBezTo>
                  <a:cubicBezTo>
                    <a:pt x="2472214" y="236696"/>
                    <a:pt x="2471261" y="233839"/>
                    <a:pt x="2471261" y="233839"/>
                  </a:cubicBezTo>
                  <a:close/>
                  <a:moveTo>
                    <a:pt x="2467451" y="211931"/>
                  </a:moveTo>
                  <a:cubicBezTo>
                    <a:pt x="2466499" y="212884"/>
                    <a:pt x="2466499" y="212884"/>
                    <a:pt x="2465546" y="213836"/>
                  </a:cubicBezTo>
                  <a:cubicBezTo>
                    <a:pt x="2465546" y="212884"/>
                    <a:pt x="2465546" y="212884"/>
                    <a:pt x="2466499" y="211931"/>
                  </a:cubicBezTo>
                  <a:cubicBezTo>
                    <a:pt x="2467451" y="210026"/>
                    <a:pt x="2467451" y="209074"/>
                    <a:pt x="2468404" y="208121"/>
                  </a:cubicBezTo>
                  <a:cubicBezTo>
                    <a:pt x="2468404" y="209074"/>
                    <a:pt x="2468404" y="210026"/>
                    <a:pt x="2468404" y="210979"/>
                  </a:cubicBezTo>
                  <a:cubicBezTo>
                    <a:pt x="2468404" y="210979"/>
                    <a:pt x="2468404" y="210979"/>
                    <a:pt x="2467451" y="211931"/>
                  </a:cubicBezTo>
                  <a:cubicBezTo>
                    <a:pt x="2468404" y="210979"/>
                    <a:pt x="2468404" y="210979"/>
                    <a:pt x="2467451" y="211931"/>
                  </a:cubicBezTo>
                  <a:cubicBezTo>
                    <a:pt x="2468404" y="210979"/>
                    <a:pt x="2467451" y="210979"/>
                    <a:pt x="2467451" y="211931"/>
                  </a:cubicBezTo>
                  <a:close/>
                  <a:moveTo>
                    <a:pt x="2470309" y="218599"/>
                  </a:moveTo>
                  <a:cubicBezTo>
                    <a:pt x="2471261" y="222409"/>
                    <a:pt x="2471261" y="226219"/>
                    <a:pt x="2472214" y="230029"/>
                  </a:cubicBezTo>
                  <a:cubicBezTo>
                    <a:pt x="2472214" y="230029"/>
                    <a:pt x="2472214" y="230029"/>
                    <a:pt x="2472214" y="230029"/>
                  </a:cubicBezTo>
                  <a:cubicBezTo>
                    <a:pt x="2470309" y="231934"/>
                    <a:pt x="2467451" y="234791"/>
                    <a:pt x="2463641" y="237649"/>
                  </a:cubicBezTo>
                  <a:cubicBezTo>
                    <a:pt x="2463641" y="236696"/>
                    <a:pt x="2463641" y="235744"/>
                    <a:pt x="2464594" y="234791"/>
                  </a:cubicBezTo>
                  <a:cubicBezTo>
                    <a:pt x="2465546" y="230981"/>
                    <a:pt x="2465546" y="227171"/>
                    <a:pt x="2466499" y="224314"/>
                  </a:cubicBezTo>
                  <a:cubicBezTo>
                    <a:pt x="2466499" y="224314"/>
                    <a:pt x="2466499" y="224314"/>
                    <a:pt x="2466499" y="224314"/>
                  </a:cubicBezTo>
                  <a:cubicBezTo>
                    <a:pt x="2467451" y="223361"/>
                    <a:pt x="2468404" y="220504"/>
                    <a:pt x="2470309" y="218599"/>
                  </a:cubicBezTo>
                  <a:close/>
                  <a:moveTo>
                    <a:pt x="2477929" y="223361"/>
                  </a:moveTo>
                  <a:cubicBezTo>
                    <a:pt x="2476976" y="219551"/>
                    <a:pt x="2476024" y="215741"/>
                    <a:pt x="2475071" y="212884"/>
                  </a:cubicBezTo>
                  <a:cubicBezTo>
                    <a:pt x="2476024" y="211931"/>
                    <a:pt x="2476976" y="210026"/>
                    <a:pt x="2477929" y="209074"/>
                  </a:cubicBezTo>
                  <a:cubicBezTo>
                    <a:pt x="2477929" y="211931"/>
                    <a:pt x="2477929" y="214789"/>
                    <a:pt x="2477929" y="217646"/>
                  </a:cubicBezTo>
                  <a:cubicBezTo>
                    <a:pt x="2477929" y="219551"/>
                    <a:pt x="2477929" y="221456"/>
                    <a:pt x="2477929" y="223361"/>
                  </a:cubicBezTo>
                  <a:close/>
                  <a:moveTo>
                    <a:pt x="2473166" y="206216"/>
                  </a:moveTo>
                  <a:cubicBezTo>
                    <a:pt x="2473166" y="205264"/>
                    <a:pt x="2472214" y="204311"/>
                    <a:pt x="2472214" y="203359"/>
                  </a:cubicBezTo>
                  <a:cubicBezTo>
                    <a:pt x="2472214" y="202406"/>
                    <a:pt x="2472214" y="202406"/>
                    <a:pt x="2471261" y="201454"/>
                  </a:cubicBezTo>
                  <a:cubicBezTo>
                    <a:pt x="2472214" y="199549"/>
                    <a:pt x="2473166" y="197644"/>
                    <a:pt x="2474119" y="195739"/>
                  </a:cubicBezTo>
                  <a:cubicBezTo>
                    <a:pt x="2475071" y="193834"/>
                    <a:pt x="2476976" y="190976"/>
                    <a:pt x="2477929" y="189071"/>
                  </a:cubicBezTo>
                  <a:cubicBezTo>
                    <a:pt x="2477929" y="192881"/>
                    <a:pt x="2477929" y="197644"/>
                    <a:pt x="2477929" y="201454"/>
                  </a:cubicBezTo>
                  <a:cubicBezTo>
                    <a:pt x="2476024" y="203359"/>
                    <a:pt x="2474119" y="205264"/>
                    <a:pt x="2473166" y="206216"/>
                  </a:cubicBezTo>
                  <a:close/>
                  <a:moveTo>
                    <a:pt x="2473166" y="255746"/>
                  </a:moveTo>
                  <a:cubicBezTo>
                    <a:pt x="2474119" y="254794"/>
                    <a:pt x="2474119" y="252889"/>
                    <a:pt x="2475071" y="251936"/>
                  </a:cubicBezTo>
                  <a:cubicBezTo>
                    <a:pt x="2476024" y="256699"/>
                    <a:pt x="2476024" y="261461"/>
                    <a:pt x="2476976" y="266224"/>
                  </a:cubicBezTo>
                  <a:cubicBezTo>
                    <a:pt x="2477929" y="274796"/>
                    <a:pt x="2478881" y="283369"/>
                    <a:pt x="2479834" y="292894"/>
                  </a:cubicBezTo>
                  <a:cubicBezTo>
                    <a:pt x="2479834" y="293846"/>
                    <a:pt x="2479834" y="295751"/>
                    <a:pt x="2479834" y="296704"/>
                  </a:cubicBezTo>
                  <a:cubicBezTo>
                    <a:pt x="2479834" y="296704"/>
                    <a:pt x="2479834" y="295751"/>
                    <a:pt x="2479834" y="295751"/>
                  </a:cubicBezTo>
                  <a:cubicBezTo>
                    <a:pt x="2477929" y="292894"/>
                    <a:pt x="2476976" y="290036"/>
                    <a:pt x="2475071" y="288131"/>
                  </a:cubicBezTo>
                  <a:cubicBezTo>
                    <a:pt x="2475071" y="275749"/>
                    <a:pt x="2474119" y="264319"/>
                    <a:pt x="2473166" y="255746"/>
                  </a:cubicBezTo>
                  <a:close/>
                  <a:moveTo>
                    <a:pt x="2481739" y="324326"/>
                  </a:moveTo>
                  <a:cubicBezTo>
                    <a:pt x="2481739" y="325279"/>
                    <a:pt x="2480786" y="325279"/>
                    <a:pt x="2480786" y="326231"/>
                  </a:cubicBezTo>
                  <a:cubicBezTo>
                    <a:pt x="2479834" y="330041"/>
                    <a:pt x="2477929" y="334804"/>
                    <a:pt x="2476024" y="340519"/>
                  </a:cubicBezTo>
                  <a:cubicBezTo>
                    <a:pt x="2476024" y="329089"/>
                    <a:pt x="2476024" y="317659"/>
                    <a:pt x="2476024" y="308134"/>
                  </a:cubicBezTo>
                  <a:cubicBezTo>
                    <a:pt x="2476024" y="308134"/>
                    <a:pt x="2476024" y="308134"/>
                    <a:pt x="2476024" y="308134"/>
                  </a:cubicBezTo>
                  <a:cubicBezTo>
                    <a:pt x="2476976" y="311944"/>
                    <a:pt x="2478881" y="314801"/>
                    <a:pt x="2479834" y="318611"/>
                  </a:cubicBezTo>
                  <a:cubicBezTo>
                    <a:pt x="2479834" y="319564"/>
                    <a:pt x="2480786" y="321469"/>
                    <a:pt x="2480786" y="322421"/>
                  </a:cubicBezTo>
                  <a:cubicBezTo>
                    <a:pt x="2480786" y="322421"/>
                    <a:pt x="2481739" y="323374"/>
                    <a:pt x="2481739" y="324326"/>
                  </a:cubicBezTo>
                  <a:cubicBezTo>
                    <a:pt x="2481739" y="324326"/>
                    <a:pt x="2481739" y="324326"/>
                    <a:pt x="2481739" y="324326"/>
                  </a:cubicBezTo>
                  <a:close/>
                  <a:moveTo>
                    <a:pt x="2436971" y="215741"/>
                  </a:moveTo>
                  <a:cubicBezTo>
                    <a:pt x="2440781" y="209074"/>
                    <a:pt x="2444591" y="202406"/>
                    <a:pt x="2447449" y="195739"/>
                  </a:cubicBezTo>
                  <a:cubicBezTo>
                    <a:pt x="2451259" y="190024"/>
                    <a:pt x="2454116" y="184309"/>
                    <a:pt x="2457926" y="178594"/>
                  </a:cubicBezTo>
                  <a:cubicBezTo>
                    <a:pt x="2464594" y="168116"/>
                    <a:pt x="2469356" y="157639"/>
                    <a:pt x="2475071" y="150971"/>
                  </a:cubicBezTo>
                  <a:cubicBezTo>
                    <a:pt x="2477929" y="146209"/>
                    <a:pt x="2480786" y="142399"/>
                    <a:pt x="2482691" y="138589"/>
                  </a:cubicBezTo>
                  <a:cubicBezTo>
                    <a:pt x="2481739" y="142399"/>
                    <a:pt x="2481739" y="148114"/>
                    <a:pt x="2480786" y="154781"/>
                  </a:cubicBezTo>
                  <a:cubicBezTo>
                    <a:pt x="2479834" y="162401"/>
                    <a:pt x="2479834" y="170974"/>
                    <a:pt x="2478881" y="181451"/>
                  </a:cubicBezTo>
                  <a:cubicBezTo>
                    <a:pt x="2476024" y="185261"/>
                    <a:pt x="2473166" y="189071"/>
                    <a:pt x="2470309" y="193834"/>
                  </a:cubicBezTo>
                  <a:cubicBezTo>
                    <a:pt x="2470309" y="193834"/>
                    <a:pt x="2470309" y="194786"/>
                    <a:pt x="2469356" y="194786"/>
                  </a:cubicBezTo>
                  <a:cubicBezTo>
                    <a:pt x="2466499" y="186214"/>
                    <a:pt x="2465546" y="181451"/>
                    <a:pt x="2465546" y="181451"/>
                  </a:cubicBezTo>
                  <a:cubicBezTo>
                    <a:pt x="2465546" y="181451"/>
                    <a:pt x="2466499" y="187166"/>
                    <a:pt x="2467451" y="197644"/>
                  </a:cubicBezTo>
                  <a:cubicBezTo>
                    <a:pt x="2465546" y="201454"/>
                    <a:pt x="2462689" y="205264"/>
                    <a:pt x="2460784" y="209074"/>
                  </a:cubicBezTo>
                  <a:cubicBezTo>
                    <a:pt x="2456021" y="216694"/>
                    <a:pt x="2452211" y="225266"/>
                    <a:pt x="2447449" y="234791"/>
                  </a:cubicBezTo>
                  <a:cubicBezTo>
                    <a:pt x="2443639" y="238601"/>
                    <a:pt x="2440781" y="243364"/>
                    <a:pt x="2436971" y="247174"/>
                  </a:cubicBezTo>
                  <a:cubicBezTo>
                    <a:pt x="2436971" y="248126"/>
                    <a:pt x="2436019" y="248126"/>
                    <a:pt x="2436019" y="249079"/>
                  </a:cubicBezTo>
                  <a:cubicBezTo>
                    <a:pt x="2436019" y="249079"/>
                    <a:pt x="2436019" y="249079"/>
                    <a:pt x="2436019" y="249079"/>
                  </a:cubicBezTo>
                  <a:cubicBezTo>
                    <a:pt x="2435066" y="240506"/>
                    <a:pt x="2434114" y="232886"/>
                    <a:pt x="2433161" y="225266"/>
                  </a:cubicBezTo>
                  <a:cubicBezTo>
                    <a:pt x="2433161" y="221456"/>
                    <a:pt x="2435066" y="218599"/>
                    <a:pt x="2436971" y="215741"/>
                  </a:cubicBezTo>
                  <a:close/>
                  <a:moveTo>
                    <a:pt x="2416016" y="313849"/>
                  </a:moveTo>
                  <a:cubicBezTo>
                    <a:pt x="2416016" y="313849"/>
                    <a:pt x="2416016" y="313849"/>
                    <a:pt x="2416016" y="313849"/>
                  </a:cubicBezTo>
                  <a:cubicBezTo>
                    <a:pt x="2415064" y="310039"/>
                    <a:pt x="2414111" y="307181"/>
                    <a:pt x="2413159" y="304324"/>
                  </a:cubicBezTo>
                  <a:cubicBezTo>
                    <a:pt x="2414111" y="303371"/>
                    <a:pt x="2414111" y="302419"/>
                    <a:pt x="2415064" y="301466"/>
                  </a:cubicBezTo>
                  <a:cubicBezTo>
                    <a:pt x="2415064" y="302419"/>
                    <a:pt x="2415064" y="302419"/>
                    <a:pt x="2415064" y="303371"/>
                  </a:cubicBezTo>
                  <a:cubicBezTo>
                    <a:pt x="2415064" y="306229"/>
                    <a:pt x="2416016" y="310039"/>
                    <a:pt x="2416016" y="313849"/>
                  </a:cubicBezTo>
                  <a:cubicBezTo>
                    <a:pt x="2416016" y="313849"/>
                    <a:pt x="2416016" y="313849"/>
                    <a:pt x="2416016" y="313849"/>
                  </a:cubicBezTo>
                  <a:close/>
                  <a:moveTo>
                    <a:pt x="2422684" y="288131"/>
                  </a:moveTo>
                  <a:cubicBezTo>
                    <a:pt x="2422684" y="290036"/>
                    <a:pt x="2422684" y="291941"/>
                    <a:pt x="2422684" y="293846"/>
                  </a:cubicBezTo>
                  <a:cubicBezTo>
                    <a:pt x="2421731" y="295751"/>
                    <a:pt x="2421731" y="297656"/>
                    <a:pt x="2420779" y="299561"/>
                  </a:cubicBezTo>
                  <a:cubicBezTo>
                    <a:pt x="2419826" y="297656"/>
                    <a:pt x="2419826" y="295751"/>
                    <a:pt x="2418874" y="293846"/>
                  </a:cubicBezTo>
                  <a:cubicBezTo>
                    <a:pt x="2419826" y="292894"/>
                    <a:pt x="2419826" y="291941"/>
                    <a:pt x="2420779" y="290989"/>
                  </a:cubicBezTo>
                  <a:cubicBezTo>
                    <a:pt x="2421731" y="290036"/>
                    <a:pt x="2421731" y="289084"/>
                    <a:pt x="2422684" y="288131"/>
                  </a:cubicBezTo>
                  <a:close/>
                  <a:moveTo>
                    <a:pt x="2414111" y="259556"/>
                  </a:moveTo>
                  <a:cubicBezTo>
                    <a:pt x="2416016" y="255746"/>
                    <a:pt x="2417921" y="251936"/>
                    <a:pt x="2419826" y="248126"/>
                  </a:cubicBezTo>
                  <a:cubicBezTo>
                    <a:pt x="2419826" y="253841"/>
                    <a:pt x="2420779" y="259556"/>
                    <a:pt x="2420779" y="266224"/>
                  </a:cubicBezTo>
                  <a:cubicBezTo>
                    <a:pt x="2417921" y="270034"/>
                    <a:pt x="2415064" y="273844"/>
                    <a:pt x="2412206" y="277654"/>
                  </a:cubicBezTo>
                  <a:cubicBezTo>
                    <a:pt x="2411254" y="276701"/>
                    <a:pt x="2411254" y="275749"/>
                    <a:pt x="2410301" y="273844"/>
                  </a:cubicBezTo>
                  <a:cubicBezTo>
                    <a:pt x="2409349" y="272891"/>
                    <a:pt x="2409349" y="271939"/>
                    <a:pt x="2408396" y="270986"/>
                  </a:cubicBezTo>
                  <a:cubicBezTo>
                    <a:pt x="2410301" y="268129"/>
                    <a:pt x="2412206" y="263366"/>
                    <a:pt x="2414111" y="259556"/>
                  </a:cubicBezTo>
                  <a:close/>
                  <a:moveTo>
                    <a:pt x="2406491" y="275749"/>
                  </a:moveTo>
                  <a:cubicBezTo>
                    <a:pt x="2406491" y="275749"/>
                    <a:pt x="2406491" y="275749"/>
                    <a:pt x="2406491" y="275749"/>
                  </a:cubicBezTo>
                  <a:cubicBezTo>
                    <a:pt x="2407444" y="277654"/>
                    <a:pt x="2408396" y="279559"/>
                    <a:pt x="2409349" y="282416"/>
                  </a:cubicBezTo>
                  <a:cubicBezTo>
                    <a:pt x="2408396" y="283369"/>
                    <a:pt x="2407444" y="285274"/>
                    <a:pt x="2406491" y="286226"/>
                  </a:cubicBezTo>
                  <a:cubicBezTo>
                    <a:pt x="2405539" y="284321"/>
                    <a:pt x="2405539" y="282416"/>
                    <a:pt x="2404586" y="280511"/>
                  </a:cubicBezTo>
                  <a:cubicBezTo>
                    <a:pt x="2405539" y="278606"/>
                    <a:pt x="2405539" y="276701"/>
                    <a:pt x="2406491" y="275749"/>
                  </a:cubicBezTo>
                  <a:close/>
                  <a:moveTo>
                    <a:pt x="2405539" y="317659"/>
                  </a:moveTo>
                  <a:cubicBezTo>
                    <a:pt x="2406491" y="321469"/>
                    <a:pt x="2407444" y="324326"/>
                    <a:pt x="2408396" y="328136"/>
                  </a:cubicBezTo>
                  <a:cubicBezTo>
                    <a:pt x="2408396" y="330041"/>
                    <a:pt x="2408396" y="331946"/>
                    <a:pt x="2408396" y="334804"/>
                  </a:cubicBezTo>
                  <a:cubicBezTo>
                    <a:pt x="2408396" y="333851"/>
                    <a:pt x="2407444" y="332899"/>
                    <a:pt x="2407444" y="332899"/>
                  </a:cubicBezTo>
                  <a:cubicBezTo>
                    <a:pt x="2407444" y="332899"/>
                    <a:pt x="2407444" y="335756"/>
                    <a:pt x="2407444" y="340519"/>
                  </a:cubicBezTo>
                  <a:cubicBezTo>
                    <a:pt x="2406491" y="344329"/>
                    <a:pt x="2405539" y="347186"/>
                    <a:pt x="2404586" y="350996"/>
                  </a:cubicBezTo>
                  <a:cubicBezTo>
                    <a:pt x="2403634" y="355759"/>
                    <a:pt x="2401729" y="359569"/>
                    <a:pt x="2400776" y="364331"/>
                  </a:cubicBezTo>
                  <a:cubicBezTo>
                    <a:pt x="2399824" y="357664"/>
                    <a:pt x="2398871" y="350044"/>
                    <a:pt x="2398871" y="343376"/>
                  </a:cubicBezTo>
                  <a:cubicBezTo>
                    <a:pt x="2398871" y="340519"/>
                    <a:pt x="2397919" y="336709"/>
                    <a:pt x="2397919" y="333851"/>
                  </a:cubicBezTo>
                  <a:cubicBezTo>
                    <a:pt x="2397919" y="332899"/>
                    <a:pt x="2397919" y="331946"/>
                    <a:pt x="2398871" y="330994"/>
                  </a:cubicBezTo>
                  <a:cubicBezTo>
                    <a:pt x="2399824" y="325279"/>
                    <a:pt x="2402681" y="321469"/>
                    <a:pt x="2405539" y="317659"/>
                  </a:cubicBezTo>
                  <a:close/>
                  <a:moveTo>
                    <a:pt x="2398871" y="291941"/>
                  </a:moveTo>
                  <a:cubicBezTo>
                    <a:pt x="2398871" y="292894"/>
                    <a:pt x="2399824" y="293846"/>
                    <a:pt x="2399824" y="295751"/>
                  </a:cubicBezTo>
                  <a:cubicBezTo>
                    <a:pt x="2397919" y="298609"/>
                    <a:pt x="2396014" y="300514"/>
                    <a:pt x="2394109" y="303371"/>
                  </a:cubicBezTo>
                  <a:cubicBezTo>
                    <a:pt x="2394109" y="303371"/>
                    <a:pt x="2394109" y="302419"/>
                    <a:pt x="2394109" y="302419"/>
                  </a:cubicBezTo>
                  <a:cubicBezTo>
                    <a:pt x="2396014" y="298609"/>
                    <a:pt x="2397919" y="295751"/>
                    <a:pt x="2398871" y="291941"/>
                  </a:cubicBezTo>
                  <a:close/>
                  <a:moveTo>
                    <a:pt x="2393156" y="267176"/>
                  </a:moveTo>
                  <a:cubicBezTo>
                    <a:pt x="2392204" y="268129"/>
                    <a:pt x="2392204" y="269081"/>
                    <a:pt x="2391251" y="270034"/>
                  </a:cubicBezTo>
                  <a:cubicBezTo>
                    <a:pt x="2390299" y="264319"/>
                    <a:pt x="2390299" y="259556"/>
                    <a:pt x="2389346" y="254794"/>
                  </a:cubicBezTo>
                  <a:cubicBezTo>
                    <a:pt x="2391251" y="258604"/>
                    <a:pt x="2392204" y="263366"/>
                    <a:pt x="2393156" y="267176"/>
                  </a:cubicBezTo>
                  <a:close/>
                  <a:moveTo>
                    <a:pt x="2351246" y="278606"/>
                  </a:moveTo>
                  <a:cubicBezTo>
                    <a:pt x="2351246" y="277654"/>
                    <a:pt x="2351246" y="277654"/>
                    <a:pt x="2351246" y="278606"/>
                  </a:cubicBezTo>
                  <a:lnTo>
                    <a:pt x="2351246" y="275749"/>
                  </a:lnTo>
                  <a:cubicBezTo>
                    <a:pt x="2351246" y="276701"/>
                    <a:pt x="2351246" y="277654"/>
                    <a:pt x="2351246" y="278606"/>
                  </a:cubicBezTo>
                  <a:close/>
                  <a:moveTo>
                    <a:pt x="2378869" y="295751"/>
                  </a:moveTo>
                  <a:cubicBezTo>
                    <a:pt x="2377916" y="298609"/>
                    <a:pt x="2376011" y="300514"/>
                    <a:pt x="2375059" y="303371"/>
                  </a:cubicBezTo>
                  <a:cubicBezTo>
                    <a:pt x="2375059" y="304324"/>
                    <a:pt x="2374106" y="304324"/>
                    <a:pt x="2374106" y="305276"/>
                  </a:cubicBezTo>
                  <a:cubicBezTo>
                    <a:pt x="2374106" y="305276"/>
                    <a:pt x="2374106" y="304324"/>
                    <a:pt x="2374106" y="304324"/>
                  </a:cubicBezTo>
                  <a:cubicBezTo>
                    <a:pt x="2376964" y="261461"/>
                    <a:pt x="2376011" y="231934"/>
                    <a:pt x="2376011" y="231934"/>
                  </a:cubicBezTo>
                  <a:cubicBezTo>
                    <a:pt x="2376011" y="231934"/>
                    <a:pt x="2372201" y="249079"/>
                    <a:pt x="2366486" y="277654"/>
                  </a:cubicBezTo>
                  <a:cubicBezTo>
                    <a:pt x="2365534" y="275749"/>
                    <a:pt x="2365534" y="273844"/>
                    <a:pt x="2364581" y="272891"/>
                  </a:cubicBezTo>
                  <a:cubicBezTo>
                    <a:pt x="2363629" y="270034"/>
                    <a:pt x="2362676" y="267176"/>
                    <a:pt x="2361724" y="264319"/>
                  </a:cubicBezTo>
                  <a:cubicBezTo>
                    <a:pt x="2361724" y="257651"/>
                    <a:pt x="2361724" y="250984"/>
                    <a:pt x="2361724" y="245269"/>
                  </a:cubicBezTo>
                  <a:lnTo>
                    <a:pt x="2365534" y="234791"/>
                  </a:lnTo>
                  <a:lnTo>
                    <a:pt x="2376011" y="211931"/>
                  </a:lnTo>
                  <a:cubicBezTo>
                    <a:pt x="2376011" y="221456"/>
                    <a:pt x="2376011" y="232886"/>
                    <a:pt x="2376011" y="244316"/>
                  </a:cubicBezTo>
                  <a:cubicBezTo>
                    <a:pt x="2376011" y="258604"/>
                    <a:pt x="2376011" y="274796"/>
                    <a:pt x="2376964" y="290989"/>
                  </a:cubicBezTo>
                  <a:cubicBezTo>
                    <a:pt x="2378869" y="292894"/>
                    <a:pt x="2378869" y="293846"/>
                    <a:pt x="2378869" y="295751"/>
                  </a:cubicBezTo>
                  <a:close/>
                  <a:moveTo>
                    <a:pt x="2362676" y="180499"/>
                  </a:moveTo>
                  <a:cubicBezTo>
                    <a:pt x="2364581" y="175736"/>
                    <a:pt x="2366486" y="170974"/>
                    <a:pt x="2368391" y="166211"/>
                  </a:cubicBezTo>
                  <a:cubicBezTo>
                    <a:pt x="2372201" y="157639"/>
                    <a:pt x="2375059" y="149066"/>
                    <a:pt x="2377916" y="140494"/>
                  </a:cubicBezTo>
                  <a:cubicBezTo>
                    <a:pt x="2377916" y="141446"/>
                    <a:pt x="2378869" y="142399"/>
                    <a:pt x="2378869" y="143351"/>
                  </a:cubicBezTo>
                  <a:cubicBezTo>
                    <a:pt x="2379821" y="146209"/>
                    <a:pt x="2379821" y="149066"/>
                    <a:pt x="2378869" y="152876"/>
                  </a:cubicBezTo>
                  <a:cubicBezTo>
                    <a:pt x="2377916" y="149066"/>
                    <a:pt x="2377916" y="147161"/>
                    <a:pt x="2377916" y="147161"/>
                  </a:cubicBezTo>
                  <a:cubicBezTo>
                    <a:pt x="2377916" y="147161"/>
                    <a:pt x="2377916" y="156686"/>
                    <a:pt x="2377916" y="173831"/>
                  </a:cubicBezTo>
                  <a:cubicBezTo>
                    <a:pt x="2377916" y="182404"/>
                    <a:pt x="2377916" y="191929"/>
                    <a:pt x="2377916" y="203359"/>
                  </a:cubicBezTo>
                  <a:cubicBezTo>
                    <a:pt x="2373154" y="210979"/>
                    <a:pt x="2368391" y="219551"/>
                    <a:pt x="2362676" y="227171"/>
                  </a:cubicBezTo>
                  <a:cubicBezTo>
                    <a:pt x="2361724" y="206216"/>
                    <a:pt x="2361724" y="190976"/>
                    <a:pt x="2360771" y="185261"/>
                  </a:cubicBezTo>
                  <a:cubicBezTo>
                    <a:pt x="2361724" y="183356"/>
                    <a:pt x="2361724" y="182404"/>
                    <a:pt x="2362676" y="180499"/>
                  </a:cubicBezTo>
                  <a:close/>
                  <a:moveTo>
                    <a:pt x="2340769" y="241459"/>
                  </a:moveTo>
                  <a:cubicBezTo>
                    <a:pt x="2341721" y="239554"/>
                    <a:pt x="2341721" y="237649"/>
                    <a:pt x="2342674" y="235744"/>
                  </a:cubicBezTo>
                  <a:cubicBezTo>
                    <a:pt x="2344579" y="230981"/>
                    <a:pt x="2345531" y="226219"/>
                    <a:pt x="2347436" y="221456"/>
                  </a:cubicBezTo>
                  <a:cubicBezTo>
                    <a:pt x="2352199" y="210026"/>
                    <a:pt x="2356009" y="198596"/>
                    <a:pt x="2359819" y="187166"/>
                  </a:cubicBezTo>
                  <a:cubicBezTo>
                    <a:pt x="2358866" y="194786"/>
                    <a:pt x="2356961" y="212884"/>
                    <a:pt x="2355056" y="236696"/>
                  </a:cubicBezTo>
                  <a:cubicBezTo>
                    <a:pt x="2354104" y="232886"/>
                    <a:pt x="2353151" y="230029"/>
                    <a:pt x="2353151" y="230029"/>
                  </a:cubicBezTo>
                  <a:cubicBezTo>
                    <a:pt x="2353151" y="230029"/>
                    <a:pt x="2354104" y="233839"/>
                    <a:pt x="2354104" y="241459"/>
                  </a:cubicBezTo>
                  <a:cubicBezTo>
                    <a:pt x="2351246" y="247174"/>
                    <a:pt x="2347436" y="253841"/>
                    <a:pt x="2344579" y="259556"/>
                  </a:cubicBezTo>
                  <a:cubicBezTo>
                    <a:pt x="2344579" y="259556"/>
                    <a:pt x="2344579" y="259556"/>
                    <a:pt x="2344579" y="259556"/>
                  </a:cubicBezTo>
                  <a:cubicBezTo>
                    <a:pt x="2342674" y="254794"/>
                    <a:pt x="2340769" y="250031"/>
                    <a:pt x="2339816" y="245269"/>
                  </a:cubicBezTo>
                  <a:lnTo>
                    <a:pt x="2340769" y="241459"/>
                  </a:lnTo>
                  <a:close/>
                  <a:moveTo>
                    <a:pt x="2344579" y="320516"/>
                  </a:moveTo>
                  <a:cubicBezTo>
                    <a:pt x="2342674" y="316706"/>
                    <a:pt x="2340769" y="313849"/>
                    <a:pt x="2339816" y="310991"/>
                  </a:cubicBezTo>
                  <a:lnTo>
                    <a:pt x="2339816" y="310039"/>
                  </a:lnTo>
                  <a:cubicBezTo>
                    <a:pt x="2341721" y="313849"/>
                    <a:pt x="2343626" y="317659"/>
                    <a:pt x="2344579" y="320516"/>
                  </a:cubicBezTo>
                  <a:close/>
                  <a:moveTo>
                    <a:pt x="2337911" y="317659"/>
                  </a:moveTo>
                  <a:cubicBezTo>
                    <a:pt x="2338864" y="320516"/>
                    <a:pt x="2339816" y="324326"/>
                    <a:pt x="2341721" y="327184"/>
                  </a:cubicBezTo>
                  <a:lnTo>
                    <a:pt x="2336959" y="321469"/>
                  </a:lnTo>
                  <a:lnTo>
                    <a:pt x="2337911" y="317659"/>
                  </a:lnTo>
                  <a:close/>
                  <a:moveTo>
                    <a:pt x="2332196" y="280511"/>
                  </a:moveTo>
                  <a:cubicBezTo>
                    <a:pt x="2332196" y="281464"/>
                    <a:pt x="2333149" y="282416"/>
                    <a:pt x="2333149" y="283369"/>
                  </a:cubicBezTo>
                  <a:cubicBezTo>
                    <a:pt x="2333149" y="282416"/>
                    <a:pt x="2332196" y="282416"/>
                    <a:pt x="2332196" y="281464"/>
                  </a:cubicBezTo>
                  <a:lnTo>
                    <a:pt x="2332196" y="280511"/>
                  </a:lnTo>
                  <a:close/>
                  <a:moveTo>
                    <a:pt x="2330291" y="289084"/>
                  </a:moveTo>
                  <a:cubicBezTo>
                    <a:pt x="2330291" y="290036"/>
                    <a:pt x="2331244" y="290989"/>
                    <a:pt x="2331244" y="290989"/>
                  </a:cubicBezTo>
                  <a:lnTo>
                    <a:pt x="2330291" y="292894"/>
                  </a:lnTo>
                  <a:cubicBezTo>
                    <a:pt x="2330291" y="291941"/>
                    <a:pt x="2329339" y="291941"/>
                    <a:pt x="2329339" y="290989"/>
                  </a:cubicBezTo>
                  <a:lnTo>
                    <a:pt x="2330291" y="289084"/>
                  </a:lnTo>
                  <a:close/>
                  <a:moveTo>
                    <a:pt x="2329339" y="293846"/>
                  </a:moveTo>
                  <a:lnTo>
                    <a:pt x="2329339" y="292894"/>
                  </a:lnTo>
                  <a:cubicBezTo>
                    <a:pt x="2329339" y="293846"/>
                    <a:pt x="2329339" y="293846"/>
                    <a:pt x="2330291" y="294799"/>
                  </a:cubicBezTo>
                  <a:lnTo>
                    <a:pt x="2328386" y="299561"/>
                  </a:lnTo>
                  <a:cubicBezTo>
                    <a:pt x="2328386" y="299561"/>
                    <a:pt x="2328386" y="299561"/>
                    <a:pt x="2328386" y="298609"/>
                  </a:cubicBezTo>
                  <a:lnTo>
                    <a:pt x="2329339" y="293846"/>
                  </a:lnTo>
                  <a:close/>
                  <a:moveTo>
                    <a:pt x="2313146" y="194786"/>
                  </a:moveTo>
                  <a:cubicBezTo>
                    <a:pt x="2314099" y="196691"/>
                    <a:pt x="2314099" y="199549"/>
                    <a:pt x="2315051" y="201454"/>
                  </a:cubicBezTo>
                  <a:cubicBezTo>
                    <a:pt x="2315051" y="202406"/>
                    <a:pt x="2316004" y="203359"/>
                    <a:pt x="2316004" y="205264"/>
                  </a:cubicBezTo>
                  <a:cubicBezTo>
                    <a:pt x="2315051" y="208121"/>
                    <a:pt x="2314099" y="211931"/>
                    <a:pt x="2314099" y="214789"/>
                  </a:cubicBezTo>
                  <a:cubicBezTo>
                    <a:pt x="2314099" y="214789"/>
                    <a:pt x="2314099" y="214789"/>
                    <a:pt x="2314099" y="214789"/>
                  </a:cubicBezTo>
                  <a:cubicBezTo>
                    <a:pt x="2313146" y="211931"/>
                    <a:pt x="2311241" y="210026"/>
                    <a:pt x="2310289" y="207169"/>
                  </a:cubicBezTo>
                  <a:cubicBezTo>
                    <a:pt x="2311241" y="202406"/>
                    <a:pt x="2312194" y="198596"/>
                    <a:pt x="2313146" y="194786"/>
                  </a:cubicBezTo>
                  <a:close/>
                  <a:moveTo>
                    <a:pt x="2304574" y="197644"/>
                  </a:moveTo>
                  <a:cubicBezTo>
                    <a:pt x="2304574" y="198596"/>
                    <a:pt x="2305526" y="199549"/>
                    <a:pt x="2305526" y="200501"/>
                  </a:cubicBezTo>
                  <a:cubicBezTo>
                    <a:pt x="2304574" y="202406"/>
                    <a:pt x="2304574" y="204311"/>
                    <a:pt x="2303621" y="205264"/>
                  </a:cubicBezTo>
                  <a:cubicBezTo>
                    <a:pt x="2304574" y="203359"/>
                    <a:pt x="2304574" y="200501"/>
                    <a:pt x="2304574" y="197644"/>
                  </a:cubicBezTo>
                  <a:close/>
                  <a:moveTo>
                    <a:pt x="2297906" y="272891"/>
                  </a:moveTo>
                  <a:cubicBezTo>
                    <a:pt x="2298859" y="267176"/>
                    <a:pt x="2298859" y="262414"/>
                    <a:pt x="2298859" y="256699"/>
                  </a:cubicBezTo>
                  <a:cubicBezTo>
                    <a:pt x="2298859" y="254794"/>
                    <a:pt x="2299811" y="252889"/>
                    <a:pt x="2299811" y="250984"/>
                  </a:cubicBezTo>
                  <a:cubicBezTo>
                    <a:pt x="2303621" y="236696"/>
                    <a:pt x="2306479" y="223361"/>
                    <a:pt x="2308384" y="211931"/>
                  </a:cubicBezTo>
                  <a:cubicBezTo>
                    <a:pt x="2308384" y="212884"/>
                    <a:pt x="2309336" y="214789"/>
                    <a:pt x="2309336" y="215741"/>
                  </a:cubicBezTo>
                  <a:cubicBezTo>
                    <a:pt x="2310289" y="217646"/>
                    <a:pt x="2310289" y="219551"/>
                    <a:pt x="2311241" y="221456"/>
                  </a:cubicBezTo>
                  <a:cubicBezTo>
                    <a:pt x="2311241" y="221456"/>
                    <a:pt x="2311241" y="221456"/>
                    <a:pt x="2311241" y="221456"/>
                  </a:cubicBezTo>
                  <a:cubicBezTo>
                    <a:pt x="2309336" y="231934"/>
                    <a:pt x="2306479" y="242411"/>
                    <a:pt x="2304574" y="253841"/>
                  </a:cubicBezTo>
                  <a:cubicBezTo>
                    <a:pt x="2302669" y="252889"/>
                    <a:pt x="2302669" y="251936"/>
                    <a:pt x="2302669" y="251936"/>
                  </a:cubicBezTo>
                  <a:cubicBezTo>
                    <a:pt x="2302669" y="251936"/>
                    <a:pt x="2303621" y="252889"/>
                    <a:pt x="2304574" y="253841"/>
                  </a:cubicBezTo>
                  <a:cubicBezTo>
                    <a:pt x="2302669" y="260509"/>
                    <a:pt x="2301716" y="268129"/>
                    <a:pt x="2299811" y="274796"/>
                  </a:cubicBezTo>
                  <a:cubicBezTo>
                    <a:pt x="2297906" y="283369"/>
                    <a:pt x="2296001" y="291941"/>
                    <a:pt x="2294096" y="300514"/>
                  </a:cubicBezTo>
                  <a:cubicBezTo>
                    <a:pt x="2296954" y="291941"/>
                    <a:pt x="2297906" y="282416"/>
                    <a:pt x="2297906" y="272891"/>
                  </a:cubicBezTo>
                  <a:close/>
                  <a:moveTo>
                    <a:pt x="2271236" y="369094"/>
                  </a:moveTo>
                  <a:cubicBezTo>
                    <a:pt x="2271236" y="371951"/>
                    <a:pt x="2271236" y="374809"/>
                    <a:pt x="2270284" y="376714"/>
                  </a:cubicBezTo>
                  <a:lnTo>
                    <a:pt x="2270284" y="376714"/>
                  </a:lnTo>
                  <a:cubicBezTo>
                    <a:pt x="2270284" y="375761"/>
                    <a:pt x="2270284" y="373856"/>
                    <a:pt x="2270284" y="372904"/>
                  </a:cubicBezTo>
                  <a:cubicBezTo>
                    <a:pt x="2270284" y="371951"/>
                    <a:pt x="2270284" y="370046"/>
                    <a:pt x="2271236" y="369094"/>
                  </a:cubicBezTo>
                  <a:close/>
                  <a:moveTo>
                    <a:pt x="2252186" y="297656"/>
                  </a:moveTo>
                  <a:cubicBezTo>
                    <a:pt x="2252186" y="302419"/>
                    <a:pt x="2251234" y="307181"/>
                    <a:pt x="2251234" y="311944"/>
                  </a:cubicBezTo>
                  <a:cubicBezTo>
                    <a:pt x="2251234" y="310991"/>
                    <a:pt x="2250281" y="310039"/>
                    <a:pt x="2250281" y="308134"/>
                  </a:cubicBezTo>
                  <a:cubicBezTo>
                    <a:pt x="2251234" y="305276"/>
                    <a:pt x="2252186" y="301466"/>
                    <a:pt x="2252186" y="297656"/>
                  </a:cubicBezTo>
                  <a:close/>
                  <a:moveTo>
                    <a:pt x="2215991" y="252889"/>
                  </a:moveTo>
                  <a:lnTo>
                    <a:pt x="2215991" y="256699"/>
                  </a:lnTo>
                  <a:cubicBezTo>
                    <a:pt x="2215991" y="256699"/>
                    <a:pt x="2215991" y="256699"/>
                    <a:pt x="2215991" y="256699"/>
                  </a:cubicBezTo>
                  <a:cubicBezTo>
                    <a:pt x="2215039" y="255746"/>
                    <a:pt x="2215991" y="254794"/>
                    <a:pt x="2215991" y="252889"/>
                  </a:cubicBezTo>
                  <a:close/>
                  <a:moveTo>
                    <a:pt x="2211229" y="281464"/>
                  </a:moveTo>
                  <a:cubicBezTo>
                    <a:pt x="2212181" y="273844"/>
                    <a:pt x="2213134" y="267176"/>
                    <a:pt x="2214086" y="260509"/>
                  </a:cubicBezTo>
                  <a:cubicBezTo>
                    <a:pt x="2214086" y="260509"/>
                    <a:pt x="2215039" y="261461"/>
                    <a:pt x="2215039" y="261461"/>
                  </a:cubicBezTo>
                  <a:lnTo>
                    <a:pt x="2215039" y="267176"/>
                  </a:lnTo>
                  <a:cubicBezTo>
                    <a:pt x="2214086" y="277654"/>
                    <a:pt x="2213134" y="289084"/>
                    <a:pt x="2212181" y="299561"/>
                  </a:cubicBezTo>
                  <a:cubicBezTo>
                    <a:pt x="2210276" y="302419"/>
                    <a:pt x="2208371" y="306229"/>
                    <a:pt x="2206466" y="309086"/>
                  </a:cubicBezTo>
                  <a:cubicBezTo>
                    <a:pt x="2208371" y="299561"/>
                    <a:pt x="2210276" y="290036"/>
                    <a:pt x="2211229" y="281464"/>
                  </a:cubicBezTo>
                  <a:close/>
                  <a:moveTo>
                    <a:pt x="2205514" y="337661"/>
                  </a:moveTo>
                  <a:cubicBezTo>
                    <a:pt x="2205514" y="338614"/>
                    <a:pt x="2204561" y="338614"/>
                    <a:pt x="2204561" y="339566"/>
                  </a:cubicBezTo>
                  <a:cubicBezTo>
                    <a:pt x="2204561" y="339566"/>
                    <a:pt x="2204561" y="339566"/>
                    <a:pt x="2204561" y="340519"/>
                  </a:cubicBezTo>
                  <a:cubicBezTo>
                    <a:pt x="2204561" y="339566"/>
                    <a:pt x="2204561" y="338614"/>
                    <a:pt x="2205514" y="337661"/>
                  </a:cubicBezTo>
                  <a:close/>
                  <a:moveTo>
                    <a:pt x="2183606" y="336709"/>
                  </a:moveTo>
                  <a:cubicBezTo>
                    <a:pt x="2183606" y="338614"/>
                    <a:pt x="2184559" y="341471"/>
                    <a:pt x="2185511" y="345281"/>
                  </a:cubicBezTo>
                  <a:cubicBezTo>
                    <a:pt x="2185511" y="347186"/>
                    <a:pt x="2184559" y="349091"/>
                    <a:pt x="2184559" y="350044"/>
                  </a:cubicBezTo>
                  <a:cubicBezTo>
                    <a:pt x="2184559" y="347186"/>
                    <a:pt x="2183606" y="343376"/>
                    <a:pt x="2183606" y="340519"/>
                  </a:cubicBezTo>
                  <a:cubicBezTo>
                    <a:pt x="2183606" y="339566"/>
                    <a:pt x="2183606" y="338614"/>
                    <a:pt x="2183606" y="337661"/>
                  </a:cubicBezTo>
                  <a:cubicBezTo>
                    <a:pt x="2182654" y="337661"/>
                    <a:pt x="2182654" y="337661"/>
                    <a:pt x="2183606" y="336709"/>
                  </a:cubicBezTo>
                  <a:close/>
                  <a:moveTo>
                    <a:pt x="2178844" y="345281"/>
                  </a:moveTo>
                  <a:cubicBezTo>
                    <a:pt x="2178844" y="349091"/>
                    <a:pt x="2178844" y="352901"/>
                    <a:pt x="2178844" y="357664"/>
                  </a:cubicBezTo>
                  <a:cubicBezTo>
                    <a:pt x="2177891" y="355759"/>
                    <a:pt x="2176939" y="352901"/>
                    <a:pt x="2175986" y="350996"/>
                  </a:cubicBezTo>
                  <a:cubicBezTo>
                    <a:pt x="2176939" y="348139"/>
                    <a:pt x="2177891" y="346234"/>
                    <a:pt x="2178844" y="345281"/>
                  </a:cubicBezTo>
                  <a:close/>
                  <a:moveTo>
                    <a:pt x="2150269" y="278606"/>
                  </a:moveTo>
                  <a:cubicBezTo>
                    <a:pt x="2155031" y="261461"/>
                    <a:pt x="2159794" y="246221"/>
                    <a:pt x="2162651" y="232886"/>
                  </a:cubicBezTo>
                  <a:cubicBezTo>
                    <a:pt x="2162651" y="233839"/>
                    <a:pt x="2162651" y="234791"/>
                    <a:pt x="2161699" y="235744"/>
                  </a:cubicBezTo>
                  <a:cubicBezTo>
                    <a:pt x="2160746" y="241459"/>
                    <a:pt x="2158841" y="248126"/>
                    <a:pt x="2157889" y="253841"/>
                  </a:cubicBezTo>
                  <a:cubicBezTo>
                    <a:pt x="2156936" y="260509"/>
                    <a:pt x="2155984" y="267176"/>
                    <a:pt x="2154079" y="274796"/>
                  </a:cubicBezTo>
                  <a:cubicBezTo>
                    <a:pt x="2153126" y="280511"/>
                    <a:pt x="2152174" y="287179"/>
                    <a:pt x="2151221" y="293846"/>
                  </a:cubicBezTo>
                  <a:cubicBezTo>
                    <a:pt x="2149316" y="290036"/>
                    <a:pt x="2148364" y="288131"/>
                    <a:pt x="2148364" y="288131"/>
                  </a:cubicBezTo>
                  <a:cubicBezTo>
                    <a:pt x="2148364" y="288131"/>
                    <a:pt x="2149316" y="290989"/>
                    <a:pt x="2150269" y="296704"/>
                  </a:cubicBezTo>
                  <a:cubicBezTo>
                    <a:pt x="2149316" y="302419"/>
                    <a:pt x="2148364" y="309086"/>
                    <a:pt x="2147411" y="314801"/>
                  </a:cubicBezTo>
                  <a:cubicBezTo>
                    <a:pt x="2143601" y="309086"/>
                    <a:pt x="2140744" y="305276"/>
                    <a:pt x="2140744" y="305276"/>
                  </a:cubicBezTo>
                  <a:cubicBezTo>
                    <a:pt x="2145506" y="296704"/>
                    <a:pt x="2147411" y="287179"/>
                    <a:pt x="2150269" y="278606"/>
                  </a:cubicBezTo>
                  <a:close/>
                  <a:moveTo>
                    <a:pt x="2142649" y="305276"/>
                  </a:moveTo>
                  <a:cubicBezTo>
                    <a:pt x="2142649" y="306229"/>
                    <a:pt x="2144554" y="310991"/>
                    <a:pt x="2148364" y="319564"/>
                  </a:cubicBezTo>
                  <a:cubicBezTo>
                    <a:pt x="2148364" y="319564"/>
                    <a:pt x="2148364" y="320516"/>
                    <a:pt x="2148364" y="320516"/>
                  </a:cubicBezTo>
                  <a:cubicBezTo>
                    <a:pt x="2148364" y="320516"/>
                    <a:pt x="2148364" y="321469"/>
                    <a:pt x="2148364" y="321469"/>
                  </a:cubicBezTo>
                  <a:cubicBezTo>
                    <a:pt x="2147411" y="328136"/>
                    <a:pt x="2146459" y="335756"/>
                    <a:pt x="2145506" y="343376"/>
                  </a:cubicBezTo>
                  <a:cubicBezTo>
                    <a:pt x="2143601" y="336709"/>
                    <a:pt x="2141696" y="330994"/>
                    <a:pt x="2139791" y="324326"/>
                  </a:cubicBezTo>
                  <a:cubicBezTo>
                    <a:pt x="2139791" y="323374"/>
                    <a:pt x="2138839" y="321469"/>
                    <a:pt x="2138839" y="320516"/>
                  </a:cubicBezTo>
                  <a:cubicBezTo>
                    <a:pt x="2138839" y="315754"/>
                    <a:pt x="2140744" y="310991"/>
                    <a:pt x="2142649" y="305276"/>
                  </a:cubicBezTo>
                  <a:close/>
                  <a:moveTo>
                    <a:pt x="2058829" y="353854"/>
                  </a:moveTo>
                  <a:cubicBezTo>
                    <a:pt x="2057876" y="357664"/>
                    <a:pt x="2056924" y="362426"/>
                    <a:pt x="2056924" y="366236"/>
                  </a:cubicBezTo>
                  <a:cubicBezTo>
                    <a:pt x="2056924" y="364331"/>
                    <a:pt x="2055971" y="363379"/>
                    <a:pt x="2055971" y="361474"/>
                  </a:cubicBezTo>
                  <a:cubicBezTo>
                    <a:pt x="2055019" y="358616"/>
                    <a:pt x="2055019" y="355759"/>
                    <a:pt x="2054066" y="352901"/>
                  </a:cubicBezTo>
                  <a:cubicBezTo>
                    <a:pt x="2054066" y="352901"/>
                    <a:pt x="2054066" y="352901"/>
                    <a:pt x="2054066" y="351949"/>
                  </a:cubicBezTo>
                  <a:cubicBezTo>
                    <a:pt x="2055971" y="347186"/>
                    <a:pt x="2057876" y="343376"/>
                    <a:pt x="2059781" y="338614"/>
                  </a:cubicBezTo>
                  <a:cubicBezTo>
                    <a:pt x="2059781" y="340519"/>
                    <a:pt x="2060734" y="341471"/>
                    <a:pt x="2060734" y="343376"/>
                  </a:cubicBezTo>
                  <a:cubicBezTo>
                    <a:pt x="2060734" y="347186"/>
                    <a:pt x="2059781" y="350044"/>
                    <a:pt x="2058829" y="353854"/>
                  </a:cubicBezTo>
                  <a:close/>
                  <a:moveTo>
                    <a:pt x="2081689" y="350044"/>
                  </a:moveTo>
                  <a:cubicBezTo>
                    <a:pt x="2080736" y="351949"/>
                    <a:pt x="2080736" y="352901"/>
                    <a:pt x="2079784" y="354806"/>
                  </a:cubicBezTo>
                  <a:cubicBezTo>
                    <a:pt x="2078831" y="351949"/>
                    <a:pt x="2078831" y="350044"/>
                    <a:pt x="2077879" y="347186"/>
                  </a:cubicBezTo>
                  <a:cubicBezTo>
                    <a:pt x="2077879" y="346234"/>
                    <a:pt x="2077879" y="345281"/>
                    <a:pt x="2077879" y="344329"/>
                  </a:cubicBezTo>
                  <a:cubicBezTo>
                    <a:pt x="2078831" y="345281"/>
                    <a:pt x="2079784" y="346234"/>
                    <a:pt x="2080736" y="348139"/>
                  </a:cubicBezTo>
                  <a:cubicBezTo>
                    <a:pt x="2080736" y="348139"/>
                    <a:pt x="2080736" y="349091"/>
                    <a:pt x="2081689" y="350044"/>
                  </a:cubicBezTo>
                  <a:cubicBezTo>
                    <a:pt x="2081689" y="350044"/>
                    <a:pt x="2081689" y="350044"/>
                    <a:pt x="2081689" y="350044"/>
                  </a:cubicBezTo>
                  <a:close/>
                  <a:moveTo>
                    <a:pt x="2081689" y="339566"/>
                  </a:moveTo>
                  <a:cubicBezTo>
                    <a:pt x="2081689" y="340519"/>
                    <a:pt x="2081689" y="341471"/>
                    <a:pt x="2081689" y="341471"/>
                  </a:cubicBezTo>
                  <a:cubicBezTo>
                    <a:pt x="2080736" y="340519"/>
                    <a:pt x="2079784" y="338614"/>
                    <a:pt x="2078831" y="337661"/>
                  </a:cubicBezTo>
                  <a:cubicBezTo>
                    <a:pt x="2078831" y="334804"/>
                    <a:pt x="2079784" y="331946"/>
                    <a:pt x="2079784" y="330041"/>
                  </a:cubicBezTo>
                  <a:cubicBezTo>
                    <a:pt x="2080736" y="332899"/>
                    <a:pt x="2081689" y="335756"/>
                    <a:pt x="2081689" y="339566"/>
                  </a:cubicBezTo>
                  <a:cubicBezTo>
                    <a:pt x="2081689" y="338614"/>
                    <a:pt x="2081689" y="338614"/>
                    <a:pt x="2081689" y="339566"/>
                  </a:cubicBezTo>
                  <a:close/>
                  <a:moveTo>
                    <a:pt x="2085499" y="290036"/>
                  </a:moveTo>
                  <a:cubicBezTo>
                    <a:pt x="2085499" y="295751"/>
                    <a:pt x="2084546" y="301466"/>
                    <a:pt x="2084546" y="307181"/>
                  </a:cubicBezTo>
                  <a:cubicBezTo>
                    <a:pt x="2084546" y="306229"/>
                    <a:pt x="2083594" y="305276"/>
                    <a:pt x="2083594" y="303371"/>
                  </a:cubicBezTo>
                  <a:cubicBezTo>
                    <a:pt x="2084546" y="292894"/>
                    <a:pt x="2085499" y="282416"/>
                    <a:pt x="2086451" y="273844"/>
                  </a:cubicBezTo>
                  <a:cubicBezTo>
                    <a:pt x="2086451" y="271939"/>
                    <a:pt x="2086451" y="269081"/>
                    <a:pt x="2087404" y="267176"/>
                  </a:cubicBezTo>
                  <a:cubicBezTo>
                    <a:pt x="2086451" y="274796"/>
                    <a:pt x="2085499" y="282416"/>
                    <a:pt x="2085499" y="290036"/>
                  </a:cubicBezTo>
                  <a:close/>
                  <a:moveTo>
                    <a:pt x="2089309" y="180499"/>
                  </a:moveTo>
                  <a:cubicBezTo>
                    <a:pt x="2089309" y="186214"/>
                    <a:pt x="2089309" y="192881"/>
                    <a:pt x="2089309" y="200501"/>
                  </a:cubicBezTo>
                  <a:cubicBezTo>
                    <a:pt x="2088356" y="197644"/>
                    <a:pt x="2086451" y="194786"/>
                    <a:pt x="2086451" y="192881"/>
                  </a:cubicBezTo>
                  <a:cubicBezTo>
                    <a:pt x="2087404" y="188119"/>
                    <a:pt x="2088356" y="184309"/>
                    <a:pt x="2089309" y="180499"/>
                  </a:cubicBezTo>
                  <a:close/>
                  <a:moveTo>
                    <a:pt x="2072164" y="241459"/>
                  </a:moveTo>
                  <a:cubicBezTo>
                    <a:pt x="2077879" y="223361"/>
                    <a:pt x="2082641" y="207169"/>
                    <a:pt x="2086451" y="193834"/>
                  </a:cubicBezTo>
                  <a:cubicBezTo>
                    <a:pt x="2087404" y="197644"/>
                    <a:pt x="2088356" y="201454"/>
                    <a:pt x="2090261" y="207169"/>
                  </a:cubicBezTo>
                  <a:cubicBezTo>
                    <a:pt x="2090261" y="207169"/>
                    <a:pt x="2090261" y="207169"/>
                    <a:pt x="2090261" y="208121"/>
                  </a:cubicBezTo>
                  <a:cubicBezTo>
                    <a:pt x="2087404" y="221456"/>
                    <a:pt x="2081689" y="244316"/>
                    <a:pt x="2075974" y="271939"/>
                  </a:cubicBezTo>
                  <a:cubicBezTo>
                    <a:pt x="2075021" y="274796"/>
                    <a:pt x="2075021" y="278606"/>
                    <a:pt x="2074069" y="282416"/>
                  </a:cubicBezTo>
                  <a:cubicBezTo>
                    <a:pt x="2072164" y="278606"/>
                    <a:pt x="2070259" y="274796"/>
                    <a:pt x="2068354" y="271939"/>
                  </a:cubicBezTo>
                  <a:cubicBezTo>
                    <a:pt x="2067401" y="270034"/>
                    <a:pt x="2066449" y="268129"/>
                    <a:pt x="2065496" y="266224"/>
                  </a:cubicBezTo>
                  <a:cubicBezTo>
                    <a:pt x="2067401" y="257651"/>
                    <a:pt x="2069306" y="249079"/>
                    <a:pt x="2072164" y="241459"/>
                  </a:cubicBezTo>
                  <a:close/>
                  <a:moveTo>
                    <a:pt x="2062639" y="270034"/>
                  </a:moveTo>
                  <a:cubicBezTo>
                    <a:pt x="2062639" y="270986"/>
                    <a:pt x="2063591" y="271939"/>
                    <a:pt x="2063591" y="272891"/>
                  </a:cubicBezTo>
                  <a:cubicBezTo>
                    <a:pt x="2065496" y="278606"/>
                    <a:pt x="2067401" y="285274"/>
                    <a:pt x="2069306" y="292894"/>
                  </a:cubicBezTo>
                  <a:cubicBezTo>
                    <a:pt x="2069306" y="293846"/>
                    <a:pt x="2069306" y="293846"/>
                    <a:pt x="2070259" y="294799"/>
                  </a:cubicBezTo>
                  <a:cubicBezTo>
                    <a:pt x="2069306" y="299561"/>
                    <a:pt x="2068354" y="305276"/>
                    <a:pt x="2067401" y="310039"/>
                  </a:cubicBezTo>
                  <a:cubicBezTo>
                    <a:pt x="2066449" y="308134"/>
                    <a:pt x="2066449" y="305276"/>
                    <a:pt x="2065496" y="303371"/>
                  </a:cubicBezTo>
                  <a:cubicBezTo>
                    <a:pt x="2063591" y="296704"/>
                    <a:pt x="2060734" y="290036"/>
                    <a:pt x="2058829" y="284321"/>
                  </a:cubicBezTo>
                  <a:cubicBezTo>
                    <a:pt x="2059781" y="279559"/>
                    <a:pt x="2061686" y="274796"/>
                    <a:pt x="2062639" y="270034"/>
                  </a:cubicBezTo>
                  <a:close/>
                  <a:moveTo>
                    <a:pt x="2053114" y="301466"/>
                  </a:moveTo>
                  <a:cubicBezTo>
                    <a:pt x="2053114" y="303371"/>
                    <a:pt x="2054066" y="304324"/>
                    <a:pt x="2054066" y="306229"/>
                  </a:cubicBezTo>
                  <a:cubicBezTo>
                    <a:pt x="2055019" y="310991"/>
                    <a:pt x="2055971" y="315754"/>
                    <a:pt x="2056924" y="320516"/>
                  </a:cubicBezTo>
                  <a:cubicBezTo>
                    <a:pt x="2056924" y="320516"/>
                    <a:pt x="2055971" y="320516"/>
                    <a:pt x="2055971" y="320516"/>
                  </a:cubicBezTo>
                  <a:cubicBezTo>
                    <a:pt x="2051209" y="318611"/>
                    <a:pt x="2049304" y="317659"/>
                    <a:pt x="2049304" y="317659"/>
                  </a:cubicBezTo>
                  <a:cubicBezTo>
                    <a:pt x="2049304" y="317659"/>
                    <a:pt x="2051209" y="319564"/>
                    <a:pt x="2055971" y="321469"/>
                  </a:cubicBezTo>
                  <a:cubicBezTo>
                    <a:pt x="2056924" y="321469"/>
                    <a:pt x="2056924" y="322421"/>
                    <a:pt x="2057876" y="322421"/>
                  </a:cubicBezTo>
                  <a:cubicBezTo>
                    <a:pt x="2058829" y="326231"/>
                    <a:pt x="2058829" y="329089"/>
                    <a:pt x="2059781" y="332899"/>
                  </a:cubicBezTo>
                  <a:cubicBezTo>
                    <a:pt x="2057876" y="335756"/>
                    <a:pt x="2055971" y="338614"/>
                    <a:pt x="2053114" y="342424"/>
                  </a:cubicBezTo>
                  <a:cubicBezTo>
                    <a:pt x="2052161" y="335756"/>
                    <a:pt x="2050256" y="328136"/>
                    <a:pt x="2049304" y="321469"/>
                  </a:cubicBezTo>
                  <a:cubicBezTo>
                    <a:pt x="2049304" y="319564"/>
                    <a:pt x="2049304" y="317659"/>
                    <a:pt x="2049304" y="315754"/>
                  </a:cubicBezTo>
                  <a:cubicBezTo>
                    <a:pt x="2050256" y="310991"/>
                    <a:pt x="2052161" y="305276"/>
                    <a:pt x="2053114" y="301466"/>
                  </a:cubicBezTo>
                  <a:close/>
                  <a:moveTo>
                    <a:pt x="2044541" y="260509"/>
                  </a:moveTo>
                  <a:cubicBezTo>
                    <a:pt x="2044541" y="260509"/>
                    <a:pt x="2044541" y="260509"/>
                    <a:pt x="2044541" y="260509"/>
                  </a:cubicBezTo>
                  <a:cubicBezTo>
                    <a:pt x="2044541" y="260509"/>
                    <a:pt x="2044541" y="259556"/>
                    <a:pt x="2044541" y="259556"/>
                  </a:cubicBezTo>
                  <a:cubicBezTo>
                    <a:pt x="2044541" y="259556"/>
                    <a:pt x="2044541" y="259556"/>
                    <a:pt x="2044541" y="260509"/>
                  </a:cubicBezTo>
                  <a:close/>
                  <a:moveTo>
                    <a:pt x="2019776" y="188119"/>
                  </a:moveTo>
                  <a:cubicBezTo>
                    <a:pt x="2019776" y="187166"/>
                    <a:pt x="2019776" y="186214"/>
                    <a:pt x="2019776" y="185261"/>
                  </a:cubicBezTo>
                  <a:cubicBezTo>
                    <a:pt x="2019776" y="182404"/>
                    <a:pt x="2020729" y="179546"/>
                    <a:pt x="2020729" y="177641"/>
                  </a:cubicBezTo>
                  <a:cubicBezTo>
                    <a:pt x="2020729" y="180499"/>
                    <a:pt x="2020729" y="184309"/>
                    <a:pt x="2020729" y="189071"/>
                  </a:cubicBezTo>
                  <a:cubicBezTo>
                    <a:pt x="2020729" y="197644"/>
                    <a:pt x="2021681" y="208121"/>
                    <a:pt x="2021681" y="220504"/>
                  </a:cubicBezTo>
                  <a:cubicBezTo>
                    <a:pt x="2021681" y="228124"/>
                    <a:pt x="2022634" y="235744"/>
                    <a:pt x="2023586" y="244316"/>
                  </a:cubicBezTo>
                  <a:cubicBezTo>
                    <a:pt x="2023586" y="245269"/>
                    <a:pt x="2022634" y="246221"/>
                    <a:pt x="2022634" y="247174"/>
                  </a:cubicBezTo>
                  <a:cubicBezTo>
                    <a:pt x="2020729" y="238601"/>
                    <a:pt x="2018824" y="230029"/>
                    <a:pt x="2016919" y="222409"/>
                  </a:cubicBezTo>
                  <a:cubicBezTo>
                    <a:pt x="2018824" y="209074"/>
                    <a:pt x="2018824" y="197644"/>
                    <a:pt x="2019776" y="188119"/>
                  </a:cubicBezTo>
                  <a:close/>
                  <a:moveTo>
                    <a:pt x="1999774" y="298609"/>
                  </a:moveTo>
                  <a:cubicBezTo>
                    <a:pt x="1999774" y="300514"/>
                    <a:pt x="1999774" y="302419"/>
                    <a:pt x="1999774" y="304324"/>
                  </a:cubicBezTo>
                  <a:cubicBezTo>
                    <a:pt x="1998821" y="306229"/>
                    <a:pt x="1998821" y="308134"/>
                    <a:pt x="1997869" y="310039"/>
                  </a:cubicBezTo>
                  <a:cubicBezTo>
                    <a:pt x="1998821" y="306229"/>
                    <a:pt x="1999774" y="302419"/>
                    <a:pt x="1999774" y="298609"/>
                  </a:cubicBezTo>
                  <a:close/>
                  <a:moveTo>
                    <a:pt x="1992154" y="349091"/>
                  </a:moveTo>
                  <a:cubicBezTo>
                    <a:pt x="1992154" y="351949"/>
                    <a:pt x="1992154" y="355759"/>
                    <a:pt x="1992154" y="359569"/>
                  </a:cubicBezTo>
                  <a:cubicBezTo>
                    <a:pt x="1992154" y="362426"/>
                    <a:pt x="1992154" y="366236"/>
                    <a:pt x="1992154" y="369094"/>
                  </a:cubicBezTo>
                  <a:cubicBezTo>
                    <a:pt x="1991201" y="370046"/>
                    <a:pt x="1990249" y="371951"/>
                    <a:pt x="1988344" y="373856"/>
                  </a:cubicBezTo>
                  <a:cubicBezTo>
                    <a:pt x="1990249" y="365284"/>
                    <a:pt x="1991201" y="356711"/>
                    <a:pt x="1992154" y="349091"/>
                  </a:cubicBezTo>
                  <a:close/>
                  <a:moveTo>
                    <a:pt x="1987391" y="381476"/>
                  </a:moveTo>
                  <a:cubicBezTo>
                    <a:pt x="1987391" y="381476"/>
                    <a:pt x="1987391" y="381476"/>
                    <a:pt x="1987391" y="381476"/>
                  </a:cubicBezTo>
                  <a:cubicBezTo>
                    <a:pt x="1989296" y="377666"/>
                    <a:pt x="1991201" y="374809"/>
                    <a:pt x="1992154" y="372904"/>
                  </a:cubicBezTo>
                  <a:cubicBezTo>
                    <a:pt x="1992154" y="374809"/>
                    <a:pt x="1992154" y="377666"/>
                    <a:pt x="1992154" y="379571"/>
                  </a:cubicBezTo>
                  <a:cubicBezTo>
                    <a:pt x="1992154" y="381476"/>
                    <a:pt x="1991201" y="384334"/>
                    <a:pt x="1991201" y="386239"/>
                  </a:cubicBezTo>
                  <a:cubicBezTo>
                    <a:pt x="1990249" y="391001"/>
                    <a:pt x="1989296" y="395764"/>
                    <a:pt x="1988344" y="400526"/>
                  </a:cubicBezTo>
                  <a:cubicBezTo>
                    <a:pt x="1988344" y="400526"/>
                    <a:pt x="1988344" y="399574"/>
                    <a:pt x="1988344" y="399574"/>
                  </a:cubicBezTo>
                  <a:cubicBezTo>
                    <a:pt x="1987391" y="397669"/>
                    <a:pt x="1986439" y="394811"/>
                    <a:pt x="1985486" y="392906"/>
                  </a:cubicBezTo>
                  <a:cubicBezTo>
                    <a:pt x="1986439" y="389096"/>
                    <a:pt x="1986439" y="385286"/>
                    <a:pt x="1987391" y="381476"/>
                  </a:cubicBezTo>
                  <a:close/>
                  <a:moveTo>
                    <a:pt x="1968341" y="290989"/>
                  </a:moveTo>
                  <a:cubicBezTo>
                    <a:pt x="1968341" y="292894"/>
                    <a:pt x="1968341" y="294799"/>
                    <a:pt x="1967389" y="297656"/>
                  </a:cubicBezTo>
                  <a:cubicBezTo>
                    <a:pt x="1967389" y="299561"/>
                    <a:pt x="1966436" y="302419"/>
                    <a:pt x="1966436" y="305276"/>
                  </a:cubicBezTo>
                  <a:cubicBezTo>
                    <a:pt x="1966436" y="309086"/>
                    <a:pt x="1965484" y="313849"/>
                    <a:pt x="1965484" y="318611"/>
                  </a:cubicBezTo>
                  <a:cubicBezTo>
                    <a:pt x="1965484" y="313849"/>
                    <a:pt x="1964531" y="309086"/>
                    <a:pt x="1964531" y="304324"/>
                  </a:cubicBezTo>
                  <a:cubicBezTo>
                    <a:pt x="1964531" y="303371"/>
                    <a:pt x="1964531" y="301466"/>
                    <a:pt x="1964531" y="300514"/>
                  </a:cubicBezTo>
                  <a:cubicBezTo>
                    <a:pt x="1965484" y="296704"/>
                    <a:pt x="1967389" y="293846"/>
                    <a:pt x="1968341" y="290989"/>
                  </a:cubicBezTo>
                  <a:close/>
                  <a:moveTo>
                    <a:pt x="1937861" y="310039"/>
                  </a:moveTo>
                  <a:cubicBezTo>
                    <a:pt x="1937861" y="307181"/>
                    <a:pt x="1937861" y="304324"/>
                    <a:pt x="1937861" y="302419"/>
                  </a:cubicBezTo>
                  <a:cubicBezTo>
                    <a:pt x="1937861" y="300514"/>
                    <a:pt x="1937861" y="297656"/>
                    <a:pt x="1937861" y="295751"/>
                  </a:cubicBezTo>
                  <a:cubicBezTo>
                    <a:pt x="1937861" y="299561"/>
                    <a:pt x="1938814" y="302419"/>
                    <a:pt x="1938814" y="306229"/>
                  </a:cubicBezTo>
                  <a:cubicBezTo>
                    <a:pt x="1938814" y="308134"/>
                    <a:pt x="1938814" y="309086"/>
                    <a:pt x="1937861" y="310039"/>
                  </a:cubicBezTo>
                  <a:close/>
                  <a:moveTo>
                    <a:pt x="1938814" y="272891"/>
                  </a:moveTo>
                  <a:cubicBezTo>
                    <a:pt x="1937861" y="270034"/>
                    <a:pt x="1937861" y="268129"/>
                    <a:pt x="1936909" y="266224"/>
                  </a:cubicBezTo>
                  <a:cubicBezTo>
                    <a:pt x="1936909" y="264319"/>
                    <a:pt x="1936909" y="262414"/>
                    <a:pt x="1936909" y="261461"/>
                  </a:cubicBezTo>
                  <a:cubicBezTo>
                    <a:pt x="1936909" y="256699"/>
                    <a:pt x="1936909" y="250984"/>
                    <a:pt x="1936909" y="246221"/>
                  </a:cubicBezTo>
                  <a:cubicBezTo>
                    <a:pt x="1936909" y="253841"/>
                    <a:pt x="1937861" y="263366"/>
                    <a:pt x="1938814" y="272891"/>
                  </a:cubicBezTo>
                  <a:close/>
                  <a:moveTo>
                    <a:pt x="1900714" y="338614"/>
                  </a:moveTo>
                  <a:cubicBezTo>
                    <a:pt x="1900714" y="336709"/>
                    <a:pt x="1900714" y="334804"/>
                    <a:pt x="1900714" y="333851"/>
                  </a:cubicBezTo>
                  <a:cubicBezTo>
                    <a:pt x="1901666" y="331946"/>
                    <a:pt x="1901666" y="330041"/>
                    <a:pt x="1902619" y="329089"/>
                  </a:cubicBezTo>
                  <a:cubicBezTo>
                    <a:pt x="1903571" y="328136"/>
                    <a:pt x="1904524" y="326231"/>
                    <a:pt x="1904524" y="325279"/>
                  </a:cubicBezTo>
                  <a:cubicBezTo>
                    <a:pt x="1902619" y="330041"/>
                    <a:pt x="1901666" y="333851"/>
                    <a:pt x="1900714" y="338614"/>
                  </a:cubicBezTo>
                  <a:close/>
                  <a:moveTo>
                    <a:pt x="1915954" y="436721"/>
                  </a:moveTo>
                  <a:cubicBezTo>
                    <a:pt x="1915954" y="435769"/>
                    <a:pt x="1915954" y="434816"/>
                    <a:pt x="1915954" y="433864"/>
                  </a:cubicBezTo>
                  <a:cubicBezTo>
                    <a:pt x="1915954" y="433864"/>
                    <a:pt x="1915954" y="434816"/>
                    <a:pt x="1916906" y="434816"/>
                  </a:cubicBezTo>
                  <a:cubicBezTo>
                    <a:pt x="1915954" y="435769"/>
                    <a:pt x="1915954" y="436721"/>
                    <a:pt x="1915954" y="436721"/>
                  </a:cubicBezTo>
                  <a:close/>
                  <a:moveTo>
                    <a:pt x="1920716" y="401479"/>
                  </a:moveTo>
                  <a:cubicBezTo>
                    <a:pt x="1920716" y="403384"/>
                    <a:pt x="1919764" y="405289"/>
                    <a:pt x="1919764" y="407194"/>
                  </a:cubicBezTo>
                  <a:cubicBezTo>
                    <a:pt x="1918811" y="406241"/>
                    <a:pt x="1918811" y="405289"/>
                    <a:pt x="1917859" y="404336"/>
                  </a:cubicBezTo>
                  <a:cubicBezTo>
                    <a:pt x="1918811" y="402431"/>
                    <a:pt x="1919764" y="400526"/>
                    <a:pt x="1919764" y="398621"/>
                  </a:cubicBezTo>
                  <a:cubicBezTo>
                    <a:pt x="1920716" y="399574"/>
                    <a:pt x="1920716" y="400526"/>
                    <a:pt x="1920716" y="401479"/>
                  </a:cubicBezTo>
                  <a:close/>
                  <a:moveTo>
                    <a:pt x="1917859" y="331946"/>
                  </a:moveTo>
                  <a:cubicBezTo>
                    <a:pt x="1918811" y="333851"/>
                    <a:pt x="1919764" y="335756"/>
                    <a:pt x="1919764" y="337661"/>
                  </a:cubicBezTo>
                  <a:cubicBezTo>
                    <a:pt x="1919764" y="337661"/>
                    <a:pt x="1919764" y="337661"/>
                    <a:pt x="1919764" y="337661"/>
                  </a:cubicBezTo>
                  <a:cubicBezTo>
                    <a:pt x="1919764" y="337661"/>
                    <a:pt x="1918811" y="338614"/>
                    <a:pt x="1918811" y="338614"/>
                  </a:cubicBezTo>
                  <a:cubicBezTo>
                    <a:pt x="1917859" y="339566"/>
                    <a:pt x="1916906" y="340519"/>
                    <a:pt x="1916906" y="342424"/>
                  </a:cubicBezTo>
                  <a:cubicBezTo>
                    <a:pt x="1916906" y="341471"/>
                    <a:pt x="1916906" y="341471"/>
                    <a:pt x="1916906" y="341471"/>
                  </a:cubicBezTo>
                  <a:cubicBezTo>
                    <a:pt x="1916906" y="341471"/>
                    <a:pt x="1916906" y="342424"/>
                    <a:pt x="1915954" y="344329"/>
                  </a:cubicBezTo>
                  <a:cubicBezTo>
                    <a:pt x="1915954" y="344329"/>
                    <a:pt x="1915001" y="345281"/>
                    <a:pt x="1915001" y="345281"/>
                  </a:cubicBezTo>
                  <a:cubicBezTo>
                    <a:pt x="1915954" y="340519"/>
                    <a:pt x="1916906" y="335756"/>
                    <a:pt x="1917859" y="331946"/>
                  </a:cubicBezTo>
                  <a:close/>
                  <a:moveTo>
                    <a:pt x="1919764" y="360521"/>
                  </a:moveTo>
                  <a:cubicBezTo>
                    <a:pt x="1919764" y="361474"/>
                    <a:pt x="1919764" y="362426"/>
                    <a:pt x="1919764" y="364331"/>
                  </a:cubicBezTo>
                  <a:cubicBezTo>
                    <a:pt x="1917859" y="367189"/>
                    <a:pt x="1916906" y="370999"/>
                    <a:pt x="1915001" y="373856"/>
                  </a:cubicBezTo>
                  <a:cubicBezTo>
                    <a:pt x="1913096" y="378619"/>
                    <a:pt x="1910239" y="383381"/>
                    <a:pt x="1908334" y="388144"/>
                  </a:cubicBezTo>
                  <a:cubicBezTo>
                    <a:pt x="1908334" y="388144"/>
                    <a:pt x="1907381" y="387191"/>
                    <a:pt x="1907381" y="387191"/>
                  </a:cubicBezTo>
                  <a:cubicBezTo>
                    <a:pt x="1907381" y="386239"/>
                    <a:pt x="1907381" y="386239"/>
                    <a:pt x="1907381" y="385286"/>
                  </a:cubicBezTo>
                  <a:cubicBezTo>
                    <a:pt x="1908334" y="383381"/>
                    <a:pt x="1909286" y="381476"/>
                    <a:pt x="1910239" y="380524"/>
                  </a:cubicBezTo>
                  <a:cubicBezTo>
                    <a:pt x="1913096" y="372904"/>
                    <a:pt x="1916906" y="366236"/>
                    <a:pt x="1919764" y="360521"/>
                  </a:cubicBezTo>
                  <a:close/>
                  <a:moveTo>
                    <a:pt x="1910239" y="299561"/>
                  </a:moveTo>
                  <a:cubicBezTo>
                    <a:pt x="1909286" y="301466"/>
                    <a:pt x="1909286" y="303371"/>
                    <a:pt x="1908334" y="305276"/>
                  </a:cubicBezTo>
                  <a:cubicBezTo>
                    <a:pt x="1908334" y="305276"/>
                    <a:pt x="1908334" y="305276"/>
                    <a:pt x="1908334" y="305276"/>
                  </a:cubicBezTo>
                  <a:cubicBezTo>
                    <a:pt x="1909286" y="302419"/>
                    <a:pt x="1910239" y="300514"/>
                    <a:pt x="1910239" y="299561"/>
                  </a:cubicBezTo>
                  <a:close/>
                  <a:moveTo>
                    <a:pt x="1906429" y="313849"/>
                  </a:moveTo>
                  <a:cubicBezTo>
                    <a:pt x="1907381" y="311944"/>
                    <a:pt x="1907381" y="310991"/>
                    <a:pt x="1908334" y="309086"/>
                  </a:cubicBezTo>
                  <a:cubicBezTo>
                    <a:pt x="1908334" y="309086"/>
                    <a:pt x="1908334" y="309086"/>
                    <a:pt x="1908334" y="310039"/>
                  </a:cubicBezTo>
                  <a:cubicBezTo>
                    <a:pt x="1907381" y="311944"/>
                    <a:pt x="1907381" y="313849"/>
                    <a:pt x="1906429" y="315754"/>
                  </a:cubicBezTo>
                  <a:cubicBezTo>
                    <a:pt x="1906429" y="315754"/>
                    <a:pt x="1905476" y="316706"/>
                    <a:pt x="1905476" y="316706"/>
                  </a:cubicBezTo>
                  <a:cubicBezTo>
                    <a:pt x="1905476" y="314801"/>
                    <a:pt x="1905476" y="314801"/>
                    <a:pt x="1906429" y="313849"/>
                  </a:cubicBezTo>
                  <a:close/>
                  <a:moveTo>
                    <a:pt x="1893094" y="259556"/>
                  </a:moveTo>
                  <a:cubicBezTo>
                    <a:pt x="1893094" y="258604"/>
                    <a:pt x="1894046" y="257651"/>
                    <a:pt x="1894046" y="256699"/>
                  </a:cubicBezTo>
                  <a:cubicBezTo>
                    <a:pt x="1894046" y="256699"/>
                    <a:pt x="1894999" y="256699"/>
                    <a:pt x="1894999" y="256699"/>
                  </a:cubicBezTo>
                  <a:cubicBezTo>
                    <a:pt x="1896904" y="257651"/>
                    <a:pt x="1897856" y="259556"/>
                    <a:pt x="1899761" y="260509"/>
                  </a:cubicBezTo>
                  <a:lnTo>
                    <a:pt x="1904524" y="275749"/>
                  </a:lnTo>
                  <a:cubicBezTo>
                    <a:pt x="1901666" y="283369"/>
                    <a:pt x="1898809" y="290036"/>
                    <a:pt x="1895951" y="297656"/>
                  </a:cubicBezTo>
                  <a:cubicBezTo>
                    <a:pt x="1894999" y="291941"/>
                    <a:pt x="1894999" y="286226"/>
                    <a:pt x="1894046" y="281464"/>
                  </a:cubicBezTo>
                  <a:cubicBezTo>
                    <a:pt x="1894046" y="277654"/>
                    <a:pt x="1893094" y="273844"/>
                    <a:pt x="1892141" y="270034"/>
                  </a:cubicBezTo>
                  <a:cubicBezTo>
                    <a:pt x="1892141" y="270986"/>
                    <a:pt x="1893094" y="271939"/>
                    <a:pt x="1893094" y="272891"/>
                  </a:cubicBezTo>
                  <a:cubicBezTo>
                    <a:pt x="1893094" y="269081"/>
                    <a:pt x="1892141" y="264319"/>
                    <a:pt x="1893094" y="259556"/>
                  </a:cubicBezTo>
                  <a:close/>
                  <a:moveTo>
                    <a:pt x="1841659" y="297656"/>
                  </a:moveTo>
                  <a:cubicBezTo>
                    <a:pt x="1841659" y="303371"/>
                    <a:pt x="1840706" y="308134"/>
                    <a:pt x="1840706" y="313849"/>
                  </a:cubicBezTo>
                  <a:cubicBezTo>
                    <a:pt x="1839754" y="307181"/>
                    <a:pt x="1839754" y="300514"/>
                    <a:pt x="1838801" y="294799"/>
                  </a:cubicBezTo>
                  <a:cubicBezTo>
                    <a:pt x="1838801" y="292894"/>
                    <a:pt x="1838801" y="291941"/>
                    <a:pt x="1838801" y="290989"/>
                  </a:cubicBezTo>
                  <a:cubicBezTo>
                    <a:pt x="1839754" y="292894"/>
                    <a:pt x="1840706" y="294799"/>
                    <a:pt x="1841659" y="297656"/>
                  </a:cubicBezTo>
                  <a:close/>
                  <a:moveTo>
                    <a:pt x="1822609" y="363379"/>
                  </a:moveTo>
                  <a:cubicBezTo>
                    <a:pt x="1823561" y="359569"/>
                    <a:pt x="1825466" y="356711"/>
                    <a:pt x="1826419" y="353854"/>
                  </a:cubicBezTo>
                  <a:cubicBezTo>
                    <a:pt x="1826419" y="357664"/>
                    <a:pt x="1826419" y="360521"/>
                    <a:pt x="1827371" y="364331"/>
                  </a:cubicBezTo>
                  <a:cubicBezTo>
                    <a:pt x="1826419" y="365284"/>
                    <a:pt x="1824514" y="367189"/>
                    <a:pt x="1823561" y="368141"/>
                  </a:cubicBezTo>
                  <a:cubicBezTo>
                    <a:pt x="1822609" y="366236"/>
                    <a:pt x="1822609" y="365284"/>
                    <a:pt x="1822609" y="363379"/>
                  </a:cubicBezTo>
                  <a:close/>
                  <a:moveTo>
                    <a:pt x="1828324" y="403384"/>
                  </a:moveTo>
                  <a:cubicBezTo>
                    <a:pt x="1828324" y="402431"/>
                    <a:pt x="1827371" y="401479"/>
                    <a:pt x="1827371" y="400526"/>
                  </a:cubicBezTo>
                  <a:cubicBezTo>
                    <a:pt x="1826419" y="393859"/>
                    <a:pt x="1825466" y="387191"/>
                    <a:pt x="1825466" y="381476"/>
                  </a:cubicBezTo>
                  <a:cubicBezTo>
                    <a:pt x="1826419" y="379571"/>
                    <a:pt x="1827371" y="378619"/>
                    <a:pt x="1828324" y="377666"/>
                  </a:cubicBezTo>
                  <a:cubicBezTo>
                    <a:pt x="1828324" y="385286"/>
                    <a:pt x="1828324" y="391954"/>
                    <a:pt x="1829276" y="399574"/>
                  </a:cubicBezTo>
                  <a:cubicBezTo>
                    <a:pt x="1828324" y="400526"/>
                    <a:pt x="1828324" y="402431"/>
                    <a:pt x="1828324" y="403384"/>
                  </a:cubicBezTo>
                  <a:close/>
                  <a:moveTo>
                    <a:pt x="1833086" y="339566"/>
                  </a:moveTo>
                  <a:cubicBezTo>
                    <a:pt x="1833086" y="339566"/>
                    <a:pt x="1833086" y="339566"/>
                    <a:pt x="1833086" y="339566"/>
                  </a:cubicBezTo>
                  <a:cubicBezTo>
                    <a:pt x="1833086" y="339566"/>
                    <a:pt x="1833086" y="340519"/>
                    <a:pt x="1833086" y="340519"/>
                  </a:cubicBezTo>
                  <a:cubicBezTo>
                    <a:pt x="1833086" y="340519"/>
                    <a:pt x="1833086" y="339566"/>
                    <a:pt x="1833086" y="339566"/>
                  </a:cubicBezTo>
                  <a:close/>
                  <a:moveTo>
                    <a:pt x="1824514" y="272891"/>
                  </a:moveTo>
                  <a:cubicBezTo>
                    <a:pt x="1824514" y="269081"/>
                    <a:pt x="1824514" y="266224"/>
                    <a:pt x="1824514" y="263366"/>
                  </a:cubicBezTo>
                  <a:cubicBezTo>
                    <a:pt x="1827371" y="269081"/>
                    <a:pt x="1831181" y="276701"/>
                    <a:pt x="1835944" y="285274"/>
                  </a:cubicBezTo>
                  <a:cubicBezTo>
                    <a:pt x="1835944" y="288131"/>
                    <a:pt x="1835944" y="290989"/>
                    <a:pt x="1834991" y="294799"/>
                  </a:cubicBezTo>
                  <a:cubicBezTo>
                    <a:pt x="1834991" y="302419"/>
                    <a:pt x="1834039" y="310991"/>
                    <a:pt x="1834039" y="320516"/>
                  </a:cubicBezTo>
                  <a:cubicBezTo>
                    <a:pt x="1834039" y="323374"/>
                    <a:pt x="1834039" y="327184"/>
                    <a:pt x="1834039" y="330994"/>
                  </a:cubicBezTo>
                  <a:cubicBezTo>
                    <a:pt x="1834039" y="330994"/>
                    <a:pt x="1833086" y="330994"/>
                    <a:pt x="1833086" y="331946"/>
                  </a:cubicBezTo>
                  <a:cubicBezTo>
                    <a:pt x="1833086" y="331946"/>
                    <a:pt x="1832134" y="332899"/>
                    <a:pt x="1832134" y="332899"/>
                  </a:cubicBezTo>
                  <a:cubicBezTo>
                    <a:pt x="1830229" y="326231"/>
                    <a:pt x="1829276" y="321469"/>
                    <a:pt x="1827371" y="316706"/>
                  </a:cubicBezTo>
                  <a:cubicBezTo>
                    <a:pt x="1825466" y="310991"/>
                    <a:pt x="1823561" y="306229"/>
                    <a:pt x="1822609" y="303371"/>
                  </a:cubicBezTo>
                  <a:cubicBezTo>
                    <a:pt x="1823561" y="292894"/>
                    <a:pt x="1823561" y="282416"/>
                    <a:pt x="1824514" y="272891"/>
                  </a:cubicBezTo>
                  <a:close/>
                  <a:moveTo>
                    <a:pt x="1822609" y="309086"/>
                  </a:moveTo>
                  <a:cubicBezTo>
                    <a:pt x="1822609" y="311944"/>
                    <a:pt x="1823561" y="314801"/>
                    <a:pt x="1823561" y="317659"/>
                  </a:cubicBezTo>
                  <a:cubicBezTo>
                    <a:pt x="1824514" y="323374"/>
                    <a:pt x="1824514" y="330994"/>
                    <a:pt x="1825466" y="338614"/>
                  </a:cubicBezTo>
                  <a:cubicBezTo>
                    <a:pt x="1825466" y="339566"/>
                    <a:pt x="1825466" y="340519"/>
                    <a:pt x="1825466" y="340519"/>
                  </a:cubicBezTo>
                  <a:cubicBezTo>
                    <a:pt x="1823561" y="342424"/>
                    <a:pt x="1822609" y="345281"/>
                    <a:pt x="1820704" y="348139"/>
                  </a:cubicBezTo>
                  <a:cubicBezTo>
                    <a:pt x="1820704" y="343376"/>
                    <a:pt x="1820704" y="337661"/>
                    <a:pt x="1820704" y="332899"/>
                  </a:cubicBezTo>
                  <a:cubicBezTo>
                    <a:pt x="1820704" y="332899"/>
                    <a:pt x="1820704" y="332899"/>
                    <a:pt x="1820704" y="331946"/>
                  </a:cubicBezTo>
                  <a:cubicBezTo>
                    <a:pt x="1821656" y="324326"/>
                    <a:pt x="1821656" y="316706"/>
                    <a:pt x="1822609" y="309086"/>
                  </a:cubicBezTo>
                  <a:close/>
                  <a:moveTo>
                    <a:pt x="1763554" y="411956"/>
                  </a:moveTo>
                  <a:cubicBezTo>
                    <a:pt x="1763554" y="410051"/>
                    <a:pt x="1762601" y="408146"/>
                    <a:pt x="1762601" y="406241"/>
                  </a:cubicBezTo>
                  <a:cubicBezTo>
                    <a:pt x="1762601" y="403384"/>
                    <a:pt x="1761649" y="400526"/>
                    <a:pt x="1761649" y="397669"/>
                  </a:cubicBezTo>
                  <a:cubicBezTo>
                    <a:pt x="1761649" y="397669"/>
                    <a:pt x="1761649" y="397669"/>
                    <a:pt x="1761649" y="397669"/>
                  </a:cubicBezTo>
                  <a:cubicBezTo>
                    <a:pt x="1762601" y="398621"/>
                    <a:pt x="1763554" y="399574"/>
                    <a:pt x="1764506" y="400526"/>
                  </a:cubicBezTo>
                  <a:cubicBezTo>
                    <a:pt x="1764506" y="404336"/>
                    <a:pt x="1764506" y="408146"/>
                    <a:pt x="1763554" y="411956"/>
                  </a:cubicBezTo>
                  <a:close/>
                  <a:moveTo>
                    <a:pt x="1766411" y="379571"/>
                  </a:moveTo>
                  <a:cubicBezTo>
                    <a:pt x="1766411" y="379571"/>
                    <a:pt x="1766411" y="379571"/>
                    <a:pt x="1766411" y="379571"/>
                  </a:cubicBezTo>
                  <a:cubicBezTo>
                    <a:pt x="1766411" y="378619"/>
                    <a:pt x="1766411" y="377666"/>
                    <a:pt x="1766411" y="377666"/>
                  </a:cubicBezTo>
                  <a:cubicBezTo>
                    <a:pt x="1766411" y="378619"/>
                    <a:pt x="1766411" y="379571"/>
                    <a:pt x="1766411" y="379571"/>
                  </a:cubicBezTo>
                  <a:close/>
                  <a:moveTo>
                    <a:pt x="1792129" y="251936"/>
                  </a:moveTo>
                  <a:lnTo>
                    <a:pt x="1802606" y="219551"/>
                  </a:lnTo>
                  <a:cubicBezTo>
                    <a:pt x="1802606" y="219551"/>
                    <a:pt x="1802606" y="219551"/>
                    <a:pt x="1802606" y="219551"/>
                  </a:cubicBezTo>
                  <a:cubicBezTo>
                    <a:pt x="1802606" y="237649"/>
                    <a:pt x="1801654" y="255746"/>
                    <a:pt x="1801654" y="274796"/>
                  </a:cubicBezTo>
                  <a:cubicBezTo>
                    <a:pt x="1801654" y="291941"/>
                    <a:pt x="1800701" y="309086"/>
                    <a:pt x="1800701" y="327184"/>
                  </a:cubicBezTo>
                  <a:cubicBezTo>
                    <a:pt x="1798796" y="321469"/>
                    <a:pt x="1796891" y="315754"/>
                    <a:pt x="1794034" y="310991"/>
                  </a:cubicBezTo>
                  <a:cubicBezTo>
                    <a:pt x="1792129" y="305276"/>
                    <a:pt x="1790224" y="299561"/>
                    <a:pt x="1788319" y="294799"/>
                  </a:cubicBezTo>
                  <a:cubicBezTo>
                    <a:pt x="1788319" y="293846"/>
                    <a:pt x="1787366" y="292894"/>
                    <a:pt x="1787366" y="292894"/>
                  </a:cubicBezTo>
                  <a:cubicBezTo>
                    <a:pt x="1787366" y="290989"/>
                    <a:pt x="1786414" y="289084"/>
                    <a:pt x="1786414" y="287179"/>
                  </a:cubicBezTo>
                  <a:cubicBezTo>
                    <a:pt x="1787366" y="284321"/>
                    <a:pt x="1788319" y="282416"/>
                    <a:pt x="1788319" y="279559"/>
                  </a:cubicBezTo>
                  <a:cubicBezTo>
                    <a:pt x="1788319" y="278606"/>
                    <a:pt x="1788319" y="277654"/>
                    <a:pt x="1787366" y="275749"/>
                  </a:cubicBezTo>
                  <a:cubicBezTo>
                    <a:pt x="1787366" y="274796"/>
                    <a:pt x="1785461" y="274796"/>
                    <a:pt x="1785461" y="274796"/>
                  </a:cubicBezTo>
                  <a:cubicBezTo>
                    <a:pt x="1785461" y="274796"/>
                    <a:pt x="1785461" y="274796"/>
                    <a:pt x="1785461" y="274796"/>
                  </a:cubicBezTo>
                  <a:lnTo>
                    <a:pt x="1792129" y="251936"/>
                  </a:lnTo>
                  <a:close/>
                  <a:moveTo>
                    <a:pt x="1785461" y="276701"/>
                  </a:moveTo>
                  <a:cubicBezTo>
                    <a:pt x="1785461" y="276701"/>
                    <a:pt x="1786414" y="277654"/>
                    <a:pt x="1786414" y="278606"/>
                  </a:cubicBezTo>
                  <a:cubicBezTo>
                    <a:pt x="1786414" y="279559"/>
                    <a:pt x="1786414" y="281464"/>
                    <a:pt x="1786414" y="282416"/>
                  </a:cubicBezTo>
                  <a:cubicBezTo>
                    <a:pt x="1785461" y="280511"/>
                    <a:pt x="1785461" y="278606"/>
                    <a:pt x="1785461" y="276701"/>
                  </a:cubicBezTo>
                  <a:cubicBezTo>
                    <a:pt x="1785461" y="276701"/>
                    <a:pt x="1785461" y="276701"/>
                    <a:pt x="1785461" y="276701"/>
                  </a:cubicBezTo>
                  <a:close/>
                  <a:moveTo>
                    <a:pt x="1776889" y="330994"/>
                  </a:moveTo>
                  <a:cubicBezTo>
                    <a:pt x="1779746" y="345281"/>
                    <a:pt x="1782604" y="360521"/>
                    <a:pt x="1785461" y="376714"/>
                  </a:cubicBezTo>
                  <a:cubicBezTo>
                    <a:pt x="1785461" y="379571"/>
                    <a:pt x="1786414" y="382429"/>
                    <a:pt x="1786414" y="385286"/>
                  </a:cubicBezTo>
                  <a:cubicBezTo>
                    <a:pt x="1785461" y="384334"/>
                    <a:pt x="1785461" y="383381"/>
                    <a:pt x="1784509" y="382429"/>
                  </a:cubicBezTo>
                  <a:cubicBezTo>
                    <a:pt x="1785461" y="377666"/>
                    <a:pt x="1785461" y="374809"/>
                    <a:pt x="1785461" y="374809"/>
                  </a:cubicBezTo>
                  <a:cubicBezTo>
                    <a:pt x="1785461" y="374809"/>
                    <a:pt x="1784509" y="376714"/>
                    <a:pt x="1783556" y="380524"/>
                  </a:cubicBezTo>
                  <a:cubicBezTo>
                    <a:pt x="1781651" y="376714"/>
                    <a:pt x="1778794" y="373856"/>
                    <a:pt x="1776889" y="370999"/>
                  </a:cubicBezTo>
                  <a:cubicBezTo>
                    <a:pt x="1776889" y="357664"/>
                    <a:pt x="1776889" y="346234"/>
                    <a:pt x="1776889" y="337661"/>
                  </a:cubicBezTo>
                  <a:cubicBezTo>
                    <a:pt x="1775936" y="334804"/>
                    <a:pt x="1775936" y="332899"/>
                    <a:pt x="1776889" y="330994"/>
                  </a:cubicBezTo>
                  <a:close/>
                  <a:moveTo>
                    <a:pt x="1755934" y="211931"/>
                  </a:moveTo>
                  <a:cubicBezTo>
                    <a:pt x="1756886" y="215741"/>
                    <a:pt x="1758791" y="223361"/>
                    <a:pt x="1761649" y="233839"/>
                  </a:cubicBezTo>
                  <a:cubicBezTo>
                    <a:pt x="1761649" y="234791"/>
                    <a:pt x="1762601" y="236696"/>
                    <a:pt x="1762601" y="238601"/>
                  </a:cubicBezTo>
                  <a:cubicBezTo>
                    <a:pt x="1761649" y="237649"/>
                    <a:pt x="1761649" y="235744"/>
                    <a:pt x="1760696" y="234791"/>
                  </a:cubicBezTo>
                  <a:cubicBezTo>
                    <a:pt x="1759744" y="232886"/>
                    <a:pt x="1759744" y="230981"/>
                    <a:pt x="1759744" y="230981"/>
                  </a:cubicBezTo>
                  <a:cubicBezTo>
                    <a:pt x="1759744" y="230981"/>
                    <a:pt x="1759744" y="231934"/>
                    <a:pt x="1759744" y="232886"/>
                  </a:cubicBezTo>
                  <a:cubicBezTo>
                    <a:pt x="1758791" y="230981"/>
                    <a:pt x="1757839" y="229076"/>
                    <a:pt x="1756886" y="227171"/>
                  </a:cubicBezTo>
                  <a:cubicBezTo>
                    <a:pt x="1755934" y="226219"/>
                    <a:pt x="1755934" y="225266"/>
                    <a:pt x="1754981" y="223361"/>
                  </a:cubicBezTo>
                  <a:cubicBezTo>
                    <a:pt x="1755934" y="219551"/>
                    <a:pt x="1755934" y="215741"/>
                    <a:pt x="1755934" y="211931"/>
                  </a:cubicBezTo>
                  <a:close/>
                  <a:moveTo>
                    <a:pt x="1754981" y="232886"/>
                  </a:moveTo>
                  <a:cubicBezTo>
                    <a:pt x="1754981" y="233839"/>
                    <a:pt x="1755934" y="234791"/>
                    <a:pt x="1755934" y="235744"/>
                  </a:cubicBezTo>
                  <a:cubicBezTo>
                    <a:pt x="1755934" y="236696"/>
                    <a:pt x="1754981" y="237649"/>
                    <a:pt x="1754981" y="240506"/>
                  </a:cubicBezTo>
                  <a:cubicBezTo>
                    <a:pt x="1754981" y="237649"/>
                    <a:pt x="1754981" y="234791"/>
                    <a:pt x="1754981" y="232886"/>
                  </a:cubicBezTo>
                  <a:close/>
                  <a:moveTo>
                    <a:pt x="1754029" y="281464"/>
                  </a:moveTo>
                  <a:cubicBezTo>
                    <a:pt x="1754029" y="270986"/>
                    <a:pt x="1754029" y="261461"/>
                    <a:pt x="1754981" y="252889"/>
                  </a:cubicBezTo>
                  <a:cubicBezTo>
                    <a:pt x="1755934" y="244316"/>
                    <a:pt x="1756886" y="238601"/>
                    <a:pt x="1756886" y="236696"/>
                  </a:cubicBezTo>
                  <a:cubicBezTo>
                    <a:pt x="1758791" y="242411"/>
                    <a:pt x="1761649" y="250031"/>
                    <a:pt x="1763554" y="256699"/>
                  </a:cubicBezTo>
                  <a:cubicBezTo>
                    <a:pt x="1764506" y="265271"/>
                    <a:pt x="1766411" y="274796"/>
                    <a:pt x="1768316" y="286226"/>
                  </a:cubicBezTo>
                  <a:cubicBezTo>
                    <a:pt x="1763554" y="298609"/>
                    <a:pt x="1758791" y="310991"/>
                    <a:pt x="1754981" y="322421"/>
                  </a:cubicBezTo>
                  <a:cubicBezTo>
                    <a:pt x="1754981" y="320516"/>
                    <a:pt x="1754981" y="318611"/>
                    <a:pt x="1754029" y="317659"/>
                  </a:cubicBezTo>
                  <a:cubicBezTo>
                    <a:pt x="1754029" y="317659"/>
                    <a:pt x="1754029" y="316706"/>
                    <a:pt x="1754029" y="316706"/>
                  </a:cubicBezTo>
                  <a:cubicBezTo>
                    <a:pt x="1754029" y="303371"/>
                    <a:pt x="1754029" y="291941"/>
                    <a:pt x="1754029" y="281464"/>
                  </a:cubicBezTo>
                  <a:close/>
                  <a:moveTo>
                    <a:pt x="1687354" y="295751"/>
                  </a:moveTo>
                  <a:cubicBezTo>
                    <a:pt x="1686401" y="302419"/>
                    <a:pt x="1685449" y="309086"/>
                    <a:pt x="1685449" y="314801"/>
                  </a:cubicBezTo>
                  <a:cubicBezTo>
                    <a:pt x="1685449" y="318611"/>
                    <a:pt x="1684496" y="321469"/>
                    <a:pt x="1684496" y="325279"/>
                  </a:cubicBezTo>
                  <a:cubicBezTo>
                    <a:pt x="1683544" y="320516"/>
                    <a:pt x="1682591" y="316706"/>
                    <a:pt x="1681639" y="311944"/>
                  </a:cubicBezTo>
                  <a:cubicBezTo>
                    <a:pt x="1681639" y="310039"/>
                    <a:pt x="1681639" y="309086"/>
                    <a:pt x="1681639" y="309086"/>
                  </a:cubicBezTo>
                  <a:cubicBezTo>
                    <a:pt x="1681639" y="309086"/>
                    <a:pt x="1681639" y="309086"/>
                    <a:pt x="1681639" y="310039"/>
                  </a:cubicBezTo>
                  <a:cubicBezTo>
                    <a:pt x="1681639" y="309086"/>
                    <a:pt x="1680686" y="307181"/>
                    <a:pt x="1680686" y="306229"/>
                  </a:cubicBezTo>
                  <a:cubicBezTo>
                    <a:pt x="1680686" y="305276"/>
                    <a:pt x="1680686" y="304324"/>
                    <a:pt x="1681639" y="303371"/>
                  </a:cubicBezTo>
                  <a:cubicBezTo>
                    <a:pt x="1682591" y="300514"/>
                    <a:pt x="1683544" y="297656"/>
                    <a:pt x="1684496" y="295751"/>
                  </a:cubicBezTo>
                  <a:cubicBezTo>
                    <a:pt x="1686401" y="290989"/>
                    <a:pt x="1687354" y="287179"/>
                    <a:pt x="1689259" y="282416"/>
                  </a:cubicBezTo>
                  <a:cubicBezTo>
                    <a:pt x="1687354" y="287179"/>
                    <a:pt x="1687354" y="291941"/>
                    <a:pt x="1687354" y="295751"/>
                  </a:cubicBezTo>
                  <a:close/>
                  <a:moveTo>
                    <a:pt x="1678781" y="276701"/>
                  </a:moveTo>
                  <a:cubicBezTo>
                    <a:pt x="1680686" y="266224"/>
                    <a:pt x="1682591" y="255746"/>
                    <a:pt x="1684496" y="245269"/>
                  </a:cubicBezTo>
                  <a:cubicBezTo>
                    <a:pt x="1685449" y="250031"/>
                    <a:pt x="1686401" y="254794"/>
                    <a:pt x="1686401" y="259556"/>
                  </a:cubicBezTo>
                  <a:cubicBezTo>
                    <a:pt x="1686401" y="262414"/>
                    <a:pt x="1686401" y="265271"/>
                    <a:pt x="1686401" y="268129"/>
                  </a:cubicBezTo>
                  <a:cubicBezTo>
                    <a:pt x="1686401" y="269081"/>
                    <a:pt x="1686401" y="270034"/>
                    <a:pt x="1686401" y="270986"/>
                  </a:cubicBezTo>
                  <a:cubicBezTo>
                    <a:pt x="1682591" y="276701"/>
                    <a:pt x="1679734" y="284321"/>
                    <a:pt x="1675924" y="292894"/>
                  </a:cubicBezTo>
                  <a:cubicBezTo>
                    <a:pt x="1675924" y="292894"/>
                    <a:pt x="1675924" y="291941"/>
                    <a:pt x="1675924" y="291941"/>
                  </a:cubicBezTo>
                  <a:cubicBezTo>
                    <a:pt x="1676876" y="287179"/>
                    <a:pt x="1677829" y="283369"/>
                    <a:pt x="1678781" y="278606"/>
                  </a:cubicBezTo>
                  <a:cubicBezTo>
                    <a:pt x="1679734" y="276701"/>
                    <a:pt x="1679734" y="275749"/>
                    <a:pt x="1679734" y="275749"/>
                  </a:cubicBezTo>
                  <a:cubicBezTo>
                    <a:pt x="1679734" y="275749"/>
                    <a:pt x="1679734" y="275749"/>
                    <a:pt x="1678781" y="276701"/>
                  </a:cubicBezTo>
                  <a:close/>
                  <a:moveTo>
                    <a:pt x="1677829" y="199549"/>
                  </a:moveTo>
                  <a:cubicBezTo>
                    <a:pt x="1677829" y="201454"/>
                    <a:pt x="1677829" y="202406"/>
                    <a:pt x="1678781" y="204311"/>
                  </a:cubicBezTo>
                  <a:cubicBezTo>
                    <a:pt x="1677829" y="207169"/>
                    <a:pt x="1676876" y="210979"/>
                    <a:pt x="1676876" y="213836"/>
                  </a:cubicBezTo>
                  <a:cubicBezTo>
                    <a:pt x="1676876" y="209074"/>
                    <a:pt x="1676876" y="204311"/>
                    <a:pt x="1677829" y="199549"/>
                  </a:cubicBezTo>
                  <a:close/>
                  <a:moveTo>
                    <a:pt x="1640681" y="226219"/>
                  </a:moveTo>
                  <a:cubicBezTo>
                    <a:pt x="1643539" y="233839"/>
                    <a:pt x="1646396" y="244316"/>
                    <a:pt x="1649254" y="254794"/>
                  </a:cubicBezTo>
                  <a:cubicBezTo>
                    <a:pt x="1651159" y="260509"/>
                    <a:pt x="1652111" y="267176"/>
                    <a:pt x="1654016" y="274796"/>
                  </a:cubicBezTo>
                  <a:cubicBezTo>
                    <a:pt x="1654016" y="276701"/>
                    <a:pt x="1653064" y="279559"/>
                    <a:pt x="1653064" y="281464"/>
                  </a:cubicBezTo>
                  <a:cubicBezTo>
                    <a:pt x="1653064" y="280511"/>
                    <a:pt x="1652111" y="279559"/>
                    <a:pt x="1652111" y="279559"/>
                  </a:cubicBezTo>
                  <a:cubicBezTo>
                    <a:pt x="1652111" y="279559"/>
                    <a:pt x="1652111" y="280511"/>
                    <a:pt x="1652111" y="282416"/>
                  </a:cubicBezTo>
                  <a:cubicBezTo>
                    <a:pt x="1651159" y="288131"/>
                    <a:pt x="1650206" y="293846"/>
                    <a:pt x="1649254" y="300514"/>
                  </a:cubicBezTo>
                  <a:cubicBezTo>
                    <a:pt x="1646396" y="293846"/>
                    <a:pt x="1644491" y="288131"/>
                    <a:pt x="1641634" y="281464"/>
                  </a:cubicBezTo>
                  <a:cubicBezTo>
                    <a:pt x="1642586" y="280511"/>
                    <a:pt x="1642586" y="280511"/>
                    <a:pt x="1643539" y="279559"/>
                  </a:cubicBezTo>
                  <a:cubicBezTo>
                    <a:pt x="1644491" y="278606"/>
                    <a:pt x="1646396" y="277654"/>
                    <a:pt x="1647349" y="277654"/>
                  </a:cubicBezTo>
                  <a:cubicBezTo>
                    <a:pt x="1651159" y="274796"/>
                    <a:pt x="1654016" y="273844"/>
                    <a:pt x="1654016" y="273844"/>
                  </a:cubicBezTo>
                  <a:cubicBezTo>
                    <a:pt x="1654016" y="273844"/>
                    <a:pt x="1652111" y="274796"/>
                    <a:pt x="1647349" y="276701"/>
                  </a:cubicBezTo>
                  <a:cubicBezTo>
                    <a:pt x="1646396" y="277654"/>
                    <a:pt x="1645444" y="277654"/>
                    <a:pt x="1643539" y="278606"/>
                  </a:cubicBezTo>
                  <a:cubicBezTo>
                    <a:pt x="1643539" y="278606"/>
                    <a:pt x="1642586" y="279559"/>
                    <a:pt x="1642586" y="279559"/>
                  </a:cubicBezTo>
                  <a:cubicBezTo>
                    <a:pt x="1642586" y="271939"/>
                    <a:pt x="1642586" y="263366"/>
                    <a:pt x="1642586" y="255746"/>
                  </a:cubicBezTo>
                  <a:cubicBezTo>
                    <a:pt x="1640681" y="246221"/>
                    <a:pt x="1640681" y="235744"/>
                    <a:pt x="1640681" y="226219"/>
                  </a:cubicBezTo>
                  <a:cubicBezTo>
                    <a:pt x="1639729" y="226219"/>
                    <a:pt x="1639729" y="226219"/>
                    <a:pt x="1640681" y="226219"/>
                  </a:cubicBezTo>
                  <a:close/>
                  <a:moveTo>
                    <a:pt x="1620679" y="348139"/>
                  </a:moveTo>
                  <a:cubicBezTo>
                    <a:pt x="1620679" y="349091"/>
                    <a:pt x="1620679" y="350044"/>
                    <a:pt x="1620679" y="351949"/>
                  </a:cubicBezTo>
                  <a:cubicBezTo>
                    <a:pt x="1620679" y="352901"/>
                    <a:pt x="1620679" y="353854"/>
                    <a:pt x="1620679" y="353854"/>
                  </a:cubicBezTo>
                  <a:cubicBezTo>
                    <a:pt x="1619726" y="354806"/>
                    <a:pt x="1619726" y="355759"/>
                    <a:pt x="1618774" y="356711"/>
                  </a:cubicBezTo>
                  <a:cubicBezTo>
                    <a:pt x="1619726" y="353854"/>
                    <a:pt x="1620679" y="350044"/>
                    <a:pt x="1620679" y="348139"/>
                  </a:cubicBezTo>
                  <a:close/>
                  <a:moveTo>
                    <a:pt x="1618774" y="311944"/>
                  </a:moveTo>
                  <a:cubicBezTo>
                    <a:pt x="1617821" y="312896"/>
                    <a:pt x="1617821" y="313849"/>
                    <a:pt x="1616869" y="315754"/>
                  </a:cubicBezTo>
                  <a:cubicBezTo>
                    <a:pt x="1613059" y="323374"/>
                    <a:pt x="1609249" y="332899"/>
                    <a:pt x="1605439" y="343376"/>
                  </a:cubicBezTo>
                  <a:cubicBezTo>
                    <a:pt x="1604486" y="345281"/>
                    <a:pt x="1603534" y="348139"/>
                    <a:pt x="1602581" y="350996"/>
                  </a:cubicBezTo>
                  <a:cubicBezTo>
                    <a:pt x="1602581" y="348139"/>
                    <a:pt x="1602581" y="345281"/>
                    <a:pt x="1602581" y="342424"/>
                  </a:cubicBezTo>
                  <a:cubicBezTo>
                    <a:pt x="1605439" y="334804"/>
                    <a:pt x="1609249" y="328136"/>
                    <a:pt x="1613059" y="321469"/>
                  </a:cubicBezTo>
                  <a:cubicBezTo>
                    <a:pt x="1614964" y="317659"/>
                    <a:pt x="1617821" y="313849"/>
                    <a:pt x="1619726" y="310039"/>
                  </a:cubicBezTo>
                  <a:cubicBezTo>
                    <a:pt x="1618774" y="310991"/>
                    <a:pt x="1618774" y="310991"/>
                    <a:pt x="1618774" y="311944"/>
                  </a:cubicBezTo>
                  <a:close/>
                  <a:moveTo>
                    <a:pt x="1610201" y="269081"/>
                  </a:moveTo>
                  <a:cubicBezTo>
                    <a:pt x="1612106" y="265271"/>
                    <a:pt x="1613059" y="261461"/>
                    <a:pt x="1614011" y="258604"/>
                  </a:cubicBezTo>
                  <a:cubicBezTo>
                    <a:pt x="1614964" y="256699"/>
                    <a:pt x="1615916" y="254794"/>
                    <a:pt x="1616869" y="252889"/>
                  </a:cubicBezTo>
                  <a:cubicBezTo>
                    <a:pt x="1616869" y="264319"/>
                    <a:pt x="1617821" y="277654"/>
                    <a:pt x="1617821" y="292894"/>
                  </a:cubicBezTo>
                  <a:cubicBezTo>
                    <a:pt x="1617821" y="292894"/>
                    <a:pt x="1617821" y="293846"/>
                    <a:pt x="1617821" y="293846"/>
                  </a:cubicBezTo>
                  <a:cubicBezTo>
                    <a:pt x="1616869" y="291941"/>
                    <a:pt x="1615916" y="290036"/>
                    <a:pt x="1614011" y="289084"/>
                  </a:cubicBezTo>
                  <a:cubicBezTo>
                    <a:pt x="1611154" y="284321"/>
                    <a:pt x="1608296" y="280511"/>
                    <a:pt x="1606391" y="277654"/>
                  </a:cubicBezTo>
                  <a:cubicBezTo>
                    <a:pt x="1608296" y="274796"/>
                    <a:pt x="1609249" y="271939"/>
                    <a:pt x="1610201" y="269081"/>
                  </a:cubicBezTo>
                  <a:close/>
                  <a:moveTo>
                    <a:pt x="1600676" y="297656"/>
                  </a:moveTo>
                  <a:cubicBezTo>
                    <a:pt x="1602581" y="290989"/>
                    <a:pt x="1604486" y="285274"/>
                    <a:pt x="1606391" y="279559"/>
                  </a:cubicBezTo>
                  <a:cubicBezTo>
                    <a:pt x="1607344" y="282416"/>
                    <a:pt x="1609249" y="286226"/>
                    <a:pt x="1611154" y="290989"/>
                  </a:cubicBezTo>
                  <a:cubicBezTo>
                    <a:pt x="1613059" y="294799"/>
                    <a:pt x="1614964" y="298609"/>
                    <a:pt x="1616869" y="303371"/>
                  </a:cubicBezTo>
                  <a:cubicBezTo>
                    <a:pt x="1613059" y="307181"/>
                    <a:pt x="1610201" y="312896"/>
                    <a:pt x="1606391" y="317659"/>
                  </a:cubicBezTo>
                  <a:cubicBezTo>
                    <a:pt x="1604486" y="320516"/>
                    <a:pt x="1602581" y="322421"/>
                    <a:pt x="1601629" y="325279"/>
                  </a:cubicBezTo>
                  <a:cubicBezTo>
                    <a:pt x="1601629" y="323374"/>
                    <a:pt x="1601629" y="321469"/>
                    <a:pt x="1600676" y="319564"/>
                  </a:cubicBezTo>
                  <a:cubicBezTo>
                    <a:pt x="1600676" y="314801"/>
                    <a:pt x="1599724" y="310039"/>
                    <a:pt x="1599724" y="305276"/>
                  </a:cubicBezTo>
                  <a:cubicBezTo>
                    <a:pt x="1599724" y="302419"/>
                    <a:pt x="1600676" y="300514"/>
                    <a:pt x="1600676" y="297656"/>
                  </a:cubicBezTo>
                  <a:close/>
                  <a:moveTo>
                    <a:pt x="1567339" y="315754"/>
                  </a:moveTo>
                  <a:cubicBezTo>
                    <a:pt x="1567339" y="320516"/>
                    <a:pt x="1568291" y="325279"/>
                    <a:pt x="1568291" y="330041"/>
                  </a:cubicBezTo>
                  <a:cubicBezTo>
                    <a:pt x="1567339" y="326231"/>
                    <a:pt x="1567339" y="323374"/>
                    <a:pt x="1566386" y="320516"/>
                  </a:cubicBezTo>
                  <a:cubicBezTo>
                    <a:pt x="1567339" y="319564"/>
                    <a:pt x="1567339" y="317659"/>
                    <a:pt x="1567339" y="315754"/>
                  </a:cubicBezTo>
                  <a:close/>
                  <a:moveTo>
                    <a:pt x="1547336" y="265271"/>
                  </a:moveTo>
                  <a:cubicBezTo>
                    <a:pt x="1547336" y="269081"/>
                    <a:pt x="1546384" y="271939"/>
                    <a:pt x="1546384" y="275749"/>
                  </a:cubicBezTo>
                  <a:cubicBezTo>
                    <a:pt x="1546384" y="274796"/>
                    <a:pt x="1545431" y="273844"/>
                    <a:pt x="1545431" y="272891"/>
                  </a:cubicBezTo>
                  <a:cubicBezTo>
                    <a:pt x="1546384" y="270986"/>
                    <a:pt x="1546384" y="268129"/>
                    <a:pt x="1547336" y="265271"/>
                  </a:cubicBezTo>
                  <a:close/>
                  <a:moveTo>
                    <a:pt x="1541621" y="286226"/>
                  </a:moveTo>
                  <a:cubicBezTo>
                    <a:pt x="1542574" y="289084"/>
                    <a:pt x="1543526" y="290989"/>
                    <a:pt x="1543526" y="293846"/>
                  </a:cubicBezTo>
                  <a:cubicBezTo>
                    <a:pt x="1543526" y="295751"/>
                    <a:pt x="1542574" y="298609"/>
                    <a:pt x="1542574" y="301466"/>
                  </a:cubicBezTo>
                  <a:cubicBezTo>
                    <a:pt x="1541621" y="298609"/>
                    <a:pt x="1540669" y="294799"/>
                    <a:pt x="1539716" y="291941"/>
                  </a:cubicBezTo>
                  <a:cubicBezTo>
                    <a:pt x="1540669" y="289084"/>
                    <a:pt x="1541621" y="288131"/>
                    <a:pt x="1541621" y="286226"/>
                  </a:cubicBezTo>
                  <a:close/>
                  <a:moveTo>
                    <a:pt x="1537811" y="271939"/>
                  </a:moveTo>
                  <a:cubicBezTo>
                    <a:pt x="1537811" y="273844"/>
                    <a:pt x="1538764" y="274796"/>
                    <a:pt x="1538764" y="276701"/>
                  </a:cubicBezTo>
                  <a:cubicBezTo>
                    <a:pt x="1537811" y="277654"/>
                    <a:pt x="1537811" y="278606"/>
                    <a:pt x="1536859" y="280511"/>
                  </a:cubicBezTo>
                  <a:cubicBezTo>
                    <a:pt x="1537811" y="276701"/>
                    <a:pt x="1537811" y="273844"/>
                    <a:pt x="1537811" y="271939"/>
                  </a:cubicBezTo>
                  <a:close/>
                  <a:moveTo>
                    <a:pt x="1533049" y="338614"/>
                  </a:moveTo>
                  <a:cubicBezTo>
                    <a:pt x="1533049" y="337661"/>
                    <a:pt x="1533049" y="336709"/>
                    <a:pt x="1533049" y="335756"/>
                  </a:cubicBezTo>
                  <a:cubicBezTo>
                    <a:pt x="1534001" y="340519"/>
                    <a:pt x="1534954" y="345281"/>
                    <a:pt x="1535906" y="350044"/>
                  </a:cubicBezTo>
                  <a:cubicBezTo>
                    <a:pt x="1536859" y="352901"/>
                    <a:pt x="1536859" y="354806"/>
                    <a:pt x="1536859" y="357664"/>
                  </a:cubicBezTo>
                  <a:cubicBezTo>
                    <a:pt x="1536859" y="359569"/>
                    <a:pt x="1536859" y="360521"/>
                    <a:pt x="1536859" y="362426"/>
                  </a:cubicBezTo>
                  <a:cubicBezTo>
                    <a:pt x="1536859" y="362426"/>
                    <a:pt x="1536859" y="362426"/>
                    <a:pt x="1536859" y="362426"/>
                  </a:cubicBezTo>
                  <a:cubicBezTo>
                    <a:pt x="1534954" y="356711"/>
                    <a:pt x="1533049" y="351949"/>
                    <a:pt x="1532096" y="346234"/>
                  </a:cubicBezTo>
                  <a:cubicBezTo>
                    <a:pt x="1533049" y="343376"/>
                    <a:pt x="1533049" y="341471"/>
                    <a:pt x="1533049" y="338614"/>
                  </a:cubicBezTo>
                  <a:close/>
                  <a:moveTo>
                    <a:pt x="1519714" y="270986"/>
                  </a:moveTo>
                  <a:cubicBezTo>
                    <a:pt x="1521619" y="279559"/>
                    <a:pt x="1523524" y="288131"/>
                    <a:pt x="1525429" y="297656"/>
                  </a:cubicBezTo>
                  <a:cubicBezTo>
                    <a:pt x="1525429" y="298609"/>
                    <a:pt x="1525429" y="299561"/>
                    <a:pt x="1524476" y="301466"/>
                  </a:cubicBezTo>
                  <a:cubicBezTo>
                    <a:pt x="1523524" y="306229"/>
                    <a:pt x="1522571" y="310991"/>
                    <a:pt x="1521619" y="315754"/>
                  </a:cubicBezTo>
                  <a:cubicBezTo>
                    <a:pt x="1520666" y="313849"/>
                    <a:pt x="1520666" y="311944"/>
                    <a:pt x="1519714" y="310991"/>
                  </a:cubicBezTo>
                  <a:cubicBezTo>
                    <a:pt x="1519714" y="295751"/>
                    <a:pt x="1518761" y="281464"/>
                    <a:pt x="1517809" y="268129"/>
                  </a:cubicBezTo>
                  <a:cubicBezTo>
                    <a:pt x="1519714" y="268129"/>
                    <a:pt x="1519714" y="269081"/>
                    <a:pt x="1519714" y="270986"/>
                  </a:cubicBezTo>
                  <a:close/>
                  <a:moveTo>
                    <a:pt x="1503521" y="302419"/>
                  </a:moveTo>
                  <a:cubicBezTo>
                    <a:pt x="1503521" y="306229"/>
                    <a:pt x="1503521" y="310039"/>
                    <a:pt x="1502569" y="313849"/>
                  </a:cubicBezTo>
                  <a:cubicBezTo>
                    <a:pt x="1502569" y="318611"/>
                    <a:pt x="1502569" y="324326"/>
                    <a:pt x="1502569" y="330041"/>
                  </a:cubicBezTo>
                  <a:cubicBezTo>
                    <a:pt x="1502569" y="330041"/>
                    <a:pt x="1502569" y="330041"/>
                    <a:pt x="1501616" y="329089"/>
                  </a:cubicBezTo>
                  <a:cubicBezTo>
                    <a:pt x="1500664" y="323374"/>
                    <a:pt x="1498759" y="317659"/>
                    <a:pt x="1497806" y="311944"/>
                  </a:cubicBezTo>
                  <a:cubicBezTo>
                    <a:pt x="1500664" y="309086"/>
                    <a:pt x="1502569" y="306229"/>
                    <a:pt x="1503521" y="302419"/>
                  </a:cubicBezTo>
                  <a:close/>
                  <a:moveTo>
                    <a:pt x="1477804" y="272891"/>
                  </a:moveTo>
                  <a:cubicBezTo>
                    <a:pt x="1477804" y="273844"/>
                    <a:pt x="1477804" y="273844"/>
                    <a:pt x="1477804" y="272891"/>
                  </a:cubicBezTo>
                  <a:cubicBezTo>
                    <a:pt x="1477804" y="275749"/>
                    <a:pt x="1477804" y="278606"/>
                    <a:pt x="1477804" y="282416"/>
                  </a:cubicBezTo>
                  <a:cubicBezTo>
                    <a:pt x="1477804" y="286226"/>
                    <a:pt x="1476851" y="290989"/>
                    <a:pt x="1476851" y="294799"/>
                  </a:cubicBezTo>
                  <a:cubicBezTo>
                    <a:pt x="1476851" y="294799"/>
                    <a:pt x="1476851" y="295751"/>
                    <a:pt x="1475899" y="295751"/>
                  </a:cubicBezTo>
                  <a:cubicBezTo>
                    <a:pt x="1475899" y="290989"/>
                    <a:pt x="1474946" y="286226"/>
                    <a:pt x="1474946" y="282416"/>
                  </a:cubicBezTo>
                  <a:cubicBezTo>
                    <a:pt x="1475899" y="279559"/>
                    <a:pt x="1476851" y="276701"/>
                    <a:pt x="1477804" y="272891"/>
                  </a:cubicBezTo>
                  <a:close/>
                  <a:moveTo>
                    <a:pt x="1461611" y="326231"/>
                  </a:moveTo>
                  <a:cubicBezTo>
                    <a:pt x="1461611" y="327184"/>
                    <a:pt x="1461611" y="327184"/>
                    <a:pt x="1461611" y="328136"/>
                  </a:cubicBezTo>
                  <a:cubicBezTo>
                    <a:pt x="1461611" y="329089"/>
                    <a:pt x="1460659" y="329089"/>
                    <a:pt x="1460659" y="330041"/>
                  </a:cubicBezTo>
                  <a:cubicBezTo>
                    <a:pt x="1460659" y="330041"/>
                    <a:pt x="1460659" y="330041"/>
                    <a:pt x="1460659" y="329089"/>
                  </a:cubicBezTo>
                  <a:cubicBezTo>
                    <a:pt x="1460659" y="328136"/>
                    <a:pt x="1460659" y="327184"/>
                    <a:pt x="1461611" y="326231"/>
                  </a:cubicBezTo>
                  <a:close/>
                  <a:moveTo>
                    <a:pt x="1457801" y="309086"/>
                  </a:moveTo>
                  <a:cubicBezTo>
                    <a:pt x="1456849" y="310039"/>
                    <a:pt x="1456849" y="310039"/>
                    <a:pt x="1457801" y="309086"/>
                  </a:cubicBezTo>
                  <a:cubicBezTo>
                    <a:pt x="1456849" y="307181"/>
                    <a:pt x="1456849" y="305276"/>
                    <a:pt x="1455896" y="302419"/>
                  </a:cubicBezTo>
                  <a:cubicBezTo>
                    <a:pt x="1455896" y="305276"/>
                    <a:pt x="1456849" y="307181"/>
                    <a:pt x="1457801" y="309086"/>
                  </a:cubicBezTo>
                  <a:close/>
                  <a:moveTo>
                    <a:pt x="1442561" y="328136"/>
                  </a:moveTo>
                  <a:cubicBezTo>
                    <a:pt x="1442561" y="324326"/>
                    <a:pt x="1442561" y="321469"/>
                    <a:pt x="1442561" y="318611"/>
                  </a:cubicBezTo>
                  <a:cubicBezTo>
                    <a:pt x="1443514" y="323374"/>
                    <a:pt x="1443514" y="329089"/>
                    <a:pt x="1444466" y="333851"/>
                  </a:cubicBezTo>
                  <a:cubicBezTo>
                    <a:pt x="1443514" y="332899"/>
                    <a:pt x="1443514" y="330994"/>
                    <a:pt x="1442561" y="330041"/>
                  </a:cubicBezTo>
                  <a:cubicBezTo>
                    <a:pt x="1442561" y="330041"/>
                    <a:pt x="1442561" y="329089"/>
                    <a:pt x="1442561" y="328136"/>
                  </a:cubicBezTo>
                  <a:close/>
                  <a:moveTo>
                    <a:pt x="1415891" y="281464"/>
                  </a:moveTo>
                  <a:cubicBezTo>
                    <a:pt x="1415891" y="284321"/>
                    <a:pt x="1415891" y="286226"/>
                    <a:pt x="1415891" y="289084"/>
                  </a:cubicBezTo>
                  <a:cubicBezTo>
                    <a:pt x="1415891" y="289084"/>
                    <a:pt x="1415891" y="289084"/>
                    <a:pt x="1415891" y="289084"/>
                  </a:cubicBezTo>
                  <a:cubicBezTo>
                    <a:pt x="1414939" y="288131"/>
                    <a:pt x="1413986" y="287179"/>
                    <a:pt x="1413034" y="286226"/>
                  </a:cubicBezTo>
                  <a:cubicBezTo>
                    <a:pt x="1414939" y="284321"/>
                    <a:pt x="1415891" y="282416"/>
                    <a:pt x="1415891" y="281464"/>
                  </a:cubicBezTo>
                  <a:close/>
                  <a:moveTo>
                    <a:pt x="1412081" y="290036"/>
                  </a:moveTo>
                  <a:cubicBezTo>
                    <a:pt x="1413034" y="290989"/>
                    <a:pt x="1413034" y="291941"/>
                    <a:pt x="1413986" y="292894"/>
                  </a:cubicBezTo>
                  <a:cubicBezTo>
                    <a:pt x="1414939" y="293846"/>
                    <a:pt x="1414939" y="294799"/>
                    <a:pt x="1415891" y="295751"/>
                  </a:cubicBezTo>
                  <a:cubicBezTo>
                    <a:pt x="1415891" y="297656"/>
                    <a:pt x="1415891" y="299561"/>
                    <a:pt x="1415891" y="300514"/>
                  </a:cubicBezTo>
                  <a:cubicBezTo>
                    <a:pt x="1413986" y="296704"/>
                    <a:pt x="1413034" y="293846"/>
                    <a:pt x="1412081" y="290036"/>
                  </a:cubicBezTo>
                  <a:cubicBezTo>
                    <a:pt x="1412081" y="290036"/>
                    <a:pt x="1412081" y="290036"/>
                    <a:pt x="1412081" y="290036"/>
                  </a:cubicBezTo>
                  <a:close/>
                  <a:moveTo>
                    <a:pt x="1383506" y="364331"/>
                  </a:moveTo>
                  <a:cubicBezTo>
                    <a:pt x="1383506" y="362426"/>
                    <a:pt x="1383506" y="360521"/>
                    <a:pt x="1382554" y="358616"/>
                  </a:cubicBezTo>
                  <a:cubicBezTo>
                    <a:pt x="1382554" y="358616"/>
                    <a:pt x="1382554" y="357664"/>
                    <a:pt x="1382554" y="357664"/>
                  </a:cubicBezTo>
                  <a:cubicBezTo>
                    <a:pt x="1382554" y="358616"/>
                    <a:pt x="1383506" y="360521"/>
                    <a:pt x="1383506" y="362426"/>
                  </a:cubicBezTo>
                  <a:cubicBezTo>
                    <a:pt x="1384459" y="363379"/>
                    <a:pt x="1384459" y="363379"/>
                    <a:pt x="1383506" y="364331"/>
                  </a:cubicBezTo>
                  <a:close/>
                  <a:moveTo>
                    <a:pt x="1386364" y="298609"/>
                  </a:moveTo>
                  <a:cubicBezTo>
                    <a:pt x="1386364" y="298609"/>
                    <a:pt x="1386364" y="298609"/>
                    <a:pt x="1386364" y="298609"/>
                  </a:cubicBezTo>
                  <a:cubicBezTo>
                    <a:pt x="1385411" y="296704"/>
                    <a:pt x="1385411" y="295751"/>
                    <a:pt x="1384459" y="293846"/>
                  </a:cubicBezTo>
                  <a:cubicBezTo>
                    <a:pt x="1385411" y="292894"/>
                    <a:pt x="1385411" y="291941"/>
                    <a:pt x="1386364" y="290989"/>
                  </a:cubicBezTo>
                  <a:cubicBezTo>
                    <a:pt x="1388269" y="289084"/>
                    <a:pt x="1389221" y="287179"/>
                    <a:pt x="1391126" y="286226"/>
                  </a:cubicBezTo>
                  <a:cubicBezTo>
                    <a:pt x="1389221" y="290036"/>
                    <a:pt x="1387316" y="293846"/>
                    <a:pt x="1386364" y="298609"/>
                  </a:cubicBezTo>
                  <a:close/>
                  <a:moveTo>
                    <a:pt x="1383506" y="287179"/>
                  </a:moveTo>
                  <a:cubicBezTo>
                    <a:pt x="1383506" y="287179"/>
                    <a:pt x="1382554" y="288131"/>
                    <a:pt x="1382554" y="288131"/>
                  </a:cubicBezTo>
                  <a:cubicBezTo>
                    <a:pt x="1380649" y="283369"/>
                    <a:pt x="1378744" y="278606"/>
                    <a:pt x="1376839" y="274796"/>
                  </a:cubicBezTo>
                  <a:cubicBezTo>
                    <a:pt x="1379696" y="262414"/>
                    <a:pt x="1382554" y="251936"/>
                    <a:pt x="1384459" y="242411"/>
                  </a:cubicBezTo>
                  <a:cubicBezTo>
                    <a:pt x="1385411" y="250031"/>
                    <a:pt x="1387316" y="263366"/>
                    <a:pt x="1390174" y="281464"/>
                  </a:cubicBezTo>
                  <a:cubicBezTo>
                    <a:pt x="1388269" y="283369"/>
                    <a:pt x="1386364" y="285274"/>
                    <a:pt x="1383506" y="287179"/>
                  </a:cubicBezTo>
                  <a:close/>
                  <a:moveTo>
                    <a:pt x="1391126" y="310991"/>
                  </a:moveTo>
                  <a:cubicBezTo>
                    <a:pt x="1392079" y="307181"/>
                    <a:pt x="1392079" y="303371"/>
                    <a:pt x="1393031" y="299561"/>
                  </a:cubicBezTo>
                  <a:cubicBezTo>
                    <a:pt x="1393031" y="299561"/>
                    <a:pt x="1393031" y="298609"/>
                    <a:pt x="1393031" y="298609"/>
                  </a:cubicBezTo>
                  <a:cubicBezTo>
                    <a:pt x="1393031" y="300514"/>
                    <a:pt x="1393984" y="303371"/>
                    <a:pt x="1393984" y="305276"/>
                  </a:cubicBezTo>
                  <a:cubicBezTo>
                    <a:pt x="1393984" y="308134"/>
                    <a:pt x="1392079" y="309086"/>
                    <a:pt x="1391126" y="310991"/>
                  </a:cubicBezTo>
                  <a:close/>
                  <a:moveTo>
                    <a:pt x="1397794" y="278606"/>
                  </a:moveTo>
                  <a:cubicBezTo>
                    <a:pt x="1397794" y="278606"/>
                    <a:pt x="1397794" y="278606"/>
                    <a:pt x="1397794" y="278606"/>
                  </a:cubicBezTo>
                  <a:cubicBezTo>
                    <a:pt x="1397794" y="278606"/>
                    <a:pt x="1397794" y="279559"/>
                    <a:pt x="1397794" y="279559"/>
                  </a:cubicBezTo>
                  <a:cubicBezTo>
                    <a:pt x="1397794" y="279559"/>
                    <a:pt x="1397794" y="279559"/>
                    <a:pt x="1397794" y="278606"/>
                  </a:cubicBezTo>
                  <a:cubicBezTo>
                    <a:pt x="1397794" y="278606"/>
                    <a:pt x="1397794" y="278606"/>
                    <a:pt x="1397794" y="278606"/>
                  </a:cubicBezTo>
                  <a:close/>
                  <a:moveTo>
                    <a:pt x="1397794" y="322421"/>
                  </a:moveTo>
                  <a:cubicBezTo>
                    <a:pt x="1398746" y="325279"/>
                    <a:pt x="1398746" y="328136"/>
                    <a:pt x="1399699" y="331946"/>
                  </a:cubicBezTo>
                  <a:cubicBezTo>
                    <a:pt x="1399699" y="332899"/>
                    <a:pt x="1399699" y="332899"/>
                    <a:pt x="1399699" y="333851"/>
                  </a:cubicBezTo>
                  <a:cubicBezTo>
                    <a:pt x="1398746" y="330994"/>
                    <a:pt x="1397794" y="328136"/>
                    <a:pt x="1396841" y="326231"/>
                  </a:cubicBezTo>
                  <a:cubicBezTo>
                    <a:pt x="1396841" y="324326"/>
                    <a:pt x="1396841" y="323374"/>
                    <a:pt x="1397794" y="322421"/>
                  </a:cubicBezTo>
                  <a:close/>
                  <a:moveTo>
                    <a:pt x="1387316" y="231934"/>
                  </a:moveTo>
                  <a:cubicBezTo>
                    <a:pt x="1389221" y="242411"/>
                    <a:pt x="1392079" y="255746"/>
                    <a:pt x="1395889" y="270986"/>
                  </a:cubicBezTo>
                  <a:cubicBezTo>
                    <a:pt x="1395889" y="271939"/>
                    <a:pt x="1395889" y="271939"/>
                    <a:pt x="1394936" y="272891"/>
                  </a:cubicBezTo>
                  <a:cubicBezTo>
                    <a:pt x="1390174" y="257651"/>
                    <a:pt x="1386364" y="246221"/>
                    <a:pt x="1384459" y="240506"/>
                  </a:cubicBezTo>
                  <a:cubicBezTo>
                    <a:pt x="1386364" y="237649"/>
                    <a:pt x="1387316" y="234791"/>
                    <a:pt x="1387316" y="231934"/>
                  </a:cubicBezTo>
                  <a:close/>
                  <a:moveTo>
                    <a:pt x="1380649" y="232886"/>
                  </a:moveTo>
                  <a:cubicBezTo>
                    <a:pt x="1382554" y="230029"/>
                    <a:pt x="1384459" y="227171"/>
                    <a:pt x="1386364" y="225266"/>
                  </a:cubicBezTo>
                  <a:cubicBezTo>
                    <a:pt x="1386364" y="225266"/>
                    <a:pt x="1386364" y="225266"/>
                    <a:pt x="1386364" y="225266"/>
                  </a:cubicBezTo>
                  <a:cubicBezTo>
                    <a:pt x="1382554" y="234791"/>
                    <a:pt x="1377791" y="247174"/>
                    <a:pt x="1372076" y="262414"/>
                  </a:cubicBezTo>
                  <a:cubicBezTo>
                    <a:pt x="1371124" y="260509"/>
                    <a:pt x="1371124" y="259556"/>
                    <a:pt x="1370171" y="257651"/>
                  </a:cubicBezTo>
                  <a:cubicBezTo>
                    <a:pt x="1369219" y="256699"/>
                    <a:pt x="1369219" y="255746"/>
                    <a:pt x="1369219" y="253841"/>
                  </a:cubicBezTo>
                  <a:cubicBezTo>
                    <a:pt x="1373029" y="245269"/>
                    <a:pt x="1376839" y="238601"/>
                    <a:pt x="1380649" y="232886"/>
                  </a:cubicBezTo>
                  <a:close/>
                  <a:moveTo>
                    <a:pt x="1356836" y="300514"/>
                  </a:moveTo>
                  <a:cubicBezTo>
                    <a:pt x="1356836" y="301466"/>
                    <a:pt x="1356836" y="301466"/>
                    <a:pt x="1356836" y="302419"/>
                  </a:cubicBezTo>
                  <a:cubicBezTo>
                    <a:pt x="1356836" y="303371"/>
                    <a:pt x="1356836" y="303371"/>
                    <a:pt x="1355884" y="304324"/>
                  </a:cubicBezTo>
                  <a:cubicBezTo>
                    <a:pt x="1355884" y="302419"/>
                    <a:pt x="1355884" y="301466"/>
                    <a:pt x="1355884" y="299561"/>
                  </a:cubicBezTo>
                  <a:cubicBezTo>
                    <a:pt x="1355884" y="299561"/>
                    <a:pt x="1356836" y="299561"/>
                    <a:pt x="1356836" y="300514"/>
                  </a:cubicBezTo>
                  <a:close/>
                  <a:moveTo>
                    <a:pt x="1339691" y="325279"/>
                  </a:moveTo>
                  <a:cubicBezTo>
                    <a:pt x="1339691" y="325279"/>
                    <a:pt x="1339691" y="324326"/>
                    <a:pt x="1339691" y="324326"/>
                  </a:cubicBezTo>
                  <a:cubicBezTo>
                    <a:pt x="1340644" y="322421"/>
                    <a:pt x="1341596" y="319564"/>
                    <a:pt x="1341596" y="317659"/>
                  </a:cubicBezTo>
                  <a:cubicBezTo>
                    <a:pt x="1341596" y="317659"/>
                    <a:pt x="1341596" y="317659"/>
                    <a:pt x="1341596" y="317659"/>
                  </a:cubicBezTo>
                  <a:cubicBezTo>
                    <a:pt x="1341596" y="322421"/>
                    <a:pt x="1341596" y="326231"/>
                    <a:pt x="1341596" y="330994"/>
                  </a:cubicBezTo>
                  <a:cubicBezTo>
                    <a:pt x="1341596" y="328136"/>
                    <a:pt x="1340644" y="326231"/>
                    <a:pt x="1339691" y="325279"/>
                  </a:cubicBezTo>
                  <a:close/>
                  <a:moveTo>
                    <a:pt x="1340644" y="226219"/>
                  </a:moveTo>
                  <a:cubicBezTo>
                    <a:pt x="1340644" y="225266"/>
                    <a:pt x="1340644" y="225266"/>
                    <a:pt x="1340644" y="226219"/>
                  </a:cubicBezTo>
                  <a:cubicBezTo>
                    <a:pt x="1341596" y="229076"/>
                    <a:pt x="1343501" y="232886"/>
                    <a:pt x="1344454" y="237649"/>
                  </a:cubicBezTo>
                  <a:cubicBezTo>
                    <a:pt x="1344454" y="239554"/>
                    <a:pt x="1344454" y="240506"/>
                    <a:pt x="1344454" y="242411"/>
                  </a:cubicBezTo>
                  <a:cubicBezTo>
                    <a:pt x="1344454" y="249079"/>
                    <a:pt x="1343501" y="256699"/>
                    <a:pt x="1343501" y="264319"/>
                  </a:cubicBezTo>
                  <a:cubicBezTo>
                    <a:pt x="1343501" y="267176"/>
                    <a:pt x="1343501" y="270034"/>
                    <a:pt x="1343501" y="272891"/>
                  </a:cubicBezTo>
                  <a:cubicBezTo>
                    <a:pt x="1341596" y="271939"/>
                    <a:pt x="1340644" y="270034"/>
                    <a:pt x="1339691" y="269081"/>
                  </a:cubicBezTo>
                  <a:cubicBezTo>
                    <a:pt x="1338739" y="252889"/>
                    <a:pt x="1339691" y="238601"/>
                    <a:pt x="1340644" y="226219"/>
                  </a:cubicBezTo>
                  <a:close/>
                  <a:moveTo>
                    <a:pt x="1337786" y="295751"/>
                  </a:moveTo>
                  <a:cubicBezTo>
                    <a:pt x="1337786" y="288131"/>
                    <a:pt x="1338739" y="279559"/>
                    <a:pt x="1338739" y="271939"/>
                  </a:cubicBezTo>
                  <a:cubicBezTo>
                    <a:pt x="1339691" y="272891"/>
                    <a:pt x="1341596" y="274796"/>
                    <a:pt x="1342549" y="276701"/>
                  </a:cubicBezTo>
                  <a:cubicBezTo>
                    <a:pt x="1342549" y="276701"/>
                    <a:pt x="1342549" y="276701"/>
                    <a:pt x="1342549" y="276701"/>
                  </a:cubicBezTo>
                  <a:cubicBezTo>
                    <a:pt x="1342549" y="279559"/>
                    <a:pt x="1342549" y="283369"/>
                    <a:pt x="1342549" y="286226"/>
                  </a:cubicBezTo>
                  <a:cubicBezTo>
                    <a:pt x="1340644" y="290036"/>
                    <a:pt x="1338739" y="292894"/>
                    <a:pt x="1337786" y="295751"/>
                  </a:cubicBezTo>
                  <a:cubicBezTo>
                    <a:pt x="1337786" y="296704"/>
                    <a:pt x="1337786" y="296704"/>
                    <a:pt x="1337786" y="296704"/>
                  </a:cubicBezTo>
                  <a:cubicBezTo>
                    <a:pt x="1337786" y="296704"/>
                    <a:pt x="1337786" y="295751"/>
                    <a:pt x="1337786" y="295751"/>
                  </a:cubicBezTo>
                  <a:close/>
                  <a:moveTo>
                    <a:pt x="1314926" y="320516"/>
                  </a:moveTo>
                  <a:cubicBezTo>
                    <a:pt x="1314926" y="320516"/>
                    <a:pt x="1314926" y="320516"/>
                    <a:pt x="1314926" y="320516"/>
                  </a:cubicBezTo>
                  <a:cubicBezTo>
                    <a:pt x="1314926" y="320516"/>
                    <a:pt x="1314926" y="320516"/>
                    <a:pt x="1314926" y="320516"/>
                  </a:cubicBezTo>
                  <a:cubicBezTo>
                    <a:pt x="1314926" y="320516"/>
                    <a:pt x="1314926" y="320516"/>
                    <a:pt x="1314926" y="320516"/>
                  </a:cubicBezTo>
                  <a:close/>
                  <a:moveTo>
                    <a:pt x="1311116" y="312896"/>
                  </a:moveTo>
                  <a:cubicBezTo>
                    <a:pt x="1311116" y="312896"/>
                    <a:pt x="1312069" y="313849"/>
                    <a:pt x="1311116" y="312896"/>
                  </a:cubicBezTo>
                  <a:cubicBezTo>
                    <a:pt x="1311116" y="313849"/>
                    <a:pt x="1311116" y="313849"/>
                    <a:pt x="1311116" y="314801"/>
                  </a:cubicBezTo>
                  <a:cubicBezTo>
                    <a:pt x="1311116" y="314801"/>
                    <a:pt x="1311116" y="314801"/>
                    <a:pt x="1311116" y="314801"/>
                  </a:cubicBezTo>
                  <a:cubicBezTo>
                    <a:pt x="1311116" y="313849"/>
                    <a:pt x="1311116" y="313849"/>
                    <a:pt x="1311116" y="312896"/>
                  </a:cubicBezTo>
                  <a:close/>
                  <a:moveTo>
                    <a:pt x="1242536" y="344329"/>
                  </a:moveTo>
                  <a:cubicBezTo>
                    <a:pt x="1241584" y="341471"/>
                    <a:pt x="1239679" y="339566"/>
                    <a:pt x="1238726" y="336709"/>
                  </a:cubicBezTo>
                  <a:cubicBezTo>
                    <a:pt x="1238726" y="328136"/>
                    <a:pt x="1238726" y="318611"/>
                    <a:pt x="1238726" y="310991"/>
                  </a:cubicBezTo>
                  <a:cubicBezTo>
                    <a:pt x="1238726" y="309086"/>
                    <a:pt x="1238726" y="308134"/>
                    <a:pt x="1238726" y="307181"/>
                  </a:cubicBezTo>
                  <a:cubicBezTo>
                    <a:pt x="1240631" y="317659"/>
                    <a:pt x="1241584" y="328136"/>
                    <a:pt x="1244441" y="339566"/>
                  </a:cubicBezTo>
                  <a:cubicBezTo>
                    <a:pt x="1244441" y="339566"/>
                    <a:pt x="1244441" y="340519"/>
                    <a:pt x="1244441" y="340519"/>
                  </a:cubicBezTo>
                  <a:cubicBezTo>
                    <a:pt x="1243489" y="341471"/>
                    <a:pt x="1242536" y="343376"/>
                    <a:pt x="1242536" y="344329"/>
                  </a:cubicBezTo>
                  <a:close/>
                  <a:moveTo>
                    <a:pt x="1279684" y="290989"/>
                  </a:moveTo>
                  <a:cubicBezTo>
                    <a:pt x="1279684" y="289084"/>
                    <a:pt x="1279684" y="286226"/>
                    <a:pt x="1279684" y="284321"/>
                  </a:cubicBezTo>
                  <a:cubicBezTo>
                    <a:pt x="1280636" y="285274"/>
                    <a:pt x="1280636" y="286226"/>
                    <a:pt x="1281589" y="287179"/>
                  </a:cubicBezTo>
                  <a:cubicBezTo>
                    <a:pt x="1280636" y="289084"/>
                    <a:pt x="1279684" y="290036"/>
                    <a:pt x="1279684" y="290989"/>
                  </a:cubicBezTo>
                  <a:close/>
                  <a:moveTo>
                    <a:pt x="1298734" y="332899"/>
                  </a:moveTo>
                  <a:cubicBezTo>
                    <a:pt x="1298734" y="332899"/>
                    <a:pt x="1298734" y="332899"/>
                    <a:pt x="1298734" y="332899"/>
                  </a:cubicBezTo>
                  <a:cubicBezTo>
                    <a:pt x="1298734" y="331946"/>
                    <a:pt x="1298734" y="331946"/>
                    <a:pt x="1298734" y="330994"/>
                  </a:cubicBezTo>
                  <a:cubicBezTo>
                    <a:pt x="1298734" y="331946"/>
                    <a:pt x="1298734" y="332899"/>
                    <a:pt x="1298734" y="332899"/>
                  </a:cubicBezTo>
                  <a:close/>
                  <a:moveTo>
                    <a:pt x="1295876" y="278606"/>
                  </a:moveTo>
                  <a:cubicBezTo>
                    <a:pt x="1298734" y="285274"/>
                    <a:pt x="1301591" y="291941"/>
                    <a:pt x="1305401" y="299561"/>
                  </a:cubicBezTo>
                  <a:cubicBezTo>
                    <a:pt x="1305401" y="299561"/>
                    <a:pt x="1305401" y="299561"/>
                    <a:pt x="1305401" y="300514"/>
                  </a:cubicBezTo>
                  <a:cubicBezTo>
                    <a:pt x="1305401" y="301466"/>
                    <a:pt x="1305401" y="302419"/>
                    <a:pt x="1304449" y="303371"/>
                  </a:cubicBezTo>
                  <a:cubicBezTo>
                    <a:pt x="1303496" y="300514"/>
                    <a:pt x="1301591" y="298609"/>
                    <a:pt x="1300639" y="295751"/>
                  </a:cubicBezTo>
                  <a:cubicBezTo>
                    <a:pt x="1298734" y="291941"/>
                    <a:pt x="1296829" y="288131"/>
                    <a:pt x="1293971" y="284321"/>
                  </a:cubicBezTo>
                  <a:cubicBezTo>
                    <a:pt x="1294924" y="282416"/>
                    <a:pt x="1295876" y="280511"/>
                    <a:pt x="1295876" y="278606"/>
                  </a:cubicBezTo>
                  <a:close/>
                  <a:moveTo>
                    <a:pt x="1299686" y="328136"/>
                  </a:moveTo>
                  <a:cubicBezTo>
                    <a:pt x="1299686" y="329089"/>
                    <a:pt x="1299686" y="329089"/>
                    <a:pt x="1299686" y="330041"/>
                  </a:cubicBezTo>
                  <a:cubicBezTo>
                    <a:pt x="1299686" y="330041"/>
                    <a:pt x="1298734" y="330994"/>
                    <a:pt x="1298734" y="331946"/>
                  </a:cubicBezTo>
                  <a:cubicBezTo>
                    <a:pt x="1296829" y="329089"/>
                    <a:pt x="1294924" y="326231"/>
                    <a:pt x="1293019" y="324326"/>
                  </a:cubicBezTo>
                  <a:cubicBezTo>
                    <a:pt x="1292066" y="322421"/>
                    <a:pt x="1290161" y="320516"/>
                    <a:pt x="1289209" y="318611"/>
                  </a:cubicBezTo>
                  <a:cubicBezTo>
                    <a:pt x="1289209" y="318611"/>
                    <a:pt x="1289209" y="318611"/>
                    <a:pt x="1289209" y="318611"/>
                  </a:cubicBezTo>
                  <a:cubicBezTo>
                    <a:pt x="1289209" y="314801"/>
                    <a:pt x="1289209" y="311944"/>
                    <a:pt x="1289209" y="309086"/>
                  </a:cubicBezTo>
                  <a:cubicBezTo>
                    <a:pt x="1289209" y="308134"/>
                    <a:pt x="1290161" y="306229"/>
                    <a:pt x="1290161" y="305276"/>
                  </a:cubicBezTo>
                  <a:cubicBezTo>
                    <a:pt x="1293019" y="311944"/>
                    <a:pt x="1296829" y="319564"/>
                    <a:pt x="1299686" y="328136"/>
                  </a:cubicBezTo>
                  <a:close/>
                  <a:moveTo>
                    <a:pt x="1289209" y="263366"/>
                  </a:moveTo>
                  <a:cubicBezTo>
                    <a:pt x="1288256" y="265271"/>
                    <a:pt x="1288256" y="266224"/>
                    <a:pt x="1287304" y="268129"/>
                  </a:cubicBezTo>
                  <a:cubicBezTo>
                    <a:pt x="1287304" y="265271"/>
                    <a:pt x="1287304" y="262414"/>
                    <a:pt x="1287304" y="259556"/>
                  </a:cubicBezTo>
                  <a:cubicBezTo>
                    <a:pt x="1287304" y="260509"/>
                    <a:pt x="1288256" y="262414"/>
                    <a:pt x="1289209" y="263366"/>
                  </a:cubicBezTo>
                  <a:close/>
                  <a:moveTo>
                    <a:pt x="1276826" y="238601"/>
                  </a:moveTo>
                  <a:cubicBezTo>
                    <a:pt x="1277779" y="239554"/>
                    <a:pt x="1277779" y="240506"/>
                    <a:pt x="1278731" y="242411"/>
                  </a:cubicBezTo>
                  <a:cubicBezTo>
                    <a:pt x="1280636" y="246221"/>
                    <a:pt x="1283494" y="251936"/>
                    <a:pt x="1286351" y="257651"/>
                  </a:cubicBezTo>
                  <a:cubicBezTo>
                    <a:pt x="1286351" y="260509"/>
                    <a:pt x="1285399" y="263366"/>
                    <a:pt x="1285399" y="267176"/>
                  </a:cubicBezTo>
                  <a:cubicBezTo>
                    <a:pt x="1282541" y="263366"/>
                    <a:pt x="1280636" y="259556"/>
                    <a:pt x="1277779" y="255746"/>
                  </a:cubicBezTo>
                  <a:cubicBezTo>
                    <a:pt x="1277779" y="250031"/>
                    <a:pt x="1276826" y="245269"/>
                    <a:pt x="1276826" y="242411"/>
                  </a:cubicBezTo>
                  <a:cubicBezTo>
                    <a:pt x="1276826" y="241459"/>
                    <a:pt x="1276826" y="239554"/>
                    <a:pt x="1276826" y="238601"/>
                  </a:cubicBezTo>
                  <a:close/>
                  <a:moveTo>
                    <a:pt x="1273016" y="271939"/>
                  </a:moveTo>
                  <a:cubicBezTo>
                    <a:pt x="1273016" y="271939"/>
                    <a:pt x="1273969" y="272891"/>
                    <a:pt x="1273969" y="272891"/>
                  </a:cubicBezTo>
                  <a:cubicBezTo>
                    <a:pt x="1273969" y="278606"/>
                    <a:pt x="1273016" y="284321"/>
                    <a:pt x="1273016" y="291941"/>
                  </a:cubicBezTo>
                  <a:cubicBezTo>
                    <a:pt x="1272064" y="290989"/>
                    <a:pt x="1272064" y="289084"/>
                    <a:pt x="1271111" y="288131"/>
                  </a:cubicBezTo>
                  <a:cubicBezTo>
                    <a:pt x="1271111" y="282416"/>
                    <a:pt x="1272064" y="276701"/>
                    <a:pt x="1273016" y="271939"/>
                  </a:cubicBezTo>
                  <a:close/>
                  <a:moveTo>
                    <a:pt x="1240631" y="229076"/>
                  </a:moveTo>
                  <a:cubicBezTo>
                    <a:pt x="1241584" y="226219"/>
                    <a:pt x="1243489" y="223361"/>
                    <a:pt x="1244441" y="220504"/>
                  </a:cubicBezTo>
                  <a:cubicBezTo>
                    <a:pt x="1247299" y="226219"/>
                    <a:pt x="1251109" y="230981"/>
                    <a:pt x="1253966" y="237649"/>
                  </a:cubicBezTo>
                  <a:cubicBezTo>
                    <a:pt x="1257776" y="244316"/>
                    <a:pt x="1260634" y="250031"/>
                    <a:pt x="1264444" y="257651"/>
                  </a:cubicBezTo>
                  <a:cubicBezTo>
                    <a:pt x="1265396" y="259556"/>
                    <a:pt x="1267301" y="262414"/>
                    <a:pt x="1268254" y="264319"/>
                  </a:cubicBezTo>
                  <a:cubicBezTo>
                    <a:pt x="1266349" y="270986"/>
                    <a:pt x="1264444" y="277654"/>
                    <a:pt x="1262539" y="286226"/>
                  </a:cubicBezTo>
                  <a:cubicBezTo>
                    <a:pt x="1259681" y="283369"/>
                    <a:pt x="1257776" y="280511"/>
                    <a:pt x="1254919" y="277654"/>
                  </a:cubicBezTo>
                  <a:cubicBezTo>
                    <a:pt x="1250156" y="268129"/>
                    <a:pt x="1246346" y="259556"/>
                    <a:pt x="1241584" y="251936"/>
                  </a:cubicBezTo>
                  <a:cubicBezTo>
                    <a:pt x="1239679" y="249079"/>
                    <a:pt x="1237774" y="246221"/>
                    <a:pt x="1235869" y="243364"/>
                  </a:cubicBezTo>
                  <a:cubicBezTo>
                    <a:pt x="1235869" y="243364"/>
                    <a:pt x="1235869" y="242411"/>
                    <a:pt x="1235869" y="242411"/>
                  </a:cubicBezTo>
                  <a:cubicBezTo>
                    <a:pt x="1237774" y="236696"/>
                    <a:pt x="1239679" y="232886"/>
                    <a:pt x="1240631" y="229076"/>
                  </a:cubicBezTo>
                  <a:close/>
                  <a:moveTo>
                    <a:pt x="1228249" y="304324"/>
                  </a:moveTo>
                  <a:cubicBezTo>
                    <a:pt x="1228249" y="298609"/>
                    <a:pt x="1227296" y="292894"/>
                    <a:pt x="1227296" y="288131"/>
                  </a:cubicBezTo>
                  <a:lnTo>
                    <a:pt x="1227296" y="281464"/>
                  </a:lnTo>
                  <a:cubicBezTo>
                    <a:pt x="1227296" y="280511"/>
                    <a:pt x="1228249" y="280511"/>
                    <a:pt x="1228249" y="279559"/>
                  </a:cubicBezTo>
                  <a:cubicBezTo>
                    <a:pt x="1228249" y="279559"/>
                    <a:pt x="1228249" y="278606"/>
                    <a:pt x="1228249" y="278606"/>
                  </a:cubicBezTo>
                  <a:cubicBezTo>
                    <a:pt x="1228249" y="278606"/>
                    <a:pt x="1229201" y="279559"/>
                    <a:pt x="1229201" y="279559"/>
                  </a:cubicBezTo>
                  <a:cubicBezTo>
                    <a:pt x="1230154" y="280511"/>
                    <a:pt x="1230154" y="282416"/>
                    <a:pt x="1231106" y="284321"/>
                  </a:cubicBezTo>
                  <a:cubicBezTo>
                    <a:pt x="1230154" y="290036"/>
                    <a:pt x="1229201" y="296704"/>
                    <a:pt x="1228249" y="304324"/>
                  </a:cubicBezTo>
                  <a:close/>
                  <a:moveTo>
                    <a:pt x="1232059" y="280511"/>
                  </a:moveTo>
                  <a:cubicBezTo>
                    <a:pt x="1232059" y="279559"/>
                    <a:pt x="1232059" y="279559"/>
                    <a:pt x="1232059" y="278606"/>
                  </a:cubicBezTo>
                  <a:cubicBezTo>
                    <a:pt x="1232059" y="277654"/>
                    <a:pt x="1231106" y="276701"/>
                    <a:pt x="1230154" y="275749"/>
                  </a:cubicBezTo>
                  <a:cubicBezTo>
                    <a:pt x="1229201" y="275749"/>
                    <a:pt x="1228249" y="274796"/>
                    <a:pt x="1227296" y="275749"/>
                  </a:cubicBezTo>
                  <a:cubicBezTo>
                    <a:pt x="1227296" y="275749"/>
                    <a:pt x="1227296" y="275749"/>
                    <a:pt x="1226344" y="275749"/>
                  </a:cubicBezTo>
                  <a:lnTo>
                    <a:pt x="1226344" y="269081"/>
                  </a:lnTo>
                  <a:cubicBezTo>
                    <a:pt x="1227296" y="270034"/>
                    <a:pt x="1228249" y="270986"/>
                    <a:pt x="1230154" y="272891"/>
                  </a:cubicBezTo>
                  <a:cubicBezTo>
                    <a:pt x="1231106" y="273844"/>
                    <a:pt x="1232059" y="274796"/>
                    <a:pt x="1233011" y="276701"/>
                  </a:cubicBezTo>
                  <a:cubicBezTo>
                    <a:pt x="1232059" y="278606"/>
                    <a:pt x="1232059" y="279559"/>
                    <a:pt x="1232059" y="280511"/>
                  </a:cubicBezTo>
                  <a:close/>
                  <a:moveTo>
                    <a:pt x="1230154" y="221456"/>
                  </a:moveTo>
                  <a:cubicBezTo>
                    <a:pt x="1232059" y="225266"/>
                    <a:pt x="1233011" y="229076"/>
                    <a:pt x="1233964" y="233839"/>
                  </a:cubicBezTo>
                  <a:cubicBezTo>
                    <a:pt x="1233964" y="233839"/>
                    <a:pt x="1233964" y="233839"/>
                    <a:pt x="1233964" y="233839"/>
                  </a:cubicBezTo>
                  <a:cubicBezTo>
                    <a:pt x="1233964" y="232886"/>
                    <a:pt x="1233011" y="230981"/>
                    <a:pt x="1233011" y="230029"/>
                  </a:cubicBezTo>
                  <a:cubicBezTo>
                    <a:pt x="1231106" y="226219"/>
                    <a:pt x="1230154" y="223361"/>
                    <a:pt x="1230154" y="221456"/>
                  </a:cubicBezTo>
                  <a:cubicBezTo>
                    <a:pt x="1229201" y="220504"/>
                    <a:pt x="1229201" y="220504"/>
                    <a:pt x="1230154" y="221456"/>
                  </a:cubicBezTo>
                  <a:close/>
                  <a:moveTo>
                    <a:pt x="1229201" y="257651"/>
                  </a:moveTo>
                  <a:cubicBezTo>
                    <a:pt x="1229201" y="257651"/>
                    <a:pt x="1229201" y="257651"/>
                    <a:pt x="1229201" y="257651"/>
                  </a:cubicBezTo>
                  <a:cubicBezTo>
                    <a:pt x="1229201" y="258604"/>
                    <a:pt x="1230154" y="258604"/>
                    <a:pt x="1230154" y="259556"/>
                  </a:cubicBezTo>
                  <a:cubicBezTo>
                    <a:pt x="1230154" y="260509"/>
                    <a:pt x="1230154" y="261461"/>
                    <a:pt x="1230154" y="262414"/>
                  </a:cubicBezTo>
                  <a:cubicBezTo>
                    <a:pt x="1231106" y="266224"/>
                    <a:pt x="1231106" y="270986"/>
                    <a:pt x="1232059" y="274796"/>
                  </a:cubicBezTo>
                  <a:cubicBezTo>
                    <a:pt x="1232059" y="274796"/>
                    <a:pt x="1232059" y="274796"/>
                    <a:pt x="1232059" y="274796"/>
                  </a:cubicBezTo>
                  <a:cubicBezTo>
                    <a:pt x="1231106" y="273844"/>
                    <a:pt x="1230154" y="272891"/>
                    <a:pt x="1229201" y="272891"/>
                  </a:cubicBezTo>
                  <a:cubicBezTo>
                    <a:pt x="1227296" y="270986"/>
                    <a:pt x="1225391" y="270034"/>
                    <a:pt x="1225391" y="269081"/>
                  </a:cubicBezTo>
                  <a:lnTo>
                    <a:pt x="1225391" y="265271"/>
                  </a:lnTo>
                  <a:cubicBezTo>
                    <a:pt x="1227296" y="263366"/>
                    <a:pt x="1228249" y="260509"/>
                    <a:pt x="1229201" y="257651"/>
                  </a:cubicBezTo>
                  <a:close/>
                  <a:moveTo>
                    <a:pt x="1226344" y="235744"/>
                  </a:moveTo>
                  <a:cubicBezTo>
                    <a:pt x="1227296" y="238601"/>
                    <a:pt x="1227296" y="241459"/>
                    <a:pt x="1228249" y="244316"/>
                  </a:cubicBezTo>
                  <a:cubicBezTo>
                    <a:pt x="1228249" y="245269"/>
                    <a:pt x="1227296" y="246221"/>
                    <a:pt x="1227296" y="246221"/>
                  </a:cubicBezTo>
                  <a:cubicBezTo>
                    <a:pt x="1226344" y="245269"/>
                    <a:pt x="1226344" y="245269"/>
                    <a:pt x="1225391" y="244316"/>
                  </a:cubicBezTo>
                  <a:lnTo>
                    <a:pt x="1225391" y="231934"/>
                  </a:lnTo>
                  <a:cubicBezTo>
                    <a:pt x="1225391" y="233839"/>
                    <a:pt x="1225391" y="234791"/>
                    <a:pt x="1226344" y="235744"/>
                  </a:cubicBezTo>
                  <a:close/>
                  <a:moveTo>
                    <a:pt x="1197769" y="293846"/>
                  </a:moveTo>
                  <a:cubicBezTo>
                    <a:pt x="1197769" y="292894"/>
                    <a:pt x="1198721" y="290989"/>
                    <a:pt x="1198721" y="290036"/>
                  </a:cubicBezTo>
                  <a:cubicBezTo>
                    <a:pt x="1198721" y="290989"/>
                    <a:pt x="1198721" y="290989"/>
                    <a:pt x="1198721" y="291941"/>
                  </a:cubicBezTo>
                  <a:cubicBezTo>
                    <a:pt x="1198721" y="293846"/>
                    <a:pt x="1199674" y="296704"/>
                    <a:pt x="1199674" y="299561"/>
                  </a:cubicBezTo>
                  <a:cubicBezTo>
                    <a:pt x="1198721" y="301466"/>
                    <a:pt x="1197769" y="304324"/>
                    <a:pt x="1196816" y="307181"/>
                  </a:cubicBezTo>
                  <a:cubicBezTo>
                    <a:pt x="1195864" y="304324"/>
                    <a:pt x="1195864" y="301466"/>
                    <a:pt x="1194911" y="299561"/>
                  </a:cubicBezTo>
                  <a:cubicBezTo>
                    <a:pt x="1195864" y="297656"/>
                    <a:pt x="1196816" y="295751"/>
                    <a:pt x="1197769" y="293846"/>
                  </a:cubicBezTo>
                  <a:close/>
                  <a:moveTo>
                    <a:pt x="1196816" y="459581"/>
                  </a:moveTo>
                  <a:lnTo>
                    <a:pt x="1196816" y="459581"/>
                  </a:lnTo>
                  <a:cubicBezTo>
                    <a:pt x="1195864" y="458629"/>
                    <a:pt x="1195864" y="457676"/>
                    <a:pt x="1195864" y="455771"/>
                  </a:cubicBezTo>
                  <a:cubicBezTo>
                    <a:pt x="1195864" y="456724"/>
                    <a:pt x="1195864" y="457676"/>
                    <a:pt x="1196816" y="459581"/>
                  </a:cubicBezTo>
                  <a:close/>
                  <a:moveTo>
                    <a:pt x="1190149" y="324326"/>
                  </a:moveTo>
                  <a:cubicBezTo>
                    <a:pt x="1190149" y="325279"/>
                    <a:pt x="1190149" y="325279"/>
                    <a:pt x="1190149" y="324326"/>
                  </a:cubicBezTo>
                  <a:cubicBezTo>
                    <a:pt x="1190149" y="323374"/>
                    <a:pt x="1190149" y="321469"/>
                    <a:pt x="1189196" y="320516"/>
                  </a:cubicBezTo>
                  <a:cubicBezTo>
                    <a:pt x="1190149" y="322421"/>
                    <a:pt x="1190149" y="323374"/>
                    <a:pt x="1190149" y="324326"/>
                  </a:cubicBezTo>
                  <a:close/>
                  <a:moveTo>
                    <a:pt x="1170146" y="270986"/>
                  </a:moveTo>
                  <a:cubicBezTo>
                    <a:pt x="1170146" y="270034"/>
                    <a:pt x="1170146" y="269081"/>
                    <a:pt x="1170146" y="268129"/>
                  </a:cubicBezTo>
                  <a:cubicBezTo>
                    <a:pt x="1170146" y="267176"/>
                    <a:pt x="1170146" y="265271"/>
                    <a:pt x="1170146" y="264319"/>
                  </a:cubicBezTo>
                  <a:cubicBezTo>
                    <a:pt x="1171099" y="253841"/>
                    <a:pt x="1172051" y="244316"/>
                    <a:pt x="1172051" y="235744"/>
                  </a:cubicBezTo>
                  <a:cubicBezTo>
                    <a:pt x="1173004" y="238601"/>
                    <a:pt x="1173956" y="241459"/>
                    <a:pt x="1174909" y="245269"/>
                  </a:cubicBezTo>
                  <a:cubicBezTo>
                    <a:pt x="1174909" y="249079"/>
                    <a:pt x="1175861" y="253841"/>
                    <a:pt x="1176814" y="260509"/>
                  </a:cubicBezTo>
                  <a:cubicBezTo>
                    <a:pt x="1177766" y="267176"/>
                    <a:pt x="1177766" y="275749"/>
                    <a:pt x="1177766" y="285274"/>
                  </a:cubicBezTo>
                  <a:cubicBezTo>
                    <a:pt x="1178719" y="291941"/>
                    <a:pt x="1177766" y="300514"/>
                    <a:pt x="1177766" y="308134"/>
                  </a:cubicBezTo>
                  <a:cubicBezTo>
                    <a:pt x="1177766" y="307181"/>
                    <a:pt x="1176814" y="306229"/>
                    <a:pt x="1176814" y="305276"/>
                  </a:cubicBezTo>
                  <a:cubicBezTo>
                    <a:pt x="1173956" y="298609"/>
                    <a:pt x="1171099" y="292894"/>
                    <a:pt x="1168241" y="287179"/>
                  </a:cubicBezTo>
                  <a:cubicBezTo>
                    <a:pt x="1169194" y="282416"/>
                    <a:pt x="1170146" y="275749"/>
                    <a:pt x="1170146" y="270986"/>
                  </a:cubicBezTo>
                  <a:close/>
                  <a:moveTo>
                    <a:pt x="1170146" y="309086"/>
                  </a:moveTo>
                  <a:cubicBezTo>
                    <a:pt x="1171099" y="312896"/>
                    <a:pt x="1173004" y="317659"/>
                    <a:pt x="1173956" y="321469"/>
                  </a:cubicBezTo>
                  <a:cubicBezTo>
                    <a:pt x="1173004" y="323374"/>
                    <a:pt x="1173004" y="325279"/>
                    <a:pt x="1172051" y="327184"/>
                  </a:cubicBezTo>
                  <a:cubicBezTo>
                    <a:pt x="1171099" y="325279"/>
                    <a:pt x="1171099" y="324326"/>
                    <a:pt x="1170146" y="322421"/>
                  </a:cubicBezTo>
                  <a:cubicBezTo>
                    <a:pt x="1170146" y="321469"/>
                    <a:pt x="1170146" y="319564"/>
                    <a:pt x="1170146" y="318611"/>
                  </a:cubicBezTo>
                  <a:cubicBezTo>
                    <a:pt x="1169194" y="313849"/>
                    <a:pt x="1169194" y="308134"/>
                    <a:pt x="1168241" y="303371"/>
                  </a:cubicBezTo>
                  <a:cubicBezTo>
                    <a:pt x="1168241" y="305276"/>
                    <a:pt x="1169194" y="307181"/>
                    <a:pt x="1170146" y="309086"/>
                  </a:cubicBezTo>
                  <a:close/>
                  <a:moveTo>
                    <a:pt x="1164431" y="236696"/>
                  </a:moveTo>
                  <a:cubicBezTo>
                    <a:pt x="1163479" y="242411"/>
                    <a:pt x="1162526" y="248126"/>
                    <a:pt x="1161574" y="253841"/>
                  </a:cubicBezTo>
                  <a:cubicBezTo>
                    <a:pt x="1161574" y="252889"/>
                    <a:pt x="1161574" y="252889"/>
                    <a:pt x="1161574" y="251936"/>
                  </a:cubicBezTo>
                  <a:cubicBezTo>
                    <a:pt x="1161574" y="251936"/>
                    <a:pt x="1161574" y="250984"/>
                    <a:pt x="1161574" y="250984"/>
                  </a:cubicBezTo>
                  <a:cubicBezTo>
                    <a:pt x="1162526" y="245269"/>
                    <a:pt x="1163479" y="240506"/>
                    <a:pt x="1164431" y="236696"/>
                  </a:cubicBezTo>
                  <a:close/>
                  <a:moveTo>
                    <a:pt x="1140619" y="290036"/>
                  </a:moveTo>
                  <a:cubicBezTo>
                    <a:pt x="1140619" y="290989"/>
                    <a:pt x="1139666" y="290989"/>
                    <a:pt x="1139666" y="291941"/>
                  </a:cubicBezTo>
                  <a:cubicBezTo>
                    <a:pt x="1138714" y="289084"/>
                    <a:pt x="1138714" y="286226"/>
                    <a:pt x="1137761" y="283369"/>
                  </a:cubicBezTo>
                  <a:cubicBezTo>
                    <a:pt x="1138714" y="286226"/>
                    <a:pt x="1139666" y="288131"/>
                    <a:pt x="1140619" y="290036"/>
                  </a:cubicBezTo>
                  <a:close/>
                  <a:moveTo>
                    <a:pt x="1114901" y="339566"/>
                  </a:moveTo>
                  <a:cubicBezTo>
                    <a:pt x="1115854" y="331946"/>
                    <a:pt x="1116806" y="323374"/>
                    <a:pt x="1117759" y="315754"/>
                  </a:cubicBezTo>
                  <a:cubicBezTo>
                    <a:pt x="1118711" y="318611"/>
                    <a:pt x="1118711" y="321469"/>
                    <a:pt x="1119664" y="325279"/>
                  </a:cubicBezTo>
                  <a:cubicBezTo>
                    <a:pt x="1120616" y="328136"/>
                    <a:pt x="1120616" y="331946"/>
                    <a:pt x="1121569" y="334804"/>
                  </a:cubicBezTo>
                  <a:cubicBezTo>
                    <a:pt x="1121569" y="336709"/>
                    <a:pt x="1120616" y="338614"/>
                    <a:pt x="1120616" y="341471"/>
                  </a:cubicBezTo>
                  <a:cubicBezTo>
                    <a:pt x="1120616" y="341471"/>
                    <a:pt x="1120616" y="341471"/>
                    <a:pt x="1120616" y="342424"/>
                  </a:cubicBezTo>
                  <a:cubicBezTo>
                    <a:pt x="1119664" y="344329"/>
                    <a:pt x="1118711" y="346234"/>
                    <a:pt x="1118711" y="348139"/>
                  </a:cubicBezTo>
                  <a:cubicBezTo>
                    <a:pt x="1117759" y="345281"/>
                    <a:pt x="1115854" y="343376"/>
                    <a:pt x="1114901" y="341471"/>
                  </a:cubicBezTo>
                  <a:cubicBezTo>
                    <a:pt x="1114901" y="340519"/>
                    <a:pt x="1114901" y="339566"/>
                    <a:pt x="1114901" y="339566"/>
                  </a:cubicBezTo>
                  <a:close/>
                  <a:moveTo>
                    <a:pt x="1111091" y="219551"/>
                  </a:moveTo>
                  <a:cubicBezTo>
                    <a:pt x="1111091" y="220504"/>
                    <a:pt x="1112044" y="221456"/>
                    <a:pt x="1112044" y="222409"/>
                  </a:cubicBezTo>
                  <a:cubicBezTo>
                    <a:pt x="1112044" y="225266"/>
                    <a:pt x="1112996" y="228124"/>
                    <a:pt x="1112996" y="230029"/>
                  </a:cubicBezTo>
                  <a:cubicBezTo>
                    <a:pt x="1112996" y="230029"/>
                    <a:pt x="1112996" y="230029"/>
                    <a:pt x="1112996" y="230029"/>
                  </a:cubicBezTo>
                  <a:cubicBezTo>
                    <a:pt x="1112996" y="226219"/>
                    <a:pt x="1112044" y="223361"/>
                    <a:pt x="1111091" y="219551"/>
                  </a:cubicBezTo>
                  <a:cubicBezTo>
                    <a:pt x="1111091" y="220504"/>
                    <a:pt x="1111091" y="219551"/>
                    <a:pt x="1111091" y="219551"/>
                  </a:cubicBezTo>
                  <a:close/>
                  <a:moveTo>
                    <a:pt x="1110139" y="217646"/>
                  </a:moveTo>
                  <a:cubicBezTo>
                    <a:pt x="1110139" y="217646"/>
                    <a:pt x="1110139" y="217646"/>
                    <a:pt x="1110139" y="217646"/>
                  </a:cubicBezTo>
                  <a:cubicBezTo>
                    <a:pt x="1110139" y="217646"/>
                    <a:pt x="1109186" y="216694"/>
                    <a:pt x="1109186" y="215741"/>
                  </a:cubicBezTo>
                  <a:cubicBezTo>
                    <a:pt x="1110139" y="216694"/>
                    <a:pt x="1110139" y="216694"/>
                    <a:pt x="1110139" y="217646"/>
                  </a:cubicBezTo>
                  <a:close/>
                  <a:moveTo>
                    <a:pt x="1101566" y="236696"/>
                  </a:moveTo>
                  <a:cubicBezTo>
                    <a:pt x="1104424" y="248126"/>
                    <a:pt x="1107281" y="262414"/>
                    <a:pt x="1111091" y="278606"/>
                  </a:cubicBezTo>
                  <a:cubicBezTo>
                    <a:pt x="1110139" y="283369"/>
                    <a:pt x="1109186" y="289084"/>
                    <a:pt x="1109186" y="293846"/>
                  </a:cubicBezTo>
                  <a:cubicBezTo>
                    <a:pt x="1108234" y="298609"/>
                    <a:pt x="1107281" y="304324"/>
                    <a:pt x="1106329" y="309086"/>
                  </a:cubicBezTo>
                  <a:cubicBezTo>
                    <a:pt x="1106329" y="309086"/>
                    <a:pt x="1106329" y="309086"/>
                    <a:pt x="1106329" y="308134"/>
                  </a:cubicBezTo>
                  <a:cubicBezTo>
                    <a:pt x="1105376" y="300514"/>
                    <a:pt x="1105376" y="295751"/>
                    <a:pt x="1105376" y="295751"/>
                  </a:cubicBezTo>
                  <a:cubicBezTo>
                    <a:pt x="1105376" y="295751"/>
                    <a:pt x="1105376" y="297656"/>
                    <a:pt x="1105376" y="300514"/>
                  </a:cubicBezTo>
                  <a:cubicBezTo>
                    <a:pt x="1103471" y="290989"/>
                    <a:pt x="1101566" y="282416"/>
                    <a:pt x="1099661" y="272891"/>
                  </a:cubicBezTo>
                  <a:cubicBezTo>
                    <a:pt x="1097756" y="265271"/>
                    <a:pt x="1096804" y="256699"/>
                    <a:pt x="1094899" y="249079"/>
                  </a:cubicBezTo>
                  <a:cubicBezTo>
                    <a:pt x="1096804" y="244316"/>
                    <a:pt x="1098709" y="240506"/>
                    <a:pt x="1101566" y="236696"/>
                  </a:cubicBezTo>
                  <a:close/>
                  <a:moveTo>
                    <a:pt x="1027271" y="325279"/>
                  </a:moveTo>
                  <a:cubicBezTo>
                    <a:pt x="1028224" y="319564"/>
                    <a:pt x="1029176" y="314801"/>
                    <a:pt x="1030129" y="310991"/>
                  </a:cubicBezTo>
                  <a:cubicBezTo>
                    <a:pt x="1031081" y="306229"/>
                    <a:pt x="1032986" y="301466"/>
                    <a:pt x="1034891" y="297656"/>
                  </a:cubicBezTo>
                  <a:cubicBezTo>
                    <a:pt x="1035844" y="293846"/>
                    <a:pt x="1037749" y="290989"/>
                    <a:pt x="1039654" y="288131"/>
                  </a:cubicBezTo>
                  <a:cubicBezTo>
                    <a:pt x="1040606" y="291941"/>
                    <a:pt x="1041559" y="295751"/>
                    <a:pt x="1042511" y="299561"/>
                  </a:cubicBezTo>
                  <a:cubicBezTo>
                    <a:pt x="1041559" y="301466"/>
                    <a:pt x="1040606" y="303371"/>
                    <a:pt x="1039654" y="305276"/>
                  </a:cubicBezTo>
                  <a:cubicBezTo>
                    <a:pt x="1034891" y="313849"/>
                    <a:pt x="1031081" y="322421"/>
                    <a:pt x="1028224" y="330994"/>
                  </a:cubicBezTo>
                  <a:cubicBezTo>
                    <a:pt x="1028224" y="329089"/>
                    <a:pt x="1028224" y="327184"/>
                    <a:pt x="1027271" y="325279"/>
                  </a:cubicBezTo>
                  <a:close/>
                  <a:moveTo>
                    <a:pt x="1040606" y="374809"/>
                  </a:moveTo>
                  <a:cubicBezTo>
                    <a:pt x="1040606" y="373856"/>
                    <a:pt x="1039654" y="371951"/>
                    <a:pt x="1039654" y="370999"/>
                  </a:cubicBezTo>
                  <a:cubicBezTo>
                    <a:pt x="1041559" y="366236"/>
                    <a:pt x="1043464" y="360521"/>
                    <a:pt x="1045369" y="355759"/>
                  </a:cubicBezTo>
                  <a:cubicBezTo>
                    <a:pt x="1046321" y="358616"/>
                    <a:pt x="1047274" y="361474"/>
                    <a:pt x="1047274" y="364331"/>
                  </a:cubicBezTo>
                  <a:cubicBezTo>
                    <a:pt x="1047274" y="371951"/>
                    <a:pt x="1047274" y="378619"/>
                    <a:pt x="1048226" y="386239"/>
                  </a:cubicBezTo>
                  <a:cubicBezTo>
                    <a:pt x="1046321" y="385286"/>
                    <a:pt x="1045369" y="384334"/>
                    <a:pt x="1044416" y="384334"/>
                  </a:cubicBezTo>
                  <a:cubicBezTo>
                    <a:pt x="1042511" y="381476"/>
                    <a:pt x="1041559" y="377666"/>
                    <a:pt x="1040606" y="374809"/>
                  </a:cubicBezTo>
                  <a:close/>
                  <a:moveTo>
                    <a:pt x="1046321" y="389096"/>
                  </a:moveTo>
                  <a:cubicBezTo>
                    <a:pt x="1047274" y="390049"/>
                    <a:pt x="1047274" y="390049"/>
                    <a:pt x="1048226" y="391001"/>
                  </a:cubicBezTo>
                  <a:cubicBezTo>
                    <a:pt x="1048226" y="391954"/>
                    <a:pt x="1048226" y="391954"/>
                    <a:pt x="1048226" y="392906"/>
                  </a:cubicBezTo>
                  <a:cubicBezTo>
                    <a:pt x="1047274" y="391954"/>
                    <a:pt x="1046321" y="390049"/>
                    <a:pt x="1046321" y="389096"/>
                  </a:cubicBezTo>
                  <a:close/>
                  <a:moveTo>
                    <a:pt x="1056799" y="292894"/>
                  </a:moveTo>
                  <a:cubicBezTo>
                    <a:pt x="1057751" y="289084"/>
                    <a:pt x="1059656" y="286226"/>
                    <a:pt x="1061561" y="282416"/>
                  </a:cubicBezTo>
                  <a:cubicBezTo>
                    <a:pt x="1063466" y="278606"/>
                    <a:pt x="1064419" y="274796"/>
                    <a:pt x="1066324" y="271939"/>
                  </a:cubicBezTo>
                  <a:cubicBezTo>
                    <a:pt x="1066324" y="272891"/>
                    <a:pt x="1066324" y="272891"/>
                    <a:pt x="1066324" y="273844"/>
                  </a:cubicBezTo>
                  <a:cubicBezTo>
                    <a:pt x="1066324" y="275749"/>
                    <a:pt x="1067276" y="276701"/>
                    <a:pt x="1067276" y="278606"/>
                  </a:cubicBezTo>
                  <a:cubicBezTo>
                    <a:pt x="1066324" y="280511"/>
                    <a:pt x="1064419" y="282416"/>
                    <a:pt x="1063466" y="285274"/>
                  </a:cubicBezTo>
                  <a:cubicBezTo>
                    <a:pt x="1061561" y="288131"/>
                    <a:pt x="1059656" y="291941"/>
                    <a:pt x="1057751" y="295751"/>
                  </a:cubicBezTo>
                  <a:cubicBezTo>
                    <a:pt x="1057751" y="294799"/>
                    <a:pt x="1056799" y="293846"/>
                    <a:pt x="1056799" y="292894"/>
                  </a:cubicBezTo>
                  <a:close/>
                  <a:moveTo>
                    <a:pt x="1059656" y="360521"/>
                  </a:moveTo>
                  <a:cubicBezTo>
                    <a:pt x="1059656" y="360521"/>
                    <a:pt x="1059656" y="359569"/>
                    <a:pt x="1059656" y="360521"/>
                  </a:cubicBezTo>
                  <a:cubicBezTo>
                    <a:pt x="1059656" y="359569"/>
                    <a:pt x="1059656" y="360521"/>
                    <a:pt x="1059656" y="360521"/>
                  </a:cubicBezTo>
                  <a:cubicBezTo>
                    <a:pt x="1059656" y="360521"/>
                    <a:pt x="1059656" y="360521"/>
                    <a:pt x="1059656" y="360521"/>
                  </a:cubicBezTo>
                  <a:close/>
                  <a:moveTo>
                    <a:pt x="1064419" y="383381"/>
                  </a:moveTo>
                  <a:cubicBezTo>
                    <a:pt x="1063466" y="381476"/>
                    <a:pt x="1063466" y="380524"/>
                    <a:pt x="1062514" y="379571"/>
                  </a:cubicBezTo>
                  <a:cubicBezTo>
                    <a:pt x="1062514" y="377666"/>
                    <a:pt x="1062514" y="376714"/>
                    <a:pt x="1063466" y="374809"/>
                  </a:cubicBezTo>
                  <a:cubicBezTo>
                    <a:pt x="1063466" y="375761"/>
                    <a:pt x="1064419" y="377666"/>
                    <a:pt x="1064419" y="378619"/>
                  </a:cubicBezTo>
                  <a:cubicBezTo>
                    <a:pt x="1064419" y="379571"/>
                    <a:pt x="1064419" y="379571"/>
                    <a:pt x="1064419" y="380524"/>
                  </a:cubicBezTo>
                  <a:cubicBezTo>
                    <a:pt x="1064419" y="382429"/>
                    <a:pt x="1065371" y="384334"/>
                    <a:pt x="1065371" y="386239"/>
                  </a:cubicBezTo>
                  <a:cubicBezTo>
                    <a:pt x="1065371" y="385286"/>
                    <a:pt x="1065371" y="384334"/>
                    <a:pt x="1064419" y="383381"/>
                  </a:cubicBezTo>
                  <a:close/>
                  <a:moveTo>
                    <a:pt x="1069181" y="330994"/>
                  </a:moveTo>
                  <a:cubicBezTo>
                    <a:pt x="1067276" y="325279"/>
                    <a:pt x="1065371" y="318611"/>
                    <a:pt x="1063466" y="312896"/>
                  </a:cubicBezTo>
                  <a:cubicBezTo>
                    <a:pt x="1065371" y="309086"/>
                    <a:pt x="1067276" y="304324"/>
                    <a:pt x="1069181" y="300514"/>
                  </a:cubicBezTo>
                  <a:cubicBezTo>
                    <a:pt x="1070134" y="308134"/>
                    <a:pt x="1069181" y="316706"/>
                    <a:pt x="1070134" y="326231"/>
                  </a:cubicBezTo>
                  <a:cubicBezTo>
                    <a:pt x="1069181" y="328136"/>
                    <a:pt x="1069181" y="329089"/>
                    <a:pt x="1069181" y="330994"/>
                  </a:cubicBezTo>
                  <a:close/>
                  <a:moveTo>
                    <a:pt x="1077754" y="262414"/>
                  </a:moveTo>
                  <a:cubicBezTo>
                    <a:pt x="1076801" y="263366"/>
                    <a:pt x="1076801" y="264319"/>
                    <a:pt x="1075849" y="264319"/>
                  </a:cubicBezTo>
                  <a:cubicBezTo>
                    <a:pt x="1074896" y="261461"/>
                    <a:pt x="1074896" y="259556"/>
                    <a:pt x="1073944" y="256699"/>
                  </a:cubicBezTo>
                  <a:lnTo>
                    <a:pt x="1074896" y="256699"/>
                  </a:lnTo>
                  <a:lnTo>
                    <a:pt x="1075849" y="256699"/>
                  </a:lnTo>
                  <a:cubicBezTo>
                    <a:pt x="1076801" y="259556"/>
                    <a:pt x="1077754" y="260509"/>
                    <a:pt x="1077754" y="262414"/>
                  </a:cubicBezTo>
                  <a:close/>
                  <a:moveTo>
                    <a:pt x="1045369" y="175736"/>
                  </a:moveTo>
                  <a:cubicBezTo>
                    <a:pt x="1048226" y="168116"/>
                    <a:pt x="1052036" y="160496"/>
                    <a:pt x="1054894" y="153829"/>
                  </a:cubicBezTo>
                  <a:cubicBezTo>
                    <a:pt x="1054894" y="154781"/>
                    <a:pt x="1054894" y="154781"/>
                    <a:pt x="1055846" y="155734"/>
                  </a:cubicBezTo>
                  <a:cubicBezTo>
                    <a:pt x="1056799" y="160496"/>
                    <a:pt x="1058704" y="166211"/>
                    <a:pt x="1059656" y="171926"/>
                  </a:cubicBezTo>
                  <a:cubicBezTo>
                    <a:pt x="1061561" y="178594"/>
                    <a:pt x="1063466" y="186214"/>
                    <a:pt x="1064419" y="193834"/>
                  </a:cubicBezTo>
                  <a:cubicBezTo>
                    <a:pt x="1066324" y="201454"/>
                    <a:pt x="1067276" y="208121"/>
                    <a:pt x="1069181" y="215741"/>
                  </a:cubicBezTo>
                  <a:cubicBezTo>
                    <a:pt x="1072039" y="228124"/>
                    <a:pt x="1073944" y="241459"/>
                    <a:pt x="1076801" y="253841"/>
                  </a:cubicBezTo>
                  <a:cubicBezTo>
                    <a:pt x="1075849" y="253841"/>
                    <a:pt x="1074896" y="252889"/>
                    <a:pt x="1074896" y="252889"/>
                  </a:cubicBezTo>
                  <a:cubicBezTo>
                    <a:pt x="1070134" y="230981"/>
                    <a:pt x="1067276" y="216694"/>
                    <a:pt x="1067276" y="216694"/>
                  </a:cubicBezTo>
                  <a:cubicBezTo>
                    <a:pt x="1067276" y="216694"/>
                    <a:pt x="1067276" y="232886"/>
                    <a:pt x="1068229" y="257651"/>
                  </a:cubicBezTo>
                  <a:cubicBezTo>
                    <a:pt x="1068229" y="258604"/>
                    <a:pt x="1067276" y="258604"/>
                    <a:pt x="1067276" y="259556"/>
                  </a:cubicBezTo>
                  <a:cubicBezTo>
                    <a:pt x="1065371" y="255746"/>
                    <a:pt x="1065371" y="252889"/>
                    <a:pt x="1065371" y="252889"/>
                  </a:cubicBezTo>
                  <a:cubicBezTo>
                    <a:pt x="1065371" y="252889"/>
                    <a:pt x="1065371" y="255746"/>
                    <a:pt x="1066324" y="261461"/>
                  </a:cubicBezTo>
                  <a:cubicBezTo>
                    <a:pt x="1062514" y="267176"/>
                    <a:pt x="1058704" y="272891"/>
                    <a:pt x="1055846" y="278606"/>
                  </a:cubicBezTo>
                  <a:cubicBezTo>
                    <a:pt x="1055846" y="279559"/>
                    <a:pt x="1054894" y="279559"/>
                    <a:pt x="1054894" y="280511"/>
                  </a:cubicBezTo>
                  <a:cubicBezTo>
                    <a:pt x="1054894" y="279559"/>
                    <a:pt x="1053941" y="278606"/>
                    <a:pt x="1053941" y="277654"/>
                  </a:cubicBezTo>
                  <a:cubicBezTo>
                    <a:pt x="1050131" y="266224"/>
                    <a:pt x="1046321" y="254794"/>
                    <a:pt x="1043464" y="245269"/>
                  </a:cubicBezTo>
                  <a:cubicBezTo>
                    <a:pt x="1040606" y="235744"/>
                    <a:pt x="1037749" y="227171"/>
                    <a:pt x="1035844" y="220504"/>
                  </a:cubicBezTo>
                  <a:cubicBezTo>
                    <a:pt x="1033939" y="215741"/>
                    <a:pt x="1032986" y="211931"/>
                    <a:pt x="1032034" y="209074"/>
                  </a:cubicBezTo>
                  <a:cubicBezTo>
                    <a:pt x="1034891" y="196691"/>
                    <a:pt x="1040606" y="186214"/>
                    <a:pt x="1045369" y="175736"/>
                  </a:cubicBezTo>
                  <a:close/>
                  <a:moveTo>
                    <a:pt x="1019651" y="267176"/>
                  </a:moveTo>
                  <a:cubicBezTo>
                    <a:pt x="1020604" y="251936"/>
                    <a:pt x="1022509" y="236696"/>
                    <a:pt x="1023461" y="221456"/>
                  </a:cubicBezTo>
                  <a:cubicBezTo>
                    <a:pt x="1023461" y="220504"/>
                    <a:pt x="1024414" y="219551"/>
                    <a:pt x="1024414" y="218599"/>
                  </a:cubicBezTo>
                  <a:cubicBezTo>
                    <a:pt x="1026319" y="229076"/>
                    <a:pt x="1028224" y="241459"/>
                    <a:pt x="1032034" y="253841"/>
                  </a:cubicBezTo>
                  <a:cubicBezTo>
                    <a:pt x="1033939" y="263366"/>
                    <a:pt x="1036796" y="272891"/>
                    <a:pt x="1038701" y="283369"/>
                  </a:cubicBezTo>
                  <a:cubicBezTo>
                    <a:pt x="1038701" y="283369"/>
                    <a:pt x="1038701" y="284321"/>
                    <a:pt x="1037749" y="284321"/>
                  </a:cubicBezTo>
                  <a:cubicBezTo>
                    <a:pt x="1035844" y="287179"/>
                    <a:pt x="1032986" y="290036"/>
                    <a:pt x="1031081" y="294799"/>
                  </a:cubicBezTo>
                  <a:cubicBezTo>
                    <a:pt x="1029176" y="298609"/>
                    <a:pt x="1027271" y="302419"/>
                    <a:pt x="1025366" y="306229"/>
                  </a:cubicBezTo>
                  <a:cubicBezTo>
                    <a:pt x="1024414" y="297656"/>
                    <a:pt x="1024414" y="290036"/>
                    <a:pt x="1023461" y="284321"/>
                  </a:cubicBezTo>
                  <a:cubicBezTo>
                    <a:pt x="1022509" y="274796"/>
                    <a:pt x="1022509" y="269081"/>
                    <a:pt x="1022509" y="269081"/>
                  </a:cubicBezTo>
                  <a:cubicBezTo>
                    <a:pt x="1022509" y="269081"/>
                    <a:pt x="1021556" y="274796"/>
                    <a:pt x="1019651" y="284321"/>
                  </a:cubicBezTo>
                  <a:cubicBezTo>
                    <a:pt x="1018699" y="291941"/>
                    <a:pt x="1016794" y="302419"/>
                    <a:pt x="1015841" y="314801"/>
                  </a:cubicBezTo>
                  <a:cubicBezTo>
                    <a:pt x="1015841" y="314801"/>
                    <a:pt x="1015841" y="315754"/>
                    <a:pt x="1015841" y="315754"/>
                  </a:cubicBezTo>
                  <a:cubicBezTo>
                    <a:pt x="1015841" y="315754"/>
                    <a:pt x="1015841" y="315754"/>
                    <a:pt x="1015841" y="315754"/>
                  </a:cubicBezTo>
                  <a:cubicBezTo>
                    <a:pt x="1020604" y="276701"/>
                    <a:pt x="1022509" y="251936"/>
                    <a:pt x="1022509" y="251936"/>
                  </a:cubicBezTo>
                  <a:cubicBezTo>
                    <a:pt x="1022509" y="251936"/>
                    <a:pt x="1021556" y="257651"/>
                    <a:pt x="1019651" y="267176"/>
                  </a:cubicBezTo>
                  <a:close/>
                  <a:moveTo>
                    <a:pt x="1011079" y="364331"/>
                  </a:moveTo>
                  <a:cubicBezTo>
                    <a:pt x="1011079" y="361474"/>
                    <a:pt x="1012031" y="358616"/>
                    <a:pt x="1012031" y="355759"/>
                  </a:cubicBezTo>
                  <a:cubicBezTo>
                    <a:pt x="1012984" y="350996"/>
                    <a:pt x="1012984" y="347186"/>
                    <a:pt x="1013936" y="342424"/>
                  </a:cubicBezTo>
                  <a:cubicBezTo>
                    <a:pt x="1013936" y="342424"/>
                    <a:pt x="1013936" y="342424"/>
                    <a:pt x="1013936" y="342424"/>
                  </a:cubicBezTo>
                  <a:cubicBezTo>
                    <a:pt x="1012984" y="349091"/>
                    <a:pt x="1012984" y="356711"/>
                    <a:pt x="1012031" y="364331"/>
                  </a:cubicBezTo>
                  <a:cubicBezTo>
                    <a:pt x="1012031" y="365284"/>
                    <a:pt x="1011079" y="365284"/>
                    <a:pt x="1011079" y="366236"/>
                  </a:cubicBezTo>
                  <a:cubicBezTo>
                    <a:pt x="1011079" y="366236"/>
                    <a:pt x="1011079" y="366236"/>
                    <a:pt x="1011079" y="366236"/>
                  </a:cubicBezTo>
                  <a:cubicBezTo>
                    <a:pt x="1011079" y="366236"/>
                    <a:pt x="1011079" y="365284"/>
                    <a:pt x="1011079" y="364331"/>
                  </a:cubicBezTo>
                  <a:close/>
                  <a:moveTo>
                    <a:pt x="1004411" y="257651"/>
                  </a:moveTo>
                  <a:cubicBezTo>
                    <a:pt x="1003459" y="265271"/>
                    <a:pt x="1002506" y="273844"/>
                    <a:pt x="1001554" y="281464"/>
                  </a:cubicBezTo>
                  <a:cubicBezTo>
                    <a:pt x="999649" y="277654"/>
                    <a:pt x="997744" y="273844"/>
                    <a:pt x="996791" y="271939"/>
                  </a:cubicBezTo>
                  <a:cubicBezTo>
                    <a:pt x="999649" y="268129"/>
                    <a:pt x="1001554" y="262414"/>
                    <a:pt x="1004411" y="257651"/>
                  </a:cubicBezTo>
                  <a:close/>
                  <a:moveTo>
                    <a:pt x="991076" y="283369"/>
                  </a:moveTo>
                  <a:cubicBezTo>
                    <a:pt x="992981" y="280511"/>
                    <a:pt x="994886" y="276701"/>
                    <a:pt x="995839" y="273844"/>
                  </a:cubicBezTo>
                  <a:cubicBezTo>
                    <a:pt x="996791" y="277654"/>
                    <a:pt x="997744" y="283369"/>
                    <a:pt x="999649" y="291941"/>
                  </a:cubicBezTo>
                  <a:cubicBezTo>
                    <a:pt x="998696" y="303371"/>
                    <a:pt x="996791" y="314801"/>
                    <a:pt x="995839" y="326231"/>
                  </a:cubicBezTo>
                  <a:cubicBezTo>
                    <a:pt x="994886" y="328136"/>
                    <a:pt x="994886" y="329089"/>
                    <a:pt x="993934" y="330994"/>
                  </a:cubicBezTo>
                  <a:cubicBezTo>
                    <a:pt x="992981" y="324326"/>
                    <a:pt x="992981" y="320516"/>
                    <a:pt x="992981" y="320516"/>
                  </a:cubicBezTo>
                  <a:cubicBezTo>
                    <a:pt x="992981" y="320516"/>
                    <a:pt x="992029" y="327184"/>
                    <a:pt x="991076" y="338614"/>
                  </a:cubicBezTo>
                  <a:cubicBezTo>
                    <a:pt x="991076" y="339566"/>
                    <a:pt x="990124" y="340519"/>
                    <a:pt x="990124" y="341471"/>
                  </a:cubicBezTo>
                  <a:cubicBezTo>
                    <a:pt x="987266" y="349091"/>
                    <a:pt x="984409" y="356711"/>
                    <a:pt x="981551" y="365284"/>
                  </a:cubicBezTo>
                  <a:cubicBezTo>
                    <a:pt x="981551" y="364331"/>
                    <a:pt x="981551" y="363379"/>
                    <a:pt x="980599" y="363379"/>
                  </a:cubicBezTo>
                  <a:cubicBezTo>
                    <a:pt x="979646" y="351949"/>
                    <a:pt x="978694" y="341471"/>
                    <a:pt x="977741" y="331946"/>
                  </a:cubicBezTo>
                  <a:cubicBezTo>
                    <a:pt x="976789" y="325279"/>
                    <a:pt x="976789" y="318611"/>
                    <a:pt x="975836" y="311944"/>
                  </a:cubicBezTo>
                  <a:cubicBezTo>
                    <a:pt x="980599" y="301466"/>
                    <a:pt x="986314" y="291941"/>
                    <a:pt x="991076" y="283369"/>
                  </a:cubicBezTo>
                  <a:close/>
                  <a:moveTo>
                    <a:pt x="960596" y="298609"/>
                  </a:moveTo>
                  <a:cubicBezTo>
                    <a:pt x="963454" y="291941"/>
                    <a:pt x="965359" y="286226"/>
                    <a:pt x="968216" y="280511"/>
                  </a:cubicBezTo>
                  <a:cubicBezTo>
                    <a:pt x="968216" y="284321"/>
                    <a:pt x="967264" y="289084"/>
                    <a:pt x="967264" y="294799"/>
                  </a:cubicBezTo>
                  <a:cubicBezTo>
                    <a:pt x="965359" y="297656"/>
                    <a:pt x="963454" y="301466"/>
                    <a:pt x="961549" y="304324"/>
                  </a:cubicBezTo>
                  <a:cubicBezTo>
                    <a:pt x="961549" y="304324"/>
                    <a:pt x="961549" y="304324"/>
                    <a:pt x="961549" y="303371"/>
                  </a:cubicBezTo>
                  <a:cubicBezTo>
                    <a:pt x="961549" y="302419"/>
                    <a:pt x="960596" y="302419"/>
                    <a:pt x="960596" y="301466"/>
                  </a:cubicBezTo>
                  <a:cubicBezTo>
                    <a:pt x="960596" y="299561"/>
                    <a:pt x="960596" y="299561"/>
                    <a:pt x="960596" y="298609"/>
                  </a:cubicBezTo>
                  <a:close/>
                  <a:moveTo>
                    <a:pt x="939641" y="258604"/>
                  </a:moveTo>
                  <a:cubicBezTo>
                    <a:pt x="939641" y="258604"/>
                    <a:pt x="939641" y="258604"/>
                    <a:pt x="939641" y="258604"/>
                  </a:cubicBezTo>
                  <a:cubicBezTo>
                    <a:pt x="941546" y="253841"/>
                    <a:pt x="942499" y="250031"/>
                    <a:pt x="943451" y="246221"/>
                  </a:cubicBezTo>
                  <a:cubicBezTo>
                    <a:pt x="943451" y="248126"/>
                    <a:pt x="943451" y="250031"/>
                    <a:pt x="943451" y="251936"/>
                  </a:cubicBezTo>
                  <a:cubicBezTo>
                    <a:pt x="942499" y="253841"/>
                    <a:pt x="941546" y="256699"/>
                    <a:pt x="939641" y="258604"/>
                  </a:cubicBezTo>
                  <a:lnTo>
                    <a:pt x="939641" y="258604"/>
                  </a:lnTo>
                  <a:close/>
                  <a:moveTo>
                    <a:pt x="944404" y="280511"/>
                  </a:moveTo>
                  <a:lnTo>
                    <a:pt x="943451" y="273844"/>
                  </a:lnTo>
                  <a:cubicBezTo>
                    <a:pt x="943451" y="272891"/>
                    <a:pt x="944404" y="271939"/>
                    <a:pt x="944404" y="270986"/>
                  </a:cubicBezTo>
                  <a:cubicBezTo>
                    <a:pt x="944404" y="270986"/>
                    <a:pt x="944404" y="271939"/>
                    <a:pt x="944404" y="271939"/>
                  </a:cubicBezTo>
                  <a:cubicBezTo>
                    <a:pt x="944404" y="272891"/>
                    <a:pt x="944404" y="274796"/>
                    <a:pt x="944404" y="275749"/>
                  </a:cubicBezTo>
                  <a:cubicBezTo>
                    <a:pt x="945356" y="277654"/>
                    <a:pt x="945356" y="279559"/>
                    <a:pt x="944404" y="280511"/>
                  </a:cubicBezTo>
                  <a:close/>
                  <a:moveTo>
                    <a:pt x="944404" y="270986"/>
                  </a:moveTo>
                  <a:cubicBezTo>
                    <a:pt x="944404" y="270986"/>
                    <a:pt x="944404" y="270986"/>
                    <a:pt x="944404" y="270986"/>
                  </a:cubicBezTo>
                  <a:cubicBezTo>
                    <a:pt x="945356" y="270986"/>
                    <a:pt x="945356" y="270986"/>
                    <a:pt x="944404" y="270986"/>
                  </a:cubicBezTo>
                  <a:cubicBezTo>
                    <a:pt x="945356" y="270986"/>
                    <a:pt x="944404" y="270986"/>
                    <a:pt x="944404" y="270986"/>
                  </a:cubicBezTo>
                  <a:close/>
                  <a:moveTo>
                    <a:pt x="933926" y="227171"/>
                  </a:moveTo>
                  <a:cubicBezTo>
                    <a:pt x="946309" y="185261"/>
                    <a:pt x="954881" y="153829"/>
                    <a:pt x="958691" y="138589"/>
                  </a:cubicBezTo>
                  <a:cubicBezTo>
                    <a:pt x="958691" y="141446"/>
                    <a:pt x="958691" y="143351"/>
                    <a:pt x="958691" y="146209"/>
                  </a:cubicBezTo>
                  <a:cubicBezTo>
                    <a:pt x="957739" y="159544"/>
                    <a:pt x="956786" y="179546"/>
                    <a:pt x="953929" y="203359"/>
                  </a:cubicBezTo>
                  <a:cubicBezTo>
                    <a:pt x="952976" y="215741"/>
                    <a:pt x="951071" y="228124"/>
                    <a:pt x="950119" y="242411"/>
                  </a:cubicBezTo>
                  <a:cubicBezTo>
                    <a:pt x="949166" y="243364"/>
                    <a:pt x="948214" y="245269"/>
                    <a:pt x="948214" y="246221"/>
                  </a:cubicBezTo>
                  <a:cubicBezTo>
                    <a:pt x="947261" y="244316"/>
                    <a:pt x="947261" y="241459"/>
                    <a:pt x="947261" y="240506"/>
                  </a:cubicBezTo>
                  <a:cubicBezTo>
                    <a:pt x="948214" y="235744"/>
                    <a:pt x="949166" y="233839"/>
                    <a:pt x="949166" y="233839"/>
                  </a:cubicBezTo>
                  <a:cubicBezTo>
                    <a:pt x="949166" y="233839"/>
                    <a:pt x="948214" y="235744"/>
                    <a:pt x="946309" y="238601"/>
                  </a:cubicBezTo>
                  <a:cubicBezTo>
                    <a:pt x="945356" y="232886"/>
                    <a:pt x="944404" y="230029"/>
                    <a:pt x="944404" y="230029"/>
                  </a:cubicBezTo>
                  <a:cubicBezTo>
                    <a:pt x="944404" y="230029"/>
                    <a:pt x="944404" y="233839"/>
                    <a:pt x="944404" y="241459"/>
                  </a:cubicBezTo>
                  <a:cubicBezTo>
                    <a:pt x="943451" y="244316"/>
                    <a:pt x="941546" y="248126"/>
                    <a:pt x="939641" y="251936"/>
                  </a:cubicBezTo>
                  <a:lnTo>
                    <a:pt x="938689" y="248126"/>
                  </a:lnTo>
                  <a:lnTo>
                    <a:pt x="936784" y="241459"/>
                  </a:lnTo>
                  <a:cubicBezTo>
                    <a:pt x="941546" y="226219"/>
                    <a:pt x="943451" y="217646"/>
                    <a:pt x="943451" y="217646"/>
                  </a:cubicBezTo>
                  <a:cubicBezTo>
                    <a:pt x="943451" y="217646"/>
                    <a:pt x="940594" y="224314"/>
                    <a:pt x="934879" y="235744"/>
                  </a:cubicBezTo>
                  <a:lnTo>
                    <a:pt x="932974" y="230029"/>
                  </a:lnTo>
                  <a:cubicBezTo>
                    <a:pt x="932974" y="230029"/>
                    <a:pt x="932974" y="228124"/>
                    <a:pt x="933926" y="227171"/>
                  </a:cubicBezTo>
                  <a:close/>
                  <a:moveTo>
                    <a:pt x="921544" y="452914"/>
                  </a:moveTo>
                  <a:cubicBezTo>
                    <a:pt x="921544" y="452914"/>
                    <a:pt x="920591" y="451961"/>
                    <a:pt x="920591" y="451961"/>
                  </a:cubicBezTo>
                  <a:cubicBezTo>
                    <a:pt x="920591" y="447199"/>
                    <a:pt x="920591" y="443389"/>
                    <a:pt x="919639" y="438626"/>
                  </a:cubicBezTo>
                  <a:cubicBezTo>
                    <a:pt x="920591" y="443389"/>
                    <a:pt x="921544" y="448151"/>
                    <a:pt x="921544" y="452914"/>
                  </a:cubicBezTo>
                  <a:close/>
                  <a:moveTo>
                    <a:pt x="912019" y="210979"/>
                  </a:moveTo>
                  <a:lnTo>
                    <a:pt x="915829" y="227171"/>
                  </a:lnTo>
                  <a:cubicBezTo>
                    <a:pt x="915829" y="228124"/>
                    <a:pt x="915829" y="229076"/>
                    <a:pt x="914876" y="230029"/>
                  </a:cubicBezTo>
                  <a:cubicBezTo>
                    <a:pt x="913924" y="231934"/>
                    <a:pt x="913924" y="234791"/>
                    <a:pt x="912971" y="236696"/>
                  </a:cubicBezTo>
                  <a:cubicBezTo>
                    <a:pt x="912971" y="235744"/>
                    <a:pt x="912019" y="233839"/>
                    <a:pt x="912019" y="232886"/>
                  </a:cubicBezTo>
                  <a:cubicBezTo>
                    <a:pt x="912019" y="231934"/>
                    <a:pt x="912019" y="230029"/>
                    <a:pt x="912019" y="228124"/>
                  </a:cubicBezTo>
                  <a:cubicBezTo>
                    <a:pt x="912019" y="222409"/>
                    <a:pt x="911066" y="216694"/>
                    <a:pt x="911066" y="210979"/>
                  </a:cubicBezTo>
                  <a:cubicBezTo>
                    <a:pt x="911066" y="209074"/>
                    <a:pt x="911066" y="206216"/>
                    <a:pt x="911066" y="204311"/>
                  </a:cubicBezTo>
                  <a:lnTo>
                    <a:pt x="912019" y="210979"/>
                  </a:lnTo>
                  <a:close/>
                  <a:moveTo>
                    <a:pt x="833914" y="333851"/>
                  </a:moveTo>
                  <a:cubicBezTo>
                    <a:pt x="833914" y="332899"/>
                    <a:pt x="833914" y="332899"/>
                    <a:pt x="834866" y="331946"/>
                  </a:cubicBezTo>
                  <a:cubicBezTo>
                    <a:pt x="834866" y="333851"/>
                    <a:pt x="834866" y="335756"/>
                    <a:pt x="834866" y="337661"/>
                  </a:cubicBezTo>
                  <a:cubicBezTo>
                    <a:pt x="834866" y="336709"/>
                    <a:pt x="833914" y="334804"/>
                    <a:pt x="833914" y="333851"/>
                  </a:cubicBezTo>
                  <a:close/>
                  <a:moveTo>
                    <a:pt x="847249" y="304324"/>
                  </a:moveTo>
                  <a:cubicBezTo>
                    <a:pt x="847249" y="303371"/>
                    <a:pt x="847249" y="302419"/>
                    <a:pt x="846296" y="301466"/>
                  </a:cubicBezTo>
                  <a:cubicBezTo>
                    <a:pt x="846296" y="300514"/>
                    <a:pt x="846296" y="300514"/>
                    <a:pt x="846296" y="299561"/>
                  </a:cubicBezTo>
                  <a:cubicBezTo>
                    <a:pt x="848201" y="294799"/>
                    <a:pt x="849154" y="290989"/>
                    <a:pt x="851059" y="286226"/>
                  </a:cubicBezTo>
                  <a:cubicBezTo>
                    <a:pt x="850106" y="292894"/>
                    <a:pt x="848201" y="298609"/>
                    <a:pt x="847249" y="304324"/>
                  </a:cubicBezTo>
                  <a:close/>
                  <a:moveTo>
                    <a:pt x="880586" y="300514"/>
                  </a:moveTo>
                  <a:cubicBezTo>
                    <a:pt x="878681" y="306229"/>
                    <a:pt x="877729" y="312896"/>
                    <a:pt x="876776" y="319564"/>
                  </a:cubicBezTo>
                  <a:cubicBezTo>
                    <a:pt x="874871" y="326231"/>
                    <a:pt x="873919" y="334804"/>
                    <a:pt x="872966" y="343376"/>
                  </a:cubicBezTo>
                  <a:cubicBezTo>
                    <a:pt x="872014" y="346234"/>
                    <a:pt x="870109" y="348139"/>
                    <a:pt x="869156" y="350996"/>
                  </a:cubicBezTo>
                  <a:cubicBezTo>
                    <a:pt x="869156" y="350996"/>
                    <a:pt x="868204" y="350044"/>
                    <a:pt x="868204" y="349091"/>
                  </a:cubicBezTo>
                  <a:cubicBezTo>
                    <a:pt x="868204" y="349091"/>
                    <a:pt x="868204" y="348139"/>
                    <a:pt x="867251" y="348139"/>
                  </a:cubicBezTo>
                  <a:cubicBezTo>
                    <a:pt x="867251" y="344329"/>
                    <a:pt x="867251" y="339566"/>
                    <a:pt x="867251" y="335756"/>
                  </a:cubicBezTo>
                  <a:cubicBezTo>
                    <a:pt x="867251" y="323374"/>
                    <a:pt x="867251" y="311944"/>
                    <a:pt x="866299" y="301466"/>
                  </a:cubicBezTo>
                  <a:cubicBezTo>
                    <a:pt x="866299" y="290989"/>
                    <a:pt x="864394" y="281464"/>
                    <a:pt x="863441" y="272891"/>
                  </a:cubicBezTo>
                  <a:cubicBezTo>
                    <a:pt x="862489" y="267176"/>
                    <a:pt x="862489" y="262414"/>
                    <a:pt x="861536" y="257651"/>
                  </a:cubicBezTo>
                  <a:cubicBezTo>
                    <a:pt x="861536" y="256699"/>
                    <a:pt x="861536" y="256699"/>
                    <a:pt x="862489" y="255746"/>
                  </a:cubicBezTo>
                  <a:cubicBezTo>
                    <a:pt x="862489" y="255746"/>
                    <a:pt x="862489" y="255746"/>
                    <a:pt x="862489" y="255746"/>
                  </a:cubicBezTo>
                  <a:cubicBezTo>
                    <a:pt x="867251" y="265271"/>
                    <a:pt x="871061" y="274796"/>
                    <a:pt x="876776" y="286226"/>
                  </a:cubicBezTo>
                  <a:cubicBezTo>
                    <a:pt x="878681" y="290036"/>
                    <a:pt x="880586" y="293846"/>
                    <a:pt x="881539" y="296704"/>
                  </a:cubicBezTo>
                  <a:cubicBezTo>
                    <a:pt x="881539" y="298609"/>
                    <a:pt x="881539" y="299561"/>
                    <a:pt x="880586" y="300514"/>
                  </a:cubicBezTo>
                  <a:close/>
                  <a:moveTo>
                    <a:pt x="885349" y="318611"/>
                  </a:moveTo>
                  <a:cubicBezTo>
                    <a:pt x="885349" y="318611"/>
                    <a:pt x="885349" y="319564"/>
                    <a:pt x="884396" y="319564"/>
                  </a:cubicBezTo>
                  <a:cubicBezTo>
                    <a:pt x="884396" y="319564"/>
                    <a:pt x="884396" y="320516"/>
                    <a:pt x="883444" y="320516"/>
                  </a:cubicBezTo>
                  <a:cubicBezTo>
                    <a:pt x="883444" y="313849"/>
                    <a:pt x="883444" y="308134"/>
                    <a:pt x="884396" y="303371"/>
                  </a:cubicBezTo>
                  <a:cubicBezTo>
                    <a:pt x="885349" y="305276"/>
                    <a:pt x="886301" y="308134"/>
                    <a:pt x="887254" y="310039"/>
                  </a:cubicBezTo>
                  <a:cubicBezTo>
                    <a:pt x="887254" y="312896"/>
                    <a:pt x="886301" y="315754"/>
                    <a:pt x="885349" y="318611"/>
                  </a:cubicBezTo>
                  <a:close/>
                  <a:moveTo>
                    <a:pt x="900589" y="246221"/>
                  </a:moveTo>
                  <a:cubicBezTo>
                    <a:pt x="900589" y="247174"/>
                    <a:pt x="899636" y="247174"/>
                    <a:pt x="900589" y="246221"/>
                  </a:cubicBezTo>
                  <a:cubicBezTo>
                    <a:pt x="899636" y="239554"/>
                    <a:pt x="898684" y="234791"/>
                    <a:pt x="898684" y="234791"/>
                  </a:cubicBezTo>
                  <a:cubicBezTo>
                    <a:pt x="898684" y="234791"/>
                    <a:pt x="898684" y="241459"/>
                    <a:pt x="897731" y="252889"/>
                  </a:cubicBezTo>
                  <a:cubicBezTo>
                    <a:pt x="897731" y="252889"/>
                    <a:pt x="897731" y="252889"/>
                    <a:pt x="897731" y="253841"/>
                  </a:cubicBezTo>
                  <a:cubicBezTo>
                    <a:pt x="895826" y="251936"/>
                    <a:pt x="894874" y="250031"/>
                    <a:pt x="894874" y="250031"/>
                  </a:cubicBezTo>
                  <a:cubicBezTo>
                    <a:pt x="894874" y="250031"/>
                    <a:pt x="895826" y="251936"/>
                    <a:pt x="897731" y="254794"/>
                  </a:cubicBezTo>
                  <a:cubicBezTo>
                    <a:pt x="897731" y="255746"/>
                    <a:pt x="897731" y="256699"/>
                    <a:pt x="897731" y="257651"/>
                  </a:cubicBezTo>
                  <a:cubicBezTo>
                    <a:pt x="897731" y="259556"/>
                    <a:pt x="897731" y="262414"/>
                    <a:pt x="896779" y="264319"/>
                  </a:cubicBezTo>
                  <a:cubicBezTo>
                    <a:pt x="896779" y="264319"/>
                    <a:pt x="896779" y="264319"/>
                    <a:pt x="896779" y="264319"/>
                  </a:cubicBezTo>
                  <a:cubicBezTo>
                    <a:pt x="896779" y="264319"/>
                    <a:pt x="896779" y="264319"/>
                    <a:pt x="896779" y="264319"/>
                  </a:cubicBezTo>
                  <a:cubicBezTo>
                    <a:pt x="896779" y="264319"/>
                    <a:pt x="896779" y="265271"/>
                    <a:pt x="896779" y="265271"/>
                  </a:cubicBezTo>
                  <a:cubicBezTo>
                    <a:pt x="896779" y="267176"/>
                    <a:pt x="896779" y="269081"/>
                    <a:pt x="896779" y="270986"/>
                  </a:cubicBezTo>
                  <a:cubicBezTo>
                    <a:pt x="896779" y="271939"/>
                    <a:pt x="896779" y="271939"/>
                    <a:pt x="896779" y="272891"/>
                  </a:cubicBezTo>
                  <a:cubicBezTo>
                    <a:pt x="896779" y="276701"/>
                    <a:pt x="895826" y="280511"/>
                    <a:pt x="895826" y="285274"/>
                  </a:cubicBezTo>
                  <a:cubicBezTo>
                    <a:pt x="895826" y="286226"/>
                    <a:pt x="895826" y="286226"/>
                    <a:pt x="895826" y="287179"/>
                  </a:cubicBezTo>
                  <a:cubicBezTo>
                    <a:pt x="893921" y="284321"/>
                    <a:pt x="892969" y="281464"/>
                    <a:pt x="891064" y="279559"/>
                  </a:cubicBezTo>
                  <a:cubicBezTo>
                    <a:pt x="885349" y="269081"/>
                    <a:pt x="879634" y="259556"/>
                    <a:pt x="873919" y="250984"/>
                  </a:cubicBezTo>
                  <a:cubicBezTo>
                    <a:pt x="872014" y="248126"/>
                    <a:pt x="871061" y="245269"/>
                    <a:pt x="869156" y="243364"/>
                  </a:cubicBezTo>
                  <a:cubicBezTo>
                    <a:pt x="869156" y="243364"/>
                    <a:pt x="869156" y="243364"/>
                    <a:pt x="869156" y="242411"/>
                  </a:cubicBezTo>
                  <a:cubicBezTo>
                    <a:pt x="872966" y="232886"/>
                    <a:pt x="875824" y="223361"/>
                    <a:pt x="878681" y="215741"/>
                  </a:cubicBezTo>
                  <a:cubicBezTo>
                    <a:pt x="881539" y="210979"/>
                    <a:pt x="884396" y="205264"/>
                    <a:pt x="887254" y="200501"/>
                  </a:cubicBezTo>
                  <a:lnTo>
                    <a:pt x="895826" y="223361"/>
                  </a:lnTo>
                  <a:lnTo>
                    <a:pt x="901541" y="240506"/>
                  </a:lnTo>
                  <a:cubicBezTo>
                    <a:pt x="900589" y="242411"/>
                    <a:pt x="900589" y="244316"/>
                    <a:pt x="900589" y="246221"/>
                  </a:cubicBezTo>
                  <a:close/>
                  <a:moveTo>
                    <a:pt x="891064" y="190976"/>
                  </a:moveTo>
                  <a:cubicBezTo>
                    <a:pt x="892016" y="190024"/>
                    <a:pt x="892969" y="188119"/>
                    <a:pt x="892969" y="187166"/>
                  </a:cubicBezTo>
                  <a:cubicBezTo>
                    <a:pt x="892969" y="189071"/>
                    <a:pt x="894874" y="194786"/>
                    <a:pt x="896779" y="202406"/>
                  </a:cubicBezTo>
                  <a:cubicBezTo>
                    <a:pt x="895826" y="199549"/>
                    <a:pt x="893921" y="195739"/>
                    <a:pt x="891064" y="190976"/>
                  </a:cubicBezTo>
                  <a:close/>
                  <a:moveTo>
                    <a:pt x="904399" y="181451"/>
                  </a:moveTo>
                  <a:cubicBezTo>
                    <a:pt x="904399" y="182404"/>
                    <a:pt x="904399" y="182404"/>
                    <a:pt x="904399" y="183356"/>
                  </a:cubicBezTo>
                  <a:cubicBezTo>
                    <a:pt x="904399" y="190976"/>
                    <a:pt x="903446" y="200501"/>
                    <a:pt x="903446" y="210979"/>
                  </a:cubicBezTo>
                  <a:cubicBezTo>
                    <a:pt x="903446" y="210979"/>
                    <a:pt x="903446" y="210026"/>
                    <a:pt x="903446" y="210026"/>
                  </a:cubicBezTo>
                  <a:cubicBezTo>
                    <a:pt x="898684" y="197644"/>
                    <a:pt x="894874" y="190024"/>
                    <a:pt x="894874" y="188119"/>
                  </a:cubicBezTo>
                  <a:cubicBezTo>
                    <a:pt x="897731" y="183356"/>
                    <a:pt x="900589" y="178594"/>
                    <a:pt x="903446" y="173831"/>
                  </a:cubicBezTo>
                  <a:lnTo>
                    <a:pt x="904399" y="181451"/>
                  </a:lnTo>
                  <a:close/>
                  <a:moveTo>
                    <a:pt x="888206" y="137636"/>
                  </a:moveTo>
                  <a:cubicBezTo>
                    <a:pt x="889159" y="135731"/>
                    <a:pt x="890111" y="134779"/>
                    <a:pt x="890111" y="132874"/>
                  </a:cubicBezTo>
                  <a:lnTo>
                    <a:pt x="898684" y="161449"/>
                  </a:lnTo>
                  <a:cubicBezTo>
                    <a:pt x="896779" y="163354"/>
                    <a:pt x="894874" y="166211"/>
                    <a:pt x="893921" y="168116"/>
                  </a:cubicBezTo>
                  <a:cubicBezTo>
                    <a:pt x="891064" y="171926"/>
                    <a:pt x="888206" y="175736"/>
                    <a:pt x="885349" y="180499"/>
                  </a:cubicBezTo>
                  <a:cubicBezTo>
                    <a:pt x="881539" y="174784"/>
                    <a:pt x="878681" y="169069"/>
                    <a:pt x="874871" y="163354"/>
                  </a:cubicBezTo>
                  <a:cubicBezTo>
                    <a:pt x="879634" y="154781"/>
                    <a:pt x="883444" y="146209"/>
                    <a:pt x="888206" y="137636"/>
                  </a:cubicBezTo>
                  <a:close/>
                  <a:moveTo>
                    <a:pt x="872966" y="169069"/>
                  </a:moveTo>
                  <a:lnTo>
                    <a:pt x="881539" y="188119"/>
                  </a:lnTo>
                  <a:cubicBezTo>
                    <a:pt x="880586" y="189071"/>
                    <a:pt x="879634" y="190976"/>
                    <a:pt x="878681" y="191929"/>
                  </a:cubicBezTo>
                  <a:cubicBezTo>
                    <a:pt x="871061" y="202406"/>
                    <a:pt x="864394" y="213836"/>
                    <a:pt x="856774" y="226219"/>
                  </a:cubicBezTo>
                  <a:cubicBezTo>
                    <a:pt x="854869" y="223361"/>
                    <a:pt x="852964" y="220504"/>
                    <a:pt x="851059" y="217646"/>
                  </a:cubicBezTo>
                  <a:cubicBezTo>
                    <a:pt x="858679" y="199549"/>
                    <a:pt x="865346" y="183356"/>
                    <a:pt x="872966" y="169069"/>
                  </a:cubicBezTo>
                  <a:close/>
                  <a:moveTo>
                    <a:pt x="847249" y="225266"/>
                  </a:moveTo>
                  <a:cubicBezTo>
                    <a:pt x="847249" y="224314"/>
                    <a:pt x="848201" y="223361"/>
                    <a:pt x="848201" y="223361"/>
                  </a:cubicBezTo>
                  <a:cubicBezTo>
                    <a:pt x="849154" y="226219"/>
                    <a:pt x="851059" y="229076"/>
                    <a:pt x="852011" y="232886"/>
                  </a:cubicBezTo>
                  <a:cubicBezTo>
                    <a:pt x="850106" y="236696"/>
                    <a:pt x="848201" y="239554"/>
                    <a:pt x="845344" y="243364"/>
                  </a:cubicBezTo>
                  <a:cubicBezTo>
                    <a:pt x="842486" y="248126"/>
                    <a:pt x="839629" y="252889"/>
                    <a:pt x="837724" y="256699"/>
                  </a:cubicBezTo>
                  <a:cubicBezTo>
                    <a:pt x="837724" y="254794"/>
                    <a:pt x="836771" y="252889"/>
                    <a:pt x="836771" y="250984"/>
                  </a:cubicBezTo>
                  <a:cubicBezTo>
                    <a:pt x="839629" y="242411"/>
                    <a:pt x="843439" y="233839"/>
                    <a:pt x="847249" y="225266"/>
                  </a:cubicBezTo>
                  <a:close/>
                  <a:moveTo>
                    <a:pt x="835819" y="195739"/>
                  </a:moveTo>
                  <a:cubicBezTo>
                    <a:pt x="835819" y="194786"/>
                    <a:pt x="835819" y="194786"/>
                    <a:pt x="835819" y="195739"/>
                  </a:cubicBezTo>
                  <a:cubicBezTo>
                    <a:pt x="836771" y="196691"/>
                    <a:pt x="838676" y="200501"/>
                    <a:pt x="840581" y="206216"/>
                  </a:cubicBezTo>
                  <a:cubicBezTo>
                    <a:pt x="838676" y="210979"/>
                    <a:pt x="835819" y="214789"/>
                    <a:pt x="833914" y="219551"/>
                  </a:cubicBezTo>
                  <a:cubicBezTo>
                    <a:pt x="833914" y="220504"/>
                    <a:pt x="832961" y="220504"/>
                    <a:pt x="832961" y="221456"/>
                  </a:cubicBezTo>
                  <a:cubicBezTo>
                    <a:pt x="833914" y="211931"/>
                    <a:pt x="834866" y="203359"/>
                    <a:pt x="835819" y="195739"/>
                  </a:cubicBezTo>
                  <a:close/>
                  <a:moveTo>
                    <a:pt x="826294" y="274796"/>
                  </a:moveTo>
                  <a:cubicBezTo>
                    <a:pt x="827246" y="273844"/>
                    <a:pt x="827246" y="271939"/>
                    <a:pt x="828199" y="270986"/>
                  </a:cubicBezTo>
                  <a:cubicBezTo>
                    <a:pt x="828199" y="271939"/>
                    <a:pt x="828199" y="272891"/>
                    <a:pt x="828199" y="272891"/>
                  </a:cubicBezTo>
                  <a:cubicBezTo>
                    <a:pt x="827246" y="273844"/>
                    <a:pt x="826294" y="275749"/>
                    <a:pt x="826294" y="276701"/>
                  </a:cubicBezTo>
                  <a:cubicBezTo>
                    <a:pt x="826294" y="275749"/>
                    <a:pt x="826294" y="274796"/>
                    <a:pt x="826294" y="274796"/>
                  </a:cubicBezTo>
                  <a:close/>
                  <a:moveTo>
                    <a:pt x="812006" y="448151"/>
                  </a:moveTo>
                  <a:cubicBezTo>
                    <a:pt x="812006" y="448151"/>
                    <a:pt x="812006" y="448151"/>
                    <a:pt x="812006" y="448151"/>
                  </a:cubicBezTo>
                  <a:cubicBezTo>
                    <a:pt x="812006" y="448151"/>
                    <a:pt x="812006" y="448151"/>
                    <a:pt x="812006" y="448151"/>
                  </a:cubicBezTo>
                  <a:cubicBezTo>
                    <a:pt x="812006" y="448151"/>
                    <a:pt x="812006" y="448151"/>
                    <a:pt x="812006" y="448151"/>
                  </a:cubicBezTo>
                  <a:close/>
                  <a:moveTo>
                    <a:pt x="785336" y="330041"/>
                  </a:moveTo>
                  <a:cubicBezTo>
                    <a:pt x="784384" y="329089"/>
                    <a:pt x="783431" y="327184"/>
                    <a:pt x="782479" y="325279"/>
                  </a:cubicBezTo>
                  <a:cubicBezTo>
                    <a:pt x="782479" y="321469"/>
                    <a:pt x="782479" y="318611"/>
                    <a:pt x="782479" y="315754"/>
                  </a:cubicBezTo>
                  <a:cubicBezTo>
                    <a:pt x="783431" y="319564"/>
                    <a:pt x="785336" y="322421"/>
                    <a:pt x="786289" y="326231"/>
                  </a:cubicBezTo>
                  <a:cubicBezTo>
                    <a:pt x="786289" y="328136"/>
                    <a:pt x="785336" y="329089"/>
                    <a:pt x="785336" y="330041"/>
                  </a:cubicBezTo>
                  <a:close/>
                  <a:moveTo>
                    <a:pt x="797719" y="271939"/>
                  </a:moveTo>
                  <a:cubicBezTo>
                    <a:pt x="799624" y="276701"/>
                    <a:pt x="801529" y="281464"/>
                    <a:pt x="803434" y="286226"/>
                  </a:cubicBezTo>
                  <a:cubicBezTo>
                    <a:pt x="803434" y="287179"/>
                    <a:pt x="802481" y="288131"/>
                    <a:pt x="802481" y="288131"/>
                  </a:cubicBezTo>
                  <a:cubicBezTo>
                    <a:pt x="799624" y="295751"/>
                    <a:pt x="796766" y="302419"/>
                    <a:pt x="792956" y="310039"/>
                  </a:cubicBezTo>
                  <a:cubicBezTo>
                    <a:pt x="792956" y="310039"/>
                    <a:pt x="792956" y="310039"/>
                    <a:pt x="792956" y="309086"/>
                  </a:cubicBezTo>
                  <a:cubicBezTo>
                    <a:pt x="791051" y="305276"/>
                    <a:pt x="789146" y="300514"/>
                    <a:pt x="787241" y="296704"/>
                  </a:cubicBezTo>
                  <a:cubicBezTo>
                    <a:pt x="790099" y="285274"/>
                    <a:pt x="792956" y="274796"/>
                    <a:pt x="795814" y="266224"/>
                  </a:cubicBezTo>
                  <a:cubicBezTo>
                    <a:pt x="796766" y="269081"/>
                    <a:pt x="796766" y="270034"/>
                    <a:pt x="797719" y="271939"/>
                  </a:cubicBezTo>
                  <a:close/>
                  <a:moveTo>
                    <a:pt x="790099" y="253841"/>
                  </a:moveTo>
                  <a:cubicBezTo>
                    <a:pt x="791051" y="255746"/>
                    <a:pt x="792004" y="258604"/>
                    <a:pt x="793909" y="261461"/>
                  </a:cubicBezTo>
                  <a:cubicBezTo>
                    <a:pt x="793909" y="261461"/>
                    <a:pt x="793909" y="261461"/>
                    <a:pt x="793909" y="262414"/>
                  </a:cubicBezTo>
                  <a:cubicBezTo>
                    <a:pt x="791051" y="269081"/>
                    <a:pt x="788194" y="276701"/>
                    <a:pt x="784384" y="286226"/>
                  </a:cubicBezTo>
                  <a:cubicBezTo>
                    <a:pt x="784384" y="282416"/>
                    <a:pt x="784384" y="277654"/>
                    <a:pt x="785336" y="273844"/>
                  </a:cubicBezTo>
                  <a:cubicBezTo>
                    <a:pt x="786289" y="267176"/>
                    <a:pt x="788194" y="260509"/>
                    <a:pt x="790099" y="253841"/>
                  </a:cubicBezTo>
                  <a:close/>
                  <a:moveTo>
                    <a:pt x="773906" y="236696"/>
                  </a:moveTo>
                  <a:cubicBezTo>
                    <a:pt x="774859" y="229076"/>
                    <a:pt x="775811" y="221456"/>
                    <a:pt x="776764" y="213836"/>
                  </a:cubicBezTo>
                  <a:cubicBezTo>
                    <a:pt x="778669" y="218599"/>
                    <a:pt x="781526" y="223361"/>
                    <a:pt x="783431" y="229076"/>
                  </a:cubicBezTo>
                  <a:cubicBezTo>
                    <a:pt x="782479" y="230981"/>
                    <a:pt x="781526" y="233839"/>
                    <a:pt x="780574" y="235744"/>
                  </a:cubicBezTo>
                  <a:cubicBezTo>
                    <a:pt x="778669" y="233839"/>
                    <a:pt x="777716" y="231934"/>
                    <a:pt x="777716" y="231934"/>
                  </a:cubicBezTo>
                  <a:cubicBezTo>
                    <a:pt x="777716" y="231934"/>
                    <a:pt x="778669" y="233839"/>
                    <a:pt x="780574" y="236696"/>
                  </a:cubicBezTo>
                  <a:cubicBezTo>
                    <a:pt x="778669" y="242411"/>
                    <a:pt x="775811" y="249079"/>
                    <a:pt x="773906" y="255746"/>
                  </a:cubicBezTo>
                  <a:cubicBezTo>
                    <a:pt x="773906" y="249079"/>
                    <a:pt x="773906" y="242411"/>
                    <a:pt x="773906" y="236696"/>
                  </a:cubicBezTo>
                  <a:close/>
                  <a:moveTo>
                    <a:pt x="724376" y="219551"/>
                  </a:moveTo>
                  <a:cubicBezTo>
                    <a:pt x="725329" y="212884"/>
                    <a:pt x="726281" y="207169"/>
                    <a:pt x="726281" y="203359"/>
                  </a:cubicBezTo>
                  <a:cubicBezTo>
                    <a:pt x="726281" y="210026"/>
                    <a:pt x="726281" y="218599"/>
                    <a:pt x="726281" y="229076"/>
                  </a:cubicBezTo>
                  <a:cubicBezTo>
                    <a:pt x="725329" y="226219"/>
                    <a:pt x="724376" y="224314"/>
                    <a:pt x="723424" y="223361"/>
                  </a:cubicBezTo>
                  <a:cubicBezTo>
                    <a:pt x="723424" y="222409"/>
                    <a:pt x="723424" y="220504"/>
                    <a:pt x="724376" y="219551"/>
                  </a:cubicBezTo>
                  <a:close/>
                  <a:moveTo>
                    <a:pt x="723424" y="224314"/>
                  </a:moveTo>
                  <a:cubicBezTo>
                    <a:pt x="723424" y="226219"/>
                    <a:pt x="724376" y="230029"/>
                    <a:pt x="724376" y="235744"/>
                  </a:cubicBezTo>
                  <a:cubicBezTo>
                    <a:pt x="725329" y="239554"/>
                    <a:pt x="725329" y="245269"/>
                    <a:pt x="726281" y="250984"/>
                  </a:cubicBezTo>
                  <a:cubicBezTo>
                    <a:pt x="726281" y="250984"/>
                    <a:pt x="726281" y="250984"/>
                    <a:pt x="726281" y="251936"/>
                  </a:cubicBezTo>
                  <a:cubicBezTo>
                    <a:pt x="726281" y="259556"/>
                    <a:pt x="726281" y="268129"/>
                    <a:pt x="727234" y="276701"/>
                  </a:cubicBezTo>
                  <a:cubicBezTo>
                    <a:pt x="727234" y="280511"/>
                    <a:pt x="727234" y="284321"/>
                    <a:pt x="727234" y="288131"/>
                  </a:cubicBezTo>
                  <a:cubicBezTo>
                    <a:pt x="726281" y="286226"/>
                    <a:pt x="726281" y="285274"/>
                    <a:pt x="725329" y="284321"/>
                  </a:cubicBezTo>
                  <a:cubicBezTo>
                    <a:pt x="722471" y="275749"/>
                    <a:pt x="720566" y="268129"/>
                    <a:pt x="717709" y="260509"/>
                  </a:cubicBezTo>
                  <a:cubicBezTo>
                    <a:pt x="719614" y="246221"/>
                    <a:pt x="721519" y="233839"/>
                    <a:pt x="723424" y="224314"/>
                  </a:cubicBezTo>
                  <a:close/>
                  <a:moveTo>
                    <a:pt x="710089" y="308134"/>
                  </a:moveTo>
                  <a:cubicBezTo>
                    <a:pt x="710089" y="311944"/>
                    <a:pt x="711041" y="315754"/>
                    <a:pt x="711041" y="320516"/>
                  </a:cubicBezTo>
                  <a:cubicBezTo>
                    <a:pt x="712946" y="336709"/>
                    <a:pt x="714851" y="354806"/>
                    <a:pt x="717709" y="373856"/>
                  </a:cubicBezTo>
                  <a:cubicBezTo>
                    <a:pt x="715804" y="378619"/>
                    <a:pt x="712946" y="384334"/>
                    <a:pt x="711041" y="389096"/>
                  </a:cubicBezTo>
                  <a:cubicBezTo>
                    <a:pt x="710089" y="387191"/>
                    <a:pt x="710089" y="385286"/>
                    <a:pt x="709136" y="383381"/>
                  </a:cubicBezTo>
                  <a:cubicBezTo>
                    <a:pt x="710089" y="379571"/>
                    <a:pt x="710089" y="375761"/>
                    <a:pt x="711041" y="372904"/>
                  </a:cubicBezTo>
                  <a:cubicBezTo>
                    <a:pt x="712946" y="359569"/>
                    <a:pt x="713899" y="352901"/>
                    <a:pt x="713899" y="352901"/>
                  </a:cubicBezTo>
                  <a:cubicBezTo>
                    <a:pt x="713899" y="352901"/>
                    <a:pt x="711994" y="360521"/>
                    <a:pt x="707231" y="372904"/>
                  </a:cubicBezTo>
                  <a:cubicBezTo>
                    <a:pt x="707231" y="373856"/>
                    <a:pt x="706279" y="374809"/>
                    <a:pt x="706279" y="374809"/>
                  </a:cubicBezTo>
                  <a:cubicBezTo>
                    <a:pt x="704374" y="369094"/>
                    <a:pt x="702469" y="363379"/>
                    <a:pt x="701516" y="357664"/>
                  </a:cubicBezTo>
                  <a:cubicBezTo>
                    <a:pt x="701516" y="357664"/>
                    <a:pt x="701516" y="357664"/>
                    <a:pt x="701516" y="357664"/>
                  </a:cubicBezTo>
                  <a:cubicBezTo>
                    <a:pt x="704374" y="339566"/>
                    <a:pt x="707231" y="323374"/>
                    <a:pt x="710089" y="308134"/>
                  </a:cubicBezTo>
                  <a:close/>
                  <a:moveTo>
                    <a:pt x="676751" y="253841"/>
                  </a:moveTo>
                  <a:cubicBezTo>
                    <a:pt x="676751" y="250984"/>
                    <a:pt x="676751" y="249079"/>
                    <a:pt x="676751" y="246221"/>
                  </a:cubicBezTo>
                  <a:cubicBezTo>
                    <a:pt x="677704" y="237649"/>
                    <a:pt x="678656" y="229076"/>
                    <a:pt x="679609" y="220504"/>
                  </a:cubicBezTo>
                  <a:cubicBezTo>
                    <a:pt x="680561" y="206216"/>
                    <a:pt x="681514" y="192881"/>
                    <a:pt x="682466" y="181451"/>
                  </a:cubicBezTo>
                  <a:cubicBezTo>
                    <a:pt x="682466" y="180499"/>
                    <a:pt x="682466" y="179546"/>
                    <a:pt x="682466" y="178594"/>
                  </a:cubicBezTo>
                  <a:cubicBezTo>
                    <a:pt x="687229" y="193834"/>
                    <a:pt x="691039" y="211931"/>
                    <a:pt x="696754" y="231934"/>
                  </a:cubicBezTo>
                  <a:cubicBezTo>
                    <a:pt x="699611" y="243364"/>
                    <a:pt x="702469" y="254794"/>
                    <a:pt x="705326" y="267176"/>
                  </a:cubicBezTo>
                  <a:cubicBezTo>
                    <a:pt x="704374" y="269081"/>
                    <a:pt x="704374" y="271939"/>
                    <a:pt x="703421" y="273844"/>
                  </a:cubicBezTo>
                  <a:cubicBezTo>
                    <a:pt x="700564" y="284321"/>
                    <a:pt x="697706" y="295751"/>
                    <a:pt x="694849" y="307181"/>
                  </a:cubicBezTo>
                  <a:cubicBezTo>
                    <a:pt x="693896" y="309086"/>
                    <a:pt x="693896" y="311944"/>
                    <a:pt x="692944" y="313849"/>
                  </a:cubicBezTo>
                  <a:cubicBezTo>
                    <a:pt x="691991" y="316706"/>
                    <a:pt x="691039" y="319564"/>
                    <a:pt x="690086" y="322421"/>
                  </a:cubicBezTo>
                  <a:cubicBezTo>
                    <a:pt x="684371" y="305276"/>
                    <a:pt x="679609" y="290036"/>
                    <a:pt x="673894" y="274796"/>
                  </a:cubicBezTo>
                  <a:cubicBezTo>
                    <a:pt x="675799" y="268129"/>
                    <a:pt x="676751" y="260509"/>
                    <a:pt x="676751" y="253841"/>
                  </a:cubicBezTo>
                  <a:close/>
                  <a:moveTo>
                    <a:pt x="668179" y="331946"/>
                  </a:moveTo>
                  <a:cubicBezTo>
                    <a:pt x="668179" y="330994"/>
                    <a:pt x="668179" y="330994"/>
                    <a:pt x="668179" y="330041"/>
                  </a:cubicBezTo>
                  <a:cubicBezTo>
                    <a:pt x="668179" y="331946"/>
                    <a:pt x="669131" y="332899"/>
                    <a:pt x="669131" y="334804"/>
                  </a:cubicBezTo>
                  <a:cubicBezTo>
                    <a:pt x="670084" y="338614"/>
                    <a:pt x="671036" y="342424"/>
                    <a:pt x="671989" y="346234"/>
                  </a:cubicBezTo>
                  <a:cubicBezTo>
                    <a:pt x="672941" y="350044"/>
                    <a:pt x="673894" y="354806"/>
                    <a:pt x="674846" y="359569"/>
                  </a:cubicBezTo>
                  <a:cubicBezTo>
                    <a:pt x="675799" y="363379"/>
                    <a:pt x="676751" y="367189"/>
                    <a:pt x="676751" y="370999"/>
                  </a:cubicBezTo>
                  <a:cubicBezTo>
                    <a:pt x="676751" y="371951"/>
                    <a:pt x="675799" y="372904"/>
                    <a:pt x="675799" y="373856"/>
                  </a:cubicBezTo>
                  <a:cubicBezTo>
                    <a:pt x="675799" y="374809"/>
                    <a:pt x="674846" y="375761"/>
                    <a:pt x="674846" y="377666"/>
                  </a:cubicBezTo>
                  <a:cubicBezTo>
                    <a:pt x="672941" y="374809"/>
                    <a:pt x="671989" y="370999"/>
                    <a:pt x="670084" y="368141"/>
                  </a:cubicBezTo>
                  <a:cubicBezTo>
                    <a:pt x="668179" y="364331"/>
                    <a:pt x="666274" y="361474"/>
                    <a:pt x="664369" y="358616"/>
                  </a:cubicBezTo>
                  <a:cubicBezTo>
                    <a:pt x="665321" y="349091"/>
                    <a:pt x="667226" y="340519"/>
                    <a:pt x="668179" y="331946"/>
                  </a:cubicBezTo>
                  <a:close/>
                  <a:moveTo>
                    <a:pt x="656749" y="266224"/>
                  </a:moveTo>
                  <a:cubicBezTo>
                    <a:pt x="656749" y="266224"/>
                    <a:pt x="656749" y="267176"/>
                    <a:pt x="656749" y="267176"/>
                  </a:cubicBezTo>
                  <a:cubicBezTo>
                    <a:pt x="656749" y="268129"/>
                    <a:pt x="656749" y="269081"/>
                    <a:pt x="656749" y="269081"/>
                  </a:cubicBezTo>
                  <a:cubicBezTo>
                    <a:pt x="656749" y="268129"/>
                    <a:pt x="656749" y="267176"/>
                    <a:pt x="656749" y="266224"/>
                  </a:cubicBezTo>
                  <a:close/>
                  <a:moveTo>
                    <a:pt x="608171" y="318611"/>
                  </a:moveTo>
                  <a:cubicBezTo>
                    <a:pt x="609124" y="305276"/>
                    <a:pt x="611029" y="291941"/>
                    <a:pt x="611981" y="279559"/>
                  </a:cubicBezTo>
                  <a:cubicBezTo>
                    <a:pt x="612934" y="282416"/>
                    <a:pt x="612934" y="285274"/>
                    <a:pt x="613886" y="288131"/>
                  </a:cubicBezTo>
                  <a:cubicBezTo>
                    <a:pt x="614839" y="301466"/>
                    <a:pt x="615791" y="314801"/>
                    <a:pt x="615791" y="327184"/>
                  </a:cubicBezTo>
                  <a:cubicBezTo>
                    <a:pt x="615791" y="329089"/>
                    <a:pt x="615791" y="330041"/>
                    <a:pt x="615791" y="331946"/>
                  </a:cubicBezTo>
                  <a:cubicBezTo>
                    <a:pt x="615791" y="333851"/>
                    <a:pt x="615791" y="335756"/>
                    <a:pt x="615791" y="337661"/>
                  </a:cubicBezTo>
                  <a:cubicBezTo>
                    <a:pt x="614839" y="336709"/>
                    <a:pt x="613886" y="334804"/>
                    <a:pt x="613886" y="333851"/>
                  </a:cubicBezTo>
                  <a:cubicBezTo>
                    <a:pt x="611981" y="330041"/>
                    <a:pt x="609124" y="325279"/>
                    <a:pt x="607219" y="321469"/>
                  </a:cubicBezTo>
                  <a:cubicBezTo>
                    <a:pt x="608171" y="320516"/>
                    <a:pt x="608171" y="319564"/>
                    <a:pt x="608171" y="318611"/>
                  </a:cubicBezTo>
                  <a:close/>
                  <a:moveTo>
                    <a:pt x="606266" y="341471"/>
                  </a:moveTo>
                  <a:cubicBezTo>
                    <a:pt x="609124" y="349091"/>
                    <a:pt x="612934" y="356711"/>
                    <a:pt x="615791" y="364331"/>
                  </a:cubicBezTo>
                  <a:cubicBezTo>
                    <a:pt x="615791" y="364331"/>
                    <a:pt x="615791" y="365284"/>
                    <a:pt x="615791" y="365284"/>
                  </a:cubicBezTo>
                  <a:cubicBezTo>
                    <a:pt x="614839" y="368141"/>
                    <a:pt x="612934" y="371951"/>
                    <a:pt x="611029" y="375761"/>
                  </a:cubicBezTo>
                  <a:cubicBezTo>
                    <a:pt x="610076" y="371951"/>
                    <a:pt x="609124" y="367189"/>
                    <a:pt x="608171" y="363379"/>
                  </a:cubicBezTo>
                  <a:cubicBezTo>
                    <a:pt x="607219" y="358616"/>
                    <a:pt x="606266" y="354806"/>
                    <a:pt x="605314" y="350996"/>
                  </a:cubicBezTo>
                  <a:cubicBezTo>
                    <a:pt x="605314" y="348139"/>
                    <a:pt x="605314" y="344329"/>
                    <a:pt x="606266" y="341471"/>
                  </a:cubicBezTo>
                  <a:close/>
                  <a:moveTo>
                    <a:pt x="606266" y="424339"/>
                  </a:moveTo>
                  <a:cubicBezTo>
                    <a:pt x="607219" y="427196"/>
                    <a:pt x="608171" y="430054"/>
                    <a:pt x="609124" y="433864"/>
                  </a:cubicBezTo>
                  <a:cubicBezTo>
                    <a:pt x="608171" y="434816"/>
                    <a:pt x="608171" y="435769"/>
                    <a:pt x="607219" y="436721"/>
                  </a:cubicBezTo>
                  <a:lnTo>
                    <a:pt x="601504" y="435769"/>
                  </a:lnTo>
                  <a:cubicBezTo>
                    <a:pt x="604361" y="432911"/>
                    <a:pt x="605314" y="428149"/>
                    <a:pt x="606266" y="424339"/>
                  </a:cubicBezTo>
                  <a:close/>
                  <a:moveTo>
                    <a:pt x="599599" y="401479"/>
                  </a:moveTo>
                  <a:cubicBezTo>
                    <a:pt x="599599" y="402431"/>
                    <a:pt x="599599" y="402431"/>
                    <a:pt x="599599" y="401479"/>
                  </a:cubicBezTo>
                  <a:cubicBezTo>
                    <a:pt x="599599" y="402431"/>
                    <a:pt x="599599" y="403384"/>
                    <a:pt x="599599" y="403384"/>
                  </a:cubicBezTo>
                  <a:cubicBezTo>
                    <a:pt x="599599" y="403384"/>
                    <a:pt x="599599" y="402431"/>
                    <a:pt x="599599" y="401479"/>
                  </a:cubicBezTo>
                  <a:close/>
                  <a:moveTo>
                    <a:pt x="587216" y="300514"/>
                  </a:moveTo>
                  <a:cubicBezTo>
                    <a:pt x="588169" y="303371"/>
                    <a:pt x="590074" y="307181"/>
                    <a:pt x="591979" y="310039"/>
                  </a:cubicBezTo>
                  <a:cubicBezTo>
                    <a:pt x="591979" y="311944"/>
                    <a:pt x="591026" y="314801"/>
                    <a:pt x="591026" y="316706"/>
                  </a:cubicBezTo>
                  <a:cubicBezTo>
                    <a:pt x="591026" y="316706"/>
                    <a:pt x="591026" y="316706"/>
                    <a:pt x="591026" y="316706"/>
                  </a:cubicBezTo>
                  <a:cubicBezTo>
                    <a:pt x="591026" y="317659"/>
                    <a:pt x="590074" y="318611"/>
                    <a:pt x="590074" y="319564"/>
                  </a:cubicBezTo>
                  <a:cubicBezTo>
                    <a:pt x="589121" y="316706"/>
                    <a:pt x="588169" y="313849"/>
                    <a:pt x="587216" y="311944"/>
                  </a:cubicBezTo>
                  <a:cubicBezTo>
                    <a:pt x="587216" y="308134"/>
                    <a:pt x="587216" y="303371"/>
                    <a:pt x="586264" y="299561"/>
                  </a:cubicBezTo>
                  <a:cubicBezTo>
                    <a:pt x="586264" y="299561"/>
                    <a:pt x="586264" y="299561"/>
                    <a:pt x="587216" y="300514"/>
                  </a:cubicBezTo>
                  <a:close/>
                  <a:moveTo>
                    <a:pt x="553879" y="257651"/>
                  </a:moveTo>
                  <a:cubicBezTo>
                    <a:pt x="554831" y="249079"/>
                    <a:pt x="554831" y="241459"/>
                    <a:pt x="555784" y="233839"/>
                  </a:cubicBezTo>
                  <a:cubicBezTo>
                    <a:pt x="556736" y="238601"/>
                    <a:pt x="557689" y="243364"/>
                    <a:pt x="558641" y="249079"/>
                  </a:cubicBezTo>
                  <a:cubicBezTo>
                    <a:pt x="557689" y="247174"/>
                    <a:pt x="556736" y="247174"/>
                    <a:pt x="556736" y="247174"/>
                  </a:cubicBezTo>
                  <a:cubicBezTo>
                    <a:pt x="556736" y="247174"/>
                    <a:pt x="557689" y="248126"/>
                    <a:pt x="558641" y="250984"/>
                  </a:cubicBezTo>
                  <a:cubicBezTo>
                    <a:pt x="561499" y="264319"/>
                    <a:pt x="565309" y="280511"/>
                    <a:pt x="570071" y="297656"/>
                  </a:cubicBezTo>
                  <a:cubicBezTo>
                    <a:pt x="570071" y="299561"/>
                    <a:pt x="571024" y="301466"/>
                    <a:pt x="571976" y="303371"/>
                  </a:cubicBezTo>
                  <a:cubicBezTo>
                    <a:pt x="571024" y="306229"/>
                    <a:pt x="570071" y="310039"/>
                    <a:pt x="569119" y="312896"/>
                  </a:cubicBezTo>
                  <a:cubicBezTo>
                    <a:pt x="567214" y="307181"/>
                    <a:pt x="566261" y="301466"/>
                    <a:pt x="564356" y="295751"/>
                  </a:cubicBezTo>
                  <a:cubicBezTo>
                    <a:pt x="560546" y="285274"/>
                    <a:pt x="557689" y="274796"/>
                    <a:pt x="553879" y="266224"/>
                  </a:cubicBezTo>
                  <a:cubicBezTo>
                    <a:pt x="553879" y="263366"/>
                    <a:pt x="553879" y="260509"/>
                    <a:pt x="553879" y="257651"/>
                  </a:cubicBezTo>
                  <a:close/>
                  <a:moveTo>
                    <a:pt x="551974" y="295751"/>
                  </a:moveTo>
                  <a:cubicBezTo>
                    <a:pt x="551974" y="294799"/>
                    <a:pt x="551974" y="294799"/>
                    <a:pt x="551974" y="295751"/>
                  </a:cubicBezTo>
                  <a:cubicBezTo>
                    <a:pt x="551974" y="295751"/>
                    <a:pt x="552926" y="297656"/>
                    <a:pt x="552926" y="298609"/>
                  </a:cubicBezTo>
                  <a:cubicBezTo>
                    <a:pt x="554831" y="304324"/>
                    <a:pt x="555784" y="310991"/>
                    <a:pt x="556736" y="317659"/>
                  </a:cubicBezTo>
                  <a:cubicBezTo>
                    <a:pt x="556736" y="318611"/>
                    <a:pt x="556736" y="319564"/>
                    <a:pt x="557689" y="321469"/>
                  </a:cubicBezTo>
                  <a:cubicBezTo>
                    <a:pt x="557689" y="321469"/>
                    <a:pt x="557689" y="321469"/>
                    <a:pt x="557689" y="322421"/>
                  </a:cubicBezTo>
                  <a:cubicBezTo>
                    <a:pt x="557689" y="323374"/>
                    <a:pt x="557689" y="324326"/>
                    <a:pt x="557689" y="326231"/>
                  </a:cubicBezTo>
                  <a:cubicBezTo>
                    <a:pt x="555784" y="319564"/>
                    <a:pt x="553879" y="312896"/>
                    <a:pt x="552926" y="306229"/>
                  </a:cubicBezTo>
                  <a:cubicBezTo>
                    <a:pt x="551974" y="301466"/>
                    <a:pt x="551974" y="298609"/>
                    <a:pt x="551974" y="295751"/>
                  </a:cubicBezTo>
                  <a:close/>
                  <a:moveTo>
                    <a:pt x="529114" y="290036"/>
                  </a:moveTo>
                  <a:cubicBezTo>
                    <a:pt x="529114" y="290036"/>
                    <a:pt x="529114" y="290989"/>
                    <a:pt x="529114" y="290036"/>
                  </a:cubicBezTo>
                  <a:cubicBezTo>
                    <a:pt x="529114" y="290989"/>
                    <a:pt x="529114" y="290989"/>
                    <a:pt x="529114" y="290036"/>
                  </a:cubicBezTo>
                  <a:cubicBezTo>
                    <a:pt x="529114" y="290989"/>
                    <a:pt x="529114" y="290036"/>
                    <a:pt x="529114" y="290036"/>
                  </a:cubicBezTo>
                  <a:close/>
                  <a:moveTo>
                    <a:pt x="522446" y="336709"/>
                  </a:moveTo>
                  <a:cubicBezTo>
                    <a:pt x="522446" y="333851"/>
                    <a:pt x="523399" y="331946"/>
                    <a:pt x="523399" y="329089"/>
                  </a:cubicBezTo>
                  <a:cubicBezTo>
                    <a:pt x="524351" y="331946"/>
                    <a:pt x="525304" y="333851"/>
                    <a:pt x="526256" y="336709"/>
                  </a:cubicBezTo>
                  <a:cubicBezTo>
                    <a:pt x="528161" y="341471"/>
                    <a:pt x="530066" y="346234"/>
                    <a:pt x="531019" y="350996"/>
                  </a:cubicBezTo>
                  <a:cubicBezTo>
                    <a:pt x="531019" y="358616"/>
                    <a:pt x="531019" y="366236"/>
                    <a:pt x="531971" y="374809"/>
                  </a:cubicBezTo>
                  <a:cubicBezTo>
                    <a:pt x="531971" y="384334"/>
                    <a:pt x="532924" y="393859"/>
                    <a:pt x="533876" y="403384"/>
                  </a:cubicBezTo>
                  <a:cubicBezTo>
                    <a:pt x="530066" y="397669"/>
                    <a:pt x="528161" y="394811"/>
                    <a:pt x="528161" y="394811"/>
                  </a:cubicBezTo>
                  <a:cubicBezTo>
                    <a:pt x="528161" y="394811"/>
                    <a:pt x="530066" y="400526"/>
                    <a:pt x="532924" y="410051"/>
                  </a:cubicBezTo>
                  <a:cubicBezTo>
                    <a:pt x="533876" y="411956"/>
                    <a:pt x="534829" y="414814"/>
                    <a:pt x="534829" y="417671"/>
                  </a:cubicBezTo>
                  <a:cubicBezTo>
                    <a:pt x="534829" y="421481"/>
                    <a:pt x="535781" y="426244"/>
                    <a:pt x="535781" y="430054"/>
                  </a:cubicBezTo>
                  <a:lnTo>
                    <a:pt x="523399" y="428149"/>
                  </a:lnTo>
                  <a:cubicBezTo>
                    <a:pt x="523399" y="428149"/>
                    <a:pt x="522446" y="427196"/>
                    <a:pt x="522446" y="427196"/>
                  </a:cubicBezTo>
                  <a:cubicBezTo>
                    <a:pt x="522446" y="426244"/>
                    <a:pt x="522446" y="424339"/>
                    <a:pt x="522446" y="423386"/>
                  </a:cubicBezTo>
                  <a:cubicBezTo>
                    <a:pt x="525304" y="414814"/>
                    <a:pt x="527209" y="410051"/>
                    <a:pt x="527209" y="410051"/>
                  </a:cubicBezTo>
                  <a:cubicBezTo>
                    <a:pt x="527209" y="410051"/>
                    <a:pt x="525304" y="412909"/>
                    <a:pt x="522446" y="418624"/>
                  </a:cubicBezTo>
                  <a:cubicBezTo>
                    <a:pt x="522446" y="413861"/>
                    <a:pt x="521494" y="409099"/>
                    <a:pt x="521494" y="405289"/>
                  </a:cubicBezTo>
                  <a:cubicBezTo>
                    <a:pt x="520541" y="392906"/>
                    <a:pt x="518636" y="380524"/>
                    <a:pt x="517684" y="369094"/>
                  </a:cubicBezTo>
                  <a:cubicBezTo>
                    <a:pt x="519589" y="356711"/>
                    <a:pt x="520541" y="347186"/>
                    <a:pt x="522446" y="336709"/>
                  </a:cubicBezTo>
                  <a:close/>
                  <a:moveTo>
                    <a:pt x="512921" y="271939"/>
                  </a:moveTo>
                  <a:cubicBezTo>
                    <a:pt x="511969" y="276701"/>
                    <a:pt x="511016" y="281464"/>
                    <a:pt x="509111" y="287179"/>
                  </a:cubicBezTo>
                  <a:cubicBezTo>
                    <a:pt x="509111" y="287179"/>
                    <a:pt x="509111" y="287179"/>
                    <a:pt x="509111" y="288131"/>
                  </a:cubicBezTo>
                  <a:cubicBezTo>
                    <a:pt x="508159" y="284321"/>
                    <a:pt x="508159" y="279559"/>
                    <a:pt x="507206" y="275749"/>
                  </a:cubicBezTo>
                  <a:cubicBezTo>
                    <a:pt x="507206" y="270986"/>
                    <a:pt x="508159" y="267176"/>
                    <a:pt x="508159" y="262414"/>
                  </a:cubicBezTo>
                  <a:lnTo>
                    <a:pt x="509111" y="262414"/>
                  </a:lnTo>
                  <a:cubicBezTo>
                    <a:pt x="511016" y="265271"/>
                    <a:pt x="511969" y="268129"/>
                    <a:pt x="512921" y="271939"/>
                  </a:cubicBezTo>
                  <a:close/>
                  <a:moveTo>
                    <a:pt x="497681" y="207169"/>
                  </a:moveTo>
                  <a:cubicBezTo>
                    <a:pt x="500539" y="217646"/>
                    <a:pt x="503396" y="230981"/>
                    <a:pt x="506254" y="245269"/>
                  </a:cubicBezTo>
                  <a:cubicBezTo>
                    <a:pt x="507206" y="249079"/>
                    <a:pt x="508159" y="252889"/>
                    <a:pt x="509111" y="256699"/>
                  </a:cubicBezTo>
                  <a:cubicBezTo>
                    <a:pt x="508159" y="256699"/>
                    <a:pt x="507206" y="256699"/>
                    <a:pt x="506254" y="256699"/>
                  </a:cubicBezTo>
                  <a:lnTo>
                    <a:pt x="505301" y="256699"/>
                  </a:lnTo>
                  <a:cubicBezTo>
                    <a:pt x="505301" y="256699"/>
                    <a:pt x="505301" y="256699"/>
                    <a:pt x="505301" y="256699"/>
                  </a:cubicBezTo>
                  <a:cubicBezTo>
                    <a:pt x="502444" y="238601"/>
                    <a:pt x="499586" y="220504"/>
                    <a:pt x="497681" y="207169"/>
                  </a:cubicBezTo>
                  <a:cubicBezTo>
                    <a:pt x="496729" y="207169"/>
                    <a:pt x="496729" y="207169"/>
                    <a:pt x="497681" y="207169"/>
                  </a:cubicBezTo>
                  <a:close/>
                  <a:moveTo>
                    <a:pt x="487204" y="419576"/>
                  </a:moveTo>
                  <a:cubicBezTo>
                    <a:pt x="487204" y="420529"/>
                    <a:pt x="486251" y="421481"/>
                    <a:pt x="486251" y="422434"/>
                  </a:cubicBezTo>
                  <a:lnTo>
                    <a:pt x="483394" y="422434"/>
                  </a:lnTo>
                  <a:cubicBezTo>
                    <a:pt x="483394" y="421481"/>
                    <a:pt x="483394" y="419576"/>
                    <a:pt x="483394" y="418624"/>
                  </a:cubicBezTo>
                  <a:cubicBezTo>
                    <a:pt x="483394" y="412909"/>
                    <a:pt x="482441" y="407194"/>
                    <a:pt x="481489" y="401479"/>
                  </a:cubicBezTo>
                  <a:cubicBezTo>
                    <a:pt x="483394" y="407194"/>
                    <a:pt x="485299" y="413861"/>
                    <a:pt x="487204" y="419576"/>
                  </a:cubicBezTo>
                  <a:close/>
                  <a:moveTo>
                    <a:pt x="437674" y="390049"/>
                  </a:moveTo>
                  <a:cubicBezTo>
                    <a:pt x="437674" y="390049"/>
                    <a:pt x="437674" y="390049"/>
                    <a:pt x="437674" y="390049"/>
                  </a:cubicBezTo>
                  <a:cubicBezTo>
                    <a:pt x="437674" y="389096"/>
                    <a:pt x="437674" y="389096"/>
                    <a:pt x="437674" y="388144"/>
                  </a:cubicBezTo>
                  <a:cubicBezTo>
                    <a:pt x="437674" y="388144"/>
                    <a:pt x="437674" y="388144"/>
                    <a:pt x="437674" y="388144"/>
                  </a:cubicBezTo>
                  <a:cubicBezTo>
                    <a:pt x="437674" y="389096"/>
                    <a:pt x="437674" y="390049"/>
                    <a:pt x="437674" y="390049"/>
                  </a:cubicBezTo>
                  <a:cubicBezTo>
                    <a:pt x="437674" y="391001"/>
                    <a:pt x="437674" y="390049"/>
                    <a:pt x="437674" y="390049"/>
                  </a:cubicBezTo>
                  <a:close/>
                  <a:moveTo>
                    <a:pt x="448151" y="362426"/>
                  </a:moveTo>
                  <a:cubicBezTo>
                    <a:pt x="447199" y="360521"/>
                    <a:pt x="446246" y="358616"/>
                    <a:pt x="446246" y="356711"/>
                  </a:cubicBezTo>
                  <a:cubicBezTo>
                    <a:pt x="447199" y="353854"/>
                    <a:pt x="448151" y="350044"/>
                    <a:pt x="449104" y="347186"/>
                  </a:cubicBezTo>
                  <a:cubicBezTo>
                    <a:pt x="448151" y="351949"/>
                    <a:pt x="448151" y="357664"/>
                    <a:pt x="448151" y="362426"/>
                  </a:cubicBezTo>
                  <a:close/>
                  <a:moveTo>
                    <a:pt x="436721" y="227171"/>
                  </a:moveTo>
                  <a:cubicBezTo>
                    <a:pt x="437674" y="233839"/>
                    <a:pt x="439579" y="239554"/>
                    <a:pt x="440531" y="246221"/>
                  </a:cubicBezTo>
                  <a:cubicBezTo>
                    <a:pt x="438626" y="242411"/>
                    <a:pt x="436721" y="238601"/>
                    <a:pt x="434816" y="234791"/>
                  </a:cubicBezTo>
                  <a:cubicBezTo>
                    <a:pt x="435769" y="231934"/>
                    <a:pt x="435769" y="230029"/>
                    <a:pt x="436721" y="227171"/>
                  </a:cubicBezTo>
                  <a:close/>
                  <a:moveTo>
                    <a:pt x="428149" y="280511"/>
                  </a:moveTo>
                  <a:cubicBezTo>
                    <a:pt x="430054" y="270986"/>
                    <a:pt x="431006" y="262414"/>
                    <a:pt x="431959" y="253841"/>
                  </a:cubicBezTo>
                  <a:cubicBezTo>
                    <a:pt x="431959" y="255746"/>
                    <a:pt x="432911" y="256699"/>
                    <a:pt x="432911" y="258604"/>
                  </a:cubicBezTo>
                  <a:cubicBezTo>
                    <a:pt x="434816" y="266224"/>
                    <a:pt x="436721" y="274796"/>
                    <a:pt x="438626" y="284321"/>
                  </a:cubicBezTo>
                  <a:cubicBezTo>
                    <a:pt x="438626" y="286226"/>
                    <a:pt x="439579" y="288131"/>
                    <a:pt x="439579" y="290036"/>
                  </a:cubicBezTo>
                  <a:cubicBezTo>
                    <a:pt x="434816" y="284321"/>
                    <a:pt x="432911" y="281464"/>
                    <a:pt x="432911" y="281464"/>
                  </a:cubicBezTo>
                  <a:cubicBezTo>
                    <a:pt x="432911" y="281464"/>
                    <a:pt x="435769" y="287179"/>
                    <a:pt x="439579" y="295751"/>
                  </a:cubicBezTo>
                  <a:cubicBezTo>
                    <a:pt x="440531" y="296704"/>
                    <a:pt x="440531" y="298609"/>
                    <a:pt x="441484" y="299561"/>
                  </a:cubicBezTo>
                  <a:cubicBezTo>
                    <a:pt x="442436" y="303371"/>
                    <a:pt x="443389" y="308134"/>
                    <a:pt x="443389" y="312896"/>
                  </a:cubicBezTo>
                  <a:cubicBezTo>
                    <a:pt x="444341" y="317659"/>
                    <a:pt x="445294" y="323374"/>
                    <a:pt x="446246" y="328136"/>
                  </a:cubicBezTo>
                  <a:cubicBezTo>
                    <a:pt x="446246" y="330994"/>
                    <a:pt x="447199" y="332899"/>
                    <a:pt x="447199" y="335756"/>
                  </a:cubicBezTo>
                  <a:cubicBezTo>
                    <a:pt x="446246" y="337661"/>
                    <a:pt x="445294" y="339566"/>
                    <a:pt x="445294" y="341471"/>
                  </a:cubicBezTo>
                  <a:cubicBezTo>
                    <a:pt x="444341" y="344329"/>
                    <a:pt x="443389" y="346234"/>
                    <a:pt x="442436" y="349091"/>
                  </a:cubicBezTo>
                  <a:cubicBezTo>
                    <a:pt x="439579" y="342424"/>
                    <a:pt x="437674" y="336709"/>
                    <a:pt x="434816" y="331946"/>
                  </a:cubicBezTo>
                  <a:cubicBezTo>
                    <a:pt x="434816" y="322421"/>
                    <a:pt x="434816" y="317659"/>
                    <a:pt x="434816" y="317659"/>
                  </a:cubicBezTo>
                  <a:cubicBezTo>
                    <a:pt x="434816" y="317659"/>
                    <a:pt x="433864" y="321469"/>
                    <a:pt x="432911" y="328136"/>
                  </a:cubicBezTo>
                  <a:cubicBezTo>
                    <a:pt x="430054" y="319564"/>
                    <a:pt x="426244" y="310991"/>
                    <a:pt x="423386" y="303371"/>
                  </a:cubicBezTo>
                  <a:cubicBezTo>
                    <a:pt x="426244" y="295751"/>
                    <a:pt x="427196" y="288131"/>
                    <a:pt x="428149" y="280511"/>
                  </a:cubicBezTo>
                  <a:close/>
                  <a:moveTo>
                    <a:pt x="418624" y="345281"/>
                  </a:moveTo>
                  <a:cubicBezTo>
                    <a:pt x="419576" y="337661"/>
                    <a:pt x="420529" y="330041"/>
                    <a:pt x="422434" y="322421"/>
                  </a:cubicBezTo>
                  <a:cubicBezTo>
                    <a:pt x="424339" y="328136"/>
                    <a:pt x="425291" y="333851"/>
                    <a:pt x="427196" y="339566"/>
                  </a:cubicBezTo>
                  <a:cubicBezTo>
                    <a:pt x="428149" y="343376"/>
                    <a:pt x="429101" y="347186"/>
                    <a:pt x="430054" y="350996"/>
                  </a:cubicBezTo>
                  <a:cubicBezTo>
                    <a:pt x="429101" y="354806"/>
                    <a:pt x="429101" y="358616"/>
                    <a:pt x="428149" y="362426"/>
                  </a:cubicBezTo>
                  <a:cubicBezTo>
                    <a:pt x="427196" y="360521"/>
                    <a:pt x="426244" y="358616"/>
                    <a:pt x="426244" y="356711"/>
                  </a:cubicBezTo>
                  <a:cubicBezTo>
                    <a:pt x="423386" y="349091"/>
                    <a:pt x="420529" y="344329"/>
                    <a:pt x="420529" y="344329"/>
                  </a:cubicBezTo>
                  <a:cubicBezTo>
                    <a:pt x="420529" y="344329"/>
                    <a:pt x="420529" y="349091"/>
                    <a:pt x="422434" y="357664"/>
                  </a:cubicBezTo>
                  <a:cubicBezTo>
                    <a:pt x="423386" y="361474"/>
                    <a:pt x="423386" y="367189"/>
                    <a:pt x="424339" y="372904"/>
                  </a:cubicBezTo>
                  <a:cubicBezTo>
                    <a:pt x="424339" y="374809"/>
                    <a:pt x="425291" y="375761"/>
                    <a:pt x="425291" y="377666"/>
                  </a:cubicBezTo>
                  <a:cubicBezTo>
                    <a:pt x="425291" y="376714"/>
                    <a:pt x="424339" y="375761"/>
                    <a:pt x="424339" y="375761"/>
                  </a:cubicBezTo>
                  <a:cubicBezTo>
                    <a:pt x="424339" y="375761"/>
                    <a:pt x="424339" y="374809"/>
                    <a:pt x="424339" y="374809"/>
                  </a:cubicBezTo>
                  <a:cubicBezTo>
                    <a:pt x="422434" y="367189"/>
                    <a:pt x="420529" y="359569"/>
                    <a:pt x="418624" y="351949"/>
                  </a:cubicBezTo>
                  <a:cubicBezTo>
                    <a:pt x="417671" y="349091"/>
                    <a:pt x="418624" y="347186"/>
                    <a:pt x="418624" y="345281"/>
                  </a:cubicBezTo>
                  <a:close/>
                  <a:moveTo>
                    <a:pt x="406241" y="261461"/>
                  </a:moveTo>
                  <a:cubicBezTo>
                    <a:pt x="408146" y="267176"/>
                    <a:pt x="410051" y="275749"/>
                    <a:pt x="411956" y="285274"/>
                  </a:cubicBezTo>
                  <a:cubicBezTo>
                    <a:pt x="410051" y="292894"/>
                    <a:pt x="409099" y="301466"/>
                    <a:pt x="407194" y="310039"/>
                  </a:cubicBezTo>
                  <a:cubicBezTo>
                    <a:pt x="406241" y="307181"/>
                    <a:pt x="406241" y="304324"/>
                    <a:pt x="405289" y="302419"/>
                  </a:cubicBezTo>
                  <a:cubicBezTo>
                    <a:pt x="406241" y="288131"/>
                    <a:pt x="406241" y="273844"/>
                    <a:pt x="406241" y="261461"/>
                  </a:cubicBezTo>
                  <a:close/>
                  <a:moveTo>
                    <a:pt x="382429" y="290036"/>
                  </a:moveTo>
                  <a:cubicBezTo>
                    <a:pt x="382429" y="290989"/>
                    <a:pt x="382429" y="292894"/>
                    <a:pt x="381476" y="293846"/>
                  </a:cubicBezTo>
                  <a:cubicBezTo>
                    <a:pt x="381476" y="290989"/>
                    <a:pt x="381476" y="288131"/>
                    <a:pt x="381476" y="285274"/>
                  </a:cubicBezTo>
                  <a:cubicBezTo>
                    <a:pt x="381476" y="287179"/>
                    <a:pt x="382429" y="288131"/>
                    <a:pt x="382429" y="290036"/>
                  </a:cubicBezTo>
                  <a:close/>
                  <a:moveTo>
                    <a:pt x="361474" y="394811"/>
                  </a:moveTo>
                  <a:cubicBezTo>
                    <a:pt x="361474" y="397669"/>
                    <a:pt x="361474" y="401479"/>
                    <a:pt x="361474" y="404336"/>
                  </a:cubicBezTo>
                  <a:cubicBezTo>
                    <a:pt x="361474" y="405289"/>
                    <a:pt x="361474" y="406241"/>
                    <a:pt x="361474" y="407194"/>
                  </a:cubicBezTo>
                  <a:cubicBezTo>
                    <a:pt x="359569" y="399574"/>
                    <a:pt x="357664" y="391001"/>
                    <a:pt x="354806" y="383381"/>
                  </a:cubicBezTo>
                  <a:cubicBezTo>
                    <a:pt x="354806" y="383381"/>
                    <a:pt x="354806" y="383381"/>
                    <a:pt x="354806" y="382429"/>
                  </a:cubicBezTo>
                  <a:cubicBezTo>
                    <a:pt x="353854" y="379571"/>
                    <a:pt x="353854" y="376714"/>
                    <a:pt x="352901" y="373856"/>
                  </a:cubicBezTo>
                  <a:cubicBezTo>
                    <a:pt x="355759" y="381476"/>
                    <a:pt x="358616" y="388144"/>
                    <a:pt x="361474" y="394811"/>
                  </a:cubicBezTo>
                  <a:close/>
                  <a:moveTo>
                    <a:pt x="347186" y="307181"/>
                  </a:moveTo>
                  <a:cubicBezTo>
                    <a:pt x="348139" y="309086"/>
                    <a:pt x="348139" y="310039"/>
                    <a:pt x="349091" y="311944"/>
                  </a:cubicBezTo>
                  <a:cubicBezTo>
                    <a:pt x="348139" y="310991"/>
                    <a:pt x="348139" y="310039"/>
                    <a:pt x="347186" y="309086"/>
                  </a:cubicBezTo>
                  <a:cubicBezTo>
                    <a:pt x="346234" y="309086"/>
                    <a:pt x="346234" y="308134"/>
                    <a:pt x="347186" y="307181"/>
                  </a:cubicBezTo>
                  <a:close/>
                  <a:moveTo>
                    <a:pt x="347186" y="429101"/>
                  </a:moveTo>
                  <a:cubicBezTo>
                    <a:pt x="347186" y="430054"/>
                    <a:pt x="348139" y="431959"/>
                    <a:pt x="348139" y="432911"/>
                  </a:cubicBezTo>
                  <a:lnTo>
                    <a:pt x="346234" y="432911"/>
                  </a:lnTo>
                  <a:cubicBezTo>
                    <a:pt x="346234" y="431006"/>
                    <a:pt x="346234" y="430054"/>
                    <a:pt x="347186" y="429101"/>
                  </a:cubicBezTo>
                  <a:close/>
                  <a:moveTo>
                    <a:pt x="310991" y="439579"/>
                  </a:moveTo>
                  <a:cubicBezTo>
                    <a:pt x="310991" y="434816"/>
                    <a:pt x="310991" y="429101"/>
                    <a:pt x="311944" y="424339"/>
                  </a:cubicBezTo>
                  <a:cubicBezTo>
                    <a:pt x="313849" y="429101"/>
                    <a:pt x="315754" y="433864"/>
                    <a:pt x="317659" y="438626"/>
                  </a:cubicBezTo>
                  <a:lnTo>
                    <a:pt x="310991" y="439579"/>
                  </a:lnTo>
                  <a:close/>
                  <a:moveTo>
                    <a:pt x="302419" y="230981"/>
                  </a:moveTo>
                  <a:cubicBezTo>
                    <a:pt x="303371" y="232886"/>
                    <a:pt x="303371" y="235744"/>
                    <a:pt x="304324" y="237649"/>
                  </a:cubicBezTo>
                  <a:cubicBezTo>
                    <a:pt x="305276" y="242411"/>
                    <a:pt x="306229" y="247174"/>
                    <a:pt x="307181" y="252889"/>
                  </a:cubicBezTo>
                  <a:cubicBezTo>
                    <a:pt x="303371" y="247174"/>
                    <a:pt x="300514" y="244316"/>
                    <a:pt x="300514" y="244316"/>
                  </a:cubicBezTo>
                  <a:cubicBezTo>
                    <a:pt x="300514" y="238601"/>
                    <a:pt x="301466" y="234791"/>
                    <a:pt x="302419" y="230981"/>
                  </a:cubicBezTo>
                  <a:close/>
                  <a:moveTo>
                    <a:pt x="295751" y="269081"/>
                  </a:moveTo>
                  <a:cubicBezTo>
                    <a:pt x="296704" y="264319"/>
                    <a:pt x="297656" y="262414"/>
                    <a:pt x="297656" y="262414"/>
                  </a:cubicBezTo>
                  <a:cubicBezTo>
                    <a:pt x="297656" y="262414"/>
                    <a:pt x="296704" y="263366"/>
                    <a:pt x="295751" y="265271"/>
                  </a:cubicBezTo>
                  <a:cubicBezTo>
                    <a:pt x="296704" y="260509"/>
                    <a:pt x="296704" y="256699"/>
                    <a:pt x="297656" y="251936"/>
                  </a:cubicBezTo>
                  <a:cubicBezTo>
                    <a:pt x="298609" y="249079"/>
                    <a:pt x="298609" y="246221"/>
                    <a:pt x="299561" y="243364"/>
                  </a:cubicBezTo>
                  <a:cubicBezTo>
                    <a:pt x="299561" y="244316"/>
                    <a:pt x="300514" y="245269"/>
                    <a:pt x="301466" y="247174"/>
                  </a:cubicBezTo>
                  <a:cubicBezTo>
                    <a:pt x="304324" y="254794"/>
                    <a:pt x="307181" y="262414"/>
                    <a:pt x="310039" y="270986"/>
                  </a:cubicBezTo>
                  <a:cubicBezTo>
                    <a:pt x="312896" y="285274"/>
                    <a:pt x="315754" y="298609"/>
                    <a:pt x="319564" y="312896"/>
                  </a:cubicBezTo>
                  <a:cubicBezTo>
                    <a:pt x="322421" y="328136"/>
                    <a:pt x="326231" y="343376"/>
                    <a:pt x="330041" y="358616"/>
                  </a:cubicBezTo>
                  <a:cubicBezTo>
                    <a:pt x="330041" y="359569"/>
                    <a:pt x="330041" y="360521"/>
                    <a:pt x="330041" y="362426"/>
                  </a:cubicBezTo>
                  <a:cubicBezTo>
                    <a:pt x="329089" y="375761"/>
                    <a:pt x="328136" y="390049"/>
                    <a:pt x="327184" y="404336"/>
                  </a:cubicBezTo>
                  <a:cubicBezTo>
                    <a:pt x="327184" y="404336"/>
                    <a:pt x="327184" y="404336"/>
                    <a:pt x="327184" y="404336"/>
                  </a:cubicBezTo>
                  <a:cubicBezTo>
                    <a:pt x="325279" y="400526"/>
                    <a:pt x="323374" y="396716"/>
                    <a:pt x="321469" y="392906"/>
                  </a:cubicBezTo>
                  <a:cubicBezTo>
                    <a:pt x="317659" y="382429"/>
                    <a:pt x="313849" y="371951"/>
                    <a:pt x="310991" y="362426"/>
                  </a:cubicBezTo>
                  <a:cubicBezTo>
                    <a:pt x="306229" y="347186"/>
                    <a:pt x="301466" y="332899"/>
                    <a:pt x="296704" y="318611"/>
                  </a:cubicBezTo>
                  <a:cubicBezTo>
                    <a:pt x="294799" y="312896"/>
                    <a:pt x="293846" y="308134"/>
                    <a:pt x="291941" y="302419"/>
                  </a:cubicBezTo>
                  <a:cubicBezTo>
                    <a:pt x="292894" y="290989"/>
                    <a:pt x="294799" y="279559"/>
                    <a:pt x="295751" y="269081"/>
                  </a:cubicBezTo>
                  <a:close/>
                  <a:moveTo>
                    <a:pt x="283369" y="378619"/>
                  </a:moveTo>
                  <a:cubicBezTo>
                    <a:pt x="283369" y="373856"/>
                    <a:pt x="284321" y="369094"/>
                    <a:pt x="284321" y="365284"/>
                  </a:cubicBezTo>
                  <a:cubicBezTo>
                    <a:pt x="284321" y="364331"/>
                    <a:pt x="284321" y="363379"/>
                    <a:pt x="285274" y="363379"/>
                  </a:cubicBezTo>
                  <a:cubicBezTo>
                    <a:pt x="289084" y="370999"/>
                    <a:pt x="291941" y="378619"/>
                    <a:pt x="295751" y="387191"/>
                  </a:cubicBezTo>
                  <a:cubicBezTo>
                    <a:pt x="297656" y="391954"/>
                    <a:pt x="300514" y="395764"/>
                    <a:pt x="302419" y="400526"/>
                  </a:cubicBezTo>
                  <a:cubicBezTo>
                    <a:pt x="302419" y="401479"/>
                    <a:pt x="303371" y="403384"/>
                    <a:pt x="303371" y="404336"/>
                  </a:cubicBezTo>
                  <a:cubicBezTo>
                    <a:pt x="302419" y="407194"/>
                    <a:pt x="302419" y="410051"/>
                    <a:pt x="301466" y="412909"/>
                  </a:cubicBezTo>
                  <a:cubicBezTo>
                    <a:pt x="299561" y="422434"/>
                    <a:pt x="297656" y="432911"/>
                    <a:pt x="295751" y="442436"/>
                  </a:cubicBezTo>
                  <a:lnTo>
                    <a:pt x="283369" y="444341"/>
                  </a:lnTo>
                  <a:cubicBezTo>
                    <a:pt x="282416" y="441484"/>
                    <a:pt x="282416" y="438626"/>
                    <a:pt x="281464" y="435769"/>
                  </a:cubicBezTo>
                  <a:cubicBezTo>
                    <a:pt x="281464" y="425291"/>
                    <a:pt x="281464" y="415766"/>
                    <a:pt x="281464" y="407194"/>
                  </a:cubicBezTo>
                  <a:cubicBezTo>
                    <a:pt x="281464" y="397669"/>
                    <a:pt x="282416" y="388144"/>
                    <a:pt x="283369" y="378619"/>
                  </a:cubicBezTo>
                  <a:close/>
                  <a:moveTo>
                    <a:pt x="237649" y="415766"/>
                  </a:moveTo>
                  <a:cubicBezTo>
                    <a:pt x="234791" y="409099"/>
                    <a:pt x="230981" y="402431"/>
                    <a:pt x="228124" y="395764"/>
                  </a:cubicBezTo>
                  <a:cubicBezTo>
                    <a:pt x="228124" y="391954"/>
                    <a:pt x="229076" y="387191"/>
                    <a:pt x="229076" y="383381"/>
                  </a:cubicBezTo>
                  <a:cubicBezTo>
                    <a:pt x="232886" y="391001"/>
                    <a:pt x="235744" y="398621"/>
                    <a:pt x="239554" y="406241"/>
                  </a:cubicBezTo>
                  <a:cubicBezTo>
                    <a:pt x="239554" y="410051"/>
                    <a:pt x="238601" y="412909"/>
                    <a:pt x="237649" y="415766"/>
                  </a:cubicBezTo>
                  <a:close/>
                  <a:moveTo>
                    <a:pt x="247174" y="431006"/>
                  </a:moveTo>
                  <a:cubicBezTo>
                    <a:pt x="247174" y="429101"/>
                    <a:pt x="247174" y="427196"/>
                    <a:pt x="248126" y="425291"/>
                  </a:cubicBezTo>
                  <a:cubicBezTo>
                    <a:pt x="248126" y="425291"/>
                    <a:pt x="248126" y="425291"/>
                    <a:pt x="248126" y="425291"/>
                  </a:cubicBezTo>
                  <a:cubicBezTo>
                    <a:pt x="248126" y="427196"/>
                    <a:pt x="247174" y="429101"/>
                    <a:pt x="247174" y="431006"/>
                  </a:cubicBezTo>
                  <a:close/>
                  <a:moveTo>
                    <a:pt x="264319" y="204311"/>
                  </a:moveTo>
                  <a:cubicBezTo>
                    <a:pt x="267176" y="195739"/>
                    <a:pt x="269081" y="189071"/>
                    <a:pt x="270986" y="185261"/>
                  </a:cubicBezTo>
                  <a:cubicBezTo>
                    <a:pt x="269081" y="194786"/>
                    <a:pt x="268129" y="204311"/>
                    <a:pt x="267176" y="214789"/>
                  </a:cubicBezTo>
                  <a:cubicBezTo>
                    <a:pt x="267176" y="212884"/>
                    <a:pt x="266224" y="211931"/>
                    <a:pt x="266224" y="210026"/>
                  </a:cubicBezTo>
                  <a:cubicBezTo>
                    <a:pt x="264319" y="207169"/>
                    <a:pt x="264319" y="206216"/>
                    <a:pt x="264319" y="204311"/>
                  </a:cubicBezTo>
                  <a:cubicBezTo>
                    <a:pt x="264319" y="204311"/>
                    <a:pt x="264319" y="204311"/>
                    <a:pt x="264319" y="204311"/>
                  </a:cubicBezTo>
                  <a:close/>
                  <a:moveTo>
                    <a:pt x="254794" y="235744"/>
                  </a:moveTo>
                  <a:cubicBezTo>
                    <a:pt x="256699" y="230029"/>
                    <a:pt x="257651" y="225266"/>
                    <a:pt x="258604" y="220504"/>
                  </a:cubicBezTo>
                  <a:cubicBezTo>
                    <a:pt x="259556" y="227171"/>
                    <a:pt x="260509" y="234791"/>
                    <a:pt x="261461" y="242411"/>
                  </a:cubicBezTo>
                  <a:cubicBezTo>
                    <a:pt x="261461" y="243364"/>
                    <a:pt x="261461" y="244316"/>
                    <a:pt x="262414" y="245269"/>
                  </a:cubicBezTo>
                  <a:cubicBezTo>
                    <a:pt x="261461" y="253841"/>
                    <a:pt x="260509" y="261461"/>
                    <a:pt x="260509" y="270034"/>
                  </a:cubicBezTo>
                  <a:cubicBezTo>
                    <a:pt x="259556" y="268129"/>
                    <a:pt x="258604" y="266224"/>
                    <a:pt x="257651" y="264319"/>
                  </a:cubicBezTo>
                  <a:cubicBezTo>
                    <a:pt x="254794" y="258604"/>
                    <a:pt x="252889" y="253841"/>
                    <a:pt x="250984" y="249079"/>
                  </a:cubicBezTo>
                  <a:cubicBezTo>
                    <a:pt x="252889" y="245269"/>
                    <a:pt x="253841" y="239554"/>
                    <a:pt x="254794" y="235744"/>
                  </a:cubicBezTo>
                  <a:close/>
                  <a:moveTo>
                    <a:pt x="245269" y="276701"/>
                  </a:moveTo>
                  <a:cubicBezTo>
                    <a:pt x="246221" y="270986"/>
                    <a:pt x="248126" y="265271"/>
                    <a:pt x="249079" y="260509"/>
                  </a:cubicBezTo>
                  <a:cubicBezTo>
                    <a:pt x="250031" y="262414"/>
                    <a:pt x="250031" y="265271"/>
                    <a:pt x="250984" y="268129"/>
                  </a:cubicBezTo>
                  <a:cubicBezTo>
                    <a:pt x="252889" y="275749"/>
                    <a:pt x="255746" y="284321"/>
                    <a:pt x="258604" y="292894"/>
                  </a:cubicBezTo>
                  <a:cubicBezTo>
                    <a:pt x="258604" y="293846"/>
                    <a:pt x="259556" y="294799"/>
                    <a:pt x="259556" y="294799"/>
                  </a:cubicBezTo>
                  <a:cubicBezTo>
                    <a:pt x="259556" y="295751"/>
                    <a:pt x="259556" y="296704"/>
                    <a:pt x="259556" y="297656"/>
                  </a:cubicBezTo>
                  <a:cubicBezTo>
                    <a:pt x="258604" y="310039"/>
                    <a:pt x="258604" y="321469"/>
                    <a:pt x="257651" y="333851"/>
                  </a:cubicBezTo>
                  <a:cubicBezTo>
                    <a:pt x="255746" y="325279"/>
                    <a:pt x="253841" y="317659"/>
                    <a:pt x="250984" y="309086"/>
                  </a:cubicBezTo>
                  <a:cubicBezTo>
                    <a:pt x="252889" y="304324"/>
                    <a:pt x="253841" y="301466"/>
                    <a:pt x="253841" y="301466"/>
                  </a:cubicBezTo>
                  <a:cubicBezTo>
                    <a:pt x="253841" y="301466"/>
                    <a:pt x="252889" y="303371"/>
                    <a:pt x="250984" y="307181"/>
                  </a:cubicBezTo>
                  <a:cubicBezTo>
                    <a:pt x="249079" y="299561"/>
                    <a:pt x="247174" y="291941"/>
                    <a:pt x="244316" y="284321"/>
                  </a:cubicBezTo>
                  <a:cubicBezTo>
                    <a:pt x="244316" y="281464"/>
                    <a:pt x="245269" y="279559"/>
                    <a:pt x="245269" y="276701"/>
                  </a:cubicBezTo>
                  <a:close/>
                  <a:moveTo>
                    <a:pt x="236696" y="325279"/>
                  </a:moveTo>
                  <a:cubicBezTo>
                    <a:pt x="236696" y="324326"/>
                    <a:pt x="236696" y="323374"/>
                    <a:pt x="237649" y="322421"/>
                  </a:cubicBezTo>
                  <a:cubicBezTo>
                    <a:pt x="237649" y="324326"/>
                    <a:pt x="238601" y="327184"/>
                    <a:pt x="238601" y="329089"/>
                  </a:cubicBezTo>
                  <a:cubicBezTo>
                    <a:pt x="237649" y="330994"/>
                    <a:pt x="236696" y="332899"/>
                    <a:pt x="235744" y="335756"/>
                  </a:cubicBezTo>
                  <a:cubicBezTo>
                    <a:pt x="235744" y="332899"/>
                    <a:pt x="235744" y="329089"/>
                    <a:pt x="236696" y="325279"/>
                  </a:cubicBezTo>
                  <a:close/>
                  <a:moveTo>
                    <a:pt x="234791" y="353854"/>
                  </a:moveTo>
                  <a:cubicBezTo>
                    <a:pt x="236696" y="348139"/>
                    <a:pt x="238601" y="342424"/>
                    <a:pt x="240506" y="337661"/>
                  </a:cubicBezTo>
                  <a:cubicBezTo>
                    <a:pt x="240506" y="339566"/>
                    <a:pt x="241459" y="340519"/>
                    <a:pt x="241459" y="342424"/>
                  </a:cubicBezTo>
                  <a:cubicBezTo>
                    <a:pt x="243364" y="352901"/>
                    <a:pt x="246221" y="362426"/>
                    <a:pt x="248126" y="372904"/>
                  </a:cubicBezTo>
                  <a:cubicBezTo>
                    <a:pt x="248126" y="374809"/>
                    <a:pt x="247174" y="376714"/>
                    <a:pt x="247174" y="378619"/>
                  </a:cubicBezTo>
                  <a:cubicBezTo>
                    <a:pt x="245269" y="375761"/>
                    <a:pt x="243364" y="371951"/>
                    <a:pt x="242411" y="369094"/>
                  </a:cubicBezTo>
                  <a:cubicBezTo>
                    <a:pt x="239554" y="364331"/>
                    <a:pt x="236696" y="359569"/>
                    <a:pt x="234791" y="353854"/>
                  </a:cubicBezTo>
                  <a:cubicBezTo>
                    <a:pt x="234791" y="354806"/>
                    <a:pt x="234791" y="353854"/>
                    <a:pt x="234791" y="353854"/>
                  </a:cubicBezTo>
                  <a:close/>
                  <a:moveTo>
                    <a:pt x="222409" y="297656"/>
                  </a:moveTo>
                  <a:cubicBezTo>
                    <a:pt x="224314" y="290036"/>
                    <a:pt x="226219" y="283369"/>
                    <a:pt x="227171" y="278606"/>
                  </a:cubicBezTo>
                  <a:cubicBezTo>
                    <a:pt x="227171" y="280511"/>
                    <a:pt x="228124" y="282416"/>
                    <a:pt x="228124" y="284321"/>
                  </a:cubicBezTo>
                  <a:cubicBezTo>
                    <a:pt x="229076" y="286226"/>
                    <a:pt x="229076" y="288131"/>
                    <a:pt x="230029" y="290989"/>
                  </a:cubicBezTo>
                  <a:cubicBezTo>
                    <a:pt x="227171" y="301466"/>
                    <a:pt x="225266" y="312896"/>
                    <a:pt x="222409" y="324326"/>
                  </a:cubicBezTo>
                  <a:cubicBezTo>
                    <a:pt x="222409" y="326231"/>
                    <a:pt x="221456" y="328136"/>
                    <a:pt x="221456" y="330041"/>
                  </a:cubicBezTo>
                  <a:cubicBezTo>
                    <a:pt x="221456" y="330041"/>
                    <a:pt x="221456" y="329089"/>
                    <a:pt x="220504" y="329089"/>
                  </a:cubicBezTo>
                  <a:cubicBezTo>
                    <a:pt x="219551" y="323374"/>
                    <a:pt x="219551" y="317659"/>
                    <a:pt x="218599" y="312896"/>
                  </a:cubicBezTo>
                  <a:cubicBezTo>
                    <a:pt x="220504" y="306229"/>
                    <a:pt x="221456" y="301466"/>
                    <a:pt x="222409" y="297656"/>
                  </a:cubicBezTo>
                  <a:close/>
                  <a:moveTo>
                    <a:pt x="169069" y="411956"/>
                  </a:moveTo>
                  <a:cubicBezTo>
                    <a:pt x="169069" y="411956"/>
                    <a:pt x="169069" y="412909"/>
                    <a:pt x="169069" y="412909"/>
                  </a:cubicBezTo>
                  <a:cubicBezTo>
                    <a:pt x="168116" y="407194"/>
                    <a:pt x="167164" y="401479"/>
                    <a:pt x="165259" y="396716"/>
                  </a:cubicBezTo>
                  <a:cubicBezTo>
                    <a:pt x="165259" y="389096"/>
                    <a:pt x="164306" y="382429"/>
                    <a:pt x="164306" y="375761"/>
                  </a:cubicBezTo>
                  <a:cubicBezTo>
                    <a:pt x="163354" y="365284"/>
                    <a:pt x="162401" y="354806"/>
                    <a:pt x="161449" y="345281"/>
                  </a:cubicBezTo>
                  <a:cubicBezTo>
                    <a:pt x="160496" y="336709"/>
                    <a:pt x="159544" y="329089"/>
                    <a:pt x="158591" y="321469"/>
                  </a:cubicBezTo>
                  <a:cubicBezTo>
                    <a:pt x="158591" y="322421"/>
                    <a:pt x="159544" y="322421"/>
                    <a:pt x="159544" y="323374"/>
                  </a:cubicBezTo>
                  <a:cubicBezTo>
                    <a:pt x="160496" y="325279"/>
                    <a:pt x="161449" y="326231"/>
                    <a:pt x="162401" y="328136"/>
                  </a:cubicBezTo>
                  <a:cubicBezTo>
                    <a:pt x="163354" y="342424"/>
                    <a:pt x="165259" y="359569"/>
                    <a:pt x="167164" y="376714"/>
                  </a:cubicBezTo>
                  <a:cubicBezTo>
                    <a:pt x="168116" y="385286"/>
                    <a:pt x="169069" y="393859"/>
                    <a:pt x="170021" y="402431"/>
                  </a:cubicBezTo>
                  <a:cubicBezTo>
                    <a:pt x="170021" y="405289"/>
                    <a:pt x="169069" y="408146"/>
                    <a:pt x="169069" y="411956"/>
                  </a:cubicBezTo>
                  <a:close/>
                  <a:moveTo>
                    <a:pt x="209074" y="350044"/>
                  </a:moveTo>
                  <a:cubicBezTo>
                    <a:pt x="209074" y="352901"/>
                    <a:pt x="209074" y="356711"/>
                    <a:pt x="209074" y="359569"/>
                  </a:cubicBezTo>
                  <a:cubicBezTo>
                    <a:pt x="208121" y="358616"/>
                    <a:pt x="208121" y="357664"/>
                    <a:pt x="207169" y="356711"/>
                  </a:cubicBezTo>
                  <a:cubicBezTo>
                    <a:pt x="208121" y="354806"/>
                    <a:pt x="209074" y="351949"/>
                    <a:pt x="209074" y="350044"/>
                  </a:cubicBezTo>
                  <a:close/>
                  <a:moveTo>
                    <a:pt x="170974" y="259556"/>
                  </a:moveTo>
                  <a:cubicBezTo>
                    <a:pt x="173831" y="264319"/>
                    <a:pt x="175736" y="270034"/>
                    <a:pt x="178594" y="274796"/>
                  </a:cubicBezTo>
                  <a:cubicBezTo>
                    <a:pt x="181451" y="280511"/>
                    <a:pt x="184309" y="286226"/>
                    <a:pt x="187166" y="291941"/>
                  </a:cubicBezTo>
                  <a:cubicBezTo>
                    <a:pt x="192881" y="304324"/>
                    <a:pt x="198596" y="316706"/>
                    <a:pt x="205264" y="330041"/>
                  </a:cubicBezTo>
                  <a:cubicBezTo>
                    <a:pt x="203359" y="333851"/>
                    <a:pt x="202406" y="338614"/>
                    <a:pt x="200501" y="343376"/>
                  </a:cubicBezTo>
                  <a:cubicBezTo>
                    <a:pt x="200501" y="343376"/>
                    <a:pt x="200501" y="342424"/>
                    <a:pt x="199549" y="342424"/>
                  </a:cubicBezTo>
                  <a:cubicBezTo>
                    <a:pt x="193834" y="330994"/>
                    <a:pt x="187166" y="320516"/>
                    <a:pt x="180499" y="310039"/>
                  </a:cubicBezTo>
                  <a:cubicBezTo>
                    <a:pt x="178594" y="301466"/>
                    <a:pt x="176689" y="296704"/>
                    <a:pt x="176689" y="296704"/>
                  </a:cubicBezTo>
                  <a:cubicBezTo>
                    <a:pt x="176689" y="296704"/>
                    <a:pt x="176689" y="299561"/>
                    <a:pt x="176689" y="305276"/>
                  </a:cubicBezTo>
                  <a:cubicBezTo>
                    <a:pt x="175736" y="303371"/>
                    <a:pt x="174784" y="301466"/>
                    <a:pt x="172879" y="299561"/>
                  </a:cubicBezTo>
                  <a:cubicBezTo>
                    <a:pt x="172879" y="299561"/>
                    <a:pt x="171926" y="298609"/>
                    <a:pt x="171926" y="298609"/>
                  </a:cubicBezTo>
                  <a:cubicBezTo>
                    <a:pt x="170974" y="291941"/>
                    <a:pt x="169069" y="285274"/>
                    <a:pt x="168116" y="279559"/>
                  </a:cubicBezTo>
                  <a:cubicBezTo>
                    <a:pt x="164306" y="262414"/>
                    <a:pt x="161449" y="247174"/>
                    <a:pt x="158591" y="235744"/>
                  </a:cubicBezTo>
                  <a:cubicBezTo>
                    <a:pt x="163354" y="243364"/>
                    <a:pt x="167164" y="250984"/>
                    <a:pt x="170974" y="259556"/>
                  </a:cubicBezTo>
                  <a:close/>
                  <a:moveTo>
                    <a:pt x="161449" y="307181"/>
                  </a:moveTo>
                  <a:cubicBezTo>
                    <a:pt x="159544" y="305276"/>
                    <a:pt x="157639" y="303371"/>
                    <a:pt x="156686" y="301466"/>
                  </a:cubicBezTo>
                  <a:cubicBezTo>
                    <a:pt x="156686" y="300514"/>
                    <a:pt x="156686" y="298609"/>
                    <a:pt x="155734" y="297656"/>
                  </a:cubicBezTo>
                  <a:cubicBezTo>
                    <a:pt x="156686" y="300514"/>
                    <a:pt x="158591" y="304324"/>
                    <a:pt x="161449" y="307181"/>
                  </a:cubicBezTo>
                  <a:close/>
                  <a:moveTo>
                    <a:pt x="130969" y="280511"/>
                  </a:moveTo>
                  <a:cubicBezTo>
                    <a:pt x="131921" y="281464"/>
                    <a:pt x="132874" y="282416"/>
                    <a:pt x="133826" y="284321"/>
                  </a:cubicBezTo>
                  <a:cubicBezTo>
                    <a:pt x="137636" y="289084"/>
                    <a:pt x="141446" y="294799"/>
                    <a:pt x="145256" y="301466"/>
                  </a:cubicBezTo>
                  <a:cubicBezTo>
                    <a:pt x="147161" y="304324"/>
                    <a:pt x="149066" y="307181"/>
                    <a:pt x="150971" y="310039"/>
                  </a:cubicBezTo>
                  <a:cubicBezTo>
                    <a:pt x="150971" y="318611"/>
                    <a:pt x="150019" y="329089"/>
                    <a:pt x="150019" y="341471"/>
                  </a:cubicBezTo>
                  <a:cubicBezTo>
                    <a:pt x="150019" y="341471"/>
                    <a:pt x="150019" y="340519"/>
                    <a:pt x="149066" y="339566"/>
                  </a:cubicBezTo>
                  <a:cubicBezTo>
                    <a:pt x="148114" y="335756"/>
                    <a:pt x="146209" y="331946"/>
                    <a:pt x="145256" y="328136"/>
                  </a:cubicBezTo>
                  <a:cubicBezTo>
                    <a:pt x="144304" y="324326"/>
                    <a:pt x="142399" y="321469"/>
                    <a:pt x="140494" y="317659"/>
                  </a:cubicBezTo>
                  <a:cubicBezTo>
                    <a:pt x="137636" y="310991"/>
                    <a:pt x="134779" y="306229"/>
                    <a:pt x="132874" y="301466"/>
                  </a:cubicBezTo>
                  <a:cubicBezTo>
                    <a:pt x="130969" y="296704"/>
                    <a:pt x="129064" y="292894"/>
                    <a:pt x="127159" y="290989"/>
                  </a:cubicBezTo>
                  <a:cubicBezTo>
                    <a:pt x="129064" y="287179"/>
                    <a:pt x="130016" y="283369"/>
                    <a:pt x="130969" y="280511"/>
                  </a:cubicBezTo>
                  <a:close/>
                  <a:moveTo>
                    <a:pt x="121444" y="318611"/>
                  </a:moveTo>
                  <a:cubicBezTo>
                    <a:pt x="123349" y="309086"/>
                    <a:pt x="124301" y="301466"/>
                    <a:pt x="127159" y="294799"/>
                  </a:cubicBezTo>
                  <a:cubicBezTo>
                    <a:pt x="127159" y="294799"/>
                    <a:pt x="127159" y="294799"/>
                    <a:pt x="127159" y="293846"/>
                  </a:cubicBezTo>
                  <a:cubicBezTo>
                    <a:pt x="128111" y="296704"/>
                    <a:pt x="128111" y="299561"/>
                    <a:pt x="129064" y="303371"/>
                  </a:cubicBezTo>
                  <a:cubicBezTo>
                    <a:pt x="130016" y="308134"/>
                    <a:pt x="131921" y="313849"/>
                    <a:pt x="133826" y="320516"/>
                  </a:cubicBezTo>
                  <a:cubicBezTo>
                    <a:pt x="135731" y="327184"/>
                    <a:pt x="137636" y="334804"/>
                    <a:pt x="138589" y="342424"/>
                  </a:cubicBezTo>
                  <a:cubicBezTo>
                    <a:pt x="140494" y="350996"/>
                    <a:pt x="141446" y="359569"/>
                    <a:pt x="143351" y="369094"/>
                  </a:cubicBezTo>
                  <a:cubicBezTo>
                    <a:pt x="145256" y="378619"/>
                    <a:pt x="146209" y="388144"/>
                    <a:pt x="148114" y="398621"/>
                  </a:cubicBezTo>
                  <a:cubicBezTo>
                    <a:pt x="148114" y="399574"/>
                    <a:pt x="148114" y="401479"/>
                    <a:pt x="149066" y="403384"/>
                  </a:cubicBezTo>
                  <a:cubicBezTo>
                    <a:pt x="149066" y="406241"/>
                    <a:pt x="149066" y="408146"/>
                    <a:pt x="149066" y="411004"/>
                  </a:cubicBezTo>
                  <a:cubicBezTo>
                    <a:pt x="149066" y="412909"/>
                    <a:pt x="149066" y="414814"/>
                    <a:pt x="149066" y="416719"/>
                  </a:cubicBezTo>
                  <a:cubicBezTo>
                    <a:pt x="145256" y="407194"/>
                    <a:pt x="142399" y="397669"/>
                    <a:pt x="138589" y="388144"/>
                  </a:cubicBezTo>
                  <a:cubicBezTo>
                    <a:pt x="135731" y="379571"/>
                    <a:pt x="132874" y="371951"/>
                    <a:pt x="129064" y="363379"/>
                  </a:cubicBezTo>
                  <a:cubicBezTo>
                    <a:pt x="130969" y="360521"/>
                    <a:pt x="131921" y="358616"/>
                    <a:pt x="131921" y="358616"/>
                  </a:cubicBezTo>
                  <a:cubicBezTo>
                    <a:pt x="131921" y="358616"/>
                    <a:pt x="130969" y="359569"/>
                    <a:pt x="129064" y="361474"/>
                  </a:cubicBezTo>
                  <a:cubicBezTo>
                    <a:pt x="127159" y="357664"/>
                    <a:pt x="126206" y="353854"/>
                    <a:pt x="124301" y="350044"/>
                  </a:cubicBezTo>
                  <a:cubicBezTo>
                    <a:pt x="124301" y="348139"/>
                    <a:pt x="125254" y="346234"/>
                    <a:pt x="125254" y="344329"/>
                  </a:cubicBezTo>
                  <a:cubicBezTo>
                    <a:pt x="128111" y="333851"/>
                    <a:pt x="129064" y="328136"/>
                    <a:pt x="129064" y="328136"/>
                  </a:cubicBezTo>
                  <a:cubicBezTo>
                    <a:pt x="129064" y="328136"/>
                    <a:pt x="126206" y="333851"/>
                    <a:pt x="121444" y="343376"/>
                  </a:cubicBezTo>
                  <a:cubicBezTo>
                    <a:pt x="121444" y="343376"/>
                    <a:pt x="121444" y="343376"/>
                    <a:pt x="121444" y="343376"/>
                  </a:cubicBezTo>
                  <a:cubicBezTo>
                    <a:pt x="121444" y="342424"/>
                    <a:pt x="121444" y="342424"/>
                    <a:pt x="120491" y="341471"/>
                  </a:cubicBezTo>
                  <a:cubicBezTo>
                    <a:pt x="119539" y="339566"/>
                    <a:pt x="118586" y="337661"/>
                    <a:pt x="117634" y="334804"/>
                  </a:cubicBezTo>
                  <a:cubicBezTo>
                    <a:pt x="119539" y="329089"/>
                    <a:pt x="120491" y="323374"/>
                    <a:pt x="121444" y="318611"/>
                  </a:cubicBezTo>
                  <a:close/>
                  <a:moveTo>
                    <a:pt x="116681" y="393859"/>
                  </a:moveTo>
                  <a:cubicBezTo>
                    <a:pt x="120491" y="402431"/>
                    <a:pt x="123349" y="411004"/>
                    <a:pt x="127159" y="419576"/>
                  </a:cubicBezTo>
                  <a:lnTo>
                    <a:pt x="113824" y="414814"/>
                  </a:lnTo>
                  <a:cubicBezTo>
                    <a:pt x="115729" y="408146"/>
                    <a:pt x="115729" y="400526"/>
                    <a:pt x="116681" y="393859"/>
                  </a:cubicBezTo>
                  <a:close/>
                  <a:moveTo>
                    <a:pt x="91916" y="341471"/>
                  </a:moveTo>
                  <a:cubicBezTo>
                    <a:pt x="91916" y="339566"/>
                    <a:pt x="92869" y="337661"/>
                    <a:pt x="92869" y="335756"/>
                  </a:cubicBezTo>
                  <a:cubicBezTo>
                    <a:pt x="93821" y="337661"/>
                    <a:pt x="93821" y="338614"/>
                    <a:pt x="94774" y="340519"/>
                  </a:cubicBezTo>
                  <a:cubicBezTo>
                    <a:pt x="97631" y="346234"/>
                    <a:pt x="99536" y="351949"/>
                    <a:pt x="102394" y="358616"/>
                  </a:cubicBezTo>
                  <a:cubicBezTo>
                    <a:pt x="100489" y="367189"/>
                    <a:pt x="98584" y="374809"/>
                    <a:pt x="96679" y="384334"/>
                  </a:cubicBezTo>
                  <a:cubicBezTo>
                    <a:pt x="95726" y="389096"/>
                    <a:pt x="94774" y="393859"/>
                    <a:pt x="94774" y="399574"/>
                  </a:cubicBezTo>
                  <a:cubicBezTo>
                    <a:pt x="94774" y="399574"/>
                    <a:pt x="93821" y="400526"/>
                    <a:pt x="93821" y="400526"/>
                  </a:cubicBezTo>
                  <a:cubicBezTo>
                    <a:pt x="92869" y="401479"/>
                    <a:pt x="91916" y="403384"/>
                    <a:pt x="90964" y="404336"/>
                  </a:cubicBezTo>
                  <a:cubicBezTo>
                    <a:pt x="90011" y="396716"/>
                    <a:pt x="89059" y="390049"/>
                    <a:pt x="88106" y="382429"/>
                  </a:cubicBezTo>
                  <a:cubicBezTo>
                    <a:pt x="87154" y="376714"/>
                    <a:pt x="86201" y="370999"/>
                    <a:pt x="85249" y="365284"/>
                  </a:cubicBezTo>
                  <a:cubicBezTo>
                    <a:pt x="87154" y="356711"/>
                    <a:pt x="89059" y="348139"/>
                    <a:pt x="91916" y="341471"/>
                  </a:cubicBezTo>
                  <a:close/>
                  <a:moveTo>
                    <a:pt x="72866" y="407194"/>
                  </a:moveTo>
                  <a:cubicBezTo>
                    <a:pt x="72866" y="408146"/>
                    <a:pt x="72866" y="408146"/>
                    <a:pt x="72866" y="409099"/>
                  </a:cubicBezTo>
                  <a:cubicBezTo>
                    <a:pt x="72866" y="409099"/>
                    <a:pt x="72866" y="409099"/>
                    <a:pt x="71914" y="409099"/>
                  </a:cubicBezTo>
                  <a:cubicBezTo>
                    <a:pt x="71914" y="408146"/>
                    <a:pt x="72866" y="408146"/>
                    <a:pt x="72866" y="407194"/>
                  </a:cubicBezTo>
                  <a:close/>
                </a:path>
              </a:pathLst>
            </a:custGeom>
            <a:solidFill>
              <a:schemeClr val="accent1"/>
            </a:solidFill>
            <a:ln w="9525" cap="flat">
              <a:noFill/>
              <a:prstDash val="solid"/>
              <a:miter/>
            </a:ln>
          </p:spPr>
          <p:txBody>
            <a:bodyPr rtlCol="0" anchor="ctr"/>
            <a:lstStyle/>
            <a:p>
              <a:pPr marL="0" marR="0" lvl="0" indent="0" algn="l" defTabSz="91376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Arial Unicode MS"/>
                <a:cs typeface="+mn-cs"/>
              </a:endParaRPr>
            </a:p>
          </p:txBody>
        </p:sp>
      </p:grpSp>
    </p:spTree>
    <p:extLst>
      <p:ext uri="{BB962C8B-B14F-4D97-AF65-F5344CB8AC3E}">
        <p14:creationId xmlns:p14="http://schemas.microsoft.com/office/powerpoint/2010/main" val="17527690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and Vertical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05896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4713DF-5F0F-4743-9E07-777DF8792DC1}"/>
              </a:ext>
            </a:extLst>
          </p:cNvPr>
          <p:cNvSpPr>
            <a:spLocks noGrp="1"/>
          </p:cNvSpPr>
          <p:nvPr>
            <p:ph type="title"/>
          </p:nvPr>
        </p:nvSpPr>
        <p:spPr>
          <a:xfrm>
            <a:off x="838200" y="365129"/>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0607849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Custom Layout">
    <p:bg>
      <p:bgPr>
        <a:solidFill>
          <a:schemeClr val="bg1">
            <a:alpha val="66000"/>
          </a:schemeClr>
        </a:solidFill>
        <a:effectLst/>
      </p:bgPr>
    </p:bg>
    <p:spTree>
      <p:nvGrpSpPr>
        <p:cNvPr id="1" name=""/>
        <p:cNvGrpSpPr/>
        <p:nvPr/>
      </p:nvGrpSpPr>
      <p:grpSpPr>
        <a:xfrm>
          <a:off x="0" y="0"/>
          <a:ext cx="0" cy="0"/>
          <a:chOff x="0" y="0"/>
          <a:chExt cx="0" cy="0"/>
        </a:xfrm>
      </p:grpSpPr>
      <p:pic>
        <p:nvPicPr>
          <p:cNvPr id="6" name="Picture 5" descr="A truck parked on the side of a road&#10;&#10;Description generated with high confidence">
            <a:extLst>
              <a:ext uri="{FF2B5EF4-FFF2-40B4-BE49-F238E27FC236}">
                <a16:creationId xmlns:a16="http://schemas.microsoft.com/office/drawing/2014/main" id="{A0DABE20-88FE-405F-8B2B-004B30F12F1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378" t="-128" r="5018" b="12435"/>
          <a:stretch/>
        </p:blipFill>
        <p:spPr>
          <a:xfrm>
            <a:off x="1" y="1084230"/>
            <a:ext cx="12192000" cy="4840020"/>
          </a:xfrm>
          <a:prstGeom prst="rect">
            <a:avLst/>
          </a:prstGeom>
        </p:spPr>
      </p:pic>
      <p:sp>
        <p:nvSpPr>
          <p:cNvPr id="7" name="Rectangle 6">
            <a:extLst>
              <a:ext uri="{FF2B5EF4-FFF2-40B4-BE49-F238E27FC236}">
                <a16:creationId xmlns:a16="http://schemas.microsoft.com/office/drawing/2014/main" id="{2C9E0808-8906-4E45-A3AD-2FBE1C73752F}"/>
              </a:ext>
            </a:extLst>
          </p:cNvPr>
          <p:cNvSpPr/>
          <p:nvPr userDrawn="1"/>
        </p:nvSpPr>
        <p:spPr>
          <a:xfrm>
            <a:off x="1" y="0"/>
            <a:ext cx="12192000" cy="6858000"/>
          </a:xfrm>
          <a:prstGeom prst="rect">
            <a:avLst/>
          </a:prstGeom>
          <a:solidFill>
            <a:schemeClr val="bg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7172820"/>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562711" y="1508400"/>
            <a:ext cx="11068061" cy="4590000"/>
          </a:xfrm>
          <a:prstGeom prst="rect">
            <a:avLst/>
          </a:prstGeom>
        </p:spPr>
        <p:txBody>
          <a:bodyPr lIns="0" tIns="0" rIns="0" bIns="0"/>
          <a:lstStyle>
            <a:lvl1pPr marL="0" indent="-172926">
              <a:buClr>
                <a:schemeClr val="tx2"/>
              </a:buClr>
              <a:buFont typeface="Arial" pitchFamily="34" charset="0"/>
              <a:buChar char="•"/>
              <a:tabLst/>
              <a:defRPr b="0"/>
            </a:lvl1pPr>
            <a:lvl2pPr marL="628242" indent="-228450">
              <a:buFont typeface="Arial" pitchFamily="34" charset="0"/>
              <a:buChar char="–"/>
              <a:defRPr/>
            </a:lvl2pPr>
            <a:lvl3pPr marL="1074041" indent="-228450">
              <a:defRPr/>
            </a:lvl3pPr>
            <a:lvl4pPr marL="1544332" indent="-228450">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53710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209826" y="1195952"/>
            <a:ext cx="11630487" cy="5112000"/>
          </a:xfrm>
          <a:prstGeom prst="rect">
            <a:avLst/>
          </a:prstGeom>
        </p:spPr>
        <p:txBody>
          <a:bodyPr lIns="97740" tIns="48870" rIns="97740" bIns="48870"/>
          <a:lstStyle>
            <a:lvl1pPr marL="152619" indent="-152619">
              <a:lnSpc>
                <a:spcPct val="114000"/>
              </a:lnSpc>
              <a:spcBef>
                <a:spcPts val="641"/>
              </a:spcBef>
              <a:buFont typeface="Arial" pitchFamily="34" charset="0"/>
              <a:buChar char="•"/>
              <a:defRPr sz="1600">
                <a:solidFill>
                  <a:schemeClr val="bg2"/>
                </a:solidFill>
              </a:defRPr>
            </a:lvl1pPr>
            <a:lvl2pPr>
              <a:lnSpc>
                <a:spcPct val="114000"/>
              </a:lnSpc>
              <a:spcBef>
                <a:spcPts val="641"/>
              </a:spcBef>
              <a:buFont typeface="Arial" pitchFamily="34" charset="0"/>
              <a:buChar char="•"/>
              <a:defRPr sz="1500">
                <a:solidFill>
                  <a:schemeClr val="bg2"/>
                </a:solidFill>
              </a:defRPr>
            </a:lvl2pPr>
            <a:lvl3pPr>
              <a:lnSpc>
                <a:spcPct val="114000"/>
              </a:lnSpc>
              <a:spcBef>
                <a:spcPts val="641"/>
              </a:spcBef>
              <a:buFont typeface="Arial" pitchFamily="34" charset="0"/>
              <a:buChar char="•"/>
              <a:defRPr sz="1400">
                <a:solidFill>
                  <a:schemeClr val="bg2"/>
                </a:solidFill>
              </a:defRPr>
            </a:lvl3pPr>
            <a:lvl4pPr>
              <a:lnSpc>
                <a:spcPct val="114000"/>
              </a:lnSpc>
              <a:spcBef>
                <a:spcPts val="641"/>
              </a:spcBef>
              <a:buFont typeface="Arial" pitchFamily="34" charset="0"/>
              <a:buChar char="•"/>
              <a:defRPr sz="1500">
                <a:solidFill>
                  <a:schemeClr val="bg2"/>
                </a:solidFill>
              </a:defRPr>
            </a:lvl4pPr>
            <a:lvl5pPr>
              <a:lnSpc>
                <a:spcPct val="114000"/>
              </a:lnSpc>
              <a:spcBef>
                <a:spcPts val="641"/>
              </a:spcBef>
              <a:buFont typeface="Arial" pitchFamily="34" charset="0"/>
              <a:buChar char="•"/>
              <a:defRPr>
                <a:solidFill>
                  <a:schemeClr val="bg2"/>
                </a:solidFill>
              </a:defRPr>
            </a:lvl5pPr>
          </a:lstStyle>
          <a:p>
            <a:pPr lvl="0"/>
            <a:r>
              <a:rPr lang="de-DE"/>
              <a:t>Textmasterformat bearbeiten</a:t>
            </a:r>
          </a:p>
          <a:p>
            <a:pPr lvl="1"/>
            <a:r>
              <a:rPr lang="de-DE"/>
              <a:t>Zweite Ebene</a:t>
            </a:r>
          </a:p>
        </p:txBody>
      </p:sp>
      <p:sp>
        <p:nvSpPr>
          <p:cNvPr id="5" name="Rectangle 2"/>
          <p:cNvSpPr>
            <a:spLocks noGrp="1" noChangeArrowheads="1"/>
          </p:cNvSpPr>
          <p:nvPr>
            <p:ph type="title"/>
          </p:nvPr>
        </p:nvSpPr>
        <p:spPr>
          <a:xfrm>
            <a:off x="222701" y="419525"/>
            <a:ext cx="9226612" cy="584727"/>
          </a:xfrm>
          <a:prstGeom prst="rect">
            <a:avLst/>
          </a:prstGeom>
        </p:spPr>
        <p:txBody>
          <a:bodyPr lIns="97740" tIns="48870" rIns="97740" bIns="48870"/>
          <a:lstStyle>
            <a:lvl1pPr marL="0" marR="0" indent="0" algn="l" defTabSz="956419" rtl="0" eaLnBrk="1" fontAlgn="base" latinLnBrk="0" hangingPunct="1">
              <a:lnSpc>
                <a:spcPct val="100000"/>
              </a:lnSpc>
              <a:spcBef>
                <a:spcPct val="0"/>
              </a:spcBef>
              <a:spcAft>
                <a:spcPct val="0"/>
              </a:spcAft>
              <a:buClrTx/>
              <a:buSzTx/>
              <a:buFontTx/>
              <a:buNone/>
              <a:tabLst/>
              <a:defRPr>
                <a:solidFill>
                  <a:schemeClr val="tx1"/>
                </a:solidFill>
              </a:defRPr>
            </a:lvl1pPr>
          </a:lstStyle>
          <a:p>
            <a:pPr eaLnBrk="1" hangingPunct="1"/>
            <a:r>
              <a:rPr lang="de-DE">
                <a:solidFill>
                  <a:srgbClr val="646864"/>
                </a:solidFill>
                <a:latin typeface="Calibri" pitchFamily="34" charset="0"/>
              </a:rPr>
              <a:t>Titelmasterformat durch Klicken bearbeiten</a:t>
            </a:r>
            <a:endParaRPr lang="de-DE" dirty="0">
              <a:solidFill>
                <a:srgbClr val="646864"/>
              </a:solidFill>
              <a:latin typeface="Calibri" pitchFamily="34" charset="0"/>
            </a:endParaRPr>
          </a:p>
        </p:txBody>
      </p:sp>
    </p:spTree>
    <p:extLst>
      <p:ext uri="{BB962C8B-B14F-4D97-AF65-F5344CB8AC3E}">
        <p14:creationId xmlns:p14="http://schemas.microsoft.com/office/powerpoint/2010/main" val="15769166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50799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
        <p:nvSpPr>
          <p:cNvPr id="5" name="Slide Number Placeholder 1"/>
          <p:cNvSpPr>
            <a:spLocks noGrp="1"/>
          </p:cNvSpPr>
          <p:nvPr>
            <p:ph type="sldNum" sz="quarter" idx="4"/>
          </p:nvPr>
        </p:nvSpPr>
        <p:spPr>
          <a:xfrm>
            <a:off x="203200" y="6498569"/>
            <a:ext cx="508000" cy="365124"/>
          </a:xfrm>
          <a:prstGeom prst="rect">
            <a:avLst/>
          </a:prstGeom>
        </p:spPr>
        <p:txBody>
          <a:bodyPr vert="horz" lIns="90566" tIns="45271" rIns="90566" bIns="45271" rtlCol="0" anchor="ctr"/>
          <a:lstStyle>
            <a:lvl1pPr algn="r">
              <a:defRPr sz="1200">
                <a:solidFill>
                  <a:schemeClr val="tx1"/>
                </a:solidFill>
              </a:defRPr>
            </a:lvl1pPr>
          </a:lstStyle>
          <a:p>
            <a:pPr defTabSz="905413">
              <a:defRPr/>
            </a:pPr>
            <a:fld id="{7422662C-4EA5-40CB-AF95-82CA1EC35BEA}" type="slidenum">
              <a:rPr lang="en-US" smtClean="0">
                <a:solidFill>
                  <a:srgbClr val="000000"/>
                </a:solidFill>
                <a:latin typeface="Arial"/>
              </a:rPr>
              <a:pPr defTabSz="905413">
                <a:defRPr/>
              </a:pPr>
              <a:t>‹#›</a:t>
            </a:fld>
            <a:endParaRPr lang="en-US" dirty="0">
              <a:solidFill>
                <a:srgbClr val="000000"/>
              </a:solidFill>
              <a:latin typeface="Arial"/>
            </a:endParaRPr>
          </a:p>
        </p:txBody>
      </p:sp>
    </p:spTree>
    <p:extLst>
      <p:ext uri="{BB962C8B-B14F-4D97-AF65-F5344CB8AC3E}">
        <p14:creationId xmlns:p14="http://schemas.microsoft.com/office/powerpoint/2010/main" val="32523048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209824" y="1195952"/>
            <a:ext cx="11630485" cy="5112000"/>
          </a:xfrm>
          <a:prstGeom prst="rect">
            <a:avLst/>
          </a:prstGeom>
        </p:spPr>
        <p:txBody>
          <a:bodyPr lIns="97740" tIns="48870" rIns="97740" bIns="48870"/>
          <a:lstStyle>
            <a:lvl1pPr marL="152670" indent="-152670">
              <a:lnSpc>
                <a:spcPct val="114000"/>
              </a:lnSpc>
              <a:spcBef>
                <a:spcPts val="641"/>
              </a:spcBef>
              <a:buFont typeface="Arial" pitchFamily="34" charset="0"/>
              <a:buChar char="•"/>
              <a:defRPr sz="1600">
                <a:solidFill>
                  <a:schemeClr val="bg2"/>
                </a:solidFill>
              </a:defRPr>
            </a:lvl1pPr>
            <a:lvl2pPr>
              <a:lnSpc>
                <a:spcPct val="114000"/>
              </a:lnSpc>
              <a:spcBef>
                <a:spcPts val="641"/>
              </a:spcBef>
              <a:buFont typeface="Arial" pitchFamily="34" charset="0"/>
              <a:buChar char="•"/>
              <a:defRPr sz="1500">
                <a:solidFill>
                  <a:schemeClr val="bg2"/>
                </a:solidFill>
              </a:defRPr>
            </a:lvl2pPr>
            <a:lvl3pPr>
              <a:lnSpc>
                <a:spcPct val="114000"/>
              </a:lnSpc>
              <a:spcBef>
                <a:spcPts val="641"/>
              </a:spcBef>
              <a:buFont typeface="Arial" pitchFamily="34" charset="0"/>
              <a:buChar char="•"/>
              <a:defRPr sz="1400">
                <a:solidFill>
                  <a:schemeClr val="bg2"/>
                </a:solidFill>
              </a:defRPr>
            </a:lvl3pPr>
            <a:lvl4pPr>
              <a:lnSpc>
                <a:spcPct val="114000"/>
              </a:lnSpc>
              <a:spcBef>
                <a:spcPts val="641"/>
              </a:spcBef>
              <a:buFont typeface="Arial" pitchFamily="34" charset="0"/>
              <a:buChar char="•"/>
              <a:defRPr sz="1500">
                <a:solidFill>
                  <a:schemeClr val="bg2"/>
                </a:solidFill>
              </a:defRPr>
            </a:lvl4pPr>
            <a:lvl5pPr>
              <a:lnSpc>
                <a:spcPct val="114000"/>
              </a:lnSpc>
              <a:spcBef>
                <a:spcPts val="641"/>
              </a:spcBef>
              <a:buFont typeface="Arial" pitchFamily="34" charset="0"/>
              <a:buChar char="•"/>
              <a:defRPr>
                <a:solidFill>
                  <a:schemeClr val="bg2"/>
                </a:solidFill>
              </a:defRPr>
            </a:lvl5pPr>
          </a:lstStyle>
          <a:p>
            <a:pPr lvl="0"/>
            <a:r>
              <a:rPr lang="de-DE"/>
              <a:t>Textmasterformat bearbeiten</a:t>
            </a:r>
          </a:p>
          <a:p>
            <a:pPr lvl="1"/>
            <a:r>
              <a:rPr lang="de-DE"/>
              <a:t>Zweite Ebene</a:t>
            </a:r>
          </a:p>
        </p:txBody>
      </p:sp>
      <p:sp>
        <p:nvSpPr>
          <p:cNvPr id="5" name="Rectangle 2"/>
          <p:cNvSpPr>
            <a:spLocks noGrp="1" noChangeArrowheads="1"/>
          </p:cNvSpPr>
          <p:nvPr>
            <p:ph type="title"/>
          </p:nvPr>
        </p:nvSpPr>
        <p:spPr>
          <a:xfrm>
            <a:off x="222699" y="419521"/>
            <a:ext cx="9226612" cy="584727"/>
          </a:xfrm>
          <a:prstGeom prst="rect">
            <a:avLst/>
          </a:prstGeom>
        </p:spPr>
        <p:txBody>
          <a:bodyPr lIns="97740" tIns="48870" rIns="97740" bIns="48870"/>
          <a:lstStyle>
            <a:lvl1pPr marL="0" marR="0" indent="0" algn="l" defTabSz="956729" rtl="0" eaLnBrk="1" fontAlgn="base" latinLnBrk="0" hangingPunct="1">
              <a:lnSpc>
                <a:spcPct val="100000"/>
              </a:lnSpc>
              <a:spcBef>
                <a:spcPct val="0"/>
              </a:spcBef>
              <a:spcAft>
                <a:spcPct val="0"/>
              </a:spcAft>
              <a:buClrTx/>
              <a:buSzTx/>
              <a:buFontTx/>
              <a:buNone/>
              <a:tabLst/>
              <a:defRPr>
                <a:solidFill>
                  <a:schemeClr val="tx1"/>
                </a:solidFill>
              </a:defRPr>
            </a:lvl1pPr>
          </a:lstStyle>
          <a:p>
            <a:pPr eaLnBrk="1" hangingPunct="1"/>
            <a:r>
              <a:rPr lang="de-DE">
                <a:solidFill>
                  <a:srgbClr val="646864"/>
                </a:solidFill>
                <a:latin typeface="Calibri" pitchFamily="34" charset="0"/>
              </a:rPr>
              <a:t>Titelmasterformat durch Klicken bearbeiten</a:t>
            </a:r>
            <a:endParaRPr lang="de-DE" dirty="0">
              <a:solidFill>
                <a:srgbClr val="646864"/>
              </a:solidFill>
              <a:latin typeface="Calibri" pitchFamily="34" charset="0"/>
            </a:endParaRPr>
          </a:p>
        </p:txBody>
      </p:sp>
    </p:spTree>
    <p:extLst>
      <p:ext uri="{BB962C8B-B14F-4D97-AF65-F5344CB8AC3E}">
        <p14:creationId xmlns:p14="http://schemas.microsoft.com/office/powerpoint/2010/main" val="28632825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62"/>
        <p:cNvGrpSpPr/>
        <p:nvPr/>
      </p:nvGrpSpPr>
      <p:grpSpPr>
        <a:xfrm>
          <a:off x="0" y="0"/>
          <a:ext cx="0" cy="0"/>
          <a:chOff x="0" y="0"/>
          <a:chExt cx="0" cy="0"/>
        </a:xfrm>
      </p:grpSpPr>
      <p:grpSp>
        <p:nvGrpSpPr>
          <p:cNvPr id="63" name="Google Shape;63;g91f7f3216c_0_130"/>
          <p:cNvGrpSpPr/>
          <p:nvPr/>
        </p:nvGrpSpPr>
        <p:grpSpPr>
          <a:xfrm>
            <a:off x="0" y="508002"/>
            <a:ext cx="1383800" cy="1355049"/>
            <a:chOff x="0" y="381001"/>
            <a:chExt cx="1037850" cy="1016287"/>
          </a:xfrm>
        </p:grpSpPr>
        <p:sp>
          <p:nvSpPr>
            <p:cNvPr id="64" name="Google Shape;64;g91f7f3216c_0_130"/>
            <p:cNvSpPr/>
            <p:nvPr/>
          </p:nvSpPr>
          <p:spPr>
            <a:xfrm rot="-5400000">
              <a:off x="0" y="381001"/>
              <a:ext cx="808800" cy="808800"/>
            </a:xfrm>
            <a:prstGeom prst="diagStripe">
              <a:avLst>
                <a:gd name="adj" fmla="val 50000"/>
              </a:avLst>
            </a:prstGeom>
            <a:solidFill>
              <a:schemeClr val="accent1"/>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5" name="Google Shape;65;g91f7f3216c_0_130"/>
            <p:cNvSpPr/>
            <p:nvPr/>
          </p:nvSpPr>
          <p:spPr>
            <a:xfrm flipH="1">
              <a:off x="229050" y="588489"/>
              <a:ext cx="808800" cy="808800"/>
            </a:xfrm>
            <a:prstGeom prst="diagStripe">
              <a:avLst>
                <a:gd name="adj" fmla="val 50000"/>
              </a:avLst>
            </a:prstGeom>
            <a:solidFill>
              <a:schemeClr val="lt2"/>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66" name="Google Shape;66;g91f7f3216c_0_130"/>
          <p:cNvSpPr txBox="1">
            <a:spLocks noGrp="1"/>
          </p:cNvSpPr>
          <p:nvPr>
            <p:ph type="title"/>
          </p:nvPr>
        </p:nvSpPr>
        <p:spPr>
          <a:xfrm>
            <a:off x="1730000" y="525000"/>
            <a:ext cx="5065200" cy="1990800"/>
          </a:xfrm>
          <a:prstGeom prst="rect">
            <a:avLst/>
          </a:prstGeom>
        </p:spPr>
        <p:txBody>
          <a:bodyPr spcFirstLastPara="1" wrap="square" lIns="91425" tIns="91425" rIns="91425" bIns="91425" anchor="t" anchorCtr="0">
            <a:no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67" name="Google Shape;67;g91f7f3216c_0_130"/>
          <p:cNvSpPr txBox="1">
            <a:spLocks noGrp="1"/>
          </p:cNvSpPr>
          <p:nvPr>
            <p:ph type="body" idx="1"/>
          </p:nvPr>
        </p:nvSpPr>
        <p:spPr>
          <a:xfrm>
            <a:off x="1730000" y="2630067"/>
            <a:ext cx="5065200" cy="3221200"/>
          </a:xfrm>
          <a:prstGeom prst="rect">
            <a:avLst/>
          </a:prstGeom>
        </p:spPr>
        <p:txBody>
          <a:bodyPr spcFirstLastPara="1" wrap="square" lIns="91425" tIns="91425" rIns="91425" bIns="91425" anchor="t" anchorCtr="0">
            <a:noAutofit/>
          </a:bodyPr>
          <a:lstStyle>
            <a:lvl1pPr marL="609585" lvl="0" indent="-414856">
              <a:spcBef>
                <a:spcPts val="0"/>
              </a:spcBef>
              <a:spcAft>
                <a:spcPts val="0"/>
              </a:spcAft>
              <a:buSzPts val="1300"/>
              <a:buChar char="●"/>
              <a:defRPr/>
            </a:lvl1pPr>
            <a:lvl2pPr marL="1219170" lvl="1" indent="-397923">
              <a:spcBef>
                <a:spcPts val="2133"/>
              </a:spcBef>
              <a:spcAft>
                <a:spcPts val="0"/>
              </a:spcAft>
              <a:buSzPts val="1100"/>
              <a:buChar char="○"/>
              <a:defRPr/>
            </a:lvl2pPr>
            <a:lvl3pPr marL="1828754" lvl="2" indent="-397923">
              <a:spcBef>
                <a:spcPts val="2133"/>
              </a:spcBef>
              <a:spcAft>
                <a:spcPts val="0"/>
              </a:spcAft>
              <a:buSzPts val="1100"/>
              <a:buChar char="■"/>
              <a:defRPr/>
            </a:lvl3pPr>
            <a:lvl4pPr marL="2438339" lvl="3" indent="-397923">
              <a:spcBef>
                <a:spcPts val="2133"/>
              </a:spcBef>
              <a:spcAft>
                <a:spcPts val="0"/>
              </a:spcAft>
              <a:buSzPts val="1100"/>
              <a:buChar char="●"/>
              <a:defRPr/>
            </a:lvl4pPr>
            <a:lvl5pPr marL="3047924" lvl="4" indent="-397923">
              <a:spcBef>
                <a:spcPts val="2133"/>
              </a:spcBef>
              <a:spcAft>
                <a:spcPts val="0"/>
              </a:spcAft>
              <a:buSzPts val="1100"/>
              <a:buChar char="○"/>
              <a:defRPr/>
            </a:lvl5pPr>
            <a:lvl6pPr marL="3657509" lvl="5" indent="-397923">
              <a:spcBef>
                <a:spcPts val="2133"/>
              </a:spcBef>
              <a:spcAft>
                <a:spcPts val="0"/>
              </a:spcAft>
              <a:buSzPts val="1100"/>
              <a:buChar char="■"/>
              <a:defRPr/>
            </a:lvl6pPr>
            <a:lvl7pPr marL="4267093" lvl="6" indent="-397923">
              <a:spcBef>
                <a:spcPts val="2133"/>
              </a:spcBef>
              <a:spcAft>
                <a:spcPts val="0"/>
              </a:spcAft>
              <a:buSzPts val="1100"/>
              <a:buChar char="●"/>
              <a:defRPr/>
            </a:lvl7pPr>
            <a:lvl8pPr marL="4876678" lvl="7" indent="-397923">
              <a:spcBef>
                <a:spcPts val="2133"/>
              </a:spcBef>
              <a:spcAft>
                <a:spcPts val="0"/>
              </a:spcAft>
              <a:buSzPts val="1100"/>
              <a:buChar char="○"/>
              <a:defRPr/>
            </a:lvl8pPr>
            <a:lvl9pPr marL="5486263" lvl="8" indent="-397923">
              <a:spcBef>
                <a:spcPts val="2133"/>
              </a:spcBef>
              <a:spcAft>
                <a:spcPts val="2133"/>
              </a:spcAft>
              <a:buSzPts val="1100"/>
              <a:buChar char="■"/>
              <a:defRPr/>
            </a:lvl9pPr>
          </a:lstStyle>
          <a:p>
            <a:endParaRPr/>
          </a:p>
        </p:txBody>
      </p:sp>
      <p:sp>
        <p:nvSpPr>
          <p:cNvPr id="68" name="Google Shape;68;g91f7f3216c_0_13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defTabSz="1219170">
              <a:buClr>
                <a:srgbClr val="000000"/>
              </a:buClr>
            </a:pPr>
            <a:fld id="{00000000-1234-1234-1234-123412341234}" type="slidenum">
              <a:rPr lang="en-GB" kern="0" smtClean="0">
                <a:solidFill>
                  <a:srgbClr val="FFFFFF"/>
                </a:solidFill>
              </a:rPr>
              <a:pPr defTabSz="1219170">
                <a:buClr>
                  <a:srgbClr val="000000"/>
                </a:buClr>
              </a:pPr>
              <a:t>‹#›</a:t>
            </a:fld>
            <a:endParaRPr lang="en-GB" kern="0">
              <a:solidFill>
                <a:srgbClr val="FFFFFF"/>
              </a:solidFill>
            </a:endParaRPr>
          </a:p>
        </p:txBody>
      </p:sp>
    </p:spTree>
    <p:extLst>
      <p:ext uri="{BB962C8B-B14F-4D97-AF65-F5344CB8AC3E}">
        <p14:creationId xmlns:p14="http://schemas.microsoft.com/office/powerpoint/2010/main" val="3013085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21" y="1592"/>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p:cNvPicPr/>
                      <p:nvPr/>
                    </p:nvPicPr>
                    <p:blipFill>
                      <a:blip r:embed="rId4"/>
                      <a:stretch>
                        <a:fillRect/>
                      </a:stretch>
                    </p:blipFill>
                    <p:spPr>
                      <a:xfrm>
                        <a:off x="2121" y="1592"/>
                        <a:ext cx="2116"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
        <p:nvSpPr>
          <p:cNvPr id="5" name="Slide Number Placeholder 1"/>
          <p:cNvSpPr>
            <a:spLocks noGrp="1"/>
          </p:cNvSpPr>
          <p:nvPr>
            <p:ph type="sldNum" sz="quarter" idx="4"/>
          </p:nvPr>
        </p:nvSpPr>
        <p:spPr>
          <a:xfrm>
            <a:off x="203200" y="6498569"/>
            <a:ext cx="508000" cy="365124"/>
          </a:xfrm>
          <a:prstGeom prst="rect">
            <a:avLst/>
          </a:prstGeom>
        </p:spPr>
        <p:txBody>
          <a:bodyPr vert="horz" lIns="90566" tIns="45271" rIns="90566" bIns="45271" rtlCol="0" anchor="ctr"/>
          <a:lstStyle>
            <a:lvl1pPr algn="r">
              <a:defRPr sz="1200">
                <a:solidFill>
                  <a:schemeClr val="tx1"/>
                </a:solidFill>
              </a:defRPr>
            </a:lvl1pPr>
          </a:lstStyle>
          <a:p>
            <a:pPr defTabSz="905141">
              <a:defRPr/>
            </a:pPr>
            <a:fld id="{7422662C-4EA5-40CB-AF95-82CA1EC35BEA}" type="slidenum">
              <a:rPr lang="en-US" smtClean="0">
                <a:solidFill>
                  <a:srgbClr val="000000"/>
                </a:solidFill>
                <a:latin typeface="Arial"/>
              </a:rPr>
              <a:pPr defTabSz="905141">
                <a:defRPr/>
              </a:pPr>
              <a:t>‹#›</a:t>
            </a:fld>
            <a:endParaRPr lang="en-US" dirty="0">
              <a:solidFill>
                <a:srgbClr val="000000"/>
              </a:solidFill>
              <a:latin typeface="Arial"/>
            </a:endParaRPr>
          </a:p>
        </p:txBody>
      </p:sp>
    </p:spTree>
    <p:extLst>
      <p:ext uri="{BB962C8B-B14F-4D97-AF65-F5344CB8AC3E}">
        <p14:creationId xmlns:p14="http://schemas.microsoft.com/office/powerpoint/2010/main" val="28828831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4_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562711" y="1508400"/>
            <a:ext cx="11068061" cy="4590000"/>
          </a:xfrm>
          <a:prstGeom prst="rect">
            <a:avLst/>
          </a:prstGeom>
        </p:spPr>
        <p:txBody>
          <a:bodyPr lIns="0" tIns="0" rIns="0" bIns="0"/>
          <a:lstStyle>
            <a:lvl1pPr marL="0" indent="-172930">
              <a:buClr>
                <a:schemeClr val="tx2"/>
              </a:buClr>
              <a:buFont typeface="Arial" pitchFamily="34" charset="0"/>
              <a:buChar char="•"/>
              <a:tabLst/>
              <a:defRPr b="0"/>
            </a:lvl1pPr>
            <a:lvl2pPr marL="628256" indent="-228457">
              <a:buFont typeface="Arial" pitchFamily="34" charset="0"/>
              <a:buChar char="–"/>
              <a:defRPr/>
            </a:lvl2pPr>
            <a:lvl3pPr marL="1074068" indent="-228457">
              <a:defRPr/>
            </a:lvl3pPr>
            <a:lvl4pPr marL="1544371" indent="-228457">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131486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9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209824" y="1195952"/>
            <a:ext cx="11630485" cy="5112000"/>
          </a:xfrm>
          <a:prstGeom prst="rect">
            <a:avLst/>
          </a:prstGeom>
        </p:spPr>
        <p:txBody>
          <a:bodyPr lIns="97740" tIns="48870" rIns="97740" bIns="48870"/>
          <a:lstStyle>
            <a:lvl1pPr marL="152623" indent="-152623">
              <a:lnSpc>
                <a:spcPct val="114000"/>
              </a:lnSpc>
              <a:spcBef>
                <a:spcPts val="641"/>
              </a:spcBef>
              <a:buFont typeface="Arial" pitchFamily="34" charset="0"/>
              <a:buChar char="•"/>
              <a:defRPr sz="1600">
                <a:solidFill>
                  <a:schemeClr val="bg2"/>
                </a:solidFill>
              </a:defRPr>
            </a:lvl1pPr>
            <a:lvl2pPr>
              <a:lnSpc>
                <a:spcPct val="114000"/>
              </a:lnSpc>
              <a:spcBef>
                <a:spcPts val="641"/>
              </a:spcBef>
              <a:buFont typeface="Arial" pitchFamily="34" charset="0"/>
              <a:buChar char="•"/>
              <a:defRPr sz="1500">
                <a:solidFill>
                  <a:schemeClr val="bg2"/>
                </a:solidFill>
              </a:defRPr>
            </a:lvl2pPr>
            <a:lvl3pPr>
              <a:lnSpc>
                <a:spcPct val="114000"/>
              </a:lnSpc>
              <a:spcBef>
                <a:spcPts val="641"/>
              </a:spcBef>
              <a:buFont typeface="Arial" pitchFamily="34" charset="0"/>
              <a:buChar char="•"/>
              <a:defRPr sz="1400">
                <a:solidFill>
                  <a:schemeClr val="bg2"/>
                </a:solidFill>
              </a:defRPr>
            </a:lvl3pPr>
            <a:lvl4pPr>
              <a:lnSpc>
                <a:spcPct val="114000"/>
              </a:lnSpc>
              <a:spcBef>
                <a:spcPts val="641"/>
              </a:spcBef>
              <a:buFont typeface="Arial" pitchFamily="34" charset="0"/>
              <a:buChar char="•"/>
              <a:defRPr sz="1500">
                <a:solidFill>
                  <a:schemeClr val="bg2"/>
                </a:solidFill>
              </a:defRPr>
            </a:lvl4pPr>
            <a:lvl5pPr>
              <a:lnSpc>
                <a:spcPct val="114000"/>
              </a:lnSpc>
              <a:spcBef>
                <a:spcPts val="641"/>
              </a:spcBef>
              <a:buFont typeface="Arial" pitchFamily="34" charset="0"/>
              <a:buChar char="•"/>
              <a:defRPr>
                <a:solidFill>
                  <a:schemeClr val="bg2"/>
                </a:solidFill>
              </a:defRPr>
            </a:lvl5pPr>
          </a:lstStyle>
          <a:p>
            <a:pPr lvl="0"/>
            <a:r>
              <a:rPr lang="de-DE"/>
              <a:t>Textmasterformat bearbeiten</a:t>
            </a:r>
          </a:p>
          <a:p>
            <a:pPr lvl="1"/>
            <a:r>
              <a:rPr lang="de-DE"/>
              <a:t>Zweite Ebene</a:t>
            </a:r>
          </a:p>
        </p:txBody>
      </p:sp>
      <p:sp>
        <p:nvSpPr>
          <p:cNvPr id="5" name="Rectangle 2"/>
          <p:cNvSpPr>
            <a:spLocks noGrp="1" noChangeArrowheads="1"/>
          </p:cNvSpPr>
          <p:nvPr>
            <p:ph type="title"/>
          </p:nvPr>
        </p:nvSpPr>
        <p:spPr>
          <a:xfrm>
            <a:off x="222699" y="419522"/>
            <a:ext cx="9226612" cy="584727"/>
          </a:xfrm>
          <a:prstGeom prst="rect">
            <a:avLst/>
          </a:prstGeom>
        </p:spPr>
        <p:txBody>
          <a:bodyPr lIns="97740" tIns="48870" rIns="97740" bIns="48870"/>
          <a:lstStyle>
            <a:lvl1pPr marL="0" marR="0" indent="0" algn="l" defTabSz="956443" rtl="0" eaLnBrk="1" fontAlgn="base" latinLnBrk="0" hangingPunct="1">
              <a:lnSpc>
                <a:spcPct val="100000"/>
              </a:lnSpc>
              <a:spcBef>
                <a:spcPct val="0"/>
              </a:spcBef>
              <a:spcAft>
                <a:spcPct val="0"/>
              </a:spcAft>
              <a:buClrTx/>
              <a:buSzTx/>
              <a:buFontTx/>
              <a:buNone/>
              <a:tabLst/>
              <a:defRPr>
                <a:solidFill>
                  <a:schemeClr val="tx1"/>
                </a:solidFill>
              </a:defRPr>
            </a:lvl1pPr>
          </a:lstStyle>
          <a:p>
            <a:pPr eaLnBrk="1" hangingPunct="1"/>
            <a:r>
              <a:rPr lang="de-DE">
                <a:solidFill>
                  <a:srgbClr val="646864"/>
                </a:solidFill>
                <a:latin typeface="Calibri" pitchFamily="34" charset="0"/>
              </a:rPr>
              <a:t>Titelmasterformat durch Klicken bearbeiten</a:t>
            </a:r>
            <a:endParaRPr lang="de-DE" dirty="0">
              <a:solidFill>
                <a:srgbClr val="646864"/>
              </a:solidFill>
              <a:latin typeface="Calibri" pitchFamily="34" charset="0"/>
            </a:endParaRPr>
          </a:p>
        </p:txBody>
      </p:sp>
    </p:spTree>
    <p:extLst>
      <p:ext uri="{BB962C8B-B14F-4D97-AF65-F5344CB8AC3E}">
        <p14:creationId xmlns:p14="http://schemas.microsoft.com/office/powerpoint/2010/main" val="19902373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4" name="Group 6"/>
          <p:cNvGrpSpPr>
            <a:grpSpLocks/>
          </p:cNvGrpSpPr>
          <p:nvPr userDrawn="1"/>
        </p:nvGrpSpPr>
        <p:grpSpPr bwMode="auto">
          <a:xfrm>
            <a:off x="8113184" y="266701"/>
            <a:ext cx="3818467" cy="791633"/>
            <a:chOff x="2863850" y="3078163"/>
            <a:chExt cx="3413126" cy="708026"/>
          </a:xfrm>
        </p:grpSpPr>
        <p:grpSp>
          <p:nvGrpSpPr>
            <p:cNvPr id="5" name="Group 7"/>
            <p:cNvGrpSpPr>
              <a:grpSpLocks/>
            </p:cNvGrpSpPr>
            <p:nvPr/>
          </p:nvGrpSpPr>
          <p:grpSpPr bwMode="auto">
            <a:xfrm>
              <a:off x="4357688" y="3630613"/>
              <a:ext cx="1919288" cy="155576"/>
              <a:chOff x="4357688" y="3630613"/>
              <a:chExt cx="1919288" cy="155576"/>
            </a:xfrm>
          </p:grpSpPr>
          <p:sp>
            <p:nvSpPr>
              <p:cNvPr id="21" name="Freeform 7"/>
              <p:cNvSpPr>
                <a:spLocks noEditPoints="1"/>
              </p:cNvSpPr>
              <p:nvPr/>
            </p:nvSpPr>
            <p:spPr bwMode="auto">
              <a:xfrm>
                <a:off x="4357688" y="3630613"/>
                <a:ext cx="109538" cy="125413"/>
              </a:xfrm>
              <a:custGeom>
                <a:avLst/>
                <a:gdLst>
                  <a:gd name="T0" fmla="*/ 38100 w 69"/>
                  <a:gd name="T1" fmla="*/ 79375 h 79"/>
                  <a:gd name="T2" fmla="*/ 52388 w 69"/>
                  <a:gd name="T3" fmla="*/ 34925 h 79"/>
                  <a:gd name="T4" fmla="*/ 68263 w 69"/>
                  <a:gd name="T5" fmla="*/ 79375 h 79"/>
                  <a:gd name="T6" fmla="*/ 38100 w 69"/>
                  <a:gd name="T7" fmla="*/ 79375 h 79"/>
                  <a:gd name="T8" fmla="*/ 63500 w 69"/>
                  <a:gd name="T9" fmla="*/ 0 h 79"/>
                  <a:gd name="T10" fmla="*/ 44450 w 69"/>
                  <a:gd name="T11" fmla="*/ 0 h 79"/>
                  <a:gd name="T12" fmla="*/ 0 w 69"/>
                  <a:gd name="T13" fmla="*/ 125413 h 79"/>
                  <a:gd name="T14" fmla="*/ 22225 w 69"/>
                  <a:gd name="T15" fmla="*/ 125413 h 79"/>
                  <a:gd name="T16" fmla="*/ 30163 w 69"/>
                  <a:gd name="T17" fmla="*/ 103188 h 79"/>
                  <a:gd name="T18" fmla="*/ 74613 w 69"/>
                  <a:gd name="T19" fmla="*/ 103188 h 79"/>
                  <a:gd name="T20" fmla="*/ 82550 w 69"/>
                  <a:gd name="T21" fmla="*/ 125413 h 79"/>
                  <a:gd name="T22" fmla="*/ 109538 w 69"/>
                  <a:gd name="T23" fmla="*/ 125413 h 79"/>
                  <a:gd name="T24" fmla="*/ 63500 w 69"/>
                  <a:gd name="T25" fmla="*/ 0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9" h="79">
                    <a:moveTo>
                      <a:pt x="24" y="50"/>
                    </a:moveTo>
                    <a:lnTo>
                      <a:pt x="33" y="22"/>
                    </a:lnTo>
                    <a:lnTo>
                      <a:pt x="43" y="50"/>
                    </a:lnTo>
                    <a:lnTo>
                      <a:pt x="24" y="50"/>
                    </a:lnTo>
                    <a:close/>
                    <a:moveTo>
                      <a:pt x="40" y="0"/>
                    </a:moveTo>
                    <a:lnTo>
                      <a:pt x="28" y="0"/>
                    </a:lnTo>
                    <a:lnTo>
                      <a:pt x="0" y="79"/>
                    </a:lnTo>
                    <a:lnTo>
                      <a:pt x="14" y="79"/>
                    </a:lnTo>
                    <a:lnTo>
                      <a:pt x="19" y="65"/>
                    </a:lnTo>
                    <a:lnTo>
                      <a:pt x="47" y="65"/>
                    </a:lnTo>
                    <a:lnTo>
                      <a:pt x="52" y="79"/>
                    </a:lnTo>
                    <a:lnTo>
                      <a:pt x="69" y="79"/>
                    </a:lnTo>
                    <a:lnTo>
                      <a:pt x="40" y="0"/>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2" name="Freeform 8"/>
              <p:cNvSpPr>
                <a:spLocks noEditPoints="1"/>
              </p:cNvSpPr>
              <p:nvPr/>
            </p:nvSpPr>
            <p:spPr bwMode="auto">
              <a:xfrm>
                <a:off x="4473575" y="3660776"/>
                <a:ext cx="76200" cy="95250"/>
              </a:xfrm>
              <a:custGeom>
                <a:avLst/>
                <a:gdLst>
                  <a:gd name="T0" fmla="*/ 49530 w 20"/>
                  <a:gd name="T1" fmla="*/ 68580 h 25"/>
                  <a:gd name="T2" fmla="*/ 34290 w 20"/>
                  <a:gd name="T3" fmla="*/ 76200 h 25"/>
                  <a:gd name="T4" fmla="*/ 19050 w 20"/>
                  <a:gd name="T5" fmla="*/ 64770 h 25"/>
                  <a:gd name="T6" fmla="*/ 34290 w 20"/>
                  <a:gd name="T7" fmla="*/ 53340 h 25"/>
                  <a:gd name="T8" fmla="*/ 49530 w 20"/>
                  <a:gd name="T9" fmla="*/ 53340 h 25"/>
                  <a:gd name="T10" fmla="*/ 49530 w 20"/>
                  <a:gd name="T11" fmla="*/ 60960 h 25"/>
                  <a:gd name="T12" fmla="*/ 49530 w 20"/>
                  <a:gd name="T13" fmla="*/ 68580 h 25"/>
                  <a:gd name="T14" fmla="*/ 76200 w 20"/>
                  <a:gd name="T15" fmla="*/ 34290 h 25"/>
                  <a:gd name="T16" fmla="*/ 34290 w 20"/>
                  <a:gd name="T17" fmla="*/ 0 h 25"/>
                  <a:gd name="T18" fmla="*/ 15240 w 20"/>
                  <a:gd name="T19" fmla="*/ 3810 h 25"/>
                  <a:gd name="T20" fmla="*/ 3810 w 20"/>
                  <a:gd name="T21" fmla="*/ 15240 h 25"/>
                  <a:gd name="T22" fmla="*/ 15240 w 20"/>
                  <a:gd name="T23" fmla="*/ 26670 h 25"/>
                  <a:gd name="T24" fmla="*/ 34290 w 20"/>
                  <a:gd name="T25" fmla="*/ 19050 h 25"/>
                  <a:gd name="T26" fmla="*/ 49530 w 20"/>
                  <a:gd name="T27" fmla="*/ 34290 h 25"/>
                  <a:gd name="T28" fmla="*/ 49530 w 20"/>
                  <a:gd name="T29" fmla="*/ 38100 h 25"/>
                  <a:gd name="T30" fmla="*/ 30480 w 20"/>
                  <a:gd name="T31" fmla="*/ 38100 h 25"/>
                  <a:gd name="T32" fmla="*/ 7620 w 20"/>
                  <a:gd name="T33" fmla="*/ 45720 h 25"/>
                  <a:gd name="T34" fmla="*/ 0 w 20"/>
                  <a:gd name="T35" fmla="*/ 64770 h 25"/>
                  <a:gd name="T36" fmla="*/ 7620 w 20"/>
                  <a:gd name="T37" fmla="*/ 87630 h 25"/>
                  <a:gd name="T38" fmla="*/ 30480 w 20"/>
                  <a:gd name="T39" fmla="*/ 95250 h 25"/>
                  <a:gd name="T40" fmla="*/ 53340 w 20"/>
                  <a:gd name="T41" fmla="*/ 83820 h 25"/>
                  <a:gd name="T42" fmla="*/ 53340 w 20"/>
                  <a:gd name="T43" fmla="*/ 95250 h 25"/>
                  <a:gd name="T44" fmla="*/ 76200 w 20"/>
                  <a:gd name="T45" fmla="*/ 95250 h 25"/>
                  <a:gd name="T46" fmla="*/ 76200 w 20"/>
                  <a:gd name="T47" fmla="*/ 3429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3" y="18"/>
                    </a:moveTo>
                    <a:cubicBezTo>
                      <a:pt x="12" y="19"/>
                      <a:pt x="11" y="20"/>
                      <a:pt x="9" y="20"/>
                    </a:cubicBezTo>
                    <a:cubicBezTo>
                      <a:pt x="7" y="20"/>
                      <a:pt x="5" y="19"/>
                      <a:pt x="5" y="17"/>
                    </a:cubicBezTo>
                    <a:cubicBezTo>
                      <a:pt x="5" y="15"/>
                      <a:pt x="7" y="14"/>
                      <a:pt x="9" y="14"/>
                    </a:cubicBezTo>
                    <a:cubicBezTo>
                      <a:pt x="13" y="14"/>
                      <a:pt x="13" y="14"/>
                      <a:pt x="13" y="14"/>
                    </a:cubicBezTo>
                    <a:cubicBezTo>
                      <a:pt x="13" y="16"/>
                      <a:pt x="13" y="16"/>
                      <a:pt x="13" y="16"/>
                    </a:cubicBezTo>
                    <a:cubicBezTo>
                      <a:pt x="13" y="17"/>
                      <a:pt x="13" y="18"/>
                      <a:pt x="13" y="18"/>
                    </a:cubicBezTo>
                    <a:moveTo>
                      <a:pt x="20" y="9"/>
                    </a:moveTo>
                    <a:cubicBezTo>
                      <a:pt x="20" y="3"/>
                      <a:pt x="16" y="0"/>
                      <a:pt x="9" y="0"/>
                    </a:cubicBezTo>
                    <a:cubicBezTo>
                      <a:pt x="7" y="0"/>
                      <a:pt x="6" y="0"/>
                      <a:pt x="4" y="1"/>
                    </a:cubicBezTo>
                    <a:cubicBezTo>
                      <a:pt x="3" y="1"/>
                      <a:pt x="2" y="2"/>
                      <a:pt x="1" y="4"/>
                    </a:cubicBezTo>
                    <a:cubicBezTo>
                      <a:pt x="4" y="7"/>
                      <a:pt x="4" y="7"/>
                      <a:pt x="4" y="7"/>
                    </a:cubicBezTo>
                    <a:cubicBezTo>
                      <a:pt x="6" y="6"/>
                      <a:pt x="7" y="5"/>
                      <a:pt x="9" y="5"/>
                    </a:cubicBezTo>
                    <a:cubicBezTo>
                      <a:pt x="12" y="5"/>
                      <a:pt x="13" y="7"/>
                      <a:pt x="13" y="9"/>
                    </a:cubicBezTo>
                    <a:cubicBezTo>
                      <a:pt x="13" y="10"/>
                      <a:pt x="13" y="10"/>
                      <a:pt x="13" y="10"/>
                    </a:cubicBezTo>
                    <a:cubicBezTo>
                      <a:pt x="8" y="10"/>
                      <a:pt x="8" y="10"/>
                      <a:pt x="8" y="10"/>
                    </a:cubicBezTo>
                    <a:cubicBezTo>
                      <a:pt x="5" y="10"/>
                      <a:pt x="3" y="11"/>
                      <a:pt x="2" y="12"/>
                    </a:cubicBezTo>
                    <a:cubicBezTo>
                      <a:pt x="0" y="14"/>
                      <a:pt x="0" y="15"/>
                      <a:pt x="0" y="17"/>
                    </a:cubicBezTo>
                    <a:cubicBezTo>
                      <a:pt x="0" y="19"/>
                      <a:pt x="0" y="21"/>
                      <a:pt x="2" y="23"/>
                    </a:cubicBezTo>
                    <a:cubicBezTo>
                      <a:pt x="3" y="24"/>
                      <a:pt x="5" y="25"/>
                      <a:pt x="8" y="25"/>
                    </a:cubicBezTo>
                    <a:cubicBezTo>
                      <a:pt x="10" y="25"/>
                      <a:pt x="12" y="24"/>
                      <a:pt x="14" y="22"/>
                    </a:cubicBezTo>
                    <a:cubicBezTo>
                      <a:pt x="14" y="25"/>
                      <a:pt x="14" y="25"/>
                      <a:pt x="14"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3" name="Freeform 9"/>
              <p:cNvSpPr>
                <a:spLocks noEditPoints="1"/>
              </p:cNvSpPr>
              <p:nvPr/>
            </p:nvSpPr>
            <p:spPr bwMode="auto">
              <a:xfrm>
                <a:off x="4572000" y="3660776"/>
                <a:ext cx="74613" cy="125413"/>
              </a:xfrm>
              <a:custGeom>
                <a:avLst/>
                <a:gdLst>
                  <a:gd name="T0" fmla="*/ 52229 w 20"/>
                  <a:gd name="T1" fmla="*/ 64607 h 33"/>
                  <a:gd name="T2" fmla="*/ 37307 w 20"/>
                  <a:gd name="T3" fmla="*/ 72207 h 33"/>
                  <a:gd name="T4" fmla="*/ 22384 w 20"/>
                  <a:gd name="T5" fmla="*/ 64607 h 33"/>
                  <a:gd name="T6" fmla="*/ 22384 w 20"/>
                  <a:gd name="T7" fmla="*/ 49405 h 33"/>
                  <a:gd name="T8" fmla="*/ 22384 w 20"/>
                  <a:gd name="T9" fmla="*/ 30403 h 33"/>
                  <a:gd name="T10" fmla="*/ 37307 w 20"/>
                  <a:gd name="T11" fmla="*/ 22802 h 33"/>
                  <a:gd name="T12" fmla="*/ 52229 w 20"/>
                  <a:gd name="T13" fmla="*/ 30403 h 33"/>
                  <a:gd name="T14" fmla="*/ 52229 w 20"/>
                  <a:gd name="T15" fmla="*/ 49405 h 33"/>
                  <a:gd name="T16" fmla="*/ 52229 w 20"/>
                  <a:gd name="T17" fmla="*/ 64607 h 33"/>
                  <a:gd name="T18" fmla="*/ 74613 w 20"/>
                  <a:gd name="T19" fmla="*/ 26603 h 33"/>
                  <a:gd name="T20" fmla="*/ 67152 w 20"/>
                  <a:gd name="T21" fmla="*/ 7601 h 33"/>
                  <a:gd name="T22" fmla="*/ 44768 w 20"/>
                  <a:gd name="T23" fmla="*/ 0 h 33"/>
                  <a:gd name="T24" fmla="*/ 22384 w 20"/>
                  <a:gd name="T25" fmla="*/ 11401 h 33"/>
                  <a:gd name="T26" fmla="*/ 22384 w 20"/>
                  <a:gd name="T27" fmla="*/ 0 h 33"/>
                  <a:gd name="T28" fmla="*/ 0 w 20"/>
                  <a:gd name="T29" fmla="*/ 0 h 33"/>
                  <a:gd name="T30" fmla="*/ 0 w 20"/>
                  <a:gd name="T31" fmla="*/ 125413 h 33"/>
                  <a:gd name="T32" fmla="*/ 22384 w 20"/>
                  <a:gd name="T33" fmla="*/ 125413 h 33"/>
                  <a:gd name="T34" fmla="*/ 22384 w 20"/>
                  <a:gd name="T35" fmla="*/ 83609 h 33"/>
                  <a:gd name="T36" fmla="*/ 44768 w 20"/>
                  <a:gd name="T37" fmla="*/ 95010 h 33"/>
                  <a:gd name="T38" fmla="*/ 67152 w 20"/>
                  <a:gd name="T39" fmla="*/ 87409 h 33"/>
                  <a:gd name="T40" fmla="*/ 74613 w 20"/>
                  <a:gd name="T41" fmla="*/ 68407 h 33"/>
                  <a:gd name="T42" fmla="*/ 74613 w 20"/>
                  <a:gd name="T43" fmla="*/ 49405 h 33"/>
                  <a:gd name="T44" fmla="*/ 74613 w 20"/>
                  <a:gd name="T45" fmla="*/ 26603 h 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33">
                    <a:moveTo>
                      <a:pt x="14" y="17"/>
                    </a:moveTo>
                    <a:cubicBezTo>
                      <a:pt x="13" y="19"/>
                      <a:pt x="12" y="19"/>
                      <a:pt x="10" y="19"/>
                    </a:cubicBezTo>
                    <a:cubicBezTo>
                      <a:pt x="8" y="19"/>
                      <a:pt x="7" y="19"/>
                      <a:pt x="6" y="17"/>
                    </a:cubicBezTo>
                    <a:cubicBezTo>
                      <a:pt x="6" y="16"/>
                      <a:pt x="6" y="15"/>
                      <a:pt x="6" y="13"/>
                    </a:cubicBezTo>
                    <a:cubicBezTo>
                      <a:pt x="6" y="10"/>
                      <a:pt x="6" y="9"/>
                      <a:pt x="6" y="8"/>
                    </a:cubicBezTo>
                    <a:cubicBezTo>
                      <a:pt x="7" y="6"/>
                      <a:pt x="8" y="6"/>
                      <a:pt x="10" y="6"/>
                    </a:cubicBezTo>
                    <a:cubicBezTo>
                      <a:pt x="12" y="6"/>
                      <a:pt x="13" y="6"/>
                      <a:pt x="14" y="8"/>
                    </a:cubicBezTo>
                    <a:cubicBezTo>
                      <a:pt x="14" y="9"/>
                      <a:pt x="14" y="10"/>
                      <a:pt x="14" y="13"/>
                    </a:cubicBezTo>
                    <a:cubicBezTo>
                      <a:pt x="14" y="15"/>
                      <a:pt x="14" y="16"/>
                      <a:pt x="14" y="17"/>
                    </a:cubicBezTo>
                    <a:moveTo>
                      <a:pt x="20" y="7"/>
                    </a:moveTo>
                    <a:cubicBezTo>
                      <a:pt x="19" y="5"/>
                      <a:pt x="19" y="3"/>
                      <a:pt x="18" y="2"/>
                    </a:cubicBezTo>
                    <a:cubicBezTo>
                      <a:pt x="16" y="1"/>
                      <a:pt x="14" y="0"/>
                      <a:pt x="12" y="0"/>
                    </a:cubicBezTo>
                    <a:cubicBezTo>
                      <a:pt x="9" y="0"/>
                      <a:pt x="7" y="1"/>
                      <a:pt x="6" y="3"/>
                    </a:cubicBezTo>
                    <a:cubicBezTo>
                      <a:pt x="6" y="0"/>
                      <a:pt x="6" y="0"/>
                      <a:pt x="6" y="0"/>
                    </a:cubicBezTo>
                    <a:cubicBezTo>
                      <a:pt x="0" y="0"/>
                      <a:pt x="0" y="0"/>
                      <a:pt x="0" y="0"/>
                    </a:cubicBezTo>
                    <a:cubicBezTo>
                      <a:pt x="0" y="33"/>
                      <a:pt x="0" y="33"/>
                      <a:pt x="0" y="33"/>
                    </a:cubicBezTo>
                    <a:cubicBezTo>
                      <a:pt x="6" y="33"/>
                      <a:pt x="6" y="33"/>
                      <a:pt x="6" y="33"/>
                    </a:cubicBezTo>
                    <a:cubicBezTo>
                      <a:pt x="6" y="22"/>
                      <a:pt x="6" y="22"/>
                      <a:pt x="6" y="22"/>
                    </a:cubicBezTo>
                    <a:cubicBezTo>
                      <a:pt x="7" y="24"/>
                      <a:pt x="9" y="25"/>
                      <a:pt x="12" y="25"/>
                    </a:cubicBezTo>
                    <a:cubicBezTo>
                      <a:pt x="14" y="25"/>
                      <a:pt x="16" y="24"/>
                      <a:pt x="18" y="23"/>
                    </a:cubicBezTo>
                    <a:cubicBezTo>
                      <a:pt x="19" y="22"/>
                      <a:pt x="19" y="20"/>
                      <a:pt x="20" y="18"/>
                    </a:cubicBezTo>
                    <a:cubicBezTo>
                      <a:pt x="20" y="17"/>
                      <a:pt x="20" y="15"/>
                      <a:pt x="20" y="13"/>
                    </a:cubicBezTo>
                    <a:cubicBezTo>
                      <a:pt x="20" y="10"/>
                      <a:pt x="20" y="8"/>
                      <a:pt x="20" y="7"/>
                    </a:cubicBezTo>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4" name="Freeform 10"/>
              <p:cNvSpPr>
                <a:spLocks/>
              </p:cNvSpPr>
              <p:nvPr/>
            </p:nvSpPr>
            <p:spPr bwMode="auto">
              <a:xfrm>
                <a:off x="4670425" y="3630613"/>
                <a:ext cx="82550" cy="125413"/>
              </a:xfrm>
              <a:custGeom>
                <a:avLst/>
                <a:gdLst>
                  <a:gd name="T0" fmla="*/ 82550 w 52"/>
                  <a:gd name="T1" fmla="*/ 125413 h 79"/>
                  <a:gd name="T2" fmla="*/ 52388 w 52"/>
                  <a:gd name="T3" fmla="*/ 125413 h 79"/>
                  <a:gd name="T4" fmla="*/ 30163 w 52"/>
                  <a:gd name="T5" fmla="*/ 87313 h 79"/>
                  <a:gd name="T6" fmla="*/ 22225 w 52"/>
                  <a:gd name="T7" fmla="*/ 95250 h 79"/>
                  <a:gd name="T8" fmla="*/ 22225 w 52"/>
                  <a:gd name="T9" fmla="*/ 125413 h 79"/>
                  <a:gd name="T10" fmla="*/ 0 w 52"/>
                  <a:gd name="T11" fmla="*/ 125413 h 79"/>
                  <a:gd name="T12" fmla="*/ 0 w 52"/>
                  <a:gd name="T13" fmla="*/ 0 h 79"/>
                  <a:gd name="T14" fmla="*/ 22225 w 52"/>
                  <a:gd name="T15" fmla="*/ 0 h 79"/>
                  <a:gd name="T16" fmla="*/ 22225 w 52"/>
                  <a:gd name="T17" fmla="*/ 68263 h 79"/>
                  <a:gd name="T18" fmla="*/ 52388 w 52"/>
                  <a:gd name="T19" fmla="*/ 30163 h 79"/>
                  <a:gd name="T20" fmla="*/ 77788 w 52"/>
                  <a:gd name="T21" fmla="*/ 30163 h 79"/>
                  <a:gd name="T22" fmla="*/ 44450 w 52"/>
                  <a:gd name="T23" fmla="*/ 68263 h 79"/>
                  <a:gd name="T24" fmla="*/ 82550 w 52"/>
                  <a:gd name="T25" fmla="*/ 125413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2" h="79">
                    <a:moveTo>
                      <a:pt x="52" y="79"/>
                    </a:moveTo>
                    <a:lnTo>
                      <a:pt x="33" y="79"/>
                    </a:lnTo>
                    <a:lnTo>
                      <a:pt x="19" y="55"/>
                    </a:lnTo>
                    <a:lnTo>
                      <a:pt x="14" y="60"/>
                    </a:lnTo>
                    <a:lnTo>
                      <a:pt x="14" y="79"/>
                    </a:lnTo>
                    <a:lnTo>
                      <a:pt x="0" y="79"/>
                    </a:lnTo>
                    <a:lnTo>
                      <a:pt x="0" y="0"/>
                    </a:lnTo>
                    <a:lnTo>
                      <a:pt x="14" y="0"/>
                    </a:lnTo>
                    <a:lnTo>
                      <a:pt x="14" y="43"/>
                    </a:lnTo>
                    <a:lnTo>
                      <a:pt x="33" y="19"/>
                    </a:lnTo>
                    <a:lnTo>
                      <a:pt x="49" y="19"/>
                    </a:lnTo>
                    <a:lnTo>
                      <a:pt x="28" y="43"/>
                    </a:lnTo>
                    <a:lnTo>
                      <a:pt x="52"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5" name="Freeform 11"/>
              <p:cNvSpPr>
                <a:spLocks noEditPoints="1"/>
              </p:cNvSpPr>
              <p:nvPr/>
            </p:nvSpPr>
            <p:spPr bwMode="auto">
              <a:xfrm>
                <a:off x="4767263" y="3630613"/>
                <a:ext cx="23813" cy="125413"/>
              </a:xfrm>
              <a:custGeom>
                <a:avLst/>
                <a:gdLst>
                  <a:gd name="T0" fmla="*/ 23813 w 15"/>
                  <a:gd name="T1" fmla="*/ 15875 h 79"/>
                  <a:gd name="T2" fmla="*/ 0 w 15"/>
                  <a:gd name="T3" fmla="*/ 15875 h 79"/>
                  <a:gd name="T4" fmla="*/ 0 w 15"/>
                  <a:gd name="T5" fmla="*/ 0 h 79"/>
                  <a:gd name="T6" fmla="*/ 23813 w 15"/>
                  <a:gd name="T7" fmla="*/ 0 h 79"/>
                  <a:gd name="T8" fmla="*/ 23813 w 15"/>
                  <a:gd name="T9" fmla="*/ 15875 h 79"/>
                  <a:gd name="T10" fmla="*/ 23813 w 15"/>
                  <a:gd name="T11" fmla="*/ 125413 h 79"/>
                  <a:gd name="T12" fmla="*/ 0 w 15"/>
                  <a:gd name="T13" fmla="*/ 125413 h 79"/>
                  <a:gd name="T14" fmla="*/ 0 w 15"/>
                  <a:gd name="T15" fmla="*/ 30163 h 79"/>
                  <a:gd name="T16" fmla="*/ 23813 w 15"/>
                  <a:gd name="T17" fmla="*/ 30163 h 79"/>
                  <a:gd name="T18" fmla="*/ 23813 w 15"/>
                  <a:gd name="T19" fmla="*/ 125413 h 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 h="79">
                    <a:moveTo>
                      <a:pt x="15" y="10"/>
                    </a:moveTo>
                    <a:lnTo>
                      <a:pt x="0" y="10"/>
                    </a:lnTo>
                    <a:lnTo>
                      <a:pt x="0" y="0"/>
                    </a:lnTo>
                    <a:lnTo>
                      <a:pt x="15" y="0"/>
                    </a:lnTo>
                    <a:lnTo>
                      <a:pt x="15" y="10"/>
                    </a:lnTo>
                    <a:close/>
                    <a:moveTo>
                      <a:pt x="15" y="79"/>
                    </a:moveTo>
                    <a:lnTo>
                      <a:pt x="0" y="79"/>
                    </a:lnTo>
                    <a:lnTo>
                      <a:pt x="0" y="19"/>
                    </a:lnTo>
                    <a:lnTo>
                      <a:pt x="15" y="19"/>
                    </a:lnTo>
                    <a:lnTo>
                      <a:pt x="15"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6" name="Freeform 12"/>
              <p:cNvSpPr>
                <a:spLocks/>
              </p:cNvSpPr>
              <p:nvPr/>
            </p:nvSpPr>
            <p:spPr bwMode="auto">
              <a:xfrm>
                <a:off x="4843463" y="3630613"/>
                <a:ext cx="74613" cy="125413"/>
              </a:xfrm>
              <a:custGeom>
                <a:avLst/>
                <a:gdLst>
                  <a:gd name="T0" fmla="*/ 74613 w 20"/>
                  <a:gd name="T1" fmla="*/ 83609 h 33"/>
                  <a:gd name="T2" fmla="*/ 63421 w 20"/>
                  <a:gd name="T3" fmla="*/ 114012 h 33"/>
                  <a:gd name="T4" fmla="*/ 29845 w 20"/>
                  <a:gd name="T5" fmla="*/ 125413 h 33"/>
                  <a:gd name="T6" fmla="*/ 0 w 20"/>
                  <a:gd name="T7" fmla="*/ 110211 h 33"/>
                  <a:gd name="T8" fmla="*/ 14923 w 20"/>
                  <a:gd name="T9" fmla="*/ 95010 h 33"/>
                  <a:gd name="T10" fmla="*/ 29845 w 20"/>
                  <a:gd name="T11" fmla="*/ 102611 h 33"/>
                  <a:gd name="T12" fmla="*/ 52229 w 20"/>
                  <a:gd name="T13" fmla="*/ 83609 h 33"/>
                  <a:gd name="T14" fmla="*/ 52229 w 20"/>
                  <a:gd name="T15" fmla="*/ 0 h 33"/>
                  <a:gd name="T16" fmla="*/ 74613 w 20"/>
                  <a:gd name="T17" fmla="*/ 0 h 33"/>
                  <a:gd name="T18" fmla="*/ 74613 w 20"/>
                  <a:gd name="T19" fmla="*/ 83609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33">
                    <a:moveTo>
                      <a:pt x="20" y="22"/>
                    </a:moveTo>
                    <a:cubicBezTo>
                      <a:pt x="20" y="25"/>
                      <a:pt x="19" y="28"/>
                      <a:pt x="17" y="30"/>
                    </a:cubicBezTo>
                    <a:cubicBezTo>
                      <a:pt x="14" y="32"/>
                      <a:pt x="12" y="33"/>
                      <a:pt x="8" y="33"/>
                    </a:cubicBezTo>
                    <a:cubicBezTo>
                      <a:pt x="5" y="33"/>
                      <a:pt x="2" y="32"/>
                      <a:pt x="0" y="29"/>
                    </a:cubicBezTo>
                    <a:cubicBezTo>
                      <a:pt x="4" y="25"/>
                      <a:pt x="4" y="25"/>
                      <a:pt x="4" y="25"/>
                    </a:cubicBezTo>
                    <a:cubicBezTo>
                      <a:pt x="5" y="27"/>
                      <a:pt x="7" y="27"/>
                      <a:pt x="8" y="27"/>
                    </a:cubicBezTo>
                    <a:cubicBezTo>
                      <a:pt x="12" y="27"/>
                      <a:pt x="14" y="25"/>
                      <a:pt x="14" y="22"/>
                    </a:cubicBezTo>
                    <a:cubicBezTo>
                      <a:pt x="14" y="0"/>
                      <a:pt x="14" y="0"/>
                      <a:pt x="14" y="0"/>
                    </a:cubicBezTo>
                    <a:cubicBezTo>
                      <a:pt x="20" y="0"/>
                      <a:pt x="20" y="0"/>
                      <a:pt x="20" y="0"/>
                    </a:cubicBezTo>
                    <a:lnTo>
                      <a:pt x="20" y="2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7" name="Freeform 13"/>
              <p:cNvSpPr>
                <a:spLocks noEditPoints="1"/>
              </p:cNvSpPr>
              <p:nvPr/>
            </p:nvSpPr>
            <p:spPr bwMode="auto">
              <a:xfrm>
                <a:off x="4940300" y="3660776"/>
                <a:ext cx="79375" cy="95250"/>
              </a:xfrm>
              <a:custGeom>
                <a:avLst/>
                <a:gdLst>
                  <a:gd name="T0" fmla="*/ 18899 w 21"/>
                  <a:gd name="T1" fmla="*/ 38100 h 25"/>
                  <a:gd name="T2" fmla="*/ 22679 w 21"/>
                  <a:gd name="T3" fmla="*/ 30480 h 25"/>
                  <a:gd name="T4" fmla="*/ 37798 w 21"/>
                  <a:gd name="T5" fmla="*/ 19050 h 25"/>
                  <a:gd name="T6" fmla="*/ 52917 w 21"/>
                  <a:gd name="T7" fmla="*/ 30480 h 25"/>
                  <a:gd name="T8" fmla="*/ 56696 w 21"/>
                  <a:gd name="T9" fmla="*/ 38100 h 25"/>
                  <a:gd name="T10" fmla="*/ 18899 w 21"/>
                  <a:gd name="T11" fmla="*/ 38100 h 25"/>
                  <a:gd name="T12" fmla="*/ 79375 w 21"/>
                  <a:gd name="T13" fmla="*/ 45720 h 25"/>
                  <a:gd name="T14" fmla="*/ 68036 w 21"/>
                  <a:gd name="T15" fmla="*/ 15240 h 25"/>
                  <a:gd name="T16" fmla="*/ 37798 w 21"/>
                  <a:gd name="T17" fmla="*/ 0 h 25"/>
                  <a:gd name="T18" fmla="*/ 7560 w 21"/>
                  <a:gd name="T19" fmla="*/ 11430 h 25"/>
                  <a:gd name="T20" fmla="*/ 0 w 21"/>
                  <a:gd name="T21" fmla="*/ 49530 h 25"/>
                  <a:gd name="T22" fmla="*/ 41577 w 21"/>
                  <a:gd name="T23" fmla="*/ 95250 h 25"/>
                  <a:gd name="T24" fmla="*/ 60476 w 21"/>
                  <a:gd name="T25" fmla="*/ 91440 h 25"/>
                  <a:gd name="T26" fmla="*/ 75595 w 21"/>
                  <a:gd name="T27" fmla="*/ 80010 h 25"/>
                  <a:gd name="T28" fmla="*/ 60476 w 21"/>
                  <a:gd name="T29" fmla="*/ 68580 h 25"/>
                  <a:gd name="T30" fmla="*/ 41577 w 21"/>
                  <a:gd name="T31" fmla="*/ 76200 h 25"/>
                  <a:gd name="T32" fmla="*/ 26458 w 21"/>
                  <a:gd name="T33" fmla="*/ 68580 h 25"/>
                  <a:gd name="T34" fmla="*/ 18899 w 21"/>
                  <a:gd name="T35" fmla="*/ 53340 h 25"/>
                  <a:gd name="T36" fmla="*/ 79375 w 21"/>
                  <a:gd name="T37" fmla="*/ 53340 h 25"/>
                  <a:gd name="T38" fmla="*/ 79375 w 21"/>
                  <a:gd name="T39" fmla="*/ 4572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5" y="10"/>
                    </a:moveTo>
                    <a:cubicBezTo>
                      <a:pt x="5" y="9"/>
                      <a:pt x="6" y="8"/>
                      <a:pt x="6" y="8"/>
                    </a:cubicBezTo>
                    <a:cubicBezTo>
                      <a:pt x="7" y="6"/>
                      <a:pt x="8" y="5"/>
                      <a:pt x="10" y="5"/>
                    </a:cubicBezTo>
                    <a:cubicBezTo>
                      <a:pt x="12" y="5"/>
                      <a:pt x="13" y="6"/>
                      <a:pt x="14" y="8"/>
                    </a:cubicBezTo>
                    <a:cubicBezTo>
                      <a:pt x="14" y="8"/>
                      <a:pt x="15" y="9"/>
                      <a:pt x="15" y="10"/>
                    </a:cubicBezTo>
                    <a:lnTo>
                      <a:pt x="5" y="10"/>
                    </a:lnTo>
                    <a:close/>
                    <a:moveTo>
                      <a:pt x="21" y="12"/>
                    </a:moveTo>
                    <a:cubicBezTo>
                      <a:pt x="21" y="8"/>
                      <a:pt x="20" y="6"/>
                      <a:pt x="18" y="4"/>
                    </a:cubicBezTo>
                    <a:cubicBezTo>
                      <a:pt x="16" y="1"/>
                      <a:pt x="13" y="0"/>
                      <a:pt x="10" y="0"/>
                    </a:cubicBezTo>
                    <a:cubicBezTo>
                      <a:pt x="7" y="0"/>
                      <a:pt x="4" y="1"/>
                      <a:pt x="2" y="3"/>
                    </a:cubicBezTo>
                    <a:cubicBezTo>
                      <a:pt x="0" y="6"/>
                      <a:pt x="0" y="9"/>
                      <a:pt x="0" y="13"/>
                    </a:cubicBezTo>
                    <a:cubicBezTo>
                      <a:pt x="0" y="21"/>
                      <a:pt x="3" y="25"/>
                      <a:pt x="11" y="25"/>
                    </a:cubicBezTo>
                    <a:cubicBezTo>
                      <a:pt x="13" y="25"/>
                      <a:pt x="14" y="25"/>
                      <a:pt x="16" y="24"/>
                    </a:cubicBezTo>
                    <a:cubicBezTo>
                      <a:pt x="17" y="23"/>
                      <a:pt x="18" y="22"/>
                      <a:pt x="20" y="21"/>
                    </a:cubicBezTo>
                    <a:cubicBezTo>
                      <a:pt x="16" y="18"/>
                      <a:pt x="16" y="18"/>
                      <a:pt x="16" y="18"/>
                    </a:cubicBezTo>
                    <a:cubicBezTo>
                      <a:pt x="15" y="19"/>
                      <a:pt x="13" y="20"/>
                      <a:pt x="11" y="20"/>
                    </a:cubicBezTo>
                    <a:cubicBezTo>
                      <a:pt x="9" y="20"/>
                      <a:pt x="8" y="19"/>
                      <a:pt x="7" y="18"/>
                    </a:cubicBezTo>
                    <a:cubicBezTo>
                      <a:pt x="6" y="17"/>
                      <a:pt x="5" y="16"/>
                      <a:pt x="5"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8" name="Freeform 14"/>
              <p:cNvSpPr>
                <a:spLocks noEditPoints="1"/>
              </p:cNvSpPr>
              <p:nvPr/>
            </p:nvSpPr>
            <p:spPr bwMode="auto">
              <a:xfrm>
                <a:off x="5035550" y="3660776"/>
                <a:ext cx="77788" cy="95250"/>
              </a:xfrm>
              <a:custGeom>
                <a:avLst/>
                <a:gdLst>
                  <a:gd name="T0" fmla="*/ 22225 w 21"/>
                  <a:gd name="T1" fmla="*/ 38100 h 25"/>
                  <a:gd name="T2" fmla="*/ 22225 w 21"/>
                  <a:gd name="T3" fmla="*/ 30480 h 25"/>
                  <a:gd name="T4" fmla="*/ 37042 w 21"/>
                  <a:gd name="T5" fmla="*/ 19050 h 25"/>
                  <a:gd name="T6" fmla="*/ 51859 w 21"/>
                  <a:gd name="T7" fmla="*/ 30480 h 25"/>
                  <a:gd name="T8" fmla="*/ 55563 w 21"/>
                  <a:gd name="T9" fmla="*/ 38100 h 25"/>
                  <a:gd name="T10" fmla="*/ 22225 w 21"/>
                  <a:gd name="T11" fmla="*/ 38100 h 25"/>
                  <a:gd name="T12" fmla="*/ 77788 w 21"/>
                  <a:gd name="T13" fmla="*/ 45720 h 25"/>
                  <a:gd name="T14" fmla="*/ 66675 w 21"/>
                  <a:gd name="T15" fmla="*/ 15240 h 25"/>
                  <a:gd name="T16" fmla="*/ 37042 w 21"/>
                  <a:gd name="T17" fmla="*/ 0 h 25"/>
                  <a:gd name="T18" fmla="*/ 11113 w 21"/>
                  <a:gd name="T19" fmla="*/ 11430 h 25"/>
                  <a:gd name="T20" fmla="*/ 0 w 21"/>
                  <a:gd name="T21" fmla="*/ 49530 h 25"/>
                  <a:gd name="T22" fmla="*/ 40746 w 21"/>
                  <a:gd name="T23" fmla="*/ 95250 h 25"/>
                  <a:gd name="T24" fmla="*/ 59267 w 21"/>
                  <a:gd name="T25" fmla="*/ 91440 h 25"/>
                  <a:gd name="T26" fmla="*/ 74084 w 21"/>
                  <a:gd name="T27" fmla="*/ 80010 h 25"/>
                  <a:gd name="T28" fmla="*/ 59267 w 21"/>
                  <a:gd name="T29" fmla="*/ 68580 h 25"/>
                  <a:gd name="T30" fmla="*/ 40746 w 21"/>
                  <a:gd name="T31" fmla="*/ 76200 h 25"/>
                  <a:gd name="T32" fmla="*/ 25929 w 21"/>
                  <a:gd name="T33" fmla="*/ 68580 h 25"/>
                  <a:gd name="T34" fmla="*/ 22225 w 21"/>
                  <a:gd name="T35" fmla="*/ 53340 h 25"/>
                  <a:gd name="T36" fmla="*/ 77788 w 21"/>
                  <a:gd name="T37" fmla="*/ 53340 h 25"/>
                  <a:gd name="T38" fmla="*/ 77788 w 21"/>
                  <a:gd name="T39" fmla="*/ 4572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6" y="8"/>
                    </a:cubicBezTo>
                    <a:cubicBezTo>
                      <a:pt x="7" y="6"/>
                      <a:pt x="8" y="5"/>
                      <a:pt x="10" y="5"/>
                    </a:cubicBezTo>
                    <a:cubicBezTo>
                      <a:pt x="12" y="5"/>
                      <a:pt x="14" y="6"/>
                      <a:pt x="14" y="8"/>
                    </a:cubicBezTo>
                    <a:cubicBezTo>
                      <a:pt x="15" y="8"/>
                      <a:pt x="15" y="9"/>
                      <a:pt x="15" y="10"/>
                    </a:cubicBezTo>
                    <a:lnTo>
                      <a:pt x="6" y="10"/>
                    </a:lnTo>
                    <a:close/>
                    <a:moveTo>
                      <a:pt x="21" y="12"/>
                    </a:moveTo>
                    <a:cubicBezTo>
                      <a:pt x="21" y="8"/>
                      <a:pt x="20" y="6"/>
                      <a:pt x="18" y="4"/>
                    </a:cubicBezTo>
                    <a:cubicBezTo>
                      <a:pt x="16" y="1"/>
                      <a:pt x="14" y="0"/>
                      <a:pt x="10" y="0"/>
                    </a:cubicBezTo>
                    <a:cubicBezTo>
                      <a:pt x="7" y="0"/>
                      <a:pt x="5" y="1"/>
                      <a:pt x="3" y="3"/>
                    </a:cubicBezTo>
                    <a:cubicBezTo>
                      <a:pt x="1" y="6"/>
                      <a:pt x="0" y="9"/>
                      <a:pt x="0" y="13"/>
                    </a:cubicBezTo>
                    <a:cubicBezTo>
                      <a:pt x="0" y="21"/>
                      <a:pt x="4" y="25"/>
                      <a:pt x="11" y="25"/>
                    </a:cubicBezTo>
                    <a:cubicBezTo>
                      <a:pt x="13" y="25"/>
                      <a:pt x="15" y="25"/>
                      <a:pt x="16" y="24"/>
                    </a:cubicBezTo>
                    <a:cubicBezTo>
                      <a:pt x="17" y="23"/>
                      <a:pt x="19" y="22"/>
                      <a:pt x="20" y="21"/>
                    </a:cubicBezTo>
                    <a:cubicBezTo>
                      <a:pt x="16" y="18"/>
                      <a:pt x="16" y="18"/>
                      <a:pt x="16" y="18"/>
                    </a:cubicBezTo>
                    <a:cubicBezTo>
                      <a:pt x="15" y="19"/>
                      <a:pt x="13" y="20"/>
                      <a:pt x="11" y="20"/>
                    </a:cubicBezTo>
                    <a:cubicBezTo>
                      <a:pt x="9" y="20"/>
                      <a:pt x="8" y="19"/>
                      <a:pt x="7" y="18"/>
                    </a:cubicBezTo>
                    <a:cubicBezTo>
                      <a:pt x="6"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 name="Freeform 15"/>
              <p:cNvSpPr>
                <a:spLocks/>
              </p:cNvSpPr>
              <p:nvPr/>
            </p:nvSpPr>
            <p:spPr bwMode="auto">
              <a:xfrm>
                <a:off x="5126038" y="3638551"/>
                <a:ext cx="47625" cy="117475"/>
              </a:xfrm>
              <a:custGeom>
                <a:avLst/>
                <a:gdLst>
                  <a:gd name="T0" fmla="*/ 47625 w 13"/>
                  <a:gd name="T1" fmla="*/ 117475 h 31"/>
                  <a:gd name="T2" fmla="*/ 36635 w 13"/>
                  <a:gd name="T3" fmla="*/ 117475 h 31"/>
                  <a:gd name="T4" fmla="*/ 18317 w 13"/>
                  <a:gd name="T5" fmla="*/ 106106 h 31"/>
                  <a:gd name="T6" fmla="*/ 10990 w 13"/>
                  <a:gd name="T7" fmla="*/ 90948 h 31"/>
                  <a:gd name="T8" fmla="*/ 10990 w 13"/>
                  <a:gd name="T9" fmla="*/ 45474 h 31"/>
                  <a:gd name="T10" fmla="*/ 0 w 13"/>
                  <a:gd name="T11" fmla="*/ 45474 h 31"/>
                  <a:gd name="T12" fmla="*/ 0 w 13"/>
                  <a:gd name="T13" fmla="*/ 26527 h 31"/>
                  <a:gd name="T14" fmla="*/ 10990 w 13"/>
                  <a:gd name="T15" fmla="*/ 26527 h 31"/>
                  <a:gd name="T16" fmla="*/ 10990 w 13"/>
                  <a:gd name="T17" fmla="*/ 0 h 31"/>
                  <a:gd name="T18" fmla="*/ 32971 w 13"/>
                  <a:gd name="T19" fmla="*/ 0 h 31"/>
                  <a:gd name="T20" fmla="*/ 32971 w 13"/>
                  <a:gd name="T21" fmla="*/ 26527 h 31"/>
                  <a:gd name="T22" fmla="*/ 47625 w 13"/>
                  <a:gd name="T23" fmla="*/ 26527 h 31"/>
                  <a:gd name="T24" fmla="*/ 47625 w 13"/>
                  <a:gd name="T25" fmla="*/ 45474 h 31"/>
                  <a:gd name="T26" fmla="*/ 32971 w 13"/>
                  <a:gd name="T27" fmla="*/ 45474 h 31"/>
                  <a:gd name="T28" fmla="*/ 32971 w 13"/>
                  <a:gd name="T29" fmla="*/ 87159 h 31"/>
                  <a:gd name="T30" fmla="*/ 40298 w 13"/>
                  <a:gd name="T31" fmla="*/ 94738 h 31"/>
                  <a:gd name="T32" fmla="*/ 47625 w 13"/>
                  <a:gd name="T33" fmla="*/ 94738 h 31"/>
                  <a:gd name="T34" fmla="*/ 47625 w 13"/>
                  <a:gd name="T35" fmla="*/ 117475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31">
                    <a:moveTo>
                      <a:pt x="13" y="31"/>
                    </a:moveTo>
                    <a:cubicBezTo>
                      <a:pt x="10" y="31"/>
                      <a:pt x="10" y="31"/>
                      <a:pt x="10" y="31"/>
                    </a:cubicBezTo>
                    <a:cubicBezTo>
                      <a:pt x="8" y="31"/>
                      <a:pt x="6" y="30"/>
                      <a:pt x="5" y="28"/>
                    </a:cubicBezTo>
                    <a:cubicBezTo>
                      <a:pt x="3" y="27"/>
                      <a:pt x="3" y="26"/>
                      <a:pt x="3" y="24"/>
                    </a:cubicBezTo>
                    <a:cubicBezTo>
                      <a:pt x="3" y="12"/>
                      <a:pt x="3" y="12"/>
                      <a:pt x="3" y="12"/>
                    </a:cubicBezTo>
                    <a:cubicBezTo>
                      <a:pt x="0" y="12"/>
                      <a:pt x="0" y="12"/>
                      <a:pt x="0" y="12"/>
                    </a:cubicBezTo>
                    <a:cubicBezTo>
                      <a:pt x="0" y="7"/>
                      <a:pt x="0" y="7"/>
                      <a:pt x="0" y="7"/>
                    </a:cubicBezTo>
                    <a:cubicBezTo>
                      <a:pt x="3" y="7"/>
                      <a:pt x="3" y="7"/>
                      <a:pt x="3" y="7"/>
                    </a:cubicBezTo>
                    <a:cubicBezTo>
                      <a:pt x="3" y="0"/>
                      <a:pt x="3" y="0"/>
                      <a:pt x="3" y="0"/>
                    </a:cubicBezTo>
                    <a:cubicBezTo>
                      <a:pt x="9" y="0"/>
                      <a:pt x="9" y="0"/>
                      <a:pt x="9" y="0"/>
                    </a:cubicBezTo>
                    <a:cubicBezTo>
                      <a:pt x="9" y="7"/>
                      <a:pt x="9" y="7"/>
                      <a:pt x="9" y="7"/>
                    </a:cubicBezTo>
                    <a:cubicBezTo>
                      <a:pt x="13" y="7"/>
                      <a:pt x="13" y="7"/>
                      <a:pt x="13" y="7"/>
                    </a:cubicBezTo>
                    <a:cubicBezTo>
                      <a:pt x="13" y="12"/>
                      <a:pt x="13" y="12"/>
                      <a:pt x="13" y="12"/>
                    </a:cubicBezTo>
                    <a:cubicBezTo>
                      <a:pt x="9" y="12"/>
                      <a:pt x="9" y="12"/>
                      <a:pt x="9" y="12"/>
                    </a:cubicBezTo>
                    <a:cubicBezTo>
                      <a:pt x="9" y="23"/>
                      <a:pt x="9" y="23"/>
                      <a:pt x="9" y="23"/>
                    </a:cubicBezTo>
                    <a:cubicBezTo>
                      <a:pt x="9" y="25"/>
                      <a:pt x="10" y="25"/>
                      <a:pt x="11" y="25"/>
                    </a:cubicBezTo>
                    <a:cubicBezTo>
                      <a:pt x="13" y="25"/>
                      <a:pt x="13" y="25"/>
                      <a:pt x="13" y="25"/>
                    </a:cubicBezTo>
                    <a:lnTo>
                      <a:pt x="13" y="31"/>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 name="Rectangle 16"/>
              <p:cNvSpPr>
                <a:spLocks noChangeArrowheads="1"/>
              </p:cNvSpPr>
              <p:nvPr/>
            </p:nvSpPr>
            <p:spPr bwMode="auto">
              <a:xfrm>
                <a:off x="5192713" y="3729038"/>
                <a:ext cx="26988" cy="26988"/>
              </a:xfrm>
              <a:prstGeom prst="rect">
                <a:avLst/>
              </a:prstGeom>
              <a:solidFill>
                <a:srgbClr val="2B252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 name="Freeform 17"/>
              <p:cNvSpPr>
                <a:spLocks/>
              </p:cNvSpPr>
              <p:nvPr/>
            </p:nvSpPr>
            <p:spPr bwMode="auto">
              <a:xfrm>
                <a:off x="5287963" y="3630613"/>
                <a:ext cx="88900" cy="125413"/>
              </a:xfrm>
              <a:custGeom>
                <a:avLst/>
                <a:gdLst>
                  <a:gd name="T0" fmla="*/ 88900 w 56"/>
                  <a:gd name="T1" fmla="*/ 125413 h 79"/>
                  <a:gd name="T2" fmla="*/ 66675 w 56"/>
                  <a:gd name="T3" fmla="*/ 125413 h 79"/>
                  <a:gd name="T4" fmla="*/ 66675 w 56"/>
                  <a:gd name="T5" fmla="*/ 73025 h 79"/>
                  <a:gd name="T6" fmla="*/ 22225 w 56"/>
                  <a:gd name="T7" fmla="*/ 73025 h 79"/>
                  <a:gd name="T8" fmla="*/ 22225 w 56"/>
                  <a:gd name="T9" fmla="*/ 125413 h 79"/>
                  <a:gd name="T10" fmla="*/ 0 w 56"/>
                  <a:gd name="T11" fmla="*/ 125413 h 79"/>
                  <a:gd name="T12" fmla="*/ 0 w 56"/>
                  <a:gd name="T13" fmla="*/ 0 h 79"/>
                  <a:gd name="T14" fmla="*/ 22225 w 56"/>
                  <a:gd name="T15" fmla="*/ 0 h 79"/>
                  <a:gd name="T16" fmla="*/ 22225 w 56"/>
                  <a:gd name="T17" fmla="*/ 49213 h 79"/>
                  <a:gd name="T18" fmla="*/ 66675 w 56"/>
                  <a:gd name="T19" fmla="*/ 49213 h 79"/>
                  <a:gd name="T20" fmla="*/ 66675 w 56"/>
                  <a:gd name="T21" fmla="*/ 0 h 79"/>
                  <a:gd name="T22" fmla="*/ 88900 w 56"/>
                  <a:gd name="T23" fmla="*/ 0 h 79"/>
                  <a:gd name="T24" fmla="*/ 88900 w 56"/>
                  <a:gd name="T25" fmla="*/ 125413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6" h="79">
                    <a:moveTo>
                      <a:pt x="56" y="79"/>
                    </a:moveTo>
                    <a:lnTo>
                      <a:pt x="42" y="79"/>
                    </a:lnTo>
                    <a:lnTo>
                      <a:pt x="42" y="46"/>
                    </a:lnTo>
                    <a:lnTo>
                      <a:pt x="14" y="46"/>
                    </a:lnTo>
                    <a:lnTo>
                      <a:pt x="14" y="79"/>
                    </a:lnTo>
                    <a:lnTo>
                      <a:pt x="0" y="79"/>
                    </a:lnTo>
                    <a:lnTo>
                      <a:pt x="0" y="0"/>
                    </a:lnTo>
                    <a:lnTo>
                      <a:pt x="14" y="0"/>
                    </a:lnTo>
                    <a:lnTo>
                      <a:pt x="14" y="31"/>
                    </a:lnTo>
                    <a:lnTo>
                      <a:pt x="42" y="31"/>
                    </a:lnTo>
                    <a:lnTo>
                      <a:pt x="42" y="0"/>
                    </a:lnTo>
                    <a:lnTo>
                      <a:pt x="56" y="0"/>
                    </a:lnTo>
                    <a:lnTo>
                      <a:pt x="56"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 name="Freeform 18"/>
              <p:cNvSpPr>
                <a:spLocks noEditPoints="1"/>
              </p:cNvSpPr>
              <p:nvPr/>
            </p:nvSpPr>
            <p:spPr bwMode="auto">
              <a:xfrm>
                <a:off x="5395913" y="3660776"/>
                <a:ext cx="76200" cy="95250"/>
              </a:xfrm>
              <a:custGeom>
                <a:avLst/>
                <a:gdLst>
                  <a:gd name="T0" fmla="*/ 53340 w 20"/>
                  <a:gd name="T1" fmla="*/ 68580 h 25"/>
                  <a:gd name="T2" fmla="*/ 38100 w 20"/>
                  <a:gd name="T3" fmla="*/ 76200 h 25"/>
                  <a:gd name="T4" fmla="*/ 22860 w 20"/>
                  <a:gd name="T5" fmla="*/ 64770 h 25"/>
                  <a:gd name="T6" fmla="*/ 38100 w 20"/>
                  <a:gd name="T7" fmla="*/ 53340 h 25"/>
                  <a:gd name="T8" fmla="*/ 53340 w 20"/>
                  <a:gd name="T9" fmla="*/ 53340 h 25"/>
                  <a:gd name="T10" fmla="*/ 53340 w 20"/>
                  <a:gd name="T11" fmla="*/ 60960 h 25"/>
                  <a:gd name="T12" fmla="*/ 53340 w 20"/>
                  <a:gd name="T13" fmla="*/ 68580 h 25"/>
                  <a:gd name="T14" fmla="*/ 76200 w 20"/>
                  <a:gd name="T15" fmla="*/ 34290 h 25"/>
                  <a:gd name="T16" fmla="*/ 38100 w 20"/>
                  <a:gd name="T17" fmla="*/ 0 h 25"/>
                  <a:gd name="T18" fmla="*/ 19050 w 20"/>
                  <a:gd name="T19" fmla="*/ 3810 h 25"/>
                  <a:gd name="T20" fmla="*/ 3810 w 20"/>
                  <a:gd name="T21" fmla="*/ 15240 h 25"/>
                  <a:gd name="T22" fmla="*/ 19050 w 20"/>
                  <a:gd name="T23" fmla="*/ 26670 h 25"/>
                  <a:gd name="T24" fmla="*/ 38100 w 20"/>
                  <a:gd name="T25" fmla="*/ 19050 h 25"/>
                  <a:gd name="T26" fmla="*/ 53340 w 20"/>
                  <a:gd name="T27" fmla="*/ 34290 h 25"/>
                  <a:gd name="T28" fmla="*/ 53340 w 20"/>
                  <a:gd name="T29" fmla="*/ 38100 h 25"/>
                  <a:gd name="T30" fmla="*/ 34290 w 20"/>
                  <a:gd name="T31" fmla="*/ 38100 h 25"/>
                  <a:gd name="T32" fmla="*/ 11430 w 20"/>
                  <a:gd name="T33" fmla="*/ 45720 h 25"/>
                  <a:gd name="T34" fmla="*/ 0 w 20"/>
                  <a:gd name="T35" fmla="*/ 64770 h 25"/>
                  <a:gd name="T36" fmla="*/ 11430 w 20"/>
                  <a:gd name="T37" fmla="*/ 87630 h 25"/>
                  <a:gd name="T38" fmla="*/ 34290 w 20"/>
                  <a:gd name="T39" fmla="*/ 95250 h 25"/>
                  <a:gd name="T40" fmla="*/ 57150 w 20"/>
                  <a:gd name="T41" fmla="*/ 83820 h 25"/>
                  <a:gd name="T42" fmla="*/ 57150 w 20"/>
                  <a:gd name="T43" fmla="*/ 95250 h 25"/>
                  <a:gd name="T44" fmla="*/ 76200 w 20"/>
                  <a:gd name="T45" fmla="*/ 95250 h 25"/>
                  <a:gd name="T46" fmla="*/ 76200 w 20"/>
                  <a:gd name="T47" fmla="*/ 3429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4" y="18"/>
                    </a:moveTo>
                    <a:cubicBezTo>
                      <a:pt x="13" y="19"/>
                      <a:pt x="12" y="20"/>
                      <a:pt x="10" y="20"/>
                    </a:cubicBezTo>
                    <a:cubicBezTo>
                      <a:pt x="7" y="20"/>
                      <a:pt x="6" y="19"/>
                      <a:pt x="6" y="17"/>
                    </a:cubicBezTo>
                    <a:cubicBezTo>
                      <a:pt x="6" y="15"/>
                      <a:pt x="7" y="14"/>
                      <a:pt x="10" y="14"/>
                    </a:cubicBezTo>
                    <a:cubicBezTo>
                      <a:pt x="14" y="14"/>
                      <a:pt x="14" y="14"/>
                      <a:pt x="14" y="14"/>
                    </a:cubicBezTo>
                    <a:cubicBezTo>
                      <a:pt x="14" y="16"/>
                      <a:pt x="14" y="16"/>
                      <a:pt x="14" y="16"/>
                    </a:cubicBezTo>
                    <a:cubicBezTo>
                      <a:pt x="14" y="17"/>
                      <a:pt x="14" y="18"/>
                      <a:pt x="14" y="18"/>
                    </a:cubicBezTo>
                    <a:moveTo>
                      <a:pt x="20" y="9"/>
                    </a:moveTo>
                    <a:cubicBezTo>
                      <a:pt x="20" y="3"/>
                      <a:pt x="17" y="0"/>
                      <a:pt x="10" y="0"/>
                    </a:cubicBezTo>
                    <a:cubicBezTo>
                      <a:pt x="8" y="0"/>
                      <a:pt x="6" y="0"/>
                      <a:pt x="5" y="1"/>
                    </a:cubicBezTo>
                    <a:cubicBezTo>
                      <a:pt x="4" y="1"/>
                      <a:pt x="3" y="2"/>
                      <a:pt x="1" y="4"/>
                    </a:cubicBezTo>
                    <a:cubicBezTo>
                      <a:pt x="5" y="7"/>
                      <a:pt x="5" y="7"/>
                      <a:pt x="5" y="7"/>
                    </a:cubicBezTo>
                    <a:cubicBezTo>
                      <a:pt x="6" y="6"/>
                      <a:pt x="8" y="5"/>
                      <a:pt x="10" y="5"/>
                    </a:cubicBezTo>
                    <a:cubicBezTo>
                      <a:pt x="13" y="5"/>
                      <a:pt x="14" y="7"/>
                      <a:pt x="14" y="9"/>
                    </a:cubicBezTo>
                    <a:cubicBezTo>
                      <a:pt x="14" y="10"/>
                      <a:pt x="14" y="10"/>
                      <a:pt x="14" y="10"/>
                    </a:cubicBezTo>
                    <a:cubicBezTo>
                      <a:pt x="9" y="10"/>
                      <a:pt x="9" y="10"/>
                      <a:pt x="9" y="10"/>
                    </a:cubicBezTo>
                    <a:cubicBezTo>
                      <a:pt x="6" y="10"/>
                      <a:pt x="4" y="11"/>
                      <a:pt x="3" y="12"/>
                    </a:cubicBezTo>
                    <a:cubicBezTo>
                      <a:pt x="1" y="14"/>
                      <a:pt x="0" y="15"/>
                      <a:pt x="0" y="17"/>
                    </a:cubicBezTo>
                    <a:cubicBezTo>
                      <a:pt x="0" y="19"/>
                      <a:pt x="1" y="21"/>
                      <a:pt x="3" y="23"/>
                    </a:cubicBezTo>
                    <a:cubicBezTo>
                      <a:pt x="4" y="24"/>
                      <a:pt x="6" y="25"/>
                      <a:pt x="9" y="25"/>
                    </a:cubicBezTo>
                    <a:cubicBezTo>
                      <a:pt x="11" y="25"/>
                      <a:pt x="13" y="24"/>
                      <a:pt x="15" y="22"/>
                    </a:cubicBezTo>
                    <a:cubicBezTo>
                      <a:pt x="15" y="25"/>
                      <a:pt x="15" y="25"/>
                      <a:pt x="15"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 name="Freeform 19"/>
              <p:cNvSpPr>
                <a:spLocks/>
              </p:cNvSpPr>
              <p:nvPr/>
            </p:nvSpPr>
            <p:spPr bwMode="auto">
              <a:xfrm>
                <a:off x="5497513" y="3660776"/>
                <a:ext cx="128588" cy="95250"/>
              </a:xfrm>
              <a:custGeom>
                <a:avLst/>
                <a:gdLst>
                  <a:gd name="T0" fmla="*/ 128588 w 34"/>
                  <a:gd name="T1" fmla="*/ 95250 h 25"/>
                  <a:gd name="T2" fmla="*/ 105896 w 34"/>
                  <a:gd name="T3" fmla="*/ 95250 h 25"/>
                  <a:gd name="T4" fmla="*/ 105896 w 34"/>
                  <a:gd name="T5" fmla="*/ 38100 h 25"/>
                  <a:gd name="T6" fmla="*/ 102114 w 34"/>
                  <a:gd name="T7" fmla="*/ 26670 h 25"/>
                  <a:gd name="T8" fmla="*/ 90768 w 34"/>
                  <a:gd name="T9" fmla="*/ 22860 h 25"/>
                  <a:gd name="T10" fmla="*/ 79422 w 34"/>
                  <a:gd name="T11" fmla="*/ 26670 h 25"/>
                  <a:gd name="T12" fmla="*/ 75640 w 34"/>
                  <a:gd name="T13" fmla="*/ 38100 h 25"/>
                  <a:gd name="T14" fmla="*/ 75640 w 34"/>
                  <a:gd name="T15" fmla="*/ 95250 h 25"/>
                  <a:gd name="T16" fmla="*/ 52948 w 34"/>
                  <a:gd name="T17" fmla="*/ 95250 h 25"/>
                  <a:gd name="T18" fmla="*/ 52948 w 34"/>
                  <a:gd name="T19" fmla="*/ 38100 h 25"/>
                  <a:gd name="T20" fmla="*/ 49166 w 34"/>
                  <a:gd name="T21" fmla="*/ 26670 h 25"/>
                  <a:gd name="T22" fmla="*/ 37820 w 34"/>
                  <a:gd name="T23" fmla="*/ 22860 h 25"/>
                  <a:gd name="T24" fmla="*/ 26474 w 34"/>
                  <a:gd name="T25" fmla="*/ 26670 h 25"/>
                  <a:gd name="T26" fmla="*/ 22692 w 34"/>
                  <a:gd name="T27" fmla="*/ 38100 h 25"/>
                  <a:gd name="T28" fmla="*/ 22692 w 34"/>
                  <a:gd name="T29" fmla="*/ 95250 h 25"/>
                  <a:gd name="T30" fmla="*/ 0 w 34"/>
                  <a:gd name="T31" fmla="*/ 95250 h 25"/>
                  <a:gd name="T32" fmla="*/ 0 w 34"/>
                  <a:gd name="T33" fmla="*/ 0 h 25"/>
                  <a:gd name="T34" fmla="*/ 22692 w 34"/>
                  <a:gd name="T35" fmla="*/ 0 h 25"/>
                  <a:gd name="T36" fmla="*/ 22692 w 34"/>
                  <a:gd name="T37" fmla="*/ 11430 h 25"/>
                  <a:gd name="T38" fmla="*/ 45384 w 34"/>
                  <a:gd name="T39" fmla="*/ 0 h 25"/>
                  <a:gd name="T40" fmla="*/ 68076 w 34"/>
                  <a:gd name="T41" fmla="*/ 11430 h 25"/>
                  <a:gd name="T42" fmla="*/ 94550 w 34"/>
                  <a:gd name="T43" fmla="*/ 0 h 25"/>
                  <a:gd name="T44" fmla="*/ 117242 w 34"/>
                  <a:gd name="T45" fmla="*/ 7620 h 25"/>
                  <a:gd name="T46" fmla="*/ 128588 w 34"/>
                  <a:gd name="T47" fmla="*/ 34290 h 25"/>
                  <a:gd name="T48" fmla="*/ 128588 w 34"/>
                  <a:gd name="T49" fmla="*/ 95250 h 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4" h="25">
                    <a:moveTo>
                      <a:pt x="34" y="25"/>
                    </a:moveTo>
                    <a:cubicBezTo>
                      <a:pt x="28" y="25"/>
                      <a:pt x="28" y="25"/>
                      <a:pt x="28" y="25"/>
                    </a:cubicBezTo>
                    <a:cubicBezTo>
                      <a:pt x="28" y="10"/>
                      <a:pt x="28" y="10"/>
                      <a:pt x="28" y="10"/>
                    </a:cubicBezTo>
                    <a:cubicBezTo>
                      <a:pt x="28" y="9"/>
                      <a:pt x="27" y="7"/>
                      <a:pt x="27" y="7"/>
                    </a:cubicBezTo>
                    <a:cubicBezTo>
                      <a:pt x="26" y="6"/>
                      <a:pt x="25" y="6"/>
                      <a:pt x="24" y="6"/>
                    </a:cubicBezTo>
                    <a:cubicBezTo>
                      <a:pt x="23" y="6"/>
                      <a:pt x="22" y="6"/>
                      <a:pt x="21" y="7"/>
                    </a:cubicBezTo>
                    <a:cubicBezTo>
                      <a:pt x="20" y="7"/>
                      <a:pt x="20" y="8"/>
                      <a:pt x="20" y="10"/>
                    </a:cubicBezTo>
                    <a:cubicBezTo>
                      <a:pt x="20" y="25"/>
                      <a:pt x="20" y="25"/>
                      <a:pt x="20" y="25"/>
                    </a:cubicBezTo>
                    <a:cubicBezTo>
                      <a:pt x="14" y="25"/>
                      <a:pt x="14" y="25"/>
                      <a:pt x="14" y="25"/>
                    </a:cubicBezTo>
                    <a:cubicBezTo>
                      <a:pt x="14" y="10"/>
                      <a:pt x="14" y="10"/>
                      <a:pt x="14" y="10"/>
                    </a:cubicBezTo>
                    <a:cubicBezTo>
                      <a:pt x="14" y="9"/>
                      <a:pt x="13" y="7"/>
                      <a:pt x="13" y="7"/>
                    </a:cubicBezTo>
                    <a:cubicBezTo>
                      <a:pt x="12" y="6"/>
                      <a:pt x="11" y="6"/>
                      <a:pt x="10" y="6"/>
                    </a:cubicBezTo>
                    <a:cubicBezTo>
                      <a:pt x="9" y="6"/>
                      <a:pt x="8" y="6"/>
                      <a:pt x="7" y="7"/>
                    </a:cubicBezTo>
                    <a:cubicBezTo>
                      <a:pt x="6" y="7"/>
                      <a:pt x="6" y="9"/>
                      <a:pt x="6" y="10"/>
                    </a:cubicBezTo>
                    <a:cubicBezTo>
                      <a:pt x="6" y="25"/>
                      <a:pt x="6" y="25"/>
                      <a:pt x="6" y="25"/>
                    </a:cubicBezTo>
                    <a:cubicBezTo>
                      <a:pt x="0" y="25"/>
                      <a:pt x="0" y="25"/>
                      <a:pt x="0" y="25"/>
                    </a:cubicBezTo>
                    <a:cubicBezTo>
                      <a:pt x="0" y="0"/>
                      <a:pt x="0" y="0"/>
                      <a:pt x="0" y="0"/>
                    </a:cubicBezTo>
                    <a:cubicBezTo>
                      <a:pt x="6" y="0"/>
                      <a:pt x="6" y="0"/>
                      <a:pt x="6" y="0"/>
                    </a:cubicBezTo>
                    <a:cubicBezTo>
                      <a:pt x="6" y="3"/>
                      <a:pt x="6" y="3"/>
                      <a:pt x="6" y="3"/>
                    </a:cubicBezTo>
                    <a:cubicBezTo>
                      <a:pt x="7" y="1"/>
                      <a:pt x="9" y="0"/>
                      <a:pt x="12" y="0"/>
                    </a:cubicBezTo>
                    <a:cubicBezTo>
                      <a:pt x="14" y="0"/>
                      <a:pt x="17" y="1"/>
                      <a:pt x="18" y="3"/>
                    </a:cubicBezTo>
                    <a:cubicBezTo>
                      <a:pt x="20" y="1"/>
                      <a:pt x="22" y="0"/>
                      <a:pt x="25" y="0"/>
                    </a:cubicBezTo>
                    <a:cubicBezTo>
                      <a:pt x="28" y="0"/>
                      <a:pt x="30" y="1"/>
                      <a:pt x="31" y="2"/>
                    </a:cubicBezTo>
                    <a:cubicBezTo>
                      <a:pt x="33" y="4"/>
                      <a:pt x="34" y="6"/>
                      <a:pt x="34" y="9"/>
                    </a:cubicBezTo>
                    <a:lnTo>
                      <a:pt x="34" y="25"/>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 name="Freeform 20"/>
              <p:cNvSpPr>
                <a:spLocks noEditPoints="1"/>
              </p:cNvSpPr>
              <p:nvPr/>
            </p:nvSpPr>
            <p:spPr bwMode="auto">
              <a:xfrm>
                <a:off x="5645150" y="3660776"/>
                <a:ext cx="74613" cy="95250"/>
              </a:xfrm>
              <a:custGeom>
                <a:avLst/>
                <a:gdLst>
                  <a:gd name="T0" fmla="*/ 48498 w 20"/>
                  <a:gd name="T1" fmla="*/ 68580 h 25"/>
                  <a:gd name="T2" fmla="*/ 33576 w 20"/>
                  <a:gd name="T3" fmla="*/ 76200 h 25"/>
                  <a:gd name="T4" fmla="*/ 18653 w 20"/>
                  <a:gd name="T5" fmla="*/ 64770 h 25"/>
                  <a:gd name="T6" fmla="*/ 33576 w 20"/>
                  <a:gd name="T7" fmla="*/ 53340 h 25"/>
                  <a:gd name="T8" fmla="*/ 52229 w 20"/>
                  <a:gd name="T9" fmla="*/ 53340 h 25"/>
                  <a:gd name="T10" fmla="*/ 52229 w 20"/>
                  <a:gd name="T11" fmla="*/ 60960 h 25"/>
                  <a:gd name="T12" fmla="*/ 48498 w 20"/>
                  <a:gd name="T13" fmla="*/ 68580 h 25"/>
                  <a:gd name="T14" fmla="*/ 74613 w 20"/>
                  <a:gd name="T15" fmla="*/ 34290 h 25"/>
                  <a:gd name="T16" fmla="*/ 33576 w 20"/>
                  <a:gd name="T17" fmla="*/ 0 h 25"/>
                  <a:gd name="T18" fmla="*/ 14923 w 20"/>
                  <a:gd name="T19" fmla="*/ 3810 h 25"/>
                  <a:gd name="T20" fmla="*/ 3731 w 20"/>
                  <a:gd name="T21" fmla="*/ 15240 h 25"/>
                  <a:gd name="T22" fmla="*/ 14923 w 20"/>
                  <a:gd name="T23" fmla="*/ 26670 h 25"/>
                  <a:gd name="T24" fmla="*/ 33576 w 20"/>
                  <a:gd name="T25" fmla="*/ 19050 h 25"/>
                  <a:gd name="T26" fmla="*/ 52229 w 20"/>
                  <a:gd name="T27" fmla="*/ 34290 h 25"/>
                  <a:gd name="T28" fmla="*/ 52229 w 20"/>
                  <a:gd name="T29" fmla="*/ 38100 h 25"/>
                  <a:gd name="T30" fmla="*/ 29845 w 20"/>
                  <a:gd name="T31" fmla="*/ 38100 h 25"/>
                  <a:gd name="T32" fmla="*/ 7461 w 20"/>
                  <a:gd name="T33" fmla="*/ 45720 h 25"/>
                  <a:gd name="T34" fmla="*/ 0 w 20"/>
                  <a:gd name="T35" fmla="*/ 64770 h 25"/>
                  <a:gd name="T36" fmla="*/ 7461 w 20"/>
                  <a:gd name="T37" fmla="*/ 87630 h 25"/>
                  <a:gd name="T38" fmla="*/ 29845 w 20"/>
                  <a:gd name="T39" fmla="*/ 95250 h 25"/>
                  <a:gd name="T40" fmla="*/ 52229 w 20"/>
                  <a:gd name="T41" fmla="*/ 83820 h 25"/>
                  <a:gd name="T42" fmla="*/ 52229 w 20"/>
                  <a:gd name="T43" fmla="*/ 95250 h 25"/>
                  <a:gd name="T44" fmla="*/ 74613 w 20"/>
                  <a:gd name="T45" fmla="*/ 95250 h 25"/>
                  <a:gd name="T46" fmla="*/ 74613 w 20"/>
                  <a:gd name="T47" fmla="*/ 3429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3" y="18"/>
                    </a:moveTo>
                    <a:cubicBezTo>
                      <a:pt x="12" y="19"/>
                      <a:pt x="11" y="20"/>
                      <a:pt x="9" y="20"/>
                    </a:cubicBezTo>
                    <a:cubicBezTo>
                      <a:pt x="7" y="20"/>
                      <a:pt x="5" y="19"/>
                      <a:pt x="5" y="17"/>
                    </a:cubicBezTo>
                    <a:cubicBezTo>
                      <a:pt x="5" y="15"/>
                      <a:pt x="7" y="14"/>
                      <a:pt x="9" y="14"/>
                    </a:cubicBezTo>
                    <a:cubicBezTo>
                      <a:pt x="14" y="14"/>
                      <a:pt x="14" y="14"/>
                      <a:pt x="14" y="14"/>
                    </a:cubicBezTo>
                    <a:cubicBezTo>
                      <a:pt x="14" y="16"/>
                      <a:pt x="14" y="16"/>
                      <a:pt x="14" y="16"/>
                    </a:cubicBezTo>
                    <a:cubicBezTo>
                      <a:pt x="14" y="17"/>
                      <a:pt x="13" y="18"/>
                      <a:pt x="13" y="18"/>
                    </a:cubicBezTo>
                    <a:moveTo>
                      <a:pt x="20" y="9"/>
                    </a:moveTo>
                    <a:cubicBezTo>
                      <a:pt x="20" y="3"/>
                      <a:pt x="16" y="0"/>
                      <a:pt x="9" y="0"/>
                    </a:cubicBezTo>
                    <a:cubicBezTo>
                      <a:pt x="7" y="0"/>
                      <a:pt x="6" y="0"/>
                      <a:pt x="4" y="1"/>
                    </a:cubicBezTo>
                    <a:cubicBezTo>
                      <a:pt x="3" y="1"/>
                      <a:pt x="2" y="2"/>
                      <a:pt x="1" y="4"/>
                    </a:cubicBezTo>
                    <a:cubicBezTo>
                      <a:pt x="4" y="7"/>
                      <a:pt x="4" y="7"/>
                      <a:pt x="4" y="7"/>
                    </a:cubicBezTo>
                    <a:cubicBezTo>
                      <a:pt x="6" y="6"/>
                      <a:pt x="7" y="5"/>
                      <a:pt x="9" y="5"/>
                    </a:cubicBezTo>
                    <a:cubicBezTo>
                      <a:pt x="12" y="5"/>
                      <a:pt x="14" y="7"/>
                      <a:pt x="14" y="9"/>
                    </a:cubicBezTo>
                    <a:cubicBezTo>
                      <a:pt x="14" y="10"/>
                      <a:pt x="14" y="10"/>
                      <a:pt x="14" y="10"/>
                    </a:cubicBezTo>
                    <a:cubicBezTo>
                      <a:pt x="8" y="10"/>
                      <a:pt x="8" y="10"/>
                      <a:pt x="8" y="10"/>
                    </a:cubicBezTo>
                    <a:cubicBezTo>
                      <a:pt x="5" y="10"/>
                      <a:pt x="3" y="11"/>
                      <a:pt x="2" y="12"/>
                    </a:cubicBezTo>
                    <a:cubicBezTo>
                      <a:pt x="0" y="14"/>
                      <a:pt x="0" y="15"/>
                      <a:pt x="0" y="17"/>
                    </a:cubicBezTo>
                    <a:cubicBezTo>
                      <a:pt x="0" y="19"/>
                      <a:pt x="0" y="21"/>
                      <a:pt x="2" y="23"/>
                    </a:cubicBezTo>
                    <a:cubicBezTo>
                      <a:pt x="3" y="24"/>
                      <a:pt x="5" y="25"/>
                      <a:pt x="8" y="25"/>
                    </a:cubicBezTo>
                    <a:cubicBezTo>
                      <a:pt x="10" y="25"/>
                      <a:pt x="12" y="24"/>
                      <a:pt x="14" y="22"/>
                    </a:cubicBezTo>
                    <a:cubicBezTo>
                      <a:pt x="14" y="25"/>
                      <a:pt x="14" y="25"/>
                      <a:pt x="14"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 name="Freeform 21"/>
              <p:cNvSpPr>
                <a:spLocks/>
              </p:cNvSpPr>
              <p:nvPr/>
            </p:nvSpPr>
            <p:spPr bwMode="auto">
              <a:xfrm>
                <a:off x="5741988" y="3660776"/>
                <a:ext cx="68263" cy="95250"/>
              </a:xfrm>
              <a:custGeom>
                <a:avLst/>
                <a:gdLst>
                  <a:gd name="T0" fmla="*/ 68263 w 18"/>
                  <a:gd name="T1" fmla="*/ 11430 h 25"/>
                  <a:gd name="T2" fmla="*/ 49301 w 18"/>
                  <a:gd name="T3" fmla="*/ 26670 h 25"/>
                  <a:gd name="T4" fmla="*/ 37924 w 18"/>
                  <a:gd name="T5" fmla="*/ 22860 h 25"/>
                  <a:gd name="T6" fmla="*/ 26547 w 18"/>
                  <a:gd name="T7" fmla="*/ 26670 h 25"/>
                  <a:gd name="T8" fmla="*/ 22754 w 18"/>
                  <a:gd name="T9" fmla="*/ 38100 h 25"/>
                  <a:gd name="T10" fmla="*/ 22754 w 18"/>
                  <a:gd name="T11" fmla="*/ 95250 h 25"/>
                  <a:gd name="T12" fmla="*/ 0 w 18"/>
                  <a:gd name="T13" fmla="*/ 95250 h 25"/>
                  <a:gd name="T14" fmla="*/ 0 w 18"/>
                  <a:gd name="T15" fmla="*/ 0 h 25"/>
                  <a:gd name="T16" fmla="*/ 22754 w 18"/>
                  <a:gd name="T17" fmla="*/ 0 h 25"/>
                  <a:gd name="T18" fmla="*/ 22754 w 18"/>
                  <a:gd name="T19" fmla="*/ 11430 h 25"/>
                  <a:gd name="T20" fmla="*/ 45509 w 18"/>
                  <a:gd name="T21" fmla="*/ 0 h 25"/>
                  <a:gd name="T22" fmla="*/ 68263 w 18"/>
                  <a:gd name="T23" fmla="*/ 11430 h 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25">
                    <a:moveTo>
                      <a:pt x="18" y="3"/>
                    </a:moveTo>
                    <a:cubicBezTo>
                      <a:pt x="13" y="7"/>
                      <a:pt x="13" y="7"/>
                      <a:pt x="13" y="7"/>
                    </a:cubicBezTo>
                    <a:cubicBezTo>
                      <a:pt x="12" y="6"/>
                      <a:pt x="11" y="6"/>
                      <a:pt x="10" y="6"/>
                    </a:cubicBezTo>
                    <a:cubicBezTo>
                      <a:pt x="9" y="6"/>
                      <a:pt x="8" y="6"/>
                      <a:pt x="7" y="7"/>
                    </a:cubicBezTo>
                    <a:cubicBezTo>
                      <a:pt x="6" y="8"/>
                      <a:pt x="6" y="9"/>
                      <a:pt x="6" y="10"/>
                    </a:cubicBezTo>
                    <a:cubicBezTo>
                      <a:pt x="6" y="25"/>
                      <a:pt x="6" y="25"/>
                      <a:pt x="6" y="25"/>
                    </a:cubicBezTo>
                    <a:cubicBezTo>
                      <a:pt x="0" y="25"/>
                      <a:pt x="0" y="25"/>
                      <a:pt x="0" y="25"/>
                    </a:cubicBezTo>
                    <a:cubicBezTo>
                      <a:pt x="0" y="0"/>
                      <a:pt x="0" y="0"/>
                      <a:pt x="0" y="0"/>
                    </a:cubicBezTo>
                    <a:cubicBezTo>
                      <a:pt x="6" y="0"/>
                      <a:pt x="6" y="0"/>
                      <a:pt x="6" y="0"/>
                    </a:cubicBezTo>
                    <a:cubicBezTo>
                      <a:pt x="6" y="3"/>
                      <a:pt x="6" y="3"/>
                      <a:pt x="6" y="3"/>
                    </a:cubicBezTo>
                    <a:cubicBezTo>
                      <a:pt x="7" y="1"/>
                      <a:pt x="9" y="0"/>
                      <a:pt x="12" y="0"/>
                    </a:cubicBezTo>
                    <a:cubicBezTo>
                      <a:pt x="14" y="0"/>
                      <a:pt x="16" y="1"/>
                      <a:pt x="18" y="3"/>
                    </a:cubicBezTo>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 name="Freeform 22"/>
              <p:cNvSpPr>
                <a:spLocks noEditPoints="1"/>
              </p:cNvSpPr>
              <p:nvPr/>
            </p:nvSpPr>
            <p:spPr bwMode="auto">
              <a:xfrm>
                <a:off x="5821363" y="3630613"/>
                <a:ext cx="22225" cy="125413"/>
              </a:xfrm>
              <a:custGeom>
                <a:avLst/>
                <a:gdLst>
                  <a:gd name="T0" fmla="*/ 22225 w 14"/>
                  <a:gd name="T1" fmla="*/ 15875 h 79"/>
                  <a:gd name="T2" fmla="*/ 0 w 14"/>
                  <a:gd name="T3" fmla="*/ 15875 h 79"/>
                  <a:gd name="T4" fmla="*/ 0 w 14"/>
                  <a:gd name="T5" fmla="*/ 0 h 79"/>
                  <a:gd name="T6" fmla="*/ 22225 w 14"/>
                  <a:gd name="T7" fmla="*/ 0 h 79"/>
                  <a:gd name="T8" fmla="*/ 22225 w 14"/>
                  <a:gd name="T9" fmla="*/ 15875 h 79"/>
                  <a:gd name="T10" fmla="*/ 22225 w 14"/>
                  <a:gd name="T11" fmla="*/ 125413 h 79"/>
                  <a:gd name="T12" fmla="*/ 0 w 14"/>
                  <a:gd name="T13" fmla="*/ 125413 h 79"/>
                  <a:gd name="T14" fmla="*/ 0 w 14"/>
                  <a:gd name="T15" fmla="*/ 30163 h 79"/>
                  <a:gd name="T16" fmla="*/ 22225 w 14"/>
                  <a:gd name="T17" fmla="*/ 30163 h 79"/>
                  <a:gd name="T18" fmla="*/ 22225 w 14"/>
                  <a:gd name="T19" fmla="*/ 125413 h 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79">
                    <a:moveTo>
                      <a:pt x="14" y="10"/>
                    </a:moveTo>
                    <a:lnTo>
                      <a:pt x="0" y="10"/>
                    </a:lnTo>
                    <a:lnTo>
                      <a:pt x="0" y="0"/>
                    </a:lnTo>
                    <a:lnTo>
                      <a:pt x="14" y="0"/>
                    </a:lnTo>
                    <a:lnTo>
                      <a:pt x="14" y="10"/>
                    </a:lnTo>
                    <a:close/>
                    <a:moveTo>
                      <a:pt x="14" y="79"/>
                    </a:moveTo>
                    <a:lnTo>
                      <a:pt x="0" y="79"/>
                    </a:lnTo>
                    <a:lnTo>
                      <a:pt x="0" y="19"/>
                    </a:lnTo>
                    <a:lnTo>
                      <a:pt x="14" y="19"/>
                    </a:lnTo>
                    <a:lnTo>
                      <a:pt x="14"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 name="Freeform 23"/>
              <p:cNvSpPr>
                <a:spLocks/>
              </p:cNvSpPr>
              <p:nvPr/>
            </p:nvSpPr>
            <p:spPr bwMode="auto">
              <a:xfrm>
                <a:off x="5897563" y="3630613"/>
                <a:ext cx="74613" cy="125413"/>
              </a:xfrm>
              <a:custGeom>
                <a:avLst/>
                <a:gdLst>
                  <a:gd name="T0" fmla="*/ 74613 w 20"/>
                  <a:gd name="T1" fmla="*/ 83609 h 33"/>
                  <a:gd name="T2" fmla="*/ 63421 w 20"/>
                  <a:gd name="T3" fmla="*/ 114012 h 33"/>
                  <a:gd name="T4" fmla="*/ 33576 w 20"/>
                  <a:gd name="T5" fmla="*/ 125413 h 33"/>
                  <a:gd name="T6" fmla="*/ 0 w 20"/>
                  <a:gd name="T7" fmla="*/ 110211 h 33"/>
                  <a:gd name="T8" fmla="*/ 18653 w 20"/>
                  <a:gd name="T9" fmla="*/ 95010 h 33"/>
                  <a:gd name="T10" fmla="*/ 33576 w 20"/>
                  <a:gd name="T11" fmla="*/ 102611 h 33"/>
                  <a:gd name="T12" fmla="*/ 52229 w 20"/>
                  <a:gd name="T13" fmla="*/ 83609 h 33"/>
                  <a:gd name="T14" fmla="*/ 52229 w 20"/>
                  <a:gd name="T15" fmla="*/ 0 h 33"/>
                  <a:gd name="T16" fmla="*/ 74613 w 20"/>
                  <a:gd name="T17" fmla="*/ 0 h 33"/>
                  <a:gd name="T18" fmla="*/ 74613 w 20"/>
                  <a:gd name="T19" fmla="*/ 83609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33">
                    <a:moveTo>
                      <a:pt x="20" y="22"/>
                    </a:moveTo>
                    <a:cubicBezTo>
                      <a:pt x="20" y="25"/>
                      <a:pt x="19" y="28"/>
                      <a:pt x="17" y="30"/>
                    </a:cubicBezTo>
                    <a:cubicBezTo>
                      <a:pt x="15" y="32"/>
                      <a:pt x="12" y="33"/>
                      <a:pt x="9" y="33"/>
                    </a:cubicBezTo>
                    <a:cubicBezTo>
                      <a:pt x="5" y="33"/>
                      <a:pt x="3" y="32"/>
                      <a:pt x="0" y="29"/>
                    </a:cubicBezTo>
                    <a:cubicBezTo>
                      <a:pt x="5" y="25"/>
                      <a:pt x="5" y="25"/>
                      <a:pt x="5" y="25"/>
                    </a:cubicBezTo>
                    <a:cubicBezTo>
                      <a:pt x="6" y="27"/>
                      <a:pt x="7" y="27"/>
                      <a:pt x="9" y="27"/>
                    </a:cubicBezTo>
                    <a:cubicBezTo>
                      <a:pt x="12" y="27"/>
                      <a:pt x="14" y="25"/>
                      <a:pt x="14" y="22"/>
                    </a:cubicBezTo>
                    <a:cubicBezTo>
                      <a:pt x="14" y="0"/>
                      <a:pt x="14" y="0"/>
                      <a:pt x="14" y="0"/>
                    </a:cubicBezTo>
                    <a:cubicBezTo>
                      <a:pt x="20" y="0"/>
                      <a:pt x="20" y="0"/>
                      <a:pt x="20" y="0"/>
                    </a:cubicBezTo>
                    <a:lnTo>
                      <a:pt x="20" y="2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 name="Freeform 24"/>
              <p:cNvSpPr>
                <a:spLocks noEditPoints="1"/>
              </p:cNvSpPr>
              <p:nvPr/>
            </p:nvSpPr>
            <p:spPr bwMode="auto">
              <a:xfrm>
                <a:off x="5994400" y="3660776"/>
                <a:ext cx="79375" cy="95250"/>
              </a:xfrm>
              <a:custGeom>
                <a:avLst/>
                <a:gdLst>
                  <a:gd name="T0" fmla="*/ 22679 w 21"/>
                  <a:gd name="T1" fmla="*/ 38100 h 25"/>
                  <a:gd name="T2" fmla="*/ 22679 w 21"/>
                  <a:gd name="T3" fmla="*/ 30480 h 25"/>
                  <a:gd name="T4" fmla="*/ 37798 w 21"/>
                  <a:gd name="T5" fmla="*/ 19050 h 25"/>
                  <a:gd name="T6" fmla="*/ 52917 w 21"/>
                  <a:gd name="T7" fmla="*/ 30480 h 25"/>
                  <a:gd name="T8" fmla="*/ 56696 w 21"/>
                  <a:gd name="T9" fmla="*/ 38100 h 25"/>
                  <a:gd name="T10" fmla="*/ 22679 w 21"/>
                  <a:gd name="T11" fmla="*/ 38100 h 25"/>
                  <a:gd name="T12" fmla="*/ 79375 w 21"/>
                  <a:gd name="T13" fmla="*/ 45720 h 25"/>
                  <a:gd name="T14" fmla="*/ 68036 w 21"/>
                  <a:gd name="T15" fmla="*/ 15240 h 25"/>
                  <a:gd name="T16" fmla="*/ 37798 w 21"/>
                  <a:gd name="T17" fmla="*/ 0 h 25"/>
                  <a:gd name="T18" fmla="*/ 11339 w 21"/>
                  <a:gd name="T19" fmla="*/ 11430 h 25"/>
                  <a:gd name="T20" fmla="*/ 0 w 21"/>
                  <a:gd name="T21" fmla="*/ 49530 h 25"/>
                  <a:gd name="T22" fmla="*/ 41577 w 21"/>
                  <a:gd name="T23" fmla="*/ 95250 h 25"/>
                  <a:gd name="T24" fmla="*/ 60476 w 21"/>
                  <a:gd name="T25" fmla="*/ 91440 h 25"/>
                  <a:gd name="T26" fmla="*/ 75595 w 21"/>
                  <a:gd name="T27" fmla="*/ 80010 h 25"/>
                  <a:gd name="T28" fmla="*/ 60476 w 21"/>
                  <a:gd name="T29" fmla="*/ 68580 h 25"/>
                  <a:gd name="T30" fmla="*/ 41577 w 21"/>
                  <a:gd name="T31" fmla="*/ 76200 h 25"/>
                  <a:gd name="T32" fmla="*/ 26458 w 21"/>
                  <a:gd name="T33" fmla="*/ 68580 h 25"/>
                  <a:gd name="T34" fmla="*/ 22679 w 21"/>
                  <a:gd name="T35" fmla="*/ 53340 h 25"/>
                  <a:gd name="T36" fmla="*/ 79375 w 21"/>
                  <a:gd name="T37" fmla="*/ 53340 h 25"/>
                  <a:gd name="T38" fmla="*/ 79375 w 21"/>
                  <a:gd name="T39" fmla="*/ 4572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6" y="8"/>
                    </a:cubicBezTo>
                    <a:cubicBezTo>
                      <a:pt x="7" y="6"/>
                      <a:pt x="8" y="5"/>
                      <a:pt x="10" y="5"/>
                    </a:cubicBezTo>
                    <a:cubicBezTo>
                      <a:pt x="12" y="5"/>
                      <a:pt x="14" y="6"/>
                      <a:pt x="14" y="8"/>
                    </a:cubicBezTo>
                    <a:cubicBezTo>
                      <a:pt x="15" y="8"/>
                      <a:pt x="15" y="9"/>
                      <a:pt x="15" y="10"/>
                    </a:cubicBezTo>
                    <a:lnTo>
                      <a:pt x="6" y="10"/>
                    </a:lnTo>
                    <a:close/>
                    <a:moveTo>
                      <a:pt x="21" y="12"/>
                    </a:moveTo>
                    <a:cubicBezTo>
                      <a:pt x="21" y="8"/>
                      <a:pt x="20" y="6"/>
                      <a:pt x="18" y="4"/>
                    </a:cubicBezTo>
                    <a:cubicBezTo>
                      <a:pt x="16" y="1"/>
                      <a:pt x="14" y="0"/>
                      <a:pt x="10" y="0"/>
                    </a:cubicBezTo>
                    <a:cubicBezTo>
                      <a:pt x="7" y="0"/>
                      <a:pt x="5" y="1"/>
                      <a:pt x="3" y="3"/>
                    </a:cubicBezTo>
                    <a:cubicBezTo>
                      <a:pt x="1" y="6"/>
                      <a:pt x="0" y="9"/>
                      <a:pt x="0" y="13"/>
                    </a:cubicBezTo>
                    <a:cubicBezTo>
                      <a:pt x="0" y="21"/>
                      <a:pt x="4" y="25"/>
                      <a:pt x="11" y="25"/>
                    </a:cubicBezTo>
                    <a:cubicBezTo>
                      <a:pt x="13" y="25"/>
                      <a:pt x="15" y="25"/>
                      <a:pt x="16" y="24"/>
                    </a:cubicBezTo>
                    <a:cubicBezTo>
                      <a:pt x="18" y="23"/>
                      <a:pt x="19" y="22"/>
                      <a:pt x="20" y="21"/>
                    </a:cubicBezTo>
                    <a:cubicBezTo>
                      <a:pt x="16" y="18"/>
                      <a:pt x="16" y="18"/>
                      <a:pt x="16" y="18"/>
                    </a:cubicBezTo>
                    <a:cubicBezTo>
                      <a:pt x="15" y="19"/>
                      <a:pt x="13" y="20"/>
                      <a:pt x="11" y="20"/>
                    </a:cubicBezTo>
                    <a:cubicBezTo>
                      <a:pt x="9" y="20"/>
                      <a:pt x="8" y="19"/>
                      <a:pt x="7" y="18"/>
                    </a:cubicBezTo>
                    <a:cubicBezTo>
                      <a:pt x="6"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 name="Freeform 25"/>
              <p:cNvSpPr>
                <a:spLocks noEditPoints="1"/>
              </p:cNvSpPr>
              <p:nvPr/>
            </p:nvSpPr>
            <p:spPr bwMode="auto">
              <a:xfrm>
                <a:off x="6089650" y="3660776"/>
                <a:ext cx="77788" cy="95250"/>
              </a:xfrm>
              <a:custGeom>
                <a:avLst/>
                <a:gdLst>
                  <a:gd name="T0" fmla="*/ 22225 w 21"/>
                  <a:gd name="T1" fmla="*/ 38100 h 25"/>
                  <a:gd name="T2" fmla="*/ 25929 w 21"/>
                  <a:gd name="T3" fmla="*/ 30480 h 25"/>
                  <a:gd name="T4" fmla="*/ 40746 w 21"/>
                  <a:gd name="T5" fmla="*/ 19050 h 25"/>
                  <a:gd name="T6" fmla="*/ 55563 w 21"/>
                  <a:gd name="T7" fmla="*/ 30480 h 25"/>
                  <a:gd name="T8" fmla="*/ 55563 w 21"/>
                  <a:gd name="T9" fmla="*/ 38100 h 25"/>
                  <a:gd name="T10" fmla="*/ 22225 w 21"/>
                  <a:gd name="T11" fmla="*/ 38100 h 25"/>
                  <a:gd name="T12" fmla="*/ 77788 w 21"/>
                  <a:gd name="T13" fmla="*/ 45720 h 25"/>
                  <a:gd name="T14" fmla="*/ 66675 w 21"/>
                  <a:gd name="T15" fmla="*/ 15240 h 25"/>
                  <a:gd name="T16" fmla="*/ 40746 w 21"/>
                  <a:gd name="T17" fmla="*/ 0 h 25"/>
                  <a:gd name="T18" fmla="*/ 11113 w 21"/>
                  <a:gd name="T19" fmla="*/ 11430 h 25"/>
                  <a:gd name="T20" fmla="*/ 0 w 21"/>
                  <a:gd name="T21" fmla="*/ 49530 h 25"/>
                  <a:gd name="T22" fmla="*/ 40746 w 21"/>
                  <a:gd name="T23" fmla="*/ 95250 h 25"/>
                  <a:gd name="T24" fmla="*/ 62971 w 21"/>
                  <a:gd name="T25" fmla="*/ 91440 h 25"/>
                  <a:gd name="T26" fmla="*/ 74084 w 21"/>
                  <a:gd name="T27" fmla="*/ 80010 h 25"/>
                  <a:gd name="T28" fmla="*/ 62971 w 21"/>
                  <a:gd name="T29" fmla="*/ 68580 h 25"/>
                  <a:gd name="T30" fmla="*/ 40746 w 21"/>
                  <a:gd name="T31" fmla="*/ 76200 h 25"/>
                  <a:gd name="T32" fmla="*/ 25929 w 21"/>
                  <a:gd name="T33" fmla="*/ 68580 h 25"/>
                  <a:gd name="T34" fmla="*/ 22225 w 21"/>
                  <a:gd name="T35" fmla="*/ 53340 h 25"/>
                  <a:gd name="T36" fmla="*/ 77788 w 21"/>
                  <a:gd name="T37" fmla="*/ 53340 h 25"/>
                  <a:gd name="T38" fmla="*/ 77788 w 21"/>
                  <a:gd name="T39" fmla="*/ 4572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7" y="8"/>
                    </a:cubicBezTo>
                    <a:cubicBezTo>
                      <a:pt x="7" y="6"/>
                      <a:pt x="9" y="5"/>
                      <a:pt x="11" y="5"/>
                    </a:cubicBezTo>
                    <a:cubicBezTo>
                      <a:pt x="13" y="5"/>
                      <a:pt x="14" y="6"/>
                      <a:pt x="15" y="8"/>
                    </a:cubicBezTo>
                    <a:cubicBezTo>
                      <a:pt x="15" y="8"/>
                      <a:pt x="15" y="9"/>
                      <a:pt x="15" y="10"/>
                    </a:cubicBezTo>
                    <a:lnTo>
                      <a:pt x="6" y="10"/>
                    </a:lnTo>
                    <a:close/>
                    <a:moveTo>
                      <a:pt x="21" y="12"/>
                    </a:moveTo>
                    <a:cubicBezTo>
                      <a:pt x="21" y="8"/>
                      <a:pt x="20" y="6"/>
                      <a:pt x="18" y="4"/>
                    </a:cubicBezTo>
                    <a:cubicBezTo>
                      <a:pt x="17" y="1"/>
                      <a:pt x="14" y="0"/>
                      <a:pt x="11" y="0"/>
                    </a:cubicBezTo>
                    <a:cubicBezTo>
                      <a:pt x="8" y="0"/>
                      <a:pt x="5" y="1"/>
                      <a:pt x="3" y="3"/>
                    </a:cubicBezTo>
                    <a:cubicBezTo>
                      <a:pt x="1" y="6"/>
                      <a:pt x="0" y="9"/>
                      <a:pt x="0" y="13"/>
                    </a:cubicBezTo>
                    <a:cubicBezTo>
                      <a:pt x="0" y="21"/>
                      <a:pt x="4" y="25"/>
                      <a:pt x="11" y="25"/>
                    </a:cubicBezTo>
                    <a:cubicBezTo>
                      <a:pt x="13" y="25"/>
                      <a:pt x="15" y="25"/>
                      <a:pt x="17" y="24"/>
                    </a:cubicBezTo>
                    <a:cubicBezTo>
                      <a:pt x="18" y="23"/>
                      <a:pt x="19" y="22"/>
                      <a:pt x="20" y="21"/>
                    </a:cubicBezTo>
                    <a:cubicBezTo>
                      <a:pt x="17" y="18"/>
                      <a:pt x="17" y="18"/>
                      <a:pt x="17" y="18"/>
                    </a:cubicBezTo>
                    <a:cubicBezTo>
                      <a:pt x="15" y="19"/>
                      <a:pt x="13" y="20"/>
                      <a:pt x="11" y="20"/>
                    </a:cubicBezTo>
                    <a:cubicBezTo>
                      <a:pt x="10" y="20"/>
                      <a:pt x="8" y="19"/>
                      <a:pt x="7" y="18"/>
                    </a:cubicBezTo>
                    <a:cubicBezTo>
                      <a:pt x="7"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 name="Freeform 26"/>
              <p:cNvSpPr>
                <a:spLocks/>
              </p:cNvSpPr>
              <p:nvPr/>
            </p:nvSpPr>
            <p:spPr bwMode="auto">
              <a:xfrm>
                <a:off x="6183313" y="3638551"/>
                <a:ext cx="49213" cy="117475"/>
              </a:xfrm>
              <a:custGeom>
                <a:avLst/>
                <a:gdLst>
                  <a:gd name="T0" fmla="*/ 49213 w 13"/>
                  <a:gd name="T1" fmla="*/ 117475 h 31"/>
                  <a:gd name="T2" fmla="*/ 34071 w 13"/>
                  <a:gd name="T3" fmla="*/ 117475 h 31"/>
                  <a:gd name="T4" fmla="*/ 15142 w 13"/>
                  <a:gd name="T5" fmla="*/ 106106 h 31"/>
                  <a:gd name="T6" fmla="*/ 7571 w 13"/>
                  <a:gd name="T7" fmla="*/ 90948 h 31"/>
                  <a:gd name="T8" fmla="*/ 7571 w 13"/>
                  <a:gd name="T9" fmla="*/ 45474 h 31"/>
                  <a:gd name="T10" fmla="*/ 0 w 13"/>
                  <a:gd name="T11" fmla="*/ 45474 h 31"/>
                  <a:gd name="T12" fmla="*/ 0 w 13"/>
                  <a:gd name="T13" fmla="*/ 26527 h 31"/>
                  <a:gd name="T14" fmla="*/ 7571 w 13"/>
                  <a:gd name="T15" fmla="*/ 26527 h 31"/>
                  <a:gd name="T16" fmla="*/ 7571 w 13"/>
                  <a:gd name="T17" fmla="*/ 0 h 31"/>
                  <a:gd name="T18" fmla="*/ 30285 w 13"/>
                  <a:gd name="T19" fmla="*/ 0 h 31"/>
                  <a:gd name="T20" fmla="*/ 30285 w 13"/>
                  <a:gd name="T21" fmla="*/ 26527 h 31"/>
                  <a:gd name="T22" fmla="*/ 49213 w 13"/>
                  <a:gd name="T23" fmla="*/ 26527 h 31"/>
                  <a:gd name="T24" fmla="*/ 49213 w 13"/>
                  <a:gd name="T25" fmla="*/ 45474 h 31"/>
                  <a:gd name="T26" fmla="*/ 30285 w 13"/>
                  <a:gd name="T27" fmla="*/ 45474 h 31"/>
                  <a:gd name="T28" fmla="*/ 30285 w 13"/>
                  <a:gd name="T29" fmla="*/ 87159 h 31"/>
                  <a:gd name="T30" fmla="*/ 37856 w 13"/>
                  <a:gd name="T31" fmla="*/ 94738 h 31"/>
                  <a:gd name="T32" fmla="*/ 49213 w 13"/>
                  <a:gd name="T33" fmla="*/ 94738 h 31"/>
                  <a:gd name="T34" fmla="*/ 49213 w 13"/>
                  <a:gd name="T35" fmla="*/ 117475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31">
                    <a:moveTo>
                      <a:pt x="13" y="31"/>
                    </a:moveTo>
                    <a:cubicBezTo>
                      <a:pt x="9" y="31"/>
                      <a:pt x="9" y="31"/>
                      <a:pt x="9" y="31"/>
                    </a:cubicBezTo>
                    <a:cubicBezTo>
                      <a:pt x="7" y="31"/>
                      <a:pt x="5" y="30"/>
                      <a:pt x="4" y="28"/>
                    </a:cubicBezTo>
                    <a:cubicBezTo>
                      <a:pt x="3" y="27"/>
                      <a:pt x="2" y="26"/>
                      <a:pt x="2" y="24"/>
                    </a:cubicBezTo>
                    <a:cubicBezTo>
                      <a:pt x="2" y="12"/>
                      <a:pt x="2" y="12"/>
                      <a:pt x="2" y="12"/>
                    </a:cubicBezTo>
                    <a:cubicBezTo>
                      <a:pt x="0" y="12"/>
                      <a:pt x="0" y="12"/>
                      <a:pt x="0" y="12"/>
                    </a:cubicBezTo>
                    <a:cubicBezTo>
                      <a:pt x="0" y="7"/>
                      <a:pt x="0" y="7"/>
                      <a:pt x="0" y="7"/>
                    </a:cubicBezTo>
                    <a:cubicBezTo>
                      <a:pt x="2" y="7"/>
                      <a:pt x="2" y="7"/>
                      <a:pt x="2" y="7"/>
                    </a:cubicBezTo>
                    <a:cubicBezTo>
                      <a:pt x="2" y="0"/>
                      <a:pt x="2" y="0"/>
                      <a:pt x="2" y="0"/>
                    </a:cubicBezTo>
                    <a:cubicBezTo>
                      <a:pt x="8" y="0"/>
                      <a:pt x="8" y="0"/>
                      <a:pt x="8" y="0"/>
                    </a:cubicBezTo>
                    <a:cubicBezTo>
                      <a:pt x="8" y="7"/>
                      <a:pt x="8" y="7"/>
                      <a:pt x="8" y="7"/>
                    </a:cubicBezTo>
                    <a:cubicBezTo>
                      <a:pt x="13" y="7"/>
                      <a:pt x="13" y="7"/>
                      <a:pt x="13" y="7"/>
                    </a:cubicBezTo>
                    <a:cubicBezTo>
                      <a:pt x="13" y="12"/>
                      <a:pt x="13" y="12"/>
                      <a:pt x="13" y="12"/>
                    </a:cubicBezTo>
                    <a:cubicBezTo>
                      <a:pt x="8" y="12"/>
                      <a:pt x="8" y="12"/>
                      <a:pt x="8" y="12"/>
                    </a:cubicBezTo>
                    <a:cubicBezTo>
                      <a:pt x="8" y="23"/>
                      <a:pt x="8" y="23"/>
                      <a:pt x="8" y="23"/>
                    </a:cubicBezTo>
                    <a:cubicBezTo>
                      <a:pt x="8" y="25"/>
                      <a:pt x="9" y="25"/>
                      <a:pt x="10" y="25"/>
                    </a:cubicBezTo>
                    <a:cubicBezTo>
                      <a:pt x="13" y="25"/>
                      <a:pt x="13" y="25"/>
                      <a:pt x="13" y="25"/>
                    </a:cubicBezTo>
                    <a:lnTo>
                      <a:pt x="13" y="31"/>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 name="Rectangle 27"/>
              <p:cNvSpPr>
                <a:spLocks noChangeArrowheads="1"/>
              </p:cNvSpPr>
              <p:nvPr/>
            </p:nvSpPr>
            <p:spPr bwMode="auto">
              <a:xfrm>
                <a:off x="6249988" y="3729038"/>
                <a:ext cx="26988" cy="26988"/>
              </a:xfrm>
              <a:prstGeom prst="rect">
                <a:avLst/>
              </a:prstGeom>
              <a:solidFill>
                <a:srgbClr val="2B252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 name="Group 8"/>
            <p:cNvGrpSpPr>
              <a:grpSpLocks/>
            </p:cNvGrpSpPr>
            <p:nvPr/>
          </p:nvGrpSpPr>
          <p:grpSpPr bwMode="auto">
            <a:xfrm>
              <a:off x="2863850" y="3078163"/>
              <a:ext cx="3413126" cy="552450"/>
              <a:chOff x="2863850" y="3078163"/>
              <a:chExt cx="3413126" cy="552450"/>
            </a:xfrm>
          </p:grpSpPr>
          <p:sp>
            <p:nvSpPr>
              <p:cNvPr id="7" name="Freeform 28"/>
              <p:cNvSpPr>
                <a:spLocks/>
              </p:cNvSpPr>
              <p:nvPr/>
            </p:nvSpPr>
            <p:spPr bwMode="auto">
              <a:xfrm>
                <a:off x="4772025" y="3273426"/>
                <a:ext cx="157163" cy="158750"/>
              </a:xfrm>
              <a:custGeom>
                <a:avLst/>
                <a:gdLst>
                  <a:gd name="T0" fmla="*/ 48646 w 42"/>
                  <a:gd name="T1" fmla="*/ 120952 h 42"/>
                  <a:gd name="T2" fmla="*/ 157163 w 42"/>
                  <a:gd name="T3" fmla="*/ 120952 h 42"/>
                  <a:gd name="T4" fmla="*/ 157163 w 42"/>
                  <a:gd name="T5" fmla="*/ 158750 h 42"/>
                  <a:gd name="T6" fmla="*/ 0 w 42"/>
                  <a:gd name="T7" fmla="*/ 158750 h 42"/>
                  <a:gd name="T8" fmla="*/ 0 w 42"/>
                  <a:gd name="T9" fmla="*/ 0 h 42"/>
                  <a:gd name="T10" fmla="*/ 14968 w 42"/>
                  <a:gd name="T11" fmla="*/ 0 h 42"/>
                  <a:gd name="T12" fmla="*/ 48646 w 42"/>
                  <a:gd name="T13" fmla="*/ 26458 h 42"/>
                  <a:gd name="T14" fmla="*/ 48646 w 42"/>
                  <a:gd name="T15" fmla="*/ 120952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2">
                    <a:moveTo>
                      <a:pt x="13" y="32"/>
                    </a:moveTo>
                    <a:cubicBezTo>
                      <a:pt x="42" y="32"/>
                      <a:pt x="42" y="32"/>
                      <a:pt x="42" y="32"/>
                    </a:cubicBezTo>
                    <a:cubicBezTo>
                      <a:pt x="42" y="42"/>
                      <a:pt x="42" y="42"/>
                      <a:pt x="42" y="42"/>
                    </a:cubicBezTo>
                    <a:cubicBezTo>
                      <a:pt x="0" y="42"/>
                      <a:pt x="0" y="42"/>
                      <a:pt x="0" y="42"/>
                    </a:cubicBezTo>
                    <a:cubicBezTo>
                      <a:pt x="0" y="0"/>
                      <a:pt x="0" y="0"/>
                      <a:pt x="0" y="0"/>
                    </a:cubicBezTo>
                    <a:cubicBezTo>
                      <a:pt x="4" y="0"/>
                      <a:pt x="4" y="0"/>
                      <a:pt x="4" y="0"/>
                    </a:cubicBezTo>
                    <a:cubicBezTo>
                      <a:pt x="10" y="0"/>
                      <a:pt x="13" y="2"/>
                      <a:pt x="13" y="7"/>
                    </a:cubicBezTo>
                    <a:lnTo>
                      <a:pt x="13" y="3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8" name="Freeform 29"/>
              <p:cNvSpPr>
                <a:spLocks/>
              </p:cNvSpPr>
              <p:nvPr/>
            </p:nvSpPr>
            <p:spPr bwMode="auto">
              <a:xfrm>
                <a:off x="4462463" y="3273426"/>
                <a:ext cx="211138" cy="158750"/>
              </a:xfrm>
              <a:custGeom>
                <a:avLst/>
                <a:gdLst>
                  <a:gd name="T0" fmla="*/ 49014 w 56"/>
                  <a:gd name="T1" fmla="*/ 60476 h 42"/>
                  <a:gd name="T2" fmla="*/ 67866 w 56"/>
                  <a:gd name="T3" fmla="*/ 60476 h 42"/>
                  <a:gd name="T4" fmla="*/ 116880 w 56"/>
                  <a:gd name="T5" fmla="*/ 15119 h 42"/>
                  <a:gd name="T6" fmla="*/ 162124 w 56"/>
                  <a:gd name="T7" fmla="*/ 0 h 42"/>
                  <a:gd name="T8" fmla="*/ 199827 w 56"/>
                  <a:gd name="T9" fmla="*/ 0 h 42"/>
                  <a:gd name="T10" fmla="*/ 113110 w 56"/>
                  <a:gd name="T11" fmla="*/ 79375 h 42"/>
                  <a:gd name="T12" fmla="*/ 211138 w 56"/>
                  <a:gd name="T13" fmla="*/ 158750 h 42"/>
                  <a:gd name="T14" fmla="*/ 173435 w 56"/>
                  <a:gd name="T15" fmla="*/ 158750 h 42"/>
                  <a:gd name="T16" fmla="*/ 124421 w 56"/>
                  <a:gd name="T17" fmla="*/ 143631 h 42"/>
                  <a:gd name="T18" fmla="*/ 67866 w 56"/>
                  <a:gd name="T19" fmla="*/ 98274 h 42"/>
                  <a:gd name="T20" fmla="*/ 49014 w 56"/>
                  <a:gd name="T21" fmla="*/ 98274 h 42"/>
                  <a:gd name="T22" fmla="*/ 49014 w 56"/>
                  <a:gd name="T23" fmla="*/ 158750 h 42"/>
                  <a:gd name="T24" fmla="*/ 0 w 56"/>
                  <a:gd name="T25" fmla="*/ 158750 h 42"/>
                  <a:gd name="T26" fmla="*/ 0 w 56"/>
                  <a:gd name="T27" fmla="*/ 0 h 42"/>
                  <a:gd name="T28" fmla="*/ 49014 w 56"/>
                  <a:gd name="T29" fmla="*/ 0 h 42"/>
                  <a:gd name="T30" fmla="*/ 49014 w 56"/>
                  <a:gd name="T31" fmla="*/ 60476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6" h="42">
                    <a:moveTo>
                      <a:pt x="13" y="16"/>
                    </a:moveTo>
                    <a:cubicBezTo>
                      <a:pt x="18" y="16"/>
                      <a:pt x="18" y="16"/>
                      <a:pt x="18" y="16"/>
                    </a:cubicBezTo>
                    <a:cubicBezTo>
                      <a:pt x="23" y="12"/>
                      <a:pt x="27" y="8"/>
                      <a:pt x="31" y="4"/>
                    </a:cubicBezTo>
                    <a:cubicBezTo>
                      <a:pt x="35" y="1"/>
                      <a:pt x="39" y="0"/>
                      <a:pt x="43" y="0"/>
                    </a:cubicBezTo>
                    <a:cubicBezTo>
                      <a:pt x="53" y="0"/>
                      <a:pt x="53" y="0"/>
                      <a:pt x="53" y="0"/>
                    </a:cubicBezTo>
                    <a:cubicBezTo>
                      <a:pt x="30" y="21"/>
                      <a:pt x="30" y="21"/>
                      <a:pt x="30" y="21"/>
                    </a:cubicBezTo>
                    <a:cubicBezTo>
                      <a:pt x="56" y="42"/>
                      <a:pt x="56" y="42"/>
                      <a:pt x="56" y="42"/>
                    </a:cubicBezTo>
                    <a:cubicBezTo>
                      <a:pt x="46" y="42"/>
                      <a:pt x="46" y="42"/>
                      <a:pt x="46" y="42"/>
                    </a:cubicBezTo>
                    <a:cubicBezTo>
                      <a:pt x="40" y="42"/>
                      <a:pt x="37" y="42"/>
                      <a:pt x="33" y="38"/>
                    </a:cubicBezTo>
                    <a:cubicBezTo>
                      <a:pt x="18" y="26"/>
                      <a:pt x="18" y="26"/>
                      <a:pt x="18" y="26"/>
                    </a:cubicBezTo>
                    <a:cubicBezTo>
                      <a:pt x="13" y="26"/>
                      <a:pt x="13" y="26"/>
                      <a:pt x="13" y="26"/>
                    </a:cubicBezTo>
                    <a:cubicBezTo>
                      <a:pt x="13" y="42"/>
                      <a:pt x="13" y="42"/>
                      <a:pt x="13" y="42"/>
                    </a:cubicBezTo>
                    <a:cubicBezTo>
                      <a:pt x="0" y="42"/>
                      <a:pt x="0" y="42"/>
                      <a:pt x="0" y="42"/>
                    </a:cubicBezTo>
                    <a:cubicBezTo>
                      <a:pt x="0" y="0"/>
                      <a:pt x="0" y="0"/>
                      <a:pt x="0" y="0"/>
                    </a:cubicBezTo>
                    <a:cubicBezTo>
                      <a:pt x="13" y="0"/>
                      <a:pt x="13" y="0"/>
                      <a:pt x="13" y="0"/>
                    </a:cubicBezTo>
                    <a:lnTo>
                      <a:pt x="13" y="16"/>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9" name="Freeform 30"/>
              <p:cNvSpPr>
                <a:spLocks/>
              </p:cNvSpPr>
              <p:nvPr/>
            </p:nvSpPr>
            <p:spPr bwMode="auto">
              <a:xfrm>
                <a:off x="3984625" y="3273426"/>
                <a:ext cx="203200" cy="158750"/>
              </a:xfrm>
              <a:custGeom>
                <a:avLst/>
                <a:gdLst>
                  <a:gd name="T0" fmla="*/ 48919 w 54"/>
                  <a:gd name="T1" fmla="*/ 158750 h 42"/>
                  <a:gd name="T2" fmla="*/ 0 w 54"/>
                  <a:gd name="T3" fmla="*/ 158750 h 42"/>
                  <a:gd name="T4" fmla="*/ 0 w 54"/>
                  <a:gd name="T5" fmla="*/ 0 h 42"/>
                  <a:gd name="T6" fmla="*/ 22578 w 54"/>
                  <a:gd name="T7" fmla="*/ 0 h 42"/>
                  <a:gd name="T8" fmla="*/ 48919 w 54"/>
                  <a:gd name="T9" fmla="*/ 26458 h 42"/>
                  <a:gd name="T10" fmla="*/ 48919 w 54"/>
                  <a:gd name="T11" fmla="*/ 56696 h 42"/>
                  <a:gd name="T12" fmla="*/ 150519 w 54"/>
                  <a:gd name="T13" fmla="*/ 56696 h 42"/>
                  <a:gd name="T14" fmla="*/ 150519 w 54"/>
                  <a:gd name="T15" fmla="*/ 26458 h 42"/>
                  <a:gd name="T16" fmla="*/ 180622 w 54"/>
                  <a:gd name="T17" fmla="*/ 0 h 42"/>
                  <a:gd name="T18" fmla="*/ 203200 w 54"/>
                  <a:gd name="T19" fmla="*/ 0 h 42"/>
                  <a:gd name="T20" fmla="*/ 203200 w 54"/>
                  <a:gd name="T21" fmla="*/ 30238 h 42"/>
                  <a:gd name="T22" fmla="*/ 203200 w 54"/>
                  <a:gd name="T23" fmla="*/ 158750 h 42"/>
                  <a:gd name="T24" fmla="*/ 150519 w 54"/>
                  <a:gd name="T25" fmla="*/ 158750 h 42"/>
                  <a:gd name="T26" fmla="*/ 150519 w 54"/>
                  <a:gd name="T27" fmla="*/ 98274 h 42"/>
                  <a:gd name="T28" fmla="*/ 48919 w 54"/>
                  <a:gd name="T29" fmla="*/ 98274 h 42"/>
                  <a:gd name="T30" fmla="*/ 48919 w 54"/>
                  <a:gd name="T31" fmla="*/ 158750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4" h="42">
                    <a:moveTo>
                      <a:pt x="13" y="42"/>
                    </a:moveTo>
                    <a:cubicBezTo>
                      <a:pt x="0" y="42"/>
                      <a:pt x="0" y="42"/>
                      <a:pt x="0" y="42"/>
                    </a:cubicBezTo>
                    <a:cubicBezTo>
                      <a:pt x="0" y="0"/>
                      <a:pt x="0" y="0"/>
                      <a:pt x="0" y="0"/>
                    </a:cubicBezTo>
                    <a:cubicBezTo>
                      <a:pt x="6" y="0"/>
                      <a:pt x="6" y="0"/>
                      <a:pt x="6" y="0"/>
                    </a:cubicBezTo>
                    <a:cubicBezTo>
                      <a:pt x="11" y="0"/>
                      <a:pt x="13" y="3"/>
                      <a:pt x="13" y="7"/>
                    </a:cubicBezTo>
                    <a:cubicBezTo>
                      <a:pt x="13" y="15"/>
                      <a:pt x="13" y="15"/>
                      <a:pt x="13" y="15"/>
                    </a:cubicBezTo>
                    <a:cubicBezTo>
                      <a:pt x="40" y="15"/>
                      <a:pt x="40" y="15"/>
                      <a:pt x="40" y="15"/>
                    </a:cubicBezTo>
                    <a:cubicBezTo>
                      <a:pt x="40" y="7"/>
                      <a:pt x="40" y="7"/>
                      <a:pt x="40" y="7"/>
                    </a:cubicBezTo>
                    <a:cubicBezTo>
                      <a:pt x="40" y="4"/>
                      <a:pt x="42" y="0"/>
                      <a:pt x="48" y="0"/>
                    </a:cubicBezTo>
                    <a:cubicBezTo>
                      <a:pt x="54" y="0"/>
                      <a:pt x="54" y="0"/>
                      <a:pt x="54" y="0"/>
                    </a:cubicBezTo>
                    <a:cubicBezTo>
                      <a:pt x="54" y="8"/>
                      <a:pt x="54" y="8"/>
                      <a:pt x="54" y="8"/>
                    </a:cubicBezTo>
                    <a:cubicBezTo>
                      <a:pt x="54" y="42"/>
                      <a:pt x="54" y="42"/>
                      <a:pt x="54" y="42"/>
                    </a:cubicBezTo>
                    <a:cubicBezTo>
                      <a:pt x="40" y="42"/>
                      <a:pt x="40" y="42"/>
                      <a:pt x="40" y="42"/>
                    </a:cubicBezTo>
                    <a:cubicBezTo>
                      <a:pt x="40" y="26"/>
                      <a:pt x="40" y="26"/>
                      <a:pt x="40" y="26"/>
                    </a:cubicBezTo>
                    <a:cubicBezTo>
                      <a:pt x="13" y="26"/>
                      <a:pt x="13" y="26"/>
                      <a:pt x="13" y="26"/>
                    </a:cubicBezTo>
                    <a:lnTo>
                      <a:pt x="13"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0" name="Freeform 31"/>
              <p:cNvSpPr>
                <a:spLocks/>
              </p:cNvSpPr>
              <p:nvPr/>
            </p:nvSpPr>
            <p:spPr bwMode="auto">
              <a:xfrm>
                <a:off x="4951413" y="3273426"/>
                <a:ext cx="180975" cy="158750"/>
              </a:xfrm>
              <a:custGeom>
                <a:avLst/>
                <a:gdLst>
                  <a:gd name="T0" fmla="*/ 180975 w 48"/>
                  <a:gd name="T1" fmla="*/ 37798 h 42"/>
                  <a:gd name="T2" fmla="*/ 52784 w 48"/>
                  <a:gd name="T3" fmla="*/ 37798 h 42"/>
                  <a:gd name="T4" fmla="*/ 52784 w 48"/>
                  <a:gd name="T5" fmla="*/ 64256 h 42"/>
                  <a:gd name="T6" fmla="*/ 180975 w 48"/>
                  <a:gd name="T7" fmla="*/ 64256 h 42"/>
                  <a:gd name="T8" fmla="*/ 180975 w 48"/>
                  <a:gd name="T9" fmla="*/ 98274 h 42"/>
                  <a:gd name="T10" fmla="*/ 52784 w 48"/>
                  <a:gd name="T11" fmla="*/ 98274 h 42"/>
                  <a:gd name="T12" fmla="*/ 52784 w 48"/>
                  <a:gd name="T13" fmla="*/ 120952 h 42"/>
                  <a:gd name="T14" fmla="*/ 180975 w 48"/>
                  <a:gd name="T15" fmla="*/ 120952 h 42"/>
                  <a:gd name="T16" fmla="*/ 180975 w 48"/>
                  <a:gd name="T17" fmla="*/ 158750 h 42"/>
                  <a:gd name="T18" fmla="*/ 0 w 48"/>
                  <a:gd name="T19" fmla="*/ 158750 h 42"/>
                  <a:gd name="T20" fmla="*/ 0 w 48"/>
                  <a:gd name="T21" fmla="*/ 37798 h 42"/>
                  <a:gd name="T22" fmla="*/ 41473 w 48"/>
                  <a:gd name="T23" fmla="*/ 0 h 42"/>
                  <a:gd name="T24" fmla="*/ 180975 w 48"/>
                  <a:gd name="T25" fmla="*/ 0 h 42"/>
                  <a:gd name="T26" fmla="*/ 180975 w 48"/>
                  <a:gd name="T27" fmla="*/ 37798 h 4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42">
                    <a:moveTo>
                      <a:pt x="48" y="10"/>
                    </a:moveTo>
                    <a:cubicBezTo>
                      <a:pt x="14" y="10"/>
                      <a:pt x="14" y="10"/>
                      <a:pt x="14" y="10"/>
                    </a:cubicBezTo>
                    <a:cubicBezTo>
                      <a:pt x="14" y="17"/>
                      <a:pt x="14" y="17"/>
                      <a:pt x="14" y="17"/>
                    </a:cubicBezTo>
                    <a:cubicBezTo>
                      <a:pt x="48" y="17"/>
                      <a:pt x="48" y="17"/>
                      <a:pt x="48" y="17"/>
                    </a:cubicBezTo>
                    <a:cubicBezTo>
                      <a:pt x="48" y="26"/>
                      <a:pt x="48" y="26"/>
                      <a:pt x="48" y="26"/>
                    </a:cubicBezTo>
                    <a:cubicBezTo>
                      <a:pt x="14" y="26"/>
                      <a:pt x="14" y="26"/>
                      <a:pt x="14" y="26"/>
                    </a:cubicBezTo>
                    <a:cubicBezTo>
                      <a:pt x="14" y="32"/>
                      <a:pt x="14" y="32"/>
                      <a:pt x="14" y="32"/>
                    </a:cubicBezTo>
                    <a:cubicBezTo>
                      <a:pt x="48" y="32"/>
                      <a:pt x="48" y="32"/>
                      <a:pt x="48" y="32"/>
                    </a:cubicBezTo>
                    <a:cubicBezTo>
                      <a:pt x="48" y="42"/>
                      <a:pt x="48" y="42"/>
                      <a:pt x="48" y="42"/>
                    </a:cubicBezTo>
                    <a:cubicBezTo>
                      <a:pt x="0" y="42"/>
                      <a:pt x="0" y="42"/>
                      <a:pt x="0" y="42"/>
                    </a:cubicBezTo>
                    <a:cubicBezTo>
                      <a:pt x="0" y="10"/>
                      <a:pt x="0" y="10"/>
                      <a:pt x="0" y="10"/>
                    </a:cubicBezTo>
                    <a:cubicBezTo>
                      <a:pt x="1" y="5"/>
                      <a:pt x="3" y="1"/>
                      <a:pt x="11" y="0"/>
                    </a:cubicBezTo>
                    <a:cubicBezTo>
                      <a:pt x="48" y="0"/>
                      <a:pt x="48" y="0"/>
                      <a:pt x="48" y="0"/>
                    </a:cubicBezTo>
                    <a:lnTo>
                      <a:pt x="48" y="1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1" name="Freeform 32"/>
              <p:cNvSpPr>
                <a:spLocks/>
              </p:cNvSpPr>
              <p:nvPr/>
            </p:nvSpPr>
            <p:spPr bwMode="auto">
              <a:xfrm>
                <a:off x="5143500" y="3273426"/>
                <a:ext cx="233363" cy="158750"/>
              </a:xfrm>
              <a:custGeom>
                <a:avLst/>
                <a:gdLst>
                  <a:gd name="T0" fmla="*/ 143029 w 62"/>
                  <a:gd name="T1" fmla="*/ 158750 h 42"/>
                  <a:gd name="T2" fmla="*/ 90334 w 62"/>
                  <a:gd name="T3" fmla="*/ 158750 h 42"/>
                  <a:gd name="T4" fmla="*/ 90334 w 62"/>
                  <a:gd name="T5" fmla="*/ 102054 h 42"/>
                  <a:gd name="T6" fmla="*/ 0 w 62"/>
                  <a:gd name="T7" fmla="*/ 0 h 42"/>
                  <a:gd name="T8" fmla="*/ 41403 w 62"/>
                  <a:gd name="T9" fmla="*/ 0 h 42"/>
                  <a:gd name="T10" fmla="*/ 75278 w 62"/>
                  <a:gd name="T11" fmla="*/ 15119 h 42"/>
                  <a:gd name="T12" fmla="*/ 116682 w 62"/>
                  <a:gd name="T13" fmla="*/ 64256 h 42"/>
                  <a:gd name="T14" fmla="*/ 158085 w 62"/>
                  <a:gd name="T15" fmla="*/ 15119 h 42"/>
                  <a:gd name="T16" fmla="*/ 199488 w 62"/>
                  <a:gd name="T17" fmla="*/ 0 h 42"/>
                  <a:gd name="T18" fmla="*/ 233363 w 62"/>
                  <a:gd name="T19" fmla="*/ 0 h 42"/>
                  <a:gd name="T20" fmla="*/ 143029 w 62"/>
                  <a:gd name="T21" fmla="*/ 102054 h 42"/>
                  <a:gd name="T22" fmla="*/ 143029 w 62"/>
                  <a:gd name="T23" fmla="*/ 158750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2" h="42">
                    <a:moveTo>
                      <a:pt x="38" y="42"/>
                    </a:moveTo>
                    <a:cubicBezTo>
                      <a:pt x="24" y="42"/>
                      <a:pt x="24" y="42"/>
                      <a:pt x="24" y="42"/>
                    </a:cubicBezTo>
                    <a:cubicBezTo>
                      <a:pt x="24" y="27"/>
                      <a:pt x="24" y="27"/>
                      <a:pt x="24" y="27"/>
                    </a:cubicBezTo>
                    <a:cubicBezTo>
                      <a:pt x="0" y="0"/>
                      <a:pt x="0" y="0"/>
                      <a:pt x="0" y="0"/>
                    </a:cubicBezTo>
                    <a:cubicBezTo>
                      <a:pt x="11" y="0"/>
                      <a:pt x="11" y="0"/>
                      <a:pt x="11" y="0"/>
                    </a:cubicBezTo>
                    <a:cubicBezTo>
                      <a:pt x="14" y="0"/>
                      <a:pt x="17" y="1"/>
                      <a:pt x="20" y="4"/>
                    </a:cubicBezTo>
                    <a:cubicBezTo>
                      <a:pt x="31" y="17"/>
                      <a:pt x="31" y="17"/>
                      <a:pt x="31" y="17"/>
                    </a:cubicBezTo>
                    <a:cubicBezTo>
                      <a:pt x="35" y="13"/>
                      <a:pt x="38" y="9"/>
                      <a:pt x="42" y="4"/>
                    </a:cubicBezTo>
                    <a:cubicBezTo>
                      <a:pt x="44" y="2"/>
                      <a:pt x="47" y="0"/>
                      <a:pt x="53" y="0"/>
                    </a:cubicBezTo>
                    <a:cubicBezTo>
                      <a:pt x="62" y="0"/>
                      <a:pt x="62" y="0"/>
                      <a:pt x="62" y="0"/>
                    </a:cubicBezTo>
                    <a:cubicBezTo>
                      <a:pt x="38" y="27"/>
                      <a:pt x="38" y="27"/>
                      <a:pt x="38" y="27"/>
                    </a:cubicBezTo>
                    <a:lnTo>
                      <a:pt x="38"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2" name="Freeform 33"/>
              <p:cNvSpPr>
                <a:spLocks/>
              </p:cNvSpPr>
              <p:nvPr/>
            </p:nvSpPr>
            <p:spPr bwMode="auto">
              <a:xfrm>
                <a:off x="5389563" y="3273426"/>
                <a:ext cx="157163" cy="158750"/>
              </a:xfrm>
              <a:custGeom>
                <a:avLst/>
                <a:gdLst>
                  <a:gd name="T0" fmla="*/ 48646 w 42"/>
                  <a:gd name="T1" fmla="*/ 120952 h 42"/>
                  <a:gd name="T2" fmla="*/ 157163 w 42"/>
                  <a:gd name="T3" fmla="*/ 120952 h 42"/>
                  <a:gd name="T4" fmla="*/ 157163 w 42"/>
                  <a:gd name="T5" fmla="*/ 158750 h 42"/>
                  <a:gd name="T6" fmla="*/ 0 w 42"/>
                  <a:gd name="T7" fmla="*/ 158750 h 42"/>
                  <a:gd name="T8" fmla="*/ 0 w 42"/>
                  <a:gd name="T9" fmla="*/ 0 h 42"/>
                  <a:gd name="T10" fmla="*/ 18710 w 42"/>
                  <a:gd name="T11" fmla="*/ 0 h 42"/>
                  <a:gd name="T12" fmla="*/ 48646 w 42"/>
                  <a:gd name="T13" fmla="*/ 26458 h 42"/>
                  <a:gd name="T14" fmla="*/ 48646 w 42"/>
                  <a:gd name="T15" fmla="*/ 120952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2">
                    <a:moveTo>
                      <a:pt x="13" y="32"/>
                    </a:moveTo>
                    <a:cubicBezTo>
                      <a:pt x="42" y="32"/>
                      <a:pt x="42" y="32"/>
                      <a:pt x="42" y="32"/>
                    </a:cubicBezTo>
                    <a:cubicBezTo>
                      <a:pt x="42" y="42"/>
                      <a:pt x="42" y="42"/>
                      <a:pt x="42" y="42"/>
                    </a:cubicBezTo>
                    <a:cubicBezTo>
                      <a:pt x="0" y="42"/>
                      <a:pt x="0" y="42"/>
                      <a:pt x="0" y="42"/>
                    </a:cubicBezTo>
                    <a:cubicBezTo>
                      <a:pt x="0" y="0"/>
                      <a:pt x="0" y="0"/>
                      <a:pt x="0" y="0"/>
                    </a:cubicBezTo>
                    <a:cubicBezTo>
                      <a:pt x="5" y="0"/>
                      <a:pt x="5" y="0"/>
                      <a:pt x="5" y="0"/>
                    </a:cubicBezTo>
                    <a:cubicBezTo>
                      <a:pt x="10" y="0"/>
                      <a:pt x="13" y="2"/>
                      <a:pt x="13" y="7"/>
                    </a:cubicBezTo>
                    <a:lnTo>
                      <a:pt x="13" y="3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3" name="Freeform 34"/>
              <p:cNvSpPr>
                <a:spLocks/>
              </p:cNvSpPr>
              <p:nvPr/>
            </p:nvSpPr>
            <p:spPr bwMode="auto">
              <a:xfrm>
                <a:off x="5818188" y="3273426"/>
                <a:ext cx="222250" cy="158750"/>
              </a:xfrm>
              <a:custGeom>
                <a:avLst/>
                <a:gdLst>
                  <a:gd name="T0" fmla="*/ 222250 w 59"/>
                  <a:gd name="T1" fmla="*/ 158750 h 42"/>
                  <a:gd name="T2" fmla="*/ 146911 w 59"/>
                  <a:gd name="T3" fmla="*/ 158750 h 42"/>
                  <a:gd name="T4" fmla="*/ 48970 w 59"/>
                  <a:gd name="T5" fmla="*/ 45357 h 42"/>
                  <a:gd name="T6" fmla="*/ 48970 w 59"/>
                  <a:gd name="T7" fmla="*/ 158750 h 42"/>
                  <a:gd name="T8" fmla="*/ 0 w 59"/>
                  <a:gd name="T9" fmla="*/ 158750 h 42"/>
                  <a:gd name="T10" fmla="*/ 0 w 59"/>
                  <a:gd name="T11" fmla="*/ 0 h 42"/>
                  <a:gd name="T12" fmla="*/ 41436 w 59"/>
                  <a:gd name="T13" fmla="*/ 0 h 42"/>
                  <a:gd name="T14" fmla="*/ 101708 w 59"/>
                  <a:gd name="T15" fmla="*/ 30238 h 42"/>
                  <a:gd name="T16" fmla="*/ 169513 w 59"/>
                  <a:gd name="T17" fmla="*/ 117173 h 42"/>
                  <a:gd name="T18" fmla="*/ 169513 w 59"/>
                  <a:gd name="T19" fmla="*/ 0 h 42"/>
                  <a:gd name="T20" fmla="*/ 222250 w 59"/>
                  <a:gd name="T21" fmla="*/ 0 h 42"/>
                  <a:gd name="T22" fmla="*/ 222250 w 59"/>
                  <a:gd name="T23" fmla="*/ 158750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42">
                    <a:moveTo>
                      <a:pt x="59" y="42"/>
                    </a:moveTo>
                    <a:cubicBezTo>
                      <a:pt x="39" y="42"/>
                      <a:pt x="39" y="42"/>
                      <a:pt x="39" y="42"/>
                    </a:cubicBezTo>
                    <a:cubicBezTo>
                      <a:pt x="13" y="12"/>
                      <a:pt x="13" y="12"/>
                      <a:pt x="13" y="12"/>
                    </a:cubicBezTo>
                    <a:cubicBezTo>
                      <a:pt x="13" y="42"/>
                      <a:pt x="13" y="42"/>
                      <a:pt x="13" y="42"/>
                    </a:cubicBezTo>
                    <a:cubicBezTo>
                      <a:pt x="0" y="42"/>
                      <a:pt x="0" y="42"/>
                      <a:pt x="0" y="42"/>
                    </a:cubicBezTo>
                    <a:cubicBezTo>
                      <a:pt x="0" y="0"/>
                      <a:pt x="0" y="0"/>
                      <a:pt x="0" y="0"/>
                    </a:cubicBezTo>
                    <a:cubicBezTo>
                      <a:pt x="11" y="0"/>
                      <a:pt x="11" y="0"/>
                      <a:pt x="11" y="0"/>
                    </a:cubicBezTo>
                    <a:cubicBezTo>
                      <a:pt x="19" y="0"/>
                      <a:pt x="23" y="4"/>
                      <a:pt x="27" y="8"/>
                    </a:cubicBezTo>
                    <a:cubicBezTo>
                      <a:pt x="45" y="31"/>
                      <a:pt x="45" y="31"/>
                      <a:pt x="45" y="31"/>
                    </a:cubicBezTo>
                    <a:cubicBezTo>
                      <a:pt x="45" y="0"/>
                      <a:pt x="45" y="0"/>
                      <a:pt x="45" y="0"/>
                    </a:cubicBezTo>
                    <a:cubicBezTo>
                      <a:pt x="59" y="0"/>
                      <a:pt x="59" y="0"/>
                      <a:pt x="59" y="0"/>
                    </a:cubicBezTo>
                    <a:lnTo>
                      <a:pt x="59"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4" name="Freeform 35"/>
              <p:cNvSpPr>
                <a:spLocks noEditPoints="1"/>
              </p:cNvSpPr>
              <p:nvPr/>
            </p:nvSpPr>
            <p:spPr bwMode="auto">
              <a:xfrm>
                <a:off x="6062663" y="3273426"/>
                <a:ext cx="214313" cy="158750"/>
              </a:xfrm>
              <a:custGeom>
                <a:avLst/>
                <a:gdLst>
                  <a:gd name="T0" fmla="*/ 127836 w 57"/>
                  <a:gd name="T1" fmla="*/ 37798 h 42"/>
                  <a:gd name="T2" fmla="*/ 48878 w 57"/>
                  <a:gd name="T3" fmla="*/ 37798 h 42"/>
                  <a:gd name="T4" fmla="*/ 48878 w 57"/>
                  <a:gd name="T5" fmla="*/ 120952 h 42"/>
                  <a:gd name="T6" fmla="*/ 131596 w 57"/>
                  <a:gd name="T7" fmla="*/ 120952 h 42"/>
                  <a:gd name="T8" fmla="*/ 154155 w 57"/>
                  <a:gd name="T9" fmla="*/ 113393 h 42"/>
                  <a:gd name="T10" fmla="*/ 161675 w 57"/>
                  <a:gd name="T11" fmla="*/ 94494 h 42"/>
                  <a:gd name="T12" fmla="*/ 161675 w 57"/>
                  <a:gd name="T13" fmla="*/ 68036 h 42"/>
                  <a:gd name="T14" fmla="*/ 154155 w 57"/>
                  <a:gd name="T15" fmla="*/ 45357 h 42"/>
                  <a:gd name="T16" fmla="*/ 127836 w 57"/>
                  <a:gd name="T17" fmla="*/ 37798 h 42"/>
                  <a:gd name="T18" fmla="*/ 142875 w 57"/>
                  <a:gd name="T19" fmla="*/ 0 h 42"/>
                  <a:gd name="T20" fmla="*/ 195514 w 57"/>
                  <a:gd name="T21" fmla="*/ 11339 h 42"/>
                  <a:gd name="T22" fmla="*/ 214313 w 57"/>
                  <a:gd name="T23" fmla="*/ 52917 h 42"/>
                  <a:gd name="T24" fmla="*/ 214313 w 57"/>
                  <a:gd name="T25" fmla="*/ 109613 h 42"/>
                  <a:gd name="T26" fmla="*/ 199273 w 57"/>
                  <a:gd name="T27" fmla="*/ 147411 h 42"/>
                  <a:gd name="T28" fmla="*/ 157915 w 57"/>
                  <a:gd name="T29" fmla="*/ 158750 h 42"/>
                  <a:gd name="T30" fmla="*/ 0 w 57"/>
                  <a:gd name="T31" fmla="*/ 158750 h 42"/>
                  <a:gd name="T32" fmla="*/ 0 w 57"/>
                  <a:gd name="T33" fmla="*/ 0 h 42"/>
                  <a:gd name="T34" fmla="*/ 142875 w 57"/>
                  <a:gd name="T35" fmla="*/ 0 h 4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7" h="42">
                    <a:moveTo>
                      <a:pt x="34" y="10"/>
                    </a:moveTo>
                    <a:cubicBezTo>
                      <a:pt x="13" y="10"/>
                      <a:pt x="13" y="10"/>
                      <a:pt x="13" y="10"/>
                    </a:cubicBezTo>
                    <a:cubicBezTo>
                      <a:pt x="13" y="32"/>
                      <a:pt x="13" y="32"/>
                      <a:pt x="13" y="32"/>
                    </a:cubicBezTo>
                    <a:cubicBezTo>
                      <a:pt x="35" y="32"/>
                      <a:pt x="35" y="32"/>
                      <a:pt x="35" y="32"/>
                    </a:cubicBezTo>
                    <a:cubicBezTo>
                      <a:pt x="38" y="32"/>
                      <a:pt x="40" y="31"/>
                      <a:pt x="41" y="30"/>
                    </a:cubicBezTo>
                    <a:cubicBezTo>
                      <a:pt x="43" y="29"/>
                      <a:pt x="43" y="27"/>
                      <a:pt x="43" y="25"/>
                    </a:cubicBezTo>
                    <a:cubicBezTo>
                      <a:pt x="43" y="18"/>
                      <a:pt x="43" y="18"/>
                      <a:pt x="43" y="18"/>
                    </a:cubicBezTo>
                    <a:cubicBezTo>
                      <a:pt x="43" y="15"/>
                      <a:pt x="43" y="13"/>
                      <a:pt x="41" y="12"/>
                    </a:cubicBezTo>
                    <a:cubicBezTo>
                      <a:pt x="39" y="11"/>
                      <a:pt x="37" y="10"/>
                      <a:pt x="34" y="10"/>
                    </a:cubicBezTo>
                    <a:moveTo>
                      <a:pt x="38" y="0"/>
                    </a:moveTo>
                    <a:cubicBezTo>
                      <a:pt x="44" y="0"/>
                      <a:pt x="49" y="1"/>
                      <a:pt x="52" y="3"/>
                    </a:cubicBezTo>
                    <a:cubicBezTo>
                      <a:pt x="55" y="6"/>
                      <a:pt x="57" y="9"/>
                      <a:pt x="57" y="14"/>
                    </a:cubicBezTo>
                    <a:cubicBezTo>
                      <a:pt x="57" y="29"/>
                      <a:pt x="57" y="29"/>
                      <a:pt x="57" y="29"/>
                    </a:cubicBezTo>
                    <a:cubicBezTo>
                      <a:pt x="57" y="33"/>
                      <a:pt x="55" y="37"/>
                      <a:pt x="53" y="39"/>
                    </a:cubicBezTo>
                    <a:cubicBezTo>
                      <a:pt x="51" y="41"/>
                      <a:pt x="47" y="42"/>
                      <a:pt x="42" y="42"/>
                    </a:cubicBezTo>
                    <a:cubicBezTo>
                      <a:pt x="0" y="42"/>
                      <a:pt x="0" y="42"/>
                      <a:pt x="0" y="42"/>
                    </a:cubicBezTo>
                    <a:cubicBezTo>
                      <a:pt x="0" y="0"/>
                      <a:pt x="0" y="0"/>
                      <a:pt x="0" y="0"/>
                    </a:cubicBezTo>
                    <a:lnTo>
                      <a:pt x="38" y="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5" name="Freeform 36"/>
              <p:cNvSpPr>
                <a:spLocks/>
              </p:cNvSpPr>
              <p:nvPr/>
            </p:nvSpPr>
            <p:spPr bwMode="auto">
              <a:xfrm>
                <a:off x="3756025" y="3273426"/>
                <a:ext cx="203200" cy="163513"/>
              </a:xfrm>
              <a:custGeom>
                <a:avLst/>
                <a:gdLst>
                  <a:gd name="T0" fmla="*/ 135467 w 54"/>
                  <a:gd name="T1" fmla="*/ 125487 h 43"/>
                  <a:gd name="T2" fmla="*/ 150519 w 54"/>
                  <a:gd name="T3" fmla="*/ 121684 h 43"/>
                  <a:gd name="T4" fmla="*/ 154281 w 54"/>
                  <a:gd name="T5" fmla="*/ 114079 h 43"/>
                  <a:gd name="T6" fmla="*/ 150519 w 54"/>
                  <a:gd name="T7" fmla="*/ 102671 h 43"/>
                  <a:gd name="T8" fmla="*/ 127941 w 54"/>
                  <a:gd name="T9" fmla="*/ 98868 h 43"/>
                  <a:gd name="T10" fmla="*/ 52681 w 54"/>
                  <a:gd name="T11" fmla="*/ 95066 h 43"/>
                  <a:gd name="T12" fmla="*/ 11289 w 54"/>
                  <a:gd name="T13" fmla="*/ 83658 h 43"/>
                  <a:gd name="T14" fmla="*/ 0 w 54"/>
                  <a:gd name="T15" fmla="*/ 49434 h 43"/>
                  <a:gd name="T16" fmla="*/ 3763 w 54"/>
                  <a:gd name="T17" fmla="*/ 26618 h 43"/>
                  <a:gd name="T18" fmla="*/ 11289 w 54"/>
                  <a:gd name="T19" fmla="*/ 11408 h 43"/>
                  <a:gd name="T20" fmla="*/ 30104 w 54"/>
                  <a:gd name="T21" fmla="*/ 0 h 43"/>
                  <a:gd name="T22" fmla="*/ 67733 w 54"/>
                  <a:gd name="T23" fmla="*/ 0 h 43"/>
                  <a:gd name="T24" fmla="*/ 146756 w 54"/>
                  <a:gd name="T25" fmla="*/ 0 h 43"/>
                  <a:gd name="T26" fmla="*/ 184385 w 54"/>
                  <a:gd name="T27" fmla="*/ 7605 h 43"/>
                  <a:gd name="T28" fmla="*/ 199437 w 54"/>
                  <a:gd name="T29" fmla="*/ 34224 h 43"/>
                  <a:gd name="T30" fmla="*/ 75259 w 54"/>
                  <a:gd name="T31" fmla="*/ 34224 h 43"/>
                  <a:gd name="T32" fmla="*/ 56444 w 54"/>
                  <a:gd name="T33" fmla="*/ 38026 h 43"/>
                  <a:gd name="T34" fmla="*/ 52681 w 54"/>
                  <a:gd name="T35" fmla="*/ 45632 h 43"/>
                  <a:gd name="T36" fmla="*/ 56444 w 54"/>
                  <a:gd name="T37" fmla="*/ 57039 h 43"/>
                  <a:gd name="T38" fmla="*/ 71496 w 54"/>
                  <a:gd name="T39" fmla="*/ 60842 h 43"/>
                  <a:gd name="T40" fmla="*/ 154281 w 54"/>
                  <a:gd name="T41" fmla="*/ 60842 h 43"/>
                  <a:gd name="T42" fmla="*/ 191911 w 54"/>
                  <a:gd name="T43" fmla="*/ 72250 h 43"/>
                  <a:gd name="T44" fmla="*/ 203200 w 54"/>
                  <a:gd name="T45" fmla="*/ 114079 h 43"/>
                  <a:gd name="T46" fmla="*/ 199437 w 54"/>
                  <a:gd name="T47" fmla="*/ 140697 h 43"/>
                  <a:gd name="T48" fmla="*/ 184385 w 54"/>
                  <a:gd name="T49" fmla="*/ 155908 h 43"/>
                  <a:gd name="T50" fmla="*/ 169333 w 54"/>
                  <a:gd name="T51" fmla="*/ 159710 h 43"/>
                  <a:gd name="T52" fmla="*/ 135467 w 54"/>
                  <a:gd name="T53" fmla="*/ 163513 h 43"/>
                  <a:gd name="T54" fmla="*/ 67733 w 54"/>
                  <a:gd name="T55" fmla="*/ 163513 h 43"/>
                  <a:gd name="T56" fmla="*/ 15052 w 54"/>
                  <a:gd name="T57" fmla="*/ 152105 h 43"/>
                  <a:gd name="T58" fmla="*/ 0 w 54"/>
                  <a:gd name="T59" fmla="*/ 125487 h 43"/>
                  <a:gd name="T60" fmla="*/ 135467 w 54"/>
                  <a:gd name="T61" fmla="*/ 125487 h 4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43">
                    <a:moveTo>
                      <a:pt x="36" y="33"/>
                    </a:moveTo>
                    <a:cubicBezTo>
                      <a:pt x="38" y="33"/>
                      <a:pt x="39" y="33"/>
                      <a:pt x="40" y="32"/>
                    </a:cubicBezTo>
                    <a:cubicBezTo>
                      <a:pt x="40" y="32"/>
                      <a:pt x="41" y="31"/>
                      <a:pt x="41" y="30"/>
                    </a:cubicBezTo>
                    <a:cubicBezTo>
                      <a:pt x="41" y="28"/>
                      <a:pt x="40" y="27"/>
                      <a:pt x="40" y="27"/>
                    </a:cubicBezTo>
                    <a:cubicBezTo>
                      <a:pt x="39" y="26"/>
                      <a:pt x="37" y="26"/>
                      <a:pt x="34" y="26"/>
                    </a:cubicBezTo>
                    <a:cubicBezTo>
                      <a:pt x="14" y="25"/>
                      <a:pt x="14" y="25"/>
                      <a:pt x="14" y="25"/>
                    </a:cubicBezTo>
                    <a:cubicBezTo>
                      <a:pt x="8" y="25"/>
                      <a:pt x="5" y="24"/>
                      <a:pt x="3" y="22"/>
                    </a:cubicBezTo>
                    <a:cubicBezTo>
                      <a:pt x="1" y="21"/>
                      <a:pt x="0" y="17"/>
                      <a:pt x="0" y="13"/>
                    </a:cubicBezTo>
                    <a:cubicBezTo>
                      <a:pt x="0" y="10"/>
                      <a:pt x="1" y="8"/>
                      <a:pt x="1" y="7"/>
                    </a:cubicBezTo>
                    <a:cubicBezTo>
                      <a:pt x="2" y="5"/>
                      <a:pt x="2" y="4"/>
                      <a:pt x="3" y="3"/>
                    </a:cubicBezTo>
                    <a:cubicBezTo>
                      <a:pt x="5" y="2"/>
                      <a:pt x="6" y="1"/>
                      <a:pt x="8" y="0"/>
                    </a:cubicBezTo>
                    <a:cubicBezTo>
                      <a:pt x="10" y="0"/>
                      <a:pt x="14" y="0"/>
                      <a:pt x="18" y="0"/>
                    </a:cubicBezTo>
                    <a:cubicBezTo>
                      <a:pt x="39" y="0"/>
                      <a:pt x="39" y="0"/>
                      <a:pt x="39" y="0"/>
                    </a:cubicBezTo>
                    <a:cubicBezTo>
                      <a:pt x="44" y="0"/>
                      <a:pt x="47" y="0"/>
                      <a:pt x="49" y="2"/>
                    </a:cubicBezTo>
                    <a:cubicBezTo>
                      <a:pt x="51" y="4"/>
                      <a:pt x="52" y="6"/>
                      <a:pt x="53" y="9"/>
                    </a:cubicBezTo>
                    <a:cubicBezTo>
                      <a:pt x="20" y="9"/>
                      <a:pt x="20" y="9"/>
                      <a:pt x="20" y="9"/>
                    </a:cubicBezTo>
                    <a:cubicBezTo>
                      <a:pt x="18" y="9"/>
                      <a:pt x="16" y="9"/>
                      <a:pt x="15" y="10"/>
                    </a:cubicBezTo>
                    <a:cubicBezTo>
                      <a:pt x="14" y="10"/>
                      <a:pt x="14" y="11"/>
                      <a:pt x="14" y="12"/>
                    </a:cubicBezTo>
                    <a:cubicBezTo>
                      <a:pt x="14" y="13"/>
                      <a:pt x="14" y="14"/>
                      <a:pt x="15" y="15"/>
                    </a:cubicBezTo>
                    <a:cubicBezTo>
                      <a:pt x="16" y="15"/>
                      <a:pt x="17" y="16"/>
                      <a:pt x="19" y="16"/>
                    </a:cubicBezTo>
                    <a:cubicBezTo>
                      <a:pt x="41" y="16"/>
                      <a:pt x="41" y="16"/>
                      <a:pt x="41" y="16"/>
                    </a:cubicBezTo>
                    <a:cubicBezTo>
                      <a:pt x="46" y="16"/>
                      <a:pt x="49" y="17"/>
                      <a:pt x="51" y="19"/>
                    </a:cubicBezTo>
                    <a:cubicBezTo>
                      <a:pt x="53" y="21"/>
                      <a:pt x="54" y="25"/>
                      <a:pt x="54" y="30"/>
                    </a:cubicBezTo>
                    <a:cubicBezTo>
                      <a:pt x="54" y="33"/>
                      <a:pt x="54" y="35"/>
                      <a:pt x="53" y="37"/>
                    </a:cubicBezTo>
                    <a:cubicBezTo>
                      <a:pt x="53" y="38"/>
                      <a:pt x="51" y="40"/>
                      <a:pt x="49" y="41"/>
                    </a:cubicBezTo>
                    <a:cubicBezTo>
                      <a:pt x="48" y="41"/>
                      <a:pt x="47" y="42"/>
                      <a:pt x="45" y="42"/>
                    </a:cubicBezTo>
                    <a:cubicBezTo>
                      <a:pt x="43" y="43"/>
                      <a:pt x="40" y="43"/>
                      <a:pt x="36" y="43"/>
                    </a:cubicBezTo>
                    <a:cubicBezTo>
                      <a:pt x="18" y="43"/>
                      <a:pt x="18" y="43"/>
                      <a:pt x="18" y="43"/>
                    </a:cubicBezTo>
                    <a:cubicBezTo>
                      <a:pt x="11" y="43"/>
                      <a:pt x="6" y="42"/>
                      <a:pt x="4" y="40"/>
                    </a:cubicBezTo>
                    <a:cubicBezTo>
                      <a:pt x="2" y="39"/>
                      <a:pt x="0" y="36"/>
                      <a:pt x="0" y="33"/>
                    </a:cubicBezTo>
                    <a:lnTo>
                      <a:pt x="36" y="33"/>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6" name="Freeform 37"/>
              <p:cNvSpPr>
                <a:spLocks noEditPoints="1"/>
              </p:cNvSpPr>
              <p:nvPr/>
            </p:nvSpPr>
            <p:spPr bwMode="auto">
              <a:xfrm>
                <a:off x="3506788" y="3273426"/>
                <a:ext cx="241300" cy="158750"/>
              </a:xfrm>
              <a:custGeom>
                <a:avLst/>
                <a:gdLst>
                  <a:gd name="T0" fmla="*/ 57150 w 152"/>
                  <a:gd name="T1" fmla="*/ 158750 h 100"/>
                  <a:gd name="T2" fmla="*/ 0 w 152"/>
                  <a:gd name="T3" fmla="*/ 158750 h 100"/>
                  <a:gd name="T4" fmla="*/ 90488 w 152"/>
                  <a:gd name="T5" fmla="*/ 0 h 100"/>
                  <a:gd name="T6" fmla="*/ 153988 w 152"/>
                  <a:gd name="T7" fmla="*/ 0 h 100"/>
                  <a:gd name="T8" fmla="*/ 241300 w 152"/>
                  <a:gd name="T9" fmla="*/ 158750 h 100"/>
                  <a:gd name="T10" fmla="*/ 188913 w 152"/>
                  <a:gd name="T11" fmla="*/ 158750 h 100"/>
                  <a:gd name="T12" fmla="*/ 169863 w 152"/>
                  <a:gd name="T13" fmla="*/ 133350 h 100"/>
                  <a:gd name="T14" fmla="*/ 71438 w 152"/>
                  <a:gd name="T15" fmla="*/ 133350 h 100"/>
                  <a:gd name="T16" fmla="*/ 57150 w 152"/>
                  <a:gd name="T17" fmla="*/ 158750 h 100"/>
                  <a:gd name="T18" fmla="*/ 90488 w 152"/>
                  <a:gd name="T19" fmla="*/ 95250 h 100"/>
                  <a:gd name="T20" fmla="*/ 153988 w 152"/>
                  <a:gd name="T21" fmla="*/ 95250 h 100"/>
                  <a:gd name="T22" fmla="*/ 120650 w 152"/>
                  <a:gd name="T23" fmla="*/ 38100 h 100"/>
                  <a:gd name="T24" fmla="*/ 90488 w 152"/>
                  <a:gd name="T25" fmla="*/ 9525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2" h="100">
                    <a:moveTo>
                      <a:pt x="36" y="100"/>
                    </a:moveTo>
                    <a:lnTo>
                      <a:pt x="0" y="100"/>
                    </a:lnTo>
                    <a:lnTo>
                      <a:pt x="57" y="0"/>
                    </a:lnTo>
                    <a:lnTo>
                      <a:pt x="97" y="0"/>
                    </a:lnTo>
                    <a:lnTo>
                      <a:pt x="152" y="100"/>
                    </a:lnTo>
                    <a:lnTo>
                      <a:pt x="119" y="100"/>
                    </a:lnTo>
                    <a:lnTo>
                      <a:pt x="107" y="84"/>
                    </a:lnTo>
                    <a:lnTo>
                      <a:pt x="45" y="84"/>
                    </a:lnTo>
                    <a:lnTo>
                      <a:pt x="36" y="100"/>
                    </a:lnTo>
                    <a:close/>
                    <a:moveTo>
                      <a:pt x="57" y="60"/>
                    </a:moveTo>
                    <a:lnTo>
                      <a:pt x="97" y="60"/>
                    </a:lnTo>
                    <a:lnTo>
                      <a:pt x="76" y="24"/>
                    </a:lnTo>
                    <a:lnTo>
                      <a:pt x="57" y="6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7" name="Freeform 38"/>
              <p:cNvSpPr>
                <a:spLocks noEditPoints="1"/>
              </p:cNvSpPr>
              <p:nvPr/>
            </p:nvSpPr>
            <p:spPr bwMode="auto">
              <a:xfrm>
                <a:off x="4214813" y="3273426"/>
                <a:ext cx="222250" cy="163513"/>
              </a:xfrm>
              <a:custGeom>
                <a:avLst/>
                <a:gdLst>
                  <a:gd name="T0" fmla="*/ 79106 w 59"/>
                  <a:gd name="T1" fmla="*/ 163513 h 43"/>
                  <a:gd name="T2" fmla="*/ 37669 w 59"/>
                  <a:gd name="T3" fmla="*/ 159710 h 43"/>
                  <a:gd name="T4" fmla="*/ 18835 w 59"/>
                  <a:gd name="T5" fmla="*/ 152105 h 43"/>
                  <a:gd name="T6" fmla="*/ 3767 w 59"/>
                  <a:gd name="T7" fmla="*/ 133092 h 43"/>
                  <a:gd name="T8" fmla="*/ 0 w 59"/>
                  <a:gd name="T9" fmla="*/ 102671 h 43"/>
                  <a:gd name="T10" fmla="*/ 0 w 59"/>
                  <a:gd name="T11" fmla="*/ 60842 h 43"/>
                  <a:gd name="T12" fmla="*/ 3767 w 59"/>
                  <a:gd name="T13" fmla="*/ 26618 h 43"/>
                  <a:gd name="T14" fmla="*/ 18835 w 59"/>
                  <a:gd name="T15" fmla="*/ 7605 h 43"/>
                  <a:gd name="T16" fmla="*/ 37669 w 59"/>
                  <a:gd name="T17" fmla="*/ 0 h 43"/>
                  <a:gd name="T18" fmla="*/ 79106 w 59"/>
                  <a:gd name="T19" fmla="*/ 0 h 43"/>
                  <a:gd name="T20" fmla="*/ 139377 w 59"/>
                  <a:gd name="T21" fmla="*/ 0 h 43"/>
                  <a:gd name="T22" fmla="*/ 180814 w 59"/>
                  <a:gd name="T23" fmla="*/ 0 h 43"/>
                  <a:gd name="T24" fmla="*/ 203415 w 59"/>
                  <a:gd name="T25" fmla="*/ 7605 h 43"/>
                  <a:gd name="T26" fmla="*/ 214716 w 59"/>
                  <a:gd name="T27" fmla="*/ 26618 h 43"/>
                  <a:gd name="T28" fmla="*/ 222250 w 59"/>
                  <a:gd name="T29" fmla="*/ 57039 h 43"/>
                  <a:gd name="T30" fmla="*/ 222250 w 59"/>
                  <a:gd name="T31" fmla="*/ 102671 h 43"/>
                  <a:gd name="T32" fmla="*/ 214716 w 59"/>
                  <a:gd name="T33" fmla="*/ 133092 h 43"/>
                  <a:gd name="T34" fmla="*/ 203415 w 59"/>
                  <a:gd name="T35" fmla="*/ 152105 h 43"/>
                  <a:gd name="T36" fmla="*/ 180814 w 59"/>
                  <a:gd name="T37" fmla="*/ 159710 h 43"/>
                  <a:gd name="T38" fmla="*/ 139377 w 59"/>
                  <a:gd name="T39" fmla="*/ 163513 h 43"/>
                  <a:gd name="T40" fmla="*/ 79106 w 59"/>
                  <a:gd name="T41" fmla="*/ 163513 h 43"/>
                  <a:gd name="T42" fmla="*/ 94174 w 59"/>
                  <a:gd name="T43" fmla="*/ 121684 h 43"/>
                  <a:gd name="T44" fmla="*/ 124309 w 59"/>
                  <a:gd name="T45" fmla="*/ 121684 h 43"/>
                  <a:gd name="T46" fmla="*/ 161979 w 59"/>
                  <a:gd name="T47" fmla="*/ 114079 h 43"/>
                  <a:gd name="T48" fmla="*/ 169513 w 59"/>
                  <a:gd name="T49" fmla="*/ 91263 h 43"/>
                  <a:gd name="T50" fmla="*/ 169513 w 59"/>
                  <a:gd name="T51" fmla="*/ 68447 h 43"/>
                  <a:gd name="T52" fmla="*/ 161979 w 59"/>
                  <a:gd name="T53" fmla="*/ 45632 h 43"/>
                  <a:gd name="T54" fmla="*/ 124309 w 59"/>
                  <a:gd name="T55" fmla="*/ 38026 h 43"/>
                  <a:gd name="T56" fmla="*/ 94174 w 59"/>
                  <a:gd name="T57" fmla="*/ 38026 h 43"/>
                  <a:gd name="T58" fmla="*/ 60271 w 59"/>
                  <a:gd name="T59" fmla="*/ 45632 h 43"/>
                  <a:gd name="T60" fmla="*/ 48970 w 59"/>
                  <a:gd name="T61" fmla="*/ 68447 h 43"/>
                  <a:gd name="T62" fmla="*/ 48970 w 59"/>
                  <a:gd name="T63" fmla="*/ 91263 h 43"/>
                  <a:gd name="T64" fmla="*/ 60271 w 59"/>
                  <a:gd name="T65" fmla="*/ 114079 h 43"/>
                  <a:gd name="T66" fmla="*/ 94174 w 59"/>
                  <a:gd name="T67" fmla="*/ 121684 h 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9" h="43">
                    <a:moveTo>
                      <a:pt x="21" y="43"/>
                    </a:moveTo>
                    <a:cubicBezTo>
                      <a:pt x="16" y="43"/>
                      <a:pt x="13" y="42"/>
                      <a:pt x="10" y="42"/>
                    </a:cubicBezTo>
                    <a:cubicBezTo>
                      <a:pt x="8" y="42"/>
                      <a:pt x="6" y="41"/>
                      <a:pt x="5" y="40"/>
                    </a:cubicBezTo>
                    <a:cubicBezTo>
                      <a:pt x="3" y="39"/>
                      <a:pt x="2" y="37"/>
                      <a:pt x="1" y="35"/>
                    </a:cubicBezTo>
                    <a:cubicBezTo>
                      <a:pt x="0" y="33"/>
                      <a:pt x="0" y="30"/>
                      <a:pt x="0" y="27"/>
                    </a:cubicBezTo>
                    <a:cubicBezTo>
                      <a:pt x="0" y="16"/>
                      <a:pt x="0" y="16"/>
                      <a:pt x="0" y="16"/>
                    </a:cubicBezTo>
                    <a:cubicBezTo>
                      <a:pt x="0" y="12"/>
                      <a:pt x="0" y="9"/>
                      <a:pt x="1" y="7"/>
                    </a:cubicBezTo>
                    <a:cubicBezTo>
                      <a:pt x="2" y="5"/>
                      <a:pt x="3" y="4"/>
                      <a:pt x="5" y="2"/>
                    </a:cubicBezTo>
                    <a:cubicBezTo>
                      <a:pt x="6" y="1"/>
                      <a:pt x="8" y="1"/>
                      <a:pt x="10" y="0"/>
                    </a:cubicBezTo>
                    <a:cubicBezTo>
                      <a:pt x="13" y="0"/>
                      <a:pt x="17" y="0"/>
                      <a:pt x="21" y="0"/>
                    </a:cubicBezTo>
                    <a:cubicBezTo>
                      <a:pt x="37" y="0"/>
                      <a:pt x="37" y="0"/>
                      <a:pt x="37" y="0"/>
                    </a:cubicBezTo>
                    <a:cubicBezTo>
                      <a:pt x="42" y="0"/>
                      <a:pt x="46" y="0"/>
                      <a:pt x="48" y="0"/>
                    </a:cubicBezTo>
                    <a:cubicBezTo>
                      <a:pt x="51" y="1"/>
                      <a:pt x="52" y="1"/>
                      <a:pt x="54" y="2"/>
                    </a:cubicBezTo>
                    <a:cubicBezTo>
                      <a:pt x="56" y="4"/>
                      <a:pt x="57" y="5"/>
                      <a:pt x="57" y="7"/>
                    </a:cubicBezTo>
                    <a:cubicBezTo>
                      <a:pt x="58" y="9"/>
                      <a:pt x="59" y="12"/>
                      <a:pt x="59" y="15"/>
                    </a:cubicBezTo>
                    <a:cubicBezTo>
                      <a:pt x="59" y="27"/>
                      <a:pt x="59" y="27"/>
                      <a:pt x="59" y="27"/>
                    </a:cubicBezTo>
                    <a:cubicBezTo>
                      <a:pt x="59" y="30"/>
                      <a:pt x="58" y="33"/>
                      <a:pt x="57" y="35"/>
                    </a:cubicBezTo>
                    <a:cubicBezTo>
                      <a:pt x="57" y="37"/>
                      <a:pt x="56" y="39"/>
                      <a:pt x="54" y="40"/>
                    </a:cubicBezTo>
                    <a:cubicBezTo>
                      <a:pt x="52" y="41"/>
                      <a:pt x="51" y="42"/>
                      <a:pt x="48" y="42"/>
                    </a:cubicBezTo>
                    <a:cubicBezTo>
                      <a:pt x="46" y="42"/>
                      <a:pt x="42" y="43"/>
                      <a:pt x="37" y="43"/>
                    </a:cubicBezTo>
                    <a:lnTo>
                      <a:pt x="21" y="43"/>
                    </a:lnTo>
                    <a:close/>
                    <a:moveTo>
                      <a:pt x="25" y="32"/>
                    </a:moveTo>
                    <a:cubicBezTo>
                      <a:pt x="33" y="32"/>
                      <a:pt x="33" y="32"/>
                      <a:pt x="33" y="32"/>
                    </a:cubicBezTo>
                    <a:cubicBezTo>
                      <a:pt x="38" y="32"/>
                      <a:pt x="41" y="32"/>
                      <a:pt x="43" y="30"/>
                    </a:cubicBezTo>
                    <a:cubicBezTo>
                      <a:pt x="44" y="29"/>
                      <a:pt x="45" y="27"/>
                      <a:pt x="45" y="24"/>
                    </a:cubicBezTo>
                    <a:cubicBezTo>
                      <a:pt x="45" y="18"/>
                      <a:pt x="45" y="18"/>
                      <a:pt x="45" y="18"/>
                    </a:cubicBezTo>
                    <a:cubicBezTo>
                      <a:pt x="45" y="15"/>
                      <a:pt x="44" y="13"/>
                      <a:pt x="43" y="12"/>
                    </a:cubicBezTo>
                    <a:cubicBezTo>
                      <a:pt x="41" y="11"/>
                      <a:pt x="38" y="10"/>
                      <a:pt x="33" y="10"/>
                    </a:cubicBezTo>
                    <a:cubicBezTo>
                      <a:pt x="25" y="10"/>
                      <a:pt x="25" y="10"/>
                      <a:pt x="25" y="10"/>
                    </a:cubicBezTo>
                    <a:cubicBezTo>
                      <a:pt x="20" y="10"/>
                      <a:pt x="17" y="11"/>
                      <a:pt x="16" y="12"/>
                    </a:cubicBezTo>
                    <a:cubicBezTo>
                      <a:pt x="14" y="13"/>
                      <a:pt x="13" y="15"/>
                      <a:pt x="13" y="18"/>
                    </a:cubicBezTo>
                    <a:cubicBezTo>
                      <a:pt x="13" y="24"/>
                      <a:pt x="13" y="24"/>
                      <a:pt x="13" y="24"/>
                    </a:cubicBezTo>
                    <a:cubicBezTo>
                      <a:pt x="13" y="27"/>
                      <a:pt x="14" y="29"/>
                      <a:pt x="16" y="30"/>
                    </a:cubicBezTo>
                    <a:cubicBezTo>
                      <a:pt x="17" y="32"/>
                      <a:pt x="20" y="32"/>
                      <a:pt x="25" y="32"/>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8" name="Freeform 39"/>
              <p:cNvSpPr>
                <a:spLocks noEditPoints="1"/>
              </p:cNvSpPr>
              <p:nvPr/>
            </p:nvSpPr>
            <p:spPr bwMode="auto">
              <a:xfrm>
                <a:off x="5562600" y="3273426"/>
                <a:ext cx="239713" cy="158750"/>
              </a:xfrm>
              <a:custGeom>
                <a:avLst/>
                <a:gdLst>
                  <a:gd name="T0" fmla="*/ 52388 w 151"/>
                  <a:gd name="T1" fmla="*/ 158750 h 100"/>
                  <a:gd name="T2" fmla="*/ 0 w 151"/>
                  <a:gd name="T3" fmla="*/ 158750 h 100"/>
                  <a:gd name="T4" fmla="*/ 85725 w 151"/>
                  <a:gd name="T5" fmla="*/ 0 h 100"/>
                  <a:gd name="T6" fmla="*/ 149225 w 151"/>
                  <a:gd name="T7" fmla="*/ 0 h 100"/>
                  <a:gd name="T8" fmla="*/ 239713 w 151"/>
                  <a:gd name="T9" fmla="*/ 158750 h 100"/>
                  <a:gd name="T10" fmla="*/ 184150 w 151"/>
                  <a:gd name="T11" fmla="*/ 158750 h 100"/>
                  <a:gd name="T12" fmla="*/ 168275 w 151"/>
                  <a:gd name="T13" fmla="*/ 133350 h 100"/>
                  <a:gd name="T14" fmla="*/ 66675 w 151"/>
                  <a:gd name="T15" fmla="*/ 133350 h 100"/>
                  <a:gd name="T16" fmla="*/ 52388 w 151"/>
                  <a:gd name="T17" fmla="*/ 158750 h 100"/>
                  <a:gd name="T18" fmla="*/ 85725 w 151"/>
                  <a:gd name="T19" fmla="*/ 95250 h 100"/>
                  <a:gd name="T20" fmla="*/ 149225 w 151"/>
                  <a:gd name="T21" fmla="*/ 95250 h 100"/>
                  <a:gd name="T22" fmla="*/ 119063 w 151"/>
                  <a:gd name="T23" fmla="*/ 38100 h 100"/>
                  <a:gd name="T24" fmla="*/ 85725 w 151"/>
                  <a:gd name="T25" fmla="*/ 9525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 h="100">
                    <a:moveTo>
                      <a:pt x="33" y="100"/>
                    </a:moveTo>
                    <a:lnTo>
                      <a:pt x="0" y="100"/>
                    </a:lnTo>
                    <a:lnTo>
                      <a:pt x="54" y="0"/>
                    </a:lnTo>
                    <a:lnTo>
                      <a:pt x="94" y="0"/>
                    </a:lnTo>
                    <a:lnTo>
                      <a:pt x="151" y="100"/>
                    </a:lnTo>
                    <a:lnTo>
                      <a:pt x="116" y="100"/>
                    </a:lnTo>
                    <a:lnTo>
                      <a:pt x="106" y="84"/>
                    </a:lnTo>
                    <a:lnTo>
                      <a:pt x="42" y="84"/>
                    </a:lnTo>
                    <a:lnTo>
                      <a:pt x="33" y="100"/>
                    </a:lnTo>
                    <a:close/>
                    <a:moveTo>
                      <a:pt x="54" y="60"/>
                    </a:moveTo>
                    <a:lnTo>
                      <a:pt x="94" y="60"/>
                    </a:lnTo>
                    <a:lnTo>
                      <a:pt x="75" y="24"/>
                    </a:lnTo>
                    <a:lnTo>
                      <a:pt x="54" y="6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9" name="Freeform 40"/>
              <p:cNvSpPr>
                <a:spLocks/>
              </p:cNvSpPr>
              <p:nvPr/>
            </p:nvSpPr>
            <p:spPr bwMode="auto">
              <a:xfrm>
                <a:off x="3059113" y="3273426"/>
                <a:ext cx="173038" cy="139700"/>
              </a:xfrm>
              <a:custGeom>
                <a:avLst/>
                <a:gdLst>
                  <a:gd name="T0" fmla="*/ 124136 w 46"/>
                  <a:gd name="T1" fmla="*/ 18878 h 37"/>
                  <a:gd name="T2" fmla="*/ 127898 w 46"/>
                  <a:gd name="T3" fmla="*/ 0 h 37"/>
                  <a:gd name="T4" fmla="*/ 45140 w 46"/>
                  <a:gd name="T5" fmla="*/ 0 h 37"/>
                  <a:gd name="T6" fmla="*/ 41379 w 46"/>
                  <a:gd name="T7" fmla="*/ 0 h 37"/>
                  <a:gd name="T8" fmla="*/ 37617 w 46"/>
                  <a:gd name="T9" fmla="*/ 11327 h 37"/>
                  <a:gd name="T10" fmla="*/ 45140 w 46"/>
                  <a:gd name="T11" fmla="*/ 15103 h 37"/>
                  <a:gd name="T12" fmla="*/ 52664 w 46"/>
                  <a:gd name="T13" fmla="*/ 30205 h 37"/>
                  <a:gd name="T14" fmla="*/ 26332 w 46"/>
                  <a:gd name="T15" fmla="*/ 113270 h 37"/>
                  <a:gd name="T16" fmla="*/ 3762 w 46"/>
                  <a:gd name="T17" fmla="*/ 124597 h 37"/>
                  <a:gd name="T18" fmla="*/ 0 w 46"/>
                  <a:gd name="T19" fmla="*/ 139700 h 37"/>
                  <a:gd name="T20" fmla="*/ 0 w 46"/>
                  <a:gd name="T21" fmla="*/ 139700 h 37"/>
                  <a:gd name="T22" fmla="*/ 154230 w 46"/>
                  <a:gd name="T23" fmla="*/ 139700 h 37"/>
                  <a:gd name="T24" fmla="*/ 173038 w 46"/>
                  <a:gd name="T25" fmla="*/ 79289 h 37"/>
                  <a:gd name="T26" fmla="*/ 157991 w 46"/>
                  <a:gd name="T27" fmla="*/ 79289 h 37"/>
                  <a:gd name="T28" fmla="*/ 150468 w 46"/>
                  <a:gd name="T29" fmla="*/ 101943 h 37"/>
                  <a:gd name="T30" fmla="*/ 135421 w 46"/>
                  <a:gd name="T31" fmla="*/ 117046 h 37"/>
                  <a:gd name="T32" fmla="*/ 86519 w 46"/>
                  <a:gd name="T33" fmla="*/ 120822 h 37"/>
                  <a:gd name="T34" fmla="*/ 82757 w 46"/>
                  <a:gd name="T35" fmla="*/ 120822 h 37"/>
                  <a:gd name="T36" fmla="*/ 78996 w 46"/>
                  <a:gd name="T37" fmla="*/ 117046 h 37"/>
                  <a:gd name="T38" fmla="*/ 105327 w 46"/>
                  <a:gd name="T39" fmla="*/ 30205 h 37"/>
                  <a:gd name="T40" fmla="*/ 124136 w 46"/>
                  <a:gd name="T41" fmla="*/ 18878 h 3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6" h="37">
                    <a:moveTo>
                      <a:pt x="33" y="5"/>
                    </a:moveTo>
                    <a:cubicBezTo>
                      <a:pt x="34" y="3"/>
                      <a:pt x="34" y="2"/>
                      <a:pt x="34" y="0"/>
                    </a:cubicBezTo>
                    <a:cubicBezTo>
                      <a:pt x="12" y="0"/>
                      <a:pt x="12" y="0"/>
                      <a:pt x="12" y="0"/>
                    </a:cubicBezTo>
                    <a:cubicBezTo>
                      <a:pt x="11" y="0"/>
                      <a:pt x="11" y="0"/>
                      <a:pt x="11" y="0"/>
                    </a:cubicBezTo>
                    <a:cubicBezTo>
                      <a:pt x="10" y="3"/>
                      <a:pt x="10" y="3"/>
                      <a:pt x="10" y="3"/>
                    </a:cubicBezTo>
                    <a:cubicBezTo>
                      <a:pt x="10" y="4"/>
                      <a:pt x="11" y="4"/>
                      <a:pt x="12" y="4"/>
                    </a:cubicBezTo>
                    <a:cubicBezTo>
                      <a:pt x="14" y="5"/>
                      <a:pt x="14" y="6"/>
                      <a:pt x="14" y="8"/>
                    </a:cubicBezTo>
                    <a:cubicBezTo>
                      <a:pt x="7" y="30"/>
                      <a:pt x="7" y="30"/>
                      <a:pt x="7" y="30"/>
                    </a:cubicBezTo>
                    <a:cubicBezTo>
                      <a:pt x="6" y="33"/>
                      <a:pt x="4" y="33"/>
                      <a:pt x="1" y="33"/>
                    </a:cubicBezTo>
                    <a:cubicBezTo>
                      <a:pt x="1" y="35"/>
                      <a:pt x="0" y="35"/>
                      <a:pt x="0" y="37"/>
                    </a:cubicBezTo>
                    <a:cubicBezTo>
                      <a:pt x="0" y="37"/>
                      <a:pt x="0" y="37"/>
                      <a:pt x="0" y="37"/>
                    </a:cubicBezTo>
                    <a:cubicBezTo>
                      <a:pt x="41" y="37"/>
                      <a:pt x="41" y="37"/>
                      <a:pt x="41" y="37"/>
                    </a:cubicBezTo>
                    <a:cubicBezTo>
                      <a:pt x="46" y="21"/>
                      <a:pt x="46" y="21"/>
                      <a:pt x="46" y="21"/>
                    </a:cubicBezTo>
                    <a:cubicBezTo>
                      <a:pt x="45" y="21"/>
                      <a:pt x="44" y="21"/>
                      <a:pt x="42" y="21"/>
                    </a:cubicBezTo>
                    <a:cubicBezTo>
                      <a:pt x="41" y="23"/>
                      <a:pt x="41" y="25"/>
                      <a:pt x="40" y="27"/>
                    </a:cubicBezTo>
                    <a:cubicBezTo>
                      <a:pt x="39" y="29"/>
                      <a:pt x="38" y="30"/>
                      <a:pt x="36" y="31"/>
                    </a:cubicBezTo>
                    <a:cubicBezTo>
                      <a:pt x="32" y="33"/>
                      <a:pt x="29" y="32"/>
                      <a:pt x="23" y="32"/>
                    </a:cubicBezTo>
                    <a:cubicBezTo>
                      <a:pt x="23" y="32"/>
                      <a:pt x="22" y="32"/>
                      <a:pt x="22" y="32"/>
                    </a:cubicBezTo>
                    <a:cubicBezTo>
                      <a:pt x="21" y="32"/>
                      <a:pt x="21" y="32"/>
                      <a:pt x="21" y="31"/>
                    </a:cubicBezTo>
                    <a:cubicBezTo>
                      <a:pt x="28" y="8"/>
                      <a:pt x="28" y="8"/>
                      <a:pt x="28" y="8"/>
                    </a:cubicBezTo>
                    <a:cubicBezTo>
                      <a:pt x="29" y="5"/>
                      <a:pt x="31" y="5"/>
                      <a:pt x="33" y="5"/>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0" name="Freeform 41"/>
              <p:cNvSpPr>
                <a:spLocks noEditPoints="1"/>
              </p:cNvSpPr>
              <p:nvPr/>
            </p:nvSpPr>
            <p:spPr bwMode="auto">
              <a:xfrm>
                <a:off x="2863850" y="3078163"/>
                <a:ext cx="549275" cy="552450"/>
              </a:xfrm>
              <a:custGeom>
                <a:avLst/>
                <a:gdLst>
                  <a:gd name="T0" fmla="*/ 274638 w 146"/>
                  <a:gd name="T1" fmla="*/ 0 h 145"/>
                  <a:gd name="T2" fmla="*/ 549275 w 146"/>
                  <a:gd name="T3" fmla="*/ 278130 h 145"/>
                  <a:gd name="T4" fmla="*/ 274638 w 146"/>
                  <a:gd name="T5" fmla="*/ 552450 h 145"/>
                  <a:gd name="T6" fmla="*/ 0 w 146"/>
                  <a:gd name="T7" fmla="*/ 278130 h 145"/>
                  <a:gd name="T8" fmla="*/ 274638 w 146"/>
                  <a:gd name="T9" fmla="*/ 0 h 145"/>
                  <a:gd name="T10" fmla="*/ 274638 w 146"/>
                  <a:gd name="T11" fmla="*/ 160020 h 145"/>
                  <a:gd name="T12" fmla="*/ 395027 w 146"/>
                  <a:gd name="T13" fmla="*/ 278130 h 145"/>
                  <a:gd name="T14" fmla="*/ 274638 w 146"/>
                  <a:gd name="T15" fmla="*/ 396240 h 145"/>
                  <a:gd name="T16" fmla="*/ 154248 w 146"/>
                  <a:gd name="T17" fmla="*/ 278130 h 145"/>
                  <a:gd name="T18" fmla="*/ 274638 w 146"/>
                  <a:gd name="T19" fmla="*/ 160020 h 145"/>
                  <a:gd name="T20" fmla="*/ 282162 w 146"/>
                  <a:gd name="T21" fmla="*/ 41910 h 145"/>
                  <a:gd name="T22" fmla="*/ 127913 w 146"/>
                  <a:gd name="T23" fmla="*/ 270510 h 145"/>
                  <a:gd name="T24" fmla="*/ 86530 w 146"/>
                  <a:gd name="T25" fmla="*/ 137160 h 145"/>
                  <a:gd name="T26" fmla="*/ 90292 w 146"/>
                  <a:gd name="T27" fmla="*/ 133350 h 145"/>
                  <a:gd name="T28" fmla="*/ 282162 w 146"/>
                  <a:gd name="T29" fmla="*/ 41910 h 145"/>
                  <a:gd name="T30" fmla="*/ 41384 w 146"/>
                  <a:gd name="T31" fmla="*/ 266700 h 145"/>
                  <a:gd name="T32" fmla="*/ 267113 w 146"/>
                  <a:gd name="T33" fmla="*/ 422910 h 145"/>
                  <a:gd name="T34" fmla="*/ 135438 w 146"/>
                  <a:gd name="T35" fmla="*/ 464820 h 145"/>
                  <a:gd name="T36" fmla="*/ 131676 w 146"/>
                  <a:gd name="T37" fmla="*/ 464820 h 145"/>
                  <a:gd name="T38" fmla="*/ 41384 w 146"/>
                  <a:gd name="T39" fmla="*/ 266700 h 145"/>
                  <a:gd name="T40" fmla="*/ 267113 w 146"/>
                  <a:gd name="T41" fmla="*/ 514350 h 145"/>
                  <a:gd name="T42" fmla="*/ 421362 w 146"/>
                  <a:gd name="T43" fmla="*/ 281940 h 145"/>
                  <a:gd name="T44" fmla="*/ 462745 w 146"/>
                  <a:gd name="T45" fmla="*/ 419100 h 145"/>
                  <a:gd name="T46" fmla="*/ 458983 w 146"/>
                  <a:gd name="T47" fmla="*/ 422910 h 145"/>
                  <a:gd name="T48" fmla="*/ 267113 w 146"/>
                  <a:gd name="T49" fmla="*/ 514350 h 145"/>
                  <a:gd name="T50" fmla="*/ 507891 w 146"/>
                  <a:gd name="T51" fmla="*/ 285750 h 145"/>
                  <a:gd name="T52" fmla="*/ 282162 w 146"/>
                  <a:gd name="T53" fmla="*/ 133350 h 145"/>
                  <a:gd name="T54" fmla="*/ 413837 w 146"/>
                  <a:gd name="T55" fmla="*/ 87630 h 145"/>
                  <a:gd name="T56" fmla="*/ 417599 w 146"/>
                  <a:gd name="T57" fmla="*/ 91440 h 145"/>
                  <a:gd name="T58" fmla="*/ 507891 w 146"/>
                  <a:gd name="T59" fmla="*/ 285750 h 1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46" h="145">
                    <a:moveTo>
                      <a:pt x="73" y="0"/>
                    </a:moveTo>
                    <a:cubicBezTo>
                      <a:pt x="113" y="0"/>
                      <a:pt x="146" y="33"/>
                      <a:pt x="146" y="73"/>
                    </a:cubicBezTo>
                    <a:cubicBezTo>
                      <a:pt x="146" y="113"/>
                      <a:pt x="113" y="145"/>
                      <a:pt x="73" y="145"/>
                    </a:cubicBezTo>
                    <a:cubicBezTo>
                      <a:pt x="33" y="145"/>
                      <a:pt x="0" y="113"/>
                      <a:pt x="0" y="73"/>
                    </a:cubicBezTo>
                    <a:cubicBezTo>
                      <a:pt x="0" y="33"/>
                      <a:pt x="33" y="0"/>
                      <a:pt x="73" y="0"/>
                    </a:cubicBezTo>
                    <a:moveTo>
                      <a:pt x="73" y="42"/>
                    </a:moveTo>
                    <a:cubicBezTo>
                      <a:pt x="90" y="42"/>
                      <a:pt x="105" y="56"/>
                      <a:pt x="105" y="73"/>
                    </a:cubicBezTo>
                    <a:cubicBezTo>
                      <a:pt x="105" y="90"/>
                      <a:pt x="90" y="104"/>
                      <a:pt x="73" y="104"/>
                    </a:cubicBezTo>
                    <a:cubicBezTo>
                      <a:pt x="56" y="104"/>
                      <a:pt x="41" y="90"/>
                      <a:pt x="41" y="73"/>
                    </a:cubicBezTo>
                    <a:cubicBezTo>
                      <a:pt x="41" y="56"/>
                      <a:pt x="56" y="42"/>
                      <a:pt x="73" y="42"/>
                    </a:cubicBezTo>
                    <a:moveTo>
                      <a:pt x="75" y="11"/>
                    </a:moveTo>
                    <a:cubicBezTo>
                      <a:pt x="66" y="15"/>
                      <a:pt x="37" y="35"/>
                      <a:pt x="34" y="71"/>
                    </a:cubicBezTo>
                    <a:cubicBezTo>
                      <a:pt x="30" y="66"/>
                      <a:pt x="23" y="52"/>
                      <a:pt x="23" y="36"/>
                    </a:cubicBezTo>
                    <a:cubicBezTo>
                      <a:pt x="24" y="35"/>
                      <a:pt x="24" y="35"/>
                      <a:pt x="24" y="35"/>
                    </a:cubicBezTo>
                    <a:cubicBezTo>
                      <a:pt x="28" y="26"/>
                      <a:pt x="51" y="8"/>
                      <a:pt x="75" y="11"/>
                    </a:cubicBezTo>
                    <a:moveTo>
                      <a:pt x="11" y="70"/>
                    </a:moveTo>
                    <a:cubicBezTo>
                      <a:pt x="15" y="79"/>
                      <a:pt x="35" y="108"/>
                      <a:pt x="71" y="111"/>
                    </a:cubicBezTo>
                    <a:cubicBezTo>
                      <a:pt x="67" y="115"/>
                      <a:pt x="52" y="122"/>
                      <a:pt x="36" y="122"/>
                    </a:cubicBezTo>
                    <a:cubicBezTo>
                      <a:pt x="35" y="122"/>
                      <a:pt x="35" y="122"/>
                      <a:pt x="35" y="122"/>
                    </a:cubicBezTo>
                    <a:cubicBezTo>
                      <a:pt x="27" y="118"/>
                      <a:pt x="9" y="95"/>
                      <a:pt x="11" y="70"/>
                    </a:cubicBezTo>
                    <a:moveTo>
                      <a:pt x="71" y="135"/>
                    </a:moveTo>
                    <a:cubicBezTo>
                      <a:pt x="80" y="130"/>
                      <a:pt x="109" y="110"/>
                      <a:pt x="112" y="74"/>
                    </a:cubicBezTo>
                    <a:cubicBezTo>
                      <a:pt x="116" y="79"/>
                      <a:pt x="123" y="94"/>
                      <a:pt x="123" y="110"/>
                    </a:cubicBezTo>
                    <a:cubicBezTo>
                      <a:pt x="122" y="111"/>
                      <a:pt x="122" y="111"/>
                      <a:pt x="122" y="111"/>
                    </a:cubicBezTo>
                    <a:cubicBezTo>
                      <a:pt x="118" y="119"/>
                      <a:pt x="95" y="137"/>
                      <a:pt x="71" y="135"/>
                    </a:cubicBezTo>
                    <a:moveTo>
                      <a:pt x="135" y="75"/>
                    </a:moveTo>
                    <a:cubicBezTo>
                      <a:pt x="131" y="66"/>
                      <a:pt x="111" y="37"/>
                      <a:pt x="75" y="35"/>
                    </a:cubicBezTo>
                    <a:cubicBezTo>
                      <a:pt x="79" y="30"/>
                      <a:pt x="94" y="23"/>
                      <a:pt x="110" y="23"/>
                    </a:cubicBezTo>
                    <a:cubicBezTo>
                      <a:pt x="111" y="24"/>
                      <a:pt x="111" y="24"/>
                      <a:pt x="111" y="24"/>
                    </a:cubicBezTo>
                    <a:cubicBezTo>
                      <a:pt x="119" y="28"/>
                      <a:pt x="137" y="51"/>
                      <a:pt x="135" y="75"/>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cxnSp>
        <p:nvCxnSpPr>
          <p:cNvPr id="42" name="Straight Connector 41"/>
          <p:cNvCxnSpPr/>
          <p:nvPr userDrawn="1"/>
        </p:nvCxnSpPr>
        <p:spPr>
          <a:xfrm>
            <a:off x="-12699" y="1354667"/>
            <a:ext cx="12204700" cy="0"/>
          </a:xfrm>
          <a:prstGeom prst="line">
            <a:avLst/>
          </a:prstGeom>
          <a:ln w="635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43" name="Group 45"/>
          <p:cNvGrpSpPr>
            <a:grpSpLocks/>
          </p:cNvGrpSpPr>
          <p:nvPr userDrawn="1"/>
        </p:nvGrpSpPr>
        <p:grpSpPr bwMode="auto">
          <a:xfrm>
            <a:off x="0" y="5888568"/>
            <a:ext cx="12192000" cy="969433"/>
            <a:chOff x="0" y="4416425"/>
            <a:chExt cx="9144000" cy="727076"/>
          </a:xfrm>
        </p:grpSpPr>
        <p:sp>
          <p:nvSpPr>
            <p:cNvPr id="44" name="Freeform 28"/>
            <p:cNvSpPr>
              <a:spLocks/>
            </p:cNvSpPr>
            <p:nvPr/>
          </p:nvSpPr>
          <p:spPr bwMode="auto">
            <a:xfrm>
              <a:off x="0" y="4464050"/>
              <a:ext cx="5632450" cy="293688"/>
            </a:xfrm>
            <a:custGeom>
              <a:avLst/>
              <a:gdLst>
                <a:gd name="T0" fmla="*/ 5429250 w 3548"/>
                <a:gd name="T1" fmla="*/ 293688 h 185"/>
                <a:gd name="T2" fmla="*/ 0 w 3548"/>
                <a:gd name="T3" fmla="*/ 293688 h 185"/>
                <a:gd name="T4" fmla="*/ 0 w 3548"/>
                <a:gd name="T5" fmla="*/ 0 h 185"/>
                <a:gd name="T6" fmla="*/ 5632450 w 3548"/>
                <a:gd name="T7" fmla="*/ 0 h 185"/>
                <a:gd name="T8" fmla="*/ 5429250 w 3548"/>
                <a:gd name="T9" fmla="*/ 293688 h 18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48" h="185">
                  <a:moveTo>
                    <a:pt x="3420" y="185"/>
                  </a:moveTo>
                  <a:lnTo>
                    <a:pt x="0" y="185"/>
                  </a:lnTo>
                  <a:lnTo>
                    <a:pt x="0" y="0"/>
                  </a:lnTo>
                  <a:lnTo>
                    <a:pt x="3548" y="0"/>
                  </a:lnTo>
                  <a:lnTo>
                    <a:pt x="3420" y="185"/>
                  </a:lnTo>
                  <a:close/>
                </a:path>
              </a:pathLst>
            </a:custGeom>
            <a:solidFill>
              <a:srgbClr val="00488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5" name="Freeform 29"/>
            <p:cNvSpPr>
              <a:spLocks/>
            </p:cNvSpPr>
            <p:nvPr/>
          </p:nvSpPr>
          <p:spPr bwMode="auto">
            <a:xfrm>
              <a:off x="5559425" y="4416425"/>
              <a:ext cx="3584575" cy="288925"/>
            </a:xfrm>
            <a:custGeom>
              <a:avLst/>
              <a:gdLst>
                <a:gd name="T0" fmla="*/ 203200 w 2258"/>
                <a:gd name="T1" fmla="*/ 0 h 182"/>
                <a:gd name="T2" fmla="*/ 3584575 w 2258"/>
                <a:gd name="T3" fmla="*/ 0 h 182"/>
                <a:gd name="T4" fmla="*/ 3584575 w 2258"/>
                <a:gd name="T5" fmla="*/ 288925 h 182"/>
                <a:gd name="T6" fmla="*/ 0 w 2258"/>
                <a:gd name="T7" fmla="*/ 288925 h 182"/>
                <a:gd name="T8" fmla="*/ 203200 w 2258"/>
                <a:gd name="T9" fmla="*/ 0 h 18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8" h="182">
                  <a:moveTo>
                    <a:pt x="128" y="0"/>
                  </a:moveTo>
                  <a:lnTo>
                    <a:pt x="2258" y="0"/>
                  </a:lnTo>
                  <a:lnTo>
                    <a:pt x="2258" y="182"/>
                  </a:lnTo>
                  <a:lnTo>
                    <a:pt x="0" y="182"/>
                  </a:lnTo>
                  <a:lnTo>
                    <a:pt x="128" y="0"/>
                  </a:lnTo>
                  <a:close/>
                </a:path>
              </a:pathLst>
            </a:custGeom>
            <a:solidFill>
              <a:srgbClr val="F59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nvGrpSpPr>
            <p:cNvPr id="46" name="Group 48"/>
            <p:cNvGrpSpPr>
              <a:grpSpLocks/>
            </p:cNvGrpSpPr>
            <p:nvPr/>
          </p:nvGrpSpPr>
          <p:grpSpPr bwMode="auto">
            <a:xfrm>
              <a:off x="0" y="4852988"/>
              <a:ext cx="9144000" cy="290513"/>
              <a:chOff x="0" y="4852988"/>
              <a:chExt cx="9144000" cy="290513"/>
            </a:xfrm>
          </p:grpSpPr>
          <p:sp>
            <p:nvSpPr>
              <p:cNvPr id="47" name="Rectangle 27"/>
              <p:cNvSpPr>
                <a:spLocks noChangeArrowheads="1"/>
              </p:cNvSpPr>
              <p:nvPr/>
            </p:nvSpPr>
            <p:spPr bwMode="auto">
              <a:xfrm>
                <a:off x="0" y="4852988"/>
                <a:ext cx="9144000" cy="290513"/>
              </a:xfrm>
              <a:prstGeom prst="rect">
                <a:avLst/>
              </a:prstGeom>
              <a:solidFill>
                <a:srgbClr val="0048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nvGrpSpPr>
              <p:cNvPr id="48" name="Group 50"/>
              <p:cNvGrpSpPr>
                <a:grpSpLocks/>
              </p:cNvGrpSpPr>
              <p:nvPr/>
            </p:nvGrpSpPr>
            <p:grpSpPr bwMode="auto">
              <a:xfrm>
                <a:off x="3984625" y="4911725"/>
                <a:ext cx="1174750" cy="173038"/>
                <a:chOff x="3984625" y="4911725"/>
                <a:chExt cx="1174750" cy="173038"/>
              </a:xfrm>
            </p:grpSpPr>
            <p:sp>
              <p:nvSpPr>
                <p:cNvPr id="49" name="Freeform 30"/>
                <p:cNvSpPr>
                  <a:spLocks noEditPoints="1"/>
                </p:cNvSpPr>
                <p:nvPr/>
              </p:nvSpPr>
              <p:spPr bwMode="auto">
                <a:xfrm>
                  <a:off x="3984625" y="4911725"/>
                  <a:ext cx="263525" cy="173038"/>
                </a:xfrm>
                <a:custGeom>
                  <a:avLst/>
                  <a:gdLst>
                    <a:gd name="T0" fmla="*/ 263525 w 83"/>
                    <a:gd name="T1" fmla="*/ 86519 h 54"/>
                    <a:gd name="T2" fmla="*/ 139700 w 83"/>
                    <a:gd name="T3" fmla="*/ 173038 h 54"/>
                    <a:gd name="T4" fmla="*/ 38100 w 83"/>
                    <a:gd name="T5" fmla="*/ 25635 h 54"/>
                    <a:gd name="T6" fmla="*/ 212725 w 83"/>
                    <a:gd name="T7" fmla="*/ 60884 h 54"/>
                    <a:gd name="T8" fmla="*/ 161925 w 83"/>
                    <a:gd name="T9" fmla="*/ 6409 h 54"/>
                    <a:gd name="T10" fmla="*/ 187325 w 83"/>
                    <a:gd name="T11" fmla="*/ 32044 h 54"/>
                    <a:gd name="T12" fmla="*/ 215900 w 83"/>
                    <a:gd name="T13" fmla="*/ 64088 h 54"/>
                    <a:gd name="T14" fmla="*/ 212725 w 83"/>
                    <a:gd name="T15" fmla="*/ 112154 h 54"/>
                    <a:gd name="T16" fmla="*/ 244475 w 83"/>
                    <a:gd name="T17" fmla="*/ 121767 h 54"/>
                    <a:gd name="T18" fmla="*/ 139700 w 83"/>
                    <a:gd name="T19" fmla="*/ 169834 h 54"/>
                    <a:gd name="T20" fmla="*/ 111125 w 83"/>
                    <a:gd name="T21" fmla="*/ 160220 h 54"/>
                    <a:gd name="T22" fmla="*/ 114300 w 83"/>
                    <a:gd name="T23" fmla="*/ 166629 h 54"/>
                    <a:gd name="T24" fmla="*/ 155575 w 83"/>
                    <a:gd name="T25" fmla="*/ 160220 h 54"/>
                    <a:gd name="T26" fmla="*/ 53975 w 83"/>
                    <a:gd name="T27" fmla="*/ 150607 h 54"/>
                    <a:gd name="T28" fmla="*/ 15875 w 83"/>
                    <a:gd name="T29" fmla="*/ 118563 h 54"/>
                    <a:gd name="T30" fmla="*/ 104775 w 83"/>
                    <a:gd name="T31" fmla="*/ 160220 h 54"/>
                    <a:gd name="T32" fmla="*/ 6350 w 83"/>
                    <a:gd name="T33" fmla="*/ 86519 h 54"/>
                    <a:gd name="T34" fmla="*/ 41275 w 83"/>
                    <a:gd name="T35" fmla="*/ 86519 h 54"/>
                    <a:gd name="T36" fmla="*/ 47625 w 83"/>
                    <a:gd name="T37" fmla="*/ 57679 h 54"/>
                    <a:gd name="T38" fmla="*/ 41275 w 83"/>
                    <a:gd name="T39" fmla="*/ 28840 h 54"/>
                    <a:gd name="T40" fmla="*/ 47625 w 83"/>
                    <a:gd name="T41" fmla="*/ 57679 h 54"/>
                    <a:gd name="T42" fmla="*/ 73025 w 83"/>
                    <a:gd name="T43" fmla="*/ 25635 h 54"/>
                    <a:gd name="T44" fmla="*/ 158750 w 83"/>
                    <a:gd name="T45" fmla="*/ 9613 h 54"/>
                    <a:gd name="T46" fmla="*/ 114300 w 83"/>
                    <a:gd name="T47" fmla="*/ 12818 h 54"/>
                    <a:gd name="T48" fmla="*/ 152400 w 83"/>
                    <a:gd name="T49" fmla="*/ 12818 h 54"/>
                    <a:gd name="T50" fmla="*/ 184150 w 83"/>
                    <a:gd name="T51" fmla="*/ 32044 h 54"/>
                    <a:gd name="T52" fmla="*/ 133350 w 83"/>
                    <a:gd name="T53" fmla="*/ 19226 h 54"/>
                    <a:gd name="T54" fmla="*/ 130175 w 83"/>
                    <a:gd name="T55" fmla="*/ 19226 h 54"/>
                    <a:gd name="T56" fmla="*/ 130175 w 83"/>
                    <a:gd name="T57" fmla="*/ 41657 h 54"/>
                    <a:gd name="T58" fmla="*/ 101600 w 83"/>
                    <a:gd name="T59" fmla="*/ 16022 h 54"/>
                    <a:gd name="T60" fmla="*/ 117475 w 83"/>
                    <a:gd name="T61" fmla="*/ 16022 h 54"/>
                    <a:gd name="T62" fmla="*/ 107950 w 83"/>
                    <a:gd name="T63" fmla="*/ 134585 h 54"/>
                    <a:gd name="T64" fmla="*/ 104775 w 83"/>
                    <a:gd name="T65" fmla="*/ 134585 h 54"/>
                    <a:gd name="T66" fmla="*/ 104775 w 83"/>
                    <a:gd name="T67" fmla="*/ 160220 h 54"/>
                    <a:gd name="T68" fmla="*/ 152400 w 83"/>
                    <a:gd name="T69" fmla="*/ 160220 h 54"/>
                    <a:gd name="T70" fmla="*/ 146050 w 83"/>
                    <a:gd name="T71" fmla="*/ 157016 h 54"/>
                    <a:gd name="T72" fmla="*/ 130175 w 83"/>
                    <a:gd name="T73" fmla="*/ 153812 h 54"/>
                    <a:gd name="T74" fmla="*/ 92075 w 83"/>
                    <a:gd name="T75" fmla="*/ 64088 h 54"/>
                    <a:gd name="T76" fmla="*/ 161925 w 83"/>
                    <a:gd name="T77" fmla="*/ 41657 h 54"/>
                    <a:gd name="T78" fmla="*/ 184150 w 83"/>
                    <a:gd name="T79" fmla="*/ 35248 h 54"/>
                    <a:gd name="T80" fmla="*/ 168275 w 83"/>
                    <a:gd name="T81" fmla="*/ 67293 h 54"/>
                    <a:gd name="T82" fmla="*/ 130175 w 83"/>
                    <a:gd name="T83" fmla="*/ 67293 h 54"/>
                    <a:gd name="T84" fmla="*/ 44450 w 83"/>
                    <a:gd name="T85" fmla="*/ 83315 h 54"/>
                    <a:gd name="T86" fmla="*/ 171450 w 83"/>
                    <a:gd name="T87" fmla="*/ 70497 h 54"/>
                    <a:gd name="T88" fmla="*/ 130175 w 83"/>
                    <a:gd name="T89" fmla="*/ 70497 h 54"/>
                    <a:gd name="T90" fmla="*/ 133350 w 83"/>
                    <a:gd name="T91" fmla="*/ 86519 h 54"/>
                    <a:gd name="T92" fmla="*/ 168275 w 83"/>
                    <a:gd name="T93" fmla="*/ 86519 h 54"/>
                    <a:gd name="T94" fmla="*/ 95250 w 83"/>
                    <a:gd name="T95" fmla="*/ 99337 h 54"/>
                    <a:gd name="T96" fmla="*/ 44450 w 83"/>
                    <a:gd name="T97" fmla="*/ 99337 h 54"/>
                    <a:gd name="T98" fmla="*/ 88900 w 83"/>
                    <a:gd name="T99" fmla="*/ 86519 h 54"/>
                    <a:gd name="T100" fmla="*/ 209550 w 83"/>
                    <a:gd name="T101" fmla="*/ 108950 h 54"/>
                    <a:gd name="T102" fmla="*/ 95250 w 83"/>
                    <a:gd name="T103" fmla="*/ 134585 h 54"/>
                    <a:gd name="T104" fmla="*/ 168275 w 83"/>
                    <a:gd name="T105" fmla="*/ 105745 h 54"/>
                    <a:gd name="T106" fmla="*/ 130175 w 83"/>
                    <a:gd name="T107" fmla="*/ 102541 h 54"/>
                    <a:gd name="T108" fmla="*/ 127000 w 83"/>
                    <a:gd name="T109" fmla="*/ 102541 h 54"/>
                    <a:gd name="T110" fmla="*/ 127000 w 83"/>
                    <a:gd name="T111" fmla="*/ 102541 h 54"/>
                    <a:gd name="T112" fmla="*/ 130175 w 83"/>
                    <a:gd name="T113" fmla="*/ 70497 h 5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3" h="54">
                      <a:moveTo>
                        <a:pt x="41" y="0"/>
                      </a:moveTo>
                      <a:cubicBezTo>
                        <a:pt x="41" y="0"/>
                        <a:pt x="41" y="0"/>
                        <a:pt x="41" y="0"/>
                      </a:cubicBezTo>
                      <a:cubicBezTo>
                        <a:pt x="53" y="0"/>
                        <a:pt x="63" y="3"/>
                        <a:pt x="70" y="8"/>
                      </a:cubicBezTo>
                      <a:cubicBezTo>
                        <a:pt x="78" y="13"/>
                        <a:pt x="83" y="20"/>
                        <a:pt x="83" y="27"/>
                      </a:cubicBezTo>
                      <a:cubicBezTo>
                        <a:pt x="83" y="27"/>
                        <a:pt x="83" y="27"/>
                        <a:pt x="83" y="27"/>
                      </a:cubicBezTo>
                      <a:cubicBezTo>
                        <a:pt x="83" y="27"/>
                        <a:pt x="83" y="27"/>
                        <a:pt x="83" y="27"/>
                      </a:cubicBezTo>
                      <a:cubicBezTo>
                        <a:pt x="83" y="35"/>
                        <a:pt x="78" y="41"/>
                        <a:pt x="70" y="46"/>
                      </a:cubicBezTo>
                      <a:cubicBezTo>
                        <a:pt x="65" y="50"/>
                        <a:pt x="58" y="52"/>
                        <a:pt x="51" y="54"/>
                      </a:cubicBezTo>
                      <a:cubicBezTo>
                        <a:pt x="50" y="54"/>
                        <a:pt x="50" y="54"/>
                        <a:pt x="50" y="54"/>
                      </a:cubicBezTo>
                      <a:cubicBezTo>
                        <a:pt x="49" y="54"/>
                        <a:pt x="46" y="54"/>
                        <a:pt x="44" y="54"/>
                      </a:cubicBezTo>
                      <a:cubicBezTo>
                        <a:pt x="43" y="54"/>
                        <a:pt x="42" y="54"/>
                        <a:pt x="41" y="54"/>
                      </a:cubicBezTo>
                      <a:cubicBezTo>
                        <a:pt x="30" y="54"/>
                        <a:pt x="20" y="51"/>
                        <a:pt x="12" y="46"/>
                      </a:cubicBezTo>
                      <a:cubicBezTo>
                        <a:pt x="5" y="41"/>
                        <a:pt x="0" y="35"/>
                        <a:pt x="0" y="27"/>
                      </a:cubicBezTo>
                      <a:cubicBezTo>
                        <a:pt x="0" y="27"/>
                        <a:pt x="0" y="27"/>
                        <a:pt x="0" y="27"/>
                      </a:cubicBezTo>
                      <a:cubicBezTo>
                        <a:pt x="0" y="20"/>
                        <a:pt x="5" y="13"/>
                        <a:pt x="12" y="8"/>
                      </a:cubicBezTo>
                      <a:cubicBezTo>
                        <a:pt x="20" y="3"/>
                        <a:pt x="30" y="0"/>
                        <a:pt x="41" y="0"/>
                      </a:cubicBezTo>
                      <a:moveTo>
                        <a:pt x="69" y="9"/>
                      </a:moveTo>
                      <a:cubicBezTo>
                        <a:pt x="68" y="8"/>
                        <a:pt x="67" y="7"/>
                        <a:pt x="65" y="7"/>
                      </a:cubicBezTo>
                      <a:cubicBezTo>
                        <a:pt x="64" y="8"/>
                        <a:pt x="62" y="10"/>
                        <a:pt x="60" y="11"/>
                      </a:cubicBezTo>
                      <a:cubicBezTo>
                        <a:pt x="63" y="13"/>
                        <a:pt x="66" y="16"/>
                        <a:pt x="67" y="19"/>
                      </a:cubicBezTo>
                      <a:cubicBezTo>
                        <a:pt x="67" y="19"/>
                        <a:pt x="67" y="19"/>
                        <a:pt x="67" y="19"/>
                      </a:cubicBezTo>
                      <a:cubicBezTo>
                        <a:pt x="71" y="18"/>
                        <a:pt x="74" y="18"/>
                        <a:pt x="77" y="17"/>
                      </a:cubicBezTo>
                      <a:cubicBezTo>
                        <a:pt x="75" y="14"/>
                        <a:pt x="72" y="11"/>
                        <a:pt x="69" y="9"/>
                      </a:cubicBezTo>
                      <a:moveTo>
                        <a:pt x="65" y="6"/>
                      </a:moveTo>
                      <a:cubicBezTo>
                        <a:pt x="61" y="4"/>
                        <a:pt x="56" y="3"/>
                        <a:pt x="51" y="2"/>
                      </a:cubicBezTo>
                      <a:cubicBezTo>
                        <a:pt x="51" y="2"/>
                        <a:pt x="51" y="2"/>
                        <a:pt x="51" y="2"/>
                      </a:cubicBezTo>
                      <a:cubicBezTo>
                        <a:pt x="50" y="3"/>
                        <a:pt x="50" y="3"/>
                        <a:pt x="50" y="3"/>
                      </a:cubicBezTo>
                      <a:cubicBezTo>
                        <a:pt x="49" y="4"/>
                        <a:pt x="49" y="4"/>
                        <a:pt x="49" y="4"/>
                      </a:cubicBezTo>
                      <a:cubicBezTo>
                        <a:pt x="50" y="4"/>
                        <a:pt x="50" y="4"/>
                        <a:pt x="50" y="4"/>
                      </a:cubicBezTo>
                      <a:cubicBezTo>
                        <a:pt x="53" y="6"/>
                        <a:pt x="57" y="8"/>
                        <a:pt x="59" y="10"/>
                      </a:cubicBezTo>
                      <a:cubicBezTo>
                        <a:pt x="59" y="10"/>
                        <a:pt x="59" y="10"/>
                        <a:pt x="59" y="10"/>
                      </a:cubicBezTo>
                      <a:cubicBezTo>
                        <a:pt x="62" y="9"/>
                        <a:pt x="64" y="8"/>
                        <a:pt x="65" y="6"/>
                      </a:cubicBezTo>
                      <a:moveTo>
                        <a:pt x="81" y="27"/>
                      </a:moveTo>
                      <a:cubicBezTo>
                        <a:pt x="81" y="23"/>
                        <a:pt x="79" y="20"/>
                        <a:pt x="78" y="17"/>
                      </a:cubicBezTo>
                      <a:cubicBezTo>
                        <a:pt x="75" y="18"/>
                        <a:pt x="71" y="19"/>
                        <a:pt x="68" y="20"/>
                      </a:cubicBezTo>
                      <a:cubicBezTo>
                        <a:pt x="69" y="22"/>
                        <a:pt x="69" y="24"/>
                        <a:pt x="69" y="27"/>
                      </a:cubicBezTo>
                      <a:lnTo>
                        <a:pt x="81" y="27"/>
                      </a:lnTo>
                      <a:close/>
                      <a:moveTo>
                        <a:pt x="69" y="45"/>
                      </a:moveTo>
                      <a:cubicBezTo>
                        <a:pt x="72" y="43"/>
                        <a:pt x="74" y="41"/>
                        <a:pt x="76" y="39"/>
                      </a:cubicBezTo>
                      <a:cubicBezTo>
                        <a:pt x="73" y="37"/>
                        <a:pt x="70" y="36"/>
                        <a:pt x="67" y="35"/>
                      </a:cubicBezTo>
                      <a:cubicBezTo>
                        <a:pt x="65" y="38"/>
                        <a:pt x="63" y="41"/>
                        <a:pt x="59" y="44"/>
                      </a:cubicBezTo>
                      <a:cubicBezTo>
                        <a:pt x="61" y="45"/>
                        <a:pt x="63" y="46"/>
                        <a:pt x="65" y="47"/>
                      </a:cubicBezTo>
                      <a:cubicBezTo>
                        <a:pt x="65" y="48"/>
                        <a:pt x="65" y="48"/>
                        <a:pt x="65" y="48"/>
                      </a:cubicBezTo>
                      <a:cubicBezTo>
                        <a:pt x="66" y="47"/>
                        <a:pt x="68" y="46"/>
                        <a:pt x="69" y="45"/>
                      </a:cubicBezTo>
                      <a:moveTo>
                        <a:pt x="77" y="38"/>
                      </a:moveTo>
                      <a:cubicBezTo>
                        <a:pt x="79" y="35"/>
                        <a:pt x="80" y="31"/>
                        <a:pt x="81" y="28"/>
                      </a:cubicBezTo>
                      <a:cubicBezTo>
                        <a:pt x="69" y="27"/>
                        <a:pt x="69" y="27"/>
                        <a:pt x="69" y="27"/>
                      </a:cubicBezTo>
                      <a:cubicBezTo>
                        <a:pt x="69" y="30"/>
                        <a:pt x="69" y="32"/>
                        <a:pt x="67" y="35"/>
                      </a:cubicBezTo>
                      <a:cubicBezTo>
                        <a:pt x="71" y="36"/>
                        <a:pt x="74" y="37"/>
                        <a:pt x="77" y="38"/>
                      </a:cubicBezTo>
                      <a:moveTo>
                        <a:pt x="44" y="53"/>
                      </a:moveTo>
                      <a:cubicBezTo>
                        <a:pt x="46" y="53"/>
                        <a:pt x="48" y="52"/>
                        <a:pt x="49" y="52"/>
                      </a:cubicBezTo>
                      <a:cubicBezTo>
                        <a:pt x="48" y="51"/>
                        <a:pt x="47" y="50"/>
                        <a:pt x="46" y="49"/>
                      </a:cubicBezTo>
                      <a:cubicBezTo>
                        <a:pt x="44" y="49"/>
                        <a:pt x="43" y="49"/>
                        <a:pt x="40" y="49"/>
                      </a:cubicBezTo>
                      <a:cubicBezTo>
                        <a:pt x="39" y="49"/>
                        <a:pt x="37" y="49"/>
                        <a:pt x="36" y="49"/>
                      </a:cubicBezTo>
                      <a:cubicBezTo>
                        <a:pt x="35" y="50"/>
                        <a:pt x="35" y="50"/>
                        <a:pt x="35" y="50"/>
                      </a:cubicBezTo>
                      <a:cubicBezTo>
                        <a:pt x="34" y="50"/>
                        <a:pt x="33" y="51"/>
                        <a:pt x="32" y="52"/>
                      </a:cubicBezTo>
                      <a:cubicBezTo>
                        <a:pt x="32" y="52"/>
                        <a:pt x="32" y="52"/>
                        <a:pt x="32" y="52"/>
                      </a:cubicBezTo>
                      <a:cubicBezTo>
                        <a:pt x="32" y="52"/>
                        <a:pt x="32" y="52"/>
                        <a:pt x="32" y="52"/>
                      </a:cubicBezTo>
                      <a:cubicBezTo>
                        <a:pt x="32" y="52"/>
                        <a:pt x="33" y="52"/>
                        <a:pt x="34" y="52"/>
                      </a:cubicBezTo>
                      <a:cubicBezTo>
                        <a:pt x="34" y="52"/>
                        <a:pt x="35" y="52"/>
                        <a:pt x="36" y="52"/>
                      </a:cubicBezTo>
                      <a:cubicBezTo>
                        <a:pt x="39" y="53"/>
                        <a:pt x="41" y="53"/>
                        <a:pt x="44" y="53"/>
                      </a:cubicBezTo>
                      <a:moveTo>
                        <a:pt x="50" y="52"/>
                      </a:moveTo>
                      <a:cubicBezTo>
                        <a:pt x="55" y="51"/>
                        <a:pt x="60" y="50"/>
                        <a:pt x="64" y="48"/>
                      </a:cubicBezTo>
                      <a:cubicBezTo>
                        <a:pt x="62" y="47"/>
                        <a:pt x="60" y="45"/>
                        <a:pt x="58" y="45"/>
                      </a:cubicBezTo>
                      <a:cubicBezTo>
                        <a:pt x="56" y="47"/>
                        <a:pt x="53" y="49"/>
                        <a:pt x="49" y="50"/>
                      </a:cubicBezTo>
                      <a:cubicBezTo>
                        <a:pt x="49" y="51"/>
                        <a:pt x="49" y="51"/>
                        <a:pt x="49" y="51"/>
                      </a:cubicBezTo>
                      <a:cubicBezTo>
                        <a:pt x="49" y="51"/>
                        <a:pt x="50" y="51"/>
                        <a:pt x="50" y="52"/>
                      </a:cubicBezTo>
                      <a:cubicBezTo>
                        <a:pt x="50" y="52"/>
                        <a:pt x="50" y="52"/>
                        <a:pt x="50" y="52"/>
                      </a:cubicBezTo>
                      <a:moveTo>
                        <a:pt x="13" y="45"/>
                      </a:moveTo>
                      <a:cubicBezTo>
                        <a:pt x="14" y="46"/>
                        <a:pt x="16" y="46"/>
                        <a:pt x="17" y="47"/>
                      </a:cubicBezTo>
                      <a:cubicBezTo>
                        <a:pt x="19" y="46"/>
                        <a:pt x="21" y="45"/>
                        <a:pt x="23" y="44"/>
                      </a:cubicBezTo>
                      <a:cubicBezTo>
                        <a:pt x="23" y="44"/>
                        <a:pt x="23" y="44"/>
                        <a:pt x="23" y="44"/>
                      </a:cubicBezTo>
                      <a:cubicBezTo>
                        <a:pt x="19" y="42"/>
                        <a:pt x="16" y="38"/>
                        <a:pt x="14" y="34"/>
                      </a:cubicBezTo>
                      <a:cubicBezTo>
                        <a:pt x="14" y="34"/>
                        <a:pt x="14" y="34"/>
                        <a:pt x="14" y="34"/>
                      </a:cubicBezTo>
                      <a:cubicBezTo>
                        <a:pt x="10" y="35"/>
                        <a:pt x="8" y="36"/>
                        <a:pt x="5" y="37"/>
                      </a:cubicBezTo>
                      <a:cubicBezTo>
                        <a:pt x="7" y="40"/>
                        <a:pt x="10" y="43"/>
                        <a:pt x="13" y="45"/>
                      </a:cubicBezTo>
                      <a:moveTo>
                        <a:pt x="18" y="48"/>
                      </a:moveTo>
                      <a:cubicBezTo>
                        <a:pt x="22" y="49"/>
                        <a:pt x="26" y="51"/>
                        <a:pt x="31" y="52"/>
                      </a:cubicBezTo>
                      <a:cubicBezTo>
                        <a:pt x="31" y="51"/>
                        <a:pt x="31" y="51"/>
                        <a:pt x="31" y="51"/>
                      </a:cubicBezTo>
                      <a:cubicBezTo>
                        <a:pt x="32" y="51"/>
                        <a:pt x="32" y="50"/>
                        <a:pt x="33" y="50"/>
                      </a:cubicBezTo>
                      <a:cubicBezTo>
                        <a:pt x="31" y="49"/>
                        <a:pt x="30" y="48"/>
                        <a:pt x="29" y="48"/>
                      </a:cubicBezTo>
                      <a:cubicBezTo>
                        <a:pt x="27" y="47"/>
                        <a:pt x="25" y="46"/>
                        <a:pt x="24" y="44"/>
                      </a:cubicBezTo>
                      <a:cubicBezTo>
                        <a:pt x="23" y="45"/>
                        <a:pt x="23" y="45"/>
                        <a:pt x="23" y="45"/>
                      </a:cubicBezTo>
                      <a:cubicBezTo>
                        <a:pt x="21" y="46"/>
                        <a:pt x="19" y="46"/>
                        <a:pt x="18" y="48"/>
                      </a:cubicBezTo>
                      <a:moveTo>
                        <a:pt x="2" y="27"/>
                      </a:moveTo>
                      <a:cubicBezTo>
                        <a:pt x="2" y="30"/>
                        <a:pt x="3" y="33"/>
                        <a:pt x="4" y="36"/>
                      </a:cubicBezTo>
                      <a:cubicBezTo>
                        <a:pt x="7" y="35"/>
                        <a:pt x="10" y="34"/>
                        <a:pt x="13" y="33"/>
                      </a:cubicBezTo>
                      <a:cubicBezTo>
                        <a:pt x="14" y="33"/>
                        <a:pt x="14" y="33"/>
                        <a:pt x="14" y="33"/>
                      </a:cubicBezTo>
                      <a:cubicBezTo>
                        <a:pt x="14" y="33"/>
                        <a:pt x="14" y="32"/>
                        <a:pt x="14" y="31"/>
                      </a:cubicBezTo>
                      <a:cubicBezTo>
                        <a:pt x="13" y="30"/>
                        <a:pt x="13" y="28"/>
                        <a:pt x="13" y="27"/>
                      </a:cubicBezTo>
                      <a:cubicBezTo>
                        <a:pt x="2" y="27"/>
                        <a:pt x="2" y="27"/>
                        <a:pt x="2" y="27"/>
                      </a:cubicBezTo>
                      <a:close/>
                      <a:moveTo>
                        <a:pt x="13" y="9"/>
                      </a:moveTo>
                      <a:cubicBezTo>
                        <a:pt x="11" y="11"/>
                        <a:pt x="9" y="13"/>
                        <a:pt x="7" y="15"/>
                      </a:cubicBezTo>
                      <a:cubicBezTo>
                        <a:pt x="9" y="16"/>
                        <a:pt x="12" y="17"/>
                        <a:pt x="15" y="18"/>
                      </a:cubicBezTo>
                      <a:cubicBezTo>
                        <a:pt x="15" y="18"/>
                        <a:pt x="15" y="18"/>
                        <a:pt x="15" y="18"/>
                      </a:cubicBezTo>
                      <a:cubicBezTo>
                        <a:pt x="15" y="17"/>
                        <a:pt x="15" y="17"/>
                        <a:pt x="15" y="17"/>
                      </a:cubicBezTo>
                      <a:cubicBezTo>
                        <a:pt x="17" y="14"/>
                        <a:pt x="20" y="12"/>
                        <a:pt x="23" y="10"/>
                      </a:cubicBezTo>
                      <a:cubicBezTo>
                        <a:pt x="22" y="9"/>
                        <a:pt x="22" y="9"/>
                        <a:pt x="22" y="9"/>
                      </a:cubicBezTo>
                      <a:cubicBezTo>
                        <a:pt x="21" y="8"/>
                        <a:pt x="20" y="7"/>
                        <a:pt x="19" y="6"/>
                      </a:cubicBezTo>
                      <a:cubicBezTo>
                        <a:pt x="17" y="7"/>
                        <a:pt x="15" y="8"/>
                        <a:pt x="13" y="9"/>
                      </a:cubicBezTo>
                      <a:moveTo>
                        <a:pt x="6" y="15"/>
                      </a:moveTo>
                      <a:cubicBezTo>
                        <a:pt x="4" y="19"/>
                        <a:pt x="2" y="22"/>
                        <a:pt x="2" y="26"/>
                      </a:cubicBezTo>
                      <a:cubicBezTo>
                        <a:pt x="13" y="26"/>
                        <a:pt x="13" y="26"/>
                        <a:pt x="13" y="26"/>
                      </a:cubicBezTo>
                      <a:cubicBezTo>
                        <a:pt x="13" y="25"/>
                        <a:pt x="13" y="25"/>
                        <a:pt x="13" y="24"/>
                      </a:cubicBezTo>
                      <a:cubicBezTo>
                        <a:pt x="13" y="22"/>
                        <a:pt x="14" y="20"/>
                        <a:pt x="15" y="18"/>
                      </a:cubicBezTo>
                      <a:cubicBezTo>
                        <a:pt x="15" y="18"/>
                        <a:pt x="15" y="18"/>
                        <a:pt x="15" y="18"/>
                      </a:cubicBezTo>
                      <a:cubicBezTo>
                        <a:pt x="12" y="17"/>
                        <a:pt x="9" y="16"/>
                        <a:pt x="6" y="15"/>
                      </a:cubicBezTo>
                      <a:moveTo>
                        <a:pt x="32" y="2"/>
                      </a:moveTo>
                      <a:cubicBezTo>
                        <a:pt x="28" y="3"/>
                        <a:pt x="23" y="4"/>
                        <a:pt x="19" y="6"/>
                      </a:cubicBezTo>
                      <a:cubicBezTo>
                        <a:pt x="20" y="7"/>
                        <a:pt x="21" y="8"/>
                        <a:pt x="23" y="8"/>
                      </a:cubicBezTo>
                      <a:cubicBezTo>
                        <a:pt x="23" y="9"/>
                        <a:pt x="23" y="9"/>
                        <a:pt x="24" y="9"/>
                      </a:cubicBezTo>
                      <a:cubicBezTo>
                        <a:pt x="26" y="7"/>
                        <a:pt x="29" y="6"/>
                        <a:pt x="31" y="4"/>
                      </a:cubicBezTo>
                      <a:cubicBezTo>
                        <a:pt x="32" y="4"/>
                        <a:pt x="33" y="4"/>
                        <a:pt x="33" y="3"/>
                      </a:cubicBezTo>
                      <a:cubicBezTo>
                        <a:pt x="33" y="3"/>
                        <a:pt x="33" y="2"/>
                        <a:pt x="32" y="2"/>
                      </a:cubicBezTo>
                      <a:moveTo>
                        <a:pt x="50" y="3"/>
                      </a:moveTo>
                      <a:cubicBezTo>
                        <a:pt x="50" y="2"/>
                        <a:pt x="50" y="2"/>
                        <a:pt x="50" y="2"/>
                      </a:cubicBezTo>
                      <a:cubicBezTo>
                        <a:pt x="47" y="2"/>
                        <a:pt x="42" y="1"/>
                        <a:pt x="37" y="2"/>
                      </a:cubicBezTo>
                      <a:cubicBezTo>
                        <a:pt x="36" y="2"/>
                        <a:pt x="36" y="2"/>
                        <a:pt x="35" y="2"/>
                      </a:cubicBezTo>
                      <a:cubicBezTo>
                        <a:pt x="34" y="2"/>
                        <a:pt x="34" y="2"/>
                        <a:pt x="33" y="2"/>
                      </a:cubicBezTo>
                      <a:cubicBezTo>
                        <a:pt x="34" y="3"/>
                        <a:pt x="35" y="3"/>
                        <a:pt x="36" y="4"/>
                      </a:cubicBezTo>
                      <a:cubicBezTo>
                        <a:pt x="37" y="4"/>
                        <a:pt x="37" y="4"/>
                        <a:pt x="37" y="4"/>
                      </a:cubicBezTo>
                      <a:cubicBezTo>
                        <a:pt x="39" y="5"/>
                        <a:pt x="40" y="5"/>
                        <a:pt x="42" y="5"/>
                      </a:cubicBezTo>
                      <a:cubicBezTo>
                        <a:pt x="44" y="5"/>
                        <a:pt x="47" y="4"/>
                        <a:pt x="49" y="3"/>
                      </a:cubicBezTo>
                      <a:cubicBezTo>
                        <a:pt x="50" y="3"/>
                        <a:pt x="50" y="3"/>
                        <a:pt x="50" y="3"/>
                      </a:cubicBezTo>
                      <a:moveTo>
                        <a:pt x="48" y="4"/>
                      </a:moveTo>
                      <a:cubicBezTo>
                        <a:pt x="48" y="4"/>
                        <a:pt x="47" y="5"/>
                        <a:pt x="46" y="5"/>
                      </a:cubicBezTo>
                      <a:cubicBezTo>
                        <a:pt x="48" y="7"/>
                        <a:pt x="49" y="10"/>
                        <a:pt x="50" y="12"/>
                      </a:cubicBezTo>
                      <a:cubicBezTo>
                        <a:pt x="52" y="12"/>
                        <a:pt x="54" y="11"/>
                        <a:pt x="56" y="11"/>
                      </a:cubicBezTo>
                      <a:cubicBezTo>
                        <a:pt x="57" y="11"/>
                        <a:pt x="57" y="11"/>
                        <a:pt x="58" y="11"/>
                      </a:cubicBezTo>
                      <a:cubicBezTo>
                        <a:pt x="58" y="10"/>
                        <a:pt x="58" y="10"/>
                        <a:pt x="58" y="10"/>
                      </a:cubicBezTo>
                      <a:cubicBezTo>
                        <a:pt x="56" y="8"/>
                        <a:pt x="53" y="6"/>
                        <a:pt x="49" y="5"/>
                      </a:cubicBezTo>
                      <a:cubicBezTo>
                        <a:pt x="49" y="4"/>
                        <a:pt x="49" y="4"/>
                        <a:pt x="49" y="4"/>
                      </a:cubicBezTo>
                      <a:lnTo>
                        <a:pt x="48" y="4"/>
                      </a:lnTo>
                      <a:close/>
                      <a:moveTo>
                        <a:pt x="45" y="5"/>
                      </a:moveTo>
                      <a:cubicBezTo>
                        <a:pt x="44" y="6"/>
                        <a:pt x="43" y="6"/>
                        <a:pt x="42" y="6"/>
                      </a:cubicBezTo>
                      <a:cubicBezTo>
                        <a:pt x="42" y="6"/>
                        <a:pt x="42" y="6"/>
                        <a:pt x="42" y="6"/>
                      </a:cubicBezTo>
                      <a:cubicBezTo>
                        <a:pt x="42" y="8"/>
                        <a:pt x="41" y="10"/>
                        <a:pt x="41" y="13"/>
                      </a:cubicBezTo>
                      <a:cubicBezTo>
                        <a:pt x="44" y="13"/>
                        <a:pt x="47" y="12"/>
                        <a:pt x="49" y="12"/>
                      </a:cubicBezTo>
                      <a:cubicBezTo>
                        <a:pt x="48" y="10"/>
                        <a:pt x="47" y="8"/>
                        <a:pt x="45" y="5"/>
                      </a:cubicBezTo>
                      <a:moveTo>
                        <a:pt x="41" y="6"/>
                      </a:moveTo>
                      <a:cubicBezTo>
                        <a:pt x="40" y="6"/>
                        <a:pt x="39" y="5"/>
                        <a:pt x="38" y="5"/>
                      </a:cubicBezTo>
                      <a:cubicBezTo>
                        <a:pt x="37" y="5"/>
                        <a:pt x="37" y="5"/>
                        <a:pt x="37" y="5"/>
                      </a:cubicBezTo>
                      <a:cubicBezTo>
                        <a:pt x="37" y="6"/>
                        <a:pt x="37" y="6"/>
                        <a:pt x="37" y="6"/>
                      </a:cubicBezTo>
                      <a:cubicBezTo>
                        <a:pt x="36" y="8"/>
                        <a:pt x="34" y="10"/>
                        <a:pt x="33" y="12"/>
                      </a:cubicBezTo>
                      <a:cubicBezTo>
                        <a:pt x="36" y="12"/>
                        <a:pt x="38" y="12"/>
                        <a:pt x="41" y="13"/>
                      </a:cubicBezTo>
                      <a:cubicBezTo>
                        <a:pt x="41" y="10"/>
                        <a:pt x="41" y="8"/>
                        <a:pt x="41" y="6"/>
                      </a:cubicBezTo>
                      <a:moveTo>
                        <a:pt x="37" y="5"/>
                      </a:moveTo>
                      <a:cubicBezTo>
                        <a:pt x="36" y="5"/>
                        <a:pt x="36" y="5"/>
                        <a:pt x="36" y="5"/>
                      </a:cubicBezTo>
                      <a:cubicBezTo>
                        <a:pt x="35" y="4"/>
                        <a:pt x="35" y="4"/>
                        <a:pt x="34" y="4"/>
                      </a:cubicBezTo>
                      <a:cubicBezTo>
                        <a:pt x="33" y="4"/>
                        <a:pt x="32" y="5"/>
                        <a:pt x="32" y="5"/>
                      </a:cubicBezTo>
                      <a:cubicBezTo>
                        <a:pt x="29" y="7"/>
                        <a:pt x="27" y="8"/>
                        <a:pt x="25" y="9"/>
                      </a:cubicBezTo>
                      <a:cubicBezTo>
                        <a:pt x="26" y="10"/>
                        <a:pt x="26" y="10"/>
                        <a:pt x="28" y="11"/>
                      </a:cubicBezTo>
                      <a:cubicBezTo>
                        <a:pt x="29" y="11"/>
                        <a:pt x="31" y="11"/>
                        <a:pt x="33" y="12"/>
                      </a:cubicBezTo>
                      <a:cubicBezTo>
                        <a:pt x="34" y="10"/>
                        <a:pt x="35" y="8"/>
                        <a:pt x="36" y="5"/>
                      </a:cubicBezTo>
                      <a:cubicBezTo>
                        <a:pt x="37" y="5"/>
                        <a:pt x="37" y="5"/>
                        <a:pt x="37" y="5"/>
                      </a:cubicBezTo>
                      <a:close/>
                      <a:moveTo>
                        <a:pt x="40" y="48"/>
                      </a:moveTo>
                      <a:cubicBezTo>
                        <a:pt x="40" y="48"/>
                        <a:pt x="40" y="48"/>
                        <a:pt x="40" y="48"/>
                      </a:cubicBezTo>
                      <a:cubicBezTo>
                        <a:pt x="41" y="48"/>
                        <a:pt x="41" y="48"/>
                        <a:pt x="41" y="48"/>
                      </a:cubicBezTo>
                      <a:cubicBezTo>
                        <a:pt x="41" y="41"/>
                        <a:pt x="41" y="41"/>
                        <a:pt x="41" y="41"/>
                      </a:cubicBezTo>
                      <a:cubicBezTo>
                        <a:pt x="38" y="41"/>
                        <a:pt x="36" y="42"/>
                        <a:pt x="34" y="42"/>
                      </a:cubicBezTo>
                      <a:cubicBezTo>
                        <a:pt x="35" y="44"/>
                        <a:pt x="36" y="46"/>
                        <a:pt x="37" y="48"/>
                      </a:cubicBezTo>
                      <a:cubicBezTo>
                        <a:pt x="38" y="48"/>
                        <a:pt x="39" y="48"/>
                        <a:pt x="40" y="48"/>
                      </a:cubicBezTo>
                      <a:moveTo>
                        <a:pt x="36" y="49"/>
                      </a:moveTo>
                      <a:cubicBezTo>
                        <a:pt x="36" y="48"/>
                        <a:pt x="36" y="48"/>
                        <a:pt x="36" y="48"/>
                      </a:cubicBezTo>
                      <a:cubicBezTo>
                        <a:pt x="35" y="46"/>
                        <a:pt x="34" y="44"/>
                        <a:pt x="33" y="42"/>
                      </a:cubicBezTo>
                      <a:cubicBezTo>
                        <a:pt x="32" y="42"/>
                        <a:pt x="31" y="42"/>
                        <a:pt x="30" y="43"/>
                      </a:cubicBezTo>
                      <a:cubicBezTo>
                        <a:pt x="28" y="43"/>
                        <a:pt x="26" y="44"/>
                        <a:pt x="25" y="44"/>
                      </a:cubicBezTo>
                      <a:cubicBezTo>
                        <a:pt x="26" y="45"/>
                        <a:pt x="28" y="46"/>
                        <a:pt x="29" y="47"/>
                      </a:cubicBezTo>
                      <a:cubicBezTo>
                        <a:pt x="31" y="48"/>
                        <a:pt x="32" y="49"/>
                        <a:pt x="33" y="50"/>
                      </a:cubicBezTo>
                      <a:cubicBezTo>
                        <a:pt x="33" y="50"/>
                        <a:pt x="33" y="50"/>
                        <a:pt x="33" y="50"/>
                      </a:cubicBezTo>
                      <a:cubicBezTo>
                        <a:pt x="34" y="49"/>
                        <a:pt x="34" y="49"/>
                        <a:pt x="35" y="49"/>
                      </a:cubicBezTo>
                      <a:cubicBezTo>
                        <a:pt x="35" y="49"/>
                        <a:pt x="36" y="49"/>
                        <a:pt x="36" y="49"/>
                      </a:cubicBezTo>
                      <a:moveTo>
                        <a:pt x="46" y="49"/>
                      </a:moveTo>
                      <a:cubicBezTo>
                        <a:pt x="47" y="49"/>
                        <a:pt x="47" y="50"/>
                        <a:pt x="48" y="50"/>
                      </a:cubicBezTo>
                      <a:cubicBezTo>
                        <a:pt x="48" y="50"/>
                        <a:pt x="48" y="50"/>
                        <a:pt x="48" y="50"/>
                      </a:cubicBezTo>
                      <a:cubicBezTo>
                        <a:pt x="48" y="50"/>
                        <a:pt x="48" y="50"/>
                        <a:pt x="48" y="50"/>
                      </a:cubicBezTo>
                      <a:cubicBezTo>
                        <a:pt x="49" y="50"/>
                        <a:pt x="49" y="50"/>
                        <a:pt x="49" y="50"/>
                      </a:cubicBezTo>
                      <a:cubicBezTo>
                        <a:pt x="52" y="48"/>
                        <a:pt x="55" y="46"/>
                        <a:pt x="58" y="44"/>
                      </a:cubicBezTo>
                      <a:cubicBezTo>
                        <a:pt x="55" y="43"/>
                        <a:pt x="53" y="43"/>
                        <a:pt x="50" y="42"/>
                      </a:cubicBezTo>
                      <a:cubicBezTo>
                        <a:pt x="49" y="44"/>
                        <a:pt x="48" y="46"/>
                        <a:pt x="46" y="49"/>
                      </a:cubicBezTo>
                      <a:moveTo>
                        <a:pt x="41" y="48"/>
                      </a:moveTo>
                      <a:cubicBezTo>
                        <a:pt x="43" y="48"/>
                        <a:pt x="44" y="48"/>
                        <a:pt x="45" y="49"/>
                      </a:cubicBezTo>
                      <a:cubicBezTo>
                        <a:pt x="47" y="46"/>
                        <a:pt x="48" y="44"/>
                        <a:pt x="49" y="42"/>
                      </a:cubicBezTo>
                      <a:cubicBezTo>
                        <a:pt x="47" y="42"/>
                        <a:pt x="44" y="41"/>
                        <a:pt x="41" y="41"/>
                      </a:cubicBezTo>
                      <a:lnTo>
                        <a:pt x="41" y="48"/>
                      </a:lnTo>
                      <a:close/>
                      <a:moveTo>
                        <a:pt x="27" y="11"/>
                      </a:moveTo>
                      <a:cubicBezTo>
                        <a:pt x="26" y="11"/>
                        <a:pt x="25" y="10"/>
                        <a:pt x="24" y="10"/>
                      </a:cubicBezTo>
                      <a:cubicBezTo>
                        <a:pt x="21" y="12"/>
                        <a:pt x="18" y="15"/>
                        <a:pt x="16" y="18"/>
                      </a:cubicBezTo>
                      <a:cubicBezTo>
                        <a:pt x="19" y="19"/>
                        <a:pt x="22" y="19"/>
                        <a:pt x="25" y="20"/>
                      </a:cubicBezTo>
                      <a:cubicBezTo>
                        <a:pt x="26" y="20"/>
                        <a:pt x="28" y="20"/>
                        <a:pt x="29" y="20"/>
                      </a:cubicBezTo>
                      <a:cubicBezTo>
                        <a:pt x="30" y="18"/>
                        <a:pt x="31" y="15"/>
                        <a:pt x="32" y="12"/>
                      </a:cubicBezTo>
                      <a:cubicBezTo>
                        <a:pt x="31" y="12"/>
                        <a:pt x="29" y="12"/>
                        <a:pt x="27" y="11"/>
                      </a:cubicBezTo>
                      <a:moveTo>
                        <a:pt x="56" y="12"/>
                      </a:moveTo>
                      <a:cubicBezTo>
                        <a:pt x="56" y="12"/>
                        <a:pt x="56" y="12"/>
                        <a:pt x="56" y="12"/>
                      </a:cubicBezTo>
                      <a:cubicBezTo>
                        <a:pt x="55" y="12"/>
                        <a:pt x="53" y="12"/>
                        <a:pt x="51" y="13"/>
                      </a:cubicBezTo>
                      <a:cubicBezTo>
                        <a:pt x="52" y="16"/>
                        <a:pt x="53" y="18"/>
                        <a:pt x="54" y="21"/>
                      </a:cubicBezTo>
                      <a:cubicBezTo>
                        <a:pt x="58" y="21"/>
                        <a:pt x="62" y="20"/>
                        <a:pt x="66" y="19"/>
                      </a:cubicBezTo>
                      <a:cubicBezTo>
                        <a:pt x="66" y="19"/>
                        <a:pt x="66" y="19"/>
                        <a:pt x="66" y="19"/>
                      </a:cubicBezTo>
                      <a:cubicBezTo>
                        <a:pt x="65" y="16"/>
                        <a:pt x="62" y="14"/>
                        <a:pt x="59" y="11"/>
                      </a:cubicBezTo>
                      <a:cubicBezTo>
                        <a:pt x="59" y="11"/>
                        <a:pt x="58" y="11"/>
                        <a:pt x="58" y="11"/>
                      </a:cubicBezTo>
                      <a:cubicBezTo>
                        <a:pt x="57" y="11"/>
                        <a:pt x="57" y="12"/>
                        <a:pt x="56" y="12"/>
                      </a:cubicBezTo>
                      <a:close/>
                      <a:moveTo>
                        <a:pt x="50" y="13"/>
                      </a:moveTo>
                      <a:cubicBezTo>
                        <a:pt x="47" y="13"/>
                        <a:pt x="44" y="13"/>
                        <a:pt x="41" y="13"/>
                      </a:cubicBezTo>
                      <a:cubicBezTo>
                        <a:pt x="41" y="16"/>
                        <a:pt x="41" y="19"/>
                        <a:pt x="41" y="21"/>
                      </a:cubicBezTo>
                      <a:cubicBezTo>
                        <a:pt x="45" y="21"/>
                        <a:pt x="49" y="21"/>
                        <a:pt x="53" y="21"/>
                      </a:cubicBezTo>
                      <a:cubicBezTo>
                        <a:pt x="52" y="18"/>
                        <a:pt x="51" y="16"/>
                        <a:pt x="50" y="13"/>
                      </a:cubicBezTo>
                      <a:moveTo>
                        <a:pt x="41" y="13"/>
                      </a:moveTo>
                      <a:cubicBezTo>
                        <a:pt x="38" y="13"/>
                        <a:pt x="36" y="13"/>
                        <a:pt x="33" y="13"/>
                      </a:cubicBezTo>
                      <a:cubicBezTo>
                        <a:pt x="32" y="15"/>
                        <a:pt x="31" y="18"/>
                        <a:pt x="30" y="20"/>
                      </a:cubicBezTo>
                      <a:cubicBezTo>
                        <a:pt x="33" y="21"/>
                        <a:pt x="37" y="21"/>
                        <a:pt x="41" y="21"/>
                      </a:cubicBezTo>
                      <a:cubicBezTo>
                        <a:pt x="41" y="19"/>
                        <a:pt x="41" y="16"/>
                        <a:pt x="41" y="13"/>
                      </a:cubicBezTo>
                      <a:moveTo>
                        <a:pt x="25" y="20"/>
                      </a:moveTo>
                      <a:cubicBezTo>
                        <a:pt x="22" y="20"/>
                        <a:pt x="19" y="19"/>
                        <a:pt x="16" y="19"/>
                      </a:cubicBezTo>
                      <a:cubicBezTo>
                        <a:pt x="15" y="21"/>
                        <a:pt x="14" y="22"/>
                        <a:pt x="14" y="24"/>
                      </a:cubicBezTo>
                      <a:cubicBezTo>
                        <a:pt x="14" y="25"/>
                        <a:pt x="14" y="25"/>
                        <a:pt x="14" y="26"/>
                      </a:cubicBezTo>
                      <a:cubicBezTo>
                        <a:pt x="28" y="26"/>
                        <a:pt x="28" y="26"/>
                        <a:pt x="28" y="26"/>
                      </a:cubicBezTo>
                      <a:cubicBezTo>
                        <a:pt x="28" y="24"/>
                        <a:pt x="29" y="23"/>
                        <a:pt x="29" y="21"/>
                      </a:cubicBezTo>
                      <a:cubicBezTo>
                        <a:pt x="28" y="21"/>
                        <a:pt x="26" y="21"/>
                        <a:pt x="25" y="20"/>
                      </a:cubicBezTo>
                      <a:moveTo>
                        <a:pt x="67" y="20"/>
                      </a:moveTo>
                      <a:cubicBezTo>
                        <a:pt x="63" y="21"/>
                        <a:pt x="58" y="21"/>
                        <a:pt x="54" y="22"/>
                      </a:cubicBezTo>
                      <a:cubicBezTo>
                        <a:pt x="54" y="23"/>
                        <a:pt x="54" y="25"/>
                        <a:pt x="54" y="26"/>
                      </a:cubicBezTo>
                      <a:cubicBezTo>
                        <a:pt x="69" y="27"/>
                        <a:pt x="69" y="27"/>
                        <a:pt x="69" y="27"/>
                      </a:cubicBezTo>
                      <a:cubicBezTo>
                        <a:pt x="69" y="24"/>
                        <a:pt x="68" y="22"/>
                        <a:pt x="67" y="20"/>
                      </a:cubicBezTo>
                      <a:moveTo>
                        <a:pt x="53" y="22"/>
                      </a:moveTo>
                      <a:cubicBezTo>
                        <a:pt x="49" y="22"/>
                        <a:pt x="45" y="22"/>
                        <a:pt x="41" y="22"/>
                      </a:cubicBezTo>
                      <a:cubicBezTo>
                        <a:pt x="41" y="23"/>
                        <a:pt x="41" y="25"/>
                        <a:pt x="41" y="26"/>
                      </a:cubicBezTo>
                      <a:cubicBezTo>
                        <a:pt x="42" y="26"/>
                        <a:pt x="42" y="26"/>
                        <a:pt x="42" y="26"/>
                      </a:cubicBezTo>
                      <a:cubicBezTo>
                        <a:pt x="53" y="26"/>
                        <a:pt x="53" y="26"/>
                        <a:pt x="53" y="26"/>
                      </a:cubicBezTo>
                      <a:cubicBezTo>
                        <a:pt x="53" y="25"/>
                        <a:pt x="53" y="23"/>
                        <a:pt x="53" y="22"/>
                      </a:cubicBezTo>
                      <a:moveTo>
                        <a:pt x="42" y="27"/>
                      </a:moveTo>
                      <a:cubicBezTo>
                        <a:pt x="41" y="27"/>
                        <a:pt x="41" y="27"/>
                        <a:pt x="41" y="27"/>
                      </a:cubicBezTo>
                      <a:cubicBezTo>
                        <a:pt x="41" y="31"/>
                        <a:pt x="41" y="31"/>
                        <a:pt x="41" y="31"/>
                      </a:cubicBezTo>
                      <a:cubicBezTo>
                        <a:pt x="45" y="31"/>
                        <a:pt x="49" y="31"/>
                        <a:pt x="53" y="32"/>
                      </a:cubicBezTo>
                      <a:cubicBezTo>
                        <a:pt x="53" y="30"/>
                        <a:pt x="53" y="29"/>
                        <a:pt x="53" y="27"/>
                      </a:cubicBezTo>
                      <a:cubicBezTo>
                        <a:pt x="53" y="27"/>
                        <a:pt x="53" y="27"/>
                        <a:pt x="53" y="27"/>
                      </a:cubicBezTo>
                      <a:lnTo>
                        <a:pt x="42" y="27"/>
                      </a:lnTo>
                      <a:close/>
                      <a:moveTo>
                        <a:pt x="41" y="27"/>
                      </a:moveTo>
                      <a:cubicBezTo>
                        <a:pt x="29" y="27"/>
                        <a:pt x="29" y="27"/>
                        <a:pt x="29" y="27"/>
                      </a:cubicBezTo>
                      <a:cubicBezTo>
                        <a:pt x="29" y="27"/>
                        <a:pt x="29" y="27"/>
                        <a:pt x="29" y="27"/>
                      </a:cubicBezTo>
                      <a:cubicBezTo>
                        <a:pt x="29" y="29"/>
                        <a:pt x="29" y="30"/>
                        <a:pt x="30" y="31"/>
                      </a:cubicBezTo>
                      <a:cubicBezTo>
                        <a:pt x="33" y="31"/>
                        <a:pt x="37" y="31"/>
                        <a:pt x="41" y="31"/>
                      </a:cubicBezTo>
                      <a:cubicBezTo>
                        <a:pt x="41" y="30"/>
                        <a:pt x="41" y="28"/>
                        <a:pt x="41" y="27"/>
                      </a:cubicBezTo>
                      <a:moveTo>
                        <a:pt x="28" y="27"/>
                      </a:moveTo>
                      <a:cubicBezTo>
                        <a:pt x="14" y="27"/>
                        <a:pt x="14" y="27"/>
                        <a:pt x="14" y="27"/>
                      </a:cubicBezTo>
                      <a:cubicBezTo>
                        <a:pt x="14" y="28"/>
                        <a:pt x="14" y="29"/>
                        <a:pt x="14" y="31"/>
                      </a:cubicBezTo>
                      <a:cubicBezTo>
                        <a:pt x="14" y="32"/>
                        <a:pt x="15" y="32"/>
                        <a:pt x="15" y="33"/>
                      </a:cubicBezTo>
                      <a:cubicBezTo>
                        <a:pt x="18" y="32"/>
                        <a:pt x="21" y="32"/>
                        <a:pt x="24" y="32"/>
                      </a:cubicBezTo>
                      <a:cubicBezTo>
                        <a:pt x="25" y="31"/>
                        <a:pt x="27" y="31"/>
                        <a:pt x="29" y="31"/>
                      </a:cubicBezTo>
                      <a:cubicBezTo>
                        <a:pt x="29" y="30"/>
                        <a:pt x="28" y="29"/>
                        <a:pt x="28" y="27"/>
                      </a:cubicBezTo>
                      <a:cubicBezTo>
                        <a:pt x="28" y="27"/>
                        <a:pt x="28" y="27"/>
                        <a:pt x="28" y="27"/>
                      </a:cubicBezTo>
                      <a:moveTo>
                        <a:pt x="68" y="27"/>
                      </a:moveTo>
                      <a:cubicBezTo>
                        <a:pt x="54" y="27"/>
                        <a:pt x="54" y="27"/>
                        <a:pt x="54" y="27"/>
                      </a:cubicBezTo>
                      <a:cubicBezTo>
                        <a:pt x="54" y="27"/>
                        <a:pt x="54" y="27"/>
                        <a:pt x="54" y="27"/>
                      </a:cubicBezTo>
                      <a:cubicBezTo>
                        <a:pt x="54" y="29"/>
                        <a:pt x="54" y="30"/>
                        <a:pt x="54" y="32"/>
                      </a:cubicBezTo>
                      <a:cubicBezTo>
                        <a:pt x="58" y="33"/>
                        <a:pt x="62" y="33"/>
                        <a:pt x="66" y="34"/>
                      </a:cubicBezTo>
                      <a:cubicBezTo>
                        <a:pt x="68" y="32"/>
                        <a:pt x="68" y="30"/>
                        <a:pt x="68" y="27"/>
                      </a:cubicBezTo>
                      <a:moveTo>
                        <a:pt x="24" y="32"/>
                      </a:moveTo>
                      <a:cubicBezTo>
                        <a:pt x="21" y="33"/>
                        <a:pt x="18" y="33"/>
                        <a:pt x="15" y="34"/>
                      </a:cubicBezTo>
                      <a:cubicBezTo>
                        <a:pt x="17" y="38"/>
                        <a:pt x="20" y="41"/>
                        <a:pt x="24" y="44"/>
                      </a:cubicBezTo>
                      <a:cubicBezTo>
                        <a:pt x="26" y="43"/>
                        <a:pt x="28" y="42"/>
                        <a:pt x="30" y="42"/>
                      </a:cubicBezTo>
                      <a:cubicBezTo>
                        <a:pt x="30" y="42"/>
                        <a:pt x="31" y="41"/>
                        <a:pt x="32" y="41"/>
                      </a:cubicBezTo>
                      <a:cubicBezTo>
                        <a:pt x="31" y="38"/>
                        <a:pt x="30" y="35"/>
                        <a:pt x="29" y="32"/>
                      </a:cubicBezTo>
                      <a:cubicBezTo>
                        <a:pt x="27" y="32"/>
                        <a:pt x="25" y="32"/>
                        <a:pt x="24" y="32"/>
                      </a:cubicBezTo>
                      <a:moveTo>
                        <a:pt x="66" y="35"/>
                      </a:moveTo>
                      <a:cubicBezTo>
                        <a:pt x="62" y="34"/>
                        <a:pt x="58" y="33"/>
                        <a:pt x="53" y="33"/>
                      </a:cubicBezTo>
                      <a:cubicBezTo>
                        <a:pt x="53" y="36"/>
                        <a:pt x="52" y="38"/>
                        <a:pt x="50" y="41"/>
                      </a:cubicBezTo>
                      <a:cubicBezTo>
                        <a:pt x="53" y="42"/>
                        <a:pt x="56" y="43"/>
                        <a:pt x="58" y="44"/>
                      </a:cubicBezTo>
                      <a:cubicBezTo>
                        <a:pt x="62" y="41"/>
                        <a:pt x="64" y="38"/>
                        <a:pt x="66" y="35"/>
                      </a:cubicBezTo>
                      <a:moveTo>
                        <a:pt x="53" y="33"/>
                      </a:moveTo>
                      <a:cubicBezTo>
                        <a:pt x="49" y="32"/>
                        <a:pt x="45" y="32"/>
                        <a:pt x="41" y="32"/>
                      </a:cubicBezTo>
                      <a:cubicBezTo>
                        <a:pt x="41" y="34"/>
                        <a:pt x="41" y="37"/>
                        <a:pt x="41" y="40"/>
                      </a:cubicBezTo>
                      <a:cubicBezTo>
                        <a:pt x="41" y="41"/>
                        <a:pt x="41" y="41"/>
                        <a:pt x="41" y="41"/>
                      </a:cubicBezTo>
                      <a:cubicBezTo>
                        <a:pt x="44" y="41"/>
                        <a:pt x="47" y="41"/>
                        <a:pt x="49" y="41"/>
                      </a:cubicBezTo>
                      <a:cubicBezTo>
                        <a:pt x="51" y="38"/>
                        <a:pt x="52" y="35"/>
                        <a:pt x="53" y="33"/>
                      </a:cubicBezTo>
                      <a:moveTo>
                        <a:pt x="40" y="32"/>
                      </a:moveTo>
                      <a:cubicBezTo>
                        <a:pt x="37" y="32"/>
                        <a:pt x="33" y="32"/>
                        <a:pt x="30" y="32"/>
                      </a:cubicBezTo>
                      <a:cubicBezTo>
                        <a:pt x="30" y="35"/>
                        <a:pt x="32" y="38"/>
                        <a:pt x="33" y="41"/>
                      </a:cubicBezTo>
                      <a:cubicBezTo>
                        <a:pt x="36" y="41"/>
                        <a:pt x="38" y="41"/>
                        <a:pt x="41" y="41"/>
                      </a:cubicBezTo>
                      <a:cubicBezTo>
                        <a:pt x="41" y="40"/>
                        <a:pt x="41" y="40"/>
                        <a:pt x="41" y="40"/>
                      </a:cubicBezTo>
                      <a:cubicBezTo>
                        <a:pt x="40" y="37"/>
                        <a:pt x="40" y="34"/>
                        <a:pt x="40" y="32"/>
                      </a:cubicBezTo>
                      <a:moveTo>
                        <a:pt x="41" y="22"/>
                      </a:moveTo>
                      <a:cubicBezTo>
                        <a:pt x="37" y="22"/>
                        <a:pt x="33" y="22"/>
                        <a:pt x="30" y="21"/>
                      </a:cubicBezTo>
                      <a:cubicBezTo>
                        <a:pt x="29" y="23"/>
                        <a:pt x="29" y="24"/>
                        <a:pt x="29" y="26"/>
                      </a:cubicBezTo>
                      <a:cubicBezTo>
                        <a:pt x="41" y="26"/>
                        <a:pt x="41" y="26"/>
                        <a:pt x="41" y="26"/>
                      </a:cubicBezTo>
                      <a:cubicBezTo>
                        <a:pt x="41" y="22"/>
                        <a:pt x="41" y="22"/>
                        <a:pt x="41" y="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0" name="Freeform 31"/>
                <p:cNvSpPr>
                  <a:spLocks/>
                </p:cNvSpPr>
                <p:nvPr/>
              </p:nvSpPr>
              <p:spPr bwMode="auto">
                <a:xfrm>
                  <a:off x="4064000" y="4953000"/>
                  <a:ext cx="107950" cy="90488"/>
                </a:xfrm>
                <a:custGeom>
                  <a:avLst/>
                  <a:gdLst>
                    <a:gd name="T0" fmla="*/ 25400 w 34"/>
                    <a:gd name="T1" fmla="*/ 90488 h 28"/>
                    <a:gd name="T2" fmla="*/ 0 w 34"/>
                    <a:gd name="T3" fmla="*/ 90488 h 28"/>
                    <a:gd name="T4" fmla="*/ 0 w 34"/>
                    <a:gd name="T5" fmla="*/ 0 h 28"/>
                    <a:gd name="T6" fmla="*/ 25400 w 34"/>
                    <a:gd name="T7" fmla="*/ 0 h 28"/>
                    <a:gd name="T8" fmla="*/ 25400 w 34"/>
                    <a:gd name="T9" fmla="*/ 29085 h 28"/>
                    <a:gd name="T10" fmla="*/ 44450 w 34"/>
                    <a:gd name="T11" fmla="*/ 29085 h 28"/>
                    <a:gd name="T12" fmla="*/ 41275 w 34"/>
                    <a:gd name="T13" fmla="*/ 0 h 28"/>
                    <a:gd name="T14" fmla="*/ 66675 w 34"/>
                    <a:gd name="T15" fmla="*/ 0 h 28"/>
                    <a:gd name="T16" fmla="*/ 66675 w 34"/>
                    <a:gd name="T17" fmla="*/ 32317 h 28"/>
                    <a:gd name="T18" fmla="*/ 104775 w 34"/>
                    <a:gd name="T19" fmla="*/ 48476 h 28"/>
                    <a:gd name="T20" fmla="*/ 107950 w 34"/>
                    <a:gd name="T21" fmla="*/ 90488 h 28"/>
                    <a:gd name="T22" fmla="*/ 82550 w 34"/>
                    <a:gd name="T23" fmla="*/ 90488 h 28"/>
                    <a:gd name="T24" fmla="*/ 85725 w 34"/>
                    <a:gd name="T25" fmla="*/ 61403 h 28"/>
                    <a:gd name="T26" fmla="*/ 66675 w 34"/>
                    <a:gd name="T27" fmla="*/ 64634 h 28"/>
                    <a:gd name="T28" fmla="*/ 66675 w 34"/>
                    <a:gd name="T29" fmla="*/ 90488 h 28"/>
                    <a:gd name="T30" fmla="*/ 41275 w 34"/>
                    <a:gd name="T31" fmla="*/ 90488 h 28"/>
                    <a:gd name="T32" fmla="*/ 41275 w 34"/>
                    <a:gd name="T33" fmla="*/ 61403 h 28"/>
                    <a:gd name="T34" fmla="*/ 25400 w 34"/>
                    <a:gd name="T35" fmla="*/ 61403 h 28"/>
                    <a:gd name="T36" fmla="*/ 25400 w 34"/>
                    <a:gd name="T37" fmla="*/ 9048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28">
                      <a:moveTo>
                        <a:pt x="8" y="28"/>
                      </a:moveTo>
                      <a:cubicBezTo>
                        <a:pt x="3" y="28"/>
                        <a:pt x="4" y="28"/>
                        <a:pt x="0" y="28"/>
                      </a:cubicBezTo>
                      <a:cubicBezTo>
                        <a:pt x="1" y="19"/>
                        <a:pt x="1" y="9"/>
                        <a:pt x="0" y="0"/>
                      </a:cubicBezTo>
                      <a:cubicBezTo>
                        <a:pt x="8" y="0"/>
                        <a:pt x="8" y="0"/>
                        <a:pt x="8" y="0"/>
                      </a:cubicBezTo>
                      <a:cubicBezTo>
                        <a:pt x="7" y="2"/>
                        <a:pt x="7" y="6"/>
                        <a:pt x="8" y="9"/>
                      </a:cubicBezTo>
                      <a:cubicBezTo>
                        <a:pt x="8" y="13"/>
                        <a:pt x="13" y="13"/>
                        <a:pt x="14" y="9"/>
                      </a:cubicBezTo>
                      <a:cubicBezTo>
                        <a:pt x="14" y="6"/>
                        <a:pt x="14" y="2"/>
                        <a:pt x="13" y="0"/>
                      </a:cubicBezTo>
                      <a:cubicBezTo>
                        <a:pt x="21" y="0"/>
                        <a:pt x="21" y="0"/>
                        <a:pt x="21" y="0"/>
                      </a:cubicBezTo>
                      <a:cubicBezTo>
                        <a:pt x="21" y="3"/>
                        <a:pt x="21" y="7"/>
                        <a:pt x="21" y="10"/>
                      </a:cubicBezTo>
                      <a:cubicBezTo>
                        <a:pt x="26" y="5"/>
                        <a:pt x="33" y="9"/>
                        <a:pt x="33" y="15"/>
                      </a:cubicBezTo>
                      <a:cubicBezTo>
                        <a:pt x="33" y="19"/>
                        <a:pt x="33" y="25"/>
                        <a:pt x="34" y="28"/>
                      </a:cubicBezTo>
                      <a:cubicBezTo>
                        <a:pt x="26" y="28"/>
                        <a:pt x="26" y="28"/>
                        <a:pt x="26" y="28"/>
                      </a:cubicBezTo>
                      <a:cubicBezTo>
                        <a:pt x="26" y="25"/>
                        <a:pt x="27" y="22"/>
                        <a:pt x="27" y="19"/>
                      </a:cubicBezTo>
                      <a:cubicBezTo>
                        <a:pt x="27" y="14"/>
                        <a:pt x="20" y="15"/>
                        <a:pt x="21" y="20"/>
                      </a:cubicBezTo>
                      <a:cubicBezTo>
                        <a:pt x="21" y="23"/>
                        <a:pt x="21" y="25"/>
                        <a:pt x="21" y="28"/>
                      </a:cubicBezTo>
                      <a:cubicBezTo>
                        <a:pt x="17" y="28"/>
                        <a:pt x="18" y="28"/>
                        <a:pt x="13" y="28"/>
                      </a:cubicBezTo>
                      <a:cubicBezTo>
                        <a:pt x="14" y="25"/>
                        <a:pt x="15" y="21"/>
                        <a:pt x="13" y="19"/>
                      </a:cubicBezTo>
                      <a:cubicBezTo>
                        <a:pt x="12" y="16"/>
                        <a:pt x="9" y="16"/>
                        <a:pt x="8" y="19"/>
                      </a:cubicBezTo>
                      <a:cubicBezTo>
                        <a:pt x="6" y="22"/>
                        <a:pt x="7" y="25"/>
                        <a:pt x="8" y="2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1" name="Freeform 32"/>
                <p:cNvSpPr>
                  <a:spLocks/>
                </p:cNvSpPr>
                <p:nvPr/>
              </p:nvSpPr>
              <p:spPr bwMode="auto">
                <a:xfrm>
                  <a:off x="4311650" y="4972050"/>
                  <a:ext cx="47625" cy="58738"/>
                </a:xfrm>
                <a:custGeom>
                  <a:avLst/>
                  <a:gdLst>
                    <a:gd name="T0" fmla="*/ 31750 w 30"/>
                    <a:gd name="T1" fmla="*/ 23813 h 37"/>
                    <a:gd name="T2" fmla="*/ 12700 w 30"/>
                    <a:gd name="T3" fmla="*/ 23813 h 37"/>
                    <a:gd name="T4" fmla="*/ 12700 w 30"/>
                    <a:gd name="T5" fmla="*/ 0 h 37"/>
                    <a:gd name="T6" fmla="*/ 0 w 30"/>
                    <a:gd name="T7" fmla="*/ 0 h 37"/>
                    <a:gd name="T8" fmla="*/ 0 w 30"/>
                    <a:gd name="T9" fmla="*/ 58738 h 37"/>
                    <a:gd name="T10" fmla="*/ 12700 w 30"/>
                    <a:gd name="T11" fmla="*/ 58738 h 37"/>
                    <a:gd name="T12" fmla="*/ 12700 w 30"/>
                    <a:gd name="T13" fmla="*/ 36513 h 37"/>
                    <a:gd name="T14" fmla="*/ 31750 w 30"/>
                    <a:gd name="T15" fmla="*/ 36513 h 37"/>
                    <a:gd name="T16" fmla="*/ 31750 w 30"/>
                    <a:gd name="T17" fmla="*/ 58738 h 37"/>
                    <a:gd name="T18" fmla="*/ 47625 w 30"/>
                    <a:gd name="T19" fmla="*/ 58738 h 37"/>
                    <a:gd name="T20" fmla="*/ 47625 w 30"/>
                    <a:gd name="T21" fmla="*/ 0 h 37"/>
                    <a:gd name="T22" fmla="*/ 31750 w 30"/>
                    <a:gd name="T23" fmla="*/ 0 h 37"/>
                    <a:gd name="T24" fmla="*/ 31750 w 30"/>
                    <a:gd name="T25" fmla="*/ 23813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20" y="15"/>
                      </a:moveTo>
                      <a:lnTo>
                        <a:pt x="8" y="15"/>
                      </a:lnTo>
                      <a:lnTo>
                        <a:pt x="8" y="0"/>
                      </a:lnTo>
                      <a:lnTo>
                        <a:pt x="0" y="0"/>
                      </a:lnTo>
                      <a:lnTo>
                        <a:pt x="0" y="37"/>
                      </a:lnTo>
                      <a:lnTo>
                        <a:pt x="8" y="37"/>
                      </a:lnTo>
                      <a:lnTo>
                        <a:pt x="8" y="23"/>
                      </a:lnTo>
                      <a:lnTo>
                        <a:pt x="20" y="23"/>
                      </a:lnTo>
                      <a:lnTo>
                        <a:pt x="20" y="37"/>
                      </a:lnTo>
                      <a:lnTo>
                        <a:pt x="30" y="37"/>
                      </a:lnTo>
                      <a:lnTo>
                        <a:pt x="30" y="0"/>
                      </a:lnTo>
                      <a:lnTo>
                        <a:pt x="20" y="0"/>
                      </a:lnTo>
                      <a:lnTo>
                        <a:pt x="2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2" name="Rectangle 33"/>
                <p:cNvSpPr>
                  <a:spLocks noChangeArrowheads="1"/>
                </p:cNvSpPr>
                <p:nvPr/>
              </p:nvSpPr>
              <p:spPr bwMode="auto">
                <a:xfrm>
                  <a:off x="4384675" y="4972050"/>
                  <a:ext cx="12700" cy="587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3" name="Freeform 34"/>
                <p:cNvSpPr>
                  <a:spLocks/>
                </p:cNvSpPr>
                <p:nvPr/>
              </p:nvSpPr>
              <p:spPr bwMode="auto">
                <a:xfrm>
                  <a:off x="4425950" y="4972050"/>
                  <a:ext cx="47625" cy="58738"/>
                </a:xfrm>
                <a:custGeom>
                  <a:avLst/>
                  <a:gdLst>
                    <a:gd name="T0" fmla="*/ 31750 w 30"/>
                    <a:gd name="T1" fmla="*/ 33338 h 37"/>
                    <a:gd name="T2" fmla="*/ 12700 w 30"/>
                    <a:gd name="T3" fmla="*/ 0 h 37"/>
                    <a:gd name="T4" fmla="*/ 0 w 30"/>
                    <a:gd name="T5" fmla="*/ 0 h 37"/>
                    <a:gd name="T6" fmla="*/ 0 w 30"/>
                    <a:gd name="T7" fmla="*/ 58738 h 37"/>
                    <a:gd name="T8" fmla="*/ 12700 w 30"/>
                    <a:gd name="T9" fmla="*/ 58738 h 37"/>
                    <a:gd name="T10" fmla="*/ 12700 w 30"/>
                    <a:gd name="T11" fmla="*/ 26988 h 37"/>
                    <a:gd name="T12" fmla="*/ 31750 w 30"/>
                    <a:gd name="T13" fmla="*/ 58738 h 37"/>
                    <a:gd name="T14" fmla="*/ 47625 w 30"/>
                    <a:gd name="T15" fmla="*/ 58738 h 37"/>
                    <a:gd name="T16" fmla="*/ 47625 w 30"/>
                    <a:gd name="T17" fmla="*/ 0 h 37"/>
                    <a:gd name="T18" fmla="*/ 31750 w 30"/>
                    <a:gd name="T19" fmla="*/ 0 h 37"/>
                    <a:gd name="T20" fmla="*/ 31750 w 30"/>
                    <a:gd name="T21" fmla="*/ 33338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0" h="37">
                      <a:moveTo>
                        <a:pt x="20" y="21"/>
                      </a:moveTo>
                      <a:lnTo>
                        <a:pt x="8" y="0"/>
                      </a:lnTo>
                      <a:lnTo>
                        <a:pt x="0" y="0"/>
                      </a:lnTo>
                      <a:lnTo>
                        <a:pt x="0" y="37"/>
                      </a:lnTo>
                      <a:lnTo>
                        <a:pt x="8" y="37"/>
                      </a:lnTo>
                      <a:lnTo>
                        <a:pt x="8" y="17"/>
                      </a:lnTo>
                      <a:lnTo>
                        <a:pt x="20" y="37"/>
                      </a:lnTo>
                      <a:lnTo>
                        <a:pt x="30" y="37"/>
                      </a:lnTo>
                      <a:lnTo>
                        <a:pt x="30" y="0"/>
                      </a:lnTo>
                      <a:lnTo>
                        <a:pt x="20" y="0"/>
                      </a:lnTo>
                      <a:lnTo>
                        <a:pt x="2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4" name="Freeform 35"/>
                <p:cNvSpPr>
                  <a:spLocks noEditPoints="1"/>
                </p:cNvSpPr>
                <p:nvPr/>
              </p:nvSpPr>
              <p:spPr bwMode="auto">
                <a:xfrm>
                  <a:off x="4498975" y="4972050"/>
                  <a:ext cx="50800" cy="58738"/>
                </a:xfrm>
                <a:custGeom>
                  <a:avLst/>
                  <a:gdLst>
                    <a:gd name="T0" fmla="*/ 25400 w 16"/>
                    <a:gd name="T1" fmla="*/ 0 h 18"/>
                    <a:gd name="T2" fmla="*/ 0 w 16"/>
                    <a:gd name="T3" fmla="*/ 0 h 18"/>
                    <a:gd name="T4" fmla="*/ 0 w 16"/>
                    <a:gd name="T5" fmla="*/ 58738 h 18"/>
                    <a:gd name="T6" fmla="*/ 25400 w 16"/>
                    <a:gd name="T7" fmla="*/ 58738 h 18"/>
                    <a:gd name="T8" fmla="*/ 50800 w 16"/>
                    <a:gd name="T9" fmla="*/ 29369 h 18"/>
                    <a:gd name="T10" fmla="*/ 25400 w 16"/>
                    <a:gd name="T11" fmla="*/ 0 h 18"/>
                    <a:gd name="T12" fmla="*/ 12700 w 16"/>
                    <a:gd name="T13" fmla="*/ 13053 h 18"/>
                    <a:gd name="T14" fmla="*/ 22225 w 16"/>
                    <a:gd name="T15" fmla="*/ 13053 h 18"/>
                    <a:gd name="T16" fmla="*/ 34925 w 16"/>
                    <a:gd name="T17" fmla="*/ 29369 h 18"/>
                    <a:gd name="T18" fmla="*/ 22225 w 16"/>
                    <a:gd name="T19" fmla="*/ 45685 h 18"/>
                    <a:gd name="T20" fmla="*/ 12700 w 16"/>
                    <a:gd name="T21" fmla="*/ 45685 h 18"/>
                    <a:gd name="T22" fmla="*/ 12700 w 16"/>
                    <a:gd name="T23" fmla="*/ 13053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18">
                      <a:moveTo>
                        <a:pt x="8" y="0"/>
                      </a:moveTo>
                      <a:cubicBezTo>
                        <a:pt x="0" y="0"/>
                        <a:pt x="0" y="0"/>
                        <a:pt x="0" y="0"/>
                      </a:cubicBezTo>
                      <a:cubicBezTo>
                        <a:pt x="0" y="18"/>
                        <a:pt x="0" y="18"/>
                        <a:pt x="0" y="18"/>
                      </a:cubicBezTo>
                      <a:cubicBezTo>
                        <a:pt x="8" y="18"/>
                        <a:pt x="8" y="18"/>
                        <a:pt x="8" y="18"/>
                      </a:cubicBezTo>
                      <a:cubicBezTo>
                        <a:pt x="13" y="18"/>
                        <a:pt x="16" y="14"/>
                        <a:pt x="16" y="9"/>
                      </a:cubicBezTo>
                      <a:cubicBezTo>
                        <a:pt x="16" y="3"/>
                        <a:pt x="13" y="0"/>
                        <a:pt x="8" y="0"/>
                      </a:cubicBezTo>
                      <a:moveTo>
                        <a:pt x="4" y="4"/>
                      </a:moveTo>
                      <a:cubicBezTo>
                        <a:pt x="7" y="4"/>
                        <a:pt x="7" y="4"/>
                        <a:pt x="7" y="4"/>
                      </a:cubicBezTo>
                      <a:cubicBezTo>
                        <a:pt x="10" y="4"/>
                        <a:pt x="11" y="6"/>
                        <a:pt x="11" y="9"/>
                      </a:cubicBezTo>
                      <a:cubicBezTo>
                        <a:pt x="11" y="12"/>
                        <a:pt x="10" y="14"/>
                        <a:pt x="7" y="14"/>
                      </a:cubicBezTo>
                      <a:cubicBezTo>
                        <a:pt x="4" y="14"/>
                        <a:pt x="4" y="14"/>
                        <a:pt x="4" y="14"/>
                      </a:cubicBezTo>
                      <a:lnTo>
                        <a:pt x="4"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5" name="Freeform 36"/>
                <p:cNvSpPr>
                  <a:spLocks/>
                </p:cNvSpPr>
                <p:nvPr/>
              </p:nvSpPr>
              <p:spPr bwMode="auto">
                <a:xfrm>
                  <a:off x="4572000" y="4972050"/>
                  <a:ext cx="47625" cy="58738"/>
                </a:xfrm>
                <a:custGeom>
                  <a:avLst/>
                  <a:gdLst>
                    <a:gd name="T0" fmla="*/ 34925 w 15"/>
                    <a:gd name="T1" fmla="*/ 32632 h 18"/>
                    <a:gd name="T2" fmla="*/ 25400 w 15"/>
                    <a:gd name="T3" fmla="*/ 45685 h 18"/>
                    <a:gd name="T4" fmla="*/ 12700 w 15"/>
                    <a:gd name="T5" fmla="*/ 32632 h 18"/>
                    <a:gd name="T6" fmla="*/ 12700 w 15"/>
                    <a:gd name="T7" fmla="*/ 0 h 18"/>
                    <a:gd name="T8" fmla="*/ 0 w 15"/>
                    <a:gd name="T9" fmla="*/ 0 h 18"/>
                    <a:gd name="T10" fmla="*/ 0 w 15"/>
                    <a:gd name="T11" fmla="*/ 35895 h 18"/>
                    <a:gd name="T12" fmla="*/ 25400 w 15"/>
                    <a:gd name="T13" fmla="*/ 58738 h 18"/>
                    <a:gd name="T14" fmla="*/ 47625 w 15"/>
                    <a:gd name="T15" fmla="*/ 35895 h 18"/>
                    <a:gd name="T16" fmla="*/ 47625 w 15"/>
                    <a:gd name="T17" fmla="*/ 0 h 18"/>
                    <a:gd name="T18" fmla="*/ 34925 w 15"/>
                    <a:gd name="T19" fmla="*/ 0 h 18"/>
                    <a:gd name="T20" fmla="*/ 34925 w 15"/>
                    <a:gd name="T21" fmla="*/ 32632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11" y="10"/>
                      </a:moveTo>
                      <a:cubicBezTo>
                        <a:pt x="11" y="13"/>
                        <a:pt x="10" y="14"/>
                        <a:pt x="8" y="14"/>
                      </a:cubicBezTo>
                      <a:cubicBezTo>
                        <a:pt x="5" y="14"/>
                        <a:pt x="4" y="13"/>
                        <a:pt x="4" y="10"/>
                      </a:cubicBezTo>
                      <a:cubicBezTo>
                        <a:pt x="4" y="0"/>
                        <a:pt x="4" y="0"/>
                        <a:pt x="4" y="0"/>
                      </a:cubicBezTo>
                      <a:cubicBezTo>
                        <a:pt x="0" y="0"/>
                        <a:pt x="0" y="0"/>
                        <a:pt x="0" y="0"/>
                      </a:cubicBezTo>
                      <a:cubicBezTo>
                        <a:pt x="0" y="11"/>
                        <a:pt x="0" y="11"/>
                        <a:pt x="0" y="11"/>
                      </a:cubicBezTo>
                      <a:cubicBezTo>
                        <a:pt x="0" y="16"/>
                        <a:pt x="3" y="18"/>
                        <a:pt x="8" y="18"/>
                      </a:cubicBezTo>
                      <a:cubicBezTo>
                        <a:pt x="12" y="18"/>
                        <a:pt x="15" y="16"/>
                        <a:pt x="15" y="11"/>
                      </a:cubicBezTo>
                      <a:cubicBezTo>
                        <a:pt x="15" y="0"/>
                        <a:pt x="15" y="0"/>
                        <a:pt x="15" y="0"/>
                      </a:cubicBezTo>
                      <a:cubicBezTo>
                        <a:pt x="11" y="0"/>
                        <a:pt x="11" y="0"/>
                        <a:pt x="11" y="0"/>
                      </a:cubicBezTo>
                      <a:lnTo>
                        <a:pt x="11"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6" name="Freeform 37"/>
                <p:cNvSpPr>
                  <a:spLocks/>
                </p:cNvSpPr>
                <p:nvPr/>
              </p:nvSpPr>
              <p:spPr bwMode="auto">
                <a:xfrm>
                  <a:off x="4641850" y="4972050"/>
                  <a:ext cx="38100" cy="58738"/>
                </a:xfrm>
                <a:custGeom>
                  <a:avLst/>
                  <a:gdLst>
                    <a:gd name="T0" fmla="*/ 22225 w 12"/>
                    <a:gd name="T1" fmla="*/ 39159 h 18"/>
                    <a:gd name="T2" fmla="*/ 19050 w 12"/>
                    <a:gd name="T3" fmla="*/ 48948 h 18"/>
                    <a:gd name="T4" fmla="*/ 12700 w 12"/>
                    <a:gd name="T5" fmla="*/ 39159 h 18"/>
                    <a:gd name="T6" fmla="*/ 12700 w 12"/>
                    <a:gd name="T7" fmla="*/ 35895 h 18"/>
                    <a:gd name="T8" fmla="*/ 0 w 12"/>
                    <a:gd name="T9" fmla="*/ 35895 h 18"/>
                    <a:gd name="T10" fmla="*/ 0 w 12"/>
                    <a:gd name="T11" fmla="*/ 39159 h 18"/>
                    <a:gd name="T12" fmla="*/ 19050 w 12"/>
                    <a:gd name="T13" fmla="*/ 58738 h 18"/>
                    <a:gd name="T14" fmla="*/ 38100 w 12"/>
                    <a:gd name="T15" fmla="*/ 39159 h 18"/>
                    <a:gd name="T16" fmla="*/ 38100 w 12"/>
                    <a:gd name="T17" fmla="*/ 0 h 18"/>
                    <a:gd name="T18" fmla="*/ 22225 w 12"/>
                    <a:gd name="T19" fmla="*/ 0 h 18"/>
                    <a:gd name="T20" fmla="*/ 22225 w 12"/>
                    <a:gd name="T21" fmla="*/ 3915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 h="18">
                      <a:moveTo>
                        <a:pt x="7" y="12"/>
                      </a:moveTo>
                      <a:cubicBezTo>
                        <a:pt x="7" y="14"/>
                        <a:pt x="7" y="15"/>
                        <a:pt x="6" y="15"/>
                      </a:cubicBezTo>
                      <a:cubicBezTo>
                        <a:pt x="5" y="15"/>
                        <a:pt x="4" y="14"/>
                        <a:pt x="4" y="12"/>
                      </a:cubicBezTo>
                      <a:cubicBezTo>
                        <a:pt x="4" y="11"/>
                        <a:pt x="4" y="11"/>
                        <a:pt x="4" y="11"/>
                      </a:cubicBezTo>
                      <a:cubicBezTo>
                        <a:pt x="0" y="11"/>
                        <a:pt x="0" y="11"/>
                        <a:pt x="0" y="11"/>
                      </a:cubicBezTo>
                      <a:cubicBezTo>
                        <a:pt x="0" y="12"/>
                        <a:pt x="0" y="12"/>
                        <a:pt x="0" y="12"/>
                      </a:cubicBezTo>
                      <a:cubicBezTo>
                        <a:pt x="0" y="16"/>
                        <a:pt x="2" y="18"/>
                        <a:pt x="6" y="18"/>
                      </a:cubicBezTo>
                      <a:cubicBezTo>
                        <a:pt x="11" y="18"/>
                        <a:pt x="12" y="15"/>
                        <a:pt x="12" y="12"/>
                      </a:cubicBezTo>
                      <a:cubicBezTo>
                        <a:pt x="12" y="0"/>
                        <a:pt x="12" y="0"/>
                        <a:pt x="12" y="0"/>
                      </a:cubicBezTo>
                      <a:cubicBezTo>
                        <a:pt x="7" y="0"/>
                        <a:pt x="7" y="0"/>
                        <a:pt x="7" y="0"/>
                      </a:cubicBezTo>
                      <a:lnTo>
                        <a:pt x="7"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7" name="Freeform 38"/>
                <p:cNvSpPr>
                  <a:spLocks noEditPoints="1"/>
                </p:cNvSpPr>
                <p:nvPr/>
              </p:nvSpPr>
              <p:spPr bwMode="auto">
                <a:xfrm>
                  <a:off x="4699000" y="4972050"/>
                  <a:ext cx="57150" cy="58738"/>
                </a:xfrm>
                <a:custGeom>
                  <a:avLst/>
                  <a:gdLst>
                    <a:gd name="T0" fmla="*/ 22225 w 36"/>
                    <a:gd name="T1" fmla="*/ 0 h 37"/>
                    <a:gd name="T2" fmla="*/ 0 w 36"/>
                    <a:gd name="T3" fmla="*/ 58738 h 37"/>
                    <a:gd name="T4" fmla="*/ 15875 w 36"/>
                    <a:gd name="T5" fmla="*/ 58738 h 37"/>
                    <a:gd name="T6" fmla="*/ 19050 w 36"/>
                    <a:gd name="T7" fmla="*/ 46038 h 37"/>
                    <a:gd name="T8" fmla="*/ 38100 w 36"/>
                    <a:gd name="T9" fmla="*/ 46038 h 37"/>
                    <a:gd name="T10" fmla="*/ 41275 w 36"/>
                    <a:gd name="T11" fmla="*/ 58738 h 37"/>
                    <a:gd name="T12" fmla="*/ 57150 w 36"/>
                    <a:gd name="T13" fmla="*/ 58738 h 37"/>
                    <a:gd name="T14" fmla="*/ 34925 w 36"/>
                    <a:gd name="T15" fmla="*/ 0 h 37"/>
                    <a:gd name="T16" fmla="*/ 22225 w 36"/>
                    <a:gd name="T17" fmla="*/ 0 h 37"/>
                    <a:gd name="T18" fmla="*/ 31750 w 36"/>
                    <a:gd name="T19" fmla="*/ 33338 h 37"/>
                    <a:gd name="T20" fmla="*/ 22225 w 36"/>
                    <a:gd name="T21" fmla="*/ 33338 h 37"/>
                    <a:gd name="T22" fmla="*/ 28575 w 36"/>
                    <a:gd name="T23" fmla="*/ 20638 h 37"/>
                    <a:gd name="T24" fmla="*/ 31750 w 36"/>
                    <a:gd name="T25" fmla="*/ 33338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37">
                      <a:moveTo>
                        <a:pt x="14" y="0"/>
                      </a:moveTo>
                      <a:lnTo>
                        <a:pt x="0" y="37"/>
                      </a:lnTo>
                      <a:lnTo>
                        <a:pt x="10" y="37"/>
                      </a:lnTo>
                      <a:lnTo>
                        <a:pt x="12" y="29"/>
                      </a:lnTo>
                      <a:lnTo>
                        <a:pt x="24" y="29"/>
                      </a:lnTo>
                      <a:lnTo>
                        <a:pt x="26" y="37"/>
                      </a:lnTo>
                      <a:lnTo>
                        <a:pt x="36" y="37"/>
                      </a:lnTo>
                      <a:lnTo>
                        <a:pt x="22" y="0"/>
                      </a:lnTo>
                      <a:lnTo>
                        <a:pt x="14" y="0"/>
                      </a:lnTo>
                      <a:close/>
                      <a:moveTo>
                        <a:pt x="20" y="21"/>
                      </a:moveTo>
                      <a:lnTo>
                        <a:pt x="14" y="21"/>
                      </a:lnTo>
                      <a:lnTo>
                        <a:pt x="18" y="13"/>
                      </a:lnTo>
                      <a:lnTo>
                        <a:pt x="2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8" name="Freeform 39"/>
                <p:cNvSpPr>
                  <a:spLocks/>
                </p:cNvSpPr>
                <p:nvPr/>
              </p:nvSpPr>
              <p:spPr bwMode="auto">
                <a:xfrm>
                  <a:off x="4813300" y="4972050"/>
                  <a:ext cx="53975" cy="58738"/>
                </a:xfrm>
                <a:custGeom>
                  <a:avLst/>
                  <a:gdLst>
                    <a:gd name="T0" fmla="*/ 25400 w 17"/>
                    <a:gd name="T1" fmla="*/ 35895 h 18"/>
                    <a:gd name="T2" fmla="*/ 41275 w 17"/>
                    <a:gd name="T3" fmla="*/ 35895 h 18"/>
                    <a:gd name="T4" fmla="*/ 28575 w 17"/>
                    <a:gd name="T5" fmla="*/ 48948 h 18"/>
                    <a:gd name="T6" fmla="*/ 12700 w 17"/>
                    <a:gd name="T7" fmla="*/ 29369 h 18"/>
                    <a:gd name="T8" fmla="*/ 28575 w 17"/>
                    <a:gd name="T9" fmla="*/ 9790 h 18"/>
                    <a:gd name="T10" fmla="*/ 38100 w 17"/>
                    <a:gd name="T11" fmla="*/ 19579 h 18"/>
                    <a:gd name="T12" fmla="*/ 38100 w 17"/>
                    <a:gd name="T13" fmla="*/ 22843 h 18"/>
                    <a:gd name="T14" fmla="*/ 53975 w 17"/>
                    <a:gd name="T15" fmla="*/ 22843 h 18"/>
                    <a:gd name="T16" fmla="*/ 50800 w 17"/>
                    <a:gd name="T17" fmla="*/ 19579 h 18"/>
                    <a:gd name="T18" fmla="*/ 28575 w 17"/>
                    <a:gd name="T19" fmla="*/ 0 h 18"/>
                    <a:gd name="T20" fmla="*/ 0 w 17"/>
                    <a:gd name="T21" fmla="*/ 29369 h 18"/>
                    <a:gd name="T22" fmla="*/ 28575 w 17"/>
                    <a:gd name="T23" fmla="*/ 58738 h 18"/>
                    <a:gd name="T24" fmla="*/ 41275 w 17"/>
                    <a:gd name="T25" fmla="*/ 55475 h 18"/>
                    <a:gd name="T26" fmla="*/ 44450 w 17"/>
                    <a:gd name="T27" fmla="*/ 58738 h 18"/>
                    <a:gd name="T28" fmla="*/ 53975 w 17"/>
                    <a:gd name="T29" fmla="*/ 58738 h 18"/>
                    <a:gd name="T30" fmla="*/ 53975 w 17"/>
                    <a:gd name="T31" fmla="*/ 26106 h 18"/>
                    <a:gd name="T32" fmla="*/ 25400 w 17"/>
                    <a:gd name="T33" fmla="*/ 26106 h 18"/>
                    <a:gd name="T34" fmla="*/ 25400 w 17"/>
                    <a:gd name="T35" fmla="*/ 35895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7" h="18">
                      <a:moveTo>
                        <a:pt x="8" y="11"/>
                      </a:moveTo>
                      <a:cubicBezTo>
                        <a:pt x="13" y="11"/>
                        <a:pt x="13" y="11"/>
                        <a:pt x="13" y="11"/>
                      </a:cubicBezTo>
                      <a:cubicBezTo>
                        <a:pt x="12" y="13"/>
                        <a:pt x="11" y="15"/>
                        <a:pt x="9" y="15"/>
                      </a:cubicBezTo>
                      <a:cubicBezTo>
                        <a:pt x="6" y="15"/>
                        <a:pt x="4" y="12"/>
                        <a:pt x="4" y="9"/>
                      </a:cubicBezTo>
                      <a:cubicBezTo>
                        <a:pt x="4" y="6"/>
                        <a:pt x="6" y="3"/>
                        <a:pt x="9" y="3"/>
                      </a:cubicBezTo>
                      <a:cubicBezTo>
                        <a:pt x="10" y="3"/>
                        <a:pt x="12" y="4"/>
                        <a:pt x="12" y="6"/>
                      </a:cubicBezTo>
                      <a:cubicBezTo>
                        <a:pt x="12" y="7"/>
                        <a:pt x="12" y="7"/>
                        <a:pt x="12" y="7"/>
                      </a:cubicBezTo>
                      <a:cubicBezTo>
                        <a:pt x="17" y="7"/>
                        <a:pt x="17" y="7"/>
                        <a:pt x="17" y="7"/>
                      </a:cubicBezTo>
                      <a:cubicBezTo>
                        <a:pt x="16" y="6"/>
                        <a:pt x="16" y="6"/>
                        <a:pt x="16" y="6"/>
                      </a:cubicBezTo>
                      <a:cubicBezTo>
                        <a:pt x="16" y="2"/>
                        <a:pt x="13" y="0"/>
                        <a:pt x="9" y="0"/>
                      </a:cubicBezTo>
                      <a:cubicBezTo>
                        <a:pt x="4" y="0"/>
                        <a:pt x="0" y="4"/>
                        <a:pt x="0" y="9"/>
                      </a:cubicBezTo>
                      <a:cubicBezTo>
                        <a:pt x="0" y="14"/>
                        <a:pt x="4" y="18"/>
                        <a:pt x="9" y="18"/>
                      </a:cubicBezTo>
                      <a:cubicBezTo>
                        <a:pt x="11" y="18"/>
                        <a:pt x="12" y="18"/>
                        <a:pt x="13" y="17"/>
                      </a:cubicBezTo>
                      <a:cubicBezTo>
                        <a:pt x="14" y="18"/>
                        <a:pt x="14" y="18"/>
                        <a:pt x="14" y="18"/>
                      </a:cubicBezTo>
                      <a:cubicBezTo>
                        <a:pt x="17" y="18"/>
                        <a:pt x="17" y="18"/>
                        <a:pt x="17" y="18"/>
                      </a:cubicBezTo>
                      <a:cubicBezTo>
                        <a:pt x="17" y="8"/>
                        <a:pt x="17" y="8"/>
                        <a:pt x="17" y="8"/>
                      </a:cubicBezTo>
                      <a:cubicBezTo>
                        <a:pt x="8" y="8"/>
                        <a:pt x="8" y="8"/>
                        <a:pt x="8" y="8"/>
                      </a:cubicBezTo>
                      <a:lnTo>
                        <a:pt x="8"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9" name="Freeform 40"/>
                <p:cNvSpPr>
                  <a:spLocks noEditPoints="1"/>
                </p:cNvSpPr>
                <p:nvPr/>
              </p:nvSpPr>
              <p:spPr bwMode="auto">
                <a:xfrm>
                  <a:off x="4892675" y="4972050"/>
                  <a:ext cx="50800" cy="58738"/>
                </a:xfrm>
                <a:custGeom>
                  <a:avLst/>
                  <a:gdLst>
                    <a:gd name="T0" fmla="*/ 44450 w 16"/>
                    <a:gd name="T1" fmla="*/ 42422 h 18"/>
                    <a:gd name="T2" fmla="*/ 41275 w 16"/>
                    <a:gd name="T3" fmla="*/ 29369 h 18"/>
                    <a:gd name="T4" fmla="*/ 47625 w 16"/>
                    <a:gd name="T5" fmla="*/ 16316 h 18"/>
                    <a:gd name="T6" fmla="*/ 25400 w 16"/>
                    <a:gd name="T7" fmla="*/ 0 h 18"/>
                    <a:gd name="T8" fmla="*/ 0 w 16"/>
                    <a:gd name="T9" fmla="*/ 0 h 18"/>
                    <a:gd name="T10" fmla="*/ 0 w 16"/>
                    <a:gd name="T11" fmla="*/ 58738 h 18"/>
                    <a:gd name="T12" fmla="*/ 12700 w 16"/>
                    <a:gd name="T13" fmla="*/ 58738 h 18"/>
                    <a:gd name="T14" fmla="*/ 12700 w 16"/>
                    <a:gd name="T15" fmla="*/ 35895 h 18"/>
                    <a:gd name="T16" fmla="*/ 25400 w 16"/>
                    <a:gd name="T17" fmla="*/ 35895 h 18"/>
                    <a:gd name="T18" fmla="*/ 31750 w 16"/>
                    <a:gd name="T19" fmla="*/ 48948 h 18"/>
                    <a:gd name="T20" fmla="*/ 34925 w 16"/>
                    <a:gd name="T21" fmla="*/ 58738 h 18"/>
                    <a:gd name="T22" fmla="*/ 34925 w 16"/>
                    <a:gd name="T23" fmla="*/ 58738 h 18"/>
                    <a:gd name="T24" fmla="*/ 50800 w 16"/>
                    <a:gd name="T25" fmla="*/ 58738 h 18"/>
                    <a:gd name="T26" fmla="*/ 47625 w 16"/>
                    <a:gd name="T27" fmla="*/ 55475 h 18"/>
                    <a:gd name="T28" fmla="*/ 44450 w 16"/>
                    <a:gd name="T29" fmla="*/ 42422 h 18"/>
                    <a:gd name="T30" fmla="*/ 12700 w 16"/>
                    <a:gd name="T31" fmla="*/ 13053 h 18"/>
                    <a:gd name="T32" fmla="*/ 25400 w 16"/>
                    <a:gd name="T33" fmla="*/ 13053 h 18"/>
                    <a:gd name="T34" fmla="*/ 31750 w 16"/>
                    <a:gd name="T35" fmla="*/ 19579 h 18"/>
                    <a:gd name="T36" fmla="*/ 25400 w 16"/>
                    <a:gd name="T37" fmla="*/ 26106 h 18"/>
                    <a:gd name="T38" fmla="*/ 12700 w 16"/>
                    <a:gd name="T39" fmla="*/ 26106 h 18"/>
                    <a:gd name="T40" fmla="*/ 12700 w 16"/>
                    <a:gd name="T41" fmla="*/ 13053 h 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8">
                      <a:moveTo>
                        <a:pt x="14" y="13"/>
                      </a:moveTo>
                      <a:cubicBezTo>
                        <a:pt x="14" y="11"/>
                        <a:pt x="14" y="10"/>
                        <a:pt x="13" y="9"/>
                      </a:cubicBezTo>
                      <a:cubicBezTo>
                        <a:pt x="14" y="8"/>
                        <a:pt x="15" y="7"/>
                        <a:pt x="15" y="5"/>
                      </a:cubicBezTo>
                      <a:cubicBezTo>
                        <a:pt x="15" y="2"/>
                        <a:pt x="12" y="0"/>
                        <a:pt x="8" y="0"/>
                      </a:cubicBezTo>
                      <a:cubicBezTo>
                        <a:pt x="0" y="0"/>
                        <a:pt x="0" y="0"/>
                        <a:pt x="0" y="0"/>
                      </a:cubicBezTo>
                      <a:cubicBezTo>
                        <a:pt x="0" y="18"/>
                        <a:pt x="0" y="18"/>
                        <a:pt x="0" y="18"/>
                      </a:cubicBezTo>
                      <a:cubicBezTo>
                        <a:pt x="4" y="18"/>
                        <a:pt x="4" y="18"/>
                        <a:pt x="4" y="18"/>
                      </a:cubicBezTo>
                      <a:cubicBezTo>
                        <a:pt x="4" y="11"/>
                        <a:pt x="4" y="11"/>
                        <a:pt x="4" y="11"/>
                      </a:cubicBezTo>
                      <a:cubicBezTo>
                        <a:pt x="8" y="11"/>
                        <a:pt x="8" y="11"/>
                        <a:pt x="8" y="11"/>
                      </a:cubicBezTo>
                      <a:cubicBezTo>
                        <a:pt x="10" y="11"/>
                        <a:pt x="10" y="12"/>
                        <a:pt x="10" y="15"/>
                      </a:cubicBezTo>
                      <a:cubicBezTo>
                        <a:pt x="10" y="16"/>
                        <a:pt x="10" y="17"/>
                        <a:pt x="11" y="18"/>
                      </a:cubicBezTo>
                      <a:cubicBezTo>
                        <a:pt x="11" y="18"/>
                        <a:pt x="11" y="18"/>
                        <a:pt x="11" y="18"/>
                      </a:cubicBezTo>
                      <a:cubicBezTo>
                        <a:pt x="16" y="18"/>
                        <a:pt x="16" y="18"/>
                        <a:pt x="16" y="18"/>
                      </a:cubicBezTo>
                      <a:cubicBezTo>
                        <a:pt x="15" y="17"/>
                        <a:pt x="15" y="17"/>
                        <a:pt x="15" y="17"/>
                      </a:cubicBezTo>
                      <a:cubicBezTo>
                        <a:pt x="15" y="16"/>
                        <a:pt x="14" y="15"/>
                        <a:pt x="14" y="13"/>
                      </a:cubicBezTo>
                      <a:moveTo>
                        <a:pt x="4" y="4"/>
                      </a:moveTo>
                      <a:cubicBezTo>
                        <a:pt x="8" y="4"/>
                        <a:pt x="8" y="4"/>
                        <a:pt x="8" y="4"/>
                      </a:cubicBezTo>
                      <a:cubicBezTo>
                        <a:pt x="10" y="4"/>
                        <a:pt x="10" y="4"/>
                        <a:pt x="10" y="6"/>
                      </a:cubicBezTo>
                      <a:cubicBezTo>
                        <a:pt x="10" y="7"/>
                        <a:pt x="10" y="8"/>
                        <a:pt x="8" y="8"/>
                      </a:cubicBezTo>
                      <a:cubicBezTo>
                        <a:pt x="4" y="8"/>
                        <a:pt x="4" y="8"/>
                        <a:pt x="4" y="8"/>
                      </a:cubicBezTo>
                      <a:lnTo>
                        <a:pt x="4"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0" name="Freeform 41"/>
                <p:cNvSpPr>
                  <a:spLocks noEditPoints="1"/>
                </p:cNvSpPr>
                <p:nvPr/>
              </p:nvSpPr>
              <p:spPr bwMode="auto">
                <a:xfrm>
                  <a:off x="4962525" y="4972050"/>
                  <a:ext cx="53975" cy="58738"/>
                </a:xfrm>
                <a:custGeom>
                  <a:avLst/>
                  <a:gdLst>
                    <a:gd name="T0" fmla="*/ 25400 w 17"/>
                    <a:gd name="T1" fmla="*/ 0 h 18"/>
                    <a:gd name="T2" fmla="*/ 0 w 17"/>
                    <a:gd name="T3" fmla="*/ 29369 h 18"/>
                    <a:gd name="T4" fmla="*/ 25400 w 17"/>
                    <a:gd name="T5" fmla="*/ 58738 h 18"/>
                    <a:gd name="T6" fmla="*/ 53975 w 17"/>
                    <a:gd name="T7" fmla="*/ 29369 h 18"/>
                    <a:gd name="T8" fmla="*/ 25400 w 17"/>
                    <a:gd name="T9" fmla="*/ 0 h 18"/>
                    <a:gd name="T10" fmla="*/ 25400 w 17"/>
                    <a:gd name="T11" fmla="*/ 48948 h 18"/>
                    <a:gd name="T12" fmla="*/ 12700 w 17"/>
                    <a:gd name="T13" fmla="*/ 29369 h 18"/>
                    <a:gd name="T14" fmla="*/ 25400 w 17"/>
                    <a:gd name="T15" fmla="*/ 9790 h 18"/>
                    <a:gd name="T16" fmla="*/ 41275 w 17"/>
                    <a:gd name="T17" fmla="*/ 29369 h 18"/>
                    <a:gd name="T18" fmla="*/ 25400 w 17"/>
                    <a:gd name="T19" fmla="*/ 48948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7" h="18">
                      <a:moveTo>
                        <a:pt x="8" y="0"/>
                      </a:moveTo>
                      <a:cubicBezTo>
                        <a:pt x="3" y="0"/>
                        <a:pt x="0" y="4"/>
                        <a:pt x="0" y="9"/>
                      </a:cubicBezTo>
                      <a:cubicBezTo>
                        <a:pt x="0" y="14"/>
                        <a:pt x="3" y="18"/>
                        <a:pt x="8" y="18"/>
                      </a:cubicBezTo>
                      <a:cubicBezTo>
                        <a:pt x="13" y="18"/>
                        <a:pt x="17" y="14"/>
                        <a:pt x="17" y="9"/>
                      </a:cubicBezTo>
                      <a:cubicBezTo>
                        <a:pt x="17" y="4"/>
                        <a:pt x="13" y="0"/>
                        <a:pt x="8" y="0"/>
                      </a:cubicBezTo>
                      <a:moveTo>
                        <a:pt x="8" y="15"/>
                      </a:moveTo>
                      <a:cubicBezTo>
                        <a:pt x="5" y="15"/>
                        <a:pt x="4" y="12"/>
                        <a:pt x="4" y="9"/>
                      </a:cubicBezTo>
                      <a:cubicBezTo>
                        <a:pt x="4" y="6"/>
                        <a:pt x="5" y="3"/>
                        <a:pt x="8" y="3"/>
                      </a:cubicBezTo>
                      <a:cubicBezTo>
                        <a:pt x="11" y="3"/>
                        <a:pt x="13" y="6"/>
                        <a:pt x="13" y="9"/>
                      </a:cubicBezTo>
                      <a:cubicBezTo>
                        <a:pt x="13" y="12"/>
                        <a:pt x="11" y="15"/>
                        <a:pt x="8"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1" name="Freeform 42"/>
                <p:cNvSpPr>
                  <a:spLocks/>
                </p:cNvSpPr>
                <p:nvPr/>
              </p:nvSpPr>
              <p:spPr bwMode="auto">
                <a:xfrm>
                  <a:off x="5038725" y="4972050"/>
                  <a:ext cx="47625" cy="58738"/>
                </a:xfrm>
                <a:custGeom>
                  <a:avLst/>
                  <a:gdLst>
                    <a:gd name="T0" fmla="*/ 34925 w 15"/>
                    <a:gd name="T1" fmla="*/ 32632 h 18"/>
                    <a:gd name="T2" fmla="*/ 25400 w 15"/>
                    <a:gd name="T3" fmla="*/ 45685 h 18"/>
                    <a:gd name="T4" fmla="*/ 15875 w 15"/>
                    <a:gd name="T5" fmla="*/ 32632 h 18"/>
                    <a:gd name="T6" fmla="*/ 15875 w 15"/>
                    <a:gd name="T7" fmla="*/ 0 h 18"/>
                    <a:gd name="T8" fmla="*/ 0 w 15"/>
                    <a:gd name="T9" fmla="*/ 0 h 18"/>
                    <a:gd name="T10" fmla="*/ 0 w 15"/>
                    <a:gd name="T11" fmla="*/ 35895 h 18"/>
                    <a:gd name="T12" fmla="*/ 25400 w 15"/>
                    <a:gd name="T13" fmla="*/ 58738 h 18"/>
                    <a:gd name="T14" fmla="*/ 47625 w 15"/>
                    <a:gd name="T15" fmla="*/ 35895 h 18"/>
                    <a:gd name="T16" fmla="*/ 47625 w 15"/>
                    <a:gd name="T17" fmla="*/ 0 h 18"/>
                    <a:gd name="T18" fmla="*/ 34925 w 15"/>
                    <a:gd name="T19" fmla="*/ 0 h 18"/>
                    <a:gd name="T20" fmla="*/ 34925 w 15"/>
                    <a:gd name="T21" fmla="*/ 32632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11" y="10"/>
                      </a:moveTo>
                      <a:cubicBezTo>
                        <a:pt x="11" y="13"/>
                        <a:pt x="11" y="14"/>
                        <a:pt x="8" y="14"/>
                      </a:cubicBezTo>
                      <a:cubicBezTo>
                        <a:pt x="5" y="14"/>
                        <a:pt x="5" y="13"/>
                        <a:pt x="5" y="10"/>
                      </a:cubicBezTo>
                      <a:cubicBezTo>
                        <a:pt x="5" y="0"/>
                        <a:pt x="5" y="0"/>
                        <a:pt x="5" y="0"/>
                      </a:cubicBezTo>
                      <a:cubicBezTo>
                        <a:pt x="0" y="0"/>
                        <a:pt x="0" y="0"/>
                        <a:pt x="0" y="0"/>
                      </a:cubicBezTo>
                      <a:cubicBezTo>
                        <a:pt x="0" y="11"/>
                        <a:pt x="0" y="11"/>
                        <a:pt x="0" y="11"/>
                      </a:cubicBezTo>
                      <a:cubicBezTo>
                        <a:pt x="0" y="16"/>
                        <a:pt x="3" y="18"/>
                        <a:pt x="8" y="18"/>
                      </a:cubicBezTo>
                      <a:cubicBezTo>
                        <a:pt x="13" y="18"/>
                        <a:pt x="15" y="16"/>
                        <a:pt x="15" y="11"/>
                      </a:cubicBezTo>
                      <a:cubicBezTo>
                        <a:pt x="15" y="0"/>
                        <a:pt x="15" y="0"/>
                        <a:pt x="15" y="0"/>
                      </a:cubicBezTo>
                      <a:cubicBezTo>
                        <a:pt x="11" y="0"/>
                        <a:pt x="11" y="0"/>
                        <a:pt x="11" y="0"/>
                      </a:cubicBezTo>
                      <a:lnTo>
                        <a:pt x="11"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2" name="Freeform 43"/>
                <p:cNvSpPr>
                  <a:spLocks noEditPoints="1"/>
                </p:cNvSpPr>
                <p:nvPr/>
              </p:nvSpPr>
              <p:spPr bwMode="auto">
                <a:xfrm>
                  <a:off x="5114925" y="4972050"/>
                  <a:ext cx="44450" cy="58738"/>
                </a:xfrm>
                <a:custGeom>
                  <a:avLst/>
                  <a:gdLst>
                    <a:gd name="T0" fmla="*/ 25400 w 14"/>
                    <a:gd name="T1" fmla="*/ 0 h 18"/>
                    <a:gd name="T2" fmla="*/ 0 w 14"/>
                    <a:gd name="T3" fmla="*/ 0 h 18"/>
                    <a:gd name="T4" fmla="*/ 0 w 14"/>
                    <a:gd name="T5" fmla="*/ 58738 h 18"/>
                    <a:gd name="T6" fmla="*/ 12700 w 14"/>
                    <a:gd name="T7" fmla="*/ 58738 h 18"/>
                    <a:gd name="T8" fmla="*/ 12700 w 14"/>
                    <a:gd name="T9" fmla="*/ 39159 h 18"/>
                    <a:gd name="T10" fmla="*/ 25400 w 14"/>
                    <a:gd name="T11" fmla="*/ 39159 h 18"/>
                    <a:gd name="T12" fmla="*/ 44450 w 14"/>
                    <a:gd name="T13" fmla="*/ 19579 h 18"/>
                    <a:gd name="T14" fmla="*/ 25400 w 14"/>
                    <a:gd name="T15" fmla="*/ 0 h 18"/>
                    <a:gd name="T16" fmla="*/ 12700 w 14"/>
                    <a:gd name="T17" fmla="*/ 13053 h 18"/>
                    <a:gd name="T18" fmla="*/ 25400 w 14"/>
                    <a:gd name="T19" fmla="*/ 13053 h 18"/>
                    <a:gd name="T20" fmla="*/ 31750 w 14"/>
                    <a:gd name="T21" fmla="*/ 19579 h 18"/>
                    <a:gd name="T22" fmla="*/ 25400 w 14"/>
                    <a:gd name="T23" fmla="*/ 26106 h 18"/>
                    <a:gd name="T24" fmla="*/ 12700 w 14"/>
                    <a:gd name="T25" fmla="*/ 26106 h 18"/>
                    <a:gd name="T26" fmla="*/ 12700 w 14"/>
                    <a:gd name="T27" fmla="*/ 13053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8">
                      <a:moveTo>
                        <a:pt x="8" y="0"/>
                      </a:moveTo>
                      <a:cubicBezTo>
                        <a:pt x="0" y="0"/>
                        <a:pt x="0" y="0"/>
                        <a:pt x="0" y="0"/>
                      </a:cubicBezTo>
                      <a:cubicBezTo>
                        <a:pt x="0" y="18"/>
                        <a:pt x="0" y="18"/>
                        <a:pt x="0" y="18"/>
                      </a:cubicBezTo>
                      <a:cubicBezTo>
                        <a:pt x="4" y="18"/>
                        <a:pt x="4" y="18"/>
                        <a:pt x="4" y="18"/>
                      </a:cubicBezTo>
                      <a:cubicBezTo>
                        <a:pt x="4" y="12"/>
                        <a:pt x="4" y="12"/>
                        <a:pt x="4" y="12"/>
                      </a:cubicBezTo>
                      <a:cubicBezTo>
                        <a:pt x="8" y="12"/>
                        <a:pt x="8" y="12"/>
                        <a:pt x="8" y="12"/>
                      </a:cubicBezTo>
                      <a:cubicBezTo>
                        <a:pt x="14" y="12"/>
                        <a:pt x="14" y="7"/>
                        <a:pt x="14" y="6"/>
                      </a:cubicBezTo>
                      <a:cubicBezTo>
                        <a:pt x="14" y="4"/>
                        <a:pt x="14" y="0"/>
                        <a:pt x="8" y="0"/>
                      </a:cubicBezTo>
                      <a:moveTo>
                        <a:pt x="4" y="4"/>
                      </a:moveTo>
                      <a:cubicBezTo>
                        <a:pt x="8" y="4"/>
                        <a:pt x="8" y="4"/>
                        <a:pt x="8" y="4"/>
                      </a:cubicBezTo>
                      <a:cubicBezTo>
                        <a:pt x="9" y="4"/>
                        <a:pt x="10" y="4"/>
                        <a:pt x="10" y="6"/>
                      </a:cubicBezTo>
                      <a:cubicBezTo>
                        <a:pt x="10" y="8"/>
                        <a:pt x="8" y="8"/>
                        <a:pt x="8" y="8"/>
                      </a:cubicBezTo>
                      <a:cubicBezTo>
                        <a:pt x="4" y="8"/>
                        <a:pt x="4" y="8"/>
                        <a:pt x="4" y="8"/>
                      </a:cubicBezTo>
                      <a:lnTo>
                        <a:pt x="4"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3" name="Line 45"/>
                <p:cNvSpPr>
                  <a:spLocks noChangeShapeType="1"/>
                </p:cNvSpPr>
                <p:nvPr/>
              </p:nvSpPr>
              <p:spPr bwMode="auto">
                <a:xfrm>
                  <a:off x="4114800" y="5084763"/>
                  <a:ext cx="0" cy="0"/>
                </a:xfrm>
                <a:prstGeom prst="line">
                  <a:avLst/>
                </a:prstGeom>
                <a:noFill/>
                <a:ln w="2">
                  <a:solidFill>
                    <a:srgbClr val="FFFFFF"/>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grpSp>
      <p:sp>
        <p:nvSpPr>
          <p:cNvPr id="2" name="Title 1"/>
          <p:cNvSpPr>
            <a:spLocks noGrp="1"/>
          </p:cNvSpPr>
          <p:nvPr>
            <p:ph type="ctrTitle"/>
          </p:nvPr>
        </p:nvSpPr>
        <p:spPr>
          <a:xfrm>
            <a:off x="1524000" y="1571341"/>
            <a:ext cx="9144000" cy="1938092"/>
          </a:xfrm>
        </p:spPr>
        <p:txBody>
          <a:bodyPr anchor="b">
            <a:normAutofit/>
          </a:bodyPr>
          <a:lstStyle>
            <a:lvl1pPr algn="ctr">
              <a:defRPr sz="4267">
                <a:latin typeface="+mn-lt"/>
              </a:defRPr>
            </a:lvl1pPr>
          </a:lstStyle>
          <a:p>
            <a:r>
              <a:rPr lang="en-US" dirty="0"/>
              <a:t>Click to edit Master title style</a:t>
            </a:r>
          </a:p>
        </p:txBody>
      </p:sp>
      <p:sp>
        <p:nvSpPr>
          <p:cNvPr id="3" name="Subtitle 2"/>
          <p:cNvSpPr>
            <a:spLocks noGrp="1"/>
          </p:cNvSpPr>
          <p:nvPr>
            <p:ph type="subTitle" idx="1"/>
          </p:nvPr>
        </p:nvSpPr>
        <p:spPr>
          <a:xfrm>
            <a:off x="1524000" y="3602568"/>
            <a:ext cx="9144000" cy="1655233"/>
          </a:xfrm>
        </p:spPr>
        <p:txBody>
          <a:bodyPr>
            <a:normAutofit/>
          </a:bodyPr>
          <a:lstStyle>
            <a:lvl1pPr marL="0" indent="0" algn="ctr">
              <a:buNone/>
              <a:defRPr sz="2133"/>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Click to edit Master subtitle style</a:t>
            </a:r>
          </a:p>
        </p:txBody>
      </p:sp>
      <p:sp>
        <p:nvSpPr>
          <p:cNvPr id="64" name="Date Placeholder 3"/>
          <p:cNvSpPr>
            <a:spLocks noGrp="1"/>
          </p:cNvSpPr>
          <p:nvPr>
            <p:ph type="dt" sz="half" idx="10"/>
          </p:nvPr>
        </p:nvSpPr>
        <p:spPr>
          <a:xfrm>
            <a:off x="838200" y="5461000"/>
            <a:ext cx="2743200" cy="366184"/>
          </a:xfrm>
        </p:spPr>
        <p:txBody>
          <a:bodyPr/>
          <a:lstStyle>
            <a:lvl1pPr>
              <a:defRPr/>
            </a:lvl1pPr>
          </a:lstStyle>
          <a:p>
            <a:pPr defTabSz="1219170">
              <a:defRPr/>
            </a:pPr>
            <a:fld id="{1EE52127-ADE5-4CDE-A13A-3D991B565713}"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65" name="Footer Placeholder 4"/>
          <p:cNvSpPr>
            <a:spLocks noGrp="1"/>
          </p:cNvSpPr>
          <p:nvPr>
            <p:ph type="ftr" sz="quarter" idx="11"/>
          </p:nvPr>
        </p:nvSpPr>
        <p:spPr>
          <a:xfrm>
            <a:off x="4038600" y="5461000"/>
            <a:ext cx="4114800" cy="366184"/>
          </a:xfrm>
        </p:spPr>
        <p:txBody>
          <a:bodyPr/>
          <a:lstStyle>
            <a:lvl1pPr>
              <a:defRPr/>
            </a:lvl1pPr>
          </a:lstStyle>
          <a:p>
            <a:pPr defTabSz="1219170">
              <a:defRPr/>
            </a:pPr>
            <a:endParaRPr lang="en-US">
              <a:solidFill>
                <a:prstClr val="black">
                  <a:tint val="75000"/>
                </a:prstClr>
              </a:solidFill>
            </a:endParaRPr>
          </a:p>
        </p:txBody>
      </p:sp>
      <p:sp>
        <p:nvSpPr>
          <p:cNvPr id="66" name="Slide Number Placeholder 5"/>
          <p:cNvSpPr>
            <a:spLocks noGrp="1"/>
          </p:cNvSpPr>
          <p:nvPr>
            <p:ph type="sldNum" sz="quarter" idx="12"/>
          </p:nvPr>
        </p:nvSpPr>
        <p:spPr>
          <a:xfrm>
            <a:off x="8610600" y="5461000"/>
            <a:ext cx="2743200" cy="366184"/>
          </a:xfrm>
        </p:spPr>
        <p:txBody>
          <a:bodyPr/>
          <a:lstStyle>
            <a:lvl1pPr>
              <a:defRPr/>
            </a:lvl1pPr>
          </a:lstStyle>
          <a:p>
            <a:pPr defTabSz="1219170">
              <a:defRPr/>
            </a:pPr>
            <a:fld id="{6C9932C3-E0EB-4278-A09B-F7C6904F92B6}"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4904182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defTabSz="1219170">
              <a:defRPr/>
            </a:pPr>
            <a:fld id="{6E9EEEEE-FA2C-4718-9654-3BCD2C1CC5F5}"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1219170">
              <a:defRPr/>
            </a:pPr>
            <a:fld id="{2500A4C1-0DF7-4A47-B23C-440B3B6AB657}"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137518794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4" name="Group 6"/>
          <p:cNvGrpSpPr>
            <a:grpSpLocks/>
          </p:cNvGrpSpPr>
          <p:nvPr userDrawn="1"/>
        </p:nvGrpSpPr>
        <p:grpSpPr bwMode="auto">
          <a:xfrm>
            <a:off x="8113184" y="266701"/>
            <a:ext cx="3818467" cy="791633"/>
            <a:chOff x="2863850" y="3078163"/>
            <a:chExt cx="3413126" cy="708026"/>
          </a:xfrm>
        </p:grpSpPr>
        <p:grpSp>
          <p:nvGrpSpPr>
            <p:cNvPr id="5" name="Group 7"/>
            <p:cNvGrpSpPr>
              <a:grpSpLocks/>
            </p:cNvGrpSpPr>
            <p:nvPr/>
          </p:nvGrpSpPr>
          <p:grpSpPr bwMode="auto">
            <a:xfrm>
              <a:off x="4357688" y="3630613"/>
              <a:ext cx="1919288" cy="155576"/>
              <a:chOff x="4357688" y="3630613"/>
              <a:chExt cx="1919288" cy="155576"/>
            </a:xfrm>
          </p:grpSpPr>
          <p:sp>
            <p:nvSpPr>
              <p:cNvPr id="21" name="Freeform 7"/>
              <p:cNvSpPr>
                <a:spLocks noEditPoints="1"/>
              </p:cNvSpPr>
              <p:nvPr/>
            </p:nvSpPr>
            <p:spPr bwMode="auto">
              <a:xfrm>
                <a:off x="4357688" y="3630613"/>
                <a:ext cx="109538" cy="125413"/>
              </a:xfrm>
              <a:custGeom>
                <a:avLst/>
                <a:gdLst>
                  <a:gd name="T0" fmla="*/ 38100 w 69"/>
                  <a:gd name="T1" fmla="*/ 79375 h 79"/>
                  <a:gd name="T2" fmla="*/ 52388 w 69"/>
                  <a:gd name="T3" fmla="*/ 34925 h 79"/>
                  <a:gd name="T4" fmla="*/ 68263 w 69"/>
                  <a:gd name="T5" fmla="*/ 79375 h 79"/>
                  <a:gd name="T6" fmla="*/ 38100 w 69"/>
                  <a:gd name="T7" fmla="*/ 79375 h 79"/>
                  <a:gd name="T8" fmla="*/ 63500 w 69"/>
                  <a:gd name="T9" fmla="*/ 0 h 79"/>
                  <a:gd name="T10" fmla="*/ 44450 w 69"/>
                  <a:gd name="T11" fmla="*/ 0 h 79"/>
                  <a:gd name="T12" fmla="*/ 0 w 69"/>
                  <a:gd name="T13" fmla="*/ 125413 h 79"/>
                  <a:gd name="T14" fmla="*/ 22225 w 69"/>
                  <a:gd name="T15" fmla="*/ 125413 h 79"/>
                  <a:gd name="T16" fmla="*/ 30163 w 69"/>
                  <a:gd name="T17" fmla="*/ 103188 h 79"/>
                  <a:gd name="T18" fmla="*/ 74613 w 69"/>
                  <a:gd name="T19" fmla="*/ 103188 h 79"/>
                  <a:gd name="T20" fmla="*/ 82550 w 69"/>
                  <a:gd name="T21" fmla="*/ 125413 h 79"/>
                  <a:gd name="T22" fmla="*/ 109538 w 69"/>
                  <a:gd name="T23" fmla="*/ 125413 h 79"/>
                  <a:gd name="T24" fmla="*/ 63500 w 69"/>
                  <a:gd name="T25" fmla="*/ 0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9" h="79">
                    <a:moveTo>
                      <a:pt x="24" y="50"/>
                    </a:moveTo>
                    <a:lnTo>
                      <a:pt x="33" y="22"/>
                    </a:lnTo>
                    <a:lnTo>
                      <a:pt x="43" y="50"/>
                    </a:lnTo>
                    <a:lnTo>
                      <a:pt x="24" y="50"/>
                    </a:lnTo>
                    <a:close/>
                    <a:moveTo>
                      <a:pt x="40" y="0"/>
                    </a:moveTo>
                    <a:lnTo>
                      <a:pt x="28" y="0"/>
                    </a:lnTo>
                    <a:lnTo>
                      <a:pt x="0" y="79"/>
                    </a:lnTo>
                    <a:lnTo>
                      <a:pt x="14" y="79"/>
                    </a:lnTo>
                    <a:lnTo>
                      <a:pt x="19" y="65"/>
                    </a:lnTo>
                    <a:lnTo>
                      <a:pt x="47" y="65"/>
                    </a:lnTo>
                    <a:lnTo>
                      <a:pt x="52" y="79"/>
                    </a:lnTo>
                    <a:lnTo>
                      <a:pt x="69" y="79"/>
                    </a:lnTo>
                    <a:lnTo>
                      <a:pt x="40" y="0"/>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2" name="Freeform 8"/>
              <p:cNvSpPr>
                <a:spLocks noEditPoints="1"/>
              </p:cNvSpPr>
              <p:nvPr/>
            </p:nvSpPr>
            <p:spPr bwMode="auto">
              <a:xfrm>
                <a:off x="4473575" y="3660776"/>
                <a:ext cx="76200" cy="95250"/>
              </a:xfrm>
              <a:custGeom>
                <a:avLst/>
                <a:gdLst>
                  <a:gd name="T0" fmla="*/ 49530 w 20"/>
                  <a:gd name="T1" fmla="*/ 68580 h 25"/>
                  <a:gd name="T2" fmla="*/ 34290 w 20"/>
                  <a:gd name="T3" fmla="*/ 76200 h 25"/>
                  <a:gd name="T4" fmla="*/ 19050 w 20"/>
                  <a:gd name="T5" fmla="*/ 64770 h 25"/>
                  <a:gd name="T6" fmla="*/ 34290 w 20"/>
                  <a:gd name="T7" fmla="*/ 53340 h 25"/>
                  <a:gd name="T8" fmla="*/ 49530 w 20"/>
                  <a:gd name="T9" fmla="*/ 53340 h 25"/>
                  <a:gd name="T10" fmla="*/ 49530 w 20"/>
                  <a:gd name="T11" fmla="*/ 60960 h 25"/>
                  <a:gd name="T12" fmla="*/ 49530 w 20"/>
                  <a:gd name="T13" fmla="*/ 68580 h 25"/>
                  <a:gd name="T14" fmla="*/ 76200 w 20"/>
                  <a:gd name="T15" fmla="*/ 34290 h 25"/>
                  <a:gd name="T16" fmla="*/ 34290 w 20"/>
                  <a:gd name="T17" fmla="*/ 0 h 25"/>
                  <a:gd name="T18" fmla="*/ 15240 w 20"/>
                  <a:gd name="T19" fmla="*/ 3810 h 25"/>
                  <a:gd name="T20" fmla="*/ 3810 w 20"/>
                  <a:gd name="T21" fmla="*/ 15240 h 25"/>
                  <a:gd name="T22" fmla="*/ 15240 w 20"/>
                  <a:gd name="T23" fmla="*/ 26670 h 25"/>
                  <a:gd name="T24" fmla="*/ 34290 w 20"/>
                  <a:gd name="T25" fmla="*/ 19050 h 25"/>
                  <a:gd name="T26" fmla="*/ 49530 w 20"/>
                  <a:gd name="T27" fmla="*/ 34290 h 25"/>
                  <a:gd name="T28" fmla="*/ 49530 w 20"/>
                  <a:gd name="T29" fmla="*/ 38100 h 25"/>
                  <a:gd name="T30" fmla="*/ 30480 w 20"/>
                  <a:gd name="T31" fmla="*/ 38100 h 25"/>
                  <a:gd name="T32" fmla="*/ 7620 w 20"/>
                  <a:gd name="T33" fmla="*/ 45720 h 25"/>
                  <a:gd name="T34" fmla="*/ 0 w 20"/>
                  <a:gd name="T35" fmla="*/ 64770 h 25"/>
                  <a:gd name="T36" fmla="*/ 7620 w 20"/>
                  <a:gd name="T37" fmla="*/ 87630 h 25"/>
                  <a:gd name="T38" fmla="*/ 30480 w 20"/>
                  <a:gd name="T39" fmla="*/ 95250 h 25"/>
                  <a:gd name="T40" fmla="*/ 53340 w 20"/>
                  <a:gd name="T41" fmla="*/ 83820 h 25"/>
                  <a:gd name="T42" fmla="*/ 53340 w 20"/>
                  <a:gd name="T43" fmla="*/ 95250 h 25"/>
                  <a:gd name="T44" fmla="*/ 76200 w 20"/>
                  <a:gd name="T45" fmla="*/ 95250 h 25"/>
                  <a:gd name="T46" fmla="*/ 76200 w 20"/>
                  <a:gd name="T47" fmla="*/ 3429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3" y="18"/>
                    </a:moveTo>
                    <a:cubicBezTo>
                      <a:pt x="12" y="19"/>
                      <a:pt x="11" y="20"/>
                      <a:pt x="9" y="20"/>
                    </a:cubicBezTo>
                    <a:cubicBezTo>
                      <a:pt x="7" y="20"/>
                      <a:pt x="5" y="19"/>
                      <a:pt x="5" y="17"/>
                    </a:cubicBezTo>
                    <a:cubicBezTo>
                      <a:pt x="5" y="15"/>
                      <a:pt x="7" y="14"/>
                      <a:pt x="9" y="14"/>
                    </a:cubicBezTo>
                    <a:cubicBezTo>
                      <a:pt x="13" y="14"/>
                      <a:pt x="13" y="14"/>
                      <a:pt x="13" y="14"/>
                    </a:cubicBezTo>
                    <a:cubicBezTo>
                      <a:pt x="13" y="16"/>
                      <a:pt x="13" y="16"/>
                      <a:pt x="13" y="16"/>
                    </a:cubicBezTo>
                    <a:cubicBezTo>
                      <a:pt x="13" y="17"/>
                      <a:pt x="13" y="18"/>
                      <a:pt x="13" y="18"/>
                    </a:cubicBezTo>
                    <a:moveTo>
                      <a:pt x="20" y="9"/>
                    </a:moveTo>
                    <a:cubicBezTo>
                      <a:pt x="20" y="3"/>
                      <a:pt x="16" y="0"/>
                      <a:pt x="9" y="0"/>
                    </a:cubicBezTo>
                    <a:cubicBezTo>
                      <a:pt x="7" y="0"/>
                      <a:pt x="6" y="0"/>
                      <a:pt x="4" y="1"/>
                    </a:cubicBezTo>
                    <a:cubicBezTo>
                      <a:pt x="3" y="1"/>
                      <a:pt x="2" y="2"/>
                      <a:pt x="1" y="4"/>
                    </a:cubicBezTo>
                    <a:cubicBezTo>
                      <a:pt x="4" y="7"/>
                      <a:pt x="4" y="7"/>
                      <a:pt x="4" y="7"/>
                    </a:cubicBezTo>
                    <a:cubicBezTo>
                      <a:pt x="6" y="6"/>
                      <a:pt x="7" y="5"/>
                      <a:pt x="9" y="5"/>
                    </a:cubicBezTo>
                    <a:cubicBezTo>
                      <a:pt x="12" y="5"/>
                      <a:pt x="13" y="7"/>
                      <a:pt x="13" y="9"/>
                    </a:cubicBezTo>
                    <a:cubicBezTo>
                      <a:pt x="13" y="10"/>
                      <a:pt x="13" y="10"/>
                      <a:pt x="13" y="10"/>
                    </a:cubicBezTo>
                    <a:cubicBezTo>
                      <a:pt x="8" y="10"/>
                      <a:pt x="8" y="10"/>
                      <a:pt x="8" y="10"/>
                    </a:cubicBezTo>
                    <a:cubicBezTo>
                      <a:pt x="5" y="10"/>
                      <a:pt x="3" y="11"/>
                      <a:pt x="2" y="12"/>
                    </a:cubicBezTo>
                    <a:cubicBezTo>
                      <a:pt x="0" y="14"/>
                      <a:pt x="0" y="15"/>
                      <a:pt x="0" y="17"/>
                    </a:cubicBezTo>
                    <a:cubicBezTo>
                      <a:pt x="0" y="19"/>
                      <a:pt x="0" y="21"/>
                      <a:pt x="2" y="23"/>
                    </a:cubicBezTo>
                    <a:cubicBezTo>
                      <a:pt x="3" y="24"/>
                      <a:pt x="5" y="25"/>
                      <a:pt x="8" y="25"/>
                    </a:cubicBezTo>
                    <a:cubicBezTo>
                      <a:pt x="10" y="25"/>
                      <a:pt x="12" y="24"/>
                      <a:pt x="14" y="22"/>
                    </a:cubicBezTo>
                    <a:cubicBezTo>
                      <a:pt x="14" y="25"/>
                      <a:pt x="14" y="25"/>
                      <a:pt x="14"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3" name="Freeform 9"/>
              <p:cNvSpPr>
                <a:spLocks noEditPoints="1"/>
              </p:cNvSpPr>
              <p:nvPr/>
            </p:nvSpPr>
            <p:spPr bwMode="auto">
              <a:xfrm>
                <a:off x="4572000" y="3660776"/>
                <a:ext cx="74613" cy="125413"/>
              </a:xfrm>
              <a:custGeom>
                <a:avLst/>
                <a:gdLst>
                  <a:gd name="T0" fmla="*/ 52229 w 20"/>
                  <a:gd name="T1" fmla="*/ 64607 h 33"/>
                  <a:gd name="T2" fmla="*/ 37307 w 20"/>
                  <a:gd name="T3" fmla="*/ 72207 h 33"/>
                  <a:gd name="T4" fmla="*/ 22384 w 20"/>
                  <a:gd name="T5" fmla="*/ 64607 h 33"/>
                  <a:gd name="T6" fmla="*/ 22384 w 20"/>
                  <a:gd name="T7" fmla="*/ 49405 h 33"/>
                  <a:gd name="T8" fmla="*/ 22384 w 20"/>
                  <a:gd name="T9" fmla="*/ 30403 h 33"/>
                  <a:gd name="T10" fmla="*/ 37307 w 20"/>
                  <a:gd name="T11" fmla="*/ 22802 h 33"/>
                  <a:gd name="T12" fmla="*/ 52229 w 20"/>
                  <a:gd name="T13" fmla="*/ 30403 h 33"/>
                  <a:gd name="T14" fmla="*/ 52229 w 20"/>
                  <a:gd name="T15" fmla="*/ 49405 h 33"/>
                  <a:gd name="T16" fmla="*/ 52229 w 20"/>
                  <a:gd name="T17" fmla="*/ 64607 h 33"/>
                  <a:gd name="T18" fmla="*/ 74613 w 20"/>
                  <a:gd name="T19" fmla="*/ 26603 h 33"/>
                  <a:gd name="T20" fmla="*/ 67152 w 20"/>
                  <a:gd name="T21" fmla="*/ 7601 h 33"/>
                  <a:gd name="T22" fmla="*/ 44768 w 20"/>
                  <a:gd name="T23" fmla="*/ 0 h 33"/>
                  <a:gd name="T24" fmla="*/ 22384 w 20"/>
                  <a:gd name="T25" fmla="*/ 11401 h 33"/>
                  <a:gd name="T26" fmla="*/ 22384 w 20"/>
                  <a:gd name="T27" fmla="*/ 0 h 33"/>
                  <a:gd name="T28" fmla="*/ 0 w 20"/>
                  <a:gd name="T29" fmla="*/ 0 h 33"/>
                  <a:gd name="T30" fmla="*/ 0 w 20"/>
                  <a:gd name="T31" fmla="*/ 125413 h 33"/>
                  <a:gd name="T32" fmla="*/ 22384 w 20"/>
                  <a:gd name="T33" fmla="*/ 125413 h 33"/>
                  <a:gd name="T34" fmla="*/ 22384 w 20"/>
                  <a:gd name="T35" fmla="*/ 83609 h 33"/>
                  <a:gd name="T36" fmla="*/ 44768 w 20"/>
                  <a:gd name="T37" fmla="*/ 95010 h 33"/>
                  <a:gd name="T38" fmla="*/ 67152 w 20"/>
                  <a:gd name="T39" fmla="*/ 87409 h 33"/>
                  <a:gd name="T40" fmla="*/ 74613 w 20"/>
                  <a:gd name="T41" fmla="*/ 68407 h 33"/>
                  <a:gd name="T42" fmla="*/ 74613 w 20"/>
                  <a:gd name="T43" fmla="*/ 49405 h 33"/>
                  <a:gd name="T44" fmla="*/ 74613 w 20"/>
                  <a:gd name="T45" fmla="*/ 26603 h 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33">
                    <a:moveTo>
                      <a:pt x="14" y="17"/>
                    </a:moveTo>
                    <a:cubicBezTo>
                      <a:pt x="13" y="19"/>
                      <a:pt x="12" y="19"/>
                      <a:pt x="10" y="19"/>
                    </a:cubicBezTo>
                    <a:cubicBezTo>
                      <a:pt x="8" y="19"/>
                      <a:pt x="7" y="19"/>
                      <a:pt x="6" y="17"/>
                    </a:cubicBezTo>
                    <a:cubicBezTo>
                      <a:pt x="6" y="16"/>
                      <a:pt x="6" y="15"/>
                      <a:pt x="6" y="13"/>
                    </a:cubicBezTo>
                    <a:cubicBezTo>
                      <a:pt x="6" y="10"/>
                      <a:pt x="6" y="9"/>
                      <a:pt x="6" y="8"/>
                    </a:cubicBezTo>
                    <a:cubicBezTo>
                      <a:pt x="7" y="6"/>
                      <a:pt x="8" y="6"/>
                      <a:pt x="10" y="6"/>
                    </a:cubicBezTo>
                    <a:cubicBezTo>
                      <a:pt x="12" y="6"/>
                      <a:pt x="13" y="6"/>
                      <a:pt x="14" y="8"/>
                    </a:cubicBezTo>
                    <a:cubicBezTo>
                      <a:pt x="14" y="9"/>
                      <a:pt x="14" y="10"/>
                      <a:pt x="14" y="13"/>
                    </a:cubicBezTo>
                    <a:cubicBezTo>
                      <a:pt x="14" y="15"/>
                      <a:pt x="14" y="16"/>
                      <a:pt x="14" y="17"/>
                    </a:cubicBezTo>
                    <a:moveTo>
                      <a:pt x="20" y="7"/>
                    </a:moveTo>
                    <a:cubicBezTo>
                      <a:pt x="19" y="5"/>
                      <a:pt x="19" y="3"/>
                      <a:pt x="18" y="2"/>
                    </a:cubicBezTo>
                    <a:cubicBezTo>
                      <a:pt x="16" y="1"/>
                      <a:pt x="14" y="0"/>
                      <a:pt x="12" y="0"/>
                    </a:cubicBezTo>
                    <a:cubicBezTo>
                      <a:pt x="9" y="0"/>
                      <a:pt x="7" y="1"/>
                      <a:pt x="6" y="3"/>
                    </a:cubicBezTo>
                    <a:cubicBezTo>
                      <a:pt x="6" y="0"/>
                      <a:pt x="6" y="0"/>
                      <a:pt x="6" y="0"/>
                    </a:cubicBezTo>
                    <a:cubicBezTo>
                      <a:pt x="0" y="0"/>
                      <a:pt x="0" y="0"/>
                      <a:pt x="0" y="0"/>
                    </a:cubicBezTo>
                    <a:cubicBezTo>
                      <a:pt x="0" y="33"/>
                      <a:pt x="0" y="33"/>
                      <a:pt x="0" y="33"/>
                    </a:cubicBezTo>
                    <a:cubicBezTo>
                      <a:pt x="6" y="33"/>
                      <a:pt x="6" y="33"/>
                      <a:pt x="6" y="33"/>
                    </a:cubicBezTo>
                    <a:cubicBezTo>
                      <a:pt x="6" y="22"/>
                      <a:pt x="6" y="22"/>
                      <a:pt x="6" y="22"/>
                    </a:cubicBezTo>
                    <a:cubicBezTo>
                      <a:pt x="7" y="24"/>
                      <a:pt x="9" y="25"/>
                      <a:pt x="12" y="25"/>
                    </a:cubicBezTo>
                    <a:cubicBezTo>
                      <a:pt x="14" y="25"/>
                      <a:pt x="16" y="24"/>
                      <a:pt x="18" y="23"/>
                    </a:cubicBezTo>
                    <a:cubicBezTo>
                      <a:pt x="19" y="22"/>
                      <a:pt x="19" y="20"/>
                      <a:pt x="20" y="18"/>
                    </a:cubicBezTo>
                    <a:cubicBezTo>
                      <a:pt x="20" y="17"/>
                      <a:pt x="20" y="15"/>
                      <a:pt x="20" y="13"/>
                    </a:cubicBezTo>
                    <a:cubicBezTo>
                      <a:pt x="20" y="10"/>
                      <a:pt x="20" y="8"/>
                      <a:pt x="20" y="7"/>
                    </a:cubicBezTo>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4" name="Freeform 10"/>
              <p:cNvSpPr>
                <a:spLocks/>
              </p:cNvSpPr>
              <p:nvPr/>
            </p:nvSpPr>
            <p:spPr bwMode="auto">
              <a:xfrm>
                <a:off x="4670425" y="3630613"/>
                <a:ext cx="82550" cy="125413"/>
              </a:xfrm>
              <a:custGeom>
                <a:avLst/>
                <a:gdLst>
                  <a:gd name="T0" fmla="*/ 82550 w 52"/>
                  <a:gd name="T1" fmla="*/ 125413 h 79"/>
                  <a:gd name="T2" fmla="*/ 52388 w 52"/>
                  <a:gd name="T3" fmla="*/ 125413 h 79"/>
                  <a:gd name="T4" fmla="*/ 30163 w 52"/>
                  <a:gd name="T5" fmla="*/ 87313 h 79"/>
                  <a:gd name="T6" fmla="*/ 22225 w 52"/>
                  <a:gd name="T7" fmla="*/ 95250 h 79"/>
                  <a:gd name="T8" fmla="*/ 22225 w 52"/>
                  <a:gd name="T9" fmla="*/ 125413 h 79"/>
                  <a:gd name="T10" fmla="*/ 0 w 52"/>
                  <a:gd name="T11" fmla="*/ 125413 h 79"/>
                  <a:gd name="T12" fmla="*/ 0 w 52"/>
                  <a:gd name="T13" fmla="*/ 0 h 79"/>
                  <a:gd name="T14" fmla="*/ 22225 w 52"/>
                  <a:gd name="T15" fmla="*/ 0 h 79"/>
                  <a:gd name="T16" fmla="*/ 22225 w 52"/>
                  <a:gd name="T17" fmla="*/ 68263 h 79"/>
                  <a:gd name="T18" fmla="*/ 52388 w 52"/>
                  <a:gd name="T19" fmla="*/ 30163 h 79"/>
                  <a:gd name="T20" fmla="*/ 77788 w 52"/>
                  <a:gd name="T21" fmla="*/ 30163 h 79"/>
                  <a:gd name="T22" fmla="*/ 44450 w 52"/>
                  <a:gd name="T23" fmla="*/ 68263 h 79"/>
                  <a:gd name="T24" fmla="*/ 82550 w 52"/>
                  <a:gd name="T25" fmla="*/ 125413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2" h="79">
                    <a:moveTo>
                      <a:pt x="52" y="79"/>
                    </a:moveTo>
                    <a:lnTo>
                      <a:pt x="33" y="79"/>
                    </a:lnTo>
                    <a:lnTo>
                      <a:pt x="19" y="55"/>
                    </a:lnTo>
                    <a:lnTo>
                      <a:pt x="14" y="60"/>
                    </a:lnTo>
                    <a:lnTo>
                      <a:pt x="14" y="79"/>
                    </a:lnTo>
                    <a:lnTo>
                      <a:pt x="0" y="79"/>
                    </a:lnTo>
                    <a:lnTo>
                      <a:pt x="0" y="0"/>
                    </a:lnTo>
                    <a:lnTo>
                      <a:pt x="14" y="0"/>
                    </a:lnTo>
                    <a:lnTo>
                      <a:pt x="14" y="43"/>
                    </a:lnTo>
                    <a:lnTo>
                      <a:pt x="33" y="19"/>
                    </a:lnTo>
                    <a:lnTo>
                      <a:pt x="49" y="19"/>
                    </a:lnTo>
                    <a:lnTo>
                      <a:pt x="28" y="43"/>
                    </a:lnTo>
                    <a:lnTo>
                      <a:pt x="52"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5" name="Freeform 11"/>
              <p:cNvSpPr>
                <a:spLocks noEditPoints="1"/>
              </p:cNvSpPr>
              <p:nvPr/>
            </p:nvSpPr>
            <p:spPr bwMode="auto">
              <a:xfrm>
                <a:off x="4767263" y="3630613"/>
                <a:ext cx="23813" cy="125413"/>
              </a:xfrm>
              <a:custGeom>
                <a:avLst/>
                <a:gdLst>
                  <a:gd name="T0" fmla="*/ 23813 w 15"/>
                  <a:gd name="T1" fmla="*/ 15875 h 79"/>
                  <a:gd name="T2" fmla="*/ 0 w 15"/>
                  <a:gd name="T3" fmla="*/ 15875 h 79"/>
                  <a:gd name="T4" fmla="*/ 0 w 15"/>
                  <a:gd name="T5" fmla="*/ 0 h 79"/>
                  <a:gd name="T6" fmla="*/ 23813 w 15"/>
                  <a:gd name="T7" fmla="*/ 0 h 79"/>
                  <a:gd name="T8" fmla="*/ 23813 w 15"/>
                  <a:gd name="T9" fmla="*/ 15875 h 79"/>
                  <a:gd name="T10" fmla="*/ 23813 w 15"/>
                  <a:gd name="T11" fmla="*/ 125413 h 79"/>
                  <a:gd name="T12" fmla="*/ 0 w 15"/>
                  <a:gd name="T13" fmla="*/ 125413 h 79"/>
                  <a:gd name="T14" fmla="*/ 0 w 15"/>
                  <a:gd name="T15" fmla="*/ 30163 h 79"/>
                  <a:gd name="T16" fmla="*/ 23813 w 15"/>
                  <a:gd name="T17" fmla="*/ 30163 h 79"/>
                  <a:gd name="T18" fmla="*/ 23813 w 15"/>
                  <a:gd name="T19" fmla="*/ 125413 h 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 h="79">
                    <a:moveTo>
                      <a:pt x="15" y="10"/>
                    </a:moveTo>
                    <a:lnTo>
                      <a:pt x="0" y="10"/>
                    </a:lnTo>
                    <a:lnTo>
                      <a:pt x="0" y="0"/>
                    </a:lnTo>
                    <a:lnTo>
                      <a:pt x="15" y="0"/>
                    </a:lnTo>
                    <a:lnTo>
                      <a:pt x="15" y="10"/>
                    </a:lnTo>
                    <a:close/>
                    <a:moveTo>
                      <a:pt x="15" y="79"/>
                    </a:moveTo>
                    <a:lnTo>
                      <a:pt x="0" y="79"/>
                    </a:lnTo>
                    <a:lnTo>
                      <a:pt x="0" y="19"/>
                    </a:lnTo>
                    <a:lnTo>
                      <a:pt x="15" y="19"/>
                    </a:lnTo>
                    <a:lnTo>
                      <a:pt x="15"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6" name="Freeform 12"/>
              <p:cNvSpPr>
                <a:spLocks/>
              </p:cNvSpPr>
              <p:nvPr/>
            </p:nvSpPr>
            <p:spPr bwMode="auto">
              <a:xfrm>
                <a:off x="4843463" y="3630613"/>
                <a:ext cx="74613" cy="125413"/>
              </a:xfrm>
              <a:custGeom>
                <a:avLst/>
                <a:gdLst>
                  <a:gd name="T0" fmla="*/ 74613 w 20"/>
                  <a:gd name="T1" fmla="*/ 83609 h 33"/>
                  <a:gd name="T2" fmla="*/ 63421 w 20"/>
                  <a:gd name="T3" fmla="*/ 114012 h 33"/>
                  <a:gd name="T4" fmla="*/ 29845 w 20"/>
                  <a:gd name="T5" fmla="*/ 125413 h 33"/>
                  <a:gd name="T6" fmla="*/ 0 w 20"/>
                  <a:gd name="T7" fmla="*/ 110211 h 33"/>
                  <a:gd name="T8" fmla="*/ 14923 w 20"/>
                  <a:gd name="T9" fmla="*/ 95010 h 33"/>
                  <a:gd name="T10" fmla="*/ 29845 w 20"/>
                  <a:gd name="T11" fmla="*/ 102611 h 33"/>
                  <a:gd name="T12" fmla="*/ 52229 w 20"/>
                  <a:gd name="T13" fmla="*/ 83609 h 33"/>
                  <a:gd name="T14" fmla="*/ 52229 w 20"/>
                  <a:gd name="T15" fmla="*/ 0 h 33"/>
                  <a:gd name="T16" fmla="*/ 74613 w 20"/>
                  <a:gd name="T17" fmla="*/ 0 h 33"/>
                  <a:gd name="T18" fmla="*/ 74613 w 20"/>
                  <a:gd name="T19" fmla="*/ 83609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33">
                    <a:moveTo>
                      <a:pt x="20" y="22"/>
                    </a:moveTo>
                    <a:cubicBezTo>
                      <a:pt x="20" y="25"/>
                      <a:pt x="19" y="28"/>
                      <a:pt x="17" y="30"/>
                    </a:cubicBezTo>
                    <a:cubicBezTo>
                      <a:pt x="14" y="32"/>
                      <a:pt x="12" y="33"/>
                      <a:pt x="8" y="33"/>
                    </a:cubicBezTo>
                    <a:cubicBezTo>
                      <a:pt x="5" y="33"/>
                      <a:pt x="2" y="32"/>
                      <a:pt x="0" y="29"/>
                    </a:cubicBezTo>
                    <a:cubicBezTo>
                      <a:pt x="4" y="25"/>
                      <a:pt x="4" y="25"/>
                      <a:pt x="4" y="25"/>
                    </a:cubicBezTo>
                    <a:cubicBezTo>
                      <a:pt x="5" y="27"/>
                      <a:pt x="7" y="27"/>
                      <a:pt x="8" y="27"/>
                    </a:cubicBezTo>
                    <a:cubicBezTo>
                      <a:pt x="12" y="27"/>
                      <a:pt x="14" y="25"/>
                      <a:pt x="14" y="22"/>
                    </a:cubicBezTo>
                    <a:cubicBezTo>
                      <a:pt x="14" y="0"/>
                      <a:pt x="14" y="0"/>
                      <a:pt x="14" y="0"/>
                    </a:cubicBezTo>
                    <a:cubicBezTo>
                      <a:pt x="20" y="0"/>
                      <a:pt x="20" y="0"/>
                      <a:pt x="20" y="0"/>
                    </a:cubicBezTo>
                    <a:lnTo>
                      <a:pt x="20" y="2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7" name="Freeform 13"/>
              <p:cNvSpPr>
                <a:spLocks noEditPoints="1"/>
              </p:cNvSpPr>
              <p:nvPr/>
            </p:nvSpPr>
            <p:spPr bwMode="auto">
              <a:xfrm>
                <a:off x="4940300" y="3660776"/>
                <a:ext cx="79375" cy="95250"/>
              </a:xfrm>
              <a:custGeom>
                <a:avLst/>
                <a:gdLst>
                  <a:gd name="T0" fmla="*/ 18899 w 21"/>
                  <a:gd name="T1" fmla="*/ 38100 h 25"/>
                  <a:gd name="T2" fmla="*/ 22679 w 21"/>
                  <a:gd name="T3" fmla="*/ 30480 h 25"/>
                  <a:gd name="T4" fmla="*/ 37798 w 21"/>
                  <a:gd name="T5" fmla="*/ 19050 h 25"/>
                  <a:gd name="T6" fmla="*/ 52917 w 21"/>
                  <a:gd name="T7" fmla="*/ 30480 h 25"/>
                  <a:gd name="T8" fmla="*/ 56696 w 21"/>
                  <a:gd name="T9" fmla="*/ 38100 h 25"/>
                  <a:gd name="T10" fmla="*/ 18899 w 21"/>
                  <a:gd name="T11" fmla="*/ 38100 h 25"/>
                  <a:gd name="T12" fmla="*/ 79375 w 21"/>
                  <a:gd name="T13" fmla="*/ 45720 h 25"/>
                  <a:gd name="T14" fmla="*/ 68036 w 21"/>
                  <a:gd name="T15" fmla="*/ 15240 h 25"/>
                  <a:gd name="T16" fmla="*/ 37798 w 21"/>
                  <a:gd name="T17" fmla="*/ 0 h 25"/>
                  <a:gd name="T18" fmla="*/ 7560 w 21"/>
                  <a:gd name="T19" fmla="*/ 11430 h 25"/>
                  <a:gd name="T20" fmla="*/ 0 w 21"/>
                  <a:gd name="T21" fmla="*/ 49530 h 25"/>
                  <a:gd name="T22" fmla="*/ 41577 w 21"/>
                  <a:gd name="T23" fmla="*/ 95250 h 25"/>
                  <a:gd name="T24" fmla="*/ 60476 w 21"/>
                  <a:gd name="T25" fmla="*/ 91440 h 25"/>
                  <a:gd name="T26" fmla="*/ 75595 w 21"/>
                  <a:gd name="T27" fmla="*/ 80010 h 25"/>
                  <a:gd name="T28" fmla="*/ 60476 w 21"/>
                  <a:gd name="T29" fmla="*/ 68580 h 25"/>
                  <a:gd name="T30" fmla="*/ 41577 w 21"/>
                  <a:gd name="T31" fmla="*/ 76200 h 25"/>
                  <a:gd name="T32" fmla="*/ 26458 w 21"/>
                  <a:gd name="T33" fmla="*/ 68580 h 25"/>
                  <a:gd name="T34" fmla="*/ 18899 w 21"/>
                  <a:gd name="T35" fmla="*/ 53340 h 25"/>
                  <a:gd name="T36" fmla="*/ 79375 w 21"/>
                  <a:gd name="T37" fmla="*/ 53340 h 25"/>
                  <a:gd name="T38" fmla="*/ 79375 w 21"/>
                  <a:gd name="T39" fmla="*/ 4572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5" y="10"/>
                    </a:moveTo>
                    <a:cubicBezTo>
                      <a:pt x="5" y="9"/>
                      <a:pt x="6" y="8"/>
                      <a:pt x="6" y="8"/>
                    </a:cubicBezTo>
                    <a:cubicBezTo>
                      <a:pt x="7" y="6"/>
                      <a:pt x="8" y="5"/>
                      <a:pt x="10" y="5"/>
                    </a:cubicBezTo>
                    <a:cubicBezTo>
                      <a:pt x="12" y="5"/>
                      <a:pt x="13" y="6"/>
                      <a:pt x="14" y="8"/>
                    </a:cubicBezTo>
                    <a:cubicBezTo>
                      <a:pt x="14" y="8"/>
                      <a:pt x="15" y="9"/>
                      <a:pt x="15" y="10"/>
                    </a:cubicBezTo>
                    <a:lnTo>
                      <a:pt x="5" y="10"/>
                    </a:lnTo>
                    <a:close/>
                    <a:moveTo>
                      <a:pt x="21" y="12"/>
                    </a:moveTo>
                    <a:cubicBezTo>
                      <a:pt x="21" y="8"/>
                      <a:pt x="20" y="6"/>
                      <a:pt x="18" y="4"/>
                    </a:cubicBezTo>
                    <a:cubicBezTo>
                      <a:pt x="16" y="1"/>
                      <a:pt x="13" y="0"/>
                      <a:pt x="10" y="0"/>
                    </a:cubicBezTo>
                    <a:cubicBezTo>
                      <a:pt x="7" y="0"/>
                      <a:pt x="4" y="1"/>
                      <a:pt x="2" y="3"/>
                    </a:cubicBezTo>
                    <a:cubicBezTo>
                      <a:pt x="0" y="6"/>
                      <a:pt x="0" y="9"/>
                      <a:pt x="0" y="13"/>
                    </a:cubicBezTo>
                    <a:cubicBezTo>
                      <a:pt x="0" y="21"/>
                      <a:pt x="3" y="25"/>
                      <a:pt x="11" y="25"/>
                    </a:cubicBezTo>
                    <a:cubicBezTo>
                      <a:pt x="13" y="25"/>
                      <a:pt x="14" y="25"/>
                      <a:pt x="16" y="24"/>
                    </a:cubicBezTo>
                    <a:cubicBezTo>
                      <a:pt x="17" y="23"/>
                      <a:pt x="18" y="22"/>
                      <a:pt x="20" y="21"/>
                    </a:cubicBezTo>
                    <a:cubicBezTo>
                      <a:pt x="16" y="18"/>
                      <a:pt x="16" y="18"/>
                      <a:pt x="16" y="18"/>
                    </a:cubicBezTo>
                    <a:cubicBezTo>
                      <a:pt x="15" y="19"/>
                      <a:pt x="13" y="20"/>
                      <a:pt x="11" y="20"/>
                    </a:cubicBezTo>
                    <a:cubicBezTo>
                      <a:pt x="9" y="20"/>
                      <a:pt x="8" y="19"/>
                      <a:pt x="7" y="18"/>
                    </a:cubicBezTo>
                    <a:cubicBezTo>
                      <a:pt x="6" y="17"/>
                      <a:pt x="5" y="16"/>
                      <a:pt x="5"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8" name="Freeform 14"/>
              <p:cNvSpPr>
                <a:spLocks noEditPoints="1"/>
              </p:cNvSpPr>
              <p:nvPr/>
            </p:nvSpPr>
            <p:spPr bwMode="auto">
              <a:xfrm>
                <a:off x="5035550" y="3660776"/>
                <a:ext cx="77788" cy="95250"/>
              </a:xfrm>
              <a:custGeom>
                <a:avLst/>
                <a:gdLst>
                  <a:gd name="T0" fmla="*/ 22225 w 21"/>
                  <a:gd name="T1" fmla="*/ 38100 h 25"/>
                  <a:gd name="T2" fmla="*/ 22225 w 21"/>
                  <a:gd name="T3" fmla="*/ 30480 h 25"/>
                  <a:gd name="T4" fmla="*/ 37042 w 21"/>
                  <a:gd name="T5" fmla="*/ 19050 h 25"/>
                  <a:gd name="T6" fmla="*/ 51859 w 21"/>
                  <a:gd name="T7" fmla="*/ 30480 h 25"/>
                  <a:gd name="T8" fmla="*/ 55563 w 21"/>
                  <a:gd name="T9" fmla="*/ 38100 h 25"/>
                  <a:gd name="T10" fmla="*/ 22225 w 21"/>
                  <a:gd name="T11" fmla="*/ 38100 h 25"/>
                  <a:gd name="T12" fmla="*/ 77788 w 21"/>
                  <a:gd name="T13" fmla="*/ 45720 h 25"/>
                  <a:gd name="T14" fmla="*/ 66675 w 21"/>
                  <a:gd name="T15" fmla="*/ 15240 h 25"/>
                  <a:gd name="T16" fmla="*/ 37042 w 21"/>
                  <a:gd name="T17" fmla="*/ 0 h 25"/>
                  <a:gd name="T18" fmla="*/ 11113 w 21"/>
                  <a:gd name="T19" fmla="*/ 11430 h 25"/>
                  <a:gd name="T20" fmla="*/ 0 w 21"/>
                  <a:gd name="T21" fmla="*/ 49530 h 25"/>
                  <a:gd name="T22" fmla="*/ 40746 w 21"/>
                  <a:gd name="T23" fmla="*/ 95250 h 25"/>
                  <a:gd name="T24" fmla="*/ 59267 w 21"/>
                  <a:gd name="T25" fmla="*/ 91440 h 25"/>
                  <a:gd name="T26" fmla="*/ 74084 w 21"/>
                  <a:gd name="T27" fmla="*/ 80010 h 25"/>
                  <a:gd name="T28" fmla="*/ 59267 w 21"/>
                  <a:gd name="T29" fmla="*/ 68580 h 25"/>
                  <a:gd name="T30" fmla="*/ 40746 w 21"/>
                  <a:gd name="T31" fmla="*/ 76200 h 25"/>
                  <a:gd name="T32" fmla="*/ 25929 w 21"/>
                  <a:gd name="T33" fmla="*/ 68580 h 25"/>
                  <a:gd name="T34" fmla="*/ 22225 w 21"/>
                  <a:gd name="T35" fmla="*/ 53340 h 25"/>
                  <a:gd name="T36" fmla="*/ 77788 w 21"/>
                  <a:gd name="T37" fmla="*/ 53340 h 25"/>
                  <a:gd name="T38" fmla="*/ 77788 w 21"/>
                  <a:gd name="T39" fmla="*/ 4572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6" y="8"/>
                    </a:cubicBezTo>
                    <a:cubicBezTo>
                      <a:pt x="7" y="6"/>
                      <a:pt x="8" y="5"/>
                      <a:pt x="10" y="5"/>
                    </a:cubicBezTo>
                    <a:cubicBezTo>
                      <a:pt x="12" y="5"/>
                      <a:pt x="14" y="6"/>
                      <a:pt x="14" y="8"/>
                    </a:cubicBezTo>
                    <a:cubicBezTo>
                      <a:pt x="15" y="8"/>
                      <a:pt x="15" y="9"/>
                      <a:pt x="15" y="10"/>
                    </a:cubicBezTo>
                    <a:lnTo>
                      <a:pt x="6" y="10"/>
                    </a:lnTo>
                    <a:close/>
                    <a:moveTo>
                      <a:pt x="21" y="12"/>
                    </a:moveTo>
                    <a:cubicBezTo>
                      <a:pt x="21" y="8"/>
                      <a:pt x="20" y="6"/>
                      <a:pt x="18" y="4"/>
                    </a:cubicBezTo>
                    <a:cubicBezTo>
                      <a:pt x="16" y="1"/>
                      <a:pt x="14" y="0"/>
                      <a:pt x="10" y="0"/>
                    </a:cubicBezTo>
                    <a:cubicBezTo>
                      <a:pt x="7" y="0"/>
                      <a:pt x="5" y="1"/>
                      <a:pt x="3" y="3"/>
                    </a:cubicBezTo>
                    <a:cubicBezTo>
                      <a:pt x="1" y="6"/>
                      <a:pt x="0" y="9"/>
                      <a:pt x="0" y="13"/>
                    </a:cubicBezTo>
                    <a:cubicBezTo>
                      <a:pt x="0" y="21"/>
                      <a:pt x="4" y="25"/>
                      <a:pt x="11" y="25"/>
                    </a:cubicBezTo>
                    <a:cubicBezTo>
                      <a:pt x="13" y="25"/>
                      <a:pt x="15" y="25"/>
                      <a:pt x="16" y="24"/>
                    </a:cubicBezTo>
                    <a:cubicBezTo>
                      <a:pt x="17" y="23"/>
                      <a:pt x="19" y="22"/>
                      <a:pt x="20" y="21"/>
                    </a:cubicBezTo>
                    <a:cubicBezTo>
                      <a:pt x="16" y="18"/>
                      <a:pt x="16" y="18"/>
                      <a:pt x="16" y="18"/>
                    </a:cubicBezTo>
                    <a:cubicBezTo>
                      <a:pt x="15" y="19"/>
                      <a:pt x="13" y="20"/>
                      <a:pt x="11" y="20"/>
                    </a:cubicBezTo>
                    <a:cubicBezTo>
                      <a:pt x="9" y="20"/>
                      <a:pt x="8" y="19"/>
                      <a:pt x="7" y="18"/>
                    </a:cubicBezTo>
                    <a:cubicBezTo>
                      <a:pt x="6"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9" name="Freeform 15"/>
              <p:cNvSpPr>
                <a:spLocks/>
              </p:cNvSpPr>
              <p:nvPr/>
            </p:nvSpPr>
            <p:spPr bwMode="auto">
              <a:xfrm>
                <a:off x="5126038" y="3638551"/>
                <a:ext cx="47625" cy="117475"/>
              </a:xfrm>
              <a:custGeom>
                <a:avLst/>
                <a:gdLst>
                  <a:gd name="T0" fmla="*/ 47625 w 13"/>
                  <a:gd name="T1" fmla="*/ 117475 h 31"/>
                  <a:gd name="T2" fmla="*/ 36635 w 13"/>
                  <a:gd name="T3" fmla="*/ 117475 h 31"/>
                  <a:gd name="T4" fmla="*/ 18317 w 13"/>
                  <a:gd name="T5" fmla="*/ 106106 h 31"/>
                  <a:gd name="T6" fmla="*/ 10990 w 13"/>
                  <a:gd name="T7" fmla="*/ 90948 h 31"/>
                  <a:gd name="T8" fmla="*/ 10990 w 13"/>
                  <a:gd name="T9" fmla="*/ 45474 h 31"/>
                  <a:gd name="T10" fmla="*/ 0 w 13"/>
                  <a:gd name="T11" fmla="*/ 45474 h 31"/>
                  <a:gd name="T12" fmla="*/ 0 w 13"/>
                  <a:gd name="T13" fmla="*/ 26527 h 31"/>
                  <a:gd name="T14" fmla="*/ 10990 w 13"/>
                  <a:gd name="T15" fmla="*/ 26527 h 31"/>
                  <a:gd name="T16" fmla="*/ 10990 w 13"/>
                  <a:gd name="T17" fmla="*/ 0 h 31"/>
                  <a:gd name="T18" fmla="*/ 32971 w 13"/>
                  <a:gd name="T19" fmla="*/ 0 h 31"/>
                  <a:gd name="T20" fmla="*/ 32971 w 13"/>
                  <a:gd name="T21" fmla="*/ 26527 h 31"/>
                  <a:gd name="T22" fmla="*/ 47625 w 13"/>
                  <a:gd name="T23" fmla="*/ 26527 h 31"/>
                  <a:gd name="T24" fmla="*/ 47625 w 13"/>
                  <a:gd name="T25" fmla="*/ 45474 h 31"/>
                  <a:gd name="T26" fmla="*/ 32971 w 13"/>
                  <a:gd name="T27" fmla="*/ 45474 h 31"/>
                  <a:gd name="T28" fmla="*/ 32971 w 13"/>
                  <a:gd name="T29" fmla="*/ 87159 h 31"/>
                  <a:gd name="T30" fmla="*/ 40298 w 13"/>
                  <a:gd name="T31" fmla="*/ 94738 h 31"/>
                  <a:gd name="T32" fmla="*/ 47625 w 13"/>
                  <a:gd name="T33" fmla="*/ 94738 h 31"/>
                  <a:gd name="T34" fmla="*/ 47625 w 13"/>
                  <a:gd name="T35" fmla="*/ 117475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31">
                    <a:moveTo>
                      <a:pt x="13" y="31"/>
                    </a:moveTo>
                    <a:cubicBezTo>
                      <a:pt x="10" y="31"/>
                      <a:pt x="10" y="31"/>
                      <a:pt x="10" y="31"/>
                    </a:cubicBezTo>
                    <a:cubicBezTo>
                      <a:pt x="8" y="31"/>
                      <a:pt x="6" y="30"/>
                      <a:pt x="5" y="28"/>
                    </a:cubicBezTo>
                    <a:cubicBezTo>
                      <a:pt x="3" y="27"/>
                      <a:pt x="3" y="26"/>
                      <a:pt x="3" y="24"/>
                    </a:cubicBezTo>
                    <a:cubicBezTo>
                      <a:pt x="3" y="12"/>
                      <a:pt x="3" y="12"/>
                      <a:pt x="3" y="12"/>
                    </a:cubicBezTo>
                    <a:cubicBezTo>
                      <a:pt x="0" y="12"/>
                      <a:pt x="0" y="12"/>
                      <a:pt x="0" y="12"/>
                    </a:cubicBezTo>
                    <a:cubicBezTo>
                      <a:pt x="0" y="7"/>
                      <a:pt x="0" y="7"/>
                      <a:pt x="0" y="7"/>
                    </a:cubicBezTo>
                    <a:cubicBezTo>
                      <a:pt x="3" y="7"/>
                      <a:pt x="3" y="7"/>
                      <a:pt x="3" y="7"/>
                    </a:cubicBezTo>
                    <a:cubicBezTo>
                      <a:pt x="3" y="0"/>
                      <a:pt x="3" y="0"/>
                      <a:pt x="3" y="0"/>
                    </a:cubicBezTo>
                    <a:cubicBezTo>
                      <a:pt x="9" y="0"/>
                      <a:pt x="9" y="0"/>
                      <a:pt x="9" y="0"/>
                    </a:cubicBezTo>
                    <a:cubicBezTo>
                      <a:pt x="9" y="7"/>
                      <a:pt x="9" y="7"/>
                      <a:pt x="9" y="7"/>
                    </a:cubicBezTo>
                    <a:cubicBezTo>
                      <a:pt x="13" y="7"/>
                      <a:pt x="13" y="7"/>
                      <a:pt x="13" y="7"/>
                    </a:cubicBezTo>
                    <a:cubicBezTo>
                      <a:pt x="13" y="12"/>
                      <a:pt x="13" y="12"/>
                      <a:pt x="13" y="12"/>
                    </a:cubicBezTo>
                    <a:cubicBezTo>
                      <a:pt x="9" y="12"/>
                      <a:pt x="9" y="12"/>
                      <a:pt x="9" y="12"/>
                    </a:cubicBezTo>
                    <a:cubicBezTo>
                      <a:pt x="9" y="23"/>
                      <a:pt x="9" y="23"/>
                      <a:pt x="9" y="23"/>
                    </a:cubicBezTo>
                    <a:cubicBezTo>
                      <a:pt x="9" y="25"/>
                      <a:pt x="10" y="25"/>
                      <a:pt x="11" y="25"/>
                    </a:cubicBezTo>
                    <a:cubicBezTo>
                      <a:pt x="13" y="25"/>
                      <a:pt x="13" y="25"/>
                      <a:pt x="13" y="25"/>
                    </a:cubicBezTo>
                    <a:lnTo>
                      <a:pt x="13" y="31"/>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0" name="Rectangle 16"/>
              <p:cNvSpPr>
                <a:spLocks noChangeArrowheads="1"/>
              </p:cNvSpPr>
              <p:nvPr/>
            </p:nvSpPr>
            <p:spPr bwMode="auto">
              <a:xfrm>
                <a:off x="5192713" y="3729038"/>
                <a:ext cx="26988" cy="26988"/>
              </a:xfrm>
              <a:prstGeom prst="rect">
                <a:avLst/>
              </a:prstGeom>
              <a:solidFill>
                <a:srgbClr val="2B252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1" name="Freeform 17"/>
              <p:cNvSpPr>
                <a:spLocks/>
              </p:cNvSpPr>
              <p:nvPr/>
            </p:nvSpPr>
            <p:spPr bwMode="auto">
              <a:xfrm>
                <a:off x="5287963" y="3630613"/>
                <a:ext cx="88900" cy="125413"/>
              </a:xfrm>
              <a:custGeom>
                <a:avLst/>
                <a:gdLst>
                  <a:gd name="T0" fmla="*/ 88900 w 56"/>
                  <a:gd name="T1" fmla="*/ 125413 h 79"/>
                  <a:gd name="T2" fmla="*/ 66675 w 56"/>
                  <a:gd name="T3" fmla="*/ 125413 h 79"/>
                  <a:gd name="T4" fmla="*/ 66675 w 56"/>
                  <a:gd name="T5" fmla="*/ 73025 h 79"/>
                  <a:gd name="T6" fmla="*/ 22225 w 56"/>
                  <a:gd name="T7" fmla="*/ 73025 h 79"/>
                  <a:gd name="T8" fmla="*/ 22225 w 56"/>
                  <a:gd name="T9" fmla="*/ 125413 h 79"/>
                  <a:gd name="T10" fmla="*/ 0 w 56"/>
                  <a:gd name="T11" fmla="*/ 125413 h 79"/>
                  <a:gd name="T12" fmla="*/ 0 w 56"/>
                  <a:gd name="T13" fmla="*/ 0 h 79"/>
                  <a:gd name="T14" fmla="*/ 22225 w 56"/>
                  <a:gd name="T15" fmla="*/ 0 h 79"/>
                  <a:gd name="T16" fmla="*/ 22225 w 56"/>
                  <a:gd name="T17" fmla="*/ 49213 h 79"/>
                  <a:gd name="T18" fmla="*/ 66675 w 56"/>
                  <a:gd name="T19" fmla="*/ 49213 h 79"/>
                  <a:gd name="T20" fmla="*/ 66675 w 56"/>
                  <a:gd name="T21" fmla="*/ 0 h 79"/>
                  <a:gd name="T22" fmla="*/ 88900 w 56"/>
                  <a:gd name="T23" fmla="*/ 0 h 79"/>
                  <a:gd name="T24" fmla="*/ 88900 w 56"/>
                  <a:gd name="T25" fmla="*/ 125413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6" h="79">
                    <a:moveTo>
                      <a:pt x="56" y="79"/>
                    </a:moveTo>
                    <a:lnTo>
                      <a:pt x="42" y="79"/>
                    </a:lnTo>
                    <a:lnTo>
                      <a:pt x="42" y="46"/>
                    </a:lnTo>
                    <a:lnTo>
                      <a:pt x="14" y="46"/>
                    </a:lnTo>
                    <a:lnTo>
                      <a:pt x="14" y="79"/>
                    </a:lnTo>
                    <a:lnTo>
                      <a:pt x="0" y="79"/>
                    </a:lnTo>
                    <a:lnTo>
                      <a:pt x="0" y="0"/>
                    </a:lnTo>
                    <a:lnTo>
                      <a:pt x="14" y="0"/>
                    </a:lnTo>
                    <a:lnTo>
                      <a:pt x="14" y="31"/>
                    </a:lnTo>
                    <a:lnTo>
                      <a:pt x="42" y="31"/>
                    </a:lnTo>
                    <a:lnTo>
                      <a:pt x="42" y="0"/>
                    </a:lnTo>
                    <a:lnTo>
                      <a:pt x="56" y="0"/>
                    </a:lnTo>
                    <a:lnTo>
                      <a:pt x="56"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2" name="Freeform 18"/>
              <p:cNvSpPr>
                <a:spLocks noEditPoints="1"/>
              </p:cNvSpPr>
              <p:nvPr/>
            </p:nvSpPr>
            <p:spPr bwMode="auto">
              <a:xfrm>
                <a:off x="5395913" y="3660776"/>
                <a:ext cx="76200" cy="95250"/>
              </a:xfrm>
              <a:custGeom>
                <a:avLst/>
                <a:gdLst>
                  <a:gd name="T0" fmla="*/ 53340 w 20"/>
                  <a:gd name="T1" fmla="*/ 68580 h 25"/>
                  <a:gd name="T2" fmla="*/ 38100 w 20"/>
                  <a:gd name="T3" fmla="*/ 76200 h 25"/>
                  <a:gd name="T4" fmla="*/ 22860 w 20"/>
                  <a:gd name="T5" fmla="*/ 64770 h 25"/>
                  <a:gd name="T6" fmla="*/ 38100 w 20"/>
                  <a:gd name="T7" fmla="*/ 53340 h 25"/>
                  <a:gd name="T8" fmla="*/ 53340 w 20"/>
                  <a:gd name="T9" fmla="*/ 53340 h 25"/>
                  <a:gd name="T10" fmla="*/ 53340 w 20"/>
                  <a:gd name="T11" fmla="*/ 60960 h 25"/>
                  <a:gd name="T12" fmla="*/ 53340 w 20"/>
                  <a:gd name="T13" fmla="*/ 68580 h 25"/>
                  <a:gd name="T14" fmla="*/ 76200 w 20"/>
                  <a:gd name="T15" fmla="*/ 34290 h 25"/>
                  <a:gd name="T16" fmla="*/ 38100 w 20"/>
                  <a:gd name="T17" fmla="*/ 0 h 25"/>
                  <a:gd name="T18" fmla="*/ 19050 w 20"/>
                  <a:gd name="T19" fmla="*/ 3810 h 25"/>
                  <a:gd name="T20" fmla="*/ 3810 w 20"/>
                  <a:gd name="T21" fmla="*/ 15240 h 25"/>
                  <a:gd name="T22" fmla="*/ 19050 w 20"/>
                  <a:gd name="T23" fmla="*/ 26670 h 25"/>
                  <a:gd name="T24" fmla="*/ 38100 w 20"/>
                  <a:gd name="T25" fmla="*/ 19050 h 25"/>
                  <a:gd name="T26" fmla="*/ 53340 w 20"/>
                  <a:gd name="T27" fmla="*/ 34290 h 25"/>
                  <a:gd name="T28" fmla="*/ 53340 w 20"/>
                  <a:gd name="T29" fmla="*/ 38100 h 25"/>
                  <a:gd name="T30" fmla="*/ 34290 w 20"/>
                  <a:gd name="T31" fmla="*/ 38100 h 25"/>
                  <a:gd name="T32" fmla="*/ 11430 w 20"/>
                  <a:gd name="T33" fmla="*/ 45720 h 25"/>
                  <a:gd name="T34" fmla="*/ 0 w 20"/>
                  <a:gd name="T35" fmla="*/ 64770 h 25"/>
                  <a:gd name="T36" fmla="*/ 11430 w 20"/>
                  <a:gd name="T37" fmla="*/ 87630 h 25"/>
                  <a:gd name="T38" fmla="*/ 34290 w 20"/>
                  <a:gd name="T39" fmla="*/ 95250 h 25"/>
                  <a:gd name="T40" fmla="*/ 57150 w 20"/>
                  <a:gd name="T41" fmla="*/ 83820 h 25"/>
                  <a:gd name="T42" fmla="*/ 57150 w 20"/>
                  <a:gd name="T43" fmla="*/ 95250 h 25"/>
                  <a:gd name="T44" fmla="*/ 76200 w 20"/>
                  <a:gd name="T45" fmla="*/ 95250 h 25"/>
                  <a:gd name="T46" fmla="*/ 76200 w 20"/>
                  <a:gd name="T47" fmla="*/ 3429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4" y="18"/>
                    </a:moveTo>
                    <a:cubicBezTo>
                      <a:pt x="13" y="19"/>
                      <a:pt x="12" y="20"/>
                      <a:pt x="10" y="20"/>
                    </a:cubicBezTo>
                    <a:cubicBezTo>
                      <a:pt x="7" y="20"/>
                      <a:pt x="6" y="19"/>
                      <a:pt x="6" y="17"/>
                    </a:cubicBezTo>
                    <a:cubicBezTo>
                      <a:pt x="6" y="15"/>
                      <a:pt x="7" y="14"/>
                      <a:pt x="10" y="14"/>
                    </a:cubicBezTo>
                    <a:cubicBezTo>
                      <a:pt x="14" y="14"/>
                      <a:pt x="14" y="14"/>
                      <a:pt x="14" y="14"/>
                    </a:cubicBezTo>
                    <a:cubicBezTo>
                      <a:pt x="14" y="16"/>
                      <a:pt x="14" y="16"/>
                      <a:pt x="14" y="16"/>
                    </a:cubicBezTo>
                    <a:cubicBezTo>
                      <a:pt x="14" y="17"/>
                      <a:pt x="14" y="18"/>
                      <a:pt x="14" y="18"/>
                    </a:cubicBezTo>
                    <a:moveTo>
                      <a:pt x="20" y="9"/>
                    </a:moveTo>
                    <a:cubicBezTo>
                      <a:pt x="20" y="3"/>
                      <a:pt x="17" y="0"/>
                      <a:pt x="10" y="0"/>
                    </a:cubicBezTo>
                    <a:cubicBezTo>
                      <a:pt x="8" y="0"/>
                      <a:pt x="6" y="0"/>
                      <a:pt x="5" y="1"/>
                    </a:cubicBezTo>
                    <a:cubicBezTo>
                      <a:pt x="4" y="1"/>
                      <a:pt x="3" y="2"/>
                      <a:pt x="1" y="4"/>
                    </a:cubicBezTo>
                    <a:cubicBezTo>
                      <a:pt x="5" y="7"/>
                      <a:pt x="5" y="7"/>
                      <a:pt x="5" y="7"/>
                    </a:cubicBezTo>
                    <a:cubicBezTo>
                      <a:pt x="6" y="6"/>
                      <a:pt x="8" y="5"/>
                      <a:pt x="10" y="5"/>
                    </a:cubicBezTo>
                    <a:cubicBezTo>
                      <a:pt x="13" y="5"/>
                      <a:pt x="14" y="7"/>
                      <a:pt x="14" y="9"/>
                    </a:cubicBezTo>
                    <a:cubicBezTo>
                      <a:pt x="14" y="10"/>
                      <a:pt x="14" y="10"/>
                      <a:pt x="14" y="10"/>
                    </a:cubicBezTo>
                    <a:cubicBezTo>
                      <a:pt x="9" y="10"/>
                      <a:pt x="9" y="10"/>
                      <a:pt x="9" y="10"/>
                    </a:cubicBezTo>
                    <a:cubicBezTo>
                      <a:pt x="6" y="10"/>
                      <a:pt x="4" y="11"/>
                      <a:pt x="3" y="12"/>
                    </a:cubicBezTo>
                    <a:cubicBezTo>
                      <a:pt x="1" y="14"/>
                      <a:pt x="0" y="15"/>
                      <a:pt x="0" y="17"/>
                    </a:cubicBezTo>
                    <a:cubicBezTo>
                      <a:pt x="0" y="19"/>
                      <a:pt x="1" y="21"/>
                      <a:pt x="3" y="23"/>
                    </a:cubicBezTo>
                    <a:cubicBezTo>
                      <a:pt x="4" y="24"/>
                      <a:pt x="6" y="25"/>
                      <a:pt x="9" y="25"/>
                    </a:cubicBezTo>
                    <a:cubicBezTo>
                      <a:pt x="11" y="25"/>
                      <a:pt x="13" y="24"/>
                      <a:pt x="15" y="22"/>
                    </a:cubicBezTo>
                    <a:cubicBezTo>
                      <a:pt x="15" y="25"/>
                      <a:pt x="15" y="25"/>
                      <a:pt x="15"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3" name="Freeform 19"/>
              <p:cNvSpPr>
                <a:spLocks/>
              </p:cNvSpPr>
              <p:nvPr/>
            </p:nvSpPr>
            <p:spPr bwMode="auto">
              <a:xfrm>
                <a:off x="5497513" y="3660776"/>
                <a:ext cx="128588" cy="95250"/>
              </a:xfrm>
              <a:custGeom>
                <a:avLst/>
                <a:gdLst>
                  <a:gd name="T0" fmla="*/ 128588 w 34"/>
                  <a:gd name="T1" fmla="*/ 95250 h 25"/>
                  <a:gd name="T2" fmla="*/ 105896 w 34"/>
                  <a:gd name="T3" fmla="*/ 95250 h 25"/>
                  <a:gd name="T4" fmla="*/ 105896 w 34"/>
                  <a:gd name="T5" fmla="*/ 38100 h 25"/>
                  <a:gd name="T6" fmla="*/ 102114 w 34"/>
                  <a:gd name="T7" fmla="*/ 26670 h 25"/>
                  <a:gd name="T8" fmla="*/ 90768 w 34"/>
                  <a:gd name="T9" fmla="*/ 22860 h 25"/>
                  <a:gd name="T10" fmla="*/ 79422 w 34"/>
                  <a:gd name="T11" fmla="*/ 26670 h 25"/>
                  <a:gd name="T12" fmla="*/ 75640 w 34"/>
                  <a:gd name="T13" fmla="*/ 38100 h 25"/>
                  <a:gd name="T14" fmla="*/ 75640 w 34"/>
                  <a:gd name="T15" fmla="*/ 95250 h 25"/>
                  <a:gd name="T16" fmla="*/ 52948 w 34"/>
                  <a:gd name="T17" fmla="*/ 95250 h 25"/>
                  <a:gd name="T18" fmla="*/ 52948 w 34"/>
                  <a:gd name="T19" fmla="*/ 38100 h 25"/>
                  <a:gd name="T20" fmla="*/ 49166 w 34"/>
                  <a:gd name="T21" fmla="*/ 26670 h 25"/>
                  <a:gd name="T22" fmla="*/ 37820 w 34"/>
                  <a:gd name="T23" fmla="*/ 22860 h 25"/>
                  <a:gd name="T24" fmla="*/ 26474 w 34"/>
                  <a:gd name="T25" fmla="*/ 26670 h 25"/>
                  <a:gd name="T26" fmla="*/ 22692 w 34"/>
                  <a:gd name="T27" fmla="*/ 38100 h 25"/>
                  <a:gd name="T28" fmla="*/ 22692 w 34"/>
                  <a:gd name="T29" fmla="*/ 95250 h 25"/>
                  <a:gd name="T30" fmla="*/ 0 w 34"/>
                  <a:gd name="T31" fmla="*/ 95250 h 25"/>
                  <a:gd name="T32" fmla="*/ 0 w 34"/>
                  <a:gd name="T33" fmla="*/ 0 h 25"/>
                  <a:gd name="T34" fmla="*/ 22692 w 34"/>
                  <a:gd name="T35" fmla="*/ 0 h 25"/>
                  <a:gd name="T36" fmla="*/ 22692 w 34"/>
                  <a:gd name="T37" fmla="*/ 11430 h 25"/>
                  <a:gd name="T38" fmla="*/ 45384 w 34"/>
                  <a:gd name="T39" fmla="*/ 0 h 25"/>
                  <a:gd name="T40" fmla="*/ 68076 w 34"/>
                  <a:gd name="T41" fmla="*/ 11430 h 25"/>
                  <a:gd name="T42" fmla="*/ 94550 w 34"/>
                  <a:gd name="T43" fmla="*/ 0 h 25"/>
                  <a:gd name="T44" fmla="*/ 117242 w 34"/>
                  <a:gd name="T45" fmla="*/ 7620 h 25"/>
                  <a:gd name="T46" fmla="*/ 128588 w 34"/>
                  <a:gd name="T47" fmla="*/ 34290 h 25"/>
                  <a:gd name="T48" fmla="*/ 128588 w 34"/>
                  <a:gd name="T49" fmla="*/ 95250 h 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4" h="25">
                    <a:moveTo>
                      <a:pt x="34" y="25"/>
                    </a:moveTo>
                    <a:cubicBezTo>
                      <a:pt x="28" y="25"/>
                      <a:pt x="28" y="25"/>
                      <a:pt x="28" y="25"/>
                    </a:cubicBezTo>
                    <a:cubicBezTo>
                      <a:pt x="28" y="10"/>
                      <a:pt x="28" y="10"/>
                      <a:pt x="28" y="10"/>
                    </a:cubicBezTo>
                    <a:cubicBezTo>
                      <a:pt x="28" y="9"/>
                      <a:pt x="27" y="7"/>
                      <a:pt x="27" y="7"/>
                    </a:cubicBezTo>
                    <a:cubicBezTo>
                      <a:pt x="26" y="6"/>
                      <a:pt x="25" y="6"/>
                      <a:pt x="24" y="6"/>
                    </a:cubicBezTo>
                    <a:cubicBezTo>
                      <a:pt x="23" y="6"/>
                      <a:pt x="22" y="6"/>
                      <a:pt x="21" y="7"/>
                    </a:cubicBezTo>
                    <a:cubicBezTo>
                      <a:pt x="20" y="7"/>
                      <a:pt x="20" y="8"/>
                      <a:pt x="20" y="10"/>
                    </a:cubicBezTo>
                    <a:cubicBezTo>
                      <a:pt x="20" y="25"/>
                      <a:pt x="20" y="25"/>
                      <a:pt x="20" y="25"/>
                    </a:cubicBezTo>
                    <a:cubicBezTo>
                      <a:pt x="14" y="25"/>
                      <a:pt x="14" y="25"/>
                      <a:pt x="14" y="25"/>
                    </a:cubicBezTo>
                    <a:cubicBezTo>
                      <a:pt x="14" y="10"/>
                      <a:pt x="14" y="10"/>
                      <a:pt x="14" y="10"/>
                    </a:cubicBezTo>
                    <a:cubicBezTo>
                      <a:pt x="14" y="9"/>
                      <a:pt x="13" y="7"/>
                      <a:pt x="13" y="7"/>
                    </a:cubicBezTo>
                    <a:cubicBezTo>
                      <a:pt x="12" y="6"/>
                      <a:pt x="11" y="6"/>
                      <a:pt x="10" y="6"/>
                    </a:cubicBezTo>
                    <a:cubicBezTo>
                      <a:pt x="9" y="6"/>
                      <a:pt x="8" y="6"/>
                      <a:pt x="7" y="7"/>
                    </a:cubicBezTo>
                    <a:cubicBezTo>
                      <a:pt x="6" y="7"/>
                      <a:pt x="6" y="9"/>
                      <a:pt x="6" y="10"/>
                    </a:cubicBezTo>
                    <a:cubicBezTo>
                      <a:pt x="6" y="25"/>
                      <a:pt x="6" y="25"/>
                      <a:pt x="6" y="25"/>
                    </a:cubicBezTo>
                    <a:cubicBezTo>
                      <a:pt x="0" y="25"/>
                      <a:pt x="0" y="25"/>
                      <a:pt x="0" y="25"/>
                    </a:cubicBezTo>
                    <a:cubicBezTo>
                      <a:pt x="0" y="0"/>
                      <a:pt x="0" y="0"/>
                      <a:pt x="0" y="0"/>
                    </a:cubicBezTo>
                    <a:cubicBezTo>
                      <a:pt x="6" y="0"/>
                      <a:pt x="6" y="0"/>
                      <a:pt x="6" y="0"/>
                    </a:cubicBezTo>
                    <a:cubicBezTo>
                      <a:pt x="6" y="3"/>
                      <a:pt x="6" y="3"/>
                      <a:pt x="6" y="3"/>
                    </a:cubicBezTo>
                    <a:cubicBezTo>
                      <a:pt x="7" y="1"/>
                      <a:pt x="9" y="0"/>
                      <a:pt x="12" y="0"/>
                    </a:cubicBezTo>
                    <a:cubicBezTo>
                      <a:pt x="14" y="0"/>
                      <a:pt x="17" y="1"/>
                      <a:pt x="18" y="3"/>
                    </a:cubicBezTo>
                    <a:cubicBezTo>
                      <a:pt x="20" y="1"/>
                      <a:pt x="22" y="0"/>
                      <a:pt x="25" y="0"/>
                    </a:cubicBezTo>
                    <a:cubicBezTo>
                      <a:pt x="28" y="0"/>
                      <a:pt x="30" y="1"/>
                      <a:pt x="31" y="2"/>
                    </a:cubicBezTo>
                    <a:cubicBezTo>
                      <a:pt x="33" y="4"/>
                      <a:pt x="34" y="6"/>
                      <a:pt x="34" y="9"/>
                    </a:cubicBezTo>
                    <a:lnTo>
                      <a:pt x="34" y="25"/>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4" name="Freeform 20"/>
              <p:cNvSpPr>
                <a:spLocks noEditPoints="1"/>
              </p:cNvSpPr>
              <p:nvPr/>
            </p:nvSpPr>
            <p:spPr bwMode="auto">
              <a:xfrm>
                <a:off x="5645150" y="3660776"/>
                <a:ext cx="74613" cy="95250"/>
              </a:xfrm>
              <a:custGeom>
                <a:avLst/>
                <a:gdLst>
                  <a:gd name="T0" fmla="*/ 48498 w 20"/>
                  <a:gd name="T1" fmla="*/ 68580 h 25"/>
                  <a:gd name="T2" fmla="*/ 33576 w 20"/>
                  <a:gd name="T3" fmla="*/ 76200 h 25"/>
                  <a:gd name="T4" fmla="*/ 18653 w 20"/>
                  <a:gd name="T5" fmla="*/ 64770 h 25"/>
                  <a:gd name="T6" fmla="*/ 33576 w 20"/>
                  <a:gd name="T7" fmla="*/ 53340 h 25"/>
                  <a:gd name="T8" fmla="*/ 52229 w 20"/>
                  <a:gd name="T9" fmla="*/ 53340 h 25"/>
                  <a:gd name="T10" fmla="*/ 52229 w 20"/>
                  <a:gd name="T11" fmla="*/ 60960 h 25"/>
                  <a:gd name="T12" fmla="*/ 48498 w 20"/>
                  <a:gd name="T13" fmla="*/ 68580 h 25"/>
                  <a:gd name="T14" fmla="*/ 74613 w 20"/>
                  <a:gd name="T15" fmla="*/ 34290 h 25"/>
                  <a:gd name="T16" fmla="*/ 33576 w 20"/>
                  <a:gd name="T17" fmla="*/ 0 h 25"/>
                  <a:gd name="T18" fmla="*/ 14923 w 20"/>
                  <a:gd name="T19" fmla="*/ 3810 h 25"/>
                  <a:gd name="T20" fmla="*/ 3731 w 20"/>
                  <a:gd name="T21" fmla="*/ 15240 h 25"/>
                  <a:gd name="T22" fmla="*/ 14923 w 20"/>
                  <a:gd name="T23" fmla="*/ 26670 h 25"/>
                  <a:gd name="T24" fmla="*/ 33576 w 20"/>
                  <a:gd name="T25" fmla="*/ 19050 h 25"/>
                  <a:gd name="T26" fmla="*/ 52229 w 20"/>
                  <a:gd name="T27" fmla="*/ 34290 h 25"/>
                  <a:gd name="T28" fmla="*/ 52229 w 20"/>
                  <a:gd name="T29" fmla="*/ 38100 h 25"/>
                  <a:gd name="T30" fmla="*/ 29845 w 20"/>
                  <a:gd name="T31" fmla="*/ 38100 h 25"/>
                  <a:gd name="T32" fmla="*/ 7461 w 20"/>
                  <a:gd name="T33" fmla="*/ 45720 h 25"/>
                  <a:gd name="T34" fmla="*/ 0 w 20"/>
                  <a:gd name="T35" fmla="*/ 64770 h 25"/>
                  <a:gd name="T36" fmla="*/ 7461 w 20"/>
                  <a:gd name="T37" fmla="*/ 87630 h 25"/>
                  <a:gd name="T38" fmla="*/ 29845 w 20"/>
                  <a:gd name="T39" fmla="*/ 95250 h 25"/>
                  <a:gd name="T40" fmla="*/ 52229 w 20"/>
                  <a:gd name="T41" fmla="*/ 83820 h 25"/>
                  <a:gd name="T42" fmla="*/ 52229 w 20"/>
                  <a:gd name="T43" fmla="*/ 95250 h 25"/>
                  <a:gd name="T44" fmla="*/ 74613 w 20"/>
                  <a:gd name="T45" fmla="*/ 95250 h 25"/>
                  <a:gd name="T46" fmla="*/ 74613 w 20"/>
                  <a:gd name="T47" fmla="*/ 3429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 h="25">
                    <a:moveTo>
                      <a:pt x="13" y="18"/>
                    </a:moveTo>
                    <a:cubicBezTo>
                      <a:pt x="12" y="19"/>
                      <a:pt x="11" y="20"/>
                      <a:pt x="9" y="20"/>
                    </a:cubicBezTo>
                    <a:cubicBezTo>
                      <a:pt x="7" y="20"/>
                      <a:pt x="5" y="19"/>
                      <a:pt x="5" y="17"/>
                    </a:cubicBezTo>
                    <a:cubicBezTo>
                      <a:pt x="5" y="15"/>
                      <a:pt x="7" y="14"/>
                      <a:pt x="9" y="14"/>
                    </a:cubicBezTo>
                    <a:cubicBezTo>
                      <a:pt x="14" y="14"/>
                      <a:pt x="14" y="14"/>
                      <a:pt x="14" y="14"/>
                    </a:cubicBezTo>
                    <a:cubicBezTo>
                      <a:pt x="14" y="16"/>
                      <a:pt x="14" y="16"/>
                      <a:pt x="14" y="16"/>
                    </a:cubicBezTo>
                    <a:cubicBezTo>
                      <a:pt x="14" y="17"/>
                      <a:pt x="13" y="18"/>
                      <a:pt x="13" y="18"/>
                    </a:cubicBezTo>
                    <a:moveTo>
                      <a:pt x="20" y="9"/>
                    </a:moveTo>
                    <a:cubicBezTo>
                      <a:pt x="20" y="3"/>
                      <a:pt x="16" y="0"/>
                      <a:pt x="9" y="0"/>
                    </a:cubicBezTo>
                    <a:cubicBezTo>
                      <a:pt x="7" y="0"/>
                      <a:pt x="6" y="0"/>
                      <a:pt x="4" y="1"/>
                    </a:cubicBezTo>
                    <a:cubicBezTo>
                      <a:pt x="3" y="1"/>
                      <a:pt x="2" y="2"/>
                      <a:pt x="1" y="4"/>
                    </a:cubicBezTo>
                    <a:cubicBezTo>
                      <a:pt x="4" y="7"/>
                      <a:pt x="4" y="7"/>
                      <a:pt x="4" y="7"/>
                    </a:cubicBezTo>
                    <a:cubicBezTo>
                      <a:pt x="6" y="6"/>
                      <a:pt x="7" y="5"/>
                      <a:pt x="9" y="5"/>
                    </a:cubicBezTo>
                    <a:cubicBezTo>
                      <a:pt x="12" y="5"/>
                      <a:pt x="14" y="7"/>
                      <a:pt x="14" y="9"/>
                    </a:cubicBezTo>
                    <a:cubicBezTo>
                      <a:pt x="14" y="10"/>
                      <a:pt x="14" y="10"/>
                      <a:pt x="14" y="10"/>
                    </a:cubicBezTo>
                    <a:cubicBezTo>
                      <a:pt x="8" y="10"/>
                      <a:pt x="8" y="10"/>
                      <a:pt x="8" y="10"/>
                    </a:cubicBezTo>
                    <a:cubicBezTo>
                      <a:pt x="5" y="10"/>
                      <a:pt x="3" y="11"/>
                      <a:pt x="2" y="12"/>
                    </a:cubicBezTo>
                    <a:cubicBezTo>
                      <a:pt x="0" y="14"/>
                      <a:pt x="0" y="15"/>
                      <a:pt x="0" y="17"/>
                    </a:cubicBezTo>
                    <a:cubicBezTo>
                      <a:pt x="0" y="19"/>
                      <a:pt x="0" y="21"/>
                      <a:pt x="2" y="23"/>
                    </a:cubicBezTo>
                    <a:cubicBezTo>
                      <a:pt x="3" y="24"/>
                      <a:pt x="5" y="25"/>
                      <a:pt x="8" y="25"/>
                    </a:cubicBezTo>
                    <a:cubicBezTo>
                      <a:pt x="10" y="25"/>
                      <a:pt x="12" y="24"/>
                      <a:pt x="14" y="22"/>
                    </a:cubicBezTo>
                    <a:cubicBezTo>
                      <a:pt x="14" y="25"/>
                      <a:pt x="14" y="25"/>
                      <a:pt x="14" y="25"/>
                    </a:cubicBezTo>
                    <a:cubicBezTo>
                      <a:pt x="20" y="25"/>
                      <a:pt x="20" y="25"/>
                      <a:pt x="20" y="25"/>
                    </a:cubicBezTo>
                    <a:lnTo>
                      <a:pt x="20" y="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5" name="Freeform 21"/>
              <p:cNvSpPr>
                <a:spLocks/>
              </p:cNvSpPr>
              <p:nvPr/>
            </p:nvSpPr>
            <p:spPr bwMode="auto">
              <a:xfrm>
                <a:off x="5741988" y="3660776"/>
                <a:ext cx="68263" cy="95250"/>
              </a:xfrm>
              <a:custGeom>
                <a:avLst/>
                <a:gdLst>
                  <a:gd name="T0" fmla="*/ 68263 w 18"/>
                  <a:gd name="T1" fmla="*/ 11430 h 25"/>
                  <a:gd name="T2" fmla="*/ 49301 w 18"/>
                  <a:gd name="T3" fmla="*/ 26670 h 25"/>
                  <a:gd name="T4" fmla="*/ 37924 w 18"/>
                  <a:gd name="T5" fmla="*/ 22860 h 25"/>
                  <a:gd name="T6" fmla="*/ 26547 w 18"/>
                  <a:gd name="T7" fmla="*/ 26670 h 25"/>
                  <a:gd name="T8" fmla="*/ 22754 w 18"/>
                  <a:gd name="T9" fmla="*/ 38100 h 25"/>
                  <a:gd name="T10" fmla="*/ 22754 w 18"/>
                  <a:gd name="T11" fmla="*/ 95250 h 25"/>
                  <a:gd name="T12" fmla="*/ 0 w 18"/>
                  <a:gd name="T13" fmla="*/ 95250 h 25"/>
                  <a:gd name="T14" fmla="*/ 0 w 18"/>
                  <a:gd name="T15" fmla="*/ 0 h 25"/>
                  <a:gd name="T16" fmla="*/ 22754 w 18"/>
                  <a:gd name="T17" fmla="*/ 0 h 25"/>
                  <a:gd name="T18" fmla="*/ 22754 w 18"/>
                  <a:gd name="T19" fmla="*/ 11430 h 25"/>
                  <a:gd name="T20" fmla="*/ 45509 w 18"/>
                  <a:gd name="T21" fmla="*/ 0 h 25"/>
                  <a:gd name="T22" fmla="*/ 68263 w 18"/>
                  <a:gd name="T23" fmla="*/ 11430 h 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25">
                    <a:moveTo>
                      <a:pt x="18" y="3"/>
                    </a:moveTo>
                    <a:cubicBezTo>
                      <a:pt x="13" y="7"/>
                      <a:pt x="13" y="7"/>
                      <a:pt x="13" y="7"/>
                    </a:cubicBezTo>
                    <a:cubicBezTo>
                      <a:pt x="12" y="6"/>
                      <a:pt x="11" y="6"/>
                      <a:pt x="10" y="6"/>
                    </a:cubicBezTo>
                    <a:cubicBezTo>
                      <a:pt x="9" y="6"/>
                      <a:pt x="8" y="6"/>
                      <a:pt x="7" y="7"/>
                    </a:cubicBezTo>
                    <a:cubicBezTo>
                      <a:pt x="6" y="8"/>
                      <a:pt x="6" y="9"/>
                      <a:pt x="6" y="10"/>
                    </a:cubicBezTo>
                    <a:cubicBezTo>
                      <a:pt x="6" y="25"/>
                      <a:pt x="6" y="25"/>
                      <a:pt x="6" y="25"/>
                    </a:cubicBezTo>
                    <a:cubicBezTo>
                      <a:pt x="0" y="25"/>
                      <a:pt x="0" y="25"/>
                      <a:pt x="0" y="25"/>
                    </a:cubicBezTo>
                    <a:cubicBezTo>
                      <a:pt x="0" y="0"/>
                      <a:pt x="0" y="0"/>
                      <a:pt x="0" y="0"/>
                    </a:cubicBezTo>
                    <a:cubicBezTo>
                      <a:pt x="6" y="0"/>
                      <a:pt x="6" y="0"/>
                      <a:pt x="6" y="0"/>
                    </a:cubicBezTo>
                    <a:cubicBezTo>
                      <a:pt x="6" y="3"/>
                      <a:pt x="6" y="3"/>
                      <a:pt x="6" y="3"/>
                    </a:cubicBezTo>
                    <a:cubicBezTo>
                      <a:pt x="7" y="1"/>
                      <a:pt x="9" y="0"/>
                      <a:pt x="12" y="0"/>
                    </a:cubicBezTo>
                    <a:cubicBezTo>
                      <a:pt x="14" y="0"/>
                      <a:pt x="16" y="1"/>
                      <a:pt x="18" y="3"/>
                    </a:cubicBezTo>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 name="Freeform 22"/>
              <p:cNvSpPr>
                <a:spLocks noEditPoints="1"/>
              </p:cNvSpPr>
              <p:nvPr/>
            </p:nvSpPr>
            <p:spPr bwMode="auto">
              <a:xfrm>
                <a:off x="5821363" y="3630613"/>
                <a:ext cx="22225" cy="125413"/>
              </a:xfrm>
              <a:custGeom>
                <a:avLst/>
                <a:gdLst>
                  <a:gd name="T0" fmla="*/ 22225 w 14"/>
                  <a:gd name="T1" fmla="*/ 15875 h 79"/>
                  <a:gd name="T2" fmla="*/ 0 w 14"/>
                  <a:gd name="T3" fmla="*/ 15875 h 79"/>
                  <a:gd name="T4" fmla="*/ 0 w 14"/>
                  <a:gd name="T5" fmla="*/ 0 h 79"/>
                  <a:gd name="T6" fmla="*/ 22225 w 14"/>
                  <a:gd name="T7" fmla="*/ 0 h 79"/>
                  <a:gd name="T8" fmla="*/ 22225 w 14"/>
                  <a:gd name="T9" fmla="*/ 15875 h 79"/>
                  <a:gd name="T10" fmla="*/ 22225 w 14"/>
                  <a:gd name="T11" fmla="*/ 125413 h 79"/>
                  <a:gd name="T12" fmla="*/ 0 w 14"/>
                  <a:gd name="T13" fmla="*/ 125413 h 79"/>
                  <a:gd name="T14" fmla="*/ 0 w 14"/>
                  <a:gd name="T15" fmla="*/ 30163 h 79"/>
                  <a:gd name="T16" fmla="*/ 22225 w 14"/>
                  <a:gd name="T17" fmla="*/ 30163 h 79"/>
                  <a:gd name="T18" fmla="*/ 22225 w 14"/>
                  <a:gd name="T19" fmla="*/ 125413 h 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79">
                    <a:moveTo>
                      <a:pt x="14" y="10"/>
                    </a:moveTo>
                    <a:lnTo>
                      <a:pt x="0" y="10"/>
                    </a:lnTo>
                    <a:lnTo>
                      <a:pt x="0" y="0"/>
                    </a:lnTo>
                    <a:lnTo>
                      <a:pt x="14" y="0"/>
                    </a:lnTo>
                    <a:lnTo>
                      <a:pt x="14" y="10"/>
                    </a:lnTo>
                    <a:close/>
                    <a:moveTo>
                      <a:pt x="14" y="79"/>
                    </a:moveTo>
                    <a:lnTo>
                      <a:pt x="0" y="79"/>
                    </a:lnTo>
                    <a:lnTo>
                      <a:pt x="0" y="19"/>
                    </a:lnTo>
                    <a:lnTo>
                      <a:pt x="14" y="19"/>
                    </a:lnTo>
                    <a:lnTo>
                      <a:pt x="14" y="79"/>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7" name="Freeform 23"/>
              <p:cNvSpPr>
                <a:spLocks/>
              </p:cNvSpPr>
              <p:nvPr/>
            </p:nvSpPr>
            <p:spPr bwMode="auto">
              <a:xfrm>
                <a:off x="5897563" y="3630613"/>
                <a:ext cx="74613" cy="125413"/>
              </a:xfrm>
              <a:custGeom>
                <a:avLst/>
                <a:gdLst>
                  <a:gd name="T0" fmla="*/ 74613 w 20"/>
                  <a:gd name="T1" fmla="*/ 83609 h 33"/>
                  <a:gd name="T2" fmla="*/ 63421 w 20"/>
                  <a:gd name="T3" fmla="*/ 114012 h 33"/>
                  <a:gd name="T4" fmla="*/ 33576 w 20"/>
                  <a:gd name="T5" fmla="*/ 125413 h 33"/>
                  <a:gd name="T6" fmla="*/ 0 w 20"/>
                  <a:gd name="T7" fmla="*/ 110211 h 33"/>
                  <a:gd name="T8" fmla="*/ 18653 w 20"/>
                  <a:gd name="T9" fmla="*/ 95010 h 33"/>
                  <a:gd name="T10" fmla="*/ 33576 w 20"/>
                  <a:gd name="T11" fmla="*/ 102611 h 33"/>
                  <a:gd name="T12" fmla="*/ 52229 w 20"/>
                  <a:gd name="T13" fmla="*/ 83609 h 33"/>
                  <a:gd name="T14" fmla="*/ 52229 w 20"/>
                  <a:gd name="T15" fmla="*/ 0 h 33"/>
                  <a:gd name="T16" fmla="*/ 74613 w 20"/>
                  <a:gd name="T17" fmla="*/ 0 h 33"/>
                  <a:gd name="T18" fmla="*/ 74613 w 20"/>
                  <a:gd name="T19" fmla="*/ 83609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33">
                    <a:moveTo>
                      <a:pt x="20" y="22"/>
                    </a:moveTo>
                    <a:cubicBezTo>
                      <a:pt x="20" y="25"/>
                      <a:pt x="19" y="28"/>
                      <a:pt x="17" y="30"/>
                    </a:cubicBezTo>
                    <a:cubicBezTo>
                      <a:pt x="15" y="32"/>
                      <a:pt x="12" y="33"/>
                      <a:pt x="9" y="33"/>
                    </a:cubicBezTo>
                    <a:cubicBezTo>
                      <a:pt x="5" y="33"/>
                      <a:pt x="3" y="32"/>
                      <a:pt x="0" y="29"/>
                    </a:cubicBezTo>
                    <a:cubicBezTo>
                      <a:pt x="5" y="25"/>
                      <a:pt x="5" y="25"/>
                      <a:pt x="5" y="25"/>
                    </a:cubicBezTo>
                    <a:cubicBezTo>
                      <a:pt x="6" y="27"/>
                      <a:pt x="7" y="27"/>
                      <a:pt x="9" y="27"/>
                    </a:cubicBezTo>
                    <a:cubicBezTo>
                      <a:pt x="12" y="27"/>
                      <a:pt x="14" y="25"/>
                      <a:pt x="14" y="22"/>
                    </a:cubicBezTo>
                    <a:cubicBezTo>
                      <a:pt x="14" y="0"/>
                      <a:pt x="14" y="0"/>
                      <a:pt x="14" y="0"/>
                    </a:cubicBezTo>
                    <a:cubicBezTo>
                      <a:pt x="20" y="0"/>
                      <a:pt x="20" y="0"/>
                      <a:pt x="20" y="0"/>
                    </a:cubicBezTo>
                    <a:lnTo>
                      <a:pt x="20" y="2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8" name="Freeform 24"/>
              <p:cNvSpPr>
                <a:spLocks noEditPoints="1"/>
              </p:cNvSpPr>
              <p:nvPr/>
            </p:nvSpPr>
            <p:spPr bwMode="auto">
              <a:xfrm>
                <a:off x="5994400" y="3660776"/>
                <a:ext cx="79375" cy="95250"/>
              </a:xfrm>
              <a:custGeom>
                <a:avLst/>
                <a:gdLst>
                  <a:gd name="T0" fmla="*/ 22679 w 21"/>
                  <a:gd name="T1" fmla="*/ 38100 h 25"/>
                  <a:gd name="T2" fmla="*/ 22679 w 21"/>
                  <a:gd name="T3" fmla="*/ 30480 h 25"/>
                  <a:gd name="T4" fmla="*/ 37798 w 21"/>
                  <a:gd name="T5" fmla="*/ 19050 h 25"/>
                  <a:gd name="T6" fmla="*/ 52917 w 21"/>
                  <a:gd name="T7" fmla="*/ 30480 h 25"/>
                  <a:gd name="T8" fmla="*/ 56696 w 21"/>
                  <a:gd name="T9" fmla="*/ 38100 h 25"/>
                  <a:gd name="T10" fmla="*/ 22679 w 21"/>
                  <a:gd name="T11" fmla="*/ 38100 h 25"/>
                  <a:gd name="T12" fmla="*/ 79375 w 21"/>
                  <a:gd name="T13" fmla="*/ 45720 h 25"/>
                  <a:gd name="T14" fmla="*/ 68036 w 21"/>
                  <a:gd name="T15" fmla="*/ 15240 h 25"/>
                  <a:gd name="T16" fmla="*/ 37798 w 21"/>
                  <a:gd name="T17" fmla="*/ 0 h 25"/>
                  <a:gd name="T18" fmla="*/ 11339 w 21"/>
                  <a:gd name="T19" fmla="*/ 11430 h 25"/>
                  <a:gd name="T20" fmla="*/ 0 w 21"/>
                  <a:gd name="T21" fmla="*/ 49530 h 25"/>
                  <a:gd name="T22" fmla="*/ 41577 w 21"/>
                  <a:gd name="T23" fmla="*/ 95250 h 25"/>
                  <a:gd name="T24" fmla="*/ 60476 w 21"/>
                  <a:gd name="T25" fmla="*/ 91440 h 25"/>
                  <a:gd name="T26" fmla="*/ 75595 w 21"/>
                  <a:gd name="T27" fmla="*/ 80010 h 25"/>
                  <a:gd name="T28" fmla="*/ 60476 w 21"/>
                  <a:gd name="T29" fmla="*/ 68580 h 25"/>
                  <a:gd name="T30" fmla="*/ 41577 w 21"/>
                  <a:gd name="T31" fmla="*/ 76200 h 25"/>
                  <a:gd name="T32" fmla="*/ 26458 w 21"/>
                  <a:gd name="T33" fmla="*/ 68580 h 25"/>
                  <a:gd name="T34" fmla="*/ 22679 w 21"/>
                  <a:gd name="T35" fmla="*/ 53340 h 25"/>
                  <a:gd name="T36" fmla="*/ 79375 w 21"/>
                  <a:gd name="T37" fmla="*/ 53340 h 25"/>
                  <a:gd name="T38" fmla="*/ 79375 w 21"/>
                  <a:gd name="T39" fmla="*/ 4572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6" y="8"/>
                    </a:cubicBezTo>
                    <a:cubicBezTo>
                      <a:pt x="7" y="6"/>
                      <a:pt x="8" y="5"/>
                      <a:pt x="10" y="5"/>
                    </a:cubicBezTo>
                    <a:cubicBezTo>
                      <a:pt x="12" y="5"/>
                      <a:pt x="14" y="6"/>
                      <a:pt x="14" y="8"/>
                    </a:cubicBezTo>
                    <a:cubicBezTo>
                      <a:pt x="15" y="8"/>
                      <a:pt x="15" y="9"/>
                      <a:pt x="15" y="10"/>
                    </a:cubicBezTo>
                    <a:lnTo>
                      <a:pt x="6" y="10"/>
                    </a:lnTo>
                    <a:close/>
                    <a:moveTo>
                      <a:pt x="21" y="12"/>
                    </a:moveTo>
                    <a:cubicBezTo>
                      <a:pt x="21" y="8"/>
                      <a:pt x="20" y="6"/>
                      <a:pt x="18" y="4"/>
                    </a:cubicBezTo>
                    <a:cubicBezTo>
                      <a:pt x="16" y="1"/>
                      <a:pt x="14" y="0"/>
                      <a:pt x="10" y="0"/>
                    </a:cubicBezTo>
                    <a:cubicBezTo>
                      <a:pt x="7" y="0"/>
                      <a:pt x="5" y="1"/>
                      <a:pt x="3" y="3"/>
                    </a:cubicBezTo>
                    <a:cubicBezTo>
                      <a:pt x="1" y="6"/>
                      <a:pt x="0" y="9"/>
                      <a:pt x="0" y="13"/>
                    </a:cubicBezTo>
                    <a:cubicBezTo>
                      <a:pt x="0" y="21"/>
                      <a:pt x="4" y="25"/>
                      <a:pt x="11" y="25"/>
                    </a:cubicBezTo>
                    <a:cubicBezTo>
                      <a:pt x="13" y="25"/>
                      <a:pt x="15" y="25"/>
                      <a:pt x="16" y="24"/>
                    </a:cubicBezTo>
                    <a:cubicBezTo>
                      <a:pt x="18" y="23"/>
                      <a:pt x="19" y="22"/>
                      <a:pt x="20" y="21"/>
                    </a:cubicBezTo>
                    <a:cubicBezTo>
                      <a:pt x="16" y="18"/>
                      <a:pt x="16" y="18"/>
                      <a:pt x="16" y="18"/>
                    </a:cubicBezTo>
                    <a:cubicBezTo>
                      <a:pt x="15" y="19"/>
                      <a:pt x="13" y="20"/>
                      <a:pt x="11" y="20"/>
                    </a:cubicBezTo>
                    <a:cubicBezTo>
                      <a:pt x="9" y="20"/>
                      <a:pt x="8" y="19"/>
                      <a:pt x="7" y="18"/>
                    </a:cubicBezTo>
                    <a:cubicBezTo>
                      <a:pt x="6"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9" name="Freeform 25"/>
              <p:cNvSpPr>
                <a:spLocks noEditPoints="1"/>
              </p:cNvSpPr>
              <p:nvPr/>
            </p:nvSpPr>
            <p:spPr bwMode="auto">
              <a:xfrm>
                <a:off x="6089650" y="3660776"/>
                <a:ext cx="77788" cy="95250"/>
              </a:xfrm>
              <a:custGeom>
                <a:avLst/>
                <a:gdLst>
                  <a:gd name="T0" fmla="*/ 22225 w 21"/>
                  <a:gd name="T1" fmla="*/ 38100 h 25"/>
                  <a:gd name="T2" fmla="*/ 25929 w 21"/>
                  <a:gd name="T3" fmla="*/ 30480 h 25"/>
                  <a:gd name="T4" fmla="*/ 40746 w 21"/>
                  <a:gd name="T5" fmla="*/ 19050 h 25"/>
                  <a:gd name="T6" fmla="*/ 55563 w 21"/>
                  <a:gd name="T7" fmla="*/ 30480 h 25"/>
                  <a:gd name="T8" fmla="*/ 55563 w 21"/>
                  <a:gd name="T9" fmla="*/ 38100 h 25"/>
                  <a:gd name="T10" fmla="*/ 22225 w 21"/>
                  <a:gd name="T11" fmla="*/ 38100 h 25"/>
                  <a:gd name="T12" fmla="*/ 77788 w 21"/>
                  <a:gd name="T13" fmla="*/ 45720 h 25"/>
                  <a:gd name="T14" fmla="*/ 66675 w 21"/>
                  <a:gd name="T15" fmla="*/ 15240 h 25"/>
                  <a:gd name="T16" fmla="*/ 40746 w 21"/>
                  <a:gd name="T17" fmla="*/ 0 h 25"/>
                  <a:gd name="T18" fmla="*/ 11113 w 21"/>
                  <a:gd name="T19" fmla="*/ 11430 h 25"/>
                  <a:gd name="T20" fmla="*/ 0 w 21"/>
                  <a:gd name="T21" fmla="*/ 49530 h 25"/>
                  <a:gd name="T22" fmla="*/ 40746 w 21"/>
                  <a:gd name="T23" fmla="*/ 95250 h 25"/>
                  <a:gd name="T24" fmla="*/ 62971 w 21"/>
                  <a:gd name="T25" fmla="*/ 91440 h 25"/>
                  <a:gd name="T26" fmla="*/ 74084 w 21"/>
                  <a:gd name="T27" fmla="*/ 80010 h 25"/>
                  <a:gd name="T28" fmla="*/ 62971 w 21"/>
                  <a:gd name="T29" fmla="*/ 68580 h 25"/>
                  <a:gd name="T30" fmla="*/ 40746 w 21"/>
                  <a:gd name="T31" fmla="*/ 76200 h 25"/>
                  <a:gd name="T32" fmla="*/ 25929 w 21"/>
                  <a:gd name="T33" fmla="*/ 68580 h 25"/>
                  <a:gd name="T34" fmla="*/ 22225 w 21"/>
                  <a:gd name="T35" fmla="*/ 53340 h 25"/>
                  <a:gd name="T36" fmla="*/ 77788 w 21"/>
                  <a:gd name="T37" fmla="*/ 53340 h 25"/>
                  <a:gd name="T38" fmla="*/ 77788 w 21"/>
                  <a:gd name="T39" fmla="*/ 4572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 h="25">
                    <a:moveTo>
                      <a:pt x="6" y="10"/>
                    </a:moveTo>
                    <a:cubicBezTo>
                      <a:pt x="6" y="9"/>
                      <a:pt x="6" y="8"/>
                      <a:pt x="7" y="8"/>
                    </a:cubicBezTo>
                    <a:cubicBezTo>
                      <a:pt x="7" y="6"/>
                      <a:pt x="9" y="5"/>
                      <a:pt x="11" y="5"/>
                    </a:cubicBezTo>
                    <a:cubicBezTo>
                      <a:pt x="13" y="5"/>
                      <a:pt x="14" y="6"/>
                      <a:pt x="15" y="8"/>
                    </a:cubicBezTo>
                    <a:cubicBezTo>
                      <a:pt x="15" y="8"/>
                      <a:pt x="15" y="9"/>
                      <a:pt x="15" y="10"/>
                    </a:cubicBezTo>
                    <a:lnTo>
                      <a:pt x="6" y="10"/>
                    </a:lnTo>
                    <a:close/>
                    <a:moveTo>
                      <a:pt x="21" y="12"/>
                    </a:moveTo>
                    <a:cubicBezTo>
                      <a:pt x="21" y="8"/>
                      <a:pt x="20" y="6"/>
                      <a:pt x="18" y="4"/>
                    </a:cubicBezTo>
                    <a:cubicBezTo>
                      <a:pt x="17" y="1"/>
                      <a:pt x="14" y="0"/>
                      <a:pt x="11" y="0"/>
                    </a:cubicBezTo>
                    <a:cubicBezTo>
                      <a:pt x="8" y="0"/>
                      <a:pt x="5" y="1"/>
                      <a:pt x="3" y="3"/>
                    </a:cubicBezTo>
                    <a:cubicBezTo>
                      <a:pt x="1" y="6"/>
                      <a:pt x="0" y="9"/>
                      <a:pt x="0" y="13"/>
                    </a:cubicBezTo>
                    <a:cubicBezTo>
                      <a:pt x="0" y="21"/>
                      <a:pt x="4" y="25"/>
                      <a:pt x="11" y="25"/>
                    </a:cubicBezTo>
                    <a:cubicBezTo>
                      <a:pt x="13" y="25"/>
                      <a:pt x="15" y="25"/>
                      <a:pt x="17" y="24"/>
                    </a:cubicBezTo>
                    <a:cubicBezTo>
                      <a:pt x="18" y="23"/>
                      <a:pt x="19" y="22"/>
                      <a:pt x="20" y="21"/>
                    </a:cubicBezTo>
                    <a:cubicBezTo>
                      <a:pt x="17" y="18"/>
                      <a:pt x="17" y="18"/>
                      <a:pt x="17" y="18"/>
                    </a:cubicBezTo>
                    <a:cubicBezTo>
                      <a:pt x="15" y="19"/>
                      <a:pt x="13" y="20"/>
                      <a:pt x="11" y="20"/>
                    </a:cubicBezTo>
                    <a:cubicBezTo>
                      <a:pt x="10" y="20"/>
                      <a:pt x="8" y="19"/>
                      <a:pt x="7" y="18"/>
                    </a:cubicBezTo>
                    <a:cubicBezTo>
                      <a:pt x="7" y="17"/>
                      <a:pt x="6" y="16"/>
                      <a:pt x="6" y="14"/>
                    </a:cubicBezTo>
                    <a:cubicBezTo>
                      <a:pt x="21" y="14"/>
                      <a:pt x="21" y="14"/>
                      <a:pt x="21" y="14"/>
                    </a:cubicBezTo>
                    <a:lnTo>
                      <a:pt x="21" y="12"/>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 name="Freeform 26"/>
              <p:cNvSpPr>
                <a:spLocks/>
              </p:cNvSpPr>
              <p:nvPr/>
            </p:nvSpPr>
            <p:spPr bwMode="auto">
              <a:xfrm>
                <a:off x="6183313" y="3638551"/>
                <a:ext cx="49213" cy="117475"/>
              </a:xfrm>
              <a:custGeom>
                <a:avLst/>
                <a:gdLst>
                  <a:gd name="T0" fmla="*/ 49213 w 13"/>
                  <a:gd name="T1" fmla="*/ 117475 h 31"/>
                  <a:gd name="T2" fmla="*/ 34071 w 13"/>
                  <a:gd name="T3" fmla="*/ 117475 h 31"/>
                  <a:gd name="T4" fmla="*/ 15142 w 13"/>
                  <a:gd name="T5" fmla="*/ 106106 h 31"/>
                  <a:gd name="T6" fmla="*/ 7571 w 13"/>
                  <a:gd name="T7" fmla="*/ 90948 h 31"/>
                  <a:gd name="T8" fmla="*/ 7571 w 13"/>
                  <a:gd name="T9" fmla="*/ 45474 h 31"/>
                  <a:gd name="T10" fmla="*/ 0 w 13"/>
                  <a:gd name="T11" fmla="*/ 45474 h 31"/>
                  <a:gd name="T12" fmla="*/ 0 w 13"/>
                  <a:gd name="T13" fmla="*/ 26527 h 31"/>
                  <a:gd name="T14" fmla="*/ 7571 w 13"/>
                  <a:gd name="T15" fmla="*/ 26527 h 31"/>
                  <a:gd name="T16" fmla="*/ 7571 w 13"/>
                  <a:gd name="T17" fmla="*/ 0 h 31"/>
                  <a:gd name="T18" fmla="*/ 30285 w 13"/>
                  <a:gd name="T19" fmla="*/ 0 h 31"/>
                  <a:gd name="T20" fmla="*/ 30285 w 13"/>
                  <a:gd name="T21" fmla="*/ 26527 h 31"/>
                  <a:gd name="T22" fmla="*/ 49213 w 13"/>
                  <a:gd name="T23" fmla="*/ 26527 h 31"/>
                  <a:gd name="T24" fmla="*/ 49213 w 13"/>
                  <a:gd name="T25" fmla="*/ 45474 h 31"/>
                  <a:gd name="T26" fmla="*/ 30285 w 13"/>
                  <a:gd name="T27" fmla="*/ 45474 h 31"/>
                  <a:gd name="T28" fmla="*/ 30285 w 13"/>
                  <a:gd name="T29" fmla="*/ 87159 h 31"/>
                  <a:gd name="T30" fmla="*/ 37856 w 13"/>
                  <a:gd name="T31" fmla="*/ 94738 h 31"/>
                  <a:gd name="T32" fmla="*/ 49213 w 13"/>
                  <a:gd name="T33" fmla="*/ 94738 h 31"/>
                  <a:gd name="T34" fmla="*/ 49213 w 13"/>
                  <a:gd name="T35" fmla="*/ 117475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31">
                    <a:moveTo>
                      <a:pt x="13" y="31"/>
                    </a:moveTo>
                    <a:cubicBezTo>
                      <a:pt x="9" y="31"/>
                      <a:pt x="9" y="31"/>
                      <a:pt x="9" y="31"/>
                    </a:cubicBezTo>
                    <a:cubicBezTo>
                      <a:pt x="7" y="31"/>
                      <a:pt x="5" y="30"/>
                      <a:pt x="4" y="28"/>
                    </a:cubicBezTo>
                    <a:cubicBezTo>
                      <a:pt x="3" y="27"/>
                      <a:pt x="2" y="26"/>
                      <a:pt x="2" y="24"/>
                    </a:cubicBezTo>
                    <a:cubicBezTo>
                      <a:pt x="2" y="12"/>
                      <a:pt x="2" y="12"/>
                      <a:pt x="2" y="12"/>
                    </a:cubicBezTo>
                    <a:cubicBezTo>
                      <a:pt x="0" y="12"/>
                      <a:pt x="0" y="12"/>
                      <a:pt x="0" y="12"/>
                    </a:cubicBezTo>
                    <a:cubicBezTo>
                      <a:pt x="0" y="7"/>
                      <a:pt x="0" y="7"/>
                      <a:pt x="0" y="7"/>
                    </a:cubicBezTo>
                    <a:cubicBezTo>
                      <a:pt x="2" y="7"/>
                      <a:pt x="2" y="7"/>
                      <a:pt x="2" y="7"/>
                    </a:cubicBezTo>
                    <a:cubicBezTo>
                      <a:pt x="2" y="0"/>
                      <a:pt x="2" y="0"/>
                      <a:pt x="2" y="0"/>
                    </a:cubicBezTo>
                    <a:cubicBezTo>
                      <a:pt x="8" y="0"/>
                      <a:pt x="8" y="0"/>
                      <a:pt x="8" y="0"/>
                    </a:cubicBezTo>
                    <a:cubicBezTo>
                      <a:pt x="8" y="7"/>
                      <a:pt x="8" y="7"/>
                      <a:pt x="8" y="7"/>
                    </a:cubicBezTo>
                    <a:cubicBezTo>
                      <a:pt x="13" y="7"/>
                      <a:pt x="13" y="7"/>
                      <a:pt x="13" y="7"/>
                    </a:cubicBezTo>
                    <a:cubicBezTo>
                      <a:pt x="13" y="12"/>
                      <a:pt x="13" y="12"/>
                      <a:pt x="13" y="12"/>
                    </a:cubicBezTo>
                    <a:cubicBezTo>
                      <a:pt x="8" y="12"/>
                      <a:pt x="8" y="12"/>
                      <a:pt x="8" y="12"/>
                    </a:cubicBezTo>
                    <a:cubicBezTo>
                      <a:pt x="8" y="23"/>
                      <a:pt x="8" y="23"/>
                      <a:pt x="8" y="23"/>
                    </a:cubicBezTo>
                    <a:cubicBezTo>
                      <a:pt x="8" y="25"/>
                      <a:pt x="9" y="25"/>
                      <a:pt x="10" y="25"/>
                    </a:cubicBezTo>
                    <a:cubicBezTo>
                      <a:pt x="13" y="25"/>
                      <a:pt x="13" y="25"/>
                      <a:pt x="13" y="25"/>
                    </a:cubicBezTo>
                    <a:lnTo>
                      <a:pt x="13" y="31"/>
                    </a:lnTo>
                    <a:close/>
                  </a:path>
                </a:pathLst>
              </a:custGeom>
              <a:solidFill>
                <a:srgbClr val="2B25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1" name="Rectangle 27"/>
              <p:cNvSpPr>
                <a:spLocks noChangeArrowheads="1"/>
              </p:cNvSpPr>
              <p:nvPr/>
            </p:nvSpPr>
            <p:spPr bwMode="auto">
              <a:xfrm>
                <a:off x="6249988" y="3729038"/>
                <a:ext cx="26988" cy="26988"/>
              </a:xfrm>
              <a:prstGeom prst="rect">
                <a:avLst/>
              </a:prstGeom>
              <a:solidFill>
                <a:srgbClr val="2B252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nvGrpSpPr>
            <p:cNvPr id="6" name="Group 8"/>
            <p:cNvGrpSpPr>
              <a:grpSpLocks/>
            </p:cNvGrpSpPr>
            <p:nvPr/>
          </p:nvGrpSpPr>
          <p:grpSpPr bwMode="auto">
            <a:xfrm>
              <a:off x="2863850" y="3078163"/>
              <a:ext cx="3413126" cy="552450"/>
              <a:chOff x="2863850" y="3078163"/>
              <a:chExt cx="3413126" cy="552450"/>
            </a:xfrm>
          </p:grpSpPr>
          <p:sp>
            <p:nvSpPr>
              <p:cNvPr id="7" name="Freeform 28"/>
              <p:cNvSpPr>
                <a:spLocks/>
              </p:cNvSpPr>
              <p:nvPr/>
            </p:nvSpPr>
            <p:spPr bwMode="auto">
              <a:xfrm>
                <a:off x="4772025" y="3273426"/>
                <a:ext cx="157163" cy="158750"/>
              </a:xfrm>
              <a:custGeom>
                <a:avLst/>
                <a:gdLst>
                  <a:gd name="T0" fmla="*/ 48646 w 42"/>
                  <a:gd name="T1" fmla="*/ 120952 h 42"/>
                  <a:gd name="T2" fmla="*/ 157163 w 42"/>
                  <a:gd name="T3" fmla="*/ 120952 h 42"/>
                  <a:gd name="T4" fmla="*/ 157163 w 42"/>
                  <a:gd name="T5" fmla="*/ 158750 h 42"/>
                  <a:gd name="T6" fmla="*/ 0 w 42"/>
                  <a:gd name="T7" fmla="*/ 158750 h 42"/>
                  <a:gd name="T8" fmla="*/ 0 w 42"/>
                  <a:gd name="T9" fmla="*/ 0 h 42"/>
                  <a:gd name="T10" fmla="*/ 14968 w 42"/>
                  <a:gd name="T11" fmla="*/ 0 h 42"/>
                  <a:gd name="T12" fmla="*/ 48646 w 42"/>
                  <a:gd name="T13" fmla="*/ 26458 h 42"/>
                  <a:gd name="T14" fmla="*/ 48646 w 42"/>
                  <a:gd name="T15" fmla="*/ 120952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2">
                    <a:moveTo>
                      <a:pt x="13" y="32"/>
                    </a:moveTo>
                    <a:cubicBezTo>
                      <a:pt x="42" y="32"/>
                      <a:pt x="42" y="32"/>
                      <a:pt x="42" y="32"/>
                    </a:cubicBezTo>
                    <a:cubicBezTo>
                      <a:pt x="42" y="42"/>
                      <a:pt x="42" y="42"/>
                      <a:pt x="42" y="42"/>
                    </a:cubicBezTo>
                    <a:cubicBezTo>
                      <a:pt x="0" y="42"/>
                      <a:pt x="0" y="42"/>
                      <a:pt x="0" y="42"/>
                    </a:cubicBezTo>
                    <a:cubicBezTo>
                      <a:pt x="0" y="0"/>
                      <a:pt x="0" y="0"/>
                      <a:pt x="0" y="0"/>
                    </a:cubicBezTo>
                    <a:cubicBezTo>
                      <a:pt x="4" y="0"/>
                      <a:pt x="4" y="0"/>
                      <a:pt x="4" y="0"/>
                    </a:cubicBezTo>
                    <a:cubicBezTo>
                      <a:pt x="10" y="0"/>
                      <a:pt x="13" y="2"/>
                      <a:pt x="13" y="7"/>
                    </a:cubicBezTo>
                    <a:lnTo>
                      <a:pt x="13" y="3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8" name="Freeform 29"/>
              <p:cNvSpPr>
                <a:spLocks/>
              </p:cNvSpPr>
              <p:nvPr/>
            </p:nvSpPr>
            <p:spPr bwMode="auto">
              <a:xfrm>
                <a:off x="4462463" y="3273426"/>
                <a:ext cx="211138" cy="158750"/>
              </a:xfrm>
              <a:custGeom>
                <a:avLst/>
                <a:gdLst>
                  <a:gd name="T0" fmla="*/ 49014 w 56"/>
                  <a:gd name="T1" fmla="*/ 60476 h 42"/>
                  <a:gd name="T2" fmla="*/ 67866 w 56"/>
                  <a:gd name="T3" fmla="*/ 60476 h 42"/>
                  <a:gd name="T4" fmla="*/ 116880 w 56"/>
                  <a:gd name="T5" fmla="*/ 15119 h 42"/>
                  <a:gd name="T6" fmla="*/ 162124 w 56"/>
                  <a:gd name="T7" fmla="*/ 0 h 42"/>
                  <a:gd name="T8" fmla="*/ 199827 w 56"/>
                  <a:gd name="T9" fmla="*/ 0 h 42"/>
                  <a:gd name="T10" fmla="*/ 113110 w 56"/>
                  <a:gd name="T11" fmla="*/ 79375 h 42"/>
                  <a:gd name="T12" fmla="*/ 211138 w 56"/>
                  <a:gd name="T13" fmla="*/ 158750 h 42"/>
                  <a:gd name="T14" fmla="*/ 173435 w 56"/>
                  <a:gd name="T15" fmla="*/ 158750 h 42"/>
                  <a:gd name="T16" fmla="*/ 124421 w 56"/>
                  <a:gd name="T17" fmla="*/ 143631 h 42"/>
                  <a:gd name="T18" fmla="*/ 67866 w 56"/>
                  <a:gd name="T19" fmla="*/ 98274 h 42"/>
                  <a:gd name="T20" fmla="*/ 49014 w 56"/>
                  <a:gd name="T21" fmla="*/ 98274 h 42"/>
                  <a:gd name="T22" fmla="*/ 49014 w 56"/>
                  <a:gd name="T23" fmla="*/ 158750 h 42"/>
                  <a:gd name="T24" fmla="*/ 0 w 56"/>
                  <a:gd name="T25" fmla="*/ 158750 h 42"/>
                  <a:gd name="T26" fmla="*/ 0 w 56"/>
                  <a:gd name="T27" fmla="*/ 0 h 42"/>
                  <a:gd name="T28" fmla="*/ 49014 w 56"/>
                  <a:gd name="T29" fmla="*/ 0 h 42"/>
                  <a:gd name="T30" fmla="*/ 49014 w 56"/>
                  <a:gd name="T31" fmla="*/ 60476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6" h="42">
                    <a:moveTo>
                      <a:pt x="13" y="16"/>
                    </a:moveTo>
                    <a:cubicBezTo>
                      <a:pt x="18" y="16"/>
                      <a:pt x="18" y="16"/>
                      <a:pt x="18" y="16"/>
                    </a:cubicBezTo>
                    <a:cubicBezTo>
                      <a:pt x="23" y="12"/>
                      <a:pt x="27" y="8"/>
                      <a:pt x="31" y="4"/>
                    </a:cubicBezTo>
                    <a:cubicBezTo>
                      <a:pt x="35" y="1"/>
                      <a:pt x="39" y="0"/>
                      <a:pt x="43" y="0"/>
                    </a:cubicBezTo>
                    <a:cubicBezTo>
                      <a:pt x="53" y="0"/>
                      <a:pt x="53" y="0"/>
                      <a:pt x="53" y="0"/>
                    </a:cubicBezTo>
                    <a:cubicBezTo>
                      <a:pt x="30" y="21"/>
                      <a:pt x="30" y="21"/>
                      <a:pt x="30" y="21"/>
                    </a:cubicBezTo>
                    <a:cubicBezTo>
                      <a:pt x="56" y="42"/>
                      <a:pt x="56" y="42"/>
                      <a:pt x="56" y="42"/>
                    </a:cubicBezTo>
                    <a:cubicBezTo>
                      <a:pt x="46" y="42"/>
                      <a:pt x="46" y="42"/>
                      <a:pt x="46" y="42"/>
                    </a:cubicBezTo>
                    <a:cubicBezTo>
                      <a:pt x="40" y="42"/>
                      <a:pt x="37" y="42"/>
                      <a:pt x="33" y="38"/>
                    </a:cubicBezTo>
                    <a:cubicBezTo>
                      <a:pt x="18" y="26"/>
                      <a:pt x="18" y="26"/>
                      <a:pt x="18" y="26"/>
                    </a:cubicBezTo>
                    <a:cubicBezTo>
                      <a:pt x="13" y="26"/>
                      <a:pt x="13" y="26"/>
                      <a:pt x="13" y="26"/>
                    </a:cubicBezTo>
                    <a:cubicBezTo>
                      <a:pt x="13" y="42"/>
                      <a:pt x="13" y="42"/>
                      <a:pt x="13" y="42"/>
                    </a:cubicBezTo>
                    <a:cubicBezTo>
                      <a:pt x="0" y="42"/>
                      <a:pt x="0" y="42"/>
                      <a:pt x="0" y="42"/>
                    </a:cubicBezTo>
                    <a:cubicBezTo>
                      <a:pt x="0" y="0"/>
                      <a:pt x="0" y="0"/>
                      <a:pt x="0" y="0"/>
                    </a:cubicBezTo>
                    <a:cubicBezTo>
                      <a:pt x="13" y="0"/>
                      <a:pt x="13" y="0"/>
                      <a:pt x="13" y="0"/>
                    </a:cubicBezTo>
                    <a:lnTo>
                      <a:pt x="13" y="16"/>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9" name="Freeform 30"/>
              <p:cNvSpPr>
                <a:spLocks/>
              </p:cNvSpPr>
              <p:nvPr/>
            </p:nvSpPr>
            <p:spPr bwMode="auto">
              <a:xfrm>
                <a:off x="3984625" y="3273426"/>
                <a:ext cx="203200" cy="158750"/>
              </a:xfrm>
              <a:custGeom>
                <a:avLst/>
                <a:gdLst>
                  <a:gd name="T0" fmla="*/ 48919 w 54"/>
                  <a:gd name="T1" fmla="*/ 158750 h 42"/>
                  <a:gd name="T2" fmla="*/ 0 w 54"/>
                  <a:gd name="T3" fmla="*/ 158750 h 42"/>
                  <a:gd name="T4" fmla="*/ 0 w 54"/>
                  <a:gd name="T5" fmla="*/ 0 h 42"/>
                  <a:gd name="T6" fmla="*/ 22578 w 54"/>
                  <a:gd name="T7" fmla="*/ 0 h 42"/>
                  <a:gd name="T8" fmla="*/ 48919 w 54"/>
                  <a:gd name="T9" fmla="*/ 26458 h 42"/>
                  <a:gd name="T10" fmla="*/ 48919 w 54"/>
                  <a:gd name="T11" fmla="*/ 56696 h 42"/>
                  <a:gd name="T12" fmla="*/ 150519 w 54"/>
                  <a:gd name="T13" fmla="*/ 56696 h 42"/>
                  <a:gd name="T14" fmla="*/ 150519 w 54"/>
                  <a:gd name="T15" fmla="*/ 26458 h 42"/>
                  <a:gd name="T16" fmla="*/ 180622 w 54"/>
                  <a:gd name="T17" fmla="*/ 0 h 42"/>
                  <a:gd name="T18" fmla="*/ 203200 w 54"/>
                  <a:gd name="T19" fmla="*/ 0 h 42"/>
                  <a:gd name="T20" fmla="*/ 203200 w 54"/>
                  <a:gd name="T21" fmla="*/ 30238 h 42"/>
                  <a:gd name="T22" fmla="*/ 203200 w 54"/>
                  <a:gd name="T23" fmla="*/ 158750 h 42"/>
                  <a:gd name="T24" fmla="*/ 150519 w 54"/>
                  <a:gd name="T25" fmla="*/ 158750 h 42"/>
                  <a:gd name="T26" fmla="*/ 150519 w 54"/>
                  <a:gd name="T27" fmla="*/ 98274 h 42"/>
                  <a:gd name="T28" fmla="*/ 48919 w 54"/>
                  <a:gd name="T29" fmla="*/ 98274 h 42"/>
                  <a:gd name="T30" fmla="*/ 48919 w 54"/>
                  <a:gd name="T31" fmla="*/ 158750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4" h="42">
                    <a:moveTo>
                      <a:pt x="13" y="42"/>
                    </a:moveTo>
                    <a:cubicBezTo>
                      <a:pt x="0" y="42"/>
                      <a:pt x="0" y="42"/>
                      <a:pt x="0" y="42"/>
                    </a:cubicBezTo>
                    <a:cubicBezTo>
                      <a:pt x="0" y="0"/>
                      <a:pt x="0" y="0"/>
                      <a:pt x="0" y="0"/>
                    </a:cubicBezTo>
                    <a:cubicBezTo>
                      <a:pt x="6" y="0"/>
                      <a:pt x="6" y="0"/>
                      <a:pt x="6" y="0"/>
                    </a:cubicBezTo>
                    <a:cubicBezTo>
                      <a:pt x="11" y="0"/>
                      <a:pt x="13" y="3"/>
                      <a:pt x="13" y="7"/>
                    </a:cubicBezTo>
                    <a:cubicBezTo>
                      <a:pt x="13" y="15"/>
                      <a:pt x="13" y="15"/>
                      <a:pt x="13" y="15"/>
                    </a:cubicBezTo>
                    <a:cubicBezTo>
                      <a:pt x="40" y="15"/>
                      <a:pt x="40" y="15"/>
                      <a:pt x="40" y="15"/>
                    </a:cubicBezTo>
                    <a:cubicBezTo>
                      <a:pt x="40" y="7"/>
                      <a:pt x="40" y="7"/>
                      <a:pt x="40" y="7"/>
                    </a:cubicBezTo>
                    <a:cubicBezTo>
                      <a:pt x="40" y="4"/>
                      <a:pt x="42" y="0"/>
                      <a:pt x="48" y="0"/>
                    </a:cubicBezTo>
                    <a:cubicBezTo>
                      <a:pt x="54" y="0"/>
                      <a:pt x="54" y="0"/>
                      <a:pt x="54" y="0"/>
                    </a:cubicBezTo>
                    <a:cubicBezTo>
                      <a:pt x="54" y="8"/>
                      <a:pt x="54" y="8"/>
                      <a:pt x="54" y="8"/>
                    </a:cubicBezTo>
                    <a:cubicBezTo>
                      <a:pt x="54" y="42"/>
                      <a:pt x="54" y="42"/>
                      <a:pt x="54" y="42"/>
                    </a:cubicBezTo>
                    <a:cubicBezTo>
                      <a:pt x="40" y="42"/>
                      <a:pt x="40" y="42"/>
                      <a:pt x="40" y="42"/>
                    </a:cubicBezTo>
                    <a:cubicBezTo>
                      <a:pt x="40" y="26"/>
                      <a:pt x="40" y="26"/>
                      <a:pt x="40" y="26"/>
                    </a:cubicBezTo>
                    <a:cubicBezTo>
                      <a:pt x="13" y="26"/>
                      <a:pt x="13" y="26"/>
                      <a:pt x="13" y="26"/>
                    </a:cubicBezTo>
                    <a:lnTo>
                      <a:pt x="13"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0" name="Freeform 31"/>
              <p:cNvSpPr>
                <a:spLocks/>
              </p:cNvSpPr>
              <p:nvPr/>
            </p:nvSpPr>
            <p:spPr bwMode="auto">
              <a:xfrm>
                <a:off x="4951413" y="3273426"/>
                <a:ext cx="180975" cy="158750"/>
              </a:xfrm>
              <a:custGeom>
                <a:avLst/>
                <a:gdLst>
                  <a:gd name="T0" fmla="*/ 180975 w 48"/>
                  <a:gd name="T1" fmla="*/ 37798 h 42"/>
                  <a:gd name="T2" fmla="*/ 52784 w 48"/>
                  <a:gd name="T3" fmla="*/ 37798 h 42"/>
                  <a:gd name="T4" fmla="*/ 52784 w 48"/>
                  <a:gd name="T5" fmla="*/ 64256 h 42"/>
                  <a:gd name="T6" fmla="*/ 180975 w 48"/>
                  <a:gd name="T7" fmla="*/ 64256 h 42"/>
                  <a:gd name="T8" fmla="*/ 180975 w 48"/>
                  <a:gd name="T9" fmla="*/ 98274 h 42"/>
                  <a:gd name="T10" fmla="*/ 52784 w 48"/>
                  <a:gd name="T11" fmla="*/ 98274 h 42"/>
                  <a:gd name="T12" fmla="*/ 52784 w 48"/>
                  <a:gd name="T13" fmla="*/ 120952 h 42"/>
                  <a:gd name="T14" fmla="*/ 180975 w 48"/>
                  <a:gd name="T15" fmla="*/ 120952 h 42"/>
                  <a:gd name="T16" fmla="*/ 180975 w 48"/>
                  <a:gd name="T17" fmla="*/ 158750 h 42"/>
                  <a:gd name="T18" fmla="*/ 0 w 48"/>
                  <a:gd name="T19" fmla="*/ 158750 h 42"/>
                  <a:gd name="T20" fmla="*/ 0 w 48"/>
                  <a:gd name="T21" fmla="*/ 37798 h 42"/>
                  <a:gd name="T22" fmla="*/ 41473 w 48"/>
                  <a:gd name="T23" fmla="*/ 0 h 42"/>
                  <a:gd name="T24" fmla="*/ 180975 w 48"/>
                  <a:gd name="T25" fmla="*/ 0 h 42"/>
                  <a:gd name="T26" fmla="*/ 180975 w 48"/>
                  <a:gd name="T27" fmla="*/ 37798 h 4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42">
                    <a:moveTo>
                      <a:pt x="48" y="10"/>
                    </a:moveTo>
                    <a:cubicBezTo>
                      <a:pt x="14" y="10"/>
                      <a:pt x="14" y="10"/>
                      <a:pt x="14" y="10"/>
                    </a:cubicBezTo>
                    <a:cubicBezTo>
                      <a:pt x="14" y="17"/>
                      <a:pt x="14" y="17"/>
                      <a:pt x="14" y="17"/>
                    </a:cubicBezTo>
                    <a:cubicBezTo>
                      <a:pt x="48" y="17"/>
                      <a:pt x="48" y="17"/>
                      <a:pt x="48" y="17"/>
                    </a:cubicBezTo>
                    <a:cubicBezTo>
                      <a:pt x="48" y="26"/>
                      <a:pt x="48" y="26"/>
                      <a:pt x="48" y="26"/>
                    </a:cubicBezTo>
                    <a:cubicBezTo>
                      <a:pt x="14" y="26"/>
                      <a:pt x="14" y="26"/>
                      <a:pt x="14" y="26"/>
                    </a:cubicBezTo>
                    <a:cubicBezTo>
                      <a:pt x="14" y="32"/>
                      <a:pt x="14" y="32"/>
                      <a:pt x="14" y="32"/>
                    </a:cubicBezTo>
                    <a:cubicBezTo>
                      <a:pt x="48" y="32"/>
                      <a:pt x="48" y="32"/>
                      <a:pt x="48" y="32"/>
                    </a:cubicBezTo>
                    <a:cubicBezTo>
                      <a:pt x="48" y="42"/>
                      <a:pt x="48" y="42"/>
                      <a:pt x="48" y="42"/>
                    </a:cubicBezTo>
                    <a:cubicBezTo>
                      <a:pt x="0" y="42"/>
                      <a:pt x="0" y="42"/>
                      <a:pt x="0" y="42"/>
                    </a:cubicBezTo>
                    <a:cubicBezTo>
                      <a:pt x="0" y="10"/>
                      <a:pt x="0" y="10"/>
                      <a:pt x="0" y="10"/>
                    </a:cubicBezTo>
                    <a:cubicBezTo>
                      <a:pt x="1" y="5"/>
                      <a:pt x="3" y="1"/>
                      <a:pt x="11" y="0"/>
                    </a:cubicBezTo>
                    <a:cubicBezTo>
                      <a:pt x="48" y="0"/>
                      <a:pt x="48" y="0"/>
                      <a:pt x="48" y="0"/>
                    </a:cubicBezTo>
                    <a:lnTo>
                      <a:pt x="48" y="1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1" name="Freeform 32"/>
              <p:cNvSpPr>
                <a:spLocks/>
              </p:cNvSpPr>
              <p:nvPr/>
            </p:nvSpPr>
            <p:spPr bwMode="auto">
              <a:xfrm>
                <a:off x="5143500" y="3273426"/>
                <a:ext cx="233363" cy="158750"/>
              </a:xfrm>
              <a:custGeom>
                <a:avLst/>
                <a:gdLst>
                  <a:gd name="T0" fmla="*/ 143029 w 62"/>
                  <a:gd name="T1" fmla="*/ 158750 h 42"/>
                  <a:gd name="T2" fmla="*/ 90334 w 62"/>
                  <a:gd name="T3" fmla="*/ 158750 h 42"/>
                  <a:gd name="T4" fmla="*/ 90334 w 62"/>
                  <a:gd name="T5" fmla="*/ 102054 h 42"/>
                  <a:gd name="T6" fmla="*/ 0 w 62"/>
                  <a:gd name="T7" fmla="*/ 0 h 42"/>
                  <a:gd name="T8" fmla="*/ 41403 w 62"/>
                  <a:gd name="T9" fmla="*/ 0 h 42"/>
                  <a:gd name="T10" fmla="*/ 75278 w 62"/>
                  <a:gd name="T11" fmla="*/ 15119 h 42"/>
                  <a:gd name="T12" fmla="*/ 116682 w 62"/>
                  <a:gd name="T13" fmla="*/ 64256 h 42"/>
                  <a:gd name="T14" fmla="*/ 158085 w 62"/>
                  <a:gd name="T15" fmla="*/ 15119 h 42"/>
                  <a:gd name="T16" fmla="*/ 199488 w 62"/>
                  <a:gd name="T17" fmla="*/ 0 h 42"/>
                  <a:gd name="T18" fmla="*/ 233363 w 62"/>
                  <a:gd name="T19" fmla="*/ 0 h 42"/>
                  <a:gd name="T20" fmla="*/ 143029 w 62"/>
                  <a:gd name="T21" fmla="*/ 102054 h 42"/>
                  <a:gd name="T22" fmla="*/ 143029 w 62"/>
                  <a:gd name="T23" fmla="*/ 158750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2" h="42">
                    <a:moveTo>
                      <a:pt x="38" y="42"/>
                    </a:moveTo>
                    <a:cubicBezTo>
                      <a:pt x="24" y="42"/>
                      <a:pt x="24" y="42"/>
                      <a:pt x="24" y="42"/>
                    </a:cubicBezTo>
                    <a:cubicBezTo>
                      <a:pt x="24" y="27"/>
                      <a:pt x="24" y="27"/>
                      <a:pt x="24" y="27"/>
                    </a:cubicBezTo>
                    <a:cubicBezTo>
                      <a:pt x="0" y="0"/>
                      <a:pt x="0" y="0"/>
                      <a:pt x="0" y="0"/>
                    </a:cubicBezTo>
                    <a:cubicBezTo>
                      <a:pt x="11" y="0"/>
                      <a:pt x="11" y="0"/>
                      <a:pt x="11" y="0"/>
                    </a:cubicBezTo>
                    <a:cubicBezTo>
                      <a:pt x="14" y="0"/>
                      <a:pt x="17" y="1"/>
                      <a:pt x="20" y="4"/>
                    </a:cubicBezTo>
                    <a:cubicBezTo>
                      <a:pt x="31" y="17"/>
                      <a:pt x="31" y="17"/>
                      <a:pt x="31" y="17"/>
                    </a:cubicBezTo>
                    <a:cubicBezTo>
                      <a:pt x="35" y="13"/>
                      <a:pt x="38" y="9"/>
                      <a:pt x="42" y="4"/>
                    </a:cubicBezTo>
                    <a:cubicBezTo>
                      <a:pt x="44" y="2"/>
                      <a:pt x="47" y="0"/>
                      <a:pt x="53" y="0"/>
                    </a:cubicBezTo>
                    <a:cubicBezTo>
                      <a:pt x="62" y="0"/>
                      <a:pt x="62" y="0"/>
                      <a:pt x="62" y="0"/>
                    </a:cubicBezTo>
                    <a:cubicBezTo>
                      <a:pt x="38" y="27"/>
                      <a:pt x="38" y="27"/>
                      <a:pt x="38" y="27"/>
                    </a:cubicBezTo>
                    <a:lnTo>
                      <a:pt x="38"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2" name="Freeform 33"/>
              <p:cNvSpPr>
                <a:spLocks/>
              </p:cNvSpPr>
              <p:nvPr/>
            </p:nvSpPr>
            <p:spPr bwMode="auto">
              <a:xfrm>
                <a:off x="5389563" y="3273426"/>
                <a:ext cx="157163" cy="158750"/>
              </a:xfrm>
              <a:custGeom>
                <a:avLst/>
                <a:gdLst>
                  <a:gd name="T0" fmla="*/ 48646 w 42"/>
                  <a:gd name="T1" fmla="*/ 120952 h 42"/>
                  <a:gd name="T2" fmla="*/ 157163 w 42"/>
                  <a:gd name="T3" fmla="*/ 120952 h 42"/>
                  <a:gd name="T4" fmla="*/ 157163 w 42"/>
                  <a:gd name="T5" fmla="*/ 158750 h 42"/>
                  <a:gd name="T6" fmla="*/ 0 w 42"/>
                  <a:gd name="T7" fmla="*/ 158750 h 42"/>
                  <a:gd name="T8" fmla="*/ 0 w 42"/>
                  <a:gd name="T9" fmla="*/ 0 h 42"/>
                  <a:gd name="T10" fmla="*/ 18710 w 42"/>
                  <a:gd name="T11" fmla="*/ 0 h 42"/>
                  <a:gd name="T12" fmla="*/ 48646 w 42"/>
                  <a:gd name="T13" fmla="*/ 26458 h 42"/>
                  <a:gd name="T14" fmla="*/ 48646 w 42"/>
                  <a:gd name="T15" fmla="*/ 120952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2">
                    <a:moveTo>
                      <a:pt x="13" y="32"/>
                    </a:moveTo>
                    <a:cubicBezTo>
                      <a:pt x="42" y="32"/>
                      <a:pt x="42" y="32"/>
                      <a:pt x="42" y="32"/>
                    </a:cubicBezTo>
                    <a:cubicBezTo>
                      <a:pt x="42" y="42"/>
                      <a:pt x="42" y="42"/>
                      <a:pt x="42" y="42"/>
                    </a:cubicBezTo>
                    <a:cubicBezTo>
                      <a:pt x="0" y="42"/>
                      <a:pt x="0" y="42"/>
                      <a:pt x="0" y="42"/>
                    </a:cubicBezTo>
                    <a:cubicBezTo>
                      <a:pt x="0" y="0"/>
                      <a:pt x="0" y="0"/>
                      <a:pt x="0" y="0"/>
                    </a:cubicBezTo>
                    <a:cubicBezTo>
                      <a:pt x="5" y="0"/>
                      <a:pt x="5" y="0"/>
                      <a:pt x="5" y="0"/>
                    </a:cubicBezTo>
                    <a:cubicBezTo>
                      <a:pt x="10" y="0"/>
                      <a:pt x="13" y="2"/>
                      <a:pt x="13" y="7"/>
                    </a:cubicBezTo>
                    <a:lnTo>
                      <a:pt x="13" y="3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3" name="Freeform 34"/>
              <p:cNvSpPr>
                <a:spLocks/>
              </p:cNvSpPr>
              <p:nvPr/>
            </p:nvSpPr>
            <p:spPr bwMode="auto">
              <a:xfrm>
                <a:off x="5818188" y="3273426"/>
                <a:ext cx="222250" cy="158750"/>
              </a:xfrm>
              <a:custGeom>
                <a:avLst/>
                <a:gdLst>
                  <a:gd name="T0" fmla="*/ 222250 w 59"/>
                  <a:gd name="T1" fmla="*/ 158750 h 42"/>
                  <a:gd name="T2" fmla="*/ 146911 w 59"/>
                  <a:gd name="T3" fmla="*/ 158750 h 42"/>
                  <a:gd name="T4" fmla="*/ 48970 w 59"/>
                  <a:gd name="T5" fmla="*/ 45357 h 42"/>
                  <a:gd name="T6" fmla="*/ 48970 w 59"/>
                  <a:gd name="T7" fmla="*/ 158750 h 42"/>
                  <a:gd name="T8" fmla="*/ 0 w 59"/>
                  <a:gd name="T9" fmla="*/ 158750 h 42"/>
                  <a:gd name="T10" fmla="*/ 0 w 59"/>
                  <a:gd name="T11" fmla="*/ 0 h 42"/>
                  <a:gd name="T12" fmla="*/ 41436 w 59"/>
                  <a:gd name="T13" fmla="*/ 0 h 42"/>
                  <a:gd name="T14" fmla="*/ 101708 w 59"/>
                  <a:gd name="T15" fmla="*/ 30238 h 42"/>
                  <a:gd name="T16" fmla="*/ 169513 w 59"/>
                  <a:gd name="T17" fmla="*/ 117173 h 42"/>
                  <a:gd name="T18" fmla="*/ 169513 w 59"/>
                  <a:gd name="T19" fmla="*/ 0 h 42"/>
                  <a:gd name="T20" fmla="*/ 222250 w 59"/>
                  <a:gd name="T21" fmla="*/ 0 h 42"/>
                  <a:gd name="T22" fmla="*/ 222250 w 59"/>
                  <a:gd name="T23" fmla="*/ 158750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42">
                    <a:moveTo>
                      <a:pt x="59" y="42"/>
                    </a:moveTo>
                    <a:cubicBezTo>
                      <a:pt x="39" y="42"/>
                      <a:pt x="39" y="42"/>
                      <a:pt x="39" y="42"/>
                    </a:cubicBezTo>
                    <a:cubicBezTo>
                      <a:pt x="13" y="12"/>
                      <a:pt x="13" y="12"/>
                      <a:pt x="13" y="12"/>
                    </a:cubicBezTo>
                    <a:cubicBezTo>
                      <a:pt x="13" y="42"/>
                      <a:pt x="13" y="42"/>
                      <a:pt x="13" y="42"/>
                    </a:cubicBezTo>
                    <a:cubicBezTo>
                      <a:pt x="0" y="42"/>
                      <a:pt x="0" y="42"/>
                      <a:pt x="0" y="42"/>
                    </a:cubicBezTo>
                    <a:cubicBezTo>
                      <a:pt x="0" y="0"/>
                      <a:pt x="0" y="0"/>
                      <a:pt x="0" y="0"/>
                    </a:cubicBezTo>
                    <a:cubicBezTo>
                      <a:pt x="11" y="0"/>
                      <a:pt x="11" y="0"/>
                      <a:pt x="11" y="0"/>
                    </a:cubicBezTo>
                    <a:cubicBezTo>
                      <a:pt x="19" y="0"/>
                      <a:pt x="23" y="4"/>
                      <a:pt x="27" y="8"/>
                    </a:cubicBezTo>
                    <a:cubicBezTo>
                      <a:pt x="45" y="31"/>
                      <a:pt x="45" y="31"/>
                      <a:pt x="45" y="31"/>
                    </a:cubicBezTo>
                    <a:cubicBezTo>
                      <a:pt x="45" y="0"/>
                      <a:pt x="45" y="0"/>
                      <a:pt x="45" y="0"/>
                    </a:cubicBezTo>
                    <a:cubicBezTo>
                      <a:pt x="59" y="0"/>
                      <a:pt x="59" y="0"/>
                      <a:pt x="59" y="0"/>
                    </a:cubicBezTo>
                    <a:lnTo>
                      <a:pt x="59" y="42"/>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4" name="Freeform 35"/>
              <p:cNvSpPr>
                <a:spLocks noEditPoints="1"/>
              </p:cNvSpPr>
              <p:nvPr/>
            </p:nvSpPr>
            <p:spPr bwMode="auto">
              <a:xfrm>
                <a:off x="6062663" y="3273426"/>
                <a:ext cx="214313" cy="158750"/>
              </a:xfrm>
              <a:custGeom>
                <a:avLst/>
                <a:gdLst>
                  <a:gd name="T0" fmla="*/ 127836 w 57"/>
                  <a:gd name="T1" fmla="*/ 37798 h 42"/>
                  <a:gd name="T2" fmla="*/ 48878 w 57"/>
                  <a:gd name="T3" fmla="*/ 37798 h 42"/>
                  <a:gd name="T4" fmla="*/ 48878 w 57"/>
                  <a:gd name="T5" fmla="*/ 120952 h 42"/>
                  <a:gd name="T6" fmla="*/ 131596 w 57"/>
                  <a:gd name="T7" fmla="*/ 120952 h 42"/>
                  <a:gd name="T8" fmla="*/ 154155 w 57"/>
                  <a:gd name="T9" fmla="*/ 113393 h 42"/>
                  <a:gd name="T10" fmla="*/ 161675 w 57"/>
                  <a:gd name="T11" fmla="*/ 94494 h 42"/>
                  <a:gd name="T12" fmla="*/ 161675 w 57"/>
                  <a:gd name="T13" fmla="*/ 68036 h 42"/>
                  <a:gd name="T14" fmla="*/ 154155 w 57"/>
                  <a:gd name="T15" fmla="*/ 45357 h 42"/>
                  <a:gd name="T16" fmla="*/ 127836 w 57"/>
                  <a:gd name="T17" fmla="*/ 37798 h 42"/>
                  <a:gd name="T18" fmla="*/ 142875 w 57"/>
                  <a:gd name="T19" fmla="*/ 0 h 42"/>
                  <a:gd name="T20" fmla="*/ 195514 w 57"/>
                  <a:gd name="T21" fmla="*/ 11339 h 42"/>
                  <a:gd name="T22" fmla="*/ 214313 w 57"/>
                  <a:gd name="T23" fmla="*/ 52917 h 42"/>
                  <a:gd name="T24" fmla="*/ 214313 w 57"/>
                  <a:gd name="T25" fmla="*/ 109613 h 42"/>
                  <a:gd name="T26" fmla="*/ 199273 w 57"/>
                  <a:gd name="T27" fmla="*/ 147411 h 42"/>
                  <a:gd name="T28" fmla="*/ 157915 w 57"/>
                  <a:gd name="T29" fmla="*/ 158750 h 42"/>
                  <a:gd name="T30" fmla="*/ 0 w 57"/>
                  <a:gd name="T31" fmla="*/ 158750 h 42"/>
                  <a:gd name="T32" fmla="*/ 0 w 57"/>
                  <a:gd name="T33" fmla="*/ 0 h 42"/>
                  <a:gd name="T34" fmla="*/ 142875 w 57"/>
                  <a:gd name="T35" fmla="*/ 0 h 4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7" h="42">
                    <a:moveTo>
                      <a:pt x="34" y="10"/>
                    </a:moveTo>
                    <a:cubicBezTo>
                      <a:pt x="13" y="10"/>
                      <a:pt x="13" y="10"/>
                      <a:pt x="13" y="10"/>
                    </a:cubicBezTo>
                    <a:cubicBezTo>
                      <a:pt x="13" y="32"/>
                      <a:pt x="13" y="32"/>
                      <a:pt x="13" y="32"/>
                    </a:cubicBezTo>
                    <a:cubicBezTo>
                      <a:pt x="35" y="32"/>
                      <a:pt x="35" y="32"/>
                      <a:pt x="35" y="32"/>
                    </a:cubicBezTo>
                    <a:cubicBezTo>
                      <a:pt x="38" y="32"/>
                      <a:pt x="40" y="31"/>
                      <a:pt x="41" y="30"/>
                    </a:cubicBezTo>
                    <a:cubicBezTo>
                      <a:pt x="43" y="29"/>
                      <a:pt x="43" y="27"/>
                      <a:pt x="43" y="25"/>
                    </a:cubicBezTo>
                    <a:cubicBezTo>
                      <a:pt x="43" y="18"/>
                      <a:pt x="43" y="18"/>
                      <a:pt x="43" y="18"/>
                    </a:cubicBezTo>
                    <a:cubicBezTo>
                      <a:pt x="43" y="15"/>
                      <a:pt x="43" y="13"/>
                      <a:pt x="41" y="12"/>
                    </a:cubicBezTo>
                    <a:cubicBezTo>
                      <a:pt x="39" y="11"/>
                      <a:pt x="37" y="10"/>
                      <a:pt x="34" y="10"/>
                    </a:cubicBezTo>
                    <a:moveTo>
                      <a:pt x="38" y="0"/>
                    </a:moveTo>
                    <a:cubicBezTo>
                      <a:pt x="44" y="0"/>
                      <a:pt x="49" y="1"/>
                      <a:pt x="52" y="3"/>
                    </a:cubicBezTo>
                    <a:cubicBezTo>
                      <a:pt x="55" y="6"/>
                      <a:pt x="57" y="9"/>
                      <a:pt x="57" y="14"/>
                    </a:cubicBezTo>
                    <a:cubicBezTo>
                      <a:pt x="57" y="29"/>
                      <a:pt x="57" y="29"/>
                      <a:pt x="57" y="29"/>
                    </a:cubicBezTo>
                    <a:cubicBezTo>
                      <a:pt x="57" y="33"/>
                      <a:pt x="55" y="37"/>
                      <a:pt x="53" y="39"/>
                    </a:cubicBezTo>
                    <a:cubicBezTo>
                      <a:pt x="51" y="41"/>
                      <a:pt x="47" y="42"/>
                      <a:pt x="42" y="42"/>
                    </a:cubicBezTo>
                    <a:cubicBezTo>
                      <a:pt x="0" y="42"/>
                      <a:pt x="0" y="42"/>
                      <a:pt x="0" y="42"/>
                    </a:cubicBezTo>
                    <a:cubicBezTo>
                      <a:pt x="0" y="0"/>
                      <a:pt x="0" y="0"/>
                      <a:pt x="0" y="0"/>
                    </a:cubicBezTo>
                    <a:lnTo>
                      <a:pt x="38" y="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5" name="Freeform 36"/>
              <p:cNvSpPr>
                <a:spLocks/>
              </p:cNvSpPr>
              <p:nvPr/>
            </p:nvSpPr>
            <p:spPr bwMode="auto">
              <a:xfrm>
                <a:off x="3756025" y="3273426"/>
                <a:ext cx="203200" cy="163513"/>
              </a:xfrm>
              <a:custGeom>
                <a:avLst/>
                <a:gdLst>
                  <a:gd name="T0" fmla="*/ 135467 w 54"/>
                  <a:gd name="T1" fmla="*/ 125487 h 43"/>
                  <a:gd name="T2" fmla="*/ 150519 w 54"/>
                  <a:gd name="T3" fmla="*/ 121684 h 43"/>
                  <a:gd name="T4" fmla="*/ 154281 w 54"/>
                  <a:gd name="T5" fmla="*/ 114079 h 43"/>
                  <a:gd name="T6" fmla="*/ 150519 w 54"/>
                  <a:gd name="T7" fmla="*/ 102671 h 43"/>
                  <a:gd name="T8" fmla="*/ 127941 w 54"/>
                  <a:gd name="T9" fmla="*/ 98868 h 43"/>
                  <a:gd name="T10" fmla="*/ 52681 w 54"/>
                  <a:gd name="T11" fmla="*/ 95066 h 43"/>
                  <a:gd name="T12" fmla="*/ 11289 w 54"/>
                  <a:gd name="T13" fmla="*/ 83658 h 43"/>
                  <a:gd name="T14" fmla="*/ 0 w 54"/>
                  <a:gd name="T15" fmla="*/ 49434 h 43"/>
                  <a:gd name="T16" fmla="*/ 3763 w 54"/>
                  <a:gd name="T17" fmla="*/ 26618 h 43"/>
                  <a:gd name="T18" fmla="*/ 11289 w 54"/>
                  <a:gd name="T19" fmla="*/ 11408 h 43"/>
                  <a:gd name="T20" fmla="*/ 30104 w 54"/>
                  <a:gd name="T21" fmla="*/ 0 h 43"/>
                  <a:gd name="T22" fmla="*/ 67733 w 54"/>
                  <a:gd name="T23" fmla="*/ 0 h 43"/>
                  <a:gd name="T24" fmla="*/ 146756 w 54"/>
                  <a:gd name="T25" fmla="*/ 0 h 43"/>
                  <a:gd name="T26" fmla="*/ 184385 w 54"/>
                  <a:gd name="T27" fmla="*/ 7605 h 43"/>
                  <a:gd name="T28" fmla="*/ 199437 w 54"/>
                  <a:gd name="T29" fmla="*/ 34224 h 43"/>
                  <a:gd name="T30" fmla="*/ 75259 w 54"/>
                  <a:gd name="T31" fmla="*/ 34224 h 43"/>
                  <a:gd name="T32" fmla="*/ 56444 w 54"/>
                  <a:gd name="T33" fmla="*/ 38026 h 43"/>
                  <a:gd name="T34" fmla="*/ 52681 w 54"/>
                  <a:gd name="T35" fmla="*/ 45632 h 43"/>
                  <a:gd name="T36" fmla="*/ 56444 w 54"/>
                  <a:gd name="T37" fmla="*/ 57039 h 43"/>
                  <a:gd name="T38" fmla="*/ 71496 w 54"/>
                  <a:gd name="T39" fmla="*/ 60842 h 43"/>
                  <a:gd name="T40" fmla="*/ 154281 w 54"/>
                  <a:gd name="T41" fmla="*/ 60842 h 43"/>
                  <a:gd name="T42" fmla="*/ 191911 w 54"/>
                  <a:gd name="T43" fmla="*/ 72250 h 43"/>
                  <a:gd name="T44" fmla="*/ 203200 w 54"/>
                  <a:gd name="T45" fmla="*/ 114079 h 43"/>
                  <a:gd name="T46" fmla="*/ 199437 w 54"/>
                  <a:gd name="T47" fmla="*/ 140697 h 43"/>
                  <a:gd name="T48" fmla="*/ 184385 w 54"/>
                  <a:gd name="T49" fmla="*/ 155908 h 43"/>
                  <a:gd name="T50" fmla="*/ 169333 w 54"/>
                  <a:gd name="T51" fmla="*/ 159710 h 43"/>
                  <a:gd name="T52" fmla="*/ 135467 w 54"/>
                  <a:gd name="T53" fmla="*/ 163513 h 43"/>
                  <a:gd name="T54" fmla="*/ 67733 w 54"/>
                  <a:gd name="T55" fmla="*/ 163513 h 43"/>
                  <a:gd name="T56" fmla="*/ 15052 w 54"/>
                  <a:gd name="T57" fmla="*/ 152105 h 43"/>
                  <a:gd name="T58" fmla="*/ 0 w 54"/>
                  <a:gd name="T59" fmla="*/ 125487 h 43"/>
                  <a:gd name="T60" fmla="*/ 135467 w 54"/>
                  <a:gd name="T61" fmla="*/ 125487 h 4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43">
                    <a:moveTo>
                      <a:pt x="36" y="33"/>
                    </a:moveTo>
                    <a:cubicBezTo>
                      <a:pt x="38" y="33"/>
                      <a:pt x="39" y="33"/>
                      <a:pt x="40" y="32"/>
                    </a:cubicBezTo>
                    <a:cubicBezTo>
                      <a:pt x="40" y="32"/>
                      <a:pt x="41" y="31"/>
                      <a:pt x="41" y="30"/>
                    </a:cubicBezTo>
                    <a:cubicBezTo>
                      <a:pt x="41" y="28"/>
                      <a:pt x="40" y="27"/>
                      <a:pt x="40" y="27"/>
                    </a:cubicBezTo>
                    <a:cubicBezTo>
                      <a:pt x="39" y="26"/>
                      <a:pt x="37" y="26"/>
                      <a:pt x="34" y="26"/>
                    </a:cubicBezTo>
                    <a:cubicBezTo>
                      <a:pt x="14" y="25"/>
                      <a:pt x="14" y="25"/>
                      <a:pt x="14" y="25"/>
                    </a:cubicBezTo>
                    <a:cubicBezTo>
                      <a:pt x="8" y="25"/>
                      <a:pt x="5" y="24"/>
                      <a:pt x="3" y="22"/>
                    </a:cubicBezTo>
                    <a:cubicBezTo>
                      <a:pt x="1" y="21"/>
                      <a:pt x="0" y="17"/>
                      <a:pt x="0" y="13"/>
                    </a:cubicBezTo>
                    <a:cubicBezTo>
                      <a:pt x="0" y="10"/>
                      <a:pt x="1" y="8"/>
                      <a:pt x="1" y="7"/>
                    </a:cubicBezTo>
                    <a:cubicBezTo>
                      <a:pt x="2" y="5"/>
                      <a:pt x="2" y="4"/>
                      <a:pt x="3" y="3"/>
                    </a:cubicBezTo>
                    <a:cubicBezTo>
                      <a:pt x="5" y="2"/>
                      <a:pt x="6" y="1"/>
                      <a:pt x="8" y="0"/>
                    </a:cubicBezTo>
                    <a:cubicBezTo>
                      <a:pt x="10" y="0"/>
                      <a:pt x="14" y="0"/>
                      <a:pt x="18" y="0"/>
                    </a:cubicBezTo>
                    <a:cubicBezTo>
                      <a:pt x="39" y="0"/>
                      <a:pt x="39" y="0"/>
                      <a:pt x="39" y="0"/>
                    </a:cubicBezTo>
                    <a:cubicBezTo>
                      <a:pt x="44" y="0"/>
                      <a:pt x="47" y="0"/>
                      <a:pt x="49" y="2"/>
                    </a:cubicBezTo>
                    <a:cubicBezTo>
                      <a:pt x="51" y="4"/>
                      <a:pt x="52" y="6"/>
                      <a:pt x="53" y="9"/>
                    </a:cubicBezTo>
                    <a:cubicBezTo>
                      <a:pt x="20" y="9"/>
                      <a:pt x="20" y="9"/>
                      <a:pt x="20" y="9"/>
                    </a:cubicBezTo>
                    <a:cubicBezTo>
                      <a:pt x="18" y="9"/>
                      <a:pt x="16" y="9"/>
                      <a:pt x="15" y="10"/>
                    </a:cubicBezTo>
                    <a:cubicBezTo>
                      <a:pt x="14" y="10"/>
                      <a:pt x="14" y="11"/>
                      <a:pt x="14" y="12"/>
                    </a:cubicBezTo>
                    <a:cubicBezTo>
                      <a:pt x="14" y="13"/>
                      <a:pt x="14" y="14"/>
                      <a:pt x="15" y="15"/>
                    </a:cubicBezTo>
                    <a:cubicBezTo>
                      <a:pt x="16" y="15"/>
                      <a:pt x="17" y="16"/>
                      <a:pt x="19" y="16"/>
                    </a:cubicBezTo>
                    <a:cubicBezTo>
                      <a:pt x="41" y="16"/>
                      <a:pt x="41" y="16"/>
                      <a:pt x="41" y="16"/>
                    </a:cubicBezTo>
                    <a:cubicBezTo>
                      <a:pt x="46" y="16"/>
                      <a:pt x="49" y="17"/>
                      <a:pt x="51" y="19"/>
                    </a:cubicBezTo>
                    <a:cubicBezTo>
                      <a:pt x="53" y="21"/>
                      <a:pt x="54" y="25"/>
                      <a:pt x="54" y="30"/>
                    </a:cubicBezTo>
                    <a:cubicBezTo>
                      <a:pt x="54" y="33"/>
                      <a:pt x="54" y="35"/>
                      <a:pt x="53" y="37"/>
                    </a:cubicBezTo>
                    <a:cubicBezTo>
                      <a:pt x="53" y="38"/>
                      <a:pt x="51" y="40"/>
                      <a:pt x="49" y="41"/>
                    </a:cubicBezTo>
                    <a:cubicBezTo>
                      <a:pt x="48" y="41"/>
                      <a:pt x="47" y="42"/>
                      <a:pt x="45" y="42"/>
                    </a:cubicBezTo>
                    <a:cubicBezTo>
                      <a:pt x="43" y="43"/>
                      <a:pt x="40" y="43"/>
                      <a:pt x="36" y="43"/>
                    </a:cubicBezTo>
                    <a:cubicBezTo>
                      <a:pt x="18" y="43"/>
                      <a:pt x="18" y="43"/>
                      <a:pt x="18" y="43"/>
                    </a:cubicBezTo>
                    <a:cubicBezTo>
                      <a:pt x="11" y="43"/>
                      <a:pt x="6" y="42"/>
                      <a:pt x="4" y="40"/>
                    </a:cubicBezTo>
                    <a:cubicBezTo>
                      <a:pt x="2" y="39"/>
                      <a:pt x="0" y="36"/>
                      <a:pt x="0" y="33"/>
                    </a:cubicBezTo>
                    <a:lnTo>
                      <a:pt x="36" y="33"/>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6" name="Freeform 37"/>
              <p:cNvSpPr>
                <a:spLocks noEditPoints="1"/>
              </p:cNvSpPr>
              <p:nvPr/>
            </p:nvSpPr>
            <p:spPr bwMode="auto">
              <a:xfrm>
                <a:off x="3506788" y="3273426"/>
                <a:ext cx="241300" cy="158750"/>
              </a:xfrm>
              <a:custGeom>
                <a:avLst/>
                <a:gdLst>
                  <a:gd name="T0" fmla="*/ 57150 w 152"/>
                  <a:gd name="T1" fmla="*/ 158750 h 100"/>
                  <a:gd name="T2" fmla="*/ 0 w 152"/>
                  <a:gd name="T3" fmla="*/ 158750 h 100"/>
                  <a:gd name="T4" fmla="*/ 90488 w 152"/>
                  <a:gd name="T5" fmla="*/ 0 h 100"/>
                  <a:gd name="T6" fmla="*/ 153988 w 152"/>
                  <a:gd name="T7" fmla="*/ 0 h 100"/>
                  <a:gd name="T8" fmla="*/ 241300 w 152"/>
                  <a:gd name="T9" fmla="*/ 158750 h 100"/>
                  <a:gd name="T10" fmla="*/ 188913 w 152"/>
                  <a:gd name="T11" fmla="*/ 158750 h 100"/>
                  <a:gd name="T12" fmla="*/ 169863 w 152"/>
                  <a:gd name="T13" fmla="*/ 133350 h 100"/>
                  <a:gd name="T14" fmla="*/ 71438 w 152"/>
                  <a:gd name="T15" fmla="*/ 133350 h 100"/>
                  <a:gd name="T16" fmla="*/ 57150 w 152"/>
                  <a:gd name="T17" fmla="*/ 158750 h 100"/>
                  <a:gd name="T18" fmla="*/ 90488 w 152"/>
                  <a:gd name="T19" fmla="*/ 95250 h 100"/>
                  <a:gd name="T20" fmla="*/ 153988 w 152"/>
                  <a:gd name="T21" fmla="*/ 95250 h 100"/>
                  <a:gd name="T22" fmla="*/ 120650 w 152"/>
                  <a:gd name="T23" fmla="*/ 38100 h 100"/>
                  <a:gd name="T24" fmla="*/ 90488 w 152"/>
                  <a:gd name="T25" fmla="*/ 9525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2" h="100">
                    <a:moveTo>
                      <a:pt x="36" y="100"/>
                    </a:moveTo>
                    <a:lnTo>
                      <a:pt x="0" y="100"/>
                    </a:lnTo>
                    <a:lnTo>
                      <a:pt x="57" y="0"/>
                    </a:lnTo>
                    <a:lnTo>
                      <a:pt x="97" y="0"/>
                    </a:lnTo>
                    <a:lnTo>
                      <a:pt x="152" y="100"/>
                    </a:lnTo>
                    <a:lnTo>
                      <a:pt x="119" y="100"/>
                    </a:lnTo>
                    <a:lnTo>
                      <a:pt x="107" y="84"/>
                    </a:lnTo>
                    <a:lnTo>
                      <a:pt x="45" y="84"/>
                    </a:lnTo>
                    <a:lnTo>
                      <a:pt x="36" y="100"/>
                    </a:lnTo>
                    <a:close/>
                    <a:moveTo>
                      <a:pt x="57" y="60"/>
                    </a:moveTo>
                    <a:lnTo>
                      <a:pt x="97" y="60"/>
                    </a:lnTo>
                    <a:lnTo>
                      <a:pt x="76" y="24"/>
                    </a:lnTo>
                    <a:lnTo>
                      <a:pt x="57" y="6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7" name="Freeform 38"/>
              <p:cNvSpPr>
                <a:spLocks noEditPoints="1"/>
              </p:cNvSpPr>
              <p:nvPr/>
            </p:nvSpPr>
            <p:spPr bwMode="auto">
              <a:xfrm>
                <a:off x="4214813" y="3273426"/>
                <a:ext cx="222250" cy="163513"/>
              </a:xfrm>
              <a:custGeom>
                <a:avLst/>
                <a:gdLst>
                  <a:gd name="T0" fmla="*/ 79106 w 59"/>
                  <a:gd name="T1" fmla="*/ 163513 h 43"/>
                  <a:gd name="T2" fmla="*/ 37669 w 59"/>
                  <a:gd name="T3" fmla="*/ 159710 h 43"/>
                  <a:gd name="T4" fmla="*/ 18835 w 59"/>
                  <a:gd name="T5" fmla="*/ 152105 h 43"/>
                  <a:gd name="T6" fmla="*/ 3767 w 59"/>
                  <a:gd name="T7" fmla="*/ 133092 h 43"/>
                  <a:gd name="T8" fmla="*/ 0 w 59"/>
                  <a:gd name="T9" fmla="*/ 102671 h 43"/>
                  <a:gd name="T10" fmla="*/ 0 w 59"/>
                  <a:gd name="T11" fmla="*/ 60842 h 43"/>
                  <a:gd name="T12" fmla="*/ 3767 w 59"/>
                  <a:gd name="T13" fmla="*/ 26618 h 43"/>
                  <a:gd name="T14" fmla="*/ 18835 w 59"/>
                  <a:gd name="T15" fmla="*/ 7605 h 43"/>
                  <a:gd name="T16" fmla="*/ 37669 w 59"/>
                  <a:gd name="T17" fmla="*/ 0 h 43"/>
                  <a:gd name="T18" fmla="*/ 79106 w 59"/>
                  <a:gd name="T19" fmla="*/ 0 h 43"/>
                  <a:gd name="T20" fmla="*/ 139377 w 59"/>
                  <a:gd name="T21" fmla="*/ 0 h 43"/>
                  <a:gd name="T22" fmla="*/ 180814 w 59"/>
                  <a:gd name="T23" fmla="*/ 0 h 43"/>
                  <a:gd name="T24" fmla="*/ 203415 w 59"/>
                  <a:gd name="T25" fmla="*/ 7605 h 43"/>
                  <a:gd name="T26" fmla="*/ 214716 w 59"/>
                  <a:gd name="T27" fmla="*/ 26618 h 43"/>
                  <a:gd name="T28" fmla="*/ 222250 w 59"/>
                  <a:gd name="T29" fmla="*/ 57039 h 43"/>
                  <a:gd name="T30" fmla="*/ 222250 w 59"/>
                  <a:gd name="T31" fmla="*/ 102671 h 43"/>
                  <a:gd name="T32" fmla="*/ 214716 w 59"/>
                  <a:gd name="T33" fmla="*/ 133092 h 43"/>
                  <a:gd name="T34" fmla="*/ 203415 w 59"/>
                  <a:gd name="T35" fmla="*/ 152105 h 43"/>
                  <a:gd name="T36" fmla="*/ 180814 w 59"/>
                  <a:gd name="T37" fmla="*/ 159710 h 43"/>
                  <a:gd name="T38" fmla="*/ 139377 w 59"/>
                  <a:gd name="T39" fmla="*/ 163513 h 43"/>
                  <a:gd name="T40" fmla="*/ 79106 w 59"/>
                  <a:gd name="T41" fmla="*/ 163513 h 43"/>
                  <a:gd name="T42" fmla="*/ 94174 w 59"/>
                  <a:gd name="T43" fmla="*/ 121684 h 43"/>
                  <a:gd name="T44" fmla="*/ 124309 w 59"/>
                  <a:gd name="T45" fmla="*/ 121684 h 43"/>
                  <a:gd name="T46" fmla="*/ 161979 w 59"/>
                  <a:gd name="T47" fmla="*/ 114079 h 43"/>
                  <a:gd name="T48" fmla="*/ 169513 w 59"/>
                  <a:gd name="T49" fmla="*/ 91263 h 43"/>
                  <a:gd name="T50" fmla="*/ 169513 w 59"/>
                  <a:gd name="T51" fmla="*/ 68447 h 43"/>
                  <a:gd name="T52" fmla="*/ 161979 w 59"/>
                  <a:gd name="T53" fmla="*/ 45632 h 43"/>
                  <a:gd name="T54" fmla="*/ 124309 w 59"/>
                  <a:gd name="T55" fmla="*/ 38026 h 43"/>
                  <a:gd name="T56" fmla="*/ 94174 w 59"/>
                  <a:gd name="T57" fmla="*/ 38026 h 43"/>
                  <a:gd name="T58" fmla="*/ 60271 w 59"/>
                  <a:gd name="T59" fmla="*/ 45632 h 43"/>
                  <a:gd name="T60" fmla="*/ 48970 w 59"/>
                  <a:gd name="T61" fmla="*/ 68447 h 43"/>
                  <a:gd name="T62" fmla="*/ 48970 w 59"/>
                  <a:gd name="T63" fmla="*/ 91263 h 43"/>
                  <a:gd name="T64" fmla="*/ 60271 w 59"/>
                  <a:gd name="T65" fmla="*/ 114079 h 43"/>
                  <a:gd name="T66" fmla="*/ 94174 w 59"/>
                  <a:gd name="T67" fmla="*/ 121684 h 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9" h="43">
                    <a:moveTo>
                      <a:pt x="21" y="43"/>
                    </a:moveTo>
                    <a:cubicBezTo>
                      <a:pt x="16" y="43"/>
                      <a:pt x="13" y="42"/>
                      <a:pt x="10" y="42"/>
                    </a:cubicBezTo>
                    <a:cubicBezTo>
                      <a:pt x="8" y="42"/>
                      <a:pt x="6" y="41"/>
                      <a:pt x="5" y="40"/>
                    </a:cubicBezTo>
                    <a:cubicBezTo>
                      <a:pt x="3" y="39"/>
                      <a:pt x="2" y="37"/>
                      <a:pt x="1" y="35"/>
                    </a:cubicBezTo>
                    <a:cubicBezTo>
                      <a:pt x="0" y="33"/>
                      <a:pt x="0" y="30"/>
                      <a:pt x="0" y="27"/>
                    </a:cubicBezTo>
                    <a:cubicBezTo>
                      <a:pt x="0" y="16"/>
                      <a:pt x="0" y="16"/>
                      <a:pt x="0" y="16"/>
                    </a:cubicBezTo>
                    <a:cubicBezTo>
                      <a:pt x="0" y="12"/>
                      <a:pt x="0" y="9"/>
                      <a:pt x="1" y="7"/>
                    </a:cubicBezTo>
                    <a:cubicBezTo>
                      <a:pt x="2" y="5"/>
                      <a:pt x="3" y="4"/>
                      <a:pt x="5" y="2"/>
                    </a:cubicBezTo>
                    <a:cubicBezTo>
                      <a:pt x="6" y="1"/>
                      <a:pt x="8" y="1"/>
                      <a:pt x="10" y="0"/>
                    </a:cubicBezTo>
                    <a:cubicBezTo>
                      <a:pt x="13" y="0"/>
                      <a:pt x="17" y="0"/>
                      <a:pt x="21" y="0"/>
                    </a:cubicBezTo>
                    <a:cubicBezTo>
                      <a:pt x="37" y="0"/>
                      <a:pt x="37" y="0"/>
                      <a:pt x="37" y="0"/>
                    </a:cubicBezTo>
                    <a:cubicBezTo>
                      <a:pt x="42" y="0"/>
                      <a:pt x="46" y="0"/>
                      <a:pt x="48" y="0"/>
                    </a:cubicBezTo>
                    <a:cubicBezTo>
                      <a:pt x="51" y="1"/>
                      <a:pt x="52" y="1"/>
                      <a:pt x="54" y="2"/>
                    </a:cubicBezTo>
                    <a:cubicBezTo>
                      <a:pt x="56" y="4"/>
                      <a:pt x="57" y="5"/>
                      <a:pt x="57" y="7"/>
                    </a:cubicBezTo>
                    <a:cubicBezTo>
                      <a:pt x="58" y="9"/>
                      <a:pt x="59" y="12"/>
                      <a:pt x="59" y="15"/>
                    </a:cubicBezTo>
                    <a:cubicBezTo>
                      <a:pt x="59" y="27"/>
                      <a:pt x="59" y="27"/>
                      <a:pt x="59" y="27"/>
                    </a:cubicBezTo>
                    <a:cubicBezTo>
                      <a:pt x="59" y="30"/>
                      <a:pt x="58" y="33"/>
                      <a:pt x="57" y="35"/>
                    </a:cubicBezTo>
                    <a:cubicBezTo>
                      <a:pt x="57" y="37"/>
                      <a:pt x="56" y="39"/>
                      <a:pt x="54" y="40"/>
                    </a:cubicBezTo>
                    <a:cubicBezTo>
                      <a:pt x="52" y="41"/>
                      <a:pt x="51" y="42"/>
                      <a:pt x="48" y="42"/>
                    </a:cubicBezTo>
                    <a:cubicBezTo>
                      <a:pt x="46" y="42"/>
                      <a:pt x="42" y="43"/>
                      <a:pt x="37" y="43"/>
                    </a:cubicBezTo>
                    <a:lnTo>
                      <a:pt x="21" y="43"/>
                    </a:lnTo>
                    <a:close/>
                    <a:moveTo>
                      <a:pt x="25" y="32"/>
                    </a:moveTo>
                    <a:cubicBezTo>
                      <a:pt x="33" y="32"/>
                      <a:pt x="33" y="32"/>
                      <a:pt x="33" y="32"/>
                    </a:cubicBezTo>
                    <a:cubicBezTo>
                      <a:pt x="38" y="32"/>
                      <a:pt x="41" y="32"/>
                      <a:pt x="43" y="30"/>
                    </a:cubicBezTo>
                    <a:cubicBezTo>
                      <a:pt x="44" y="29"/>
                      <a:pt x="45" y="27"/>
                      <a:pt x="45" y="24"/>
                    </a:cubicBezTo>
                    <a:cubicBezTo>
                      <a:pt x="45" y="18"/>
                      <a:pt x="45" y="18"/>
                      <a:pt x="45" y="18"/>
                    </a:cubicBezTo>
                    <a:cubicBezTo>
                      <a:pt x="45" y="15"/>
                      <a:pt x="44" y="13"/>
                      <a:pt x="43" y="12"/>
                    </a:cubicBezTo>
                    <a:cubicBezTo>
                      <a:pt x="41" y="11"/>
                      <a:pt x="38" y="10"/>
                      <a:pt x="33" y="10"/>
                    </a:cubicBezTo>
                    <a:cubicBezTo>
                      <a:pt x="25" y="10"/>
                      <a:pt x="25" y="10"/>
                      <a:pt x="25" y="10"/>
                    </a:cubicBezTo>
                    <a:cubicBezTo>
                      <a:pt x="20" y="10"/>
                      <a:pt x="17" y="11"/>
                      <a:pt x="16" y="12"/>
                    </a:cubicBezTo>
                    <a:cubicBezTo>
                      <a:pt x="14" y="13"/>
                      <a:pt x="13" y="15"/>
                      <a:pt x="13" y="18"/>
                    </a:cubicBezTo>
                    <a:cubicBezTo>
                      <a:pt x="13" y="24"/>
                      <a:pt x="13" y="24"/>
                      <a:pt x="13" y="24"/>
                    </a:cubicBezTo>
                    <a:cubicBezTo>
                      <a:pt x="13" y="27"/>
                      <a:pt x="14" y="29"/>
                      <a:pt x="16" y="30"/>
                    </a:cubicBezTo>
                    <a:cubicBezTo>
                      <a:pt x="17" y="32"/>
                      <a:pt x="20" y="32"/>
                      <a:pt x="25" y="32"/>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8" name="Freeform 39"/>
              <p:cNvSpPr>
                <a:spLocks noEditPoints="1"/>
              </p:cNvSpPr>
              <p:nvPr/>
            </p:nvSpPr>
            <p:spPr bwMode="auto">
              <a:xfrm>
                <a:off x="5562600" y="3273426"/>
                <a:ext cx="239713" cy="158750"/>
              </a:xfrm>
              <a:custGeom>
                <a:avLst/>
                <a:gdLst>
                  <a:gd name="T0" fmla="*/ 52388 w 151"/>
                  <a:gd name="T1" fmla="*/ 158750 h 100"/>
                  <a:gd name="T2" fmla="*/ 0 w 151"/>
                  <a:gd name="T3" fmla="*/ 158750 h 100"/>
                  <a:gd name="T4" fmla="*/ 85725 w 151"/>
                  <a:gd name="T5" fmla="*/ 0 h 100"/>
                  <a:gd name="T6" fmla="*/ 149225 w 151"/>
                  <a:gd name="T7" fmla="*/ 0 h 100"/>
                  <a:gd name="T8" fmla="*/ 239713 w 151"/>
                  <a:gd name="T9" fmla="*/ 158750 h 100"/>
                  <a:gd name="T10" fmla="*/ 184150 w 151"/>
                  <a:gd name="T11" fmla="*/ 158750 h 100"/>
                  <a:gd name="T12" fmla="*/ 168275 w 151"/>
                  <a:gd name="T13" fmla="*/ 133350 h 100"/>
                  <a:gd name="T14" fmla="*/ 66675 w 151"/>
                  <a:gd name="T15" fmla="*/ 133350 h 100"/>
                  <a:gd name="T16" fmla="*/ 52388 w 151"/>
                  <a:gd name="T17" fmla="*/ 158750 h 100"/>
                  <a:gd name="T18" fmla="*/ 85725 w 151"/>
                  <a:gd name="T19" fmla="*/ 95250 h 100"/>
                  <a:gd name="T20" fmla="*/ 149225 w 151"/>
                  <a:gd name="T21" fmla="*/ 95250 h 100"/>
                  <a:gd name="T22" fmla="*/ 119063 w 151"/>
                  <a:gd name="T23" fmla="*/ 38100 h 100"/>
                  <a:gd name="T24" fmla="*/ 85725 w 151"/>
                  <a:gd name="T25" fmla="*/ 9525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 h="100">
                    <a:moveTo>
                      <a:pt x="33" y="100"/>
                    </a:moveTo>
                    <a:lnTo>
                      <a:pt x="0" y="100"/>
                    </a:lnTo>
                    <a:lnTo>
                      <a:pt x="54" y="0"/>
                    </a:lnTo>
                    <a:lnTo>
                      <a:pt x="94" y="0"/>
                    </a:lnTo>
                    <a:lnTo>
                      <a:pt x="151" y="100"/>
                    </a:lnTo>
                    <a:lnTo>
                      <a:pt x="116" y="100"/>
                    </a:lnTo>
                    <a:lnTo>
                      <a:pt x="106" y="84"/>
                    </a:lnTo>
                    <a:lnTo>
                      <a:pt x="42" y="84"/>
                    </a:lnTo>
                    <a:lnTo>
                      <a:pt x="33" y="100"/>
                    </a:lnTo>
                    <a:close/>
                    <a:moveTo>
                      <a:pt x="54" y="60"/>
                    </a:moveTo>
                    <a:lnTo>
                      <a:pt x="94" y="60"/>
                    </a:lnTo>
                    <a:lnTo>
                      <a:pt x="75" y="24"/>
                    </a:lnTo>
                    <a:lnTo>
                      <a:pt x="54" y="60"/>
                    </a:lnTo>
                    <a:close/>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9" name="Freeform 40"/>
              <p:cNvSpPr>
                <a:spLocks/>
              </p:cNvSpPr>
              <p:nvPr/>
            </p:nvSpPr>
            <p:spPr bwMode="auto">
              <a:xfrm>
                <a:off x="3059113" y="3273426"/>
                <a:ext cx="173038" cy="139700"/>
              </a:xfrm>
              <a:custGeom>
                <a:avLst/>
                <a:gdLst>
                  <a:gd name="T0" fmla="*/ 124136 w 46"/>
                  <a:gd name="T1" fmla="*/ 18878 h 37"/>
                  <a:gd name="T2" fmla="*/ 127898 w 46"/>
                  <a:gd name="T3" fmla="*/ 0 h 37"/>
                  <a:gd name="T4" fmla="*/ 45140 w 46"/>
                  <a:gd name="T5" fmla="*/ 0 h 37"/>
                  <a:gd name="T6" fmla="*/ 41379 w 46"/>
                  <a:gd name="T7" fmla="*/ 0 h 37"/>
                  <a:gd name="T8" fmla="*/ 37617 w 46"/>
                  <a:gd name="T9" fmla="*/ 11327 h 37"/>
                  <a:gd name="T10" fmla="*/ 45140 w 46"/>
                  <a:gd name="T11" fmla="*/ 15103 h 37"/>
                  <a:gd name="T12" fmla="*/ 52664 w 46"/>
                  <a:gd name="T13" fmla="*/ 30205 h 37"/>
                  <a:gd name="T14" fmla="*/ 26332 w 46"/>
                  <a:gd name="T15" fmla="*/ 113270 h 37"/>
                  <a:gd name="T16" fmla="*/ 3762 w 46"/>
                  <a:gd name="T17" fmla="*/ 124597 h 37"/>
                  <a:gd name="T18" fmla="*/ 0 w 46"/>
                  <a:gd name="T19" fmla="*/ 139700 h 37"/>
                  <a:gd name="T20" fmla="*/ 0 w 46"/>
                  <a:gd name="T21" fmla="*/ 139700 h 37"/>
                  <a:gd name="T22" fmla="*/ 154230 w 46"/>
                  <a:gd name="T23" fmla="*/ 139700 h 37"/>
                  <a:gd name="T24" fmla="*/ 173038 w 46"/>
                  <a:gd name="T25" fmla="*/ 79289 h 37"/>
                  <a:gd name="T26" fmla="*/ 157991 w 46"/>
                  <a:gd name="T27" fmla="*/ 79289 h 37"/>
                  <a:gd name="T28" fmla="*/ 150468 w 46"/>
                  <a:gd name="T29" fmla="*/ 101943 h 37"/>
                  <a:gd name="T30" fmla="*/ 135421 w 46"/>
                  <a:gd name="T31" fmla="*/ 117046 h 37"/>
                  <a:gd name="T32" fmla="*/ 86519 w 46"/>
                  <a:gd name="T33" fmla="*/ 120822 h 37"/>
                  <a:gd name="T34" fmla="*/ 82757 w 46"/>
                  <a:gd name="T35" fmla="*/ 120822 h 37"/>
                  <a:gd name="T36" fmla="*/ 78996 w 46"/>
                  <a:gd name="T37" fmla="*/ 117046 h 37"/>
                  <a:gd name="T38" fmla="*/ 105327 w 46"/>
                  <a:gd name="T39" fmla="*/ 30205 h 37"/>
                  <a:gd name="T40" fmla="*/ 124136 w 46"/>
                  <a:gd name="T41" fmla="*/ 18878 h 3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6" h="37">
                    <a:moveTo>
                      <a:pt x="33" y="5"/>
                    </a:moveTo>
                    <a:cubicBezTo>
                      <a:pt x="34" y="3"/>
                      <a:pt x="34" y="2"/>
                      <a:pt x="34" y="0"/>
                    </a:cubicBezTo>
                    <a:cubicBezTo>
                      <a:pt x="12" y="0"/>
                      <a:pt x="12" y="0"/>
                      <a:pt x="12" y="0"/>
                    </a:cubicBezTo>
                    <a:cubicBezTo>
                      <a:pt x="11" y="0"/>
                      <a:pt x="11" y="0"/>
                      <a:pt x="11" y="0"/>
                    </a:cubicBezTo>
                    <a:cubicBezTo>
                      <a:pt x="10" y="3"/>
                      <a:pt x="10" y="3"/>
                      <a:pt x="10" y="3"/>
                    </a:cubicBezTo>
                    <a:cubicBezTo>
                      <a:pt x="10" y="4"/>
                      <a:pt x="11" y="4"/>
                      <a:pt x="12" y="4"/>
                    </a:cubicBezTo>
                    <a:cubicBezTo>
                      <a:pt x="14" y="5"/>
                      <a:pt x="14" y="6"/>
                      <a:pt x="14" y="8"/>
                    </a:cubicBezTo>
                    <a:cubicBezTo>
                      <a:pt x="7" y="30"/>
                      <a:pt x="7" y="30"/>
                      <a:pt x="7" y="30"/>
                    </a:cubicBezTo>
                    <a:cubicBezTo>
                      <a:pt x="6" y="33"/>
                      <a:pt x="4" y="33"/>
                      <a:pt x="1" y="33"/>
                    </a:cubicBezTo>
                    <a:cubicBezTo>
                      <a:pt x="1" y="35"/>
                      <a:pt x="0" y="35"/>
                      <a:pt x="0" y="37"/>
                    </a:cubicBezTo>
                    <a:cubicBezTo>
                      <a:pt x="0" y="37"/>
                      <a:pt x="0" y="37"/>
                      <a:pt x="0" y="37"/>
                    </a:cubicBezTo>
                    <a:cubicBezTo>
                      <a:pt x="41" y="37"/>
                      <a:pt x="41" y="37"/>
                      <a:pt x="41" y="37"/>
                    </a:cubicBezTo>
                    <a:cubicBezTo>
                      <a:pt x="46" y="21"/>
                      <a:pt x="46" y="21"/>
                      <a:pt x="46" y="21"/>
                    </a:cubicBezTo>
                    <a:cubicBezTo>
                      <a:pt x="45" y="21"/>
                      <a:pt x="44" y="21"/>
                      <a:pt x="42" y="21"/>
                    </a:cubicBezTo>
                    <a:cubicBezTo>
                      <a:pt x="41" y="23"/>
                      <a:pt x="41" y="25"/>
                      <a:pt x="40" y="27"/>
                    </a:cubicBezTo>
                    <a:cubicBezTo>
                      <a:pt x="39" y="29"/>
                      <a:pt x="38" y="30"/>
                      <a:pt x="36" y="31"/>
                    </a:cubicBezTo>
                    <a:cubicBezTo>
                      <a:pt x="32" y="33"/>
                      <a:pt x="29" y="32"/>
                      <a:pt x="23" y="32"/>
                    </a:cubicBezTo>
                    <a:cubicBezTo>
                      <a:pt x="23" y="32"/>
                      <a:pt x="22" y="32"/>
                      <a:pt x="22" y="32"/>
                    </a:cubicBezTo>
                    <a:cubicBezTo>
                      <a:pt x="21" y="32"/>
                      <a:pt x="21" y="32"/>
                      <a:pt x="21" y="31"/>
                    </a:cubicBezTo>
                    <a:cubicBezTo>
                      <a:pt x="28" y="8"/>
                      <a:pt x="28" y="8"/>
                      <a:pt x="28" y="8"/>
                    </a:cubicBezTo>
                    <a:cubicBezTo>
                      <a:pt x="29" y="5"/>
                      <a:pt x="31" y="5"/>
                      <a:pt x="33" y="5"/>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0" name="Freeform 41"/>
              <p:cNvSpPr>
                <a:spLocks noEditPoints="1"/>
              </p:cNvSpPr>
              <p:nvPr/>
            </p:nvSpPr>
            <p:spPr bwMode="auto">
              <a:xfrm>
                <a:off x="2863850" y="3078163"/>
                <a:ext cx="549275" cy="552450"/>
              </a:xfrm>
              <a:custGeom>
                <a:avLst/>
                <a:gdLst>
                  <a:gd name="T0" fmla="*/ 274638 w 146"/>
                  <a:gd name="T1" fmla="*/ 0 h 145"/>
                  <a:gd name="T2" fmla="*/ 549275 w 146"/>
                  <a:gd name="T3" fmla="*/ 278130 h 145"/>
                  <a:gd name="T4" fmla="*/ 274638 w 146"/>
                  <a:gd name="T5" fmla="*/ 552450 h 145"/>
                  <a:gd name="T6" fmla="*/ 0 w 146"/>
                  <a:gd name="T7" fmla="*/ 278130 h 145"/>
                  <a:gd name="T8" fmla="*/ 274638 w 146"/>
                  <a:gd name="T9" fmla="*/ 0 h 145"/>
                  <a:gd name="T10" fmla="*/ 274638 w 146"/>
                  <a:gd name="T11" fmla="*/ 160020 h 145"/>
                  <a:gd name="T12" fmla="*/ 395027 w 146"/>
                  <a:gd name="T13" fmla="*/ 278130 h 145"/>
                  <a:gd name="T14" fmla="*/ 274638 w 146"/>
                  <a:gd name="T15" fmla="*/ 396240 h 145"/>
                  <a:gd name="T16" fmla="*/ 154248 w 146"/>
                  <a:gd name="T17" fmla="*/ 278130 h 145"/>
                  <a:gd name="T18" fmla="*/ 274638 w 146"/>
                  <a:gd name="T19" fmla="*/ 160020 h 145"/>
                  <a:gd name="T20" fmla="*/ 282162 w 146"/>
                  <a:gd name="T21" fmla="*/ 41910 h 145"/>
                  <a:gd name="T22" fmla="*/ 127913 w 146"/>
                  <a:gd name="T23" fmla="*/ 270510 h 145"/>
                  <a:gd name="T24" fmla="*/ 86530 w 146"/>
                  <a:gd name="T25" fmla="*/ 137160 h 145"/>
                  <a:gd name="T26" fmla="*/ 90292 w 146"/>
                  <a:gd name="T27" fmla="*/ 133350 h 145"/>
                  <a:gd name="T28" fmla="*/ 282162 w 146"/>
                  <a:gd name="T29" fmla="*/ 41910 h 145"/>
                  <a:gd name="T30" fmla="*/ 41384 w 146"/>
                  <a:gd name="T31" fmla="*/ 266700 h 145"/>
                  <a:gd name="T32" fmla="*/ 267113 w 146"/>
                  <a:gd name="T33" fmla="*/ 422910 h 145"/>
                  <a:gd name="T34" fmla="*/ 135438 w 146"/>
                  <a:gd name="T35" fmla="*/ 464820 h 145"/>
                  <a:gd name="T36" fmla="*/ 131676 w 146"/>
                  <a:gd name="T37" fmla="*/ 464820 h 145"/>
                  <a:gd name="T38" fmla="*/ 41384 w 146"/>
                  <a:gd name="T39" fmla="*/ 266700 h 145"/>
                  <a:gd name="T40" fmla="*/ 267113 w 146"/>
                  <a:gd name="T41" fmla="*/ 514350 h 145"/>
                  <a:gd name="T42" fmla="*/ 421362 w 146"/>
                  <a:gd name="T43" fmla="*/ 281940 h 145"/>
                  <a:gd name="T44" fmla="*/ 462745 w 146"/>
                  <a:gd name="T45" fmla="*/ 419100 h 145"/>
                  <a:gd name="T46" fmla="*/ 458983 w 146"/>
                  <a:gd name="T47" fmla="*/ 422910 h 145"/>
                  <a:gd name="T48" fmla="*/ 267113 w 146"/>
                  <a:gd name="T49" fmla="*/ 514350 h 145"/>
                  <a:gd name="T50" fmla="*/ 507891 w 146"/>
                  <a:gd name="T51" fmla="*/ 285750 h 145"/>
                  <a:gd name="T52" fmla="*/ 282162 w 146"/>
                  <a:gd name="T53" fmla="*/ 133350 h 145"/>
                  <a:gd name="T54" fmla="*/ 413837 w 146"/>
                  <a:gd name="T55" fmla="*/ 87630 h 145"/>
                  <a:gd name="T56" fmla="*/ 417599 w 146"/>
                  <a:gd name="T57" fmla="*/ 91440 h 145"/>
                  <a:gd name="T58" fmla="*/ 507891 w 146"/>
                  <a:gd name="T59" fmla="*/ 285750 h 1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46" h="145">
                    <a:moveTo>
                      <a:pt x="73" y="0"/>
                    </a:moveTo>
                    <a:cubicBezTo>
                      <a:pt x="113" y="0"/>
                      <a:pt x="146" y="33"/>
                      <a:pt x="146" y="73"/>
                    </a:cubicBezTo>
                    <a:cubicBezTo>
                      <a:pt x="146" y="113"/>
                      <a:pt x="113" y="145"/>
                      <a:pt x="73" y="145"/>
                    </a:cubicBezTo>
                    <a:cubicBezTo>
                      <a:pt x="33" y="145"/>
                      <a:pt x="0" y="113"/>
                      <a:pt x="0" y="73"/>
                    </a:cubicBezTo>
                    <a:cubicBezTo>
                      <a:pt x="0" y="33"/>
                      <a:pt x="33" y="0"/>
                      <a:pt x="73" y="0"/>
                    </a:cubicBezTo>
                    <a:moveTo>
                      <a:pt x="73" y="42"/>
                    </a:moveTo>
                    <a:cubicBezTo>
                      <a:pt x="90" y="42"/>
                      <a:pt x="105" y="56"/>
                      <a:pt x="105" y="73"/>
                    </a:cubicBezTo>
                    <a:cubicBezTo>
                      <a:pt x="105" y="90"/>
                      <a:pt x="90" y="104"/>
                      <a:pt x="73" y="104"/>
                    </a:cubicBezTo>
                    <a:cubicBezTo>
                      <a:pt x="56" y="104"/>
                      <a:pt x="41" y="90"/>
                      <a:pt x="41" y="73"/>
                    </a:cubicBezTo>
                    <a:cubicBezTo>
                      <a:pt x="41" y="56"/>
                      <a:pt x="56" y="42"/>
                      <a:pt x="73" y="42"/>
                    </a:cubicBezTo>
                    <a:moveTo>
                      <a:pt x="75" y="11"/>
                    </a:moveTo>
                    <a:cubicBezTo>
                      <a:pt x="66" y="15"/>
                      <a:pt x="37" y="35"/>
                      <a:pt x="34" y="71"/>
                    </a:cubicBezTo>
                    <a:cubicBezTo>
                      <a:pt x="30" y="66"/>
                      <a:pt x="23" y="52"/>
                      <a:pt x="23" y="36"/>
                    </a:cubicBezTo>
                    <a:cubicBezTo>
                      <a:pt x="24" y="35"/>
                      <a:pt x="24" y="35"/>
                      <a:pt x="24" y="35"/>
                    </a:cubicBezTo>
                    <a:cubicBezTo>
                      <a:pt x="28" y="26"/>
                      <a:pt x="51" y="8"/>
                      <a:pt x="75" y="11"/>
                    </a:cubicBezTo>
                    <a:moveTo>
                      <a:pt x="11" y="70"/>
                    </a:moveTo>
                    <a:cubicBezTo>
                      <a:pt x="15" y="79"/>
                      <a:pt x="35" y="108"/>
                      <a:pt x="71" y="111"/>
                    </a:cubicBezTo>
                    <a:cubicBezTo>
                      <a:pt x="67" y="115"/>
                      <a:pt x="52" y="122"/>
                      <a:pt x="36" y="122"/>
                    </a:cubicBezTo>
                    <a:cubicBezTo>
                      <a:pt x="35" y="122"/>
                      <a:pt x="35" y="122"/>
                      <a:pt x="35" y="122"/>
                    </a:cubicBezTo>
                    <a:cubicBezTo>
                      <a:pt x="27" y="118"/>
                      <a:pt x="9" y="95"/>
                      <a:pt x="11" y="70"/>
                    </a:cubicBezTo>
                    <a:moveTo>
                      <a:pt x="71" y="135"/>
                    </a:moveTo>
                    <a:cubicBezTo>
                      <a:pt x="80" y="130"/>
                      <a:pt x="109" y="110"/>
                      <a:pt x="112" y="74"/>
                    </a:cubicBezTo>
                    <a:cubicBezTo>
                      <a:pt x="116" y="79"/>
                      <a:pt x="123" y="94"/>
                      <a:pt x="123" y="110"/>
                    </a:cubicBezTo>
                    <a:cubicBezTo>
                      <a:pt x="122" y="111"/>
                      <a:pt x="122" y="111"/>
                      <a:pt x="122" y="111"/>
                    </a:cubicBezTo>
                    <a:cubicBezTo>
                      <a:pt x="118" y="119"/>
                      <a:pt x="95" y="137"/>
                      <a:pt x="71" y="135"/>
                    </a:cubicBezTo>
                    <a:moveTo>
                      <a:pt x="135" y="75"/>
                    </a:moveTo>
                    <a:cubicBezTo>
                      <a:pt x="131" y="66"/>
                      <a:pt x="111" y="37"/>
                      <a:pt x="75" y="35"/>
                    </a:cubicBezTo>
                    <a:cubicBezTo>
                      <a:pt x="79" y="30"/>
                      <a:pt x="94" y="23"/>
                      <a:pt x="110" y="23"/>
                    </a:cubicBezTo>
                    <a:cubicBezTo>
                      <a:pt x="111" y="24"/>
                      <a:pt x="111" y="24"/>
                      <a:pt x="111" y="24"/>
                    </a:cubicBezTo>
                    <a:cubicBezTo>
                      <a:pt x="119" y="28"/>
                      <a:pt x="137" y="51"/>
                      <a:pt x="135" y="75"/>
                    </a:cubicBezTo>
                  </a:path>
                </a:pathLst>
              </a:custGeom>
              <a:solidFill>
                <a:srgbClr val="1787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grpSp>
      <p:cxnSp>
        <p:nvCxnSpPr>
          <p:cNvPr id="42" name="Straight Connector 41"/>
          <p:cNvCxnSpPr/>
          <p:nvPr userDrawn="1"/>
        </p:nvCxnSpPr>
        <p:spPr>
          <a:xfrm>
            <a:off x="-12699" y="1354667"/>
            <a:ext cx="12204700" cy="0"/>
          </a:xfrm>
          <a:prstGeom prst="line">
            <a:avLst/>
          </a:prstGeom>
          <a:ln w="635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831851" y="1710267"/>
            <a:ext cx="10515600" cy="2853267"/>
          </a:xfrm>
        </p:spPr>
        <p:txBody>
          <a:bodyPr anchor="b"/>
          <a:lstStyle>
            <a:lvl1pPr>
              <a:defRPr sz="4800" b="0">
                <a:latin typeface="+mn-lt"/>
              </a:defRPr>
            </a:lvl1pPr>
          </a:lstStyle>
          <a:p>
            <a:endParaRPr lang="en-US" dirty="0"/>
          </a:p>
        </p:txBody>
      </p:sp>
      <p:sp>
        <p:nvSpPr>
          <p:cNvPr id="3" name="Text Placeholder 2"/>
          <p:cNvSpPr>
            <a:spLocks noGrp="1"/>
          </p:cNvSpPr>
          <p:nvPr>
            <p:ph type="body" idx="1"/>
          </p:nvPr>
        </p:nvSpPr>
        <p:spPr>
          <a:xfrm>
            <a:off x="831851" y="4588934"/>
            <a:ext cx="10515600" cy="1500717"/>
          </a:xfrm>
        </p:spPr>
        <p:txBody>
          <a:bodyPr/>
          <a:lstStyle>
            <a:lvl1pPr marL="0" indent="0">
              <a:buNone/>
              <a:defRPr sz="3200">
                <a:solidFill>
                  <a:schemeClr val="tx1">
                    <a:tint val="75000"/>
                  </a:schemeClr>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dirty="0"/>
              <a:t>Click to edit Master text styles</a:t>
            </a:r>
          </a:p>
        </p:txBody>
      </p:sp>
      <p:sp>
        <p:nvSpPr>
          <p:cNvPr id="43" name="Date Placeholder 3"/>
          <p:cNvSpPr>
            <a:spLocks noGrp="1"/>
          </p:cNvSpPr>
          <p:nvPr>
            <p:ph type="dt" sz="half" idx="10"/>
          </p:nvPr>
        </p:nvSpPr>
        <p:spPr/>
        <p:txBody>
          <a:bodyPr/>
          <a:lstStyle>
            <a:lvl1pPr>
              <a:defRPr/>
            </a:lvl1pPr>
          </a:lstStyle>
          <a:p>
            <a:pPr defTabSz="1219170">
              <a:defRPr/>
            </a:pPr>
            <a:fld id="{227AF2B1-A0AC-43B7-9790-A633F8AE6B7D}"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44"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45" name="Slide Number Placeholder 5"/>
          <p:cNvSpPr>
            <a:spLocks noGrp="1"/>
          </p:cNvSpPr>
          <p:nvPr>
            <p:ph type="sldNum" sz="quarter" idx="12"/>
          </p:nvPr>
        </p:nvSpPr>
        <p:spPr/>
        <p:txBody>
          <a:bodyPr/>
          <a:lstStyle>
            <a:lvl1pPr>
              <a:defRPr/>
            </a:lvl1pPr>
          </a:lstStyle>
          <a:p>
            <a:pPr defTabSz="1219170">
              <a:defRPr/>
            </a:pPr>
            <a:fld id="{450FBE75-DA21-4CFD-B9F7-86F2868EEF0B}"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100784638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6684"/>
            <a:ext cx="5156200" cy="4349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826684"/>
            <a:ext cx="5156200" cy="4349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defTabSz="1219170">
              <a:defRPr/>
            </a:pPr>
            <a:fld id="{C6382C8F-4E16-49B5-9A73-BA05E9D8000F}"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1219170">
              <a:defRPr/>
            </a:pPr>
            <a:fld id="{5D6A5DF6-5204-4751-AA33-65101F8853AA}"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2600459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40317" y="366185"/>
            <a:ext cx="10515600" cy="1325033"/>
          </a:xfrm>
        </p:spPr>
        <p:txBody>
          <a:bodyPr/>
          <a:lstStyle/>
          <a:p>
            <a:r>
              <a:rPr lang="en-US"/>
              <a:t>Click to edit Master title style</a:t>
            </a:r>
          </a:p>
        </p:txBody>
      </p:sp>
      <p:sp>
        <p:nvSpPr>
          <p:cNvPr id="3" name="Text Placeholder 2"/>
          <p:cNvSpPr>
            <a:spLocks noGrp="1"/>
          </p:cNvSpPr>
          <p:nvPr>
            <p:ph type="body" idx="1"/>
          </p:nvPr>
        </p:nvSpPr>
        <p:spPr>
          <a:xfrm>
            <a:off x="840318" y="1680634"/>
            <a:ext cx="5158316" cy="825500"/>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840318" y="2506133"/>
            <a:ext cx="5158316" cy="368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0634"/>
            <a:ext cx="5183717" cy="825500"/>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72200" y="2506133"/>
            <a:ext cx="5183717" cy="368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defTabSz="1219170">
              <a:defRPr/>
            </a:pPr>
            <a:fld id="{7A023579-7918-40C8-97FB-CB004E8E36BB}"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defTabSz="1219170">
              <a:defRPr/>
            </a:pPr>
            <a:fld id="{85F2E774-4933-4F7C-ABA5-B1F3708C85FD}"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298289452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defTabSz="1219170">
              <a:defRPr/>
            </a:pPr>
            <a:fld id="{1C4CB1A5-D3DE-471D-BB9A-36F939DDD307}"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defTabSz="1219170">
              <a:defRPr/>
            </a:pPr>
            <a:fld id="{A572A68F-74C1-481D-AB0A-451DCFF72F59}"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37690412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defTabSz="1219170">
              <a:defRPr/>
            </a:pPr>
            <a:fld id="{75E179E0-A8A8-4E87-9FD0-8C44C2F4DAE9}"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defTabSz="1219170">
              <a:defRPr/>
            </a:pPr>
            <a:fld id="{38CF7E06-BF1F-471B-8B37-890316543EC9}"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10224979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69"/>
        <p:cNvGrpSpPr/>
        <p:nvPr/>
      </p:nvGrpSpPr>
      <p:grpSpPr>
        <a:xfrm>
          <a:off x="0" y="0"/>
          <a:ext cx="0" cy="0"/>
          <a:chOff x="0" y="0"/>
          <a:chExt cx="0" cy="0"/>
        </a:xfrm>
      </p:grpSpPr>
      <p:grpSp>
        <p:nvGrpSpPr>
          <p:cNvPr id="70" name="Google Shape;70;g91f7f3216c_0_137"/>
          <p:cNvGrpSpPr/>
          <p:nvPr/>
        </p:nvGrpSpPr>
        <p:grpSpPr>
          <a:xfrm>
            <a:off x="5875200" y="0"/>
            <a:ext cx="6316800" cy="6858000"/>
            <a:chOff x="4406400" y="0"/>
            <a:chExt cx="4737600" cy="5143500"/>
          </a:xfrm>
        </p:grpSpPr>
        <p:sp>
          <p:nvSpPr>
            <p:cNvPr id="71" name="Google Shape;71;g91f7f3216c_0_137"/>
            <p:cNvSpPr/>
            <p:nvPr/>
          </p:nvSpPr>
          <p:spPr>
            <a:xfrm rot="5400000">
              <a:off x="4407900" y="-1500"/>
              <a:ext cx="4734600" cy="4737600"/>
            </a:xfrm>
            <a:prstGeom prst="diagStripe">
              <a:avLst>
                <a:gd name="adj" fmla="val 49469"/>
              </a:avLst>
            </a:prstGeom>
            <a:solidFill>
              <a:schemeClr val="lt1">
                <a:alpha val="346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2" name="Google Shape;72;g91f7f3216c_0_137"/>
            <p:cNvSpPr/>
            <p:nvPr/>
          </p:nvSpPr>
          <p:spPr>
            <a:xfrm rot="5400000">
              <a:off x="4840825" y="6000"/>
              <a:ext cx="4298700" cy="4286700"/>
            </a:xfrm>
            <a:prstGeom prst="diagStripe">
              <a:avLst>
                <a:gd name="adj" fmla="val 0"/>
              </a:avLst>
            </a:prstGeom>
            <a:solidFill>
              <a:schemeClr val="lt1">
                <a:alpha val="346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3" name="Google Shape;73;g91f7f3216c_0_137"/>
            <p:cNvSpPr/>
            <p:nvPr/>
          </p:nvSpPr>
          <p:spPr>
            <a:xfrm rot="-5400000">
              <a:off x="5618399" y="1236641"/>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4" name="Google Shape;74;g91f7f3216c_0_137"/>
            <p:cNvSpPr/>
            <p:nvPr/>
          </p:nvSpPr>
          <p:spPr>
            <a:xfrm flipH="1">
              <a:off x="5849857" y="1444078"/>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5" name="Google Shape;75;g91f7f3216c_0_137"/>
            <p:cNvSpPr/>
            <p:nvPr/>
          </p:nvSpPr>
          <p:spPr>
            <a:xfrm rot="-5400000">
              <a:off x="5987081" y="2469743"/>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6" name="Google Shape;76;g91f7f3216c_0_137"/>
            <p:cNvSpPr/>
            <p:nvPr/>
          </p:nvSpPr>
          <p:spPr>
            <a:xfrm flipH="1">
              <a:off x="6222115" y="2677179"/>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7" name="Google Shape;77;g91f7f3216c_0_137"/>
            <p:cNvSpPr/>
            <p:nvPr/>
          </p:nvSpPr>
          <p:spPr>
            <a:xfrm rot="-5400000">
              <a:off x="6675341" y="1862244"/>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8" name="Google Shape;78;g91f7f3216c_0_137"/>
            <p:cNvSpPr/>
            <p:nvPr/>
          </p:nvSpPr>
          <p:spPr>
            <a:xfrm flipH="1">
              <a:off x="6908099" y="2069680"/>
              <a:ext cx="808800" cy="808800"/>
            </a:xfrm>
            <a:prstGeom prst="diagStripe">
              <a:avLst>
                <a:gd name="adj" fmla="val 50000"/>
              </a:avLst>
            </a:prstGeom>
            <a:solidFill>
              <a:schemeClr val="lt2"/>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9" name="Google Shape;79;g91f7f3216c_0_137"/>
            <p:cNvSpPr/>
            <p:nvPr/>
          </p:nvSpPr>
          <p:spPr>
            <a:xfrm rot="-5400000">
              <a:off x="6861141" y="2478088"/>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0" name="Google Shape;80;g91f7f3216c_0_137"/>
            <p:cNvSpPr/>
            <p:nvPr/>
          </p:nvSpPr>
          <p:spPr>
            <a:xfrm flipH="1">
              <a:off x="7965266" y="2693191"/>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1" name="Google Shape;81;g91f7f3216c_0_137"/>
            <p:cNvSpPr/>
            <p:nvPr/>
          </p:nvSpPr>
          <p:spPr>
            <a:xfrm flipH="1">
              <a:off x="8145082" y="3309036"/>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2" name="Google Shape;82;g91f7f3216c_0_137"/>
            <p:cNvSpPr/>
            <p:nvPr/>
          </p:nvSpPr>
          <p:spPr>
            <a:xfrm rot="-5400000">
              <a:off x="7047599" y="3095345"/>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3" name="Google Shape;83;g91f7f3216c_0_137"/>
            <p:cNvSpPr/>
            <p:nvPr/>
          </p:nvSpPr>
          <p:spPr>
            <a:xfrm flipH="1">
              <a:off x="7276649" y="3302781"/>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4" name="Google Shape;84;g91f7f3216c_0_137"/>
            <p:cNvSpPr/>
            <p:nvPr/>
          </p:nvSpPr>
          <p:spPr>
            <a:xfrm rot="-5400000">
              <a:off x="7227414" y="3711189"/>
              <a:ext cx="808800" cy="808800"/>
            </a:xfrm>
            <a:prstGeom prst="diagStripe">
              <a:avLst>
                <a:gd name="adj" fmla="val 50000"/>
              </a:avLst>
            </a:prstGeom>
            <a:solidFill>
              <a:schemeClr val="accent1"/>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5" name="Google Shape;85;g91f7f3216c_0_137"/>
            <p:cNvSpPr/>
            <p:nvPr/>
          </p:nvSpPr>
          <p:spPr>
            <a:xfrm flipH="1">
              <a:off x="7462448" y="3918625"/>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6" name="Google Shape;86;g91f7f3216c_0_137"/>
            <p:cNvSpPr/>
            <p:nvPr/>
          </p:nvSpPr>
          <p:spPr>
            <a:xfrm rot="-5400000">
              <a:off x="8102491" y="3718856"/>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7" name="Google Shape;87;g91f7f3216c_0_137"/>
            <p:cNvSpPr/>
            <p:nvPr/>
          </p:nvSpPr>
          <p:spPr>
            <a:xfrm flipH="1">
              <a:off x="8334533" y="3926292"/>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8" name="Google Shape;88;g91f7f3216c_0_137"/>
            <p:cNvSpPr/>
            <p:nvPr/>
          </p:nvSpPr>
          <p:spPr>
            <a:xfrm rot="-5400000">
              <a:off x="8288290" y="4334700"/>
              <a:ext cx="808800" cy="808800"/>
            </a:xfrm>
            <a:prstGeom prst="diagStripe">
              <a:avLst>
                <a:gd name="adj" fmla="val 50000"/>
              </a:avLst>
            </a:prstGeom>
            <a:solidFill>
              <a:schemeClr val="lt1">
                <a:alpha val="731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89" name="Google Shape;89;g91f7f3216c_0_137"/>
          <p:cNvSpPr txBox="1">
            <a:spLocks noGrp="1"/>
          </p:cNvSpPr>
          <p:nvPr>
            <p:ph type="title"/>
          </p:nvPr>
        </p:nvSpPr>
        <p:spPr>
          <a:xfrm>
            <a:off x="1098467" y="1155700"/>
            <a:ext cx="6116000" cy="4694800"/>
          </a:xfrm>
          <a:prstGeom prst="rect">
            <a:avLst/>
          </a:prstGeom>
        </p:spPr>
        <p:txBody>
          <a:bodyPr spcFirstLastPara="1" wrap="square" lIns="91425" tIns="91425" rIns="91425" bIns="91425" anchor="ctr"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90" name="Google Shape;90;g91f7f3216c_0_13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defTabSz="1219170">
              <a:buClr>
                <a:srgbClr val="000000"/>
              </a:buClr>
            </a:pPr>
            <a:fld id="{00000000-1234-1234-1234-123412341234}" type="slidenum">
              <a:rPr lang="en-GB" kern="0" smtClean="0">
                <a:solidFill>
                  <a:srgbClr val="FFFFFF"/>
                </a:solidFill>
              </a:rPr>
              <a:pPr defTabSz="1219170">
                <a:buClr>
                  <a:srgbClr val="000000"/>
                </a:buClr>
              </a:pPr>
              <a:t>‹#›</a:t>
            </a:fld>
            <a:endParaRPr lang="en-GB" kern="0">
              <a:solidFill>
                <a:srgbClr val="FFFFFF"/>
              </a:solidFill>
            </a:endParaRPr>
          </a:p>
        </p:txBody>
      </p:sp>
    </p:spTree>
    <p:extLst>
      <p:ext uri="{BB962C8B-B14F-4D97-AF65-F5344CB8AC3E}">
        <p14:creationId xmlns:p14="http://schemas.microsoft.com/office/powerpoint/2010/main" val="20906244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p:spPr>
        <p:txBody>
          <a:bodyPr anchor="b"/>
          <a:lstStyle>
            <a:lvl1pPr>
              <a:defRPr sz="4267"/>
            </a:lvl1pPr>
          </a:lstStyle>
          <a:p>
            <a:r>
              <a:rPr lang="en-US"/>
              <a:t>Click to edit Master title style</a:t>
            </a:r>
          </a:p>
        </p:txBody>
      </p:sp>
      <p:sp>
        <p:nvSpPr>
          <p:cNvPr id="3" name="Content Placeholder 2"/>
          <p:cNvSpPr>
            <a:spLocks noGrp="1"/>
          </p:cNvSpPr>
          <p:nvPr>
            <p:ph idx="1"/>
          </p:nvPr>
        </p:nvSpPr>
        <p:spPr>
          <a:xfrm>
            <a:off x="5183717" y="988485"/>
            <a:ext cx="6172200" cy="4872567"/>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40318" y="2057400"/>
            <a:ext cx="3932767" cy="3812117"/>
          </a:xfrm>
        </p:spPr>
        <p:txBody>
          <a:bodyPr/>
          <a:lstStyle>
            <a:lvl1pPr marL="0" indent="0">
              <a:buNone/>
              <a:defRPr sz="2133"/>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defTabSz="1219170">
              <a:defRPr/>
            </a:pPr>
            <a:fld id="{A06F39B9-7C8A-4ADC-9AB4-FA9313B79450}"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1219170">
              <a:defRPr/>
            </a:pPr>
            <a:fld id="{B5490C7E-7CC3-4D32-9EDE-8899A9E1E691}"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192212554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p:spPr>
        <p:txBody>
          <a:bodyPr anchor="b"/>
          <a:lstStyle>
            <a:lvl1pPr>
              <a:defRPr sz="4267"/>
            </a:lvl1pPr>
          </a:lstStyle>
          <a:p>
            <a:r>
              <a:rPr lang="en-US"/>
              <a:t>Click to edit Master title style</a:t>
            </a:r>
          </a:p>
        </p:txBody>
      </p:sp>
      <p:sp>
        <p:nvSpPr>
          <p:cNvPr id="3" name="Picture Placeholder 2"/>
          <p:cNvSpPr>
            <a:spLocks noGrp="1"/>
          </p:cNvSpPr>
          <p:nvPr>
            <p:ph type="pic" idx="1"/>
          </p:nvPr>
        </p:nvSpPr>
        <p:spPr>
          <a:xfrm>
            <a:off x="5183717" y="988485"/>
            <a:ext cx="6172200" cy="4872567"/>
          </a:xfr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4" name="Text Placeholder 3"/>
          <p:cNvSpPr>
            <a:spLocks noGrp="1"/>
          </p:cNvSpPr>
          <p:nvPr>
            <p:ph type="body" sz="half" idx="2"/>
          </p:nvPr>
        </p:nvSpPr>
        <p:spPr>
          <a:xfrm>
            <a:off x="840318" y="2057400"/>
            <a:ext cx="3932767" cy="3812117"/>
          </a:xfrm>
        </p:spPr>
        <p:txBody>
          <a:bodyPr/>
          <a:lstStyle>
            <a:lvl1pPr marL="0" indent="0">
              <a:buNone/>
              <a:defRPr sz="2133"/>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defTabSz="1219170">
              <a:defRPr/>
            </a:pPr>
            <a:fld id="{F26206E5-23B5-46F2-8BD0-3AF5495D8103}"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1219170">
              <a:defRPr/>
            </a:pPr>
            <a:fld id="{E1627B25-83A0-4511-B175-9D0238FDB848}"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388252661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defTabSz="1219170">
              <a:defRPr/>
            </a:pPr>
            <a:fld id="{52D2FCCB-E4C2-4719-B819-7DEF971446C7}"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1219170">
              <a:defRPr/>
            </a:pPr>
            <a:fld id="{7326B239-AAC9-42F7-9557-F21C1BF42C41}"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234521628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6185"/>
            <a:ext cx="2628900" cy="581024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6185"/>
            <a:ext cx="7683500" cy="581024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defTabSz="1219170">
              <a:defRPr/>
            </a:pPr>
            <a:fld id="{5B20D5A4-6FD6-4754-929E-A74060095023}"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1219170">
              <a:defRPr/>
            </a:pPr>
            <a:fld id="{82A8AFEC-2F7B-413E-8E61-BE11EC9FAADA}"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410444029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2246811"/>
            <a:ext cx="9144000" cy="727574"/>
          </a:xfrm>
          <a:prstGeom prst="rect">
            <a:avLst/>
          </a:prstGeom>
        </p:spPr>
        <p:txBody>
          <a:bodyPr anchor="b"/>
          <a:lstStyle>
            <a:lvl1pPr algn="ctr">
              <a:defRPr sz="4399"/>
            </a:lvl1pPr>
          </a:lstStyle>
          <a:p>
            <a:r>
              <a:rPr lang="en-US"/>
              <a:t>Click to edit Master title style</a:t>
            </a:r>
            <a:endParaRPr lang="en-IN" dirty="0"/>
          </a:p>
        </p:txBody>
      </p:sp>
      <p:sp>
        <p:nvSpPr>
          <p:cNvPr id="3" name="Subtitle 2"/>
          <p:cNvSpPr>
            <a:spLocks noGrp="1"/>
          </p:cNvSpPr>
          <p:nvPr>
            <p:ph type="subTitle" idx="1"/>
          </p:nvPr>
        </p:nvSpPr>
        <p:spPr>
          <a:xfrm>
            <a:off x="1524001" y="3602040"/>
            <a:ext cx="9144000" cy="525825"/>
          </a:xfrm>
          <a:prstGeom prst="rect">
            <a:avLst/>
          </a:prstGeo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endParaRPr lang="en-IN" dirty="0"/>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914126">
              <a:defRPr/>
            </a:pPr>
            <a:fld id="{83CDDF50-2691-4A96-A320-FAE26882475A}" type="datetimeFigureOut">
              <a:rPr lang="en-IN" sz="1799" smtClean="0">
                <a:solidFill>
                  <a:prstClr val="black"/>
                </a:solidFill>
              </a:rPr>
              <a:pPr defTabSz="914126">
                <a:defRPr/>
              </a:pPr>
              <a:t>01-12-2022</a:t>
            </a:fld>
            <a:endParaRPr lang="en-IN" sz="1799">
              <a:solidFill>
                <a:prstClr val="black"/>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914126">
              <a:defRPr/>
            </a:pPr>
            <a:endParaRPr lang="en-IN" sz="1799">
              <a:solidFill>
                <a:prstClr val="black"/>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4126">
              <a:defRPr/>
            </a:pPr>
            <a:fld id="{E74C42B1-5A19-486C-A487-15095F4D7BCC}" type="slidenum">
              <a:rPr lang="en-IN" smtClean="0">
                <a:solidFill>
                  <a:prstClr val="black"/>
                </a:solidFill>
              </a:rPr>
              <a:pPr defTabSz="914126">
                <a:defRPr/>
              </a:pPr>
              <a:t>‹#›</a:t>
            </a:fld>
            <a:endParaRPr lang="en-IN">
              <a:solidFill>
                <a:prstClr val="black"/>
              </a:solidFill>
            </a:endParaRPr>
          </a:p>
        </p:txBody>
      </p:sp>
    </p:spTree>
    <p:extLst>
      <p:ext uri="{BB962C8B-B14F-4D97-AF65-F5344CB8AC3E}">
        <p14:creationId xmlns:p14="http://schemas.microsoft.com/office/powerpoint/2010/main" val="245508661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31075" y="6363518"/>
            <a:ext cx="2743200" cy="365125"/>
          </a:xfrm>
          <a:prstGeom prst="rect">
            <a:avLst/>
          </a:prstGeom>
        </p:spPr>
        <p:txBody>
          <a:bodyPr/>
          <a:lstStyle/>
          <a:p>
            <a:pPr defTabSz="914126">
              <a:defRPr/>
            </a:pPr>
            <a:fld id="{83CDDF50-2691-4A96-A320-FAE26882475A}" type="datetimeFigureOut">
              <a:rPr lang="en-IN" sz="1799" smtClean="0">
                <a:solidFill>
                  <a:prstClr val="black"/>
                </a:solidFill>
              </a:rPr>
              <a:pPr defTabSz="914126">
                <a:defRPr/>
              </a:pPr>
              <a:t>01-12-2022</a:t>
            </a:fld>
            <a:endParaRPr lang="en-IN" sz="1799">
              <a:solidFill>
                <a:prstClr val="black"/>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914126">
              <a:defRPr/>
            </a:pPr>
            <a:endParaRPr lang="en-IN" sz="1799">
              <a:solidFill>
                <a:prstClr val="black"/>
              </a:solidFill>
            </a:endParaRPr>
          </a:p>
        </p:txBody>
      </p:sp>
      <p:sp>
        <p:nvSpPr>
          <p:cNvPr id="6" name="Slide Number Placeholder 5"/>
          <p:cNvSpPr>
            <a:spLocks noGrp="1"/>
          </p:cNvSpPr>
          <p:nvPr>
            <p:ph type="sldNum" sz="quarter" idx="12"/>
          </p:nvPr>
        </p:nvSpPr>
        <p:spPr>
          <a:xfrm>
            <a:off x="8739051" y="6354718"/>
            <a:ext cx="2743200" cy="365125"/>
          </a:xfrm>
          <a:prstGeom prst="rect">
            <a:avLst/>
          </a:prstGeom>
        </p:spPr>
        <p:txBody>
          <a:bodyPr/>
          <a:lstStyle/>
          <a:p>
            <a:pPr defTabSz="914126">
              <a:defRPr/>
            </a:pPr>
            <a:fld id="{E74C42B1-5A19-486C-A487-15095F4D7BCC}" type="slidenum">
              <a:rPr lang="en-IN" smtClean="0">
                <a:solidFill>
                  <a:prstClr val="black"/>
                </a:solidFill>
              </a:rPr>
              <a:pPr defTabSz="914126">
                <a:defRPr/>
              </a:pPr>
              <a:t>‹#›</a:t>
            </a:fld>
            <a:endParaRPr lang="en-IN">
              <a:solidFill>
                <a:prstClr val="black"/>
              </a:solidFill>
            </a:endParaRPr>
          </a:p>
        </p:txBody>
      </p:sp>
      <p:sp>
        <p:nvSpPr>
          <p:cNvPr id="7"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
        <p:nvSpPr>
          <p:cNvPr id="8" name="Rectangle 3"/>
          <p:cNvSpPr>
            <a:spLocks noGrp="1" noChangeArrowheads="1"/>
          </p:cNvSpPr>
          <p:nvPr>
            <p:ph idx="1"/>
          </p:nvPr>
        </p:nvSpPr>
        <p:spPr bwMode="auto">
          <a:xfrm>
            <a:off x="431075" y="1371601"/>
            <a:ext cx="11051176" cy="4950817"/>
          </a:xfrm>
          <a:prstGeom prst="rect">
            <a:avLst/>
          </a:prstGeom>
          <a:noFill/>
          <a:ln w="9525">
            <a:noFill/>
            <a:miter lim="800000"/>
          </a:ln>
        </p:spPr>
        <p:txBody>
          <a:bodyPr vert="horz" wrap="square" lIns="91429" tIns="45715" rIns="91429" bIns="45715" numCol="1" anchor="t" anchorCtr="0" compatLnSpc="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7382842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a:prstGeom prst="rect">
            <a:avLst/>
          </a:prstGeom>
        </p:spPr>
        <p:txBody>
          <a:bodyPr anchor="ctr"/>
          <a:lstStyle>
            <a:lvl1pPr algn="ctr">
              <a:defRPr sz="4399"/>
            </a:lvl1pPr>
          </a:lstStyle>
          <a:p>
            <a:r>
              <a:rPr lang="en-US"/>
              <a:t>Click to edit Master title style</a:t>
            </a:r>
            <a:endParaRPr lang="en-IN" dirty="0"/>
          </a:p>
        </p:txBody>
      </p:sp>
      <p:sp>
        <p:nvSpPr>
          <p:cNvPr id="3" name="Text Placeholder 2"/>
          <p:cNvSpPr>
            <a:spLocks noGrp="1"/>
          </p:cNvSpPr>
          <p:nvPr>
            <p:ph type="body" idx="1"/>
          </p:nvPr>
        </p:nvSpPr>
        <p:spPr>
          <a:xfrm>
            <a:off x="831850" y="4589465"/>
            <a:ext cx="10515600" cy="1500187"/>
          </a:xfrm>
          <a:prstGeom prst="rect">
            <a:avLst/>
          </a:prstGeom>
        </p:spPr>
        <p:txBody>
          <a:bodyPr anchor="ctr"/>
          <a:lstStyle>
            <a:lvl1pPr marL="0" indent="0" algn="ctr">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914126">
              <a:defRPr/>
            </a:pPr>
            <a:fld id="{83CDDF50-2691-4A96-A320-FAE26882475A}" type="datetimeFigureOut">
              <a:rPr lang="en-IN" sz="1799" smtClean="0">
                <a:solidFill>
                  <a:prstClr val="black"/>
                </a:solidFill>
              </a:rPr>
              <a:pPr defTabSz="914126">
                <a:defRPr/>
              </a:pPr>
              <a:t>01-12-2022</a:t>
            </a:fld>
            <a:endParaRPr lang="en-IN" sz="1799">
              <a:solidFill>
                <a:prstClr val="black"/>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914126">
              <a:defRPr/>
            </a:pPr>
            <a:endParaRPr lang="en-IN" sz="1799">
              <a:solidFill>
                <a:prstClr val="black"/>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4126">
              <a:defRPr/>
            </a:pPr>
            <a:fld id="{E74C42B1-5A19-486C-A487-15095F4D7BCC}" type="slidenum">
              <a:rPr lang="en-IN" smtClean="0">
                <a:solidFill>
                  <a:prstClr val="black"/>
                </a:solidFill>
              </a:rPr>
              <a:pPr defTabSz="914126">
                <a:defRPr/>
              </a:pPr>
              <a:t>‹#›</a:t>
            </a:fld>
            <a:endParaRPr lang="en-IN">
              <a:solidFill>
                <a:prstClr val="black"/>
              </a:solidFill>
            </a:endParaRPr>
          </a:p>
        </p:txBody>
      </p:sp>
    </p:spTree>
    <p:extLst>
      <p:ext uri="{BB962C8B-B14F-4D97-AF65-F5344CB8AC3E}">
        <p14:creationId xmlns:p14="http://schemas.microsoft.com/office/powerpoint/2010/main" val="14695777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81001" y="1348669"/>
            <a:ext cx="5418910" cy="4817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199" y="1348669"/>
            <a:ext cx="5638802" cy="48169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a:xfrm>
            <a:off x="381000" y="6356352"/>
            <a:ext cx="2743200" cy="365125"/>
          </a:xfrm>
          <a:prstGeom prst="rect">
            <a:avLst/>
          </a:prstGeom>
        </p:spPr>
        <p:txBody>
          <a:bodyPr/>
          <a:lstStyle/>
          <a:p>
            <a:pPr defTabSz="914126">
              <a:defRPr/>
            </a:pPr>
            <a:fld id="{83CDDF50-2691-4A96-A320-FAE26882475A}" type="datetimeFigureOut">
              <a:rPr lang="en-IN" sz="1799" smtClean="0">
                <a:solidFill>
                  <a:prstClr val="black"/>
                </a:solidFill>
              </a:rPr>
              <a:pPr defTabSz="914126">
                <a:defRPr/>
              </a:pPr>
              <a:t>01-12-2022</a:t>
            </a:fld>
            <a:endParaRPr lang="en-IN" sz="1799">
              <a:solidFill>
                <a:prstClr val="black"/>
              </a:solidFill>
            </a:endParaRPr>
          </a:p>
        </p:txBody>
      </p:sp>
      <p:sp>
        <p:nvSpPr>
          <p:cNvPr id="6" name="Footer Placeholder 5"/>
          <p:cNvSpPr>
            <a:spLocks noGrp="1"/>
          </p:cNvSpPr>
          <p:nvPr>
            <p:ph type="ftr" sz="quarter" idx="11"/>
          </p:nvPr>
        </p:nvSpPr>
        <p:spPr>
          <a:xfrm>
            <a:off x="4038601" y="6356352"/>
            <a:ext cx="4114800" cy="365125"/>
          </a:xfrm>
          <a:prstGeom prst="rect">
            <a:avLst/>
          </a:prstGeom>
        </p:spPr>
        <p:txBody>
          <a:bodyPr/>
          <a:lstStyle/>
          <a:p>
            <a:pPr defTabSz="914126">
              <a:defRPr/>
            </a:pPr>
            <a:endParaRPr lang="en-IN" sz="1799">
              <a:solidFill>
                <a:prstClr val="black"/>
              </a:solidFill>
            </a:endParaRPr>
          </a:p>
        </p:txBody>
      </p:sp>
      <p:sp>
        <p:nvSpPr>
          <p:cNvPr id="7" name="Slide Number Placeholder 6"/>
          <p:cNvSpPr>
            <a:spLocks noGrp="1"/>
          </p:cNvSpPr>
          <p:nvPr>
            <p:ph type="sldNum" sz="quarter" idx="12"/>
          </p:nvPr>
        </p:nvSpPr>
        <p:spPr>
          <a:xfrm>
            <a:off x="9067800" y="6356352"/>
            <a:ext cx="2743200" cy="365125"/>
          </a:xfrm>
          <a:prstGeom prst="rect">
            <a:avLst/>
          </a:prstGeom>
        </p:spPr>
        <p:txBody>
          <a:bodyPr/>
          <a:lstStyle/>
          <a:p>
            <a:pPr defTabSz="914126">
              <a:defRPr/>
            </a:pPr>
            <a:fld id="{E74C42B1-5A19-486C-A487-15095F4D7BCC}" type="slidenum">
              <a:rPr lang="en-IN" smtClean="0">
                <a:solidFill>
                  <a:prstClr val="black"/>
                </a:solidFill>
              </a:rPr>
              <a:pPr defTabSz="914126">
                <a:defRPr/>
              </a:pPr>
              <a:t>‹#›</a:t>
            </a:fld>
            <a:endParaRPr lang="en-IN">
              <a:solidFill>
                <a:prstClr val="black"/>
              </a:solidFill>
            </a:endParaRPr>
          </a:p>
        </p:txBody>
      </p:sp>
      <p:sp>
        <p:nvSpPr>
          <p:cNvPr id="8"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Tree>
    <p:extLst>
      <p:ext uri="{BB962C8B-B14F-4D97-AF65-F5344CB8AC3E}">
        <p14:creationId xmlns:p14="http://schemas.microsoft.com/office/powerpoint/2010/main" val="134827643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1001" y="1295334"/>
            <a:ext cx="5418910" cy="368910"/>
          </a:xfrm>
          <a:prstGeom prst="rect">
            <a:avLst/>
          </a:prstGeo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5" name="Text Placeholder 4"/>
          <p:cNvSpPr>
            <a:spLocks noGrp="1"/>
          </p:cNvSpPr>
          <p:nvPr>
            <p:ph type="body" sz="quarter" idx="3"/>
          </p:nvPr>
        </p:nvSpPr>
        <p:spPr>
          <a:xfrm>
            <a:off x="6172200" y="1330577"/>
            <a:ext cx="5638800" cy="368910"/>
          </a:xfrm>
          <a:prstGeom prst="rect">
            <a:avLst/>
          </a:prstGeo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10"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
        <p:nvSpPr>
          <p:cNvPr id="11" name="Content Placeholder 2"/>
          <p:cNvSpPr>
            <a:spLocks noGrp="1"/>
          </p:cNvSpPr>
          <p:nvPr>
            <p:ph sz="half" idx="10"/>
          </p:nvPr>
        </p:nvSpPr>
        <p:spPr>
          <a:xfrm>
            <a:off x="381001" y="1854925"/>
            <a:ext cx="5418910" cy="431074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2" name="Content Placeholder 3"/>
          <p:cNvSpPr>
            <a:spLocks noGrp="1"/>
          </p:cNvSpPr>
          <p:nvPr>
            <p:ph sz="half" idx="2"/>
          </p:nvPr>
        </p:nvSpPr>
        <p:spPr>
          <a:xfrm>
            <a:off x="6172199" y="1854926"/>
            <a:ext cx="5638802" cy="431074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3" name="Date Placeholder 4"/>
          <p:cNvSpPr>
            <a:spLocks noGrp="1"/>
          </p:cNvSpPr>
          <p:nvPr>
            <p:ph type="dt" sz="half" idx="11"/>
          </p:nvPr>
        </p:nvSpPr>
        <p:spPr>
          <a:xfrm>
            <a:off x="381000" y="6356352"/>
            <a:ext cx="2743200" cy="365125"/>
          </a:xfrm>
          <a:prstGeom prst="rect">
            <a:avLst/>
          </a:prstGeom>
        </p:spPr>
        <p:txBody>
          <a:bodyPr/>
          <a:lstStyle/>
          <a:p>
            <a:pPr defTabSz="914126">
              <a:defRPr/>
            </a:pPr>
            <a:fld id="{83CDDF50-2691-4A96-A320-FAE26882475A}" type="datetimeFigureOut">
              <a:rPr lang="en-IN" sz="1799" smtClean="0">
                <a:solidFill>
                  <a:prstClr val="black"/>
                </a:solidFill>
              </a:rPr>
              <a:pPr defTabSz="914126">
                <a:defRPr/>
              </a:pPr>
              <a:t>01-12-2022</a:t>
            </a:fld>
            <a:endParaRPr lang="en-IN" sz="1799">
              <a:solidFill>
                <a:prstClr val="black"/>
              </a:solidFill>
            </a:endParaRPr>
          </a:p>
        </p:txBody>
      </p:sp>
      <p:sp>
        <p:nvSpPr>
          <p:cNvPr id="14" name="Footer Placeholder 5"/>
          <p:cNvSpPr>
            <a:spLocks noGrp="1"/>
          </p:cNvSpPr>
          <p:nvPr>
            <p:ph type="ftr" sz="quarter" idx="12"/>
          </p:nvPr>
        </p:nvSpPr>
        <p:spPr>
          <a:xfrm>
            <a:off x="4038601" y="6356352"/>
            <a:ext cx="4114800" cy="365125"/>
          </a:xfrm>
          <a:prstGeom prst="rect">
            <a:avLst/>
          </a:prstGeom>
        </p:spPr>
        <p:txBody>
          <a:bodyPr/>
          <a:lstStyle/>
          <a:p>
            <a:pPr defTabSz="914126">
              <a:defRPr/>
            </a:pPr>
            <a:endParaRPr lang="en-IN" sz="1799">
              <a:solidFill>
                <a:prstClr val="black"/>
              </a:solidFill>
            </a:endParaRPr>
          </a:p>
        </p:txBody>
      </p:sp>
      <p:sp>
        <p:nvSpPr>
          <p:cNvPr id="15" name="Slide Number Placeholder 6"/>
          <p:cNvSpPr>
            <a:spLocks noGrp="1"/>
          </p:cNvSpPr>
          <p:nvPr>
            <p:ph type="sldNum" sz="quarter" idx="13"/>
          </p:nvPr>
        </p:nvSpPr>
        <p:spPr>
          <a:xfrm>
            <a:off x="9067800" y="6356352"/>
            <a:ext cx="2743200" cy="365125"/>
          </a:xfrm>
          <a:prstGeom prst="rect">
            <a:avLst/>
          </a:prstGeom>
        </p:spPr>
        <p:txBody>
          <a:bodyPr/>
          <a:lstStyle/>
          <a:p>
            <a:pPr defTabSz="914126">
              <a:defRPr/>
            </a:pPr>
            <a:fld id="{E74C42B1-5A19-486C-A487-15095F4D7BCC}" type="slidenum">
              <a:rPr lang="en-IN" smtClean="0">
                <a:solidFill>
                  <a:prstClr val="black"/>
                </a:solidFill>
              </a:rPr>
              <a:pPr defTabSz="914126">
                <a:defRPr/>
              </a:pPr>
              <a:t>‹#›</a:t>
            </a:fld>
            <a:endParaRPr lang="en-IN">
              <a:solidFill>
                <a:prstClr val="black"/>
              </a:solidFill>
            </a:endParaRPr>
          </a:p>
        </p:txBody>
      </p:sp>
    </p:spTree>
    <p:extLst>
      <p:ext uri="{BB962C8B-B14F-4D97-AF65-F5344CB8AC3E}">
        <p14:creationId xmlns:p14="http://schemas.microsoft.com/office/powerpoint/2010/main" val="177116820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a:t>Click to edit Master title style</a:t>
            </a:r>
            <a:endParaRPr lang="en-US" dirty="0"/>
          </a:p>
        </p:txBody>
      </p:sp>
      <p:sp>
        <p:nvSpPr>
          <p:cNvPr id="11" name="Date Placeholder 4"/>
          <p:cNvSpPr>
            <a:spLocks noGrp="1"/>
          </p:cNvSpPr>
          <p:nvPr>
            <p:ph type="dt" sz="half" idx="11"/>
          </p:nvPr>
        </p:nvSpPr>
        <p:spPr>
          <a:xfrm>
            <a:off x="381000" y="6356352"/>
            <a:ext cx="2743200" cy="365125"/>
          </a:xfrm>
          <a:prstGeom prst="rect">
            <a:avLst/>
          </a:prstGeom>
        </p:spPr>
        <p:txBody>
          <a:bodyPr/>
          <a:lstStyle/>
          <a:p>
            <a:pPr defTabSz="914126">
              <a:defRPr/>
            </a:pPr>
            <a:fld id="{83CDDF50-2691-4A96-A320-FAE26882475A}" type="datetimeFigureOut">
              <a:rPr lang="en-IN" sz="1799" smtClean="0">
                <a:solidFill>
                  <a:prstClr val="black"/>
                </a:solidFill>
              </a:rPr>
              <a:pPr defTabSz="914126">
                <a:defRPr/>
              </a:pPr>
              <a:t>01-12-2022</a:t>
            </a:fld>
            <a:endParaRPr lang="en-IN" sz="1799">
              <a:solidFill>
                <a:prstClr val="black"/>
              </a:solidFill>
            </a:endParaRPr>
          </a:p>
        </p:txBody>
      </p:sp>
      <p:sp>
        <p:nvSpPr>
          <p:cNvPr id="12" name="Footer Placeholder 5"/>
          <p:cNvSpPr>
            <a:spLocks noGrp="1"/>
          </p:cNvSpPr>
          <p:nvPr>
            <p:ph type="ftr" sz="quarter" idx="12"/>
          </p:nvPr>
        </p:nvSpPr>
        <p:spPr>
          <a:xfrm>
            <a:off x="4038601" y="6356352"/>
            <a:ext cx="4114800" cy="365125"/>
          </a:xfrm>
          <a:prstGeom prst="rect">
            <a:avLst/>
          </a:prstGeom>
        </p:spPr>
        <p:txBody>
          <a:bodyPr/>
          <a:lstStyle/>
          <a:p>
            <a:pPr defTabSz="914126">
              <a:defRPr/>
            </a:pPr>
            <a:endParaRPr lang="en-IN" sz="1799">
              <a:solidFill>
                <a:prstClr val="black"/>
              </a:solidFill>
            </a:endParaRPr>
          </a:p>
        </p:txBody>
      </p:sp>
      <p:sp>
        <p:nvSpPr>
          <p:cNvPr id="13" name="Slide Number Placeholder 6"/>
          <p:cNvSpPr>
            <a:spLocks noGrp="1"/>
          </p:cNvSpPr>
          <p:nvPr>
            <p:ph type="sldNum" sz="quarter" idx="13"/>
          </p:nvPr>
        </p:nvSpPr>
        <p:spPr>
          <a:xfrm>
            <a:off x="9067800" y="6356352"/>
            <a:ext cx="2743200" cy="365125"/>
          </a:xfrm>
          <a:prstGeom prst="rect">
            <a:avLst/>
          </a:prstGeom>
        </p:spPr>
        <p:txBody>
          <a:bodyPr/>
          <a:lstStyle/>
          <a:p>
            <a:pPr defTabSz="914126">
              <a:defRPr/>
            </a:pPr>
            <a:fld id="{E74C42B1-5A19-486C-A487-15095F4D7BCC}" type="slidenum">
              <a:rPr lang="en-IN" smtClean="0">
                <a:solidFill>
                  <a:prstClr val="black"/>
                </a:solidFill>
              </a:rPr>
              <a:pPr defTabSz="914126">
                <a:defRPr/>
              </a:pPr>
              <a:t>‹#›</a:t>
            </a:fld>
            <a:endParaRPr lang="en-IN">
              <a:solidFill>
                <a:prstClr val="black"/>
              </a:solidFill>
            </a:endParaRPr>
          </a:p>
        </p:txBody>
      </p:sp>
    </p:spTree>
    <p:extLst>
      <p:ext uri="{BB962C8B-B14F-4D97-AF65-F5344CB8AC3E}">
        <p14:creationId xmlns:p14="http://schemas.microsoft.com/office/powerpoint/2010/main" val="28235773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91"/>
        <p:cNvGrpSpPr/>
        <p:nvPr/>
      </p:nvGrpSpPr>
      <p:grpSpPr>
        <a:xfrm>
          <a:off x="0" y="0"/>
          <a:ext cx="0" cy="0"/>
          <a:chOff x="0" y="0"/>
          <a:chExt cx="0" cy="0"/>
        </a:xfrm>
      </p:grpSpPr>
      <p:grpSp>
        <p:nvGrpSpPr>
          <p:cNvPr id="92" name="Google Shape;92;g91f7f3216c_0_159"/>
          <p:cNvGrpSpPr/>
          <p:nvPr/>
        </p:nvGrpSpPr>
        <p:grpSpPr>
          <a:xfrm>
            <a:off x="0" y="508002"/>
            <a:ext cx="1383800" cy="1355049"/>
            <a:chOff x="0" y="381001"/>
            <a:chExt cx="1037850" cy="1016287"/>
          </a:xfrm>
        </p:grpSpPr>
        <p:sp>
          <p:nvSpPr>
            <p:cNvPr id="93" name="Google Shape;93;g91f7f3216c_0_159"/>
            <p:cNvSpPr/>
            <p:nvPr/>
          </p:nvSpPr>
          <p:spPr>
            <a:xfrm rot="-5400000">
              <a:off x="0" y="381001"/>
              <a:ext cx="808800" cy="808800"/>
            </a:xfrm>
            <a:prstGeom prst="diagStripe">
              <a:avLst>
                <a:gd name="adj" fmla="val 50000"/>
              </a:avLst>
            </a:prstGeom>
            <a:solidFill>
              <a:schemeClr val="accent1"/>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4" name="Google Shape;94;g91f7f3216c_0_159"/>
            <p:cNvSpPr/>
            <p:nvPr/>
          </p:nvSpPr>
          <p:spPr>
            <a:xfrm flipH="1">
              <a:off x="229050" y="588489"/>
              <a:ext cx="808800" cy="808800"/>
            </a:xfrm>
            <a:prstGeom prst="diagStripe">
              <a:avLst>
                <a:gd name="adj" fmla="val 50000"/>
              </a:avLst>
            </a:prstGeom>
            <a:solidFill>
              <a:schemeClr val="lt2"/>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95" name="Google Shape;95;g91f7f3216c_0_159"/>
          <p:cNvSpPr txBox="1">
            <a:spLocks noGrp="1"/>
          </p:cNvSpPr>
          <p:nvPr>
            <p:ph type="title"/>
          </p:nvPr>
        </p:nvSpPr>
        <p:spPr>
          <a:xfrm>
            <a:off x="1730000" y="2211100"/>
            <a:ext cx="4048400" cy="2335600"/>
          </a:xfrm>
          <a:prstGeom prst="rect">
            <a:avLst/>
          </a:prstGeom>
        </p:spPr>
        <p:txBody>
          <a:bodyPr spcFirstLastPara="1" wrap="square" lIns="91425" tIns="91425" rIns="91425" bIns="91425" anchor="t" anchorCtr="0">
            <a:no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96" name="Google Shape;96;g91f7f3216c_0_159"/>
          <p:cNvSpPr txBox="1">
            <a:spLocks noGrp="1"/>
          </p:cNvSpPr>
          <p:nvPr>
            <p:ph type="subTitle" idx="1"/>
          </p:nvPr>
        </p:nvSpPr>
        <p:spPr>
          <a:xfrm>
            <a:off x="1730000" y="4717333"/>
            <a:ext cx="4048400" cy="674800"/>
          </a:xfrm>
          <a:prstGeom prst="rect">
            <a:avLst/>
          </a:prstGeom>
        </p:spPr>
        <p:txBody>
          <a:bodyPr spcFirstLastPara="1" wrap="square" lIns="91425" tIns="91425" rIns="91425" bIns="91425" anchor="t" anchorCtr="0">
            <a:noAutofit/>
          </a:bodyPr>
          <a:lstStyle>
            <a:lvl1pPr lvl="0">
              <a:lnSpc>
                <a:spcPct val="100000"/>
              </a:lnSpc>
              <a:spcBef>
                <a:spcPts val="0"/>
              </a:spcBef>
              <a:spcAft>
                <a:spcPts val="0"/>
              </a:spcAft>
              <a:buSzPts val="1300"/>
              <a:buNone/>
              <a:defRPr/>
            </a:lvl1pPr>
            <a:lvl2pPr lvl="1">
              <a:lnSpc>
                <a:spcPct val="100000"/>
              </a:lnSpc>
              <a:spcBef>
                <a:spcPts val="0"/>
              </a:spcBef>
              <a:spcAft>
                <a:spcPts val="0"/>
              </a:spcAft>
              <a:buSzPts val="1300"/>
              <a:buNone/>
              <a:defRPr sz="1733"/>
            </a:lvl2pPr>
            <a:lvl3pPr lvl="2">
              <a:lnSpc>
                <a:spcPct val="100000"/>
              </a:lnSpc>
              <a:spcBef>
                <a:spcPts val="0"/>
              </a:spcBef>
              <a:spcAft>
                <a:spcPts val="0"/>
              </a:spcAft>
              <a:buSzPts val="1300"/>
              <a:buNone/>
              <a:defRPr sz="1733"/>
            </a:lvl3pPr>
            <a:lvl4pPr lvl="3">
              <a:lnSpc>
                <a:spcPct val="100000"/>
              </a:lnSpc>
              <a:spcBef>
                <a:spcPts val="0"/>
              </a:spcBef>
              <a:spcAft>
                <a:spcPts val="0"/>
              </a:spcAft>
              <a:buSzPts val="1300"/>
              <a:buNone/>
              <a:defRPr sz="1733"/>
            </a:lvl4pPr>
            <a:lvl5pPr lvl="4">
              <a:lnSpc>
                <a:spcPct val="100000"/>
              </a:lnSpc>
              <a:spcBef>
                <a:spcPts val="0"/>
              </a:spcBef>
              <a:spcAft>
                <a:spcPts val="0"/>
              </a:spcAft>
              <a:buSzPts val="1300"/>
              <a:buNone/>
              <a:defRPr sz="1733"/>
            </a:lvl5pPr>
            <a:lvl6pPr lvl="5">
              <a:lnSpc>
                <a:spcPct val="100000"/>
              </a:lnSpc>
              <a:spcBef>
                <a:spcPts val="0"/>
              </a:spcBef>
              <a:spcAft>
                <a:spcPts val="0"/>
              </a:spcAft>
              <a:buSzPts val="1300"/>
              <a:buNone/>
              <a:defRPr sz="1733"/>
            </a:lvl6pPr>
            <a:lvl7pPr lvl="6">
              <a:lnSpc>
                <a:spcPct val="100000"/>
              </a:lnSpc>
              <a:spcBef>
                <a:spcPts val="0"/>
              </a:spcBef>
              <a:spcAft>
                <a:spcPts val="0"/>
              </a:spcAft>
              <a:buSzPts val="1300"/>
              <a:buNone/>
              <a:defRPr sz="1733"/>
            </a:lvl7pPr>
            <a:lvl8pPr lvl="7">
              <a:lnSpc>
                <a:spcPct val="100000"/>
              </a:lnSpc>
              <a:spcBef>
                <a:spcPts val="0"/>
              </a:spcBef>
              <a:spcAft>
                <a:spcPts val="0"/>
              </a:spcAft>
              <a:buSzPts val="1300"/>
              <a:buNone/>
              <a:defRPr sz="1733"/>
            </a:lvl8pPr>
            <a:lvl9pPr lvl="8">
              <a:lnSpc>
                <a:spcPct val="100000"/>
              </a:lnSpc>
              <a:spcBef>
                <a:spcPts val="0"/>
              </a:spcBef>
              <a:spcAft>
                <a:spcPts val="0"/>
              </a:spcAft>
              <a:buSzPts val="1300"/>
              <a:buNone/>
              <a:defRPr sz="1733"/>
            </a:lvl9pPr>
          </a:lstStyle>
          <a:p>
            <a:endParaRPr/>
          </a:p>
        </p:txBody>
      </p:sp>
      <p:sp>
        <p:nvSpPr>
          <p:cNvPr id="97" name="Google Shape;97;g91f7f3216c_0_159"/>
          <p:cNvSpPr txBox="1">
            <a:spLocks noGrp="1"/>
          </p:cNvSpPr>
          <p:nvPr>
            <p:ph type="body" idx="2"/>
          </p:nvPr>
        </p:nvSpPr>
        <p:spPr>
          <a:xfrm>
            <a:off x="6197600" y="2262133"/>
            <a:ext cx="4902400" cy="3130000"/>
          </a:xfrm>
          <a:prstGeom prst="rect">
            <a:avLst/>
          </a:prstGeom>
        </p:spPr>
        <p:txBody>
          <a:bodyPr spcFirstLastPara="1" wrap="square" lIns="91425" tIns="91425" rIns="91425" bIns="91425" anchor="t" anchorCtr="0">
            <a:noAutofit/>
          </a:bodyPr>
          <a:lstStyle>
            <a:lvl1pPr marL="609585" lvl="0" indent="-414856">
              <a:spcBef>
                <a:spcPts val="0"/>
              </a:spcBef>
              <a:spcAft>
                <a:spcPts val="0"/>
              </a:spcAft>
              <a:buSzPts val="1300"/>
              <a:buChar char="●"/>
              <a:defRPr/>
            </a:lvl1pPr>
            <a:lvl2pPr marL="1219170" lvl="1" indent="-397923">
              <a:spcBef>
                <a:spcPts val="2133"/>
              </a:spcBef>
              <a:spcAft>
                <a:spcPts val="0"/>
              </a:spcAft>
              <a:buSzPts val="1100"/>
              <a:buChar char="○"/>
              <a:defRPr/>
            </a:lvl2pPr>
            <a:lvl3pPr marL="1828754" lvl="2" indent="-397923">
              <a:spcBef>
                <a:spcPts val="2133"/>
              </a:spcBef>
              <a:spcAft>
                <a:spcPts val="0"/>
              </a:spcAft>
              <a:buSzPts val="1100"/>
              <a:buChar char="■"/>
              <a:defRPr/>
            </a:lvl3pPr>
            <a:lvl4pPr marL="2438339" lvl="3" indent="-397923">
              <a:spcBef>
                <a:spcPts val="2133"/>
              </a:spcBef>
              <a:spcAft>
                <a:spcPts val="0"/>
              </a:spcAft>
              <a:buSzPts val="1100"/>
              <a:buChar char="●"/>
              <a:defRPr/>
            </a:lvl4pPr>
            <a:lvl5pPr marL="3047924" lvl="4" indent="-397923">
              <a:spcBef>
                <a:spcPts val="2133"/>
              </a:spcBef>
              <a:spcAft>
                <a:spcPts val="0"/>
              </a:spcAft>
              <a:buSzPts val="1100"/>
              <a:buChar char="○"/>
              <a:defRPr/>
            </a:lvl5pPr>
            <a:lvl6pPr marL="3657509" lvl="5" indent="-397923">
              <a:spcBef>
                <a:spcPts val="2133"/>
              </a:spcBef>
              <a:spcAft>
                <a:spcPts val="0"/>
              </a:spcAft>
              <a:buSzPts val="1100"/>
              <a:buChar char="■"/>
              <a:defRPr/>
            </a:lvl6pPr>
            <a:lvl7pPr marL="4267093" lvl="6" indent="-397923">
              <a:spcBef>
                <a:spcPts val="2133"/>
              </a:spcBef>
              <a:spcAft>
                <a:spcPts val="0"/>
              </a:spcAft>
              <a:buSzPts val="1100"/>
              <a:buChar char="●"/>
              <a:defRPr/>
            </a:lvl7pPr>
            <a:lvl8pPr marL="4876678" lvl="7" indent="-397923">
              <a:spcBef>
                <a:spcPts val="2133"/>
              </a:spcBef>
              <a:spcAft>
                <a:spcPts val="0"/>
              </a:spcAft>
              <a:buSzPts val="1100"/>
              <a:buChar char="○"/>
              <a:defRPr/>
            </a:lvl8pPr>
            <a:lvl9pPr marL="5486263" lvl="8" indent="-397923">
              <a:spcBef>
                <a:spcPts val="2133"/>
              </a:spcBef>
              <a:spcAft>
                <a:spcPts val="2133"/>
              </a:spcAft>
              <a:buSzPts val="1100"/>
              <a:buChar char="■"/>
              <a:defRPr/>
            </a:lvl9pPr>
          </a:lstStyle>
          <a:p>
            <a:endParaRPr/>
          </a:p>
        </p:txBody>
      </p:sp>
      <p:sp>
        <p:nvSpPr>
          <p:cNvPr id="98" name="Google Shape;98;g91f7f3216c_0_15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defTabSz="1219170">
              <a:buClr>
                <a:srgbClr val="000000"/>
              </a:buClr>
            </a:pPr>
            <a:fld id="{00000000-1234-1234-1234-123412341234}" type="slidenum">
              <a:rPr lang="en-GB" kern="0" smtClean="0">
                <a:solidFill>
                  <a:srgbClr val="FFFFFF"/>
                </a:solidFill>
              </a:rPr>
              <a:pPr defTabSz="1219170">
                <a:buClr>
                  <a:srgbClr val="000000"/>
                </a:buClr>
              </a:pPr>
              <a:t>‹#›</a:t>
            </a:fld>
            <a:endParaRPr lang="en-GB" kern="0">
              <a:solidFill>
                <a:srgbClr val="FFFFFF"/>
              </a:solidFill>
            </a:endParaRPr>
          </a:p>
        </p:txBody>
      </p:sp>
    </p:spTree>
    <p:extLst>
      <p:ext uri="{BB962C8B-B14F-4D97-AF65-F5344CB8AC3E}">
        <p14:creationId xmlns:p14="http://schemas.microsoft.com/office/powerpoint/2010/main" val="147085391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36564" y="1423851"/>
            <a:ext cx="4932271" cy="638674"/>
          </a:xfrm>
          <a:prstGeom prst="rect">
            <a:avLst/>
          </a:prstGeom>
        </p:spPr>
        <p:txBody>
          <a:bodyPr anchor="b"/>
          <a:lstStyle>
            <a:lvl1pPr>
              <a:defRPr sz="2799"/>
            </a:lvl1pPr>
          </a:lstStyle>
          <a:p>
            <a:r>
              <a:rPr lang="en-US"/>
              <a:t>Click to edit Master title style</a:t>
            </a:r>
            <a:endParaRPr lang="en-IN" dirty="0"/>
          </a:p>
        </p:txBody>
      </p:sp>
      <p:sp>
        <p:nvSpPr>
          <p:cNvPr id="3" name="Content Placeholder 2"/>
          <p:cNvSpPr>
            <a:spLocks noGrp="1"/>
          </p:cNvSpPr>
          <p:nvPr>
            <p:ph idx="1"/>
          </p:nvPr>
        </p:nvSpPr>
        <p:spPr>
          <a:xfrm>
            <a:off x="5786846" y="1423852"/>
            <a:ext cx="5968590" cy="4794068"/>
          </a:xfrm>
          <a:prstGeom prst="rect">
            <a:avLst/>
          </a:prstGeo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4" name="Text Placeholder 3"/>
          <p:cNvSpPr>
            <a:spLocks noGrp="1"/>
          </p:cNvSpPr>
          <p:nvPr>
            <p:ph type="body" sz="half" idx="2"/>
          </p:nvPr>
        </p:nvSpPr>
        <p:spPr>
          <a:xfrm>
            <a:off x="436564" y="2049463"/>
            <a:ext cx="4932271" cy="4106007"/>
          </a:xfrm>
          <a:prstGeom prst="rect">
            <a:avLst/>
          </a:prstGeom>
        </p:spPr>
        <p:txBody>
          <a:bodyPr/>
          <a:lstStyle>
            <a:lvl1pPr marL="0" indent="0">
              <a:buNone/>
              <a:defRPr sz="1799"/>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8" name="Date Placeholder 4"/>
          <p:cNvSpPr>
            <a:spLocks noGrp="1"/>
          </p:cNvSpPr>
          <p:nvPr>
            <p:ph type="dt" sz="half" idx="11"/>
          </p:nvPr>
        </p:nvSpPr>
        <p:spPr>
          <a:xfrm>
            <a:off x="381000" y="6356352"/>
            <a:ext cx="2743200" cy="365125"/>
          </a:xfrm>
          <a:prstGeom prst="rect">
            <a:avLst/>
          </a:prstGeom>
        </p:spPr>
        <p:txBody>
          <a:bodyPr/>
          <a:lstStyle/>
          <a:p>
            <a:pPr defTabSz="914126">
              <a:defRPr/>
            </a:pPr>
            <a:fld id="{83CDDF50-2691-4A96-A320-FAE26882475A}" type="datetimeFigureOut">
              <a:rPr lang="en-IN" sz="1799" smtClean="0">
                <a:solidFill>
                  <a:prstClr val="black"/>
                </a:solidFill>
              </a:rPr>
              <a:pPr defTabSz="914126">
                <a:defRPr/>
              </a:pPr>
              <a:t>01-12-2022</a:t>
            </a:fld>
            <a:endParaRPr lang="en-IN" sz="1799">
              <a:solidFill>
                <a:prstClr val="black"/>
              </a:solidFill>
            </a:endParaRPr>
          </a:p>
        </p:txBody>
      </p:sp>
      <p:sp>
        <p:nvSpPr>
          <p:cNvPr id="9" name="Footer Placeholder 5"/>
          <p:cNvSpPr>
            <a:spLocks noGrp="1"/>
          </p:cNvSpPr>
          <p:nvPr>
            <p:ph type="ftr" sz="quarter" idx="12"/>
          </p:nvPr>
        </p:nvSpPr>
        <p:spPr>
          <a:xfrm>
            <a:off x="4038601" y="6356352"/>
            <a:ext cx="4114800" cy="365125"/>
          </a:xfrm>
          <a:prstGeom prst="rect">
            <a:avLst/>
          </a:prstGeom>
        </p:spPr>
        <p:txBody>
          <a:bodyPr/>
          <a:lstStyle/>
          <a:p>
            <a:pPr defTabSz="914126">
              <a:defRPr/>
            </a:pPr>
            <a:endParaRPr lang="en-IN" sz="1799">
              <a:solidFill>
                <a:prstClr val="black"/>
              </a:solidFill>
            </a:endParaRPr>
          </a:p>
        </p:txBody>
      </p:sp>
      <p:sp>
        <p:nvSpPr>
          <p:cNvPr id="10" name="Slide Number Placeholder 6"/>
          <p:cNvSpPr>
            <a:spLocks noGrp="1"/>
          </p:cNvSpPr>
          <p:nvPr>
            <p:ph type="sldNum" sz="quarter" idx="13"/>
          </p:nvPr>
        </p:nvSpPr>
        <p:spPr>
          <a:xfrm>
            <a:off x="9012236" y="6364153"/>
            <a:ext cx="2743200" cy="365125"/>
          </a:xfrm>
          <a:prstGeom prst="rect">
            <a:avLst/>
          </a:prstGeom>
        </p:spPr>
        <p:txBody>
          <a:bodyPr/>
          <a:lstStyle/>
          <a:p>
            <a:pPr defTabSz="914126">
              <a:defRPr/>
            </a:pPr>
            <a:fld id="{E74C42B1-5A19-486C-A487-15095F4D7BCC}" type="slidenum">
              <a:rPr lang="en-IN" smtClean="0">
                <a:solidFill>
                  <a:prstClr val="black"/>
                </a:solidFill>
              </a:rPr>
              <a:pPr defTabSz="914126">
                <a:defRPr/>
              </a:pPr>
              <a:t>‹#›</a:t>
            </a:fld>
            <a:endParaRPr lang="en-IN">
              <a:solidFill>
                <a:prstClr val="black"/>
              </a:solidFill>
            </a:endParaRPr>
          </a:p>
        </p:txBody>
      </p:sp>
      <p:sp>
        <p:nvSpPr>
          <p:cNvPr id="11" name="Rectangle 2"/>
          <p:cNvSpPr txBox="1">
            <a:spLocks noChangeArrowheads="1"/>
          </p:cNvSpPr>
          <p:nvPr/>
        </p:nvSpPr>
        <p:spPr bwMode="auto">
          <a:xfrm>
            <a:off x="457201" y="171451"/>
            <a:ext cx="7823200" cy="520876"/>
          </a:xfrm>
          <a:prstGeom prst="rect">
            <a:avLst/>
          </a:prstGeom>
          <a:noFill/>
          <a:ln w="9525">
            <a:noFill/>
            <a:miter lim="800000"/>
          </a:ln>
        </p:spPr>
        <p:txBody>
          <a:bodyPr vert="horz" wrap="square" lIns="91405" tIns="45703" rIns="91405" bIns="45703" numCol="1" anchor="ctr" anchorCtr="0" compatLnSpc="1"/>
          <a:lstStyle>
            <a:lvl1pPr algn="l" defTabSz="914400" rtl="0" eaLnBrk="1" latinLnBrk="0" hangingPunct="1">
              <a:lnSpc>
                <a:spcPct val="90000"/>
              </a:lnSpc>
              <a:spcBef>
                <a:spcPct val="0"/>
              </a:spcBef>
              <a:buNone/>
              <a:defRPr sz="3600" kern="1200">
                <a:solidFill>
                  <a:schemeClr val="tx1"/>
                </a:solidFill>
                <a:latin typeface="+mn-lt"/>
                <a:ea typeface="+mj-ea"/>
                <a:cs typeface="+mj-cs"/>
              </a:defRPr>
            </a:lvl1pPr>
          </a:lstStyle>
          <a:p>
            <a:pPr marL="0" marR="0" lvl="0" indent="0" algn="l" defTabSz="914126" rtl="0" eaLnBrk="1" fontAlgn="auto" latinLnBrk="0" hangingPunct="1">
              <a:lnSpc>
                <a:spcPct val="90000"/>
              </a:lnSpc>
              <a:spcBef>
                <a:spcPct val="0"/>
              </a:spcBef>
              <a:spcAft>
                <a:spcPts val="0"/>
              </a:spcAft>
              <a:buClrTx/>
              <a:buSzTx/>
              <a:buFontTx/>
              <a:buNone/>
              <a:tabLst/>
              <a:defRPr/>
            </a:pPr>
            <a:r>
              <a:rPr kumimoji="0" lang="en-US" sz="3599" b="0" i="0" u="none" strike="noStrike" kern="1200" cap="none" spc="0" normalizeH="0" baseline="0" noProof="0" dirty="0">
                <a:ln>
                  <a:noFill/>
                </a:ln>
                <a:solidFill>
                  <a:prstClr val="black"/>
                </a:solidFill>
                <a:effectLst/>
                <a:uLnTx/>
                <a:uFillTx/>
                <a:latin typeface="Calibri"/>
                <a:ea typeface="+mj-ea"/>
                <a:cs typeface="+mj-cs"/>
              </a:rPr>
              <a:t>Click to edit Master title</a:t>
            </a:r>
          </a:p>
        </p:txBody>
      </p:sp>
    </p:spTree>
    <p:extLst>
      <p:ext uri="{BB962C8B-B14F-4D97-AF65-F5344CB8AC3E}">
        <p14:creationId xmlns:p14="http://schemas.microsoft.com/office/powerpoint/2010/main" val="8314282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defTabSz="905238">
              <a:defRPr/>
            </a:pPr>
            <a:fld id="{7422662C-4EA5-40CB-AF95-82CA1EC35BEA}" type="slidenum">
              <a:rPr lang="en-US" smtClean="0">
                <a:solidFill>
                  <a:srgbClr val="000000"/>
                </a:solidFill>
                <a:latin typeface="Arial" panose="020B0604020202020204"/>
              </a:rPr>
              <a:pPr defTabSz="905238">
                <a:defRPr/>
              </a:pPr>
              <a:t>‹#›</a:t>
            </a:fld>
            <a:endParaRPr lang="en-US" dirty="0">
              <a:solidFill>
                <a:srgbClr val="000000"/>
              </a:solidFill>
              <a:latin typeface="Arial" panose="020B0604020202020204"/>
            </a:endParaRPr>
          </a:p>
        </p:txBody>
      </p:sp>
    </p:spTree>
    <p:extLst>
      <p:ext uri="{BB962C8B-B14F-4D97-AF65-F5344CB8AC3E}">
        <p14:creationId xmlns:p14="http://schemas.microsoft.com/office/powerpoint/2010/main" val="367628727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126"/>
            <a:fld id="{9F566EA9-9EDB-495D-880D-E1C735BBEB7E}" type="datetimeFigureOut">
              <a:rPr lang="en-US" smtClean="0">
                <a:solidFill>
                  <a:prstClr val="black">
                    <a:tint val="75000"/>
                  </a:prstClr>
                </a:solidFill>
              </a:rPr>
              <a:pPr defTabSz="914126"/>
              <a:t>12/1/202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914126"/>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914126"/>
            <a:fld id="{F7C73892-8A5D-4336-831B-64421740343D}"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20515487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562709" y="1508400"/>
            <a:ext cx="11068061" cy="4590000"/>
          </a:xfrm>
          <a:prstGeom prst="rect">
            <a:avLst/>
          </a:prstGeom>
        </p:spPr>
        <p:txBody>
          <a:bodyPr lIns="0" tIns="0" rIns="0" bIns="0"/>
          <a:lstStyle>
            <a:lvl1pPr marL="0" indent="-172986">
              <a:buClr>
                <a:schemeClr val="tx2"/>
              </a:buClr>
              <a:buFont typeface="Arial" pitchFamily="34" charset="0"/>
              <a:buChar char="•"/>
              <a:tabLst/>
              <a:defRPr b="0"/>
            </a:lvl1pPr>
            <a:lvl2pPr marL="628461" indent="-228531">
              <a:buFont typeface="Arial" pitchFamily="34" charset="0"/>
              <a:buChar char="–"/>
              <a:defRPr/>
            </a:lvl2pPr>
            <a:lvl3pPr marL="1074416" indent="-228531">
              <a:defRPr/>
            </a:lvl3pPr>
            <a:lvl4pPr marL="1544872" indent="-228531">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377401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2063056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over slide layout">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97C212F7-184D-4A49-A276-228D2606CDAA}"/>
              </a:ext>
            </a:extLst>
          </p:cNvPr>
          <p:cNvSpPr/>
          <p:nvPr userDrawn="1"/>
        </p:nvSpPr>
        <p:spPr>
          <a:xfrm rot="2710283">
            <a:off x="3230157" y="-3604334"/>
            <a:ext cx="5188207" cy="13481605"/>
          </a:xfrm>
          <a:custGeom>
            <a:avLst/>
            <a:gdLst>
              <a:gd name="connsiteX0" fmla="*/ 4872276 w 5188206"/>
              <a:gd name="connsiteY0" fmla="*/ 0 h 13481605"/>
              <a:gd name="connsiteX1" fmla="*/ 5188206 w 5188206"/>
              <a:gd name="connsiteY1" fmla="*/ 314046 h 13481605"/>
              <a:gd name="connsiteX2" fmla="*/ 5188206 w 5188206"/>
              <a:gd name="connsiteY2" fmla="*/ 9409991 h 13481605"/>
              <a:gd name="connsiteX3" fmla="*/ 1140878 w 5188206"/>
              <a:gd name="connsiteY3" fmla="*/ 13481605 h 13481605"/>
              <a:gd name="connsiteX4" fmla="*/ 0 w 5188206"/>
              <a:gd name="connsiteY4" fmla="*/ 12347532 h 13481605"/>
              <a:gd name="connsiteX5" fmla="*/ 1 w 5188206"/>
              <a:gd name="connsiteY5" fmla="*/ 4901511 h 1348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8206" h="13481605">
                <a:moveTo>
                  <a:pt x="4872276" y="0"/>
                </a:moveTo>
                <a:lnTo>
                  <a:pt x="5188206" y="314046"/>
                </a:lnTo>
                <a:lnTo>
                  <a:pt x="5188206" y="9409991"/>
                </a:lnTo>
                <a:lnTo>
                  <a:pt x="1140878" y="13481605"/>
                </a:lnTo>
                <a:lnTo>
                  <a:pt x="0" y="12347532"/>
                </a:lnTo>
                <a:lnTo>
                  <a:pt x="1" y="4901511"/>
                </a:lnTo>
                <a:close/>
              </a:path>
            </a:pathLst>
          </a:custGeom>
          <a:solidFill>
            <a:schemeClr val="accent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pic>
        <p:nvPicPr>
          <p:cNvPr id="2" name="Picture 1">
            <a:extLst>
              <a:ext uri="{FF2B5EF4-FFF2-40B4-BE49-F238E27FC236}">
                <a16:creationId xmlns:a16="http://schemas.microsoft.com/office/drawing/2014/main" id="{206C027D-380B-4189-ADCD-4C61FF036C00}"/>
              </a:ext>
            </a:extLst>
          </p:cNvPr>
          <p:cNvPicPr>
            <a:picLocks noChangeAspect="1"/>
          </p:cNvPicPr>
          <p:nvPr userDrawn="1"/>
        </p:nvPicPr>
        <p:blipFill rotWithShape="1">
          <a:blip r:embed="rId2">
            <a:alphaModFix amt="29000"/>
            <a:extLst>
              <a:ext uri="{28A0092B-C50C-407E-A947-70E740481C1C}">
                <a14:useLocalDpi xmlns:a14="http://schemas.microsoft.com/office/drawing/2010/main" val="0"/>
              </a:ext>
            </a:extLst>
          </a:blip>
          <a:srcRect l="25587" t="29014" r="22468" b="1915"/>
          <a:stretch/>
        </p:blipFill>
        <p:spPr>
          <a:xfrm>
            <a:off x="7291762" y="1"/>
            <a:ext cx="4900239" cy="6858000"/>
          </a:xfrm>
          <a:prstGeom prst="rect">
            <a:avLst/>
          </a:prstGeom>
        </p:spPr>
      </p:pic>
      <p:pic>
        <p:nvPicPr>
          <p:cNvPr id="3" name="Picture 2">
            <a:extLst>
              <a:ext uri="{FF2B5EF4-FFF2-40B4-BE49-F238E27FC236}">
                <a16:creationId xmlns:a16="http://schemas.microsoft.com/office/drawing/2014/main" id="{CA200259-84FB-42E8-BC41-9E22E38BFFB8}"/>
              </a:ext>
            </a:extLst>
          </p:cNvPr>
          <p:cNvPicPr>
            <a:picLocks noChangeAspect="1"/>
          </p:cNvPicPr>
          <p:nvPr userDrawn="1"/>
        </p:nvPicPr>
        <p:blipFill rotWithShape="1">
          <a:blip r:embed="rId2">
            <a:alphaModFix amt="29000"/>
            <a:extLst>
              <a:ext uri="{28A0092B-C50C-407E-A947-70E740481C1C}">
                <a14:useLocalDpi xmlns:a14="http://schemas.microsoft.com/office/drawing/2010/main" val="0"/>
              </a:ext>
            </a:extLst>
          </a:blip>
          <a:srcRect l="59969" t="27510"/>
          <a:stretch/>
        </p:blipFill>
        <p:spPr>
          <a:xfrm>
            <a:off x="-147" y="0"/>
            <a:ext cx="3611440" cy="6904883"/>
          </a:xfrm>
          <a:prstGeom prst="rect">
            <a:avLst/>
          </a:prstGeom>
        </p:spPr>
      </p:pic>
      <p:sp>
        <p:nvSpPr>
          <p:cNvPr id="4" name="Freeform: Shape 3">
            <a:extLst>
              <a:ext uri="{FF2B5EF4-FFF2-40B4-BE49-F238E27FC236}">
                <a16:creationId xmlns:a16="http://schemas.microsoft.com/office/drawing/2014/main" id="{0363273D-08D0-4F61-9C43-8F313C85A4FB}"/>
              </a:ext>
            </a:extLst>
          </p:cNvPr>
          <p:cNvSpPr/>
          <p:nvPr userDrawn="1"/>
        </p:nvSpPr>
        <p:spPr>
          <a:xfrm rot="18917560">
            <a:off x="6757340" y="5310245"/>
            <a:ext cx="2184923" cy="719635"/>
          </a:xfrm>
          <a:custGeom>
            <a:avLst/>
            <a:gdLst>
              <a:gd name="connsiteX0" fmla="*/ 212221 w 2598991"/>
              <a:gd name="connsiteY0" fmla="*/ 705872 h 856013"/>
              <a:gd name="connsiteX1" fmla="*/ 212221 w 2598991"/>
              <a:gd name="connsiteY1" fmla="*/ 705873 h 856013"/>
              <a:gd name="connsiteX2" fmla="*/ 212221 w 2598991"/>
              <a:gd name="connsiteY2" fmla="*/ 705873 h 856013"/>
              <a:gd name="connsiteX3" fmla="*/ 0 w 2598991"/>
              <a:gd name="connsiteY3" fmla="*/ 150139 h 856013"/>
              <a:gd name="connsiteX4" fmla="*/ 0 w 2598991"/>
              <a:gd name="connsiteY4" fmla="*/ 150139 h 856013"/>
              <a:gd name="connsiteX5" fmla="*/ 0 w 2598991"/>
              <a:gd name="connsiteY5" fmla="*/ 150140 h 856013"/>
              <a:gd name="connsiteX6" fmla="*/ 150140 w 2598991"/>
              <a:gd name="connsiteY6" fmla="*/ 0 h 856013"/>
              <a:gd name="connsiteX7" fmla="*/ 1824103 w 2598991"/>
              <a:gd name="connsiteY7" fmla="*/ 0 h 856013"/>
              <a:gd name="connsiteX8" fmla="*/ 1974243 w 2598991"/>
              <a:gd name="connsiteY8" fmla="*/ 150140 h 856013"/>
              <a:gd name="connsiteX9" fmla="*/ 1974242 w 2598991"/>
              <a:gd name="connsiteY9" fmla="*/ 150140 h 856013"/>
              <a:gd name="connsiteX10" fmla="*/ 1930267 w 2598991"/>
              <a:gd name="connsiteY10" fmla="*/ 256305 h 856013"/>
              <a:gd name="connsiteX11" fmla="*/ 1894334 w 2598991"/>
              <a:gd name="connsiteY11" fmla="*/ 280532 h 856013"/>
              <a:gd name="connsiteX12" fmla="*/ 2457031 w 2598991"/>
              <a:gd name="connsiteY12" fmla="*/ 280532 h 856013"/>
              <a:gd name="connsiteX13" fmla="*/ 2598991 w 2598991"/>
              <a:gd name="connsiteY13" fmla="*/ 422492 h 856013"/>
              <a:gd name="connsiteX14" fmla="*/ 2598990 w 2598991"/>
              <a:gd name="connsiteY14" fmla="*/ 422492 h 856013"/>
              <a:gd name="connsiteX15" fmla="*/ 2457030 w 2598991"/>
              <a:gd name="connsiteY15" fmla="*/ 564452 h 856013"/>
              <a:gd name="connsiteX16" fmla="*/ 2079510 w 2598991"/>
              <a:gd name="connsiteY16" fmla="*/ 564452 h 856013"/>
              <a:gd name="connsiteX17" fmla="*/ 2094765 w 2598991"/>
              <a:gd name="connsiteY17" fmla="*/ 567532 h 856013"/>
              <a:gd name="connsiteX18" fmla="*/ 2186464 w 2598991"/>
              <a:gd name="connsiteY18" fmla="*/ 705873 h 856013"/>
              <a:gd name="connsiteX19" fmla="*/ 2186463 w 2598991"/>
              <a:gd name="connsiteY19" fmla="*/ 705873 h 856013"/>
              <a:gd name="connsiteX20" fmla="*/ 2036323 w 2598991"/>
              <a:gd name="connsiteY20" fmla="*/ 856013 h 856013"/>
              <a:gd name="connsiteX21" fmla="*/ 362361 w 2598991"/>
              <a:gd name="connsiteY21" fmla="*/ 856012 h 856013"/>
              <a:gd name="connsiteX22" fmla="*/ 224020 w 2598991"/>
              <a:gd name="connsiteY22" fmla="*/ 764313 h 856013"/>
              <a:gd name="connsiteX23" fmla="*/ 212221 w 2598991"/>
              <a:gd name="connsiteY23" fmla="*/ 705873 h 856013"/>
              <a:gd name="connsiteX24" fmla="*/ 224020 w 2598991"/>
              <a:gd name="connsiteY24" fmla="*/ 647432 h 856013"/>
              <a:gd name="connsiteX25" fmla="*/ 362361 w 2598991"/>
              <a:gd name="connsiteY25" fmla="*/ 555733 h 856013"/>
              <a:gd name="connsiteX26" fmla="*/ 469765 w 2598991"/>
              <a:gd name="connsiteY26" fmla="*/ 555733 h 856013"/>
              <a:gd name="connsiteX27" fmla="*/ 480117 w 2598991"/>
              <a:gd name="connsiteY27" fmla="*/ 553643 h 856013"/>
              <a:gd name="connsiteX28" fmla="*/ 566820 w 2598991"/>
              <a:gd name="connsiteY28" fmla="*/ 422839 h 856013"/>
              <a:gd name="connsiteX29" fmla="*/ 566821 w 2598991"/>
              <a:gd name="connsiteY29" fmla="*/ 422839 h 856013"/>
              <a:gd name="connsiteX30" fmla="*/ 515161 w 2598991"/>
              <a:gd name="connsiteY30" fmla="*/ 313296 h 856013"/>
              <a:gd name="connsiteX31" fmla="*/ 493706 w 2598991"/>
              <a:gd name="connsiteY31" fmla="*/ 300279 h 856013"/>
              <a:gd name="connsiteX32" fmla="*/ 150140 w 2598991"/>
              <a:gd name="connsiteY32" fmla="*/ 300279 h 856013"/>
              <a:gd name="connsiteX33" fmla="*/ 11799 w 2598991"/>
              <a:gd name="connsiteY33" fmla="*/ 208580 h 856013"/>
              <a:gd name="connsiteX34" fmla="*/ 0 w 2598991"/>
              <a:gd name="connsiteY34" fmla="*/ 150139 h 856013"/>
              <a:gd name="connsiteX35" fmla="*/ 11799 w 2598991"/>
              <a:gd name="connsiteY35" fmla="*/ 91699 h 856013"/>
              <a:gd name="connsiteX36" fmla="*/ 150140 w 2598991"/>
              <a:gd name="connsiteY36" fmla="*/ 0 h 85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98991" h="856013">
                <a:moveTo>
                  <a:pt x="212221" y="705872"/>
                </a:moveTo>
                <a:lnTo>
                  <a:pt x="212221" y="705873"/>
                </a:lnTo>
                <a:lnTo>
                  <a:pt x="212221" y="705873"/>
                </a:lnTo>
                <a:close/>
                <a:moveTo>
                  <a:pt x="0" y="150139"/>
                </a:moveTo>
                <a:lnTo>
                  <a:pt x="0" y="150139"/>
                </a:lnTo>
                <a:lnTo>
                  <a:pt x="0" y="150140"/>
                </a:lnTo>
                <a:close/>
                <a:moveTo>
                  <a:pt x="150140" y="0"/>
                </a:moveTo>
                <a:lnTo>
                  <a:pt x="1824103" y="0"/>
                </a:lnTo>
                <a:cubicBezTo>
                  <a:pt x="1907023" y="0"/>
                  <a:pt x="1974243" y="67220"/>
                  <a:pt x="1974243" y="150140"/>
                </a:cubicBezTo>
                <a:lnTo>
                  <a:pt x="1974242" y="150140"/>
                </a:lnTo>
                <a:cubicBezTo>
                  <a:pt x="1974242" y="191600"/>
                  <a:pt x="1957437" y="229135"/>
                  <a:pt x="1930267" y="256305"/>
                </a:cubicBezTo>
                <a:lnTo>
                  <a:pt x="1894334" y="280532"/>
                </a:lnTo>
                <a:lnTo>
                  <a:pt x="2457031" y="280532"/>
                </a:lnTo>
                <a:cubicBezTo>
                  <a:pt x="2535433" y="280532"/>
                  <a:pt x="2598991" y="344090"/>
                  <a:pt x="2598991" y="422492"/>
                </a:cubicBezTo>
                <a:lnTo>
                  <a:pt x="2598990" y="422492"/>
                </a:lnTo>
                <a:cubicBezTo>
                  <a:pt x="2598990" y="500894"/>
                  <a:pt x="2535432" y="564452"/>
                  <a:pt x="2457030" y="564452"/>
                </a:cubicBezTo>
                <a:lnTo>
                  <a:pt x="2079510" y="564452"/>
                </a:lnTo>
                <a:lnTo>
                  <a:pt x="2094765" y="567532"/>
                </a:lnTo>
                <a:cubicBezTo>
                  <a:pt x="2148653" y="590324"/>
                  <a:pt x="2186464" y="643683"/>
                  <a:pt x="2186464" y="705873"/>
                </a:cubicBezTo>
                <a:lnTo>
                  <a:pt x="2186463" y="705873"/>
                </a:lnTo>
                <a:cubicBezTo>
                  <a:pt x="2186463" y="788793"/>
                  <a:pt x="2119243" y="856013"/>
                  <a:pt x="2036323" y="856013"/>
                </a:cubicBezTo>
                <a:lnTo>
                  <a:pt x="362361" y="856012"/>
                </a:lnTo>
                <a:cubicBezTo>
                  <a:pt x="300171" y="856012"/>
                  <a:pt x="246812" y="818201"/>
                  <a:pt x="224020" y="764313"/>
                </a:cubicBezTo>
                <a:lnTo>
                  <a:pt x="212221" y="705873"/>
                </a:lnTo>
                <a:lnTo>
                  <a:pt x="224020" y="647432"/>
                </a:lnTo>
                <a:cubicBezTo>
                  <a:pt x="246812" y="593544"/>
                  <a:pt x="300171" y="555733"/>
                  <a:pt x="362361" y="555733"/>
                </a:cubicBezTo>
                <a:lnTo>
                  <a:pt x="469765" y="555733"/>
                </a:lnTo>
                <a:lnTo>
                  <a:pt x="480117" y="553643"/>
                </a:lnTo>
                <a:cubicBezTo>
                  <a:pt x="531069" y="532092"/>
                  <a:pt x="566820" y="481641"/>
                  <a:pt x="566820" y="422839"/>
                </a:cubicBezTo>
                <a:lnTo>
                  <a:pt x="566821" y="422839"/>
                </a:lnTo>
                <a:cubicBezTo>
                  <a:pt x="566821" y="378738"/>
                  <a:pt x="546711" y="339334"/>
                  <a:pt x="515161" y="313296"/>
                </a:cubicBezTo>
                <a:lnTo>
                  <a:pt x="493706" y="300279"/>
                </a:lnTo>
                <a:lnTo>
                  <a:pt x="150140" y="300279"/>
                </a:lnTo>
                <a:cubicBezTo>
                  <a:pt x="87950" y="300279"/>
                  <a:pt x="34591" y="262468"/>
                  <a:pt x="11799" y="208580"/>
                </a:cubicBezTo>
                <a:lnTo>
                  <a:pt x="0" y="150139"/>
                </a:lnTo>
                <a:lnTo>
                  <a:pt x="11799" y="91699"/>
                </a:lnTo>
                <a:cubicBezTo>
                  <a:pt x="34591" y="37811"/>
                  <a:pt x="87950" y="0"/>
                  <a:pt x="150140" y="0"/>
                </a:cubicBezTo>
                <a:close/>
              </a:path>
            </a:pathLst>
          </a:custGeom>
          <a:solidFill>
            <a:schemeClr val="accent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5" name="Freeform: Shape 4">
            <a:extLst>
              <a:ext uri="{FF2B5EF4-FFF2-40B4-BE49-F238E27FC236}">
                <a16:creationId xmlns:a16="http://schemas.microsoft.com/office/drawing/2014/main" id="{8F144AE0-43B5-4072-B84A-2621F7237F1E}"/>
              </a:ext>
            </a:extLst>
          </p:cNvPr>
          <p:cNvSpPr/>
          <p:nvPr userDrawn="1"/>
        </p:nvSpPr>
        <p:spPr>
          <a:xfrm rot="18917560">
            <a:off x="2315319" y="657619"/>
            <a:ext cx="2184923" cy="719635"/>
          </a:xfrm>
          <a:custGeom>
            <a:avLst/>
            <a:gdLst>
              <a:gd name="connsiteX0" fmla="*/ 212221 w 2598991"/>
              <a:gd name="connsiteY0" fmla="*/ 705872 h 856013"/>
              <a:gd name="connsiteX1" fmla="*/ 212221 w 2598991"/>
              <a:gd name="connsiteY1" fmla="*/ 705873 h 856013"/>
              <a:gd name="connsiteX2" fmla="*/ 212221 w 2598991"/>
              <a:gd name="connsiteY2" fmla="*/ 705873 h 856013"/>
              <a:gd name="connsiteX3" fmla="*/ 0 w 2598991"/>
              <a:gd name="connsiteY3" fmla="*/ 150139 h 856013"/>
              <a:gd name="connsiteX4" fmla="*/ 0 w 2598991"/>
              <a:gd name="connsiteY4" fmla="*/ 150139 h 856013"/>
              <a:gd name="connsiteX5" fmla="*/ 0 w 2598991"/>
              <a:gd name="connsiteY5" fmla="*/ 150140 h 856013"/>
              <a:gd name="connsiteX6" fmla="*/ 150140 w 2598991"/>
              <a:gd name="connsiteY6" fmla="*/ 0 h 856013"/>
              <a:gd name="connsiteX7" fmla="*/ 1824103 w 2598991"/>
              <a:gd name="connsiteY7" fmla="*/ 0 h 856013"/>
              <a:gd name="connsiteX8" fmla="*/ 1974243 w 2598991"/>
              <a:gd name="connsiteY8" fmla="*/ 150140 h 856013"/>
              <a:gd name="connsiteX9" fmla="*/ 1974242 w 2598991"/>
              <a:gd name="connsiteY9" fmla="*/ 150140 h 856013"/>
              <a:gd name="connsiteX10" fmla="*/ 1930267 w 2598991"/>
              <a:gd name="connsiteY10" fmla="*/ 256305 h 856013"/>
              <a:gd name="connsiteX11" fmla="*/ 1894334 w 2598991"/>
              <a:gd name="connsiteY11" fmla="*/ 280532 h 856013"/>
              <a:gd name="connsiteX12" fmla="*/ 2457031 w 2598991"/>
              <a:gd name="connsiteY12" fmla="*/ 280532 h 856013"/>
              <a:gd name="connsiteX13" fmla="*/ 2598991 w 2598991"/>
              <a:gd name="connsiteY13" fmla="*/ 422492 h 856013"/>
              <a:gd name="connsiteX14" fmla="*/ 2598990 w 2598991"/>
              <a:gd name="connsiteY14" fmla="*/ 422492 h 856013"/>
              <a:gd name="connsiteX15" fmla="*/ 2457030 w 2598991"/>
              <a:gd name="connsiteY15" fmla="*/ 564452 h 856013"/>
              <a:gd name="connsiteX16" fmla="*/ 2079510 w 2598991"/>
              <a:gd name="connsiteY16" fmla="*/ 564452 h 856013"/>
              <a:gd name="connsiteX17" fmla="*/ 2094765 w 2598991"/>
              <a:gd name="connsiteY17" fmla="*/ 567532 h 856013"/>
              <a:gd name="connsiteX18" fmla="*/ 2186464 w 2598991"/>
              <a:gd name="connsiteY18" fmla="*/ 705873 h 856013"/>
              <a:gd name="connsiteX19" fmla="*/ 2186463 w 2598991"/>
              <a:gd name="connsiteY19" fmla="*/ 705873 h 856013"/>
              <a:gd name="connsiteX20" fmla="*/ 2036323 w 2598991"/>
              <a:gd name="connsiteY20" fmla="*/ 856013 h 856013"/>
              <a:gd name="connsiteX21" fmla="*/ 362361 w 2598991"/>
              <a:gd name="connsiteY21" fmla="*/ 856012 h 856013"/>
              <a:gd name="connsiteX22" fmla="*/ 224020 w 2598991"/>
              <a:gd name="connsiteY22" fmla="*/ 764313 h 856013"/>
              <a:gd name="connsiteX23" fmla="*/ 212221 w 2598991"/>
              <a:gd name="connsiteY23" fmla="*/ 705873 h 856013"/>
              <a:gd name="connsiteX24" fmla="*/ 224020 w 2598991"/>
              <a:gd name="connsiteY24" fmla="*/ 647432 h 856013"/>
              <a:gd name="connsiteX25" fmla="*/ 362361 w 2598991"/>
              <a:gd name="connsiteY25" fmla="*/ 555733 h 856013"/>
              <a:gd name="connsiteX26" fmla="*/ 469765 w 2598991"/>
              <a:gd name="connsiteY26" fmla="*/ 555733 h 856013"/>
              <a:gd name="connsiteX27" fmla="*/ 480117 w 2598991"/>
              <a:gd name="connsiteY27" fmla="*/ 553643 h 856013"/>
              <a:gd name="connsiteX28" fmla="*/ 566820 w 2598991"/>
              <a:gd name="connsiteY28" fmla="*/ 422839 h 856013"/>
              <a:gd name="connsiteX29" fmla="*/ 566821 w 2598991"/>
              <a:gd name="connsiteY29" fmla="*/ 422839 h 856013"/>
              <a:gd name="connsiteX30" fmla="*/ 515161 w 2598991"/>
              <a:gd name="connsiteY30" fmla="*/ 313296 h 856013"/>
              <a:gd name="connsiteX31" fmla="*/ 493706 w 2598991"/>
              <a:gd name="connsiteY31" fmla="*/ 300279 h 856013"/>
              <a:gd name="connsiteX32" fmla="*/ 150140 w 2598991"/>
              <a:gd name="connsiteY32" fmla="*/ 300279 h 856013"/>
              <a:gd name="connsiteX33" fmla="*/ 11799 w 2598991"/>
              <a:gd name="connsiteY33" fmla="*/ 208580 h 856013"/>
              <a:gd name="connsiteX34" fmla="*/ 0 w 2598991"/>
              <a:gd name="connsiteY34" fmla="*/ 150139 h 856013"/>
              <a:gd name="connsiteX35" fmla="*/ 11799 w 2598991"/>
              <a:gd name="connsiteY35" fmla="*/ 91699 h 856013"/>
              <a:gd name="connsiteX36" fmla="*/ 150140 w 2598991"/>
              <a:gd name="connsiteY36" fmla="*/ 0 h 85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98991" h="856013">
                <a:moveTo>
                  <a:pt x="212221" y="705872"/>
                </a:moveTo>
                <a:lnTo>
                  <a:pt x="212221" y="705873"/>
                </a:lnTo>
                <a:lnTo>
                  <a:pt x="212221" y="705873"/>
                </a:lnTo>
                <a:close/>
                <a:moveTo>
                  <a:pt x="0" y="150139"/>
                </a:moveTo>
                <a:lnTo>
                  <a:pt x="0" y="150139"/>
                </a:lnTo>
                <a:lnTo>
                  <a:pt x="0" y="150140"/>
                </a:lnTo>
                <a:close/>
                <a:moveTo>
                  <a:pt x="150140" y="0"/>
                </a:moveTo>
                <a:lnTo>
                  <a:pt x="1824103" y="0"/>
                </a:lnTo>
                <a:cubicBezTo>
                  <a:pt x="1907023" y="0"/>
                  <a:pt x="1974243" y="67220"/>
                  <a:pt x="1974243" y="150140"/>
                </a:cubicBezTo>
                <a:lnTo>
                  <a:pt x="1974242" y="150140"/>
                </a:lnTo>
                <a:cubicBezTo>
                  <a:pt x="1974242" y="191600"/>
                  <a:pt x="1957437" y="229135"/>
                  <a:pt x="1930267" y="256305"/>
                </a:cubicBezTo>
                <a:lnTo>
                  <a:pt x="1894334" y="280532"/>
                </a:lnTo>
                <a:lnTo>
                  <a:pt x="2457031" y="280532"/>
                </a:lnTo>
                <a:cubicBezTo>
                  <a:pt x="2535433" y="280532"/>
                  <a:pt x="2598991" y="344090"/>
                  <a:pt x="2598991" y="422492"/>
                </a:cubicBezTo>
                <a:lnTo>
                  <a:pt x="2598990" y="422492"/>
                </a:lnTo>
                <a:cubicBezTo>
                  <a:pt x="2598990" y="500894"/>
                  <a:pt x="2535432" y="564452"/>
                  <a:pt x="2457030" y="564452"/>
                </a:cubicBezTo>
                <a:lnTo>
                  <a:pt x="2079510" y="564452"/>
                </a:lnTo>
                <a:lnTo>
                  <a:pt x="2094765" y="567532"/>
                </a:lnTo>
                <a:cubicBezTo>
                  <a:pt x="2148653" y="590324"/>
                  <a:pt x="2186464" y="643683"/>
                  <a:pt x="2186464" y="705873"/>
                </a:cubicBezTo>
                <a:lnTo>
                  <a:pt x="2186463" y="705873"/>
                </a:lnTo>
                <a:cubicBezTo>
                  <a:pt x="2186463" y="788793"/>
                  <a:pt x="2119243" y="856013"/>
                  <a:pt x="2036323" y="856013"/>
                </a:cubicBezTo>
                <a:lnTo>
                  <a:pt x="362361" y="856012"/>
                </a:lnTo>
                <a:cubicBezTo>
                  <a:pt x="300171" y="856012"/>
                  <a:pt x="246812" y="818201"/>
                  <a:pt x="224020" y="764313"/>
                </a:cubicBezTo>
                <a:lnTo>
                  <a:pt x="212221" y="705873"/>
                </a:lnTo>
                <a:lnTo>
                  <a:pt x="224020" y="647432"/>
                </a:lnTo>
                <a:cubicBezTo>
                  <a:pt x="246812" y="593544"/>
                  <a:pt x="300171" y="555733"/>
                  <a:pt x="362361" y="555733"/>
                </a:cubicBezTo>
                <a:lnTo>
                  <a:pt x="469765" y="555733"/>
                </a:lnTo>
                <a:lnTo>
                  <a:pt x="480117" y="553643"/>
                </a:lnTo>
                <a:cubicBezTo>
                  <a:pt x="531069" y="532092"/>
                  <a:pt x="566820" y="481641"/>
                  <a:pt x="566820" y="422839"/>
                </a:cubicBezTo>
                <a:lnTo>
                  <a:pt x="566821" y="422839"/>
                </a:lnTo>
                <a:cubicBezTo>
                  <a:pt x="566821" y="378738"/>
                  <a:pt x="546711" y="339334"/>
                  <a:pt x="515161" y="313296"/>
                </a:cubicBezTo>
                <a:lnTo>
                  <a:pt x="493706" y="300279"/>
                </a:lnTo>
                <a:lnTo>
                  <a:pt x="150140" y="300279"/>
                </a:lnTo>
                <a:cubicBezTo>
                  <a:pt x="87950" y="300279"/>
                  <a:pt x="34591" y="262468"/>
                  <a:pt x="11799" y="208580"/>
                </a:cubicBezTo>
                <a:lnTo>
                  <a:pt x="0" y="150139"/>
                </a:lnTo>
                <a:lnTo>
                  <a:pt x="11799" y="91699"/>
                </a:lnTo>
                <a:cubicBezTo>
                  <a:pt x="34591" y="37811"/>
                  <a:pt x="87950" y="0"/>
                  <a:pt x="150140" y="0"/>
                </a:cubicBezTo>
                <a:close/>
              </a:path>
            </a:pathLst>
          </a:custGeom>
          <a:solidFill>
            <a:schemeClr val="accent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6" name="Rectangle: Rounded Corners 5">
            <a:extLst>
              <a:ext uri="{FF2B5EF4-FFF2-40B4-BE49-F238E27FC236}">
                <a16:creationId xmlns:a16="http://schemas.microsoft.com/office/drawing/2014/main" id="{4F73E14A-31CD-46CC-9655-417F344E964D}"/>
              </a:ext>
            </a:extLst>
          </p:cNvPr>
          <p:cNvSpPr/>
          <p:nvPr userDrawn="1"/>
        </p:nvSpPr>
        <p:spPr>
          <a:xfrm rot="18900000">
            <a:off x="3249097" y="3545174"/>
            <a:ext cx="898779" cy="18823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7" name="Rectangle: Rounded Corners 6">
            <a:extLst>
              <a:ext uri="{FF2B5EF4-FFF2-40B4-BE49-F238E27FC236}">
                <a16:creationId xmlns:a16="http://schemas.microsoft.com/office/drawing/2014/main" id="{7B359B05-6AC3-460B-AADD-EF4FE88E5E15}"/>
              </a:ext>
            </a:extLst>
          </p:cNvPr>
          <p:cNvSpPr/>
          <p:nvPr userDrawn="1"/>
        </p:nvSpPr>
        <p:spPr>
          <a:xfrm rot="18900000">
            <a:off x="3933048" y="3402149"/>
            <a:ext cx="471088" cy="9866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8" name="Cross 7">
            <a:extLst>
              <a:ext uri="{FF2B5EF4-FFF2-40B4-BE49-F238E27FC236}">
                <a16:creationId xmlns:a16="http://schemas.microsoft.com/office/drawing/2014/main" id="{01AE4C7D-0581-4EF7-B01A-57774F1B5217}"/>
              </a:ext>
            </a:extLst>
          </p:cNvPr>
          <p:cNvSpPr/>
          <p:nvPr userDrawn="1"/>
        </p:nvSpPr>
        <p:spPr>
          <a:xfrm>
            <a:off x="8690531" y="3132960"/>
            <a:ext cx="296040" cy="296040"/>
          </a:xfrm>
          <a:prstGeom prst="plus">
            <a:avLst>
              <a:gd name="adj" fmla="val 437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9" name="Cross 8">
            <a:extLst>
              <a:ext uri="{FF2B5EF4-FFF2-40B4-BE49-F238E27FC236}">
                <a16:creationId xmlns:a16="http://schemas.microsoft.com/office/drawing/2014/main" id="{E15BDB5E-8F00-405C-BB7A-30DEF75B5163}"/>
              </a:ext>
            </a:extLst>
          </p:cNvPr>
          <p:cNvSpPr/>
          <p:nvPr userDrawn="1"/>
        </p:nvSpPr>
        <p:spPr>
          <a:xfrm rot="1642289">
            <a:off x="1982542" y="4138539"/>
            <a:ext cx="296040" cy="296040"/>
          </a:xfrm>
          <a:prstGeom prst="plus">
            <a:avLst>
              <a:gd name="adj" fmla="val 437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0" name="Isosceles Triangle 9">
            <a:extLst>
              <a:ext uri="{FF2B5EF4-FFF2-40B4-BE49-F238E27FC236}">
                <a16:creationId xmlns:a16="http://schemas.microsoft.com/office/drawing/2014/main" id="{DEAC9489-BCB7-4E3A-A896-B35B3A48F178}"/>
              </a:ext>
            </a:extLst>
          </p:cNvPr>
          <p:cNvSpPr/>
          <p:nvPr userDrawn="1"/>
        </p:nvSpPr>
        <p:spPr>
          <a:xfrm rot="12056913">
            <a:off x="5363426" y="5089803"/>
            <a:ext cx="251202" cy="216553"/>
          </a:xfrm>
          <a:prstGeom prst="triangl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1" name="Isosceles Triangle 10">
            <a:extLst>
              <a:ext uri="{FF2B5EF4-FFF2-40B4-BE49-F238E27FC236}">
                <a16:creationId xmlns:a16="http://schemas.microsoft.com/office/drawing/2014/main" id="{6B27FEF4-8DD6-4FAC-9895-F6E35C1DA54A}"/>
              </a:ext>
            </a:extLst>
          </p:cNvPr>
          <p:cNvSpPr/>
          <p:nvPr userDrawn="1"/>
        </p:nvSpPr>
        <p:spPr>
          <a:xfrm rot="12056913">
            <a:off x="8103106" y="591385"/>
            <a:ext cx="251202" cy="216553"/>
          </a:xfrm>
          <a:prstGeom prst="triangl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2" name="Oval 11">
            <a:extLst>
              <a:ext uri="{FF2B5EF4-FFF2-40B4-BE49-F238E27FC236}">
                <a16:creationId xmlns:a16="http://schemas.microsoft.com/office/drawing/2014/main" id="{14D70D1D-AA00-4B06-A452-6DFDE7FFF4E9}"/>
              </a:ext>
            </a:extLst>
          </p:cNvPr>
          <p:cNvSpPr/>
          <p:nvPr userDrawn="1"/>
        </p:nvSpPr>
        <p:spPr>
          <a:xfrm>
            <a:off x="3621418" y="2170599"/>
            <a:ext cx="213463" cy="213463"/>
          </a:xfrm>
          <a:prstGeom prst="ellips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3" name="Oval 12">
            <a:extLst>
              <a:ext uri="{FF2B5EF4-FFF2-40B4-BE49-F238E27FC236}">
                <a16:creationId xmlns:a16="http://schemas.microsoft.com/office/drawing/2014/main" id="{85D1B683-76F6-46BE-9D4C-38ADA1B32309}"/>
              </a:ext>
            </a:extLst>
          </p:cNvPr>
          <p:cNvSpPr/>
          <p:nvPr userDrawn="1"/>
        </p:nvSpPr>
        <p:spPr>
          <a:xfrm>
            <a:off x="10794550" y="1222468"/>
            <a:ext cx="213463" cy="213463"/>
          </a:xfrm>
          <a:prstGeom prst="ellips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5" name="Rectangle: Rounded Corners 14">
            <a:extLst>
              <a:ext uri="{FF2B5EF4-FFF2-40B4-BE49-F238E27FC236}">
                <a16:creationId xmlns:a16="http://schemas.microsoft.com/office/drawing/2014/main" id="{0B4C9FD5-DF32-4DAC-8E2E-373DFB75D439}"/>
              </a:ext>
            </a:extLst>
          </p:cNvPr>
          <p:cNvSpPr/>
          <p:nvPr userDrawn="1"/>
        </p:nvSpPr>
        <p:spPr>
          <a:xfrm rot="18900000">
            <a:off x="7806766" y="2002511"/>
            <a:ext cx="898779" cy="18823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16" name="Rectangle: Rounded Corners 15">
            <a:extLst>
              <a:ext uri="{FF2B5EF4-FFF2-40B4-BE49-F238E27FC236}">
                <a16:creationId xmlns:a16="http://schemas.microsoft.com/office/drawing/2014/main" id="{94E87BE3-6EEF-461A-BBF4-750890F3D4AF}"/>
              </a:ext>
            </a:extLst>
          </p:cNvPr>
          <p:cNvSpPr/>
          <p:nvPr userDrawn="1"/>
        </p:nvSpPr>
        <p:spPr>
          <a:xfrm rot="18900000">
            <a:off x="8490717" y="1859485"/>
            <a:ext cx="471088" cy="9866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a:cs typeface="+mn-cs"/>
            </a:endParaRPr>
          </a:p>
        </p:txBody>
      </p:sp>
    </p:spTree>
    <p:extLst>
      <p:ext uri="{BB962C8B-B14F-4D97-AF65-F5344CB8AC3E}">
        <p14:creationId xmlns:p14="http://schemas.microsoft.com/office/powerpoint/2010/main" val="412889956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2" y="287260"/>
            <a:ext cx="12192000" cy="724247"/>
          </a:xfrm>
          <a:prstGeom prst="rect">
            <a:avLst/>
          </a:prstGeom>
        </p:spPr>
        <p:txBody>
          <a:bodyPr anchor="ctr"/>
          <a:lstStyle>
            <a:lvl1pPr marL="0" indent="0" algn="ctr">
              <a:buNone/>
              <a:defRPr sz="5397" b="0" baseline="0">
                <a:solidFill>
                  <a:schemeClr val="tx1">
                    <a:lumMod val="85000"/>
                    <a:lumOff val="15000"/>
                  </a:schemeClr>
                </a:solidFill>
                <a:latin typeface="+mj-lt"/>
                <a:cs typeface="Arial" pitchFamily="34" charset="0"/>
              </a:defRPr>
            </a:lvl1pPr>
          </a:lstStyle>
          <a:p>
            <a:pPr lvl="0"/>
            <a:r>
              <a:rPr lang="en-US" altLang="ko-KR" dirty="0"/>
              <a:t>BASIC LAYOUT</a:t>
            </a:r>
          </a:p>
        </p:txBody>
      </p:sp>
      <p:grpSp>
        <p:nvGrpSpPr>
          <p:cNvPr id="6" name="Group 5">
            <a:extLst>
              <a:ext uri="{FF2B5EF4-FFF2-40B4-BE49-F238E27FC236}">
                <a16:creationId xmlns:a16="http://schemas.microsoft.com/office/drawing/2014/main" id="{39E32B89-F037-40D0-AF12-764A7C2FA486}"/>
              </a:ext>
            </a:extLst>
          </p:cNvPr>
          <p:cNvGrpSpPr/>
          <p:nvPr userDrawn="1"/>
        </p:nvGrpSpPr>
        <p:grpSpPr>
          <a:xfrm>
            <a:off x="-9524" y="6378431"/>
            <a:ext cx="12280605" cy="489096"/>
            <a:chOff x="-10633" y="6411432"/>
            <a:chExt cx="11109042" cy="446567"/>
          </a:xfrm>
        </p:grpSpPr>
        <p:sp>
          <p:nvSpPr>
            <p:cNvPr id="7" name="Graphic 41">
              <a:extLst>
                <a:ext uri="{FF2B5EF4-FFF2-40B4-BE49-F238E27FC236}">
                  <a16:creationId xmlns:a16="http://schemas.microsoft.com/office/drawing/2014/main" id="{3BC4C72F-286E-4B83-A4A4-AD0BA626627E}"/>
                </a:ext>
              </a:extLst>
            </p:cNvPr>
            <p:cNvSpPr/>
            <p:nvPr userDrawn="1"/>
          </p:nvSpPr>
          <p:spPr>
            <a:xfrm>
              <a:off x="-10633" y="6411432"/>
              <a:ext cx="5608465" cy="446567"/>
            </a:xfrm>
            <a:custGeom>
              <a:avLst/>
              <a:gdLst>
                <a:gd name="connsiteX0" fmla="*/ 7144 w 6400800"/>
                <a:gd name="connsiteY0" fmla="*/ 511016 h 514350"/>
                <a:gd name="connsiteX1" fmla="*/ 6354604 w 6400800"/>
                <a:gd name="connsiteY1" fmla="*/ 511016 h 514350"/>
                <a:gd name="connsiteX2" fmla="*/ 6354604 w 6400800"/>
                <a:gd name="connsiteY2" fmla="*/ 409099 h 514350"/>
                <a:gd name="connsiteX3" fmla="*/ 6327934 w 6400800"/>
                <a:gd name="connsiteY3" fmla="*/ 415766 h 514350"/>
                <a:gd name="connsiteX4" fmla="*/ 6327934 w 6400800"/>
                <a:gd name="connsiteY4" fmla="*/ 404336 h 514350"/>
                <a:gd name="connsiteX5" fmla="*/ 6328887 w 6400800"/>
                <a:gd name="connsiteY5" fmla="*/ 383381 h 514350"/>
                <a:gd name="connsiteX6" fmla="*/ 6329839 w 6400800"/>
                <a:gd name="connsiteY6" fmla="*/ 365284 h 514350"/>
                <a:gd name="connsiteX7" fmla="*/ 6324124 w 6400800"/>
                <a:gd name="connsiteY7" fmla="*/ 383381 h 514350"/>
                <a:gd name="connsiteX8" fmla="*/ 6319362 w 6400800"/>
                <a:gd name="connsiteY8" fmla="*/ 404336 h 514350"/>
                <a:gd name="connsiteX9" fmla="*/ 6316504 w 6400800"/>
                <a:gd name="connsiteY9" fmla="*/ 419576 h 514350"/>
                <a:gd name="connsiteX10" fmla="*/ 6303169 w 6400800"/>
                <a:gd name="connsiteY10" fmla="*/ 423386 h 514350"/>
                <a:gd name="connsiteX11" fmla="*/ 6304121 w 6400800"/>
                <a:gd name="connsiteY11" fmla="*/ 405289 h 514350"/>
                <a:gd name="connsiteX12" fmla="*/ 6319362 w 6400800"/>
                <a:gd name="connsiteY12" fmla="*/ 358616 h 514350"/>
                <a:gd name="connsiteX13" fmla="*/ 6322219 w 6400800"/>
                <a:gd name="connsiteY13" fmla="*/ 349091 h 514350"/>
                <a:gd name="connsiteX14" fmla="*/ 6334601 w 6400800"/>
                <a:gd name="connsiteY14" fmla="*/ 312896 h 514350"/>
                <a:gd name="connsiteX15" fmla="*/ 6349842 w 6400800"/>
                <a:gd name="connsiteY15" fmla="*/ 269081 h 514350"/>
                <a:gd name="connsiteX16" fmla="*/ 6363176 w 6400800"/>
                <a:gd name="connsiteY16" fmla="*/ 228124 h 514350"/>
                <a:gd name="connsiteX17" fmla="*/ 6375559 w 6400800"/>
                <a:gd name="connsiteY17" fmla="*/ 190976 h 514350"/>
                <a:gd name="connsiteX18" fmla="*/ 6393656 w 6400800"/>
                <a:gd name="connsiteY18" fmla="*/ 134779 h 514350"/>
                <a:gd name="connsiteX19" fmla="*/ 6400324 w 6400800"/>
                <a:gd name="connsiteY19" fmla="*/ 113824 h 514350"/>
                <a:gd name="connsiteX20" fmla="*/ 6389846 w 6400800"/>
                <a:gd name="connsiteY20" fmla="*/ 133826 h 514350"/>
                <a:gd name="connsiteX21" fmla="*/ 6380321 w 6400800"/>
                <a:gd name="connsiteY21" fmla="*/ 153829 h 514350"/>
                <a:gd name="connsiteX22" fmla="*/ 6392704 w 6400800"/>
                <a:gd name="connsiteY22" fmla="*/ 110966 h 514350"/>
                <a:gd name="connsiteX23" fmla="*/ 6399371 w 6400800"/>
                <a:gd name="connsiteY23" fmla="*/ 87154 h 514350"/>
                <a:gd name="connsiteX24" fmla="*/ 6388894 w 6400800"/>
                <a:gd name="connsiteY24" fmla="*/ 109061 h 514350"/>
                <a:gd name="connsiteX25" fmla="*/ 6377464 w 6400800"/>
                <a:gd name="connsiteY25" fmla="*/ 134779 h 514350"/>
                <a:gd name="connsiteX26" fmla="*/ 6364129 w 6400800"/>
                <a:gd name="connsiteY26" fmla="*/ 168116 h 514350"/>
                <a:gd name="connsiteX27" fmla="*/ 6332696 w 6400800"/>
                <a:gd name="connsiteY27" fmla="*/ 253841 h 514350"/>
                <a:gd name="connsiteX28" fmla="*/ 6316504 w 6400800"/>
                <a:gd name="connsiteY28" fmla="*/ 302419 h 514350"/>
                <a:gd name="connsiteX29" fmla="*/ 6314599 w 6400800"/>
                <a:gd name="connsiteY29" fmla="*/ 308134 h 514350"/>
                <a:gd name="connsiteX30" fmla="*/ 6317456 w 6400800"/>
                <a:gd name="connsiteY30" fmla="*/ 287179 h 514350"/>
                <a:gd name="connsiteX31" fmla="*/ 6319362 w 6400800"/>
                <a:gd name="connsiteY31" fmla="*/ 267176 h 514350"/>
                <a:gd name="connsiteX32" fmla="*/ 6320314 w 6400800"/>
                <a:gd name="connsiteY32" fmla="*/ 250031 h 514350"/>
                <a:gd name="connsiteX33" fmla="*/ 6314599 w 6400800"/>
                <a:gd name="connsiteY33" fmla="*/ 266224 h 514350"/>
                <a:gd name="connsiteX34" fmla="*/ 6302217 w 6400800"/>
                <a:gd name="connsiteY34" fmla="*/ 310039 h 514350"/>
                <a:gd name="connsiteX35" fmla="*/ 6293644 w 6400800"/>
                <a:gd name="connsiteY35" fmla="*/ 339566 h 514350"/>
                <a:gd name="connsiteX36" fmla="*/ 6286976 w 6400800"/>
                <a:gd name="connsiteY36" fmla="*/ 362426 h 514350"/>
                <a:gd name="connsiteX37" fmla="*/ 6284119 w 6400800"/>
                <a:gd name="connsiteY37" fmla="*/ 335756 h 514350"/>
                <a:gd name="connsiteX38" fmla="*/ 6288881 w 6400800"/>
                <a:gd name="connsiteY38" fmla="*/ 318611 h 514350"/>
                <a:gd name="connsiteX39" fmla="*/ 6302217 w 6400800"/>
                <a:gd name="connsiteY39" fmla="*/ 274796 h 514350"/>
                <a:gd name="connsiteX40" fmla="*/ 6307931 w 6400800"/>
                <a:gd name="connsiteY40" fmla="*/ 255746 h 514350"/>
                <a:gd name="connsiteX41" fmla="*/ 6313646 w 6400800"/>
                <a:gd name="connsiteY41" fmla="*/ 238601 h 514350"/>
                <a:gd name="connsiteX42" fmla="*/ 6323171 w 6400800"/>
                <a:gd name="connsiteY42" fmla="*/ 210026 h 514350"/>
                <a:gd name="connsiteX43" fmla="*/ 6330792 w 6400800"/>
                <a:gd name="connsiteY43" fmla="*/ 185261 h 514350"/>
                <a:gd name="connsiteX44" fmla="*/ 6319362 w 6400800"/>
                <a:gd name="connsiteY44" fmla="*/ 208121 h 514350"/>
                <a:gd name="connsiteX45" fmla="*/ 6306026 w 6400800"/>
                <a:gd name="connsiteY45" fmla="*/ 234791 h 514350"/>
                <a:gd name="connsiteX46" fmla="*/ 6298406 w 6400800"/>
                <a:gd name="connsiteY46" fmla="*/ 250984 h 514350"/>
                <a:gd name="connsiteX47" fmla="*/ 6290787 w 6400800"/>
                <a:gd name="connsiteY47" fmla="*/ 270034 h 514350"/>
                <a:gd name="connsiteX48" fmla="*/ 6278404 w 6400800"/>
                <a:gd name="connsiteY48" fmla="*/ 301466 h 514350"/>
                <a:gd name="connsiteX49" fmla="*/ 6277451 w 6400800"/>
                <a:gd name="connsiteY49" fmla="*/ 292894 h 514350"/>
                <a:gd name="connsiteX50" fmla="*/ 6276499 w 6400800"/>
                <a:gd name="connsiteY50" fmla="*/ 306229 h 514350"/>
                <a:gd name="connsiteX51" fmla="*/ 6273642 w 6400800"/>
                <a:gd name="connsiteY51" fmla="*/ 312896 h 514350"/>
                <a:gd name="connsiteX52" fmla="*/ 6269831 w 6400800"/>
                <a:gd name="connsiteY52" fmla="*/ 322421 h 514350"/>
                <a:gd name="connsiteX53" fmla="*/ 6273642 w 6400800"/>
                <a:gd name="connsiteY53" fmla="*/ 300514 h 514350"/>
                <a:gd name="connsiteX54" fmla="*/ 6283167 w 6400800"/>
                <a:gd name="connsiteY54" fmla="*/ 252889 h 514350"/>
                <a:gd name="connsiteX55" fmla="*/ 6287929 w 6400800"/>
                <a:gd name="connsiteY55" fmla="*/ 231934 h 514350"/>
                <a:gd name="connsiteX56" fmla="*/ 6292692 w 6400800"/>
                <a:gd name="connsiteY56" fmla="*/ 212884 h 514350"/>
                <a:gd name="connsiteX57" fmla="*/ 6300312 w 6400800"/>
                <a:gd name="connsiteY57" fmla="*/ 181451 h 514350"/>
                <a:gd name="connsiteX58" fmla="*/ 6306026 w 6400800"/>
                <a:gd name="connsiteY58" fmla="*/ 153829 h 514350"/>
                <a:gd name="connsiteX59" fmla="*/ 6296501 w 6400800"/>
                <a:gd name="connsiteY59" fmla="*/ 180499 h 514350"/>
                <a:gd name="connsiteX60" fmla="*/ 6286024 w 6400800"/>
                <a:gd name="connsiteY60" fmla="*/ 210979 h 514350"/>
                <a:gd name="connsiteX61" fmla="*/ 6279356 w 6400800"/>
                <a:gd name="connsiteY61" fmla="*/ 230029 h 514350"/>
                <a:gd name="connsiteX62" fmla="*/ 6273642 w 6400800"/>
                <a:gd name="connsiteY62" fmla="*/ 250984 h 514350"/>
                <a:gd name="connsiteX63" fmla="*/ 6260306 w 6400800"/>
                <a:gd name="connsiteY63" fmla="*/ 298609 h 514350"/>
                <a:gd name="connsiteX64" fmla="*/ 6246971 w 6400800"/>
                <a:gd name="connsiteY64" fmla="*/ 351949 h 514350"/>
                <a:gd name="connsiteX65" fmla="*/ 6236494 w 6400800"/>
                <a:gd name="connsiteY65" fmla="*/ 396716 h 514350"/>
                <a:gd name="connsiteX66" fmla="*/ 6235542 w 6400800"/>
                <a:gd name="connsiteY66" fmla="*/ 394811 h 514350"/>
                <a:gd name="connsiteX67" fmla="*/ 6234589 w 6400800"/>
                <a:gd name="connsiteY67" fmla="*/ 370046 h 514350"/>
                <a:gd name="connsiteX68" fmla="*/ 6230779 w 6400800"/>
                <a:gd name="connsiteY68" fmla="*/ 389096 h 514350"/>
                <a:gd name="connsiteX69" fmla="*/ 6227921 w 6400800"/>
                <a:gd name="connsiteY69" fmla="*/ 384334 h 514350"/>
                <a:gd name="connsiteX70" fmla="*/ 6216492 w 6400800"/>
                <a:gd name="connsiteY70" fmla="*/ 367189 h 514350"/>
                <a:gd name="connsiteX71" fmla="*/ 6223159 w 6400800"/>
                <a:gd name="connsiteY71" fmla="*/ 348139 h 514350"/>
                <a:gd name="connsiteX72" fmla="*/ 6236494 w 6400800"/>
                <a:gd name="connsiteY72" fmla="*/ 310991 h 514350"/>
                <a:gd name="connsiteX73" fmla="*/ 6247924 w 6400800"/>
                <a:gd name="connsiteY73" fmla="*/ 279559 h 514350"/>
                <a:gd name="connsiteX74" fmla="*/ 6256496 w 6400800"/>
                <a:gd name="connsiteY74" fmla="*/ 254794 h 514350"/>
                <a:gd name="connsiteX75" fmla="*/ 6264117 w 6400800"/>
                <a:gd name="connsiteY75" fmla="*/ 233839 h 514350"/>
                <a:gd name="connsiteX76" fmla="*/ 6252687 w 6400800"/>
                <a:gd name="connsiteY76" fmla="*/ 253841 h 514350"/>
                <a:gd name="connsiteX77" fmla="*/ 6240304 w 6400800"/>
                <a:gd name="connsiteY77" fmla="*/ 276701 h 514350"/>
                <a:gd name="connsiteX78" fmla="*/ 6225064 w 6400800"/>
                <a:gd name="connsiteY78" fmla="*/ 307181 h 514350"/>
                <a:gd name="connsiteX79" fmla="*/ 6208871 w 6400800"/>
                <a:gd name="connsiteY79" fmla="*/ 343376 h 514350"/>
                <a:gd name="connsiteX80" fmla="*/ 6205062 w 6400800"/>
                <a:gd name="connsiteY80" fmla="*/ 351949 h 514350"/>
                <a:gd name="connsiteX81" fmla="*/ 6204109 w 6400800"/>
                <a:gd name="connsiteY81" fmla="*/ 350996 h 514350"/>
                <a:gd name="connsiteX82" fmla="*/ 6210776 w 6400800"/>
                <a:gd name="connsiteY82" fmla="*/ 320516 h 514350"/>
                <a:gd name="connsiteX83" fmla="*/ 6222206 w 6400800"/>
                <a:gd name="connsiteY83" fmla="*/ 268129 h 514350"/>
                <a:gd name="connsiteX84" fmla="*/ 6226017 w 6400800"/>
                <a:gd name="connsiteY84" fmla="*/ 248126 h 514350"/>
                <a:gd name="connsiteX85" fmla="*/ 6218396 w 6400800"/>
                <a:gd name="connsiteY85" fmla="*/ 267176 h 514350"/>
                <a:gd name="connsiteX86" fmla="*/ 6209824 w 6400800"/>
                <a:gd name="connsiteY86" fmla="*/ 289084 h 514350"/>
                <a:gd name="connsiteX87" fmla="*/ 6199346 w 6400800"/>
                <a:gd name="connsiteY87" fmla="*/ 317659 h 514350"/>
                <a:gd name="connsiteX88" fmla="*/ 6193631 w 6400800"/>
                <a:gd name="connsiteY88" fmla="*/ 335756 h 514350"/>
                <a:gd name="connsiteX89" fmla="*/ 6184106 w 6400800"/>
                <a:gd name="connsiteY89" fmla="*/ 322421 h 514350"/>
                <a:gd name="connsiteX90" fmla="*/ 6181249 w 6400800"/>
                <a:gd name="connsiteY90" fmla="*/ 318611 h 514350"/>
                <a:gd name="connsiteX91" fmla="*/ 6184106 w 6400800"/>
                <a:gd name="connsiteY91" fmla="*/ 302419 h 514350"/>
                <a:gd name="connsiteX92" fmla="*/ 6189821 w 6400800"/>
                <a:gd name="connsiteY92" fmla="*/ 274796 h 514350"/>
                <a:gd name="connsiteX93" fmla="*/ 6195537 w 6400800"/>
                <a:gd name="connsiteY93" fmla="*/ 250984 h 514350"/>
                <a:gd name="connsiteX94" fmla="*/ 6186012 w 6400800"/>
                <a:gd name="connsiteY94" fmla="*/ 273844 h 514350"/>
                <a:gd name="connsiteX95" fmla="*/ 6176487 w 6400800"/>
                <a:gd name="connsiteY95" fmla="*/ 300514 h 514350"/>
                <a:gd name="connsiteX96" fmla="*/ 6173629 w 6400800"/>
                <a:gd name="connsiteY96" fmla="*/ 309086 h 514350"/>
                <a:gd name="connsiteX97" fmla="*/ 6172676 w 6400800"/>
                <a:gd name="connsiteY97" fmla="*/ 308134 h 514350"/>
                <a:gd name="connsiteX98" fmla="*/ 6174581 w 6400800"/>
                <a:gd name="connsiteY98" fmla="*/ 294799 h 514350"/>
                <a:gd name="connsiteX99" fmla="*/ 6180296 w 6400800"/>
                <a:gd name="connsiteY99" fmla="*/ 263366 h 514350"/>
                <a:gd name="connsiteX100" fmla="*/ 6185059 w 6400800"/>
                <a:gd name="connsiteY100" fmla="*/ 236696 h 514350"/>
                <a:gd name="connsiteX101" fmla="*/ 6188869 w 6400800"/>
                <a:gd name="connsiteY101" fmla="*/ 215741 h 514350"/>
                <a:gd name="connsiteX102" fmla="*/ 6192679 w 6400800"/>
                <a:gd name="connsiteY102" fmla="*/ 197644 h 514350"/>
                <a:gd name="connsiteX103" fmla="*/ 6185059 w 6400800"/>
                <a:gd name="connsiteY103" fmla="*/ 214789 h 514350"/>
                <a:gd name="connsiteX104" fmla="*/ 6168867 w 6400800"/>
                <a:gd name="connsiteY104" fmla="*/ 260509 h 514350"/>
                <a:gd name="connsiteX105" fmla="*/ 6163151 w 6400800"/>
                <a:gd name="connsiteY105" fmla="*/ 280511 h 514350"/>
                <a:gd name="connsiteX106" fmla="*/ 6159342 w 6400800"/>
                <a:gd name="connsiteY106" fmla="*/ 253841 h 514350"/>
                <a:gd name="connsiteX107" fmla="*/ 6154579 w 6400800"/>
                <a:gd name="connsiteY107" fmla="*/ 225266 h 514350"/>
                <a:gd name="connsiteX108" fmla="*/ 6156484 w 6400800"/>
                <a:gd name="connsiteY108" fmla="*/ 285274 h 514350"/>
                <a:gd name="connsiteX109" fmla="*/ 6143149 w 6400800"/>
                <a:gd name="connsiteY109" fmla="*/ 268129 h 514350"/>
                <a:gd name="connsiteX110" fmla="*/ 6143149 w 6400800"/>
                <a:gd name="connsiteY110" fmla="*/ 267176 h 514350"/>
                <a:gd name="connsiteX111" fmla="*/ 6146006 w 6400800"/>
                <a:gd name="connsiteY111" fmla="*/ 256699 h 514350"/>
                <a:gd name="connsiteX112" fmla="*/ 6161246 w 6400800"/>
                <a:gd name="connsiteY112" fmla="*/ 178594 h 514350"/>
                <a:gd name="connsiteX113" fmla="*/ 6152674 w 6400800"/>
                <a:gd name="connsiteY113" fmla="*/ 200501 h 514350"/>
                <a:gd name="connsiteX114" fmla="*/ 6152674 w 6400800"/>
                <a:gd name="connsiteY114" fmla="*/ 197644 h 514350"/>
                <a:gd name="connsiteX115" fmla="*/ 6156484 w 6400800"/>
                <a:gd name="connsiteY115" fmla="*/ 172879 h 514350"/>
                <a:gd name="connsiteX116" fmla="*/ 6160294 w 6400800"/>
                <a:gd name="connsiteY116" fmla="*/ 150971 h 514350"/>
                <a:gd name="connsiteX117" fmla="*/ 6152674 w 6400800"/>
                <a:gd name="connsiteY117" fmla="*/ 171926 h 514350"/>
                <a:gd name="connsiteX118" fmla="*/ 6145054 w 6400800"/>
                <a:gd name="connsiteY118" fmla="*/ 196691 h 514350"/>
                <a:gd name="connsiteX119" fmla="*/ 6138387 w 6400800"/>
                <a:gd name="connsiteY119" fmla="*/ 220504 h 514350"/>
                <a:gd name="connsiteX120" fmla="*/ 6135529 w 6400800"/>
                <a:gd name="connsiteY120" fmla="*/ 202406 h 514350"/>
                <a:gd name="connsiteX121" fmla="*/ 6134576 w 6400800"/>
                <a:gd name="connsiteY121" fmla="*/ 221456 h 514350"/>
                <a:gd name="connsiteX122" fmla="*/ 6132671 w 6400800"/>
                <a:gd name="connsiteY122" fmla="*/ 242411 h 514350"/>
                <a:gd name="connsiteX123" fmla="*/ 6131719 w 6400800"/>
                <a:gd name="connsiteY123" fmla="*/ 249079 h 514350"/>
                <a:gd name="connsiteX124" fmla="*/ 6130767 w 6400800"/>
                <a:gd name="connsiteY124" fmla="*/ 253841 h 514350"/>
                <a:gd name="connsiteX125" fmla="*/ 6129814 w 6400800"/>
                <a:gd name="connsiteY125" fmla="*/ 251936 h 514350"/>
                <a:gd name="connsiteX126" fmla="*/ 6130767 w 6400800"/>
                <a:gd name="connsiteY126" fmla="*/ 254794 h 514350"/>
                <a:gd name="connsiteX127" fmla="*/ 6129814 w 6400800"/>
                <a:gd name="connsiteY127" fmla="*/ 261461 h 514350"/>
                <a:gd name="connsiteX128" fmla="*/ 6129814 w 6400800"/>
                <a:gd name="connsiteY128" fmla="*/ 243364 h 514350"/>
                <a:gd name="connsiteX129" fmla="*/ 6126004 w 6400800"/>
                <a:gd name="connsiteY129" fmla="*/ 274796 h 514350"/>
                <a:gd name="connsiteX130" fmla="*/ 6125051 w 6400800"/>
                <a:gd name="connsiteY130" fmla="*/ 281464 h 514350"/>
                <a:gd name="connsiteX131" fmla="*/ 6122194 w 6400800"/>
                <a:gd name="connsiteY131" fmla="*/ 267176 h 514350"/>
                <a:gd name="connsiteX132" fmla="*/ 6117431 w 6400800"/>
                <a:gd name="connsiteY132" fmla="*/ 243364 h 514350"/>
                <a:gd name="connsiteX133" fmla="*/ 6118384 w 6400800"/>
                <a:gd name="connsiteY133" fmla="*/ 267176 h 514350"/>
                <a:gd name="connsiteX134" fmla="*/ 6119337 w 6400800"/>
                <a:gd name="connsiteY134" fmla="*/ 300514 h 514350"/>
                <a:gd name="connsiteX135" fmla="*/ 6114574 w 6400800"/>
                <a:gd name="connsiteY135" fmla="*/ 317659 h 514350"/>
                <a:gd name="connsiteX136" fmla="*/ 6114574 w 6400800"/>
                <a:gd name="connsiteY136" fmla="*/ 307181 h 514350"/>
                <a:gd name="connsiteX137" fmla="*/ 6112669 w 6400800"/>
                <a:gd name="connsiteY137" fmla="*/ 286226 h 514350"/>
                <a:gd name="connsiteX138" fmla="*/ 6109812 w 6400800"/>
                <a:gd name="connsiteY138" fmla="*/ 270986 h 514350"/>
                <a:gd name="connsiteX139" fmla="*/ 6105049 w 6400800"/>
                <a:gd name="connsiteY139" fmla="*/ 258604 h 514350"/>
                <a:gd name="connsiteX140" fmla="*/ 6106001 w 6400800"/>
                <a:gd name="connsiteY140" fmla="*/ 272891 h 514350"/>
                <a:gd name="connsiteX141" fmla="*/ 6106001 w 6400800"/>
                <a:gd name="connsiteY141" fmla="*/ 282416 h 514350"/>
                <a:gd name="connsiteX142" fmla="*/ 6104096 w 6400800"/>
                <a:gd name="connsiteY142" fmla="*/ 273844 h 514350"/>
                <a:gd name="connsiteX143" fmla="*/ 6102192 w 6400800"/>
                <a:gd name="connsiteY143" fmla="*/ 268129 h 514350"/>
                <a:gd name="connsiteX144" fmla="*/ 6101239 w 6400800"/>
                <a:gd name="connsiteY144" fmla="*/ 253841 h 514350"/>
                <a:gd name="connsiteX145" fmla="*/ 6103144 w 6400800"/>
                <a:gd name="connsiteY145" fmla="*/ 247174 h 514350"/>
                <a:gd name="connsiteX146" fmla="*/ 6107906 w 6400800"/>
                <a:gd name="connsiteY146" fmla="*/ 225266 h 514350"/>
                <a:gd name="connsiteX147" fmla="*/ 6111717 w 6400800"/>
                <a:gd name="connsiteY147" fmla="*/ 205264 h 514350"/>
                <a:gd name="connsiteX148" fmla="*/ 6104096 w 6400800"/>
                <a:gd name="connsiteY148" fmla="*/ 223361 h 514350"/>
                <a:gd name="connsiteX149" fmla="*/ 6099334 w 6400800"/>
                <a:gd name="connsiteY149" fmla="*/ 234791 h 514350"/>
                <a:gd name="connsiteX150" fmla="*/ 6096476 w 6400800"/>
                <a:gd name="connsiteY150" fmla="*/ 206216 h 514350"/>
                <a:gd name="connsiteX151" fmla="*/ 6097429 w 6400800"/>
                <a:gd name="connsiteY151" fmla="*/ 199549 h 514350"/>
                <a:gd name="connsiteX152" fmla="*/ 6101239 w 6400800"/>
                <a:gd name="connsiteY152" fmla="*/ 177641 h 514350"/>
                <a:gd name="connsiteX153" fmla="*/ 6104096 w 6400800"/>
                <a:gd name="connsiteY153" fmla="*/ 157639 h 514350"/>
                <a:gd name="connsiteX154" fmla="*/ 6107906 w 6400800"/>
                <a:gd name="connsiteY154" fmla="*/ 124301 h 514350"/>
                <a:gd name="connsiteX155" fmla="*/ 6110764 w 6400800"/>
                <a:gd name="connsiteY155" fmla="*/ 95726 h 514350"/>
                <a:gd name="connsiteX156" fmla="*/ 6104096 w 6400800"/>
                <a:gd name="connsiteY156" fmla="*/ 124301 h 514350"/>
                <a:gd name="connsiteX157" fmla="*/ 6096476 w 6400800"/>
                <a:gd name="connsiteY157" fmla="*/ 156686 h 514350"/>
                <a:gd name="connsiteX158" fmla="*/ 6091714 w 6400800"/>
                <a:gd name="connsiteY158" fmla="*/ 176689 h 514350"/>
                <a:gd name="connsiteX159" fmla="*/ 6085999 w 6400800"/>
                <a:gd name="connsiteY159" fmla="*/ 198596 h 514350"/>
                <a:gd name="connsiteX160" fmla="*/ 6081237 w 6400800"/>
                <a:gd name="connsiteY160" fmla="*/ 214789 h 514350"/>
                <a:gd name="connsiteX161" fmla="*/ 6074569 w 6400800"/>
                <a:gd name="connsiteY161" fmla="*/ 201454 h 514350"/>
                <a:gd name="connsiteX162" fmla="*/ 6079331 w 6400800"/>
                <a:gd name="connsiteY162" fmla="*/ 219551 h 514350"/>
                <a:gd name="connsiteX163" fmla="*/ 6073617 w 6400800"/>
                <a:gd name="connsiteY163" fmla="*/ 230029 h 514350"/>
                <a:gd name="connsiteX164" fmla="*/ 6069806 w 6400800"/>
                <a:gd name="connsiteY164" fmla="*/ 237649 h 514350"/>
                <a:gd name="connsiteX165" fmla="*/ 6069806 w 6400800"/>
                <a:gd name="connsiteY165" fmla="*/ 228124 h 514350"/>
                <a:gd name="connsiteX166" fmla="*/ 6069806 w 6400800"/>
                <a:gd name="connsiteY166" fmla="*/ 205264 h 514350"/>
                <a:gd name="connsiteX167" fmla="*/ 6065996 w 6400800"/>
                <a:gd name="connsiteY167" fmla="*/ 228124 h 514350"/>
                <a:gd name="connsiteX168" fmla="*/ 6061234 w 6400800"/>
                <a:gd name="connsiteY168" fmla="*/ 253841 h 514350"/>
                <a:gd name="connsiteX169" fmla="*/ 6059329 w 6400800"/>
                <a:gd name="connsiteY169" fmla="*/ 263366 h 514350"/>
                <a:gd name="connsiteX170" fmla="*/ 6057424 w 6400800"/>
                <a:gd name="connsiteY170" fmla="*/ 268129 h 514350"/>
                <a:gd name="connsiteX171" fmla="*/ 6048851 w 6400800"/>
                <a:gd name="connsiteY171" fmla="*/ 294799 h 514350"/>
                <a:gd name="connsiteX172" fmla="*/ 6041231 w 6400800"/>
                <a:gd name="connsiteY172" fmla="*/ 324326 h 514350"/>
                <a:gd name="connsiteX173" fmla="*/ 6041231 w 6400800"/>
                <a:gd name="connsiteY173" fmla="*/ 325279 h 514350"/>
                <a:gd name="connsiteX174" fmla="*/ 6033612 w 6400800"/>
                <a:gd name="connsiteY174" fmla="*/ 306229 h 514350"/>
                <a:gd name="connsiteX175" fmla="*/ 6029801 w 6400800"/>
                <a:gd name="connsiteY175" fmla="*/ 296704 h 514350"/>
                <a:gd name="connsiteX176" fmla="*/ 6029801 w 6400800"/>
                <a:gd name="connsiteY176" fmla="*/ 295751 h 514350"/>
                <a:gd name="connsiteX177" fmla="*/ 6031706 w 6400800"/>
                <a:gd name="connsiteY177" fmla="*/ 281464 h 514350"/>
                <a:gd name="connsiteX178" fmla="*/ 6033612 w 6400800"/>
                <a:gd name="connsiteY178" fmla="*/ 269081 h 514350"/>
                <a:gd name="connsiteX179" fmla="*/ 6027896 w 6400800"/>
                <a:gd name="connsiteY179" fmla="*/ 280511 h 514350"/>
                <a:gd name="connsiteX180" fmla="*/ 6025039 w 6400800"/>
                <a:gd name="connsiteY180" fmla="*/ 286226 h 514350"/>
                <a:gd name="connsiteX181" fmla="*/ 6020276 w 6400800"/>
                <a:gd name="connsiteY181" fmla="*/ 272891 h 514350"/>
                <a:gd name="connsiteX182" fmla="*/ 6008846 w 6400800"/>
                <a:gd name="connsiteY182" fmla="*/ 244316 h 514350"/>
                <a:gd name="connsiteX183" fmla="*/ 6016467 w 6400800"/>
                <a:gd name="connsiteY183" fmla="*/ 273844 h 514350"/>
                <a:gd name="connsiteX184" fmla="*/ 6022181 w 6400800"/>
                <a:gd name="connsiteY184" fmla="*/ 293846 h 514350"/>
                <a:gd name="connsiteX185" fmla="*/ 6019324 w 6400800"/>
                <a:gd name="connsiteY185" fmla="*/ 302419 h 514350"/>
                <a:gd name="connsiteX186" fmla="*/ 6016467 w 6400800"/>
                <a:gd name="connsiteY186" fmla="*/ 311944 h 514350"/>
                <a:gd name="connsiteX187" fmla="*/ 6010751 w 6400800"/>
                <a:gd name="connsiteY187" fmla="*/ 333851 h 514350"/>
                <a:gd name="connsiteX188" fmla="*/ 6010751 w 6400800"/>
                <a:gd name="connsiteY188" fmla="*/ 334804 h 514350"/>
                <a:gd name="connsiteX189" fmla="*/ 6003131 w 6400800"/>
                <a:gd name="connsiteY189" fmla="*/ 320516 h 514350"/>
                <a:gd name="connsiteX190" fmla="*/ 5996464 w 6400800"/>
                <a:gd name="connsiteY190" fmla="*/ 308134 h 514350"/>
                <a:gd name="connsiteX191" fmla="*/ 5999321 w 6400800"/>
                <a:gd name="connsiteY191" fmla="*/ 302419 h 514350"/>
                <a:gd name="connsiteX192" fmla="*/ 6007894 w 6400800"/>
                <a:gd name="connsiteY192" fmla="*/ 283369 h 514350"/>
                <a:gd name="connsiteX193" fmla="*/ 6014562 w 6400800"/>
                <a:gd name="connsiteY193" fmla="*/ 267176 h 514350"/>
                <a:gd name="connsiteX194" fmla="*/ 6004084 w 6400800"/>
                <a:gd name="connsiteY194" fmla="*/ 281464 h 514350"/>
                <a:gd name="connsiteX195" fmla="*/ 5993606 w 6400800"/>
                <a:gd name="connsiteY195" fmla="*/ 297656 h 514350"/>
                <a:gd name="connsiteX196" fmla="*/ 5989796 w 6400800"/>
                <a:gd name="connsiteY196" fmla="*/ 273844 h 514350"/>
                <a:gd name="connsiteX197" fmla="*/ 5991701 w 6400800"/>
                <a:gd name="connsiteY197" fmla="*/ 250984 h 514350"/>
                <a:gd name="connsiteX198" fmla="*/ 5997417 w 6400800"/>
                <a:gd name="connsiteY198" fmla="*/ 212884 h 514350"/>
                <a:gd name="connsiteX199" fmla="*/ 6003131 w 6400800"/>
                <a:gd name="connsiteY199" fmla="*/ 179546 h 514350"/>
                <a:gd name="connsiteX200" fmla="*/ 5993606 w 6400800"/>
                <a:gd name="connsiteY200" fmla="*/ 211931 h 514350"/>
                <a:gd name="connsiteX201" fmla="*/ 5985034 w 6400800"/>
                <a:gd name="connsiteY201" fmla="*/ 248126 h 514350"/>
                <a:gd name="connsiteX202" fmla="*/ 5974556 w 6400800"/>
                <a:gd name="connsiteY202" fmla="*/ 206216 h 514350"/>
                <a:gd name="connsiteX203" fmla="*/ 5974556 w 6400800"/>
                <a:gd name="connsiteY203" fmla="*/ 206216 h 514350"/>
                <a:gd name="connsiteX204" fmla="*/ 5977414 w 6400800"/>
                <a:gd name="connsiteY204" fmla="*/ 178594 h 514350"/>
                <a:gd name="connsiteX205" fmla="*/ 5979319 w 6400800"/>
                <a:gd name="connsiteY205" fmla="*/ 153829 h 514350"/>
                <a:gd name="connsiteX206" fmla="*/ 5973604 w 6400800"/>
                <a:gd name="connsiteY206" fmla="*/ 177641 h 514350"/>
                <a:gd name="connsiteX207" fmla="*/ 5969794 w 6400800"/>
                <a:gd name="connsiteY207" fmla="*/ 191929 h 514350"/>
                <a:gd name="connsiteX208" fmla="*/ 5959317 w 6400800"/>
                <a:gd name="connsiteY208" fmla="*/ 160496 h 514350"/>
                <a:gd name="connsiteX209" fmla="*/ 5946934 w 6400800"/>
                <a:gd name="connsiteY209" fmla="*/ 130016 h 514350"/>
                <a:gd name="connsiteX210" fmla="*/ 5934551 w 6400800"/>
                <a:gd name="connsiteY210" fmla="*/ 104299 h 514350"/>
                <a:gd name="connsiteX211" fmla="*/ 5943124 w 6400800"/>
                <a:gd name="connsiteY211" fmla="*/ 131921 h 514350"/>
                <a:gd name="connsiteX212" fmla="*/ 5951696 w 6400800"/>
                <a:gd name="connsiteY212" fmla="*/ 163354 h 514350"/>
                <a:gd name="connsiteX213" fmla="*/ 5961221 w 6400800"/>
                <a:gd name="connsiteY213" fmla="*/ 204311 h 514350"/>
                <a:gd name="connsiteX214" fmla="*/ 5964079 w 6400800"/>
                <a:gd name="connsiteY214" fmla="*/ 216694 h 514350"/>
                <a:gd name="connsiteX215" fmla="*/ 5962174 w 6400800"/>
                <a:gd name="connsiteY215" fmla="*/ 222409 h 514350"/>
                <a:gd name="connsiteX216" fmla="*/ 5958364 w 6400800"/>
                <a:gd name="connsiteY216" fmla="*/ 235744 h 514350"/>
                <a:gd name="connsiteX217" fmla="*/ 5956459 w 6400800"/>
                <a:gd name="connsiteY217" fmla="*/ 232886 h 514350"/>
                <a:gd name="connsiteX218" fmla="*/ 5956459 w 6400800"/>
                <a:gd name="connsiteY218" fmla="*/ 231934 h 514350"/>
                <a:gd name="connsiteX219" fmla="*/ 5956459 w 6400800"/>
                <a:gd name="connsiteY219" fmla="*/ 232886 h 514350"/>
                <a:gd name="connsiteX220" fmla="*/ 5938362 w 6400800"/>
                <a:gd name="connsiteY220" fmla="*/ 199549 h 514350"/>
                <a:gd name="connsiteX221" fmla="*/ 5927884 w 6400800"/>
                <a:gd name="connsiteY221" fmla="*/ 180499 h 514350"/>
                <a:gd name="connsiteX222" fmla="*/ 5953601 w 6400800"/>
                <a:gd name="connsiteY222" fmla="*/ 250984 h 514350"/>
                <a:gd name="connsiteX223" fmla="*/ 5952649 w 6400800"/>
                <a:gd name="connsiteY223" fmla="*/ 255746 h 514350"/>
                <a:gd name="connsiteX224" fmla="*/ 5945029 w 6400800"/>
                <a:gd name="connsiteY224" fmla="*/ 282416 h 514350"/>
                <a:gd name="connsiteX225" fmla="*/ 5944076 w 6400800"/>
                <a:gd name="connsiteY225" fmla="*/ 285274 h 514350"/>
                <a:gd name="connsiteX226" fmla="*/ 5940267 w 6400800"/>
                <a:gd name="connsiteY226" fmla="*/ 271939 h 514350"/>
                <a:gd name="connsiteX227" fmla="*/ 5928837 w 6400800"/>
                <a:gd name="connsiteY227" fmla="*/ 237649 h 514350"/>
                <a:gd name="connsiteX228" fmla="*/ 5922169 w 6400800"/>
                <a:gd name="connsiteY228" fmla="*/ 220504 h 514350"/>
                <a:gd name="connsiteX229" fmla="*/ 5923121 w 6400800"/>
                <a:gd name="connsiteY229" fmla="*/ 216694 h 514350"/>
                <a:gd name="connsiteX230" fmla="*/ 5921217 w 6400800"/>
                <a:gd name="connsiteY230" fmla="*/ 219551 h 514350"/>
                <a:gd name="connsiteX231" fmla="*/ 5917406 w 6400800"/>
                <a:gd name="connsiteY231" fmla="*/ 211931 h 514350"/>
                <a:gd name="connsiteX232" fmla="*/ 5908834 w 6400800"/>
                <a:gd name="connsiteY232" fmla="*/ 194786 h 514350"/>
                <a:gd name="connsiteX233" fmla="*/ 5907881 w 6400800"/>
                <a:gd name="connsiteY233" fmla="*/ 183356 h 514350"/>
                <a:gd name="connsiteX234" fmla="*/ 5905024 w 6400800"/>
                <a:gd name="connsiteY234" fmla="*/ 159544 h 514350"/>
                <a:gd name="connsiteX235" fmla="*/ 5904071 w 6400800"/>
                <a:gd name="connsiteY235" fmla="*/ 184309 h 514350"/>
                <a:gd name="connsiteX236" fmla="*/ 5903119 w 6400800"/>
                <a:gd name="connsiteY236" fmla="*/ 211931 h 514350"/>
                <a:gd name="connsiteX237" fmla="*/ 5902167 w 6400800"/>
                <a:gd name="connsiteY237" fmla="*/ 229076 h 514350"/>
                <a:gd name="connsiteX238" fmla="*/ 5902167 w 6400800"/>
                <a:gd name="connsiteY238" fmla="*/ 248126 h 514350"/>
                <a:gd name="connsiteX239" fmla="*/ 5903119 w 6400800"/>
                <a:gd name="connsiteY239" fmla="*/ 270034 h 514350"/>
                <a:gd name="connsiteX240" fmla="*/ 5900262 w 6400800"/>
                <a:gd name="connsiteY240" fmla="*/ 285274 h 514350"/>
                <a:gd name="connsiteX241" fmla="*/ 5899309 w 6400800"/>
                <a:gd name="connsiteY241" fmla="*/ 282416 h 514350"/>
                <a:gd name="connsiteX242" fmla="*/ 5895499 w 6400800"/>
                <a:gd name="connsiteY242" fmla="*/ 263366 h 514350"/>
                <a:gd name="connsiteX243" fmla="*/ 5891689 w 6400800"/>
                <a:gd name="connsiteY243" fmla="*/ 248126 h 514350"/>
                <a:gd name="connsiteX244" fmla="*/ 5891689 w 6400800"/>
                <a:gd name="connsiteY244" fmla="*/ 245269 h 514350"/>
                <a:gd name="connsiteX245" fmla="*/ 5890737 w 6400800"/>
                <a:gd name="connsiteY245" fmla="*/ 247174 h 514350"/>
                <a:gd name="connsiteX246" fmla="*/ 5890737 w 6400800"/>
                <a:gd name="connsiteY246" fmla="*/ 247174 h 514350"/>
                <a:gd name="connsiteX247" fmla="*/ 5890737 w 6400800"/>
                <a:gd name="connsiteY247" fmla="*/ 248126 h 514350"/>
                <a:gd name="connsiteX248" fmla="*/ 5881212 w 6400800"/>
                <a:gd name="connsiteY248" fmla="*/ 275749 h 514350"/>
                <a:gd name="connsiteX249" fmla="*/ 5878354 w 6400800"/>
                <a:gd name="connsiteY249" fmla="*/ 262414 h 514350"/>
                <a:gd name="connsiteX250" fmla="*/ 5874544 w 6400800"/>
                <a:gd name="connsiteY250" fmla="*/ 240506 h 514350"/>
                <a:gd name="connsiteX251" fmla="*/ 5874544 w 6400800"/>
                <a:gd name="connsiteY251" fmla="*/ 262414 h 514350"/>
                <a:gd name="connsiteX252" fmla="*/ 5875496 w 6400800"/>
                <a:gd name="connsiteY252" fmla="*/ 290989 h 514350"/>
                <a:gd name="connsiteX253" fmla="*/ 5873592 w 6400800"/>
                <a:gd name="connsiteY253" fmla="*/ 298609 h 514350"/>
                <a:gd name="connsiteX254" fmla="*/ 5870734 w 6400800"/>
                <a:gd name="connsiteY254" fmla="*/ 271939 h 514350"/>
                <a:gd name="connsiteX255" fmla="*/ 5867876 w 6400800"/>
                <a:gd name="connsiteY255" fmla="*/ 292894 h 514350"/>
                <a:gd name="connsiteX256" fmla="*/ 5866924 w 6400800"/>
                <a:gd name="connsiteY256" fmla="*/ 269081 h 514350"/>
                <a:gd name="connsiteX257" fmla="*/ 5865971 w 6400800"/>
                <a:gd name="connsiteY257" fmla="*/ 243364 h 514350"/>
                <a:gd name="connsiteX258" fmla="*/ 5873592 w 6400800"/>
                <a:gd name="connsiteY258" fmla="*/ 225266 h 514350"/>
                <a:gd name="connsiteX259" fmla="*/ 5865971 w 6400800"/>
                <a:gd name="connsiteY259" fmla="*/ 237649 h 514350"/>
                <a:gd name="connsiteX260" fmla="*/ 5865971 w 6400800"/>
                <a:gd name="connsiteY260" fmla="*/ 230029 h 514350"/>
                <a:gd name="connsiteX261" fmla="*/ 5865019 w 6400800"/>
                <a:gd name="connsiteY261" fmla="*/ 194786 h 514350"/>
                <a:gd name="connsiteX262" fmla="*/ 5863114 w 6400800"/>
                <a:gd name="connsiteY262" fmla="*/ 141446 h 514350"/>
                <a:gd name="connsiteX263" fmla="*/ 5862162 w 6400800"/>
                <a:gd name="connsiteY263" fmla="*/ 121444 h 514350"/>
                <a:gd name="connsiteX264" fmla="*/ 5859304 w 6400800"/>
                <a:gd name="connsiteY264" fmla="*/ 141446 h 514350"/>
                <a:gd name="connsiteX265" fmla="*/ 5856446 w 6400800"/>
                <a:gd name="connsiteY265" fmla="*/ 161449 h 514350"/>
                <a:gd name="connsiteX266" fmla="*/ 5853589 w 6400800"/>
                <a:gd name="connsiteY266" fmla="*/ 120491 h 514350"/>
                <a:gd name="connsiteX267" fmla="*/ 5851684 w 6400800"/>
                <a:gd name="connsiteY267" fmla="*/ 98584 h 514350"/>
                <a:gd name="connsiteX268" fmla="*/ 5849779 w 6400800"/>
                <a:gd name="connsiteY268" fmla="*/ 120491 h 514350"/>
                <a:gd name="connsiteX269" fmla="*/ 5847874 w 6400800"/>
                <a:gd name="connsiteY269" fmla="*/ 146209 h 514350"/>
                <a:gd name="connsiteX270" fmla="*/ 5846921 w 6400800"/>
                <a:gd name="connsiteY270" fmla="*/ 179546 h 514350"/>
                <a:gd name="connsiteX271" fmla="*/ 5846921 w 6400800"/>
                <a:gd name="connsiteY271" fmla="*/ 262414 h 514350"/>
                <a:gd name="connsiteX272" fmla="*/ 5846921 w 6400800"/>
                <a:gd name="connsiteY272" fmla="*/ 269081 h 514350"/>
                <a:gd name="connsiteX273" fmla="*/ 5843112 w 6400800"/>
                <a:gd name="connsiteY273" fmla="*/ 274796 h 514350"/>
                <a:gd name="connsiteX274" fmla="*/ 5840254 w 6400800"/>
                <a:gd name="connsiteY274" fmla="*/ 261461 h 514350"/>
                <a:gd name="connsiteX275" fmla="*/ 5841206 w 6400800"/>
                <a:gd name="connsiteY275" fmla="*/ 242411 h 514350"/>
                <a:gd name="connsiteX276" fmla="*/ 5841206 w 6400800"/>
                <a:gd name="connsiteY276" fmla="*/ 223361 h 514350"/>
                <a:gd name="connsiteX277" fmla="*/ 5837396 w 6400800"/>
                <a:gd name="connsiteY277" fmla="*/ 242411 h 514350"/>
                <a:gd name="connsiteX278" fmla="*/ 5836444 w 6400800"/>
                <a:gd name="connsiteY278" fmla="*/ 245269 h 514350"/>
                <a:gd name="connsiteX279" fmla="*/ 5829776 w 6400800"/>
                <a:gd name="connsiteY279" fmla="*/ 215741 h 514350"/>
                <a:gd name="connsiteX280" fmla="*/ 5824062 w 6400800"/>
                <a:gd name="connsiteY280" fmla="*/ 189071 h 514350"/>
                <a:gd name="connsiteX281" fmla="*/ 5825967 w 6400800"/>
                <a:gd name="connsiteY281" fmla="*/ 215741 h 514350"/>
                <a:gd name="connsiteX282" fmla="*/ 5828824 w 6400800"/>
                <a:gd name="connsiteY282" fmla="*/ 246221 h 514350"/>
                <a:gd name="connsiteX283" fmla="*/ 5831681 w 6400800"/>
                <a:gd name="connsiteY283" fmla="*/ 268129 h 514350"/>
                <a:gd name="connsiteX284" fmla="*/ 5826919 w 6400800"/>
                <a:gd name="connsiteY284" fmla="*/ 276701 h 514350"/>
                <a:gd name="connsiteX285" fmla="*/ 5825967 w 6400800"/>
                <a:gd name="connsiteY285" fmla="*/ 270986 h 514350"/>
                <a:gd name="connsiteX286" fmla="*/ 5822156 w 6400800"/>
                <a:gd name="connsiteY286" fmla="*/ 250031 h 514350"/>
                <a:gd name="connsiteX287" fmla="*/ 5818346 w 6400800"/>
                <a:gd name="connsiteY287" fmla="*/ 231934 h 514350"/>
                <a:gd name="connsiteX288" fmla="*/ 5818346 w 6400800"/>
                <a:gd name="connsiteY288" fmla="*/ 250031 h 514350"/>
                <a:gd name="connsiteX289" fmla="*/ 5818346 w 6400800"/>
                <a:gd name="connsiteY289" fmla="*/ 270986 h 514350"/>
                <a:gd name="connsiteX290" fmla="*/ 5812631 w 6400800"/>
                <a:gd name="connsiteY290" fmla="*/ 262414 h 514350"/>
                <a:gd name="connsiteX291" fmla="*/ 5812631 w 6400800"/>
                <a:gd name="connsiteY291" fmla="*/ 246221 h 514350"/>
                <a:gd name="connsiteX292" fmla="*/ 5814537 w 6400800"/>
                <a:gd name="connsiteY292" fmla="*/ 220504 h 514350"/>
                <a:gd name="connsiteX293" fmla="*/ 5816442 w 6400800"/>
                <a:gd name="connsiteY293" fmla="*/ 221456 h 514350"/>
                <a:gd name="connsiteX294" fmla="*/ 5819299 w 6400800"/>
                <a:gd name="connsiteY294" fmla="*/ 224314 h 514350"/>
                <a:gd name="connsiteX295" fmla="*/ 5822156 w 6400800"/>
                <a:gd name="connsiteY295" fmla="*/ 231934 h 514350"/>
                <a:gd name="connsiteX296" fmla="*/ 5821204 w 6400800"/>
                <a:gd name="connsiteY296" fmla="*/ 223361 h 514350"/>
                <a:gd name="connsiteX297" fmla="*/ 5818346 w 6400800"/>
                <a:gd name="connsiteY297" fmla="*/ 219551 h 514350"/>
                <a:gd name="connsiteX298" fmla="*/ 5813584 w 6400800"/>
                <a:gd name="connsiteY298" fmla="*/ 217646 h 514350"/>
                <a:gd name="connsiteX299" fmla="*/ 5811679 w 6400800"/>
                <a:gd name="connsiteY299" fmla="*/ 217646 h 514350"/>
                <a:gd name="connsiteX300" fmla="*/ 5811679 w 6400800"/>
                <a:gd name="connsiteY300" fmla="*/ 219551 h 514350"/>
                <a:gd name="connsiteX301" fmla="*/ 5805012 w 6400800"/>
                <a:gd name="connsiteY301" fmla="*/ 246221 h 514350"/>
                <a:gd name="connsiteX302" fmla="*/ 5803106 w 6400800"/>
                <a:gd name="connsiteY302" fmla="*/ 256699 h 514350"/>
                <a:gd name="connsiteX303" fmla="*/ 5796439 w 6400800"/>
                <a:gd name="connsiteY303" fmla="*/ 264319 h 514350"/>
                <a:gd name="connsiteX304" fmla="*/ 5795487 w 6400800"/>
                <a:gd name="connsiteY304" fmla="*/ 253841 h 514350"/>
                <a:gd name="connsiteX305" fmla="*/ 5794534 w 6400800"/>
                <a:gd name="connsiteY305" fmla="*/ 248126 h 514350"/>
                <a:gd name="connsiteX306" fmla="*/ 5794534 w 6400800"/>
                <a:gd name="connsiteY306" fmla="*/ 253841 h 514350"/>
                <a:gd name="connsiteX307" fmla="*/ 5793581 w 6400800"/>
                <a:gd name="connsiteY307" fmla="*/ 268129 h 514350"/>
                <a:gd name="connsiteX308" fmla="*/ 5791676 w 6400800"/>
                <a:gd name="connsiteY308" fmla="*/ 270034 h 514350"/>
                <a:gd name="connsiteX309" fmla="*/ 5791676 w 6400800"/>
                <a:gd name="connsiteY309" fmla="*/ 270034 h 514350"/>
                <a:gd name="connsiteX310" fmla="*/ 5787867 w 6400800"/>
                <a:gd name="connsiteY310" fmla="*/ 239554 h 514350"/>
                <a:gd name="connsiteX311" fmla="*/ 5793581 w 6400800"/>
                <a:gd name="connsiteY311" fmla="*/ 224314 h 514350"/>
                <a:gd name="connsiteX312" fmla="*/ 5786914 w 6400800"/>
                <a:gd name="connsiteY312" fmla="*/ 234791 h 514350"/>
                <a:gd name="connsiteX313" fmla="*/ 5785009 w 6400800"/>
                <a:gd name="connsiteY313" fmla="*/ 205264 h 514350"/>
                <a:gd name="connsiteX314" fmla="*/ 5795487 w 6400800"/>
                <a:gd name="connsiteY314" fmla="*/ 183356 h 514350"/>
                <a:gd name="connsiteX315" fmla="*/ 5795487 w 6400800"/>
                <a:gd name="connsiteY315" fmla="*/ 184309 h 514350"/>
                <a:gd name="connsiteX316" fmla="*/ 5795487 w 6400800"/>
                <a:gd name="connsiteY316" fmla="*/ 183356 h 514350"/>
                <a:gd name="connsiteX317" fmla="*/ 5797392 w 6400800"/>
                <a:gd name="connsiteY317" fmla="*/ 178594 h 514350"/>
                <a:gd name="connsiteX318" fmla="*/ 5812631 w 6400800"/>
                <a:gd name="connsiteY318" fmla="*/ 145256 h 514350"/>
                <a:gd name="connsiteX319" fmla="*/ 5825967 w 6400800"/>
                <a:gd name="connsiteY319" fmla="*/ 115729 h 514350"/>
                <a:gd name="connsiteX320" fmla="*/ 5809774 w 6400800"/>
                <a:gd name="connsiteY320" fmla="*/ 143351 h 514350"/>
                <a:gd name="connsiteX321" fmla="*/ 5791676 w 6400800"/>
                <a:gd name="connsiteY321" fmla="*/ 173831 h 514350"/>
                <a:gd name="connsiteX322" fmla="*/ 5788819 w 6400800"/>
                <a:gd name="connsiteY322" fmla="*/ 170974 h 514350"/>
                <a:gd name="connsiteX323" fmla="*/ 5783104 w 6400800"/>
                <a:gd name="connsiteY323" fmla="*/ 169069 h 514350"/>
                <a:gd name="connsiteX324" fmla="*/ 5781199 w 6400800"/>
                <a:gd name="connsiteY324" fmla="*/ 169069 h 514350"/>
                <a:gd name="connsiteX325" fmla="*/ 5781199 w 6400800"/>
                <a:gd name="connsiteY325" fmla="*/ 170974 h 514350"/>
                <a:gd name="connsiteX326" fmla="*/ 5777389 w 6400800"/>
                <a:gd name="connsiteY326" fmla="*/ 197644 h 514350"/>
                <a:gd name="connsiteX327" fmla="*/ 5766912 w 6400800"/>
                <a:gd name="connsiteY327" fmla="*/ 217646 h 514350"/>
                <a:gd name="connsiteX328" fmla="*/ 5752624 w 6400800"/>
                <a:gd name="connsiteY328" fmla="*/ 244316 h 514350"/>
                <a:gd name="connsiteX329" fmla="*/ 5751671 w 6400800"/>
                <a:gd name="connsiteY329" fmla="*/ 233839 h 514350"/>
                <a:gd name="connsiteX330" fmla="*/ 5749767 w 6400800"/>
                <a:gd name="connsiteY330" fmla="*/ 216694 h 514350"/>
                <a:gd name="connsiteX331" fmla="*/ 5757387 w 6400800"/>
                <a:gd name="connsiteY331" fmla="*/ 190024 h 514350"/>
                <a:gd name="connsiteX332" fmla="*/ 5749767 w 6400800"/>
                <a:gd name="connsiteY332" fmla="*/ 210979 h 514350"/>
                <a:gd name="connsiteX333" fmla="*/ 5748814 w 6400800"/>
                <a:gd name="connsiteY333" fmla="*/ 204311 h 514350"/>
                <a:gd name="connsiteX334" fmla="*/ 5745004 w 6400800"/>
                <a:gd name="connsiteY334" fmla="*/ 178594 h 514350"/>
                <a:gd name="connsiteX335" fmla="*/ 5745004 w 6400800"/>
                <a:gd name="connsiteY335" fmla="*/ 204311 h 514350"/>
                <a:gd name="connsiteX336" fmla="*/ 5745004 w 6400800"/>
                <a:gd name="connsiteY336" fmla="*/ 222409 h 514350"/>
                <a:gd name="connsiteX337" fmla="*/ 5744051 w 6400800"/>
                <a:gd name="connsiteY337" fmla="*/ 225266 h 514350"/>
                <a:gd name="connsiteX338" fmla="*/ 5731669 w 6400800"/>
                <a:gd name="connsiteY338" fmla="*/ 259556 h 514350"/>
                <a:gd name="connsiteX339" fmla="*/ 5731669 w 6400800"/>
                <a:gd name="connsiteY339" fmla="*/ 258604 h 514350"/>
                <a:gd name="connsiteX340" fmla="*/ 5734526 w 6400800"/>
                <a:gd name="connsiteY340" fmla="*/ 238601 h 514350"/>
                <a:gd name="connsiteX341" fmla="*/ 5727859 w 6400800"/>
                <a:gd name="connsiteY341" fmla="*/ 258604 h 514350"/>
                <a:gd name="connsiteX342" fmla="*/ 5725954 w 6400800"/>
                <a:gd name="connsiteY342" fmla="*/ 264319 h 514350"/>
                <a:gd name="connsiteX343" fmla="*/ 5725954 w 6400800"/>
                <a:gd name="connsiteY343" fmla="*/ 263366 h 514350"/>
                <a:gd name="connsiteX344" fmla="*/ 5725954 w 6400800"/>
                <a:gd name="connsiteY344" fmla="*/ 262414 h 514350"/>
                <a:gd name="connsiteX345" fmla="*/ 5726906 w 6400800"/>
                <a:gd name="connsiteY345" fmla="*/ 256699 h 514350"/>
                <a:gd name="connsiteX346" fmla="*/ 5729764 w 6400800"/>
                <a:gd name="connsiteY346" fmla="*/ 242411 h 514350"/>
                <a:gd name="connsiteX347" fmla="*/ 5732621 w 6400800"/>
                <a:gd name="connsiteY347" fmla="*/ 230029 h 514350"/>
                <a:gd name="connsiteX348" fmla="*/ 5737384 w 6400800"/>
                <a:gd name="connsiteY348" fmla="*/ 210026 h 514350"/>
                <a:gd name="connsiteX349" fmla="*/ 5741194 w 6400800"/>
                <a:gd name="connsiteY349" fmla="*/ 191929 h 514350"/>
                <a:gd name="connsiteX350" fmla="*/ 5739289 w 6400800"/>
                <a:gd name="connsiteY350" fmla="*/ 196691 h 514350"/>
                <a:gd name="connsiteX351" fmla="*/ 5740242 w 6400800"/>
                <a:gd name="connsiteY351" fmla="*/ 190024 h 514350"/>
                <a:gd name="connsiteX352" fmla="*/ 5731669 w 6400800"/>
                <a:gd name="connsiteY352" fmla="*/ 211931 h 514350"/>
                <a:gd name="connsiteX353" fmla="*/ 5726906 w 6400800"/>
                <a:gd name="connsiteY353" fmla="*/ 224314 h 514350"/>
                <a:gd name="connsiteX354" fmla="*/ 5725001 w 6400800"/>
                <a:gd name="connsiteY354" fmla="*/ 228124 h 514350"/>
                <a:gd name="connsiteX355" fmla="*/ 5720239 w 6400800"/>
                <a:gd name="connsiteY355" fmla="*/ 240506 h 514350"/>
                <a:gd name="connsiteX356" fmla="*/ 5717381 w 6400800"/>
                <a:gd name="connsiteY356" fmla="*/ 250031 h 514350"/>
                <a:gd name="connsiteX357" fmla="*/ 5715476 w 6400800"/>
                <a:gd name="connsiteY357" fmla="*/ 254794 h 514350"/>
                <a:gd name="connsiteX358" fmla="*/ 5709762 w 6400800"/>
                <a:gd name="connsiteY358" fmla="*/ 272891 h 514350"/>
                <a:gd name="connsiteX359" fmla="*/ 5704046 w 6400800"/>
                <a:gd name="connsiteY359" fmla="*/ 290989 h 514350"/>
                <a:gd name="connsiteX360" fmla="*/ 5696426 w 6400800"/>
                <a:gd name="connsiteY360" fmla="*/ 275749 h 514350"/>
                <a:gd name="connsiteX361" fmla="*/ 5695474 w 6400800"/>
                <a:gd name="connsiteY361" fmla="*/ 269081 h 514350"/>
                <a:gd name="connsiteX362" fmla="*/ 5695474 w 6400800"/>
                <a:gd name="connsiteY362" fmla="*/ 272891 h 514350"/>
                <a:gd name="connsiteX363" fmla="*/ 5688806 w 6400800"/>
                <a:gd name="connsiteY363" fmla="*/ 259556 h 514350"/>
                <a:gd name="connsiteX364" fmla="*/ 5680234 w 6400800"/>
                <a:gd name="connsiteY364" fmla="*/ 243364 h 514350"/>
                <a:gd name="connsiteX365" fmla="*/ 5684996 w 6400800"/>
                <a:gd name="connsiteY365" fmla="*/ 260509 h 514350"/>
                <a:gd name="connsiteX366" fmla="*/ 5694521 w 6400800"/>
                <a:gd name="connsiteY366" fmla="*/ 292894 h 514350"/>
                <a:gd name="connsiteX367" fmla="*/ 5694521 w 6400800"/>
                <a:gd name="connsiteY367" fmla="*/ 309086 h 514350"/>
                <a:gd name="connsiteX368" fmla="*/ 5694521 w 6400800"/>
                <a:gd name="connsiteY368" fmla="*/ 323374 h 514350"/>
                <a:gd name="connsiteX369" fmla="*/ 5691664 w 6400800"/>
                <a:gd name="connsiteY369" fmla="*/ 331946 h 514350"/>
                <a:gd name="connsiteX370" fmla="*/ 5689759 w 6400800"/>
                <a:gd name="connsiteY370" fmla="*/ 329089 h 514350"/>
                <a:gd name="connsiteX371" fmla="*/ 5689759 w 6400800"/>
                <a:gd name="connsiteY371" fmla="*/ 320516 h 514350"/>
                <a:gd name="connsiteX372" fmla="*/ 5687854 w 6400800"/>
                <a:gd name="connsiteY372" fmla="*/ 286226 h 514350"/>
                <a:gd name="connsiteX373" fmla="*/ 5684996 w 6400800"/>
                <a:gd name="connsiteY373" fmla="*/ 319564 h 514350"/>
                <a:gd name="connsiteX374" fmla="*/ 5681187 w 6400800"/>
                <a:gd name="connsiteY374" fmla="*/ 312896 h 514350"/>
                <a:gd name="connsiteX375" fmla="*/ 5675471 w 6400800"/>
                <a:gd name="connsiteY375" fmla="*/ 273844 h 514350"/>
                <a:gd name="connsiteX376" fmla="*/ 5672614 w 6400800"/>
                <a:gd name="connsiteY376" fmla="*/ 253841 h 514350"/>
                <a:gd name="connsiteX377" fmla="*/ 5670709 w 6400800"/>
                <a:gd name="connsiteY377" fmla="*/ 235744 h 514350"/>
                <a:gd name="connsiteX378" fmla="*/ 5667851 w 6400800"/>
                <a:gd name="connsiteY378" fmla="*/ 207169 h 514350"/>
                <a:gd name="connsiteX379" fmla="*/ 5665946 w 6400800"/>
                <a:gd name="connsiteY379" fmla="*/ 188119 h 514350"/>
                <a:gd name="connsiteX380" fmla="*/ 5666899 w 6400800"/>
                <a:gd name="connsiteY380" fmla="*/ 183356 h 514350"/>
                <a:gd name="connsiteX381" fmla="*/ 5665946 w 6400800"/>
                <a:gd name="connsiteY381" fmla="*/ 186214 h 514350"/>
                <a:gd name="connsiteX382" fmla="*/ 5664994 w 6400800"/>
                <a:gd name="connsiteY382" fmla="*/ 181451 h 514350"/>
                <a:gd name="connsiteX383" fmla="*/ 5664994 w 6400800"/>
                <a:gd name="connsiteY383" fmla="*/ 188119 h 514350"/>
                <a:gd name="connsiteX384" fmla="*/ 5654517 w 6400800"/>
                <a:gd name="connsiteY384" fmla="*/ 211931 h 514350"/>
                <a:gd name="connsiteX385" fmla="*/ 5653564 w 6400800"/>
                <a:gd name="connsiteY385" fmla="*/ 205264 h 514350"/>
                <a:gd name="connsiteX386" fmla="*/ 5652612 w 6400800"/>
                <a:gd name="connsiteY386" fmla="*/ 189071 h 514350"/>
                <a:gd name="connsiteX387" fmla="*/ 5657374 w 6400800"/>
                <a:gd name="connsiteY387" fmla="*/ 179546 h 514350"/>
                <a:gd name="connsiteX388" fmla="*/ 5652612 w 6400800"/>
                <a:gd name="connsiteY388" fmla="*/ 187166 h 514350"/>
                <a:gd name="connsiteX389" fmla="*/ 5652612 w 6400800"/>
                <a:gd name="connsiteY389" fmla="*/ 185261 h 514350"/>
                <a:gd name="connsiteX390" fmla="*/ 5651659 w 6400800"/>
                <a:gd name="connsiteY390" fmla="*/ 167164 h 514350"/>
                <a:gd name="connsiteX391" fmla="*/ 5649754 w 6400800"/>
                <a:gd name="connsiteY391" fmla="*/ 179546 h 514350"/>
                <a:gd name="connsiteX392" fmla="*/ 5649754 w 6400800"/>
                <a:gd name="connsiteY392" fmla="*/ 178594 h 514350"/>
                <a:gd name="connsiteX393" fmla="*/ 5647849 w 6400800"/>
                <a:gd name="connsiteY393" fmla="*/ 159544 h 514350"/>
                <a:gd name="connsiteX394" fmla="*/ 5646896 w 6400800"/>
                <a:gd name="connsiteY394" fmla="*/ 142399 h 514350"/>
                <a:gd name="connsiteX395" fmla="*/ 5645944 w 6400800"/>
                <a:gd name="connsiteY395" fmla="*/ 114776 h 514350"/>
                <a:gd name="connsiteX396" fmla="*/ 5644992 w 6400800"/>
                <a:gd name="connsiteY396" fmla="*/ 90011 h 514350"/>
                <a:gd name="connsiteX397" fmla="*/ 5641181 w 6400800"/>
                <a:gd name="connsiteY397" fmla="*/ 113824 h 514350"/>
                <a:gd name="connsiteX398" fmla="*/ 5639276 w 6400800"/>
                <a:gd name="connsiteY398" fmla="*/ 141446 h 514350"/>
                <a:gd name="connsiteX399" fmla="*/ 5638324 w 6400800"/>
                <a:gd name="connsiteY399" fmla="*/ 158591 h 514350"/>
                <a:gd name="connsiteX400" fmla="*/ 5638324 w 6400800"/>
                <a:gd name="connsiteY400" fmla="*/ 177641 h 514350"/>
                <a:gd name="connsiteX401" fmla="*/ 5639276 w 6400800"/>
                <a:gd name="connsiteY401" fmla="*/ 205264 h 514350"/>
                <a:gd name="connsiteX402" fmla="*/ 5637371 w 6400800"/>
                <a:gd name="connsiteY402" fmla="*/ 208121 h 514350"/>
                <a:gd name="connsiteX403" fmla="*/ 5636419 w 6400800"/>
                <a:gd name="connsiteY403" fmla="*/ 209074 h 514350"/>
                <a:gd name="connsiteX404" fmla="*/ 5636419 w 6400800"/>
                <a:gd name="connsiteY404" fmla="*/ 208121 h 514350"/>
                <a:gd name="connsiteX405" fmla="*/ 5636419 w 6400800"/>
                <a:gd name="connsiteY405" fmla="*/ 209074 h 514350"/>
                <a:gd name="connsiteX406" fmla="*/ 5631656 w 6400800"/>
                <a:gd name="connsiteY406" fmla="*/ 215741 h 514350"/>
                <a:gd name="connsiteX407" fmla="*/ 5626894 w 6400800"/>
                <a:gd name="connsiteY407" fmla="*/ 192881 h 514350"/>
                <a:gd name="connsiteX408" fmla="*/ 5626894 w 6400800"/>
                <a:gd name="connsiteY408" fmla="*/ 222409 h 514350"/>
                <a:gd name="connsiteX409" fmla="*/ 5626894 w 6400800"/>
                <a:gd name="connsiteY409" fmla="*/ 223361 h 514350"/>
                <a:gd name="connsiteX410" fmla="*/ 5618321 w 6400800"/>
                <a:gd name="connsiteY410" fmla="*/ 211931 h 514350"/>
                <a:gd name="connsiteX411" fmla="*/ 5593556 w 6400800"/>
                <a:gd name="connsiteY411" fmla="*/ 181451 h 514350"/>
                <a:gd name="connsiteX412" fmla="*/ 5570696 w 6400800"/>
                <a:gd name="connsiteY412" fmla="*/ 155734 h 514350"/>
                <a:gd name="connsiteX413" fmla="*/ 5590699 w 6400800"/>
                <a:gd name="connsiteY413" fmla="*/ 184309 h 514350"/>
                <a:gd name="connsiteX414" fmla="*/ 5612606 w 6400800"/>
                <a:gd name="connsiteY414" fmla="*/ 217646 h 514350"/>
                <a:gd name="connsiteX415" fmla="*/ 5616417 w 6400800"/>
                <a:gd name="connsiteY415" fmla="*/ 223361 h 514350"/>
                <a:gd name="connsiteX416" fmla="*/ 5620226 w 6400800"/>
                <a:gd name="connsiteY416" fmla="*/ 233839 h 514350"/>
                <a:gd name="connsiteX417" fmla="*/ 5620226 w 6400800"/>
                <a:gd name="connsiteY417" fmla="*/ 234791 h 514350"/>
                <a:gd name="connsiteX418" fmla="*/ 5616417 w 6400800"/>
                <a:gd name="connsiteY418" fmla="*/ 241459 h 514350"/>
                <a:gd name="connsiteX419" fmla="*/ 5616417 w 6400800"/>
                <a:gd name="connsiteY419" fmla="*/ 240506 h 514350"/>
                <a:gd name="connsiteX420" fmla="*/ 5616417 w 6400800"/>
                <a:gd name="connsiteY420" fmla="*/ 241459 h 514350"/>
                <a:gd name="connsiteX421" fmla="*/ 5614512 w 6400800"/>
                <a:gd name="connsiteY421" fmla="*/ 245269 h 514350"/>
                <a:gd name="connsiteX422" fmla="*/ 5594509 w 6400800"/>
                <a:gd name="connsiteY422" fmla="*/ 280511 h 514350"/>
                <a:gd name="connsiteX423" fmla="*/ 5594509 w 6400800"/>
                <a:gd name="connsiteY423" fmla="*/ 275749 h 514350"/>
                <a:gd name="connsiteX424" fmla="*/ 5594509 w 6400800"/>
                <a:gd name="connsiteY424" fmla="*/ 268129 h 514350"/>
                <a:gd name="connsiteX425" fmla="*/ 5596414 w 6400800"/>
                <a:gd name="connsiteY425" fmla="*/ 256699 h 514350"/>
                <a:gd name="connsiteX426" fmla="*/ 5594509 w 6400800"/>
                <a:gd name="connsiteY426" fmla="*/ 263366 h 514350"/>
                <a:gd name="connsiteX427" fmla="*/ 5594509 w 6400800"/>
                <a:gd name="connsiteY427" fmla="*/ 262414 h 514350"/>
                <a:gd name="connsiteX428" fmla="*/ 5592604 w 6400800"/>
                <a:gd name="connsiteY428" fmla="*/ 250031 h 514350"/>
                <a:gd name="connsiteX429" fmla="*/ 5590699 w 6400800"/>
                <a:gd name="connsiteY429" fmla="*/ 232886 h 514350"/>
                <a:gd name="connsiteX430" fmla="*/ 5596414 w 6400800"/>
                <a:gd name="connsiteY430" fmla="*/ 217646 h 514350"/>
                <a:gd name="connsiteX431" fmla="*/ 5589746 w 6400800"/>
                <a:gd name="connsiteY431" fmla="*/ 230029 h 514350"/>
                <a:gd name="connsiteX432" fmla="*/ 5589746 w 6400800"/>
                <a:gd name="connsiteY432" fmla="*/ 230029 h 514350"/>
                <a:gd name="connsiteX433" fmla="*/ 5586889 w 6400800"/>
                <a:gd name="connsiteY433" fmla="*/ 211931 h 514350"/>
                <a:gd name="connsiteX434" fmla="*/ 5585937 w 6400800"/>
                <a:gd name="connsiteY434" fmla="*/ 230029 h 514350"/>
                <a:gd name="connsiteX435" fmla="*/ 5585937 w 6400800"/>
                <a:gd name="connsiteY435" fmla="*/ 230981 h 514350"/>
                <a:gd name="connsiteX436" fmla="*/ 5583079 w 6400800"/>
                <a:gd name="connsiteY436" fmla="*/ 213836 h 514350"/>
                <a:gd name="connsiteX437" fmla="*/ 5583079 w 6400800"/>
                <a:gd name="connsiteY437" fmla="*/ 242411 h 514350"/>
                <a:gd name="connsiteX438" fmla="*/ 5581174 w 6400800"/>
                <a:gd name="connsiteY438" fmla="*/ 246221 h 514350"/>
                <a:gd name="connsiteX439" fmla="*/ 5579269 w 6400800"/>
                <a:gd name="connsiteY439" fmla="*/ 250031 h 514350"/>
                <a:gd name="connsiteX440" fmla="*/ 5571649 w 6400800"/>
                <a:gd name="connsiteY440" fmla="*/ 209074 h 514350"/>
                <a:gd name="connsiteX441" fmla="*/ 5567839 w 6400800"/>
                <a:gd name="connsiteY441" fmla="*/ 189071 h 514350"/>
                <a:gd name="connsiteX442" fmla="*/ 5563076 w 6400800"/>
                <a:gd name="connsiteY442" fmla="*/ 170974 h 514350"/>
                <a:gd name="connsiteX443" fmla="*/ 5555456 w 6400800"/>
                <a:gd name="connsiteY443" fmla="*/ 141446 h 514350"/>
                <a:gd name="connsiteX444" fmla="*/ 5548789 w 6400800"/>
                <a:gd name="connsiteY444" fmla="*/ 115729 h 514350"/>
                <a:gd name="connsiteX445" fmla="*/ 5551646 w 6400800"/>
                <a:gd name="connsiteY445" fmla="*/ 142399 h 514350"/>
                <a:gd name="connsiteX446" fmla="*/ 5555456 w 6400800"/>
                <a:gd name="connsiteY446" fmla="*/ 172879 h 514350"/>
                <a:gd name="connsiteX447" fmla="*/ 5558314 w 6400800"/>
                <a:gd name="connsiteY447" fmla="*/ 190976 h 514350"/>
                <a:gd name="connsiteX448" fmla="*/ 5560219 w 6400800"/>
                <a:gd name="connsiteY448" fmla="*/ 211931 h 514350"/>
                <a:gd name="connsiteX449" fmla="*/ 5564981 w 6400800"/>
                <a:gd name="connsiteY449" fmla="*/ 257651 h 514350"/>
                <a:gd name="connsiteX450" fmla="*/ 5565934 w 6400800"/>
                <a:gd name="connsiteY450" fmla="*/ 274796 h 514350"/>
                <a:gd name="connsiteX451" fmla="*/ 5564029 w 6400800"/>
                <a:gd name="connsiteY451" fmla="*/ 278606 h 514350"/>
                <a:gd name="connsiteX452" fmla="*/ 5561171 w 6400800"/>
                <a:gd name="connsiteY452" fmla="*/ 284321 h 514350"/>
                <a:gd name="connsiteX453" fmla="*/ 5549742 w 6400800"/>
                <a:gd name="connsiteY453" fmla="*/ 264319 h 514350"/>
                <a:gd name="connsiteX454" fmla="*/ 5548789 w 6400800"/>
                <a:gd name="connsiteY454" fmla="*/ 261461 h 514350"/>
                <a:gd name="connsiteX455" fmla="*/ 5544026 w 6400800"/>
                <a:gd name="connsiteY455" fmla="*/ 247174 h 514350"/>
                <a:gd name="connsiteX456" fmla="*/ 5547837 w 6400800"/>
                <a:gd name="connsiteY456" fmla="*/ 228124 h 514350"/>
                <a:gd name="connsiteX457" fmla="*/ 5542121 w 6400800"/>
                <a:gd name="connsiteY457" fmla="*/ 241459 h 514350"/>
                <a:gd name="connsiteX458" fmla="*/ 5541169 w 6400800"/>
                <a:gd name="connsiteY458" fmla="*/ 238601 h 514350"/>
                <a:gd name="connsiteX459" fmla="*/ 5538312 w 6400800"/>
                <a:gd name="connsiteY459" fmla="*/ 230029 h 514350"/>
                <a:gd name="connsiteX460" fmla="*/ 5551646 w 6400800"/>
                <a:gd name="connsiteY460" fmla="*/ 167164 h 514350"/>
                <a:gd name="connsiteX461" fmla="*/ 5528787 w 6400800"/>
                <a:gd name="connsiteY461" fmla="*/ 225266 h 514350"/>
                <a:gd name="connsiteX462" fmla="*/ 5524976 w 6400800"/>
                <a:gd name="connsiteY462" fmla="*/ 217646 h 514350"/>
                <a:gd name="connsiteX463" fmla="*/ 5524024 w 6400800"/>
                <a:gd name="connsiteY463" fmla="*/ 207169 h 514350"/>
                <a:gd name="connsiteX464" fmla="*/ 5521167 w 6400800"/>
                <a:gd name="connsiteY464" fmla="*/ 185261 h 514350"/>
                <a:gd name="connsiteX465" fmla="*/ 5520214 w 6400800"/>
                <a:gd name="connsiteY465" fmla="*/ 207169 h 514350"/>
                <a:gd name="connsiteX466" fmla="*/ 5520214 w 6400800"/>
                <a:gd name="connsiteY466" fmla="*/ 232886 h 514350"/>
                <a:gd name="connsiteX467" fmla="*/ 5520214 w 6400800"/>
                <a:gd name="connsiteY467" fmla="*/ 248126 h 514350"/>
                <a:gd name="connsiteX468" fmla="*/ 5520214 w 6400800"/>
                <a:gd name="connsiteY468" fmla="*/ 250984 h 514350"/>
                <a:gd name="connsiteX469" fmla="*/ 5505926 w 6400800"/>
                <a:gd name="connsiteY469" fmla="*/ 291941 h 514350"/>
                <a:gd name="connsiteX470" fmla="*/ 5503069 w 6400800"/>
                <a:gd name="connsiteY470" fmla="*/ 300514 h 514350"/>
                <a:gd name="connsiteX471" fmla="*/ 5498306 w 6400800"/>
                <a:gd name="connsiteY471" fmla="*/ 290989 h 514350"/>
                <a:gd name="connsiteX472" fmla="*/ 5498306 w 6400800"/>
                <a:gd name="connsiteY472" fmla="*/ 285274 h 514350"/>
                <a:gd name="connsiteX473" fmla="*/ 5499259 w 6400800"/>
                <a:gd name="connsiteY473" fmla="*/ 269081 h 514350"/>
                <a:gd name="connsiteX474" fmla="*/ 5494496 w 6400800"/>
                <a:gd name="connsiteY474" fmla="*/ 284321 h 514350"/>
                <a:gd name="connsiteX475" fmla="*/ 5481162 w 6400800"/>
                <a:gd name="connsiteY475" fmla="*/ 257651 h 514350"/>
                <a:gd name="connsiteX476" fmla="*/ 5483067 w 6400800"/>
                <a:gd name="connsiteY476" fmla="*/ 251936 h 514350"/>
                <a:gd name="connsiteX477" fmla="*/ 5492592 w 6400800"/>
                <a:gd name="connsiteY477" fmla="*/ 224314 h 514350"/>
                <a:gd name="connsiteX478" fmla="*/ 5500212 w 6400800"/>
                <a:gd name="connsiteY478" fmla="*/ 200501 h 514350"/>
                <a:gd name="connsiteX479" fmla="*/ 5493544 w 6400800"/>
                <a:gd name="connsiteY479" fmla="*/ 212884 h 514350"/>
                <a:gd name="connsiteX480" fmla="*/ 5502117 w 6400800"/>
                <a:gd name="connsiteY480" fmla="*/ 188119 h 514350"/>
                <a:gd name="connsiteX481" fmla="*/ 5511642 w 6400800"/>
                <a:gd name="connsiteY481" fmla="*/ 160496 h 514350"/>
                <a:gd name="connsiteX482" fmla="*/ 5498306 w 6400800"/>
                <a:gd name="connsiteY482" fmla="*/ 186214 h 514350"/>
                <a:gd name="connsiteX483" fmla="*/ 5484019 w 6400800"/>
                <a:gd name="connsiteY483" fmla="*/ 215741 h 514350"/>
                <a:gd name="connsiteX484" fmla="*/ 5475446 w 6400800"/>
                <a:gd name="connsiteY484" fmla="*/ 233839 h 514350"/>
                <a:gd name="connsiteX485" fmla="*/ 5472589 w 6400800"/>
                <a:gd name="connsiteY485" fmla="*/ 241459 h 514350"/>
                <a:gd name="connsiteX486" fmla="*/ 5461159 w 6400800"/>
                <a:gd name="connsiteY486" fmla="*/ 221456 h 514350"/>
                <a:gd name="connsiteX487" fmla="*/ 5469731 w 6400800"/>
                <a:gd name="connsiteY487" fmla="*/ 248126 h 514350"/>
                <a:gd name="connsiteX488" fmla="*/ 5466874 w 6400800"/>
                <a:gd name="connsiteY488" fmla="*/ 254794 h 514350"/>
                <a:gd name="connsiteX489" fmla="*/ 5465921 w 6400800"/>
                <a:gd name="connsiteY489" fmla="*/ 257651 h 514350"/>
                <a:gd name="connsiteX490" fmla="*/ 5464969 w 6400800"/>
                <a:gd name="connsiteY490" fmla="*/ 256699 h 514350"/>
                <a:gd name="connsiteX491" fmla="*/ 5455444 w 6400800"/>
                <a:gd name="connsiteY491" fmla="*/ 246221 h 514350"/>
                <a:gd name="connsiteX492" fmla="*/ 5452587 w 6400800"/>
                <a:gd name="connsiteY492" fmla="*/ 230029 h 514350"/>
                <a:gd name="connsiteX493" fmla="*/ 5448776 w 6400800"/>
                <a:gd name="connsiteY493" fmla="*/ 214789 h 514350"/>
                <a:gd name="connsiteX494" fmla="*/ 5442109 w 6400800"/>
                <a:gd name="connsiteY494" fmla="*/ 190024 h 514350"/>
                <a:gd name="connsiteX495" fmla="*/ 5442109 w 6400800"/>
                <a:gd name="connsiteY495" fmla="*/ 190024 h 514350"/>
                <a:gd name="connsiteX496" fmla="*/ 5442109 w 6400800"/>
                <a:gd name="connsiteY496" fmla="*/ 180499 h 514350"/>
                <a:gd name="connsiteX497" fmla="*/ 5441156 w 6400800"/>
                <a:gd name="connsiteY497" fmla="*/ 186214 h 514350"/>
                <a:gd name="connsiteX498" fmla="*/ 5436394 w 6400800"/>
                <a:gd name="connsiteY498" fmla="*/ 169069 h 514350"/>
                <a:gd name="connsiteX499" fmla="*/ 5438299 w 6400800"/>
                <a:gd name="connsiteY499" fmla="*/ 190976 h 514350"/>
                <a:gd name="connsiteX500" fmla="*/ 5439251 w 6400800"/>
                <a:gd name="connsiteY500" fmla="*/ 195739 h 514350"/>
                <a:gd name="connsiteX501" fmla="*/ 5433537 w 6400800"/>
                <a:gd name="connsiteY501" fmla="*/ 225266 h 514350"/>
                <a:gd name="connsiteX502" fmla="*/ 5429726 w 6400800"/>
                <a:gd name="connsiteY502" fmla="*/ 221456 h 514350"/>
                <a:gd name="connsiteX503" fmla="*/ 5433537 w 6400800"/>
                <a:gd name="connsiteY503" fmla="*/ 225266 h 514350"/>
                <a:gd name="connsiteX504" fmla="*/ 5430679 w 6400800"/>
                <a:gd name="connsiteY504" fmla="*/ 240506 h 514350"/>
                <a:gd name="connsiteX505" fmla="*/ 5428774 w 6400800"/>
                <a:gd name="connsiteY505" fmla="*/ 228124 h 514350"/>
                <a:gd name="connsiteX506" fmla="*/ 5428774 w 6400800"/>
                <a:gd name="connsiteY506" fmla="*/ 242411 h 514350"/>
                <a:gd name="connsiteX507" fmla="*/ 5424012 w 6400800"/>
                <a:gd name="connsiteY507" fmla="*/ 222409 h 514350"/>
                <a:gd name="connsiteX508" fmla="*/ 5419249 w 6400800"/>
                <a:gd name="connsiteY508" fmla="*/ 200501 h 514350"/>
                <a:gd name="connsiteX509" fmla="*/ 5420201 w 6400800"/>
                <a:gd name="connsiteY509" fmla="*/ 223361 h 514350"/>
                <a:gd name="connsiteX510" fmla="*/ 5424964 w 6400800"/>
                <a:gd name="connsiteY510" fmla="*/ 274796 h 514350"/>
                <a:gd name="connsiteX511" fmla="*/ 5420201 w 6400800"/>
                <a:gd name="connsiteY511" fmla="*/ 299561 h 514350"/>
                <a:gd name="connsiteX512" fmla="*/ 5418296 w 6400800"/>
                <a:gd name="connsiteY512" fmla="*/ 305276 h 514350"/>
                <a:gd name="connsiteX513" fmla="*/ 5415439 w 6400800"/>
                <a:gd name="connsiteY513" fmla="*/ 298609 h 514350"/>
                <a:gd name="connsiteX514" fmla="*/ 5417344 w 6400800"/>
                <a:gd name="connsiteY514" fmla="*/ 291941 h 514350"/>
                <a:gd name="connsiteX515" fmla="*/ 5414487 w 6400800"/>
                <a:gd name="connsiteY515" fmla="*/ 296704 h 514350"/>
                <a:gd name="connsiteX516" fmla="*/ 5414487 w 6400800"/>
                <a:gd name="connsiteY516" fmla="*/ 295751 h 514350"/>
                <a:gd name="connsiteX517" fmla="*/ 5411629 w 6400800"/>
                <a:gd name="connsiteY517" fmla="*/ 287179 h 514350"/>
                <a:gd name="connsiteX518" fmla="*/ 5414487 w 6400800"/>
                <a:gd name="connsiteY518" fmla="*/ 268129 h 514350"/>
                <a:gd name="connsiteX519" fmla="*/ 5409724 w 6400800"/>
                <a:gd name="connsiteY519" fmla="*/ 282416 h 514350"/>
                <a:gd name="connsiteX520" fmla="*/ 5404009 w 6400800"/>
                <a:gd name="connsiteY520" fmla="*/ 267176 h 514350"/>
                <a:gd name="connsiteX521" fmla="*/ 5399246 w 6400800"/>
                <a:gd name="connsiteY521" fmla="*/ 253841 h 514350"/>
                <a:gd name="connsiteX522" fmla="*/ 5400199 w 6400800"/>
                <a:gd name="connsiteY522" fmla="*/ 232886 h 514350"/>
                <a:gd name="connsiteX523" fmla="*/ 5396389 w 6400800"/>
                <a:gd name="connsiteY523" fmla="*/ 247174 h 514350"/>
                <a:gd name="connsiteX524" fmla="*/ 5395437 w 6400800"/>
                <a:gd name="connsiteY524" fmla="*/ 244316 h 514350"/>
                <a:gd name="connsiteX525" fmla="*/ 5387817 w 6400800"/>
                <a:gd name="connsiteY525" fmla="*/ 224314 h 514350"/>
                <a:gd name="connsiteX526" fmla="*/ 5391626 w 6400800"/>
                <a:gd name="connsiteY526" fmla="*/ 245269 h 514350"/>
                <a:gd name="connsiteX527" fmla="*/ 5394484 w 6400800"/>
                <a:gd name="connsiteY527" fmla="*/ 257651 h 514350"/>
                <a:gd name="connsiteX528" fmla="*/ 5384959 w 6400800"/>
                <a:gd name="connsiteY528" fmla="*/ 300514 h 514350"/>
                <a:gd name="connsiteX529" fmla="*/ 5384006 w 6400800"/>
                <a:gd name="connsiteY529" fmla="*/ 297656 h 514350"/>
                <a:gd name="connsiteX530" fmla="*/ 5382101 w 6400800"/>
                <a:gd name="connsiteY530" fmla="*/ 283369 h 514350"/>
                <a:gd name="connsiteX531" fmla="*/ 5382101 w 6400800"/>
                <a:gd name="connsiteY531" fmla="*/ 287179 h 514350"/>
                <a:gd name="connsiteX532" fmla="*/ 5380196 w 6400800"/>
                <a:gd name="connsiteY532" fmla="*/ 276701 h 514350"/>
                <a:gd name="connsiteX533" fmla="*/ 5379244 w 6400800"/>
                <a:gd name="connsiteY533" fmla="*/ 272891 h 514350"/>
                <a:gd name="connsiteX534" fmla="*/ 5380196 w 6400800"/>
                <a:gd name="connsiteY534" fmla="*/ 269081 h 514350"/>
                <a:gd name="connsiteX535" fmla="*/ 5379244 w 6400800"/>
                <a:gd name="connsiteY535" fmla="*/ 271939 h 514350"/>
                <a:gd name="connsiteX536" fmla="*/ 5372576 w 6400800"/>
                <a:gd name="connsiteY536" fmla="*/ 241459 h 514350"/>
                <a:gd name="connsiteX537" fmla="*/ 5373529 w 6400800"/>
                <a:gd name="connsiteY537" fmla="*/ 232886 h 514350"/>
                <a:gd name="connsiteX538" fmla="*/ 5378292 w 6400800"/>
                <a:gd name="connsiteY538" fmla="*/ 190024 h 514350"/>
                <a:gd name="connsiteX539" fmla="*/ 5384006 w 6400800"/>
                <a:gd name="connsiteY539" fmla="*/ 153829 h 514350"/>
                <a:gd name="connsiteX540" fmla="*/ 5386864 w 6400800"/>
                <a:gd name="connsiteY540" fmla="*/ 138589 h 514350"/>
                <a:gd name="connsiteX541" fmla="*/ 5389721 w 6400800"/>
                <a:gd name="connsiteY541" fmla="*/ 126206 h 514350"/>
                <a:gd name="connsiteX542" fmla="*/ 5394484 w 6400800"/>
                <a:gd name="connsiteY542" fmla="*/ 102394 h 514350"/>
                <a:gd name="connsiteX543" fmla="*/ 5385912 w 6400800"/>
                <a:gd name="connsiteY543" fmla="*/ 125254 h 514350"/>
                <a:gd name="connsiteX544" fmla="*/ 5381149 w 6400800"/>
                <a:gd name="connsiteY544" fmla="*/ 137636 h 514350"/>
                <a:gd name="connsiteX545" fmla="*/ 5376387 w 6400800"/>
                <a:gd name="connsiteY545" fmla="*/ 151924 h 514350"/>
                <a:gd name="connsiteX546" fmla="*/ 5366862 w 6400800"/>
                <a:gd name="connsiteY546" fmla="*/ 188119 h 514350"/>
                <a:gd name="connsiteX547" fmla="*/ 5363051 w 6400800"/>
                <a:gd name="connsiteY547" fmla="*/ 205264 h 514350"/>
                <a:gd name="connsiteX548" fmla="*/ 5360194 w 6400800"/>
                <a:gd name="connsiteY548" fmla="*/ 196691 h 514350"/>
                <a:gd name="connsiteX549" fmla="*/ 5361146 w 6400800"/>
                <a:gd name="connsiteY549" fmla="*/ 210979 h 514350"/>
                <a:gd name="connsiteX550" fmla="*/ 5357337 w 6400800"/>
                <a:gd name="connsiteY550" fmla="*/ 230981 h 514350"/>
                <a:gd name="connsiteX551" fmla="*/ 5355431 w 6400800"/>
                <a:gd name="connsiteY551" fmla="*/ 245269 h 514350"/>
                <a:gd name="connsiteX552" fmla="*/ 5354479 w 6400800"/>
                <a:gd name="connsiteY552" fmla="*/ 235744 h 514350"/>
                <a:gd name="connsiteX553" fmla="*/ 5354479 w 6400800"/>
                <a:gd name="connsiteY553" fmla="*/ 230029 h 514350"/>
                <a:gd name="connsiteX554" fmla="*/ 5355431 w 6400800"/>
                <a:gd name="connsiteY554" fmla="*/ 210979 h 514350"/>
                <a:gd name="connsiteX555" fmla="*/ 5352574 w 6400800"/>
                <a:gd name="connsiteY555" fmla="*/ 222409 h 514350"/>
                <a:gd name="connsiteX556" fmla="*/ 5347812 w 6400800"/>
                <a:gd name="connsiteY556" fmla="*/ 190024 h 514350"/>
                <a:gd name="connsiteX557" fmla="*/ 5347812 w 6400800"/>
                <a:gd name="connsiteY557" fmla="*/ 179546 h 514350"/>
                <a:gd name="connsiteX558" fmla="*/ 5347812 w 6400800"/>
                <a:gd name="connsiteY558" fmla="*/ 160496 h 514350"/>
                <a:gd name="connsiteX559" fmla="*/ 5344954 w 6400800"/>
                <a:gd name="connsiteY559" fmla="*/ 173831 h 514350"/>
                <a:gd name="connsiteX560" fmla="*/ 5341144 w 6400800"/>
                <a:gd name="connsiteY560" fmla="*/ 150019 h 514350"/>
                <a:gd name="connsiteX561" fmla="*/ 5342096 w 6400800"/>
                <a:gd name="connsiteY561" fmla="*/ 177641 h 514350"/>
                <a:gd name="connsiteX562" fmla="*/ 5342096 w 6400800"/>
                <a:gd name="connsiteY562" fmla="*/ 187166 h 514350"/>
                <a:gd name="connsiteX563" fmla="*/ 5340192 w 6400800"/>
                <a:gd name="connsiteY563" fmla="*/ 200501 h 514350"/>
                <a:gd name="connsiteX564" fmla="*/ 5337334 w 6400800"/>
                <a:gd name="connsiteY564" fmla="*/ 229076 h 514350"/>
                <a:gd name="connsiteX565" fmla="*/ 5336381 w 6400800"/>
                <a:gd name="connsiteY565" fmla="*/ 263366 h 514350"/>
                <a:gd name="connsiteX566" fmla="*/ 5336381 w 6400800"/>
                <a:gd name="connsiteY566" fmla="*/ 282416 h 514350"/>
                <a:gd name="connsiteX567" fmla="*/ 5336381 w 6400800"/>
                <a:gd name="connsiteY567" fmla="*/ 282416 h 514350"/>
                <a:gd name="connsiteX568" fmla="*/ 5333524 w 6400800"/>
                <a:gd name="connsiteY568" fmla="*/ 293846 h 514350"/>
                <a:gd name="connsiteX569" fmla="*/ 5332571 w 6400800"/>
                <a:gd name="connsiteY569" fmla="*/ 291941 h 514350"/>
                <a:gd name="connsiteX570" fmla="*/ 5327809 w 6400800"/>
                <a:gd name="connsiteY570" fmla="*/ 278606 h 514350"/>
                <a:gd name="connsiteX571" fmla="*/ 5319237 w 6400800"/>
                <a:gd name="connsiteY571" fmla="*/ 252889 h 514350"/>
                <a:gd name="connsiteX572" fmla="*/ 5310664 w 6400800"/>
                <a:gd name="connsiteY572" fmla="*/ 230029 h 514350"/>
                <a:gd name="connsiteX573" fmla="*/ 5315426 w 6400800"/>
                <a:gd name="connsiteY573" fmla="*/ 253841 h 514350"/>
                <a:gd name="connsiteX574" fmla="*/ 5318284 w 6400800"/>
                <a:gd name="connsiteY574" fmla="*/ 267176 h 514350"/>
                <a:gd name="connsiteX575" fmla="*/ 5315426 w 6400800"/>
                <a:gd name="connsiteY575" fmla="*/ 263366 h 514350"/>
                <a:gd name="connsiteX576" fmla="*/ 5320189 w 6400800"/>
                <a:gd name="connsiteY576" fmla="*/ 276701 h 514350"/>
                <a:gd name="connsiteX577" fmla="*/ 5321142 w 6400800"/>
                <a:gd name="connsiteY577" fmla="*/ 281464 h 514350"/>
                <a:gd name="connsiteX578" fmla="*/ 5324951 w 6400800"/>
                <a:gd name="connsiteY578" fmla="*/ 297656 h 514350"/>
                <a:gd name="connsiteX579" fmla="*/ 5326856 w 6400800"/>
                <a:gd name="connsiteY579" fmla="*/ 306229 h 514350"/>
                <a:gd name="connsiteX580" fmla="*/ 5316379 w 6400800"/>
                <a:gd name="connsiteY580" fmla="*/ 322421 h 514350"/>
                <a:gd name="connsiteX581" fmla="*/ 5306854 w 6400800"/>
                <a:gd name="connsiteY581" fmla="*/ 338614 h 514350"/>
                <a:gd name="connsiteX582" fmla="*/ 5298281 w 6400800"/>
                <a:gd name="connsiteY582" fmla="*/ 354806 h 514350"/>
                <a:gd name="connsiteX583" fmla="*/ 5298281 w 6400800"/>
                <a:gd name="connsiteY583" fmla="*/ 344329 h 514350"/>
                <a:gd name="connsiteX584" fmla="*/ 5301139 w 6400800"/>
                <a:gd name="connsiteY584" fmla="*/ 318611 h 514350"/>
                <a:gd name="connsiteX585" fmla="*/ 5305901 w 6400800"/>
                <a:gd name="connsiteY585" fmla="*/ 291941 h 514350"/>
                <a:gd name="connsiteX586" fmla="*/ 5311617 w 6400800"/>
                <a:gd name="connsiteY586" fmla="*/ 269081 h 514350"/>
                <a:gd name="connsiteX587" fmla="*/ 5302092 w 6400800"/>
                <a:gd name="connsiteY587" fmla="*/ 290989 h 514350"/>
                <a:gd name="connsiteX588" fmla="*/ 5299234 w 6400800"/>
                <a:gd name="connsiteY588" fmla="*/ 298609 h 514350"/>
                <a:gd name="connsiteX589" fmla="*/ 5299234 w 6400800"/>
                <a:gd name="connsiteY589" fmla="*/ 263366 h 514350"/>
                <a:gd name="connsiteX590" fmla="*/ 5290662 w 6400800"/>
                <a:gd name="connsiteY590" fmla="*/ 317659 h 514350"/>
                <a:gd name="connsiteX591" fmla="*/ 5289709 w 6400800"/>
                <a:gd name="connsiteY591" fmla="*/ 312896 h 514350"/>
                <a:gd name="connsiteX592" fmla="*/ 5284946 w 6400800"/>
                <a:gd name="connsiteY592" fmla="*/ 295751 h 514350"/>
                <a:gd name="connsiteX593" fmla="*/ 5284946 w 6400800"/>
                <a:gd name="connsiteY593" fmla="*/ 295751 h 514350"/>
                <a:gd name="connsiteX594" fmla="*/ 5284946 w 6400800"/>
                <a:gd name="connsiteY594" fmla="*/ 295751 h 514350"/>
                <a:gd name="connsiteX595" fmla="*/ 5282089 w 6400800"/>
                <a:gd name="connsiteY595" fmla="*/ 284321 h 514350"/>
                <a:gd name="connsiteX596" fmla="*/ 5281137 w 6400800"/>
                <a:gd name="connsiteY596" fmla="*/ 282416 h 514350"/>
                <a:gd name="connsiteX597" fmla="*/ 5288756 w 6400800"/>
                <a:gd name="connsiteY597" fmla="*/ 252889 h 514350"/>
                <a:gd name="connsiteX598" fmla="*/ 5279231 w 6400800"/>
                <a:gd name="connsiteY598" fmla="*/ 273844 h 514350"/>
                <a:gd name="connsiteX599" fmla="*/ 5275421 w 6400800"/>
                <a:gd name="connsiteY599" fmla="*/ 262414 h 514350"/>
                <a:gd name="connsiteX600" fmla="*/ 5268754 w 6400800"/>
                <a:gd name="connsiteY600" fmla="*/ 243364 h 514350"/>
                <a:gd name="connsiteX601" fmla="*/ 5271612 w 6400800"/>
                <a:gd name="connsiteY601" fmla="*/ 262414 h 514350"/>
                <a:gd name="connsiteX602" fmla="*/ 5274469 w 6400800"/>
                <a:gd name="connsiteY602" fmla="*/ 283369 h 514350"/>
                <a:gd name="connsiteX603" fmla="*/ 5263039 w 6400800"/>
                <a:gd name="connsiteY603" fmla="*/ 310039 h 514350"/>
                <a:gd name="connsiteX604" fmla="*/ 5263039 w 6400800"/>
                <a:gd name="connsiteY604" fmla="*/ 302419 h 514350"/>
                <a:gd name="connsiteX605" fmla="*/ 5260181 w 6400800"/>
                <a:gd name="connsiteY605" fmla="*/ 310039 h 514350"/>
                <a:gd name="connsiteX606" fmla="*/ 5260181 w 6400800"/>
                <a:gd name="connsiteY606" fmla="*/ 309086 h 514350"/>
                <a:gd name="connsiteX607" fmla="*/ 5261134 w 6400800"/>
                <a:gd name="connsiteY607" fmla="*/ 301466 h 514350"/>
                <a:gd name="connsiteX608" fmla="*/ 5262087 w 6400800"/>
                <a:gd name="connsiteY608" fmla="*/ 284321 h 514350"/>
                <a:gd name="connsiteX609" fmla="*/ 5263039 w 6400800"/>
                <a:gd name="connsiteY609" fmla="*/ 269081 h 514350"/>
                <a:gd name="connsiteX610" fmla="*/ 5258276 w 6400800"/>
                <a:gd name="connsiteY610" fmla="*/ 283369 h 514350"/>
                <a:gd name="connsiteX611" fmla="*/ 5257324 w 6400800"/>
                <a:gd name="connsiteY611" fmla="*/ 287179 h 514350"/>
                <a:gd name="connsiteX612" fmla="*/ 5255419 w 6400800"/>
                <a:gd name="connsiteY612" fmla="*/ 273844 h 514350"/>
                <a:gd name="connsiteX613" fmla="*/ 5255419 w 6400800"/>
                <a:gd name="connsiteY613" fmla="*/ 271939 h 514350"/>
                <a:gd name="connsiteX614" fmla="*/ 5255419 w 6400800"/>
                <a:gd name="connsiteY614" fmla="*/ 270986 h 514350"/>
                <a:gd name="connsiteX615" fmla="*/ 5256371 w 6400800"/>
                <a:gd name="connsiteY615" fmla="*/ 266224 h 514350"/>
                <a:gd name="connsiteX616" fmla="*/ 5255419 w 6400800"/>
                <a:gd name="connsiteY616" fmla="*/ 268129 h 514350"/>
                <a:gd name="connsiteX617" fmla="*/ 5258276 w 6400800"/>
                <a:gd name="connsiteY617" fmla="*/ 232886 h 514350"/>
                <a:gd name="connsiteX618" fmla="*/ 5263039 w 6400800"/>
                <a:gd name="connsiteY618" fmla="*/ 158591 h 514350"/>
                <a:gd name="connsiteX619" fmla="*/ 5252562 w 6400800"/>
                <a:gd name="connsiteY619" fmla="*/ 204311 h 514350"/>
                <a:gd name="connsiteX620" fmla="*/ 5255419 w 6400800"/>
                <a:gd name="connsiteY620" fmla="*/ 173831 h 514350"/>
                <a:gd name="connsiteX621" fmla="*/ 5258276 w 6400800"/>
                <a:gd name="connsiteY621" fmla="*/ 140494 h 514350"/>
                <a:gd name="connsiteX622" fmla="*/ 5260181 w 6400800"/>
                <a:gd name="connsiteY622" fmla="*/ 110966 h 514350"/>
                <a:gd name="connsiteX623" fmla="*/ 5254467 w 6400800"/>
                <a:gd name="connsiteY623" fmla="*/ 139541 h 514350"/>
                <a:gd name="connsiteX624" fmla="*/ 5247799 w 6400800"/>
                <a:gd name="connsiteY624" fmla="*/ 172879 h 514350"/>
                <a:gd name="connsiteX625" fmla="*/ 5243989 w 6400800"/>
                <a:gd name="connsiteY625" fmla="*/ 192881 h 514350"/>
                <a:gd name="connsiteX626" fmla="*/ 5243037 w 6400800"/>
                <a:gd name="connsiteY626" fmla="*/ 201454 h 514350"/>
                <a:gd name="connsiteX627" fmla="*/ 5241131 w 6400800"/>
                <a:gd name="connsiteY627" fmla="*/ 194786 h 514350"/>
                <a:gd name="connsiteX628" fmla="*/ 5241131 w 6400800"/>
                <a:gd name="connsiteY628" fmla="*/ 209074 h 514350"/>
                <a:gd name="connsiteX629" fmla="*/ 5240179 w 6400800"/>
                <a:gd name="connsiteY629" fmla="*/ 215741 h 514350"/>
                <a:gd name="connsiteX630" fmla="*/ 5235417 w 6400800"/>
                <a:gd name="connsiteY630" fmla="*/ 246221 h 514350"/>
                <a:gd name="connsiteX631" fmla="*/ 5230654 w 6400800"/>
                <a:gd name="connsiteY631" fmla="*/ 252889 h 514350"/>
                <a:gd name="connsiteX632" fmla="*/ 5222081 w 6400800"/>
                <a:gd name="connsiteY632" fmla="*/ 266224 h 514350"/>
                <a:gd name="connsiteX633" fmla="*/ 5215414 w 6400800"/>
                <a:gd name="connsiteY633" fmla="*/ 279559 h 514350"/>
                <a:gd name="connsiteX634" fmla="*/ 5215414 w 6400800"/>
                <a:gd name="connsiteY634" fmla="*/ 278606 h 514350"/>
                <a:gd name="connsiteX635" fmla="*/ 5216367 w 6400800"/>
                <a:gd name="connsiteY635" fmla="*/ 275749 h 514350"/>
                <a:gd name="connsiteX636" fmla="*/ 5215414 w 6400800"/>
                <a:gd name="connsiteY636" fmla="*/ 277654 h 514350"/>
                <a:gd name="connsiteX637" fmla="*/ 5211604 w 6400800"/>
                <a:gd name="connsiteY637" fmla="*/ 249079 h 514350"/>
                <a:gd name="connsiteX638" fmla="*/ 5208746 w 6400800"/>
                <a:gd name="connsiteY638" fmla="*/ 224314 h 514350"/>
                <a:gd name="connsiteX639" fmla="*/ 5205889 w 6400800"/>
                <a:gd name="connsiteY639" fmla="*/ 202406 h 514350"/>
                <a:gd name="connsiteX640" fmla="*/ 5204937 w 6400800"/>
                <a:gd name="connsiteY640" fmla="*/ 224314 h 514350"/>
                <a:gd name="connsiteX641" fmla="*/ 5204937 w 6400800"/>
                <a:gd name="connsiteY641" fmla="*/ 249079 h 514350"/>
                <a:gd name="connsiteX642" fmla="*/ 5204937 w 6400800"/>
                <a:gd name="connsiteY642" fmla="*/ 264319 h 514350"/>
                <a:gd name="connsiteX643" fmla="*/ 5205889 w 6400800"/>
                <a:gd name="connsiteY643" fmla="*/ 281464 h 514350"/>
                <a:gd name="connsiteX644" fmla="*/ 5205889 w 6400800"/>
                <a:gd name="connsiteY644" fmla="*/ 289084 h 514350"/>
                <a:gd name="connsiteX645" fmla="*/ 5203984 w 6400800"/>
                <a:gd name="connsiteY645" fmla="*/ 286226 h 514350"/>
                <a:gd name="connsiteX646" fmla="*/ 5205889 w 6400800"/>
                <a:gd name="connsiteY646" fmla="*/ 290989 h 514350"/>
                <a:gd name="connsiteX647" fmla="*/ 5205889 w 6400800"/>
                <a:gd name="connsiteY647" fmla="*/ 291941 h 514350"/>
                <a:gd name="connsiteX648" fmla="*/ 5203984 w 6400800"/>
                <a:gd name="connsiteY648" fmla="*/ 287179 h 514350"/>
                <a:gd name="connsiteX649" fmla="*/ 5203984 w 6400800"/>
                <a:gd name="connsiteY649" fmla="*/ 287179 h 514350"/>
                <a:gd name="connsiteX650" fmla="*/ 5203984 w 6400800"/>
                <a:gd name="connsiteY650" fmla="*/ 287179 h 514350"/>
                <a:gd name="connsiteX651" fmla="*/ 5199221 w 6400800"/>
                <a:gd name="connsiteY651" fmla="*/ 278606 h 514350"/>
                <a:gd name="connsiteX652" fmla="*/ 5202079 w 6400800"/>
                <a:gd name="connsiteY652" fmla="*/ 290989 h 514350"/>
                <a:gd name="connsiteX653" fmla="*/ 5198269 w 6400800"/>
                <a:gd name="connsiteY653" fmla="*/ 300514 h 514350"/>
                <a:gd name="connsiteX654" fmla="*/ 5195412 w 6400800"/>
                <a:gd name="connsiteY654" fmla="*/ 295751 h 514350"/>
                <a:gd name="connsiteX655" fmla="*/ 5191601 w 6400800"/>
                <a:gd name="connsiteY655" fmla="*/ 263366 h 514350"/>
                <a:gd name="connsiteX656" fmla="*/ 5184934 w 6400800"/>
                <a:gd name="connsiteY656" fmla="*/ 190024 h 514350"/>
                <a:gd name="connsiteX657" fmla="*/ 5183981 w 6400800"/>
                <a:gd name="connsiteY657" fmla="*/ 169069 h 514350"/>
                <a:gd name="connsiteX658" fmla="*/ 5183981 w 6400800"/>
                <a:gd name="connsiteY658" fmla="*/ 161449 h 514350"/>
                <a:gd name="connsiteX659" fmla="*/ 5183029 w 6400800"/>
                <a:gd name="connsiteY659" fmla="*/ 169069 h 514350"/>
                <a:gd name="connsiteX660" fmla="*/ 5181124 w 6400800"/>
                <a:gd name="connsiteY660" fmla="*/ 190024 h 514350"/>
                <a:gd name="connsiteX661" fmla="*/ 5180171 w 6400800"/>
                <a:gd name="connsiteY661" fmla="*/ 211931 h 514350"/>
                <a:gd name="connsiteX662" fmla="*/ 5177314 w 6400800"/>
                <a:gd name="connsiteY662" fmla="*/ 215741 h 514350"/>
                <a:gd name="connsiteX663" fmla="*/ 5165884 w 6400800"/>
                <a:gd name="connsiteY663" fmla="*/ 231934 h 514350"/>
                <a:gd name="connsiteX664" fmla="*/ 5163979 w 6400800"/>
                <a:gd name="connsiteY664" fmla="*/ 235744 h 514350"/>
                <a:gd name="connsiteX665" fmla="*/ 5161121 w 6400800"/>
                <a:gd name="connsiteY665" fmla="*/ 230029 h 514350"/>
                <a:gd name="connsiteX666" fmla="*/ 5161121 w 6400800"/>
                <a:gd name="connsiteY666" fmla="*/ 229076 h 514350"/>
                <a:gd name="connsiteX667" fmla="*/ 5163026 w 6400800"/>
                <a:gd name="connsiteY667" fmla="*/ 213836 h 514350"/>
                <a:gd name="connsiteX668" fmla="*/ 5163979 w 6400800"/>
                <a:gd name="connsiteY668" fmla="*/ 208121 h 514350"/>
                <a:gd name="connsiteX669" fmla="*/ 5158264 w 6400800"/>
                <a:gd name="connsiteY669" fmla="*/ 224314 h 514350"/>
                <a:gd name="connsiteX670" fmla="*/ 5156359 w 6400800"/>
                <a:gd name="connsiteY670" fmla="*/ 220504 h 514350"/>
                <a:gd name="connsiteX671" fmla="*/ 5147787 w 6400800"/>
                <a:gd name="connsiteY671" fmla="*/ 205264 h 514350"/>
                <a:gd name="connsiteX672" fmla="*/ 5144929 w 6400800"/>
                <a:gd name="connsiteY672" fmla="*/ 178594 h 514350"/>
                <a:gd name="connsiteX673" fmla="*/ 5141119 w 6400800"/>
                <a:gd name="connsiteY673" fmla="*/ 149066 h 514350"/>
                <a:gd name="connsiteX674" fmla="*/ 5141119 w 6400800"/>
                <a:gd name="connsiteY674" fmla="*/ 178594 h 514350"/>
                <a:gd name="connsiteX675" fmla="*/ 5141119 w 6400800"/>
                <a:gd name="connsiteY675" fmla="*/ 255746 h 514350"/>
                <a:gd name="connsiteX676" fmla="*/ 5141119 w 6400800"/>
                <a:gd name="connsiteY676" fmla="*/ 258604 h 514350"/>
                <a:gd name="connsiteX677" fmla="*/ 5139214 w 6400800"/>
                <a:gd name="connsiteY677" fmla="*/ 260509 h 514350"/>
                <a:gd name="connsiteX678" fmla="*/ 5134451 w 6400800"/>
                <a:gd name="connsiteY678" fmla="*/ 265271 h 514350"/>
                <a:gd name="connsiteX679" fmla="*/ 5128737 w 6400800"/>
                <a:gd name="connsiteY679" fmla="*/ 184309 h 514350"/>
                <a:gd name="connsiteX680" fmla="*/ 5124926 w 6400800"/>
                <a:gd name="connsiteY680" fmla="*/ 236696 h 514350"/>
                <a:gd name="connsiteX681" fmla="*/ 5119212 w 6400800"/>
                <a:gd name="connsiteY681" fmla="*/ 219551 h 514350"/>
                <a:gd name="connsiteX682" fmla="*/ 5123974 w 6400800"/>
                <a:gd name="connsiteY682" fmla="*/ 249079 h 514350"/>
                <a:gd name="connsiteX683" fmla="*/ 5123021 w 6400800"/>
                <a:gd name="connsiteY683" fmla="*/ 258604 h 514350"/>
                <a:gd name="connsiteX684" fmla="*/ 5120164 w 6400800"/>
                <a:gd name="connsiteY684" fmla="*/ 279559 h 514350"/>
                <a:gd name="connsiteX685" fmla="*/ 5116354 w 6400800"/>
                <a:gd name="connsiteY685" fmla="*/ 285274 h 514350"/>
                <a:gd name="connsiteX686" fmla="*/ 5106829 w 6400800"/>
                <a:gd name="connsiteY686" fmla="*/ 298609 h 514350"/>
                <a:gd name="connsiteX687" fmla="*/ 5103971 w 6400800"/>
                <a:gd name="connsiteY687" fmla="*/ 303371 h 514350"/>
                <a:gd name="connsiteX688" fmla="*/ 5085874 w 6400800"/>
                <a:gd name="connsiteY688" fmla="*/ 261461 h 514350"/>
                <a:gd name="connsiteX689" fmla="*/ 5086826 w 6400800"/>
                <a:gd name="connsiteY689" fmla="*/ 261461 h 514350"/>
                <a:gd name="connsiteX690" fmla="*/ 5091589 w 6400800"/>
                <a:gd name="connsiteY690" fmla="*/ 260509 h 514350"/>
                <a:gd name="connsiteX691" fmla="*/ 5086826 w 6400800"/>
                <a:gd name="connsiteY691" fmla="*/ 260509 h 514350"/>
                <a:gd name="connsiteX692" fmla="*/ 5085874 w 6400800"/>
                <a:gd name="connsiteY692" fmla="*/ 260509 h 514350"/>
                <a:gd name="connsiteX693" fmla="*/ 5071587 w 6400800"/>
                <a:gd name="connsiteY693" fmla="*/ 230029 h 514350"/>
                <a:gd name="connsiteX694" fmla="*/ 5071587 w 6400800"/>
                <a:gd name="connsiteY694" fmla="*/ 222409 h 514350"/>
                <a:gd name="connsiteX695" fmla="*/ 5069681 w 6400800"/>
                <a:gd name="connsiteY695" fmla="*/ 227171 h 514350"/>
                <a:gd name="connsiteX696" fmla="*/ 5062062 w 6400800"/>
                <a:gd name="connsiteY696" fmla="*/ 192881 h 514350"/>
                <a:gd name="connsiteX697" fmla="*/ 5058251 w 6400800"/>
                <a:gd name="connsiteY697" fmla="*/ 174784 h 514350"/>
                <a:gd name="connsiteX698" fmla="*/ 5055394 w 6400800"/>
                <a:gd name="connsiteY698" fmla="*/ 159544 h 514350"/>
                <a:gd name="connsiteX699" fmla="*/ 5049679 w 6400800"/>
                <a:gd name="connsiteY699" fmla="*/ 130016 h 514350"/>
                <a:gd name="connsiteX700" fmla="*/ 5050631 w 6400800"/>
                <a:gd name="connsiteY700" fmla="*/ 159544 h 514350"/>
                <a:gd name="connsiteX701" fmla="*/ 5051584 w 6400800"/>
                <a:gd name="connsiteY701" fmla="*/ 174784 h 514350"/>
                <a:gd name="connsiteX702" fmla="*/ 5053489 w 6400800"/>
                <a:gd name="connsiteY702" fmla="*/ 192881 h 514350"/>
                <a:gd name="connsiteX703" fmla="*/ 5059204 w 6400800"/>
                <a:gd name="connsiteY703" fmla="*/ 236696 h 514350"/>
                <a:gd name="connsiteX704" fmla="*/ 5061109 w 6400800"/>
                <a:gd name="connsiteY704" fmla="*/ 249079 h 514350"/>
                <a:gd name="connsiteX705" fmla="*/ 5055394 w 6400800"/>
                <a:gd name="connsiteY705" fmla="*/ 270034 h 514350"/>
                <a:gd name="connsiteX706" fmla="*/ 5052537 w 6400800"/>
                <a:gd name="connsiteY706" fmla="*/ 271939 h 514350"/>
                <a:gd name="connsiteX707" fmla="*/ 5052537 w 6400800"/>
                <a:gd name="connsiteY707" fmla="*/ 271939 h 514350"/>
                <a:gd name="connsiteX708" fmla="*/ 5051584 w 6400800"/>
                <a:gd name="connsiteY708" fmla="*/ 267176 h 514350"/>
                <a:gd name="connsiteX709" fmla="*/ 5051584 w 6400800"/>
                <a:gd name="connsiteY709" fmla="*/ 269081 h 514350"/>
                <a:gd name="connsiteX710" fmla="*/ 5048726 w 6400800"/>
                <a:gd name="connsiteY710" fmla="*/ 261461 h 514350"/>
                <a:gd name="connsiteX711" fmla="*/ 5048726 w 6400800"/>
                <a:gd name="connsiteY711" fmla="*/ 261461 h 514350"/>
                <a:gd name="connsiteX712" fmla="*/ 5050631 w 6400800"/>
                <a:gd name="connsiteY712" fmla="*/ 252889 h 514350"/>
                <a:gd name="connsiteX713" fmla="*/ 5047774 w 6400800"/>
                <a:gd name="connsiteY713" fmla="*/ 259556 h 514350"/>
                <a:gd name="connsiteX714" fmla="*/ 5039201 w 6400800"/>
                <a:gd name="connsiteY714" fmla="*/ 236696 h 514350"/>
                <a:gd name="connsiteX715" fmla="*/ 5031581 w 6400800"/>
                <a:gd name="connsiteY715" fmla="*/ 214789 h 514350"/>
                <a:gd name="connsiteX716" fmla="*/ 5035392 w 6400800"/>
                <a:gd name="connsiteY716" fmla="*/ 237649 h 514350"/>
                <a:gd name="connsiteX717" fmla="*/ 5039201 w 6400800"/>
                <a:gd name="connsiteY717" fmla="*/ 256699 h 514350"/>
                <a:gd name="connsiteX718" fmla="*/ 5034439 w 6400800"/>
                <a:gd name="connsiteY718" fmla="*/ 265271 h 514350"/>
                <a:gd name="connsiteX719" fmla="*/ 5034439 w 6400800"/>
                <a:gd name="connsiteY719" fmla="*/ 262414 h 514350"/>
                <a:gd name="connsiteX720" fmla="*/ 5030629 w 6400800"/>
                <a:gd name="connsiteY720" fmla="*/ 241459 h 514350"/>
                <a:gd name="connsiteX721" fmla="*/ 5026819 w 6400800"/>
                <a:gd name="connsiteY721" fmla="*/ 223361 h 514350"/>
                <a:gd name="connsiteX722" fmla="*/ 5025867 w 6400800"/>
                <a:gd name="connsiteY722" fmla="*/ 242411 h 514350"/>
                <a:gd name="connsiteX723" fmla="*/ 5025867 w 6400800"/>
                <a:gd name="connsiteY723" fmla="*/ 263366 h 514350"/>
                <a:gd name="connsiteX724" fmla="*/ 5025867 w 6400800"/>
                <a:gd name="connsiteY724" fmla="*/ 276701 h 514350"/>
                <a:gd name="connsiteX725" fmla="*/ 5025867 w 6400800"/>
                <a:gd name="connsiteY725" fmla="*/ 281464 h 514350"/>
                <a:gd name="connsiteX726" fmla="*/ 5010626 w 6400800"/>
                <a:gd name="connsiteY726" fmla="*/ 263366 h 514350"/>
                <a:gd name="connsiteX727" fmla="*/ 4995387 w 6400800"/>
                <a:gd name="connsiteY727" fmla="*/ 248126 h 514350"/>
                <a:gd name="connsiteX728" fmla="*/ 4997292 w 6400800"/>
                <a:gd name="connsiteY728" fmla="*/ 243364 h 514350"/>
                <a:gd name="connsiteX729" fmla="*/ 4994434 w 6400800"/>
                <a:gd name="connsiteY729" fmla="*/ 248126 h 514350"/>
                <a:gd name="connsiteX730" fmla="*/ 4992529 w 6400800"/>
                <a:gd name="connsiteY730" fmla="*/ 246221 h 514350"/>
                <a:gd name="connsiteX731" fmla="*/ 4994434 w 6400800"/>
                <a:gd name="connsiteY731" fmla="*/ 190024 h 514350"/>
                <a:gd name="connsiteX732" fmla="*/ 4983004 w 6400800"/>
                <a:gd name="connsiteY732" fmla="*/ 240506 h 514350"/>
                <a:gd name="connsiteX733" fmla="*/ 4981099 w 6400800"/>
                <a:gd name="connsiteY733" fmla="*/ 238601 h 514350"/>
                <a:gd name="connsiteX734" fmla="*/ 4959192 w 6400800"/>
                <a:gd name="connsiteY734" fmla="*/ 219551 h 514350"/>
                <a:gd name="connsiteX735" fmla="*/ 4978242 w 6400800"/>
                <a:gd name="connsiteY735" fmla="*/ 241459 h 514350"/>
                <a:gd name="connsiteX736" fmla="*/ 4982051 w 6400800"/>
                <a:gd name="connsiteY736" fmla="*/ 246221 h 514350"/>
                <a:gd name="connsiteX737" fmla="*/ 4982051 w 6400800"/>
                <a:gd name="connsiteY737" fmla="*/ 248126 h 514350"/>
                <a:gd name="connsiteX738" fmla="*/ 4976337 w 6400800"/>
                <a:gd name="connsiteY738" fmla="*/ 279559 h 514350"/>
                <a:gd name="connsiteX739" fmla="*/ 4969669 w 6400800"/>
                <a:gd name="connsiteY739" fmla="*/ 290989 h 514350"/>
                <a:gd name="connsiteX740" fmla="*/ 4960144 w 6400800"/>
                <a:gd name="connsiteY740" fmla="*/ 265271 h 514350"/>
                <a:gd name="connsiteX741" fmla="*/ 4960144 w 6400800"/>
                <a:gd name="connsiteY741" fmla="*/ 264319 h 514350"/>
                <a:gd name="connsiteX742" fmla="*/ 4959192 w 6400800"/>
                <a:gd name="connsiteY742" fmla="*/ 237649 h 514350"/>
                <a:gd name="connsiteX743" fmla="*/ 4958239 w 6400800"/>
                <a:gd name="connsiteY743" fmla="*/ 214789 h 514350"/>
                <a:gd name="connsiteX744" fmla="*/ 4968717 w 6400800"/>
                <a:gd name="connsiteY744" fmla="*/ 164306 h 514350"/>
                <a:gd name="connsiteX745" fmla="*/ 4974431 w 6400800"/>
                <a:gd name="connsiteY745" fmla="*/ 134779 h 514350"/>
                <a:gd name="connsiteX746" fmla="*/ 4964906 w 6400800"/>
                <a:gd name="connsiteY746" fmla="*/ 163354 h 514350"/>
                <a:gd name="connsiteX747" fmla="*/ 4955381 w 6400800"/>
                <a:gd name="connsiteY747" fmla="*/ 191929 h 514350"/>
                <a:gd name="connsiteX748" fmla="*/ 4955381 w 6400800"/>
                <a:gd name="connsiteY748" fmla="*/ 176689 h 514350"/>
                <a:gd name="connsiteX749" fmla="*/ 4952524 w 6400800"/>
                <a:gd name="connsiteY749" fmla="*/ 202406 h 514350"/>
                <a:gd name="connsiteX750" fmla="*/ 4952524 w 6400800"/>
                <a:gd name="connsiteY750" fmla="*/ 203359 h 514350"/>
                <a:gd name="connsiteX751" fmla="*/ 4944904 w 6400800"/>
                <a:gd name="connsiteY751" fmla="*/ 227171 h 514350"/>
                <a:gd name="connsiteX752" fmla="*/ 4944904 w 6400800"/>
                <a:gd name="connsiteY752" fmla="*/ 226219 h 514350"/>
                <a:gd name="connsiteX753" fmla="*/ 4936331 w 6400800"/>
                <a:gd name="connsiteY753" fmla="*/ 199549 h 514350"/>
                <a:gd name="connsiteX754" fmla="*/ 4942046 w 6400800"/>
                <a:gd name="connsiteY754" fmla="*/ 236696 h 514350"/>
                <a:gd name="connsiteX755" fmla="*/ 4941094 w 6400800"/>
                <a:gd name="connsiteY755" fmla="*/ 239554 h 514350"/>
                <a:gd name="connsiteX756" fmla="*/ 4922996 w 6400800"/>
                <a:gd name="connsiteY756" fmla="*/ 292894 h 514350"/>
                <a:gd name="connsiteX757" fmla="*/ 4922996 w 6400800"/>
                <a:gd name="connsiteY757" fmla="*/ 289084 h 514350"/>
                <a:gd name="connsiteX758" fmla="*/ 4920139 w 6400800"/>
                <a:gd name="connsiteY758" fmla="*/ 269081 h 514350"/>
                <a:gd name="connsiteX759" fmla="*/ 4919187 w 6400800"/>
                <a:gd name="connsiteY759" fmla="*/ 290036 h 514350"/>
                <a:gd name="connsiteX760" fmla="*/ 4919187 w 6400800"/>
                <a:gd name="connsiteY760" fmla="*/ 296704 h 514350"/>
                <a:gd name="connsiteX761" fmla="*/ 4917281 w 6400800"/>
                <a:gd name="connsiteY761" fmla="*/ 289084 h 514350"/>
                <a:gd name="connsiteX762" fmla="*/ 4911567 w 6400800"/>
                <a:gd name="connsiteY762" fmla="*/ 266224 h 514350"/>
                <a:gd name="connsiteX763" fmla="*/ 4904899 w 6400800"/>
                <a:gd name="connsiteY763" fmla="*/ 246221 h 514350"/>
                <a:gd name="connsiteX764" fmla="*/ 4907756 w 6400800"/>
                <a:gd name="connsiteY764" fmla="*/ 267176 h 514350"/>
                <a:gd name="connsiteX765" fmla="*/ 4909662 w 6400800"/>
                <a:gd name="connsiteY765" fmla="*/ 290989 h 514350"/>
                <a:gd name="connsiteX766" fmla="*/ 4911567 w 6400800"/>
                <a:gd name="connsiteY766" fmla="*/ 321469 h 514350"/>
                <a:gd name="connsiteX767" fmla="*/ 4908709 w 6400800"/>
                <a:gd name="connsiteY767" fmla="*/ 327184 h 514350"/>
                <a:gd name="connsiteX768" fmla="*/ 4902042 w 6400800"/>
                <a:gd name="connsiteY768" fmla="*/ 313849 h 514350"/>
                <a:gd name="connsiteX769" fmla="*/ 4894421 w 6400800"/>
                <a:gd name="connsiteY769" fmla="*/ 298609 h 514350"/>
                <a:gd name="connsiteX770" fmla="*/ 4892517 w 6400800"/>
                <a:gd name="connsiteY770" fmla="*/ 285274 h 514350"/>
                <a:gd name="connsiteX771" fmla="*/ 4891564 w 6400800"/>
                <a:gd name="connsiteY771" fmla="*/ 293846 h 514350"/>
                <a:gd name="connsiteX772" fmla="*/ 4888706 w 6400800"/>
                <a:gd name="connsiteY772" fmla="*/ 289084 h 514350"/>
                <a:gd name="connsiteX773" fmla="*/ 4891564 w 6400800"/>
                <a:gd name="connsiteY773" fmla="*/ 295751 h 514350"/>
                <a:gd name="connsiteX774" fmla="*/ 4887754 w 6400800"/>
                <a:gd name="connsiteY774" fmla="*/ 348139 h 514350"/>
                <a:gd name="connsiteX775" fmla="*/ 4887754 w 6400800"/>
                <a:gd name="connsiteY775" fmla="*/ 357664 h 514350"/>
                <a:gd name="connsiteX776" fmla="*/ 4882991 w 6400800"/>
                <a:gd name="connsiteY776" fmla="*/ 350996 h 514350"/>
                <a:gd name="connsiteX777" fmla="*/ 4882039 w 6400800"/>
                <a:gd name="connsiteY777" fmla="*/ 338614 h 514350"/>
                <a:gd name="connsiteX778" fmla="*/ 4882039 w 6400800"/>
                <a:gd name="connsiteY778" fmla="*/ 337661 h 514350"/>
                <a:gd name="connsiteX779" fmla="*/ 4883944 w 6400800"/>
                <a:gd name="connsiteY779" fmla="*/ 327184 h 514350"/>
                <a:gd name="connsiteX780" fmla="*/ 4885849 w 6400800"/>
                <a:gd name="connsiteY780" fmla="*/ 319564 h 514350"/>
                <a:gd name="connsiteX781" fmla="*/ 4887754 w 6400800"/>
                <a:gd name="connsiteY781" fmla="*/ 312896 h 514350"/>
                <a:gd name="connsiteX782" fmla="*/ 4884896 w 6400800"/>
                <a:gd name="connsiteY782" fmla="*/ 318611 h 514350"/>
                <a:gd name="connsiteX783" fmla="*/ 4882039 w 6400800"/>
                <a:gd name="connsiteY783" fmla="*/ 326231 h 514350"/>
                <a:gd name="connsiteX784" fmla="*/ 4882039 w 6400800"/>
                <a:gd name="connsiteY784" fmla="*/ 328136 h 514350"/>
                <a:gd name="connsiteX785" fmla="*/ 4882039 w 6400800"/>
                <a:gd name="connsiteY785" fmla="*/ 326231 h 514350"/>
                <a:gd name="connsiteX786" fmla="*/ 4877276 w 6400800"/>
                <a:gd name="connsiteY786" fmla="*/ 288131 h 514350"/>
                <a:gd name="connsiteX787" fmla="*/ 4873466 w 6400800"/>
                <a:gd name="connsiteY787" fmla="*/ 263366 h 514350"/>
                <a:gd name="connsiteX788" fmla="*/ 4878229 w 6400800"/>
                <a:gd name="connsiteY788" fmla="*/ 238601 h 514350"/>
                <a:gd name="connsiteX789" fmla="*/ 4882039 w 6400800"/>
                <a:gd name="connsiteY789" fmla="*/ 211931 h 514350"/>
                <a:gd name="connsiteX790" fmla="*/ 4874419 w 6400800"/>
                <a:gd name="connsiteY790" fmla="*/ 237649 h 514350"/>
                <a:gd name="connsiteX791" fmla="*/ 4870609 w 6400800"/>
                <a:gd name="connsiteY791" fmla="*/ 249079 h 514350"/>
                <a:gd name="connsiteX792" fmla="*/ 4866799 w 6400800"/>
                <a:gd name="connsiteY792" fmla="*/ 231934 h 514350"/>
                <a:gd name="connsiteX793" fmla="*/ 4862037 w 6400800"/>
                <a:gd name="connsiteY793" fmla="*/ 210979 h 514350"/>
                <a:gd name="connsiteX794" fmla="*/ 4862989 w 6400800"/>
                <a:gd name="connsiteY794" fmla="*/ 232886 h 514350"/>
                <a:gd name="connsiteX795" fmla="*/ 4863941 w 6400800"/>
                <a:gd name="connsiteY795" fmla="*/ 248126 h 514350"/>
                <a:gd name="connsiteX796" fmla="*/ 4863941 w 6400800"/>
                <a:gd name="connsiteY796" fmla="*/ 261461 h 514350"/>
                <a:gd name="connsiteX797" fmla="*/ 4860131 w 6400800"/>
                <a:gd name="connsiteY797" fmla="*/ 264319 h 514350"/>
                <a:gd name="connsiteX798" fmla="*/ 4843939 w 6400800"/>
                <a:gd name="connsiteY798" fmla="*/ 281464 h 514350"/>
                <a:gd name="connsiteX799" fmla="*/ 4841081 w 6400800"/>
                <a:gd name="connsiteY799" fmla="*/ 270986 h 514350"/>
                <a:gd name="connsiteX800" fmla="*/ 4842987 w 6400800"/>
                <a:gd name="connsiteY800" fmla="*/ 266224 h 514350"/>
                <a:gd name="connsiteX801" fmla="*/ 4841081 w 6400800"/>
                <a:gd name="connsiteY801" fmla="*/ 269081 h 514350"/>
                <a:gd name="connsiteX802" fmla="*/ 4840129 w 6400800"/>
                <a:gd name="connsiteY802" fmla="*/ 262414 h 514350"/>
                <a:gd name="connsiteX803" fmla="*/ 4840129 w 6400800"/>
                <a:gd name="connsiteY803" fmla="*/ 270034 h 514350"/>
                <a:gd name="connsiteX804" fmla="*/ 4833462 w 6400800"/>
                <a:gd name="connsiteY804" fmla="*/ 278606 h 514350"/>
                <a:gd name="connsiteX805" fmla="*/ 4822984 w 6400800"/>
                <a:gd name="connsiteY805" fmla="*/ 294799 h 514350"/>
                <a:gd name="connsiteX806" fmla="*/ 4816316 w 6400800"/>
                <a:gd name="connsiteY806" fmla="*/ 304324 h 514350"/>
                <a:gd name="connsiteX807" fmla="*/ 4809649 w 6400800"/>
                <a:gd name="connsiteY807" fmla="*/ 315754 h 514350"/>
                <a:gd name="connsiteX808" fmla="*/ 4807744 w 6400800"/>
                <a:gd name="connsiteY808" fmla="*/ 318611 h 514350"/>
                <a:gd name="connsiteX809" fmla="*/ 4807744 w 6400800"/>
                <a:gd name="connsiteY809" fmla="*/ 304324 h 514350"/>
                <a:gd name="connsiteX810" fmla="*/ 4803934 w 6400800"/>
                <a:gd name="connsiteY810" fmla="*/ 327184 h 514350"/>
                <a:gd name="connsiteX811" fmla="*/ 4795362 w 6400800"/>
                <a:gd name="connsiteY811" fmla="*/ 342424 h 514350"/>
                <a:gd name="connsiteX812" fmla="*/ 4795362 w 6400800"/>
                <a:gd name="connsiteY812" fmla="*/ 324326 h 514350"/>
                <a:gd name="connsiteX813" fmla="*/ 4795362 w 6400800"/>
                <a:gd name="connsiteY813" fmla="*/ 311944 h 514350"/>
                <a:gd name="connsiteX814" fmla="*/ 4796314 w 6400800"/>
                <a:gd name="connsiteY814" fmla="*/ 302419 h 514350"/>
                <a:gd name="connsiteX815" fmla="*/ 4797266 w 6400800"/>
                <a:gd name="connsiteY815" fmla="*/ 297656 h 514350"/>
                <a:gd name="connsiteX816" fmla="*/ 4803934 w 6400800"/>
                <a:gd name="connsiteY816" fmla="*/ 264319 h 514350"/>
                <a:gd name="connsiteX817" fmla="*/ 4815364 w 6400800"/>
                <a:gd name="connsiteY817" fmla="*/ 192881 h 514350"/>
                <a:gd name="connsiteX818" fmla="*/ 4792504 w 6400800"/>
                <a:gd name="connsiteY818" fmla="*/ 262414 h 514350"/>
                <a:gd name="connsiteX819" fmla="*/ 4790599 w 6400800"/>
                <a:gd name="connsiteY819" fmla="*/ 268129 h 514350"/>
                <a:gd name="connsiteX820" fmla="*/ 4788694 w 6400800"/>
                <a:gd name="connsiteY820" fmla="*/ 250031 h 514350"/>
                <a:gd name="connsiteX821" fmla="*/ 4787741 w 6400800"/>
                <a:gd name="connsiteY821" fmla="*/ 270986 h 514350"/>
                <a:gd name="connsiteX822" fmla="*/ 4787741 w 6400800"/>
                <a:gd name="connsiteY822" fmla="*/ 281464 h 514350"/>
                <a:gd name="connsiteX823" fmla="*/ 4782979 w 6400800"/>
                <a:gd name="connsiteY823" fmla="*/ 299561 h 514350"/>
                <a:gd name="connsiteX824" fmla="*/ 4782979 w 6400800"/>
                <a:gd name="connsiteY824" fmla="*/ 293846 h 514350"/>
                <a:gd name="connsiteX825" fmla="*/ 4784884 w 6400800"/>
                <a:gd name="connsiteY825" fmla="*/ 263366 h 514350"/>
                <a:gd name="connsiteX826" fmla="*/ 4786789 w 6400800"/>
                <a:gd name="connsiteY826" fmla="*/ 239554 h 514350"/>
                <a:gd name="connsiteX827" fmla="*/ 4789647 w 6400800"/>
                <a:gd name="connsiteY827" fmla="*/ 218599 h 514350"/>
                <a:gd name="connsiteX828" fmla="*/ 4782979 w 6400800"/>
                <a:gd name="connsiteY828" fmla="*/ 238601 h 514350"/>
                <a:gd name="connsiteX829" fmla="*/ 4777264 w 6400800"/>
                <a:gd name="connsiteY829" fmla="*/ 262414 h 514350"/>
                <a:gd name="connsiteX830" fmla="*/ 4776312 w 6400800"/>
                <a:gd name="connsiteY830" fmla="*/ 269081 h 514350"/>
                <a:gd name="connsiteX831" fmla="*/ 4773454 w 6400800"/>
                <a:gd name="connsiteY831" fmla="*/ 251936 h 514350"/>
                <a:gd name="connsiteX832" fmla="*/ 4773454 w 6400800"/>
                <a:gd name="connsiteY832" fmla="*/ 284321 h 514350"/>
                <a:gd name="connsiteX833" fmla="*/ 4771549 w 6400800"/>
                <a:gd name="connsiteY833" fmla="*/ 293846 h 514350"/>
                <a:gd name="connsiteX834" fmla="*/ 4771549 w 6400800"/>
                <a:gd name="connsiteY834" fmla="*/ 295751 h 514350"/>
                <a:gd name="connsiteX835" fmla="*/ 4767739 w 6400800"/>
                <a:gd name="connsiteY835" fmla="*/ 260509 h 514350"/>
                <a:gd name="connsiteX836" fmla="*/ 4764881 w 6400800"/>
                <a:gd name="connsiteY836" fmla="*/ 297656 h 514350"/>
                <a:gd name="connsiteX837" fmla="*/ 4755356 w 6400800"/>
                <a:gd name="connsiteY837" fmla="*/ 276701 h 514350"/>
                <a:gd name="connsiteX838" fmla="*/ 4750594 w 6400800"/>
                <a:gd name="connsiteY838" fmla="*/ 270034 h 514350"/>
                <a:gd name="connsiteX839" fmla="*/ 4758214 w 6400800"/>
                <a:gd name="connsiteY839" fmla="*/ 243364 h 514350"/>
                <a:gd name="connsiteX840" fmla="*/ 4780122 w 6400800"/>
                <a:gd name="connsiteY840" fmla="*/ 161449 h 514350"/>
                <a:gd name="connsiteX841" fmla="*/ 4787741 w 6400800"/>
                <a:gd name="connsiteY841" fmla="*/ 130016 h 514350"/>
                <a:gd name="connsiteX842" fmla="*/ 4776312 w 6400800"/>
                <a:gd name="connsiteY842" fmla="*/ 160496 h 514350"/>
                <a:gd name="connsiteX843" fmla="*/ 4747737 w 6400800"/>
                <a:gd name="connsiteY843" fmla="*/ 240506 h 514350"/>
                <a:gd name="connsiteX844" fmla="*/ 4742022 w 6400800"/>
                <a:gd name="connsiteY844" fmla="*/ 257651 h 514350"/>
                <a:gd name="connsiteX845" fmla="*/ 4742022 w 6400800"/>
                <a:gd name="connsiteY845" fmla="*/ 257651 h 514350"/>
                <a:gd name="connsiteX846" fmla="*/ 4727734 w 6400800"/>
                <a:gd name="connsiteY846" fmla="*/ 244316 h 514350"/>
                <a:gd name="connsiteX847" fmla="*/ 4721066 w 6400800"/>
                <a:gd name="connsiteY847" fmla="*/ 240506 h 514350"/>
                <a:gd name="connsiteX848" fmla="*/ 4716304 w 6400800"/>
                <a:gd name="connsiteY848" fmla="*/ 238601 h 514350"/>
                <a:gd name="connsiteX849" fmla="*/ 4712494 w 6400800"/>
                <a:gd name="connsiteY849" fmla="*/ 237649 h 514350"/>
                <a:gd name="connsiteX850" fmla="*/ 4716304 w 6400800"/>
                <a:gd name="connsiteY850" fmla="*/ 239554 h 514350"/>
                <a:gd name="connsiteX851" fmla="*/ 4725829 w 6400800"/>
                <a:gd name="connsiteY851" fmla="*/ 246221 h 514350"/>
                <a:gd name="connsiteX852" fmla="*/ 4736306 w 6400800"/>
                <a:gd name="connsiteY852" fmla="*/ 260509 h 514350"/>
                <a:gd name="connsiteX853" fmla="*/ 4739164 w 6400800"/>
                <a:gd name="connsiteY853" fmla="*/ 266224 h 514350"/>
                <a:gd name="connsiteX854" fmla="*/ 4729639 w 6400800"/>
                <a:gd name="connsiteY854" fmla="*/ 293846 h 514350"/>
                <a:gd name="connsiteX855" fmla="*/ 4728687 w 6400800"/>
                <a:gd name="connsiteY855" fmla="*/ 295751 h 514350"/>
                <a:gd name="connsiteX856" fmla="*/ 4728687 w 6400800"/>
                <a:gd name="connsiteY856" fmla="*/ 294799 h 514350"/>
                <a:gd name="connsiteX857" fmla="*/ 4728687 w 6400800"/>
                <a:gd name="connsiteY857" fmla="*/ 290989 h 514350"/>
                <a:gd name="connsiteX858" fmla="*/ 4727734 w 6400800"/>
                <a:gd name="connsiteY858" fmla="*/ 293846 h 514350"/>
                <a:gd name="connsiteX859" fmla="*/ 4717256 w 6400800"/>
                <a:gd name="connsiteY859" fmla="*/ 270986 h 514350"/>
                <a:gd name="connsiteX860" fmla="*/ 4714399 w 6400800"/>
                <a:gd name="connsiteY860" fmla="*/ 265271 h 514350"/>
                <a:gd name="connsiteX861" fmla="*/ 4716304 w 6400800"/>
                <a:gd name="connsiteY861" fmla="*/ 252889 h 514350"/>
                <a:gd name="connsiteX862" fmla="*/ 4713447 w 6400800"/>
                <a:gd name="connsiteY862" fmla="*/ 262414 h 514350"/>
                <a:gd name="connsiteX863" fmla="*/ 4706779 w 6400800"/>
                <a:gd name="connsiteY863" fmla="*/ 248126 h 514350"/>
                <a:gd name="connsiteX864" fmla="*/ 4712494 w 6400800"/>
                <a:gd name="connsiteY864" fmla="*/ 267176 h 514350"/>
                <a:gd name="connsiteX865" fmla="*/ 4708684 w 6400800"/>
                <a:gd name="connsiteY865" fmla="*/ 277654 h 514350"/>
                <a:gd name="connsiteX866" fmla="*/ 4694397 w 6400800"/>
                <a:gd name="connsiteY866" fmla="*/ 236696 h 514350"/>
                <a:gd name="connsiteX867" fmla="*/ 4702969 w 6400800"/>
                <a:gd name="connsiteY867" fmla="*/ 293846 h 514350"/>
                <a:gd name="connsiteX868" fmla="*/ 4691539 w 6400800"/>
                <a:gd name="connsiteY868" fmla="*/ 331946 h 514350"/>
                <a:gd name="connsiteX869" fmla="*/ 4690587 w 6400800"/>
                <a:gd name="connsiteY869" fmla="*/ 329089 h 514350"/>
                <a:gd name="connsiteX870" fmla="*/ 4682966 w 6400800"/>
                <a:gd name="connsiteY870" fmla="*/ 313849 h 514350"/>
                <a:gd name="connsiteX871" fmla="*/ 4684872 w 6400800"/>
                <a:gd name="connsiteY871" fmla="*/ 322421 h 514350"/>
                <a:gd name="connsiteX872" fmla="*/ 4684872 w 6400800"/>
                <a:gd name="connsiteY872" fmla="*/ 322421 h 514350"/>
                <a:gd name="connsiteX873" fmla="*/ 4671537 w 6400800"/>
                <a:gd name="connsiteY873" fmla="*/ 304324 h 514350"/>
                <a:gd name="connsiteX874" fmla="*/ 4682014 w 6400800"/>
                <a:gd name="connsiteY874" fmla="*/ 324326 h 514350"/>
                <a:gd name="connsiteX875" fmla="*/ 4688681 w 6400800"/>
                <a:gd name="connsiteY875" fmla="*/ 337661 h 514350"/>
                <a:gd name="connsiteX876" fmla="*/ 4689634 w 6400800"/>
                <a:gd name="connsiteY876" fmla="*/ 340519 h 514350"/>
                <a:gd name="connsiteX877" fmla="*/ 4682966 w 6400800"/>
                <a:gd name="connsiteY877" fmla="*/ 366236 h 514350"/>
                <a:gd name="connsiteX878" fmla="*/ 4678204 w 6400800"/>
                <a:gd name="connsiteY878" fmla="*/ 359569 h 514350"/>
                <a:gd name="connsiteX879" fmla="*/ 4669631 w 6400800"/>
                <a:gd name="connsiteY879" fmla="*/ 349091 h 514350"/>
                <a:gd name="connsiteX880" fmla="*/ 4668679 w 6400800"/>
                <a:gd name="connsiteY880" fmla="*/ 348139 h 514350"/>
                <a:gd name="connsiteX881" fmla="*/ 4669631 w 6400800"/>
                <a:gd name="connsiteY881" fmla="*/ 330994 h 514350"/>
                <a:gd name="connsiteX882" fmla="*/ 4669631 w 6400800"/>
                <a:gd name="connsiteY882" fmla="*/ 310991 h 514350"/>
                <a:gd name="connsiteX883" fmla="*/ 4669631 w 6400800"/>
                <a:gd name="connsiteY883" fmla="*/ 313849 h 514350"/>
                <a:gd name="connsiteX884" fmla="*/ 4670584 w 6400800"/>
                <a:gd name="connsiteY884" fmla="*/ 301466 h 514350"/>
                <a:gd name="connsiteX885" fmla="*/ 4670584 w 6400800"/>
                <a:gd name="connsiteY885" fmla="*/ 287179 h 514350"/>
                <a:gd name="connsiteX886" fmla="*/ 4675347 w 6400800"/>
                <a:gd name="connsiteY886" fmla="*/ 274796 h 514350"/>
                <a:gd name="connsiteX887" fmla="*/ 4689634 w 6400800"/>
                <a:gd name="connsiteY887" fmla="*/ 250984 h 514350"/>
                <a:gd name="connsiteX888" fmla="*/ 4681062 w 6400800"/>
                <a:gd name="connsiteY888" fmla="*/ 262414 h 514350"/>
                <a:gd name="connsiteX889" fmla="*/ 4686776 w 6400800"/>
                <a:gd name="connsiteY889" fmla="*/ 248126 h 514350"/>
                <a:gd name="connsiteX890" fmla="*/ 4675347 w 6400800"/>
                <a:gd name="connsiteY890" fmla="*/ 265271 h 514350"/>
                <a:gd name="connsiteX891" fmla="*/ 4670584 w 6400800"/>
                <a:gd name="connsiteY891" fmla="*/ 272891 h 514350"/>
                <a:gd name="connsiteX892" fmla="*/ 4670584 w 6400800"/>
                <a:gd name="connsiteY892" fmla="*/ 268129 h 514350"/>
                <a:gd name="connsiteX893" fmla="*/ 4668679 w 6400800"/>
                <a:gd name="connsiteY893" fmla="*/ 250984 h 514350"/>
                <a:gd name="connsiteX894" fmla="*/ 4669631 w 6400800"/>
                <a:gd name="connsiteY894" fmla="*/ 247174 h 514350"/>
                <a:gd name="connsiteX895" fmla="*/ 4671537 w 6400800"/>
                <a:gd name="connsiteY895" fmla="*/ 222409 h 514350"/>
                <a:gd name="connsiteX896" fmla="*/ 4670584 w 6400800"/>
                <a:gd name="connsiteY896" fmla="*/ 229076 h 514350"/>
                <a:gd name="connsiteX897" fmla="*/ 4666774 w 6400800"/>
                <a:gd name="connsiteY897" fmla="*/ 242411 h 514350"/>
                <a:gd name="connsiteX898" fmla="*/ 4666774 w 6400800"/>
                <a:gd name="connsiteY898" fmla="*/ 241459 h 514350"/>
                <a:gd name="connsiteX899" fmla="*/ 4666774 w 6400800"/>
                <a:gd name="connsiteY899" fmla="*/ 241459 h 514350"/>
                <a:gd name="connsiteX900" fmla="*/ 4666774 w 6400800"/>
                <a:gd name="connsiteY900" fmla="*/ 241459 h 514350"/>
                <a:gd name="connsiteX901" fmla="*/ 4662012 w 6400800"/>
                <a:gd name="connsiteY901" fmla="*/ 228124 h 514350"/>
                <a:gd name="connsiteX902" fmla="*/ 4660106 w 6400800"/>
                <a:gd name="connsiteY902" fmla="*/ 222409 h 514350"/>
                <a:gd name="connsiteX903" fmla="*/ 4661059 w 6400800"/>
                <a:gd name="connsiteY903" fmla="*/ 228124 h 514350"/>
                <a:gd name="connsiteX904" fmla="*/ 4662964 w 6400800"/>
                <a:gd name="connsiteY904" fmla="*/ 244316 h 514350"/>
                <a:gd name="connsiteX905" fmla="*/ 4662964 w 6400800"/>
                <a:gd name="connsiteY905" fmla="*/ 246221 h 514350"/>
                <a:gd name="connsiteX906" fmla="*/ 4662964 w 6400800"/>
                <a:gd name="connsiteY906" fmla="*/ 246221 h 514350"/>
                <a:gd name="connsiteX907" fmla="*/ 4654391 w 6400800"/>
                <a:gd name="connsiteY907" fmla="*/ 262414 h 514350"/>
                <a:gd name="connsiteX908" fmla="*/ 4650581 w 6400800"/>
                <a:gd name="connsiteY908" fmla="*/ 271939 h 514350"/>
                <a:gd name="connsiteX909" fmla="*/ 4646772 w 6400800"/>
                <a:gd name="connsiteY909" fmla="*/ 261461 h 514350"/>
                <a:gd name="connsiteX910" fmla="*/ 4645819 w 6400800"/>
                <a:gd name="connsiteY910" fmla="*/ 259556 h 514350"/>
                <a:gd name="connsiteX911" fmla="*/ 4646772 w 6400800"/>
                <a:gd name="connsiteY911" fmla="*/ 253841 h 514350"/>
                <a:gd name="connsiteX912" fmla="*/ 4653439 w 6400800"/>
                <a:gd name="connsiteY912" fmla="*/ 227171 h 514350"/>
                <a:gd name="connsiteX913" fmla="*/ 4660106 w 6400800"/>
                <a:gd name="connsiteY913" fmla="*/ 204311 h 514350"/>
                <a:gd name="connsiteX914" fmla="*/ 4650581 w 6400800"/>
                <a:gd name="connsiteY914" fmla="*/ 226219 h 514350"/>
                <a:gd name="connsiteX915" fmla="*/ 4641056 w 6400800"/>
                <a:gd name="connsiteY915" fmla="*/ 251936 h 514350"/>
                <a:gd name="connsiteX916" fmla="*/ 4636294 w 6400800"/>
                <a:gd name="connsiteY916" fmla="*/ 267176 h 514350"/>
                <a:gd name="connsiteX917" fmla="*/ 4636294 w 6400800"/>
                <a:gd name="connsiteY917" fmla="*/ 259556 h 514350"/>
                <a:gd name="connsiteX918" fmla="*/ 4638199 w 6400800"/>
                <a:gd name="connsiteY918" fmla="*/ 242411 h 514350"/>
                <a:gd name="connsiteX919" fmla="*/ 4639151 w 6400800"/>
                <a:gd name="connsiteY919" fmla="*/ 235744 h 514350"/>
                <a:gd name="connsiteX920" fmla="*/ 4637247 w 6400800"/>
                <a:gd name="connsiteY920" fmla="*/ 241459 h 514350"/>
                <a:gd name="connsiteX921" fmla="*/ 4632484 w 6400800"/>
                <a:gd name="connsiteY921" fmla="*/ 258604 h 514350"/>
                <a:gd name="connsiteX922" fmla="*/ 4632484 w 6400800"/>
                <a:gd name="connsiteY922" fmla="*/ 258604 h 514350"/>
                <a:gd name="connsiteX923" fmla="*/ 4631531 w 6400800"/>
                <a:gd name="connsiteY923" fmla="*/ 254794 h 514350"/>
                <a:gd name="connsiteX924" fmla="*/ 4632484 w 6400800"/>
                <a:gd name="connsiteY924" fmla="*/ 259556 h 514350"/>
                <a:gd name="connsiteX925" fmla="*/ 4628674 w 6400800"/>
                <a:gd name="connsiteY925" fmla="*/ 285274 h 514350"/>
                <a:gd name="connsiteX926" fmla="*/ 4628674 w 6400800"/>
                <a:gd name="connsiteY926" fmla="*/ 293846 h 514350"/>
                <a:gd name="connsiteX927" fmla="*/ 4625816 w 6400800"/>
                <a:gd name="connsiteY927" fmla="*/ 303371 h 514350"/>
                <a:gd name="connsiteX928" fmla="*/ 4610576 w 6400800"/>
                <a:gd name="connsiteY928" fmla="*/ 293846 h 514350"/>
                <a:gd name="connsiteX929" fmla="*/ 4604862 w 6400800"/>
                <a:gd name="connsiteY929" fmla="*/ 290989 h 514350"/>
                <a:gd name="connsiteX930" fmla="*/ 4610576 w 6400800"/>
                <a:gd name="connsiteY930" fmla="*/ 294799 h 514350"/>
                <a:gd name="connsiteX931" fmla="*/ 4624864 w 6400800"/>
                <a:gd name="connsiteY931" fmla="*/ 307181 h 514350"/>
                <a:gd name="connsiteX932" fmla="*/ 4625816 w 6400800"/>
                <a:gd name="connsiteY932" fmla="*/ 308134 h 514350"/>
                <a:gd name="connsiteX933" fmla="*/ 4622006 w 6400800"/>
                <a:gd name="connsiteY933" fmla="*/ 325279 h 514350"/>
                <a:gd name="connsiteX934" fmla="*/ 4619149 w 6400800"/>
                <a:gd name="connsiteY934" fmla="*/ 343376 h 514350"/>
                <a:gd name="connsiteX935" fmla="*/ 4607719 w 6400800"/>
                <a:gd name="connsiteY935" fmla="*/ 306229 h 514350"/>
                <a:gd name="connsiteX936" fmla="*/ 4602956 w 6400800"/>
                <a:gd name="connsiteY936" fmla="*/ 290989 h 514350"/>
                <a:gd name="connsiteX937" fmla="*/ 4601051 w 6400800"/>
                <a:gd name="connsiteY937" fmla="*/ 269081 h 514350"/>
                <a:gd name="connsiteX938" fmla="*/ 4599147 w 6400800"/>
                <a:gd name="connsiteY938" fmla="*/ 248126 h 514350"/>
                <a:gd name="connsiteX939" fmla="*/ 4597241 w 6400800"/>
                <a:gd name="connsiteY939" fmla="*/ 269081 h 514350"/>
                <a:gd name="connsiteX940" fmla="*/ 4597241 w 6400800"/>
                <a:gd name="connsiteY940" fmla="*/ 271939 h 514350"/>
                <a:gd name="connsiteX941" fmla="*/ 4589622 w 6400800"/>
                <a:gd name="connsiteY941" fmla="*/ 250031 h 514350"/>
                <a:gd name="connsiteX942" fmla="*/ 4589622 w 6400800"/>
                <a:gd name="connsiteY942" fmla="*/ 240506 h 514350"/>
                <a:gd name="connsiteX943" fmla="*/ 4590574 w 6400800"/>
                <a:gd name="connsiteY943" fmla="*/ 197644 h 514350"/>
                <a:gd name="connsiteX944" fmla="*/ 4590574 w 6400800"/>
                <a:gd name="connsiteY944" fmla="*/ 109061 h 514350"/>
                <a:gd name="connsiteX945" fmla="*/ 4579144 w 6400800"/>
                <a:gd name="connsiteY945" fmla="*/ 197644 h 514350"/>
                <a:gd name="connsiteX946" fmla="*/ 4574381 w 6400800"/>
                <a:gd name="connsiteY946" fmla="*/ 240506 h 514350"/>
                <a:gd name="connsiteX947" fmla="*/ 4573429 w 6400800"/>
                <a:gd name="connsiteY947" fmla="*/ 256699 h 514350"/>
                <a:gd name="connsiteX948" fmla="*/ 4572476 w 6400800"/>
                <a:gd name="connsiteY948" fmla="*/ 257651 h 514350"/>
                <a:gd name="connsiteX949" fmla="*/ 4563904 w 6400800"/>
                <a:gd name="connsiteY949" fmla="*/ 265271 h 514350"/>
                <a:gd name="connsiteX950" fmla="*/ 4563904 w 6400800"/>
                <a:gd name="connsiteY950" fmla="*/ 264319 h 514350"/>
                <a:gd name="connsiteX951" fmla="*/ 4559141 w 6400800"/>
                <a:gd name="connsiteY951" fmla="*/ 255746 h 514350"/>
                <a:gd name="connsiteX952" fmla="*/ 4560094 w 6400800"/>
                <a:gd name="connsiteY952" fmla="*/ 249079 h 514350"/>
                <a:gd name="connsiteX953" fmla="*/ 4576287 w 6400800"/>
                <a:gd name="connsiteY953" fmla="*/ 159544 h 514350"/>
                <a:gd name="connsiteX954" fmla="*/ 4550569 w 6400800"/>
                <a:gd name="connsiteY954" fmla="*/ 243364 h 514350"/>
                <a:gd name="connsiteX955" fmla="*/ 4550569 w 6400800"/>
                <a:gd name="connsiteY955" fmla="*/ 243364 h 514350"/>
                <a:gd name="connsiteX956" fmla="*/ 4550569 w 6400800"/>
                <a:gd name="connsiteY956" fmla="*/ 243364 h 514350"/>
                <a:gd name="connsiteX957" fmla="*/ 4549616 w 6400800"/>
                <a:gd name="connsiteY957" fmla="*/ 246221 h 514350"/>
                <a:gd name="connsiteX958" fmla="*/ 4548664 w 6400800"/>
                <a:gd name="connsiteY958" fmla="*/ 248126 h 514350"/>
                <a:gd name="connsiteX959" fmla="*/ 4548664 w 6400800"/>
                <a:gd name="connsiteY959" fmla="*/ 248126 h 514350"/>
                <a:gd name="connsiteX960" fmla="*/ 4548664 w 6400800"/>
                <a:gd name="connsiteY960" fmla="*/ 248126 h 514350"/>
                <a:gd name="connsiteX961" fmla="*/ 4536281 w 6400800"/>
                <a:gd name="connsiteY961" fmla="*/ 292894 h 514350"/>
                <a:gd name="connsiteX962" fmla="*/ 4531519 w 6400800"/>
                <a:gd name="connsiteY962" fmla="*/ 241459 h 514350"/>
                <a:gd name="connsiteX963" fmla="*/ 4525804 w 6400800"/>
                <a:gd name="connsiteY963" fmla="*/ 303371 h 514350"/>
                <a:gd name="connsiteX964" fmla="*/ 4525804 w 6400800"/>
                <a:gd name="connsiteY964" fmla="*/ 309086 h 514350"/>
                <a:gd name="connsiteX965" fmla="*/ 4524851 w 6400800"/>
                <a:gd name="connsiteY965" fmla="*/ 308134 h 514350"/>
                <a:gd name="connsiteX966" fmla="*/ 4525804 w 6400800"/>
                <a:gd name="connsiteY966" fmla="*/ 310039 h 514350"/>
                <a:gd name="connsiteX967" fmla="*/ 4523899 w 6400800"/>
                <a:gd name="connsiteY967" fmla="*/ 333851 h 514350"/>
                <a:gd name="connsiteX968" fmla="*/ 4523899 w 6400800"/>
                <a:gd name="connsiteY968" fmla="*/ 337661 h 514350"/>
                <a:gd name="connsiteX969" fmla="*/ 4522947 w 6400800"/>
                <a:gd name="connsiteY969" fmla="*/ 339566 h 514350"/>
                <a:gd name="connsiteX970" fmla="*/ 4517231 w 6400800"/>
                <a:gd name="connsiteY970" fmla="*/ 322421 h 514350"/>
                <a:gd name="connsiteX971" fmla="*/ 4514374 w 6400800"/>
                <a:gd name="connsiteY971" fmla="*/ 301466 h 514350"/>
                <a:gd name="connsiteX972" fmla="*/ 4517231 w 6400800"/>
                <a:gd name="connsiteY972" fmla="*/ 297656 h 514350"/>
                <a:gd name="connsiteX973" fmla="*/ 4521041 w 6400800"/>
                <a:gd name="connsiteY973" fmla="*/ 291941 h 514350"/>
                <a:gd name="connsiteX974" fmla="*/ 4516279 w 6400800"/>
                <a:gd name="connsiteY974" fmla="*/ 297656 h 514350"/>
                <a:gd name="connsiteX975" fmla="*/ 4514374 w 6400800"/>
                <a:gd name="connsiteY975" fmla="*/ 300514 h 514350"/>
                <a:gd name="connsiteX976" fmla="*/ 4514374 w 6400800"/>
                <a:gd name="connsiteY976" fmla="*/ 298609 h 514350"/>
                <a:gd name="connsiteX977" fmla="*/ 4517231 w 6400800"/>
                <a:gd name="connsiteY977" fmla="*/ 293846 h 514350"/>
                <a:gd name="connsiteX978" fmla="*/ 4520089 w 6400800"/>
                <a:gd name="connsiteY978" fmla="*/ 288131 h 514350"/>
                <a:gd name="connsiteX979" fmla="*/ 4516279 w 6400800"/>
                <a:gd name="connsiteY979" fmla="*/ 292894 h 514350"/>
                <a:gd name="connsiteX980" fmla="*/ 4514374 w 6400800"/>
                <a:gd name="connsiteY980" fmla="*/ 295751 h 514350"/>
                <a:gd name="connsiteX981" fmla="*/ 4512469 w 6400800"/>
                <a:gd name="connsiteY981" fmla="*/ 281464 h 514350"/>
                <a:gd name="connsiteX982" fmla="*/ 4511516 w 6400800"/>
                <a:gd name="connsiteY982" fmla="*/ 268129 h 514350"/>
                <a:gd name="connsiteX983" fmla="*/ 4510564 w 6400800"/>
                <a:gd name="connsiteY983" fmla="*/ 272891 h 514350"/>
                <a:gd name="connsiteX984" fmla="*/ 4506754 w 6400800"/>
                <a:gd name="connsiteY984" fmla="*/ 250984 h 514350"/>
                <a:gd name="connsiteX985" fmla="*/ 4506754 w 6400800"/>
                <a:gd name="connsiteY985" fmla="*/ 292894 h 514350"/>
                <a:gd name="connsiteX986" fmla="*/ 4501991 w 6400800"/>
                <a:gd name="connsiteY986" fmla="*/ 282416 h 514350"/>
                <a:gd name="connsiteX987" fmla="*/ 4494372 w 6400800"/>
                <a:gd name="connsiteY987" fmla="*/ 267176 h 514350"/>
                <a:gd name="connsiteX988" fmla="*/ 4486751 w 6400800"/>
                <a:gd name="connsiteY988" fmla="*/ 254794 h 514350"/>
                <a:gd name="connsiteX989" fmla="*/ 4480084 w 6400800"/>
                <a:gd name="connsiteY989" fmla="*/ 245269 h 514350"/>
                <a:gd name="connsiteX990" fmla="*/ 4474369 w 6400800"/>
                <a:gd name="connsiteY990" fmla="*/ 238601 h 514350"/>
                <a:gd name="connsiteX991" fmla="*/ 4469606 w 6400800"/>
                <a:gd name="connsiteY991" fmla="*/ 233839 h 514350"/>
                <a:gd name="connsiteX992" fmla="*/ 4471512 w 6400800"/>
                <a:gd name="connsiteY992" fmla="*/ 225266 h 514350"/>
                <a:gd name="connsiteX993" fmla="*/ 4477226 w 6400800"/>
                <a:gd name="connsiteY993" fmla="*/ 198596 h 514350"/>
                <a:gd name="connsiteX994" fmla="*/ 4481037 w 6400800"/>
                <a:gd name="connsiteY994" fmla="*/ 175736 h 514350"/>
                <a:gd name="connsiteX995" fmla="*/ 4473416 w 6400800"/>
                <a:gd name="connsiteY995" fmla="*/ 197644 h 514350"/>
                <a:gd name="connsiteX996" fmla="*/ 4463891 w 6400800"/>
                <a:gd name="connsiteY996" fmla="*/ 222409 h 514350"/>
                <a:gd name="connsiteX997" fmla="*/ 4455319 w 6400800"/>
                <a:gd name="connsiteY997" fmla="*/ 244316 h 514350"/>
                <a:gd name="connsiteX998" fmla="*/ 4453414 w 6400800"/>
                <a:gd name="connsiteY998" fmla="*/ 237649 h 514350"/>
                <a:gd name="connsiteX999" fmla="*/ 4454366 w 6400800"/>
                <a:gd name="connsiteY999" fmla="*/ 247174 h 514350"/>
                <a:gd name="connsiteX1000" fmla="*/ 4451509 w 6400800"/>
                <a:gd name="connsiteY1000" fmla="*/ 253841 h 514350"/>
                <a:gd name="connsiteX1001" fmla="*/ 4436269 w 6400800"/>
                <a:gd name="connsiteY1001" fmla="*/ 289084 h 514350"/>
                <a:gd name="connsiteX1002" fmla="*/ 4435316 w 6400800"/>
                <a:gd name="connsiteY1002" fmla="*/ 287179 h 514350"/>
                <a:gd name="connsiteX1003" fmla="*/ 4438174 w 6400800"/>
                <a:gd name="connsiteY1003" fmla="*/ 274796 h 514350"/>
                <a:gd name="connsiteX1004" fmla="*/ 4444841 w 6400800"/>
                <a:gd name="connsiteY1004" fmla="*/ 247174 h 514350"/>
                <a:gd name="connsiteX1005" fmla="*/ 4454366 w 6400800"/>
                <a:gd name="connsiteY1005" fmla="*/ 195739 h 514350"/>
                <a:gd name="connsiteX1006" fmla="*/ 4460081 w 6400800"/>
                <a:gd name="connsiteY1006" fmla="*/ 151924 h 514350"/>
                <a:gd name="connsiteX1007" fmla="*/ 4461987 w 6400800"/>
                <a:gd name="connsiteY1007" fmla="*/ 133826 h 514350"/>
                <a:gd name="connsiteX1008" fmla="*/ 4462939 w 6400800"/>
                <a:gd name="connsiteY1008" fmla="*/ 118586 h 514350"/>
                <a:gd name="connsiteX1009" fmla="*/ 4463891 w 6400800"/>
                <a:gd name="connsiteY1009" fmla="*/ 89059 h 514350"/>
                <a:gd name="connsiteX1010" fmla="*/ 4458176 w 6400800"/>
                <a:gd name="connsiteY1010" fmla="*/ 118586 h 514350"/>
                <a:gd name="connsiteX1011" fmla="*/ 4455319 w 6400800"/>
                <a:gd name="connsiteY1011" fmla="*/ 133826 h 514350"/>
                <a:gd name="connsiteX1012" fmla="*/ 4451509 w 6400800"/>
                <a:gd name="connsiteY1012" fmla="*/ 151924 h 514350"/>
                <a:gd name="connsiteX1013" fmla="*/ 4441984 w 6400800"/>
                <a:gd name="connsiteY1013" fmla="*/ 194786 h 514350"/>
                <a:gd name="connsiteX1014" fmla="*/ 4428649 w 6400800"/>
                <a:gd name="connsiteY1014" fmla="*/ 245269 h 514350"/>
                <a:gd name="connsiteX1015" fmla="*/ 4421981 w 6400800"/>
                <a:gd name="connsiteY1015" fmla="*/ 269081 h 514350"/>
                <a:gd name="connsiteX1016" fmla="*/ 4414362 w 6400800"/>
                <a:gd name="connsiteY1016" fmla="*/ 258604 h 514350"/>
                <a:gd name="connsiteX1017" fmla="*/ 4394359 w 6400800"/>
                <a:gd name="connsiteY1017" fmla="*/ 230029 h 514350"/>
                <a:gd name="connsiteX1018" fmla="*/ 4387691 w 6400800"/>
                <a:gd name="connsiteY1018" fmla="*/ 221456 h 514350"/>
                <a:gd name="connsiteX1019" fmla="*/ 4395312 w 6400800"/>
                <a:gd name="connsiteY1019" fmla="*/ 180499 h 514350"/>
                <a:gd name="connsiteX1020" fmla="*/ 4382929 w 6400800"/>
                <a:gd name="connsiteY1020" fmla="*/ 215741 h 514350"/>
                <a:gd name="connsiteX1021" fmla="*/ 4375309 w 6400800"/>
                <a:gd name="connsiteY1021" fmla="*/ 206216 h 514350"/>
                <a:gd name="connsiteX1022" fmla="*/ 4381976 w 6400800"/>
                <a:gd name="connsiteY1022" fmla="*/ 218599 h 514350"/>
                <a:gd name="connsiteX1023" fmla="*/ 4369594 w 6400800"/>
                <a:gd name="connsiteY1023" fmla="*/ 259556 h 514350"/>
                <a:gd name="connsiteX1024" fmla="*/ 4368641 w 6400800"/>
                <a:gd name="connsiteY1024" fmla="*/ 241459 h 514350"/>
                <a:gd name="connsiteX1025" fmla="*/ 4366737 w 6400800"/>
                <a:gd name="connsiteY1025" fmla="*/ 263366 h 514350"/>
                <a:gd name="connsiteX1026" fmla="*/ 4365784 w 6400800"/>
                <a:gd name="connsiteY1026" fmla="*/ 274796 h 514350"/>
                <a:gd name="connsiteX1027" fmla="*/ 4362926 w 6400800"/>
                <a:gd name="connsiteY1027" fmla="*/ 285274 h 514350"/>
                <a:gd name="connsiteX1028" fmla="*/ 4362926 w 6400800"/>
                <a:gd name="connsiteY1028" fmla="*/ 282416 h 514350"/>
                <a:gd name="connsiteX1029" fmla="*/ 4361022 w 6400800"/>
                <a:gd name="connsiteY1029" fmla="*/ 261461 h 514350"/>
                <a:gd name="connsiteX1030" fmla="*/ 4359116 w 6400800"/>
                <a:gd name="connsiteY1030" fmla="*/ 283369 h 514350"/>
                <a:gd name="connsiteX1031" fmla="*/ 4359116 w 6400800"/>
                <a:gd name="connsiteY1031" fmla="*/ 290989 h 514350"/>
                <a:gd name="connsiteX1032" fmla="*/ 4357212 w 6400800"/>
                <a:gd name="connsiteY1032" fmla="*/ 295751 h 514350"/>
                <a:gd name="connsiteX1033" fmla="*/ 4351497 w 6400800"/>
                <a:gd name="connsiteY1033" fmla="*/ 284321 h 514350"/>
                <a:gd name="connsiteX1034" fmla="*/ 4351497 w 6400800"/>
                <a:gd name="connsiteY1034" fmla="*/ 257651 h 514350"/>
                <a:gd name="connsiteX1035" fmla="*/ 4351497 w 6400800"/>
                <a:gd name="connsiteY1035" fmla="*/ 238601 h 514350"/>
                <a:gd name="connsiteX1036" fmla="*/ 4349591 w 6400800"/>
                <a:gd name="connsiteY1036" fmla="*/ 221456 h 514350"/>
                <a:gd name="connsiteX1037" fmla="*/ 4345781 w 6400800"/>
                <a:gd name="connsiteY1037" fmla="*/ 194786 h 514350"/>
                <a:gd name="connsiteX1038" fmla="*/ 4342924 w 6400800"/>
                <a:gd name="connsiteY1038" fmla="*/ 170974 h 514350"/>
                <a:gd name="connsiteX1039" fmla="*/ 4341972 w 6400800"/>
                <a:gd name="connsiteY1039" fmla="*/ 194786 h 514350"/>
                <a:gd name="connsiteX1040" fmla="*/ 4341972 w 6400800"/>
                <a:gd name="connsiteY1040" fmla="*/ 217646 h 514350"/>
                <a:gd name="connsiteX1041" fmla="*/ 4340066 w 6400800"/>
                <a:gd name="connsiteY1041" fmla="*/ 205264 h 514350"/>
                <a:gd name="connsiteX1042" fmla="*/ 4339114 w 6400800"/>
                <a:gd name="connsiteY1042" fmla="*/ 226219 h 514350"/>
                <a:gd name="connsiteX1043" fmla="*/ 4338162 w 6400800"/>
                <a:gd name="connsiteY1043" fmla="*/ 250031 h 514350"/>
                <a:gd name="connsiteX1044" fmla="*/ 4338162 w 6400800"/>
                <a:gd name="connsiteY1044" fmla="*/ 252889 h 514350"/>
                <a:gd name="connsiteX1045" fmla="*/ 4337209 w 6400800"/>
                <a:gd name="connsiteY1045" fmla="*/ 250984 h 514350"/>
                <a:gd name="connsiteX1046" fmla="*/ 4318159 w 6400800"/>
                <a:gd name="connsiteY1046" fmla="*/ 196691 h 514350"/>
                <a:gd name="connsiteX1047" fmla="*/ 4289584 w 6400800"/>
                <a:gd name="connsiteY1047" fmla="*/ 116681 h 514350"/>
                <a:gd name="connsiteX1048" fmla="*/ 4278154 w 6400800"/>
                <a:gd name="connsiteY1048" fmla="*/ 86201 h 514350"/>
                <a:gd name="connsiteX1049" fmla="*/ 4285774 w 6400800"/>
                <a:gd name="connsiteY1049" fmla="*/ 117634 h 514350"/>
                <a:gd name="connsiteX1050" fmla="*/ 4307681 w 6400800"/>
                <a:gd name="connsiteY1050" fmla="*/ 199549 h 514350"/>
                <a:gd name="connsiteX1051" fmla="*/ 4334351 w 6400800"/>
                <a:gd name="connsiteY1051" fmla="*/ 295751 h 514350"/>
                <a:gd name="connsiteX1052" fmla="*/ 4334351 w 6400800"/>
                <a:gd name="connsiteY1052" fmla="*/ 296704 h 514350"/>
                <a:gd name="connsiteX1053" fmla="*/ 4334351 w 6400800"/>
                <a:gd name="connsiteY1053" fmla="*/ 294799 h 514350"/>
                <a:gd name="connsiteX1054" fmla="*/ 4334351 w 6400800"/>
                <a:gd name="connsiteY1054" fmla="*/ 301466 h 514350"/>
                <a:gd name="connsiteX1055" fmla="*/ 4333399 w 6400800"/>
                <a:gd name="connsiteY1055" fmla="*/ 315754 h 514350"/>
                <a:gd name="connsiteX1056" fmla="*/ 4329589 w 6400800"/>
                <a:gd name="connsiteY1056" fmla="*/ 344329 h 514350"/>
                <a:gd name="connsiteX1057" fmla="*/ 4328637 w 6400800"/>
                <a:gd name="connsiteY1057" fmla="*/ 343376 h 514350"/>
                <a:gd name="connsiteX1058" fmla="*/ 4326731 w 6400800"/>
                <a:gd name="connsiteY1058" fmla="*/ 340519 h 514350"/>
                <a:gd name="connsiteX1059" fmla="*/ 4325779 w 6400800"/>
                <a:gd name="connsiteY1059" fmla="*/ 333851 h 514350"/>
                <a:gd name="connsiteX1060" fmla="*/ 4315301 w 6400800"/>
                <a:gd name="connsiteY1060" fmla="*/ 267176 h 514350"/>
                <a:gd name="connsiteX1061" fmla="*/ 4301966 w 6400800"/>
                <a:gd name="connsiteY1061" fmla="*/ 202406 h 514350"/>
                <a:gd name="connsiteX1062" fmla="*/ 4303872 w 6400800"/>
                <a:gd name="connsiteY1062" fmla="*/ 268129 h 514350"/>
                <a:gd name="connsiteX1063" fmla="*/ 4303872 w 6400800"/>
                <a:gd name="connsiteY1063" fmla="*/ 274796 h 514350"/>
                <a:gd name="connsiteX1064" fmla="*/ 4301966 w 6400800"/>
                <a:gd name="connsiteY1064" fmla="*/ 290036 h 514350"/>
                <a:gd name="connsiteX1065" fmla="*/ 4300062 w 6400800"/>
                <a:gd name="connsiteY1065" fmla="*/ 300514 h 514350"/>
                <a:gd name="connsiteX1066" fmla="*/ 4288631 w 6400800"/>
                <a:gd name="connsiteY1066" fmla="*/ 286226 h 514350"/>
                <a:gd name="connsiteX1067" fmla="*/ 4299109 w 6400800"/>
                <a:gd name="connsiteY1067" fmla="*/ 305276 h 514350"/>
                <a:gd name="connsiteX1068" fmla="*/ 4296251 w 6400800"/>
                <a:gd name="connsiteY1068" fmla="*/ 323374 h 514350"/>
                <a:gd name="connsiteX1069" fmla="*/ 4292441 w 6400800"/>
                <a:gd name="connsiteY1069" fmla="*/ 346234 h 514350"/>
                <a:gd name="connsiteX1070" fmla="*/ 4290537 w 6400800"/>
                <a:gd name="connsiteY1070" fmla="*/ 343376 h 514350"/>
                <a:gd name="connsiteX1071" fmla="*/ 4288631 w 6400800"/>
                <a:gd name="connsiteY1071" fmla="*/ 308134 h 514350"/>
                <a:gd name="connsiteX1072" fmla="*/ 4281964 w 6400800"/>
                <a:gd name="connsiteY1072" fmla="*/ 231934 h 514350"/>
                <a:gd name="connsiteX1073" fmla="*/ 4277201 w 6400800"/>
                <a:gd name="connsiteY1073" fmla="*/ 309086 h 514350"/>
                <a:gd name="connsiteX1074" fmla="*/ 4277201 w 6400800"/>
                <a:gd name="connsiteY1074" fmla="*/ 318611 h 514350"/>
                <a:gd name="connsiteX1075" fmla="*/ 4273391 w 6400800"/>
                <a:gd name="connsiteY1075" fmla="*/ 310039 h 514350"/>
                <a:gd name="connsiteX1076" fmla="*/ 4272439 w 6400800"/>
                <a:gd name="connsiteY1076" fmla="*/ 303371 h 514350"/>
                <a:gd name="connsiteX1077" fmla="*/ 4270534 w 6400800"/>
                <a:gd name="connsiteY1077" fmla="*/ 273844 h 514350"/>
                <a:gd name="connsiteX1078" fmla="*/ 4269581 w 6400800"/>
                <a:gd name="connsiteY1078" fmla="*/ 260509 h 514350"/>
                <a:gd name="connsiteX1079" fmla="*/ 4269581 w 6400800"/>
                <a:gd name="connsiteY1079" fmla="*/ 255746 h 514350"/>
                <a:gd name="connsiteX1080" fmla="*/ 4270534 w 6400800"/>
                <a:gd name="connsiteY1080" fmla="*/ 234791 h 514350"/>
                <a:gd name="connsiteX1081" fmla="*/ 4273391 w 6400800"/>
                <a:gd name="connsiteY1081" fmla="*/ 155734 h 514350"/>
                <a:gd name="connsiteX1082" fmla="*/ 4259104 w 6400800"/>
                <a:gd name="connsiteY1082" fmla="*/ 233839 h 514350"/>
                <a:gd name="connsiteX1083" fmla="*/ 4253389 w 6400800"/>
                <a:gd name="connsiteY1083" fmla="*/ 271939 h 514350"/>
                <a:gd name="connsiteX1084" fmla="*/ 4252437 w 6400800"/>
                <a:gd name="connsiteY1084" fmla="*/ 270034 h 514350"/>
                <a:gd name="connsiteX1085" fmla="*/ 4253389 w 6400800"/>
                <a:gd name="connsiteY1085" fmla="*/ 262414 h 514350"/>
                <a:gd name="connsiteX1086" fmla="*/ 4255294 w 6400800"/>
                <a:gd name="connsiteY1086" fmla="*/ 240506 h 514350"/>
                <a:gd name="connsiteX1087" fmla="*/ 4249579 w 6400800"/>
                <a:gd name="connsiteY1087" fmla="*/ 262414 h 514350"/>
                <a:gd name="connsiteX1088" fmla="*/ 4248626 w 6400800"/>
                <a:gd name="connsiteY1088" fmla="*/ 264319 h 514350"/>
                <a:gd name="connsiteX1089" fmla="*/ 4246722 w 6400800"/>
                <a:gd name="connsiteY1089" fmla="*/ 261461 h 514350"/>
                <a:gd name="connsiteX1090" fmla="*/ 4244816 w 6400800"/>
                <a:gd name="connsiteY1090" fmla="*/ 257651 h 514350"/>
                <a:gd name="connsiteX1091" fmla="*/ 4244816 w 6400800"/>
                <a:gd name="connsiteY1091" fmla="*/ 251936 h 514350"/>
                <a:gd name="connsiteX1092" fmla="*/ 4243864 w 6400800"/>
                <a:gd name="connsiteY1092" fmla="*/ 256699 h 514350"/>
                <a:gd name="connsiteX1093" fmla="*/ 4240054 w 6400800"/>
                <a:gd name="connsiteY1093" fmla="*/ 251936 h 514350"/>
                <a:gd name="connsiteX1094" fmla="*/ 4229576 w 6400800"/>
                <a:gd name="connsiteY1094" fmla="*/ 235744 h 514350"/>
                <a:gd name="connsiteX1095" fmla="*/ 4220051 w 6400800"/>
                <a:gd name="connsiteY1095" fmla="*/ 222409 h 514350"/>
                <a:gd name="connsiteX1096" fmla="*/ 4226719 w 6400800"/>
                <a:gd name="connsiteY1096" fmla="*/ 237649 h 514350"/>
                <a:gd name="connsiteX1097" fmla="*/ 4234339 w 6400800"/>
                <a:gd name="connsiteY1097" fmla="*/ 254794 h 514350"/>
                <a:gd name="connsiteX1098" fmla="*/ 4236244 w 6400800"/>
                <a:gd name="connsiteY1098" fmla="*/ 258604 h 514350"/>
                <a:gd name="connsiteX1099" fmla="*/ 4231481 w 6400800"/>
                <a:gd name="connsiteY1099" fmla="*/ 251936 h 514350"/>
                <a:gd name="connsiteX1100" fmla="*/ 4220051 w 6400800"/>
                <a:gd name="connsiteY1100" fmla="*/ 237649 h 514350"/>
                <a:gd name="connsiteX1101" fmla="*/ 4202906 w 6400800"/>
                <a:gd name="connsiteY1101" fmla="*/ 219551 h 514350"/>
                <a:gd name="connsiteX1102" fmla="*/ 4196239 w 6400800"/>
                <a:gd name="connsiteY1102" fmla="*/ 213836 h 514350"/>
                <a:gd name="connsiteX1103" fmla="*/ 4201954 w 6400800"/>
                <a:gd name="connsiteY1103" fmla="*/ 220504 h 514350"/>
                <a:gd name="connsiteX1104" fmla="*/ 4216241 w 6400800"/>
                <a:gd name="connsiteY1104" fmla="*/ 240506 h 514350"/>
                <a:gd name="connsiteX1105" fmla="*/ 4225766 w 6400800"/>
                <a:gd name="connsiteY1105" fmla="*/ 255746 h 514350"/>
                <a:gd name="connsiteX1106" fmla="*/ 4235291 w 6400800"/>
                <a:gd name="connsiteY1106" fmla="*/ 273844 h 514350"/>
                <a:gd name="connsiteX1107" fmla="*/ 4235291 w 6400800"/>
                <a:gd name="connsiteY1107" fmla="*/ 274796 h 514350"/>
                <a:gd name="connsiteX1108" fmla="*/ 4235291 w 6400800"/>
                <a:gd name="connsiteY1108" fmla="*/ 282416 h 514350"/>
                <a:gd name="connsiteX1109" fmla="*/ 4234339 w 6400800"/>
                <a:gd name="connsiteY1109" fmla="*/ 281464 h 514350"/>
                <a:gd name="connsiteX1110" fmla="*/ 4229576 w 6400800"/>
                <a:gd name="connsiteY1110" fmla="*/ 276701 h 514350"/>
                <a:gd name="connsiteX1111" fmla="*/ 4233387 w 6400800"/>
                <a:gd name="connsiteY1111" fmla="*/ 282416 h 514350"/>
                <a:gd name="connsiteX1112" fmla="*/ 4235291 w 6400800"/>
                <a:gd name="connsiteY1112" fmla="*/ 284321 h 514350"/>
                <a:gd name="connsiteX1113" fmla="*/ 4235291 w 6400800"/>
                <a:gd name="connsiteY1113" fmla="*/ 285274 h 514350"/>
                <a:gd name="connsiteX1114" fmla="*/ 4229576 w 6400800"/>
                <a:gd name="connsiteY1114" fmla="*/ 310039 h 514350"/>
                <a:gd name="connsiteX1115" fmla="*/ 4222909 w 6400800"/>
                <a:gd name="connsiteY1115" fmla="*/ 295751 h 514350"/>
                <a:gd name="connsiteX1116" fmla="*/ 4228624 w 6400800"/>
                <a:gd name="connsiteY1116" fmla="*/ 316706 h 514350"/>
                <a:gd name="connsiteX1117" fmla="*/ 4226719 w 6400800"/>
                <a:gd name="connsiteY1117" fmla="*/ 327184 h 514350"/>
                <a:gd name="connsiteX1118" fmla="*/ 4223862 w 6400800"/>
                <a:gd name="connsiteY1118" fmla="*/ 341471 h 514350"/>
                <a:gd name="connsiteX1119" fmla="*/ 4222909 w 6400800"/>
                <a:gd name="connsiteY1119" fmla="*/ 334804 h 514350"/>
                <a:gd name="connsiteX1120" fmla="*/ 4219099 w 6400800"/>
                <a:gd name="connsiteY1120" fmla="*/ 311944 h 514350"/>
                <a:gd name="connsiteX1121" fmla="*/ 4219099 w 6400800"/>
                <a:gd name="connsiteY1121" fmla="*/ 331946 h 514350"/>
                <a:gd name="connsiteX1122" fmla="*/ 4217194 w 6400800"/>
                <a:gd name="connsiteY1122" fmla="*/ 322421 h 514350"/>
                <a:gd name="connsiteX1123" fmla="*/ 4198144 w 6400800"/>
                <a:gd name="connsiteY1123" fmla="*/ 240506 h 514350"/>
                <a:gd name="connsiteX1124" fmla="*/ 4205764 w 6400800"/>
                <a:gd name="connsiteY1124" fmla="*/ 323374 h 514350"/>
                <a:gd name="connsiteX1125" fmla="*/ 4210526 w 6400800"/>
                <a:gd name="connsiteY1125" fmla="*/ 364331 h 514350"/>
                <a:gd name="connsiteX1126" fmla="*/ 4210526 w 6400800"/>
                <a:gd name="connsiteY1126" fmla="*/ 363379 h 514350"/>
                <a:gd name="connsiteX1127" fmla="*/ 4206716 w 6400800"/>
                <a:gd name="connsiteY1127" fmla="*/ 350044 h 514350"/>
                <a:gd name="connsiteX1128" fmla="*/ 4202906 w 6400800"/>
                <a:gd name="connsiteY1128" fmla="*/ 338614 h 514350"/>
                <a:gd name="connsiteX1129" fmla="*/ 4202906 w 6400800"/>
                <a:gd name="connsiteY1129" fmla="*/ 350996 h 514350"/>
                <a:gd name="connsiteX1130" fmla="*/ 4202906 w 6400800"/>
                <a:gd name="connsiteY1130" fmla="*/ 365284 h 514350"/>
                <a:gd name="connsiteX1131" fmla="*/ 4202906 w 6400800"/>
                <a:gd name="connsiteY1131" fmla="*/ 373856 h 514350"/>
                <a:gd name="connsiteX1132" fmla="*/ 4202906 w 6400800"/>
                <a:gd name="connsiteY1132" fmla="*/ 380524 h 514350"/>
                <a:gd name="connsiteX1133" fmla="*/ 4201954 w 6400800"/>
                <a:gd name="connsiteY1133" fmla="*/ 378619 h 514350"/>
                <a:gd name="connsiteX1134" fmla="*/ 4201001 w 6400800"/>
                <a:gd name="connsiteY1134" fmla="*/ 361474 h 514350"/>
                <a:gd name="connsiteX1135" fmla="*/ 4196239 w 6400800"/>
                <a:gd name="connsiteY1135" fmla="*/ 290989 h 514350"/>
                <a:gd name="connsiteX1136" fmla="*/ 4191476 w 6400800"/>
                <a:gd name="connsiteY1136" fmla="*/ 343376 h 514350"/>
                <a:gd name="connsiteX1137" fmla="*/ 4188619 w 6400800"/>
                <a:gd name="connsiteY1137" fmla="*/ 335756 h 514350"/>
                <a:gd name="connsiteX1138" fmla="*/ 4181951 w 6400800"/>
                <a:gd name="connsiteY1138" fmla="*/ 319564 h 514350"/>
                <a:gd name="connsiteX1139" fmla="*/ 4180999 w 6400800"/>
                <a:gd name="connsiteY1139" fmla="*/ 316706 h 514350"/>
                <a:gd name="connsiteX1140" fmla="*/ 4180999 w 6400800"/>
                <a:gd name="connsiteY1140" fmla="*/ 256699 h 514350"/>
                <a:gd name="connsiteX1141" fmla="*/ 4180999 w 6400800"/>
                <a:gd name="connsiteY1141" fmla="*/ 230029 h 514350"/>
                <a:gd name="connsiteX1142" fmla="*/ 4177189 w 6400800"/>
                <a:gd name="connsiteY1142" fmla="*/ 256699 h 514350"/>
                <a:gd name="connsiteX1143" fmla="*/ 4175284 w 6400800"/>
                <a:gd name="connsiteY1143" fmla="*/ 270034 h 514350"/>
                <a:gd name="connsiteX1144" fmla="*/ 4174331 w 6400800"/>
                <a:gd name="connsiteY1144" fmla="*/ 251936 h 514350"/>
                <a:gd name="connsiteX1145" fmla="*/ 4168616 w 6400800"/>
                <a:gd name="connsiteY1145" fmla="*/ 176689 h 514350"/>
                <a:gd name="connsiteX1146" fmla="*/ 4162901 w 6400800"/>
                <a:gd name="connsiteY1146" fmla="*/ 251936 h 514350"/>
                <a:gd name="connsiteX1147" fmla="*/ 4160996 w 6400800"/>
                <a:gd name="connsiteY1147" fmla="*/ 287179 h 514350"/>
                <a:gd name="connsiteX1148" fmla="*/ 4154329 w 6400800"/>
                <a:gd name="connsiteY1148" fmla="*/ 303371 h 514350"/>
                <a:gd name="connsiteX1149" fmla="*/ 4146709 w 6400800"/>
                <a:gd name="connsiteY1149" fmla="*/ 280511 h 514350"/>
                <a:gd name="connsiteX1150" fmla="*/ 4140041 w 6400800"/>
                <a:gd name="connsiteY1150" fmla="*/ 246221 h 514350"/>
                <a:gd name="connsiteX1151" fmla="*/ 4133374 w 6400800"/>
                <a:gd name="connsiteY1151" fmla="*/ 224314 h 514350"/>
                <a:gd name="connsiteX1152" fmla="*/ 4134326 w 6400800"/>
                <a:gd name="connsiteY1152" fmla="*/ 230029 h 514350"/>
                <a:gd name="connsiteX1153" fmla="*/ 4136231 w 6400800"/>
                <a:gd name="connsiteY1153" fmla="*/ 247174 h 514350"/>
                <a:gd name="connsiteX1154" fmla="*/ 4136231 w 6400800"/>
                <a:gd name="connsiteY1154" fmla="*/ 250031 h 514350"/>
                <a:gd name="connsiteX1155" fmla="*/ 4118134 w 6400800"/>
                <a:gd name="connsiteY1155" fmla="*/ 197644 h 514350"/>
                <a:gd name="connsiteX1156" fmla="*/ 4093369 w 6400800"/>
                <a:gd name="connsiteY1156" fmla="*/ 121444 h 514350"/>
                <a:gd name="connsiteX1157" fmla="*/ 4083844 w 6400800"/>
                <a:gd name="connsiteY1157" fmla="*/ 92869 h 514350"/>
                <a:gd name="connsiteX1158" fmla="*/ 4089559 w 6400800"/>
                <a:gd name="connsiteY1158" fmla="*/ 122396 h 514350"/>
                <a:gd name="connsiteX1159" fmla="*/ 4106704 w 6400800"/>
                <a:gd name="connsiteY1159" fmla="*/ 200501 h 514350"/>
                <a:gd name="connsiteX1160" fmla="*/ 4119086 w 6400800"/>
                <a:gd name="connsiteY1160" fmla="*/ 248126 h 514350"/>
                <a:gd name="connsiteX1161" fmla="*/ 4117181 w 6400800"/>
                <a:gd name="connsiteY1161" fmla="*/ 262414 h 514350"/>
                <a:gd name="connsiteX1162" fmla="*/ 4114324 w 6400800"/>
                <a:gd name="connsiteY1162" fmla="*/ 290036 h 514350"/>
                <a:gd name="connsiteX1163" fmla="*/ 4110514 w 6400800"/>
                <a:gd name="connsiteY1163" fmla="*/ 284321 h 514350"/>
                <a:gd name="connsiteX1164" fmla="*/ 4114324 w 6400800"/>
                <a:gd name="connsiteY1164" fmla="*/ 269081 h 514350"/>
                <a:gd name="connsiteX1165" fmla="*/ 4108609 w 6400800"/>
                <a:gd name="connsiteY1165" fmla="*/ 282416 h 514350"/>
                <a:gd name="connsiteX1166" fmla="*/ 4102894 w 6400800"/>
                <a:gd name="connsiteY1166" fmla="*/ 273844 h 514350"/>
                <a:gd name="connsiteX1167" fmla="*/ 4096226 w 6400800"/>
                <a:gd name="connsiteY1167" fmla="*/ 263366 h 514350"/>
                <a:gd name="connsiteX1168" fmla="*/ 4097179 w 6400800"/>
                <a:gd name="connsiteY1168" fmla="*/ 262414 h 514350"/>
                <a:gd name="connsiteX1169" fmla="*/ 4096226 w 6400800"/>
                <a:gd name="connsiteY1169" fmla="*/ 263366 h 514350"/>
                <a:gd name="connsiteX1170" fmla="*/ 4090511 w 6400800"/>
                <a:gd name="connsiteY1170" fmla="*/ 253841 h 514350"/>
                <a:gd name="connsiteX1171" fmla="*/ 4090511 w 6400800"/>
                <a:gd name="connsiteY1171" fmla="*/ 252889 h 514350"/>
                <a:gd name="connsiteX1172" fmla="*/ 4090511 w 6400800"/>
                <a:gd name="connsiteY1172" fmla="*/ 238601 h 514350"/>
                <a:gd name="connsiteX1173" fmla="*/ 4090511 w 6400800"/>
                <a:gd name="connsiteY1173" fmla="*/ 215741 h 514350"/>
                <a:gd name="connsiteX1174" fmla="*/ 4089559 w 6400800"/>
                <a:gd name="connsiteY1174" fmla="*/ 195739 h 514350"/>
                <a:gd name="connsiteX1175" fmla="*/ 4086701 w 6400800"/>
                <a:gd name="connsiteY1175" fmla="*/ 214789 h 514350"/>
                <a:gd name="connsiteX1176" fmla="*/ 4083844 w 6400800"/>
                <a:gd name="connsiteY1176" fmla="*/ 236696 h 514350"/>
                <a:gd name="connsiteX1177" fmla="*/ 4083844 w 6400800"/>
                <a:gd name="connsiteY1177" fmla="*/ 239554 h 514350"/>
                <a:gd name="connsiteX1178" fmla="*/ 4081939 w 6400800"/>
                <a:gd name="connsiteY1178" fmla="*/ 236696 h 514350"/>
                <a:gd name="connsiteX1179" fmla="*/ 4081939 w 6400800"/>
                <a:gd name="connsiteY1179" fmla="*/ 234791 h 514350"/>
                <a:gd name="connsiteX1180" fmla="*/ 4081939 w 6400800"/>
                <a:gd name="connsiteY1180" fmla="*/ 210026 h 514350"/>
                <a:gd name="connsiteX1181" fmla="*/ 4081939 w 6400800"/>
                <a:gd name="connsiteY1181" fmla="*/ 188119 h 514350"/>
                <a:gd name="connsiteX1182" fmla="*/ 4078129 w 6400800"/>
                <a:gd name="connsiteY1182" fmla="*/ 210026 h 514350"/>
                <a:gd name="connsiteX1183" fmla="*/ 4075271 w 6400800"/>
                <a:gd name="connsiteY1183" fmla="*/ 227171 h 514350"/>
                <a:gd name="connsiteX1184" fmla="*/ 4059079 w 6400800"/>
                <a:gd name="connsiteY1184" fmla="*/ 202406 h 514350"/>
                <a:gd name="connsiteX1185" fmla="*/ 4073366 w 6400800"/>
                <a:gd name="connsiteY1185" fmla="*/ 236696 h 514350"/>
                <a:gd name="connsiteX1186" fmla="*/ 4071461 w 6400800"/>
                <a:gd name="connsiteY1186" fmla="*/ 250984 h 514350"/>
                <a:gd name="connsiteX1187" fmla="*/ 4067651 w 6400800"/>
                <a:gd name="connsiteY1187" fmla="*/ 268129 h 514350"/>
                <a:gd name="connsiteX1188" fmla="*/ 4064794 w 6400800"/>
                <a:gd name="connsiteY1188" fmla="*/ 279559 h 514350"/>
                <a:gd name="connsiteX1189" fmla="*/ 4061936 w 6400800"/>
                <a:gd name="connsiteY1189" fmla="*/ 253841 h 514350"/>
                <a:gd name="connsiteX1190" fmla="*/ 4054316 w 6400800"/>
                <a:gd name="connsiteY1190" fmla="*/ 207169 h 514350"/>
                <a:gd name="connsiteX1191" fmla="*/ 4050506 w 6400800"/>
                <a:gd name="connsiteY1191" fmla="*/ 186214 h 514350"/>
                <a:gd name="connsiteX1192" fmla="*/ 4046696 w 6400800"/>
                <a:gd name="connsiteY1192" fmla="*/ 168116 h 514350"/>
                <a:gd name="connsiteX1193" fmla="*/ 4040029 w 6400800"/>
                <a:gd name="connsiteY1193" fmla="*/ 137636 h 514350"/>
                <a:gd name="connsiteX1194" fmla="*/ 4034314 w 6400800"/>
                <a:gd name="connsiteY1194" fmla="*/ 111919 h 514350"/>
                <a:gd name="connsiteX1195" fmla="*/ 4036219 w 6400800"/>
                <a:gd name="connsiteY1195" fmla="*/ 138589 h 514350"/>
                <a:gd name="connsiteX1196" fmla="*/ 4039076 w 6400800"/>
                <a:gd name="connsiteY1196" fmla="*/ 169069 h 514350"/>
                <a:gd name="connsiteX1197" fmla="*/ 4042886 w 6400800"/>
                <a:gd name="connsiteY1197" fmla="*/ 208121 h 514350"/>
                <a:gd name="connsiteX1198" fmla="*/ 4044791 w 6400800"/>
                <a:gd name="connsiteY1198" fmla="*/ 238601 h 514350"/>
                <a:gd name="connsiteX1199" fmla="*/ 4031456 w 6400800"/>
                <a:gd name="connsiteY1199" fmla="*/ 170021 h 514350"/>
                <a:gd name="connsiteX1200" fmla="*/ 4036219 w 6400800"/>
                <a:gd name="connsiteY1200" fmla="*/ 252889 h 514350"/>
                <a:gd name="connsiteX1201" fmla="*/ 4037171 w 6400800"/>
                <a:gd name="connsiteY1201" fmla="*/ 264319 h 514350"/>
                <a:gd name="connsiteX1202" fmla="*/ 4035266 w 6400800"/>
                <a:gd name="connsiteY1202" fmla="*/ 271939 h 514350"/>
                <a:gd name="connsiteX1203" fmla="*/ 4030504 w 6400800"/>
                <a:gd name="connsiteY1203" fmla="*/ 266224 h 514350"/>
                <a:gd name="connsiteX1204" fmla="*/ 4023836 w 6400800"/>
                <a:gd name="connsiteY1204" fmla="*/ 258604 h 514350"/>
                <a:gd name="connsiteX1205" fmla="*/ 4009549 w 6400800"/>
                <a:gd name="connsiteY1205" fmla="*/ 229076 h 514350"/>
                <a:gd name="connsiteX1206" fmla="*/ 3996214 w 6400800"/>
                <a:gd name="connsiteY1206" fmla="*/ 203359 h 514350"/>
                <a:gd name="connsiteX1207" fmla="*/ 4005739 w 6400800"/>
                <a:gd name="connsiteY1207" fmla="*/ 230981 h 514350"/>
                <a:gd name="connsiteX1208" fmla="*/ 4014311 w 6400800"/>
                <a:gd name="connsiteY1208" fmla="*/ 255746 h 514350"/>
                <a:gd name="connsiteX1209" fmla="*/ 4007644 w 6400800"/>
                <a:gd name="connsiteY1209" fmla="*/ 243364 h 514350"/>
                <a:gd name="connsiteX1210" fmla="*/ 4015264 w 6400800"/>
                <a:gd name="connsiteY1210" fmla="*/ 267176 h 514350"/>
                <a:gd name="connsiteX1211" fmla="*/ 4024789 w 6400800"/>
                <a:gd name="connsiteY1211" fmla="*/ 294799 h 514350"/>
                <a:gd name="connsiteX1212" fmla="*/ 4026694 w 6400800"/>
                <a:gd name="connsiteY1212" fmla="*/ 301466 h 514350"/>
                <a:gd name="connsiteX1213" fmla="*/ 4017169 w 6400800"/>
                <a:gd name="connsiteY1213" fmla="*/ 329089 h 514350"/>
                <a:gd name="connsiteX1214" fmla="*/ 4016216 w 6400800"/>
                <a:gd name="connsiteY1214" fmla="*/ 328136 h 514350"/>
                <a:gd name="connsiteX1215" fmla="*/ 4005739 w 6400800"/>
                <a:gd name="connsiteY1215" fmla="*/ 320516 h 514350"/>
                <a:gd name="connsiteX1216" fmla="*/ 4005739 w 6400800"/>
                <a:gd name="connsiteY1216" fmla="*/ 318611 h 514350"/>
                <a:gd name="connsiteX1217" fmla="*/ 4004786 w 6400800"/>
                <a:gd name="connsiteY1217" fmla="*/ 310991 h 514350"/>
                <a:gd name="connsiteX1218" fmla="*/ 4002881 w 6400800"/>
                <a:gd name="connsiteY1218" fmla="*/ 269081 h 514350"/>
                <a:gd name="connsiteX1219" fmla="*/ 4000024 w 6400800"/>
                <a:gd name="connsiteY1219" fmla="*/ 284321 h 514350"/>
                <a:gd name="connsiteX1220" fmla="*/ 3993356 w 6400800"/>
                <a:gd name="connsiteY1220" fmla="*/ 248126 h 514350"/>
                <a:gd name="connsiteX1221" fmla="*/ 3993356 w 6400800"/>
                <a:gd name="connsiteY1221" fmla="*/ 286226 h 514350"/>
                <a:gd name="connsiteX1222" fmla="*/ 3992404 w 6400800"/>
                <a:gd name="connsiteY1222" fmla="*/ 286226 h 514350"/>
                <a:gd name="connsiteX1223" fmla="*/ 3990499 w 6400800"/>
                <a:gd name="connsiteY1223" fmla="*/ 287179 h 514350"/>
                <a:gd name="connsiteX1224" fmla="*/ 3985736 w 6400800"/>
                <a:gd name="connsiteY1224" fmla="*/ 292894 h 514350"/>
                <a:gd name="connsiteX1225" fmla="*/ 3985736 w 6400800"/>
                <a:gd name="connsiteY1225" fmla="*/ 292894 h 514350"/>
                <a:gd name="connsiteX1226" fmla="*/ 3985736 w 6400800"/>
                <a:gd name="connsiteY1226" fmla="*/ 293846 h 514350"/>
                <a:gd name="connsiteX1227" fmla="*/ 3983831 w 6400800"/>
                <a:gd name="connsiteY1227" fmla="*/ 313849 h 514350"/>
                <a:gd name="connsiteX1228" fmla="*/ 3978116 w 6400800"/>
                <a:gd name="connsiteY1228" fmla="*/ 303371 h 514350"/>
                <a:gd name="connsiteX1229" fmla="*/ 3987641 w 6400800"/>
                <a:gd name="connsiteY1229" fmla="*/ 272891 h 514350"/>
                <a:gd name="connsiteX1230" fmla="*/ 3976211 w 6400800"/>
                <a:gd name="connsiteY1230" fmla="*/ 298609 h 514350"/>
                <a:gd name="connsiteX1231" fmla="*/ 3973354 w 6400800"/>
                <a:gd name="connsiteY1231" fmla="*/ 293846 h 514350"/>
                <a:gd name="connsiteX1232" fmla="*/ 3973354 w 6400800"/>
                <a:gd name="connsiteY1232" fmla="*/ 288131 h 514350"/>
                <a:gd name="connsiteX1233" fmla="*/ 3973354 w 6400800"/>
                <a:gd name="connsiteY1233" fmla="*/ 287179 h 514350"/>
                <a:gd name="connsiteX1234" fmla="*/ 3977164 w 6400800"/>
                <a:gd name="connsiteY1234" fmla="*/ 278606 h 514350"/>
                <a:gd name="connsiteX1235" fmla="*/ 3980974 w 6400800"/>
                <a:gd name="connsiteY1235" fmla="*/ 270986 h 514350"/>
                <a:gd name="connsiteX1236" fmla="*/ 3976211 w 6400800"/>
                <a:gd name="connsiteY1236" fmla="*/ 277654 h 514350"/>
                <a:gd name="connsiteX1237" fmla="*/ 3973354 w 6400800"/>
                <a:gd name="connsiteY1237" fmla="*/ 282416 h 514350"/>
                <a:gd name="connsiteX1238" fmla="*/ 3974306 w 6400800"/>
                <a:gd name="connsiteY1238" fmla="*/ 254794 h 514350"/>
                <a:gd name="connsiteX1239" fmla="*/ 3975259 w 6400800"/>
                <a:gd name="connsiteY1239" fmla="*/ 230029 h 514350"/>
                <a:gd name="connsiteX1240" fmla="*/ 3970496 w 6400800"/>
                <a:gd name="connsiteY1240" fmla="*/ 254794 h 514350"/>
                <a:gd name="connsiteX1241" fmla="*/ 3965734 w 6400800"/>
                <a:gd name="connsiteY1241" fmla="*/ 281464 h 514350"/>
                <a:gd name="connsiteX1242" fmla="*/ 3961924 w 6400800"/>
                <a:gd name="connsiteY1242" fmla="*/ 274796 h 514350"/>
                <a:gd name="connsiteX1243" fmla="*/ 3962876 w 6400800"/>
                <a:gd name="connsiteY1243" fmla="*/ 269081 h 514350"/>
                <a:gd name="connsiteX1244" fmla="*/ 3966686 w 6400800"/>
                <a:gd name="connsiteY1244" fmla="*/ 245269 h 514350"/>
                <a:gd name="connsiteX1245" fmla="*/ 3959066 w 6400800"/>
                <a:gd name="connsiteY1245" fmla="*/ 268129 h 514350"/>
                <a:gd name="connsiteX1246" fmla="*/ 3959066 w 6400800"/>
                <a:gd name="connsiteY1246" fmla="*/ 269081 h 514350"/>
                <a:gd name="connsiteX1247" fmla="*/ 3958114 w 6400800"/>
                <a:gd name="connsiteY1247" fmla="*/ 267176 h 514350"/>
                <a:gd name="connsiteX1248" fmla="*/ 3958114 w 6400800"/>
                <a:gd name="connsiteY1248" fmla="*/ 269081 h 514350"/>
                <a:gd name="connsiteX1249" fmla="*/ 3955256 w 6400800"/>
                <a:gd name="connsiteY1249" fmla="*/ 264319 h 514350"/>
                <a:gd name="connsiteX1250" fmla="*/ 3954304 w 6400800"/>
                <a:gd name="connsiteY1250" fmla="*/ 247174 h 514350"/>
                <a:gd name="connsiteX1251" fmla="*/ 3951446 w 6400800"/>
                <a:gd name="connsiteY1251" fmla="*/ 214789 h 514350"/>
                <a:gd name="connsiteX1252" fmla="*/ 3947636 w 6400800"/>
                <a:gd name="connsiteY1252" fmla="*/ 190024 h 514350"/>
                <a:gd name="connsiteX1253" fmla="*/ 3943826 w 6400800"/>
                <a:gd name="connsiteY1253" fmla="*/ 169069 h 514350"/>
                <a:gd name="connsiteX1254" fmla="*/ 3943826 w 6400800"/>
                <a:gd name="connsiteY1254" fmla="*/ 190024 h 514350"/>
                <a:gd name="connsiteX1255" fmla="*/ 3943826 w 6400800"/>
                <a:gd name="connsiteY1255" fmla="*/ 214789 h 514350"/>
                <a:gd name="connsiteX1256" fmla="*/ 3943826 w 6400800"/>
                <a:gd name="connsiteY1256" fmla="*/ 225266 h 514350"/>
                <a:gd name="connsiteX1257" fmla="*/ 3940969 w 6400800"/>
                <a:gd name="connsiteY1257" fmla="*/ 215741 h 514350"/>
                <a:gd name="connsiteX1258" fmla="*/ 3939064 w 6400800"/>
                <a:gd name="connsiteY1258" fmla="*/ 207169 h 514350"/>
                <a:gd name="connsiteX1259" fmla="*/ 3940016 w 6400800"/>
                <a:gd name="connsiteY1259" fmla="*/ 205264 h 514350"/>
                <a:gd name="connsiteX1260" fmla="*/ 3939064 w 6400800"/>
                <a:gd name="connsiteY1260" fmla="*/ 206216 h 514350"/>
                <a:gd name="connsiteX1261" fmla="*/ 3936206 w 6400800"/>
                <a:gd name="connsiteY1261" fmla="*/ 197644 h 514350"/>
                <a:gd name="connsiteX1262" fmla="*/ 3937159 w 6400800"/>
                <a:gd name="connsiteY1262" fmla="*/ 208121 h 514350"/>
                <a:gd name="connsiteX1263" fmla="*/ 3929539 w 6400800"/>
                <a:gd name="connsiteY1263" fmla="*/ 216694 h 514350"/>
                <a:gd name="connsiteX1264" fmla="*/ 3925729 w 6400800"/>
                <a:gd name="connsiteY1264" fmla="*/ 197644 h 514350"/>
                <a:gd name="connsiteX1265" fmla="*/ 3916204 w 6400800"/>
                <a:gd name="connsiteY1265" fmla="*/ 158591 h 514350"/>
                <a:gd name="connsiteX1266" fmla="*/ 3912394 w 6400800"/>
                <a:gd name="connsiteY1266" fmla="*/ 144304 h 514350"/>
                <a:gd name="connsiteX1267" fmla="*/ 3915251 w 6400800"/>
                <a:gd name="connsiteY1267" fmla="*/ 139541 h 514350"/>
                <a:gd name="connsiteX1268" fmla="*/ 3935254 w 6400800"/>
                <a:gd name="connsiteY1268" fmla="*/ 110966 h 514350"/>
                <a:gd name="connsiteX1269" fmla="*/ 3912394 w 6400800"/>
                <a:gd name="connsiteY1269" fmla="*/ 136684 h 514350"/>
                <a:gd name="connsiteX1270" fmla="*/ 3910489 w 6400800"/>
                <a:gd name="connsiteY1270" fmla="*/ 138589 h 514350"/>
                <a:gd name="connsiteX1271" fmla="*/ 3906679 w 6400800"/>
                <a:gd name="connsiteY1271" fmla="*/ 128111 h 514350"/>
                <a:gd name="connsiteX1272" fmla="*/ 3898106 w 6400800"/>
                <a:gd name="connsiteY1272" fmla="*/ 102394 h 514350"/>
                <a:gd name="connsiteX1273" fmla="*/ 3902869 w 6400800"/>
                <a:gd name="connsiteY1273" fmla="*/ 129064 h 514350"/>
                <a:gd name="connsiteX1274" fmla="*/ 3905726 w 6400800"/>
                <a:gd name="connsiteY1274" fmla="*/ 143351 h 514350"/>
                <a:gd name="connsiteX1275" fmla="*/ 3905726 w 6400800"/>
                <a:gd name="connsiteY1275" fmla="*/ 143351 h 514350"/>
                <a:gd name="connsiteX1276" fmla="*/ 3887629 w 6400800"/>
                <a:gd name="connsiteY1276" fmla="*/ 167164 h 514350"/>
                <a:gd name="connsiteX1277" fmla="*/ 3866674 w 6400800"/>
                <a:gd name="connsiteY1277" fmla="*/ 195739 h 514350"/>
                <a:gd name="connsiteX1278" fmla="*/ 3862864 w 6400800"/>
                <a:gd name="connsiteY1278" fmla="*/ 182404 h 514350"/>
                <a:gd name="connsiteX1279" fmla="*/ 3854291 w 6400800"/>
                <a:gd name="connsiteY1279" fmla="*/ 155734 h 514350"/>
                <a:gd name="connsiteX1280" fmla="*/ 3859054 w 6400800"/>
                <a:gd name="connsiteY1280" fmla="*/ 183356 h 514350"/>
                <a:gd name="connsiteX1281" fmla="*/ 3862864 w 6400800"/>
                <a:gd name="connsiteY1281" fmla="*/ 202406 h 514350"/>
                <a:gd name="connsiteX1282" fmla="*/ 3858101 w 6400800"/>
                <a:gd name="connsiteY1282" fmla="*/ 209074 h 514350"/>
                <a:gd name="connsiteX1283" fmla="*/ 3853339 w 6400800"/>
                <a:gd name="connsiteY1283" fmla="*/ 216694 h 514350"/>
                <a:gd name="connsiteX1284" fmla="*/ 3849529 w 6400800"/>
                <a:gd name="connsiteY1284" fmla="*/ 195739 h 514350"/>
                <a:gd name="connsiteX1285" fmla="*/ 3852386 w 6400800"/>
                <a:gd name="connsiteY1285" fmla="*/ 178594 h 514350"/>
                <a:gd name="connsiteX1286" fmla="*/ 3855244 w 6400800"/>
                <a:gd name="connsiteY1286" fmla="*/ 158591 h 514350"/>
                <a:gd name="connsiteX1287" fmla="*/ 3848576 w 6400800"/>
                <a:gd name="connsiteY1287" fmla="*/ 177641 h 514350"/>
                <a:gd name="connsiteX1288" fmla="*/ 3841909 w 6400800"/>
                <a:gd name="connsiteY1288" fmla="*/ 199549 h 514350"/>
                <a:gd name="connsiteX1289" fmla="*/ 3838099 w 6400800"/>
                <a:gd name="connsiteY1289" fmla="*/ 212884 h 514350"/>
                <a:gd name="connsiteX1290" fmla="*/ 3835241 w 6400800"/>
                <a:gd name="connsiteY1290" fmla="*/ 225266 h 514350"/>
                <a:gd name="connsiteX1291" fmla="*/ 3834289 w 6400800"/>
                <a:gd name="connsiteY1291" fmla="*/ 222409 h 514350"/>
                <a:gd name="connsiteX1292" fmla="*/ 3825716 w 6400800"/>
                <a:gd name="connsiteY1292" fmla="*/ 209074 h 514350"/>
                <a:gd name="connsiteX1293" fmla="*/ 3809524 w 6400800"/>
                <a:gd name="connsiteY1293" fmla="*/ 184309 h 514350"/>
                <a:gd name="connsiteX1294" fmla="*/ 3821906 w 6400800"/>
                <a:gd name="connsiteY1294" fmla="*/ 210979 h 514350"/>
                <a:gd name="connsiteX1295" fmla="*/ 3828574 w 6400800"/>
                <a:gd name="connsiteY1295" fmla="*/ 224314 h 514350"/>
                <a:gd name="connsiteX1296" fmla="*/ 3832384 w 6400800"/>
                <a:gd name="connsiteY1296" fmla="*/ 234791 h 514350"/>
                <a:gd name="connsiteX1297" fmla="*/ 3828574 w 6400800"/>
                <a:gd name="connsiteY1297" fmla="*/ 254794 h 514350"/>
                <a:gd name="connsiteX1298" fmla="*/ 3825716 w 6400800"/>
                <a:gd name="connsiteY1298" fmla="*/ 259556 h 514350"/>
                <a:gd name="connsiteX1299" fmla="*/ 3820954 w 6400800"/>
                <a:gd name="connsiteY1299" fmla="*/ 269081 h 514350"/>
                <a:gd name="connsiteX1300" fmla="*/ 3820001 w 6400800"/>
                <a:gd name="connsiteY1300" fmla="*/ 267176 h 514350"/>
                <a:gd name="connsiteX1301" fmla="*/ 3804761 w 6400800"/>
                <a:gd name="connsiteY1301" fmla="*/ 249079 h 514350"/>
                <a:gd name="connsiteX1302" fmla="*/ 3817144 w 6400800"/>
                <a:gd name="connsiteY1302" fmla="*/ 270034 h 514350"/>
                <a:gd name="connsiteX1303" fmla="*/ 3819049 w 6400800"/>
                <a:gd name="connsiteY1303" fmla="*/ 272891 h 514350"/>
                <a:gd name="connsiteX1304" fmla="*/ 3806666 w 6400800"/>
                <a:gd name="connsiteY1304" fmla="*/ 294799 h 514350"/>
                <a:gd name="connsiteX1305" fmla="*/ 3806666 w 6400800"/>
                <a:gd name="connsiteY1305" fmla="*/ 294799 h 514350"/>
                <a:gd name="connsiteX1306" fmla="*/ 3803809 w 6400800"/>
                <a:gd name="connsiteY1306" fmla="*/ 290989 h 514350"/>
                <a:gd name="connsiteX1307" fmla="*/ 3802856 w 6400800"/>
                <a:gd name="connsiteY1307" fmla="*/ 287179 h 514350"/>
                <a:gd name="connsiteX1308" fmla="*/ 3799999 w 6400800"/>
                <a:gd name="connsiteY1308" fmla="*/ 276701 h 514350"/>
                <a:gd name="connsiteX1309" fmla="*/ 3795236 w 6400800"/>
                <a:gd name="connsiteY1309" fmla="*/ 260509 h 514350"/>
                <a:gd name="connsiteX1310" fmla="*/ 3790474 w 6400800"/>
                <a:gd name="connsiteY1310" fmla="*/ 246221 h 514350"/>
                <a:gd name="connsiteX1311" fmla="*/ 3791426 w 6400800"/>
                <a:gd name="connsiteY1311" fmla="*/ 260509 h 514350"/>
                <a:gd name="connsiteX1312" fmla="*/ 3792379 w 6400800"/>
                <a:gd name="connsiteY1312" fmla="*/ 273844 h 514350"/>
                <a:gd name="connsiteX1313" fmla="*/ 3787616 w 6400800"/>
                <a:gd name="connsiteY1313" fmla="*/ 268129 h 514350"/>
                <a:gd name="connsiteX1314" fmla="*/ 3777139 w 6400800"/>
                <a:gd name="connsiteY1314" fmla="*/ 255746 h 514350"/>
                <a:gd name="connsiteX1315" fmla="*/ 3773329 w 6400800"/>
                <a:gd name="connsiteY1315" fmla="*/ 246221 h 514350"/>
                <a:gd name="connsiteX1316" fmla="*/ 3764756 w 6400800"/>
                <a:gd name="connsiteY1316" fmla="*/ 224314 h 514350"/>
                <a:gd name="connsiteX1317" fmla="*/ 3769519 w 6400800"/>
                <a:gd name="connsiteY1317" fmla="*/ 247174 h 514350"/>
                <a:gd name="connsiteX1318" fmla="*/ 3776186 w 6400800"/>
                <a:gd name="connsiteY1318" fmla="*/ 273844 h 514350"/>
                <a:gd name="connsiteX1319" fmla="*/ 3781901 w 6400800"/>
                <a:gd name="connsiteY1319" fmla="*/ 299561 h 514350"/>
                <a:gd name="connsiteX1320" fmla="*/ 3760946 w 6400800"/>
                <a:gd name="connsiteY1320" fmla="*/ 234791 h 514350"/>
                <a:gd name="connsiteX1321" fmla="*/ 3755231 w 6400800"/>
                <a:gd name="connsiteY1321" fmla="*/ 218599 h 514350"/>
                <a:gd name="connsiteX1322" fmla="*/ 3759041 w 6400800"/>
                <a:gd name="connsiteY1322" fmla="*/ 211931 h 514350"/>
                <a:gd name="connsiteX1323" fmla="*/ 3754279 w 6400800"/>
                <a:gd name="connsiteY1323" fmla="*/ 217646 h 514350"/>
                <a:gd name="connsiteX1324" fmla="*/ 3750469 w 6400800"/>
                <a:gd name="connsiteY1324" fmla="*/ 208121 h 514350"/>
                <a:gd name="connsiteX1325" fmla="*/ 3752374 w 6400800"/>
                <a:gd name="connsiteY1325" fmla="*/ 197644 h 514350"/>
                <a:gd name="connsiteX1326" fmla="*/ 3748564 w 6400800"/>
                <a:gd name="connsiteY1326" fmla="*/ 205264 h 514350"/>
                <a:gd name="connsiteX1327" fmla="*/ 3734276 w 6400800"/>
                <a:gd name="connsiteY1327" fmla="*/ 167164 h 514350"/>
                <a:gd name="connsiteX1328" fmla="*/ 3742849 w 6400800"/>
                <a:gd name="connsiteY1328" fmla="*/ 217646 h 514350"/>
                <a:gd name="connsiteX1329" fmla="*/ 3736181 w 6400800"/>
                <a:gd name="connsiteY1329" fmla="*/ 236696 h 514350"/>
                <a:gd name="connsiteX1330" fmla="*/ 3735229 w 6400800"/>
                <a:gd name="connsiteY1330" fmla="*/ 238601 h 514350"/>
                <a:gd name="connsiteX1331" fmla="*/ 3730466 w 6400800"/>
                <a:gd name="connsiteY1331" fmla="*/ 245269 h 514350"/>
                <a:gd name="connsiteX1332" fmla="*/ 3726656 w 6400800"/>
                <a:gd name="connsiteY1332" fmla="*/ 236696 h 514350"/>
                <a:gd name="connsiteX1333" fmla="*/ 3726656 w 6400800"/>
                <a:gd name="connsiteY1333" fmla="*/ 232886 h 514350"/>
                <a:gd name="connsiteX1334" fmla="*/ 3725704 w 6400800"/>
                <a:gd name="connsiteY1334" fmla="*/ 214789 h 514350"/>
                <a:gd name="connsiteX1335" fmla="*/ 3722846 w 6400800"/>
                <a:gd name="connsiteY1335" fmla="*/ 230029 h 514350"/>
                <a:gd name="connsiteX1336" fmla="*/ 3721894 w 6400800"/>
                <a:gd name="connsiteY1336" fmla="*/ 229076 h 514350"/>
                <a:gd name="connsiteX1337" fmla="*/ 3721894 w 6400800"/>
                <a:gd name="connsiteY1337" fmla="*/ 229076 h 514350"/>
                <a:gd name="connsiteX1338" fmla="*/ 3725704 w 6400800"/>
                <a:gd name="connsiteY1338" fmla="*/ 190976 h 514350"/>
                <a:gd name="connsiteX1339" fmla="*/ 3727609 w 6400800"/>
                <a:gd name="connsiteY1339" fmla="*/ 172879 h 514350"/>
                <a:gd name="connsiteX1340" fmla="*/ 3730466 w 6400800"/>
                <a:gd name="connsiteY1340" fmla="*/ 155734 h 514350"/>
                <a:gd name="connsiteX1341" fmla="*/ 3734276 w 6400800"/>
                <a:gd name="connsiteY1341" fmla="*/ 128111 h 514350"/>
                <a:gd name="connsiteX1342" fmla="*/ 3737134 w 6400800"/>
                <a:gd name="connsiteY1342" fmla="*/ 104299 h 514350"/>
                <a:gd name="connsiteX1343" fmla="*/ 3730466 w 6400800"/>
                <a:gd name="connsiteY1343" fmla="*/ 127159 h 514350"/>
                <a:gd name="connsiteX1344" fmla="*/ 3722846 w 6400800"/>
                <a:gd name="connsiteY1344" fmla="*/ 153829 h 514350"/>
                <a:gd name="connsiteX1345" fmla="*/ 3718084 w 6400800"/>
                <a:gd name="connsiteY1345" fmla="*/ 170021 h 514350"/>
                <a:gd name="connsiteX1346" fmla="*/ 3714274 w 6400800"/>
                <a:gd name="connsiteY1346" fmla="*/ 188119 h 514350"/>
                <a:gd name="connsiteX1347" fmla="*/ 3710464 w 6400800"/>
                <a:gd name="connsiteY1347" fmla="*/ 208121 h 514350"/>
                <a:gd name="connsiteX1348" fmla="*/ 3710464 w 6400800"/>
                <a:gd name="connsiteY1348" fmla="*/ 207169 h 514350"/>
                <a:gd name="connsiteX1349" fmla="*/ 3691414 w 6400800"/>
                <a:gd name="connsiteY1349" fmla="*/ 174784 h 514350"/>
                <a:gd name="connsiteX1350" fmla="*/ 3677126 w 6400800"/>
                <a:gd name="connsiteY1350" fmla="*/ 150971 h 514350"/>
                <a:gd name="connsiteX1351" fmla="*/ 3678079 w 6400800"/>
                <a:gd name="connsiteY1351" fmla="*/ 137636 h 514350"/>
                <a:gd name="connsiteX1352" fmla="*/ 3675221 w 6400800"/>
                <a:gd name="connsiteY1352" fmla="*/ 149066 h 514350"/>
                <a:gd name="connsiteX1353" fmla="*/ 3674269 w 6400800"/>
                <a:gd name="connsiteY1353" fmla="*/ 147161 h 514350"/>
                <a:gd name="connsiteX1354" fmla="*/ 3675221 w 6400800"/>
                <a:gd name="connsiteY1354" fmla="*/ 150019 h 514350"/>
                <a:gd name="connsiteX1355" fmla="*/ 3672364 w 6400800"/>
                <a:gd name="connsiteY1355" fmla="*/ 164306 h 514350"/>
                <a:gd name="connsiteX1356" fmla="*/ 3665696 w 6400800"/>
                <a:gd name="connsiteY1356" fmla="*/ 194786 h 514350"/>
                <a:gd name="connsiteX1357" fmla="*/ 3662839 w 6400800"/>
                <a:gd name="connsiteY1357" fmla="*/ 209074 h 514350"/>
                <a:gd name="connsiteX1358" fmla="*/ 3661886 w 6400800"/>
                <a:gd name="connsiteY1358" fmla="*/ 210026 h 514350"/>
                <a:gd name="connsiteX1359" fmla="*/ 3658076 w 6400800"/>
                <a:gd name="connsiteY1359" fmla="*/ 216694 h 514350"/>
                <a:gd name="connsiteX1360" fmla="*/ 3658076 w 6400800"/>
                <a:gd name="connsiteY1360" fmla="*/ 174784 h 514350"/>
                <a:gd name="connsiteX1361" fmla="*/ 3645694 w 6400800"/>
                <a:gd name="connsiteY1361" fmla="*/ 239554 h 514350"/>
                <a:gd name="connsiteX1362" fmla="*/ 3644741 w 6400800"/>
                <a:gd name="connsiteY1362" fmla="*/ 246221 h 514350"/>
                <a:gd name="connsiteX1363" fmla="*/ 3643789 w 6400800"/>
                <a:gd name="connsiteY1363" fmla="*/ 249079 h 514350"/>
                <a:gd name="connsiteX1364" fmla="*/ 3640931 w 6400800"/>
                <a:gd name="connsiteY1364" fmla="*/ 259556 h 514350"/>
                <a:gd name="connsiteX1365" fmla="*/ 3633311 w 6400800"/>
                <a:gd name="connsiteY1365" fmla="*/ 243364 h 514350"/>
                <a:gd name="connsiteX1366" fmla="*/ 3639979 w 6400800"/>
                <a:gd name="connsiteY1366" fmla="*/ 265271 h 514350"/>
                <a:gd name="connsiteX1367" fmla="*/ 3637121 w 6400800"/>
                <a:gd name="connsiteY1367" fmla="*/ 275749 h 514350"/>
                <a:gd name="connsiteX1368" fmla="*/ 3627596 w 6400800"/>
                <a:gd name="connsiteY1368" fmla="*/ 261461 h 514350"/>
                <a:gd name="connsiteX1369" fmla="*/ 3635216 w 6400800"/>
                <a:gd name="connsiteY1369" fmla="*/ 280511 h 514350"/>
                <a:gd name="connsiteX1370" fmla="*/ 3635216 w 6400800"/>
                <a:gd name="connsiteY1370" fmla="*/ 281464 h 514350"/>
                <a:gd name="connsiteX1371" fmla="*/ 3630454 w 6400800"/>
                <a:gd name="connsiteY1371" fmla="*/ 309086 h 514350"/>
                <a:gd name="connsiteX1372" fmla="*/ 3627596 w 6400800"/>
                <a:gd name="connsiteY1372" fmla="*/ 332899 h 514350"/>
                <a:gd name="connsiteX1373" fmla="*/ 3620929 w 6400800"/>
                <a:gd name="connsiteY1373" fmla="*/ 312896 h 514350"/>
                <a:gd name="connsiteX1374" fmla="*/ 3620929 w 6400800"/>
                <a:gd name="connsiteY1374" fmla="*/ 309086 h 514350"/>
                <a:gd name="connsiteX1375" fmla="*/ 3619976 w 6400800"/>
                <a:gd name="connsiteY1375" fmla="*/ 310991 h 514350"/>
                <a:gd name="connsiteX1376" fmla="*/ 3619024 w 6400800"/>
                <a:gd name="connsiteY1376" fmla="*/ 308134 h 514350"/>
                <a:gd name="connsiteX1377" fmla="*/ 3622834 w 6400800"/>
                <a:gd name="connsiteY1377" fmla="*/ 272891 h 514350"/>
                <a:gd name="connsiteX1378" fmla="*/ 3626644 w 6400800"/>
                <a:gd name="connsiteY1378" fmla="*/ 221456 h 514350"/>
                <a:gd name="connsiteX1379" fmla="*/ 3630454 w 6400800"/>
                <a:gd name="connsiteY1379" fmla="*/ 211931 h 514350"/>
                <a:gd name="connsiteX1380" fmla="*/ 3626644 w 6400800"/>
                <a:gd name="connsiteY1380" fmla="*/ 216694 h 514350"/>
                <a:gd name="connsiteX1381" fmla="*/ 3626644 w 6400800"/>
                <a:gd name="connsiteY1381" fmla="*/ 214789 h 514350"/>
                <a:gd name="connsiteX1382" fmla="*/ 3626644 w 6400800"/>
                <a:gd name="connsiteY1382" fmla="*/ 192881 h 514350"/>
                <a:gd name="connsiteX1383" fmla="*/ 3622834 w 6400800"/>
                <a:gd name="connsiteY1383" fmla="*/ 214789 h 514350"/>
                <a:gd name="connsiteX1384" fmla="*/ 3620929 w 6400800"/>
                <a:gd name="connsiteY1384" fmla="*/ 226219 h 514350"/>
                <a:gd name="connsiteX1385" fmla="*/ 3620929 w 6400800"/>
                <a:gd name="connsiteY1385" fmla="*/ 227171 h 514350"/>
                <a:gd name="connsiteX1386" fmla="*/ 3609499 w 6400800"/>
                <a:gd name="connsiteY1386" fmla="*/ 243364 h 514350"/>
                <a:gd name="connsiteX1387" fmla="*/ 3603784 w 6400800"/>
                <a:gd name="connsiteY1387" fmla="*/ 251936 h 514350"/>
                <a:gd name="connsiteX1388" fmla="*/ 3613309 w 6400800"/>
                <a:gd name="connsiteY1388" fmla="*/ 225266 h 514350"/>
                <a:gd name="connsiteX1389" fmla="*/ 3619024 w 6400800"/>
                <a:gd name="connsiteY1389" fmla="*/ 208121 h 514350"/>
                <a:gd name="connsiteX1390" fmla="*/ 3624739 w 6400800"/>
                <a:gd name="connsiteY1390" fmla="*/ 192881 h 514350"/>
                <a:gd name="connsiteX1391" fmla="*/ 3634264 w 6400800"/>
                <a:gd name="connsiteY1391" fmla="*/ 168116 h 514350"/>
                <a:gd name="connsiteX1392" fmla="*/ 3642836 w 6400800"/>
                <a:gd name="connsiteY1392" fmla="*/ 146209 h 514350"/>
                <a:gd name="connsiteX1393" fmla="*/ 3631406 w 6400800"/>
                <a:gd name="connsiteY1393" fmla="*/ 166211 h 514350"/>
                <a:gd name="connsiteX1394" fmla="*/ 3618071 w 6400800"/>
                <a:gd name="connsiteY1394" fmla="*/ 189071 h 514350"/>
                <a:gd name="connsiteX1395" fmla="*/ 3610451 w 6400800"/>
                <a:gd name="connsiteY1395" fmla="*/ 203359 h 514350"/>
                <a:gd name="connsiteX1396" fmla="*/ 3602831 w 6400800"/>
                <a:gd name="connsiteY1396" fmla="*/ 219551 h 514350"/>
                <a:gd name="connsiteX1397" fmla="*/ 3588544 w 6400800"/>
                <a:gd name="connsiteY1397" fmla="*/ 250031 h 514350"/>
                <a:gd name="connsiteX1398" fmla="*/ 3588544 w 6400800"/>
                <a:gd name="connsiteY1398" fmla="*/ 242411 h 514350"/>
                <a:gd name="connsiteX1399" fmla="*/ 3585686 w 6400800"/>
                <a:gd name="connsiteY1399" fmla="*/ 256699 h 514350"/>
                <a:gd name="connsiteX1400" fmla="*/ 3585686 w 6400800"/>
                <a:gd name="connsiteY1400" fmla="*/ 257651 h 514350"/>
                <a:gd name="connsiteX1401" fmla="*/ 3579971 w 6400800"/>
                <a:gd name="connsiteY1401" fmla="*/ 270986 h 514350"/>
                <a:gd name="connsiteX1402" fmla="*/ 3573304 w 6400800"/>
                <a:gd name="connsiteY1402" fmla="*/ 282416 h 514350"/>
                <a:gd name="connsiteX1403" fmla="*/ 3568541 w 6400800"/>
                <a:gd name="connsiteY1403" fmla="*/ 263366 h 514350"/>
                <a:gd name="connsiteX1404" fmla="*/ 3564731 w 6400800"/>
                <a:gd name="connsiteY1404" fmla="*/ 248126 h 514350"/>
                <a:gd name="connsiteX1405" fmla="*/ 3564731 w 6400800"/>
                <a:gd name="connsiteY1405" fmla="*/ 248126 h 514350"/>
                <a:gd name="connsiteX1406" fmla="*/ 3562826 w 6400800"/>
                <a:gd name="connsiteY1406" fmla="*/ 237649 h 514350"/>
                <a:gd name="connsiteX1407" fmla="*/ 3561874 w 6400800"/>
                <a:gd name="connsiteY1407" fmla="*/ 233839 h 514350"/>
                <a:gd name="connsiteX1408" fmla="*/ 3566636 w 6400800"/>
                <a:gd name="connsiteY1408" fmla="*/ 227171 h 514350"/>
                <a:gd name="connsiteX1409" fmla="*/ 3561874 w 6400800"/>
                <a:gd name="connsiteY1409" fmla="*/ 230981 h 514350"/>
                <a:gd name="connsiteX1410" fmla="*/ 3559016 w 6400800"/>
                <a:gd name="connsiteY1410" fmla="*/ 218599 h 514350"/>
                <a:gd name="connsiteX1411" fmla="*/ 3559016 w 6400800"/>
                <a:gd name="connsiteY1411" fmla="*/ 231934 h 514350"/>
                <a:gd name="connsiteX1412" fmla="*/ 3554254 w 6400800"/>
                <a:gd name="connsiteY1412" fmla="*/ 220504 h 514350"/>
                <a:gd name="connsiteX1413" fmla="*/ 3569494 w 6400800"/>
                <a:gd name="connsiteY1413" fmla="*/ 197644 h 514350"/>
                <a:gd name="connsiteX1414" fmla="*/ 3585686 w 6400800"/>
                <a:gd name="connsiteY1414" fmla="*/ 174784 h 514350"/>
                <a:gd name="connsiteX1415" fmla="*/ 3600926 w 6400800"/>
                <a:gd name="connsiteY1415" fmla="*/ 154781 h 514350"/>
                <a:gd name="connsiteX1416" fmla="*/ 3582829 w 6400800"/>
                <a:gd name="connsiteY1416" fmla="*/ 171926 h 514350"/>
                <a:gd name="connsiteX1417" fmla="*/ 3562826 w 6400800"/>
                <a:gd name="connsiteY1417" fmla="*/ 192881 h 514350"/>
                <a:gd name="connsiteX1418" fmla="*/ 3549491 w 6400800"/>
                <a:gd name="connsiteY1418" fmla="*/ 209074 h 514350"/>
                <a:gd name="connsiteX1419" fmla="*/ 3542824 w 6400800"/>
                <a:gd name="connsiteY1419" fmla="*/ 193834 h 514350"/>
                <a:gd name="connsiteX1420" fmla="*/ 3546634 w 6400800"/>
                <a:gd name="connsiteY1420" fmla="*/ 212884 h 514350"/>
                <a:gd name="connsiteX1421" fmla="*/ 3539966 w 6400800"/>
                <a:gd name="connsiteY1421" fmla="*/ 222409 h 514350"/>
                <a:gd name="connsiteX1422" fmla="*/ 3539014 w 6400800"/>
                <a:gd name="connsiteY1422" fmla="*/ 223361 h 514350"/>
                <a:gd name="connsiteX1423" fmla="*/ 3539014 w 6400800"/>
                <a:gd name="connsiteY1423" fmla="*/ 210979 h 514350"/>
                <a:gd name="connsiteX1424" fmla="*/ 3539014 w 6400800"/>
                <a:gd name="connsiteY1424" fmla="*/ 184309 h 514350"/>
                <a:gd name="connsiteX1425" fmla="*/ 3539014 w 6400800"/>
                <a:gd name="connsiteY1425" fmla="*/ 173831 h 514350"/>
                <a:gd name="connsiteX1426" fmla="*/ 3540919 w 6400800"/>
                <a:gd name="connsiteY1426" fmla="*/ 170021 h 514350"/>
                <a:gd name="connsiteX1427" fmla="*/ 3539014 w 6400800"/>
                <a:gd name="connsiteY1427" fmla="*/ 172879 h 514350"/>
                <a:gd name="connsiteX1428" fmla="*/ 3539014 w 6400800"/>
                <a:gd name="connsiteY1428" fmla="*/ 162401 h 514350"/>
                <a:gd name="connsiteX1429" fmla="*/ 3537109 w 6400800"/>
                <a:gd name="connsiteY1429" fmla="*/ 176689 h 514350"/>
                <a:gd name="connsiteX1430" fmla="*/ 3527584 w 6400800"/>
                <a:gd name="connsiteY1430" fmla="*/ 190976 h 514350"/>
                <a:gd name="connsiteX1431" fmla="*/ 3511391 w 6400800"/>
                <a:gd name="connsiteY1431" fmla="*/ 214789 h 514350"/>
                <a:gd name="connsiteX1432" fmla="*/ 3510439 w 6400800"/>
                <a:gd name="connsiteY1432" fmla="*/ 215741 h 514350"/>
                <a:gd name="connsiteX1433" fmla="*/ 3508534 w 6400800"/>
                <a:gd name="connsiteY1433" fmla="*/ 201454 h 514350"/>
                <a:gd name="connsiteX1434" fmla="*/ 3505676 w 6400800"/>
                <a:gd name="connsiteY1434" fmla="*/ 180499 h 514350"/>
                <a:gd name="connsiteX1435" fmla="*/ 3504724 w 6400800"/>
                <a:gd name="connsiteY1435" fmla="*/ 202406 h 514350"/>
                <a:gd name="connsiteX1436" fmla="*/ 3503771 w 6400800"/>
                <a:gd name="connsiteY1436" fmla="*/ 226219 h 514350"/>
                <a:gd name="connsiteX1437" fmla="*/ 3500914 w 6400800"/>
                <a:gd name="connsiteY1437" fmla="*/ 230981 h 514350"/>
                <a:gd name="connsiteX1438" fmla="*/ 3491389 w 6400800"/>
                <a:gd name="connsiteY1438" fmla="*/ 247174 h 514350"/>
                <a:gd name="connsiteX1439" fmla="*/ 3483769 w 6400800"/>
                <a:gd name="connsiteY1439" fmla="*/ 230029 h 514350"/>
                <a:gd name="connsiteX1440" fmla="*/ 3469481 w 6400800"/>
                <a:gd name="connsiteY1440" fmla="*/ 200501 h 514350"/>
                <a:gd name="connsiteX1441" fmla="*/ 3471386 w 6400800"/>
                <a:gd name="connsiteY1441" fmla="*/ 190976 h 514350"/>
                <a:gd name="connsiteX1442" fmla="*/ 3477101 w 6400800"/>
                <a:gd name="connsiteY1442" fmla="*/ 167164 h 514350"/>
                <a:gd name="connsiteX1443" fmla="*/ 3482816 w 6400800"/>
                <a:gd name="connsiteY1443" fmla="*/ 146209 h 514350"/>
                <a:gd name="connsiteX1444" fmla="*/ 3492341 w 6400800"/>
                <a:gd name="connsiteY1444" fmla="*/ 111919 h 514350"/>
                <a:gd name="connsiteX1445" fmla="*/ 3499961 w 6400800"/>
                <a:gd name="connsiteY1445" fmla="*/ 82391 h 514350"/>
                <a:gd name="connsiteX1446" fmla="*/ 3488531 w 6400800"/>
                <a:gd name="connsiteY1446" fmla="*/ 110966 h 514350"/>
                <a:gd name="connsiteX1447" fmla="*/ 3476149 w 6400800"/>
                <a:gd name="connsiteY1447" fmla="*/ 144304 h 514350"/>
                <a:gd name="connsiteX1448" fmla="*/ 3468529 w 6400800"/>
                <a:gd name="connsiteY1448" fmla="*/ 164306 h 514350"/>
                <a:gd name="connsiteX1449" fmla="*/ 3461861 w 6400800"/>
                <a:gd name="connsiteY1449" fmla="*/ 185261 h 514350"/>
                <a:gd name="connsiteX1450" fmla="*/ 3452336 w 6400800"/>
                <a:gd name="connsiteY1450" fmla="*/ 168116 h 514350"/>
                <a:gd name="connsiteX1451" fmla="*/ 3460909 w 6400800"/>
                <a:gd name="connsiteY1451" fmla="*/ 189071 h 514350"/>
                <a:gd name="connsiteX1452" fmla="*/ 3450431 w 6400800"/>
                <a:gd name="connsiteY1452" fmla="*/ 225266 h 514350"/>
                <a:gd name="connsiteX1453" fmla="*/ 3441859 w 6400800"/>
                <a:gd name="connsiteY1453" fmla="*/ 210026 h 514350"/>
                <a:gd name="connsiteX1454" fmla="*/ 3442811 w 6400800"/>
                <a:gd name="connsiteY1454" fmla="*/ 208121 h 514350"/>
                <a:gd name="connsiteX1455" fmla="*/ 3445669 w 6400800"/>
                <a:gd name="connsiteY1455" fmla="*/ 190976 h 514350"/>
                <a:gd name="connsiteX1456" fmla="*/ 3439001 w 6400800"/>
                <a:gd name="connsiteY1456" fmla="*/ 205264 h 514350"/>
                <a:gd name="connsiteX1457" fmla="*/ 3439001 w 6400800"/>
                <a:gd name="connsiteY1457" fmla="*/ 205264 h 514350"/>
                <a:gd name="connsiteX1458" fmla="*/ 3438049 w 6400800"/>
                <a:gd name="connsiteY1458" fmla="*/ 165259 h 514350"/>
                <a:gd name="connsiteX1459" fmla="*/ 3437096 w 6400800"/>
                <a:gd name="connsiteY1459" fmla="*/ 135731 h 514350"/>
                <a:gd name="connsiteX1460" fmla="*/ 3435191 w 6400800"/>
                <a:gd name="connsiteY1460" fmla="*/ 112871 h 514350"/>
                <a:gd name="connsiteX1461" fmla="*/ 3433286 w 6400800"/>
                <a:gd name="connsiteY1461" fmla="*/ 92869 h 514350"/>
                <a:gd name="connsiteX1462" fmla="*/ 3431381 w 6400800"/>
                <a:gd name="connsiteY1462" fmla="*/ 112871 h 514350"/>
                <a:gd name="connsiteX1463" fmla="*/ 3428524 w 6400800"/>
                <a:gd name="connsiteY1463" fmla="*/ 149066 h 514350"/>
                <a:gd name="connsiteX1464" fmla="*/ 3428524 w 6400800"/>
                <a:gd name="connsiteY1464" fmla="*/ 150019 h 514350"/>
                <a:gd name="connsiteX1465" fmla="*/ 3426619 w 6400800"/>
                <a:gd name="connsiteY1465" fmla="*/ 131921 h 514350"/>
                <a:gd name="connsiteX1466" fmla="*/ 3423761 w 6400800"/>
                <a:gd name="connsiteY1466" fmla="*/ 113824 h 514350"/>
                <a:gd name="connsiteX1467" fmla="*/ 3422809 w 6400800"/>
                <a:gd name="connsiteY1467" fmla="*/ 131921 h 514350"/>
                <a:gd name="connsiteX1468" fmla="*/ 3420904 w 6400800"/>
                <a:gd name="connsiteY1468" fmla="*/ 174784 h 514350"/>
                <a:gd name="connsiteX1469" fmla="*/ 3412331 w 6400800"/>
                <a:gd name="connsiteY1469" fmla="*/ 162401 h 514350"/>
                <a:gd name="connsiteX1470" fmla="*/ 3398044 w 6400800"/>
                <a:gd name="connsiteY1470" fmla="*/ 141446 h 514350"/>
                <a:gd name="connsiteX1471" fmla="*/ 3401854 w 6400800"/>
                <a:gd name="connsiteY1471" fmla="*/ 123349 h 514350"/>
                <a:gd name="connsiteX1472" fmla="*/ 3396139 w 6400800"/>
                <a:gd name="connsiteY1472" fmla="*/ 139541 h 514350"/>
                <a:gd name="connsiteX1473" fmla="*/ 3391376 w 6400800"/>
                <a:gd name="connsiteY1473" fmla="*/ 132874 h 514350"/>
                <a:gd name="connsiteX1474" fmla="*/ 3395186 w 6400800"/>
                <a:gd name="connsiteY1474" fmla="*/ 139541 h 514350"/>
                <a:gd name="connsiteX1475" fmla="*/ 3395186 w 6400800"/>
                <a:gd name="connsiteY1475" fmla="*/ 141446 h 514350"/>
                <a:gd name="connsiteX1476" fmla="*/ 3382804 w 6400800"/>
                <a:gd name="connsiteY1476" fmla="*/ 177641 h 514350"/>
                <a:gd name="connsiteX1477" fmla="*/ 3382804 w 6400800"/>
                <a:gd name="connsiteY1477" fmla="*/ 172879 h 514350"/>
                <a:gd name="connsiteX1478" fmla="*/ 3381851 w 6400800"/>
                <a:gd name="connsiteY1478" fmla="*/ 150971 h 514350"/>
                <a:gd name="connsiteX1479" fmla="*/ 3378994 w 6400800"/>
                <a:gd name="connsiteY1479" fmla="*/ 172879 h 514350"/>
                <a:gd name="connsiteX1480" fmla="*/ 3376136 w 6400800"/>
                <a:gd name="connsiteY1480" fmla="*/ 197644 h 514350"/>
                <a:gd name="connsiteX1481" fmla="*/ 3365659 w 6400800"/>
                <a:gd name="connsiteY1481" fmla="*/ 234791 h 514350"/>
                <a:gd name="connsiteX1482" fmla="*/ 3358991 w 6400800"/>
                <a:gd name="connsiteY1482" fmla="*/ 253841 h 514350"/>
                <a:gd name="connsiteX1483" fmla="*/ 3358039 w 6400800"/>
                <a:gd name="connsiteY1483" fmla="*/ 257651 h 514350"/>
                <a:gd name="connsiteX1484" fmla="*/ 3351371 w 6400800"/>
                <a:gd name="connsiteY1484" fmla="*/ 239554 h 514350"/>
                <a:gd name="connsiteX1485" fmla="*/ 3351371 w 6400800"/>
                <a:gd name="connsiteY1485" fmla="*/ 237649 h 514350"/>
                <a:gd name="connsiteX1486" fmla="*/ 3351371 w 6400800"/>
                <a:gd name="connsiteY1486" fmla="*/ 238601 h 514350"/>
                <a:gd name="connsiteX1487" fmla="*/ 3344704 w 6400800"/>
                <a:gd name="connsiteY1487" fmla="*/ 221456 h 514350"/>
                <a:gd name="connsiteX1488" fmla="*/ 3349466 w 6400800"/>
                <a:gd name="connsiteY1488" fmla="*/ 248126 h 514350"/>
                <a:gd name="connsiteX1489" fmla="*/ 3347561 w 6400800"/>
                <a:gd name="connsiteY1489" fmla="*/ 265271 h 514350"/>
                <a:gd name="connsiteX1490" fmla="*/ 3345656 w 6400800"/>
                <a:gd name="connsiteY1490" fmla="*/ 283369 h 514350"/>
                <a:gd name="connsiteX1491" fmla="*/ 3343751 w 6400800"/>
                <a:gd name="connsiteY1491" fmla="*/ 287179 h 514350"/>
                <a:gd name="connsiteX1492" fmla="*/ 3339941 w 6400800"/>
                <a:gd name="connsiteY1492" fmla="*/ 274796 h 514350"/>
                <a:gd name="connsiteX1493" fmla="*/ 3325654 w 6400800"/>
                <a:gd name="connsiteY1493" fmla="*/ 231934 h 514350"/>
                <a:gd name="connsiteX1494" fmla="*/ 3328511 w 6400800"/>
                <a:gd name="connsiteY1494" fmla="*/ 216694 h 514350"/>
                <a:gd name="connsiteX1495" fmla="*/ 3338036 w 6400800"/>
                <a:gd name="connsiteY1495" fmla="*/ 170974 h 514350"/>
                <a:gd name="connsiteX1496" fmla="*/ 3346609 w 6400800"/>
                <a:gd name="connsiteY1496" fmla="*/ 136684 h 514350"/>
                <a:gd name="connsiteX1497" fmla="*/ 3355181 w 6400800"/>
                <a:gd name="connsiteY1497" fmla="*/ 106204 h 514350"/>
                <a:gd name="connsiteX1498" fmla="*/ 3342799 w 6400800"/>
                <a:gd name="connsiteY1498" fmla="*/ 134779 h 514350"/>
                <a:gd name="connsiteX1499" fmla="*/ 3330416 w 6400800"/>
                <a:gd name="connsiteY1499" fmla="*/ 169069 h 514350"/>
                <a:gd name="connsiteX1500" fmla="*/ 3318986 w 6400800"/>
                <a:gd name="connsiteY1500" fmla="*/ 208121 h 514350"/>
                <a:gd name="connsiteX1501" fmla="*/ 3318986 w 6400800"/>
                <a:gd name="connsiteY1501" fmla="*/ 203359 h 514350"/>
                <a:gd name="connsiteX1502" fmla="*/ 3320891 w 6400800"/>
                <a:gd name="connsiteY1502" fmla="*/ 195739 h 514350"/>
                <a:gd name="connsiteX1503" fmla="*/ 3327559 w 6400800"/>
                <a:gd name="connsiteY1503" fmla="*/ 170021 h 514350"/>
                <a:gd name="connsiteX1504" fmla="*/ 3332321 w 6400800"/>
                <a:gd name="connsiteY1504" fmla="*/ 147161 h 514350"/>
                <a:gd name="connsiteX1505" fmla="*/ 3323749 w 6400800"/>
                <a:gd name="connsiteY1505" fmla="*/ 169069 h 514350"/>
                <a:gd name="connsiteX1506" fmla="*/ 3322796 w 6400800"/>
                <a:gd name="connsiteY1506" fmla="*/ 171926 h 514350"/>
                <a:gd name="connsiteX1507" fmla="*/ 3323749 w 6400800"/>
                <a:gd name="connsiteY1507" fmla="*/ 165259 h 514350"/>
                <a:gd name="connsiteX1508" fmla="*/ 3328511 w 6400800"/>
                <a:gd name="connsiteY1508" fmla="*/ 147161 h 514350"/>
                <a:gd name="connsiteX1509" fmla="*/ 3336131 w 6400800"/>
                <a:gd name="connsiteY1509" fmla="*/ 116681 h 514350"/>
                <a:gd name="connsiteX1510" fmla="*/ 3341846 w 6400800"/>
                <a:gd name="connsiteY1510" fmla="*/ 90011 h 514350"/>
                <a:gd name="connsiteX1511" fmla="*/ 3332321 w 6400800"/>
                <a:gd name="connsiteY1511" fmla="*/ 114776 h 514350"/>
                <a:gd name="connsiteX1512" fmla="*/ 3321844 w 6400800"/>
                <a:gd name="connsiteY1512" fmla="*/ 143351 h 514350"/>
                <a:gd name="connsiteX1513" fmla="*/ 3315176 w 6400800"/>
                <a:gd name="connsiteY1513" fmla="*/ 161449 h 514350"/>
                <a:gd name="connsiteX1514" fmla="*/ 3308509 w 6400800"/>
                <a:gd name="connsiteY1514" fmla="*/ 181451 h 514350"/>
                <a:gd name="connsiteX1515" fmla="*/ 3308509 w 6400800"/>
                <a:gd name="connsiteY1515" fmla="*/ 181451 h 514350"/>
                <a:gd name="connsiteX1516" fmla="*/ 3306604 w 6400800"/>
                <a:gd name="connsiteY1516" fmla="*/ 176689 h 514350"/>
                <a:gd name="connsiteX1517" fmla="*/ 3292316 w 6400800"/>
                <a:gd name="connsiteY1517" fmla="*/ 140494 h 514350"/>
                <a:gd name="connsiteX1518" fmla="*/ 3305651 w 6400800"/>
                <a:gd name="connsiteY1518" fmla="*/ 189071 h 514350"/>
                <a:gd name="connsiteX1519" fmla="*/ 3294221 w 6400800"/>
                <a:gd name="connsiteY1519" fmla="*/ 227171 h 514350"/>
                <a:gd name="connsiteX1520" fmla="*/ 3293269 w 6400800"/>
                <a:gd name="connsiteY1520" fmla="*/ 230981 h 514350"/>
                <a:gd name="connsiteX1521" fmla="*/ 3292316 w 6400800"/>
                <a:gd name="connsiteY1521" fmla="*/ 229076 h 514350"/>
                <a:gd name="connsiteX1522" fmla="*/ 3277076 w 6400800"/>
                <a:gd name="connsiteY1522" fmla="*/ 197644 h 514350"/>
                <a:gd name="connsiteX1523" fmla="*/ 3291364 w 6400800"/>
                <a:gd name="connsiteY1523" fmla="*/ 237649 h 514350"/>
                <a:gd name="connsiteX1524" fmla="*/ 3285649 w 6400800"/>
                <a:gd name="connsiteY1524" fmla="*/ 257651 h 514350"/>
                <a:gd name="connsiteX1525" fmla="*/ 3277076 w 6400800"/>
                <a:gd name="connsiteY1525" fmla="*/ 246221 h 514350"/>
                <a:gd name="connsiteX1526" fmla="*/ 3274219 w 6400800"/>
                <a:gd name="connsiteY1526" fmla="*/ 242411 h 514350"/>
                <a:gd name="connsiteX1527" fmla="*/ 3277076 w 6400800"/>
                <a:gd name="connsiteY1527" fmla="*/ 199549 h 514350"/>
                <a:gd name="connsiteX1528" fmla="*/ 3272314 w 6400800"/>
                <a:gd name="connsiteY1528" fmla="*/ 217646 h 514350"/>
                <a:gd name="connsiteX1529" fmla="*/ 3268504 w 6400800"/>
                <a:gd name="connsiteY1529" fmla="*/ 234791 h 514350"/>
                <a:gd name="connsiteX1530" fmla="*/ 3258979 w 6400800"/>
                <a:gd name="connsiteY1530" fmla="*/ 223361 h 514350"/>
                <a:gd name="connsiteX1531" fmla="*/ 3241834 w 6400800"/>
                <a:gd name="connsiteY1531" fmla="*/ 203359 h 514350"/>
                <a:gd name="connsiteX1532" fmla="*/ 3256121 w 6400800"/>
                <a:gd name="connsiteY1532" fmla="*/ 226219 h 514350"/>
                <a:gd name="connsiteX1533" fmla="*/ 3266599 w 6400800"/>
                <a:gd name="connsiteY1533" fmla="*/ 243364 h 514350"/>
                <a:gd name="connsiteX1534" fmla="*/ 3260884 w 6400800"/>
                <a:gd name="connsiteY1534" fmla="*/ 265271 h 514350"/>
                <a:gd name="connsiteX1535" fmla="*/ 3256121 w 6400800"/>
                <a:gd name="connsiteY1535" fmla="*/ 288131 h 514350"/>
                <a:gd name="connsiteX1536" fmla="*/ 3256121 w 6400800"/>
                <a:gd name="connsiteY1536" fmla="*/ 287179 h 514350"/>
                <a:gd name="connsiteX1537" fmla="*/ 3256121 w 6400800"/>
                <a:gd name="connsiteY1537" fmla="*/ 289084 h 514350"/>
                <a:gd name="connsiteX1538" fmla="*/ 3255169 w 6400800"/>
                <a:gd name="connsiteY1538" fmla="*/ 293846 h 514350"/>
                <a:gd name="connsiteX1539" fmla="*/ 3253264 w 6400800"/>
                <a:gd name="connsiteY1539" fmla="*/ 290036 h 514350"/>
                <a:gd name="connsiteX1540" fmla="*/ 3254216 w 6400800"/>
                <a:gd name="connsiteY1540" fmla="*/ 280511 h 514350"/>
                <a:gd name="connsiteX1541" fmla="*/ 3252311 w 6400800"/>
                <a:gd name="connsiteY1541" fmla="*/ 287179 h 514350"/>
                <a:gd name="connsiteX1542" fmla="*/ 3246596 w 6400800"/>
                <a:gd name="connsiteY1542" fmla="*/ 276701 h 514350"/>
                <a:gd name="connsiteX1543" fmla="*/ 3251359 w 6400800"/>
                <a:gd name="connsiteY1543" fmla="*/ 290989 h 514350"/>
                <a:gd name="connsiteX1544" fmla="*/ 3249454 w 6400800"/>
                <a:gd name="connsiteY1544" fmla="*/ 298609 h 514350"/>
                <a:gd name="connsiteX1545" fmla="*/ 3247549 w 6400800"/>
                <a:gd name="connsiteY1545" fmla="*/ 304324 h 514350"/>
                <a:gd name="connsiteX1546" fmla="*/ 3246596 w 6400800"/>
                <a:gd name="connsiteY1546" fmla="*/ 301466 h 514350"/>
                <a:gd name="connsiteX1547" fmla="*/ 3246596 w 6400800"/>
                <a:gd name="connsiteY1547" fmla="*/ 306229 h 514350"/>
                <a:gd name="connsiteX1548" fmla="*/ 3243739 w 6400800"/>
                <a:gd name="connsiteY1548" fmla="*/ 317659 h 514350"/>
                <a:gd name="connsiteX1549" fmla="*/ 3239929 w 6400800"/>
                <a:gd name="connsiteY1549" fmla="*/ 304324 h 514350"/>
                <a:gd name="connsiteX1550" fmla="*/ 3242786 w 6400800"/>
                <a:gd name="connsiteY1550" fmla="*/ 296704 h 514350"/>
                <a:gd name="connsiteX1551" fmla="*/ 3238976 w 6400800"/>
                <a:gd name="connsiteY1551" fmla="*/ 302419 h 514350"/>
                <a:gd name="connsiteX1552" fmla="*/ 3236119 w 6400800"/>
                <a:gd name="connsiteY1552" fmla="*/ 293846 h 514350"/>
                <a:gd name="connsiteX1553" fmla="*/ 3235166 w 6400800"/>
                <a:gd name="connsiteY1553" fmla="*/ 290036 h 514350"/>
                <a:gd name="connsiteX1554" fmla="*/ 3241834 w 6400800"/>
                <a:gd name="connsiteY1554" fmla="*/ 273844 h 514350"/>
                <a:gd name="connsiteX1555" fmla="*/ 3249454 w 6400800"/>
                <a:gd name="connsiteY1555" fmla="*/ 256699 h 514350"/>
                <a:gd name="connsiteX1556" fmla="*/ 3256121 w 6400800"/>
                <a:gd name="connsiteY1556" fmla="*/ 242411 h 514350"/>
                <a:gd name="connsiteX1557" fmla="*/ 3245644 w 6400800"/>
                <a:gd name="connsiteY1557" fmla="*/ 254794 h 514350"/>
                <a:gd name="connsiteX1558" fmla="*/ 3235166 w 6400800"/>
                <a:gd name="connsiteY1558" fmla="*/ 270034 h 514350"/>
                <a:gd name="connsiteX1559" fmla="*/ 3230404 w 6400800"/>
                <a:gd name="connsiteY1559" fmla="*/ 276701 h 514350"/>
                <a:gd name="connsiteX1560" fmla="*/ 3229451 w 6400800"/>
                <a:gd name="connsiteY1560" fmla="*/ 272891 h 514350"/>
                <a:gd name="connsiteX1561" fmla="*/ 3222784 w 6400800"/>
                <a:gd name="connsiteY1561" fmla="*/ 253841 h 514350"/>
                <a:gd name="connsiteX1562" fmla="*/ 3218021 w 6400800"/>
                <a:gd name="connsiteY1562" fmla="*/ 241459 h 514350"/>
                <a:gd name="connsiteX1563" fmla="*/ 3218021 w 6400800"/>
                <a:gd name="connsiteY1563" fmla="*/ 236696 h 514350"/>
                <a:gd name="connsiteX1564" fmla="*/ 3222784 w 6400800"/>
                <a:gd name="connsiteY1564" fmla="*/ 206216 h 514350"/>
                <a:gd name="connsiteX1565" fmla="*/ 3229451 w 6400800"/>
                <a:gd name="connsiteY1565" fmla="*/ 166211 h 514350"/>
                <a:gd name="connsiteX1566" fmla="*/ 3235166 w 6400800"/>
                <a:gd name="connsiteY1566" fmla="*/ 135731 h 514350"/>
                <a:gd name="connsiteX1567" fmla="*/ 3239929 w 6400800"/>
                <a:gd name="connsiteY1567" fmla="*/ 109061 h 514350"/>
                <a:gd name="connsiteX1568" fmla="*/ 3231356 w 6400800"/>
                <a:gd name="connsiteY1568" fmla="*/ 134779 h 514350"/>
                <a:gd name="connsiteX1569" fmla="*/ 3212306 w 6400800"/>
                <a:gd name="connsiteY1569" fmla="*/ 204311 h 514350"/>
                <a:gd name="connsiteX1570" fmla="*/ 3209449 w 6400800"/>
                <a:gd name="connsiteY1570" fmla="*/ 215741 h 514350"/>
                <a:gd name="connsiteX1571" fmla="*/ 3204686 w 6400800"/>
                <a:gd name="connsiteY1571" fmla="*/ 204311 h 514350"/>
                <a:gd name="connsiteX1572" fmla="*/ 3203734 w 6400800"/>
                <a:gd name="connsiteY1572" fmla="*/ 175736 h 514350"/>
                <a:gd name="connsiteX1573" fmla="*/ 3200876 w 6400800"/>
                <a:gd name="connsiteY1573" fmla="*/ 206216 h 514350"/>
                <a:gd name="connsiteX1574" fmla="*/ 3196114 w 6400800"/>
                <a:gd name="connsiteY1574" fmla="*/ 240506 h 514350"/>
                <a:gd name="connsiteX1575" fmla="*/ 3195161 w 6400800"/>
                <a:gd name="connsiteY1575" fmla="*/ 243364 h 514350"/>
                <a:gd name="connsiteX1576" fmla="*/ 3196114 w 6400800"/>
                <a:gd name="connsiteY1576" fmla="*/ 217646 h 514350"/>
                <a:gd name="connsiteX1577" fmla="*/ 3198019 w 6400800"/>
                <a:gd name="connsiteY1577" fmla="*/ 180499 h 514350"/>
                <a:gd name="connsiteX1578" fmla="*/ 3199924 w 6400800"/>
                <a:gd name="connsiteY1578" fmla="*/ 151924 h 514350"/>
                <a:gd name="connsiteX1579" fmla="*/ 3200876 w 6400800"/>
                <a:gd name="connsiteY1579" fmla="*/ 127159 h 514350"/>
                <a:gd name="connsiteX1580" fmla="*/ 3195161 w 6400800"/>
                <a:gd name="connsiteY1580" fmla="*/ 151924 h 514350"/>
                <a:gd name="connsiteX1581" fmla="*/ 3184684 w 6400800"/>
                <a:gd name="connsiteY1581" fmla="*/ 217646 h 514350"/>
                <a:gd name="connsiteX1582" fmla="*/ 3181826 w 6400800"/>
                <a:gd name="connsiteY1582" fmla="*/ 235744 h 514350"/>
                <a:gd name="connsiteX1583" fmla="*/ 3179921 w 6400800"/>
                <a:gd name="connsiteY1583" fmla="*/ 231934 h 514350"/>
                <a:gd name="connsiteX1584" fmla="*/ 3179921 w 6400800"/>
                <a:gd name="connsiteY1584" fmla="*/ 224314 h 514350"/>
                <a:gd name="connsiteX1585" fmla="*/ 3178969 w 6400800"/>
                <a:gd name="connsiteY1585" fmla="*/ 230029 h 514350"/>
                <a:gd name="connsiteX1586" fmla="*/ 3177064 w 6400800"/>
                <a:gd name="connsiteY1586" fmla="*/ 227171 h 514350"/>
                <a:gd name="connsiteX1587" fmla="*/ 3178016 w 6400800"/>
                <a:gd name="connsiteY1587" fmla="*/ 231934 h 514350"/>
                <a:gd name="connsiteX1588" fmla="*/ 3174206 w 6400800"/>
                <a:gd name="connsiteY1588" fmla="*/ 250984 h 514350"/>
                <a:gd name="connsiteX1589" fmla="*/ 3170396 w 6400800"/>
                <a:gd name="connsiteY1589" fmla="*/ 277654 h 514350"/>
                <a:gd name="connsiteX1590" fmla="*/ 3169444 w 6400800"/>
                <a:gd name="connsiteY1590" fmla="*/ 275749 h 514350"/>
                <a:gd name="connsiteX1591" fmla="*/ 3163729 w 6400800"/>
                <a:gd name="connsiteY1591" fmla="*/ 215741 h 514350"/>
                <a:gd name="connsiteX1592" fmla="*/ 3162776 w 6400800"/>
                <a:gd name="connsiteY1592" fmla="*/ 207169 h 514350"/>
                <a:gd name="connsiteX1593" fmla="*/ 3163729 w 6400800"/>
                <a:gd name="connsiteY1593" fmla="*/ 203359 h 514350"/>
                <a:gd name="connsiteX1594" fmla="*/ 3174206 w 6400800"/>
                <a:gd name="connsiteY1594" fmla="*/ 132874 h 514350"/>
                <a:gd name="connsiteX1595" fmla="*/ 3178016 w 6400800"/>
                <a:gd name="connsiteY1595" fmla="*/ 106204 h 514350"/>
                <a:gd name="connsiteX1596" fmla="*/ 3170396 w 6400800"/>
                <a:gd name="connsiteY1596" fmla="*/ 131921 h 514350"/>
                <a:gd name="connsiteX1597" fmla="*/ 3158014 w 6400800"/>
                <a:gd name="connsiteY1597" fmla="*/ 177641 h 514350"/>
                <a:gd name="connsiteX1598" fmla="*/ 3154204 w 6400800"/>
                <a:gd name="connsiteY1598" fmla="*/ 159544 h 514350"/>
                <a:gd name="connsiteX1599" fmla="*/ 3149441 w 6400800"/>
                <a:gd name="connsiteY1599" fmla="*/ 134779 h 514350"/>
                <a:gd name="connsiteX1600" fmla="*/ 3143726 w 6400800"/>
                <a:gd name="connsiteY1600" fmla="*/ 112871 h 514350"/>
                <a:gd name="connsiteX1601" fmla="*/ 3133249 w 6400800"/>
                <a:gd name="connsiteY1601" fmla="*/ 77629 h 514350"/>
                <a:gd name="connsiteX1602" fmla="*/ 3122771 w 6400800"/>
                <a:gd name="connsiteY1602" fmla="*/ 47149 h 514350"/>
                <a:gd name="connsiteX1603" fmla="*/ 3129439 w 6400800"/>
                <a:gd name="connsiteY1603" fmla="*/ 78581 h 514350"/>
                <a:gd name="connsiteX1604" fmla="*/ 3136106 w 6400800"/>
                <a:gd name="connsiteY1604" fmla="*/ 114776 h 514350"/>
                <a:gd name="connsiteX1605" fmla="*/ 3139916 w 6400800"/>
                <a:gd name="connsiteY1605" fmla="*/ 136684 h 514350"/>
                <a:gd name="connsiteX1606" fmla="*/ 3142774 w 6400800"/>
                <a:gd name="connsiteY1606" fmla="*/ 161449 h 514350"/>
                <a:gd name="connsiteX1607" fmla="*/ 3147536 w 6400800"/>
                <a:gd name="connsiteY1607" fmla="*/ 213836 h 514350"/>
                <a:gd name="connsiteX1608" fmla="*/ 3146584 w 6400800"/>
                <a:gd name="connsiteY1608" fmla="*/ 217646 h 514350"/>
                <a:gd name="connsiteX1609" fmla="*/ 3143726 w 6400800"/>
                <a:gd name="connsiteY1609" fmla="*/ 210026 h 514350"/>
                <a:gd name="connsiteX1610" fmla="*/ 3138964 w 6400800"/>
                <a:gd name="connsiteY1610" fmla="*/ 196691 h 514350"/>
                <a:gd name="connsiteX1611" fmla="*/ 3134201 w 6400800"/>
                <a:gd name="connsiteY1611" fmla="*/ 179546 h 514350"/>
                <a:gd name="connsiteX1612" fmla="*/ 3126581 w 6400800"/>
                <a:gd name="connsiteY1612" fmla="*/ 155734 h 514350"/>
                <a:gd name="connsiteX1613" fmla="*/ 3129439 w 6400800"/>
                <a:gd name="connsiteY1613" fmla="*/ 172879 h 514350"/>
                <a:gd name="connsiteX1614" fmla="*/ 3118961 w 6400800"/>
                <a:gd name="connsiteY1614" fmla="*/ 150019 h 514350"/>
                <a:gd name="connsiteX1615" fmla="*/ 3112294 w 6400800"/>
                <a:gd name="connsiteY1615" fmla="*/ 136684 h 514350"/>
                <a:gd name="connsiteX1616" fmla="*/ 3102769 w 6400800"/>
                <a:gd name="connsiteY1616" fmla="*/ 113824 h 514350"/>
                <a:gd name="connsiteX1617" fmla="*/ 3090386 w 6400800"/>
                <a:gd name="connsiteY1617" fmla="*/ 87154 h 514350"/>
                <a:gd name="connsiteX1618" fmla="*/ 3099911 w 6400800"/>
                <a:gd name="connsiteY1618" fmla="*/ 114776 h 514350"/>
                <a:gd name="connsiteX1619" fmla="*/ 3109436 w 6400800"/>
                <a:gd name="connsiteY1619" fmla="*/ 146209 h 514350"/>
                <a:gd name="connsiteX1620" fmla="*/ 3115151 w 6400800"/>
                <a:gd name="connsiteY1620" fmla="*/ 167164 h 514350"/>
                <a:gd name="connsiteX1621" fmla="*/ 3109436 w 6400800"/>
                <a:gd name="connsiteY1621" fmla="*/ 155734 h 514350"/>
                <a:gd name="connsiteX1622" fmla="*/ 3116104 w 6400800"/>
                <a:gd name="connsiteY1622" fmla="*/ 176689 h 514350"/>
                <a:gd name="connsiteX1623" fmla="*/ 3121819 w 6400800"/>
                <a:gd name="connsiteY1623" fmla="*/ 194786 h 514350"/>
                <a:gd name="connsiteX1624" fmla="*/ 3125629 w 6400800"/>
                <a:gd name="connsiteY1624" fmla="*/ 213836 h 514350"/>
                <a:gd name="connsiteX1625" fmla="*/ 3123724 w 6400800"/>
                <a:gd name="connsiteY1625" fmla="*/ 215741 h 514350"/>
                <a:gd name="connsiteX1626" fmla="*/ 3122771 w 6400800"/>
                <a:gd name="connsiteY1626" fmla="*/ 210979 h 514350"/>
                <a:gd name="connsiteX1627" fmla="*/ 3122771 w 6400800"/>
                <a:gd name="connsiteY1627" fmla="*/ 216694 h 514350"/>
                <a:gd name="connsiteX1628" fmla="*/ 3113246 w 6400800"/>
                <a:gd name="connsiteY1628" fmla="*/ 228124 h 514350"/>
                <a:gd name="connsiteX1629" fmla="*/ 3113246 w 6400800"/>
                <a:gd name="connsiteY1629" fmla="*/ 228124 h 514350"/>
                <a:gd name="connsiteX1630" fmla="*/ 3110389 w 6400800"/>
                <a:gd name="connsiteY1630" fmla="*/ 191929 h 514350"/>
                <a:gd name="connsiteX1631" fmla="*/ 3108484 w 6400800"/>
                <a:gd name="connsiteY1631" fmla="*/ 171926 h 514350"/>
                <a:gd name="connsiteX1632" fmla="*/ 3106579 w 6400800"/>
                <a:gd name="connsiteY1632" fmla="*/ 192881 h 514350"/>
                <a:gd name="connsiteX1633" fmla="*/ 3104674 w 6400800"/>
                <a:gd name="connsiteY1633" fmla="*/ 228124 h 514350"/>
                <a:gd name="connsiteX1634" fmla="*/ 3104674 w 6400800"/>
                <a:gd name="connsiteY1634" fmla="*/ 227171 h 514350"/>
                <a:gd name="connsiteX1635" fmla="*/ 3097054 w 6400800"/>
                <a:gd name="connsiteY1635" fmla="*/ 208121 h 514350"/>
                <a:gd name="connsiteX1636" fmla="*/ 3100864 w 6400800"/>
                <a:gd name="connsiteY1636" fmla="*/ 228124 h 514350"/>
                <a:gd name="connsiteX1637" fmla="*/ 3103721 w 6400800"/>
                <a:gd name="connsiteY1637" fmla="*/ 244316 h 514350"/>
                <a:gd name="connsiteX1638" fmla="*/ 3096101 w 6400800"/>
                <a:gd name="connsiteY1638" fmla="*/ 255746 h 514350"/>
                <a:gd name="connsiteX1639" fmla="*/ 3087529 w 6400800"/>
                <a:gd name="connsiteY1639" fmla="*/ 270034 h 514350"/>
                <a:gd name="connsiteX1640" fmla="*/ 3082766 w 6400800"/>
                <a:gd name="connsiteY1640" fmla="*/ 252889 h 514350"/>
                <a:gd name="connsiteX1641" fmla="*/ 3077051 w 6400800"/>
                <a:gd name="connsiteY1641" fmla="*/ 233839 h 514350"/>
                <a:gd name="connsiteX1642" fmla="*/ 3078956 w 6400800"/>
                <a:gd name="connsiteY1642" fmla="*/ 252889 h 514350"/>
                <a:gd name="connsiteX1643" fmla="*/ 3079909 w 6400800"/>
                <a:gd name="connsiteY1643" fmla="*/ 264319 h 514350"/>
                <a:gd name="connsiteX1644" fmla="*/ 3077051 w 6400800"/>
                <a:gd name="connsiteY1644" fmla="*/ 255746 h 514350"/>
                <a:gd name="connsiteX1645" fmla="*/ 3074194 w 6400800"/>
                <a:gd name="connsiteY1645" fmla="*/ 248126 h 514350"/>
                <a:gd name="connsiteX1646" fmla="*/ 3074194 w 6400800"/>
                <a:gd name="connsiteY1646" fmla="*/ 242411 h 514350"/>
                <a:gd name="connsiteX1647" fmla="*/ 3075146 w 6400800"/>
                <a:gd name="connsiteY1647" fmla="*/ 229076 h 514350"/>
                <a:gd name="connsiteX1648" fmla="*/ 3077051 w 6400800"/>
                <a:gd name="connsiteY1648" fmla="*/ 220504 h 514350"/>
                <a:gd name="connsiteX1649" fmla="*/ 3086576 w 6400800"/>
                <a:gd name="connsiteY1649" fmla="*/ 189071 h 514350"/>
                <a:gd name="connsiteX1650" fmla="*/ 3096101 w 6400800"/>
                <a:gd name="connsiteY1650" fmla="*/ 161449 h 514350"/>
                <a:gd name="connsiteX1651" fmla="*/ 3083719 w 6400800"/>
                <a:gd name="connsiteY1651" fmla="*/ 188119 h 514350"/>
                <a:gd name="connsiteX1652" fmla="*/ 3071336 w 6400800"/>
                <a:gd name="connsiteY1652" fmla="*/ 218599 h 514350"/>
                <a:gd name="connsiteX1653" fmla="*/ 3068479 w 6400800"/>
                <a:gd name="connsiteY1653" fmla="*/ 224314 h 514350"/>
                <a:gd name="connsiteX1654" fmla="*/ 3068479 w 6400800"/>
                <a:gd name="connsiteY1654" fmla="*/ 216694 h 514350"/>
                <a:gd name="connsiteX1655" fmla="*/ 3069431 w 6400800"/>
                <a:gd name="connsiteY1655" fmla="*/ 209074 h 514350"/>
                <a:gd name="connsiteX1656" fmla="*/ 3072289 w 6400800"/>
                <a:gd name="connsiteY1656" fmla="*/ 181451 h 514350"/>
                <a:gd name="connsiteX1657" fmla="*/ 3073241 w 6400800"/>
                <a:gd name="connsiteY1657" fmla="*/ 157639 h 514350"/>
                <a:gd name="connsiteX1658" fmla="*/ 3067526 w 6400800"/>
                <a:gd name="connsiteY1658" fmla="*/ 180499 h 514350"/>
                <a:gd name="connsiteX1659" fmla="*/ 3066574 w 6400800"/>
                <a:gd name="connsiteY1659" fmla="*/ 183356 h 514350"/>
                <a:gd name="connsiteX1660" fmla="*/ 3064669 w 6400800"/>
                <a:gd name="connsiteY1660" fmla="*/ 148114 h 514350"/>
                <a:gd name="connsiteX1661" fmla="*/ 3064669 w 6400800"/>
                <a:gd name="connsiteY1661" fmla="*/ 145256 h 514350"/>
                <a:gd name="connsiteX1662" fmla="*/ 3064669 w 6400800"/>
                <a:gd name="connsiteY1662" fmla="*/ 146209 h 514350"/>
                <a:gd name="connsiteX1663" fmla="*/ 3063716 w 6400800"/>
                <a:gd name="connsiteY1663" fmla="*/ 131921 h 514350"/>
                <a:gd name="connsiteX1664" fmla="*/ 3058954 w 6400800"/>
                <a:gd name="connsiteY1664" fmla="*/ 174784 h 514350"/>
                <a:gd name="connsiteX1665" fmla="*/ 3056096 w 6400800"/>
                <a:gd name="connsiteY1665" fmla="*/ 190976 h 514350"/>
                <a:gd name="connsiteX1666" fmla="*/ 3054191 w 6400800"/>
                <a:gd name="connsiteY1666" fmla="*/ 201454 h 514350"/>
                <a:gd name="connsiteX1667" fmla="*/ 3049429 w 6400800"/>
                <a:gd name="connsiteY1667" fmla="*/ 189071 h 514350"/>
                <a:gd name="connsiteX1668" fmla="*/ 3049429 w 6400800"/>
                <a:gd name="connsiteY1668" fmla="*/ 188119 h 514350"/>
                <a:gd name="connsiteX1669" fmla="*/ 3056096 w 6400800"/>
                <a:gd name="connsiteY1669" fmla="*/ 151924 h 514350"/>
                <a:gd name="connsiteX1670" fmla="*/ 3062764 w 6400800"/>
                <a:gd name="connsiteY1670" fmla="*/ 120491 h 514350"/>
                <a:gd name="connsiteX1671" fmla="*/ 3052286 w 6400800"/>
                <a:gd name="connsiteY1671" fmla="*/ 150971 h 514350"/>
                <a:gd name="connsiteX1672" fmla="*/ 3041809 w 6400800"/>
                <a:gd name="connsiteY1672" fmla="*/ 186214 h 514350"/>
                <a:gd name="connsiteX1673" fmla="*/ 3036094 w 6400800"/>
                <a:gd name="connsiteY1673" fmla="*/ 208121 h 514350"/>
                <a:gd name="connsiteX1674" fmla="*/ 3034189 w 6400800"/>
                <a:gd name="connsiteY1674" fmla="*/ 215741 h 514350"/>
                <a:gd name="connsiteX1675" fmla="*/ 3032284 w 6400800"/>
                <a:gd name="connsiteY1675" fmla="*/ 205264 h 514350"/>
                <a:gd name="connsiteX1676" fmla="*/ 3048476 w 6400800"/>
                <a:gd name="connsiteY1676" fmla="*/ 148114 h 514350"/>
                <a:gd name="connsiteX1677" fmla="*/ 3057049 w 6400800"/>
                <a:gd name="connsiteY1677" fmla="*/ 123349 h 514350"/>
                <a:gd name="connsiteX1678" fmla="*/ 3054191 w 6400800"/>
                <a:gd name="connsiteY1678" fmla="*/ 129064 h 514350"/>
                <a:gd name="connsiteX1679" fmla="*/ 3045619 w 6400800"/>
                <a:gd name="connsiteY1679" fmla="*/ 146209 h 514350"/>
                <a:gd name="connsiteX1680" fmla="*/ 3029426 w 6400800"/>
                <a:gd name="connsiteY1680" fmla="*/ 184309 h 514350"/>
                <a:gd name="connsiteX1681" fmla="*/ 3029426 w 6400800"/>
                <a:gd name="connsiteY1681" fmla="*/ 167164 h 514350"/>
                <a:gd name="connsiteX1682" fmla="*/ 3030379 w 6400800"/>
                <a:gd name="connsiteY1682" fmla="*/ 140494 h 514350"/>
                <a:gd name="connsiteX1683" fmla="*/ 3025616 w 6400800"/>
                <a:gd name="connsiteY1683" fmla="*/ 166211 h 514350"/>
                <a:gd name="connsiteX1684" fmla="*/ 3022759 w 6400800"/>
                <a:gd name="connsiteY1684" fmla="*/ 196691 h 514350"/>
                <a:gd name="connsiteX1685" fmla="*/ 3022759 w 6400800"/>
                <a:gd name="connsiteY1685" fmla="*/ 202406 h 514350"/>
                <a:gd name="connsiteX1686" fmla="*/ 3019901 w 6400800"/>
                <a:gd name="connsiteY1686" fmla="*/ 210979 h 514350"/>
                <a:gd name="connsiteX1687" fmla="*/ 3011329 w 6400800"/>
                <a:gd name="connsiteY1687" fmla="*/ 234791 h 514350"/>
                <a:gd name="connsiteX1688" fmla="*/ 3007519 w 6400800"/>
                <a:gd name="connsiteY1688" fmla="*/ 226219 h 514350"/>
                <a:gd name="connsiteX1689" fmla="*/ 3011329 w 6400800"/>
                <a:gd name="connsiteY1689" fmla="*/ 215741 h 514350"/>
                <a:gd name="connsiteX1690" fmla="*/ 3006566 w 6400800"/>
                <a:gd name="connsiteY1690" fmla="*/ 222409 h 514350"/>
                <a:gd name="connsiteX1691" fmla="*/ 3001804 w 6400800"/>
                <a:gd name="connsiteY1691" fmla="*/ 202406 h 514350"/>
                <a:gd name="connsiteX1692" fmla="*/ 3000851 w 6400800"/>
                <a:gd name="connsiteY1692" fmla="*/ 197644 h 514350"/>
                <a:gd name="connsiteX1693" fmla="*/ 3003709 w 6400800"/>
                <a:gd name="connsiteY1693" fmla="*/ 189071 h 514350"/>
                <a:gd name="connsiteX1694" fmla="*/ 3011329 w 6400800"/>
                <a:gd name="connsiteY1694" fmla="*/ 164306 h 514350"/>
                <a:gd name="connsiteX1695" fmla="*/ 3018949 w 6400800"/>
                <a:gd name="connsiteY1695" fmla="*/ 142399 h 514350"/>
                <a:gd name="connsiteX1696" fmla="*/ 3007519 w 6400800"/>
                <a:gd name="connsiteY1696" fmla="*/ 162401 h 514350"/>
                <a:gd name="connsiteX1697" fmla="*/ 2997994 w 6400800"/>
                <a:gd name="connsiteY1697" fmla="*/ 182404 h 514350"/>
                <a:gd name="connsiteX1698" fmla="*/ 2995136 w 6400800"/>
                <a:gd name="connsiteY1698" fmla="*/ 169069 h 514350"/>
                <a:gd name="connsiteX1699" fmla="*/ 3014186 w 6400800"/>
                <a:gd name="connsiteY1699" fmla="*/ 100489 h 514350"/>
                <a:gd name="connsiteX1700" fmla="*/ 3021806 w 6400800"/>
                <a:gd name="connsiteY1700" fmla="*/ 76676 h 514350"/>
                <a:gd name="connsiteX1701" fmla="*/ 3024664 w 6400800"/>
                <a:gd name="connsiteY1701" fmla="*/ 68104 h 514350"/>
                <a:gd name="connsiteX1702" fmla="*/ 3020854 w 6400800"/>
                <a:gd name="connsiteY1702" fmla="*/ 75724 h 514350"/>
                <a:gd name="connsiteX1703" fmla="*/ 3010376 w 6400800"/>
                <a:gd name="connsiteY1703" fmla="*/ 98584 h 514350"/>
                <a:gd name="connsiteX1704" fmla="*/ 2996089 w 6400800"/>
                <a:gd name="connsiteY1704" fmla="*/ 134779 h 514350"/>
                <a:gd name="connsiteX1705" fmla="*/ 2991326 w 6400800"/>
                <a:gd name="connsiteY1705" fmla="*/ 148114 h 514350"/>
                <a:gd name="connsiteX1706" fmla="*/ 2987516 w 6400800"/>
                <a:gd name="connsiteY1706" fmla="*/ 122396 h 514350"/>
                <a:gd name="connsiteX1707" fmla="*/ 2984659 w 6400800"/>
                <a:gd name="connsiteY1707" fmla="*/ 91916 h 514350"/>
                <a:gd name="connsiteX1708" fmla="*/ 2983706 w 6400800"/>
                <a:gd name="connsiteY1708" fmla="*/ 122396 h 514350"/>
                <a:gd name="connsiteX1709" fmla="*/ 2985611 w 6400800"/>
                <a:gd name="connsiteY1709" fmla="*/ 157639 h 514350"/>
                <a:gd name="connsiteX1710" fmla="*/ 2985611 w 6400800"/>
                <a:gd name="connsiteY1710" fmla="*/ 163354 h 514350"/>
                <a:gd name="connsiteX1711" fmla="*/ 2978944 w 6400800"/>
                <a:gd name="connsiteY1711" fmla="*/ 182404 h 514350"/>
                <a:gd name="connsiteX1712" fmla="*/ 2960846 w 6400800"/>
                <a:gd name="connsiteY1712" fmla="*/ 238601 h 514350"/>
                <a:gd name="connsiteX1713" fmla="*/ 2959894 w 6400800"/>
                <a:gd name="connsiteY1713" fmla="*/ 234791 h 514350"/>
                <a:gd name="connsiteX1714" fmla="*/ 2960846 w 6400800"/>
                <a:gd name="connsiteY1714" fmla="*/ 239554 h 514350"/>
                <a:gd name="connsiteX1715" fmla="*/ 2950369 w 6400800"/>
                <a:gd name="connsiteY1715" fmla="*/ 274796 h 514350"/>
                <a:gd name="connsiteX1716" fmla="*/ 2952274 w 6400800"/>
                <a:gd name="connsiteY1716" fmla="*/ 264319 h 514350"/>
                <a:gd name="connsiteX1717" fmla="*/ 2944654 w 6400800"/>
                <a:gd name="connsiteY1717" fmla="*/ 284321 h 514350"/>
                <a:gd name="connsiteX1718" fmla="*/ 2944654 w 6400800"/>
                <a:gd name="connsiteY1718" fmla="*/ 283369 h 514350"/>
                <a:gd name="connsiteX1719" fmla="*/ 2945606 w 6400800"/>
                <a:gd name="connsiteY1719" fmla="*/ 277654 h 514350"/>
                <a:gd name="connsiteX1720" fmla="*/ 2949416 w 6400800"/>
                <a:gd name="connsiteY1720" fmla="*/ 238601 h 514350"/>
                <a:gd name="connsiteX1721" fmla="*/ 2951321 w 6400800"/>
                <a:gd name="connsiteY1721" fmla="*/ 221456 h 514350"/>
                <a:gd name="connsiteX1722" fmla="*/ 2953226 w 6400800"/>
                <a:gd name="connsiteY1722" fmla="*/ 205264 h 514350"/>
                <a:gd name="connsiteX1723" fmla="*/ 2956084 w 6400800"/>
                <a:gd name="connsiteY1723" fmla="*/ 179546 h 514350"/>
                <a:gd name="connsiteX1724" fmla="*/ 2958941 w 6400800"/>
                <a:gd name="connsiteY1724" fmla="*/ 156686 h 514350"/>
                <a:gd name="connsiteX1725" fmla="*/ 2952274 w 6400800"/>
                <a:gd name="connsiteY1725" fmla="*/ 178594 h 514350"/>
                <a:gd name="connsiteX1726" fmla="*/ 2945606 w 6400800"/>
                <a:gd name="connsiteY1726" fmla="*/ 203359 h 514350"/>
                <a:gd name="connsiteX1727" fmla="*/ 2941796 w 6400800"/>
                <a:gd name="connsiteY1727" fmla="*/ 218599 h 514350"/>
                <a:gd name="connsiteX1728" fmla="*/ 2937986 w 6400800"/>
                <a:gd name="connsiteY1728" fmla="*/ 235744 h 514350"/>
                <a:gd name="connsiteX1729" fmla="*/ 2931319 w 6400800"/>
                <a:gd name="connsiteY1729" fmla="*/ 270034 h 514350"/>
                <a:gd name="connsiteX1730" fmla="*/ 2929414 w 6400800"/>
                <a:gd name="connsiteY1730" fmla="*/ 260509 h 514350"/>
                <a:gd name="connsiteX1731" fmla="*/ 2928461 w 6400800"/>
                <a:gd name="connsiteY1731" fmla="*/ 256699 h 514350"/>
                <a:gd name="connsiteX1732" fmla="*/ 2931319 w 6400800"/>
                <a:gd name="connsiteY1732" fmla="*/ 251936 h 514350"/>
                <a:gd name="connsiteX1733" fmla="*/ 2927509 w 6400800"/>
                <a:gd name="connsiteY1733" fmla="*/ 254794 h 514350"/>
                <a:gd name="connsiteX1734" fmla="*/ 2925604 w 6400800"/>
                <a:gd name="connsiteY1734" fmla="*/ 247174 h 514350"/>
                <a:gd name="connsiteX1735" fmla="*/ 2931319 w 6400800"/>
                <a:gd name="connsiteY1735" fmla="*/ 231934 h 514350"/>
                <a:gd name="connsiteX1736" fmla="*/ 2924651 w 6400800"/>
                <a:gd name="connsiteY1736" fmla="*/ 243364 h 514350"/>
                <a:gd name="connsiteX1737" fmla="*/ 2922746 w 6400800"/>
                <a:gd name="connsiteY1737" fmla="*/ 237649 h 514350"/>
                <a:gd name="connsiteX1738" fmla="*/ 2922746 w 6400800"/>
                <a:gd name="connsiteY1738" fmla="*/ 236696 h 514350"/>
                <a:gd name="connsiteX1739" fmla="*/ 2921794 w 6400800"/>
                <a:gd name="connsiteY1739" fmla="*/ 236696 h 514350"/>
                <a:gd name="connsiteX1740" fmla="*/ 2916079 w 6400800"/>
                <a:gd name="connsiteY1740" fmla="*/ 236696 h 514350"/>
                <a:gd name="connsiteX1741" fmla="*/ 2916079 w 6400800"/>
                <a:gd name="connsiteY1741" fmla="*/ 236696 h 514350"/>
                <a:gd name="connsiteX1742" fmla="*/ 2935129 w 6400800"/>
                <a:gd name="connsiteY1742" fmla="*/ 176689 h 514350"/>
                <a:gd name="connsiteX1743" fmla="*/ 2909411 w 6400800"/>
                <a:gd name="connsiteY1743" fmla="*/ 230029 h 514350"/>
                <a:gd name="connsiteX1744" fmla="*/ 2902744 w 6400800"/>
                <a:gd name="connsiteY1744" fmla="*/ 211931 h 514350"/>
                <a:gd name="connsiteX1745" fmla="*/ 2900839 w 6400800"/>
                <a:gd name="connsiteY1745" fmla="*/ 195739 h 514350"/>
                <a:gd name="connsiteX1746" fmla="*/ 2897981 w 6400800"/>
                <a:gd name="connsiteY1746" fmla="*/ 173831 h 514350"/>
                <a:gd name="connsiteX1747" fmla="*/ 2896076 w 6400800"/>
                <a:gd name="connsiteY1747" fmla="*/ 153829 h 514350"/>
                <a:gd name="connsiteX1748" fmla="*/ 2893219 w 6400800"/>
                <a:gd name="connsiteY1748" fmla="*/ 121444 h 514350"/>
                <a:gd name="connsiteX1749" fmla="*/ 2890361 w 6400800"/>
                <a:gd name="connsiteY1749" fmla="*/ 93821 h 514350"/>
                <a:gd name="connsiteX1750" fmla="*/ 2889409 w 6400800"/>
                <a:gd name="connsiteY1750" fmla="*/ 121444 h 514350"/>
                <a:gd name="connsiteX1751" fmla="*/ 2889409 w 6400800"/>
                <a:gd name="connsiteY1751" fmla="*/ 153829 h 514350"/>
                <a:gd name="connsiteX1752" fmla="*/ 2889409 w 6400800"/>
                <a:gd name="connsiteY1752" fmla="*/ 173831 h 514350"/>
                <a:gd name="connsiteX1753" fmla="*/ 2890361 w 6400800"/>
                <a:gd name="connsiteY1753" fmla="*/ 195739 h 514350"/>
                <a:gd name="connsiteX1754" fmla="*/ 2891314 w 6400800"/>
                <a:gd name="connsiteY1754" fmla="*/ 211931 h 514350"/>
                <a:gd name="connsiteX1755" fmla="*/ 2887504 w 6400800"/>
                <a:gd name="connsiteY1755" fmla="*/ 217646 h 514350"/>
                <a:gd name="connsiteX1756" fmla="*/ 2885599 w 6400800"/>
                <a:gd name="connsiteY1756" fmla="*/ 221456 h 514350"/>
                <a:gd name="connsiteX1757" fmla="*/ 2880836 w 6400800"/>
                <a:gd name="connsiteY1757" fmla="*/ 195739 h 514350"/>
                <a:gd name="connsiteX1758" fmla="*/ 2874169 w 6400800"/>
                <a:gd name="connsiteY1758" fmla="*/ 166211 h 514350"/>
                <a:gd name="connsiteX1759" fmla="*/ 2867501 w 6400800"/>
                <a:gd name="connsiteY1759" fmla="*/ 144304 h 514350"/>
                <a:gd name="connsiteX1760" fmla="*/ 2860834 w 6400800"/>
                <a:gd name="connsiteY1760" fmla="*/ 125254 h 514350"/>
                <a:gd name="connsiteX1761" fmla="*/ 2863691 w 6400800"/>
                <a:gd name="connsiteY1761" fmla="*/ 145256 h 514350"/>
                <a:gd name="connsiteX1762" fmla="*/ 2866549 w 6400800"/>
                <a:gd name="connsiteY1762" fmla="*/ 168116 h 514350"/>
                <a:gd name="connsiteX1763" fmla="*/ 2869406 w 6400800"/>
                <a:gd name="connsiteY1763" fmla="*/ 197644 h 514350"/>
                <a:gd name="connsiteX1764" fmla="*/ 2872264 w 6400800"/>
                <a:gd name="connsiteY1764" fmla="*/ 232886 h 514350"/>
                <a:gd name="connsiteX1765" fmla="*/ 2873216 w 6400800"/>
                <a:gd name="connsiteY1765" fmla="*/ 247174 h 514350"/>
                <a:gd name="connsiteX1766" fmla="*/ 2864644 w 6400800"/>
                <a:gd name="connsiteY1766" fmla="*/ 270034 h 514350"/>
                <a:gd name="connsiteX1767" fmla="*/ 2863691 w 6400800"/>
                <a:gd name="connsiteY1767" fmla="*/ 274796 h 514350"/>
                <a:gd name="connsiteX1768" fmla="*/ 2855119 w 6400800"/>
                <a:gd name="connsiteY1768" fmla="*/ 257651 h 514350"/>
                <a:gd name="connsiteX1769" fmla="*/ 2841784 w 6400800"/>
                <a:gd name="connsiteY1769" fmla="*/ 230029 h 514350"/>
                <a:gd name="connsiteX1770" fmla="*/ 2855119 w 6400800"/>
                <a:gd name="connsiteY1770" fmla="*/ 226219 h 514350"/>
                <a:gd name="connsiteX1771" fmla="*/ 2853214 w 6400800"/>
                <a:gd name="connsiteY1771" fmla="*/ 231934 h 514350"/>
                <a:gd name="connsiteX1772" fmla="*/ 2840831 w 6400800"/>
                <a:gd name="connsiteY1772" fmla="*/ 209074 h 514350"/>
                <a:gd name="connsiteX1773" fmla="*/ 2866549 w 6400800"/>
                <a:gd name="connsiteY1773" fmla="*/ 150971 h 514350"/>
                <a:gd name="connsiteX1774" fmla="*/ 2835116 w 6400800"/>
                <a:gd name="connsiteY1774" fmla="*/ 198596 h 514350"/>
                <a:gd name="connsiteX1775" fmla="*/ 2829401 w 6400800"/>
                <a:gd name="connsiteY1775" fmla="*/ 188119 h 514350"/>
                <a:gd name="connsiteX1776" fmla="*/ 2820829 w 6400800"/>
                <a:gd name="connsiteY1776" fmla="*/ 132874 h 514350"/>
                <a:gd name="connsiteX1777" fmla="*/ 2821781 w 6400800"/>
                <a:gd name="connsiteY1777" fmla="*/ 173831 h 514350"/>
                <a:gd name="connsiteX1778" fmla="*/ 2807494 w 6400800"/>
                <a:gd name="connsiteY1778" fmla="*/ 151924 h 514350"/>
                <a:gd name="connsiteX1779" fmla="*/ 2782729 w 6400800"/>
                <a:gd name="connsiteY1779" fmla="*/ 115729 h 514350"/>
                <a:gd name="connsiteX1780" fmla="*/ 2759869 w 6400800"/>
                <a:gd name="connsiteY1780" fmla="*/ 85249 h 514350"/>
                <a:gd name="connsiteX1781" fmla="*/ 2778919 w 6400800"/>
                <a:gd name="connsiteY1781" fmla="*/ 118586 h 514350"/>
                <a:gd name="connsiteX1782" fmla="*/ 2799874 w 6400800"/>
                <a:gd name="connsiteY1782" fmla="*/ 156686 h 514350"/>
                <a:gd name="connsiteX1783" fmla="*/ 2812256 w 6400800"/>
                <a:gd name="connsiteY1783" fmla="*/ 180499 h 514350"/>
                <a:gd name="connsiteX1784" fmla="*/ 2820829 w 6400800"/>
                <a:gd name="connsiteY1784" fmla="*/ 197644 h 514350"/>
                <a:gd name="connsiteX1785" fmla="*/ 2820829 w 6400800"/>
                <a:gd name="connsiteY1785" fmla="*/ 204311 h 514350"/>
                <a:gd name="connsiteX1786" fmla="*/ 2821781 w 6400800"/>
                <a:gd name="connsiteY1786" fmla="*/ 218599 h 514350"/>
                <a:gd name="connsiteX1787" fmla="*/ 2817019 w 6400800"/>
                <a:gd name="connsiteY1787" fmla="*/ 227171 h 514350"/>
                <a:gd name="connsiteX1788" fmla="*/ 2806541 w 6400800"/>
                <a:gd name="connsiteY1788" fmla="*/ 211931 h 514350"/>
                <a:gd name="connsiteX1789" fmla="*/ 2805589 w 6400800"/>
                <a:gd name="connsiteY1789" fmla="*/ 210026 h 514350"/>
                <a:gd name="connsiteX1790" fmla="*/ 2806541 w 6400800"/>
                <a:gd name="connsiteY1790" fmla="*/ 208121 h 514350"/>
                <a:gd name="connsiteX1791" fmla="*/ 2805589 w 6400800"/>
                <a:gd name="connsiteY1791" fmla="*/ 209074 h 514350"/>
                <a:gd name="connsiteX1792" fmla="*/ 2792254 w 6400800"/>
                <a:gd name="connsiteY1792" fmla="*/ 191929 h 514350"/>
                <a:gd name="connsiteX1793" fmla="*/ 2767489 w 6400800"/>
                <a:gd name="connsiteY1793" fmla="*/ 161449 h 514350"/>
                <a:gd name="connsiteX1794" fmla="*/ 2765584 w 6400800"/>
                <a:gd name="connsiteY1794" fmla="*/ 158591 h 514350"/>
                <a:gd name="connsiteX1795" fmla="*/ 2765584 w 6400800"/>
                <a:gd name="connsiteY1795" fmla="*/ 155734 h 514350"/>
                <a:gd name="connsiteX1796" fmla="*/ 2762726 w 6400800"/>
                <a:gd name="connsiteY1796" fmla="*/ 128111 h 514350"/>
                <a:gd name="connsiteX1797" fmla="*/ 2759869 w 6400800"/>
                <a:gd name="connsiteY1797" fmla="*/ 103346 h 514350"/>
                <a:gd name="connsiteX1798" fmla="*/ 2758916 w 6400800"/>
                <a:gd name="connsiteY1798" fmla="*/ 128111 h 514350"/>
                <a:gd name="connsiteX1799" fmla="*/ 2758916 w 6400800"/>
                <a:gd name="connsiteY1799" fmla="*/ 150019 h 514350"/>
                <a:gd name="connsiteX1800" fmla="*/ 2745581 w 6400800"/>
                <a:gd name="connsiteY1800" fmla="*/ 135731 h 514350"/>
                <a:gd name="connsiteX1801" fmla="*/ 2758916 w 6400800"/>
                <a:gd name="connsiteY1801" fmla="*/ 153829 h 514350"/>
                <a:gd name="connsiteX1802" fmla="*/ 2758916 w 6400800"/>
                <a:gd name="connsiteY1802" fmla="*/ 155734 h 514350"/>
                <a:gd name="connsiteX1803" fmla="*/ 2758916 w 6400800"/>
                <a:gd name="connsiteY1803" fmla="*/ 172879 h 514350"/>
                <a:gd name="connsiteX1804" fmla="*/ 2759869 w 6400800"/>
                <a:gd name="connsiteY1804" fmla="*/ 191929 h 514350"/>
                <a:gd name="connsiteX1805" fmla="*/ 2761774 w 6400800"/>
                <a:gd name="connsiteY1805" fmla="*/ 219551 h 514350"/>
                <a:gd name="connsiteX1806" fmla="*/ 2760821 w 6400800"/>
                <a:gd name="connsiteY1806" fmla="*/ 217646 h 514350"/>
                <a:gd name="connsiteX1807" fmla="*/ 2760821 w 6400800"/>
                <a:gd name="connsiteY1807" fmla="*/ 216694 h 514350"/>
                <a:gd name="connsiteX1808" fmla="*/ 2760821 w 6400800"/>
                <a:gd name="connsiteY1808" fmla="*/ 217646 h 514350"/>
                <a:gd name="connsiteX1809" fmla="*/ 2741771 w 6400800"/>
                <a:gd name="connsiteY1809" fmla="*/ 172879 h 514350"/>
                <a:gd name="connsiteX1810" fmla="*/ 2757011 w 6400800"/>
                <a:gd name="connsiteY1810" fmla="*/ 228124 h 514350"/>
                <a:gd name="connsiteX1811" fmla="*/ 2743676 w 6400800"/>
                <a:gd name="connsiteY1811" fmla="*/ 268129 h 514350"/>
                <a:gd name="connsiteX1812" fmla="*/ 2736056 w 6400800"/>
                <a:gd name="connsiteY1812" fmla="*/ 254794 h 514350"/>
                <a:gd name="connsiteX1813" fmla="*/ 2737009 w 6400800"/>
                <a:gd name="connsiteY1813" fmla="*/ 232886 h 514350"/>
                <a:gd name="connsiteX1814" fmla="*/ 2732246 w 6400800"/>
                <a:gd name="connsiteY1814" fmla="*/ 249079 h 514350"/>
                <a:gd name="connsiteX1815" fmla="*/ 2730341 w 6400800"/>
                <a:gd name="connsiteY1815" fmla="*/ 246221 h 514350"/>
                <a:gd name="connsiteX1816" fmla="*/ 2731294 w 6400800"/>
                <a:gd name="connsiteY1816" fmla="*/ 250031 h 514350"/>
                <a:gd name="connsiteX1817" fmla="*/ 2729389 w 6400800"/>
                <a:gd name="connsiteY1817" fmla="*/ 258604 h 514350"/>
                <a:gd name="connsiteX1818" fmla="*/ 2729389 w 6400800"/>
                <a:gd name="connsiteY1818" fmla="*/ 247174 h 514350"/>
                <a:gd name="connsiteX1819" fmla="*/ 2731294 w 6400800"/>
                <a:gd name="connsiteY1819" fmla="*/ 218599 h 514350"/>
                <a:gd name="connsiteX1820" fmla="*/ 2733199 w 6400800"/>
                <a:gd name="connsiteY1820" fmla="*/ 219551 h 514350"/>
                <a:gd name="connsiteX1821" fmla="*/ 2736056 w 6400800"/>
                <a:gd name="connsiteY1821" fmla="*/ 222409 h 514350"/>
                <a:gd name="connsiteX1822" fmla="*/ 2738914 w 6400800"/>
                <a:gd name="connsiteY1822" fmla="*/ 230981 h 514350"/>
                <a:gd name="connsiteX1823" fmla="*/ 2737961 w 6400800"/>
                <a:gd name="connsiteY1823" fmla="*/ 222409 h 514350"/>
                <a:gd name="connsiteX1824" fmla="*/ 2735104 w 6400800"/>
                <a:gd name="connsiteY1824" fmla="*/ 218599 h 514350"/>
                <a:gd name="connsiteX1825" fmla="*/ 2730341 w 6400800"/>
                <a:gd name="connsiteY1825" fmla="*/ 216694 h 514350"/>
                <a:gd name="connsiteX1826" fmla="*/ 2728436 w 6400800"/>
                <a:gd name="connsiteY1826" fmla="*/ 216694 h 514350"/>
                <a:gd name="connsiteX1827" fmla="*/ 2728436 w 6400800"/>
                <a:gd name="connsiteY1827" fmla="*/ 218599 h 514350"/>
                <a:gd name="connsiteX1828" fmla="*/ 2721769 w 6400800"/>
                <a:gd name="connsiteY1828" fmla="*/ 248126 h 514350"/>
                <a:gd name="connsiteX1829" fmla="*/ 2719864 w 6400800"/>
                <a:gd name="connsiteY1829" fmla="*/ 260509 h 514350"/>
                <a:gd name="connsiteX1830" fmla="*/ 2717006 w 6400800"/>
                <a:gd name="connsiteY1830" fmla="*/ 254794 h 514350"/>
                <a:gd name="connsiteX1831" fmla="*/ 2717006 w 6400800"/>
                <a:gd name="connsiteY1831" fmla="*/ 253841 h 514350"/>
                <a:gd name="connsiteX1832" fmla="*/ 2718911 w 6400800"/>
                <a:gd name="connsiteY1832" fmla="*/ 238601 h 514350"/>
                <a:gd name="connsiteX1833" fmla="*/ 2716054 w 6400800"/>
                <a:gd name="connsiteY1833" fmla="*/ 247174 h 514350"/>
                <a:gd name="connsiteX1834" fmla="*/ 2716054 w 6400800"/>
                <a:gd name="connsiteY1834" fmla="*/ 176689 h 514350"/>
                <a:gd name="connsiteX1835" fmla="*/ 2713196 w 6400800"/>
                <a:gd name="connsiteY1835" fmla="*/ 198596 h 514350"/>
                <a:gd name="connsiteX1836" fmla="*/ 2709386 w 6400800"/>
                <a:gd name="connsiteY1836" fmla="*/ 230029 h 514350"/>
                <a:gd name="connsiteX1837" fmla="*/ 2704624 w 6400800"/>
                <a:gd name="connsiteY1837" fmla="*/ 218599 h 514350"/>
                <a:gd name="connsiteX1838" fmla="*/ 2703671 w 6400800"/>
                <a:gd name="connsiteY1838" fmla="*/ 199549 h 514350"/>
                <a:gd name="connsiteX1839" fmla="*/ 2703671 w 6400800"/>
                <a:gd name="connsiteY1839" fmla="*/ 163354 h 514350"/>
                <a:gd name="connsiteX1840" fmla="*/ 2706529 w 6400800"/>
                <a:gd name="connsiteY1840" fmla="*/ 164306 h 514350"/>
                <a:gd name="connsiteX1841" fmla="*/ 2710339 w 6400800"/>
                <a:gd name="connsiteY1841" fmla="*/ 167164 h 514350"/>
                <a:gd name="connsiteX1842" fmla="*/ 2714149 w 6400800"/>
                <a:gd name="connsiteY1842" fmla="*/ 176689 h 514350"/>
                <a:gd name="connsiteX1843" fmla="*/ 2712244 w 6400800"/>
                <a:gd name="connsiteY1843" fmla="*/ 166211 h 514350"/>
                <a:gd name="connsiteX1844" fmla="*/ 2708434 w 6400800"/>
                <a:gd name="connsiteY1844" fmla="*/ 161449 h 514350"/>
                <a:gd name="connsiteX1845" fmla="*/ 2702719 w 6400800"/>
                <a:gd name="connsiteY1845" fmla="*/ 159544 h 514350"/>
                <a:gd name="connsiteX1846" fmla="*/ 2700814 w 6400800"/>
                <a:gd name="connsiteY1846" fmla="*/ 159544 h 514350"/>
                <a:gd name="connsiteX1847" fmla="*/ 2700814 w 6400800"/>
                <a:gd name="connsiteY1847" fmla="*/ 161449 h 514350"/>
                <a:gd name="connsiteX1848" fmla="*/ 2697004 w 6400800"/>
                <a:gd name="connsiteY1848" fmla="*/ 193834 h 514350"/>
                <a:gd name="connsiteX1849" fmla="*/ 2693194 w 6400800"/>
                <a:gd name="connsiteY1849" fmla="*/ 181451 h 514350"/>
                <a:gd name="connsiteX1850" fmla="*/ 2697004 w 6400800"/>
                <a:gd name="connsiteY1850" fmla="*/ 198596 h 514350"/>
                <a:gd name="connsiteX1851" fmla="*/ 2697004 w 6400800"/>
                <a:gd name="connsiteY1851" fmla="*/ 198596 h 514350"/>
                <a:gd name="connsiteX1852" fmla="*/ 2696051 w 6400800"/>
                <a:gd name="connsiteY1852" fmla="*/ 236696 h 514350"/>
                <a:gd name="connsiteX1853" fmla="*/ 2697004 w 6400800"/>
                <a:gd name="connsiteY1853" fmla="*/ 262414 h 514350"/>
                <a:gd name="connsiteX1854" fmla="*/ 2697004 w 6400800"/>
                <a:gd name="connsiteY1854" fmla="*/ 263366 h 514350"/>
                <a:gd name="connsiteX1855" fmla="*/ 2696051 w 6400800"/>
                <a:gd name="connsiteY1855" fmla="*/ 265271 h 514350"/>
                <a:gd name="connsiteX1856" fmla="*/ 2694146 w 6400800"/>
                <a:gd name="connsiteY1856" fmla="*/ 261461 h 514350"/>
                <a:gd name="connsiteX1857" fmla="*/ 2685574 w 6400800"/>
                <a:gd name="connsiteY1857" fmla="*/ 246221 h 514350"/>
                <a:gd name="connsiteX1858" fmla="*/ 2677954 w 6400800"/>
                <a:gd name="connsiteY1858" fmla="*/ 210979 h 514350"/>
                <a:gd name="connsiteX1859" fmla="*/ 2676049 w 6400800"/>
                <a:gd name="connsiteY1859" fmla="*/ 200501 h 514350"/>
                <a:gd name="connsiteX1860" fmla="*/ 2681764 w 6400800"/>
                <a:gd name="connsiteY1860" fmla="*/ 173831 h 514350"/>
                <a:gd name="connsiteX1861" fmla="*/ 2687479 w 6400800"/>
                <a:gd name="connsiteY1861" fmla="*/ 144304 h 514350"/>
                <a:gd name="connsiteX1862" fmla="*/ 2691289 w 6400800"/>
                <a:gd name="connsiteY1862" fmla="*/ 118586 h 514350"/>
                <a:gd name="connsiteX1863" fmla="*/ 2683669 w 6400800"/>
                <a:gd name="connsiteY1863" fmla="*/ 143351 h 514350"/>
                <a:gd name="connsiteX1864" fmla="*/ 2677954 w 6400800"/>
                <a:gd name="connsiteY1864" fmla="*/ 162401 h 514350"/>
                <a:gd name="connsiteX1865" fmla="*/ 2673191 w 6400800"/>
                <a:gd name="connsiteY1865" fmla="*/ 176689 h 514350"/>
                <a:gd name="connsiteX1866" fmla="*/ 2673191 w 6400800"/>
                <a:gd name="connsiteY1866" fmla="*/ 177641 h 514350"/>
                <a:gd name="connsiteX1867" fmla="*/ 2672239 w 6400800"/>
                <a:gd name="connsiteY1867" fmla="*/ 173831 h 514350"/>
                <a:gd name="connsiteX1868" fmla="*/ 2666524 w 6400800"/>
                <a:gd name="connsiteY1868" fmla="*/ 146209 h 514350"/>
                <a:gd name="connsiteX1869" fmla="*/ 2661761 w 6400800"/>
                <a:gd name="connsiteY1869" fmla="*/ 121444 h 514350"/>
                <a:gd name="connsiteX1870" fmla="*/ 2662714 w 6400800"/>
                <a:gd name="connsiteY1870" fmla="*/ 146209 h 514350"/>
                <a:gd name="connsiteX1871" fmla="*/ 2666524 w 6400800"/>
                <a:gd name="connsiteY1871" fmla="*/ 196691 h 514350"/>
                <a:gd name="connsiteX1872" fmla="*/ 2665571 w 6400800"/>
                <a:gd name="connsiteY1872" fmla="*/ 200501 h 514350"/>
                <a:gd name="connsiteX1873" fmla="*/ 2664619 w 6400800"/>
                <a:gd name="connsiteY1873" fmla="*/ 204311 h 514350"/>
                <a:gd name="connsiteX1874" fmla="*/ 2649379 w 6400800"/>
                <a:gd name="connsiteY1874" fmla="*/ 174784 h 514350"/>
                <a:gd name="connsiteX1875" fmla="*/ 2634139 w 6400800"/>
                <a:gd name="connsiteY1875" fmla="*/ 141446 h 514350"/>
                <a:gd name="connsiteX1876" fmla="*/ 2646521 w 6400800"/>
                <a:gd name="connsiteY1876" fmla="*/ 176689 h 514350"/>
                <a:gd name="connsiteX1877" fmla="*/ 2661761 w 6400800"/>
                <a:gd name="connsiteY1877" fmla="*/ 214789 h 514350"/>
                <a:gd name="connsiteX1878" fmla="*/ 2660809 w 6400800"/>
                <a:gd name="connsiteY1878" fmla="*/ 216694 h 514350"/>
                <a:gd name="connsiteX1879" fmla="*/ 2652236 w 6400800"/>
                <a:gd name="connsiteY1879" fmla="*/ 201454 h 514350"/>
                <a:gd name="connsiteX1880" fmla="*/ 2648426 w 6400800"/>
                <a:gd name="connsiteY1880" fmla="*/ 196691 h 514350"/>
                <a:gd name="connsiteX1881" fmla="*/ 2651284 w 6400800"/>
                <a:gd name="connsiteY1881" fmla="*/ 202406 h 514350"/>
                <a:gd name="connsiteX1882" fmla="*/ 2657951 w 6400800"/>
                <a:gd name="connsiteY1882" fmla="*/ 218599 h 514350"/>
                <a:gd name="connsiteX1883" fmla="*/ 2658904 w 6400800"/>
                <a:gd name="connsiteY1883" fmla="*/ 223361 h 514350"/>
                <a:gd name="connsiteX1884" fmla="*/ 2657951 w 6400800"/>
                <a:gd name="connsiteY1884" fmla="*/ 226219 h 514350"/>
                <a:gd name="connsiteX1885" fmla="*/ 2647474 w 6400800"/>
                <a:gd name="connsiteY1885" fmla="*/ 193834 h 514350"/>
                <a:gd name="connsiteX1886" fmla="*/ 2638901 w 6400800"/>
                <a:gd name="connsiteY1886" fmla="*/ 169069 h 514350"/>
                <a:gd name="connsiteX1887" fmla="*/ 2631281 w 6400800"/>
                <a:gd name="connsiteY1887" fmla="*/ 147161 h 514350"/>
                <a:gd name="connsiteX1888" fmla="*/ 2635091 w 6400800"/>
                <a:gd name="connsiteY1888" fmla="*/ 170021 h 514350"/>
                <a:gd name="connsiteX1889" fmla="*/ 2647474 w 6400800"/>
                <a:gd name="connsiteY1889" fmla="*/ 230029 h 514350"/>
                <a:gd name="connsiteX1890" fmla="*/ 2651284 w 6400800"/>
                <a:gd name="connsiteY1890" fmla="*/ 247174 h 514350"/>
                <a:gd name="connsiteX1891" fmla="*/ 2642711 w 6400800"/>
                <a:gd name="connsiteY1891" fmla="*/ 273844 h 514350"/>
                <a:gd name="connsiteX1892" fmla="*/ 2640806 w 6400800"/>
                <a:gd name="connsiteY1892" fmla="*/ 270034 h 514350"/>
                <a:gd name="connsiteX1893" fmla="*/ 2639854 w 6400800"/>
                <a:gd name="connsiteY1893" fmla="*/ 268129 h 514350"/>
                <a:gd name="connsiteX1894" fmla="*/ 2643664 w 6400800"/>
                <a:gd name="connsiteY1894" fmla="*/ 220504 h 514350"/>
                <a:gd name="connsiteX1895" fmla="*/ 2636996 w 6400800"/>
                <a:gd name="connsiteY1895" fmla="*/ 247174 h 514350"/>
                <a:gd name="connsiteX1896" fmla="*/ 2636044 w 6400800"/>
                <a:gd name="connsiteY1896" fmla="*/ 204311 h 514350"/>
                <a:gd name="connsiteX1897" fmla="*/ 2630329 w 6400800"/>
                <a:gd name="connsiteY1897" fmla="*/ 240506 h 514350"/>
                <a:gd name="connsiteX1898" fmla="*/ 2623661 w 6400800"/>
                <a:gd name="connsiteY1898" fmla="*/ 206216 h 514350"/>
                <a:gd name="connsiteX1899" fmla="*/ 2610326 w 6400800"/>
                <a:gd name="connsiteY1899" fmla="*/ 147161 h 514350"/>
                <a:gd name="connsiteX1900" fmla="*/ 2615089 w 6400800"/>
                <a:gd name="connsiteY1900" fmla="*/ 137636 h 514350"/>
                <a:gd name="connsiteX1901" fmla="*/ 2610326 w 6400800"/>
                <a:gd name="connsiteY1901" fmla="*/ 145256 h 514350"/>
                <a:gd name="connsiteX1902" fmla="*/ 2609374 w 6400800"/>
                <a:gd name="connsiteY1902" fmla="*/ 143351 h 514350"/>
                <a:gd name="connsiteX1903" fmla="*/ 2603659 w 6400800"/>
                <a:gd name="connsiteY1903" fmla="*/ 119539 h 514350"/>
                <a:gd name="connsiteX1904" fmla="*/ 2605564 w 6400800"/>
                <a:gd name="connsiteY1904" fmla="*/ 144304 h 514350"/>
                <a:gd name="connsiteX1905" fmla="*/ 2606516 w 6400800"/>
                <a:gd name="connsiteY1905" fmla="*/ 150971 h 514350"/>
                <a:gd name="connsiteX1906" fmla="*/ 2600801 w 6400800"/>
                <a:gd name="connsiteY1906" fmla="*/ 158591 h 514350"/>
                <a:gd name="connsiteX1907" fmla="*/ 2589371 w 6400800"/>
                <a:gd name="connsiteY1907" fmla="*/ 175736 h 514350"/>
                <a:gd name="connsiteX1908" fmla="*/ 2588419 w 6400800"/>
                <a:gd name="connsiteY1908" fmla="*/ 171926 h 514350"/>
                <a:gd name="connsiteX1909" fmla="*/ 2583656 w 6400800"/>
                <a:gd name="connsiteY1909" fmla="*/ 147161 h 514350"/>
                <a:gd name="connsiteX1910" fmla="*/ 2584609 w 6400800"/>
                <a:gd name="connsiteY1910" fmla="*/ 171926 h 514350"/>
                <a:gd name="connsiteX1911" fmla="*/ 2585561 w 6400800"/>
                <a:gd name="connsiteY1911" fmla="*/ 182404 h 514350"/>
                <a:gd name="connsiteX1912" fmla="*/ 2585561 w 6400800"/>
                <a:gd name="connsiteY1912" fmla="*/ 182404 h 514350"/>
                <a:gd name="connsiteX1913" fmla="*/ 2576036 w 6400800"/>
                <a:gd name="connsiteY1913" fmla="*/ 198596 h 514350"/>
                <a:gd name="connsiteX1914" fmla="*/ 2574131 w 6400800"/>
                <a:gd name="connsiteY1914" fmla="*/ 177641 h 514350"/>
                <a:gd name="connsiteX1915" fmla="*/ 2573179 w 6400800"/>
                <a:gd name="connsiteY1915" fmla="*/ 157639 h 514350"/>
                <a:gd name="connsiteX1916" fmla="*/ 2571274 w 6400800"/>
                <a:gd name="connsiteY1916" fmla="*/ 170974 h 514350"/>
                <a:gd name="connsiteX1917" fmla="*/ 2571274 w 6400800"/>
                <a:gd name="connsiteY1917" fmla="*/ 170021 h 514350"/>
                <a:gd name="connsiteX1918" fmla="*/ 2569369 w 6400800"/>
                <a:gd name="connsiteY1918" fmla="*/ 149066 h 514350"/>
                <a:gd name="connsiteX1919" fmla="*/ 2568416 w 6400800"/>
                <a:gd name="connsiteY1919" fmla="*/ 130016 h 514350"/>
                <a:gd name="connsiteX1920" fmla="*/ 2567464 w 6400800"/>
                <a:gd name="connsiteY1920" fmla="*/ 99536 h 514350"/>
                <a:gd name="connsiteX1921" fmla="*/ 2566511 w 6400800"/>
                <a:gd name="connsiteY1921" fmla="*/ 72866 h 514350"/>
                <a:gd name="connsiteX1922" fmla="*/ 2562701 w 6400800"/>
                <a:gd name="connsiteY1922" fmla="*/ 99536 h 514350"/>
                <a:gd name="connsiteX1923" fmla="*/ 2560796 w 6400800"/>
                <a:gd name="connsiteY1923" fmla="*/ 130016 h 514350"/>
                <a:gd name="connsiteX1924" fmla="*/ 2559844 w 6400800"/>
                <a:gd name="connsiteY1924" fmla="*/ 149066 h 514350"/>
                <a:gd name="connsiteX1925" fmla="*/ 2559844 w 6400800"/>
                <a:gd name="connsiteY1925" fmla="*/ 170021 h 514350"/>
                <a:gd name="connsiteX1926" fmla="*/ 2560796 w 6400800"/>
                <a:gd name="connsiteY1926" fmla="*/ 195739 h 514350"/>
                <a:gd name="connsiteX1927" fmla="*/ 2558891 w 6400800"/>
                <a:gd name="connsiteY1927" fmla="*/ 191929 h 514350"/>
                <a:gd name="connsiteX1928" fmla="*/ 2561749 w 6400800"/>
                <a:gd name="connsiteY1928" fmla="*/ 200501 h 514350"/>
                <a:gd name="connsiteX1929" fmla="*/ 2562701 w 6400800"/>
                <a:gd name="connsiteY1929" fmla="*/ 217646 h 514350"/>
                <a:gd name="connsiteX1930" fmla="*/ 2562701 w 6400800"/>
                <a:gd name="connsiteY1930" fmla="*/ 223361 h 514350"/>
                <a:gd name="connsiteX1931" fmla="*/ 2551271 w 6400800"/>
                <a:gd name="connsiteY1931" fmla="*/ 247174 h 514350"/>
                <a:gd name="connsiteX1932" fmla="*/ 2549366 w 6400800"/>
                <a:gd name="connsiteY1932" fmla="*/ 230029 h 514350"/>
                <a:gd name="connsiteX1933" fmla="*/ 2555081 w 6400800"/>
                <a:gd name="connsiteY1933" fmla="*/ 212884 h 514350"/>
                <a:gd name="connsiteX1934" fmla="*/ 2546509 w 6400800"/>
                <a:gd name="connsiteY1934" fmla="*/ 228124 h 514350"/>
                <a:gd name="connsiteX1935" fmla="*/ 2547461 w 6400800"/>
                <a:gd name="connsiteY1935" fmla="*/ 222409 h 514350"/>
                <a:gd name="connsiteX1936" fmla="*/ 2553176 w 6400800"/>
                <a:gd name="connsiteY1936" fmla="*/ 196691 h 514350"/>
                <a:gd name="connsiteX1937" fmla="*/ 2543651 w 6400800"/>
                <a:gd name="connsiteY1937" fmla="*/ 221456 h 514350"/>
                <a:gd name="connsiteX1938" fmla="*/ 2536984 w 6400800"/>
                <a:gd name="connsiteY1938" fmla="*/ 246221 h 514350"/>
                <a:gd name="connsiteX1939" fmla="*/ 2536984 w 6400800"/>
                <a:gd name="connsiteY1939" fmla="*/ 244316 h 514350"/>
                <a:gd name="connsiteX1940" fmla="*/ 2534126 w 6400800"/>
                <a:gd name="connsiteY1940" fmla="*/ 221456 h 514350"/>
                <a:gd name="connsiteX1941" fmla="*/ 2533174 w 6400800"/>
                <a:gd name="connsiteY1941" fmla="*/ 244316 h 514350"/>
                <a:gd name="connsiteX1942" fmla="*/ 2533174 w 6400800"/>
                <a:gd name="connsiteY1942" fmla="*/ 250984 h 514350"/>
                <a:gd name="connsiteX1943" fmla="*/ 2532221 w 6400800"/>
                <a:gd name="connsiteY1943" fmla="*/ 245269 h 514350"/>
                <a:gd name="connsiteX1944" fmla="*/ 2524601 w 6400800"/>
                <a:gd name="connsiteY1944" fmla="*/ 213836 h 514350"/>
                <a:gd name="connsiteX1945" fmla="*/ 2517934 w 6400800"/>
                <a:gd name="connsiteY1945" fmla="*/ 190024 h 514350"/>
                <a:gd name="connsiteX1946" fmla="*/ 2511266 w 6400800"/>
                <a:gd name="connsiteY1946" fmla="*/ 169069 h 514350"/>
                <a:gd name="connsiteX1947" fmla="*/ 2514124 w 6400800"/>
                <a:gd name="connsiteY1947" fmla="*/ 190976 h 514350"/>
                <a:gd name="connsiteX1948" fmla="*/ 2516981 w 6400800"/>
                <a:gd name="connsiteY1948" fmla="*/ 215741 h 514350"/>
                <a:gd name="connsiteX1949" fmla="*/ 2520791 w 6400800"/>
                <a:gd name="connsiteY1949" fmla="*/ 248126 h 514350"/>
                <a:gd name="connsiteX1950" fmla="*/ 2523649 w 6400800"/>
                <a:gd name="connsiteY1950" fmla="*/ 277654 h 514350"/>
                <a:gd name="connsiteX1951" fmla="*/ 2521744 w 6400800"/>
                <a:gd name="connsiteY1951" fmla="*/ 282416 h 514350"/>
                <a:gd name="connsiteX1952" fmla="*/ 2516981 w 6400800"/>
                <a:gd name="connsiteY1952" fmla="*/ 263366 h 514350"/>
                <a:gd name="connsiteX1953" fmla="*/ 2511266 w 6400800"/>
                <a:gd name="connsiteY1953" fmla="*/ 243364 h 514350"/>
                <a:gd name="connsiteX1954" fmla="*/ 2513171 w 6400800"/>
                <a:gd name="connsiteY1954" fmla="*/ 264319 h 514350"/>
                <a:gd name="connsiteX1955" fmla="*/ 2514124 w 6400800"/>
                <a:gd name="connsiteY1955" fmla="*/ 277654 h 514350"/>
                <a:gd name="connsiteX1956" fmla="*/ 2504599 w 6400800"/>
                <a:gd name="connsiteY1956" fmla="*/ 256699 h 514350"/>
                <a:gd name="connsiteX1957" fmla="*/ 2504599 w 6400800"/>
                <a:gd name="connsiteY1957" fmla="*/ 253841 h 514350"/>
                <a:gd name="connsiteX1958" fmla="*/ 2503646 w 6400800"/>
                <a:gd name="connsiteY1958" fmla="*/ 255746 h 514350"/>
                <a:gd name="connsiteX1959" fmla="*/ 2497931 w 6400800"/>
                <a:gd name="connsiteY1959" fmla="*/ 243364 h 514350"/>
                <a:gd name="connsiteX1960" fmla="*/ 2502694 w 6400800"/>
                <a:gd name="connsiteY1960" fmla="*/ 259556 h 514350"/>
                <a:gd name="connsiteX1961" fmla="*/ 2499836 w 6400800"/>
                <a:gd name="connsiteY1961" fmla="*/ 267176 h 514350"/>
                <a:gd name="connsiteX1962" fmla="*/ 2498884 w 6400800"/>
                <a:gd name="connsiteY1962" fmla="*/ 270034 h 514350"/>
                <a:gd name="connsiteX1963" fmla="*/ 2494121 w 6400800"/>
                <a:gd name="connsiteY1963" fmla="*/ 223361 h 514350"/>
                <a:gd name="connsiteX1964" fmla="*/ 2496026 w 6400800"/>
                <a:gd name="connsiteY1964" fmla="*/ 220504 h 514350"/>
                <a:gd name="connsiteX1965" fmla="*/ 2506504 w 6400800"/>
                <a:gd name="connsiteY1965" fmla="*/ 203359 h 514350"/>
                <a:gd name="connsiteX1966" fmla="*/ 2510314 w 6400800"/>
                <a:gd name="connsiteY1966" fmla="*/ 197644 h 514350"/>
                <a:gd name="connsiteX1967" fmla="*/ 2505551 w 6400800"/>
                <a:gd name="connsiteY1967" fmla="*/ 203359 h 514350"/>
                <a:gd name="connsiteX1968" fmla="*/ 2493169 w 6400800"/>
                <a:gd name="connsiteY1968" fmla="*/ 217646 h 514350"/>
                <a:gd name="connsiteX1969" fmla="*/ 2493169 w 6400800"/>
                <a:gd name="connsiteY1969" fmla="*/ 216694 h 514350"/>
                <a:gd name="connsiteX1970" fmla="*/ 2491264 w 6400800"/>
                <a:gd name="connsiteY1970" fmla="*/ 196691 h 514350"/>
                <a:gd name="connsiteX1971" fmla="*/ 2501741 w 6400800"/>
                <a:gd name="connsiteY1971" fmla="*/ 183356 h 514350"/>
                <a:gd name="connsiteX1972" fmla="*/ 2490311 w 6400800"/>
                <a:gd name="connsiteY1972" fmla="*/ 192881 h 514350"/>
                <a:gd name="connsiteX1973" fmla="*/ 2489359 w 6400800"/>
                <a:gd name="connsiteY1973" fmla="*/ 176689 h 514350"/>
                <a:gd name="connsiteX1974" fmla="*/ 2497931 w 6400800"/>
                <a:gd name="connsiteY1974" fmla="*/ 165259 h 514350"/>
                <a:gd name="connsiteX1975" fmla="*/ 2502694 w 6400800"/>
                <a:gd name="connsiteY1975" fmla="*/ 159544 h 514350"/>
                <a:gd name="connsiteX1976" fmla="*/ 2496979 w 6400800"/>
                <a:gd name="connsiteY1976" fmla="*/ 164306 h 514350"/>
                <a:gd name="connsiteX1977" fmla="*/ 2489359 w 6400800"/>
                <a:gd name="connsiteY1977" fmla="*/ 171926 h 514350"/>
                <a:gd name="connsiteX1978" fmla="*/ 2488406 w 6400800"/>
                <a:gd name="connsiteY1978" fmla="*/ 153829 h 514350"/>
                <a:gd name="connsiteX1979" fmla="*/ 2487454 w 6400800"/>
                <a:gd name="connsiteY1979" fmla="*/ 135731 h 514350"/>
                <a:gd name="connsiteX1980" fmla="*/ 2494121 w 6400800"/>
                <a:gd name="connsiteY1980" fmla="*/ 125254 h 514350"/>
                <a:gd name="connsiteX1981" fmla="*/ 2487454 w 6400800"/>
                <a:gd name="connsiteY1981" fmla="*/ 132874 h 514350"/>
                <a:gd name="connsiteX1982" fmla="*/ 2487454 w 6400800"/>
                <a:gd name="connsiteY1982" fmla="*/ 129064 h 514350"/>
                <a:gd name="connsiteX1983" fmla="*/ 2486501 w 6400800"/>
                <a:gd name="connsiteY1983" fmla="*/ 132874 h 514350"/>
                <a:gd name="connsiteX1984" fmla="*/ 2475071 w 6400800"/>
                <a:gd name="connsiteY1984" fmla="*/ 146209 h 514350"/>
                <a:gd name="connsiteX1985" fmla="*/ 2455069 w 6400800"/>
                <a:gd name="connsiteY1985" fmla="*/ 171926 h 514350"/>
                <a:gd name="connsiteX1986" fmla="*/ 2442686 w 6400800"/>
                <a:gd name="connsiteY1986" fmla="*/ 188119 h 514350"/>
                <a:gd name="connsiteX1987" fmla="*/ 2433161 w 6400800"/>
                <a:gd name="connsiteY1987" fmla="*/ 203359 h 514350"/>
                <a:gd name="connsiteX1988" fmla="*/ 2432209 w 6400800"/>
                <a:gd name="connsiteY1988" fmla="*/ 191929 h 514350"/>
                <a:gd name="connsiteX1989" fmla="*/ 2425541 w 6400800"/>
                <a:gd name="connsiteY1989" fmla="*/ 110966 h 514350"/>
                <a:gd name="connsiteX1990" fmla="*/ 2424589 w 6400800"/>
                <a:gd name="connsiteY1990" fmla="*/ 88106 h 514350"/>
                <a:gd name="connsiteX1991" fmla="*/ 2424589 w 6400800"/>
                <a:gd name="connsiteY1991" fmla="*/ 80486 h 514350"/>
                <a:gd name="connsiteX1992" fmla="*/ 2423636 w 6400800"/>
                <a:gd name="connsiteY1992" fmla="*/ 88106 h 514350"/>
                <a:gd name="connsiteX1993" fmla="*/ 2421731 w 6400800"/>
                <a:gd name="connsiteY1993" fmla="*/ 110966 h 514350"/>
                <a:gd name="connsiteX1994" fmla="*/ 2420779 w 6400800"/>
                <a:gd name="connsiteY1994" fmla="*/ 146209 h 514350"/>
                <a:gd name="connsiteX1995" fmla="*/ 2421731 w 6400800"/>
                <a:gd name="connsiteY1995" fmla="*/ 191929 h 514350"/>
                <a:gd name="connsiteX1996" fmla="*/ 2422684 w 6400800"/>
                <a:gd name="connsiteY1996" fmla="*/ 220504 h 514350"/>
                <a:gd name="connsiteX1997" fmla="*/ 2405539 w 6400800"/>
                <a:gd name="connsiteY1997" fmla="*/ 250031 h 514350"/>
                <a:gd name="connsiteX1998" fmla="*/ 2401729 w 6400800"/>
                <a:gd name="connsiteY1998" fmla="*/ 256699 h 514350"/>
                <a:gd name="connsiteX1999" fmla="*/ 2400776 w 6400800"/>
                <a:gd name="connsiteY1999" fmla="*/ 255746 h 514350"/>
                <a:gd name="connsiteX2000" fmla="*/ 2392204 w 6400800"/>
                <a:gd name="connsiteY2000" fmla="*/ 233839 h 514350"/>
                <a:gd name="connsiteX2001" fmla="*/ 2385536 w 6400800"/>
                <a:gd name="connsiteY2001" fmla="*/ 170974 h 514350"/>
                <a:gd name="connsiteX2002" fmla="*/ 2382679 w 6400800"/>
                <a:gd name="connsiteY2002" fmla="*/ 150971 h 514350"/>
                <a:gd name="connsiteX2003" fmla="*/ 2384584 w 6400800"/>
                <a:gd name="connsiteY2003" fmla="*/ 140494 h 514350"/>
                <a:gd name="connsiteX2004" fmla="*/ 2382679 w 6400800"/>
                <a:gd name="connsiteY2004" fmla="*/ 135731 h 514350"/>
                <a:gd name="connsiteX2005" fmla="*/ 2390299 w 6400800"/>
                <a:gd name="connsiteY2005" fmla="*/ 114776 h 514350"/>
                <a:gd name="connsiteX2006" fmla="*/ 2427446 w 6400800"/>
                <a:gd name="connsiteY2006" fmla="*/ 12859 h 514350"/>
                <a:gd name="connsiteX2007" fmla="*/ 2380774 w 6400800"/>
                <a:gd name="connsiteY2007" fmla="*/ 110014 h 514350"/>
                <a:gd name="connsiteX2008" fmla="*/ 2358866 w 6400800"/>
                <a:gd name="connsiteY2008" fmla="*/ 157639 h 514350"/>
                <a:gd name="connsiteX2009" fmla="*/ 2355056 w 6400800"/>
                <a:gd name="connsiteY2009" fmla="*/ 166211 h 514350"/>
                <a:gd name="connsiteX2010" fmla="*/ 2357914 w 6400800"/>
                <a:gd name="connsiteY2010" fmla="*/ 155734 h 514350"/>
                <a:gd name="connsiteX2011" fmla="*/ 2362676 w 6400800"/>
                <a:gd name="connsiteY2011" fmla="*/ 132874 h 514350"/>
                <a:gd name="connsiteX2012" fmla="*/ 2354104 w 6400800"/>
                <a:gd name="connsiteY2012" fmla="*/ 154781 h 514350"/>
                <a:gd name="connsiteX2013" fmla="*/ 2344579 w 6400800"/>
                <a:gd name="connsiteY2013" fmla="*/ 179546 h 514350"/>
                <a:gd name="connsiteX2014" fmla="*/ 2334101 w 6400800"/>
                <a:gd name="connsiteY2014" fmla="*/ 211931 h 514350"/>
                <a:gd name="connsiteX2015" fmla="*/ 2334101 w 6400800"/>
                <a:gd name="connsiteY2015" fmla="*/ 211931 h 514350"/>
                <a:gd name="connsiteX2016" fmla="*/ 2340769 w 6400800"/>
                <a:gd name="connsiteY2016" fmla="*/ 171926 h 514350"/>
                <a:gd name="connsiteX2017" fmla="*/ 2347436 w 6400800"/>
                <a:gd name="connsiteY2017" fmla="*/ 130969 h 514350"/>
                <a:gd name="connsiteX2018" fmla="*/ 2354104 w 6400800"/>
                <a:gd name="connsiteY2018" fmla="*/ 99536 h 514350"/>
                <a:gd name="connsiteX2019" fmla="*/ 2358866 w 6400800"/>
                <a:gd name="connsiteY2019" fmla="*/ 71914 h 514350"/>
                <a:gd name="connsiteX2020" fmla="*/ 2350294 w 6400800"/>
                <a:gd name="connsiteY2020" fmla="*/ 98584 h 514350"/>
                <a:gd name="connsiteX2021" fmla="*/ 2340769 w 6400800"/>
                <a:gd name="connsiteY2021" fmla="*/ 129064 h 514350"/>
                <a:gd name="connsiteX2022" fmla="*/ 2330291 w 6400800"/>
                <a:gd name="connsiteY2022" fmla="*/ 170021 h 514350"/>
                <a:gd name="connsiteX2023" fmla="*/ 2324576 w 6400800"/>
                <a:gd name="connsiteY2023" fmla="*/ 193834 h 514350"/>
                <a:gd name="connsiteX2024" fmla="*/ 2320766 w 6400800"/>
                <a:gd name="connsiteY2024" fmla="*/ 185261 h 514350"/>
                <a:gd name="connsiteX2025" fmla="*/ 2326481 w 6400800"/>
                <a:gd name="connsiteY2025" fmla="*/ 157639 h 514350"/>
                <a:gd name="connsiteX2026" fmla="*/ 2318861 w 6400800"/>
                <a:gd name="connsiteY2026" fmla="*/ 179546 h 514350"/>
                <a:gd name="connsiteX2027" fmla="*/ 2315051 w 6400800"/>
                <a:gd name="connsiteY2027" fmla="*/ 170974 h 514350"/>
                <a:gd name="connsiteX2028" fmla="*/ 2317909 w 6400800"/>
                <a:gd name="connsiteY2028" fmla="*/ 181451 h 514350"/>
                <a:gd name="connsiteX2029" fmla="*/ 2313146 w 6400800"/>
                <a:gd name="connsiteY2029" fmla="*/ 193834 h 514350"/>
                <a:gd name="connsiteX2030" fmla="*/ 2311241 w 6400800"/>
                <a:gd name="connsiteY2030" fmla="*/ 190976 h 514350"/>
                <a:gd name="connsiteX2031" fmla="*/ 2314099 w 6400800"/>
                <a:gd name="connsiteY2031" fmla="*/ 141446 h 514350"/>
                <a:gd name="connsiteX2032" fmla="*/ 2298859 w 6400800"/>
                <a:gd name="connsiteY2032" fmla="*/ 202406 h 514350"/>
                <a:gd name="connsiteX2033" fmla="*/ 2292191 w 6400800"/>
                <a:gd name="connsiteY2033" fmla="*/ 231934 h 514350"/>
                <a:gd name="connsiteX2034" fmla="*/ 2289334 w 6400800"/>
                <a:gd name="connsiteY2034" fmla="*/ 250031 h 514350"/>
                <a:gd name="connsiteX2035" fmla="*/ 2285524 w 6400800"/>
                <a:gd name="connsiteY2035" fmla="*/ 259556 h 514350"/>
                <a:gd name="connsiteX2036" fmla="*/ 2275999 w 6400800"/>
                <a:gd name="connsiteY2036" fmla="*/ 287179 h 514350"/>
                <a:gd name="connsiteX2037" fmla="*/ 2275999 w 6400800"/>
                <a:gd name="connsiteY2037" fmla="*/ 288131 h 514350"/>
                <a:gd name="connsiteX2038" fmla="*/ 2275999 w 6400800"/>
                <a:gd name="connsiteY2038" fmla="*/ 282416 h 514350"/>
                <a:gd name="connsiteX2039" fmla="*/ 2276951 w 6400800"/>
                <a:gd name="connsiteY2039" fmla="*/ 265271 h 514350"/>
                <a:gd name="connsiteX2040" fmla="*/ 2272189 w 6400800"/>
                <a:gd name="connsiteY2040" fmla="*/ 281464 h 514350"/>
                <a:gd name="connsiteX2041" fmla="*/ 2269331 w 6400800"/>
                <a:gd name="connsiteY2041" fmla="*/ 290989 h 514350"/>
                <a:gd name="connsiteX2042" fmla="*/ 2269331 w 6400800"/>
                <a:gd name="connsiteY2042" fmla="*/ 290989 h 514350"/>
                <a:gd name="connsiteX2043" fmla="*/ 2269331 w 6400800"/>
                <a:gd name="connsiteY2043" fmla="*/ 261461 h 514350"/>
                <a:gd name="connsiteX2044" fmla="*/ 2270284 w 6400800"/>
                <a:gd name="connsiteY2044" fmla="*/ 238601 h 514350"/>
                <a:gd name="connsiteX2045" fmla="*/ 2272189 w 6400800"/>
                <a:gd name="connsiteY2045" fmla="*/ 225266 h 514350"/>
                <a:gd name="connsiteX2046" fmla="*/ 2275999 w 6400800"/>
                <a:gd name="connsiteY2046" fmla="*/ 210979 h 514350"/>
                <a:gd name="connsiteX2047" fmla="*/ 2266474 w 6400800"/>
                <a:gd name="connsiteY2047" fmla="*/ 232886 h 514350"/>
                <a:gd name="connsiteX2048" fmla="*/ 2267426 w 6400800"/>
                <a:gd name="connsiteY2048" fmla="*/ 228124 h 514350"/>
                <a:gd name="connsiteX2049" fmla="*/ 2263616 w 6400800"/>
                <a:gd name="connsiteY2049" fmla="*/ 235744 h 514350"/>
                <a:gd name="connsiteX2050" fmla="*/ 2265521 w 6400800"/>
                <a:gd name="connsiteY2050" fmla="*/ 220504 h 514350"/>
                <a:gd name="connsiteX2051" fmla="*/ 2256949 w 6400800"/>
                <a:gd name="connsiteY2051" fmla="*/ 247174 h 514350"/>
                <a:gd name="connsiteX2052" fmla="*/ 2252186 w 6400800"/>
                <a:gd name="connsiteY2052" fmla="*/ 258604 h 514350"/>
                <a:gd name="connsiteX2053" fmla="*/ 2250281 w 6400800"/>
                <a:gd name="connsiteY2053" fmla="*/ 262414 h 514350"/>
                <a:gd name="connsiteX2054" fmla="*/ 2255044 w 6400800"/>
                <a:gd name="connsiteY2054" fmla="*/ 243364 h 514350"/>
                <a:gd name="connsiteX2055" fmla="*/ 2267426 w 6400800"/>
                <a:gd name="connsiteY2055" fmla="*/ 178594 h 514350"/>
                <a:gd name="connsiteX2056" fmla="*/ 2270284 w 6400800"/>
                <a:gd name="connsiteY2056" fmla="*/ 153829 h 514350"/>
                <a:gd name="connsiteX2057" fmla="*/ 2262664 w 6400800"/>
                <a:gd name="connsiteY2057" fmla="*/ 177641 h 514350"/>
                <a:gd name="connsiteX2058" fmla="*/ 2254091 w 6400800"/>
                <a:gd name="connsiteY2058" fmla="*/ 205264 h 514350"/>
                <a:gd name="connsiteX2059" fmla="*/ 2246471 w 6400800"/>
                <a:gd name="connsiteY2059" fmla="*/ 230981 h 514350"/>
                <a:gd name="connsiteX2060" fmla="*/ 2241709 w 6400800"/>
                <a:gd name="connsiteY2060" fmla="*/ 244316 h 514350"/>
                <a:gd name="connsiteX2061" fmla="*/ 2239804 w 6400800"/>
                <a:gd name="connsiteY2061" fmla="*/ 233839 h 514350"/>
                <a:gd name="connsiteX2062" fmla="*/ 2233136 w 6400800"/>
                <a:gd name="connsiteY2062" fmla="*/ 205264 h 514350"/>
                <a:gd name="connsiteX2063" fmla="*/ 2237899 w 6400800"/>
                <a:gd name="connsiteY2063" fmla="*/ 255746 h 514350"/>
                <a:gd name="connsiteX2064" fmla="*/ 2234089 w 6400800"/>
                <a:gd name="connsiteY2064" fmla="*/ 269081 h 514350"/>
                <a:gd name="connsiteX2065" fmla="*/ 2233136 w 6400800"/>
                <a:gd name="connsiteY2065" fmla="*/ 270034 h 514350"/>
                <a:gd name="connsiteX2066" fmla="*/ 2233136 w 6400800"/>
                <a:gd name="connsiteY2066" fmla="*/ 263366 h 514350"/>
                <a:gd name="connsiteX2067" fmla="*/ 2231231 w 6400800"/>
                <a:gd name="connsiteY2067" fmla="*/ 234791 h 514350"/>
                <a:gd name="connsiteX2068" fmla="*/ 2228374 w 6400800"/>
                <a:gd name="connsiteY2068" fmla="*/ 207169 h 514350"/>
                <a:gd name="connsiteX2069" fmla="*/ 2230279 w 6400800"/>
                <a:gd name="connsiteY2069" fmla="*/ 193834 h 514350"/>
                <a:gd name="connsiteX2070" fmla="*/ 2226469 w 6400800"/>
                <a:gd name="connsiteY2070" fmla="*/ 204311 h 514350"/>
                <a:gd name="connsiteX2071" fmla="*/ 2222659 w 6400800"/>
                <a:gd name="connsiteY2071" fmla="*/ 200501 h 514350"/>
                <a:gd name="connsiteX2072" fmla="*/ 2220754 w 6400800"/>
                <a:gd name="connsiteY2072" fmla="*/ 199549 h 514350"/>
                <a:gd name="connsiteX2073" fmla="*/ 2217896 w 6400800"/>
                <a:gd name="connsiteY2073" fmla="*/ 199549 h 514350"/>
                <a:gd name="connsiteX2074" fmla="*/ 2215039 w 6400800"/>
                <a:gd name="connsiteY2074" fmla="*/ 202406 h 514350"/>
                <a:gd name="connsiteX2075" fmla="*/ 2213134 w 6400800"/>
                <a:gd name="connsiteY2075" fmla="*/ 214789 h 514350"/>
                <a:gd name="connsiteX2076" fmla="*/ 2217896 w 6400800"/>
                <a:gd name="connsiteY2076" fmla="*/ 203359 h 514350"/>
                <a:gd name="connsiteX2077" fmla="*/ 2219801 w 6400800"/>
                <a:gd name="connsiteY2077" fmla="*/ 201454 h 514350"/>
                <a:gd name="connsiteX2078" fmla="*/ 2220754 w 6400800"/>
                <a:gd name="connsiteY2078" fmla="*/ 202406 h 514350"/>
                <a:gd name="connsiteX2079" fmla="*/ 2223611 w 6400800"/>
                <a:gd name="connsiteY2079" fmla="*/ 207169 h 514350"/>
                <a:gd name="connsiteX2080" fmla="*/ 2223611 w 6400800"/>
                <a:gd name="connsiteY2080" fmla="*/ 215741 h 514350"/>
                <a:gd name="connsiteX2081" fmla="*/ 2223611 w 6400800"/>
                <a:gd name="connsiteY2081" fmla="*/ 215741 h 514350"/>
                <a:gd name="connsiteX2082" fmla="*/ 2215991 w 6400800"/>
                <a:gd name="connsiteY2082" fmla="*/ 241459 h 514350"/>
                <a:gd name="connsiteX2083" fmla="*/ 2206466 w 6400800"/>
                <a:gd name="connsiteY2083" fmla="*/ 274796 h 514350"/>
                <a:gd name="connsiteX2084" fmla="*/ 2196941 w 6400800"/>
                <a:gd name="connsiteY2084" fmla="*/ 313849 h 514350"/>
                <a:gd name="connsiteX2085" fmla="*/ 2195989 w 6400800"/>
                <a:gd name="connsiteY2085" fmla="*/ 305276 h 514350"/>
                <a:gd name="connsiteX2086" fmla="*/ 2195036 w 6400800"/>
                <a:gd name="connsiteY2086" fmla="*/ 317659 h 514350"/>
                <a:gd name="connsiteX2087" fmla="*/ 2193131 w 6400800"/>
                <a:gd name="connsiteY2087" fmla="*/ 314801 h 514350"/>
                <a:gd name="connsiteX2088" fmla="*/ 2195036 w 6400800"/>
                <a:gd name="connsiteY2088" fmla="*/ 318611 h 514350"/>
                <a:gd name="connsiteX2089" fmla="*/ 2195036 w 6400800"/>
                <a:gd name="connsiteY2089" fmla="*/ 323374 h 514350"/>
                <a:gd name="connsiteX2090" fmla="*/ 2192179 w 6400800"/>
                <a:gd name="connsiteY2090" fmla="*/ 334804 h 514350"/>
                <a:gd name="connsiteX2091" fmla="*/ 2190274 w 6400800"/>
                <a:gd name="connsiteY2091" fmla="*/ 330994 h 514350"/>
                <a:gd name="connsiteX2092" fmla="*/ 2191226 w 6400800"/>
                <a:gd name="connsiteY2092" fmla="*/ 330041 h 514350"/>
                <a:gd name="connsiteX2093" fmla="*/ 2190274 w 6400800"/>
                <a:gd name="connsiteY2093" fmla="*/ 330994 h 514350"/>
                <a:gd name="connsiteX2094" fmla="*/ 2188369 w 6400800"/>
                <a:gd name="connsiteY2094" fmla="*/ 326231 h 514350"/>
                <a:gd name="connsiteX2095" fmla="*/ 2189321 w 6400800"/>
                <a:gd name="connsiteY2095" fmla="*/ 331946 h 514350"/>
                <a:gd name="connsiteX2096" fmla="*/ 2188369 w 6400800"/>
                <a:gd name="connsiteY2096" fmla="*/ 332899 h 514350"/>
                <a:gd name="connsiteX2097" fmla="*/ 2185511 w 6400800"/>
                <a:gd name="connsiteY2097" fmla="*/ 315754 h 514350"/>
                <a:gd name="connsiteX2098" fmla="*/ 2184559 w 6400800"/>
                <a:gd name="connsiteY2098" fmla="*/ 336709 h 514350"/>
                <a:gd name="connsiteX2099" fmla="*/ 2184559 w 6400800"/>
                <a:gd name="connsiteY2099" fmla="*/ 337661 h 514350"/>
                <a:gd name="connsiteX2100" fmla="*/ 2179796 w 6400800"/>
                <a:gd name="connsiteY2100" fmla="*/ 343376 h 514350"/>
                <a:gd name="connsiteX2101" fmla="*/ 2178844 w 6400800"/>
                <a:gd name="connsiteY2101" fmla="*/ 340519 h 514350"/>
                <a:gd name="connsiteX2102" fmla="*/ 2192179 w 6400800"/>
                <a:gd name="connsiteY2102" fmla="*/ 283369 h 514350"/>
                <a:gd name="connsiteX2103" fmla="*/ 2212181 w 6400800"/>
                <a:gd name="connsiteY2103" fmla="*/ 190024 h 514350"/>
                <a:gd name="connsiteX2104" fmla="*/ 2183606 w 6400800"/>
                <a:gd name="connsiteY2104" fmla="*/ 272891 h 514350"/>
                <a:gd name="connsiteX2105" fmla="*/ 2187416 w 6400800"/>
                <a:gd name="connsiteY2105" fmla="*/ 253841 h 514350"/>
                <a:gd name="connsiteX2106" fmla="*/ 2192179 w 6400800"/>
                <a:gd name="connsiteY2106" fmla="*/ 231934 h 514350"/>
                <a:gd name="connsiteX2107" fmla="*/ 2196941 w 6400800"/>
                <a:gd name="connsiteY2107" fmla="*/ 210026 h 514350"/>
                <a:gd name="connsiteX2108" fmla="*/ 2200751 w 6400800"/>
                <a:gd name="connsiteY2108" fmla="*/ 193834 h 514350"/>
                <a:gd name="connsiteX2109" fmla="*/ 2204561 w 6400800"/>
                <a:gd name="connsiteY2109" fmla="*/ 179546 h 514350"/>
                <a:gd name="connsiteX2110" fmla="*/ 2211229 w 6400800"/>
                <a:gd name="connsiteY2110" fmla="*/ 155734 h 514350"/>
                <a:gd name="connsiteX2111" fmla="*/ 2217896 w 6400800"/>
                <a:gd name="connsiteY2111" fmla="*/ 134779 h 514350"/>
                <a:gd name="connsiteX2112" fmla="*/ 2211229 w 6400800"/>
                <a:gd name="connsiteY2112" fmla="*/ 148114 h 514350"/>
                <a:gd name="connsiteX2113" fmla="*/ 2211229 w 6400800"/>
                <a:gd name="connsiteY2113" fmla="*/ 147161 h 514350"/>
                <a:gd name="connsiteX2114" fmla="*/ 2216944 w 6400800"/>
                <a:gd name="connsiteY2114" fmla="*/ 125254 h 514350"/>
                <a:gd name="connsiteX2115" fmla="*/ 2222659 w 6400800"/>
                <a:gd name="connsiteY2115" fmla="*/ 105251 h 514350"/>
                <a:gd name="connsiteX2116" fmla="*/ 2233136 w 6400800"/>
                <a:gd name="connsiteY2116" fmla="*/ 72866 h 514350"/>
                <a:gd name="connsiteX2117" fmla="*/ 2242661 w 6400800"/>
                <a:gd name="connsiteY2117" fmla="*/ 45244 h 514350"/>
                <a:gd name="connsiteX2118" fmla="*/ 2229326 w 6400800"/>
                <a:gd name="connsiteY2118" fmla="*/ 71914 h 514350"/>
                <a:gd name="connsiteX2119" fmla="*/ 2215991 w 6400800"/>
                <a:gd name="connsiteY2119" fmla="*/ 103346 h 514350"/>
                <a:gd name="connsiteX2120" fmla="*/ 2208371 w 6400800"/>
                <a:gd name="connsiteY2120" fmla="*/ 122396 h 514350"/>
                <a:gd name="connsiteX2121" fmla="*/ 2200751 w 6400800"/>
                <a:gd name="connsiteY2121" fmla="*/ 144304 h 514350"/>
                <a:gd name="connsiteX2122" fmla="*/ 2184559 w 6400800"/>
                <a:gd name="connsiteY2122" fmla="*/ 193834 h 514350"/>
                <a:gd name="connsiteX2123" fmla="*/ 2175034 w 6400800"/>
                <a:gd name="connsiteY2123" fmla="*/ 228124 h 514350"/>
                <a:gd name="connsiteX2124" fmla="*/ 2177891 w 6400800"/>
                <a:gd name="connsiteY2124" fmla="*/ 203359 h 514350"/>
                <a:gd name="connsiteX2125" fmla="*/ 2178844 w 6400800"/>
                <a:gd name="connsiteY2125" fmla="*/ 190024 h 514350"/>
                <a:gd name="connsiteX2126" fmla="*/ 2180749 w 6400800"/>
                <a:gd name="connsiteY2126" fmla="*/ 184309 h 514350"/>
                <a:gd name="connsiteX2127" fmla="*/ 2179796 w 6400800"/>
                <a:gd name="connsiteY2127" fmla="*/ 187166 h 514350"/>
                <a:gd name="connsiteX2128" fmla="*/ 2180749 w 6400800"/>
                <a:gd name="connsiteY2128" fmla="*/ 176689 h 514350"/>
                <a:gd name="connsiteX2129" fmla="*/ 2175986 w 6400800"/>
                <a:gd name="connsiteY2129" fmla="*/ 194786 h 514350"/>
                <a:gd name="connsiteX2130" fmla="*/ 2170271 w 6400800"/>
                <a:gd name="connsiteY2130" fmla="*/ 208121 h 514350"/>
                <a:gd name="connsiteX2131" fmla="*/ 2144554 w 6400800"/>
                <a:gd name="connsiteY2131" fmla="*/ 271939 h 514350"/>
                <a:gd name="connsiteX2132" fmla="*/ 2135029 w 6400800"/>
                <a:gd name="connsiteY2132" fmla="*/ 296704 h 514350"/>
                <a:gd name="connsiteX2133" fmla="*/ 2135029 w 6400800"/>
                <a:gd name="connsiteY2133" fmla="*/ 295751 h 514350"/>
                <a:gd name="connsiteX2134" fmla="*/ 2129314 w 6400800"/>
                <a:gd name="connsiteY2134" fmla="*/ 282416 h 514350"/>
                <a:gd name="connsiteX2135" fmla="*/ 2137886 w 6400800"/>
                <a:gd name="connsiteY2135" fmla="*/ 231934 h 514350"/>
                <a:gd name="connsiteX2136" fmla="*/ 2141696 w 6400800"/>
                <a:gd name="connsiteY2136" fmla="*/ 210026 h 514350"/>
                <a:gd name="connsiteX2137" fmla="*/ 2134076 w 6400800"/>
                <a:gd name="connsiteY2137" fmla="*/ 230981 h 514350"/>
                <a:gd name="connsiteX2138" fmla="*/ 2123599 w 6400800"/>
                <a:gd name="connsiteY2138" fmla="*/ 263366 h 514350"/>
                <a:gd name="connsiteX2139" fmla="*/ 2122646 w 6400800"/>
                <a:gd name="connsiteY2139" fmla="*/ 253841 h 514350"/>
                <a:gd name="connsiteX2140" fmla="*/ 2117884 w 6400800"/>
                <a:gd name="connsiteY2140" fmla="*/ 211931 h 514350"/>
                <a:gd name="connsiteX2141" fmla="*/ 2112169 w 6400800"/>
                <a:gd name="connsiteY2141" fmla="*/ 176689 h 514350"/>
                <a:gd name="connsiteX2142" fmla="*/ 2107406 w 6400800"/>
                <a:gd name="connsiteY2142" fmla="*/ 150019 h 514350"/>
                <a:gd name="connsiteX2143" fmla="*/ 2102644 w 6400800"/>
                <a:gd name="connsiteY2143" fmla="*/ 127159 h 514350"/>
                <a:gd name="connsiteX2144" fmla="*/ 2103596 w 6400800"/>
                <a:gd name="connsiteY2144" fmla="*/ 150971 h 514350"/>
                <a:gd name="connsiteX2145" fmla="*/ 2104549 w 6400800"/>
                <a:gd name="connsiteY2145" fmla="*/ 168116 h 514350"/>
                <a:gd name="connsiteX2146" fmla="*/ 2104549 w 6400800"/>
                <a:gd name="connsiteY2146" fmla="*/ 183356 h 514350"/>
                <a:gd name="connsiteX2147" fmla="*/ 2105501 w 6400800"/>
                <a:gd name="connsiteY2147" fmla="*/ 207169 h 514350"/>
                <a:gd name="connsiteX2148" fmla="*/ 2106454 w 6400800"/>
                <a:gd name="connsiteY2148" fmla="*/ 225266 h 514350"/>
                <a:gd name="connsiteX2149" fmla="*/ 2104549 w 6400800"/>
                <a:gd name="connsiteY2149" fmla="*/ 221456 h 514350"/>
                <a:gd name="connsiteX2150" fmla="*/ 2104549 w 6400800"/>
                <a:gd name="connsiteY2150" fmla="*/ 221456 h 514350"/>
                <a:gd name="connsiteX2151" fmla="*/ 2104549 w 6400800"/>
                <a:gd name="connsiteY2151" fmla="*/ 221456 h 514350"/>
                <a:gd name="connsiteX2152" fmla="*/ 2102644 w 6400800"/>
                <a:gd name="connsiteY2152" fmla="*/ 215741 h 514350"/>
                <a:gd name="connsiteX2153" fmla="*/ 2101691 w 6400800"/>
                <a:gd name="connsiteY2153" fmla="*/ 205264 h 514350"/>
                <a:gd name="connsiteX2154" fmla="*/ 2098834 w 6400800"/>
                <a:gd name="connsiteY2154" fmla="*/ 176689 h 514350"/>
                <a:gd name="connsiteX2155" fmla="*/ 2097881 w 6400800"/>
                <a:gd name="connsiteY2155" fmla="*/ 168116 h 514350"/>
                <a:gd name="connsiteX2156" fmla="*/ 2102644 w 6400800"/>
                <a:gd name="connsiteY2156" fmla="*/ 149066 h 514350"/>
                <a:gd name="connsiteX2157" fmla="*/ 2096929 w 6400800"/>
                <a:gd name="connsiteY2157" fmla="*/ 162401 h 514350"/>
                <a:gd name="connsiteX2158" fmla="*/ 2095024 w 6400800"/>
                <a:gd name="connsiteY2158" fmla="*/ 151924 h 514350"/>
                <a:gd name="connsiteX2159" fmla="*/ 2095024 w 6400800"/>
                <a:gd name="connsiteY2159" fmla="*/ 167164 h 514350"/>
                <a:gd name="connsiteX2160" fmla="*/ 2066449 w 6400800"/>
                <a:gd name="connsiteY2160" fmla="*/ 235744 h 514350"/>
                <a:gd name="connsiteX2161" fmla="*/ 2056924 w 6400800"/>
                <a:gd name="connsiteY2161" fmla="*/ 259556 h 514350"/>
                <a:gd name="connsiteX2162" fmla="*/ 2063591 w 6400800"/>
                <a:gd name="connsiteY2162" fmla="*/ 219551 h 514350"/>
                <a:gd name="connsiteX2163" fmla="*/ 2052161 w 6400800"/>
                <a:gd name="connsiteY2163" fmla="*/ 252889 h 514350"/>
                <a:gd name="connsiteX2164" fmla="*/ 2050256 w 6400800"/>
                <a:gd name="connsiteY2164" fmla="*/ 248126 h 514350"/>
                <a:gd name="connsiteX2165" fmla="*/ 2050256 w 6400800"/>
                <a:gd name="connsiteY2165" fmla="*/ 233839 h 514350"/>
                <a:gd name="connsiteX2166" fmla="*/ 2048351 w 6400800"/>
                <a:gd name="connsiteY2166" fmla="*/ 244316 h 514350"/>
                <a:gd name="connsiteX2167" fmla="*/ 2046446 w 6400800"/>
                <a:gd name="connsiteY2167" fmla="*/ 240506 h 514350"/>
                <a:gd name="connsiteX2168" fmla="*/ 2047399 w 6400800"/>
                <a:gd name="connsiteY2168" fmla="*/ 247174 h 514350"/>
                <a:gd name="connsiteX2169" fmla="*/ 2044541 w 6400800"/>
                <a:gd name="connsiteY2169" fmla="*/ 266224 h 514350"/>
                <a:gd name="connsiteX2170" fmla="*/ 2043589 w 6400800"/>
                <a:gd name="connsiteY2170" fmla="*/ 259556 h 514350"/>
                <a:gd name="connsiteX2171" fmla="*/ 2041684 w 6400800"/>
                <a:gd name="connsiteY2171" fmla="*/ 249079 h 514350"/>
                <a:gd name="connsiteX2172" fmla="*/ 2048351 w 6400800"/>
                <a:gd name="connsiteY2172" fmla="*/ 184309 h 514350"/>
                <a:gd name="connsiteX2173" fmla="*/ 2039779 w 6400800"/>
                <a:gd name="connsiteY2173" fmla="*/ 216694 h 514350"/>
                <a:gd name="connsiteX2174" fmla="*/ 2036921 w 6400800"/>
                <a:gd name="connsiteY2174" fmla="*/ 223361 h 514350"/>
                <a:gd name="connsiteX2175" fmla="*/ 2035969 w 6400800"/>
                <a:gd name="connsiteY2175" fmla="*/ 218599 h 514350"/>
                <a:gd name="connsiteX2176" fmla="*/ 2031206 w 6400800"/>
                <a:gd name="connsiteY2176" fmla="*/ 187166 h 514350"/>
                <a:gd name="connsiteX2177" fmla="*/ 2028349 w 6400800"/>
                <a:gd name="connsiteY2177" fmla="*/ 169069 h 514350"/>
                <a:gd name="connsiteX2178" fmla="*/ 2031206 w 6400800"/>
                <a:gd name="connsiteY2178" fmla="*/ 147161 h 514350"/>
                <a:gd name="connsiteX2179" fmla="*/ 2028349 w 6400800"/>
                <a:gd name="connsiteY2179" fmla="*/ 157639 h 514350"/>
                <a:gd name="connsiteX2180" fmla="*/ 2030254 w 6400800"/>
                <a:gd name="connsiteY2180" fmla="*/ 138589 h 514350"/>
                <a:gd name="connsiteX2181" fmla="*/ 2023586 w 6400800"/>
                <a:gd name="connsiteY2181" fmla="*/ 160496 h 514350"/>
                <a:gd name="connsiteX2182" fmla="*/ 2017871 w 6400800"/>
                <a:gd name="connsiteY2182" fmla="*/ 186214 h 514350"/>
                <a:gd name="connsiteX2183" fmla="*/ 2016919 w 6400800"/>
                <a:gd name="connsiteY2183" fmla="*/ 191929 h 514350"/>
                <a:gd name="connsiteX2184" fmla="*/ 2016919 w 6400800"/>
                <a:gd name="connsiteY2184" fmla="*/ 190976 h 514350"/>
                <a:gd name="connsiteX2185" fmla="*/ 2019776 w 6400800"/>
                <a:gd name="connsiteY2185" fmla="*/ 158591 h 514350"/>
                <a:gd name="connsiteX2186" fmla="*/ 2015014 w 6400800"/>
                <a:gd name="connsiteY2186" fmla="*/ 178594 h 514350"/>
                <a:gd name="connsiteX2187" fmla="*/ 2014061 w 6400800"/>
                <a:gd name="connsiteY2187" fmla="*/ 174784 h 514350"/>
                <a:gd name="connsiteX2188" fmla="*/ 2014061 w 6400800"/>
                <a:gd name="connsiteY2188" fmla="*/ 177641 h 514350"/>
                <a:gd name="connsiteX2189" fmla="*/ 2011204 w 6400800"/>
                <a:gd name="connsiteY2189" fmla="*/ 163354 h 514350"/>
                <a:gd name="connsiteX2190" fmla="*/ 2003584 w 6400800"/>
                <a:gd name="connsiteY2190" fmla="*/ 125254 h 514350"/>
                <a:gd name="connsiteX2191" fmla="*/ 1996916 w 6400800"/>
                <a:gd name="connsiteY2191" fmla="*/ 91916 h 514350"/>
                <a:gd name="connsiteX2192" fmla="*/ 1999774 w 6400800"/>
                <a:gd name="connsiteY2192" fmla="*/ 125254 h 514350"/>
                <a:gd name="connsiteX2193" fmla="*/ 2003584 w 6400800"/>
                <a:gd name="connsiteY2193" fmla="*/ 164306 h 514350"/>
                <a:gd name="connsiteX2194" fmla="*/ 2008346 w 6400800"/>
                <a:gd name="connsiteY2194" fmla="*/ 203359 h 514350"/>
                <a:gd name="connsiteX2195" fmla="*/ 1999774 w 6400800"/>
                <a:gd name="connsiteY2195" fmla="*/ 240506 h 514350"/>
                <a:gd name="connsiteX2196" fmla="*/ 1984534 w 6400800"/>
                <a:gd name="connsiteY2196" fmla="*/ 314801 h 514350"/>
                <a:gd name="connsiteX2197" fmla="*/ 1984534 w 6400800"/>
                <a:gd name="connsiteY2197" fmla="*/ 283369 h 514350"/>
                <a:gd name="connsiteX2198" fmla="*/ 1984534 w 6400800"/>
                <a:gd name="connsiteY2198" fmla="*/ 267176 h 514350"/>
                <a:gd name="connsiteX2199" fmla="*/ 1986439 w 6400800"/>
                <a:gd name="connsiteY2199" fmla="*/ 263366 h 514350"/>
                <a:gd name="connsiteX2200" fmla="*/ 1984534 w 6400800"/>
                <a:gd name="connsiteY2200" fmla="*/ 265271 h 514350"/>
                <a:gd name="connsiteX2201" fmla="*/ 1985486 w 6400800"/>
                <a:gd name="connsiteY2201" fmla="*/ 243364 h 514350"/>
                <a:gd name="connsiteX2202" fmla="*/ 1987391 w 6400800"/>
                <a:gd name="connsiteY2202" fmla="*/ 212884 h 514350"/>
                <a:gd name="connsiteX2203" fmla="*/ 1989296 w 6400800"/>
                <a:gd name="connsiteY2203" fmla="*/ 186214 h 514350"/>
                <a:gd name="connsiteX2204" fmla="*/ 1983581 w 6400800"/>
                <a:gd name="connsiteY2204" fmla="*/ 211931 h 514350"/>
                <a:gd name="connsiteX2205" fmla="*/ 1978819 w 6400800"/>
                <a:gd name="connsiteY2205" fmla="*/ 242411 h 514350"/>
                <a:gd name="connsiteX2206" fmla="*/ 1974056 w 6400800"/>
                <a:gd name="connsiteY2206" fmla="*/ 281464 h 514350"/>
                <a:gd name="connsiteX2207" fmla="*/ 1973104 w 6400800"/>
                <a:gd name="connsiteY2207" fmla="*/ 282416 h 514350"/>
                <a:gd name="connsiteX2208" fmla="*/ 1968341 w 6400800"/>
                <a:gd name="connsiteY2208" fmla="*/ 289084 h 514350"/>
                <a:gd name="connsiteX2209" fmla="*/ 1968341 w 6400800"/>
                <a:gd name="connsiteY2209" fmla="*/ 283369 h 514350"/>
                <a:gd name="connsiteX2210" fmla="*/ 1973104 w 6400800"/>
                <a:gd name="connsiteY2210" fmla="*/ 274796 h 514350"/>
                <a:gd name="connsiteX2211" fmla="*/ 1968341 w 6400800"/>
                <a:gd name="connsiteY2211" fmla="*/ 280511 h 514350"/>
                <a:gd name="connsiteX2212" fmla="*/ 1973104 w 6400800"/>
                <a:gd name="connsiteY2212" fmla="*/ 224314 h 514350"/>
                <a:gd name="connsiteX2213" fmla="*/ 1976914 w 6400800"/>
                <a:gd name="connsiteY2213" fmla="*/ 187166 h 514350"/>
                <a:gd name="connsiteX2214" fmla="*/ 1967389 w 6400800"/>
                <a:gd name="connsiteY2214" fmla="*/ 218599 h 514350"/>
                <a:gd name="connsiteX2215" fmla="*/ 1967389 w 6400800"/>
                <a:gd name="connsiteY2215" fmla="*/ 216694 h 514350"/>
                <a:gd name="connsiteX2216" fmla="*/ 1966436 w 6400800"/>
                <a:gd name="connsiteY2216" fmla="*/ 220504 h 514350"/>
                <a:gd name="connsiteX2217" fmla="*/ 1957864 w 6400800"/>
                <a:gd name="connsiteY2217" fmla="*/ 250031 h 514350"/>
                <a:gd name="connsiteX2218" fmla="*/ 1952149 w 6400800"/>
                <a:gd name="connsiteY2218" fmla="*/ 271939 h 514350"/>
                <a:gd name="connsiteX2219" fmla="*/ 1941671 w 6400800"/>
                <a:gd name="connsiteY2219" fmla="*/ 221456 h 514350"/>
                <a:gd name="connsiteX2220" fmla="*/ 1942624 w 6400800"/>
                <a:gd name="connsiteY2220" fmla="*/ 213836 h 514350"/>
                <a:gd name="connsiteX2221" fmla="*/ 1952149 w 6400800"/>
                <a:gd name="connsiteY2221" fmla="*/ 186214 h 514350"/>
                <a:gd name="connsiteX2222" fmla="*/ 1962626 w 6400800"/>
                <a:gd name="connsiteY2222" fmla="*/ 157639 h 514350"/>
                <a:gd name="connsiteX2223" fmla="*/ 1948339 w 6400800"/>
                <a:gd name="connsiteY2223" fmla="*/ 185261 h 514350"/>
                <a:gd name="connsiteX2224" fmla="*/ 1945481 w 6400800"/>
                <a:gd name="connsiteY2224" fmla="*/ 190976 h 514350"/>
                <a:gd name="connsiteX2225" fmla="*/ 1945481 w 6400800"/>
                <a:gd name="connsiteY2225" fmla="*/ 189071 h 514350"/>
                <a:gd name="connsiteX2226" fmla="*/ 1944529 w 6400800"/>
                <a:gd name="connsiteY2226" fmla="*/ 192881 h 514350"/>
                <a:gd name="connsiteX2227" fmla="*/ 1938814 w 6400800"/>
                <a:gd name="connsiteY2227" fmla="*/ 205264 h 514350"/>
                <a:gd name="connsiteX2228" fmla="*/ 1935004 w 6400800"/>
                <a:gd name="connsiteY2228" fmla="*/ 148114 h 514350"/>
                <a:gd name="connsiteX2229" fmla="*/ 1928336 w 6400800"/>
                <a:gd name="connsiteY2229" fmla="*/ 224314 h 514350"/>
                <a:gd name="connsiteX2230" fmla="*/ 1928336 w 6400800"/>
                <a:gd name="connsiteY2230" fmla="*/ 229076 h 514350"/>
                <a:gd name="connsiteX2231" fmla="*/ 1924526 w 6400800"/>
                <a:gd name="connsiteY2231" fmla="*/ 236696 h 514350"/>
                <a:gd name="connsiteX2232" fmla="*/ 1915001 w 6400800"/>
                <a:gd name="connsiteY2232" fmla="*/ 258604 h 514350"/>
                <a:gd name="connsiteX2233" fmla="*/ 1911191 w 6400800"/>
                <a:gd name="connsiteY2233" fmla="*/ 268129 h 514350"/>
                <a:gd name="connsiteX2234" fmla="*/ 1907381 w 6400800"/>
                <a:gd name="connsiteY2234" fmla="*/ 259556 h 514350"/>
                <a:gd name="connsiteX2235" fmla="*/ 1907381 w 6400800"/>
                <a:gd name="connsiteY2235" fmla="*/ 258604 h 514350"/>
                <a:gd name="connsiteX2236" fmla="*/ 1907381 w 6400800"/>
                <a:gd name="connsiteY2236" fmla="*/ 258604 h 514350"/>
                <a:gd name="connsiteX2237" fmla="*/ 1900714 w 6400800"/>
                <a:gd name="connsiteY2237" fmla="*/ 253841 h 514350"/>
                <a:gd name="connsiteX2238" fmla="*/ 1897856 w 6400800"/>
                <a:gd name="connsiteY2238" fmla="*/ 252889 h 514350"/>
                <a:gd name="connsiteX2239" fmla="*/ 1896904 w 6400800"/>
                <a:gd name="connsiteY2239" fmla="*/ 252889 h 514350"/>
                <a:gd name="connsiteX2240" fmla="*/ 1896904 w 6400800"/>
                <a:gd name="connsiteY2240" fmla="*/ 250984 h 514350"/>
                <a:gd name="connsiteX2241" fmla="*/ 1897856 w 6400800"/>
                <a:gd name="connsiteY2241" fmla="*/ 246221 h 514350"/>
                <a:gd name="connsiteX2242" fmla="*/ 1902619 w 6400800"/>
                <a:gd name="connsiteY2242" fmla="*/ 230029 h 514350"/>
                <a:gd name="connsiteX2243" fmla="*/ 1903571 w 6400800"/>
                <a:gd name="connsiteY2243" fmla="*/ 226219 h 514350"/>
                <a:gd name="connsiteX2244" fmla="*/ 1902619 w 6400800"/>
                <a:gd name="connsiteY2244" fmla="*/ 227171 h 514350"/>
                <a:gd name="connsiteX2245" fmla="*/ 1906429 w 6400800"/>
                <a:gd name="connsiteY2245" fmla="*/ 214789 h 514350"/>
                <a:gd name="connsiteX2246" fmla="*/ 1915001 w 6400800"/>
                <a:gd name="connsiteY2246" fmla="*/ 190976 h 514350"/>
                <a:gd name="connsiteX2247" fmla="*/ 1922621 w 6400800"/>
                <a:gd name="connsiteY2247" fmla="*/ 170021 h 514350"/>
                <a:gd name="connsiteX2248" fmla="*/ 1911191 w 6400800"/>
                <a:gd name="connsiteY2248" fmla="*/ 189071 h 514350"/>
                <a:gd name="connsiteX2249" fmla="*/ 1899761 w 6400800"/>
                <a:gd name="connsiteY2249" fmla="*/ 211931 h 514350"/>
                <a:gd name="connsiteX2250" fmla="*/ 1893094 w 6400800"/>
                <a:gd name="connsiteY2250" fmla="*/ 226219 h 514350"/>
                <a:gd name="connsiteX2251" fmla="*/ 1889284 w 6400800"/>
                <a:gd name="connsiteY2251" fmla="*/ 235744 h 514350"/>
                <a:gd name="connsiteX2252" fmla="*/ 1888331 w 6400800"/>
                <a:gd name="connsiteY2252" fmla="*/ 232886 h 514350"/>
                <a:gd name="connsiteX2253" fmla="*/ 1889284 w 6400800"/>
                <a:gd name="connsiteY2253" fmla="*/ 216694 h 514350"/>
                <a:gd name="connsiteX2254" fmla="*/ 1891189 w 6400800"/>
                <a:gd name="connsiteY2254" fmla="*/ 200501 h 514350"/>
                <a:gd name="connsiteX2255" fmla="*/ 1894046 w 6400800"/>
                <a:gd name="connsiteY2255" fmla="*/ 187166 h 514350"/>
                <a:gd name="connsiteX2256" fmla="*/ 1899761 w 6400800"/>
                <a:gd name="connsiteY2256" fmla="*/ 169069 h 514350"/>
                <a:gd name="connsiteX2257" fmla="*/ 1902619 w 6400800"/>
                <a:gd name="connsiteY2257" fmla="*/ 162401 h 514350"/>
                <a:gd name="connsiteX2258" fmla="*/ 1898809 w 6400800"/>
                <a:gd name="connsiteY2258" fmla="*/ 168116 h 514350"/>
                <a:gd name="connsiteX2259" fmla="*/ 1890236 w 6400800"/>
                <a:gd name="connsiteY2259" fmla="*/ 186214 h 514350"/>
                <a:gd name="connsiteX2260" fmla="*/ 1885474 w 6400800"/>
                <a:gd name="connsiteY2260" fmla="*/ 199549 h 514350"/>
                <a:gd name="connsiteX2261" fmla="*/ 1882616 w 6400800"/>
                <a:gd name="connsiteY2261" fmla="*/ 213836 h 514350"/>
                <a:gd name="connsiteX2262" fmla="*/ 1882616 w 6400800"/>
                <a:gd name="connsiteY2262" fmla="*/ 210026 h 514350"/>
                <a:gd name="connsiteX2263" fmla="*/ 1878806 w 6400800"/>
                <a:gd name="connsiteY2263" fmla="*/ 228124 h 514350"/>
                <a:gd name="connsiteX2264" fmla="*/ 1874996 w 6400800"/>
                <a:gd name="connsiteY2264" fmla="*/ 243364 h 514350"/>
                <a:gd name="connsiteX2265" fmla="*/ 1874996 w 6400800"/>
                <a:gd name="connsiteY2265" fmla="*/ 237649 h 514350"/>
                <a:gd name="connsiteX2266" fmla="*/ 1872139 w 6400800"/>
                <a:gd name="connsiteY2266" fmla="*/ 255746 h 514350"/>
                <a:gd name="connsiteX2267" fmla="*/ 1868329 w 6400800"/>
                <a:gd name="connsiteY2267" fmla="*/ 270986 h 514350"/>
                <a:gd name="connsiteX2268" fmla="*/ 1869281 w 6400800"/>
                <a:gd name="connsiteY2268" fmla="*/ 259556 h 514350"/>
                <a:gd name="connsiteX2269" fmla="*/ 1874996 w 6400800"/>
                <a:gd name="connsiteY2269" fmla="*/ 213836 h 514350"/>
                <a:gd name="connsiteX2270" fmla="*/ 1877854 w 6400800"/>
                <a:gd name="connsiteY2270" fmla="*/ 193834 h 514350"/>
                <a:gd name="connsiteX2271" fmla="*/ 1881664 w 6400800"/>
                <a:gd name="connsiteY2271" fmla="*/ 175736 h 514350"/>
                <a:gd name="connsiteX2272" fmla="*/ 1888331 w 6400800"/>
                <a:gd name="connsiteY2272" fmla="*/ 146209 h 514350"/>
                <a:gd name="connsiteX2273" fmla="*/ 1894999 w 6400800"/>
                <a:gd name="connsiteY2273" fmla="*/ 120491 h 514350"/>
                <a:gd name="connsiteX2274" fmla="*/ 1885474 w 6400800"/>
                <a:gd name="connsiteY2274" fmla="*/ 144304 h 514350"/>
                <a:gd name="connsiteX2275" fmla="*/ 1875949 w 6400800"/>
                <a:gd name="connsiteY2275" fmla="*/ 172879 h 514350"/>
                <a:gd name="connsiteX2276" fmla="*/ 1870234 w 6400800"/>
                <a:gd name="connsiteY2276" fmla="*/ 190976 h 514350"/>
                <a:gd name="connsiteX2277" fmla="*/ 1865471 w 6400800"/>
                <a:gd name="connsiteY2277" fmla="*/ 210979 h 514350"/>
                <a:gd name="connsiteX2278" fmla="*/ 1858804 w 6400800"/>
                <a:gd name="connsiteY2278" fmla="*/ 238601 h 514350"/>
                <a:gd name="connsiteX2279" fmla="*/ 1856899 w 6400800"/>
                <a:gd name="connsiteY2279" fmla="*/ 194786 h 514350"/>
                <a:gd name="connsiteX2280" fmla="*/ 1854994 w 6400800"/>
                <a:gd name="connsiteY2280" fmla="*/ 172879 h 514350"/>
                <a:gd name="connsiteX2281" fmla="*/ 1853089 w 6400800"/>
                <a:gd name="connsiteY2281" fmla="*/ 194786 h 514350"/>
                <a:gd name="connsiteX2282" fmla="*/ 1848326 w 6400800"/>
                <a:gd name="connsiteY2282" fmla="*/ 250984 h 514350"/>
                <a:gd name="connsiteX2283" fmla="*/ 1845469 w 6400800"/>
                <a:gd name="connsiteY2283" fmla="*/ 282416 h 514350"/>
                <a:gd name="connsiteX2284" fmla="*/ 1839754 w 6400800"/>
                <a:gd name="connsiteY2284" fmla="*/ 273844 h 514350"/>
                <a:gd name="connsiteX2285" fmla="*/ 1838801 w 6400800"/>
                <a:gd name="connsiteY2285" fmla="*/ 269081 h 514350"/>
                <a:gd name="connsiteX2286" fmla="*/ 1838801 w 6400800"/>
                <a:gd name="connsiteY2286" fmla="*/ 272891 h 514350"/>
                <a:gd name="connsiteX2287" fmla="*/ 1827371 w 6400800"/>
                <a:gd name="connsiteY2287" fmla="*/ 256699 h 514350"/>
                <a:gd name="connsiteX2288" fmla="*/ 1828324 w 6400800"/>
                <a:gd name="connsiteY2288" fmla="*/ 190976 h 514350"/>
                <a:gd name="connsiteX2289" fmla="*/ 1822609 w 6400800"/>
                <a:gd name="connsiteY2289" fmla="*/ 222409 h 514350"/>
                <a:gd name="connsiteX2290" fmla="*/ 1822609 w 6400800"/>
                <a:gd name="connsiteY2290" fmla="*/ 214789 h 514350"/>
                <a:gd name="connsiteX2291" fmla="*/ 1822609 w 6400800"/>
                <a:gd name="connsiteY2291" fmla="*/ 161449 h 514350"/>
                <a:gd name="connsiteX2292" fmla="*/ 1823561 w 6400800"/>
                <a:gd name="connsiteY2292" fmla="*/ 113824 h 514350"/>
                <a:gd name="connsiteX2293" fmla="*/ 1823561 w 6400800"/>
                <a:gd name="connsiteY2293" fmla="*/ 15716 h 514350"/>
                <a:gd name="connsiteX2294" fmla="*/ 1812131 w 6400800"/>
                <a:gd name="connsiteY2294" fmla="*/ 112871 h 514350"/>
                <a:gd name="connsiteX2295" fmla="*/ 1807369 w 6400800"/>
                <a:gd name="connsiteY2295" fmla="*/ 160496 h 514350"/>
                <a:gd name="connsiteX2296" fmla="*/ 1805464 w 6400800"/>
                <a:gd name="connsiteY2296" fmla="*/ 209074 h 514350"/>
                <a:gd name="connsiteX2297" fmla="*/ 1801654 w 6400800"/>
                <a:gd name="connsiteY2297" fmla="*/ 211931 h 514350"/>
                <a:gd name="connsiteX2298" fmla="*/ 1801654 w 6400800"/>
                <a:gd name="connsiteY2298" fmla="*/ 211931 h 514350"/>
                <a:gd name="connsiteX2299" fmla="*/ 1801654 w 6400800"/>
                <a:gd name="connsiteY2299" fmla="*/ 212884 h 514350"/>
                <a:gd name="connsiteX2300" fmla="*/ 1790224 w 6400800"/>
                <a:gd name="connsiteY2300" fmla="*/ 237649 h 514350"/>
                <a:gd name="connsiteX2301" fmla="*/ 1790224 w 6400800"/>
                <a:gd name="connsiteY2301" fmla="*/ 207169 h 514350"/>
                <a:gd name="connsiteX2302" fmla="*/ 1786414 w 6400800"/>
                <a:gd name="connsiteY2302" fmla="*/ 239554 h 514350"/>
                <a:gd name="connsiteX2303" fmla="*/ 1784509 w 6400800"/>
                <a:gd name="connsiteY2303" fmla="*/ 250984 h 514350"/>
                <a:gd name="connsiteX2304" fmla="*/ 1783556 w 6400800"/>
                <a:gd name="connsiteY2304" fmla="*/ 252889 h 514350"/>
                <a:gd name="connsiteX2305" fmla="*/ 1776889 w 6400800"/>
                <a:gd name="connsiteY2305" fmla="*/ 226219 h 514350"/>
                <a:gd name="connsiteX2306" fmla="*/ 1777841 w 6400800"/>
                <a:gd name="connsiteY2306" fmla="*/ 253841 h 514350"/>
                <a:gd name="connsiteX2307" fmla="*/ 1768316 w 6400800"/>
                <a:gd name="connsiteY2307" fmla="*/ 230029 h 514350"/>
                <a:gd name="connsiteX2308" fmla="*/ 1759744 w 6400800"/>
                <a:gd name="connsiteY2308" fmla="*/ 209074 h 514350"/>
                <a:gd name="connsiteX2309" fmla="*/ 1759744 w 6400800"/>
                <a:gd name="connsiteY2309" fmla="*/ 208121 h 514350"/>
                <a:gd name="connsiteX2310" fmla="*/ 1761649 w 6400800"/>
                <a:gd name="connsiteY2310" fmla="*/ 198596 h 514350"/>
                <a:gd name="connsiteX2311" fmla="*/ 1759744 w 6400800"/>
                <a:gd name="connsiteY2311" fmla="*/ 203359 h 514350"/>
                <a:gd name="connsiteX2312" fmla="*/ 1759744 w 6400800"/>
                <a:gd name="connsiteY2312" fmla="*/ 195739 h 514350"/>
                <a:gd name="connsiteX2313" fmla="*/ 1761649 w 6400800"/>
                <a:gd name="connsiteY2313" fmla="*/ 171926 h 514350"/>
                <a:gd name="connsiteX2314" fmla="*/ 1762601 w 6400800"/>
                <a:gd name="connsiteY2314" fmla="*/ 151924 h 514350"/>
                <a:gd name="connsiteX2315" fmla="*/ 1756886 w 6400800"/>
                <a:gd name="connsiteY2315" fmla="*/ 171926 h 514350"/>
                <a:gd name="connsiteX2316" fmla="*/ 1749266 w 6400800"/>
                <a:gd name="connsiteY2316" fmla="*/ 205264 h 514350"/>
                <a:gd name="connsiteX2317" fmla="*/ 1745456 w 6400800"/>
                <a:gd name="connsiteY2317" fmla="*/ 197644 h 514350"/>
                <a:gd name="connsiteX2318" fmla="*/ 1749266 w 6400800"/>
                <a:gd name="connsiteY2318" fmla="*/ 208121 h 514350"/>
                <a:gd name="connsiteX2319" fmla="*/ 1746409 w 6400800"/>
                <a:gd name="connsiteY2319" fmla="*/ 225266 h 514350"/>
                <a:gd name="connsiteX2320" fmla="*/ 1746409 w 6400800"/>
                <a:gd name="connsiteY2320" fmla="*/ 228124 h 514350"/>
                <a:gd name="connsiteX2321" fmla="*/ 1737836 w 6400800"/>
                <a:gd name="connsiteY2321" fmla="*/ 171926 h 514350"/>
                <a:gd name="connsiteX2322" fmla="*/ 1738789 w 6400800"/>
                <a:gd name="connsiteY2322" fmla="*/ 252889 h 514350"/>
                <a:gd name="connsiteX2323" fmla="*/ 1736884 w 6400800"/>
                <a:gd name="connsiteY2323" fmla="*/ 256699 h 514350"/>
                <a:gd name="connsiteX2324" fmla="*/ 1735931 w 6400800"/>
                <a:gd name="connsiteY2324" fmla="*/ 252889 h 514350"/>
                <a:gd name="connsiteX2325" fmla="*/ 1735931 w 6400800"/>
                <a:gd name="connsiteY2325" fmla="*/ 257651 h 514350"/>
                <a:gd name="connsiteX2326" fmla="*/ 1733074 w 6400800"/>
                <a:gd name="connsiteY2326" fmla="*/ 264319 h 514350"/>
                <a:gd name="connsiteX2327" fmla="*/ 1727359 w 6400800"/>
                <a:gd name="connsiteY2327" fmla="*/ 283369 h 514350"/>
                <a:gd name="connsiteX2328" fmla="*/ 1722596 w 6400800"/>
                <a:gd name="connsiteY2328" fmla="*/ 299561 h 514350"/>
                <a:gd name="connsiteX2329" fmla="*/ 1718786 w 6400800"/>
                <a:gd name="connsiteY2329" fmla="*/ 267176 h 514350"/>
                <a:gd name="connsiteX2330" fmla="*/ 1716881 w 6400800"/>
                <a:gd name="connsiteY2330" fmla="*/ 317659 h 514350"/>
                <a:gd name="connsiteX2331" fmla="*/ 1716881 w 6400800"/>
                <a:gd name="connsiteY2331" fmla="*/ 318611 h 514350"/>
                <a:gd name="connsiteX2332" fmla="*/ 1714976 w 6400800"/>
                <a:gd name="connsiteY2332" fmla="*/ 316706 h 514350"/>
                <a:gd name="connsiteX2333" fmla="*/ 1707356 w 6400800"/>
                <a:gd name="connsiteY2333" fmla="*/ 288131 h 514350"/>
                <a:gd name="connsiteX2334" fmla="*/ 1709261 w 6400800"/>
                <a:gd name="connsiteY2334" fmla="*/ 237649 h 514350"/>
                <a:gd name="connsiteX2335" fmla="*/ 1710214 w 6400800"/>
                <a:gd name="connsiteY2335" fmla="*/ 163354 h 514350"/>
                <a:gd name="connsiteX2336" fmla="*/ 1698784 w 6400800"/>
                <a:gd name="connsiteY2336" fmla="*/ 229076 h 514350"/>
                <a:gd name="connsiteX2337" fmla="*/ 1694021 w 6400800"/>
                <a:gd name="connsiteY2337" fmla="*/ 203359 h 514350"/>
                <a:gd name="connsiteX2338" fmla="*/ 1699736 w 6400800"/>
                <a:gd name="connsiteY2338" fmla="*/ 170021 h 514350"/>
                <a:gd name="connsiteX2339" fmla="*/ 1706404 w 6400800"/>
                <a:gd name="connsiteY2339" fmla="*/ 119539 h 514350"/>
                <a:gd name="connsiteX2340" fmla="*/ 1710214 w 6400800"/>
                <a:gd name="connsiteY2340" fmla="*/ 80486 h 514350"/>
                <a:gd name="connsiteX2341" fmla="*/ 1713071 w 6400800"/>
                <a:gd name="connsiteY2341" fmla="*/ 47149 h 514350"/>
                <a:gd name="connsiteX2342" fmla="*/ 1706404 w 6400800"/>
                <a:gd name="connsiteY2342" fmla="*/ 80486 h 514350"/>
                <a:gd name="connsiteX2343" fmla="*/ 1698784 w 6400800"/>
                <a:gd name="connsiteY2343" fmla="*/ 118586 h 514350"/>
                <a:gd name="connsiteX2344" fmla="*/ 1688306 w 6400800"/>
                <a:gd name="connsiteY2344" fmla="*/ 168116 h 514350"/>
                <a:gd name="connsiteX2345" fmla="*/ 1687354 w 6400800"/>
                <a:gd name="connsiteY2345" fmla="*/ 171926 h 514350"/>
                <a:gd name="connsiteX2346" fmla="*/ 1684496 w 6400800"/>
                <a:gd name="connsiteY2346" fmla="*/ 160496 h 514350"/>
                <a:gd name="connsiteX2347" fmla="*/ 1685449 w 6400800"/>
                <a:gd name="connsiteY2347" fmla="*/ 179546 h 514350"/>
                <a:gd name="connsiteX2348" fmla="*/ 1681639 w 6400800"/>
                <a:gd name="connsiteY2348" fmla="*/ 197644 h 514350"/>
                <a:gd name="connsiteX2349" fmla="*/ 1680686 w 6400800"/>
                <a:gd name="connsiteY2349" fmla="*/ 192881 h 514350"/>
                <a:gd name="connsiteX2350" fmla="*/ 1681639 w 6400800"/>
                <a:gd name="connsiteY2350" fmla="*/ 174784 h 514350"/>
                <a:gd name="connsiteX2351" fmla="*/ 1682591 w 6400800"/>
                <a:gd name="connsiteY2351" fmla="*/ 143351 h 514350"/>
                <a:gd name="connsiteX2352" fmla="*/ 1683544 w 6400800"/>
                <a:gd name="connsiteY2352" fmla="*/ 115729 h 514350"/>
                <a:gd name="connsiteX2353" fmla="*/ 1678781 w 6400800"/>
                <a:gd name="connsiteY2353" fmla="*/ 143351 h 514350"/>
                <a:gd name="connsiteX2354" fmla="*/ 1674019 w 6400800"/>
                <a:gd name="connsiteY2354" fmla="*/ 174784 h 514350"/>
                <a:gd name="connsiteX2355" fmla="*/ 1666399 w 6400800"/>
                <a:gd name="connsiteY2355" fmla="*/ 215741 h 514350"/>
                <a:gd name="connsiteX2356" fmla="*/ 1663541 w 6400800"/>
                <a:gd name="connsiteY2356" fmla="*/ 231934 h 514350"/>
                <a:gd name="connsiteX2357" fmla="*/ 1661636 w 6400800"/>
                <a:gd name="connsiteY2357" fmla="*/ 225266 h 514350"/>
                <a:gd name="connsiteX2358" fmla="*/ 1662589 w 6400800"/>
                <a:gd name="connsiteY2358" fmla="*/ 236696 h 514350"/>
                <a:gd name="connsiteX2359" fmla="*/ 1659731 w 6400800"/>
                <a:gd name="connsiteY2359" fmla="*/ 253841 h 514350"/>
                <a:gd name="connsiteX2360" fmla="*/ 1658779 w 6400800"/>
                <a:gd name="connsiteY2360" fmla="*/ 251936 h 514350"/>
                <a:gd name="connsiteX2361" fmla="*/ 1646396 w 6400800"/>
                <a:gd name="connsiteY2361" fmla="*/ 223361 h 514350"/>
                <a:gd name="connsiteX2362" fmla="*/ 1642586 w 6400800"/>
                <a:gd name="connsiteY2362" fmla="*/ 215741 h 514350"/>
                <a:gd name="connsiteX2363" fmla="*/ 1642586 w 6400800"/>
                <a:gd name="connsiteY2363" fmla="*/ 202406 h 514350"/>
                <a:gd name="connsiteX2364" fmla="*/ 1640681 w 6400800"/>
                <a:gd name="connsiteY2364" fmla="*/ 154781 h 514350"/>
                <a:gd name="connsiteX2365" fmla="*/ 1635919 w 6400800"/>
                <a:gd name="connsiteY2365" fmla="*/ 111919 h 514350"/>
                <a:gd name="connsiteX2366" fmla="*/ 1624489 w 6400800"/>
                <a:gd name="connsiteY2366" fmla="*/ 23336 h 514350"/>
                <a:gd name="connsiteX2367" fmla="*/ 1624489 w 6400800"/>
                <a:gd name="connsiteY2367" fmla="*/ 111919 h 514350"/>
                <a:gd name="connsiteX2368" fmla="*/ 1625441 w 6400800"/>
                <a:gd name="connsiteY2368" fmla="*/ 154781 h 514350"/>
                <a:gd name="connsiteX2369" fmla="*/ 1625441 w 6400800"/>
                <a:gd name="connsiteY2369" fmla="*/ 202406 h 514350"/>
                <a:gd name="connsiteX2370" fmla="*/ 1625441 w 6400800"/>
                <a:gd name="connsiteY2370" fmla="*/ 225266 h 514350"/>
                <a:gd name="connsiteX2371" fmla="*/ 1625441 w 6400800"/>
                <a:gd name="connsiteY2371" fmla="*/ 230981 h 514350"/>
                <a:gd name="connsiteX2372" fmla="*/ 1623536 w 6400800"/>
                <a:gd name="connsiteY2372" fmla="*/ 227171 h 514350"/>
                <a:gd name="connsiteX2373" fmla="*/ 1619726 w 6400800"/>
                <a:gd name="connsiteY2373" fmla="*/ 203359 h 514350"/>
                <a:gd name="connsiteX2374" fmla="*/ 1619726 w 6400800"/>
                <a:gd name="connsiteY2374" fmla="*/ 217646 h 514350"/>
                <a:gd name="connsiteX2375" fmla="*/ 1608296 w 6400800"/>
                <a:gd name="connsiteY2375" fmla="*/ 190976 h 514350"/>
                <a:gd name="connsiteX2376" fmla="*/ 1619726 w 6400800"/>
                <a:gd name="connsiteY2376" fmla="*/ 233839 h 514350"/>
                <a:gd name="connsiteX2377" fmla="*/ 1619726 w 6400800"/>
                <a:gd name="connsiteY2377" fmla="*/ 242411 h 514350"/>
                <a:gd name="connsiteX2378" fmla="*/ 1613059 w 6400800"/>
                <a:gd name="connsiteY2378" fmla="*/ 233839 h 514350"/>
                <a:gd name="connsiteX2379" fmla="*/ 1619726 w 6400800"/>
                <a:gd name="connsiteY2379" fmla="*/ 247174 h 514350"/>
                <a:gd name="connsiteX2380" fmla="*/ 1610201 w 6400800"/>
                <a:gd name="connsiteY2380" fmla="*/ 264319 h 514350"/>
                <a:gd name="connsiteX2381" fmla="*/ 1607344 w 6400800"/>
                <a:gd name="connsiteY2381" fmla="*/ 270034 h 514350"/>
                <a:gd name="connsiteX2382" fmla="*/ 1606391 w 6400800"/>
                <a:gd name="connsiteY2382" fmla="*/ 269081 h 514350"/>
                <a:gd name="connsiteX2383" fmla="*/ 1607344 w 6400800"/>
                <a:gd name="connsiteY2383" fmla="*/ 270034 h 514350"/>
                <a:gd name="connsiteX2384" fmla="*/ 1601629 w 6400800"/>
                <a:gd name="connsiteY2384" fmla="*/ 282416 h 514350"/>
                <a:gd name="connsiteX2385" fmla="*/ 1600676 w 6400800"/>
                <a:gd name="connsiteY2385" fmla="*/ 269081 h 514350"/>
                <a:gd name="connsiteX2386" fmla="*/ 1595914 w 6400800"/>
                <a:gd name="connsiteY2386" fmla="*/ 207169 h 514350"/>
                <a:gd name="connsiteX2387" fmla="*/ 1594009 w 6400800"/>
                <a:gd name="connsiteY2387" fmla="*/ 183356 h 514350"/>
                <a:gd name="connsiteX2388" fmla="*/ 1592104 w 6400800"/>
                <a:gd name="connsiteY2388" fmla="*/ 207169 h 514350"/>
                <a:gd name="connsiteX2389" fmla="*/ 1591151 w 6400800"/>
                <a:gd name="connsiteY2389" fmla="*/ 227171 h 514350"/>
                <a:gd name="connsiteX2390" fmla="*/ 1583531 w 6400800"/>
                <a:gd name="connsiteY2390" fmla="*/ 197644 h 514350"/>
                <a:gd name="connsiteX2391" fmla="*/ 1578769 w 6400800"/>
                <a:gd name="connsiteY2391" fmla="*/ 179546 h 514350"/>
                <a:gd name="connsiteX2392" fmla="*/ 1573054 w 6400800"/>
                <a:gd name="connsiteY2392" fmla="*/ 163354 h 514350"/>
                <a:gd name="connsiteX2393" fmla="*/ 1563529 w 6400800"/>
                <a:gd name="connsiteY2393" fmla="*/ 137636 h 514350"/>
                <a:gd name="connsiteX2394" fmla="*/ 1554004 w 6400800"/>
                <a:gd name="connsiteY2394" fmla="*/ 115729 h 514350"/>
                <a:gd name="connsiteX2395" fmla="*/ 1560671 w 6400800"/>
                <a:gd name="connsiteY2395" fmla="*/ 138589 h 514350"/>
                <a:gd name="connsiteX2396" fmla="*/ 1567339 w 6400800"/>
                <a:gd name="connsiteY2396" fmla="*/ 165259 h 514350"/>
                <a:gd name="connsiteX2397" fmla="*/ 1571149 w 6400800"/>
                <a:gd name="connsiteY2397" fmla="*/ 181451 h 514350"/>
                <a:gd name="connsiteX2398" fmla="*/ 1574006 w 6400800"/>
                <a:gd name="connsiteY2398" fmla="*/ 199549 h 514350"/>
                <a:gd name="connsiteX2399" fmla="*/ 1579721 w 6400800"/>
                <a:gd name="connsiteY2399" fmla="*/ 240506 h 514350"/>
                <a:gd name="connsiteX2400" fmla="*/ 1584484 w 6400800"/>
                <a:gd name="connsiteY2400" fmla="*/ 283369 h 514350"/>
                <a:gd name="connsiteX2401" fmla="*/ 1576864 w 6400800"/>
                <a:gd name="connsiteY2401" fmla="*/ 258604 h 514350"/>
                <a:gd name="connsiteX2402" fmla="*/ 1573054 w 6400800"/>
                <a:gd name="connsiteY2402" fmla="*/ 249079 h 514350"/>
                <a:gd name="connsiteX2403" fmla="*/ 1573054 w 6400800"/>
                <a:gd name="connsiteY2403" fmla="*/ 247174 h 514350"/>
                <a:gd name="connsiteX2404" fmla="*/ 1572101 w 6400800"/>
                <a:gd name="connsiteY2404" fmla="*/ 234791 h 514350"/>
                <a:gd name="connsiteX2405" fmla="*/ 1567339 w 6400800"/>
                <a:gd name="connsiteY2405" fmla="*/ 198596 h 514350"/>
                <a:gd name="connsiteX2406" fmla="*/ 1563529 w 6400800"/>
                <a:gd name="connsiteY2406" fmla="*/ 184309 h 514350"/>
                <a:gd name="connsiteX2407" fmla="*/ 1558766 w 6400800"/>
                <a:gd name="connsiteY2407" fmla="*/ 171926 h 514350"/>
                <a:gd name="connsiteX2408" fmla="*/ 1550194 w 6400800"/>
                <a:gd name="connsiteY2408" fmla="*/ 155734 h 514350"/>
                <a:gd name="connsiteX2409" fmla="*/ 1546384 w 6400800"/>
                <a:gd name="connsiteY2409" fmla="*/ 150019 h 514350"/>
                <a:gd name="connsiteX2410" fmla="*/ 1549241 w 6400800"/>
                <a:gd name="connsiteY2410" fmla="*/ 155734 h 514350"/>
                <a:gd name="connsiteX2411" fmla="*/ 1554956 w 6400800"/>
                <a:gd name="connsiteY2411" fmla="*/ 171926 h 514350"/>
                <a:gd name="connsiteX2412" fmla="*/ 1557814 w 6400800"/>
                <a:gd name="connsiteY2412" fmla="*/ 184309 h 514350"/>
                <a:gd name="connsiteX2413" fmla="*/ 1559719 w 6400800"/>
                <a:gd name="connsiteY2413" fmla="*/ 198596 h 514350"/>
                <a:gd name="connsiteX2414" fmla="*/ 1560671 w 6400800"/>
                <a:gd name="connsiteY2414" fmla="*/ 213836 h 514350"/>
                <a:gd name="connsiteX2415" fmla="*/ 1559719 w 6400800"/>
                <a:gd name="connsiteY2415" fmla="*/ 216694 h 514350"/>
                <a:gd name="connsiteX2416" fmla="*/ 1555909 w 6400800"/>
                <a:gd name="connsiteY2416" fmla="*/ 208121 h 514350"/>
                <a:gd name="connsiteX2417" fmla="*/ 1549241 w 6400800"/>
                <a:gd name="connsiteY2417" fmla="*/ 194786 h 514350"/>
                <a:gd name="connsiteX2418" fmla="*/ 1537811 w 6400800"/>
                <a:gd name="connsiteY2418" fmla="*/ 173831 h 514350"/>
                <a:gd name="connsiteX2419" fmla="*/ 1526381 w 6400800"/>
                <a:gd name="connsiteY2419" fmla="*/ 156686 h 514350"/>
                <a:gd name="connsiteX2420" fmla="*/ 1534001 w 6400800"/>
                <a:gd name="connsiteY2420" fmla="*/ 175736 h 514350"/>
                <a:gd name="connsiteX2421" fmla="*/ 1542574 w 6400800"/>
                <a:gd name="connsiteY2421" fmla="*/ 197644 h 514350"/>
                <a:gd name="connsiteX2422" fmla="*/ 1546384 w 6400800"/>
                <a:gd name="connsiteY2422" fmla="*/ 209074 h 514350"/>
                <a:gd name="connsiteX2423" fmla="*/ 1545431 w 6400800"/>
                <a:gd name="connsiteY2423" fmla="*/ 208121 h 514350"/>
                <a:gd name="connsiteX2424" fmla="*/ 1546384 w 6400800"/>
                <a:gd name="connsiteY2424" fmla="*/ 210979 h 514350"/>
                <a:gd name="connsiteX2425" fmla="*/ 1551146 w 6400800"/>
                <a:gd name="connsiteY2425" fmla="*/ 226219 h 514350"/>
                <a:gd name="connsiteX2426" fmla="*/ 1552099 w 6400800"/>
                <a:gd name="connsiteY2426" fmla="*/ 230981 h 514350"/>
                <a:gd name="connsiteX2427" fmla="*/ 1553051 w 6400800"/>
                <a:gd name="connsiteY2427" fmla="*/ 235744 h 514350"/>
                <a:gd name="connsiteX2428" fmla="*/ 1554004 w 6400800"/>
                <a:gd name="connsiteY2428" fmla="*/ 241459 h 514350"/>
                <a:gd name="connsiteX2429" fmla="*/ 1554004 w 6400800"/>
                <a:gd name="connsiteY2429" fmla="*/ 244316 h 514350"/>
                <a:gd name="connsiteX2430" fmla="*/ 1553051 w 6400800"/>
                <a:gd name="connsiteY2430" fmla="*/ 250031 h 514350"/>
                <a:gd name="connsiteX2431" fmla="*/ 1547336 w 6400800"/>
                <a:gd name="connsiteY2431" fmla="*/ 263366 h 514350"/>
                <a:gd name="connsiteX2432" fmla="*/ 1542574 w 6400800"/>
                <a:gd name="connsiteY2432" fmla="*/ 251936 h 514350"/>
                <a:gd name="connsiteX2433" fmla="*/ 1542574 w 6400800"/>
                <a:gd name="connsiteY2433" fmla="*/ 243364 h 514350"/>
                <a:gd name="connsiteX2434" fmla="*/ 1542574 w 6400800"/>
                <a:gd name="connsiteY2434" fmla="*/ 222409 h 514350"/>
                <a:gd name="connsiteX2435" fmla="*/ 1538764 w 6400800"/>
                <a:gd name="connsiteY2435" fmla="*/ 243364 h 514350"/>
                <a:gd name="connsiteX2436" fmla="*/ 1538764 w 6400800"/>
                <a:gd name="connsiteY2436" fmla="*/ 243364 h 514350"/>
                <a:gd name="connsiteX2437" fmla="*/ 1531144 w 6400800"/>
                <a:gd name="connsiteY2437" fmla="*/ 226219 h 514350"/>
                <a:gd name="connsiteX2438" fmla="*/ 1537811 w 6400800"/>
                <a:gd name="connsiteY2438" fmla="*/ 250031 h 514350"/>
                <a:gd name="connsiteX2439" fmla="*/ 1536859 w 6400800"/>
                <a:gd name="connsiteY2439" fmla="*/ 258604 h 514350"/>
                <a:gd name="connsiteX2440" fmla="*/ 1531144 w 6400800"/>
                <a:gd name="connsiteY2440" fmla="*/ 239554 h 514350"/>
                <a:gd name="connsiteX2441" fmla="*/ 1525429 w 6400800"/>
                <a:gd name="connsiteY2441" fmla="*/ 220504 h 514350"/>
                <a:gd name="connsiteX2442" fmla="*/ 1521619 w 6400800"/>
                <a:gd name="connsiteY2442" fmla="*/ 211931 h 514350"/>
                <a:gd name="connsiteX2443" fmla="*/ 1515904 w 6400800"/>
                <a:gd name="connsiteY2443" fmla="*/ 150019 h 514350"/>
                <a:gd name="connsiteX2444" fmla="*/ 1513046 w 6400800"/>
                <a:gd name="connsiteY2444" fmla="*/ 192881 h 514350"/>
                <a:gd name="connsiteX2445" fmla="*/ 1506379 w 6400800"/>
                <a:gd name="connsiteY2445" fmla="*/ 177641 h 514350"/>
                <a:gd name="connsiteX2446" fmla="*/ 1495901 w 6400800"/>
                <a:gd name="connsiteY2446" fmla="*/ 154781 h 514350"/>
                <a:gd name="connsiteX2447" fmla="*/ 1502569 w 6400800"/>
                <a:gd name="connsiteY2447" fmla="*/ 178594 h 514350"/>
                <a:gd name="connsiteX2448" fmla="*/ 1505426 w 6400800"/>
                <a:gd name="connsiteY2448" fmla="*/ 190024 h 514350"/>
                <a:gd name="connsiteX2449" fmla="*/ 1504474 w 6400800"/>
                <a:gd name="connsiteY2449" fmla="*/ 189071 h 514350"/>
                <a:gd name="connsiteX2450" fmla="*/ 1510189 w 6400800"/>
                <a:gd name="connsiteY2450" fmla="*/ 210026 h 514350"/>
                <a:gd name="connsiteX2451" fmla="*/ 1511141 w 6400800"/>
                <a:gd name="connsiteY2451" fmla="*/ 213836 h 514350"/>
                <a:gd name="connsiteX2452" fmla="*/ 1510189 w 6400800"/>
                <a:gd name="connsiteY2452" fmla="*/ 233839 h 514350"/>
                <a:gd name="connsiteX2453" fmla="*/ 1509236 w 6400800"/>
                <a:gd name="connsiteY2453" fmla="*/ 258604 h 514350"/>
                <a:gd name="connsiteX2454" fmla="*/ 1498759 w 6400800"/>
                <a:gd name="connsiteY2454" fmla="*/ 230981 h 514350"/>
                <a:gd name="connsiteX2455" fmla="*/ 1508284 w 6400800"/>
                <a:gd name="connsiteY2455" fmla="*/ 275749 h 514350"/>
                <a:gd name="connsiteX2456" fmla="*/ 1507331 w 6400800"/>
                <a:gd name="connsiteY2456" fmla="*/ 288131 h 514350"/>
                <a:gd name="connsiteX2457" fmla="*/ 1504474 w 6400800"/>
                <a:gd name="connsiteY2457" fmla="*/ 292894 h 514350"/>
                <a:gd name="connsiteX2458" fmla="*/ 1500664 w 6400800"/>
                <a:gd name="connsiteY2458" fmla="*/ 298609 h 514350"/>
                <a:gd name="connsiteX2459" fmla="*/ 1493044 w 6400800"/>
                <a:gd name="connsiteY2459" fmla="*/ 266224 h 514350"/>
                <a:gd name="connsiteX2460" fmla="*/ 1497806 w 6400800"/>
                <a:gd name="connsiteY2460" fmla="*/ 246221 h 514350"/>
                <a:gd name="connsiteX2461" fmla="*/ 1491139 w 6400800"/>
                <a:gd name="connsiteY2461" fmla="*/ 260509 h 514350"/>
                <a:gd name="connsiteX2462" fmla="*/ 1491139 w 6400800"/>
                <a:gd name="connsiteY2462" fmla="*/ 259556 h 514350"/>
                <a:gd name="connsiteX2463" fmla="*/ 1490186 w 6400800"/>
                <a:gd name="connsiteY2463" fmla="*/ 244316 h 514350"/>
                <a:gd name="connsiteX2464" fmla="*/ 1489234 w 6400800"/>
                <a:gd name="connsiteY2464" fmla="*/ 238601 h 514350"/>
                <a:gd name="connsiteX2465" fmla="*/ 1489234 w 6400800"/>
                <a:gd name="connsiteY2465" fmla="*/ 237649 h 514350"/>
                <a:gd name="connsiteX2466" fmla="*/ 1489234 w 6400800"/>
                <a:gd name="connsiteY2466" fmla="*/ 238601 h 514350"/>
                <a:gd name="connsiteX2467" fmla="*/ 1486376 w 6400800"/>
                <a:gd name="connsiteY2467" fmla="*/ 219551 h 514350"/>
                <a:gd name="connsiteX2468" fmla="*/ 1482566 w 6400800"/>
                <a:gd name="connsiteY2468" fmla="*/ 198596 h 514350"/>
                <a:gd name="connsiteX2469" fmla="*/ 1482566 w 6400800"/>
                <a:gd name="connsiteY2469" fmla="*/ 220504 h 514350"/>
                <a:gd name="connsiteX2470" fmla="*/ 1482566 w 6400800"/>
                <a:gd name="connsiteY2470" fmla="*/ 228124 h 514350"/>
                <a:gd name="connsiteX2471" fmla="*/ 1473041 w 6400800"/>
                <a:gd name="connsiteY2471" fmla="*/ 193834 h 514350"/>
                <a:gd name="connsiteX2472" fmla="*/ 1479709 w 6400800"/>
                <a:gd name="connsiteY2472" fmla="*/ 259556 h 514350"/>
                <a:gd name="connsiteX2473" fmla="*/ 1478756 w 6400800"/>
                <a:gd name="connsiteY2473" fmla="*/ 262414 h 514350"/>
                <a:gd name="connsiteX2474" fmla="*/ 1476851 w 6400800"/>
                <a:gd name="connsiteY2474" fmla="*/ 266224 h 514350"/>
                <a:gd name="connsiteX2475" fmla="*/ 1475899 w 6400800"/>
                <a:gd name="connsiteY2475" fmla="*/ 257651 h 514350"/>
                <a:gd name="connsiteX2476" fmla="*/ 1471136 w 6400800"/>
                <a:gd name="connsiteY2476" fmla="*/ 221456 h 514350"/>
                <a:gd name="connsiteX2477" fmla="*/ 1466374 w 6400800"/>
                <a:gd name="connsiteY2477" fmla="*/ 193834 h 514350"/>
                <a:gd name="connsiteX2478" fmla="*/ 1460659 w 6400800"/>
                <a:gd name="connsiteY2478" fmla="*/ 170021 h 514350"/>
                <a:gd name="connsiteX2479" fmla="*/ 1462564 w 6400800"/>
                <a:gd name="connsiteY2479" fmla="*/ 193834 h 514350"/>
                <a:gd name="connsiteX2480" fmla="*/ 1464469 w 6400800"/>
                <a:gd name="connsiteY2480" fmla="*/ 221456 h 514350"/>
                <a:gd name="connsiteX2481" fmla="*/ 1465421 w 6400800"/>
                <a:gd name="connsiteY2481" fmla="*/ 257651 h 514350"/>
                <a:gd name="connsiteX2482" fmla="*/ 1465421 w 6400800"/>
                <a:gd name="connsiteY2482" fmla="*/ 275749 h 514350"/>
                <a:gd name="connsiteX2483" fmla="*/ 1455896 w 6400800"/>
                <a:gd name="connsiteY2483" fmla="*/ 246221 h 514350"/>
                <a:gd name="connsiteX2484" fmla="*/ 1447324 w 6400800"/>
                <a:gd name="connsiteY2484" fmla="*/ 218599 h 514350"/>
                <a:gd name="connsiteX2485" fmla="*/ 1439704 w 6400800"/>
                <a:gd name="connsiteY2485" fmla="*/ 194786 h 514350"/>
                <a:gd name="connsiteX2486" fmla="*/ 1442561 w 6400800"/>
                <a:gd name="connsiteY2486" fmla="*/ 215741 h 514350"/>
                <a:gd name="connsiteX2487" fmla="*/ 1435894 w 6400800"/>
                <a:gd name="connsiteY2487" fmla="*/ 185261 h 514350"/>
                <a:gd name="connsiteX2488" fmla="*/ 1435894 w 6400800"/>
                <a:gd name="connsiteY2488" fmla="*/ 159544 h 514350"/>
                <a:gd name="connsiteX2489" fmla="*/ 1433036 w 6400800"/>
                <a:gd name="connsiteY2489" fmla="*/ 173831 h 514350"/>
                <a:gd name="connsiteX2490" fmla="*/ 1430179 w 6400800"/>
                <a:gd name="connsiteY2490" fmla="*/ 160496 h 514350"/>
                <a:gd name="connsiteX2491" fmla="*/ 1430179 w 6400800"/>
                <a:gd name="connsiteY2491" fmla="*/ 166211 h 514350"/>
                <a:gd name="connsiteX2492" fmla="*/ 1425416 w 6400800"/>
                <a:gd name="connsiteY2492" fmla="*/ 147161 h 514350"/>
                <a:gd name="connsiteX2493" fmla="*/ 1418749 w 6400800"/>
                <a:gd name="connsiteY2493" fmla="*/ 127159 h 514350"/>
                <a:gd name="connsiteX2494" fmla="*/ 1421606 w 6400800"/>
                <a:gd name="connsiteY2494" fmla="*/ 148114 h 514350"/>
                <a:gd name="connsiteX2495" fmla="*/ 1423511 w 6400800"/>
                <a:gd name="connsiteY2495" fmla="*/ 171926 h 514350"/>
                <a:gd name="connsiteX2496" fmla="*/ 1425416 w 6400800"/>
                <a:gd name="connsiteY2496" fmla="*/ 202406 h 514350"/>
                <a:gd name="connsiteX2497" fmla="*/ 1426369 w 6400800"/>
                <a:gd name="connsiteY2497" fmla="*/ 218599 h 514350"/>
                <a:gd name="connsiteX2498" fmla="*/ 1424464 w 6400800"/>
                <a:gd name="connsiteY2498" fmla="*/ 235744 h 514350"/>
                <a:gd name="connsiteX2499" fmla="*/ 1421606 w 6400800"/>
                <a:gd name="connsiteY2499" fmla="*/ 226219 h 514350"/>
                <a:gd name="connsiteX2500" fmla="*/ 1415891 w 6400800"/>
                <a:gd name="connsiteY2500" fmla="*/ 210026 h 514350"/>
                <a:gd name="connsiteX2501" fmla="*/ 1410176 w 6400800"/>
                <a:gd name="connsiteY2501" fmla="*/ 195739 h 514350"/>
                <a:gd name="connsiteX2502" fmla="*/ 1412081 w 6400800"/>
                <a:gd name="connsiteY2502" fmla="*/ 210979 h 514350"/>
                <a:gd name="connsiteX2503" fmla="*/ 1414939 w 6400800"/>
                <a:gd name="connsiteY2503" fmla="*/ 228124 h 514350"/>
                <a:gd name="connsiteX2504" fmla="*/ 1416844 w 6400800"/>
                <a:gd name="connsiteY2504" fmla="*/ 250031 h 514350"/>
                <a:gd name="connsiteX2505" fmla="*/ 1418749 w 6400800"/>
                <a:gd name="connsiteY2505" fmla="*/ 268129 h 514350"/>
                <a:gd name="connsiteX2506" fmla="*/ 1413034 w 6400800"/>
                <a:gd name="connsiteY2506" fmla="*/ 277654 h 514350"/>
                <a:gd name="connsiteX2507" fmla="*/ 1411129 w 6400800"/>
                <a:gd name="connsiteY2507" fmla="*/ 271939 h 514350"/>
                <a:gd name="connsiteX2508" fmla="*/ 1401604 w 6400800"/>
                <a:gd name="connsiteY2508" fmla="*/ 215741 h 514350"/>
                <a:gd name="connsiteX2509" fmla="*/ 1400651 w 6400800"/>
                <a:gd name="connsiteY2509" fmla="*/ 243364 h 514350"/>
                <a:gd name="connsiteX2510" fmla="*/ 1392079 w 6400800"/>
                <a:gd name="connsiteY2510" fmla="*/ 219551 h 514350"/>
                <a:gd name="connsiteX2511" fmla="*/ 1393031 w 6400800"/>
                <a:gd name="connsiteY2511" fmla="*/ 213836 h 514350"/>
                <a:gd name="connsiteX2512" fmla="*/ 1395889 w 6400800"/>
                <a:gd name="connsiteY2512" fmla="*/ 210979 h 514350"/>
                <a:gd name="connsiteX2513" fmla="*/ 1400651 w 6400800"/>
                <a:gd name="connsiteY2513" fmla="*/ 205264 h 514350"/>
                <a:gd name="connsiteX2514" fmla="*/ 1394936 w 6400800"/>
                <a:gd name="connsiteY2514" fmla="*/ 210026 h 514350"/>
                <a:gd name="connsiteX2515" fmla="*/ 1393031 w 6400800"/>
                <a:gd name="connsiteY2515" fmla="*/ 210979 h 514350"/>
                <a:gd name="connsiteX2516" fmla="*/ 1394936 w 6400800"/>
                <a:gd name="connsiteY2516" fmla="*/ 202406 h 514350"/>
                <a:gd name="connsiteX2517" fmla="*/ 1391126 w 6400800"/>
                <a:gd name="connsiteY2517" fmla="*/ 212884 h 514350"/>
                <a:gd name="connsiteX2518" fmla="*/ 1390174 w 6400800"/>
                <a:gd name="connsiteY2518" fmla="*/ 213836 h 514350"/>
                <a:gd name="connsiteX2519" fmla="*/ 1384459 w 6400800"/>
                <a:gd name="connsiteY2519" fmla="*/ 199549 h 514350"/>
                <a:gd name="connsiteX2520" fmla="*/ 1387316 w 6400800"/>
                <a:gd name="connsiteY2520" fmla="*/ 215741 h 514350"/>
                <a:gd name="connsiteX2521" fmla="*/ 1378744 w 6400800"/>
                <a:gd name="connsiteY2521" fmla="*/ 224314 h 514350"/>
                <a:gd name="connsiteX2522" fmla="*/ 1367314 w 6400800"/>
                <a:gd name="connsiteY2522" fmla="*/ 240506 h 514350"/>
                <a:gd name="connsiteX2523" fmla="*/ 1354931 w 6400800"/>
                <a:gd name="connsiteY2523" fmla="*/ 209074 h 514350"/>
                <a:gd name="connsiteX2524" fmla="*/ 1354931 w 6400800"/>
                <a:gd name="connsiteY2524" fmla="*/ 185261 h 514350"/>
                <a:gd name="connsiteX2525" fmla="*/ 1354931 w 6400800"/>
                <a:gd name="connsiteY2525" fmla="*/ 157639 h 514350"/>
                <a:gd name="connsiteX2526" fmla="*/ 1351121 w 6400800"/>
                <a:gd name="connsiteY2526" fmla="*/ 185261 h 514350"/>
                <a:gd name="connsiteX2527" fmla="*/ 1349216 w 6400800"/>
                <a:gd name="connsiteY2527" fmla="*/ 197644 h 514350"/>
                <a:gd name="connsiteX2528" fmla="*/ 1343501 w 6400800"/>
                <a:gd name="connsiteY2528" fmla="*/ 186214 h 514350"/>
                <a:gd name="connsiteX2529" fmla="*/ 1344454 w 6400800"/>
                <a:gd name="connsiteY2529" fmla="*/ 171926 h 514350"/>
                <a:gd name="connsiteX2530" fmla="*/ 1344454 w 6400800"/>
                <a:gd name="connsiteY2530" fmla="*/ 157639 h 514350"/>
                <a:gd name="connsiteX2531" fmla="*/ 1345406 w 6400800"/>
                <a:gd name="connsiteY2531" fmla="*/ 142399 h 514350"/>
                <a:gd name="connsiteX2532" fmla="*/ 1346359 w 6400800"/>
                <a:gd name="connsiteY2532" fmla="*/ 120491 h 514350"/>
                <a:gd name="connsiteX2533" fmla="*/ 1341596 w 6400800"/>
                <a:gd name="connsiteY2533" fmla="*/ 141446 h 514350"/>
                <a:gd name="connsiteX2534" fmla="*/ 1336834 w 6400800"/>
                <a:gd name="connsiteY2534" fmla="*/ 166211 h 514350"/>
                <a:gd name="connsiteX2535" fmla="*/ 1335881 w 6400800"/>
                <a:gd name="connsiteY2535" fmla="*/ 169069 h 514350"/>
                <a:gd name="connsiteX2536" fmla="*/ 1327309 w 6400800"/>
                <a:gd name="connsiteY2536" fmla="*/ 150971 h 514350"/>
                <a:gd name="connsiteX2537" fmla="*/ 1280636 w 6400800"/>
                <a:gd name="connsiteY2537" fmla="*/ 53816 h 514350"/>
                <a:gd name="connsiteX2538" fmla="*/ 1317784 w 6400800"/>
                <a:gd name="connsiteY2538" fmla="*/ 155734 h 514350"/>
                <a:gd name="connsiteX2539" fmla="*/ 1332071 w 6400800"/>
                <a:gd name="connsiteY2539" fmla="*/ 193834 h 514350"/>
                <a:gd name="connsiteX2540" fmla="*/ 1331119 w 6400800"/>
                <a:gd name="connsiteY2540" fmla="*/ 197644 h 514350"/>
                <a:gd name="connsiteX2541" fmla="*/ 1326356 w 6400800"/>
                <a:gd name="connsiteY2541" fmla="*/ 235744 h 514350"/>
                <a:gd name="connsiteX2542" fmla="*/ 1321594 w 6400800"/>
                <a:gd name="connsiteY2542" fmla="*/ 277654 h 514350"/>
                <a:gd name="connsiteX2543" fmla="*/ 1319689 w 6400800"/>
                <a:gd name="connsiteY2543" fmla="*/ 293846 h 514350"/>
                <a:gd name="connsiteX2544" fmla="*/ 1317784 w 6400800"/>
                <a:gd name="connsiteY2544" fmla="*/ 290989 h 514350"/>
                <a:gd name="connsiteX2545" fmla="*/ 1317784 w 6400800"/>
                <a:gd name="connsiteY2545" fmla="*/ 289084 h 514350"/>
                <a:gd name="connsiteX2546" fmla="*/ 1316831 w 6400800"/>
                <a:gd name="connsiteY2546" fmla="*/ 290989 h 514350"/>
                <a:gd name="connsiteX2547" fmla="*/ 1315879 w 6400800"/>
                <a:gd name="connsiteY2547" fmla="*/ 288131 h 514350"/>
                <a:gd name="connsiteX2548" fmla="*/ 1313974 w 6400800"/>
                <a:gd name="connsiteY2548" fmla="*/ 285274 h 514350"/>
                <a:gd name="connsiteX2549" fmla="*/ 1316831 w 6400800"/>
                <a:gd name="connsiteY2549" fmla="*/ 244316 h 514350"/>
                <a:gd name="connsiteX2550" fmla="*/ 1309211 w 6400800"/>
                <a:gd name="connsiteY2550" fmla="*/ 277654 h 514350"/>
                <a:gd name="connsiteX2551" fmla="*/ 1298734 w 6400800"/>
                <a:gd name="connsiteY2551" fmla="*/ 260509 h 514350"/>
                <a:gd name="connsiteX2552" fmla="*/ 1313974 w 6400800"/>
                <a:gd name="connsiteY2552" fmla="*/ 199549 h 514350"/>
                <a:gd name="connsiteX2553" fmla="*/ 1319689 w 6400800"/>
                <a:gd name="connsiteY2553" fmla="*/ 172879 h 514350"/>
                <a:gd name="connsiteX2554" fmla="*/ 1291114 w 6400800"/>
                <a:gd name="connsiteY2554" fmla="*/ 249079 h 514350"/>
                <a:gd name="connsiteX2555" fmla="*/ 1281589 w 6400800"/>
                <a:gd name="connsiteY2555" fmla="*/ 234791 h 514350"/>
                <a:gd name="connsiteX2556" fmla="*/ 1267301 w 6400800"/>
                <a:gd name="connsiteY2556" fmla="*/ 215741 h 514350"/>
                <a:gd name="connsiteX2557" fmla="*/ 1275874 w 6400800"/>
                <a:gd name="connsiteY2557" fmla="*/ 232886 h 514350"/>
                <a:gd name="connsiteX2558" fmla="*/ 1272064 w 6400800"/>
                <a:gd name="connsiteY2558" fmla="*/ 243364 h 514350"/>
                <a:gd name="connsiteX2559" fmla="*/ 1261586 w 6400800"/>
                <a:gd name="connsiteY2559" fmla="*/ 227171 h 514350"/>
                <a:gd name="connsiteX2560" fmla="*/ 1249204 w 6400800"/>
                <a:gd name="connsiteY2560" fmla="*/ 210979 h 514350"/>
                <a:gd name="connsiteX2561" fmla="*/ 1247299 w 6400800"/>
                <a:gd name="connsiteY2561" fmla="*/ 208121 h 514350"/>
                <a:gd name="connsiteX2562" fmla="*/ 1251109 w 6400800"/>
                <a:gd name="connsiteY2562" fmla="*/ 199549 h 514350"/>
                <a:gd name="connsiteX2563" fmla="*/ 1246346 w 6400800"/>
                <a:gd name="connsiteY2563" fmla="*/ 206216 h 514350"/>
                <a:gd name="connsiteX2564" fmla="*/ 1229201 w 6400800"/>
                <a:gd name="connsiteY2564" fmla="*/ 184309 h 514350"/>
                <a:gd name="connsiteX2565" fmla="*/ 1211104 w 6400800"/>
                <a:gd name="connsiteY2565" fmla="*/ 162401 h 514350"/>
                <a:gd name="connsiteX2566" fmla="*/ 1226344 w 6400800"/>
                <a:gd name="connsiteY2566" fmla="*/ 186214 h 514350"/>
                <a:gd name="connsiteX2567" fmla="*/ 1242536 w 6400800"/>
                <a:gd name="connsiteY2567" fmla="*/ 211931 h 514350"/>
                <a:gd name="connsiteX2568" fmla="*/ 1236821 w 6400800"/>
                <a:gd name="connsiteY2568" fmla="*/ 220504 h 514350"/>
                <a:gd name="connsiteX2569" fmla="*/ 1233011 w 6400800"/>
                <a:gd name="connsiteY2569" fmla="*/ 226219 h 514350"/>
                <a:gd name="connsiteX2570" fmla="*/ 1231106 w 6400800"/>
                <a:gd name="connsiteY2570" fmla="*/ 212884 h 514350"/>
                <a:gd name="connsiteX2571" fmla="*/ 1228249 w 6400800"/>
                <a:gd name="connsiteY2571" fmla="*/ 209074 h 514350"/>
                <a:gd name="connsiteX2572" fmla="*/ 1226344 w 6400800"/>
                <a:gd name="connsiteY2572" fmla="*/ 209074 h 514350"/>
                <a:gd name="connsiteX2573" fmla="*/ 1223486 w 6400800"/>
                <a:gd name="connsiteY2573" fmla="*/ 199549 h 514350"/>
                <a:gd name="connsiteX2574" fmla="*/ 1215866 w 6400800"/>
                <a:gd name="connsiteY2574" fmla="*/ 179546 h 514350"/>
                <a:gd name="connsiteX2575" fmla="*/ 1219676 w 6400800"/>
                <a:gd name="connsiteY2575" fmla="*/ 200501 h 514350"/>
                <a:gd name="connsiteX2576" fmla="*/ 1221581 w 6400800"/>
                <a:gd name="connsiteY2576" fmla="*/ 211931 h 514350"/>
                <a:gd name="connsiteX2577" fmla="*/ 1220629 w 6400800"/>
                <a:gd name="connsiteY2577" fmla="*/ 213836 h 514350"/>
                <a:gd name="connsiteX2578" fmla="*/ 1207294 w 6400800"/>
                <a:gd name="connsiteY2578" fmla="*/ 200501 h 514350"/>
                <a:gd name="connsiteX2579" fmla="*/ 1201579 w 6400800"/>
                <a:gd name="connsiteY2579" fmla="*/ 195739 h 514350"/>
                <a:gd name="connsiteX2580" fmla="*/ 1206341 w 6400800"/>
                <a:gd name="connsiteY2580" fmla="*/ 201454 h 514350"/>
                <a:gd name="connsiteX2581" fmla="*/ 1217771 w 6400800"/>
                <a:gd name="connsiteY2581" fmla="*/ 217646 h 514350"/>
                <a:gd name="connsiteX2582" fmla="*/ 1217771 w 6400800"/>
                <a:gd name="connsiteY2582" fmla="*/ 217646 h 514350"/>
                <a:gd name="connsiteX2583" fmla="*/ 1216819 w 6400800"/>
                <a:gd name="connsiteY2583" fmla="*/ 231934 h 514350"/>
                <a:gd name="connsiteX2584" fmla="*/ 1202531 w 6400800"/>
                <a:gd name="connsiteY2584" fmla="*/ 219551 h 514350"/>
                <a:gd name="connsiteX2585" fmla="*/ 1215866 w 6400800"/>
                <a:gd name="connsiteY2585" fmla="*/ 236696 h 514350"/>
                <a:gd name="connsiteX2586" fmla="*/ 1214914 w 6400800"/>
                <a:gd name="connsiteY2586" fmla="*/ 249079 h 514350"/>
                <a:gd name="connsiteX2587" fmla="*/ 1214914 w 6400800"/>
                <a:gd name="connsiteY2587" fmla="*/ 255746 h 514350"/>
                <a:gd name="connsiteX2588" fmla="*/ 1213961 w 6400800"/>
                <a:gd name="connsiteY2588" fmla="*/ 250984 h 514350"/>
                <a:gd name="connsiteX2589" fmla="*/ 1213961 w 6400800"/>
                <a:gd name="connsiteY2589" fmla="*/ 250031 h 514350"/>
                <a:gd name="connsiteX2590" fmla="*/ 1214914 w 6400800"/>
                <a:gd name="connsiteY2590" fmla="*/ 249079 h 514350"/>
                <a:gd name="connsiteX2591" fmla="*/ 1213961 w 6400800"/>
                <a:gd name="connsiteY2591" fmla="*/ 250031 h 514350"/>
                <a:gd name="connsiteX2592" fmla="*/ 1207294 w 6400800"/>
                <a:gd name="connsiteY2592" fmla="*/ 229076 h 514350"/>
                <a:gd name="connsiteX2593" fmla="*/ 1200626 w 6400800"/>
                <a:gd name="connsiteY2593" fmla="*/ 212884 h 514350"/>
                <a:gd name="connsiteX2594" fmla="*/ 1193959 w 6400800"/>
                <a:gd name="connsiteY2594" fmla="*/ 198596 h 514350"/>
                <a:gd name="connsiteX2595" fmla="*/ 1196816 w 6400800"/>
                <a:gd name="connsiteY2595" fmla="*/ 213836 h 514350"/>
                <a:gd name="connsiteX2596" fmla="*/ 1200626 w 6400800"/>
                <a:gd name="connsiteY2596" fmla="*/ 230981 h 514350"/>
                <a:gd name="connsiteX2597" fmla="*/ 1204436 w 6400800"/>
                <a:gd name="connsiteY2597" fmla="*/ 252889 h 514350"/>
                <a:gd name="connsiteX2598" fmla="*/ 1205389 w 6400800"/>
                <a:gd name="connsiteY2598" fmla="*/ 258604 h 514350"/>
                <a:gd name="connsiteX2599" fmla="*/ 1196816 w 6400800"/>
                <a:gd name="connsiteY2599" fmla="*/ 239554 h 514350"/>
                <a:gd name="connsiteX2600" fmla="*/ 1189196 w 6400800"/>
                <a:gd name="connsiteY2600" fmla="*/ 224314 h 514350"/>
                <a:gd name="connsiteX2601" fmla="*/ 1181576 w 6400800"/>
                <a:gd name="connsiteY2601" fmla="*/ 211931 h 514350"/>
                <a:gd name="connsiteX2602" fmla="*/ 1185386 w 6400800"/>
                <a:gd name="connsiteY2602" fmla="*/ 225266 h 514350"/>
                <a:gd name="connsiteX2603" fmla="*/ 1190149 w 6400800"/>
                <a:gd name="connsiteY2603" fmla="*/ 241459 h 514350"/>
                <a:gd name="connsiteX2604" fmla="*/ 1194911 w 6400800"/>
                <a:gd name="connsiteY2604" fmla="*/ 262414 h 514350"/>
                <a:gd name="connsiteX2605" fmla="*/ 1197769 w 6400800"/>
                <a:gd name="connsiteY2605" fmla="*/ 276701 h 514350"/>
                <a:gd name="connsiteX2606" fmla="*/ 1193959 w 6400800"/>
                <a:gd name="connsiteY2606" fmla="*/ 284321 h 514350"/>
                <a:gd name="connsiteX2607" fmla="*/ 1193959 w 6400800"/>
                <a:gd name="connsiteY2607" fmla="*/ 283369 h 514350"/>
                <a:gd name="connsiteX2608" fmla="*/ 1193006 w 6400800"/>
                <a:gd name="connsiteY2608" fmla="*/ 279559 h 514350"/>
                <a:gd name="connsiteX2609" fmla="*/ 1193959 w 6400800"/>
                <a:gd name="connsiteY2609" fmla="*/ 276701 h 514350"/>
                <a:gd name="connsiteX2610" fmla="*/ 1193006 w 6400800"/>
                <a:gd name="connsiteY2610" fmla="*/ 278606 h 514350"/>
                <a:gd name="connsiteX2611" fmla="*/ 1184434 w 6400800"/>
                <a:gd name="connsiteY2611" fmla="*/ 250984 h 514350"/>
                <a:gd name="connsiteX2612" fmla="*/ 1174909 w 6400800"/>
                <a:gd name="connsiteY2612" fmla="*/ 227171 h 514350"/>
                <a:gd name="connsiteX2613" fmla="*/ 1174909 w 6400800"/>
                <a:gd name="connsiteY2613" fmla="*/ 223361 h 514350"/>
                <a:gd name="connsiteX2614" fmla="*/ 1175861 w 6400800"/>
                <a:gd name="connsiteY2614" fmla="*/ 196691 h 514350"/>
                <a:gd name="connsiteX2615" fmla="*/ 1174909 w 6400800"/>
                <a:gd name="connsiteY2615" fmla="*/ 173831 h 514350"/>
                <a:gd name="connsiteX2616" fmla="*/ 1172051 w 6400800"/>
                <a:gd name="connsiteY2616" fmla="*/ 196691 h 514350"/>
                <a:gd name="connsiteX2617" fmla="*/ 1168241 w 6400800"/>
                <a:gd name="connsiteY2617" fmla="*/ 223361 h 514350"/>
                <a:gd name="connsiteX2618" fmla="*/ 1168241 w 6400800"/>
                <a:gd name="connsiteY2618" fmla="*/ 226219 h 514350"/>
                <a:gd name="connsiteX2619" fmla="*/ 1162526 w 6400800"/>
                <a:gd name="connsiteY2619" fmla="*/ 238601 h 514350"/>
                <a:gd name="connsiteX2620" fmla="*/ 1158716 w 6400800"/>
                <a:gd name="connsiteY2620" fmla="*/ 215741 h 514350"/>
                <a:gd name="connsiteX2621" fmla="*/ 1152049 w 6400800"/>
                <a:gd name="connsiteY2621" fmla="*/ 189071 h 514350"/>
                <a:gd name="connsiteX2622" fmla="*/ 1136809 w 6400800"/>
                <a:gd name="connsiteY2622" fmla="*/ 133826 h 514350"/>
                <a:gd name="connsiteX2623" fmla="*/ 1140619 w 6400800"/>
                <a:gd name="connsiteY2623" fmla="*/ 190024 h 514350"/>
                <a:gd name="connsiteX2624" fmla="*/ 1143476 w 6400800"/>
                <a:gd name="connsiteY2624" fmla="*/ 217646 h 514350"/>
                <a:gd name="connsiteX2625" fmla="*/ 1146334 w 6400800"/>
                <a:gd name="connsiteY2625" fmla="*/ 248126 h 514350"/>
                <a:gd name="connsiteX2626" fmla="*/ 1147286 w 6400800"/>
                <a:gd name="connsiteY2626" fmla="*/ 261461 h 514350"/>
                <a:gd name="connsiteX2627" fmla="*/ 1147286 w 6400800"/>
                <a:gd name="connsiteY2627" fmla="*/ 261461 h 514350"/>
                <a:gd name="connsiteX2628" fmla="*/ 1147286 w 6400800"/>
                <a:gd name="connsiteY2628" fmla="*/ 258604 h 514350"/>
                <a:gd name="connsiteX2629" fmla="*/ 1147286 w 6400800"/>
                <a:gd name="connsiteY2629" fmla="*/ 260509 h 514350"/>
                <a:gd name="connsiteX2630" fmla="*/ 1143476 w 6400800"/>
                <a:gd name="connsiteY2630" fmla="*/ 251936 h 514350"/>
                <a:gd name="connsiteX2631" fmla="*/ 1141571 w 6400800"/>
                <a:gd name="connsiteY2631" fmla="*/ 249079 h 514350"/>
                <a:gd name="connsiteX2632" fmla="*/ 1141571 w 6400800"/>
                <a:gd name="connsiteY2632" fmla="*/ 237649 h 514350"/>
                <a:gd name="connsiteX2633" fmla="*/ 1139666 w 6400800"/>
                <a:gd name="connsiteY2633" fmla="*/ 246221 h 514350"/>
                <a:gd name="connsiteX2634" fmla="*/ 1132046 w 6400800"/>
                <a:gd name="connsiteY2634" fmla="*/ 231934 h 514350"/>
                <a:gd name="connsiteX2635" fmla="*/ 1132046 w 6400800"/>
                <a:gd name="connsiteY2635" fmla="*/ 230981 h 514350"/>
                <a:gd name="connsiteX2636" fmla="*/ 1120616 w 6400800"/>
                <a:gd name="connsiteY2636" fmla="*/ 177641 h 514350"/>
                <a:gd name="connsiteX2637" fmla="*/ 1110139 w 6400800"/>
                <a:gd name="connsiteY2637" fmla="*/ 132874 h 514350"/>
                <a:gd name="connsiteX2638" fmla="*/ 1100614 w 6400800"/>
                <a:gd name="connsiteY2638" fmla="*/ 98584 h 514350"/>
                <a:gd name="connsiteX2639" fmla="*/ 1092041 w 6400800"/>
                <a:gd name="connsiteY2639" fmla="*/ 69056 h 514350"/>
                <a:gd name="connsiteX2640" fmla="*/ 1096804 w 6400800"/>
                <a:gd name="connsiteY2640" fmla="*/ 99536 h 514350"/>
                <a:gd name="connsiteX2641" fmla="*/ 1103471 w 6400800"/>
                <a:gd name="connsiteY2641" fmla="*/ 134779 h 514350"/>
                <a:gd name="connsiteX2642" fmla="*/ 1110139 w 6400800"/>
                <a:gd name="connsiteY2642" fmla="*/ 180499 h 514350"/>
                <a:gd name="connsiteX2643" fmla="*/ 1112996 w 6400800"/>
                <a:gd name="connsiteY2643" fmla="*/ 199549 h 514350"/>
                <a:gd name="connsiteX2644" fmla="*/ 1110139 w 6400800"/>
                <a:gd name="connsiteY2644" fmla="*/ 194786 h 514350"/>
                <a:gd name="connsiteX2645" fmla="*/ 1106329 w 6400800"/>
                <a:gd name="connsiteY2645" fmla="*/ 190024 h 514350"/>
                <a:gd name="connsiteX2646" fmla="*/ 1105376 w 6400800"/>
                <a:gd name="connsiteY2646" fmla="*/ 188119 h 514350"/>
                <a:gd name="connsiteX2647" fmla="*/ 1095851 w 6400800"/>
                <a:gd name="connsiteY2647" fmla="*/ 160496 h 514350"/>
                <a:gd name="connsiteX2648" fmla="*/ 1087279 w 6400800"/>
                <a:gd name="connsiteY2648" fmla="*/ 136684 h 514350"/>
                <a:gd name="connsiteX2649" fmla="*/ 1092041 w 6400800"/>
                <a:gd name="connsiteY2649" fmla="*/ 161449 h 514350"/>
                <a:gd name="connsiteX2650" fmla="*/ 1098709 w 6400800"/>
                <a:gd name="connsiteY2650" fmla="*/ 190024 h 514350"/>
                <a:gd name="connsiteX2651" fmla="*/ 1103471 w 6400800"/>
                <a:gd name="connsiteY2651" fmla="*/ 215741 h 514350"/>
                <a:gd name="connsiteX2652" fmla="*/ 1097756 w 6400800"/>
                <a:gd name="connsiteY2652" fmla="*/ 200501 h 514350"/>
                <a:gd name="connsiteX2653" fmla="*/ 1102519 w 6400800"/>
                <a:gd name="connsiteY2653" fmla="*/ 224314 h 514350"/>
                <a:gd name="connsiteX2654" fmla="*/ 1094899 w 6400800"/>
                <a:gd name="connsiteY2654" fmla="*/ 233839 h 514350"/>
                <a:gd name="connsiteX2655" fmla="*/ 1089184 w 6400800"/>
                <a:gd name="connsiteY2655" fmla="*/ 209074 h 514350"/>
                <a:gd name="connsiteX2656" fmla="*/ 1084421 w 6400800"/>
                <a:gd name="connsiteY2656" fmla="*/ 166211 h 514350"/>
                <a:gd name="connsiteX2657" fmla="*/ 1083469 w 6400800"/>
                <a:gd name="connsiteY2657" fmla="*/ 184309 h 514350"/>
                <a:gd name="connsiteX2658" fmla="*/ 1073944 w 6400800"/>
                <a:gd name="connsiteY2658" fmla="*/ 149066 h 514350"/>
                <a:gd name="connsiteX2659" fmla="*/ 1066324 w 6400800"/>
                <a:gd name="connsiteY2659" fmla="*/ 123349 h 514350"/>
                <a:gd name="connsiteX2660" fmla="*/ 1075849 w 6400800"/>
                <a:gd name="connsiteY2660" fmla="*/ 94774 h 514350"/>
                <a:gd name="connsiteX2661" fmla="*/ 1064419 w 6400800"/>
                <a:gd name="connsiteY2661" fmla="*/ 119539 h 514350"/>
                <a:gd name="connsiteX2662" fmla="*/ 1057751 w 6400800"/>
                <a:gd name="connsiteY2662" fmla="*/ 100489 h 514350"/>
                <a:gd name="connsiteX2663" fmla="*/ 1050131 w 6400800"/>
                <a:gd name="connsiteY2663" fmla="*/ 78581 h 514350"/>
                <a:gd name="connsiteX2664" fmla="*/ 1042511 w 6400800"/>
                <a:gd name="connsiteY2664" fmla="*/ 59531 h 514350"/>
                <a:gd name="connsiteX2665" fmla="*/ 1029176 w 6400800"/>
                <a:gd name="connsiteY2665" fmla="*/ 28099 h 514350"/>
                <a:gd name="connsiteX2666" fmla="*/ 1012984 w 6400800"/>
                <a:gd name="connsiteY2666" fmla="*/ 7144 h 514350"/>
                <a:gd name="connsiteX2667" fmla="*/ 1022509 w 6400800"/>
                <a:gd name="connsiteY2667" fmla="*/ 34766 h 514350"/>
                <a:gd name="connsiteX2668" fmla="*/ 1032986 w 6400800"/>
                <a:gd name="connsiteY2668" fmla="*/ 67151 h 514350"/>
                <a:gd name="connsiteX2669" fmla="*/ 1038701 w 6400800"/>
                <a:gd name="connsiteY2669" fmla="*/ 87154 h 514350"/>
                <a:gd name="connsiteX2670" fmla="*/ 1044416 w 6400800"/>
                <a:gd name="connsiteY2670" fmla="*/ 109061 h 514350"/>
                <a:gd name="connsiteX2671" fmla="*/ 1044416 w 6400800"/>
                <a:gd name="connsiteY2671" fmla="*/ 110014 h 514350"/>
                <a:gd name="connsiteX2672" fmla="*/ 1037749 w 6400800"/>
                <a:gd name="connsiteY2672" fmla="*/ 96679 h 514350"/>
                <a:gd name="connsiteX2673" fmla="*/ 1044416 w 6400800"/>
                <a:gd name="connsiteY2673" fmla="*/ 117634 h 514350"/>
                <a:gd name="connsiteX2674" fmla="*/ 1051084 w 6400800"/>
                <a:gd name="connsiteY2674" fmla="*/ 141446 h 514350"/>
                <a:gd name="connsiteX2675" fmla="*/ 1052036 w 6400800"/>
                <a:gd name="connsiteY2675" fmla="*/ 146209 h 514350"/>
                <a:gd name="connsiteX2676" fmla="*/ 1037749 w 6400800"/>
                <a:gd name="connsiteY2676" fmla="*/ 172879 h 514350"/>
                <a:gd name="connsiteX2677" fmla="*/ 1024414 w 6400800"/>
                <a:gd name="connsiteY2677" fmla="*/ 195739 h 514350"/>
                <a:gd name="connsiteX2678" fmla="*/ 1023461 w 6400800"/>
                <a:gd name="connsiteY2678" fmla="*/ 192881 h 514350"/>
                <a:gd name="connsiteX2679" fmla="*/ 1023461 w 6400800"/>
                <a:gd name="connsiteY2679" fmla="*/ 184309 h 514350"/>
                <a:gd name="connsiteX2680" fmla="*/ 1024414 w 6400800"/>
                <a:gd name="connsiteY2680" fmla="*/ 142399 h 514350"/>
                <a:gd name="connsiteX2681" fmla="*/ 1023461 w 6400800"/>
                <a:gd name="connsiteY2681" fmla="*/ 110014 h 514350"/>
                <a:gd name="connsiteX2682" fmla="*/ 1021556 w 6400800"/>
                <a:gd name="connsiteY2682" fmla="*/ 89059 h 514350"/>
                <a:gd name="connsiteX2683" fmla="*/ 1020604 w 6400800"/>
                <a:gd name="connsiteY2683" fmla="*/ 81439 h 514350"/>
                <a:gd name="connsiteX2684" fmla="*/ 1020604 w 6400800"/>
                <a:gd name="connsiteY2684" fmla="*/ 89059 h 514350"/>
                <a:gd name="connsiteX2685" fmla="*/ 1019651 w 6400800"/>
                <a:gd name="connsiteY2685" fmla="*/ 110014 h 514350"/>
                <a:gd name="connsiteX2686" fmla="*/ 1014889 w 6400800"/>
                <a:gd name="connsiteY2686" fmla="*/ 165259 h 514350"/>
                <a:gd name="connsiteX2687" fmla="*/ 1013936 w 6400800"/>
                <a:gd name="connsiteY2687" fmla="*/ 161449 h 514350"/>
                <a:gd name="connsiteX2688" fmla="*/ 1014889 w 6400800"/>
                <a:gd name="connsiteY2688" fmla="*/ 168116 h 514350"/>
                <a:gd name="connsiteX2689" fmla="*/ 1012984 w 6400800"/>
                <a:gd name="connsiteY2689" fmla="*/ 183356 h 514350"/>
                <a:gd name="connsiteX2690" fmla="*/ 1007269 w 6400800"/>
                <a:gd name="connsiteY2690" fmla="*/ 224314 h 514350"/>
                <a:gd name="connsiteX2691" fmla="*/ 972026 w 6400800"/>
                <a:gd name="connsiteY2691" fmla="*/ 283369 h 514350"/>
                <a:gd name="connsiteX2692" fmla="*/ 971074 w 6400800"/>
                <a:gd name="connsiteY2692" fmla="*/ 269081 h 514350"/>
                <a:gd name="connsiteX2693" fmla="*/ 977741 w 6400800"/>
                <a:gd name="connsiteY2693" fmla="*/ 251936 h 514350"/>
                <a:gd name="connsiteX2694" fmla="*/ 992981 w 6400800"/>
                <a:gd name="connsiteY2694" fmla="*/ 206216 h 514350"/>
                <a:gd name="connsiteX2695" fmla="*/ 1002506 w 6400800"/>
                <a:gd name="connsiteY2695" fmla="*/ 170974 h 514350"/>
                <a:gd name="connsiteX2696" fmla="*/ 1009174 w 6400800"/>
                <a:gd name="connsiteY2696" fmla="*/ 139541 h 514350"/>
                <a:gd name="connsiteX2697" fmla="*/ 998696 w 6400800"/>
                <a:gd name="connsiteY2697" fmla="*/ 170021 h 514350"/>
                <a:gd name="connsiteX2698" fmla="*/ 985361 w 6400800"/>
                <a:gd name="connsiteY2698" fmla="*/ 204311 h 514350"/>
                <a:gd name="connsiteX2699" fmla="*/ 966311 w 6400800"/>
                <a:gd name="connsiteY2699" fmla="*/ 248126 h 514350"/>
                <a:gd name="connsiteX2700" fmla="*/ 960596 w 6400800"/>
                <a:gd name="connsiteY2700" fmla="*/ 260509 h 514350"/>
                <a:gd name="connsiteX2701" fmla="*/ 961549 w 6400800"/>
                <a:gd name="connsiteY2701" fmla="*/ 225266 h 514350"/>
                <a:gd name="connsiteX2702" fmla="*/ 969169 w 6400800"/>
                <a:gd name="connsiteY2702" fmla="*/ 206216 h 514350"/>
                <a:gd name="connsiteX2703" fmla="*/ 961549 w 6400800"/>
                <a:gd name="connsiteY2703" fmla="*/ 218599 h 514350"/>
                <a:gd name="connsiteX2704" fmla="*/ 961549 w 6400800"/>
                <a:gd name="connsiteY2704" fmla="*/ 206216 h 514350"/>
                <a:gd name="connsiteX2705" fmla="*/ 958691 w 6400800"/>
                <a:gd name="connsiteY2705" fmla="*/ 149066 h 514350"/>
                <a:gd name="connsiteX2706" fmla="*/ 956786 w 6400800"/>
                <a:gd name="connsiteY2706" fmla="*/ 134779 h 514350"/>
                <a:gd name="connsiteX2707" fmla="*/ 957739 w 6400800"/>
                <a:gd name="connsiteY2707" fmla="*/ 131921 h 514350"/>
                <a:gd name="connsiteX2708" fmla="*/ 956786 w 6400800"/>
                <a:gd name="connsiteY2708" fmla="*/ 133826 h 514350"/>
                <a:gd name="connsiteX2709" fmla="*/ 956786 w 6400800"/>
                <a:gd name="connsiteY2709" fmla="*/ 132874 h 514350"/>
                <a:gd name="connsiteX2710" fmla="*/ 955834 w 6400800"/>
                <a:gd name="connsiteY2710" fmla="*/ 127159 h 514350"/>
                <a:gd name="connsiteX2711" fmla="*/ 955834 w 6400800"/>
                <a:gd name="connsiteY2711" fmla="*/ 136684 h 514350"/>
                <a:gd name="connsiteX2712" fmla="*/ 927259 w 6400800"/>
                <a:gd name="connsiteY2712" fmla="*/ 206216 h 514350"/>
                <a:gd name="connsiteX2713" fmla="*/ 927259 w 6400800"/>
                <a:gd name="connsiteY2713" fmla="*/ 205264 h 514350"/>
                <a:gd name="connsiteX2714" fmla="*/ 930116 w 6400800"/>
                <a:gd name="connsiteY2714" fmla="*/ 183356 h 514350"/>
                <a:gd name="connsiteX2715" fmla="*/ 932974 w 6400800"/>
                <a:gd name="connsiteY2715" fmla="*/ 164306 h 514350"/>
                <a:gd name="connsiteX2716" fmla="*/ 926306 w 6400800"/>
                <a:gd name="connsiteY2716" fmla="*/ 183356 h 514350"/>
                <a:gd name="connsiteX2717" fmla="*/ 920591 w 6400800"/>
                <a:gd name="connsiteY2717" fmla="*/ 203359 h 514350"/>
                <a:gd name="connsiteX2718" fmla="*/ 910114 w 6400800"/>
                <a:gd name="connsiteY2718" fmla="*/ 171926 h 514350"/>
                <a:gd name="connsiteX2719" fmla="*/ 907256 w 6400800"/>
                <a:gd name="connsiteY2719" fmla="*/ 164306 h 514350"/>
                <a:gd name="connsiteX2720" fmla="*/ 912019 w 6400800"/>
                <a:gd name="connsiteY2720" fmla="*/ 157639 h 514350"/>
                <a:gd name="connsiteX2721" fmla="*/ 933926 w 6400800"/>
                <a:gd name="connsiteY2721" fmla="*/ 124301 h 514350"/>
                <a:gd name="connsiteX2722" fmla="*/ 953929 w 6400800"/>
                <a:gd name="connsiteY2722" fmla="*/ 95726 h 514350"/>
                <a:gd name="connsiteX2723" fmla="*/ 931069 w 6400800"/>
                <a:gd name="connsiteY2723" fmla="*/ 121444 h 514350"/>
                <a:gd name="connsiteX2724" fmla="*/ 906304 w 6400800"/>
                <a:gd name="connsiteY2724" fmla="*/ 151924 h 514350"/>
                <a:gd name="connsiteX2725" fmla="*/ 904399 w 6400800"/>
                <a:gd name="connsiteY2725" fmla="*/ 154781 h 514350"/>
                <a:gd name="connsiteX2726" fmla="*/ 894874 w 6400800"/>
                <a:gd name="connsiteY2726" fmla="*/ 131921 h 514350"/>
                <a:gd name="connsiteX2727" fmla="*/ 892016 w 6400800"/>
                <a:gd name="connsiteY2727" fmla="*/ 126206 h 514350"/>
                <a:gd name="connsiteX2728" fmla="*/ 897731 w 6400800"/>
                <a:gd name="connsiteY2728" fmla="*/ 115729 h 514350"/>
                <a:gd name="connsiteX2729" fmla="*/ 918686 w 6400800"/>
                <a:gd name="connsiteY2729" fmla="*/ 77629 h 514350"/>
                <a:gd name="connsiteX2730" fmla="*/ 937736 w 6400800"/>
                <a:gd name="connsiteY2730" fmla="*/ 44291 h 514350"/>
                <a:gd name="connsiteX2731" fmla="*/ 914876 w 6400800"/>
                <a:gd name="connsiteY2731" fmla="*/ 74771 h 514350"/>
                <a:gd name="connsiteX2732" fmla="*/ 890111 w 6400800"/>
                <a:gd name="connsiteY2732" fmla="*/ 110966 h 514350"/>
                <a:gd name="connsiteX2733" fmla="*/ 886301 w 6400800"/>
                <a:gd name="connsiteY2733" fmla="*/ 116681 h 514350"/>
                <a:gd name="connsiteX2734" fmla="*/ 874871 w 6400800"/>
                <a:gd name="connsiteY2734" fmla="*/ 92869 h 514350"/>
                <a:gd name="connsiteX2735" fmla="*/ 873919 w 6400800"/>
                <a:gd name="connsiteY2735" fmla="*/ 90964 h 514350"/>
                <a:gd name="connsiteX2736" fmla="*/ 872966 w 6400800"/>
                <a:gd name="connsiteY2736" fmla="*/ 91916 h 514350"/>
                <a:gd name="connsiteX2737" fmla="*/ 868204 w 6400800"/>
                <a:gd name="connsiteY2737" fmla="*/ 95726 h 514350"/>
                <a:gd name="connsiteX2738" fmla="*/ 866299 w 6400800"/>
                <a:gd name="connsiteY2738" fmla="*/ 101441 h 514350"/>
                <a:gd name="connsiteX2739" fmla="*/ 868204 w 6400800"/>
                <a:gd name="connsiteY2739" fmla="*/ 113824 h 514350"/>
                <a:gd name="connsiteX2740" fmla="*/ 868204 w 6400800"/>
                <a:gd name="connsiteY2740" fmla="*/ 102394 h 514350"/>
                <a:gd name="connsiteX2741" fmla="*/ 870109 w 6400800"/>
                <a:gd name="connsiteY2741" fmla="*/ 97631 h 514350"/>
                <a:gd name="connsiteX2742" fmla="*/ 872966 w 6400800"/>
                <a:gd name="connsiteY2742" fmla="*/ 95726 h 514350"/>
                <a:gd name="connsiteX2743" fmla="*/ 882491 w 6400800"/>
                <a:gd name="connsiteY2743" fmla="*/ 122396 h 514350"/>
                <a:gd name="connsiteX2744" fmla="*/ 875824 w 6400800"/>
                <a:gd name="connsiteY2744" fmla="*/ 132874 h 514350"/>
                <a:gd name="connsiteX2745" fmla="*/ 860584 w 6400800"/>
                <a:gd name="connsiteY2745" fmla="*/ 159544 h 514350"/>
                <a:gd name="connsiteX2746" fmla="*/ 837724 w 6400800"/>
                <a:gd name="connsiteY2746" fmla="*/ 203359 h 514350"/>
                <a:gd name="connsiteX2747" fmla="*/ 832009 w 6400800"/>
                <a:gd name="connsiteY2747" fmla="*/ 194786 h 514350"/>
                <a:gd name="connsiteX2748" fmla="*/ 838676 w 6400800"/>
                <a:gd name="connsiteY2748" fmla="*/ 137636 h 514350"/>
                <a:gd name="connsiteX2749" fmla="*/ 840581 w 6400800"/>
                <a:gd name="connsiteY2749" fmla="*/ 115729 h 514350"/>
                <a:gd name="connsiteX2750" fmla="*/ 834866 w 6400800"/>
                <a:gd name="connsiteY2750" fmla="*/ 137636 h 514350"/>
                <a:gd name="connsiteX2751" fmla="*/ 820579 w 6400800"/>
                <a:gd name="connsiteY2751" fmla="*/ 194786 h 514350"/>
                <a:gd name="connsiteX2752" fmla="*/ 818674 w 6400800"/>
                <a:gd name="connsiteY2752" fmla="*/ 204311 h 514350"/>
                <a:gd name="connsiteX2753" fmla="*/ 815816 w 6400800"/>
                <a:gd name="connsiteY2753" fmla="*/ 197644 h 514350"/>
                <a:gd name="connsiteX2754" fmla="*/ 807244 w 6400800"/>
                <a:gd name="connsiteY2754" fmla="*/ 174784 h 514350"/>
                <a:gd name="connsiteX2755" fmla="*/ 812006 w 6400800"/>
                <a:gd name="connsiteY2755" fmla="*/ 198596 h 514350"/>
                <a:gd name="connsiteX2756" fmla="*/ 814864 w 6400800"/>
                <a:gd name="connsiteY2756" fmla="*/ 210979 h 514350"/>
                <a:gd name="connsiteX2757" fmla="*/ 815816 w 6400800"/>
                <a:gd name="connsiteY2757" fmla="*/ 216694 h 514350"/>
                <a:gd name="connsiteX2758" fmla="*/ 811054 w 6400800"/>
                <a:gd name="connsiteY2758" fmla="*/ 239554 h 514350"/>
                <a:gd name="connsiteX2759" fmla="*/ 808196 w 6400800"/>
                <a:gd name="connsiteY2759" fmla="*/ 219551 h 514350"/>
                <a:gd name="connsiteX2760" fmla="*/ 807244 w 6400800"/>
                <a:gd name="connsiteY2760" fmla="*/ 264319 h 514350"/>
                <a:gd name="connsiteX2761" fmla="*/ 807244 w 6400800"/>
                <a:gd name="connsiteY2761" fmla="*/ 266224 h 514350"/>
                <a:gd name="connsiteX2762" fmla="*/ 798671 w 6400800"/>
                <a:gd name="connsiteY2762" fmla="*/ 246221 h 514350"/>
                <a:gd name="connsiteX2763" fmla="*/ 800576 w 6400800"/>
                <a:gd name="connsiteY2763" fmla="*/ 239554 h 514350"/>
                <a:gd name="connsiteX2764" fmla="*/ 797719 w 6400800"/>
                <a:gd name="connsiteY2764" fmla="*/ 245269 h 514350"/>
                <a:gd name="connsiteX2765" fmla="*/ 796766 w 6400800"/>
                <a:gd name="connsiteY2765" fmla="*/ 242411 h 514350"/>
                <a:gd name="connsiteX2766" fmla="*/ 792956 w 6400800"/>
                <a:gd name="connsiteY2766" fmla="*/ 233839 h 514350"/>
                <a:gd name="connsiteX2767" fmla="*/ 796766 w 6400800"/>
                <a:gd name="connsiteY2767" fmla="*/ 218599 h 514350"/>
                <a:gd name="connsiteX2768" fmla="*/ 809149 w 6400800"/>
                <a:gd name="connsiteY2768" fmla="*/ 164306 h 514350"/>
                <a:gd name="connsiteX2769" fmla="*/ 812959 w 6400800"/>
                <a:gd name="connsiteY2769" fmla="*/ 143351 h 514350"/>
                <a:gd name="connsiteX2770" fmla="*/ 805339 w 6400800"/>
                <a:gd name="connsiteY2770" fmla="*/ 163354 h 514350"/>
                <a:gd name="connsiteX2771" fmla="*/ 796766 w 6400800"/>
                <a:gd name="connsiteY2771" fmla="*/ 186214 h 514350"/>
                <a:gd name="connsiteX2772" fmla="*/ 785336 w 6400800"/>
                <a:gd name="connsiteY2772" fmla="*/ 215741 h 514350"/>
                <a:gd name="connsiteX2773" fmla="*/ 784384 w 6400800"/>
                <a:gd name="connsiteY2773" fmla="*/ 218599 h 514350"/>
                <a:gd name="connsiteX2774" fmla="*/ 776764 w 6400800"/>
                <a:gd name="connsiteY2774" fmla="*/ 205264 h 514350"/>
                <a:gd name="connsiteX2775" fmla="*/ 774859 w 6400800"/>
                <a:gd name="connsiteY2775" fmla="*/ 202406 h 514350"/>
                <a:gd name="connsiteX2776" fmla="*/ 774859 w 6400800"/>
                <a:gd name="connsiteY2776" fmla="*/ 201454 h 514350"/>
                <a:gd name="connsiteX2777" fmla="*/ 780574 w 6400800"/>
                <a:gd name="connsiteY2777" fmla="*/ 142399 h 514350"/>
                <a:gd name="connsiteX2778" fmla="*/ 781526 w 6400800"/>
                <a:gd name="connsiteY2778" fmla="*/ 119539 h 514350"/>
                <a:gd name="connsiteX2779" fmla="*/ 776764 w 6400800"/>
                <a:gd name="connsiteY2779" fmla="*/ 141446 h 514350"/>
                <a:gd name="connsiteX2780" fmla="*/ 771049 w 6400800"/>
                <a:gd name="connsiteY2780" fmla="*/ 167164 h 514350"/>
                <a:gd name="connsiteX2781" fmla="*/ 766286 w 6400800"/>
                <a:gd name="connsiteY2781" fmla="*/ 189071 h 514350"/>
                <a:gd name="connsiteX2782" fmla="*/ 758666 w 6400800"/>
                <a:gd name="connsiteY2782" fmla="*/ 178594 h 514350"/>
                <a:gd name="connsiteX2783" fmla="*/ 745331 w 6400800"/>
                <a:gd name="connsiteY2783" fmla="*/ 163354 h 514350"/>
                <a:gd name="connsiteX2784" fmla="*/ 740569 w 6400800"/>
                <a:gd name="connsiteY2784" fmla="*/ 157639 h 514350"/>
                <a:gd name="connsiteX2785" fmla="*/ 744379 w 6400800"/>
                <a:gd name="connsiteY2785" fmla="*/ 163354 h 514350"/>
                <a:gd name="connsiteX2786" fmla="*/ 754856 w 6400800"/>
                <a:gd name="connsiteY2786" fmla="*/ 180499 h 514350"/>
                <a:gd name="connsiteX2787" fmla="*/ 763429 w 6400800"/>
                <a:gd name="connsiteY2787" fmla="*/ 196691 h 514350"/>
                <a:gd name="connsiteX2788" fmla="*/ 762476 w 6400800"/>
                <a:gd name="connsiteY2788" fmla="*/ 199549 h 514350"/>
                <a:gd name="connsiteX2789" fmla="*/ 753904 w 6400800"/>
                <a:gd name="connsiteY2789" fmla="*/ 238601 h 514350"/>
                <a:gd name="connsiteX2790" fmla="*/ 747236 w 6400800"/>
                <a:gd name="connsiteY2790" fmla="*/ 224314 h 514350"/>
                <a:gd name="connsiteX2791" fmla="*/ 752951 w 6400800"/>
                <a:gd name="connsiteY2791" fmla="*/ 241459 h 514350"/>
                <a:gd name="connsiteX2792" fmla="*/ 751046 w 6400800"/>
                <a:gd name="connsiteY2792" fmla="*/ 243364 h 514350"/>
                <a:gd name="connsiteX2793" fmla="*/ 749141 w 6400800"/>
                <a:gd name="connsiteY2793" fmla="*/ 252889 h 514350"/>
                <a:gd name="connsiteX2794" fmla="*/ 752951 w 6400800"/>
                <a:gd name="connsiteY2794" fmla="*/ 244316 h 514350"/>
                <a:gd name="connsiteX2795" fmla="*/ 752951 w 6400800"/>
                <a:gd name="connsiteY2795" fmla="*/ 244316 h 514350"/>
                <a:gd name="connsiteX2796" fmla="*/ 744379 w 6400800"/>
                <a:gd name="connsiteY2796" fmla="*/ 282416 h 514350"/>
                <a:gd name="connsiteX2797" fmla="*/ 741521 w 6400800"/>
                <a:gd name="connsiteY2797" fmla="*/ 296704 h 514350"/>
                <a:gd name="connsiteX2798" fmla="*/ 738664 w 6400800"/>
                <a:gd name="connsiteY2798" fmla="*/ 306229 h 514350"/>
                <a:gd name="connsiteX2799" fmla="*/ 738664 w 6400800"/>
                <a:gd name="connsiteY2799" fmla="*/ 306229 h 514350"/>
                <a:gd name="connsiteX2800" fmla="*/ 737711 w 6400800"/>
                <a:gd name="connsiteY2800" fmla="*/ 293846 h 514350"/>
                <a:gd name="connsiteX2801" fmla="*/ 733901 w 6400800"/>
                <a:gd name="connsiteY2801" fmla="*/ 270034 h 514350"/>
                <a:gd name="connsiteX2802" fmla="*/ 731996 w 6400800"/>
                <a:gd name="connsiteY2802" fmla="*/ 259556 h 514350"/>
                <a:gd name="connsiteX2803" fmla="*/ 731044 w 6400800"/>
                <a:gd name="connsiteY2803" fmla="*/ 257651 h 514350"/>
                <a:gd name="connsiteX2804" fmla="*/ 725329 w 6400800"/>
                <a:gd name="connsiteY2804" fmla="*/ 210979 h 514350"/>
                <a:gd name="connsiteX2805" fmla="*/ 722471 w 6400800"/>
                <a:gd name="connsiteY2805" fmla="*/ 186214 h 514350"/>
                <a:gd name="connsiteX2806" fmla="*/ 722471 w 6400800"/>
                <a:gd name="connsiteY2806" fmla="*/ 199549 h 514350"/>
                <a:gd name="connsiteX2807" fmla="*/ 709136 w 6400800"/>
                <a:gd name="connsiteY2807" fmla="*/ 243364 h 514350"/>
                <a:gd name="connsiteX2808" fmla="*/ 704374 w 6400800"/>
                <a:gd name="connsiteY2808" fmla="*/ 229076 h 514350"/>
                <a:gd name="connsiteX2809" fmla="*/ 687229 w 6400800"/>
                <a:gd name="connsiteY2809" fmla="*/ 181451 h 514350"/>
                <a:gd name="connsiteX2810" fmla="*/ 679609 w 6400800"/>
                <a:gd name="connsiteY2810" fmla="*/ 161449 h 514350"/>
                <a:gd name="connsiteX2811" fmla="*/ 679609 w 6400800"/>
                <a:gd name="connsiteY2811" fmla="*/ 148114 h 514350"/>
                <a:gd name="connsiteX2812" fmla="*/ 679609 w 6400800"/>
                <a:gd name="connsiteY2812" fmla="*/ 122396 h 514350"/>
                <a:gd name="connsiteX2813" fmla="*/ 678656 w 6400800"/>
                <a:gd name="connsiteY2813" fmla="*/ 100489 h 514350"/>
                <a:gd name="connsiteX2814" fmla="*/ 675799 w 6400800"/>
                <a:gd name="connsiteY2814" fmla="*/ 122396 h 514350"/>
                <a:gd name="connsiteX2815" fmla="*/ 672941 w 6400800"/>
                <a:gd name="connsiteY2815" fmla="*/ 144304 h 514350"/>
                <a:gd name="connsiteX2816" fmla="*/ 663416 w 6400800"/>
                <a:gd name="connsiteY2816" fmla="*/ 122396 h 514350"/>
                <a:gd name="connsiteX2817" fmla="*/ 659606 w 6400800"/>
                <a:gd name="connsiteY2817" fmla="*/ 114776 h 514350"/>
                <a:gd name="connsiteX2818" fmla="*/ 662464 w 6400800"/>
                <a:gd name="connsiteY2818" fmla="*/ 123349 h 514350"/>
                <a:gd name="connsiteX2819" fmla="*/ 670084 w 6400800"/>
                <a:gd name="connsiteY2819" fmla="*/ 147161 h 514350"/>
                <a:gd name="connsiteX2820" fmla="*/ 671989 w 6400800"/>
                <a:gd name="connsiteY2820" fmla="*/ 153829 h 514350"/>
                <a:gd name="connsiteX2821" fmla="*/ 671036 w 6400800"/>
                <a:gd name="connsiteY2821" fmla="*/ 164306 h 514350"/>
                <a:gd name="connsiteX2822" fmla="*/ 668179 w 6400800"/>
                <a:gd name="connsiteY2822" fmla="*/ 181451 h 514350"/>
                <a:gd name="connsiteX2823" fmla="*/ 662464 w 6400800"/>
                <a:gd name="connsiteY2823" fmla="*/ 219551 h 514350"/>
                <a:gd name="connsiteX2824" fmla="*/ 658654 w 6400800"/>
                <a:gd name="connsiteY2824" fmla="*/ 239554 h 514350"/>
                <a:gd name="connsiteX2825" fmla="*/ 655796 w 6400800"/>
                <a:gd name="connsiteY2825" fmla="*/ 231934 h 514350"/>
                <a:gd name="connsiteX2826" fmla="*/ 657701 w 6400800"/>
                <a:gd name="connsiteY2826" fmla="*/ 210026 h 514350"/>
                <a:gd name="connsiteX2827" fmla="*/ 653891 w 6400800"/>
                <a:gd name="connsiteY2827" fmla="*/ 226219 h 514350"/>
                <a:gd name="connsiteX2828" fmla="*/ 638651 w 6400800"/>
                <a:gd name="connsiteY2828" fmla="*/ 191929 h 514350"/>
                <a:gd name="connsiteX2829" fmla="*/ 630079 w 6400800"/>
                <a:gd name="connsiteY2829" fmla="*/ 174784 h 514350"/>
                <a:gd name="connsiteX2830" fmla="*/ 627221 w 6400800"/>
                <a:gd name="connsiteY2830" fmla="*/ 169069 h 514350"/>
                <a:gd name="connsiteX2831" fmla="*/ 635794 w 6400800"/>
                <a:gd name="connsiteY2831" fmla="*/ 193834 h 514350"/>
                <a:gd name="connsiteX2832" fmla="*/ 649129 w 6400800"/>
                <a:gd name="connsiteY2832" fmla="*/ 240506 h 514350"/>
                <a:gd name="connsiteX2833" fmla="*/ 650081 w 6400800"/>
                <a:gd name="connsiteY2833" fmla="*/ 244316 h 514350"/>
                <a:gd name="connsiteX2834" fmla="*/ 647224 w 6400800"/>
                <a:gd name="connsiteY2834" fmla="*/ 262414 h 514350"/>
                <a:gd name="connsiteX2835" fmla="*/ 644366 w 6400800"/>
                <a:gd name="connsiteY2835" fmla="*/ 279559 h 514350"/>
                <a:gd name="connsiteX2836" fmla="*/ 642461 w 6400800"/>
                <a:gd name="connsiteY2836" fmla="*/ 298609 h 514350"/>
                <a:gd name="connsiteX2837" fmla="*/ 642461 w 6400800"/>
                <a:gd name="connsiteY2837" fmla="*/ 298609 h 514350"/>
                <a:gd name="connsiteX2838" fmla="*/ 642461 w 6400800"/>
                <a:gd name="connsiteY2838" fmla="*/ 294799 h 514350"/>
                <a:gd name="connsiteX2839" fmla="*/ 641509 w 6400800"/>
                <a:gd name="connsiteY2839" fmla="*/ 315754 h 514350"/>
                <a:gd name="connsiteX2840" fmla="*/ 641509 w 6400800"/>
                <a:gd name="connsiteY2840" fmla="*/ 317659 h 514350"/>
                <a:gd name="connsiteX2841" fmla="*/ 639604 w 6400800"/>
                <a:gd name="connsiteY2841" fmla="*/ 309086 h 514350"/>
                <a:gd name="connsiteX2842" fmla="*/ 640556 w 6400800"/>
                <a:gd name="connsiteY2842" fmla="*/ 304324 h 514350"/>
                <a:gd name="connsiteX2843" fmla="*/ 638651 w 6400800"/>
                <a:gd name="connsiteY2843" fmla="*/ 307181 h 514350"/>
                <a:gd name="connsiteX2844" fmla="*/ 632936 w 6400800"/>
                <a:gd name="connsiteY2844" fmla="*/ 284321 h 514350"/>
                <a:gd name="connsiteX2845" fmla="*/ 624364 w 6400800"/>
                <a:gd name="connsiteY2845" fmla="*/ 250031 h 514350"/>
                <a:gd name="connsiteX2846" fmla="*/ 617696 w 6400800"/>
                <a:gd name="connsiteY2846" fmla="*/ 223361 h 514350"/>
                <a:gd name="connsiteX2847" fmla="*/ 614839 w 6400800"/>
                <a:gd name="connsiteY2847" fmla="*/ 210979 h 514350"/>
                <a:gd name="connsiteX2848" fmla="*/ 615791 w 6400800"/>
                <a:gd name="connsiteY2848" fmla="*/ 190024 h 514350"/>
                <a:gd name="connsiteX2849" fmla="*/ 617696 w 6400800"/>
                <a:gd name="connsiteY2849" fmla="*/ 126206 h 514350"/>
                <a:gd name="connsiteX2850" fmla="*/ 607219 w 6400800"/>
                <a:gd name="connsiteY2850" fmla="*/ 187166 h 514350"/>
                <a:gd name="connsiteX2851" fmla="*/ 606266 w 6400800"/>
                <a:gd name="connsiteY2851" fmla="*/ 184309 h 514350"/>
                <a:gd name="connsiteX2852" fmla="*/ 606266 w 6400800"/>
                <a:gd name="connsiteY2852" fmla="*/ 189071 h 514350"/>
                <a:gd name="connsiteX2853" fmla="*/ 601504 w 6400800"/>
                <a:gd name="connsiteY2853" fmla="*/ 215741 h 514350"/>
                <a:gd name="connsiteX2854" fmla="*/ 599599 w 6400800"/>
                <a:gd name="connsiteY2854" fmla="*/ 210979 h 514350"/>
                <a:gd name="connsiteX2855" fmla="*/ 591026 w 6400800"/>
                <a:gd name="connsiteY2855" fmla="*/ 191929 h 514350"/>
                <a:gd name="connsiteX2856" fmla="*/ 595789 w 6400800"/>
                <a:gd name="connsiteY2856" fmla="*/ 212884 h 514350"/>
                <a:gd name="connsiteX2857" fmla="*/ 599599 w 6400800"/>
                <a:gd name="connsiteY2857" fmla="*/ 230029 h 514350"/>
                <a:gd name="connsiteX2858" fmla="*/ 595789 w 6400800"/>
                <a:gd name="connsiteY2858" fmla="*/ 251936 h 514350"/>
                <a:gd name="connsiteX2859" fmla="*/ 589121 w 6400800"/>
                <a:gd name="connsiteY2859" fmla="*/ 294799 h 514350"/>
                <a:gd name="connsiteX2860" fmla="*/ 582454 w 6400800"/>
                <a:gd name="connsiteY2860" fmla="*/ 284321 h 514350"/>
                <a:gd name="connsiteX2861" fmla="*/ 585311 w 6400800"/>
                <a:gd name="connsiteY2861" fmla="*/ 265271 h 514350"/>
                <a:gd name="connsiteX2862" fmla="*/ 588169 w 6400800"/>
                <a:gd name="connsiteY2862" fmla="*/ 244316 h 514350"/>
                <a:gd name="connsiteX2863" fmla="*/ 591026 w 6400800"/>
                <a:gd name="connsiteY2863" fmla="*/ 225266 h 514350"/>
                <a:gd name="connsiteX2864" fmla="*/ 584359 w 6400800"/>
                <a:gd name="connsiteY2864" fmla="*/ 243364 h 514350"/>
                <a:gd name="connsiteX2865" fmla="*/ 579596 w 6400800"/>
                <a:gd name="connsiteY2865" fmla="*/ 258604 h 514350"/>
                <a:gd name="connsiteX2866" fmla="*/ 577691 w 6400800"/>
                <a:gd name="connsiteY2866" fmla="*/ 231934 h 514350"/>
                <a:gd name="connsiteX2867" fmla="*/ 575786 w 6400800"/>
                <a:gd name="connsiteY2867" fmla="*/ 210979 h 514350"/>
                <a:gd name="connsiteX2868" fmla="*/ 573881 w 6400800"/>
                <a:gd name="connsiteY2868" fmla="*/ 230981 h 514350"/>
                <a:gd name="connsiteX2869" fmla="*/ 571024 w 6400800"/>
                <a:gd name="connsiteY2869" fmla="*/ 267176 h 514350"/>
                <a:gd name="connsiteX2870" fmla="*/ 571024 w 6400800"/>
                <a:gd name="connsiteY2870" fmla="*/ 267176 h 514350"/>
                <a:gd name="connsiteX2871" fmla="*/ 567214 w 6400800"/>
                <a:gd name="connsiteY2871" fmla="*/ 262414 h 514350"/>
                <a:gd name="connsiteX2872" fmla="*/ 552926 w 6400800"/>
                <a:gd name="connsiteY2872" fmla="*/ 219551 h 514350"/>
                <a:gd name="connsiteX2873" fmla="*/ 552926 w 6400800"/>
                <a:gd name="connsiteY2873" fmla="*/ 218599 h 514350"/>
                <a:gd name="connsiteX2874" fmla="*/ 555784 w 6400800"/>
                <a:gd name="connsiteY2874" fmla="*/ 189071 h 514350"/>
                <a:gd name="connsiteX2875" fmla="*/ 558641 w 6400800"/>
                <a:gd name="connsiteY2875" fmla="*/ 162401 h 514350"/>
                <a:gd name="connsiteX2876" fmla="*/ 561499 w 6400800"/>
                <a:gd name="connsiteY2876" fmla="*/ 141446 h 514350"/>
                <a:gd name="connsiteX2877" fmla="*/ 564356 w 6400800"/>
                <a:gd name="connsiteY2877" fmla="*/ 123349 h 514350"/>
                <a:gd name="connsiteX2878" fmla="*/ 557689 w 6400800"/>
                <a:gd name="connsiteY2878" fmla="*/ 140494 h 514350"/>
                <a:gd name="connsiteX2879" fmla="*/ 551021 w 6400800"/>
                <a:gd name="connsiteY2879" fmla="*/ 160496 h 514350"/>
                <a:gd name="connsiteX2880" fmla="*/ 544354 w 6400800"/>
                <a:gd name="connsiteY2880" fmla="*/ 187166 h 514350"/>
                <a:gd name="connsiteX2881" fmla="*/ 537686 w 6400800"/>
                <a:gd name="connsiteY2881" fmla="*/ 218599 h 514350"/>
                <a:gd name="connsiteX2882" fmla="*/ 535781 w 6400800"/>
                <a:gd name="connsiteY2882" fmla="*/ 231934 h 514350"/>
                <a:gd name="connsiteX2883" fmla="*/ 534829 w 6400800"/>
                <a:gd name="connsiteY2883" fmla="*/ 220504 h 514350"/>
                <a:gd name="connsiteX2884" fmla="*/ 532924 w 6400800"/>
                <a:gd name="connsiteY2884" fmla="*/ 205264 h 514350"/>
                <a:gd name="connsiteX2885" fmla="*/ 533876 w 6400800"/>
                <a:gd name="connsiteY2885" fmla="*/ 186214 h 514350"/>
                <a:gd name="connsiteX2886" fmla="*/ 534829 w 6400800"/>
                <a:gd name="connsiteY2886" fmla="*/ 166211 h 514350"/>
                <a:gd name="connsiteX2887" fmla="*/ 534829 w 6400800"/>
                <a:gd name="connsiteY2887" fmla="*/ 148114 h 514350"/>
                <a:gd name="connsiteX2888" fmla="*/ 534829 w 6400800"/>
                <a:gd name="connsiteY2888" fmla="*/ 118586 h 514350"/>
                <a:gd name="connsiteX2889" fmla="*/ 533876 w 6400800"/>
                <a:gd name="connsiteY2889" fmla="*/ 92869 h 514350"/>
                <a:gd name="connsiteX2890" fmla="*/ 531019 w 6400800"/>
                <a:gd name="connsiteY2890" fmla="*/ 118586 h 514350"/>
                <a:gd name="connsiteX2891" fmla="*/ 528161 w 6400800"/>
                <a:gd name="connsiteY2891" fmla="*/ 147161 h 514350"/>
                <a:gd name="connsiteX2892" fmla="*/ 526256 w 6400800"/>
                <a:gd name="connsiteY2892" fmla="*/ 165259 h 514350"/>
                <a:gd name="connsiteX2893" fmla="*/ 523399 w 6400800"/>
                <a:gd name="connsiteY2893" fmla="*/ 185261 h 514350"/>
                <a:gd name="connsiteX2894" fmla="*/ 521494 w 6400800"/>
                <a:gd name="connsiteY2894" fmla="*/ 197644 h 514350"/>
                <a:gd name="connsiteX2895" fmla="*/ 513874 w 6400800"/>
                <a:gd name="connsiteY2895" fmla="*/ 170021 h 514350"/>
                <a:gd name="connsiteX2896" fmla="*/ 506254 w 6400800"/>
                <a:gd name="connsiteY2896" fmla="*/ 144304 h 514350"/>
                <a:gd name="connsiteX2897" fmla="*/ 510064 w 6400800"/>
                <a:gd name="connsiteY2897" fmla="*/ 170974 h 514350"/>
                <a:gd name="connsiteX2898" fmla="*/ 517684 w 6400800"/>
                <a:gd name="connsiteY2898" fmla="*/ 222409 h 514350"/>
                <a:gd name="connsiteX2899" fmla="*/ 516731 w 6400800"/>
                <a:gd name="connsiteY2899" fmla="*/ 230029 h 514350"/>
                <a:gd name="connsiteX2900" fmla="*/ 512921 w 6400800"/>
                <a:gd name="connsiteY2900" fmla="*/ 251936 h 514350"/>
                <a:gd name="connsiteX2901" fmla="*/ 487204 w 6400800"/>
                <a:gd name="connsiteY2901" fmla="*/ 172879 h 514350"/>
                <a:gd name="connsiteX2902" fmla="*/ 485299 w 6400800"/>
                <a:gd name="connsiteY2902" fmla="*/ 164306 h 514350"/>
                <a:gd name="connsiteX2903" fmla="*/ 486251 w 6400800"/>
                <a:gd name="connsiteY2903" fmla="*/ 189071 h 514350"/>
                <a:gd name="connsiteX2904" fmla="*/ 488156 w 6400800"/>
                <a:gd name="connsiteY2904" fmla="*/ 217646 h 514350"/>
                <a:gd name="connsiteX2905" fmla="*/ 489109 w 6400800"/>
                <a:gd name="connsiteY2905" fmla="*/ 238601 h 514350"/>
                <a:gd name="connsiteX2906" fmla="*/ 486251 w 6400800"/>
                <a:gd name="connsiteY2906" fmla="*/ 223361 h 514350"/>
                <a:gd name="connsiteX2907" fmla="*/ 482441 w 6400800"/>
                <a:gd name="connsiteY2907" fmla="*/ 207169 h 514350"/>
                <a:gd name="connsiteX2908" fmla="*/ 478631 w 6400800"/>
                <a:gd name="connsiteY2908" fmla="*/ 192881 h 514350"/>
                <a:gd name="connsiteX2909" fmla="*/ 471964 w 6400800"/>
                <a:gd name="connsiteY2909" fmla="*/ 170021 h 514350"/>
                <a:gd name="connsiteX2910" fmla="*/ 465296 w 6400800"/>
                <a:gd name="connsiteY2910" fmla="*/ 150019 h 514350"/>
                <a:gd name="connsiteX2911" fmla="*/ 468154 w 6400800"/>
                <a:gd name="connsiteY2911" fmla="*/ 170021 h 514350"/>
                <a:gd name="connsiteX2912" fmla="*/ 471011 w 6400800"/>
                <a:gd name="connsiteY2912" fmla="*/ 193834 h 514350"/>
                <a:gd name="connsiteX2913" fmla="*/ 472916 w 6400800"/>
                <a:gd name="connsiteY2913" fmla="*/ 208121 h 514350"/>
                <a:gd name="connsiteX2914" fmla="*/ 474821 w 6400800"/>
                <a:gd name="connsiteY2914" fmla="*/ 224314 h 514350"/>
                <a:gd name="connsiteX2915" fmla="*/ 478631 w 6400800"/>
                <a:gd name="connsiteY2915" fmla="*/ 255746 h 514350"/>
                <a:gd name="connsiteX2916" fmla="*/ 474821 w 6400800"/>
                <a:gd name="connsiteY2916" fmla="*/ 240506 h 514350"/>
                <a:gd name="connsiteX2917" fmla="*/ 455771 w 6400800"/>
                <a:gd name="connsiteY2917" fmla="*/ 170974 h 514350"/>
                <a:gd name="connsiteX2918" fmla="*/ 447199 w 6400800"/>
                <a:gd name="connsiteY2918" fmla="*/ 145256 h 514350"/>
                <a:gd name="connsiteX2919" fmla="*/ 451961 w 6400800"/>
                <a:gd name="connsiteY2919" fmla="*/ 171926 h 514350"/>
                <a:gd name="connsiteX2920" fmla="*/ 457676 w 6400800"/>
                <a:gd name="connsiteY2920" fmla="*/ 202406 h 514350"/>
                <a:gd name="connsiteX2921" fmla="*/ 464344 w 6400800"/>
                <a:gd name="connsiteY2921" fmla="*/ 242411 h 514350"/>
                <a:gd name="connsiteX2922" fmla="*/ 471011 w 6400800"/>
                <a:gd name="connsiteY2922" fmla="*/ 282416 h 514350"/>
                <a:gd name="connsiteX2923" fmla="*/ 467201 w 6400800"/>
                <a:gd name="connsiteY2923" fmla="*/ 272891 h 514350"/>
                <a:gd name="connsiteX2924" fmla="*/ 459581 w 6400800"/>
                <a:gd name="connsiteY2924" fmla="*/ 255746 h 514350"/>
                <a:gd name="connsiteX2925" fmla="*/ 463391 w 6400800"/>
                <a:gd name="connsiteY2925" fmla="*/ 273844 h 514350"/>
                <a:gd name="connsiteX2926" fmla="*/ 468154 w 6400800"/>
                <a:gd name="connsiteY2926" fmla="*/ 293846 h 514350"/>
                <a:gd name="connsiteX2927" fmla="*/ 471011 w 6400800"/>
                <a:gd name="connsiteY2927" fmla="*/ 306229 h 514350"/>
                <a:gd name="connsiteX2928" fmla="*/ 473869 w 6400800"/>
                <a:gd name="connsiteY2928" fmla="*/ 320516 h 514350"/>
                <a:gd name="connsiteX2929" fmla="*/ 479584 w 6400800"/>
                <a:gd name="connsiteY2929" fmla="*/ 351949 h 514350"/>
                <a:gd name="connsiteX2930" fmla="*/ 479584 w 6400800"/>
                <a:gd name="connsiteY2930" fmla="*/ 353854 h 514350"/>
                <a:gd name="connsiteX2931" fmla="*/ 478631 w 6400800"/>
                <a:gd name="connsiteY2931" fmla="*/ 351949 h 514350"/>
                <a:gd name="connsiteX2932" fmla="*/ 471964 w 6400800"/>
                <a:gd name="connsiteY2932" fmla="*/ 338614 h 514350"/>
                <a:gd name="connsiteX2933" fmla="*/ 470059 w 6400800"/>
                <a:gd name="connsiteY2933" fmla="*/ 324326 h 514350"/>
                <a:gd name="connsiteX2934" fmla="*/ 462439 w 6400800"/>
                <a:gd name="connsiteY2934" fmla="*/ 280511 h 514350"/>
                <a:gd name="connsiteX2935" fmla="*/ 452914 w 6400800"/>
                <a:gd name="connsiteY2935" fmla="*/ 240506 h 514350"/>
                <a:gd name="connsiteX2936" fmla="*/ 441484 w 6400800"/>
                <a:gd name="connsiteY2936" fmla="*/ 205264 h 514350"/>
                <a:gd name="connsiteX2937" fmla="*/ 437674 w 6400800"/>
                <a:gd name="connsiteY2937" fmla="*/ 194786 h 514350"/>
                <a:gd name="connsiteX2938" fmla="*/ 440531 w 6400800"/>
                <a:gd name="connsiteY2938" fmla="*/ 167164 h 514350"/>
                <a:gd name="connsiteX2939" fmla="*/ 442436 w 6400800"/>
                <a:gd name="connsiteY2939" fmla="*/ 128111 h 514350"/>
                <a:gd name="connsiteX2940" fmla="*/ 441484 w 6400800"/>
                <a:gd name="connsiteY2940" fmla="*/ 94774 h 514350"/>
                <a:gd name="connsiteX2941" fmla="*/ 438626 w 6400800"/>
                <a:gd name="connsiteY2941" fmla="*/ 128111 h 514350"/>
                <a:gd name="connsiteX2942" fmla="*/ 433864 w 6400800"/>
                <a:gd name="connsiteY2942" fmla="*/ 166211 h 514350"/>
                <a:gd name="connsiteX2943" fmla="*/ 431959 w 6400800"/>
                <a:gd name="connsiteY2943" fmla="*/ 178594 h 514350"/>
                <a:gd name="connsiteX2944" fmla="*/ 431006 w 6400800"/>
                <a:gd name="connsiteY2944" fmla="*/ 175736 h 514350"/>
                <a:gd name="connsiteX2945" fmla="*/ 419576 w 6400800"/>
                <a:gd name="connsiteY2945" fmla="*/ 153829 h 514350"/>
                <a:gd name="connsiteX2946" fmla="*/ 408146 w 6400800"/>
                <a:gd name="connsiteY2946" fmla="*/ 135731 h 514350"/>
                <a:gd name="connsiteX2947" fmla="*/ 415766 w 6400800"/>
                <a:gd name="connsiteY2947" fmla="*/ 155734 h 514350"/>
                <a:gd name="connsiteX2948" fmla="*/ 423386 w 6400800"/>
                <a:gd name="connsiteY2948" fmla="*/ 178594 h 514350"/>
                <a:gd name="connsiteX2949" fmla="*/ 428149 w 6400800"/>
                <a:gd name="connsiteY2949" fmla="*/ 195739 h 514350"/>
                <a:gd name="connsiteX2950" fmla="*/ 424339 w 6400800"/>
                <a:gd name="connsiteY2950" fmla="*/ 214789 h 514350"/>
                <a:gd name="connsiteX2951" fmla="*/ 424339 w 6400800"/>
                <a:gd name="connsiteY2951" fmla="*/ 214789 h 514350"/>
                <a:gd name="connsiteX2952" fmla="*/ 415766 w 6400800"/>
                <a:gd name="connsiteY2952" fmla="*/ 202406 h 514350"/>
                <a:gd name="connsiteX2953" fmla="*/ 421481 w 6400800"/>
                <a:gd name="connsiteY2953" fmla="*/ 216694 h 514350"/>
                <a:gd name="connsiteX2954" fmla="*/ 423386 w 6400800"/>
                <a:gd name="connsiteY2954" fmla="*/ 223361 h 514350"/>
                <a:gd name="connsiteX2955" fmla="*/ 412909 w 6400800"/>
                <a:gd name="connsiteY2955" fmla="*/ 272891 h 514350"/>
                <a:gd name="connsiteX2956" fmla="*/ 405289 w 6400800"/>
                <a:gd name="connsiteY2956" fmla="*/ 253841 h 514350"/>
                <a:gd name="connsiteX2957" fmla="*/ 405289 w 6400800"/>
                <a:gd name="connsiteY2957" fmla="*/ 253841 h 514350"/>
                <a:gd name="connsiteX2958" fmla="*/ 404336 w 6400800"/>
                <a:gd name="connsiteY2958" fmla="*/ 210026 h 514350"/>
                <a:gd name="connsiteX2959" fmla="*/ 401479 w 6400800"/>
                <a:gd name="connsiteY2959" fmla="*/ 176689 h 514350"/>
                <a:gd name="connsiteX2960" fmla="*/ 396716 w 6400800"/>
                <a:gd name="connsiteY2960" fmla="*/ 148114 h 514350"/>
                <a:gd name="connsiteX2961" fmla="*/ 397669 w 6400800"/>
                <a:gd name="connsiteY2961" fmla="*/ 177641 h 514350"/>
                <a:gd name="connsiteX2962" fmla="*/ 396716 w 6400800"/>
                <a:gd name="connsiteY2962" fmla="*/ 206216 h 514350"/>
                <a:gd name="connsiteX2963" fmla="*/ 389096 w 6400800"/>
                <a:gd name="connsiteY2963" fmla="*/ 244316 h 514350"/>
                <a:gd name="connsiteX2964" fmla="*/ 381476 w 6400800"/>
                <a:gd name="connsiteY2964" fmla="*/ 219551 h 514350"/>
                <a:gd name="connsiteX2965" fmla="*/ 374809 w 6400800"/>
                <a:gd name="connsiteY2965" fmla="*/ 199549 h 514350"/>
                <a:gd name="connsiteX2966" fmla="*/ 372904 w 6400800"/>
                <a:gd name="connsiteY2966" fmla="*/ 194786 h 514350"/>
                <a:gd name="connsiteX2967" fmla="*/ 372904 w 6400800"/>
                <a:gd name="connsiteY2967" fmla="*/ 190976 h 514350"/>
                <a:gd name="connsiteX2968" fmla="*/ 370046 w 6400800"/>
                <a:gd name="connsiteY2968" fmla="*/ 177641 h 514350"/>
                <a:gd name="connsiteX2969" fmla="*/ 366236 w 6400800"/>
                <a:gd name="connsiteY2969" fmla="*/ 155734 h 514350"/>
                <a:gd name="connsiteX2970" fmla="*/ 364331 w 6400800"/>
                <a:gd name="connsiteY2970" fmla="*/ 148114 h 514350"/>
                <a:gd name="connsiteX2971" fmla="*/ 363379 w 6400800"/>
                <a:gd name="connsiteY2971" fmla="*/ 135731 h 514350"/>
                <a:gd name="connsiteX2972" fmla="*/ 363379 w 6400800"/>
                <a:gd name="connsiteY2972" fmla="*/ 140494 h 514350"/>
                <a:gd name="connsiteX2973" fmla="*/ 362426 w 6400800"/>
                <a:gd name="connsiteY2973" fmla="*/ 136684 h 514350"/>
                <a:gd name="connsiteX2974" fmla="*/ 362426 w 6400800"/>
                <a:gd name="connsiteY2974" fmla="*/ 151924 h 514350"/>
                <a:gd name="connsiteX2975" fmla="*/ 361474 w 6400800"/>
                <a:gd name="connsiteY2975" fmla="*/ 163354 h 514350"/>
                <a:gd name="connsiteX2976" fmla="*/ 357664 w 6400800"/>
                <a:gd name="connsiteY2976" fmla="*/ 151924 h 514350"/>
                <a:gd name="connsiteX2977" fmla="*/ 348139 w 6400800"/>
                <a:gd name="connsiteY2977" fmla="*/ 127159 h 514350"/>
                <a:gd name="connsiteX2978" fmla="*/ 353854 w 6400800"/>
                <a:gd name="connsiteY2978" fmla="*/ 153829 h 514350"/>
                <a:gd name="connsiteX2979" fmla="*/ 361474 w 6400800"/>
                <a:gd name="connsiteY2979" fmla="*/ 183356 h 514350"/>
                <a:gd name="connsiteX2980" fmla="*/ 361474 w 6400800"/>
                <a:gd name="connsiteY2980" fmla="*/ 192881 h 514350"/>
                <a:gd name="connsiteX2981" fmla="*/ 357664 w 6400800"/>
                <a:gd name="connsiteY2981" fmla="*/ 184309 h 514350"/>
                <a:gd name="connsiteX2982" fmla="*/ 360521 w 6400800"/>
                <a:gd name="connsiteY2982" fmla="*/ 198596 h 514350"/>
                <a:gd name="connsiteX2983" fmla="*/ 359569 w 6400800"/>
                <a:gd name="connsiteY2983" fmla="*/ 221456 h 514350"/>
                <a:gd name="connsiteX2984" fmla="*/ 355759 w 6400800"/>
                <a:gd name="connsiteY2984" fmla="*/ 208121 h 514350"/>
                <a:gd name="connsiteX2985" fmla="*/ 350996 w 6400800"/>
                <a:gd name="connsiteY2985" fmla="*/ 193834 h 514350"/>
                <a:gd name="connsiteX2986" fmla="*/ 351949 w 6400800"/>
                <a:gd name="connsiteY2986" fmla="*/ 208121 h 514350"/>
                <a:gd name="connsiteX2987" fmla="*/ 352901 w 6400800"/>
                <a:gd name="connsiteY2987" fmla="*/ 224314 h 514350"/>
                <a:gd name="connsiteX2988" fmla="*/ 353854 w 6400800"/>
                <a:gd name="connsiteY2988" fmla="*/ 246221 h 514350"/>
                <a:gd name="connsiteX2989" fmla="*/ 354806 w 6400800"/>
                <a:gd name="connsiteY2989" fmla="*/ 270986 h 514350"/>
                <a:gd name="connsiteX2990" fmla="*/ 355759 w 6400800"/>
                <a:gd name="connsiteY2990" fmla="*/ 299561 h 514350"/>
                <a:gd name="connsiteX2991" fmla="*/ 356711 w 6400800"/>
                <a:gd name="connsiteY2991" fmla="*/ 316706 h 514350"/>
                <a:gd name="connsiteX2992" fmla="*/ 346234 w 6400800"/>
                <a:gd name="connsiteY2992" fmla="*/ 298609 h 514350"/>
                <a:gd name="connsiteX2993" fmla="*/ 345281 w 6400800"/>
                <a:gd name="connsiteY2993" fmla="*/ 296704 h 514350"/>
                <a:gd name="connsiteX2994" fmla="*/ 345281 w 6400800"/>
                <a:gd name="connsiteY2994" fmla="*/ 291941 h 514350"/>
                <a:gd name="connsiteX2995" fmla="*/ 348139 w 6400800"/>
                <a:gd name="connsiteY2995" fmla="*/ 267176 h 514350"/>
                <a:gd name="connsiteX2996" fmla="*/ 350044 w 6400800"/>
                <a:gd name="connsiteY2996" fmla="*/ 246221 h 514350"/>
                <a:gd name="connsiteX2997" fmla="*/ 344329 w 6400800"/>
                <a:gd name="connsiteY2997" fmla="*/ 267176 h 514350"/>
                <a:gd name="connsiteX2998" fmla="*/ 339566 w 6400800"/>
                <a:gd name="connsiteY2998" fmla="*/ 287179 h 514350"/>
                <a:gd name="connsiteX2999" fmla="*/ 339566 w 6400800"/>
                <a:gd name="connsiteY2999" fmla="*/ 287179 h 514350"/>
                <a:gd name="connsiteX3000" fmla="*/ 339566 w 6400800"/>
                <a:gd name="connsiteY3000" fmla="*/ 288131 h 514350"/>
                <a:gd name="connsiteX3001" fmla="*/ 338614 w 6400800"/>
                <a:gd name="connsiteY3001" fmla="*/ 291941 h 514350"/>
                <a:gd name="connsiteX3002" fmla="*/ 337661 w 6400800"/>
                <a:gd name="connsiteY3002" fmla="*/ 297656 h 514350"/>
                <a:gd name="connsiteX3003" fmla="*/ 324326 w 6400800"/>
                <a:gd name="connsiteY3003" fmla="*/ 277654 h 514350"/>
                <a:gd name="connsiteX3004" fmla="*/ 310991 w 6400800"/>
                <a:gd name="connsiteY3004" fmla="*/ 233839 h 514350"/>
                <a:gd name="connsiteX3005" fmla="*/ 303371 w 6400800"/>
                <a:gd name="connsiteY3005" fmla="*/ 211931 h 514350"/>
                <a:gd name="connsiteX3006" fmla="*/ 306229 w 6400800"/>
                <a:gd name="connsiteY3006" fmla="*/ 196691 h 514350"/>
                <a:gd name="connsiteX3007" fmla="*/ 316706 w 6400800"/>
                <a:gd name="connsiteY3007" fmla="*/ 150971 h 514350"/>
                <a:gd name="connsiteX3008" fmla="*/ 326231 w 6400800"/>
                <a:gd name="connsiteY3008" fmla="*/ 115729 h 514350"/>
                <a:gd name="connsiteX3009" fmla="*/ 335756 w 6400800"/>
                <a:gd name="connsiteY3009" fmla="*/ 85249 h 514350"/>
                <a:gd name="connsiteX3010" fmla="*/ 323374 w 6400800"/>
                <a:gd name="connsiteY3010" fmla="*/ 113824 h 514350"/>
                <a:gd name="connsiteX3011" fmla="*/ 310991 w 6400800"/>
                <a:gd name="connsiteY3011" fmla="*/ 148114 h 514350"/>
                <a:gd name="connsiteX3012" fmla="*/ 303371 w 6400800"/>
                <a:gd name="connsiteY3012" fmla="*/ 169069 h 514350"/>
                <a:gd name="connsiteX3013" fmla="*/ 297656 w 6400800"/>
                <a:gd name="connsiteY3013" fmla="*/ 190024 h 514350"/>
                <a:gd name="connsiteX3014" fmla="*/ 287179 w 6400800"/>
                <a:gd name="connsiteY3014" fmla="*/ 159544 h 514350"/>
                <a:gd name="connsiteX3015" fmla="*/ 294799 w 6400800"/>
                <a:gd name="connsiteY3015" fmla="*/ 198596 h 514350"/>
                <a:gd name="connsiteX3016" fmla="*/ 283369 w 6400800"/>
                <a:gd name="connsiteY3016" fmla="*/ 247174 h 514350"/>
                <a:gd name="connsiteX3017" fmla="*/ 279559 w 6400800"/>
                <a:gd name="connsiteY3017" fmla="*/ 264319 h 514350"/>
                <a:gd name="connsiteX3018" fmla="*/ 276701 w 6400800"/>
                <a:gd name="connsiteY3018" fmla="*/ 253841 h 514350"/>
                <a:gd name="connsiteX3019" fmla="*/ 278606 w 6400800"/>
                <a:gd name="connsiteY3019" fmla="*/ 227171 h 514350"/>
                <a:gd name="connsiteX3020" fmla="*/ 284321 w 6400800"/>
                <a:gd name="connsiteY3020" fmla="*/ 166211 h 514350"/>
                <a:gd name="connsiteX3021" fmla="*/ 287179 w 6400800"/>
                <a:gd name="connsiteY3021" fmla="*/ 139541 h 514350"/>
                <a:gd name="connsiteX3022" fmla="*/ 290989 w 6400800"/>
                <a:gd name="connsiteY3022" fmla="*/ 115729 h 514350"/>
                <a:gd name="connsiteX3023" fmla="*/ 297656 w 6400800"/>
                <a:gd name="connsiteY3023" fmla="*/ 76676 h 514350"/>
                <a:gd name="connsiteX3024" fmla="*/ 304324 w 6400800"/>
                <a:gd name="connsiteY3024" fmla="*/ 42386 h 514350"/>
                <a:gd name="connsiteX3025" fmla="*/ 293846 w 6400800"/>
                <a:gd name="connsiteY3025" fmla="*/ 75724 h 514350"/>
                <a:gd name="connsiteX3026" fmla="*/ 283369 w 6400800"/>
                <a:gd name="connsiteY3026" fmla="*/ 114776 h 514350"/>
                <a:gd name="connsiteX3027" fmla="*/ 277654 w 6400800"/>
                <a:gd name="connsiteY3027" fmla="*/ 138589 h 514350"/>
                <a:gd name="connsiteX3028" fmla="*/ 272891 w 6400800"/>
                <a:gd name="connsiteY3028" fmla="*/ 165259 h 514350"/>
                <a:gd name="connsiteX3029" fmla="*/ 270034 w 6400800"/>
                <a:gd name="connsiteY3029" fmla="*/ 178594 h 514350"/>
                <a:gd name="connsiteX3030" fmla="*/ 261461 w 6400800"/>
                <a:gd name="connsiteY3030" fmla="*/ 196691 h 514350"/>
                <a:gd name="connsiteX3031" fmla="*/ 258604 w 6400800"/>
                <a:gd name="connsiteY3031" fmla="*/ 183356 h 514350"/>
                <a:gd name="connsiteX3032" fmla="*/ 253841 w 6400800"/>
                <a:gd name="connsiteY3032" fmla="*/ 161449 h 514350"/>
                <a:gd name="connsiteX3033" fmla="*/ 254794 w 6400800"/>
                <a:gd name="connsiteY3033" fmla="*/ 183356 h 514350"/>
                <a:gd name="connsiteX3034" fmla="*/ 256699 w 6400800"/>
                <a:gd name="connsiteY3034" fmla="*/ 207169 h 514350"/>
                <a:gd name="connsiteX3035" fmla="*/ 247174 w 6400800"/>
                <a:gd name="connsiteY3035" fmla="*/ 231934 h 514350"/>
                <a:gd name="connsiteX3036" fmla="*/ 245269 w 6400800"/>
                <a:gd name="connsiteY3036" fmla="*/ 236696 h 514350"/>
                <a:gd name="connsiteX3037" fmla="*/ 242411 w 6400800"/>
                <a:gd name="connsiteY3037" fmla="*/ 230029 h 514350"/>
                <a:gd name="connsiteX3038" fmla="*/ 244316 w 6400800"/>
                <a:gd name="connsiteY3038" fmla="*/ 240506 h 514350"/>
                <a:gd name="connsiteX3039" fmla="*/ 236696 w 6400800"/>
                <a:gd name="connsiteY3039" fmla="*/ 262414 h 514350"/>
                <a:gd name="connsiteX3040" fmla="*/ 226219 w 6400800"/>
                <a:gd name="connsiteY3040" fmla="*/ 227171 h 514350"/>
                <a:gd name="connsiteX3041" fmla="*/ 218599 w 6400800"/>
                <a:gd name="connsiteY3041" fmla="*/ 204311 h 514350"/>
                <a:gd name="connsiteX3042" fmla="*/ 210979 w 6400800"/>
                <a:gd name="connsiteY3042" fmla="*/ 184309 h 514350"/>
                <a:gd name="connsiteX3043" fmla="*/ 198596 w 6400800"/>
                <a:gd name="connsiteY3043" fmla="*/ 150971 h 514350"/>
                <a:gd name="connsiteX3044" fmla="*/ 187166 w 6400800"/>
                <a:gd name="connsiteY3044" fmla="*/ 122396 h 514350"/>
                <a:gd name="connsiteX3045" fmla="*/ 194786 w 6400800"/>
                <a:gd name="connsiteY3045" fmla="*/ 151924 h 514350"/>
                <a:gd name="connsiteX3046" fmla="*/ 204311 w 6400800"/>
                <a:gd name="connsiteY3046" fmla="*/ 186214 h 514350"/>
                <a:gd name="connsiteX3047" fmla="*/ 210026 w 6400800"/>
                <a:gd name="connsiteY3047" fmla="*/ 207169 h 514350"/>
                <a:gd name="connsiteX3048" fmla="*/ 215741 w 6400800"/>
                <a:gd name="connsiteY3048" fmla="*/ 230981 h 514350"/>
                <a:gd name="connsiteX3049" fmla="*/ 226219 w 6400800"/>
                <a:gd name="connsiteY3049" fmla="*/ 275749 h 514350"/>
                <a:gd name="connsiteX3050" fmla="*/ 218599 w 6400800"/>
                <a:gd name="connsiteY3050" fmla="*/ 295751 h 514350"/>
                <a:gd name="connsiteX3051" fmla="*/ 217646 w 6400800"/>
                <a:gd name="connsiteY3051" fmla="*/ 298609 h 514350"/>
                <a:gd name="connsiteX3052" fmla="*/ 214789 w 6400800"/>
                <a:gd name="connsiteY3052" fmla="*/ 266224 h 514350"/>
                <a:gd name="connsiteX3053" fmla="*/ 212884 w 6400800"/>
                <a:gd name="connsiteY3053" fmla="*/ 241459 h 514350"/>
                <a:gd name="connsiteX3054" fmla="*/ 210979 w 6400800"/>
                <a:gd name="connsiteY3054" fmla="*/ 266224 h 514350"/>
                <a:gd name="connsiteX3055" fmla="*/ 209074 w 6400800"/>
                <a:gd name="connsiteY3055" fmla="*/ 309086 h 514350"/>
                <a:gd name="connsiteX3056" fmla="*/ 196691 w 6400800"/>
                <a:gd name="connsiteY3056" fmla="*/ 287179 h 514350"/>
                <a:gd name="connsiteX3057" fmla="*/ 187166 w 6400800"/>
                <a:gd name="connsiteY3057" fmla="*/ 270034 h 514350"/>
                <a:gd name="connsiteX3058" fmla="*/ 177641 w 6400800"/>
                <a:gd name="connsiteY3058" fmla="*/ 255746 h 514350"/>
                <a:gd name="connsiteX3059" fmla="*/ 161449 w 6400800"/>
                <a:gd name="connsiteY3059" fmla="*/ 231934 h 514350"/>
                <a:gd name="connsiteX3060" fmla="*/ 156686 w 6400800"/>
                <a:gd name="connsiteY3060" fmla="*/ 225266 h 514350"/>
                <a:gd name="connsiteX3061" fmla="*/ 152876 w 6400800"/>
                <a:gd name="connsiteY3061" fmla="*/ 209074 h 514350"/>
                <a:gd name="connsiteX3062" fmla="*/ 152876 w 6400800"/>
                <a:gd name="connsiteY3062" fmla="*/ 219551 h 514350"/>
                <a:gd name="connsiteX3063" fmla="*/ 146209 w 6400800"/>
                <a:gd name="connsiteY3063" fmla="*/ 210979 h 514350"/>
                <a:gd name="connsiteX3064" fmla="*/ 152876 w 6400800"/>
                <a:gd name="connsiteY3064" fmla="*/ 224314 h 514350"/>
                <a:gd name="connsiteX3065" fmla="*/ 156686 w 6400800"/>
                <a:gd name="connsiteY3065" fmla="*/ 275749 h 514350"/>
                <a:gd name="connsiteX3066" fmla="*/ 148114 w 6400800"/>
                <a:gd name="connsiteY3066" fmla="*/ 263366 h 514350"/>
                <a:gd name="connsiteX3067" fmla="*/ 124301 w 6400800"/>
                <a:gd name="connsiteY3067" fmla="*/ 233839 h 514350"/>
                <a:gd name="connsiteX3068" fmla="*/ 104299 w 6400800"/>
                <a:gd name="connsiteY3068" fmla="*/ 212884 h 514350"/>
                <a:gd name="connsiteX3069" fmla="*/ 88106 w 6400800"/>
                <a:gd name="connsiteY3069" fmla="*/ 197644 h 514350"/>
                <a:gd name="connsiteX3070" fmla="*/ 103346 w 6400800"/>
                <a:gd name="connsiteY3070" fmla="*/ 217646 h 514350"/>
                <a:gd name="connsiteX3071" fmla="*/ 119539 w 6400800"/>
                <a:gd name="connsiteY3071" fmla="*/ 240506 h 514350"/>
                <a:gd name="connsiteX3072" fmla="*/ 139541 w 6400800"/>
                <a:gd name="connsiteY3072" fmla="*/ 271939 h 514350"/>
                <a:gd name="connsiteX3073" fmla="*/ 151924 w 6400800"/>
                <a:gd name="connsiteY3073" fmla="*/ 292894 h 514350"/>
                <a:gd name="connsiteX3074" fmla="*/ 151924 w 6400800"/>
                <a:gd name="connsiteY3074" fmla="*/ 297656 h 514350"/>
                <a:gd name="connsiteX3075" fmla="*/ 150971 w 6400800"/>
                <a:gd name="connsiteY3075" fmla="*/ 296704 h 514350"/>
                <a:gd name="connsiteX3076" fmla="*/ 136684 w 6400800"/>
                <a:gd name="connsiteY3076" fmla="*/ 282416 h 514350"/>
                <a:gd name="connsiteX3077" fmla="*/ 131921 w 6400800"/>
                <a:gd name="connsiteY3077" fmla="*/ 278606 h 514350"/>
                <a:gd name="connsiteX3078" fmla="*/ 132874 w 6400800"/>
                <a:gd name="connsiteY3078" fmla="*/ 274796 h 514350"/>
                <a:gd name="connsiteX3079" fmla="*/ 130969 w 6400800"/>
                <a:gd name="connsiteY3079" fmla="*/ 278606 h 514350"/>
                <a:gd name="connsiteX3080" fmla="*/ 122396 w 6400800"/>
                <a:gd name="connsiteY3080" fmla="*/ 270986 h 514350"/>
                <a:gd name="connsiteX3081" fmla="*/ 130016 w 6400800"/>
                <a:gd name="connsiteY3081" fmla="*/ 280511 h 514350"/>
                <a:gd name="connsiteX3082" fmla="*/ 123349 w 6400800"/>
                <a:gd name="connsiteY3082" fmla="*/ 293846 h 514350"/>
                <a:gd name="connsiteX3083" fmla="*/ 114776 w 6400800"/>
                <a:gd name="connsiteY3083" fmla="*/ 316706 h 514350"/>
                <a:gd name="connsiteX3084" fmla="*/ 112871 w 6400800"/>
                <a:gd name="connsiteY3084" fmla="*/ 321469 h 514350"/>
                <a:gd name="connsiteX3085" fmla="*/ 103346 w 6400800"/>
                <a:gd name="connsiteY3085" fmla="*/ 299561 h 514350"/>
                <a:gd name="connsiteX3086" fmla="*/ 86201 w 6400800"/>
                <a:gd name="connsiteY3086" fmla="*/ 262414 h 514350"/>
                <a:gd name="connsiteX3087" fmla="*/ 78581 w 6400800"/>
                <a:gd name="connsiteY3087" fmla="*/ 245269 h 514350"/>
                <a:gd name="connsiteX3088" fmla="*/ 70961 w 6400800"/>
                <a:gd name="connsiteY3088" fmla="*/ 230981 h 514350"/>
                <a:gd name="connsiteX3089" fmla="*/ 57626 w 6400800"/>
                <a:gd name="connsiteY3089" fmla="*/ 208121 h 514350"/>
                <a:gd name="connsiteX3090" fmla="*/ 46196 w 6400800"/>
                <a:gd name="connsiteY3090" fmla="*/ 188119 h 514350"/>
                <a:gd name="connsiteX3091" fmla="*/ 54769 w 6400800"/>
                <a:gd name="connsiteY3091" fmla="*/ 210026 h 514350"/>
                <a:gd name="connsiteX3092" fmla="*/ 64294 w 6400800"/>
                <a:gd name="connsiteY3092" fmla="*/ 234791 h 514350"/>
                <a:gd name="connsiteX3093" fmla="*/ 70009 w 6400800"/>
                <a:gd name="connsiteY3093" fmla="*/ 250031 h 514350"/>
                <a:gd name="connsiteX3094" fmla="*/ 75724 w 6400800"/>
                <a:gd name="connsiteY3094" fmla="*/ 266224 h 514350"/>
                <a:gd name="connsiteX3095" fmla="*/ 85249 w 6400800"/>
                <a:gd name="connsiteY3095" fmla="*/ 292894 h 514350"/>
                <a:gd name="connsiteX3096" fmla="*/ 79534 w 6400800"/>
                <a:gd name="connsiteY3096" fmla="*/ 284321 h 514350"/>
                <a:gd name="connsiteX3097" fmla="*/ 68104 w 6400800"/>
                <a:gd name="connsiteY3097" fmla="*/ 268129 h 514350"/>
                <a:gd name="connsiteX3098" fmla="*/ 57626 w 6400800"/>
                <a:gd name="connsiteY3098" fmla="*/ 253841 h 514350"/>
                <a:gd name="connsiteX3099" fmla="*/ 64294 w 6400800"/>
                <a:gd name="connsiteY3099" fmla="*/ 270034 h 514350"/>
                <a:gd name="connsiteX3100" fmla="*/ 71914 w 6400800"/>
                <a:gd name="connsiteY3100" fmla="*/ 288131 h 514350"/>
                <a:gd name="connsiteX3101" fmla="*/ 83344 w 6400800"/>
                <a:gd name="connsiteY3101" fmla="*/ 311944 h 514350"/>
                <a:gd name="connsiteX3102" fmla="*/ 90964 w 6400800"/>
                <a:gd name="connsiteY3102" fmla="*/ 330994 h 514350"/>
                <a:gd name="connsiteX3103" fmla="*/ 87154 w 6400800"/>
                <a:gd name="connsiteY3103" fmla="*/ 339566 h 514350"/>
                <a:gd name="connsiteX3104" fmla="*/ 81439 w 6400800"/>
                <a:gd name="connsiteY3104" fmla="*/ 352901 h 514350"/>
                <a:gd name="connsiteX3105" fmla="*/ 78581 w 6400800"/>
                <a:gd name="connsiteY3105" fmla="*/ 339566 h 514350"/>
                <a:gd name="connsiteX3106" fmla="*/ 70009 w 6400800"/>
                <a:gd name="connsiteY3106" fmla="*/ 301466 h 514350"/>
                <a:gd name="connsiteX3107" fmla="*/ 61436 w 6400800"/>
                <a:gd name="connsiteY3107" fmla="*/ 269081 h 514350"/>
                <a:gd name="connsiteX3108" fmla="*/ 53816 w 6400800"/>
                <a:gd name="connsiteY3108" fmla="*/ 244316 h 514350"/>
                <a:gd name="connsiteX3109" fmla="*/ 46196 w 6400800"/>
                <a:gd name="connsiteY3109" fmla="*/ 223361 h 514350"/>
                <a:gd name="connsiteX3110" fmla="*/ 50006 w 6400800"/>
                <a:gd name="connsiteY3110" fmla="*/ 245269 h 514350"/>
                <a:gd name="connsiteX3111" fmla="*/ 53816 w 6400800"/>
                <a:gd name="connsiteY3111" fmla="*/ 270034 h 514350"/>
                <a:gd name="connsiteX3112" fmla="*/ 58579 w 6400800"/>
                <a:gd name="connsiteY3112" fmla="*/ 302419 h 514350"/>
                <a:gd name="connsiteX3113" fmla="*/ 64294 w 6400800"/>
                <a:gd name="connsiteY3113" fmla="*/ 340519 h 514350"/>
                <a:gd name="connsiteX3114" fmla="*/ 69056 w 6400800"/>
                <a:gd name="connsiteY3114" fmla="*/ 381476 h 514350"/>
                <a:gd name="connsiteX3115" fmla="*/ 67151 w 6400800"/>
                <a:gd name="connsiteY3115" fmla="*/ 385286 h 514350"/>
                <a:gd name="connsiteX3116" fmla="*/ 60484 w 6400800"/>
                <a:gd name="connsiteY3116" fmla="*/ 405289 h 514350"/>
                <a:gd name="connsiteX3117" fmla="*/ 59531 w 6400800"/>
                <a:gd name="connsiteY3117" fmla="*/ 407194 h 514350"/>
                <a:gd name="connsiteX3118" fmla="*/ 56674 w 6400800"/>
                <a:gd name="connsiteY3118" fmla="*/ 407194 h 514350"/>
                <a:gd name="connsiteX3119" fmla="*/ 54769 w 6400800"/>
                <a:gd name="connsiteY3119" fmla="*/ 399574 h 514350"/>
                <a:gd name="connsiteX3120" fmla="*/ 46196 w 6400800"/>
                <a:gd name="connsiteY3120" fmla="*/ 364331 h 514350"/>
                <a:gd name="connsiteX3121" fmla="*/ 37624 w 6400800"/>
                <a:gd name="connsiteY3121" fmla="*/ 332899 h 514350"/>
                <a:gd name="connsiteX3122" fmla="*/ 21431 w 6400800"/>
                <a:gd name="connsiteY3122" fmla="*/ 287179 h 514350"/>
                <a:gd name="connsiteX3123" fmla="*/ 13811 w 6400800"/>
                <a:gd name="connsiteY3123" fmla="*/ 270034 h 514350"/>
                <a:gd name="connsiteX3124" fmla="*/ 17621 w 6400800"/>
                <a:gd name="connsiteY3124" fmla="*/ 288131 h 514350"/>
                <a:gd name="connsiteX3125" fmla="*/ 21431 w 6400800"/>
                <a:gd name="connsiteY3125" fmla="*/ 309086 h 514350"/>
                <a:gd name="connsiteX3126" fmla="*/ 26194 w 6400800"/>
                <a:gd name="connsiteY3126" fmla="*/ 335756 h 514350"/>
                <a:gd name="connsiteX3127" fmla="*/ 31909 w 6400800"/>
                <a:gd name="connsiteY3127" fmla="*/ 367189 h 514350"/>
                <a:gd name="connsiteX3128" fmla="*/ 39529 w 6400800"/>
                <a:gd name="connsiteY3128" fmla="*/ 402431 h 514350"/>
                <a:gd name="connsiteX3129" fmla="*/ 39529 w 6400800"/>
                <a:gd name="connsiteY3129" fmla="*/ 404336 h 514350"/>
                <a:gd name="connsiteX3130" fmla="*/ 7144 w 6400800"/>
                <a:gd name="connsiteY3130" fmla="*/ 399574 h 514350"/>
                <a:gd name="connsiteX3131" fmla="*/ 7144 w 6400800"/>
                <a:gd name="connsiteY3131" fmla="*/ 511016 h 514350"/>
                <a:gd name="connsiteX3132" fmla="*/ 6277451 w 6400800"/>
                <a:gd name="connsiteY3132" fmla="*/ 364331 h 514350"/>
                <a:gd name="connsiteX3133" fmla="*/ 6279356 w 6400800"/>
                <a:gd name="connsiteY3133" fmla="*/ 357664 h 514350"/>
                <a:gd name="connsiteX3134" fmla="*/ 6279356 w 6400800"/>
                <a:gd name="connsiteY3134" fmla="*/ 361474 h 514350"/>
                <a:gd name="connsiteX3135" fmla="*/ 6277451 w 6400800"/>
                <a:gd name="connsiteY3135" fmla="*/ 399574 h 514350"/>
                <a:gd name="connsiteX3136" fmla="*/ 6267926 w 6400800"/>
                <a:gd name="connsiteY3136" fmla="*/ 430054 h 514350"/>
                <a:gd name="connsiteX3137" fmla="*/ 6266021 w 6400800"/>
                <a:gd name="connsiteY3137" fmla="*/ 430054 h 514350"/>
                <a:gd name="connsiteX3138" fmla="*/ 6260306 w 6400800"/>
                <a:gd name="connsiteY3138" fmla="*/ 421481 h 514350"/>
                <a:gd name="connsiteX3139" fmla="*/ 6277451 w 6400800"/>
                <a:gd name="connsiteY3139" fmla="*/ 364331 h 514350"/>
                <a:gd name="connsiteX3140" fmla="*/ 6211729 w 6400800"/>
                <a:gd name="connsiteY3140" fmla="*/ 425291 h 514350"/>
                <a:gd name="connsiteX3141" fmla="*/ 6212681 w 6400800"/>
                <a:gd name="connsiteY3141" fmla="*/ 398621 h 514350"/>
                <a:gd name="connsiteX3142" fmla="*/ 6213634 w 6400800"/>
                <a:gd name="connsiteY3142" fmla="*/ 390049 h 514350"/>
                <a:gd name="connsiteX3143" fmla="*/ 6216492 w 6400800"/>
                <a:gd name="connsiteY3143" fmla="*/ 393859 h 514350"/>
                <a:gd name="connsiteX3144" fmla="*/ 6227921 w 6400800"/>
                <a:gd name="connsiteY3144" fmla="*/ 408146 h 514350"/>
                <a:gd name="connsiteX3145" fmla="*/ 6225064 w 6400800"/>
                <a:gd name="connsiteY3145" fmla="*/ 412909 h 514350"/>
                <a:gd name="connsiteX3146" fmla="*/ 6221254 w 6400800"/>
                <a:gd name="connsiteY3146" fmla="*/ 420529 h 514350"/>
                <a:gd name="connsiteX3147" fmla="*/ 6218396 w 6400800"/>
                <a:gd name="connsiteY3147" fmla="*/ 429101 h 514350"/>
                <a:gd name="connsiteX3148" fmla="*/ 6217444 w 6400800"/>
                <a:gd name="connsiteY3148" fmla="*/ 431006 h 514350"/>
                <a:gd name="connsiteX3149" fmla="*/ 6217444 w 6400800"/>
                <a:gd name="connsiteY3149" fmla="*/ 429101 h 514350"/>
                <a:gd name="connsiteX3150" fmla="*/ 6215539 w 6400800"/>
                <a:gd name="connsiteY3150" fmla="*/ 413861 h 514350"/>
                <a:gd name="connsiteX3151" fmla="*/ 6213634 w 6400800"/>
                <a:gd name="connsiteY3151" fmla="*/ 429101 h 514350"/>
                <a:gd name="connsiteX3152" fmla="*/ 6211729 w 6400800"/>
                <a:gd name="connsiteY3152" fmla="*/ 441484 h 514350"/>
                <a:gd name="connsiteX3153" fmla="*/ 6211729 w 6400800"/>
                <a:gd name="connsiteY3153" fmla="*/ 425291 h 514350"/>
                <a:gd name="connsiteX3154" fmla="*/ 6183154 w 6400800"/>
                <a:gd name="connsiteY3154" fmla="*/ 343376 h 514350"/>
                <a:gd name="connsiteX3155" fmla="*/ 6187917 w 6400800"/>
                <a:gd name="connsiteY3155" fmla="*/ 350996 h 514350"/>
                <a:gd name="connsiteX3156" fmla="*/ 6191726 w 6400800"/>
                <a:gd name="connsiteY3156" fmla="*/ 356711 h 514350"/>
                <a:gd name="connsiteX3157" fmla="*/ 6183154 w 6400800"/>
                <a:gd name="connsiteY3157" fmla="*/ 388144 h 514350"/>
                <a:gd name="connsiteX3158" fmla="*/ 6182201 w 6400800"/>
                <a:gd name="connsiteY3158" fmla="*/ 391954 h 514350"/>
                <a:gd name="connsiteX3159" fmla="*/ 6181249 w 6400800"/>
                <a:gd name="connsiteY3159" fmla="*/ 375761 h 514350"/>
                <a:gd name="connsiteX3160" fmla="*/ 6181249 w 6400800"/>
                <a:gd name="connsiteY3160" fmla="*/ 372904 h 514350"/>
                <a:gd name="connsiteX3161" fmla="*/ 6183154 w 6400800"/>
                <a:gd name="connsiteY3161" fmla="*/ 343376 h 514350"/>
                <a:gd name="connsiteX3162" fmla="*/ 6144101 w 6400800"/>
                <a:gd name="connsiteY3162" fmla="*/ 308134 h 514350"/>
                <a:gd name="connsiteX3163" fmla="*/ 6147912 w 6400800"/>
                <a:gd name="connsiteY3163" fmla="*/ 276701 h 514350"/>
                <a:gd name="connsiteX3164" fmla="*/ 6153626 w 6400800"/>
                <a:gd name="connsiteY3164" fmla="*/ 289084 h 514350"/>
                <a:gd name="connsiteX3165" fmla="*/ 6161246 w 6400800"/>
                <a:gd name="connsiteY3165" fmla="*/ 305276 h 514350"/>
                <a:gd name="connsiteX3166" fmla="*/ 6157437 w 6400800"/>
                <a:gd name="connsiteY3166" fmla="*/ 319564 h 514350"/>
                <a:gd name="connsiteX3167" fmla="*/ 6152674 w 6400800"/>
                <a:gd name="connsiteY3167" fmla="*/ 342424 h 514350"/>
                <a:gd name="connsiteX3168" fmla="*/ 6150769 w 6400800"/>
                <a:gd name="connsiteY3168" fmla="*/ 356711 h 514350"/>
                <a:gd name="connsiteX3169" fmla="*/ 6149817 w 6400800"/>
                <a:gd name="connsiteY3169" fmla="*/ 360521 h 514350"/>
                <a:gd name="connsiteX3170" fmla="*/ 6148864 w 6400800"/>
                <a:gd name="connsiteY3170" fmla="*/ 365284 h 514350"/>
                <a:gd name="connsiteX3171" fmla="*/ 6146006 w 6400800"/>
                <a:gd name="connsiteY3171" fmla="*/ 360521 h 514350"/>
                <a:gd name="connsiteX3172" fmla="*/ 6147912 w 6400800"/>
                <a:gd name="connsiteY3172" fmla="*/ 368141 h 514350"/>
                <a:gd name="connsiteX3173" fmla="*/ 6145054 w 6400800"/>
                <a:gd name="connsiteY3173" fmla="*/ 389096 h 514350"/>
                <a:gd name="connsiteX3174" fmla="*/ 6144101 w 6400800"/>
                <a:gd name="connsiteY3174" fmla="*/ 386239 h 514350"/>
                <a:gd name="connsiteX3175" fmla="*/ 6143149 w 6400800"/>
                <a:gd name="connsiteY3175" fmla="*/ 384334 h 514350"/>
                <a:gd name="connsiteX3176" fmla="*/ 6142196 w 6400800"/>
                <a:gd name="connsiteY3176" fmla="*/ 369094 h 514350"/>
                <a:gd name="connsiteX3177" fmla="*/ 6139339 w 6400800"/>
                <a:gd name="connsiteY3177" fmla="*/ 343376 h 514350"/>
                <a:gd name="connsiteX3178" fmla="*/ 6144101 w 6400800"/>
                <a:gd name="connsiteY3178" fmla="*/ 308134 h 514350"/>
                <a:gd name="connsiteX3179" fmla="*/ 6095524 w 6400800"/>
                <a:gd name="connsiteY3179" fmla="*/ 384334 h 514350"/>
                <a:gd name="connsiteX3180" fmla="*/ 6088856 w 6400800"/>
                <a:gd name="connsiteY3180" fmla="*/ 412909 h 514350"/>
                <a:gd name="connsiteX3181" fmla="*/ 6083142 w 6400800"/>
                <a:gd name="connsiteY3181" fmla="*/ 435769 h 514350"/>
                <a:gd name="connsiteX3182" fmla="*/ 6076474 w 6400800"/>
                <a:gd name="connsiteY3182" fmla="*/ 411956 h 514350"/>
                <a:gd name="connsiteX3183" fmla="*/ 6079331 w 6400800"/>
                <a:gd name="connsiteY3183" fmla="*/ 391001 h 514350"/>
                <a:gd name="connsiteX3184" fmla="*/ 6084094 w 6400800"/>
                <a:gd name="connsiteY3184" fmla="*/ 368141 h 514350"/>
                <a:gd name="connsiteX3185" fmla="*/ 6088856 w 6400800"/>
                <a:gd name="connsiteY3185" fmla="*/ 347186 h 514350"/>
                <a:gd name="connsiteX3186" fmla="*/ 6091714 w 6400800"/>
                <a:gd name="connsiteY3186" fmla="*/ 348139 h 514350"/>
                <a:gd name="connsiteX3187" fmla="*/ 6095524 w 6400800"/>
                <a:gd name="connsiteY3187" fmla="*/ 350996 h 514350"/>
                <a:gd name="connsiteX3188" fmla="*/ 6100287 w 6400800"/>
                <a:gd name="connsiteY3188" fmla="*/ 359569 h 514350"/>
                <a:gd name="connsiteX3189" fmla="*/ 6095524 w 6400800"/>
                <a:gd name="connsiteY3189" fmla="*/ 384334 h 514350"/>
                <a:gd name="connsiteX3190" fmla="*/ 6102192 w 6400800"/>
                <a:gd name="connsiteY3190" fmla="*/ 206216 h 514350"/>
                <a:gd name="connsiteX3191" fmla="*/ 6101239 w 6400800"/>
                <a:gd name="connsiteY3191" fmla="*/ 235744 h 514350"/>
                <a:gd name="connsiteX3192" fmla="*/ 6101239 w 6400800"/>
                <a:gd name="connsiteY3192" fmla="*/ 241459 h 514350"/>
                <a:gd name="connsiteX3193" fmla="*/ 6101239 w 6400800"/>
                <a:gd name="connsiteY3193" fmla="*/ 242411 h 514350"/>
                <a:gd name="connsiteX3194" fmla="*/ 6101239 w 6400800"/>
                <a:gd name="connsiteY3194" fmla="*/ 242411 h 514350"/>
                <a:gd name="connsiteX3195" fmla="*/ 6100287 w 6400800"/>
                <a:gd name="connsiteY3195" fmla="*/ 239554 h 514350"/>
                <a:gd name="connsiteX3196" fmla="*/ 6097429 w 6400800"/>
                <a:gd name="connsiteY3196" fmla="*/ 230981 h 514350"/>
                <a:gd name="connsiteX3197" fmla="*/ 6102192 w 6400800"/>
                <a:gd name="connsiteY3197" fmla="*/ 206216 h 514350"/>
                <a:gd name="connsiteX3198" fmla="*/ 6100287 w 6400800"/>
                <a:gd name="connsiteY3198" fmla="*/ 284321 h 514350"/>
                <a:gd name="connsiteX3199" fmla="*/ 6098381 w 6400800"/>
                <a:gd name="connsiteY3199" fmla="*/ 279559 h 514350"/>
                <a:gd name="connsiteX3200" fmla="*/ 6099334 w 6400800"/>
                <a:gd name="connsiteY3200" fmla="*/ 277654 h 514350"/>
                <a:gd name="connsiteX3201" fmla="*/ 6100287 w 6400800"/>
                <a:gd name="connsiteY3201" fmla="*/ 284321 h 514350"/>
                <a:gd name="connsiteX3202" fmla="*/ 6093619 w 6400800"/>
                <a:gd name="connsiteY3202" fmla="*/ 247174 h 514350"/>
                <a:gd name="connsiteX3203" fmla="*/ 6095524 w 6400800"/>
                <a:gd name="connsiteY3203" fmla="*/ 255746 h 514350"/>
                <a:gd name="connsiteX3204" fmla="*/ 6091714 w 6400800"/>
                <a:gd name="connsiteY3204" fmla="*/ 264319 h 514350"/>
                <a:gd name="connsiteX3205" fmla="*/ 6090762 w 6400800"/>
                <a:gd name="connsiteY3205" fmla="*/ 262414 h 514350"/>
                <a:gd name="connsiteX3206" fmla="*/ 6093619 w 6400800"/>
                <a:gd name="connsiteY3206" fmla="*/ 247174 h 514350"/>
                <a:gd name="connsiteX3207" fmla="*/ 6088856 w 6400800"/>
                <a:gd name="connsiteY3207" fmla="*/ 269081 h 514350"/>
                <a:gd name="connsiteX3208" fmla="*/ 6088856 w 6400800"/>
                <a:gd name="connsiteY3208" fmla="*/ 270034 h 514350"/>
                <a:gd name="connsiteX3209" fmla="*/ 6088856 w 6400800"/>
                <a:gd name="connsiteY3209" fmla="*/ 270034 h 514350"/>
                <a:gd name="connsiteX3210" fmla="*/ 6087904 w 6400800"/>
                <a:gd name="connsiteY3210" fmla="*/ 272891 h 514350"/>
                <a:gd name="connsiteX3211" fmla="*/ 6088856 w 6400800"/>
                <a:gd name="connsiteY3211" fmla="*/ 269081 h 514350"/>
                <a:gd name="connsiteX3212" fmla="*/ 6067901 w 6400800"/>
                <a:gd name="connsiteY3212" fmla="*/ 369094 h 514350"/>
                <a:gd name="connsiteX3213" fmla="*/ 6080284 w 6400800"/>
                <a:gd name="connsiteY3213" fmla="*/ 339566 h 514350"/>
                <a:gd name="connsiteX3214" fmla="*/ 6085046 w 6400800"/>
                <a:gd name="connsiteY3214" fmla="*/ 326231 h 514350"/>
                <a:gd name="connsiteX3215" fmla="*/ 6088856 w 6400800"/>
                <a:gd name="connsiteY3215" fmla="*/ 313849 h 514350"/>
                <a:gd name="connsiteX3216" fmla="*/ 6093619 w 6400800"/>
                <a:gd name="connsiteY3216" fmla="*/ 293846 h 514350"/>
                <a:gd name="connsiteX3217" fmla="*/ 6093619 w 6400800"/>
                <a:gd name="connsiteY3217" fmla="*/ 293846 h 514350"/>
                <a:gd name="connsiteX3218" fmla="*/ 6096476 w 6400800"/>
                <a:gd name="connsiteY3218" fmla="*/ 310991 h 514350"/>
                <a:gd name="connsiteX3219" fmla="*/ 6100287 w 6400800"/>
                <a:gd name="connsiteY3219" fmla="*/ 339566 h 514350"/>
                <a:gd name="connsiteX3220" fmla="*/ 6101239 w 6400800"/>
                <a:gd name="connsiteY3220" fmla="*/ 355759 h 514350"/>
                <a:gd name="connsiteX3221" fmla="*/ 6101239 w 6400800"/>
                <a:gd name="connsiteY3221" fmla="*/ 355759 h 514350"/>
                <a:gd name="connsiteX3222" fmla="*/ 6100287 w 6400800"/>
                <a:gd name="connsiteY3222" fmla="*/ 359569 h 514350"/>
                <a:gd name="connsiteX3223" fmla="*/ 6097429 w 6400800"/>
                <a:gd name="connsiteY3223" fmla="*/ 350044 h 514350"/>
                <a:gd name="connsiteX3224" fmla="*/ 6093619 w 6400800"/>
                <a:gd name="connsiteY3224" fmla="*/ 345281 h 514350"/>
                <a:gd name="connsiteX3225" fmla="*/ 6087904 w 6400800"/>
                <a:gd name="connsiteY3225" fmla="*/ 342424 h 514350"/>
                <a:gd name="connsiteX3226" fmla="*/ 6085999 w 6400800"/>
                <a:gd name="connsiteY3226" fmla="*/ 341471 h 514350"/>
                <a:gd name="connsiteX3227" fmla="*/ 6085046 w 6400800"/>
                <a:gd name="connsiteY3227" fmla="*/ 343376 h 514350"/>
                <a:gd name="connsiteX3228" fmla="*/ 6076474 w 6400800"/>
                <a:gd name="connsiteY3228" fmla="*/ 365284 h 514350"/>
                <a:gd name="connsiteX3229" fmla="*/ 6069806 w 6400800"/>
                <a:gd name="connsiteY3229" fmla="*/ 384334 h 514350"/>
                <a:gd name="connsiteX3230" fmla="*/ 6065996 w 6400800"/>
                <a:gd name="connsiteY3230" fmla="*/ 372904 h 514350"/>
                <a:gd name="connsiteX3231" fmla="*/ 6067901 w 6400800"/>
                <a:gd name="connsiteY3231" fmla="*/ 369094 h 514350"/>
                <a:gd name="connsiteX3232" fmla="*/ 6035517 w 6400800"/>
                <a:gd name="connsiteY3232" fmla="*/ 310039 h 514350"/>
                <a:gd name="connsiteX3233" fmla="*/ 6035517 w 6400800"/>
                <a:gd name="connsiteY3233" fmla="*/ 308134 h 514350"/>
                <a:gd name="connsiteX3234" fmla="*/ 6040279 w 6400800"/>
                <a:gd name="connsiteY3234" fmla="*/ 324326 h 514350"/>
                <a:gd name="connsiteX3235" fmla="*/ 6044089 w 6400800"/>
                <a:gd name="connsiteY3235" fmla="*/ 338614 h 514350"/>
                <a:gd name="connsiteX3236" fmla="*/ 6038374 w 6400800"/>
                <a:gd name="connsiteY3236" fmla="*/ 355759 h 514350"/>
                <a:gd name="connsiteX3237" fmla="*/ 6033612 w 6400800"/>
                <a:gd name="connsiteY3237" fmla="*/ 330041 h 514350"/>
                <a:gd name="connsiteX3238" fmla="*/ 6035517 w 6400800"/>
                <a:gd name="connsiteY3238" fmla="*/ 310039 h 514350"/>
                <a:gd name="connsiteX3239" fmla="*/ 6012656 w 6400800"/>
                <a:gd name="connsiteY3239" fmla="*/ 361474 h 514350"/>
                <a:gd name="connsiteX3240" fmla="*/ 6012656 w 6400800"/>
                <a:gd name="connsiteY3240" fmla="*/ 363379 h 514350"/>
                <a:gd name="connsiteX3241" fmla="*/ 6012656 w 6400800"/>
                <a:gd name="connsiteY3241" fmla="*/ 359569 h 514350"/>
                <a:gd name="connsiteX3242" fmla="*/ 6012656 w 6400800"/>
                <a:gd name="connsiteY3242" fmla="*/ 361474 h 514350"/>
                <a:gd name="connsiteX3243" fmla="*/ 6007894 w 6400800"/>
                <a:gd name="connsiteY3243" fmla="*/ 351949 h 514350"/>
                <a:gd name="connsiteX3244" fmla="*/ 6007894 w 6400800"/>
                <a:gd name="connsiteY3244" fmla="*/ 352901 h 514350"/>
                <a:gd name="connsiteX3245" fmla="*/ 6007894 w 6400800"/>
                <a:gd name="connsiteY3245" fmla="*/ 351949 h 514350"/>
                <a:gd name="connsiteX3246" fmla="*/ 6007894 w 6400800"/>
                <a:gd name="connsiteY3246" fmla="*/ 351949 h 514350"/>
                <a:gd name="connsiteX3247" fmla="*/ 5976462 w 6400800"/>
                <a:gd name="connsiteY3247" fmla="*/ 410051 h 514350"/>
                <a:gd name="connsiteX3248" fmla="*/ 5973604 w 6400800"/>
                <a:gd name="connsiteY3248" fmla="*/ 402431 h 514350"/>
                <a:gd name="connsiteX3249" fmla="*/ 5972651 w 6400800"/>
                <a:gd name="connsiteY3249" fmla="*/ 398621 h 514350"/>
                <a:gd name="connsiteX3250" fmla="*/ 5971699 w 6400800"/>
                <a:gd name="connsiteY3250" fmla="*/ 391001 h 514350"/>
                <a:gd name="connsiteX3251" fmla="*/ 5973604 w 6400800"/>
                <a:gd name="connsiteY3251" fmla="*/ 386239 h 514350"/>
                <a:gd name="connsiteX3252" fmla="*/ 5977414 w 6400800"/>
                <a:gd name="connsiteY3252" fmla="*/ 374809 h 514350"/>
                <a:gd name="connsiteX3253" fmla="*/ 5976462 w 6400800"/>
                <a:gd name="connsiteY3253" fmla="*/ 410051 h 514350"/>
                <a:gd name="connsiteX3254" fmla="*/ 5976462 w 6400800"/>
                <a:gd name="connsiteY3254" fmla="*/ 239554 h 514350"/>
                <a:gd name="connsiteX3255" fmla="*/ 5978367 w 6400800"/>
                <a:gd name="connsiteY3255" fmla="*/ 250031 h 514350"/>
                <a:gd name="connsiteX3256" fmla="*/ 5979319 w 6400800"/>
                <a:gd name="connsiteY3256" fmla="*/ 256699 h 514350"/>
                <a:gd name="connsiteX3257" fmla="*/ 5974556 w 6400800"/>
                <a:gd name="connsiteY3257" fmla="*/ 248126 h 514350"/>
                <a:gd name="connsiteX3258" fmla="*/ 5976462 w 6400800"/>
                <a:gd name="connsiteY3258" fmla="*/ 239554 h 514350"/>
                <a:gd name="connsiteX3259" fmla="*/ 5965984 w 6400800"/>
                <a:gd name="connsiteY3259" fmla="*/ 291941 h 514350"/>
                <a:gd name="connsiteX3260" fmla="*/ 5966937 w 6400800"/>
                <a:gd name="connsiteY3260" fmla="*/ 286226 h 514350"/>
                <a:gd name="connsiteX3261" fmla="*/ 5967889 w 6400800"/>
                <a:gd name="connsiteY3261" fmla="*/ 282416 h 514350"/>
                <a:gd name="connsiteX3262" fmla="*/ 5970746 w 6400800"/>
                <a:gd name="connsiteY3262" fmla="*/ 269081 h 514350"/>
                <a:gd name="connsiteX3263" fmla="*/ 5983129 w 6400800"/>
                <a:gd name="connsiteY3263" fmla="*/ 298609 h 514350"/>
                <a:gd name="connsiteX3264" fmla="*/ 5980271 w 6400800"/>
                <a:gd name="connsiteY3264" fmla="*/ 330994 h 514350"/>
                <a:gd name="connsiteX3265" fmla="*/ 5979319 w 6400800"/>
                <a:gd name="connsiteY3265" fmla="*/ 331946 h 514350"/>
                <a:gd name="connsiteX3266" fmla="*/ 5976462 w 6400800"/>
                <a:gd name="connsiteY3266" fmla="*/ 328136 h 514350"/>
                <a:gd name="connsiteX3267" fmla="*/ 5979319 w 6400800"/>
                <a:gd name="connsiteY3267" fmla="*/ 332899 h 514350"/>
                <a:gd name="connsiteX3268" fmla="*/ 5972651 w 6400800"/>
                <a:gd name="connsiteY3268" fmla="*/ 346234 h 514350"/>
                <a:gd name="connsiteX3269" fmla="*/ 5967889 w 6400800"/>
                <a:gd name="connsiteY3269" fmla="*/ 355759 h 514350"/>
                <a:gd name="connsiteX3270" fmla="*/ 5967889 w 6400800"/>
                <a:gd name="connsiteY3270" fmla="*/ 355759 h 514350"/>
                <a:gd name="connsiteX3271" fmla="*/ 5966937 w 6400800"/>
                <a:gd name="connsiteY3271" fmla="*/ 351949 h 514350"/>
                <a:gd name="connsiteX3272" fmla="*/ 5965031 w 6400800"/>
                <a:gd name="connsiteY3272" fmla="*/ 333851 h 514350"/>
                <a:gd name="connsiteX3273" fmla="*/ 5963126 w 6400800"/>
                <a:gd name="connsiteY3273" fmla="*/ 299561 h 514350"/>
                <a:gd name="connsiteX3274" fmla="*/ 5965984 w 6400800"/>
                <a:gd name="connsiteY3274" fmla="*/ 291941 h 514350"/>
                <a:gd name="connsiteX3275" fmla="*/ 5952649 w 6400800"/>
                <a:gd name="connsiteY3275" fmla="*/ 385286 h 514350"/>
                <a:gd name="connsiteX3276" fmla="*/ 5952649 w 6400800"/>
                <a:gd name="connsiteY3276" fmla="*/ 385286 h 514350"/>
                <a:gd name="connsiteX3277" fmla="*/ 5952649 w 6400800"/>
                <a:gd name="connsiteY3277" fmla="*/ 385286 h 514350"/>
                <a:gd name="connsiteX3278" fmla="*/ 5952649 w 6400800"/>
                <a:gd name="connsiteY3278" fmla="*/ 385286 h 514350"/>
                <a:gd name="connsiteX3279" fmla="*/ 5934551 w 6400800"/>
                <a:gd name="connsiteY3279" fmla="*/ 339566 h 514350"/>
                <a:gd name="connsiteX3280" fmla="*/ 5933599 w 6400800"/>
                <a:gd name="connsiteY3280" fmla="*/ 332899 h 514350"/>
                <a:gd name="connsiteX3281" fmla="*/ 5933599 w 6400800"/>
                <a:gd name="connsiteY3281" fmla="*/ 330994 h 514350"/>
                <a:gd name="connsiteX3282" fmla="*/ 5935504 w 6400800"/>
                <a:gd name="connsiteY3282" fmla="*/ 336709 h 514350"/>
                <a:gd name="connsiteX3283" fmla="*/ 5934551 w 6400800"/>
                <a:gd name="connsiteY3283" fmla="*/ 339566 h 514350"/>
                <a:gd name="connsiteX3284" fmla="*/ 5948839 w 6400800"/>
                <a:gd name="connsiteY3284" fmla="*/ 371951 h 514350"/>
                <a:gd name="connsiteX3285" fmla="*/ 5945981 w 6400800"/>
                <a:gd name="connsiteY3285" fmla="*/ 382429 h 514350"/>
                <a:gd name="connsiteX3286" fmla="*/ 5943124 w 6400800"/>
                <a:gd name="connsiteY3286" fmla="*/ 392906 h 514350"/>
                <a:gd name="connsiteX3287" fmla="*/ 5943124 w 6400800"/>
                <a:gd name="connsiteY3287" fmla="*/ 378619 h 514350"/>
                <a:gd name="connsiteX3288" fmla="*/ 5943124 w 6400800"/>
                <a:gd name="connsiteY3288" fmla="*/ 378619 h 514350"/>
                <a:gd name="connsiteX3289" fmla="*/ 5946934 w 6400800"/>
                <a:gd name="connsiteY3289" fmla="*/ 365284 h 514350"/>
                <a:gd name="connsiteX3290" fmla="*/ 5948839 w 6400800"/>
                <a:gd name="connsiteY3290" fmla="*/ 371951 h 514350"/>
                <a:gd name="connsiteX3291" fmla="*/ 5930742 w 6400800"/>
                <a:gd name="connsiteY3291" fmla="*/ 234791 h 514350"/>
                <a:gd name="connsiteX3292" fmla="*/ 5938362 w 6400800"/>
                <a:gd name="connsiteY3292" fmla="*/ 269081 h 514350"/>
                <a:gd name="connsiteX3293" fmla="*/ 5945029 w 6400800"/>
                <a:gd name="connsiteY3293" fmla="*/ 307181 h 514350"/>
                <a:gd name="connsiteX3294" fmla="*/ 5940267 w 6400800"/>
                <a:gd name="connsiteY3294" fmla="*/ 323374 h 514350"/>
                <a:gd name="connsiteX3295" fmla="*/ 5940267 w 6400800"/>
                <a:gd name="connsiteY3295" fmla="*/ 324326 h 514350"/>
                <a:gd name="connsiteX3296" fmla="*/ 5931694 w 6400800"/>
                <a:gd name="connsiteY3296" fmla="*/ 307181 h 514350"/>
                <a:gd name="connsiteX3297" fmla="*/ 5928837 w 6400800"/>
                <a:gd name="connsiteY3297" fmla="*/ 284321 h 514350"/>
                <a:gd name="connsiteX3298" fmla="*/ 5926931 w 6400800"/>
                <a:gd name="connsiteY3298" fmla="*/ 266224 h 514350"/>
                <a:gd name="connsiteX3299" fmla="*/ 5929789 w 6400800"/>
                <a:gd name="connsiteY3299" fmla="*/ 259556 h 514350"/>
                <a:gd name="connsiteX3300" fmla="*/ 5926931 w 6400800"/>
                <a:gd name="connsiteY3300" fmla="*/ 264319 h 514350"/>
                <a:gd name="connsiteX3301" fmla="*/ 5925026 w 6400800"/>
                <a:gd name="connsiteY3301" fmla="*/ 245269 h 514350"/>
                <a:gd name="connsiteX3302" fmla="*/ 5926931 w 6400800"/>
                <a:gd name="connsiteY3302" fmla="*/ 233839 h 514350"/>
                <a:gd name="connsiteX3303" fmla="*/ 5928837 w 6400800"/>
                <a:gd name="connsiteY3303" fmla="*/ 226219 h 514350"/>
                <a:gd name="connsiteX3304" fmla="*/ 5930742 w 6400800"/>
                <a:gd name="connsiteY3304" fmla="*/ 234791 h 514350"/>
                <a:gd name="connsiteX3305" fmla="*/ 5923121 w 6400800"/>
                <a:gd name="connsiteY3305" fmla="*/ 209074 h 514350"/>
                <a:gd name="connsiteX3306" fmla="*/ 5926931 w 6400800"/>
                <a:gd name="connsiteY3306" fmla="*/ 222409 h 514350"/>
                <a:gd name="connsiteX3307" fmla="*/ 5922169 w 6400800"/>
                <a:gd name="connsiteY3307" fmla="*/ 232886 h 514350"/>
                <a:gd name="connsiteX3308" fmla="*/ 5919312 w 6400800"/>
                <a:gd name="connsiteY3308" fmla="*/ 206216 h 514350"/>
                <a:gd name="connsiteX3309" fmla="*/ 5918359 w 6400800"/>
                <a:gd name="connsiteY3309" fmla="*/ 193834 h 514350"/>
                <a:gd name="connsiteX3310" fmla="*/ 5923121 w 6400800"/>
                <a:gd name="connsiteY3310" fmla="*/ 209074 h 514350"/>
                <a:gd name="connsiteX3311" fmla="*/ 5901214 w 6400800"/>
                <a:gd name="connsiteY3311" fmla="*/ 244316 h 514350"/>
                <a:gd name="connsiteX3312" fmla="*/ 5901214 w 6400800"/>
                <a:gd name="connsiteY3312" fmla="*/ 258604 h 514350"/>
                <a:gd name="connsiteX3313" fmla="*/ 5902167 w 6400800"/>
                <a:gd name="connsiteY3313" fmla="*/ 278606 h 514350"/>
                <a:gd name="connsiteX3314" fmla="*/ 5904071 w 6400800"/>
                <a:gd name="connsiteY3314" fmla="*/ 302419 h 514350"/>
                <a:gd name="connsiteX3315" fmla="*/ 5900262 w 6400800"/>
                <a:gd name="connsiteY3315" fmla="*/ 310039 h 514350"/>
                <a:gd name="connsiteX3316" fmla="*/ 5895499 w 6400800"/>
                <a:gd name="connsiteY3316" fmla="*/ 284321 h 514350"/>
                <a:gd name="connsiteX3317" fmla="*/ 5901214 w 6400800"/>
                <a:gd name="connsiteY3317" fmla="*/ 244316 h 514350"/>
                <a:gd name="connsiteX3318" fmla="*/ 5903119 w 6400800"/>
                <a:gd name="connsiteY3318" fmla="*/ 324326 h 514350"/>
                <a:gd name="connsiteX3319" fmla="*/ 5903119 w 6400800"/>
                <a:gd name="connsiteY3319" fmla="*/ 328136 h 514350"/>
                <a:gd name="connsiteX3320" fmla="*/ 5902167 w 6400800"/>
                <a:gd name="connsiteY3320" fmla="*/ 325279 h 514350"/>
                <a:gd name="connsiteX3321" fmla="*/ 5903119 w 6400800"/>
                <a:gd name="connsiteY3321" fmla="*/ 324326 h 514350"/>
                <a:gd name="connsiteX3322" fmla="*/ 5892642 w 6400800"/>
                <a:gd name="connsiteY3322" fmla="*/ 348139 h 514350"/>
                <a:gd name="connsiteX3323" fmla="*/ 5893594 w 6400800"/>
                <a:gd name="connsiteY3323" fmla="*/ 352901 h 514350"/>
                <a:gd name="connsiteX3324" fmla="*/ 5893594 w 6400800"/>
                <a:gd name="connsiteY3324" fmla="*/ 355759 h 514350"/>
                <a:gd name="connsiteX3325" fmla="*/ 5891689 w 6400800"/>
                <a:gd name="connsiteY3325" fmla="*/ 350996 h 514350"/>
                <a:gd name="connsiteX3326" fmla="*/ 5892642 w 6400800"/>
                <a:gd name="connsiteY3326" fmla="*/ 348139 h 514350"/>
                <a:gd name="connsiteX3327" fmla="*/ 5893594 w 6400800"/>
                <a:gd name="connsiteY3327" fmla="*/ 373856 h 514350"/>
                <a:gd name="connsiteX3328" fmla="*/ 5898356 w 6400800"/>
                <a:gd name="connsiteY3328" fmla="*/ 391954 h 514350"/>
                <a:gd name="connsiteX3329" fmla="*/ 5902167 w 6400800"/>
                <a:gd name="connsiteY3329" fmla="*/ 408146 h 514350"/>
                <a:gd name="connsiteX3330" fmla="*/ 5904071 w 6400800"/>
                <a:gd name="connsiteY3330" fmla="*/ 417671 h 514350"/>
                <a:gd name="connsiteX3331" fmla="*/ 5904071 w 6400800"/>
                <a:gd name="connsiteY3331" fmla="*/ 417671 h 514350"/>
                <a:gd name="connsiteX3332" fmla="*/ 5890737 w 6400800"/>
                <a:gd name="connsiteY3332" fmla="*/ 387191 h 514350"/>
                <a:gd name="connsiteX3333" fmla="*/ 5888831 w 6400800"/>
                <a:gd name="connsiteY3333" fmla="*/ 383381 h 514350"/>
                <a:gd name="connsiteX3334" fmla="*/ 5887879 w 6400800"/>
                <a:gd name="connsiteY3334" fmla="*/ 357664 h 514350"/>
                <a:gd name="connsiteX3335" fmla="*/ 5888831 w 6400800"/>
                <a:gd name="connsiteY3335" fmla="*/ 356711 h 514350"/>
                <a:gd name="connsiteX3336" fmla="*/ 5893594 w 6400800"/>
                <a:gd name="connsiteY3336" fmla="*/ 373856 h 514350"/>
                <a:gd name="connsiteX3337" fmla="*/ 5886926 w 6400800"/>
                <a:gd name="connsiteY3337" fmla="*/ 321469 h 514350"/>
                <a:gd name="connsiteX3338" fmla="*/ 5888831 w 6400800"/>
                <a:gd name="connsiteY3338" fmla="*/ 311944 h 514350"/>
                <a:gd name="connsiteX3339" fmla="*/ 5888831 w 6400800"/>
                <a:gd name="connsiteY3339" fmla="*/ 314801 h 514350"/>
                <a:gd name="connsiteX3340" fmla="*/ 5889784 w 6400800"/>
                <a:gd name="connsiteY3340" fmla="*/ 326231 h 514350"/>
                <a:gd name="connsiteX3341" fmla="*/ 5885974 w 6400800"/>
                <a:gd name="connsiteY3341" fmla="*/ 332899 h 514350"/>
                <a:gd name="connsiteX3342" fmla="*/ 5885974 w 6400800"/>
                <a:gd name="connsiteY3342" fmla="*/ 325279 h 514350"/>
                <a:gd name="connsiteX3343" fmla="*/ 5886926 w 6400800"/>
                <a:gd name="connsiteY3343" fmla="*/ 321469 h 514350"/>
                <a:gd name="connsiteX3344" fmla="*/ 5858351 w 6400800"/>
                <a:gd name="connsiteY3344" fmla="*/ 279559 h 514350"/>
                <a:gd name="connsiteX3345" fmla="*/ 5858351 w 6400800"/>
                <a:gd name="connsiteY3345" fmla="*/ 284321 h 514350"/>
                <a:gd name="connsiteX3346" fmla="*/ 5858351 w 6400800"/>
                <a:gd name="connsiteY3346" fmla="*/ 285274 h 514350"/>
                <a:gd name="connsiteX3347" fmla="*/ 5857399 w 6400800"/>
                <a:gd name="connsiteY3347" fmla="*/ 281464 h 514350"/>
                <a:gd name="connsiteX3348" fmla="*/ 5858351 w 6400800"/>
                <a:gd name="connsiteY3348" fmla="*/ 279559 h 514350"/>
                <a:gd name="connsiteX3349" fmla="*/ 5841206 w 6400800"/>
                <a:gd name="connsiteY3349" fmla="*/ 264319 h 514350"/>
                <a:gd name="connsiteX3350" fmla="*/ 5840254 w 6400800"/>
                <a:gd name="connsiteY3350" fmla="*/ 270034 h 514350"/>
                <a:gd name="connsiteX3351" fmla="*/ 5839301 w 6400800"/>
                <a:gd name="connsiteY3351" fmla="*/ 277654 h 514350"/>
                <a:gd name="connsiteX3352" fmla="*/ 5838349 w 6400800"/>
                <a:gd name="connsiteY3352" fmla="*/ 271939 h 514350"/>
                <a:gd name="connsiteX3353" fmla="*/ 5841206 w 6400800"/>
                <a:gd name="connsiteY3353" fmla="*/ 264319 h 514350"/>
                <a:gd name="connsiteX3354" fmla="*/ 5828824 w 6400800"/>
                <a:gd name="connsiteY3354" fmla="*/ 305276 h 514350"/>
                <a:gd name="connsiteX3355" fmla="*/ 5826919 w 6400800"/>
                <a:gd name="connsiteY3355" fmla="*/ 308134 h 514350"/>
                <a:gd name="connsiteX3356" fmla="*/ 5826919 w 6400800"/>
                <a:gd name="connsiteY3356" fmla="*/ 306229 h 514350"/>
                <a:gd name="connsiteX3357" fmla="*/ 5829776 w 6400800"/>
                <a:gd name="connsiteY3357" fmla="*/ 299561 h 514350"/>
                <a:gd name="connsiteX3358" fmla="*/ 5828824 w 6400800"/>
                <a:gd name="connsiteY3358" fmla="*/ 305276 h 514350"/>
                <a:gd name="connsiteX3359" fmla="*/ 5823109 w 6400800"/>
                <a:gd name="connsiteY3359" fmla="*/ 259556 h 514350"/>
                <a:gd name="connsiteX3360" fmla="*/ 5827871 w 6400800"/>
                <a:gd name="connsiteY3360" fmla="*/ 270986 h 514350"/>
                <a:gd name="connsiteX3361" fmla="*/ 5828824 w 6400800"/>
                <a:gd name="connsiteY3361" fmla="*/ 273844 h 514350"/>
                <a:gd name="connsiteX3362" fmla="*/ 5828824 w 6400800"/>
                <a:gd name="connsiteY3362" fmla="*/ 286226 h 514350"/>
                <a:gd name="connsiteX3363" fmla="*/ 5824062 w 6400800"/>
                <a:gd name="connsiteY3363" fmla="*/ 295751 h 514350"/>
                <a:gd name="connsiteX3364" fmla="*/ 5824062 w 6400800"/>
                <a:gd name="connsiteY3364" fmla="*/ 294799 h 514350"/>
                <a:gd name="connsiteX3365" fmla="*/ 5823109 w 6400800"/>
                <a:gd name="connsiteY3365" fmla="*/ 267176 h 514350"/>
                <a:gd name="connsiteX3366" fmla="*/ 5823109 w 6400800"/>
                <a:gd name="connsiteY3366" fmla="*/ 259556 h 514350"/>
                <a:gd name="connsiteX3367" fmla="*/ 5813584 w 6400800"/>
                <a:gd name="connsiteY3367" fmla="*/ 252889 h 514350"/>
                <a:gd name="connsiteX3368" fmla="*/ 5812631 w 6400800"/>
                <a:gd name="connsiteY3368" fmla="*/ 258604 h 514350"/>
                <a:gd name="connsiteX3369" fmla="*/ 5811679 w 6400800"/>
                <a:gd name="connsiteY3369" fmla="*/ 255746 h 514350"/>
                <a:gd name="connsiteX3370" fmla="*/ 5811679 w 6400800"/>
                <a:gd name="connsiteY3370" fmla="*/ 262414 h 514350"/>
                <a:gd name="connsiteX3371" fmla="*/ 5810726 w 6400800"/>
                <a:gd name="connsiteY3371" fmla="*/ 267176 h 514350"/>
                <a:gd name="connsiteX3372" fmla="*/ 5808821 w 6400800"/>
                <a:gd name="connsiteY3372" fmla="*/ 294799 h 514350"/>
                <a:gd name="connsiteX3373" fmla="*/ 5808821 w 6400800"/>
                <a:gd name="connsiteY3373" fmla="*/ 304324 h 514350"/>
                <a:gd name="connsiteX3374" fmla="*/ 5807869 w 6400800"/>
                <a:gd name="connsiteY3374" fmla="*/ 300514 h 514350"/>
                <a:gd name="connsiteX3375" fmla="*/ 5806917 w 6400800"/>
                <a:gd name="connsiteY3375" fmla="*/ 264319 h 514350"/>
                <a:gd name="connsiteX3376" fmla="*/ 5806917 w 6400800"/>
                <a:gd name="connsiteY3376" fmla="*/ 262414 h 514350"/>
                <a:gd name="connsiteX3377" fmla="*/ 5813584 w 6400800"/>
                <a:gd name="connsiteY3377" fmla="*/ 252889 h 514350"/>
                <a:gd name="connsiteX3378" fmla="*/ 5804059 w 6400800"/>
                <a:gd name="connsiteY3378" fmla="*/ 268129 h 514350"/>
                <a:gd name="connsiteX3379" fmla="*/ 5804059 w 6400800"/>
                <a:gd name="connsiteY3379" fmla="*/ 269081 h 514350"/>
                <a:gd name="connsiteX3380" fmla="*/ 5804059 w 6400800"/>
                <a:gd name="connsiteY3380" fmla="*/ 268129 h 514350"/>
                <a:gd name="connsiteX3381" fmla="*/ 5804059 w 6400800"/>
                <a:gd name="connsiteY3381" fmla="*/ 268129 h 514350"/>
                <a:gd name="connsiteX3382" fmla="*/ 5799296 w 6400800"/>
                <a:gd name="connsiteY3382" fmla="*/ 164306 h 514350"/>
                <a:gd name="connsiteX3383" fmla="*/ 5802154 w 6400800"/>
                <a:gd name="connsiteY3383" fmla="*/ 166211 h 514350"/>
                <a:gd name="connsiteX3384" fmla="*/ 5796439 w 6400800"/>
                <a:gd name="connsiteY3384" fmla="*/ 176689 h 514350"/>
                <a:gd name="connsiteX3385" fmla="*/ 5796439 w 6400800"/>
                <a:gd name="connsiteY3385" fmla="*/ 163354 h 514350"/>
                <a:gd name="connsiteX3386" fmla="*/ 5799296 w 6400800"/>
                <a:gd name="connsiteY3386" fmla="*/ 164306 h 514350"/>
                <a:gd name="connsiteX3387" fmla="*/ 5770721 w 6400800"/>
                <a:gd name="connsiteY3387" fmla="*/ 386239 h 514350"/>
                <a:gd name="connsiteX3388" fmla="*/ 5770721 w 6400800"/>
                <a:gd name="connsiteY3388" fmla="*/ 383381 h 514350"/>
                <a:gd name="connsiteX3389" fmla="*/ 5770721 w 6400800"/>
                <a:gd name="connsiteY3389" fmla="*/ 382429 h 514350"/>
                <a:gd name="connsiteX3390" fmla="*/ 5771674 w 6400800"/>
                <a:gd name="connsiteY3390" fmla="*/ 387191 h 514350"/>
                <a:gd name="connsiteX3391" fmla="*/ 5770721 w 6400800"/>
                <a:gd name="connsiteY3391" fmla="*/ 386239 h 514350"/>
                <a:gd name="connsiteX3392" fmla="*/ 5782151 w 6400800"/>
                <a:gd name="connsiteY3392" fmla="*/ 253841 h 514350"/>
                <a:gd name="connsiteX3393" fmla="*/ 5780246 w 6400800"/>
                <a:gd name="connsiteY3393" fmla="*/ 258604 h 514350"/>
                <a:gd name="connsiteX3394" fmla="*/ 5777389 w 6400800"/>
                <a:gd name="connsiteY3394" fmla="*/ 267176 h 514350"/>
                <a:gd name="connsiteX3395" fmla="*/ 5773579 w 6400800"/>
                <a:gd name="connsiteY3395" fmla="*/ 275749 h 514350"/>
                <a:gd name="connsiteX3396" fmla="*/ 5772626 w 6400800"/>
                <a:gd name="connsiteY3396" fmla="*/ 273844 h 514350"/>
                <a:gd name="connsiteX3397" fmla="*/ 5771674 w 6400800"/>
                <a:gd name="connsiteY3397" fmla="*/ 272891 h 514350"/>
                <a:gd name="connsiteX3398" fmla="*/ 5783104 w 6400800"/>
                <a:gd name="connsiteY3398" fmla="*/ 241459 h 514350"/>
                <a:gd name="connsiteX3399" fmla="*/ 5782151 w 6400800"/>
                <a:gd name="connsiteY3399" fmla="*/ 253841 h 514350"/>
                <a:gd name="connsiteX3400" fmla="*/ 5785962 w 6400800"/>
                <a:gd name="connsiteY3400" fmla="*/ 221456 h 514350"/>
                <a:gd name="connsiteX3401" fmla="*/ 5784056 w 6400800"/>
                <a:gd name="connsiteY3401" fmla="*/ 239554 h 514350"/>
                <a:gd name="connsiteX3402" fmla="*/ 5784056 w 6400800"/>
                <a:gd name="connsiteY3402" fmla="*/ 240506 h 514350"/>
                <a:gd name="connsiteX3403" fmla="*/ 5770721 w 6400800"/>
                <a:gd name="connsiteY3403" fmla="*/ 267176 h 514350"/>
                <a:gd name="connsiteX3404" fmla="*/ 5769769 w 6400800"/>
                <a:gd name="connsiteY3404" fmla="*/ 261461 h 514350"/>
                <a:gd name="connsiteX3405" fmla="*/ 5769769 w 6400800"/>
                <a:gd name="connsiteY3405" fmla="*/ 258604 h 514350"/>
                <a:gd name="connsiteX3406" fmla="*/ 5785962 w 6400800"/>
                <a:gd name="connsiteY3406" fmla="*/ 221456 h 514350"/>
                <a:gd name="connsiteX3407" fmla="*/ 5754529 w 6400800"/>
                <a:gd name="connsiteY3407" fmla="*/ 333851 h 514350"/>
                <a:gd name="connsiteX3408" fmla="*/ 5746909 w 6400800"/>
                <a:gd name="connsiteY3408" fmla="*/ 348139 h 514350"/>
                <a:gd name="connsiteX3409" fmla="*/ 5745956 w 6400800"/>
                <a:gd name="connsiteY3409" fmla="*/ 346234 h 514350"/>
                <a:gd name="connsiteX3410" fmla="*/ 5754529 w 6400800"/>
                <a:gd name="connsiteY3410" fmla="*/ 322421 h 514350"/>
                <a:gd name="connsiteX3411" fmla="*/ 5754529 w 6400800"/>
                <a:gd name="connsiteY3411" fmla="*/ 333851 h 514350"/>
                <a:gd name="connsiteX3412" fmla="*/ 5754529 w 6400800"/>
                <a:gd name="connsiteY3412" fmla="*/ 333851 h 514350"/>
                <a:gd name="connsiteX3413" fmla="*/ 5762149 w 6400800"/>
                <a:gd name="connsiteY3413" fmla="*/ 302419 h 514350"/>
                <a:gd name="connsiteX3414" fmla="*/ 5762149 w 6400800"/>
                <a:gd name="connsiteY3414" fmla="*/ 302419 h 514350"/>
                <a:gd name="connsiteX3415" fmla="*/ 5762149 w 6400800"/>
                <a:gd name="connsiteY3415" fmla="*/ 302419 h 514350"/>
                <a:gd name="connsiteX3416" fmla="*/ 5762149 w 6400800"/>
                <a:gd name="connsiteY3416" fmla="*/ 302419 h 514350"/>
                <a:gd name="connsiteX3417" fmla="*/ 5761196 w 6400800"/>
                <a:gd name="connsiteY3417" fmla="*/ 304324 h 514350"/>
                <a:gd name="connsiteX3418" fmla="*/ 5762149 w 6400800"/>
                <a:gd name="connsiteY3418" fmla="*/ 305276 h 514350"/>
                <a:gd name="connsiteX3419" fmla="*/ 5762149 w 6400800"/>
                <a:gd name="connsiteY3419" fmla="*/ 308134 h 514350"/>
                <a:gd name="connsiteX3420" fmla="*/ 5762149 w 6400800"/>
                <a:gd name="connsiteY3420" fmla="*/ 310039 h 514350"/>
                <a:gd name="connsiteX3421" fmla="*/ 5759292 w 6400800"/>
                <a:gd name="connsiteY3421" fmla="*/ 320516 h 514350"/>
                <a:gd name="connsiteX3422" fmla="*/ 5757387 w 6400800"/>
                <a:gd name="connsiteY3422" fmla="*/ 328136 h 514350"/>
                <a:gd name="connsiteX3423" fmla="*/ 5755481 w 6400800"/>
                <a:gd name="connsiteY3423" fmla="*/ 320516 h 514350"/>
                <a:gd name="connsiteX3424" fmla="*/ 5761196 w 6400800"/>
                <a:gd name="connsiteY3424" fmla="*/ 304324 h 514350"/>
                <a:gd name="connsiteX3425" fmla="*/ 5760244 w 6400800"/>
                <a:gd name="connsiteY3425" fmla="*/ 289084 h 514350"/>
                <a:gd name="connsiteX3426" fmla="*/ 5759292 w 6400800"/>
                <a:gd name="connsiteY3426" fmla="*/ 290989 h 514350"/>
                <a:gd name="connsiteX3427" fmla="*/ 5751671 w 6400800"/>
                <a:gd name="connsiteY3427" fmla="*/ 301466 h 514350"/>
                <a:gd name="connsiteX3428" fmla="*/ 5748814 w 6400800"/>
                <a:gd name="connsiteY3428" fmla="*/ 305276 h 514350"/>
                <a:gd name="connsiteX3429" fmla="*/ 5759292 w 6400800"/>
                <a:gd name="connsiteY3429" fmla="*/ 280511 h 514350"/>
                <a:gd name="connsiteX3430" fmla="*/ 5760244 w 6400800"/>
                <a:gd name="connsiteY3430" fmla="*/ 289084 h 514350"/>
                <a:gd name="connsiteX3431" fmla="*/ 5756434 w 6400800"/>
                <a:gd name="connsiteY3431" fmla="*/ 227171 h 514350"/>
                <a:gd name="connsiteX3432" fmla="*/ 5756434 w 6400800"/>
                <a:gd name="connsiteY3432" fmla="*/ 243364 h 514350"/>
                <a:gd name="connsiteX3433" fmla="*/ 5757387 w 6400800"/>
                <a:gd name="connsiteY3433" fmla="*/ 250984 h 514350"/>
                <a:gd name="connsiteX3434" fmla="*/ 5753576 w 6400800"/>
                <a:gd name="connsiteY3434" fmla="*/ 259556 h 514350"/>
                <a:gd name="connsiteX3435" fmla="*/ 5741194 w 6400800"/>
                <a:gd name="connsiteY3435" fmla="*/ 285274 h 514350"/>
                <a:gd name="connsiteX3436" fmla="*/ 5756434 w 6400800"/>
                <a:gd name="connsiteY3436" fmla="*/ 227171 h 514350"/>
                <a:gd name="connsiteX3437" fmla="*/ 5676424 w 6400800"/>
                <a:gd name="connsiteY3437" fmla="*/ 184309 h 514350"/>
                <a:gd name="connsiteX3438" fmla="*/ 5676424 w 6400800"/>
                <a:gd name="connsiteY3438" fmla="*/ 198596 h 514350"/>
                <a:gd name="connsiteX3439" fmla="*/ 5676424 w 6400800"/>
                <a:gd name="connsiteY3439" fmla="*/ 228124 h 514350"/>
                <a:gd name="connsiteX3440" fmla="*/ 5676424 w 6400800"/>
                <a:gd name="connsiteY3440" fmla="*/ 246221 h 514350"/>
                <a:gd name="connsiteX3441" fmla="*/ 5677376 w 6400800"/>
                <a:gd name="connsiteY3441" fmla="*/ 266224 h 514350"/>
                <a:gd name="connsiteX3442" fmla="*/ 5678329 w 6400800"/>
                <a:gd name="connsiteY3442" fmla="*/ 276701 h 514350"/>
                <a:gd name="connsiteX3443" fmla="*/ 5678329 w 6400800"/>
                <a:gd name="connsiteY3443" fmla="*/ 276701 h 514350"/>
                <a:gd name="connsiteX3444" fmla="*/ 5675471 w 6400800"/>
                <a:gd name="connsiteY3444" fmla="*/ 259556 h 514350"/>
                <a:gd name="connsiteX3445" fmla="*/ 5672614 w 6400800"/>
                <a:gd name="connsiteY3445" fmla="*/ 242411 h 514350"/>
                <a:gd name="connsiteX3446" fmla="*/ 5669756 w 6400800"/>
                <a:gd name="connsiteY3446" fmla="*/ 223361 h 514350"/>
                <a:gd name="connsiteX3447" fmla="*/ 5668804 w 6400800"/>
                <a:gd name="connsiteY3447" fmla="*/ 216694 h 514350"/>
                <a:gd name="connsiteX3448" fmla="*/ 5676424 w 6400800"/>
                <a:gd name="connsiteY3448" fmla="*/ 184309 h 514350"/>
                <a:gd name="connsiteX3449" fmla="*/ 5652612 w 6400800"/>
                <a:gd name="connsiteY3449" fmla="*/ 263366 h 514350"/>
                <a:gd name="connsiteX3450" fmla="*/ 5653564 w 6400800"/>
                <a:gd name="connsiteY3450" fmla="*/ 261461 h 514350"/>
                <a:gd name="connsiteX3451" fmla="*/ 5655469 w 6400800"/>
                <a:gd name="connsiteY3451" fmla="*/ 264319 h 514350"/>
                <a:gd name="connsiteX3452" fmla="*/ 5655469 w 6400800"/>
                <a:gd name="connsiteY3452" fmla="*/ 268129 h 514350"/>
                <a:gd name="connsiteX3453" fmla="*/ 5657374 w 6400800"/>
                <a:gd name="connsiteY3453" fmla="*/ 286226 h 514350"/>
                <a:gd name="connsiteX3454" fmla="*/ 5652612 w 6400800"/>
                <a:gd name="connsiteY3454" fmla="*/ 269081 h 514350"/>
                <a:gd name="connsiteX3455" fmla="*/ 5651659 w 6400800"/>
                <a:gd name="connsiteY3455" fmla="*/ 267176 h 514350"/>
                <a:gd name="connsiteX3456" fmla="*/ 5652612 w 6400800"/>
                <a:gd name="connsiteY3456" fmla="*/ 263366 h 514350"/>
                <a:gd name="connsiteX3457" fmla="*/ 5650706 w 6400800"/>
                <a:gd name="connsiteY3457" fmla="*/ 205264 h 514350"/>
                <a:gd name="connsiteX3458" fmla="*/ 5651659 w 6400800"/>
                <a:gd name="connsiteY3458" fmla="*/ 212884 h 514350"/>
                <a:gd name="connsiteX3459" fmla="*/ 5649754 w 6400800"/>
                <a:gd name="connsiteY3459" fmla="*/ 207169 h 514350"/>
                <a:gd name="connsiteX3460" fmla="*/ 5650706 w 6400800"/>
                <a:gd name="connsiteY3460" fmla="*/ 205264 h 514350"/>
                <a:gd name="connsiteX3461" fmla="*/ 5647849 w 6400800"/>
                <a:gd name="connsiteY3461" fmla="*/ 209074 h 514350"/>
                <a:gd name="connsiteX3462" fmla="*/ 5649754 w 6400800"/>
                <a:gd name="connsiteY3462" fmla="*/ 219551 h 514350"/>
                <a:gd name="connsiteX3463" fmla="*/ 5651659 w 6400800"/>
                <a:gd name="connsiteY3463" fmla="*/ 235744 h 514350"/>
                <a:gd name="connsiteX3464" fmla="*/ 5651659 w 6400800"/>
                <a:gd name="connsiteY3464" fmla="*/ 236696 h 514350"/>
                <a:gd name="connsiteX3465" fmla="*/ 5645944 w 6400800"/>
                <a:gd name="connsiteY3465" fmla="*/ 228124 h 514350"/>
                <a:gd name="connsiteX3466" fmla="*/ 5644039 w 6400800"/>
                <a:gd name="connsiteY3466" fmla="*/ 216694 h 514350"/>
                <a:gd name="connsiteX3467" fmla="*/ 5647849 w 6400800"/>
                <a:gd name="connsiteY3467" fmla="*/ 209074 h 514350"/>
                <a:gd name="connsiteX3468" fmla="*/ 5642134 w 6400800"/>
                <a:gd name="connsiteY3468" fmla="*/ 370046 h 514350"/>
                <a:gd name="connsiteX3469" fmla="*/ 5643087 w 6400800"/>
                <a:gd name="connsiteY3469" fmla="*/ 377666 h 514350"/>
                <a:gd name="connsiteX3470" fmla="*/ 5641181 w 6400800"/>
                <a:gd name="connsiteY3470" fmla="*/ 385286 h 514350"/>
                <a:gd name="connsiteX3471" fmla="*/ 5642134 w 6400800"/>
                <a:gd name="connsiteY3471" fmla="*/ 370046 h 514350"/>
                <a:gd name="connsiteX3472" fmla="*/ 5624037 w 6400800"/>
                <a:gd name="connsiteY3472" fmla="*/ 272891 h 514350"/>
                <a:gd name="connsiteX3473" fmla="*/ 5625942 w 6400800"/>
                <a:gd name="connsiteY3473" fmla="*/ 258604 h 514350"/>
                <a:gd name="connsiteX3474" fmla="*/ 5625942 w 6400800"/>
                <a:gd name="connsiteY3474" fmla="*/ 254794 h 514350"/>
                <a:gd name="connsiteX3475" fmla="*/ 5632609 w 6400800"/>
                <a:gd name="connsiteY3475" fmla="*/ 241459 h 514350"/>
                <a:gd name="connsiteX3476" fmla="*/ 5634514 w 6400800"/>
                <a:gd name="connsiteY3476" fmla="*/ 236696 h 514350"/>
                <a:gd name="connsiteX3477" fmla="*/ 5637371 w 6400800"/>
                <a:gd name="connsiteY3477" fmla="*/ 245269 h 514350"/>
                <a:gd name="connsiteX3478" fmla="*/ 5640229 w 6400800"/>
                <a:gd name="connsiteY3478" fmla="*/ 259556 h 514350"/>
                <a:gd name="connsiteX3479" fmla="*/ 5640229 w 6400800"/>
                <a:gd name="connsiteY3479" fmla="*/ 266224 h 514350"/>
                <a:gd name="connsiteX3480" fmla="*/ 5631656 w 6400800"/>
                <a:gd name="connsiteY3480" fmla="*/ 288131 h 514350"/>
                <a:gd name="connsiteX3481" fmla="*/ 5624037 w 6400800"/>
                <a:gd name="connsiteY3481" fmla="*/ 277654 h 514350"/>
                <a:gd name="connsiteX3482" fmla="*/ 5624037 w 6400800"/>
                <a:gd name="connsiteY3482" fmla="*/ 272891 h 514350"/>
                <a:gd name="connsiteX3483" fmla="*/ 5623084 w 6400800"/>
                <a:gd name="connsiteY3483" fmla="*/ 289084 h 514350"/>
                <a:gd name="connsiteX3484" fmla="*/ 5623084 w 6400800"/>
                <a:gd name="connsiteY3484" fmla="*/ 287179 h 514350"/>
                <a:gd name="connsiteX3485" fmla="*/ 5624989 w 6400800"/>
                <a:gd name="connsiteY3485" fmla="*/ 290989 h 514350"/>
                <a:gd name="connsiteX3486" fmla="*/ 5626894 w 6400800"/>
                <a:gd name="connsiteY3486" fmla="*/ 298609 h 514350"/>
                <a:gd name="connsiteX3487" fmla="*/ 5625942 w 6400800"/>
                <a:gd name="connsiteY3487" fmla="*/ 300514 h 514350"/>
                <a:gd name="connsiteX3488" fmla="*/ 5625942 w 6400800"/>
                <a:gd name="connsiteY3488" fmla="*/ 300514 h 514350"/>
                <a:gd name="connsiteX3489" fmla="*/ 5622131 w 6400800"/>
                <a:gd name="connsiteY3489" fmla="*/ 295751 h 514350"/>
                <a:gd name="connsiteX3490" fmla="*/ 5623084 w 6400800"/>
                <a:gd name="connsiteY3490" fmla="*/ 289084 h 514350"/>
                <a:gd name="connsiteX3491" fmla="*/ 5621179 w 6400800"/>
                <a:gd name="connsiteY3491" fmla="*/ 310991 h 514350"/>
                <a:gd name="connsiteX3492" fmla="*/ 5621179 w 6400800"/>
                <a:gd name="connsiteY3492" fmla="*/ 310991 h 514350"/>
                <a:gd name="connsiteX3493" fmla="*/ 5621179 w 6400800"/>
                <a:gd name="connsiteY3493" fmla="*/ 310991 h 514350"/>
                <a:gd name="connsiteX3494" fmla="*/ 5621179 w 6400800"/>
                <a:gd name="connsiteY3494" fmla="*/ 310991 h 514350"/>
                <a:gd name="connsiteX3495" fmla="*/ 5618321 w 6400800"/>
                <a:gd name="connsiteY3495" fmla="*/ 270034 h 514350"/>
                <a:gd name="connsiteX3496" fmla="*/ 5618321 w 6400800"/>
                <a:gd name="connsiteY3496" fmla="*/ 270034 h 514350"/>
                <a:gd name="connsiteX3497" fmla="*/ 5618321 w 6400800"/>
                <a:gd name="connsiteY3497" fmla="*/ 270034 h 514350"/>
                <a:gd name="connsiteX3498" fmla="*/ 5618321 w 6400800"/>
                <a:gd name="connsiteY3498" fmla="*/ 270034 h 514350"/>
                <a:gd name="connsiteX3499" fmla="*/ 5617369 w 6400800"/>
                <a:gd name="connsiteY3499" fmla="*/ 272891 h 514350"/>
                <a:gd name="connsiteX3500" fmla="*/ 5618321 w 6400800"/>
                <a:gd name="connsiteY3500" fmla="*/ 273844 h 514350"/>
                <a:gd name="connsiteX3501" fmla="*/ 5616417 w 6400800"/>
                <a:gd name="connsiteY3501" fmla="*/ 286226 h 514350"/>
                <a:gd name="connsiteX3502" fmla="*/ 5613559 w 6400800"/>
                <a:gd name="connsiteY3502" fmla="*/ 282416 h 514350"/>
                <a:gd name="connsiteX3503" fmla="*/ 5617369 w 6400800"/>
                <a:gd name="connsiteY3503" fmla="*/ 272891 h 514350"/>
                <a:gd name="connsiteX3504" fmla="*/ 5608796 w 6400800"/>
                <a:gd name="connsiteY3504" fmla="*/ 290989 h 514350"/>
                <a:gd name="connsiteX3505" fmla="*/ 5608796 w 6400800"/>
                <a:gd name="connsiteY3505" fmla="*/ 290989 h 514350"/>
                <a:gd name="connsiteX3506" fmla="*/ 5611654 w 6400800"/>
                <a:gd name="connsiteY3506" fmla="*/ 294799 h 514350"/>
                <a:gd name="connsiteX3507" fmla="*/ 5613559 w 6400800"/>
                <a:gd name="connsiteY3507" fmla="*/ 297656 h 514350"/>
                <a:gd name="connsiteX3508" fmla="*/ 5611654 w 6400800"/>
                <a:gd name="connsiteY3508" fmla="*/ 310991 h 514350"/>
                <a:gd name="connsiteX3509" fmla="*/ 5608796 w 6400800"/>
                <a:gd name="connsiteY3509" fmla="*/ 292894 h 514350"/>
                <a:gd name="connsiteX3510" fmla="*/ 5608796 w 6400800"/>
                <a:gd name="connsiteY3510" fmla="*/ 290989 h 514350"/>
                <a:gd name="connsiteX3511" fmla="*/ 5594509 w 6400800"/>
                <a:gd name="connsiteY3511" fmla="*/ 241459 h 514350"/>
                <a:gd name="connsiteX3512" fmla="*/ 5595462 w 6400800"/>
                <a:gd name="connsiteY3512" fmla="*/ 258604 h 514350"/>
                <a:gd name="connsiteX3513" fmla="*/ 5595462 w 6400800"/>
                <a:gd name="connsiteY3513" fmla="*/ 259556 h 514350"/>
                <a:gd name="connsiteX3514" fmla="*/ 5595462 w 6400800"/>
                <a:gd name="connsiteY3514" fmla="*/ 261461 h 514350"/>
                <a:gd name="connsiteX3515" fmla="*/ 5593556 w 6400800"/>
                <a:gd name="connsiteY3515" fmla="*/ 259556 h 514350"/>
                <a:gd name="connsiteX3516" fmla="*/ 5592604 w 6400800"/>
                <a:gd name="connsiteY3516" fmla="*/ 250031 h 514350"/>
                <a:gd name="connsiteX3517" fmla="*/ 5594509 w 6400800"/>
                <a:gd name="connsiteY3517" fmla="*/ 241459 h 514350"/>
                <a:gd name="connsiteX3518" fmla="*/ 5578317 w 6400800"/>
                <a:gd name="connsiteY3518" fmla="*/ 284321 h 514350"/>
                <a:gd name="connsiteX3519" fmla="*/ 5578317 w 6400800"/>
                <a:gd name="connsiteY3519" fmla="*/ 286226 h 514350"/>
                <a:gd name="connsiteX3520" fmla="*/ 5577364 w 6400800"/>
                <a:gd name="connsiteY3520" fmla="*/ 285274 h 514350"/>
                <a:gd name="connsiteX3521" fmla="*/ 5578317 w 6400800"/>
                <a:gd name="connsiteY3521" fmla="*/ 284321 h 514350"/>
                <a:gd name="connsiteX3522" fmla="*/ 5573554 w 6400800"/>
                <a:gd name="connsiteY3522" fmla="*/ 299561 h 514350"/>
                <a:gd name="connsiteX3523" fmla="*/ 5576412 w 6400800"/>
                <a:gd name="connsiteY3523" fmla="*/ 305276 h 514350"/>
                <a:gd name="connsiteX3524" fmla="*/ 5577364 w 6400800"/>
                <a:gd name="connsiteY3524" fmla="*/ 307181 h 514350"/>
                <a:gd name="connsiteX3525" fmla="*/ 5576412 w 6400800"/>
                <a:gd name="connsiteY3525" fmla="*/ 325279 h 514350"/>
                <a:gd name="connsiteX3526" fmla="*/ 5576412 w 6400800"/>
                <a:gd name="connsiteY3526" fmla="*/ 328136 h 514350"/>
                <a:gd name="connsiteX3527" fmla="*/ 5575459 w 6400800"/>
                <a:gd name="connsiteY3527" fmla="*/ 319564 h 514350"/>
                <a:gd name="connsiteX3528" fmla="*/ 5573554 w 6400800"/>
                <a:gd name="connsiteY3528" fmla="*/ 303371 h 514350"/>
                <a:gd name="connsiteX3529" fmla="*/ 5573554 w 6400800"/>
                <a:gd name="connsiteY3529" fmla="*/ 299561 h 514350"/>
                <a:gd name="connsiteX3530" fmla="*/ 5550694 w 6400800"/>
                <a:gd name="connsiteY3530" fmla="*/ 308134 h 514350"/>
                <a:gd name="connsiteX3531" fmla="*/ 5549742 w 6400800"/>
                <a:gd name="connsiteY3531" fmla="*/ 301466 h 514350"/>
                <a:gd name="connsiteX3532" fmla="*/ 5551646 w 6400800"/>
                <a:gd name="connsiteY3532" fmla="*/ 294799 h 514350"/>
                <a:gd name="connsiteX3533" fmla="*/ 5552599 w 6400800"/>
                <a:gd name="connsiteY3533" fmla="*/ 291941 h 514350"/>
                <a:gd name="connsiteX3534" fmla="*/ 5554504 w 6400800"/>
                <a:gd name="connsiteY3534" fmla="*/ 302419 h 514350"/>
                <a:gd name="connsiteX3535" fmla="*/ 5552599 w 6400800"/>
                <a:gd name="connsiteY3535" fmla="*/ 306229 h 514350"/>
                <a:gd name="connsiteX3536" fmla="*/ 5550694 w 6400800"/>
                <a:gd name="connsiteY3536" fmla="*/ 308134 h 514350"/>
                <a:gd name="connsiteX3537" fmla="*/ 5557362 w 6400800"/>
                <a:gd name="connsiteY3537" fmla="*/ 313849 h 514350"/>
                <a:gd name="connsiteX3538" fmla="*/ 5557362 w 6400800"/>
                <a:gd name="connsiteY3538" fmla="*/ 313849 h 514350"/>
                <a:gd name="connsiteX3539" fmla="*/ 5553551 w 6400800"/>
                <a:gd name="connsiteY3539" fmla="*/ 318611 h 514350"/>
                <a:gd name="connsiteX3540" fmla="*/ 5556409 w 6400800"/>
                <a:gd name="connsiteY3540" fmla="*/ 310039 h 514350"/>
                <a:gd name="connsiteX3541" fmla="*/ 5557362 w 6400800"/>
                <a:gd name="connsiteY3541" fmla="*/ 313849 h 514350"/>
                <a:gd name="connsiteX3542" fmla="*/ 5557362 w 6400800"/>
                <a:gd name="connsiteY3542" fmla="*/ 313849 h 514350"/>
                <a:gd name="connsiteX3543" fmla="*/ 5561171 w 6400800"/>
                <a:gd name="connsiteY3543" fmla="*/ 359569 h 514350"/>
                <a:gd name="connsiteX3544" fmla="*/ 5561171 w 6400800"/>
                <a:gd name="connsiteY3544" fmla="*/ 361474 h 514350"/>
                <a:gd name="connsiteX3545" fmla="*/ 5560219 w 6400800"/>
                <a:gd name="connsiteY3545" fmla="*/ 360521 h 514350"/>
                <a:gd name="connsiteX3546" fmla="*/ 5558314 w 6400800"/>
                <a:gd name="connsiteY3546" fmla="*/ 350996 h 514350"/>
                <a:gd name="connsiteX3547" fmla="*/ 5560219 w 6400800"/>
                <a:gd name="connsiteY3547" fmla="*/ 342424 h 514350"/>
                <a:gd name="connsiteX3548" fmla="*/ 5561171 w 6400800"/>
                <a:gd name="connsiteY3548" fmla="*/ 359569 h 514350"/>
                <a:gd name="connsiteX3549" fmla="*/ 5559267 w 6400800"/>
                <a:gd name="connsiteY3549" fmla="*/ 303371 h 514350"/>
                <a:gd name="connsiteX3550" fmla="*/ 5559267 w 6400800"/>
                <a:gd name="connsiteY3550" fmla="*/ 303371 h 514350"/>
                <a:gd name="connsiteX3551" fmla="*/ 5559267 w 6400800"/>
                <a:gd name="connsiteY3551" fmla="*/ 303371 h 514350"/>
                <a:gd name="connsiteX3552" fmla="*/ 5559267 w 6400800"/>
                <a:gd name="connsiteY3552" fmla="*/ 303371 h 514350"/>
                <a:gd name="connsiteX3553" fmla="*/ 5557362 w 6400800"/>
                <a:gd name="connsiteY3553" fmla="*/ 277654 h 514350"/>
                <a:gd name="connsiteX3554" fmla="*/ 5558314 w 6400800"/>
                <a:gd name="connsiteY3554" fmla="*/ 283369 h 514350"/>
                <a:gd name="connsiteX3555" fmla="*/ 5559267 w 6400800"/>
                <a:gd name="connsiteY3555" fmla="*/ 293846 h 514350"/>
                <a:gd name="connsiteX3556" fmla="*/ 5557362 w 6400800"/>
                <a:gd name="connsiteY3556" fmla="*/ 296704 h 514350"/>
                <a:gd name="connsiteX3557" fmla="*/ 5554504 w 6400800"/>
                <a:gd name="connsiteY3557" fmla="*/ 287179 h 514350"/>
                <a:gd name="connsiteX3558" fmla="*/ 5557362 w 6400800"/>
                <a:gd name="connsiteY3558" fmla="*/ 277654 h 514350"/>
                <a:gd name="connsiteX3559" fmla="*/ 5553551 w 6400800"/>
                <a:gd name="connsiteY3559" fmla="*/ 252889 h 514350"/>
                <a:gd name="connsiteX3560" fmla="*/ 5553551 w 6400800"/>
                <a:gd name="connsiteY3560" fmla="*/ 252889 h 514350"/>
                <a:gd name="connsiteX3561" fmla="*/ 5553551 w 6400800"/>
                <a:gd name="connsiteY3561" fmla="*/ 253841 h 514350"/>
                <a:gd name="connsiteX3562" fmla="*/ 5555456 w 6400800"/>
                <a:gd name="connsiteY3562" fmla="*/ 268129 h 514350"/>
                <a:gd name="connsiteX3563" fmla="*/ 5555456 w 6400800"/>
                <a:gd name="connsiteY3563" fmla="*/ 270986 h 514350"/>
                <a:gd name="connsiteX3564" fmla="*/ 5552599 w 6400800"/>
                <a:gd name="connsiteY3564" fmla="*/ 275749 h 514350"/>
                <a:gd name="connsiteX3565" fmla="*/ 5549742 w 6400800"/>
                <a:gd name="connsiteY3565" fmla="*/ 280511 h 514350"/>
                <a:gd name="connsiteX3566" fmla="*/ 5549742 w 6400800"/>
                <a:gd name="connsiteY3566" fmla="*/ 280511 h 514350"/>
                <a:gd name="connsiteX3567" fmla="*/ 5549742 w 6400800"/>
                <a:gd name="connsiteY3567" fmla="*/ 280511 h 514350"/>
                <a:gd name="connsiteX3568" fmla="*/ 5545931 w 6400800"/>
                <a:gd name="connsiteY3568" fmla="*/ 286226 h 514350"/>
                <a:gd name="connsiteX3569" fmla="*/ 5544979 w 6400800"/>
                <a:gd name="connsiteY3569" fmla="*/ 281464 h 514350"/>
                <a:gd name="connsiteX3570" fmla="*/ 5546884 w 6400800"/>
                <a:gd name="connsiteY3570" fmla="*/ 275749 h 514350"/>
                <a:gd name="connsiteX3571" fmla="*/ 5549742 w 6400800"/>
                <a:gd name="connsiteY3571" fmla="*/ 261461 h 514350"/>
                <a:gd name="connsiteX3572" fmla="*/ 5553551 w 6400800"/>
                <a:gd name="connsiteY3572" fmla="*/ 252889 h 514350"/>
                <a:gd name="connsiteX3573" fmla="*/ 5548789 w 6400800"/>
                <a:gd name="connsiteY3573" fmla="*/ 226219 h 514350"/>
                <a:gd name="connsiteX3574" fmla="*/ 5549742 w 6400800"/>
                <a:gd name="connsiteY3574" fmla="*/ 230029 h 514350"/>
                <a:gd name="connsiteX3575" fmla="*/ 5550694 w 6400800"/>
                <a:gd name="connsiteY3575" fmla="*/ 234791 h 514350"/>
                <a:gd name="connsiteX3576" fmla="*/ 5547837 w 6400800"/>
                <a:gd name="connsiteY3576" fmla="*/ 230029 h 514350"/>
                <a:gd name="connsiteX3577" fmla="*/ 5548789 w 6400800"/>
                <a:gd name="connsiteY3577" fmla="*/ 226219 h 514350"/>
                <a:gd name="connsiteX3578" fmla="*/ 5546884 w 6400800"/>
                <a:gd name="connsiteY3578" fmla="*/ 235744 h 514350"/>
                <a:gd name="connsiteX3579" fmla="*/ 5550694 w 6400800"/>
                <a:gd name="connsiteY3579" fmla="*/ 244316 h 514350"/>
                <a:gd name="connsiteX3580" fmla="*/ 5544979 w 6400800"/>
                <a:gd name="connsiteY3580" fmla="*/ 259556 h 514350"/>
                <a:gd name="connsiteX3581" fmla="*/ 5544026 w 6400800"/>
                <a:gd name="connsiteY3581" fmla="*/ 262414 h 514350"/>
                <a:gd name="connsiteX3582" fmla="*/ 5543074 w 6400800"/>
                <a:gd name="connsiteY3582" fmla="*/ 257651 h 514350"/>
                <a:gd name="connsiteX3583" fmla="*/ 5542121 w 6400800"/>
                <a:gd name="connsiteY3583" fmla="*/ 254794 h 514350"/>
                <a:gd name="connsiteX3584" fmla="*/ 5546884 w 6400800"/>
                <a:gd name="connsiteY3584" fmla="*/ 235744 h 514350"/>
                <a:gd name="connsiteX3585" fmla="*/ 5540217 w 6400800"/>
                <a:gd name="connsiteY3585" fmla="*/ 218599 h 514350"/>
                <a:gd name="connsiteX3586" fmla="*/ 5539264 w 6400800"/>
                <a:gd name="connsiteY3586" fmla="*/ 220504 h 514350"/>
                <a:gd name="connsiteX3587" fmla="*/ 5538312 w 6400800"/>
                <a:gd name="connsiteY3587" fmla="*/ 223361 h 514350"/>
                <a:gd name="connsiteX3588" fmla="*/ 5536406 w 6400800"/>
                <a:gd name="connsiteY3588" fmla="*/ 210026 h 514350"/>
                <a:gd name="connsiteX3589" fmla="*/ 5540217 w 6400800"/>
                <a:gd name="connsiteY3589" fmla="*/ 218599 h 514350"/>
                <a:gd name="connsiteX3590" fmla="*/ 5507831 w 6400800"/>
                <a:gd name="connsiteY3590" fmla="*/ 312896 h 514350"/>
                <a:gd name="connsiteX3591" fmla="*/ 5507831 w 6400800"/>
                <a:gd name="connsiteY3591" fmla="*/ 312896 h 514350"/>
                <a:gd name="connsiteX3592" fmla="*/ 5507831 w 6400800"/>
                <a:gd name="connsiteY3592" fmla="*/ 313849 h 514350"/>
                <a:gd name="connsiteX3593" fmla="*/ 5507831 w 6400800"/>
                <a:gd name="connsiteY3593" fmla="*/ 312896 h 514350"/>
                <a:gd name="connsiteX3594" fmla="*/ 5481162 w 6400800"/>
                <a:gd name="connsiteY3594" fmla="*/ 326231 h 514350"/>
                <a:gd name="connsiteX3595" fmla="*/ 5480209 w 6400800"/>
                <a:gd name="connsiteY3595" fmla="*/ 330994 h 514350"/>
                <a:gd name="connsiteX3596" fmla="*/ 5479256 w 6400800"/>
                <a:gd name="connsiteY3596" fmla="*/ 324326 h 514350"/>
                <a:gd name="connsiteX3597" fmla="*/ 5479256 w 6400800"/>
                <a:gd name="connsiteY3597" fmla="*/ 322421 h 514350"/>
                <a:gd name="connsiteX3598" fmla="*/ 5478304 w 6400800"/>
                <a:gd name="connsiteY3598" fmla="*/ 311944 h 514350"/>
                <a:gd name="connsiteX3599" fmla="*/ 5482114 w 6400800"/>
                <a:gd name="connsiteY3599" fmla="*/ 325279 h 514350"/>
                <a:gd name="connsiteX3600" fmla="*/ 5481162 w 6400800"/>
                <a:gd name="connsiteY3600" fmla="*/ 326231 h 514350"/>
                <a:gd name="connsiteX3601" fmla="*/ 5493544 w 6400800"/>
                <a:gd name="connsiteY3601" fmla="*/ 339566 h 514350"/>
                <a:gd name="connsiteX3602" fmla="*/ 5493544 w 6400800"/>
                <a:gd name="connsiteY3602" fmla="*/ 339566 h 514350"/>
                <a:gd name="connsiteX3603" fmla="*/ 5493544 w 6400800"/>
                <a:gd name="connsiteY3603" fmla="*/ 339566 h 514350"/>
                <a:gd name="connsiteX3604" fmla="*/ 5493544 w 6400800"/>
                <a:gd name="connsiteY3604" fmla="*/ 339566 h 514350"/>
                <a:gd name="connsiteX3605" fmla="*/ 5488781 w 6400800"/>
                <a:gd name="connsiteY3605" fmla="*/ 261461 h 514350"/>
                <a:gd name="connsiteX3606" fmla="*/ 5488781 w 6400800"/>
                <a:gd name="connsiteY3606" fmla="*/ 261461 h 514350"/>
                <a:gd name="connsiteX3607" fmla="*/ 5490687 w 6400800"/>
                <a:gd name="connsiteY3607" fmla="*/ 267176 h 514350"/>
                <a:gd name="connsiteX3608" fmla="*/ 5487829 w 6400800"/>
                <a:gd name="connsiteY3608" fmla="*/ 264319 h 514350"/>
                <a:gd name="connsiteX3609" fmla="*/ 5488781 w 6400800"/>
                <a:gd name="connsiteY3609" fmla="*/ 261461 h 514350"/>
                <a:gd name="connsiteX3610" fmla="*/ 5483067 w 6400800"/>
                <a:gd name="connsiteY3610" fmla="*/ 280511 h 514350"/>
                <a:gd name="connsiteX3611" fmla="*/ 5484971 w 6400800"/>
                <a:gd name="connsiteY3611" fmla="*/ 272891 h 514350"/>
                <a:gd name="connsiteX3612" fmla="*/ 5496401 w 6400800"/>
                <a:gd name="connsiteY3612" fmla="*/ 291941 h 514350"/>
                <a:gd name="connsiteX3613" fmla="*/ 5500212 w 6400800"/>
                <a:gd name="connsiteY3613" fmla="*/ 297656 h 514350"/>
                <a:gd name="connsiteX3614" fmla="*/ 5497354 w 6400800"/>
                <a:gd name="connsiteY3614" fmla="*/ 307181 h 514350"/>
                <a:gd name="connsiteX3615" fmla="*/ 5496401 w 6400800"/>
                <a:gd name="connsiteY3615" fmla="*/ 310991 h 514350"/>
                <a:gd name="connsiteX3616" fmla="*/ 5493544 w 6400800"/>
                <a:gd name="connsiteY3616" fmla="*/ 307181 h 514350"/>
                <a:gd name="connsiteX3617" fmla="*/ 5495449 w 6400800"/>
                <a:gd name="connsiteY3617" fmla="*/ 311944 h 514350"/>
                <a:gd name="connsiteX3618" fmla="*/ 5494496 w 6400800"/>
                <a:gd name="connsiteY3618" fmla="*/ 319564 h 514350"/>
                <a:gd name="connsiteX3619" fmla="*/ 5492592 w 6400800"/>
                <a:gd name="connsiteY3619" fmla="*/ 330041 h 514350"/>
                <a:gd name="connsiteX3620" fmla="*/ 5488781 w 6400800"/>
                <a:gd name="connsiteY3620" fmla="*/ 333851 h 514350"/>
                <a:gd name="connsiteX3621" fmla="*/ 5485924 w 6400800"/>
                <a:gd name="connsiteY3621" fmla="*/ 327184 h 514350"/>
                <a:gd name="connsiteX3622" fmla="*/ 5487829 w 6400800"/>
                <a:gd name="connsiteY3622" fmla="*/ 312896 h 514350"/>
                <a:gd name="connsiteX3623" fmla="*/ 5489734 w 6400800"/>
                <a:gd name="connsiteY3623" fmla="*/ 299561 h 514350"/>
                <a:gd name="connsiteX3624" fmla="*/ 5484019 w 6400800"/>
                <a:gd name="connsiteY3624" fmla="*/ 311944 h 514350"/>
                <a:gd name="connsiteX3625" fmla="*/ 5483067 w 6400800"/>
                <a:gd name="connsiteY3625" fmla="*/ 313849 h 514350"/>
                <a:gd name="connsiteX3626" fmla="*/ 5483067 w 6400800"/>
                <a:gd name="connsiteY3626" fmla="*/ 312896 h 514350"/>
                <a:gd name="connsiteX3627" fmla="*/ 5478304 w 6400800"/>
                <a:gd name="connsiteY3627" fmla="*/ 292894 h 514350"/>
                <a:gd name="connsiteX3628" fmla="*/ 5479256 w 6400800"/>
                <a:gd name="connsiteY3628" fmla="*/ 309086 h 514350"/>
                <a:gd name="connsiteX3629" fmla="*/ 5479256 w 6400800"/>
                <a:gd name="connsiteY3629" fmla="*/ 308134 h 514350"/>
                <a:gd name="connsiteX3630" fmla="*/ 5476399 w 6400800"/>
                <a:gd name="connsiteY3630" fmla="*/ 300514 h 514350"/>
                <a:gd name="connsiteX3631" fmla="*/ 5483067 w 6400800"/>
                <a:gd name="connsiteY3631" fmla="*/ 280511 h 514350"/>
                <a:gd name="connsiteX3632" fmla="*/ 5472589 w 6400800"/>
                <a:gd name="connsiteY3632" fmla="*/ 254794 h 514350"/>
                <a:gd name="connsiteX3633" fmla="*/ 5475446 w 6400800"/>
                <a:gd name="connsiteY3633" fmla="*/ 258604 h 514350"/>
                <a:gd name="connsiteX3634" fmla="*/ 5471637 w 6400800"/>
                <a:gd name="connsiteY3634" fmla="*/ 268129 h 514350"/>
                <a:gd name="connsiteX3635" fmla="*/ 5468779 w 6400800"/>
                <a:gd name="connsiteY3635" fmla="*/ 249079 h 514350"/>
                <a:gd name="connsiteX3636" fmla="*/ 5472589 w 6400800"/>
                <a:gd name="connsiteY3636" fmla="*/ 254794 h 514350"/>
                <a:gd name="connsiteX3637" fmla="*/ 5452587 w 6400800"/>
                <a:gd name="connsiteY3637" fmla="*/ 208121 h 514350"/>
                <a:gd name="connsiteX3638" fmla="*/ 5452587 w 6400800"/>
                <a:gd name="connsiteY3638" fmla="*/ 210026 h 514350"/>
                <a:gd name="connsiteX3639" fmla="*/ 5454492 w 6400800"/>
                <a:gd name="connsiteY3639" fmla="*/ 225266 h 514350"/>
                <a:gd name="connsiteX3640" fmla="*/ 5454492 w 6400800"/>
                <a:gd name="connsiteY3640" fmla="*/ 228124 h 514350"/>
                <a:gd name="connsiteX3641" fmla="*/ 5450681 w 6400800"/>
                <a:gd name="connsiteY3641" fmla="*/ 225266 h 514350"/>
                <a:gd name="connsiteX3642" fmla="*/ 5452587 w 6400800"/>
                <a:gd name="connsiteY3642" fmla="*/ 208121 h 514350"/>
                <a:gd name="connsiteX3643" fmla="*/ 5449729 w 6400800"/>
                <a:gd name="connsiteY3643" fmla="*/ 250031 h 514350"/>
                <a:gd name="connsiteX3644" fmla="*/ 5451634 w 6400800"/>
                <a:gd name="connsiteY3644" fmla="*/ 228124 h 514350"/>
                <a:gd name="connsiteX3645" fmla="*/ 5453539 w 6400800"/>
                <a:gd name="connsiteY3645" fmla="*/ 230029 h 514350"/>
                <a:gd name="connsiteX3646" fmla="*/ 5455444 w 6400800"/>
                <a:gd name="connsiteY3646" fmla="*/ 232886 h 514350"/>
                <a:gd name="connsiteX3647" fmla="*/ 5456396 w 6400800"/>
                <a:gd name="connsiteY3647" fmla="*/ 243364 h 514350"/>
                <a:gd name="connsiteX3648" fmla="*/ 5459254 w 6400800"/>
                <a:gd name="connsiteY3648" fmla="*/ 282416 h 514350"/>
                <a:gd name="connsiteX3649" fmla="*/ 5460206 w 6400800"/>
                <a:gd name="connsiteY3649" fmla="*/ 299561 h 514350"/>
                <a:gd name="connsiteX3650" fmla="*/ 5455444 w 6400800"/>
                <a:gd name="connsiteY3650" fmla="*/ 313849 h 514350"/>
                <a:gd name="connsiteX3651" fmla="*/ 5447824 w 6400800"/>
                <a:gd name="connsiteY3651" fmla="*/ 280511 h 514350"/>
                <a:gd name="connsiteX3652" fmla="*/ 5446871 w 6400800"/>
                <a:gd name="connsiteY3652" fmla="*/ 276701 h 514350"/>
                <a:gd name="connsiteX3653" fmla="*/ 5449729 w 6400800"/>
                <a:gd name="connsiteY3653" fmla="*/ 250031 h 514350"/>
                <a:gd name="connsiteX3654" fmla="*/ 5443062 w 6400800"/>
                <a:gd name="connsiteY3654" fmla="*/ 327184 h 514350"/>
                <a:gd name="connsiteX3655" fmla="*/ 5445919 w 6400800"/>
                <a:gd name="connsiteY3655" fmla="*/ 343376 h 514350"/>
                <a:gd name="connsiteX3656" fmla="*/ 5443062 w 6400800"/>
                <a:gd name="connsiteY3656" fmla="*/ 334804 h 514350"/>
                <a:gd name="connsiteX3657" fmla="*/ 5443062 w 6400800"/>
                <a:gd name="connsiteY3657" fmla="*/ 327184 h 514350"/>
                <a:gd name="connsiteX3658" fmla="*/ 5417344 w 6400800"/>
                <a:gd name="connsiteY3658" fmla="*/ 318611 h 514350"/>
                <a:gd name="connsiteX3659" fmla="*/ 5419249 w 6400800"/>
                <a:gd name="connsiteY3659" fmla="*/ 312896 h 514350"/>
                <a:gd name="connsiteX3660" fmla="*/ 5421154 w 6400800"/>
                <a:gd name="connsiteY3660" fmla="*/ 320516 h 514350"/>
                <a:gd name="connsiteX3661" fmla="*/ 5421154 w 6400800"/>
                <a:gd name="connsiteY3661" fmla="*/ 321469 h 514350"/>
                <a:gd name="connsiteX3662" fmla="*/ 5421154 w 6400800"/>
                <a:gd name="connsiteY3662" fmla="*/ 320516 h 514350"/>
                <a:gd name="connsiteX3663" fmla="*/ 5421154 w 6400800"/>
                <a:gd name="connsiteY3663" fmla="*/ 322421 h 514350"/>
                <a:gd name="connsiteX3664" fmla="*/ 5418296 w 6400800"/>
                <a:gd name="connsiteY3664" fmla="*/ 331946 h 514350"/>
                <a:gd name="connsiteX3665" fmla="*/ 5417344 w 6400800"/>
                <a:gd name="connsiteY3665" fmla="*/ 329089 h 514350"/>
                <a:gd name="connsiteX3666" fmla="*/ 5417344 w 6400800"/>
                <a:gd name="connsiteY3666" fmla="*/ 318611 h 514350"/>
                <a:gd name="connsiteX3667" fmla="*/ 5416392 w 6400800"/>
                <a:gd name="connsiteY3667" fmla="*/ 334804 h 514350"/>
                <a:gd name="connsiteX3668" fmla="*/ 5417344 w 6400800"/>
                <a:gd name="connsiteY3668" fmla="*/ 335756 h 514350"/>
                <a:gd name="connsiteX3669" fmla="*/ 5416392 w 6400800"/>
                <a:gd name="connsiteY3669" fmla="*/ 337661 h 514350"/>
                <a:gd name="connsiteX3670" fmla="*/ 5416392 w 6400800"/>
                <a:gd name="connsiteY3670" fmla="*/ 334804 h 514350"/>
                <a:gd name="connsiteX3671" fmla="*/ 5405914 w 6400800"/>
                <a:gd name="connsiteY3671" fmla="*/ 325279 h 514350"/>
                <a:gd name="connsiteX3672" fmla="*/ 5407819 w 6400800"/>
                <a:gd name="connsiteY3672" fmla="*/ 271939 h 514350"/>
                <a:gd name="connsiteX3673" fmla="*/ 5407819 w 6400800"/>
                <a:gd name="connsiteY3673" fmla="*/ 267176 h 514350"/>
                <a:gd name="connsiteX3674" fmla="*/ 5414487 w 6400800"/>
                <a:gd name="connsiteY3674" fmla="*/ 292894 h 514350"/>
                <a:gd name="connsiteX3675" fmla="*/ 5414487 w 6400800"/>
                <a:gd name="connsiteY3675" fmla="*/ 293846 h 514350"/>
                <a:gd name="connsiteX3676" fmla="*/ 5411629 w 6400800"/>
                <a:gd name="connsiteY3676" fmla="*/ 303371 h 514350"/>
                <a:gd name="connsiteX3677" fmla="*/ 5404962 w 6400800"/>
                <a:gd name="connsiteY3677" fmla="*/ 331946 h 514350"/>
                <a:gd name="connsiteX3678" fmla="*/ 5404962 w 6400800"/>
                <a:gd name="connsiteY3678" fmla="*/ 332899 h 514350"/>
                <a:gd name="connsiteX3679" fmla="*/ 5405914 w 6400800"/>
                <a:gd name="connsiteY3679" fmla="*/ 325279 h 514350"/>
                <a:gd name="connsiteX3680" fmla="*/ 5384006 w 6400800"/>
                <a:gd name="connsiteY3680" fmla="*/ 310991 h 514350"/>
                <a:gd name="connsiteX3681" fmla="*/ 5386864 w 6400800"/>
                <a:gd name="connsiteY3681" fmla="*/ 334804 h 514350"/>
                <a:gd name="connsiteX3682" fmla="*/ 5384959 w 6400800"/>
                <a:gd name="connsiteY3682" fmla="*/ 341471 h 514350"/>
                <a:gd name="connsiteX3683" fmla="*/ 5382101 w 6400800"/>
                <a:gd name="connsiteY3683" fmla="*/ 325279 h 514350"/>
                <a:gd name="connsiteX3684" fmla="*/ 5378292 w 6400800"/>
                <a:gd name="connsiteY3684" fmla="*/ 305276 h 514350"/>
                <a:gd name="connsiteX3685" fmla="*/ 5381149 w 6400800"/>
                <a:gd name="connsiteY3685" fmla="*/ 294799 h 514350"/>
                <a:gd name="connsiteX3686" fmla="*/ 5384006 w 6400800"/>
                <a:gd name="connsiteY3686" fmla="*/ 310991 h 514350"/>
                <a:gd name="connsiteX3687" fmla="*/ 5379244 w 6400800"/>
                <a:gd name="connsiteY3687" fmla="*/ 274796 h 514350"/>
                <a:gd name="connsiteX3688" fmla="*/ 5379244 w 6400800"/>
                <a:gd name="connsiteY3688" fmla="*/ 271939 h 514350"/>
                <a:gd name="connsiteX3689" fmla="*/ 5381149 w 6400800"/>
                <a:gd name="connsiteY3689" fmla="*/ 284321 h 514350"/>
                <a:gd name="connsiteX3690" fmla="*/ 5380196 w 6400800"/>
                <a:gd name="connsiteY3690" fmla="*/ 285274 h 514350"/>
                <a:gd name="connsiteX3691" fmla="*/ 5378292 w 6400800"/>
                <a:gd name="connsiteY3691" fmla="*/ 290036 h 514350"/>
                <a:gd name="connsiteX3692" fmla="*/ 5379244 w 6400800"/>
                <a:gd name="connsiteY3692" fmla="*/ 274796 h 514350"/>
                <a:gd name="connsiteX3693" fmla="*/ 5332571 w 6400800"/>
                <a:gd name="connsiteY3693" fmla="*/ 321469 h 514350"/>
                <a:gd name="connsiteX3694" fmla="*/ 5338287 w 6400800"/>
                <a:gd name="connsiteY3694" fmla="*/ 309086 h 514350"/>
                <a:gd name="connsiteX3695" fmla="*/ 5338287 w 6400800"/>
                <a:gd name="connsiteY3695" fmla="*/ 310039 h 514350"/>
                <a:gd name="connsiteX3696" fmla="*/ 5326856 w 6400800"/>
                <a:gd name="connsiteY3696" fmla="*/ 351949 h 514350"/>
                <a:gd name="connsiteX3697" fmla="*/ 5323999 w 6400800"/>
                <a:gd name="connsiteY3697" fmla="*/ 336709 h 514350"/>
                <a:gd name="connsiteX3698" fmla="*/ 5332571 w 6400800"/>
                <a:gd name="connsiteY3698" fmla="*/ 321469 h 514350"/>
                <a:gd name="connsiteX3699" fmla="*/ 5319237 w 6400800"/>
                <a:gd name="connsiteY3699" fmla="*/ 350996 h 514350"/>
                <a:gd name="connsiteX3700" fmla="*/ 5323046 w 6400800"/>
                <a:gd name="connsiteY3700" fmla="*/ 342424 h 514350"/>
                <a:gd name="connsiteX3701" fmla="*/ 5322094 w 6400800"/>
                <a:gd name="connsiteY3701" fmla="*/ 371951 h 514350"/>
                <a:gd name="connsiteX3702" fmla="*/ 5319237 w 6400800"/>
                <a:gd name="connsiteY3702" fmla="*/ 362426 h 514350"/>
                <a:gd name="connsiteX3703" fmla="*/ 5319237 w 6400800"/>
                <a:gd name="connsiteY3703" fmla="*/ 350996 h 514350"/>
                <a:gd name="connsiteX3704" fmla="*/ 5316379 w 6400800"/>
                <a:gd name="connsiteY3704" fmla="*/ 392906 h 514350"/>
                <a:gd name="connsiteX3705" fmla="*/ 5317331 w 6400800"/>
                <a:gd name="connsiteY3705" fmla="*/ 382429 h 514350"/>
                <a:gd name="connsiteX3706" fmla="*/ 5318284 w 6400800"/>
                <a:gd name="connsiteY3706" fmla="*/ 390049 h 514350"/>
                <a:gd name="connsiteX3707" fmla="*/ 5315426 w 6400800"/>
                <a:gd name="connsiteY3707" fmla="*/ 399574 h 514350"/>
                <a:gd name="connsiteX3708" fmla="*/ 5316379 w 6400800"/>
                <a:gd name="connsiteY3708" fmla="*/ 392906 h 514350"/>
                <a:gd name="connsiteX3709" fmla="*/ 5285899 w 6400800"/>
                <a:gd name="connsiteY3709" fmla="*/ 293846 h 514350"/>
                <a:gd name="connsiteX3710" fmla="*/ 5286851 w 6400800"/>
                <a:gd name="connsiteY3710" fmla="*/ 298609 h 514350"/>
                <a:gd name="connsiteX3711" fmla="*/ 5283994 w 6400800"/>
                <a:gd name="connsiteY3711" fmla="*/ 302419 h 514350"/>
                <a:gd name="connsiteX3712" fmla="*/ 5285899 w 6400800"/>
                <a:gd name="connsiteY3712" fmla="*/ 293846 h 514350"/>
                <a:gd name="connsiteX3713" fmla="*/ 5279231 w 6400800"/>
                <a:gd name="connsiteY3713" fmla="*/ 319564 h 514350"/>
                <a:gd name="connsiteX3714" fmla="*/ 5282089 w 6400800"/>
                <a:gd name="connsiteY3714" fmla="*/ 311944 h 514350"/>
                <a:gd name="connsiteX3715" fmla="*/ 5287804 w 6400800"/>
                <a:gd name="connsiteY3715" fmla="*/ 302419 h 514350"/>
                <a:gd name="connsiteX3716" fmla="*/ 5288756 w 6400800"/>
                <a:gd name="connsiteY3716" fmla="*/ 309086 h 514350"/>
                <a:gd name="connsiteX3717" fmla="*/ 5292567 w 6400800"/>
                <a:gd name="connsiteY3717" fmla="*/ 340519 h 514350"/>
                <a:gd name="connsiteX3718" fmla="*/ 5287804 w 6400800"/>
                <a:gd name="connsiteY3718" fmla="*/ 363379 h 514350"/>
                <a:gd name="connsiteX3719" fmla="*/ 5287804 w 6400800"/>
                <a:gd name="connsiteY3719" fmla="*/ 351949 h 514350"/>
                <a:gd name="connsiteX3720" fmla="*/ 5287804 w 6400800"/>
                <a:gd name="connsiteY3720" fmla="*/ 335756 h 514350"/>
                <a:gd name="connsiteX3721" fmla="*/ 5283994 w 6400800"/>
                <a:gd name="connsiteY3721" fmla="*/ 350996 h 514350"/>
                <a:gd name="connsiteX3722" fmla="*/ 5280184 w 6400800"/>
                <a:gd name="connsiteY3722" fmla="*/ 369094 h 514350"/>
                <a:gd name="connsiteX3723" fmla="*/ 5280184 w 6400800"/>
                <a:gd name="connsiteY3723" fmla="*/ 370046 h 514350"/>
                <a:gd name="connsiteX3724" fmla="*/ 5277326 w 6400800"/>
                <a:gd name="connsiteY3724" fmla="*/ 350044 h 514350"/>
                <a:gd name="connsiteX3725" fmla="*/ 5275421 w 6400800"/>
                <a:gd name="connsiteY3725" fmla="*/ 335756 h 514350"/>
                <a:gd name="connsiteX3726" fmla="*/ 5279231 w 6400800"/>
                <a:gd name="connsiteY3726" fmla="*/ 319564 h 514350"/>
                <a:gd name="connsiteX3727" fmla="*/ 5236369 w 6400800"/>
                <a:gd name="connsiteY3727" fmla="*/ 318611 h 514350"/>
                <a:gd name="connsiteX3728" fmla="*/ 5235417 w 6400800"/>
                <a:gd name="connsiteY3728" fmla="*/ 320516 h 514350"/>
                <a:gd name="connsiteX3729" fmla="*/ 5230654 w 6400800"/>
                <a:gd name="connsiteY3729" fmla="*/ 311944 h 514350"/>
                <a:gd name="connsiteX3730" fmla="*/ 5230654 w 6400800"/>
                <a:gd name="connsiteY3730" fmla="*/ 310991 h 514350"/>
                <a:gd name="connsiteX3731" fmla="*/ 5239226 w 6400800"/>
                <a:gd name="connsiteY3731" fmla="*/ 295751 h 514350"/>
                <a:gd name="connsiteX3732" fmla="*/ 5236369 w 6400800"/>
                <a:gd name="connsiteY3732" fmla="*/ 318611 h 514350"/>
                <a:gd name="connsiteX3733" fmla="*/ 5230654 w 6400800"/>
                <a:gd name="connsiteY3733" fmla="*/ 281464 h 514350"/>
                <a:gd name="connsiteX3734" fmla="*/ 5237321 w 6400800"/>
                <a:gd name="connsiteY3734" fmla="*/ 265271 h 514350"/>
                <a:gd name="connsiteX3735" fmla="*/ 5243989 w 6400800"/>
                <a:gd name="connsiteY3735" fmla="*/ 251936 h 514350"/>
                <a:gd name="connsiteX3736" fmla="*/ 5242084 w 6400800"/>
                <a:gd name="connsiteY3736" fmla="*/ 264319 h 514350"/>
                <a:gd name="connsiteX3737" fmla="*/ 5240179 w 6400800"/>
                <a:gd name="connsiteY3737" fmla="*/ 283369 h 514350"/>
                <a:gd name="connsiteX3738" fmla="*/ 5228749 w 6400800"/>
                <a:gd name="connsiteY3738" fmla="*/ 299561 h 514350"/>
                <a:gd name="connsiteX3739" fmla="*/ 5227796 w 6400800"/>
                <a:gd name="connsiteY3739" fmla="*/ 290036 h 514350"/>
                <a:gd name="connsiteX3740" fmla="*/ 5230654 w 6400800"/>
                <a:gd name="connsiteY3740" fmla="*/ 281464 h 514350"/>
                <a:gd name="connsiteX3741" fmla="*/ 5211604 w 6400800"/>
                <a:gd name="connsiteY3741" fmla="*/ 344329 h 514350"/>
                <a:gd name="connsiteX3742" fmla="*/ 5213509 w 6400800"/>
                <a:gd name="connsiteY3742" fmla="*/ 341471 h 514350"/>
                <a:gd name="connsiteX3743" fmla="*/ 5213509 w 6400800"/>
                <a:gd name="connsiteY3743" fmla="*/ 341471 h 514350"/>
                <a:gd name="connsiteX3744" fmla="*/ 5213509 w 6400800"/>
                <a:gd name="connsiteY3744" fmla="*/ 342424 h 514350"/>
                <a:gd name="connsiteX3745" fmla="*/ 5211604 w 6400800"/>
                <a:gd name="connsiteY3745" fmla="*/ 344329 h 514350"/>
                <a:gd name="connsiteX3746" fmla="*/ 5211604 w 6400800"/>
                <a:gd name="connsiteY3746" fmla="*/ 344329 h 514350"/>
                <a:gd name="connsiteX3747" fmla="*/ 5214462 w 6400800"/>
                <a:gd name="connsiteY3747" fmla="*/ 343376 h 514350"/>
                <a:gd name="connsiteX3748" fmla="*/ 5216367 w 6400800"/>
                <a:gd name="connsiteY3748" fmla="*/ 348139 h 514350"/>
                <a:gd name="connsiteX3749" fmla="*/ 5213509 w 6400800"/>
                <a:gd name="connsiteY3749" fmla="*/ 352901 h 514350"/>
                <a:gd name="connsiteX3750" fmla="*/ 5212556 w 6400800"/>
                <a:gd name="connsiteY3750" fmla="*/ 350996 h 514350"/>
                <a:gd name="connsiteX3751" fmla="*/ 5212556 w 6400800"/>
                <a:gd name="connsiteY3751" fmla="*/ 349091 h 514350"/>
                <a:gd name="connsiteX3752" fmla="*/ 5214462 w 6400800"/>
                <a:gd name="connsiteY3752" fmla="*/ 343376 h 514350"/>
                <a:gd name="connsiteX3753" fmla="*/ 5214462 w 6400800"/>
                <a:gd name="connsiteY3753" fmla="*/ 343376 h 514350"/>
                <a:gd name="connsiteX3754" fmla="*/ 5211604 w 6400800"/>
                <a:gd name="connsiteY3754" fmla="*/ 290989 h 514350"/>
                <a:gd name="connsiteX3755" fmla="*/ 5211604 w 6400800"/>
                <a:gd name="connsiteY3755" fmla="*/ 290989 h 514350"/>
                <a:gd name="connsiteX3756" fmla="*/ 5213509 w 6400800"/>
                <a:gd name="connsiteY3756" fmla="*/ 296704 h 514350"/>
                <a:gd name="connsiteX3757" fmla="*/ 5210651 w 6400800"/>
                <a:gd name="connsiteY3757" fmla="*/ 302419 h 514350"/>
                <a:gd name="connsiteX3758" fmla="*/ 5211604 w 6400800"/>
                <a:gd name="connsiteY3758" fmla="*/ 290989 h 514350"/>
                <a:gd name="connsiteX3759" fmla="*/ 5189696 w 6400800"/>
                <a:gd name="connsiteY3759" fmla="*/ 260509 h 514350"/>
                <a:gd name="connsiteX3760" fmla="*/ 5189696 w 6400800"/>
                <a:gd name="connsiteY3760" fmla="*/ 264319 h 514350"/>
                <a:gd name="connsiteX3761" fmla="*/ 5186839 w 6400800"/>
                <a:gd name="connsiteY3761" fmla="*/ 258604 h 514350"/>
                <a:gd name="connsiteX3762" fmla="*/ 5187792 w 6400800"/>
                <a:gd name="connsiteY3762" fmla="*/ 257651 h 514350"/>
                <a:gd name="connsiteX3763" fmla="*/ 5189696 w 6400800"/>
                <a:gd name="connsiteY3763" fmla="*/ 253841 h 514350"/>
                <a:gd name="connsiteX3764" fmla="*/ 5189696 w 6400800"/>
                <a:gd name="connsiteY3764" fmla="*/ 260509 h 514350"/>
                <a:gd name="connsiteX3765" fmla="*/ 5178267 w 6400800"/>
                <a:gd name="connsiteY3765" fmla="*/ 230981 h 514350"/>
                <a:gd name="connsiteX3766" fmla="*/ 5186839 w 6400800"/>
                <a:gd name="connsiteY3766" fmla="*/ 213836 h 514350"/>
                <a:gd name="connsiteX3767" fmla="*/ 5188744 w 6400800"/>
                <a:gd name="connsiteY3767" fmla="*/ 210026 h 514350"/>
                <a:gd name="connsiteX3768" fmla="*/ 5188744 w 6400800"/>
                <a:gd name="connsiteY3768" fmla="*/ 219551 h 514350"/>
                <a:gd name="connsiteX3769" fmla="*/ 5188744 w 6400800"/>
                <a:gd name="connsiteY3769" fmla="*/ 254794 h 514350"/>
                <a:gd name="connsiteX3770" fmla="*/ 5185887 w 6400800"/>
                <a:gd name="connsiteY3770" fmla="*/ 258604 h 514350"/>
                <a:gd name="connsiteX3771" fmla="*/ 5185887 w 6400800"/>
                <a:gd name="connsiteY3771" fmla="*/ 258604 h 514350"/>
                <a:gd name="connsiteX3772" fmla="*/ 5178267 w 6400800"/>
                <a:gd name="connsiteY3772" fmla="*/ 243364 h 514350"/>
                <a:gd name="connsiteX3773" fmla="*/ 5175409 w 6400800"/>
                <a:gd name="connsiteY3773" fmla="*/ 238601 h 514350"/>
                <a:gd name="connsiteX3774" fmla="*/ 5178267 w 6400800"/>
                <a:gd name="connsiteY3774" fmla="*/ 230981 h 514350"/>
                <a:gd name="connsiteX3775" fmla="*/ 5168742 w 6400800"/>
                <a:gd name="connsiteY3775" fmla="*/ 238601 h 514350"/>
                <a:gd name="connsiteX3776" fmla="*/ 5168742 w 6400800"/>
                <a:gd name="connsiteY3776" fmla="*/ 238601 h 514350"/>
                <a:gd name="connsiteX3777" fmla="*/ 5168742 w 6400800"/>
                <a:gd name="connsiteY3777" fmla="*/ 238601 h 514350"/>
                <a:gd name="connsiteX3778" fmla="*/ 5168742 w 6400800"/>
                <a:gd name="connsiteY3778" fmla="*/ 238601 h 514350"/>
                <a:gd name="connsiteX3779" fmla="*/ 5166837 w 6400800"/>
                <a:gd name="connsiteY3779" fmla="*/ 280511 h 514350"/>
                <a:gd name="connsiteX3780" fmla="*/ 5167789 w 6400800"/>
                <a:gd name="connsiteY3780" fmla="*/ 259556 h 514350"/>
                <a:gd name="connsiteX3781" fmla="*/ 5167789 w 6400800"/>
                <a:gd name="connsiteY3781" fmla="*/ 259556 h 514350"/>
                <a:gd name="connsiteX3782" fmla="*/ 5171599 w 6400800"/>
                <a:gd name="connsiteY3782" fmla="*/ 248126 h 514350"/>
                <a:gd name="connsiteX3783" fmla="*/ 5177314 w 6400800"/>
                <a:gd name="connsiteY3783" fmla="*/ 263366 h 514350"/>
                <a:gd name="connsiteX3784" fmla="*/ 5179219 w 6400800"/>
                <a:gd name="connsiteY3784" fmla="*/ 267176 h 514350"/>
                <a:gd name="connsiteX3785" fmla="*/ 5176362 w 6400800"/>
                <a:gd name="connsiteY3785" fmla="*/ 271939 h 514350"/>
                <a:gd name="connsiteX3786" fmla="*/ 5166837 w 6400800"/>
                <a:gd name="connsiteY3786" fmla="*/ 287179 h 514350"/>
                <a:gd name="connsiteX3787" fmla="*/ 5166837 w 6400800"/>
                <a:gd name="connsiteY3787" fmla="*/ 280511 h 514350"/>
                <a:gd name="connsiteX3788" fmla="*/ 5166837 w 6400800"/>
                <a:gd name="connsiteY3788" fmla="*/ 307181 h 514350"/>
                <a:gd name="connsiteX3789" fmla="*/ 5170646 w 6400800"/>
                <a:gd name="connsiteY3789" fmla="*/ 296704 h 514350"/>
                <a:gd name="connsiteX3790" fmla="*/ 5171599 w 6400800"/>
                <a:gd name="connsiteY3790" fmla="*/ 293846 h 514350"/>
                <a:gd name="connsiteX3791" fmla="*/ 5176362 w 6400800"/>
                <a:gd name="connsiteY3791" fmla="*/ 289084 h 514350"/>
                <a:gd name="connsiteX3792" fmla="*/ 5181124 w 6400800"/>
                <a:gd name="connsiteY3792" fmla="*/ 284321 h 514350"/>
                <a:gd name="connsiteX3793" fmla="*/ 5175409 w 6400800"/>
                <a:gd name="connsiteY3793" fmla="*/ 288131 h 514350"/>
                <a:gd name="connsiteX3794" fmla="*/ 5172551 w 6400800"/>
                <a:gd name="connsiteY3794" fmla="*/ 290036 h 514350"/>
                <a:gd name="connsiteX3795" fmla="*/ 5179219 w 6400800"/>
                <a:gd name="connsiteY3795" fmla="*/ 272891 h 514350"/>
                <a:gd name="connsiteX3796" fmla="*/ 5180171 w 6400800"/>
                <a:gd name="connsiteY3796" fmla="*/ 270034 h 514350"/>
                <a:gd name="connsiteX3797" fmla="*/ 5184934 w 6400800"/>
                <a:gd name="connsiteY3797" fmla="*/ 280511 h 514350"/>
                <a:gd name="connsiteX3798" fmla="*/ 5190649 w 6400800"/>
                <a:gd name="connsiteY3798" fmla="*/ 292894 h 514350"/>
                <a:gd name="connsiteX3799" fmla="*/ 5190649 w 6400800"/>
                <a:gd name="connsiteY3799" fmla="*/ 298609 h 514350"/>
                <a:gd name="connsiteX3800" fmla="*/ 5192554 w 6400800"/>
                <a:gd name="connsiteY3800" fmla="*/ 330041 h 514350"/>
                <a:gd name="connsiteX3801" fmla="*/ 5192554 w 6400800"/>
                <a:gd name="connsiteY3801" fmla="*/ 335756 h 514350"/>
                <a:gd name="connsiteX3802" fmla="*/ 5192554 w 6400800"/>
                <a:gd name="connsiteY3802" fmla="*/ 336709 h 514350"/>
                <a:gd name="connsiteX3803" fmla="*/ 5191601 w 6400800"/>
                <a:gd name="connsiteY3803" fmla="*/ 338614 h 514350"/>
                <a:gd name="connsiteX3804" fmla="*/ 5187792 w 6400800"/>
                <a:gd name="connsiteY3804" fmla="*/ 348139 h 514350"/>
                <a:gd name="connsiteX3805" fmla="*/ 5183981 w 6400800"/>
                <a:gd name="connsiteY3805" fmla="*/ 309086 h 514350"/>
                <a:gd name="connsiteX3806" fmla="*/ 5177314 w 6400800"/>
                <a:gd name="connsiteY3806" fmla="*/ 348139 h 514350"/>
                <a:gd name="connsiteX3807" fmla="*/ 5176362 w 6400800"/>
                <a:gd name="connsiteY3807" fmla="*/ 354806 h 514350"/>
                <a:gd name="connsiteX3808" fmla="*/ 5174456 w 6400800"/>
                <a:gd name="connsiteY3808" fmla="*/ 349091 h 514350"/>
                <a:gd name="connsiteX3809" fmla="*/ 5171599 w 6400800"/>
                <a:gd name="connsiteY3809" fmla="*/ 341471 h 514350"/>
                <a:gd name="connsiteX3810" fmla="*/ 5173504 w 6400800"/>
                <a:gd name="connsiteY3810" fmla="*/ 328136 h 514350"/>
                <a:gd name="connsiteX3811" fmla="*/ 5169694 w 6400800"/>
                <a:gd name="connsiteY3811" fmla="*/ 338614 h 514350"/>
                <a:gd name="connsiteX3812" fmla="*/ 5167789 w 6400800"/>
                <a:gd name="connsiteY3812" fmla="*/ 334804 h 514350"/>
                <a:gd name="connsiteX3813" fmla="*/ 5165884 w 6400800"/>
                <a:gd name="connsiteY3813" fmla="*/ 312896 h 514350"/>
                <a:gd name="connsiteX3814" fmla="*/ 5166837 w 6400800"/>
                <a:gd name="connsiteY3814" fmla="*/ 307181 h 514350"/>
                <a:gd name="connsiteX3815" fmla="*/ 5161121 w 6400800"/>
                <a:gd name="connsiteY3815" fmla="*/ 218599 h 514350"/>
                <a:gd name="connsiteX3816" fmla="*/ 5164931 w 6400800"/>
                <a:gd name="connsiteY3816" fmla="*/ 229076 h 514350"/>
                <a:gd name="connsiteX3817" fmla="*/ 5161121 w 6400800"/>
                <a:gd name="connsiteY3817" fmla="*/ 248126 h 514350"/>
                <a:gd name="connsiteX3818" fmla="*/ 5157312 w 6400800"/>
                <a:gd name="connsiteY3818" fmla="*/ 206216 h 514350"/>
                <a:gd name="connsiteX3819" fmla="*/ 5161121 w 6400800"/>
                <a:gd name="connsiteY3819" fmla="*/ 218599 h 514350"/>
                <a:gd name="connsiteX3820" fmla="*/ 5148739 w 6400800"/>
                <a:gd name="connsiteY3820" fmla="*/ 256699 h 514350"/>
                <a:gd name="connsiteX3821" fmla="*/ 5149692 w 6400800"/>
                <a:gd name="connsiteY3821" fmla="*/ 255746 h 514350"/>
                <a:gd name="connsiteX3822" fmla="*/ 5149692 w 6400800"/>
                <a:gd name="connsiteY3822" fmla="*/ 283369 h 514350"/>
                <a:gd name="connsiteX3823" fmla="*/ 5149692 w 6400800"/>
                <a:gd name="connsiteY3823" fmla="*/ 284321 h 514350"/>
                <a:gd name="connsiteX3824" fmla="*/ 5143024 w 6400800"/>
                <a:gd name="connsiteY3824" fmla="*/ 263366 h 514350"/>
                <a:gd name="connsiteX3825" fmla="*/ 5148739 w 6400800"/>
                <a:gd name="connsiteY3825" fmla="*/ 256699 h 514350"/>
                <a:gd name="connsiteX3826" fmla="*/ 5087779 w 6400800"/>
                <a:gd name="connsiteY3826" fmla="*/ 317659 h 514350"/>
                <a:gd name="connsiteX3827" fmla="*/ 5087779 w 6400800"/>
                <a:gd name="connsiteY3827" fmla="*/ 315754 h 514350"/>
                <a:gd name="connsiteX3828" fmla="*/ 5087779 w 6400800"/>
                <a:gd name="connsiteY3828" fmla="*/ 317659 h 514350"/>
                <a:gd name="connsiteX3829" fmla="*/ 5087779 w 6400800"/>
                <a:gd name="connsiteY3829" fmla="*/ 317659 h 514350"/>
                <a:gd name="connsiteX3830" fmla="*/ 5122069 w 6400800"/>
                <a:gd name="connsiteY3830" fmla="*/ 298609 h 514350"/>
                <a:gd name="connsiteX3831" fmla="*/ 5128737 w 6400800"/>
                <a:gd name="connsiteY3831" fmla="*/ 287179 h 514350"/>
                <a:gd name="connsiteX3832" fmla="*/ 5124926 w 6400800"/>
                <a:gd name="connsiteY3832" fmla="*/ 327184 h 514350"/>
                <a:gd name="connsiteX3833" fmla="*/ 5121117 w 6400800"/>
                <a:gd name="connsiteY3833" fmla="*/ 318611 h 514350"/>
                <a:gd name="connsiteX3834" fmla="*/ 5117306 w 6400800"/>
                <a:gd name="connsiteY3834" fmla="*/ 308134 h 514350"/>
                <a:gd name="connsiteX3835" fmla="*/ 5122069 w 6400800"/>
                <a:gd name="connsiteY3835" fmla="*/ 298609 h 514350"/>
                <a:gd name="connsiteX3836" fmla="*/ 5110639 w 6400800"/>
                <a:gd name="connsiteY3836" fmla="*/ 321469 h 514350"/>
                <a:gd name="connsiteX3837" fmla="*/ 5110639 w 6400800"/>
                <a:gd name="connsiteY3837" fmla="*/ 321469 h 514350"/>
                <a:gd name="connsiteX3838" fmla="*/ 5118259 w 6400800"/>
                <a:gd name="connsiteY3838" fmla="*/ 344329 h 514350"/>
                <a:gd name="connsiteX3839" fmla="*/ 5116354 w 6400800"/>
                <a:gd name="connsiteY3839" fmla="*/ 347186 h 514350"/>
                <a:gd name="connsiteX3840" fmla="*/ 5114449 w 6400800"/>
                <a:gd name="connsiteY3840" fmla="*/ 349091 h 514350"/>
                <a:gd name="connsiteX3841" fmla="*/ 5110639 w 6400800"/>
                <a:gd name="connsiteY3841" fmla="*/ 335756 h 514350"/>
                <a:gd name="connsiteX3842" fmla="*/ 5107781 w 6400800"/>
                <a:gd name="connsiteY3842" fmla="*/ 327184 h 514350"/>
                <a:gd name="connsiteX3843" fmla="*/ 5110639 w 6400800"/>
                <a:gd name="connsiteY3843" fmla="*/ 321469 h 514350"/>
                <a:gd name="connsiteX3844" fmla="*/ 5105876 w 6400800"/>
                <a:gd name="connsiteY3844" fmla="*/ 308134 h 514350"/>
                <a:gd name="connsiteX3845" fmla="*/ 5103019 w 6400800"/>
                <a:gd name="connsiteY3845" fmla="*/ 311944 h 514350"/>
                <a:gd name="connsiteX3846" fmla="*/ 5101114 w 6400800"/>
                <a:gd name="connsiteY3846" fmla="*/ 306229 h 514350"/>
                <a:gd name="connsiteX3847" fmla="*/ 5101114 w 6400800"/>
                <a:gd name="connsiteY3847" fmla="*/ 304324 h 514350"/>
                <a:gd name="connsiteX3848" fmla="*/ 5101114 w 6400800"/>
                <a:gd name="connsiteY3848" fmla="*/ 305276 h 514350"/>
                <a:gd name="connsiteX3849" fmla="*/ 5096351 w 6400800"/>
                <a:gd name="connsiteY3849" fmla="*/ 288131 h 514350"/>
                <a:gd name="connsiteX3850" fmla="*/ 5097304 w 6400800"/>
                <a:gd name="connsiteY3850" fmla="*/ 281464 h 514350"/>
                <a:gd name="connsiteX3851" fmla="*/ 5105876 w 6400800"/>
                <a:gd name="connsiteY3851" fmla="*/ 308134 h 514350"/>
                <a:gd name="connsiteX3852" fmla="*/ 5097304 w 6400800"/>
                <a:gd name="connsiteY3852" fmla="*/ 282416 h 514350"/>
                <a:gd name="connsiteX3853" fmla="*/ 5095399 w 6400800"/>
                <a:gd name="connsiteY3853" fmla="*/ 286226 h 514350"/>
                <a:gd name="connsiteX3854" fmla="*/ 5093494 w 6400800"/>
                <a:gd name="connsiteY3854" fmla="*/ 279559 h 514350"/>
                <a:gd name="connsiteX3855" fmla="*/ 5087779 w 6400800"/>
                <a:gd name="connsiteY3855" fmla="*/ 258604 h 514350"/>
                <a:gd name="connsiteX3856" fmla="*/ 5089684 w 6400800"/>
                <a:gd name="connsiteY3856" fmla="*/ 257651 h 514350"/>
                <a:gd name="connsiteX3857" fmla="*/ 5097304 w 6400800"/>
                <a:gd name="connsiteY3857" fmla="*/ 282416 h 514350"/>
                <a:gd name="connsiteX3858" fmla="*/ 5080159 w 6400800"/>
                <a:gd name="connsiteY3858" fmla="*/ 224314 h 514350"/>
                <a:gd name="connsiteX3859" fmla="*/ 5089684 w 6400800"/>
                <a:gd name="connsiteY3859" fmla="*/ 254794 h 514350"/>
                <a:gd name="connsiteX3860" fmla="*/ 5087779 w 6400800"/>
                <a:gd name="connsiteY3860" fmla="*/ 254794 h 514350"/>
                <a:gd name="connsiteX3861" fmla="*/ 5081112 w 6400800"/>
                <a:gd name="connsiteY3861" fmla="*/ 228124 h 514350"/>
                <a:gd name="connsiteX3862" fmla="*/ 5080159 w 6400800"/>
                <a:gd name="connsiteY3862" fmla="*/ 224314 h 514350"/>
                <a:gd name="connsiteX3863" fmla="*/ 5080159 w 6400800"/>
                <a:gd name="connsiteY3863" fmla="*/ 224314 h 514350"/>
                <a:gd name="connsiteX3864" fmla="*/ 5076349 w 6400800"/>
                <a:gd name="connsiteY3864" fmla="*/ 272891 h 514350"/>
                <a:gd name="connsiteX3865" fmla="*/ 5076349 w 6400800"/>
                <a:gd name="connsiteY3865" fmla="*/ 268129 h 514350"/>
                <a:gd name="connsiteX3866" fmla="*/ 5079206 w 6400800"/>
                <a:gd name="connsiteY3866" fmla="*/ 283369 h 514350"/>
                <a:gd name="connsiteX3867" fmla="*/ 5083017 w 6400800"/>
                <a:gd name="connsiteY3867" fmla="*/ 301466 h 514350"/>
                <a:gd name="connsiteX3868" fmla="*/ 5083017 w 6400800"/>
                <a:gd name="connsiteY3868" fmla="*/ 304324 h 514350"/>
                <a:gd name="connsiteX3869" fmla="*/ 5082064 w 6400800"/>
                <a:gd name="connsiteY3869" fmla="*/ 311944 h 514350"/>
                <a:gd name="connsiteX3870" fmla="*/ 5073492 w 6400800"/>
                <a:gd name="connsiteY3870" fmla="*/ 292894 h 514350"/>
                <a:gd name="connsiteX3871" fmla="*/ 5076349 w 6400800"/>
                <a:gd name="connsiteY3871" fmla="*/ 272891 h 514350"/>
                <a:gd name="connsiteX3872" fmla="*/ 5066824 w 6400800"/>
                <a:gd name="connsiteY3872" fmla="*/ 377666 h 514350"/>
                <a:gd name="connsiteX3873" fmla="*/ 5066824 w 6400800"/>
                <a:gd name="connsiteY3873" fmla="*/ 380524 h 514350"/>
                <a:gd name="connsiteX3874" fmla="*/ 5066824 w 6400800"/>
                <a:gd name="connsiteY3874" fmla="*/ 383381 h 514350"/>
                <a:gd name="connsiteX3875" fmla="*/ 5065871 w 6400800"/>
                <a:gd name="connsiteY3875" fmla="*/ 384334 h 514350"/>
                <a:gd name="connsiteX3876" fmla="*/ 5064919 w 6400800"/>
                <a:gd name="connsiteY3876" fmla="*/ 381476 h 514350"/>
                <a:gd name="connsiteX3877" fmla="*/ 5066824 w 6400800"/>
                <a:gd name="connsiteY3877" fmla="*/ 377666 h 514350"/>
                <a:gd name="connsiteX3878" fmla="*/ 5057299 w 6400800"/>
                <a:gd name="connsiteY3878" fmla="*/ 303371 h 514350"/>
                <a:gd name="connsiteX3879" fmla="*/ 5051584 w 6400800"/>
                <a:gd name="connsiteY3879" fmla="*/ 294799 h 514350"/>
                <a:gd name="connsiteX3880" fmla="*/ 5052537 w 6400800"/>
                <a:gd name="connsiteY3880" fmla="*/ 290989 h 514350"/>
                <a:gd name="connsiteX3881" fmla="*/ 5055394 w 6400800"/>
                <a:gd name="connsiteY3881" fmla="*/ 287179 h 514350"/>
                <a:gd name="connsiteX3882" fmla="*/ 5057299 w 6400800"/>
                <a:gd name="connsiteY3882" fmla="*/ 303371 h 514350"/>
                <a:gd name="connsiteX3883" fmla="*/ 5050631 w 6400800"/>
                <a:gd name="connsiteY3883" fmla="*/ 252889 h 514350"/>
                <a:gd name="connsiteX3884" fmla="*/ 5052537 w 6400800"/>
                <a:gd name="connsiteY3884" fmla="*/ 258604 h 514350"/>
                <a:gd name="connsiteX3885" fmla="*/ 5053489 w 6400800"/>
                <a:gd name="connsiteY3885" fmla="*/ 260509 h 514350"/>
                <a:gd name="connsiteX3886" fmla="*/ 5054442 w 6400800"/>
                <a:gd name="connsiteY3886" fmla="*/ 268129 h 514350"/>
                <a:gd name="connsiteX3887" fmla="*/ 5052537 w 6400800"/>
                <a:gd name="connsiteY3887" fmla="*/ 273844 h 514350"/>
                <a:gd name="connsiteX3888" fmla="*/ 5051584 w 6400800"/>
                <a:gd name="connsiteY3888" fmla="*/ 276701 h 514350"/>
                <a:gd name="connsiteX3889" fmla="*/ 5048726 w 6400800"/>
                <a:gd name="connsiteY3889" fmla="*/ 279559 h 514350"/>
                <a:gd name="connsiteX3890" fmla="*/ 5048726 w 6400800"/>
                <a:gd name="connsiteY3890" fmla="*/ 278606 h 514350"/>
                <a:gd name="connsiteX3891" fmla="*/ 5048726 w 6400800"/>
                <a:gd name="connsiteY3891" fmla="*/ 274796 h 514350"/>
                <a:gd name="connsiteX3892" fmla="*/ 5049679 w 6400800"/>
                <a:gd name="connsiteY3892" fmla="*/ 268129 h 514350"/>
                <a:gd name="connsiteX3893" fmla="*/ 5050631 w 6400800"/>
                <a:gd name="connsiteY3893" fmla="*/ 262414 h 514350"/>
                <a:gd name="connsiteX3894" fmla="*/ 5048726 w 6400800"/>
                <a:gd name="connsiteY3894" fmla="*/ 268129 h 514350"/>
                <a:gd name="connsiteX3895" fmla="*/ 5048726 w 6400800"/>
                <a:gd name="connsiteY3895" fmla="*/ 269081 h 514350"/>
                <a:gd name="connsiteX3896" fmla="*/ 5048726 w 6400800"/>
                <a:gd name="connsiteY3896" fmla="*/ 266224 h 514350"/>
                <a:gd name="connsiteX3897" fmla="*/ 5050631 w 6400800"/>
                <a:gd name="connsiteY3897" fmla="*/ 252889 h 514350"/>
                <a:gd name="connsiteX3898" fmla="*/ 5020151 w 6400800"/>
                <a:gd name="connsiteY3898" fmla="*/ 390049 h 514350"/>
                <a:gd name="connsiteX3899" fmla="*/ 5014437 w 6400800"/>
                <a:gd name="connsiteY3899" fmla="*/ 376714 h 514350"/>
                <a:gd name="connsiteX3900" fmla="*/ 5014437 w 6400800"/>
                <a:gd name="connsiteY3900" fmla="*/ 375761 h 514350"/>
                <a:gd name="connsiteX3901" fmla="*/ 5022056 w 6400800"/>
                <a:gd name="connsiteY3901" fmla="*/ 347186 h 514350"/>
                <a:gd name="connsiteX3902" fmla="*/ 5022056 w 6400800"/>
                <a:gd name="connsiteY3902" fmla="*/ 348139 h 514350"/>
                <a:gd name="connsiteX3903" fmla="*/ 5022056 w 6400800"/>
                <a:gd name="connsiteY3903" fmla="*/ 363379 h 514350"/>
                <a:gd name="connsiteX3904" fmla="*/ 5023009 w 6400800"/>
                <a:gd name="connsiteY3904" fmla="*/ 379571 h 514350"/>
                <a:gd name="connsiteX3905" fmla="*/ 5023962 w 6400800"/>
                <a:gd name="connsiteY3905" fmla="*/ 386239 h 514350"/>
                <a:gd name="connsiteX3906" fmla="*/ 5020151 w 6400800"/>
                <a:gd name="connsiteY3906" fmla="*/ 390049 h 514350"/>
                <a:gd name="connsiteX3907" fmla="*/ 5024914 w 6400800"/>
                <a:gd name="connsiteY3907" fmla="*/ 400526 h 514350"/>
                <a:gd name="connsiteX3908" fmla="*/ 5024914 w 6400800"/>
                <a:gd name="connsiteY3908" fmla="*/ 400526 h 514350"/>
                <a:gd name="connsiteX3909" fmla="*/ 5024914 w 6400800"/>
                <a:gd name="connsiteY3909" fmla="*/ 400526 h 514350"/>
                <a:gd name="connsiteX3910" fmla="*/ 5024914 w 6400800"/>
                <a:gd name="connsiteY3910" fmla="*/ 400526 h 514350"/>
                <a:gd name="connsiteX3911" fmla="*/ 5035392 w 6400800"/>
                <a:gd name="connsiteY3911" fmla="*/ 314801 h 514350"/>
                <a:gd name="connsiteX3912" fmla="*/ 5035392 w 6400800"/>
                <a:gd name="connsiteY3912" fmla="*/ 317659 h 514350"/>
                <a:gd name="connsiteX3913" fmla="*/ 5031581 w 6400800"/>
                <a:gd name="connsiteY3913" fmla="*/ 353854 h 514350"/>
                <a:gd name="connsiteX3914" fmla="*/ 5031581 w 6400800"/>
                <a:gd name="connsiteY3914" fmla="*/ 353854 h 514350"/>
                <a:gd name="connsiteX3915" fmla="*/ 5031581 w 6400800"/>
                <a:gd name="connsiteY3915" fmla="*/ 354806 h 514350"/>
                <a:gd name="connsiteX3916" fmla="*/ 5030629 w 6400800"/>
                <a:gd name="connsiteY3916" fmla="*/ 347186 h 514350"/>
                <a:gd name="connsiteX3917" fmla="*/ 5027771 w 6400800"/>
                <a:gd name="connsiteY3917" fmla="*/ 329089 h 514350"/>
                <a:gd name="connsiteX3918" fmla="*/ 5028724 w 6400800"/>
                <a:gd name="connsiteY3918" fmla="*/ 325279 h 514350"/>
                <a:gd name="connsiteX3919" fmla="*/ 5032534 w 6400800"/>
                <a:gd name="connsiteY3919" fmla="*/ 319564 h 514350"/>
                <a:gd name="connsiteX3920" fmla="*/ 5035392 w 6400800"/>
                <a:gd name="connsiteY3920" fmla="*/ 314801 h 514350"/>
                <a:gd name="connsiteX3921" fmla="*/ 5006817 w 6400800"/>
                <a:gd name="connsiteY3921" fmla="*/ 242411 h 514350"/>
                <a:gd name="connsiteX3922" fmla="*/ 5019199 w 6400800"/>
                <a:gd name="connsiteY3922" fmla="*/ 259556 h 514350"/>
                <a:gd name="connsiteX3923" fmla="*/ 5025867 w 6400800"/>
                <a:gd name="connsiteY3923" fmla="*/ 270034 h 514350"/>
                <a:gd name="connsiteX3924" fmla="*/ 5021104 w 6400800"/>
                <a:gd name="connsiteY3924" fmla="*/ 263366 h 514350"/>
                <a:gd name="connsiteX3925" fmla="*/ 5014437 w 6400800"/>
                <a:gd name="connsiteY3925" fmla="*/ 255746 h 514350"/>
                <a:gd name="connsiteX3926" fmla="*/ 5004912 w 6400800"/>
                <a:gd name="connsiteY3926" fmla="*/ 245269 h 514350"/>
                <a:gd name="connsiteX3927" fmla="*/ 5006817 w 6400800"/>
                <a:gd name="connsiteY3927" fmla="*/ 242411 h 514350"/>
                <a:gd name="connsiteX3928" fmla="*/ 5004912 w 6400800"/>
                <a:gd name="connsiteY3928" fmla="*/ 242411 h 514350"/>
                <a:gd name="connsiteX3929" fmla="*/ 5004912 w 6400800"/>
                <a:gd name="connsiteY3929" fmla="*/ 238601 h 514350"/>
                <a:gd name="connsiteX3930" fmla="*/ 5006817 w 6400800"/>
                <a:gd name="connsiteY3930" fmla="*/ 241459 h 514350"/>
                <a:gd name="connsiteX3931" fmla="*/ 5004912 w 6400800"/>
                <a:gd name="connsiteY3931" fmla="*/ 244316 h 514350"/>
                <a:gd name="connsiteX3932" fmla="*/ 5004912 w 6400800"/>
                <a:gd name="connsiteY3932" fmla="*/ 243364 h 514350"/>
                <a:gd name="connsiteX3933" fmla="*/ 5004912 w 6400800"/>
                <a:gd name="connsiteY3933" fmla="*/ 242411 h 514350"/>
                <a:gd name="connsiteX3934" fmla="*/ 4999196 w 6400800"/>
                <a:gd name="connsiteY3934" fmla="*/ 303371 h 514350"/>
                <a:gd name="connsiteX3935" fmla="*/ 5003006 w 6400800"/>
                <a:gd name="connsiteY3935" fmla="*/ 252889 h 514350"/>
                <a:gd name="connsiteX3936" fmla="*/ 5008721 w 6400800"/>
                <a:gd name="connsiteY3936" fmla="*/ 260509 h 514350"/>
                <a:gd name="connsiteX3937" fmla="*/ 5014437 w 6400800"/>
                <a:gd name="connsiteY3937" fmla="*/ 268129 h 514350"/>
                <a:gd name="connsiteX3938" fmla="*/ 5020151 w 6400800"/>
                <a:gd name="connsiteY3938" fmla="*/ 276701 h 514350"/>
                <a:gd name="connsiteX3939" fmla="*/ 5029676 w 6400800"/>
                <a:gd name="connsiteY3939" fmla="*/ 292894 h 514350"/>
                <a:gd name="connsiteX3940" fmla="*/ 5029676 w 6400800"/>
                <a:gd name="connsiteY3940" fmla="*/ 293846 h 514350"/>
                <a:gd name="connsiteX3941" fmla="*/ 5025867 w 6400800"/>
                <a:gd name="connsiteY3941" fmla="*/ 302419 h 514350"/>
                <a:gd name="connsiteX3942" fmla="*/ 5023009 w 6400800"/>
                <a:gd name="connsiteY3942" fmla="*/ 305276 h 514350"/>
                <a:gd name="connsiteX3943" fmla="*/ 5022056 w 6400800"/>
                <a:gd name="connsiteY3943" fmla="*/ 301466 h 514350"/>
                <a:gd name="connsiteX3944" fmla="*/ 5022056 w 6400800"/>
                <a:gd name="connsiteY3944" fmla="*/ 306229 h 514350"/>
                <a:gd name="connsiteX3945" fmla="*/ 5019199 w 6400800"/>
                <a:gd name="connsiteY3945" fmla="*/ 309086 h 514350"/>
                <a:gd name="connsiteX3946" fmla="*/ 5012531 w 6400800"/>
                <a:gd name="connsiteY3946" fmla="*/ 318611 h 514350"/>
                <a:gd name="connsiteX3947" fmla="*/ 5013484 w 6400800"/>
                <a:gd name="connsiteY3947" fmla="*/ 311944 h 514350"/>
                <a:gd name="connsiteX3948" fmla="*/ 5017294 w 6400800"/>
                <a:gd name="connsiteY3948" fmla="*/ 294799 h 514350"/>
                <a:gd name="connsiteX3949" fmla="*/ 5020151 w 6400800"/>
                <a:gd name="connsiteY3949" fmla="*/ 279559 h 514350"/>
                <a:gd name="connsiteX3950" fmla="*/ 5013484 w 6400800"/>
                <a:gd name="connsiteY3950" fmla="*/ 293846 h 514350"/>
                <a:gd name="connsiteX3951" fmla="*/ 5006817 w 6400800"/>
                <a:gd name="connsiteY3951" fmla="*/ 310039 h 514350"/>
                <a:gd name="connsiteX3952" fmla="*/ 4999196 w 6400800"/>
                <a:gd name="connsiteY3952" fmla="*/ 331946 h 514350"/>
                <a:gd name="connsiteX3953" fmla="*/ 4999196 w 6400800"/>
                <a:gd name="connsiteY3953" fmla="*/ 332899 h 514350"/>
                <a:gd name="connsiteX3954" fmla="*/ 4997292 w 6400800"/>
                <a:gd name="connsiteY3954" fmla="*/ 327184 h 514350"/>
                <a:gd name="connsiteX3955" fmla="*/ 4999196 w 6400800"/>
                <a:gd name="connsiteY3955" fmla="*/ 303371 h 514350"/>
                <a:gd name="connsiteX3956" fmla="*/ 4968717 w 6400800"/>
                <a:gd name="connsiteY3956" fmla="*/ 208121 h 514350"/>
                <a:gd name="connsiteX3957" fmla="*/ 4967764 w 6400800"/>
                <a:gd name="connsiteY3957" fmla="*/ 212884 h 514350"/>
                <a:gd name="connsiteX3958" fmla="*/ 4966812 w 6400800"/>
                <a:gd name="connsiteY3958" fmla="*/ 217646 h 514350"/>
                <a:gd name="connsiteX3959" fmla="*/ 4966812 w 6400800"/>
                <a:gd name="connsiteY3959" fmla="*/ 215741 h 514350"/>
                <a:gd name="connsiteX3960" fmla="*/ 4968717 w 6400800"/>
                <a:gd name="connsiteY3960" fmla="*/ 208121 h 514350"/>
                <a:gd name="connsiteX3961" fmla="*/ 4960144 w 6400800"/>
                <a:gd name="connsiteY3961" fmla="*/ 364331 h 514350"/>
                <a:gd name="connsiteX3962" fmla="*/ 4961096 w 6400800"/>
                <a:gd name="connsiteY3962" fmla="*/ 381476 h 514350"/>
                <a:gd name="connsiteX3963" fmla="*/ 4958239 w 6400800"/>
                <a:gd name="connsiteY3963" fmla="*/ 391001 h 514350"/>
                <a:gd name="connsiteX3964" fmla="*/ 4957287 w 6400800"/>
                <a:gd name="connsiteY3964" fmla="*/ 386239 h 514350"/>
                <a:gd name="connsiteX3965" fmla="*/ 4957287 w 6400800"/>
                <a:gd name="connsiteY3965" fmla="*/ 380524 h 514350"/>
                <a:gd name="connsiteX3966" fmla="*/ 4956334 w 6400800"/>
                <a:gd name="connsiteY3966" fmla="*/ 356711 h 514350"/>
                <a:gd name="connsiteX3967" fmla="*/ 4956334 w 6400800"/>
                <a:gd name="connsiteY3967" fmla="*/ 351949 h 514350"/>
                <a:gd name="connsiteX3968" fmla="*/ 4958239 w 6400800"/>
                <a:gd name="connsiteY3968" fmla="*/ 348139 h 514350"/>
                <a:gd name="connsiteX3969" fmla="*/ 4960144 w 6400800"/>
                <a:gd name="connsiteY3969" fmla="*/ 364331 h 514350"/>
                <a:gd name="connsiteX3970" fmla="*/ 4957287 w 6400800"/>
                <a:gd name="connsiteY3970" fmla="*/ 256699 h 514350"/>
                <a:gd name="connsiteX3971" fmla="*/ 4957287 w 6400800"/>
                <a:gd name="connsiteY3971" fmla="*/ 258604 h 514350"/>
                <a:gd name="connsiteX3972" fmla="*/ 4957287 w 6400800"/>
                <a:gd name="connsiteY3972" fmla="*/ 259556 h 514350"/>
                <a:gd name="connsiteX3973" fmla="*/ 4955381 w 6400800"/>
                <a:gd name="connsiteY3973" fmla="*/ 267176 h 514350"/>
                <a:gd name="connsiteX3974" fmla="*/ 4954429 w 6400800"/>
                <a:gd name="connsiteY3974" fmla="*/ 265271 h 514350"/>
                <a:gd name="connsiteX3975" fmla="*/ 4957287 w 6400800"/>
                <a:gd name="connsiteY3975" fmla="*/ 256699 h 514350"/>
                <a:gd name="connsiteX3976" fmla="*/ 4954429 w 6400800"/>
                <a:gd name="connsiteY3976" fmla="*/ 268129 h 514350"/>
                <a:gd name="connsiteX3977" fmla="*/ 4955381 w 6400800"/>
                <a:gd name="connsiteY3977" fmla="*/ 270986 h 514350"/>
                <a:gd name="connsiteX3978" fmla="*/ 4951571 w 6400800"/>
                <a:gd name="connsiteY3978" fmla="*/ 290036 h 514350"/>
                <a:gd name="connsiteX3979" fmla="*/ 4944904 w 6400800"/>
                <a:gd name="connsiteY3979" fmla="*/ 316706 h 514350"/>
                <a:gd name="connsiteX3980" fmla="*/ 4943951 w 6400800"/>
                <a:gd name="connsiteY3980" fmla="*/ 310991 h 514350"/>
                <a:gd name="connsiteX3981" fmla="*/ 4943951 w 6400800"/>
                <a:gd name="connsiteY3981" fmla="*/ 320516 h 514350"/>
                <a:gd name="connsiteX3982" fmla="*/ 4940142 w 6400800"/>
                <a:gd name="connsiteY3982" fmla="*/ 336709 h 514350"/>
                <a:gd name="connsiteX3983" fmla="*/ 4940142 w 6400800"/>
                <a:gd name="connsiteY3983" fmla="*/ 335756 h 514350"/>
                <a:gd name="connsiteX3984" fmla="*/ 4938237 w 6400800"/>
                <a:gd name="connsiteY3984" fmla="*/ 325279 h 514350"/>
                <a:gd name="connsiteX3985" fmla="*/ 4954429 w 6400800"/>
                <a:gd name="connsiteY3985" fmla="*/ 268129 h 514350"/>
                <a:gd name="connsiteX3986" fmla="*/ 4922044 w 6400800"/>
                <a:gd name="connsiteY3986" fmla="*/ 378619 h 514350"/>
                <a:gd name="connsiteX3987" fmla="*/ 4922044 w 6400800"/>
                <a:gd name="connsiteY3987" fmla="*/ 378619 h 514350"/>
                <a:gd name="connsiteX3988" fmla="*/ 4922044 w 6400800"/>
                <a:gd name="connsiteY3988" fmla="*/ 378619 h 514350"/>
                <a:gd name="connsiteX3989" fmla="*/ 4922044 w 6400800"/>
                <a:gd name="connsiteY3989" fmla="*/ 378619 h 514350"/>
                <a:gd name="connsiteX3990" fmla="*/ 4908709 w 6400800"/>
                <a:gd name="connsiteY3990" fmla="*/ 307181 h 514350"/>
                <a:gd name="connsiteX3991" fmla="*/ 4915376 w 6400800"/>
                <a:gd name="connsiteY3991" fmla="*/ 326231 h 514350"/>
                <a:gd name="connsiteX3992" fmla="*/ 4909662 w 6400800"/>
                <a:gd name="connsiteY3992" fmla="*/ 338614 h 514350"/>
                <a:gd name="connsiteX3993" fmla="*/ 4906804 w 6400800"/>
                <a:gd name="connsiteY3993" fmla="*/ 308134 h 514350"/>
                <a:gd name="connsiteX3994" fmla="*/ 4906804 w 6400800"/>
                <a:gd name="connsiteY3994" fmla="*/ 305276 h 514350"/>
                <a:gd name="connsiteX3995" fmla="*/ 4905851 w 6400800"/>
                <a:gd name="connsiteY3995" fmla="*/ 307181 h 514350"/>
                <a:gd name="connsiteX3996" fmla="*/ 4904899 w 6400800"/>
                <a:gd name="connsiteY3996" fmla="*/ 297656 h 514350"/>
                <a:gd name="connsiteX3997" fmla="*/ 4908709 w 6400800"/>
                <a:gd name="connsiteY3997" fmla="*/ 307181 h 514350"/>
                <a:gd name="connsiteX3998" fmla="*/ 4897279 w 6400800"/>
                <a:gd name="connsiteY3998" fmla="*/ 351949 h 514350"/>
                <a:gd name="connsiteX3999" fmla="*/ 4896326 w 6400800"/>
                <a:gd name="connsiteY3999" fmla="*/ 365284 h 514350"/>
                <a:gd name="connsiteX4000" fmla="*/ 4895374 w 6400800"/>
                <a:gd name="connsiteY4000" fmla="*/ 368141 h 514350"/>
                <a:gd name="connsiteX4001" fmla="*/ 4894421 w 6400800"/>
                <a:gd name="connsiteY4001" fmla="*/ 357664 h 514350"/>
                <a:gd name="connsiteX4002" fmla="*/ 4892517 w 6400800"/>
                <a:gd name="connsiteY4002" fmla="*/ 341471 h 514350"/>
                <a:gd name="connsiteX4003" fmla="*/ 4897279 w 6400800"/>
                <a:gd name="connsiteY4003" fmla="*/ 351949 h 514350"/>
                <a:gd name="connsiteX4004" fmla="*/ 4822984 w 6400800"/>
                <a:gd name="connsiteY4004" fmla="*/ 387191 h 514350"/>
                <a:gd name="connsiteX4005" fmla="*/ 4822984 w 6400800"/>
                <a:gd name="connsiteY4005" fmla="*/ 385286 h 514350"/>
                <a:gd name="connsiteX4006" fmla="*/ 4822984 w 6400800"/>
                <a:gd name="connsiteY4006" fmla="*/ 387191 h 514350"/>
                <a:gd name="connsiteX4007" fmla="*/ 4822984 w 6400800"/>
                <a:gd name="connsiteY4007" fmla="*/ 387191 h 514350"/>
                <a:gd name="connsiteX4008" fmla="*/ 4842987 w 6400800"/>
                <a:gd name="connsiteY4008" fmla="*/ 338614 h 514350"/>
                <a:gd name="connsiteX4009" fmla="*/ 4842987 w 6400800"/>
                <a:gd name="connsiteY4009" fmla="*/ 356711 h 514350"/>
                <a:gd name="connsiteX4010" fmla="*/ 4842987 w 6400800"/>
                <a:gd name="connsiteY4010" fmla="*/ 360521 h 514350"/>
                <a:gd name="connsiteX4011" fmla="*/ 4840129 w 6400800"/>
                <a:gd name="connsiteY4011" fmla="*/ 382429 h 514350"/>
                <a:gd name="connsiteX4012" fmla="*/ 4838224 w 6400800"/>
                <a:gd name="connsiteY4012" fmla="*/ 390049 h 514350"/>
                <a:gd name="connsiteX4013" fmla="*/ 4826794 w 6400800"/>
                <a:gd name="connsiteY4013" fmla="*/ 387191 h 514350"/>
                <a:gd name="connsiteX4014" fmla="*/ 4824889 w 6400800"/>
                <a:gd name="connsiteY4014" fmla="*/ 379571 h 514350"/>
                <a:gd name="connsiteX4015" fmla="*/ 4827747 w 6400800"/>
                <a:gd name="connsiteY4015" fmla="*/ 370999 h 514350"/>
                <a:gd name="connsiteX4016" fmla="*/ 4838224 w 6400800"/>
                <a:gd name="connsiteY4016" fmla="*/ 346234 h 514350"/>
                <a:gd name="connsiteX4017" fmla="*/ 4843939 w 6400800"/>
                <a:gd name="connsiteY4017" fmla="*/ 336709 h 514350"/>
                <a:gd name="connsiteX4018" fmla="*/ 4842987 w 6400800"/>
                <a:gd name="connsiteY4018" fmla="*/ 338614 h 514350"/>
                <a:gd name="connsiteX4019" fmla="*/ 4842987 w 6400800"/>
                <a:gd name="connsiteY4019" fmla="*/ 338614 h 514350"/>
                <a:gd name="connsiteX4020" fmla="*/ 4843939 w 6400800"/>
                <a:gd name="connsiteY4020" fmla="*/ 329089 h 514350"/>
                <a:gd name="connsiteX4021" fmla="*/ 4843939 w 6400800"/>
                <a:gd name="connsiteY4021" fmla="*/ 329089 h 514350"/>
                <a:gd name="connsiteX4022" fmla="*/ 4836319 w 6400800"/>
                <a:gd name="connsiteY4022" fmla="*/ 318611 h 514350"/>
                <a:gd name="connsiteX4023" fmla="*/ 4836319 w 6400800"/>
                <a:gd name="connsiteY4023" fmla="*/ 318611 h 514350"/>
                <a:gd name="connsiteX4024" fmla="*/ 4839176 w 6400800"/>
                <a:gd name="connsiteY4024" fmla="*/ 314801 h 514350"/>
                <a:gd name="connsiteX4025" fmla="*/ 4842987 w 6400800"/>
                <a:gd name="connsiteY4025" fmla="*/ 321469 h 514350"/>
                <a:gd name="connsiteX4026" fmla="*/ 4843939 w 6400800"/>
                <a:gd name="connsiteY4026" fmla="*/ 323374 h 514350"/>
                <a:gd name="connsiteX4027" fmla="*/ 4843939 w 6400800"/>
                <a:gd name="connsiteY4027" fmla="*/ 329089 h 514350"/>
                <a:gd name="connsiteX4028" fmla="*/ 4845844 w 6400800"/>
                <a:gd name="connsiteY4028" fmla="*/ 296704 h 514350"/>
                <a:gd name="connsiteX4029" fmla="*/ 4844891 w 6400800"/>
                <a:gd name="connsiteY4029" fmla="*/ 316706 h 514350"/>
                <a:gd name="connsiteX4030" fmla="*/ 4840129 w 6400800"/>
                <a:gd name="connsiteY4030" fmla="*/ 310039 h 514350"/>
                <a:gd name="connsiteX4031" fmla="*/ 4837272 w 6400800"/>
                <a:gd name="connsiteY4031" fmla="*/ 306229 h 514350"/>
                <a:gd name="connsiteX4032" fmla="*/ 4845844 w 6400800"/>
                <a:gd name="connsiteY4032" fmla="*/ 290989 h 514350"/>
                <a:gd name="connsiteX4033" fmla="*/ 4847749 w 6400800"/>
                <a:gd name="connsiteY4033" fmla="*/ 288131 h 514350"/>
                <a:gd name="connsiteX4034" fmla="*/ 4845844 w 6400800"/>
                <a:gd name="connsiteY4034" fmla="*/ 296704 h 514350"/>
                <a:gd name="connsiteX4035" fmla="*/ 4869656 w 6400800"/>
                <a:gd name="connsiteY4035" fmla="*/ 325279 h 514350"/>
                <a:gd name="connsiteX4036" fmla="*/ 4869656 w 6400800"/>
                <a:gd name="connsiteY4036" fmla="*/ 327184 h 514350"/>
                <a:gd name="connsiteX4037" fmla="*/ 4869656 w 6400800"/>
                <a:gd name="connsiteY4037" fmla="*/ 325279 h 514350"/>
                <a:gd name="connsiteX4038" fmla="*/ 4869656 w 6400800"/>
                <a:gd name="connsiteY4038" fmla="*/ 318611 h 514350"/>
                <a:gd name="connsiteX4039" fmla="*/ 4869656 w 6400800"/>
                <a:gd name="connsiteY4039" fmla="*/ 325279 h 514350"/>
                <a:gd name="connsiteX4040" fmla="*/ 4854416 w 6400800"/>
                <a:gd name="connsiteY4040" fmla="*/ 276701 h 514350"/>
                <a:gd name="connsiteX4041" fmla="*/ 4868704 w 6400800"/>
                <a:gd name="connsiteY4041" fmla="*/ 256699 h 514350"/>
                <a:gd name="connsiteX4042" fmla="*/ 4871562 w 6400800"/>
                <a:gd name="connsiteY4042" fmla="*/ 252889 h 514350"/>
                <a:gd name="connsiteX4043" fmla="*/ 4871562 w 6400800"/>
                <a:gd name="connsiteY4043" fmla="*/ 259556 h 514350"/>
                <a:gd name="connsiteX4044" fmla="*/ 4861084 w 6400800"/>
                <a:gd name="connsiteY4044" fmla="*/ 296704 h 514350"/>
                <a:gd name="connsiteX4045" fmla="*/ 4860131 w 6400800"/>
                <a:gd name="connsiteY4045" fmla="*/ 300514 h 514350"/>
                <a:gd name="connsiteX4046" fmla="*/ 4853464 w 6400800"/>
                <a:gd name="connsiteY4046" fmla="*/ 278606 h 514350"/>
                <a:gd name="connsiteX4047" fmla="*/ 4854416 w 6400800"/>
                <a:gd name="connsiteY4047" fmla="*/ 276701 h 514350"/>
                <a:gd name="connsiteX4048" fmla="*/ 4854416 w 6400800"/>
                <a:gd name="connsiteY4048" fmla="*/ 276701 h 514350"/>
                <a:gd name="connsiteX4049" fmla="*/ 4850606 w 6400800"/>
                <a:gd name="connsiteY4049" fmla="*/ 281464 h 514350"/>
                <a:gd name="connsiteX4050" fmla="*/ 4857274 w 6400800"/>
                <a:gd name="connsiteY4050" fmla="*/ 316706 h 514350"/>
                <a:gd name="connsiteX4051" fmla="*/ 4854416 w 6400800"/>
                <a:gd name="connsiteY4051" fmla="*/ 330041 h 514350"/>
                <a:gd name="connsiteX4052" fmla="*/ 4852512 w 6400800"/>
                <a:gd name="connsiteY4052" fmla="*/ 326231 h 514350"/>
                <a:gd name="connsiteX4053" fmla="*/ 4852512 w 6400800"/>
                <a:gd name="connsiteY4053" fmla="*/ 322421 h 514350"/>
                <a:gd name="connsiteX4054" fmla="*/ 4850606 w 6400800"/>
                <a:gd name="connsiteY4054" fmla="*/ 295751 h 514350"/>
                <a:gd name="connsiteX4055" fmla="*/ 4849654 w 6400800"/>
                <a:gd name="connsiteY4055" fmla="*/ 284321 h 514350"/>
                <a:gd name="connsiteX4056" fmla="*/ 4850606 w 6400800"/>
                <a:gd name="connsiteY4056" fmla="*/ 281464 h 514350"/>
                <a:gd name="connsiteX4057" fmla="*/ 4838224 w 6400800"/>
                <a:gd name="connsiteY4057" fmla="*/ 290036 h 514350"/>
                <a:gd name="connsiteX4058" fmla="*/ 4845844 w 6400800"/>
                <a:gd name="connsiteY4058" fmla="*/ 272891 h 514350"/>
                <a:gd name="connsiteX4059" fmla="*/ 4848701 w 6400800"/>
                <a:gd name="connsiteY4059" fmla="*/ 265271 h 514350"/>
                <a:gd name="connsiteX4060" fmla="*/ 4849654 w 6400800"/>
                <a:gd name="connsiteY4060" fmla="*/ 275749 h 514350"/>
                <a:gd name="connsiteX4061" fmla="*/ 4847749 w 6400800"/>
                <a:gd name="connsiteY4061" fmla="*/ 277654 h 514350"/>
                <a:gd name="connsiteX4062" fmla="*/ 4847749 w 6400800"/>
                <a:gd name="connsiteY4062" fmla="*/ 273844 h 514350"/>
                <a:gd name="connsiteX4063" fmla="*/ 4847749 w 6400800"/>
                <a:gd name="connsiteY4063" fmla="*/ 278606 h 514350"/>
                <a:gd name="connsiteX4064" fmla="*/ 4841081 w 6400800"/>
                <a:gd name="connsiteY4064" fmla="*/ 288131 h 514350"/>
                <a:gd name="connsiteX4065" fmla="*/ 4836319 w 6400800"/>
                <a:gd name="connsiteY4065" fmla="*/ 294799 h 514350"/>
                <a:gd name="connsiteX4066" fmla="*/ 4838224 w 6400800"/>
                <a:gd name="connsiteY4066" fmla="*/ 290036 h 514350"/>
                <a:gd name="connsiteX4067" fmla="*/ 4835366 w 6400800"/>
                <a:gd name="connsiteY4067" fmla="*/ 309086 h 514350"/>
                <a:gd name="connsiteX4068" fmla="*/ 4836319 w 6400800"/>
                <a:gd name="connsiteY4068" fmla="*/ 308134 h 514350"/>
                <a:gd name="connsiteX4069" fmla="*/ 4838224 w 6400800"/>
                <a:gd name="connsiteY4069" fmla="*/ 311944 h 514350"/>
                <a:gd name="connsiteX4070" fmla="*/ 4839176 w 6400800"/>
                <a:gd name="connsiteY4070" fmla="*/ 313849 h 514350"/>
                <a:gd name="connsiteX4071" fmla="*/ 4835366 w 6400800"/>
                <a:gd name="connsiteY4071" fmla="*/ 317659 h 514350"/>
                <a:gd name="connsiteX4072" fmla="*/ 4835366 w 6400800"/>
                <a:gd name="connsiteY4072" fmla="*/ 317659 h 514350"/>
                <a:gd name="connsiteX4073" fmla="*/ 4834414 w 6400800"/>
                <a:gd name="connsiteY4073" fmla="*/ 316706 h 514350"/>
                <a:gd name="connsiteX4074" fmla="*/ 4832509 w 6400800"/>
                <a:gd name="connsiteY4074" fmla="*/ 314801 h 514350"/>
                <a:gd name="connsiteX4075" fmla="*/ 4835366 w 6400800"/>
                <a:gd name="connsiteY4075" fmla="*/ 309086 h 514350"/>
                <a:gd name="connsiteX4076" fmla="*/ 4830604 w 6400800"/>
                <a:gd name="connsiteY4076" fmla="*/ 319564 h 514350"/>
                <a:gd name="connsiteX4077" fmla="*/ 4832509 w 6400800"/>
                <a:gd name="connsiteY4077" fmla="*/ 314801 h 514350"/>
                <a:gd name="connsiteX4078" fmla="*/ 4833462 w 6400800"/>
                <a:gd name="connsiteY4078" fmla="*/ 316706 h 514350"/>
                <a:gd name="connsiteX4079" fmla="*/ 4834414 w 6400800"/>
                <a:gd name="connsiteY4079" fmla="*/ 318611 h 514350"/>
                <a:gd name="connsiteX4080" fmla="*/ 4828699 w 6400800"/>
                <a:gd name="connsiteY4080" fmla="*/ 324326 h 514350"/>
                <a:gd name="connsiteX4081" fmla="*/ 4830604 w 6400800"/>
                <a:gd name="connsiteY4081" fmla="*/ 319564 h 514350"/>
                <a:gd name="connsiteX4082" fmla="*/ 4817269 w 6400800"/>
                <a:gd name="connsiteY4082" fmla="*/ 364331 h 514350"/>
                <a:gd name="connsiteX4083" fmla="*/ 4817269 w 6400800"/>
                <a:gd name="connsiteY4083" fmla="*/ 356711 h 514350"/>
                <a:gd name="connsiteX4084" fmla="*/ 4824889 w 6400800"/>
                <a:gd name="connsiteY4084" fmla="*/ 335756 h 514350"/>
                <a:gd name="connsiteX4085" fmla="*/ 4825841 w 6400800"/>
                <a:gd name="connsiteY4085" fmla="*/ 334804 h 514350"/>
                <a:gd name="connsiteX4086" fmla="*/ 4835366 w 6400800"/>
                <a:gd name="connsiteY4086" fmla="*/ 319564 h 514350"/>
                <a:gd name="connsiteX4087" fmla="*/ 4837272 w 6400800"/>
                <a:gd name="connsiteY4087" fmla="*/ 322421 h 514350"/>
                <a:gd name="connsiteX4088" fmla="*/ 4841081 w 6400800"/>
                <a:gd name="connsiteY4088" fmla="*/ 330994 h 514350"/>
                <a:gd name="connsiteX4089" fmla="*/ 4842987 w 6400800"/>
                <a:gd name="connsiteY4089" fmla="*/ 335756 h 514350"/>
                <a:gd name="connsiteX4090" fmla="*/ 4835366 w 6400800"/>
                <a:gd name="connsiteY4090" fmla="*/ 345281 h 514350"/>
                <a:gd name="connsiteX4091" fmla="*/ 4822984 w 6400800"/>
                <a:gd name="connsiteY4091" fmla="*/ 366236 h 514350"/>
                <a:gd name="connsiteX4092" fmla="*/ 4820126 w 6400800"/>
                <a:gd name="connsiteY4092" fmla="*/ 369094 h 514350"/>
                <a:gd name="connsiteX4093" fmla="*/ 4817269 w 6400800"/>
                <a:gd name="connsiteY4093" fmla="*/ 371951 h 514350"/>
                <a:gd name="connsiteX4094" fmla="*/ 4817269 w 6400800"/>
                <a:gd name="connsiteY4094" fmla="*/ 364331 h 514350"/>
                <a:gd name="connsiteX4095" fmla="*/ 4816316 w 6400800"/>
                <a:gd name="connsiteY4095" fmla="*/ 376714 h 514350"/>
                <a:gd name="connsiteX4096" fmla="*/ 4820126 w 6400800"/>
                <a:gd name="connsiteY4096" fmla="*/ 370046 h 514350"/>
                <a:gd name="connsiteX4097" fmla="*/ 4820126 w 6400800"/>
                <a:gd name="connsiteY4097" fmla="*/ 370046 h 514350"/>
                <a:gd name="connsiteX4098" fmla="*/ 4820126 w 6400800"/>
                <a:gd name="connsiteY4098" fmla="*/ 370046 h 514350"/>
                <a:gd name="connsiteX4099" fmla="*/ 4816316 w 6400800"/>
                <a:gd name="connsiteY4099" fmla="*/ 378619 h 514350"/>
                <a:gd name="connsiteX4100" fmla="*/ 4816316 w 6400800"/>
                <a:gd name="connsiteY4100" fmla="*/ 376714 h 514350"/>
                <a:gd name="connsiteX4101" fmla="*/ 4762024 w 6400800"/>
                <a:gd name="connsiteY4101" fmla="*/ 305276 h 514350"/>
                <a:gd name="connsiteX4102" fmla="*/ 4763929 w 6400800"/>
                <a:gd name="connsiteY4102" fmla="*/ 322421 h 514350"/>
                <a:gd name="connsiteX4103" fmla="*/ 4760119 w 6400800"/>
                <a:gd name="connsiteY4103" fmla="*/ 309086 h 514350"/>
                <a:gd name="connsiteX4104" fmla="*/ 4762024 w 6400800"/>
                <a:gd name="connsiteY4104" fmla="*/ 300514 h 514350"/>
                <a:gd name="connsiteX4105" fmla="*/ 4762024 w 6400800"/>
                <a:gd name="connsiteY4105" fmla="*/ 305276 h 514350"/>
                <a:gd name="connsiteX4106" fmla="*/ 4755356 w 6400800"/>
                <a:gd name="connsiteY4106" fmla="*/ 279559 h 514350"/>
                <a:gd name="connsiteX4107" fmla="*/ 4760119 w 6400800"/>
                <a:gd name="connsiteY4107" fmla="*/ 294799 h 514350"/>
                <a:gd name="connsiteX4108" fmla="*/ 4761072 w 6400800"/>
                <a:gd name="connsiteY4108" fmla="*/ 297656 h 514350"/>
                <a:gd name="connsiteX4109" fmla="*/ 4758214 w 6400800"/>
                <a:gd name="connsiteY4109" fmla="*/ 304324 h 514350"/>
                <a:gd name="connsiteX4110" fmla="*/ 4754404 w 6400800"/>
                <a:gd name="connsiteY4110" fmla="*/ 292894 h 514350"/>
                <a:gd name="connsiteX4111" fmla="*/ 4755356 w 6400800"/>
                <a:gd name="connsiteY4111" fmla="*/ 279559 h 514350"/>
                <a:gd name="connsiteX4112" fmla="*/ 4759166 w 6400800"/>
                <a:gd name="connsiteY4112" fmla="*/ 342424 h 514350"/>
                <a:gd name="connsiteX4113" fmla="*/ 4755356 w 6400800"/>
                <a:gd name="connsiteY4113" fmla="*/ 331946 h 514350"/>
                <a:gd name="connsiteX4114" fmla="*/ 4756309 w 6400800"/>
                <a:gd name="connsiteY4114" fmla="*/ 326231 h 514350"/>
                <a:gd name="connsiteX4115" fmla="*/ 4759166 w 6400800"/>
                <a:gd name="connsiteY4115" fmla="*/ 342424 h 514350"/>
                <a:gd name="connsiteX4116" fmla="*/ 4753451 w 6400800"/>
                <a:gd name="connsiteY4116" fmla="*/ 312896 h 514350"/>
                <a:gd name="connsiteX4117" fmla="*/ 4754404 w 6400800"/>
                <a:gd name="connsiteY4117" fmla="*/ 315754 h 514350"/>
                <a:gd name="connsiteX4118" fmla="*/ 4753451 w 6400800"/>
                <a:gd name="connsiteY4118" fmla="*/ 317659 h 514350"/>
                <a:gd name="connsiteX4119" fmla="*/ 4753451 w 6400800"/>
                <a:gd name="connsiteY4119" fmla="*/ 312896 h 514350"/>
                <a:gd name="connsiteX4120" fmla="*/ 4755356 w 6400800"/>
                <a:gd name="connsiteY4120" fmla="*/ 373856 h 514350"/>
                <a:gd name="connsiteX4121" fmla="*/ 4756309 w 6400800"/>
                <a:gd name="connsiteY4121" fmla="*/ 375761 h 514350"/>
                <a:gd name="connsiteX4122" fmla="*/ 4754404 w 6400800"/>
                <a:gd name="connsiteY4122" fmla="*/ 379571 h 514350"/>
                <a:gd name="connsiteX4123" fmla="*/ 4752499 w 6400800"/>
                <a:gd name="connsiteY4123" fmla="*/ 379571 h 514350"/>
                <a:gd name="connsiteX4124" fmla="*/ 4755356 w 6400800"/>
                <a:gd name="connsiteY4124" fmla="*/ 373856 h 514350"/>
                <a:gd name="connsiteX4125" fmla="*/ 4748689 w 6400800"/>
                <a:gd name="connsiteY4125" fmla="*/ 291941 h 514350"/>
                <a:gd name="connsiteX4126" fmla="*/ 4746784 w 6400800"/>
                <a:gd name="connsiteY4126" fmla="*/ 303371 h 514350"/>
                <a:gd name="connsiteX4127" fmla="*/ 4746784 w 6400800"/>
                <a:gd name="connsiteY4127" fmla="*/ 303371 h 514350"/>
                <a:gd name="connsiteX4128" fmla="*/ 4746784 w 6400800"/>
                <a:gd name="connsiteY4128" fmla="*/ 299561 h 514350"/>
                <a:gd name="connsiteX4129" fmla="*/ 4748689 w 6400800"/>
                <a:gd name="connsiteY4129" fmla="*/ 291941 h 514350"/>
                <a:gd name="connsiteX4130" fmla="*/ 4738212 w 6400800"/>
                <a:gd name="connsiteY4130" fmla="*/ 327184 h 514350"/>
                <a:gd name="connsiteX4131" fmla="*/ 4737259 w 6400800"/>
                <a:gd name="connsiteY4131" fmla="*/ 341471 h 514350"/>
                <a:gd name="connsiteX4132" fmla="*/ 4736306 w 6400800"/>
                <a:gd name="connsiteY4132" fmla="*/ 336709 h 514350"/>
                <a:gd name="connsiteX4133" fmla="*/ 4738212 w 6400800"/>
                <a:gd name="connsiteY4133" fmla="*/ 327184 h 514350"/>
                <a:gd name="connsiteX4134" fmla="*/ 4720114 w 6400800"/>
                <a:gd name="connsiteY4134" fmla="*/ 261461 h 514350"/>
                <a:gd name="connsiteX4135" fmla="*/ 4720114 w 6400800"/>
                <a:gd name="connsiteY4135" fmla="*/ 261461 h 514350"/>
                <a:gd name="connsiteX4136" fmla="*/ 4729639 w 6400800"/>
                <a:gd name="connsiteY4136" fmla="*/ 290989 h 514350"/>
                <a:gd name="connsiteX4137" fmla="*/ 4731544 w 6400800"/>
                <a:gd name="connsiteY4137" fmla="*/ 296704 h 514350"/>
                <a:gd name="connsiteX4138" fmla="*/ 4727734 w 6400800"/>
                <a:gd name="connsiteY4138" fmla="*/ 308134 h 514350"/>
                <a:gd name="connsiteX4139" fmla="*/ 4723924 w 6400800"/>
                <a:gd name="connsiteY4139" fmla="*/ 295751 h 514350"/>
                <a:gd name="connsiteX4140" fmla="*/ 4718209 w 6400800"/>
                <a:gd name="connsiteY4140" fmla="*/ 276701 h 514350"/>
                <a:gd name="connsiteX4141" fmla="*/ 4720114 w 6400800"/>
                <a:gd name="connsiteY4141" fmla="*/ 261461 h 514350"/>
                <a:gd name="connsiteX4142" fmla="*/ 4709637 w 6400800"/>
                <a:gd name="connsiteY4142" fmla="*/ 324326 h 514350"/>
                <a:gd name="connsiteX4143" fmla="*/ 4713447 w 6400800"/>
                <a:gd name="connsiteY4143" fmla="*/ 301466 h 514350"/>
                <a:gd name="connsiteX4144" fmla="*/ 4719162 w 6400800"/>
                <a:gd name="connsiteY4144" fmla="*/ 331946 h 514350"/>
                <a:gd name="connsiteX4145" fmla="*/ 4715351 w 6400800"/>
                <a:gd name="connsiteY4145" fmla="*/ 343376 h 514350"/>
                <a:gd name="connsiteX4146" fmla="*/ 4715351 w 6400800"/>
                <a:gd name="connsiteY4146" fmla="*/ 343376 h 514350"/>
                <a:gd name="connsiteX4147" fmla="*/ 4707731 w 6400800"/>
                <a:gd name="connsiteY4147" fmla="*/ 332899 h 514350"/>
                <a:gd name="connsiteX4148" fmla="*/ 4709637 w 6400800"/>
                <a:gd name="connsiteY4148" fmla="*/ 324326 h 514350"/>
                <a:gd name="connsiteX4149" fmla="*/ 4703922 w 6400800"/>
                <a:gd name="connsiteY4149" fmla="*/ 355759 h 514350"/>
                <a:gd name="connsiteX4150" fmla="*/ 4705826 w 6400800"/>
                <a:gd name="connsiteY4150" fmla="*/ 360521 h 514350"/>
                <a:gd name="connsiteX4151" fmla="*/ 4708684 w 6400800"/>
                <a:gd name="connsiteY4151" fmla="*/ 369094 h 514350"/>
                <a:gd name="connsiteX4152" fmla="*/ 4704874 w 6400800"/>
                <a:gd name="connsiteY4152" fmla="*/ 377666 h 514350"/>
                <a:gd name="connsiteX4153" fmla="*/ 4704874 w 6400800"/>
                <a:gd name="connsiteY4153" fmla="*/ 376714 h 514350"/>
                <a:gd name="connsiteX4154" fmla="*/ 4702016 w 6400800"/>
                <a:gd name="connsiteY4154" fmla="*/ 371951 h 514350"/>
                <a:gd name="connsiteX4155" fmla="*/ 4703922 w 6400800"/>
                <a:gd name="connsiteY4155" fmla="*/ 355759 h 514350"/>
                <a:gd name="connsiteX4156" fmla="*/ 4682966 w 6400800"/>
                <a:gd name="connsiteY4156" fmla="*/ 380524 h 514350"/>
                <a:gd name="connsiteX4157" fmla="*/ 4680109 w 6400800"/>
                <a:gd name="connsiteY4157" fmla="*/ 392906 h 514350"/>
                <a:gd name="connsiteX4158" fmla="*/ 4676299 w 6400800"/>
                <a:gd name="connsiteY4158" fmla="*/ 393859 h 514350"/>
                <a:gd name="connsiteX4159" fmla="*/ 4675347 w 6400800"/>
                <a:gd name="connsiteY4159" fmla="*/ 388144 h 514350"/>
                <a:gd name="connsiteX4160" fmla="*/ 4682966 w 6400800"/>
                <a:gd name="connsiteY4160" fmla="*/ 378619 h 514350"/>
                <a:gd name="connsiteX4161" fmla="*/ 4682966 w 6400800"/>
                <a:gd name="connsiteY4161" fmla="*/ 380524 h 514350"/>
                <a:gd name="connsiteX4162" fmla="*/ 4672489 w 6400800"/>
                <a:gd name="connsiteY4162" fmla="*/ 361474 h 514350"/>
                <a:gd name="connsiteX4163" fmla="*/ 4679156 w 6400800"/>
                <a:gd name="connsiteY4163" fmla="*/ 373856 h 514350"/>
                <a:gd name="connsiteX4164" fmla="*/ 4672489 w 6400800"/>
                <a:gd name="connsiteY4164" fmla="*/ 379571 h 514350"/>
                <a:gd name="connsiteX4165" fmla="*/ 4671537 w 6400800"/>
                <a:gd name="connsiteY4165" fmla="*/ 376714 h 514350"/>
                <a:gd name="connsiteX4166" fmla="*/ 4670584 w 6400800"/>
                <a:gd name="connsiteY4166" fmla="*/ 370999 h 514350"/>
                <a:gd name="connsiteX4167" fmla="*/ 4672489 w 6400800"/>
                <a:gd name="connsiteY4167" fmla="*/ 361474 h 514350"/>
                <a:gd name="connsiteX4168" fmla="*/ 4661059 w 6400800"/>
                <a:gd name="connsiteY4168" fmla="*/ 265271 h 514350"/>
                <a:gd name="connsiteX4169" fmla="*/ 4663916 w 6400800"/>
                <a:gd name="connsiteY4169" fmla="*/ 252889 h 514350"/>
                <a:gd name="connsiteX4170" fmla="*/ 4669631 w 6400800"/>
                <a:gd name="connsiteY4170" fmla="*/ 237649 h 514350"/>
                <a:gd name="connsiteX4171" fmla="*/ 4669631 w 6400800"/>
                <a:gd name="connsiteY4171" fmla="*/ 242411 h 514350"/>
                <a:gd name="connsiteX4172" fmla="*/ 4661059 w 6400800"/>
                <a:gd name="connsiteY4172" fmla="*/ 269081 h 514350"/>
                <a:gd name="connsiteX4173" fmla="*/ 4661059 w 6400800"/>
                <a:gd name="connsiteY4173" fmla="*/ 265271 h 514350"/>
                <a:gd name="connsiteX4174" fmla="*/ 4645819 w 6400800"/>
                <a:gd name="connsiteY4174" fmla="*/ 278606 h 514350"/>
                <a:gd name="connsiteX4175" fmla="*/ 4648676 w 6400800"/>
                <a:gd name="connsiteY4175" fmla="*/ 260509 h 514350"/>
                <a:gd name="connsiteX4176" fmla="*/ 4650581 w 6400800"/>
                <a:gd name="connsiteY4176" fmla="*/ 250984 h 514350"/>
                <a:gd name="connsiteX4177" fmla="*/ 4650581 w 6400800"/>
                <a:gd name="connsiteY4177" fmla="*/ 251936 h 514350"/>
                <a:gd name="connsiteX4178" fmla="*/ 4652487 w 6400800"/>
                <a:gd name="connsiteY4178" fmla="*/ 265271 h 514350"/>
                <a:gd name="connsiteX4179" fmla="*/ 4652487 w 6400800"/>
                <a:gd name="connsiteY4179" fmla="*/ 270034 h 514350"/>
                <a:gd name="connsiteX4180" fmla="*/ 4650581 w 6400800"/>
                <a:gd name="connsiteY4180" fmla="*/ 278606 h 514350"/>
                <a:gd name="connsiteX4181" fmla="*/ 4648676 w 6400800"/>
                <a:gd name="connsiteY4181" fmla="*/ 290989 h 514350"/>
                <a:gd name="connsiteX4182" fmla="*/ 4645819 w 6400800"/>
                <a:gd name="connsiteY4182" fmla="*/ 278606 h 514350"/>
                <a:gd name="connsiteX4183" fmla="*/ 4645819 w 6400800"/>
                <a:gd name="connsiteY4183" fmla="*/ 278606 h 514350"/>
                <a:gd name="connsiteX4184" fmla="*/ 4642962 w 6400800"/>
                <a:gd name="connsiteY4184" fmla="*/ 293846 h 514350"/>
                <a:gd name="connsiteX4185" fmla="*/ 4644866 w 6400800"/>
                <a:gd name="connsiteY4185" fmla="*/ 302419 h 514350"/>
                <a:gd name="connsiteX4186" fmla="*/ 4645819 w 6400800"/>
                <a:gd name="connsiteY4186" fmla="*/ 309086 h 514350"/>
                <a:gd name="connsiteX4187" fmla="*/ 4645819 w 6400800"/>
                <a:gd name="connsiteY4187" fmla="*/ 309086 h 514350"/>
                <a:gd name="connsiteX4188" fmla="*/ 4642962 w 6400800"/>
                <a:gd name="connsiteY4188" fmla="*/ 306229 h 514350"/>
                <a:gd name="connsiteX4189" fmla="*/ 4642009 w 6400800"/>
                <a:gd name="connsiteY4189" fmla="*/ 299561 h 514350"/>
                <a:gd name="connsiteX4190" fmla="*/ 4642962 w 6400800"/>
                <a:gd name="connsiteY4190" fmla="*/ 293846 h 514350"/>
                <a:gd name="connsiteX4191" fmla="*/ 4595337 w 6400800"/>
                <a:gd name="connsiteY4191" fmla="*/ 280511 h 514350"/>
                <a:gd name="connsiteX4192" fmla="*/ 4598194 w 6400800"/>
                <a:gd name="connsiteY4192" fmla="*/ 293846 h 514350"/>
                <a:gd name="connsiteX4193" fmla="*/ 4598194 w 6400800"/>
                <a:gd name="connsiteY4193" fmla="*/ 300514 h 514350"/>
                <a:gd name="connsiteX4194" fmla="*/ 4598194 w 6400800"/>
                <a:gd name="connsiteY4194" fmla="*/ 311944 h 514350"/>
                <a:gd name="connsiteX4195" fmla="*/ 4596289 w 6400800"/>
                <a:gd name="connsiteY4195" fmla="*/ 319564 h 514350"/>
                <a:gd name="connsiteX4196" fmla="*/ 4593431 w 6400800"/>
                <a:gd name="connsiteY4196" fmla="*/ 311944 h 514350"/>
                <a:gd name="connsiteX4197" fmla="*/ 4593431 w 6400800"/>
                <a:gd name="connsiteY4197" fmla="*/ 305276 h 514350"/>
                <a:gd name="connsiteX4198" fmla="*/ 4593431 w 6400800"/>
                <a:gd name="connsiteY4198" fmla="*/ 286226 h 514350"/>
                <a:gd name="connsiteX4199" fmla="*/ 4595337 w 6400800"/>
                <a:gd name="connsiteY4199" fmla="*/ 280511 h 514350"/>
                <a:gd name="connsiteX4200" fmla="*/ 4595337 w 6400800"/>
                <a:gd name="connsiteY4200" fmla="*/ 280511 h 514350"/>
                <a:gd name="connsiteX4201" fmla="*/ 4595337 w 6400800"/>
                <a:gd name="connsiteY4201" fmla="*/ 277654 h 514350"/>
                <a:gd name="connsiteX4202" fmla="*/ 4593431 w 6400800"/>
                <a:gd name="connsiteY4202" fmla="*/ 279559 h 514350"/>
                <a:gd name="connsiteX4203" fmla="*/ 4592479 w 6400800"/>
                <a:gd name="connsiteY4203" fmla="*/ 280511 h 514350"/>
                <a:gd name="connsiteX4204" fmla="*/ 4592479 w 6400800"/>
                <a:gd name="connsiteY4204" fmla="*/ 263366 h 514350"/>
                <a:gd name="connsiteX4205" fmla="*/ 4595337 w 6400800"/>
                <a:gd name="connsiteY4205" fmla="*/ 277654 h 514350"/>
                <a:gd name="connsiteX4206" fmla="*/ 4576287 w 6400800"/>
                <a:gd name="connsiteY4206" fmla="*/ 253841 h 514350"/>
                <a:gd name="connsiteX4207" fmla="*/ 4575334 w 6400800"/>
                <a:gd name="connsiteY4207" fmla="*/ 273844 h 514350"/>
                <a:gd name="connsiteX4208" fmla="*/ 4569619 w 6400800"/>
                <a:gd name="connsiteY4208" fmla="*/ 262414 h 514350"/>
                <a:gd name="connsiteX4209" fmla="*/ 4576287 w 6400800"/>
                <a:gd name="connsiteY4209" fmla="*/ 253841 h 514350"/>
                <a:gd name="connsiteX4210" fmla="*/ 4566762 w 6400800"/>
                <a:gd name="connsiteY4210" fmla="*/ 268129 h 514350"/>
                <a:gd name="connsiteX4211" fmla="*/ 4566762 w 6400800"/>
                <a:gd name="connsiteY4211" fmla="*/ 268129 h 514350"/>
                <a:gd name="connsiteX4212" fmla="*/ 4571524 w 6400800"/>
                <a:gd name="connsiteY4212" fmla="*/ 284321 h 514350"/>
                <a:gd name="connsiteX4213" fmla="*/ 4574381 w 6400800"/>
                <a:gd name="connsiteY4213" fmla="*/ 296704 h 514350"/>
                <a:gd name="connsiteX4214" fmla="*/ 4574381 w 6400800"/>
                <a:gd name="connsiteY4214" fmla="*/ 301466 h 514350"/>
                <a:gd name="connsiteX4215" fmla="*/ 4568666 w 6400800"/>
                <a:gd name="connsiteY4215" fmla="*/ 289084 h 514350"/>
                <a:gd name="connsiteX4216" fmla="*/ 4574381 w 6400800"/>
                <a:gd name="connsiteY4216" fmla="*/ 309086 h 514350"/>
                <a:gd name="connsiteX4217" fmla="*/ 4571524 w 6400800"/>
                <a:gd name="connsiteY4217" fmla="*/ 314801 h 514350"/>
                <a:gd name="connsiteX4218" fmla="*/ 4571524 w 6400800"/>
                <a:gd name="connsiteY4218" fmla="*/ 315754 h 514350"/>
                <a:gd name="connsiteX4219" fmla="*/ 4564856 w 6400800"/>
                <a:gd name="connsiteY4219" fmla="*/ 271939 h 514350"/>
                <a:gd name="connsiteX4220" fmla="*/ 4566762 w 6400800"/>
                <a:gd name="connsiteY4220" fmla="*/ 268129 h 514350"/>
                <a:gd name="connsiteX4221" fmla="*/ 4560094 w 6400800"/>
                <a:gd name="connsiteY4221" fmla="*/ 254794 h 514350"/>
                <a:gd name="connsiteX4222" fmla="*/ 4562951 w 6400800"/>
                <a:gd name="connsiteY4222" fmla="*/ 260509 h 514350"/>
                <a:gd name="connsiteX4223" fmla="*/ 4561047 w 6400800"/>
                <a:gd name="connsiteY4223" fmla="*/ 263366 h 514350"/>
                <a:gd name="connsiteX4224" fmla="*/ 4557237 w 6400800"/>
                <a:gd name="connsiteY4224" fmla="*/ 268129 h 514350"/>
                <a:gd name="connsiteX4225" fmla="*/ 4560094 w 6400800"/>
                <a:gd name="connsiteY4225" fmla="*/ 254794 h 514350"/>
                <a:gd name="connsiteX4226" fmla="*/ 4548664 w 6400800"/>
                <a:gd name="connsiteY4226" fmla="*/ 317659 h 514350"/>
                <a:gd name="connsiteX4227" fmla="*/ 4557237 w 6400800"/>
                <a:gd name="connsiteY4227" fmla="*/ 290036 h 514350"/>
                <a:gd name="connsiteX4228" fmla="*/ 4562951 w 6400800"/>
                <a:gd name="connsiteY4228" fmla="*/ 275749 h 514350"/>
                <a:gd name="connsiteX4229" fmla="*/ 4560094 w 6400800"/>
                <a:gd name="connsiteY4229" fmla="*/ 318611 h 514350"/>
                <a:gd name="connsiteX4230" fmla="*/ 4555331 w 6400800"/>
                <a:gd name="connsiteY4230" fmla="*/ 310991 h 514350"/>
                <a:gd name="connsiteX4231" fmla="*/ 4560094 w 6400800"/>
                <a:gd name="connsiteY4231" fmla="*/ 321469 h 514350"/>
                <a:gd name="connsiteX4232" fmla="*/ 4560094 w 6400800"/>
                <a:gd name="connsiteY4232" fmla="*/ 321469 h 514350"/>
                <a:gd name="connsiteX4233" fmla="*/ 4559141 w 6400800"/>
                <a:gd name="connsiteY4233" fmla="*/ 342424 h 514350"/>
                <a:gd name="connsiteX4234" fmla="*/ 4555331 w 6400800"/>
                <a:gd name="connsiteY4234" fmla="*/ 352901 h 514350"/>
                <a:gd name="connsiteX4235" fmla="*/ 4552474 w 6400800"/>
                <a:gd name="connsiteY4235" fmla="*/ 361474 h 514350"/>
                <a:gd name="connsiteX4236" fmla="*/ 4547712 w 6400800"/>
                <a:gd name="connsiteY4236" fmla="*/ 343376 h 514350"/>
                <a:gd name="connsiteX4237" fmla="*/ 4547712 w 6400800"/>
                <a:gd name="connsiteY4237" fmla="*/ 328136 h 514350"/>
                <a:gd name="connsiteX4238" fmla="*/ 4545806 w 6400800"/>
                <a:gd name="connsiteY4238" fmla="*/ 338614 h 514350"/>
                <a:gd name="connsiteX4239" fmla="*/ 4545806 w 6400800"/>
                <a:gd name="connsiteY4239" fmla="*/ 337661 h 514350"/>
                <a:gd name="connsiteX4240" fmla="*/ 4544854 w 6400800"/>
                <a:gd name="connsiteY4240" fmla="*/ 335756 h 514350"/>
                <a:gd name="connsiteX4241" fmla="*/ 4548664 w 6400800"/>
                <a:gd name="connsiteY4241" fmla="*/ 317659 h 514350"/>
                <a:gd name="connsiteX4242" fmla="*/ 4457224 w 6400800"/>
                <a:gd name="connsiteY4242" fmla="*/ 306229 h 514350"/>
                <a:gd name="connsiteX4243" fmla="*/ 4457224 w 6400800"/>
                <a:gd name="connsiteY4243" fmla="*/ 306229 h 514350"/>
                <a:gd name="connsiteX4244" fmla="*/ 4457224 w 6400800"/>
                <a:gd name="connsiteY4244" fmla="*/ 304324 h 514350"/>
                <a:gd name="connsiteX4245" fmla="*/ 4457224 w 6400800"/>
                <a:gd name="connsiteY4245" fmla="*/ 306229 h 514350"/>
                <a:gd name="connsiteX4246" fmla="*/ 4478179 w 6400800"/>
                <a:gd name="connsiteY4246" fmla="*/ 359569 h 514350"/>
                <a:gd name="connsiteX4247" fmla="*/ 4476274 w 6400800"/>
                <a:gd name="connsiteY4247" fmla="*/ 339566 h 514350"/>
                <a:gd name="connsiteX4248" fmla="*/ 4476274 w 6400800"/>
                <a:gd name="connsiteY4248" fmla="*/ 336709 h 514350"/>
                <a:gd name="connsiteX4249" fmla="*/ 4483894 w 6400800"/>
                <a:gd name="connsiteY4249" fmla="*/ 347186 h 514350"/>
                <a:gd name="connsiteX4250" fmla="*/ 4478179 w 6400800"/>
                <a:gd name="connsiteY4250" fmla="*/ 359569 h 514350"/>
                <a:gd name="connsiteX4251" fmla="*/ 4497229 w 6400800"/>
                <a:gd name="connsiteY4251" fmla="*/ 371951 h 514350"/>
                <a:gd name="connsiteX4252" fmla="*/ 4497229 w 6400800"/>
                <a:gd name="connsiteY4252" fmla="*/ 367189 h 514350"/>
                <a:gd name="connsiteX4253" fmla="*/ 4498181 w 6400800"/>
                <a:gd name="connsiteY4253" fmla="*/ 370046 h 514350"/>
                <a:gd name="connsiteX4254" fmla="*/ 4497229 w 6400800"/>
                <a:gd name="connsiteY4254" fmla="*/ 371951 h 514350"/>
                <a:gd name="connsiteX4255" fmla="*/ 4504849 w 6400800"/>
                <a:gd name="connsiteY4255" fmla="*/ 322421 h 514350"/>
                <a:gd name="connsiteX4256" fmla="*/ 4504849 w 6400800"/>
                <a:gd name="connsiteY4256" fmla="*/ 330994 h 514350"/>
                <a:gd name="connsiteX4257" fmla="*/ 4501991 w 6400800"/>
                <a:gd name="connsiteY4257" fmla="*/ 341471 h 514350"/>
                <a:gd name="connsiteX4258" fmla="*/ 4501039 w 6400800"/>
                <a:gd name="connsiteY4258" fmla="*/ 348139 h 514350"/>
                <a:gd name="connsiteX4259" fmla="*/ 4499134 w 6400800"/>
                <a:gd name="connsiteY4259" fmla="*/ 345281 h 514350"/>
                <a:gd name="connsiteX4260" fmla="*/ 4498181 w 6400800"/>
                <a:gd name="connsiteY4260" fmla="*/ 342424 h 514350"/>
                <a:gd name="connsiteX4261" fmla="*/ 4501991 w 6400800"/>
                <a:gd name="connsiteY4261" fmla="*/ 326231 h 514350"/>
                <a:gd name="connsiteX4262" fmla="*/ 4506754 w 6400800"/>
                <a:gd name="connsiteY4262" fmla="*/ 310991 h 514350"/>
                <a:gd name="connsiteX4263" fmla="*/ 4504849 w 6400800"/>
                <a:gd name="connsiteY4263" fmla="*/ 322421 h 514350"/>
                <a:gd name="connsiteX4264" fmla="*/ 4462939 w 6400800"/>
                <a:gd name="connsiteY4264" fmla="*/ 250984 h 514350"/>
                <a:gd name="connsiteX4265" fmla="*/ 4470559 w 6400800"/>
                <a:gd name="connsiteY4265" fmla="*/ 226219 h 514350"/>
                <a:gd name="connsiteX4266" fmla="*/ 4474369 w 6400800"/>
                <a:gd name="connsiteY4266" fmla="*/ 231934 h 514350"/>
                <a:gd name="connsiteX4267" fmla="*/ 4479131 w 6400800"/>
                <a:gd name="connsiteY4267" fmla="*/ 238601 h 514350"/>
                <a:gd name="connsiteX4268" fmla="*/ 4483894 w 6400800"/>
                <a:gd name="connsiteY4268" fmla="*/ 248126 h 514350"/>
                <a:gd name="connsiteX4269" fmla="*/ 4489609 w 6400800"/>
                <a:gd name="connsiteY4269" fmla="*/ 260509 h 514350"/>
                <a:gd name="connsiteX4270" fmla="*/ 4495324 w 6400800"/>
                <a:gd name="connsiteY4270" fmla="*/ 275749 h 514350"/>
                <a:gd name="connsiteX4271" fmla="*/ 4501039 w 6400800"/>
                <a:gd name="connsiteY4271" fmla="*/ 293846 h 514350"/>
                <a:gd name="connsiteX4272" fmla="*/ 4503897 w 6400800"/>
                <a:gd name="connsiteY4272" fmla="*/ 303371 h 514350"/>
                <a:gd name="connsiteX4273" fmla="*/ 4497229 w 6400800"/>
                <a:gd name="connsiteY4273" fmla="*/ 317659 h 514350"/>
                <a:gd name="connsiteX4274" fmla="*/ 4493419 w 6400800"/>
                <a:gd name="connsiteY4274" fmla="*/ 326231 h 514350"/>
                <a:gd name="connsiteX4275" fmla="*/ 4488656 w 6400800"/>
                <a:gd name="connsiteY4275" fmla="*/ 280511 h 514350"/>
                <a:gd name="connsiteX4276" fmla="*/ 4487704 w 6400800"/>
                <a:gd name="connsiteY4276" fmla="*/ 319564 h 514350"/>
                <a:gd name="connsiteX4277" fmla="*/ 4483894 w 6400800"/>
                <a:gd name="connsiteY4277" fmla="*/ 311944 h 514350"/>
                <a:gd name="connsiteX4278" fmla="*/ 4473416 w 6400800"/>
                <a:gd name="connsiteY4278" fmla="*/ 289084 h 514350"/>
                <a:gd name="connsiteX4279" fmla="*/ 4481037 w 6400800"/>
                <a:gd name="connsiteY4279" fmla="*/ 312896 h 514350"/>
                <a:gd name="connsiteX4280" fmla="*/ 4486751 w 6400800"/>
                <a:gd name="connsiteY4280" fmla="*/ 330041 h 514350"/>
                <a:gd name="connsiteX4281" fmla="*/ 4484847 w 6400800"/>
                <a:gd name="connsiteY4281" fmla="*/ 328136 h 514350"/>
                <a:gd name="connsiteX4282" fmla="*/ 4475322 w 6400800"/>
                <a:gd name="connsiteY4282" fmla="*/ 318611 h 514350"/>
                <a:gd name="connsiteX4283" fmla="*/ 4473416 w 6400800"/>
                <a:gd name="connsiteY4283" fmla="*/ 304324 h 514350"/>
                <a:gd name="connsiteX4284" fmla="*/ 4468654 w 6400800"/>
                <a:gd name="connsiteY4284" fmla="*/ 278606 h 514350"/>
                <a:gd name="connsiteX4285" fmla="*/ 4477226 w 6400800"/>
                <a:gd name="connsiteY4285" fmla="*/ 256699 h 514350"/>
                <a:gd name="connsiteX4286" fmla="*/ 4466749 w 6400800"/>
                <a:gd name="connsiteY4286" fmla="*/ 273844 h 514350"/>
                <a:gd name="connsiteX4287" fmla="*/ 4462939 w 6400800"/>
                <a:gd name="connsiteY4287" fmla="*/ 258604 h 514350"/>
                <a:gd name="connsiteX4288" fmla="*/ 4462939 w 6400800"/>
                <a:gd name="connsiteY4288" fmla="*/ 256699 h 514350"/>
                <a:gd name="connsiteX4289" fmla="*/ 4462939 w 6400800"/>
                <a:gd name="connsiteY4289" fmla="*/ 250984 h 514350"/>
                <a:gd name="connsiteX4290" fmla="*/ 4461034 w 6400800"/>
                <a:gd name="connsiteY4290" fmla="*/ 255746 h 514350"/>
                <a:gd name="connsiteX4291" fmla="*/ 4461034 w 6400800"/>
                <a:gd name="connsiteY4291" fmla="*/ 255746 h 514350"/>
                <a:gd name="connsiteX4292" fmla="*/ 4461034 w 6400800"/>
                <a:gd name="connsiteY4292" fmla="*/ 255746 h 514350"/>
                <a:gd name="connsiteX4293" fmla="*/ 4461034 w 6400800"/>
                <a:gd name="connsiteY4293" fmla="*/ 255746 h 514350"/>
                <a:gd name="connsiteX4294" fmla="*/ 4455319 w 6400800"/>
                <a:gd name="connsiteY4294" fmla="*/ 274796 h 514350"/>
                <a:gd name="connsiteX4295" fmla="*/ 4457224 w 6400800"/>
                <a:gd name="connsiteY4295" fmla="*/ 268129 h 514350"/>
                <a:gd name="connsiteX4296" fmla="*/ 4457224 w 6400800"/>
                <a:gd name="connsiteY4296" fmla="*/ 273844 h 514350"/>
                <a:gd name="connsiteX4297" fmla="*/ 4458176 w 6400800"/>
                <a:gd name="connsiteY4297" fmla="*/ 284321 h 514350"/>
                <a:gd name="connsiteX4298" fmla="*/ 4454366 w 6400800"/>
                <a:gd name="connsiteY4298" fmla="*/ 292894 h 514350"/>
                <a:gd name="connsiteX4299" fmla="*/ 4455319 w 6400800"/>
                <a:gd name="connsiteY4299" fmla="*/ 274796 h 514350"/>
                <a:gd name="connsiteX4300" fmla="*/ 4449604 w 6400800"/>
                <a:gd name="connsiteY4300" fmla="*/ 361474 h 514350"/>
                <a:gd name="connsiteX4301" fmla="*/ 4451509 w 6400800"/>
                <a:gd name="connsiteY4301" fmla="*/ 339566 h 514350"/>
                <a:gd name="connsiteX4302" fmla="*/ 4453414 w 6400800"/>
                <a:gd name="connsiteY4302" fmla="*/ 343376 h 514350"/>
                <a:gd name="connsiteX4303" fmla="*/ 4453414 w 6400800"/>
                <a:gd name="connsiteY4303" fmla="*/ 344329 h 514350"/>
                <a:gd name="connsiteX4304" fmla="*/ 4453414 w 6400800"/>
                <a:gd name="connsiteY4304" fmla="*/ 344329 h 514350"/>
                <a:gd name="connsiteX4305" fmla="*/ 4451509 w 6400800"/>
                <a:gd name="connsiteY4305" fmla="*/ 366236 h 514350"/>
                <a:gd name="connsiteX4306" fmla="*/ 4448651 w 6400800"/>
                <a:gd name="connsiteY4306" fmla="*/ 388144 h 514350"/>
                <a:gd name="connsiteX4307" fmla="*/ 4446747 w 6400800"/>
                <a:gd name="connsiteY4307" fmla="*/ 386239 h 514350"/>
                <a:gd name="connsiteX4308" fmla="*/ 4449604 w 6400800"/>
                <a:gd name="connsiteY4308" fmla="*/ 361474 h 514350"/>
                <a:gd name="connsiteX4309" fmla="*/ 4386739 w 6400800"/>
                <a:gd name="connsiteY4309" fmla="*/ 331946 h 514350"/>
                <a:gd name="connsiteX4310" fmla="*/ 4390549 w 6400800"/>
                <a:gd name="connsiteY4310" fmla="*/ 335756 h 514350"/>
                <a:gd name="connsiteX4311" fmla="*/ 4390549 w 6400800"/>
                <a:gd name="connsiteY4311" fmla="*/ 342424 h 514350"/>
                <a:gd name="connsiteX4312" fmla="*/ 4386739 w 6400800"/>
                <a:gd name="connsiteY4312" fmla="*/ 347186 h 514350"/>
                <a:gd name="connsiteX4313" fmla="*/ 4386739 w 6400800"/>
                <a:gd name="connsiteY4313" fmla="*/ 331946 h 514350"/>
                <a:gd name="connsiteX4314" fmla="*/ 4389597 w 6400800"/>
                <a:gd name="connsiteY4314" fmla="*/ 376714 h 514350"/>
                <a:gd name="connsiteX4315" fmla="*/ 4388644 w 6400800"/>
                <a:gd name="connsiteY4315" fmla="*/ 375761 h 514350"/>
                <a:gd name="connsiteX4316" fmla="*/ 4387691 w 6400800"/>
                <a:gd name="connsiteY4316" fmla="*/ 370046 h 514350"/>
                <a:gd name="connsiteX4317" fmla="*/ 4387691 w 6400800"/>
                <a:gd name="connsiteY4317" fmla="*/ 360521 h 514350"/>
                <a:gd name="connsiteX4318" fmla="*/ 4387691 w 6400800"/>
                <a:gd name="connsiteY4318" fmla="*/ 351949 h 514350"/>
                <a:gd name="connsiteX4319" fmla="*/ 4391501 w 6400800"/>
                <a:gd name="connsiteY4319" fmla="*/ 345281 h 514350"/>
                <a:gd name="connsiteX4320" fmla="*/ 4391501 w 6400800"/>
                <a:gd name="connsiteY4320" fmla="*/ 349091 h 514350"/>
                <a:gd name="connsiteX4321" fmla="*/ 4392454 w 6400800"/>
                <a:gd name="connsiteY4321" fmla="*/ 370046 h 514350"/>
                <a:gd name="connsiteX4322" fmla="*/ 4389597 w 6400800"/>
                <a:gd name="connsiteY4322" fmla="*/ 376714 h 514350"/>
                <a:gd name="connsiteX4323" fmla="*/ 4424839 w 6400800"/>
                <a:gd name="connsiteY4323" fmla="*/ 351949 h 514350"/>
                <a:gd name="connsiteX4324" fmla="*/ 4424839 w 6400800"/>
                <a:gd name="connsiteY4324" fmla="*/ 354806 h 514350"/>
                <a:gd name="connsiteX4325" fmla="*/ 4422934 w 6400800"/>
                <a:gd name="connsiteY4325" fmla="*/ 356711 h 514350"/>
                <a:gd name="connsiteX4326" fmla="*/ 4424839 w 6400800"/>
                <a:gd name="connsiteY4326" fmla="*/ 351949 h 514350"/>
                <a:gd name="connsiteX4327" fmla="*/ 4415314 w 6400800"/>
                <a:gd name="connsiteY4327" fmla="*/ 411004 h 514350"/>
                <a:gd name="connsiteX4328" fmla="*/ 4415314 w 6400800"/>
                <a:gd name="connsiteY4328" fmla="*/ 411956 h 514350"/>
                <a:gd name="connsiteX4329" fmla="*/ 4412456 w 6400800"/>
                <a:gd name="connsiteY4329" fmla="*/ 409099 h 514350"/>
                <a:gd name="connsiteX4330" fmla="*/ 4411504 w 6400800"/>
                <a:gd name="connsiteY4330" fmla="*/ 385286 h 514350"/>
                <a:gd name="connsiteX4331" fmla="*/ 4420076 w 6400800"/>
                <a:gd name="connsiteY4331" fmla="*/ 372904 h 514350"/>
                <a:gd name="connsiteX4332" fmla="*/ 4421029 w 6400800"/>
                <a:gd name="connsiteY4332" fmla="*/ 374809 h 514350"/>
                <a:gd name="connsiteX4333" fmla="*/ 4415314 w 6400800"/>
                <a:gd name="connsiteY4333" fmla="*/ 411004 h 514350"/>
                <a:gd name="connsiteX4334" fmla="*/ 4410551 w 6400800"/>
                <a:gd name="connsiteY4334" fmla="*/ 254794 h 514350"/>
                <a:gd name="connsiteX4335" fmla="*/ 4421029 w 6400800"/>
                <a:gd name="connsiteY4335" fmla="*/ 273844 h 514350"/>
                <a:gd name="connsiteX4336" fmla="*/ 4415314 w 6400800"/>
                <a:gd name="connsiteY4336" fmla="*/ 293846 h 514350"/>
                <a:gd name="connsiteX4337" fmla="*/ 4408647 w 6400800"/>
                <a:gd name="connsiteY4337" fmla="*/ 316706 h 514350"/>
                <a:gd name="connsiteX4338" fmla="*/ 4406741 w 6400800"/>
                <a:gd name="connsiteY4338" fmla="*/ 297656 h 514350"/>
                <a:gd name="connsiteX4339" fmla="*/ 4402931 w 6400800"/>
                <a:gd name="connsiteY4339" fmla="*/ 331946 h 514350"/>
                <a:gd name="connsiteX4340" fmla="*/ 4401026 w 6400800"/>
                <a:gd name="connsiteY4340" fmla="*/ 337661 h 514350"/>
                <a:gd name="connsiteX4341" fmla="*/ 4400074 w 6400800"/>
                <a:gd name="connsiteY4341" fmla="*/ 336709 h 514350"/>
                <a:gd name="connsiteX4342" fmla="*/ 4388644 w 6400800"/>
                <a:gd name="connsiteY4342" fmla="*/ 270034 h 514350"/>
                <a:gd name="connsiteX4343" fmla="*/ 4389597 w 6400800"/>
                <a:gd name="connsiteY4343" fmla="*/ 328136 h 514350"/>
                <a:gd name="connsiteX4344" fmla="*/ 4386739 w 6400800"/>
                <a:gd name="connsiteY4344" fmla="*/ 325279 h 514350"/>
                <a:gd name="connsiteX4345" fmla="*/ 4386739 w 6400800"/>
                <a:gd name="connsiteY4345" fmla="*/ 323374 h 514350"/>
                <a:gd name="connsiteX4346" fmla="*/ 4387691 w 6400800"/>
                <a:gd name="connsiteY4346" fmla="*/ 290989 h 514350"/>
                <a:gd name="connsiteX4347" fmla="*/ 4389597 w 6400800"/>
                <a:gd name="connsiteY4347" fmla="*/ 263366 h 514350"/>
                <a:gd name="connsiteX4348" fmla="*/ 4391501 w 6400800"/>
                <a:gd name="connsiteY4348" fmla="*/ 242411 h 514350"/>
                <a:gd name="connsiteX4349" fmla="*/ 4393406 w 6400800"/>
                <a:gd name="connsiteY4349" fmla="*/ 225266 h 514350"/>
                <a:gd name="connsiteX4350" fmla="*/ 4410551 w 6400800"/>
                <a:gd name="connsiteY4350" fmla="*/ 254794 h 514350"/>
                <a:gd name="connsiteX4351" fmla="*/ 4389597 w 6400800"/>
                <a:gd name="connsiteY4351" fmla="*/ 217646 h 514350"/>
                <a:gd name="connsiteX4352" fmla="*/ 4393406 w 6400800"/>
                <a:gd name="connsiteY4352" fmla="*/ 224314 h 514350"/>
                <a:gd name="connsiteX4353" fmla="*/ 4387691 w 6400800"/>
                <a:gd name="connsiteY4353" fmla="*/ 240506 h 514350"/>
                <a:gd name="connsiteX4354" fmla="*/ 4381976 w 6400800"/>
                <a:gd name="connsiteY4354" fmla="*/ 260509 h 514350"/>
                <a:gd name="connsiteX4355" fmla="*/ 4381976 w 6400800"/>
                <a:gd name="connsiteY4355" fmla="*/ 256699 h 514350"/>
                <a:gd name="connsiteX4356" fmla="*/ 4389597 w 6400800"/>
                <a:gd name="connsiteY4356" fmla="*/ 217646 h 514350"/>
                <a:gd name="connsiteX4357" fmla="*/ 4374356 w 6400800"/>
                <a:gd name="connsiteY4357" fmla="*/ 291941 h 514350"/>
                <a:gd name="connsiteX4358" fmla="*/ 4374356 w 6400800"/>
                <a:gd name="connsiteY4358" fmla="*/ 292894 h 514350"/>
                <a:gd name="connsiteX4359" fmla="*/ 4374356 w 6400800"/>
                <a:gd name="connsiteY4359" fmla="*/ 291941 h 514350"/>
                <a:gd name="connsiteX4360" fmla="*/ 4374356 w 6400800"/>
                <a:gd name="connsiteY4360" fmla="*/ 291941 h 514350"/>
                <a:gd name="connsiteX4361" fmla="*/ 4360069 w 6400800"/>
                <a:gd name="connsiteY4361" fmla="*/ 282416 h 514350"/>
                <a:gd name="connsiteX4362" fmla="*/ 4360069 w 6400800"/>
                <a:gd name="connsiteY4362" fmla="*/ 290036 h 514350"/>
                <a:gd name="connsiteX4363" fmla="*/ 4359116 w 6400800"/>
                <a:gd name="connsiteY4363" fmla="*/ 288131 h 514350"/>
                <a:gd name="connsiteX4364" fmla="*/ 4360069 w 6400800"/>
                <a:gd name="connsiteY4364" fmla="*/ 282416 h 514350"/>
                <a:gd name="connsiteX4365" fmla="*/ 4313397 w 6400800"/>
                <a:gd name="connsiteY4365" fmla="*/ 387191 h 514350"/>
                <a:gd name="connsiteX4366" fmla="*/ 4311491 w 6400800"/>
                <a:gd name="connsiteY4366" fmla="*/ 391001 h 514350"/>
                <a:gd name="connsiteX4367" fmla="*/ 4313397 w 6400800"/>
                <a:gd name="connsiteY4367" fmla="*/ 387191 h 514350"/>
                <a:gd name="connsiteX4368" fmla="*/ 4313397 w 6400800"/>
                <a:gd name="connsiteY4368" fmla="*/ 387191 h 514350"/>
                <a:gd name="connsiteX4369" fmla="*/ 4311491 w 6400800"/>
                <a:gd name="connsiteY4369" fmla="*/ 351949 h 514350"/>
                <a:gd name="connsiteX4370" fmla="*/ 4312444 w 6400800"/>
                <a:gd name="connsiteY4370" fmla="*/ 365284 h 514350"/>
                <a:gd name="connsiteX4371" fmla="*/ 4311491 w 6400800"/>
                <a:gd name="connsiteY4371" fmla="*/ 363379 h 514350"/>
                <a:gd name="connsiteX4372" fmla="*/ 4311491 w 6400800"/>
                <a:gd name="connsiteY4372" fmla="*/ 351949 h 514350"/>
                <a:gd name="connsiteX4373" fmla="*/ 4247674 w 6400800"/>
                <a:gd name="connsiteY4373" fmla="*/ 313849 h 514350"/>
                <a:gd name="connsiteX4374" fmla="*/ 4247674 w 6400800"/>
                <a:gd name="connsiteY4374" fmla="*/ 311944 h 514350"/>
                <a:gd name="connsiteX4375" fmla="*/ 4247674 w 6400800"/>
                <a:gd name="connsiteY4375" fmla="*/ 313849 h 514350"/>
                <a:gd name="connsiteX4376" fmla="*/ 4246722 w 6400800"/>
                <a:gd name="connsiteY4376" fmla="*/ 324326 h 514350"/>
                <a:gd name="connsiteX4377" fmla="*/ 4246722 w 6400800"/>
                <a:gd name="connsiteY4377" fmla="*/ 322421 h 514350"/>
                <a:gd name="connsiteX4378" fmla="*/ 4247674 w 6400800"/>
                <a:gd name="connsiteY4378" fmla="*/ 313849 h 514350"/>
                <a:gd name="connsiteX4379" fmla="*/ 4181951 w 6400800"/>
                <a:gd name="connsiteY4379" fmla="*/ 367189 h 514350"/>
                <a:gd name="connsiteX4380" fmla="*/ 4182904 w 6400800"/>
                <a:gd name="connsiteY4380" fmla="*/ 324326 h 514350"/>
                <a:gd name="connsiteX4381" fmla="*/ 4183856 w 6400800"/>
                <a:gd name="connsiteY4381" fmla="*/ 330041 h 514350"/>
                <a:gd name="connsiteX4382" fmla="*/ 4185761 w 6400800"/>
                <a:gd name="connsiteY4382" fmla="*/ 340519 h 514350"/>
                <a:gd name="connsiteX4383" fmla="*/ 4185761 w 6400800"/>
                <a:gd name="connsiteY4383" fmla="*/ 342424 h 514350"/>
                <a:gd name="connsiteX4384" fmla="*/ 4183856 w 6400800"/>
                <a:gd name="connsiteY4384" fmla="*/ 338614 h 514350"/>
                <a:gd name="connsiteX4385" fmla="*/ 4187666 w 6400800"/>
                <a:gd name="connsiteY4385" fmla="*/ 357664 h 514350"/>
                <a:gd name="connsiteX4386" fmla="*/ 4189571 w 6400800"/>
                <a:gd name="connsiteY4386" fmla="*/ 365284 h 514350"/>
                <a:gd name="connsiteX4387" fmla="*/ 4191476 w 6400800"/>
                <a:gd name="connsiteY4387" fmla="*/ 373856 h 514350"/>
                <a:gd name="connsiteX4388" fmla="*/ 4190524 w 6400800"/>
                <a:gd name="connsiteY4388" fmla="*/ 386239 h 514350"/>
                <a:gd name="connsiteX4389" fmla="*/ 4190524 w 6400800"/>
                <a:gd name="connsiteY4389" fmla="*/ 391954 h 514350"/>
                <a:gd name="connsiteX4390" fmla="*/ 4181951 w 6400800"/>
                <a:gd name="connsiteY4390" fmla="*/ 367189 h 514350"/>
                <a:gd name="connsiteX4391" fmla="*/ 4181951 w 6400800"/>
                <a:gd name="connsiteY4391" fmla="*/ 367189 h 514350"/>
                <a:gd name="connsiteX4392" fmla="*/ 4161949 w 6400800"/>
                <a:gd name="connsiteY4392" fmla="*/ 401479 h 514350"/>
                <a:gd name="connsiteX4393" fmla="*/ 4161949 w 6400800"/>
                <a:gd name="connsiteY4393" fmla="*/ 399574 h 514350"/>
                <a:gd name="connsiteX4394" fmla="*/ 4161949 w 6400800"/>
                <a:gd name="connsiteY4394" fmla="*/ 399574 h 514350"/>
                <a:gd name="connsiteX4395" fmla="*/ 4161949 w 6400800"/>
                <a:gd name="connsiteY4395" fmla="*/ 401479 h 514350"/>
                <a:gd name="connsiteX4396" fmla="*/ 4160044 w 6400800"/>
                <a:gd name="connsiteY4396" fmla="*/ 306229 h 514350"/>
                <a:gd name="connsiteX4397" fmla="*/ 4160996 w 6400800"/>
                <a:gd name="connsiteY4397" fmla="*/ 292894 h 514350"/>
                <a:gd name="connsiteX4398" fmla="*/ 4163854 w 6400800"/>
                <a:gd name="connsiteY4398" fmla="*/ 282416 h 514350"/>
                <a:gd name="connsiteX4399" fmla="*/ 4162901 w 6400800"/>
                <a:gd name="connsiteY4399" fmla="*/ 313849 h 514350"/>
                <a:gd name="connsiteX4400" fmla="*/ 4160044 w 6400800"/>
                <a:gd name="connsiteY4400" fmla="*/ 306229 h 514350"/>
                <a:gd name="connsiteX4401" fmla="*/ 4160044 w 6400800"/>
                <a:gd name="connsiteY4401" fmla="*/ 306229 h 514350"/>
                <a:gd name="connsiteX4402" fmla="*/ 4128611 w 6400800"/>
                <a:gd name="connsiteY4402" fmla="*/ 354806 h 514350"/>
                <a:gd name="connsiteX4403" fmla="*/ 4127659 w 6400800"/>
                <a:gd name="connsiteY4403" fmla="*/ 343376 h 514350"/>
                <a:gd name="connsiteX4404" fmla="*/ 4128611 w 6400800"/>
                <a:gd name="connsiteY4404" fmla="*/ 350044 h 514350"/>
                <a:gd name="connsiteX4405" fmla="*/ 4130516 w 6400800"/>
                <a:gd name="connsiteY4405" fmla="*/ 365284 h 514350"/>
                <a:gd name="connsiteX4406" fmla="*/ 4128611 w 6400800"/>
                <a:gd name="connsiteY4406" fmla="*/ 354806 h 514350"/>
                <a:gd name="connsiteX4407" fmla="*/ 4124801 w 6400800"/>
                <a:gd name="connsiteY4407" fmla="*/ 255746 h 514350"/>
                <a:gd name="connsiteX4408" fmla="*/ 4124801 w 6400800"/>
                <a:gd name="connsiteY4408" fmla="*/ 248126 h 514350"/>
                <a:gd name="connsiteX4409" fmla="*/ 4140041 w 6400800"/>
                <a:gd name="connsiteY4409" fmla="*/ 303371 h 514350"/>
                <a:gd name="connsiteX4410" fmla="*/ 4140994 w 6400800"/>
                <a:gd name="connsiteY4410" fmla="*/ 307181 h 514350"/>
                <a:gd name="connsiteX4411" fmla="*/ 4140994 w 6400800"/>
                <a:gd name="connsiteY4411" fmla="*/ 321469 h 514350"/>
                <a:gd name="connsiteX4412" fmla="*/ 4133374 w 6400800"/>
                <a:gd name="connsiteY4412" fmla="*/ 305276 h 514350"/>
                <a:gd name="connsiteX4413" fmla="*/ 4135279 w 6400800"/>
                <a:gd name="connsiteY4413" fmla="*/ 312896 h 514350"/>
                <a:gd name="connsiteX4414" fmla="*/ 4127659 w 6400800"/>
                <a:gd name="connsiteY4414" fmla="*/ 300514 h 514350"/>
                <a:gd name="connsiteX4415" fmla="*/ 4123849 w 6400800"/>
                <a:gd name="connsiteY4415" fmla="*/ 284321 h 514350"/>
                <a:gd name="connsiteX4416" fmla="*/ 4124801 w 6400800"/>
                <a:gd name="connsiteY4416" fmla="*/ 255746 h 514350"/>
                <a:gd name="connsiteX4417" fmla="*/ 4095274 w 6400800"/>
                <a:gd name="connsiteY4417" fmla="*/ 395764 h 514350"/>
                <a:gd name="connsiteX4418" fmla="*/ 4095274 w 6400800"/>
                <a:gd name="connsiteY4418" fmla="*/ 395764 h 514350"/>
                <a:gd name="connsiteX4419" fmla="*/ 4095274 w 6400800"/>
                <a:gd name="connsiteY4419" fmla="*/ 394811 h 514350"/>
                <a:gd name="connsiteX4420" fmla="*/ 4095274 w 6400800"/>
                <a:gd name="connsiteY4420" fmla="*/ 395764 h 514350"/>
                <a:gd name="connsiteX4421" fmla="*/ 4093369 w 6400800"/>
                <a:gd name="connsiteY4421" fmla="*/ 386239 h 514350"/>
                <a:gd name="connsiteX4422" fmla="*/ 4093369 w 6400800"/>
                <a:gd name="connsiteY4422" fmla="*/ 376714 h 514350"/>
                <a:gd name="connsiteX4423" fmla="*/ 4096226 w 6400800"/>
                <a:gd name="connsiteY4423" fmla="*/ 382429 h 514350"/>
                <a:gd name="connsiteX4424" fmla="*/ 4093369 w 6400800"/>
                <a:gd name="connsiteY4424" fmla="*/ 386239 h 514350"/>
                <a:gd name="connsiteX4425" fmla="*/ 4097179 w 6400800"/>
                <a:gd name="connsiteY4425" fmla="*/ 342424 h 514350"/>
                <a:gd name="connsiteX4426" fmla="*/ 4099084 w 6400800"/>
                <a:gd name="connsiteY4426" fmla="*/ 334804 h 514350"/>
                <a:gd name="connsiteX4427" fmla="*/ 4099084 w 6400800"/>
                <a:gd name="connsiteY4427" fmla="*/ 337661 h 514350"/>
                <a:gd name="connsiteX4428" fmla="*/ 4097179 w 6400800"/>
                <a:gd name="connsiteY4428" fmla="*/ 342424 h 514350"/>
                <a:gd name="connsiteX4429" fmla="*/ 4100989 w 6400800"/>
                <a:gd name="connsiteY4429" fmla="*/ 353854 h 514350"/>
                <a:gd name="connsiteX4430" fmla="*/ 4100989 w 6400800"/>
                <a:gd name="connsiteY4430" fmla="*/ 351949 h 514350"/>
                <a:gd name="connsiteX4431" fmla="*/ 4100989 w 6400800"/>
                <a:gd name="connsiteY4431" fmla="*/ 351949 h 514350"/>
                <a:gd name="connsiteX4432" fmla="*/ 4100989 w 6400800"/>
                <a:gd name="connsiteY4432" fmla="*/ 353854 h 514350"/>
                <a:gd name="connsiteX4433" fmla="*/ 4100989 w 6400800"/>
                <a:gd name="connsiteY4433" fmla="*/ 353854 h 514350"/>
                <a:gd name="connsiteX4434" fmla="*/ 4115276 w 6400800"/>
                <a:gd name="connsiteY4434" fmla="*/ 322421 h 514350"/>
                <a:gd name="connsiteX4435" fmla="*/ 4114324 w 6400800"/>
                <a:gd name="connsiteY4435" fmla="*/ 350996 h 514350"/>
                <a:gd name="connsiteX4436" fmla="*/ 4111466 w 6400800"/>
                <a:gd name="connsiteY4436" fmla="*/ 327184 h 514350"/>
                <a:gd name="connsiteX4437" fmla="*/ 4108609 w 6400800"/>
                <a:gd name="connsiteY4437" fmla="*/ 342424 h 514350"/>
                <a:gd name="connsiteX4438" fmla="*/ 4107656 w 6400800"/>
                <a:gd name="connsiteY4438" fmla="*/ 341471 h 514350"/>
                <a:gd name="connsiteX4439" fmla="*/ 4106704 w 6400800"/>
                <a:gd name="connsiteY4439" fmla="*/ 336709 h 514350"/>
                <a:gd name="connsiteX4440" fmla="*/ 4113371 w 6400800"/>
                <a:gd name="connsiteY4440" fmla="*/ 322421 h 514350"/>
                <a:gd name="connsiteX4441" fmla="*/ 4115276 w 6400800"/>
                <a:gd name="connsiteY4441" fmla="*/ 318611 h 514350"/>
                <a:gd name="connsiteX4442" fmla="*/ 4115276 w 6400800"/>
                <a:gd name="connsiteY4442" fmla="*/ 322421 h 514350"/>
                <a:gd name="connsiteX4443" fmla="*/ 4109561 w 6400800"/>
                <a:gd name="connsiteY4443" fmla="*/ 295751 h 514350"/>
                <a:gd name="connsiteX4444" fmla="*/ 4116229 w 6400800"/>
                <a:gd name="connsiteY4444" fmla="*/ 308134 h 514350"/>
                <a:gd name="connsiteX4445" fmla="*/ 4116229 w 6400800"/>
                <a:gd name="connsiteY4445" fmla="*/ 311944 h 514350"/>
                <a:gd name="connsiteX4446" fmla="*/ 4110514 w 6400800"/>
                <a:gd name="connsiteY4446" fmla="*/ 320516 h 514350"/>
                <a:gd name="connsiteX4447" fmla="*/ 4104799 w 6400800"/>
                <a:gd name="connsiteY4447" fmla="*/ 329089 h 514350"/>
                <a:gd name="connsiteX4448" fmla="*/ 4102894 w 6400800"/>
                <a:gd name="connsiteY4448" fmla="*/ 322421 h 514350"/>
                <a:gd name="connsiteX4449" fmla="*/ 4109561 w 6400800"/>
                <a:gd name="connsiteY4449" fmla="*/ 295751 h 514350"/>
                <a:gd name="connsiteX4450" fmla="*/ 4092416 w 6400800"/>
                <a:gd name="connsiteY4450" fmla="*/ 294799 h 514350"/>
                <a:gd name="connsiteX4451" fmla="*/ 4094321 w 6400800"/>
                <a:gd name="connsiteY4451" fmla="*/ 265271 h 514350"/>
                <a:gd name="connsiteX4452" fmla="*/ 4098131 w 6400800"/>
                <a:gd name="connsiteY4452" fmla="*/ 272891 h 514350"/>
                <a:gd name="connsiteX4453" fmla="*/ 4106704 w 6400800"/>
                <a:gd name="connsiteY4453" fmla="*/ 290989 h 514350"/>
                <a:gd name="connsiteX4454" fmla="*/ 4098131 w 6400800"/>
                <a:gd name="connsiteY4454" fmla="*/ 311944 h 514350"/>
                <a:gd name="connsiteX4455" fmla="*/ 4096226 w 6400800"/>
                <a:gd name="connsiteY4455" fmla="*/ 306229 h 514350"/>
                <a:gd name="connsiteX4456" fmla="*/ 4097179 w 6400800"/>
                <a:gd name="connsiteY4456" fmla="*/ 315754 h 514350"/>
                <a:gd name="connsiteX4457" fmla="*/ 4092416 w 6400800"/>
                <a:gd name="connsiteY4457" fmla="*/ 329089 h 514350"/>
                <a:gd name="connsiteX4458" fmla="*/ 4091464 w 6400800"/>
                <a:gd name="connsiteY4458" fmla="*/ 325279 h 514350"/>
                <a:gd name="connsiteX4459" fmla="*/ 4090511 w 6400800"/>
                <a:gd name="connsiteY4459" fmla="*/ 321469 h 514350"/>
                <a:gd name="connsiteX4460" fmla="*/ 4092416 w 6400800"/>
                <a:gd name="connsiteY4460" fmla="*/ 294799 h 514350"/>
                <a:gd name="connsiteX4461" fmla="*/ 4085749 w 6400800"/>
                <a:gd name="connsiteY4461" fmla="*/ 244316 h 514350"/>
                <a:gd name="connsiteX4462" fmla="*/ 4085749 w 6400800"/>
                <a:gd name="connsiteY4462" fmla="*/ 244316 h 514350"/>
                <a:gd name="connsiteX4463" fmla="*/ 4084796 w 6400800"/>
                <a:gd name="connsiteY4463" fmla="*/ 250031 h 514350"/>
                <a:gd name="connsiteX4464" fmla="*/ 4085749 w 6400800"/>
                <a:gd name="connsiteY4464" fmla="*/ 244316 h 514350"/>
                <a:gd name="connsiteX4465" fmla="*/ 4043839 w 6400800"/>
                <a:gd name="connsiteY4465" fmla="*/ 279559 h 514350"/>
                <a:gd name="connsiteX4466" fmla="*/ 4043839 w 6400800"/>
                <a:gd name="connsiteY4466" fmla="*/ 279559 h 514350"/>
                <a:gd name="connsiteX4467" fmla="*/ 4044791 w 6400800"/>
                <a:gd name="connsiteY4467" fmla="*/ 283369 h 514350"/>
                <a:gd name="connsiteX4468" fmla="*/ 4043839 w 6400800"/>
                <a:gd name="connsiteY4468" fmla="*/ 281464 h 514350"/>
                <a:gd name="connsiteX4469" fmla="*/ 4044791 w 6400800"/>
                <a:gd name="connsiteY4469" fmla="*/ 286226 h 514350"/>
                <a:gd name="connsiteX4470" fmla="*/ 4044791 w 6400800"/>
                <a:gd name="connsiteY4470" fmla="*/ 290036 h 514350"/>
                <a:gd name="connsiteX4471" fmla="*/ 4042886 w 6400800"/>
                <a:gd name="connsiteY4471" fmla="*/ 284321 h 514350"/>
                <a:gd name="connsiteX4472" fmla="*/ 4043839 w 6400800"/>
                <a:gd name="connsiteY4472" fmla="*/ 279559 h 514350"/>
                <a:gd name="connsiteX4473" fmla="*/ 4044791 w 6400800"/>
                <a:gd name="connsiteY4473" fmla="*/ 333851 h 514350"/>
                <a:gd name="connsiteX4474" fmla="*/ 4044791 w 6400800"/>
                <a:gd name="connsiteY4474" fmla="*/ 333851 h 514350"/>
                <a:gd name="connsiteX4475" fmla="*/ 4044791 w 6400800"/>
                <a:gd name="connsiteY4475" fmla="*/ 339566 h 514350"/>
                <a:gd name="connsiteX4476" fmla="*/ 4042886 w 6400800"/>
                <a:gd name="connsiteY4476" fmla="*/ 337661 h 514350"/>
                <a:gd name="connsiteX4477" fmla="*/ 4044791 w 6400800"/>
                <a:gd name="connsiteY4477" fmla="*/ 333851 h 514350"/>
                <a:gd name="connsiteX4478" fmla="*/ 4039076 w 6400800"/>
                <a:gd name="connsiteY4478" fmla="*/ 271939 h 514350"/>
                <a:gd name="connsiteX4479" fmla="*/ 4039076 w 6400800"/>
                <a:gd name="connsiteY4479" fmla="*/ 273844 h 514350"/>
                <a:gd name="connsiteX4480" fmla="*/ 4038124 w 6400800"/>
                <a:gd name="connsiteY4480" fmla="*/ 270034 h 514350"/>
                <a:gd name="connsiteX4481" fmla="*/ 4036219 w 6400800"/>
                <a:gd name="connsiteY4481" fmla="*/ 265271 h 514350"/>
                <a:gd name="connsiteX4482" fmla="*/ 4039076 w 6400800"/>
                <a:gd name="connsiteY4482" fmla="*/ 271939 h 514350"/>
                <a:gd name="connsiteX4483" fmla="*/ 4033361 w 6400800"/>
                <a:gd name="connsiteY4483" fmla="*/ 358616 h 514350"/>
                <a:gd name="connsiteX4484" fmla="*/ 4034314 w 6400800"/>
                <a:gd name="connsiteY4484" fmla="*/ 351949 h 514350"/>
                <a:gd name="connsiteX4485" fmla="*/ 4038124 w 6400800"/>
                <a:gd name="connsiteY4485" fmla="*/ 345281 h 514350"/>
                <a:gd name="connsiteX4486" fmla="*/ 4043839 w 6400800"/>
                <a:gd name="connsiteY4486" fmla="*/ 351949 h 514350"/>
                <a:gd name="connsiteX4487" fmla="*/ 4040981 w 6400800"/>
                <a:gd name="connsiteY4487" fmla="*/ 391954 h 514350"/>
                <a:gd name="connsiteX4488" fmla="*/ 4035266 w 6400800"/>
                <a:gd name="connsiteY4488" fmla="*/ 413861 h 514350"/>
                <a:gd name="connsiteX4489" fmla="*/ 4029551 w 6400800"/>
                <a:gd name="connsiteY4489" fmla="*/ 395764 h 514350"/>
                <a:gd name="connsiteX4490" fmla="*/ 4027646 w 6400800"/>
                <a:gd name="connsiteY4490" fmla="*/ 388144 h 514350"/>
                <a:gd name="connsiteX4491" fmla="*/ 4033361 w 6400800"/>
                <a:gd name="connsiteY4491" fmla="*/ 358616 h 514350"/>
                <a:gd name="connsiteX4492" fmla="*/ 4020026 w 6400800"/>
                <a:gd name="connsiteY4492" fmla="*/ 324326 h 514350"/>
                <a:gd name="connsiteX4493" fmla="*/ 4021931 w 6400800"/>
                <a:gd name="connsiteY4493" fmla="*/ 326231 h 514350"/>
                <a:gd name="connsiteX4494" fmla="*/ 4019074 w 6400800"/>
                <a:gd name="connsiteY4494" fmla="*/ 334804 h 514350"/>
                <a:gd name="connsiteX4495" fmla="*/ 4017169 w 6400800"/>
                <a:gd name="connsiteY4495" fmla="*/ 341471 h 514350"/>
                <a:gd name="connsiteX4496" fmla="*/ 4016216 w 6400800"/>
                <a:gd name="connsiteY4496" fmla="*/ 342424 h 514350"/>
                <a:gd name="connsiteX4497" fmla="*/ 4015264 w 6400800"/>
                <a:gd name="connsiteY4497" fmla="*/ 344329 h 514350"/>
                <a:gd name="connsiteX4498" fmla="*/ 4011454 w 6400800"/>
                <a:gd name="connsiteY4498" fmla="*/ 315754 h 514350"/>
                <a:gd name="connsiteX4499" fmla="*/ 4020026 w 6400800"/>
                <a:gd name="connsiteY4499" fmla="*/ 324326 h 514350"/>
                <a:gd name="connsiteX4500" fmla="*/ 3999071 w 6400800"/>
                <a:gd name="connsiteY4500" fmla="*/ 282416 h 514350"/>
                <a:gd name="connsiteX4501" fmla="*/ 3999071 w 6400800"/>
                <a:gd name="connsiteY4501" fmla="*/ 282416 h 514350"/>
                <a:gd name="connsiteX4502" fmla="*/ 4000024 w 6400800"/>
                <a:gd name="connsiteY4502" fmla="*/ 310991 h 514350"/>
                <a:gd name="connsiteX4503" fmla="*/ 4000024 w 6400800"/>
                <a:gd name="connsiteY4503" fmla="*/ 316706 h 514350"/>
                <a:gd name="connsiteX4504" fmla="*/ 3999071 w 6400800"/>
                <a:gd name="connsiteY4504" fmla="*/ 325279 h 514350"/>
                <a:gd name="connsiteX4505" fmla="*/ 3999071 w 6400800"/>
                <a:gd name="connsiteY4505" fmla="*/ 327184 h 514350"/>
                <a:gd name="connsiteX4506" fmla="*/ 3998119 w 6400800"/>
                <a:gd name="connsiteY4506" fmla="*/ 324326 h 514350"/>
                <a:gd name="connsiteX4507" fmla="*/ 3997166 w 6400800"/>
                <a:gd name="connsiteY4507" fmla="*/ 314801 h 514350"/>
                <a:gd name="connsiteX4508" fmla="*/ 3996214 w 6400800"/>
                <a:gd name="connsiteY4508" fmla="*/ 286226 h 514350"/>
                <a:gd name="connsiteX4509" fmla="*/ 3999071 w 6400800"/>
                <a:gd name="connsiteY4509" fmla="*/ 282416 h 514350"/>
                <a:gd name="connsiteX4510" fmla="*/ 3983831 w 6400800"/>
                <a:gd name="connsiteY4510" fmla="*/ 405289 h 514350"/>
                <a:gd name="connsiteX4511" fmla="*/ 3980021 w 6400800"/>
                <a:gd name="connsiteY4511" fmla="*/ 412909 h 514350"/>
                <a:gd name="connsiteX4512" fmla="*/ 3980021 w 6400800"/>
                <a:gd name="connsiteY4512" fmla="*/ 412909 h 514350"/>
                <a:gd name="connsiteX4513" fmla="*/ 3982879 w 6400800"/>
                <a:gd name="connsiteY4513" fmla="*/ 402431 h 514350"/>
                <a:gd name="connsiteX4514" fmla="*/ 3983831 w 6400800"/>
                <a:gd name="connsiteY4514" fmla="*/ 405289 h 514350"/>
                <a:gd name="connsiteX4515" fmla="*/ 3980974 w 6400800"/>
                <a:gd name="connsiteY4515" fmla="*/ 395764 h 514350"/>
                <a:gd name="connsiteX4516" fmla="*/ 3982879 w 6400800"/>
                <a:gd name="connsiteY4516" fmla="*/ 401479 h 514350"/>
                <a:gd name="connsiteX4517" fmla="*/ 3979069 w 6400800"/>
                <a:gd name="connsiteY4517" fmla="*/ 407194 h 514350"/>
                <a:gd name="connsiteX4518" fmla="*/ 3979069 w 6400800"/>
                <a:gd name="connsiteY4518" fmla="*/ 406241 h 514350"/>
                <a:gd name="connsiteX4519" fmla="*/ 3980974 w 6400800"/>
                <a:gd name="connsiteY4519" fmla="*/ 395764 h 514350"/>
                <a:gd name="connsiteX4520" fmla="*/ 3976211 w 6400800"/>
                <a:gd name="connsiteY4520" fmla="*/ 378619 h 514350"/>
                <a:gd name="connsiteX4521" fmla="*/ 3976211 w 6400800"/>
                <a:gd name="connsiteY4521" fmla="*/ 378619 h 514350"/>
                <a:gd name="connsiteX4522" fmla="*/ 3976211 w 6400800"/>
                <a:gd name="connsiteY4522" fmla="*/ 380524 h 514350"/>
                <a:gd name="connsiteX4523" fmla="*/ 3976211 w 6400800"/>
                <a:gd name="connsiteY4523" fmla="*/ 378619 h 514350"/>
                <a:gd name="connsiteX4524" fmla="*/ 3948589 w 6400800"/>
                <a:gd name="connsiteY4524" fmla="*/ 255746 h 514350"/>
                <a:gd name="connsiteX4525" fmla="*/ 3946684 w 6400800"/>
                <a:gd name="connsiteY4525" fmla="*/ 277654 h 514350"/>
                <a:gd name="connsiteX4526" fmla="*/ 3945731 w 6400800"/>
                <a:gd name="connsiteY4526" fmla="*/ 285274 h 514350"/>
                <a:gd name="connsiteX4527" fmla="*/ 3943826 w 6400800"/>
                <a:gd name="connsiteY4527" fmla="*/ 266224 h 514350"/>
                <a:gd name="connsiteX4528" fmla="*/ 3940016 w 6400800"/>
                <a:gd name="connsiteY4528" fmla="*/ 240506 h 514350"/>
                <a:gd name="connsiteX4529" fmla="*/ 3940016 w 6400800"/>
                <a:gd name="connsiteY4529" fmla="*/ 239554 h 514350"/>
                <a:gd name="connsiteX4530" fmla="*/ 3940016 w 6400800"/>
                <a:gd name="connsiteY4530" fmla="*/ 236696 h 514350"/>
                <a:gd name="connsiteX4531" fmla="*/ 3942874 w 6400800"/>
                <a:gd name="connsiteY4531" fmla="*/ 240506 h 514350"/>
                <a:gd name="connsiteX4532" fmla="*/ 3947636 w 6400800"/>
                <a:gd name="connsiteY4532" fmla="*/ 248126 h 514350"/>
                <a:gd name="connsiteX4533" fmla="*/ 3948589 w 6400800"/>
                <a:gd name="connsiteY4533" fmla="*/ 255746 h 514350"/>
                <a:gd name="connsiteX4534" fmla="*/ 3943826 w 6400800"/>
                <a:gd name="connsiteY4534" fmla="*/ 205264 h 514350"/>
                <a:gd name="connsiteX4535" fmla="*/ 3943826 w 6400800"/>
                <a:gd name="connsiteY4535" fmla="*/ 210979 h 514350"/>
                <a:gd name="connsiteX4536" fmla="*/ 3945731 w 6400800"/>
                <a:gd name="connsiteY4536" fmla="*/ 230981 h 514350"/>
                <a:gd name="connsiteX4537" fmla="*/ 3946684 w 6400800"/>
                <a:gd name="connsiteY4537" fmla="*/ 236696 h 514350"/>
                <a:gd name="connsiteX4538" fmla="*/ 3939064 w 6400800"/>
                <a:gd name="connsiteY4538" fmla="*/ 228124 h 514350"/>
                <a:gd name="connsiteX4539" fmla="*/ 3937159 w 6400800"/>
                <a:gd name="connsiteY4539" fmla="*/ 215741 h 514350"/>
                <a:gd name="connsiteX4540" fmla="*/ 3943826 w 6400800"/>
                <a:gd name="connsiteY4540" fmla="*/ 205264 h 514350"/>
                <a:gd name="connsiteX4541" fmla="*/ 3866674 w 6400800"/>
                <a:gd name="connsiteY4541" fmla="*/ 369094 h 514350"/>
                <a:gd name="connsiteX4542" fmla="*/ 3867626 w 6400800"/>
                <a:gd name="connsiteY4542" fmla="*/ 368141 h 514350"/>
                <a:gd name="connsiteX4543" fmla="*/ 3867626 w 6400800"/>
                <a:gd name="connsiteY4543" fmla="*/ 370999 h 514350"/>
                <a:gd name="connsiteX4544" fmla="*/ 3866674 w 6400800"/>
                <a:gd name="connsiteY4544" fmla="*/ 369094 h 514350"/>
                <a:gd name="connsiteX4545" fmla="*/ 3886676 w 6400800"/>
                <a:gd name="connsiteY4545" fmla="*/ 354806 h 514350"/>
                <a:gd name="connsiteX4546" fmla="*/ 3882866 w 6400800"/>
                <a:gd name="connsiteY4546" fmla="*/ 348139 h 514350"/>
                <a:gd name="connsiteX4547" fmla="*/ 3881914 w 6400800"/>
                <a:gd name="connsiteY4547" fmla="*/ 338614 h 514350"/>
                <a:gd name="connsiteX4548" fmla="*/ 3886676 w 6400800"/>
                <a:gd name="connsiteY4548" fmla="*/ 354806 h 514350"/>
                <a:gd name="connsiteX4549" fmla="*/ 3887629 w 6400800"/>
                <a:gd name="connsiteY4549" fmla="*/ 356711 h 514350"/>
                <a:gd name="connsiteX4550" fmla="*/ 3886676 w 6400800"/>
                <a:gd name="connsiteY4550" fmla="*/ 354806 h 514350"/>
                <a:gd name="connsiteX4551" fmla="*/ 3897154 w 6400800"/>
                <a:gd name="connsiteY4551" fmla="*/ 278606 h 514350"/>
                <a:gd name="connsiteX4552" fmla="*/ 3901916 w 6400800"/>
                <a:gd name="connsiteY4552" fmla="*/ 270986 h 514350"/>
                <a:gd name="connsiteX4553" fmla="*/ 3901916 w 6400800"/>
                <a:gd name="connsiteY4553" fmla="*/ 270986 h 514350"/>
                <a:gd name="connsiteX4554" fmla="*/ 3897154 w 6400800"/>
                <a:gd name="connsiteY4554" fmla="*/ 278606 h 514350"/>
                <a:gd name="connsiteX4555" fmla="*/ 3897154 w 6400800"/>
                <a:gd name="connsiteY4555" fmla="*/ 278606 h 514350"/>
                <a:gd name="connsiteX4556" fmla="*/ 3900011 w 6400800"/>
                <a:gd name="connsiteY4556" fmla="*/ 291941 h 514350"/>
                <a:gd name="connsiteX4557" fmla="*/ 3901916 w 6400800"/>
                <a:gd name="connsiteY4557" fmla="*/ 288131 h 514350"/>
                <a:gd name="connsiteX4558" fmla="*/ 3902869 w 6400800"/>
                <a:gd name="connsiteY4558" fmla="*/ 286226 h 514350"/>
                <a:gd name="connsiteX4559" fmla="*/ 3903821 w 6400800"/>
                <a:gd name="connsiteY4559" fmla="*/ 297656 h 514350"/>
                <a:gd name="connsiteX4560" fmla="*/ 3902869 w 6400800"/>
                <a:gd name="connsiteY4560" fmla="*/ 301466 h 514350"/>
                <a:gd name="connsiteX4561" fmla="*/ 3901916 w 6400800"/>
                <a:gd name="connsiteY4561" fmla="*/ 298609 h 514350"/>
                <a:gd name="connsiteX4562" fmla="*/ 3900011 w 6400800"/>
                <a:gd name="connsiteY4562" fmla="*/ 291941 h 514350"/>
                <a:gd name="connsiteX4563" fmla="*/ 3903821 w 6400800"/>
                <a:gd name="connsiteY4563" fmla="*/ 431006 h 514350"/>
                <a:gd name="connsiteX4564" fmla="*/ 3902869 w 6400800"/>
                <a:gd name="connsiteY4564" fmla="*/ 431959 h 514350"/>
                <a:gd name="connsiteX4565" fmla="*/ 3901916 w 6400800"/>
                <a:gd name="connsiteY4565" fmla="*/ 431959 h 514350"/>
                <a:gd name="connsiteX4566" fmla="*/ 3903821 w 6400800"/>
                <a:gd name="connsiteY4566" fmla="*/ 426244 h 514350"/>
                <a:gd name="connsiteX4567" fmla="*/ 3904774 w 6400800"/>
                <a:gd name="connsiteY4567" fmla="*/ 428149 h 514350"/>
                <a:gd name="connsiteX4568" fmla="*/ 3903821 w 6400800"/>
                <a:gd name="connsiteY4568" fmla="*/ 431006 h 514350"/>
                <a:gd name="connsiteX4569" fmla="*/ 3925729 w 6400800"/>
                <a:gd name="connsiteY4569" fmla="*/ 309086 h 514350"/>
                <a:gd name="connsiteX4570" fmla="*/ 3922871 w 6400800"/>
                <a:gd name="connsiteY4570" fmla="*/ 297656 h 514350"/>
                <a:gd name="connsiteX4571" fmla="*/ 3923824 w 6400800"/>
                <a:gd name="connsiteY4571" fmla="*/ 308134 h 514350"/>
                <a:gd name="connsiteX4572" fmla="*/ 3919061 w 6400800"/>
                <a:gd name="connsiteY4572" fmla="*/ 291941 h 514350"/>
                <a:gd name="connsiteX4573" fmla="*/ 3922871 w 6400800"/>
                <a:gd name="connsiteY4573" fmla="*/ 317659 h 514350"/>
                <a:gd name="connsiteX4574" fmla="*/ 3923824 w 6400800"/>
                <a:gd name="connsiteY4574" fmla="*/ 325279 h 514350"/>
                <a:gd name="connsiteX4575" fmla="*/ 3921919 w 6400800"/>
                <a:gd name="connsiteY4575" fmla="*/ 334804 h 514350"/>
                <a:gd name="connsiteX4576" fmla="*/ 3921919 w 6400800"/>
                <a:gd name="connsiteY4576" fmla="*/ 335756 h 514350"/>
                <a:gd name="connsiteX4577" fmla="*/ 3920966 w 6400800"/>
                <a:gd name="connsiteY4577" fmla="*/ 330041 h 514350"/>
                <a:gd name="connsiteX4578" fmla="*/ 3915251 w 6400800"/>
                <a:gd name="connsiteY4578" fmla="*/ 301466 h 514350"/>
                <a:gd name="connsiteX4579" fmla="*/ 3911441 w 6400800"/>
                <a:gd name="connsiteY4579" fmla="*/ 281464 h 514350"/>
                <a:gd name="connsiteX4580" fmla="*/ 3912394 w 6400800"/>
                <a:gd name="connsiteY4580" fmla="*/ 264319 h 514350"/>
                <a:gd name="connsiteX4581" fmla="*/ 3912394 w 6400800"/>
                <a:gd name="connsiteY4581" fmla="*/ 263366 h 514350"/>
                <a:gd name="connsiteX4582" fmla="*/ 3919061 w 6400800"/>
                <a:gd name="connsiteY4582" fmla="*/ 270986 h 514350"/>
                <a:gd name="connsiteX4583" fmla="*/ 3923824 w 6400800"/>
                <a:gd name="connsiteY4583" fmla="*/ 277654 h 514350"/>
                <a:gd name="connsiteX4584" fmla="*/ 3924776 w 6400800"/>
                <a:gd name="connsiteY4584" fmla="*/ 284321 h 514350"/>
                <a:gd name="connsiteX4585" fmla="*/ 3921919 w 6400800"/>
                <a:gd name="connsiteY4585" fmla="*/ 277654 h 514350"/>
                <a:gd name="connsiteX4586" fmla="*/ 3926681 w 6400800"/>
                <a:gd name="connsiteY4586" fmla="*/ 296704 h 514350"/>
                <a:gd name="connsiteX4587" fmla="*/ 3927634 w 6400800"/>
                <a:gd name="connsiteY4587" fmla="*/ 304324 h 514350"/>
                <a:gd name="connsiteX4588" fmla="*/ 3927634 w 6400800"/>
                <a:gd name="connsiteY4588" fmla="*/ 305276 h 514350"/>
                <a:gd name="connsiteX4589" fmla="*/ 3925729 w 6400800"/>
                <a:gd name="connsiteY4589" fmla="*/ 309086 h 514350"/>
                <a:gd name="connsiteX4590" fmla="*/ 3929539 w 6400800"/>
                <a:gd name="connsiteY4590" fmla="*/ 287179 h 514350"/>
                <a:gd name="connsiteX4591" fmla="*/ 3928586 w 6400800"/>
                <a:gd name="connsiteY4591" fmla="*/ 292894 h 514350"/>
                <a:gd name="connsiteX4592" fmla="*/ 3927634 w 6400800"/>
                <a:gd name="connsiteY4592" fmla="*/ 290036 h 514350"/>
                <a:gd name="connsiteX4593" fmla="*/ 3923824 w 6400800"/>
                <a:gd name="connsiteY4593" fmla="*/ 275749 h 514350"/>
                <a:gd name="connsiteX4594" fmla="*/ 3927634 w 6400800"/>
                <a:gd name="connsiteY4594" fmla="*/ 281464 h 514350"/>
                <a:gd name="connsiteX4595" fmla="*/ 3929539 w 6400800"/>
                <a:gd name="connsiteY4595" fmla="*/ 284321 h 514350"/>
                <a:gd name="connsiteX4596" fmla="*/ 3929539 w 6400800"/>
                <a:gd name="connsiteY4596" fmla="*/ 287179 h 514350"/>
                <a:gd name="connsiteX4597" fmla="*/ 3926681 w 6400800"/>
                <a:gd name="connsiteY4597" fmla="*/ 242411 h 514350"/>
                <a:gd name="connsiteX4598" fmla="*/ 3928586 w 6400800"/>
                <a:gd name="connsiteY4598" fmla="*/ 270986 h 514350"/>
                <a:gd name="connsiteX4599" fmla="*/ 3921919 w 6400800"/>
                <a:gd name="connsiteY4599" fmla="*/ 265271 h 514350"/>
                <a:gd name="connsiteX4600" fmla="*/ 3913346 w 6400800"/>
                <a:gd name="connsiteY4600" fmla="*/ 257651 h 514350"/>
                <a:gd name="connsiteX4601" fmla="*/ 3917156 w 6400800"/>
                <a:gd name="connsiteY4601" fmla="*/ 246221 h 514350"/>
                <a:gd name="connsiteX4602" fmla="*/ 3925729 w 6400800"/>
                <a:gd name="connsiteY4602" fmla="*/ 232886 h 514350"/>
                <a:gd name="connsiteX4603" fmla="*/ 3926681 w 6400800"/>
                <a:gd name="connsiteY4603" fmla="*/ 242411 h 514350"/>
                <a:gd name="connsiteX4604" fmla="*/ 3900964 w 6400800"/>
                <a:gd name="connsiteY4604" fmla="*/ 168116 h 514350"/>
                <a:gd name="connsiteX4605" fmla="*/ 3914299 w 6400800"/>
                <a:gd name="connsiteY4605" fmla="*/ 147161 h 514350"/>
                <a:gd name="connsiteX4606" fmla="*/ 3915251 w 6400800"/>
                <a:gd name="connsiteY4606" fmla="*/ 156686 h 514350"/>
                <a:gd name="connsiteX4607" fmla="*/ 3920966 w 6400800"/>
                <a:gd name="connsiteY4607" fmla="*/ 196691 h 514350"/>
                <a:gd name="connsiteX4608" fmla="*/ 3922871 w 6400800"/>
                <a:gd name="connsiteY4608" fmla="*/ 213836 h 514350"/>
                <a:gd name="connsiteX4609" fmla="*/ 3920014 w 6400800"/>
                <a:gd name="connsiteY4609" fmla="*/ 210979 h 514350"/>
                <a:gd name="connsiteX4610" fmla="*/ 3923824 w 6400800"/>
                <a:gd name="connsiteY4610" fmla="*/ 214789 h 514350"/>
                <a:gd name="connsiteX4611" fmla="*/ 3924776 w 6400800"/>
                <a:gd name="connsiteY4611" fmla="*/ 226219 h 514350"/>
                <a:gd name="connsiteX4612" fmla="*/ 3906679 w 6400800"/>
                <a:gd name="connsiteY4612" fmla="*/ 249079 h 514350"/>
                <a:gd name="connsiteX4613" fmla="*/ 3904774 w 6400800"/>
                <a:gd name="connsiteY4613" fmla="*/ 251936 h 514350"/>
                <a:gd name="connsiteX4614" fmla="*/ 3902869 w 6400800"/>
                <a:gd name="connsiteY4614" fmla="*/ 250984 h 514350"/>
                <a:gd name="connsiteX4615" fmla="*/ 3900964 w 6400800"/>
                <a:gd name="connsiteY4615" fmla="*/ 242411 h 514350"/>
                <a:gd name="connsiteX4616" fmla="*/ 3900964 w 6400800"/>
                <a:gd name="connsiteY4616" fmla="*/ 249079 h 514350"/>
                <a:gd name="connsiteX4617" fmla="*/ 3897154 w 6400800"/>
                <a:gd name="connsiteY4617" fmla="*/ 247174 h 514350"/>
                <a:gd name="connsiteX4618" fmla="*/ 3891439 w 6400800"/>
                <a:gd name="connsiteY4618" fmla="*/ 243364 h 514350"/>
                <a:gd name="connsiteX4619" fmla="*/ 3896201 w 6400800"/>
                <a:gd name="connsiteY4619" fmla="*/ 248126 h 514350"/>
                <a:gd name="connsiteX4620" fmla="*/ 3900964 w 6400800"/>
                <a:gd name="connsiteY4620" fmla="*/ 251936 h 514350"/>
                <a:gd name="connsiteX4621" fmla="*/ 3900964 w 6400800"/>
                <a:gd name="connsiteY4621" fmla="*/ 256699 h 514350"/>
                <a:gd name="connsiteX4622" fmla="*/ 3894296 w 6400800"/>
                <a:gd name="connsiteY4622" fmla="*/ 266224 h 514350"/>
                <a:gd name="connsiteX4623" fmla="*/ 3890486 w 6400800"/>
                <a:gd name="connsiteY4623" fmla="*/ 250984 h 514350"/>
                <a:gd name="connsiteX4624" fmla="*/ 3880009 w 6400800"/>
                <a:gd name="connsiteY4624" fmla="*/ 210026 h 514350"/>
                <a:gd name="connsiteX4625" fmla="*/ 3879056 w 6400800"/>
                <a:gd name="connsiteY4625" fmla="*/ 206216 h 514350"/>
                <a:gd name="connsiteX4626" fmla="*/ 3900964 w 6400800"/>
                <a:gd name="connsiteY4626" fmla="*/ 168116 h 514350"/>
                <a:gd name="connsiteX4627" fmla="*/ 3873341 w 6400800"/>
                <a:gd name="connsiteY4627" fmla="*/ 214789 h 514350"/>
                <a:gd name="connsiteX4628" fmla="*/ 3879056 w 6400800"/>
                <a:gd name="connsiteY4628" fmla="*/ 251936 h 514350"/>
                <a:gd name="connsiteX4629" fmla="*/ 3883819 w 6400800"/>
                <a:gd name="connsiteY4629" fmla="*/ 280511 h 514350"/>
                <a:gd name="connsiteX4630" fmla="*/ 3882866 w 6400800"/>
                <a:gd name="connsiteY4630" fmla="*/ 282416 h 514350"/>
                <a:gd name="connsiteX4631" fmla="*/ 3875246 w 6400800"/>
                <a:gd name="connsiteY4631" fmla="*/ 259556 h 514350"/>
                <a:gd name="connsiteX4632" fmla="*/ 3865721 w 6400800"/>
                <a:gd name="connsiteY4632" fmla="*/ 234791 h 514350"/>
                <a:gd name="connsiteX4633" fmla="*/ 3864769 w 6400800"/>
                <a:gd name="connsiteY4633" fmla="*/ 231934 h 514350"/>
                <a:gd name="connsiteX4634" fmla="*/ 3873341 w 6400800"/>
                <a:gd name="connsiteY4634" fmla="*/ 214789 h 514350"/>
                <a:gd name="connsiteX4635" fmla="*/ 3864769 w 6400800"/>
                <a:gd name="connsiteY4635" fmla="*/ 341471 h 514350"/>
                <a:gd name="connsiteX4636" fmla="*/ 3862864 w 6400800"/>
                <a:gd name="connsiteY4636" fmla="*/ 345281 h 514350"/>
                <a:gd name="connsiteX4637" fmla="*/ 3864769 w 6400800"/>
                <a:gd name="connsiteY4637" fmla="*/ 341471 h 514350"/>
                <a:gd name="connsiteX4638" fmla="*/ 3864769 w 6400800"/>
                <a:gd name="connsiteY4638" fmla="*/ 341471 h 514350"/>
                <a:gd name="connsiteX4639" fmla="*/ 3854291 w 6400800"/>
                <a:gd name="connsiteY4639" fmla="*/ 211931 h 514350"/>
                <a:gd name="connsiteX4640" fmla="*/ 3856196 w 6400800"/>
                <a:gd name="connsiteY4640" fmla="*/ 201454 h 514350"/>
                <a:gd name="connsiteX4641" fmla="*/ 3857149 w 6400800"/>
                <a:gd name="connsiteY4641" fmla="*/ 220504 h 514350"/>
                <a:gd name="connsiteX4642" fmla="*/ 3854291 w 6400800"/>
                <a:gd name="connsiteY4642" fmla="*/ 226219 h 514350"/>
                <a:gd name="connsiteX4643" fmla="*/ 3854291 w 6400800"/>
                <a:gd name="connsiteY4643" fmla="*/ 211931 h 514350"/>
                <a:gd name="connsiteX4644" fmla="*/ 3849529 w 6400800"/>
                <a:gd name="connsiteY4644" fmla="*/ 262414 h 514350"/>
                <a:gd name="connsiteX4645" fmla="*/ 3849529 w 6400800"/>
                <a:gd name="connsiteY4645" fmla="*/ 257651 h 514350"/>
                <a:gd name="connsiteX4646" fmla="*/ 3850481 w 6400800"/>
                <a:gd name="connsiteY4646" fmla="*/ 256699 h 514350"/>
                <a:gd name="connsiteX4647" fmla="*/ 3859054 w 6400800"/>
                <a:gd name="connsiteY4647" fmla="*/ 278606 h 514350"/>
                <a:gd name="connsiteX4648" fmla="*/ 3860006 w 6400800"/>
                <a:gd name="connsiteY4648" fmla="*/ 280511 h 514350"/>
                <a:gd name="connsiteX4649" fmla="*/ 3862864 w 6400800"/>
                <a:gd name="connsiteY4649" fmla="*/ 313849 h 514350"/>
                <a:gd name="connsiteX4650" fmla="*/ 3862864 w 6400800"/>
                <a:gd name="connsiteY4650" fmla="*/ 313849 h 514350"/>
                <a:gd name="connsiteX4651" fmla="*/ 3847624 w 6400800"/>
                <a:gd name="connsiteY4651" fmla="*/ 291941 h 514350"/>
                <a:gd name="connsiteX4652" fmla="*/ 3849529 w 6400800"/>
                <a:gd name="connsiteY4652" fmla="*/ 262414 h 514350"/>
                <a:gd name="connsiteX4653" fmla="*/ 3846671 w 6400800"/>
                <a:gd name="connsiteY4653" fmla="*/ 308134 h 514350"/>
                <a:gd name="connsiteX4654" fmla="*/ 3855244 w 6400800"/>
                <a:gd name="connsiteY4654" fmla="*/ 323374 h 514350"/>
                <a:gd name="connsiteX4655" fmla="*/ 3856196 w 6400800"/>
                <a:gd name="connsiteY4655" fmla="*/ 325279 h 514350"/>
                <a:gd name="connsiteX4656" fmla="*/ 3855244 w 6400800"/>
                <a:gd name="connsiteY4656" fmla="*/ 327184 h 514350"/>
                <a:gd name="connsiteX4657" fmla="*/ 3849529 w 6400800"/>
                <a:gd name="connsiteY4657" fmla="*/ 336709 h 514350"/>
                <a:gd name="connsiteX4658" fmla="*/ 3845719 w 6400800"/>
                <a:gd name="connsiteY4658" fmla="*/ 330041 h 514350"/>
                <a:gd name="connsiteX4659" fmla="*/ 3846671 w 6400800"/>
                <a:gd name="connsiteY4659" fmla="*/ 308134 h 514350"/>
                <a:gd name="connsiteX4660" fmla="*/ 3843814 w 6400800"/>
                <a:gd name="connsiteY4660" fmla="*/ 415766 h 514350"/>
                <a:gd name="connsiteX4661" fmla="*/ 3846671 w 6400800"/>
                <a:gd name="connsiteY4661" fmla="*/ 410051 h 514350"/>
                <a:gd name="connsiteX4662" fmla="*/ 3847624 w 6400800"/>
                <a:gd name="connsiteY4662" fmla="*/ 416719 h 514350"/>
                <a:gd name="connsiteX4663" fmla="*/ 3847624 w 6400800"/>
                <a:gd name="connsiteY4663" fmla="*/ 419576 h 514350"/>
                <a:gd name="connsiteX4664" fmla="*/ 3846671 w 6400800"/>
                <a:gd name="connsiteY4664" fmla="*/ 422434 h 514350"/>
                <a:gd name="connsiteX4665" fmla="*/ 3844766 w 6400800"/>
                <a:gd name="connsiteY4665" fmla="*/ 426244 h 514350"/>
                <a:gd name="connsiteX4666" fmla="*/ 3842861 w 6400800"/>
                <a:gd name="connsiteY4666" fmla="*/ 426244 h 514350"/>
                <a:gd name="connsiteX4667" fmla="*/ 3843814 w 6400800"/>
                <a:gd name="connsiteY4667" fmla="*/ 415766 h 514350"/>
                <a:gd name="connsiteX4668" fmla="*/ 3830479 w 6400800"/>
                <a:gd name="connsiteY4668" fmla="*/ 297656 h 514350"/>
                <a:gd name="connsiteX4669" fmla="*/ 3830479 w 6400800"/>
                <a:gd name="connsiteY4669" fmla="*/ 299561 h 514350"/>
                <a:gd name="connsiteX4670" fmla="*/ 3830479 w 6400800"/>
                <a:gd name="connsiteY4670" fmla="*/ 301466 h 514350"/>
                <a:gd name="connsiteX4671" fmla="*/ 3829526 w 6400800"/>
                <a:gd name="connsiteY4671" fmla="*/ 307181 h 514350"/>
                <a:gd name="connsiteX4672" fmla="*/ 3827621 w 6400800"/>
                <a:gd name="connsiteY4672" fmla="*/ 304324 h 514350"/>
                <a:gd name="connsiteX4673" fmla="*/ 3830479 w 6400800"/>
                <a:gd name="connsiteY4673" fmla="*/ 297656 h 514350"/>
                <a:gd name="connsiteX4674" fmla="*/ 3826669 w 6400800"/>
                <a:gd name="connsiteY4674" fmla="*/ 305276 h 514350"/>
                <a:gd name="connsiteX4675" fmla="*/ 3828574 w 6400800"/>
                <a:gd name="connsiteY4675" fmla="*/ 310039 h 514350"/>
                <a:gd name="connsiteX4676" fmla="*/ 3827621 w 6400800"/>
                <a:gd name="connsiteY4676" fmla="*/ 314801 h 514350"/>
                <a:gd name="connsiteX4677" fmla="*/ 3823811 w 6400800"/>
                <a:gd name="connsiteY4677" fmla="*/ 309086 h 514350"/>
                <a:gd name="connsiteX4678" fmla="*/ 3826669 w 6400800"/>
                <a:gd name="connsiteY4678" fmla="*/ 305276 h 514350"/>
                <a:gd name="connsiteX4679" fmla="*/ 3820001 w 6400800"/>
                <a:gd name="connsiteY4679" fmla="*/ 319564 h 514350"/>
                <a:gd name="connsiteX4680" fmla="*/ 3826669 w 6400800"/>
                <a:gd name="connsiteY4680" fmla="*/ 332899 h 514350"/>
                <a:gd name="connsiteX4681" fmla="*/ 3827621 w 6400800"/>
                <a:gd name="connsiteY4681" fmla="*/ 333851 h 514350"/>
                <a:gd name="connsiteX4682" fmla="*/ 3826669 w 6400800"/>
                <a:gd name="connsiteY4682" fmla="*/ 343376 h 514350"/>
                <a:gd name="connsiteX4683" fmla="*/ 3824764 w 6400800"/>
                <a:gd name="connsiteY4683" fmla="*/ 377666 h 514350"/>
                <a:gd name="connsiteX4684" fmla="*/ 3820954 w 6400800"/>
                <a:gd name="connsiteY4684" fmla="*/ 364331 h 514350"/>
                <a:gd name="connsiteX4685" fmla="*/ 3820001 w 6400800"/>
                <a:gd name="connsiteY4685" fmla="*/ 352901 h 514350"/>
                <a:gd name="connsiteX4686" fmla="*/ 3818096 w 6400800"/>
                <a:gd name="connsiteY4686" fmla="*/ 336709 h 514350"/>
                <a:gd name="connsiteX4687" fmla="*/ 3821906 w 6400800"/>
                <a:gd name="connsiteY4687" fmla="*/ 332899 h 514350"/>
                <a:gd name="connsiteX4688" fmla="*/ 3818096 w 6400800"/>
                <a:gd name="connsiteY4688" fmla="*/ 335756 h 514350"/>
                <a:gd name="connsiteX4689" fmla="*/ 3817144 w 6400800"/>
                <a:gd name="connsiteY4689" fmla="*/ 326231 h 514350"/>
                <a:gd name="connsiteX4690" fmla="*/ 3820001 w 6400800"/>
                <a:gd name="connsiteY4690" fmla="*/ 319564 h 514350"/>
                <a:gd name="connsiteX4691" fmla="*/ 3788569 w 6400800"/>
                <a:gd name="connsiteY4691" fmla="*/ 264319 h 514350"/>
                <a:gd name="connsiteX4692" fmla="*/ 3792379 w 6400800"/>
                <a:gd name="connsiteY4692" fmla="*/ 270986 h 514350"/>
                <a:gd name="connsiteX4693" fmla="*/ 3800951 w 6400800"/>
                <a:gd name="connsiteY4693" fmla="*/ 285274 h 514350"/>
                <a:gd name="connsiteX4694" fmla="*/ 3800951 w 6400800"/>
                <a:gd name="connsiteY4694" fmla="*/ 287179 h 514350"/>
                <a:gd name="connsiteX4695" fmla="*/ 3800951 w 6400800"/>
                <a:gd name="connsiteY4695" fmla="*/ 298609 h 514350"/>
                <a:gd name="connsiteX4696" fmla="*/ 3800951 w 6400800"/>
                <a:gd name="connsiteY4696" fmla="*/ 300514 h 514350"/>
                <a:gd name="connsiteX4697" fmla="*/ 3797141 w 6400800"/>
                <a:gd name="connsiteY4697" fmla="*/ 287179 h 514350"/>
                <a:gd name="connsiteX4698" fmla="*/ 3796189 w 6400800"/>
                <a:gd name="connsiteY4698" fmla="*/ 285274 h 514350"/>
                <a:gd name="connsiteX4699" fmla="*/ 3796189 w 6400800"/>
                <a:gd name="connsiteY4699" fmla="*/ 280511 h 514350"/>
                <a:gd name="connsiteX4700" fmla="*/ 3795236 w 6400800"/>
                <a:gd name="connsiteY4700" fmla="*/ 283369 h 514350"/>
                <a:gd name="connsiteX4701" fmla="*/ 3791426 w 6400800"/>
                <a:gd name="connsiteY4701" fmla="*/ 271939 h 514350"/>
                <a:gd name="connsiteX4702" fmla="*/ 3788569 w 6400800"/>
                <a:gd name="connsiteY4702" fmla="*/ 264319 h 514350"/>
                <a:gd name="connsiteX4703" fmla="*/ 3748564 w 6400800"/>
                <a:gd name="connsiteY4703" fmla="*/ 364331 h 514350"/>
                <a:gd name="connsiteX4704" fmla="*/ 3748564 w 6400800"/>
                <a:gd name="connsiteY4704" fmla="*/ 351949 h 514350"/>
                <a:gd name="connsiteX4705" fmla="*/ 3750469 w 6400800"/>
                <a:gd name="connsiteY4705" fmla="*/ 358616 h 514350"/>
                <a:gd name="connsiteX4706" fmla="*/ 3748564 w 6400800"/>
                <a:gd name="connsiteY4706" fmla="*/ 364331 h 514350"/>
                <a:gd name="connsiteX4707" fmla="*/ 3762851 w 6400800"/>
                <a:gd name="connsiteY4707" fmla="*/ 399574 h 514350"/>
                <a:gd name="connsiteX4708" fmla="*/ 3759994 w 6400800"/>
                <a:gd name="connsiteY4708" fmla="*/ 405289 h 514350"/>
                <a:gd name="connsiteX4709" fmla="*/ 3760946 w 6400800"/>
                <a:gd name="connsiteY4709" fmla="*/ 391954 h 514350"/>
                <a:gd name="connsiteX4710" fmla="*/ 3760946 w 6400800"/>
                <a:gd name="connsiteY4710" fmla="*/ 391001 h 514350"/>
                <a:gd name="connsiteX4711" fmla="*/ 3762851 w 6400800"/>
                <a:gd name="connsiteY4711" fmla="*/ 396716 h 514350"/>
                <a:gd name="connsiteX4712" fmla="*/ 3762851 w 6400800"/>
                <a:gd name="connsiteY4712" fmla="*/ 399574 h 514350"/>
                <a:gd name="connsiteX4713" fmla="*/ 3770471 w 6400800"/>
                <a:gd name="connsiteY4713" fmla="*/ 290036 h 514350"/>
                <a:gd name="connsiteX4714" fmla="*/ 3775234 w 6400800"/>
                <a:gd name="connsiteY4714" fmla="*/ 309086 h 514350"/>
                <a:gd name="connsiteX4715" fmla="*/ 3771424 w 6400800"/>
                <a:gd name="connsiteY4715" fmla="*/ 301466 h 514350"/>
                <a:gd name="connsiteX4716" fmla="*/ 3770471 w 6400800"/>
                <a:gd name="connsiteY4716" fmla="*/ 299561 h 514350"/>
                <a:gd name="connsiteX4717" fmla="*/ 3770471 w 6400800"/>
                <a:gd name="connsiteY4717" fmla="*/ 290989 h 514350"/>
                <a:gd name="connsiteX4718" fmla="*/ 3770471 w 6400800"/>
                <a:gd name="connsiteY4718" fmla="*/ 290036 h 514350"/>
                <a:gd name="connsiteX4719" fmla="*/ 3769519 w 6400800"/>
                <a:gd name="connsiteY4719" fmla="*/ 370046 h 514350"/>
                <a:gd name="connsiteX4720" fmla="*/ 3770471 w 6400800"/>
                <a:gd name="connsiteY4720" fmla="*/ 372904 h 514350"/>
                <a:gd name="connsiteX4721" fmla="*/ 3767614 w 6400800"/>
                <a:gd name="connsiteY4721" fmla="*/ 366236 h 514350"/>
                <a:gd name="connsiteX4722" fmla="*/ 3767614 w 6400800"/>
                <a:gd name="connsiteY4722" fmla="*/ 359569 h 514350"/>
                <a:gd name="connsiteX4723" fmla="*/ 3766661 w 6400800"/>
                <a:gd name="connsiteY4723" fmla="*/ 364331 h 514350"/>
                <a:gd name="connsiteX4724" fmla="*/ 3764756 w 6400800"/>
                <a:gd name="connsiteY4724" fmla="*/ 360521 h 514350"/>
                <a:gd name="connsiteX4725" fmla="*/ 3764756 w 6400800"/>
                <a:gd name="connsiteY4725" fmla="*/ 357664 h 514350"/>
                <a:gd name="connsiteX4726" fmla="*/ 3765709 w 6400800"/>
                <a:gd name="connsiteY4726" fmla="*/ 351949 h 514350"/>
                <a:gd name="connsiteX4727" fmla="*/ 3769519 w 6400800"/>
                <a:gd name="connsiteY4727" fmla="*/ 370046 h 514350"/>
                <a:gd name="connsiteX4728" fmla="*/ 3753326 w 6400800"/>
                <a:gd name="connsiteY4728" fmla="*/ 250031 h 514350"/>
                <a:gd name="connsiteX4729" fmla="*/ 3755231 w 6400800"/>
                <a:gd name="connsiteY4729" fmla="*/ 236696 h 514350"/>
                <a:gd name="connsiteX4730" fmla="*/ 3756184 w 6400800"/>
                <a:gd name="connsiteY4730" fmla="*/ 232886 h 514350"/>
                <a:gd name="connsiteX4731" fmla="*/ 3758089 w 6400800"/>
                <a:gd name="connsiteY4731" fmla="*/ 230029 h 514350"/>
                <a:gd name="connsiteX4732" fmla="*/ 3759994 w 6400800"/>
                <a:gd name="connsiteY4732" fmla="*/ 237649 h 514350"/>
                <a:gd name="connsiteX4733" fmla="*/ 3769519 w 6400800"/>
                <a:gd name="connsiteY4733" fmla="*/ 281464 h 514350"/>
                <a:gd name="connsiteX4734" fmla="*/ 3767614 w 6400800"/>
                <a:gd name="connsiteY4734" fmla="*/ 290036 h 514350"/>
                <a:gd name="connsiteX4735" fmla="*/ 3767614 w 6400800"/>
                <a:gd name="connsiteY4735" fmla="*/ 290989 h 514350"/>
                <a:gd name="connsiteX4736" fmla="*/ 3752374 w 6400800"/>
                <a:gd name="connsiteY4736" fmla="*/ 261461 h 514350"/>
                <a:gd name="connsiteX4737" fmla="*/ 3753326 w 6400800"/>
                <a:gd name="connsiteY4737" fmla="*/ 250031 h 514350"/>
                <a:gd name="connsiteX4738" fmla="*/ 3748564 w 6400800"/>
                <a:gd name="connsiteY4738" fmla="*/ 296704 h 514350"/>
                <a:gd name="connsiteX4739" fmla="*/ 3748564 w 6400800"/>
                <a:gd name="connsiteY4739" fmla="*/ 296704 h 514350"/>
                <a:gd name="connsiteX4740" fmla="*/ 3756184 w 6400800"/>
                <a:gd name="connsiteY4740" fmla="*/ 313849 h 514350"/>
                <a:gd name="connsiteX4741" fmla="*/ 3757136 w 6400800"/>
                <a:gd name="connsiteY4741" fmla="*/ 316706 h 514350"/>
                <a:gd name="connsiteX4742" fmla="*/ 3759041 w 6400800"/>
                <a:gd name="connsiteY4742" fmla="*/ 323374 h 514350"/>
                <a:gd name="connsiteX4743" fmla="*/ 3757136 w 6400800"/>
                <a:gd name="connsiteY4743" fmla="*/ 330041 h 514350"/>
                <a:gd name="connsiteX4744" fmla="*/ 3754279 w 6400800"/>
                <a:gd name="connsiteY4744" fmla="*/ 341471 h 514350"/>
                <a:gd name="connsiteX4745" fmla="*/ 3750469 w 6400800"/>
                <a:gd name="connsiteY4745" fmla="*/ 335756 h 514350"/>
                <a:gd name="connsiteX4746" fmla="*/ 3747611 w 6400800"/>
                <a:gd name="connsiteY4746" fmla="*/ 331946 h 514350"/>
                <a:gd name="connsiteX4747" fmla="*/ 3748564 w 6400800"/>
                <a:gd name="connsiteY4747" fmla="*/ 296704 h 514350"/>
                <a:gd name="connsiteX4748" fmla="*/ 3738086 w 6400800"/>
                <a:gd name="connsiteY4748" fmla="*/ 273844 h 514350"/>
                <a:gd name="connsiteX4749" fmla="*/ 3738086 w 6400800"/>
                <a:gd name="connsiteY4749" fmla="*/ 273844 h 514350"/>
                <a:gd name="connsiteX4750" fmla="*/ 3738086 w 6400800"/>
                <a:gd name="connsiteY4750" fmla="*/ 274796 h 514350"/>
                <a:gd name="connsiteX4751" fmla="*/ 3738086 w 6400800"/>
                <a:gd name="connsiteY4751" fmla="*/ 273844 h 514350"/>
                <a:gd name="connsiteX4752" fmla="*/ 3689509 w 6400800"/>
                <a:gd name="connsiteY4752" fmla="*/ 326231 h 514350"/>
                <a:gd name="connsiteX4753" fmla="*/ 3686651 w 6400800"/>
                <a:gd name="connsiteY4753" fmla="*/ 331946 h 514350"/>
                <a:gd name="connsiteX4754" fmla="*/ 3685699 w 6400800"/>
                <a:gd name="connsiteY4754" fmla="*/ 330994 h 514350"/>
                <a:gd name="connsiteX4755" fmla="*/ 3685699 w 6400800"/>
                <a:gd name="connsiteY4755" fmla="*/ 322421 h 514350"/>
                <a:gd name="connsiteX4756" fmla="*/ 3685699 w 6400800"/>
                <a:gd name="connsiteY4756" fmla="*/ 313849 h 514350"/>
                <a:gd name="connsiteX4757" fmla="*/ 3689509 w 6400800"/>
                <a:gd name="connsiteY4757" fmla="*/ 325279 h 514350"/>
                <a:gd name="connsiteX4758" fmla="*/ 3689509 w 6400800"/>
                <a:gd name="connsiteY4758" fmla="*/ 326231 h 514350"/>
                <a:gd name="connsiteX4759" fmla="*/ 3716179 w 6400800"/>
                <a:gd name="connsiteY4759" fmla="*/ 211931 h 514350"/>
                <a:gd name="connsiteX4760" fmla="*/ 3720941 w 6400800"/>
                <a:gd name="connsiteY4760" fmla="*/ 221456 h 514350"/>
                <a:gd name="connsiteX4761" fmla="*/ 3719036 w 6400800"/>
                <a:gd name="connsiteY4761" fmla="*/ 230029 h 514350"/>
                <a:gd name="connsiteX4762" fmla="*/ 3718084 w 6400800"/>
                <a:gd name="connsiteY4762" fmla="*/ 233839 h 514350"/>
                <a:gd name="connsiteX4763" fmla="*/ 3713321 w 6400800"/>
                <a:gd name="connsiteY4763" fmla="*/ 228124 h 514350"/>
                <a:gd name="connsiteX4764" fmla="*/ 3717131 w 6400800"/>
                <a:gd name="connsiteY4764" fmla="*/ 235744 h 514350"/>
                <a:gd name="connsiteX4765" fmla="*/ 3714274 w 6400800"/>
                <a:gd name="connsiteY4765" fmla="*/ 253841 h 514350"/>
                <a:gd name="connsiteX4766" fmla="*/ 3714274 w 6400800"/>
                <a:gd name="connsiteY4766" fmla="*/ 250984 h 514350"/>
                <a:gd name="connsiteX4767" fmla="*/ 3713321 w 6400800"/>
                <a:gd name="connsiteY4767" fmla="*/ 238601 h 514350"/>
                <a:gd name="connsiteX4768" fmla="*/ 3713321 w 6400800"/>
                <a:gd name="connsiteY4768" fmla="*/ 227171 h 514350"/>
                <a:gd name="connsiteX4769" fmla="*/ 3712369 w 6400800"/>
                <a:gd name="connsiteY4769" fmla="*/ 208121 h 514350"/>
                <a:gd name="connsiteX4770" fmla="*/ 3712369 w 6400800"/>
                <a:gd name="connsiteY4770" fmla="*/ 205264 h 514350"/>
                <a:gd name="connsiteX4771" fmla="*/ 3716179 w 6400800"/>
                <a:gd name="connsiteY4771" fmla="*/ 211931 h 514350"/>
                <a:gd name="connsiteX4772" fmla="*/ 3679984 w 6400800"/>
                <a:gd name="connsiteY4772" fmla="*/ 236696 h 514350"/>
                <a:gd name="connsiteX4773" fmla="*/ 3684746 w 6400800"/>
                <a:gd name="connsiteY4773" fmla="*/ 196691 h 514350"/>
                <a:gd name="connsiteX4774" fmla="*/ 3687604 w 6400800"/>
                <a:gd name="connsiteY4774" fmla="*/ 166211 h 514350"/>
                <a:gd name="connsiteX4775" fmla="*/ 3688556 w 6400800"/>
                <a:gd name="connsiteY4775" fmla="*/ 154781 h 514350"/>
                <a:gd name="connsiteX4776" fmla="*/ 3699034 w 6400800"/>
                <a:gd name="connsiteY4776" fmla="*/ 178594 h 514350"/>
                <a:gd name="connsiteX4777" fmla="*/ 3708559 w 6400800"/>
                <a:gd name="connsiteY4777" fmla="*/ 199549 h 514350"/>
                <a:gd name="connsiteX4778" fmla="*/ 3707606 w 6400800"/>
                <a:gd name="connsiteY4778" fmla="*/ 207169 h 514350"/>
                <a:gd name="connsiteX4779" fmla="*/ 3704749 w 6400800"/>
                <a:gd name="connsiteY4779" fmla="*/ 226219 h 514350"/>
                <a:gd name="connsiteX4780" fmla="*/ 3702844 w 6400800"/>
                <a:gd name="connsiteY4780" fmla="*/ 237649 h 514350"/>
                <a:gd name="connsiteX4781" fmla="*/ 3701891 w 6400800"/>
                <a:gd name="connsiteY4781" fmla="*/ 250984 h 514350"/>
                <a:gd name="connsiteX4782" fmla="*/ 3700939 w 6400800"/>
                <a:gd name="connsiteY4782" fmla="*/ 280511 h 514350"/>
                <a:gd name="connsiteX4783" fmla="*/ 3700939 w 6400800"/>
                <a:gd name="connsiteY4783" fmla="*/ 300514 h 514350"/>
                <a:gd name="connsiteX4784" fmla="*/ 3697129 w 6400800"/>
                <a:gd name="connsiteY4784" fmla="*/ 290036 h 514350"/>
                <a:gd name="connsiteX4785" fmla="*/ 3699034 w 6400800"/>
                <a:gd name="connsiteY4785" fmla="*/ 308134 h 514350"/>
                <a:gd name="connsiteX4786" fmla="*/ 3690461 w 6400800"/>
                <a:gd name="connsiteY4786" fmla="*/ 322421 h 514350"/>
                <a:gd name="connsiteX4787" fmla="*/ 3683794 w 6400800"/>
                <a:gd name="connsiteY4787" fmla="*/ 310991 h 514350"/>
                <a:gd name="connsiteX4788" fmla="*/ 3683794 w 6400800"/>
                <a:gd name="connsiteY4788" fmla="*/ 302419 h 514350"/>
                <a:gd name="connsiteX4789" fmla="*/ 3682841 w 6400800"/>
                <a:gd name="connsiteY4789" fmla="*/ 308134 h 514350"/>
                <a:gd name="connsiteX4790" fmla="*/ 3679031 w 6400800"/>
                <a:gd name="connsiteY4790" fmla="*/ 302419 h 514350"/>
                <a:gd name="connsiteX4791" fmla="*/ 3681889 w 6400800"/>
                <a:gd name="connsiteY4791" fmla="*/ 310991 h 514350"/>
                <a:gd name="connsiteX4792" fmla="*/ 3679984 w 6400800"/>
                <a:gd name="connsiteY4792" fmla="*/ 323374 h 514350"/>
                <a:gd name="connsiteX4793" fmla="*/ 3672364 w 6400800"/>
                <a:gd name="connsiteY4793" fmla="*/ 307181 h 514350"/>
                <a:gd name="connsiteX4794" fmla="*/ 3677126 w 6400800"/>
                <a:gd name="connsiteY4794" fmla="*/ 289084 h 514350"/>
                <a:gd name="connsiteX4795" fmla="*/ 3681889 w 6400800"/>
                <a:gd name="connsiteY4795" fmla="*/ 272891 h 514350"/>
                <a:gd name="connsiteX4796" fmla="*/ 3686651 w 6400800"/>
                <a:gd name="connsiteY4796" fmla="*/ 260509 h 514350"/>
                <a:gd name="connsiteX4797" fmla="*/ 3692366 w 6400800"/>
                <a:gd name="connsiteY4797" fmla="*/ 250031 h 514350"/>
                <a:gd name="connsiteX4798" fmla="*/ 3683794 w 6400800"/>
                <a:gd name="connsiteY4798" fmla="*/ 258604 h 514350"/>
                <a:gd name="connsiteX4799" fmla="*/ 3675221 w 6400800"/>
                <a:gd name="connsiteY4799" fmla="*/ 270034 h 514350"/>
                <a:gd name="connsiteX4800" fmla="*/ 3671411 w 6400800"/>
                <a:gd name="connsiteY4800" fmla="*/ 275749 h 514350"/>
                <a:gd name="connsiteX4801" fmla="*/ 3679984 w 6400800"/>
                <a:gd name="connsiteY4801" fmla="*/ 236696 h 514350"/>
                <a:gd name="connsiteX4802" fmla="*/ 3678079 w 6400800"/>
                <a:gd name="connsiteY4802" fmla="*/ 342424 h 514350"/>
                <a:gd name="connsiteX4803" fmla="*/ 3677126 w 6400800"/>
                <a:gd name="connsiteY4803" fmla="*/ 349091 h 514350"/>
                <a:gd name="connsiteX4804" fmla="*/ 3676174 w 6400800"/>
                <a:gd name="connsiteY4804" fmla="*/ 343376 h 514350"/>
                <a:gd name="connsiteX4805" fmla="*/ 3674269 w 6400800"/>
                <a:gd name="connsiteY4805" fmla="*/ 335756 h 514350"/>
                <a:gd name="connsiteX4806" fmla="*/ 3678079 w 6400800"/>
                <a:gd name="connsiteY4806" fmla="*/ 342424 h 514350"/>
                <a:gd name="connsiteX4807" fmla="*/ 3664744 w 6400800"/>
                <a:gd name="connsiteY4807" fmla="*/ 355759 h 514350"/>
                <a:gd name="connsiteX4808" fmla="*/ 3664744 w 6400800"/>
                <a:gd name="connsiteY4808" fmla="*/ 362426 h 514350"/>
                <a:gd name="connsiteX4809" fmla="*/ 3663791 w 6400800"/>
                <a:gd name="connsiteY4809" fmla="*/ 371951 h 514350"/>
                <a:gd name="connsiteX4810" fmla="*/ 3663791 w 6400800"/>
                <a:gd name="connsiteY4810" fmla="*/ 371951 h 514350"/>
                <a:gd name="connsiteX4811" fmla="*/ 3662839 w 6400800"/>
                <a:gd name="connsiteY4811" fmla="*/ 367189 h 514350"/>
                <a:gd name="connsiteX4812" fmla="*/ 3662839 w 6400800"/>
                <a:gd name="connsiteY4812" fmla="*/ 366236 h 514350"/>
                <a:gd name="connsiteX4813" fmla="*/ 3664744 w 6400800"/>
                <a:gd name="connsiteY4813" fmla="*/ 355759 h 514350"/>
                <a:gd name="connsiteX4814" fmla="*/ 3603784 w 6400800"/>
                <a:gd name="connsiteY4814" fmla="*/ 369094 h 514350"/>
                <a:gd name="connsiteX4815" fmla="*/ 3602831 w 6400800"/>
                <a:gd name="connsiteY4815" fmla="*/ 363379 h 514350"/>
                <a:gd name="connsiteX4816" fmla="*/ 3605689 w 6400800"/>
                <a:gd name="connsiteY4816" fmla="*/ 352901 h 514350"/>
                <a:gd name="connsiteX4817" fmla="*/ 3606641 w 6400800"/>
                <a:gd name="connsiteY4817" fmla="*/ 350044 h 514350"/>
                <a:gd name="connsiteX4818" fmla="*/ 3607594 w 6400800"/>
                <a:gd name="connsiteY4818" fmla="*/ 352901 h 514350"/>
                <a:gd name="connsiteX4819" fmla="*/ 3607594 w 6400800"/>
                <a:gd name="connsiteY4819" fmla="*/ 353854 h 514350"/>
                <a:gd name="connsiteX4820" fmla="*/ 3603784 w 6400800"/>
                <a:gd name="connsiteY4820" fmla="*/ 369094 h 514350"/>
                <a:gd name="connsiteX4821" fmla="*/ 3612356 w 6400800"/>
                <a:gd name="connsiteY4821" fmla="*/ 329089 h 514350"/>
                <a:gd name="connsiteX4822" fmla="*/ 3611404 w 6400800"/>
                <a:gd name="connsiteY4822" fmla="*/ 327184 h 514350"/>
                <a:gd name="connsiteX4823" fmla="*/ 3610451 w 6400800"/>
                <a:gd name="connsiteY4823" fmla="*/ 321469 h 514350"/>
                <a:gd name="connsiteX4824" fmla="*/ 3613309 w 6400800"/>
                <a:gd name="connsiteY4824" fmla="*/ 324326 h 514350"/>
                <a:gd name="connsiteX4825" fmla="*/ 3612356 w 6400800"/>
                <a:gd name="connsiteY4825" fmla="*/ 329089 h 514350"/>
                <a:gd name="connsiteX4826" fmla="*/ 3633311 w 6400800"/>
                <a:gd name="connsiteY4826" fmla="*/ 366236 h 514350"/>
                <a:gd name="connsiteX4827" fmla="*/ 3629501 w 6400800"/>
                <a:gd name="connsiteY4827" fmla="*/ 358616 h 514350"/>
                <a:gd name="connsiteX4828" fmla="*/ 3629501 w 6400800"/>
                <a:gd name="connsiteY4828" fmla="*/ 354806 h 514350"/>
                <a:gd name="connsiteX4829" fmla="*/ 3633311 w 6400800"/>
                <a:gd name="connsiteY4829" fmla="*/ 366236 h 514350"/>
                <a:gd name="connsiteX4830" fmla="*/ 3633311 w 6400800"/>
                <a:gd name="connsiteY4830" fmla="*/ 366236 h 514350"/>
                <a:gd name="connsiteX4831" fmla="*/ 3633311 w 6400800"/>
                <a:gd name="connsiteY4831" fmla="*/ 366236 h 514350"/>
                <a:gd name="connsiteX4832" fmla="*/ 3632359 w 6400800"/>
                <a:gd name="connsiteY4832" fmla="*/ 331946 h 514350"/>
                <a:gd name="connsiteX4833" fmla="*/ 3635216 w 6400800"/>
                <a:gd name="connsiteY4833" fmla="*/ 348139 h 514350"/>
                <a:gd name="connsiteX4834" fmla="*/ 3631406 w 6400800"/>
                <a:gd name="connsiteY4834" fmla="*/ 341471 h 514350"/>
                <a:gd name="connsiteX4835" fmla="*/ 3632359 w 6400800"/>
                <a:gd name="connsiteY4835" fmla="*/ 331946 h 514350"/>
                <a:gd name="connsiteX4836" fmla="*/ 3618071 w 6400800"/>
                <a:gd name="connsiteY4836" fmla="*/ 270034 h 514350"/>
                <a:gd name="connsiteX4837" fmla="*/ 3628549 w 6400800"/>
                <a:gd name="connsiteY4837" fmla="*/ 246221 h 514350"/>
                <a:gd name="connsiteX4838" fmla="*/ 3630454 w 6400800"/>
                <a:gd name="connsiteY4838" fmla="*/ 242411 h 514350"/>
                <a:gd name="connsiteX4839" fmla="*/ 3625691 w 6400800"/>
                <a:gd name="connsiteY4839" fmla="*/ 265271 h 514350"/>
                <a:gd name="connsiteX4840" fmla="*/ 3618071 w 6400800"/>
                <a:gd name="connsiteY4840" fmla="*/ 271939 h 514350"/>
                <a:gd name="connsiteX4841" fmla="*/ 3618071 w 6400800"/>
                <a:gd name="connsiteY4841" fmla="*/ 270034 h 514350"/>
                <a:gd name="connsiteX4842" fmla="*/ 3601879 w 6400800"/>
                <a:gd name="connsiteY4842" fmla="*/ 310039 h 514350"/>
                <a:gd name="connsiteX4843" fmla="*/ 3606641 w 6400800"/>
                <a:gd name="connsiteY4843" fmla="*/ 298609 h 514350"/>
                <a:gd name="connsiteX4844" fmla="*/ 3615214 w 6400800"/>
                <a:gd name="connsiteY4844" fmla="*/ 278606 h 514350"/>
                <a:gd name="connsiteX4845" fmla="*/ 3619976 w 6400800"/>
                <a:gd name="connsiteY4845" fmla="*/ 271939 h 514350"/>
                <a:gd name="connsiteX4846" fmla="*/ 3625691 w 6400800"/>
                <a:gd name="connsiteY4846" fmla="*/ 266224 h 514350"/>
                <a:gd name="connsiteX4847" fmla="*/ 3624739 w 6400800"/>
                <a:gd name="connsiteY4847" fmla="*/ 270986 h 514350"/>
                <a:gd name="connsiteX4848" fmla="*/ 3617119 w 6400800"/>
                <a:gd name="connsiteY4848" fmla="*/ 309086 h 514350"/>
                <a:gd name="connsiteX4849" fmla="*/ 3614261 w 6400800"/>
                <a:gd name="connsiteY4849" fmla="*/ 322421 h 514350"/>
                <a:gd name="connsiteX4850" fmla="*/ 3611404 w 6400800"/>
                <a:gd name="connsiteY4850" fmla="*/ 320516 h 514350"/>
                <a:gd name="connsiteX4851" fmla="*/ 3609499 w 6400800"/>
                <a:gd name="connsiteY4851" fmla="*/ 298609 h 514350"/>
                <a:gd name="connsiteX4852" fmla="*/ 3608546 w 6400800"/>
                <a:gd name="connsiteY4852" fmla="*/ 318611 h 514350"/>
                <a:gd name="connsiteX4853" fmla="*/ 3606641 w 6400800"/>
                <a:gd name="connsiteY4853" fmla="*/ 317659 h 514350"/>
                <a:gd name="connsiteX4854" fmla="*/ 3608546 w 6400800"/>
                <a:gd name="connsiteY4854" fmla="*/ 319564 h 514350"/>
                <a:gd name="connsiteX4855" fmla="*/ 3608546 w 6400800"/>
                <a:gd name="connsiteY4855" fmla="*/ 322421 h 514350"/>
                <a:gd name="connsiteX4856" fmla="*/ 3602831 w 6400800"/>
                <a:gd name="connsiteY4856" fmla="*/ 312896 h 514350"/>
                <a:gd name="connsiteX4857" fmla="*/ 3601879 w 6400800"/>
                <a:gd name="connsiteY4857" fmla="*/ 310039 h 514350"/>
                <a:gd name="connsiteX4858" fmla="*/ 3600926 w 6400800"/>
                <a:gd name="connsiteY4858" fmla="*/ 335756 h 514350"/>
                <a:gd name="connsiteX4859" fmla="*/ 3604736 w 6400800"/>
                <a:gd name="connsiteY4859" fmla="*/ 346234 h 514350"/>
                <a:gd name="connsiteX4860" fmla="*/ 3601879 w 6400800"/>
                <a:gd name="connsiteY4860" fmla="*/ 351949 h 514350"/>
                <a:gd name="connsiteX4861" fmla="*/ 3600926 w 6400800"/>
                <a:gd name="connsiteY4861" fmla="*/ 352901 h 514350"/>
                <a:gd name="connsiteX4862" fmla="*/ 3599974 w 6400800"/>
                <a:gd name="connsiteY4862" fmla="*/ 345281 h 514350"/>
                <a:gd name="connsiteX4863" fmla="*/ 3600926 w 6400800"/>
                <a:gd name="connsiteY4863" fmla="*/ 335756 h 514350"/>
                <a:gd name="connsiteX4864" fmla="*/ 3556159 w 6400800"/>
                <a:gd name="connsiteY4864" fmla="*/ 342424 h 514350"/>
                <a:gd name="connsiteX4865" fmla="*/ 3557111 w 6400800"/>
                <a:gd name="connsiteY4865" fmla="*/ 324326 h 514350"/>
                <a:gd name="connsiteX4866" fmla="*/ 3558064 w 6400800"/>
                <a:gd name="connsiteY4866" fmla="*/ 328136 h 514350"/>
                <a:gd name="connsiteX4867" fmla="*/ 3559016 w 6400800"/>
                <a:gd name="connsiteY4867" fmla="*/ 333851 h 514350"/>
                <a:gd name="connsiteX4868" fmla="*/ 3559016 w 6400800"/>
                <a:gd name="connsiteY4868" fmla="*/ 334804 h 514350"/>
                <a:gd name="connsiteX4869" fmla="*/ 3556159 w 6400800"/>
                <a:gd name="connsiteY4869" fmla="*/ 342424 h 514350"/>
                <a:gd name="connsiteX4870" fmla="*/ 3559969 w 6400800"/>
                <a:gd name="connsiteY4870" fmla="*/ 279559 h 514350"/>
                <a:gd name="connsiteX4871" fmla="*/ 3559016 w 6400800"/>
                <a:gd name="connsiteY4871" fmla="*/ 274796 h 514350"/>
                <a:gd name="connsiteX4872" fmla="*/ 3561874 w 6400800"/>
                <a:gd name="connsiteY4872" fmla="*/ 276701 h 514350"/>
                <a:gd name="connsiteX4873" fmla="*/ 3566636 w 6400800"/>
                <a:gd name="connsiteY4873" fmla="*/ 280511 h 514350"/>
                <a:gd name="connsiteX4874" fmla="*/ 3562826 w 6400800"/>
                <a:gd name="connsiteY4874" fmla="*/ 287179 h 514350"/>
                <a:gd name="connsiteX4875" fmla="*/ 3559969 w 6400800"/>
                <a:gd name="connsiteY4875" fmla="*/ 279559 h 514350"/>
                <a:gd name="connsiteX4876" fmla="*/ 3571399 w 6400800"/>
                <a:gd name="connsiteY4876" fmla="*/ 287179 h 514350"/>
                <a:gd name="connsiteX4877" fmla="*/ 3571399 w 6400800"/>
                <a:gd name="connsiteY4877" fmla="*/ 311944 h 514350"/>
                <a:gd name="connsiteX4878" fmla="*/ 3569494 w 6400800"/>
                <a:gd name="connsiteY4878" fmla="*/ 314801 h 514350"/>
                <a:gd name="connsiteX4879" fmla="*/ 3562826 w 6400800"/>
                <a:gd name="connsiteY4879" fmla="*/ 292894 h 514350"/>
                <a:gd name="connsiteX4880" fmla="*/ 3566636 w 6400800"/>
                <a:gd name="connsiteY4880" fmla="*/ 282416 h 514350"/>
                <a:gd name="connsiteX4881" fmla="*/ 3571399 w 6400800"/>
                <a:gd name="connsiteY4881" fmla="*/ 287179 h 514350"/>
                <a:gd name="connsiteX4882" fmla="*/ 3571399 w 6400800"/>
                <a:gd name="connsiteY4882" fmla="*/ 287179 h 514350"/>
                <a:gd name="connsiteX4883" fmla="*/ 3571399 w 6400800"/>
                <a:gd name="connsiteY4883" fmla="*/ 281464 h 514350"/>
                <a:gd name="connsiteX4884" fmla="*/ 3568541 w 6400800"/>
                <a:gd name="connsiteY4884" fmla="*/ 279559 h 514350"/>
                <a:gd name="connsiteX4885" fmla="*/ 3568541 w 6400800"/>
                <a:gd name="connsiteY4885" fmla="*/ 279559 h 514350"/>
                <a:gd name="connsiteX4886" fmla="*/ 3571399 w 6400800"/>
                <a:gd name="connsiteY4886" fmla="*/ 273844 h 514350"/>
                <a:gd name="connsiteX4887" fmla="*/ 3571399 w 6400800"/>
                <a:gd name="connsiteY4887" fmla="*/ 281464 h 514350"/>
                <a:gd name="connsiteX4888" fmla="*/ 3567589 w 6400800"/>
                <a:gd name="connsiteY4888" fmla="*/ 250031 h 514350"/>
                <a:gd name="connsiteX4889" fmla="*/ 3570446 w 6400800"/>
                <a:gd name="connsiteY4889" fmla="*/ 265271 h 514350"/>
                <a:gd name="connsiteX4890" fmla="*/ 3571399 w 6400800"/>
                <a:gd name="connsiteY4890" fmla="*/ 271939 h 514350"/>
                <a:gd name="connsiteX4891" fmla="*/ 3571399 w 6400800"/>
                <a:gd name="connsiteY4891" fmla="*/ 272891 h 514350"/>
                <a:gd name="connsiteX4892" fmla="*/ 3567589 w 6400800"/>
                <a:gd name="connsiteY4892" fmla="*/ 277654 h 514350"/>
                <a:gd name="connsiteX4893" fmla="*/ 3567589 w 6400800"/>
                <a:gd name="connsiteY4893" fmla="*/ 277654 h 514350"/>
                <a:gd name="connsiteX4894" fmla="*/ 3561874 w 6400800"/>
                <a:gd name="connsiteY4894" fmla="*/ 274796 h 514350"/>
                <a:gd name="connsiteX4895" fmla="*/ 3558064 w 6400800"/>
                <a:gd name="connsiteY4895" fmla="*/ 272891 h 514350"/>
                <a:gd name="connsiteX4896" fmla="*/ 3554254 w 6400800"/>
                <a:gd name="connsiteY4896" fmla="*/ 260509 h 514350"/>
                <a:gd name="connsiteX4897" fmla="*/ 3556159 w 6400800"/>
                <a:gd name="connsiteY4897" fmla="*/ 257651 h 514350"/>
                <a:gd name="connsiteX4898" fmla="*/ 3566636 w 6400800"/>
                <a:gd name="connsiteY4898" fmla="*/ 243364 h 514350"/>
                <a:gd name="connsiteX4899" fmla="*/ 3567589 w 6400800"/>
                <a:gd name="connsiteY4899" fmla="*/ 250031 h 514350"/>
                <a:gd name="connsiteX4900" fmla="*/ 3561874 w 6400800"/>
                <a:gd name="connsiteY4900" fmla="*/ 229076 h 514350"/>
                <a:gd name="connsiteX4901" fmla="*/ 3562826 w 6400800"/>
                <a:gd name="connsiteY4901" fmla="*/ 227171 h 514350"/>
                <a:gd name="connsiteX4902" fmla="*/ 3564731 w 6400800"/>
                <a:gd name="connsiteY4902" fmla="*/ 235744 h 514350"/>
                <a:gd name="connsiteX4903" fmla="*/ 3565684 w 6400800"/>
                <a:gd name="connsiteY4903" fmla="*/ 238601 h 514350"/>
                <a:gd name="connsiteX4904" fmla="*/ 3552349 w 6400800"/>
                <a:gd name="connsiteY4904" fmla="*/ 251936 h 514350"/>
                <a:gd name="connsiteX4905" fmla="*/ 3551396 w 6400800"/>
                <a:gd name="connsiteY4905" fmla="*/ 247174 h 514350"/>
                <a:gd name="connsiteX4906" fmla="*/ 3561874 w 6400800"/>
                <a:gd name="connsiteY4906" fmla="*/ 229076 h 514350"/>
                <a:gd name="connsiteX4907" fmla="*/ 3551396 w 6400800"/>
                <a:gd name="connsiteY4907" fmla="*/ 293846 h 514350"/>
                <a:gd name="connsiteX4908" fmla="*/ 3554254 w 6400800"/>
                <a:gd name="connsiteY4908" fmla="*/ 307181 h 514350"/>
                <a:gd name="connsiteX4909" fmla="*/ 3550444 w 6400800"/>
                <a:gd name="connsiteY4909" fmla="*/ 321469 h 514350"/>
                <a:gd name="connsiteX4910" fmla="*/ 3547586 w 6400800"/>
                <a:gd name="connsiteY4910" fmla="*/ 333851 h 514350"/>
                <a:gd name="connsiteX4911" fmla="*/ 3546634 w 6400800"/>
                <a:gd name="connsiteY4911" fmla="*/ 331946 h 514350"/>
                <a:gd name="connsiteX4912" fmla="*/ 3543776 w 6400800"/>
                <a:gd name="connsiteY4912" fmla="*/ 327184 h 514350"/>
                <a:gd name="connsiteX4913" fmla="*/ 3544729 w 6400800"/>
                <a:gd name="connsiteY4913" fmla="*/ 306229 h 514350"/>
                <a:gd name="connsiteX4914" fmla="*/ 3547586 w 6400800"/>
                <a:gd name="connsiteY4914" fmla="*/ 286226 h 514350"/>
                <a:gd name="connsiteX4915" fmla="*/ 3548539 w 6400800"/>
                <a:gd name="connsiteY4915" fmla="*/ 276701 h 514350"/>
                <a:gd name="connsiteX4916" fmla="*/ 3551396 w 6400800"/>
                <a:gd name="connsiteY4916" fmla="*/ 293846 h 514350"/>
                <a:gd name="connsiteX4917" fmla="*/ 3543776 w 6400800"/>
                <a:gd name="connsiteY4917" fmla="*/ 191929 h 514350"/>
                <a:gd name="connsiteX4918" fmla="*/ 3549491 w 6400800"/>
                <a:gd name="connsiteY4918" fmla="*/ 180499 h 514350"/>
                <a:gd name="connsiteX4919" fmla="*/ 3548539 w 6400800"/>
                <a:gd name="connsiteY4919" fmla="*/ 185261 h 514350"/>
                <a:gd name="connsiteX4920" fmla="*/ 3544729 w 6400800"/>
                <a:gd name="connsiteY4920" fmla="*/ 211931 h 514350"/>
                <a:gd name="connsiteX4921" fmla="*/ 3543776 w 6400800"/>
                <a:gd name="connsiteY4921" fmla="*/ 217646 h 514350"/>
                <a:gd name="connsiteX4922" fmla="*/ 3539014 w 6400800"/>
                <a:gd name="connsiteY4922" fmla="*/ 200501 h 514350"/>
                <a:gd name="connsiteX4923" fmla="*/ 3543776 w 6400800"/>
                <a:gd name="connsiteY4923" fmla="*/ 191929 h 514350"/>
                <a:gd name="connsiteX4924" fmla="*/ 3530441 w 6400800"/>
                <a:gd name="connsiteY4924" fmla="*/ 217646 h 514350"/>
                <a:gd name="connsiteX4925" fmla="*/ 3539014 w 6400800"/>
                <a:gd name="connsiteY4925" fmla="*/ 201454 h 514350"/>
                <a:gd name="connsiteX4926" fmla="*/ 3540919 w 6400800"/>
                <a:gd name="connsiteY4926" fmla="*/ 217646 h 514350"/>
                <a:gd name="connsiteX4927" fmla="*/ 3542824 w 6400800"/>
                <a:gd name="connsiteY4927" fmla="*/ 231934 h 514350"/>
                <a:gd name="connsiteX4928" fmla="*/ 3540919 w 6400800"/>
                <a:gd name="connsiteY4928" fmla="*/ 240506 h 514350"/>
                <a:gd name="connsiteX4929" fmla="*/ 3528536 w 6400800"/>
                <a:gd name="connsiteY4929" fmla="*/ 259556 h 514350"/>
                <a:gd name="connsiteX4930" fmla="*/ 3528536 w 6400800"/>
                <a:gd name="connsiteY4930" fmla="*/ 257651 h 514350"/>
                <a:gd name="connsiteX4931" fmla="*/ 3527584 w 6400800"/>
                <a:gd name="connsiteY4931" fmla="*/ 240506 h 514350"/>
                <a:gd name="connsiteX4932" fmla="*/ 3526631 w 6400800"/>
                <a:gd name="connsiteY4932" fmla="*/ 229076 h 514350"/>
                <a:gd name="connsiteX4933" fmla="*/ 3530441 w 6400800"/>
                <a:gd name="connsiteY4933" fmla="*/ 217646 h 514350"/>
                <a:gd name="connsiteX4934" fmla="*/ 3490436 w 6400800"/>
                <a:gd name="connsiteY4934" fmla="*/ 321469 h 514350"/>
                <a:gd name="connsiteX4935" fmla="*/ 3490436 w 6400800"/>
                <a:gd name="connsiteY4935" fmla="*/ 317659 h 514350"/>
                <a:gd name="connsiteX4936" fmla="*/ 3491389 w 6400800"/>
                <a:gd name="connsiteY4936" fmla="*/ 319564 h 514350"/>
                <a:gd name="connsiteX4937" fmla="*/ 3490436 w 6400800"/>
                <a:gd name="connsiteY4937" fmla="*/ 321469 h 514350"/>
                <a:gd name="connsiteX4938" fmla="*/ 3514249 w 6400800"/>
                <a:gd name="connsiteY4938" fmla="*/ 250984 h 514350"/>
                <a:gd name="connsiteX4939" fmla="*/ 3516154 w 6400800"/>
                <a:gd name="connsiteY4939" fmla="*/ 246221 h 514350"/>
                <a:gd name="connsiteX4940" fmla="*/ 3515201 w 6400800"/>
                <a:gd name="connsiteY4940" fmla="*/ 257651 h 514350"/>
                <a:gd name="connsiteX4941" fmla="*/ 3514249 w 6400800"/>
                <a:gd name="connsiteY4941" fmla="*/ 270986 h 514350"/>
                <a:gd name="connsiteX4942" fmla="*/ 3509486 w 6400800"/>
                <a:gd name="connsiteY4942" fmla="*/ 259556 h 514350"/>
                <a:gd name="connsiteX4943" fmla="*/ 3514249 w 6400800"/>
                <a:gd name="connsiteY4943" fmla="*/ 250984 h 514350"/>
                <a:gd name="connsiteX4944" fmla="*/ 3504724 w 6400800"/>
                <a:gd name="connsiteY4944" fmla="*/ 271939 h 514350"/>
                <a:gd name="connsiteX4945" fmla="*/ 3505676 w 6400800"/>
                <a:gd name="connsiteY4945" fmla="*/ 274796 h 514350"/>
                <a:gd name="connsiteX4946" fmla="*/ 3509486 w 6400800"/>
                <a:gd name="connsiteY4946" fmla="*/ 288131 h 514350"/>
                <a:gd name="connsiteX4947" fmla="*/ 3505676 w 6400800"/>
                <a:gd name="connsiteY4947" fmla="*/ 293846 h 514350"/>
                <a:gd name="connsiteX4948" fmla="*/ 3504724 w 6400800"/>
                <a:gd name="connsiteY4948" fmla="*/ 282416 h 514350"/>
                <a:gd name="connsiteX4949" fmla="*/ 3504724 w 6400800"/>
                <a:gd name="connsiteY4949" fmla="*/ 271939 h 514350"/>
                <a:gd name="connsiteX4950" fmla="*/ 3504724 w 6400800"/>
                <a:gd name="connsiteY4950" fmla="*/ 271939 h 514350"/>
                <a:gd name="connsiteX4951" fmla="*/ 3501866 w 6400800"/>
                <a:gd name="connsiteY4951" fmla="*/ 398621 h 514350"/>
                <a:gd name="connsiteX4952" fmla="*/ 3495199 w 6400800"/>
                <a:gd name="connsiteY4952" fmla="*/ 371951 h 514350"/>
                <a:gd name="connsiteX4953" fmla="*/ 3494246 w 6400800"/>
                <a:gd name="connsiteY4953" fmla="*/ 369094 h 514350"/>
                <a:gd name="connsiteX4954" fmla="*/ 3499961 w 6400800"/>
                <a:gd name="connsiteY4954" fmla="*/ 357664 h 514350"/>
                <a:gd name="connsiteX4955" fmla="*/ 3501866 w 6400800"/>
                <a:gd name="connsiteY4955" fmla="*/ 398621 h 514350"/>
                <a:gd name="connsiteX4956" fmla="*/ 3496151 w 6400800"/>
                <a:gd name="connsiteY4956" fmla="*/ 290036 h 514350"/>
                <a:gd name="connsiteX4957" fmla="*/ 3499009 w 6400800"/>
                <a:gd name="connsiteY4957" fmla="*/ 284321 h 514350"/>
                <a:gd name="connsiteX4958" fmla="*/ 3499009 w 6400800"/>
                <a:gd name="connsiteY4958" fmla="*/ 295751 h 514350"/>
                <a:gd name="connsiteX4959" fmla="*/ 3496151 w 6400800"/>
                <a:gd name="connsiteY4959" fmla="*/ 290036 h 514350"/>
                <a:gd name="connsiteX4960" fmla="*/ 3496151 w 6400800"/>
                <a:gd name="connsiteY4960" fmla="*/ 252889 h 514350"/>
                <a:gd name="connsiteX4961" fmla="*/ 3496151 w 6400800"/>
                <a:gd name="connsiteY4961" fmla="*/ 247174 h 514350"/>
                <a:gd name="connsiteX4962" fmla="*/ 3499009 w 6400800"/>
                <a:gd name="connsiteY4962" fmla="*/ 254794 h 514350"/>
                <a:gd name="connsiteX4963" fmla="*/ 3495199 w 6400800"/>
                <a:gd name="connsiteY4963" fmla="*/ 261461 h 514350"/>
                <a:gd name="connsiteX4964" fmla="*/ 3496151 w 6400800"/>
                <a:gd name="connsiteY4964" fmla="*/ 252889 h 514350"/>
                <a:gd name="connsiteX4965" fmla="*/ 3481864 w 6400800"/>
                <a:gd name="connsiteY4965" fmla="*/ 205264 h 514350"/>
                <a:gd name="connsiteX4966" fmla="*/ 3491389 w 6400800"/>
                <a:gd name="connsiteY4966" fmla="*/ 230029 h 514350"/>
                <a:gd name="connsiteX4967" fmla="*/ 3495199 w 6400800"/>
                <a:gd name="connsiteY4967" fmla="*/ 243364 h 514350"/>
                <a:gd name="connsiteX4968" fmla="*/ 3492341 w 6400800"/>
                <a:gd name="connsiteY4968" fmla="*/ 251936 h 514350"/>
                <a:gd name="connsiteX4969" fmla="*/ 3487579 w 6400800"/>
                <a:gd name="connsiteY4969" fmla="*/ 268129 h 514350"/>
                <a:gd name="connsiteX4970" fmla="*/ 3486626 w 6400800"/>
                <a:gd name="connsiteY4970" fmla="*/ 270034 h 514350"/>
                <a:gd name="connsiteX4971" fmla="*/ 3479959 w 6400800"/>
                <a:gd name="connsiteY4971" fmla="*/ 255746 h 514350"/>
                <a:gd name="connsiteX4972" fmla="*/ 3479959 w 6400800"/>
                <a:gd name="connsiteY4972" fmla="*/ 228124 h 514350"/>
                <a:gd name="connsiteX4973" fmla="*/ 3479959 w 6400800"/>
                <a:gd name="connsiteY4973" fmla="*/ 213836 h 514350"/>
                <a:gd name="connsiteX4974" fmla="*/ 3481864 w 6400800"/>
                <a:gd name="connsiteY4974" fmla="*/ 205264 h 514350"/>
                <a:gd name="connsiteX4975" fmla="*/ 3473291 w 6400800"/>
                <a:gd name="connsiteY4975" fmla="*/ 241459 h 514350"/>
                <a:gd name="connsiteX4976" fmla="*/ 3475196 w 6400800"/>
                <a:gd name="connsiteY4976" fmla="*/ 234791 h 514350"/>
                <a:gd name="connsiteX4977" fmla="*/ 3473291 w 6400800"/>
                <a:gd name="connsiteY4977" fmla="*/ 241459 h 514350"/>
                <a:gd name="connsiteX4978" fmla="*/ 3473291 w 6400800"/>
                <a:gd name="connsiteY4978" fmla="*/ 241459 h 514350"/>
                <a:gd name="connsiteX4979" fmla="*/ 3473291 w 6400800"/>
                <a:gd name="connsiteY4979" fmla="*/ 241459 h 514350"/>
                <a:gd name="connsiteX4980" fmla="*/ 3468529 w 6400800"/>
                <a:gd name="connsiteY4980" fmla="*/ 260509 h 514350"/>
                <a:gd name="connsiteX4981" fmla="*/ 3469481 w 6400800"/>
                <a:gd name="connsiteY4981" fmla="*/ 263366 h 514350"/>
                <a:gd name="connsiteX4982" fmla="*/ 3468529 w 6400800"/>
                <a:gd name="connsiteY4982" fmla="*/ 270986 h 514350"/>
                <a:gd name="connsiteX4983" fmla="*/ 3465671 w 6400800"/>
                <a:gd name="connsiteY4983" fmla="*/ 300514 h 514350"/>
                <a:gd name="connsiteX4984" fmla="*/ 3464719 w 6400800"/>
                <a:gd name="connsiteY4984" fmla="*/ 318611 h 514350"/>
                <a:gd name="connsiteX4985" fmla="*/ 3463766 w 6400800"/>
                <a:gd name="connsiteY4985" fmla="*/ 321469 h 514350"/>
                <a:gd name="connsiteX4986" fmla="*/ 3459956 w 6400800"/>
                <a:gd name="connsiteY4986" fmla="*/ 307181 h 514350"/>
                <a:gd name="connsiteX4987" fmla="*/ 3459956 w 6400800"/>
                <a:gd name="connsiteY4987" fmla="*/ 306229 h 514350"/>
                <a:gd name="connsiteX4988" fmla="*/ 3460909 w 6400800"/>
                <a:gd name="connsiteY4988" fmla="*/ 300514 h 514350"/>
                <a:gd name="connsiteX4989" fmla="*/ 3468529 w 6400800"/>
                <a:gd name="connsiteY4989" fmla="*/ 260509 h 514350"/>
                <a:gd name="connsiteX4990" fmla="*/ 3451384 w 6400800"/>
                <a:gd name="connsiteY4990" fmla="*/ 237649 h 514350"/>
                <a:gd name="connsiteX4991" fmla="*/ 3451384 w 6400800"/>
                <a:gd name="connsiteY4991" fmla="*/ 221456 h 514350"/>
                <a:gd name="connsiteX4992" fmla="*/ 3451384 w 6400800"/>
                <a:gd name="connsiteY4992" fmla="*/ 222409 h 514350"/>
                <a:gd name="connsiteX4993" fmla="*/ 3458051 w 6400800"/>
                <a:gd name="connsiteY4993" fmla="*/ 237649 h 514350"/>
                <a:gd name="connsiteX4994" fmla="*/ 3458051 w 6400800"/>
                <a:gd name="connsiteY4994" fmla="*/ 238601 h 514350"/>
                <a:gd name="connsiteX4995" fmla="*/ 3450431 w 6400800"/>
                <a:gd name="connsiteY4995" fmla="*/ 267176 h 514350"/>
                <a:gd name="connsiteX4996" fmla="*/ 3450431 w 6400800"/>
                <a:gd name="connsiteY4996" fmla="*/ 267176 h 514350"/>
                <a:gd name="connsiteX4997" fmla="*/ 3451384 w 6400800"/>
                <a:gd name="connsiteY4997" fmla="*/ 237649 h 514350"/>
                <a:gd name="connsiteX4998" fmla="*/ 3405664 w 6400800"/>
                <a:gd name="connsiteY4998" fmla="*/ 273844 h 514350"/>
                <a:gd name="connsiteX4999" fmla="*/ 3406616 w 6400800"/>
                <a:gd name="connsiteY4999" fmla="*/ 258604 h 514350"/>
                <a:gd name="connsiteX5000" fmla="*/ 3406616 w 6400800"/>
                <a:gd name="connsiteY5000" fmla="*/ 245269 h 514350"/>
                <a:gd name="connsiteX5001" fmla="*/ 3409474 w 6400800"/>
                <a:gd name="connsiteY5001" fmla="*/ 259556 h 514350"/>
                <a:gd name="connsiteX5002" fmla="*/ 3405664 w 6400800"/>
                <a:gd name="connsiteY5002" fmla="*/ 273844 h 514350"/>
                <a:gd name="connsiteX5003" fmla="*/ 3416141 w 6400800"/>
                <a:gd name="connsiteY5003" fmla="*/ 335756 h 514350"/>
                <a:gd name="connsiteX5004" fmla="*/ 3416141 w 6400800"/>
                <a:gd name="connsiteY5004" fmla="*/ 353854 h 514350"/>
                <a:gd name="connsiteX5005" fmla="*/ 3415189 w 6400800"/>
                <a:gd name="connsiteY5005" fmla="*/ 348139 h 514350"/>
                <a:gd name="connsiteX5006" fmla="*/ 3413284 w 6400800"/>
                <a:gd name="connsiteY5006" fmla="*/ 328136 h 514350"/>
                <a:gd name="connsiteX5007" fmla="*/ 3413284 w 6400800"/>
                <a:gd name="connsiteY5007" fmla="*/ 328136 h 514350"/>
                <a:gd name="connsiteX5008" fmla="*/ 3417094 w 6400800"/>
                <a:gd name="connsiteY5008" fmla="*/ 320516 h 514350"/>
                <a:gd name="connsiteX5009" fmla="*/ 3416141 w 6400800"/>
                <a:gd name="connsiteY5009" fmla="*/ 335756 h 514350"/>
                <a:gd name="connsiteX5010" fmla="*/ 3421856 w 6400800"/>
                <a:gd name="connsiteY5010" fmla="*/ 320516 h 514350"/>
                <a:gd name="connsiteX5011" fmla="*/ 3419951 w 6400800"/>
                <a:gd name="connsiteY5011" fmla="*/ 332899 h 514350"/>
                <a:gd name="connsiteX5012" fmla="*/ 3418046 w 6400800"/>
                <a:gd name="connsiteY5012" fmla="*/ 316706 h 514350"/>
                <a:gd name="connsiteX5013" fmla="*/ 3420904 w 6400800"/>
                <a:gd name="connsiteY5013" fmla="*/ 310991 h 514350"/>
                <a:gd name="connsiteX5014" fmla="*/ 3421856 w 6400800"/>
                <a:gd name="connsiteY5014" fmla="*/ 308134 h 514350"/>
                <a:gd name="connsiteX5015" fmla="*/ 3422809 w 6400800"/>
                <a:gd name="connsiteY5015" fmla="*/ 312896 h 514350"/>
                <a:gd name="connsiteX5016" fmla="*/ 3421856 w 6400800"/>
                <a:gd name="connsiteY5016" fmla="*/ 320516 h 514350"/>
                <a:gd name="connsiteX5017" fmla="*/ 3410426 w 6400800"/>
                <a:gd name="connsiteY5017" fmla="*/ 139541 h 514350"/>
                <a:gd name="connsiteX5018" fmla="*/ 3421856 w 6400800"/>
                <a:gd name="connsiteY5018" fmla="*/ 161449 h 514350"/>
                <a:gd name="connsiteX5019" fmla="*/ 3433286 w 6400800"/>
                <a:gd name="connsiteY5019" fmla="*/ 181451 h 514350"/>
                <a:gd name="connsiteX5020" fmla="*/ 3428524 w 6400800"/>
                <a:gd name="connsiteY5020" fmla="*/ 198596 h 514350"/>
                <a:gd name="connsiteX5021" fmla="*/ 3425666 w 6400800"/>
                <a:gd name="connsiteY5021" fmla="*/ 210026 h 514350"/>
                <a:gd name="connsiteX5022" fmla="*/ 3422809 w 6400800"/>
                <a:gd name="connsiteY5022" fmla="*/ 195739 h 514350"/>
                <a:gd name="connsiteX5023" fmla="*/ 3415189 w 6400800"/>
                <a:gd name="connsiteY5023" fmla="*/ 163354 h 514350"/>
                <a:gd name="connsiteX5024" fmla="*/ 3410426 w 6400800"/>
                <a:gd name="connsiteY5024" fmla="*/ 143351 h 514350"/>
                <a:gd name="connsiteX5025" fmla="*/ 3410426 w 6400800"/>
                <a:gd name="connsiteY5025" fmla="*/ 139541 h 514350"/>
                <a:gd name="connsiteX5026" fmla="*/ 3408521 w 6400800"/>
                <a:gd name="connsiteY5026" fmla="*/ 136684 h 514350"/>
                <a:gd name="connsiteX5027" fmla="*/ 3408521 w 6400800"/>
                <a:gd name="connsiteY5027" fmla="*/ 136684 h 514350"/>
                <a:gd name="connsiteX5028" fmla="*/ 3408521 w 6400800"/>
                <a:gd name="connsiteY5028" fmla="*/ 136684 h 514350"/>
                <a:gd name="connsiteX5029" fmla="*/ 3408521 w 6400800"/>
                <a:gd name="connsiteY5029" fmla="*/ 136684 h 514350"/>
                <a:gd name="connsiteX5030" fmla="*/ 3395186 w 6400800"/>
                <a:gd name="connsiteY5030" fmla="*/ 266224 h 514350"/>
                <a:gd name="connsiteX5031" fmla="*/ 3396139 w 6400800"/>
                <a:gd name="connsiteY5031" fmla="*/ 227171 h 514350"/>
                <a:gd name="connsiteX5032" fmla="*/ 3396139 w 6400800"/>
                <a:gd name="connsiteY5032" fmla="*/ 212884 h 514350"/>
                <a:gd name="connsiteX5033" fmla="*/ 3398996 w 6400800"/>
                <a:gd name="connsiteY5033" fmla="*/ 204311 h 514350"/>
                <a:gd name="connsiteX5034" fmla="*/ 3396139 w 6400800"/>
                <a:gd name="connsiteY5034" fmla="*/ 210026 h 514350"/>
                <a:gd name="connsiteX5035" fmla="*/ 3396139 w 6400800"/>
                <a:gd name="connsiteY5035" fmla="*/ 202406 h 514350"/>
                <a:gd name="connsiteX5036" fmla="*/ 3398044 w 6400800"/>
                <a:gd name="connsiteY5036" fmla="*/ 194786 h 514350"/>
                <a:gd name="connsiteX5037" fmla="*/ 3408521 w 6400800"/>
                <a:gd name="connsiteY5037" fmla="*/ 145256 h 514350"/>
                <a:gd name="connsiteX5038" fmla="*/ 3410426 w 6400800"/>
                <a:gd name="connsiteY5038" fmla="*/ 162401 h 514350"/>
                <a:gd name="connsiteX5039" fmla="*/ 3414236 w 6400800"/>
                <a:gd name="connsiteY5039" fmla="*/ 195739 h 514350"/>
                <a:gd name="connsiteX5040" fmla="*/ 3417094 w 6400800"/>
                <a:gd name="connsiteY5040" fmla="*/ 215741 h 514350"/>
                <a:gd name="connsiteX5041" fmla="*/ 3419951 w 6400800"/>
                <a:gd name="connsiteY5041" fmla="*/ 229076 h 514350"/>
                <a:gd name="connsiteX5042" fmla="*/ 3418046 w 6400800"/>
                <a:gd name="connsiteY5042" fmla="*/ 233839 h 514350"/>
                <a:gd name="connsiteX5043" fmla="*/ 3411379 w 6400800"/>
                <a:gd name="connsiteY5043" fmla="*/ 253841 h 514350"/>
                <a:gd name="connsiteX5044" fmla="*/ 3407569 w 6400800"/>
                <a:gd name="connsiteY5044" fmla="*/ 244316 h 514350"/>
                <a:gd name="connsiteX5045" fmla="*/ 3407569 w 6400800"/>
                <a:gd name="connsiteY5045" fmla="*/ 239554 h 514350"/>
                <a:gd name="connsiteX5046" fmla="*/ 3407569 w 6400800"/>
                <a:gd name="connsiteY5046" fmla="*/ 224314 h 514350"/>
                <a:gd name="connsiteX5047" fmla="*/ 3403759 w 6400800"/>
                <a:gd name="connsiteY5047" fmla="*/ 239554 h 514350"/>
                <a:gd name="connsiteX5048" fmla="*/ 3399949 w 6400800"/>
                <a:gd name="connsiteY5048" fmla="*/ 256699 h 514350"/>
                <a:gd name="connsiteX5049" fmla="*/ 3395186 w 6400800"/>
                <a:gd name="connsiteY5049" fmla="*/ 275749 h 514350"/>
                <a:gd name="connsiteX5050" fmla="*/ 3395186 w 6400800"/>
                <a:gd name="connsiteY5050" fmla="*/ 266224 h 514350"/>
                <a:gd name="connsiteX5051" fmla="*/ 3363754 w 6400800"/>
                <a:gd name="connsiteY5051" fmla="*/ 252889 h 514350"/>
                <a:gd name="connsiteX5052" fmla="*/ 3365659 w 6400800"/>
                <a:gd name="connsiteY5052" fmla="*/ 264319 h 514350"/>
                <a:gd name="connsiteX5053" fmla="*/ 3363754 w 6400800"/>
                <a:gd name="connsiteY5053" fmla="*/ 269081 h 514350"/>
                <a:gd name="connsiteX5054" fmla="*/ 3363754 w 6400800"/>
                <a:gd name="connsiteY5054" fmla="*/ 252889 h 514350"/>
                <a:gd name="connsiteX5055" fmla="*/ 3321844 w 6400800"/>
                <a:gd name="connsiteY5055" fmla="*/ 351949 h 514350"/>
                <a:gd name="connsiteX5056" fmla="*/ 3322796 w 6400800"/>
                <a:gd name="connsiteY5056" fmla="*/ 342424 h 514350"/>
                <a:gd name="connsiteX5057" fmla="*/ 3323749 w 6400800"/>
                <a:gd name="connsiteY5057" fmla="*/ 347186 h 514350"/>
                <a:gd name="connsiteX5058" fmla="*/ 3321844 w 6400800"/>
                <a:gd name="connsiteY5058" fmla="*/ 351949 h 514350"/>
                <a:gd name="connsiteX5059" fmla="*/ 3340894 w 6400800"/>
                <a:gd name="connsiteY5059" fmla="*/ 273844 h 514350"/>
                <a:gd name="connsiteX5060" fmla="*/ 3347561 w 6400800"/>
                <a:gd name="connsiteY5060" fmla="*/ 298609 h 514350"/>
                <a:gd name="connsiteX5061" fmla="*/ 3344704 w 6400800"/>
                <a:gd name="connsiteY5061" fmla="*/ 304324 h 514350"/>
                <a:gd name="connsiteX5062" fmla="*/ 3338989 w 6400800"/>
                <a:gd name="connsiteY5062" fmla="*/ 290989 h 514350"/>
                <a:gd name="connsiteX5063" fmla="*/ 3335179 w 6400800"/>
                <a:gd name="connsiteY5063" fmla="*/ 251936 h 514350"/>
                <a:gd name="connsiteX5064" fmla="*/ 3340894 w 6400800"/>
                <a:gd name="connsiteY5064" fmla="*/ 273844 h 514350"/>
                <a:gd name="connsiteX5065" fmla="*/ 3330416 w 6400800"/>
                <a:gd name="connsiteY5065" fmla="*/ 376714 h 514350"/>
                <a:gd name="connsiteX5066" fmla="*/ 3331369 w 6400800"/>
                <a:gd name="connsiteY5066" fmla="*/ 379571 h 514350"/>
                <a:gd name="connsiteX5067" fmla="*/ 3329464 w 6400800"/>
                <a:gd name="connsiteY5067" fmla="*/ 384334 h 514350"/>
                <a:gd name="connsiteX5068" fmla="*/ 3328511 w 6400800"/>
                <a:gd name="connsiteY5068" fmla="*/ 381476 h 514350"/>
                <a:gd name="connsiteX5069" fmla="*/ 3330416 w 6400800"/>
                <a:gd name="connsiteY5069" fmla="*/ 376714 h 514350"/>
                <a:gd name="connsiteX5070" fmla="*/ 3329464 w 6400800"/>
                <a:gd name="connsiteY5070" fmla="*/ 202406 h 514350"/>
                <a:gd name="connsiteX5071" fmla="*/ 3329464 w 6400800"/>
                <a:gd name="connsiteY5071" fmla="*/ 207169 h 514350"/>
                <a:gd name="connsiteX5072" fmla="*/ 3328511 w 6400800"/>
                <a:gd name="connsiteY5072" fmla="*/ 205264 h 514350"/>
                <a:gd name="connsiteX5073" fmla="*/ 3329464 w 6400800"/>
                <a:gd name="connsiteY5073" fmla="*/ 202406 h 514350"/>
                <a:gd name="connsiteX5074" fmla="*/ 3326606 w 6400800"/>
                <a:gd name="connsiteY5074" fmla="*/ 302419 h 514350"/>
                <a:gd name="connsiteX5075" fmla="*/ 3329464 w 6400800"/>
                <a:gd name="connsiteY5075" fmla="*/ 310039 h 514350"/>
                <a:gd name="connsiteX5076" fmla="*/ 3329464 w 6400800"/>
                <a:gd name="connsiteY5076" fmla="*/ 311944 h 514350"/>
                <a:gd name="connsiteX5077" fmla="*/ 3326606 w 6400800"/>
                <a:gd name="connsiteY5077" fmla="*/ 306229 h 514350"/>
                <a:gd name="connsiteX5078" fmla="*/ 3326606 w 6400800"/>
                <a:gd name="connsiteY5078" fmla="*/ 302419 h 514350"/>
                <a:gd name="connsiteX5079" fmla="*/ 3323749 w 6400800"/>
                <a:gd name="connsiteY5079" fmla="*/ 227171 h 514350"/>
                <a:gd name="connsiteX5080" fmla="*/ 3325654 w 6400800"/>
                <a:gd name="connsiteY5080" fmla="*/ 219551 h 514350"/>
                <a:gd name="connsiteX5081" fmla="*/ 3325654 w 6400800"/>
                <a:gd name="connsiteY5081" fmla="*/ 221456 h 514350"/>
                <a:gd name="connsiteX5082" fmla="*/ 3318034 w 6400800"/>
                <a:gd name="connsiteY5082" fmla="*/ 256699 h 514350"/>
                <a:gd name="connsiteX5083" fmla="*/ 3317081 w 6400800"/>
                <a:gd name="connsiteY5083" fmla="*/ 255746 h 514350"/>
                <a:gd name="connsiteX5084" fmla="*/ 3323749 w 6400800"/>
                <a:gd name="connsiteY5084" fmla="*/ 227171 h 514350"/>
                <a:gd name="connsiteX5085" fmla="*/ 3315176 w 6400800"/>
                <a:gd name="connsiteY5085" fmla="*/ 269081 h 514350"/>
                <a:gd name="connsiteX5086" fmla="*/ 3316129 w 6400800"/>
                <a:gd name="connsiteY5086" fmla="*/ 270986 h 514350"/>
                <a:gd name="connsiteX5087" fmla="*/ 3314224 w 6400800"/>
                <a:gd name="connsiteY5087" fmla="*/ 282416 h 514350"/>
                <a:gd name="connsiteX5088" fmla="*/ 3313271 w 6400800"/>
                <a:gd name="connsiteY5088" fmla="*/ 280511 h 514350"/>
                <a:gd name="connsiteX5089" fmla="*/ 3315176 w 6400800"/>
                <a:gd name="connsiteY5089" fmla="*/ 269081 h 514350"/>
                <a:gd name="connsiteX5090" fmla="*/ 3305651 w 6400800"/>
                <a:gd name="connsiteY5090" fmla="*/ 310991 h 514350"/>
                <a:gd name="connsiteX5091" fmla="*/ 3308509 w 6400800"/>
                <a:gd name="connsiteY5091" fmla="*/ 298609 h 514350"/>
                <a:gd name="connsiteX5092" fmla="*/ 3310414 w 6400800"/>
                <a:gd name="connsiteY5092" fmla="*/ 302419 h 514350"/>
                <a:gd name="connsiteX5093" fmla="*/ 3307556 w 6400800"/>
                <a:gd name="connsiteY5093" fmla="*/ 320516 h 514350"/>
                <a:gd name="connsiteX5094" fmla="*/ 3304699 w 6400800"/>
                <a:gd name="connsiteY5094" fmla="*/ 313849 h 514350"/>
                <a:gd name="connsiteX5095" fmla="*/ 3305651 w 6400800"/>
                <a:gd name="connsiteY5095" fmla="*/ 310991 h 514350"/>
                <a:gd name="connsiteX5096" fmla="*/ 3302794 w 6400800"/>
                <a:gd name="connsiteY5096" fmla="*/ 327184 h 514350"/>
                <a:gd name="connsiteX5097" fmla="*/ 3304699 w 6400800"/>
                <a:gd name="connsiteY5097" fmla="*/ 335756 h 514350"/>
                <a:gd name="connsiteX5098" fmla="*/ 3300889 w 6400800"/>
                <a:gd name="connsiteY5098" fmla="*/ 349091 h 514350"/>
                <a:gd name="connsiteX5099" fmla="*/ 3298984 w 6400800"/>
                <a:gd name="connsiteY5099" fmla="*/ 355759 h 514350"/>
                <a:gd name="connsiteX5100" fmla="*/ 3297079 w 6400800"/>
                <a:gd name="connsiteY5100" fmla="*/ 351949 h 514350"/>
                <a:gd name="connsiteX5101" fmla="*/ 3302794 w 6400800"/>
                <a:gd name="connsiteY5101" fmla="*/ 327184 h 514350"/>
                <a:gd name="connsiteX5102" fmla="*/ 3279934 w 6400800"/>
                <a:gd name="connsiteY5102" fmla="*/ 297656 h 514350"/>
                <a:gd name="connsiteX5103" fmla="*/ 3280886 w 6400800"/>
                <a:gd name="connsiteY5103" fmla="*/ 289084 h 514350"/>
                <a:gd name="connsiteX5104" fmla="*/ 3283744 w 6400800"/>
                <a:gd name="connsiteY5104" fmla="*/ 263366 h 514350"/>
                <a:gd name="connsiteX5105" fmla="*/ 3284696 w 6400800"/>
                <a:gd name="connsiteY5105" fmla="*/ 252889 h 514350"/>
                <a:gd name="connsiteX5106" fmla="*/ 3293269 w 6400800"/>
                <a:gd name="connsiteY5106" fmla="*/ 270034 h 514350"/>
                <a:gd name="connsiteX5107" fmla="*/ 3291364 w 6400800"/>
                <a:gd name="connsiteY5107" fmla="*/ 277654 h 514350"/>
                <a:gd name="connsiteX5108" fmla="*/ 3290411 w 6400800"/>
                <a:gd name="connsiteY5108" fmla="*/ 283369 h 514350"/>
                <a:gd name="connsiteX5109" fmla="*/ 3289459 w 6400800"/>
                <a:gd name="connsiteY5109" fmla="*/ 264319 h 514350"/>
                <a:gd name="connsiteX5110" fmla="*/ 3281839 w 6400800"/>
                <a:gd name="connsiteY5110" fmla="*/ 317659 h 514350"/>
                <a:gd name="connsiteX5111" fmla="*/ 3280886 w 6400800"/>
                <a:gd name="connsiteY5111" fmla="*/ 317659 h 514350"/>
                <a:gd name="connsiteX5112" fmla="*/ 3280886 w 6400800"/>
                <a:gd name="connsiteY5112" fmla="*/ 316706 h 514350"/>
                <a:gd name="connsiteX5113" fmla="*/ 3279934 w 6400800"/>
                <a:gd name="connsiteY5113" fmla="*/ 315754 h 514350"/>
                <a:gd name="connsiteX5114" fmla="*/ 3278981 w 6400800"/>
                <a:gd name="connsiteY5114" fmla="*/ 313849 h 514350"/>
                <a:gd name="connsiteX5115" fmla="*/ 3279934 w 6400800"/>
                <a:gd name="connsiteY5115" fmla="*/ 297656 h 514350"/>
                <a:gd name="connsiteX5116" fmla="*/ 3263741 w 6400800"/>
                <a:gd name="connsiteY5116" fmla="*/ 295751 h 514350"/>
                <a:gd name="connsiteX5117" fmla="*/ 3263741 w 6400800"/>
                <a:gd name="connsiteY5117" fmla="*/ 293846 h 514350"/>
                <a:gd name="connsiteX5118" fmla="*/ 3263741 w 6400800"/>
                <a:gd name="connsiteY5118" fmla="*/ 295751 h 514350"/>
                <a:gd name="connsiteX5119" fmla="*/ 3264694 w 6400800"/>
                <a:gd name="connsiteY5119" fmla="*/ 296704 h 514350"/>
                <a:gd name="connsiteX5120" fmla="*/ 3262789 w 6400800"/>
                <a:gd name="connsiteY5120" fmla="*/ 306229 h 514350"/>
                <a:gd name="connsiteX5121" fmla="*/ 3263741 w 6400800"/>
                <a:gd name="connsiteY5121" fmla="*/ 295751 h 514350"/>
                <a:gd name="connsiteX5122" fmla="*/ 3232309 w 6400800"/>
                <a:gd name="connsiteY5122" fmla="*/ 381476 h 514350"/>
                <a:gd name="connsiteX5123" fmla="*/ 3232309 w 6400800"/>
                <a:gd name="connsiteY5123" fmla="*/ 357664 h 514350"/>
                <a:gd name="connsiteX5124" fmla="*/ 3232309 w 6400800"/>
                <a:gd name="connsiteY5124" fmla="*/ 358616 h 514350"/>
                <a:gd name="connsiteX5125" fmla="*/ 3233261 w 6400800"/>
                <a:gd name="connsiteY5125" fmla="*/ 360521 h 514350"/>
                <a:gd name="connsiteX5126" fmla="*/ 3232309 w 6400800"/>
                <a:gd name="connsiteY5126" fmla="*/ 381476 h 514350"/>
                <a:gd name="connsiteX5127" fmla="*/ 3239929 w 6400800"/>
                <a:gd name="connsiteY5127" fmla="*/ 327184 h 514350"/>
                <a:gd name="connsiteX5128" fmla="*/ 3241834 w 6400800"/>
                <a:gd name="connsiteY5128" fmla="*/ 339566 h 514350"/>
                <a:gd name="connsiteX5129" fmla="*/ 3239929 w 6400800"/>
                <a:gd name="connsiteY5129" fmla="*/ 333851 h 514350"/>
                <a:gd name="connsiteX5130" fmla="*/ 3239929 w 6400800"/>
                <a:gd name="connsiteY5130" fmla="*/ 329089 h 514350"/>
                <a:gd name="connsiteX5131" fmla="*/ 3239929 w 6400800"/>
                <a:gd name="connsiteY5131" fmla="*/ 327184 h 514350"/>
                <a:gd name="connsiteX5132" fmla="*/ 3234214 w 6400800"/>
                <a:gd name="connsiteY5132" fmla="*/ 318611 h 514350"/>
                <a:gd name="connsiteX5133" fmla="*/ 3237071 w 6400800"/>
                <a:gd name="connsiteY5133" fmla="*/ 310039 h 514350"/>
                <a:gd name="connsiteX5134" fmla="*/ 3238024 w 6400800"/>
                <a:gd name="connsiteY5134" fmla="*/ 314801 h 514350"/>
                <a:gd name="connsiteX5135" fmla="*/ 3238024 w 6400800"/>
                <a:gd name="connsiteY5135" fmla="*/ 316706 h 514350"/>
                <a:gd name="connsiteX5136" fmla="*/ 3237071 w 6400800"/>
                <a:gd name="connsiteY5136" fmla="*/ 317659 h 514350"/>
                <a:gd name="connsiteX5137" fmla="*/ 3237071 w 6400800"/>
                <a:gd name="connsiteY5137" fmla="*/ 311944 h 514350"/>
                <a:gd name="connsiteX5138" fmla="*/ 3236119 w 6400800"/>
                <a:gd name="connsiteY5138" fmla="*/ 319564 h 514350"/>
                <a:gd name="connsiteX5139" fmla="*/ 3234214 w 6400800"/>
                <a:gd name="connsiteY5139" fmla="*/ 322421 h 514350"/>
                <a:gd name="connsiteX5140" fmla="*/ 3233261 w 6400800"/>
                <a:gd name="connsiteY5140" fmla="*/ 319564 h 514350"/>
                <a:gd name="connsiteX5141" fmla="*/ 3234214 w 6400800"/>
                <a:gd name="connsiteY5141" fmla="*/ 318611 h 514350"/>
                <a:gd name="connsiteX5142" fmla="*/ 3233261 w 6400800"/>
                <a:gd name="connsiteY5142" fmla="*/ 286226 h 514350"/>
                <a:gd name="connsiteX5143" fmla="*/ 3233261 w 6400800"/>
                <a:gd name="connsiteY5143" fmla="*/ 288131 h 514350"/>
                <a:gd name="connsiteX5144" fmla="*/ 3232309 w 6400800"/>
                <a:gd name="connsiteY5144" fmla="*/ 290036 h 514350"/>
                <a:gd name="connsiteX5145" fmla="*/ 3232309 w 6400800"/>
                <a:gd name="connsiteY5145" fmla="*/ 282416 h 514350"/>
                <a:gd name="connsiteX5146" fmla="*/ 3233261 w 6400800"/>
                <a:gd name="connsiteY5146" fmla="*/ 286226 h 514350"/>
                <a:gd name="connsiteX5147" fmla="*/ 3222784 w 6400800"/>
                <a:gd name="connsiteY5147" fmla="*/ 285274 h 514350"/>
                <a:gd name="connsiteX5148" fmla="*/ 3223736 w 6400800"/>
                <a:gd name="connsiteY5148" fmla="*/ 273844 h 514350"/>
                <a:gd name="connsiteX5149" fmla="*/ 3224689 w 6400800"/>
                <a:gd name="connsiteY5149" fmla="*/ 270034 h 514350"/>
                <a:gd name="connsiteX5150" fmla="*/ 3224689 w 6400800"/>
                <a:gd name="connsiteY5150" fmla="*/ 270986 h 514350"/>
                <a:gd name="connsiteX5151" fmla="*/ 3227546 w 6400800"/>
                <a:gd name="connsiteY5151" fmla="*/ 253841 h 514350"/>
                <a:gd name="connsiteX5152" fmla="*/ 3227546 w 6400800"/>
                <a:gd name="connsiteY5152" fmla="*/ 253841 h 514350"/>
                <a:gd name="connsiteX5153" fmla="*/ 3223736 w 6400800"/>
                <a:gd name="connsiteY5153" fmla="*/ 292894 h 514350"/>
                <a:gd name="connsiteX5154" fmla="*/ 3222784 w 6400800"/>
                <a:gd name="connsiteY5154" fmla="*/ 291941 h 514350"/>
                <a:gd name="connsiteX5155" fmla="*/ 3222784 w 6400800"/>
                <a:gd name="connsiteY5155" fmla="*/ 290989 h 514350"/>
                <a:gd name="connsiteX5156" fmla="*/ 3222784 w 6400800"/>
                <a:gd name="connsiteY5156" fmla="*/ 285274 h 514350"/>
                <a:gd name="connsiteX5157" fmla="*/ 3217069 w 6400800"/>
                <a:gd name="connsiteY5157" fmla="*/ 207169 h 514350"/>
                <a:gd name="connsiteX5158" fmla="*/ 3219926 w 6400800"/>
                <a:gd name="connsiteY5158" fmla="*/ 219551 h 514350"/>
                <a:gd name="connsiteX5159" fmla="*/ 3215164 w 6400800"/>
                <a:gd name="connsiteY5159" fmla="*/ 238601 h 514350"/>
                <a:gd name="connsiteX5160" fmla="*/ 3217069 w 6400800"/>
                <a:gd name="connsiteY5160" fmla="*/ 207169 h 514350"/>
                <a:gd name="connsiteX5161" fmla="*/ 3191351 w 6400800"/>
                <a:gd name="connsiteY5161" fmla="*/ 249079 h 514350"/>
                <a:gd name="connsiteX5162" fmla="*/ 3192304 w 6400800"/>
                <a:gd name="connsiteY5162" fmla="*/ 232886 h 514350"/>
                <a:gd name="connsiteX5163" fmla="*/ 3194209 w 6400800"/>
                <a:gd name="connsiteY5163" fmla="*/ 238601 h 514350"/>
                <a:gd name="connsiteX5164" fmla="*/ 3191351 w 6400800"/>
                <a:gd name="connsiteY5164" fmla="*/ 265271 h 514350"/>
                <a:gd name="connsiteX5165" fmla="*/ 3191351 w 6400800"/>
                <a:gd name="connsiteY5165" fmla="*/ 249079 h 514350"/>
                <a:gd name="connsiteX5166" fmla="*/ 3155156 w 6400800"/>
                <a:gd name="connsiteY5166" fmla="*/ 313849 h 514350"/>
                <a:gd name="connsiteX5167" fmla="*/ 3156109 w 6400800"/>
                <a:gd name="connsiteY5167" fmla="*/ 320516 h 514350"/>
                <a:gd name="connsiteX5168" fmla="*/ 3158014 w 6400800"/>
                <a:gd name="connsiteY5168" fmla="*/ 334804 h 514350"/>
                <a:gd name="connsiteX5169" fmla="*/ 3154204 w 6400800"/>
                <a:gd name="connsiteY5169" fmla="*/ 354806 h 514350"/>
                <a:gd name="connsiteX5170" fmla="*/ 3152299 w 6400800"/>
                <a:gd name="connsiteY5170" fmla="*/ 351949 h 514350"/>
                <a:gd name="connsiteX5171" fmla="*/ 3152299 w 6400800"/>
                <a:gd name="connsiteY5171" fmla="*/ 350044 h 514350"/>
                <a:gd name="connsiteX5172" fmla="*/ 3151346 w 6400800"/>
                <a:gd name="connsiteY5172" fmla="*/ 345281 h 514350"/>
                <a:gd name="connsiteX5173" fmla="*/ 3151346 w 6400800"/>
                <a:gd name="connsiteY5173" fmla="*/ 344329 h 514350"/>
                <a:gd name="connsiteX5174" fmla="*/ 3151346 w 6400800"/>
                <a:gd name="connsiteY5174" fmla="*/ 338614 h 514350"/>
                <a:gd name="connsiteX5175" fmla="*/ 3155156 w 6400800"/>
                <a:gd name="connsiteY5175" fmla="*/ 313849 h 514350"/>
                <a:gd name="connsiteX5176" fmla="*/ 3139916 w 6400800"/>
                <a:gd name="connsiteY5176" fmla="*/ 213836 h 514350"/>
                <a:gd name="connsiteX5177" fmla="*/ 3143726 w 6400800"/>
                <a:gd name="connsiteY5177" fmla="*/ 235744 h 514350"/>
                <a:gd name="connsiteX5178" fmla="*/ 3148489 w 6400800"/>
                <a:gd name="connsiteY5178" fmla="*/ 267176 h 514350"/>
                <a:gd name="connsiteX5179" fmla="*/ 3143726 w 6400800"/>
                <a:gd name="connsiteY5179" fmla="*/ 284321 h 514350"/>
                <a:gd name="connsiteX5180" fmla="*/ 3137059 w 6400800"/>
                <a:gd name="connsiteY5180" fmla="*/ 216694 h 514350"/>
                <a:gd name="connsiteX5181" fmla="*/ 3139916 w 6400800"/>
                <a:gd name="connsiteY5181" fmla="*/ 213836 h 514350"/>
                <a:gd name="connsiteX5182" fmla="*/ 3130391 w 6400800"/>
                <a:gd name="connsiteY5182" fmla="*/ 337661 h 514350"/>
                <a:gd name="connsiteX5183" fmla="*/ 3130391 w 6400800"/>
                <a:gd name="connsiteY5183" fmla="*/ 335756 h 514350"/>
                <a:gd name="connsiteX5184" fmla="*/ 3130391 w 6400800"/>
                <a:gd name="connsiteY5184" fmla="*/ 335756 h 514350"/>
                <a:gd name="connsiteX5185" fmla="*/ 3130391 w 6400800"/>
                <a:gd name="connsiteY5185" fmla="*/ 337661 h 514350"/>
                <a:gd name="connsiteX5186" fmla="*/ 3130391 w 6400800"/>
                <a:gd name="connsiteY5186" fmla="*/ 328136 h 514350"/>
                <a:gd name="connsiteX5187" fmla="*/ 3130391 w 6400800"/>
                <a:gd name="connsiteY5187" fmla="*/ 328136 h 514350"/>
                <a:gd name="connsiteX5188" fmla="*/ 3130391 w 6400800"/>
                <a:gd name="connsiteY5188" fmla="*/ 328136 h 514350"/>
                <a:gd name="connsiteX5189" fmla="*/ 3130391 w 6400800"/>
                <a:gd name="connsiteY5189" fmla="*/ 328136 h 514350"/>
                <a:gd name="connsiteX5190" fmla="*/ 3133249 w 6400800"/>
                <a:gd name="connsiteY5190" fmla="*/ 276701 h 514350"/>
                <a:gd name="connsiteX5191" fmla="*/ 3133249 w 6400800"/>
                <a:gd name="connsiteY5191" fmla="*/ 276701 h 514350"/>
                <a:gd name="connsiteX5192" fmla="*/ 3128486 w 6400800"/>
                <a:gd name="connsiteY5192" fmla="*/ 259556 h 514350"/>
                <a:gd name="connsiteX5193" fmla="*/ 3127534 w 6400800"/>
                <a:gd name="connsiteY5193" fmla="*/ 246221 h 514350"/>
                <a:gd name="connsiteX5194" fmla="*/ 3135154 w 6400800"/>
                <a:gd name="connsiteY5194" fmla="*/ 223361 h 514350"/>
                <a:gd name="connsiteX5195" fmla="*/ 3133249 w 6400800"/>
                <a:gd name="connsiteY5195" fmla="*/ 276701 h 514350"/>
                <a:gd name="connsiteX5196" fmla="*/ 3130391 w 6400800"/>
                <a:gd name="connsiteY5196" fmla="*/ 229076 h 514350"/>
                <a:gd name="connsiteX5197" fmla="*/ 3136106 w 6400800"/>
                <a:gd name="connsiteY5197" fmla="*/ 219551 h 514350"/>
                <a:gd name="connsiteX5198" fmla="*/ 3136106 w 6400800"/>
                <a:gd name="connsiteY5198" fmla="*/ 221456 h 514350"/>
                <a:gd name="connsiteX5199" fmla="*/ 3127534 w 6400800"/>
                <a:gd name="connsiteY5199" fmla="*/ 236696 h 514350"/>
                <a:gd name="connsiteX5200" fmla="*/ 3127534 w 6400800"/>
                <a:gd name="connsiteY5200" fmla="*/ 234791 h 514350"/>
                <a:gd name="connsiteX5201" fmla="*/ 3130391 w 6400800"/>
                <a:gd name="connsiteY5201" fmla="*/ 229076 h 514350"/>
                <a:gd name="connsiteX5202" fmla="*/ 3114199 w 6400800"/>
                <a:gd name="connsiteY5202" fmla="*/ 290036 h 514350"/>
                <a:gd name="connsiteX5203" fmla="*/ 3113246 w 6400800"/>
                <a:gd name="connsiteY5203" fmla="*/ 287179 h 514350"/>
                <a:gd name="connsiteX5204" fmla="*/ 3113246 w 6400800"/>
                <a:gd name="connsiteY5204" fmla="*/ 286226 h 514350"/>
                <a:gd name="connsiteX5205" fmla="*/ 3115151 w 6400800"/>
                <a:gd name="connsiteY5205" fmla="*/ 281464 h 514350"/>
                <a:gd name="connsiteX5206" fmla="*/ 3114199 w 6400800"/>
                <a:gd name="connsiteY5206" fmla="*/ 290036 h 514350"/>
                <a:gd name="connsiteX5207" fmla="*/ 3115151 w 6400800"/>
                <a:gd name="connsiteY5207" fmla="*/ 257651 h 514350"/>
                <a:gd name="connsiteX5208" fmla="*/ 3116104 w 6400800"/>
                <a:gd name="connsiteY5208" fmla="*/ 255746 h 514350"/>
                <a:gd name="connsiteX5209" fmla="*/ 3115151 w 6400800"/>
                <a:gd name="connsiteY5209" fmla="*/ 257651 h 514350"/>
                <a:gd name="connsiteX5210" fmla="*/ 3109436 w 6400800"/>
                <a:gd name="connsiteY5210" fmla="*/ 270034 h 514350"/>
                <a:gd name="connsiteX5211" fmla="*/ 3115151 w 6400800"/>
                <a:gd name="connsiteY5211" fmla="*/ 257651 h 514350"/>
                <a:gd name="connsiteX5212" fmla="*/ 3110389 w 6400800"/>
                <a:gd name="connsiteY5212" fmla="*/ 292894 h 514350"/>
                <a:gd name="connsiteX5213" fmla="*/ 3113246 w 6400800"/>
                <a:gd name="connsiteY5213" fmla="*/ 309086 h 514350"/>
                <a:gd name="connsiteX5214" fmla="*/ 3114199 w 6400800"/>
                <a:gd name="connsiteY5214" fmla="*/ 311944 h 514350"/>
                <a:gd name="connsiteX5215" fmla="*/ 3114199 w 6400800"/>
                <a:gd name="connsiteY5215" fmla="*/ 321469 h 514350"/>
                <a:gd name="connsiteX5216" fmla="*/ 3114199 w 6400800"/>
                <a:gd name="connsiteY5216" fmla="*/ 319564 h 514350"/>
                <a:gd name="connsiteX5217" fmla="*/ 3110389 w 6400800"/>
                <a:gd name="connsiteY5217" fmla="*/ 309086 h 514350"/>
                <a:gd name="connsiteX5218" fmla="*/ 3109436 w 6400800"/>
                <a:gd name="connsiteY5218" fmla="*/ 300514 h 514350"/>
                <a:gd name="connsiteX5219" fmla="*/ 3109436 w 6400800"/>
                <a:gd name="connsiteY5219" fmla="*/ 299561 h 514350"/>
                <a:gd name="connsiteX5220" fmla="*/ 3110389 w 6400800"/>
                <a:gd name="connsiteY5220" fmla="*/ 292894 h 514350"/>
                <a:gd name="connsiteX5221" fmla="*/ 3098006 w 6400800"/>
                <a:gd name="connsiteY5221" fmla="*/ 350996 h 514350"/>
                <a:gd name="connsiteX5222" fmla="*/ 3098006 w 6400800"/>
                <a:gd name="connsiteY5222" fmla="*/ 350996 h 514350"/>
                <a:gd name="connsiteX5223" fmla="*/ 3098006 w 6400800"/>
                <a:gd name="connsiteY5223" fmla="*/ 353854 h 514350"/>
                <a:gd name="connsiteX5224" fmla="*/ 3097054 w 6400800"/>
                <a:gd name="connsiteY5224" fmla="*/ 354806 h 514350"/>
                <a:gd name="connsiteX5225" fmla="*/ 3098006 w 6400800"/>
                <a:gd name="connsiteY5225" fmla="*/ 350996 h 514350"/>
                <a:gd name="connsiteX5226" fmla="*/ 3093244 w 6400800"/>
                <a:gd name="connsiteY5226" fmla="*/ 377666 h 514350"/>
                <a:gd name="connsiteX5227" fmla="*/ 3097054 w 6400800"/>
                <a:gd name="connsiteY5227" fmla="*/ 370046 h 514350"/>
                <a:gd name="connsiteX5228" fmla="*/ 3094196 w 6400800"/>
                <a:gd name="connsiteY5228" fmla="*/ 373856 h 514350"/>
                <a:gd name="connsiteX5229" fmla="*/ 3097054 w 6400800"/>
                <a:gd name="connsiteY5229" fmla="*/ 355759 h 514350"/>
                <a:gd name="connsiteX5230" fmla="*/ 3098006 w 6400800"/>
                <a:gd name="connsiteY5230" fmla="*/ 353854 h 514350"/>
                <a:gd name="connsiteX5231" fmla="*/ 3098006 w 6400800"/>
                <a:gd name="connsiteY5231" fmla="*/ 371951 h 514350"/>
                <a:gd name="connsiteX5232" fmla="*/ 3098006 w 6400800"/>
                <a:gd name="connsiteY5232" fmla="*/ 383381 h 514350"/>
                <a:gd name="connsiteX5233" fmla="*/ 3095149 w 6400800"/>
                <a:gd name="connsiteY5233" fmla="*/ 383381 h 514350"/>
                <a:gd name="connsiteX5234" fmla="*/ 3095149 w 6400800"/>
                <a:gd name="connsiteY5234" fmla="*/ 383381 h 514350"/>
                <a:gd name="connsiteX5235" fmla="*/ 3093244 w 6400800"/>
                <a:gd name="connsiteY5235" fmla="*/ 378619 h 514350"/>
                <a:gd name="connsiteX5236" fmla="*/ 3093244 w 6400800"/>
                <a:gd name="connsiteY5236" fmla="*/ 377666 h 514350"/>
                <a:gd name="connsiteX5237" fmla="*/ 3084671 w 6400800"/>
                <a:gd name="connsiteY5237" fmla="*/ 293846 h 514350"/>
                <a:gd name="connsiteX5238" fmla="*/ 3085624 w 6400800"/>
                <a:gd name="connsiteY5238" fmla="*/ 276701 h 514350"/>
                <a:gd name="connsiteX5239" fmla="*/ 3085624 w 6400800"/>
                <a:gd name="connsiteY5239" fmla="*/ 278606 h 514350"/>
                <a:gd name="connsiteX5240" fmla="*/ 3088481 w 6400800"/>
                <a:gd name="connsiteY5240" fmla="*/ 289084 h 514350"/>
                <a:gd name="connsiteX5241" fmla="*/ 3086576 w 6400800"/>
                <a:gd name="connsiteY5241" fmla="*/ 291941 h 514350"/>
                <a:gd name="connsiteX5242" fmla="*/ 3084671 w 6400800"/>
                <a:gd name="connsiteY5242" fmla="*/ 296704 h 514350"/>
                <a:gd name="connsiteX5243" fmla="*/ 3084671 w 6400800"/>
                <a:gd name="connsiteY5243" fmla="*/ 293846 h 514350"/>
                <a:gd name="connsiteX5244" fmla="*/ 3086576 w 6400800"/>
                <a:gd name="connsiteY5244" fmla="*/ 348139 h 514350"/>
                <a:gd name="connsiteX5245" fmla="*/ 3086576 w 6400800"/>
                <a:gd name="connsiteY5245" fmla="*/ 350044 h 514350"/>
                <a:gd name="connsiteX5246" fmla="*/ 3083719 w 6400800"/>
                <a:gd name="connsiteY5246" fmla="*/ 361474 h 514350"/>
                <a:gd name="connsiteX5247" fmla="*/ 3083719 w 6400800"/>
                <a:gd name="connsiteY5247" fmla="*/ 357664 h 514350"/>
                <a:gd name="connsiteX5248" fmla="*/ 3086576 w 6400800"/>
                <a:gd name="connsiteY5248" fmla="*/ 348139 h 514350"/>
                <a:gd name="connsiteX5249" fmla="*/ 3057049 w 6400800"/>
                <a:gd name="connsiteY5249" fmla="*/ 235744 h 514350"/>
                <a:gd name="connsiteX5250" fmla="*/ 3059906 w 6400800"/>
                <a:gd name="connsiteY5250" fmla="*/ 210979 h 514350"/>
                <a:gd name="connsiteX5251" fmla="*/ 3062764 w 6400800"/>
                <a:gd name="connsiteY5251" fmla="*/ 191929 h 514350"/>
                <a:gd name="connsiteX5252" fmla="*/ 3067526 w 6400800"/>
                <a:gd name="connsiteY5252" fmla="*/ 209074 h 514350"/>
                <a:gd name="connsiteX5253" fmla="*/ 3066574 w 6400800"/>
                <a:gd name="connsiteY5253" fmla="*/ 222409 h 514350"/>
                <a:gd name="connsiteX5254" fmla="*/ 3063716 w 6400800"/>
                <a:gd name="connsiteY5254" fmla="*/ 253841 h 514350"/>
                <a:gd name="connsiteX5255" fmla="*/ 3059906 w 6400800"/>
                <a:gd name="connsiteY5255" fmla="*/ 268129 h 514350"/>
                <a:gd name="connsiteX5256" fmla="*/ 3057049 w 6400800"/>
                <a:gd name="connsiteY5256" fmla="*/ 252889 h 514350"/>
                <a:gd name="connsiteX5257" fmla="*/ 3056096 w 6400800"/>
                <a:gd name="connsiteY5257" fmla="*/ 248126 h 514350"/>
                <a:gd name="connsiteX5258" fmla="*/ 3057049 w 6400800"/>
                <a:gd name="connsiteY5258" fmla="*/ 235744 h 514350"/>
                <a:gd name="connsiteX5259" fmla="*/ 3002756 w 6400800"/>
                <a:gd name="connsiteY5259" fmla="*/ 307181 h 514350"/>
                <a:gd name="connsiteX5260" fmla="*/ 3001804 w 6400800"/>
                <a:gd name="connsiteY5260" fmla="*/ 310039 h 514350"/>
                <a:gd name="connsiteX5261" fmla="*/ 3002756 w 6400800"/>
                <a:gd name="connsiteY5261" fmla="*/ 305276 h 514350"/>
                <a:gd name="connsiteX5262" fmla="*/ 3006566 w 6400800"/>
                <a:gd name="connsiteY5262" fmla="*/ 286226 h 514350"/>
                <a:gd name="connsiteX5263" fmla="*/ 3008471 w 6400800"/>
                <a:gd name="connsiteY5263" fmla="*/ 290036 h 514350"/>
                <a:gd name="connsiteX5264" fmla="*/ 3002756 w 6400800"/>
                <a:gd name="connsiteY5264" fmla="*/ 307181 h 514350"/>
                <a:gd name="connsiteX5265" fmla="*/ 3036094 w 6400800"/>
                <a:gd name="connsiteY5265" fmla="*/ 249079 h 514350"/>
                <a:gd name="connsiteX5266" fmla="*/ 3036094 w 6400800"/>
                <a:gd name="connsiteY5266" fmla="*/ 266224 h 514350"/>
                <a:gd name="connsiteX5267" fmla="*/ 3033236 w 6400800"/>
                <a:gd name="connsiteY5267" fmla="*/ 258604 h 514350"/>
                <a:gd name="connsiteX5268" fmla="*/ 3036094 w 6400800"/>
                <a:gd name="connsiteY5268" fmla="*/ 249079 h 514350"/>
                <a:gd name="connsiteX5269" fmla="*/ 3030379 w 6400800"/>
                <a:gd name="connsiteY5269" fmla="*/ 269081 h 514350"/>
                <a:gd name="connsiteX5270" fmla="*/ 3030379 w 6400800"/>
                <a:gd name="connsiteY5270" fmla="*/ 269081 h 514350"/>
                <a:gd name="connsiteX5271" fmla="*/ 3030379 w 6400800"/>
                <a:gd name="connsiteY5271" fmla="*/ 269081 h 514350"/>
                <a:gd name="connsiteX5272" fmla="*/ 3030379 w 6400800"/>
                <a:gd name="connsiteY5272" fmla="*/ 269081 h 514350"/>
                <a:gd name="connsiteX5273" fmla="*/ 3027521 w 6400800"/>
                <a:gd name="connsiteY5273" fmla="*/ 353854 h 514350"/>
                <a:gd name="connsiteX5274" fmla="*/ 3023711 w 6400800"/>
                <a:gd name="connsiteY5274" fmla="*/ 364331 h 514350"/>
                <a:gd name="connsiteX5275" fmla="*/ 3017996 w 6400800"/>
                <a:gd name="connsiteY5275" fmla="*/ 383381 h 514350"/>
                <a:gd name="connsiteX5276" fmla="*/ 3017044 w 6400800"/>
                <a:gd name="connsiteY5276" fmla="*/ 385286 h 514350"/>
                <a:gd name="connsiteX5277" fmla="*/ 3015139 w 6400800"/>
                <a:gd name="connsiteY5277" fmla="*/ 376714 h 514350"/>
                <a:gd name="connsiteX5278" fmla="*/ 3020854 w 6400800"/>
                <a:gd name="connsiteY5278" fmla="*/ 366236 h 514350"/>
                <a:gd name="connsiteX5279" fmla="*/ 3028474 w 6400800"/>
                <a:gd name="connsiteY5279" fmla="*/ 352901 h 514350"/>
                <a:gd name="connsiteX5280" fmla="*/ 3027521 w 6400800"/>
                <a:gd name="connsiteY5280" fmla="*/ 353854 h 514350"/>
                <a:gd name="connsiteX5281" fmla="*/ 3021806 w 6400800"/>
                <a:gd name="connsiteY5281" fmla="*/ 230029 h 514350"/>
                <a:gd name="connsiteX5282" fmla="*/ 3024664 w 6400800"/>
                <a:gd name="connsiteY5282" fmla="*/ 241459 h 514350"/>
                <a:gd name="connsiteX5283" fmla="*/ 3024664 w 6400800"/>
                <a:gd name="connsiteY5283" fmla="*/ 241459 h 514350"/>
                <a:gd name="connsiteX5284" fmla="*/ 3021806 w 6400800"/>
                <a:gd name="connsiteY5284" fmla="*/ 230029 h 514350"/>
                <a:gd name="connsiteX5285" fmla="*/ 3021806 w 6400800"/>
                <a:gd name="connsiteY5285" fmla="*/ 230029 h 514350"/>
                <a:gd name="connsiteX5286" fmla="*/ 3020854 w 6400800"/>
                <a:gd name="connsiteY5286" fmla="*/ 305276 h 514350"/>
                <a:gd name="connsiteX5287" fmla="*/ 3020854 w 6400800"/>
                <a:gd name="connsiteY5287" fmla="*/ 305276 h 514350"/>
                <a:gd name="connsiteX5288" fmla="*/ 3020854 w 6400800"/>
                <a:gd name="connsiteY5288" fmla="*/ 305276 h 514350"/>
                <a:gd name="connsiteX5289" fmla="*/ 3020854 w 6400800"/>
                <a:gd name="connsiteY5289" fmla="*/ 305276 h 514350"/>
                <a:gd name="connsiteX5290" fmla="*/ 3017996 w 6400800"/>
                <a:gd name="connsiteY5290" fmla="*/ 317659 h 514350"/>
                <a:gd name="connsiteX5291" fmla="*/ 3021806 w 6400800"/>
                <a:gd name="connsiteY5291" fmla="*/ 329089 h 514350"/>
                <a:gd name="connsiteX5292" fmla="*/ 3025616 w 6400800"/>
                <a:gd name="connsiteY5292" fmla="*/ 339566 h 514350"/>
                <a:gd name="connsiteX5293" fmla="*/ 3011329 w 6400800"/>
                <a:gd name="connsiteY5293" fmla="*/ 359569 h 514350"/>
                <a:gd name="connsiteX5294" fmla="*/ 3011329 w 6400800"/>
                <a:gd name="connsiteY5294" fmla="*/ 360521 h 514350"/>
                <a:gd name="connsiteX5295" fmla="*/ 3009424 w 6400800"/>
                <a:gd name="connsiteY5295" fmla="*/ 351949 h 514350"/>
                <a:gd name="connsiteX5296" fmla="*/ 3017996 w 6400800"/>
                <a:gd name="connsiteY5296" fmla="*/ 317659 h 514350"/>
                <a:gd name="connsiteX5297" fmla="*/ 3013234 w 6400800"/>
                <a:gd name="connsiteY5297" fmla="*/ 257651 h 514350"/>
                <a:gd name="connsiteX5298" fmla="*/ 3014186 w 6400800"/>
                <a:gd name="connsiteY5298" fmla="*/ 261461 h 514350"/>
                <a:gd name="connsiteX5299" fmla="*/ 3015139 w 6400800"/>
                <a:gd name="connsiteY5299" fmla="*/ 269081 h 514350"/>
                <a:gd name="connsiteX5300" fmla="*/ 3010376 w 6400800"/>
                <a:gd name="connsiteY5300" fmla="*/ 284321 h 514350"/>
                <a:gd name="connsiteX5301" fmla="*/ 3009424 w 6400800"/>
                <a:gd name="connsiteY5301" fmla="*/ 282416 h 514350"/>
                <a:gd name="connsiteX5302" fmla="*/ 3008471 w 6400800"/>
                <a:gd name="connsiteY5302" fmla="*/ 279559 h 514350"/>
                <a:gd name="connsiteX5303" fmla="*/ 3009424 w 6400800"/>
                <a:gd name="connsiteY5303" fmla="*/ 276701 h 514350"/>
                <a:gd name="connsiteX5304" fmla="*/ 3013234 w 6400800"/>
                <a:gd name="connsiteY5304" fmla="*/ 257651 h 514350"/>
                <a:gd name="connsiteX5305" fmla="*/ 3008471 w 6400800"/>
                <a:gd name="connsiteY5305" fmla="*/ 230029 h 514350"/>
                <a:gd name="connsiteX5306" fmla="*/ 3010376 w 6400800"/>
                <a:gd name="connsiteY5306" fmla="*/ 244316 h 514350"/>
                <a:gd name="connsiteX5307" fmla="*/ 3007519 w 6400800"/>
                <a:gd name="connsiteY5307" fmla="*/ 250984 h 514350"/>
                <a:gd name="connsiteX5308" fmla="*/ 3001804 w 6400800"/>
                <a:gd name="connsiteY5308" fmla="*/ 264319 h 514350"/>
                <a:gd name="connsiteX5309" fmla="*/ 3008471 w 6400800"/>
                <a:gd name="connsiteY5309" fmla="*/ 230029 h 514350"/>
                <a:gd name="connsiteX5310" fmla="*/ 3003709 w 6400800"/>
                <a:gd name="connsiteY5310" fmla="*/ 195739 h 514350"/>
                <a:gd name="connsiteX5311" fmla="*/ 3004661 w 6400800"/>
                <a:gd name="connsiteY5311" fmla="*/ 205264 h 514350"/>
                <a:gd name="connsiteX5312" fmla="*/ 2997994 w 6400800"/>
                <a:gd name="connsiteY5312" fmla="*/ 223361 h 514350"/>
                <a:gd name="connsiteX5313" fmla="*/ 2986564 w 6400800"/>
                <a:gd name="connsiteY5313" fmla="*/ 262414 h 514350"/>
                <a:gd name="connsiteX5314" fmla="*/ 2984659 w 6400800"/>
                <a:gd name="connsiteY5314" fmla="*/ 270986 h 514350"/>
                <a:gd name="connsiteX5315" fmla="*/ 2984659 w 6400800"/>
                <a:gd name="connsiteY5315" fmla="*/ 270986 h 514350"/>
                <a:gd name="connsiteX5316" fmla="*/ 3003709 w 6400800"/>
                <a:gd name="connsiteY5316" fmla="*/ 195739 h 514350"/>
                <a:gd name="connsiteX5317" fmla="*/ 2974181 w 6400800"/>
                <a:gd name="connsiteY5317" fmla="*/ 311944 h 514350"/>
                <a:gd name="connsiteX5318" fmla="*/ 2980849 w 6400800"/>
                <a:gd name="connsiteY5318" fmla="*/ 284321 h 514350"/>
                <a:gd name="connsiteX5319" fmla="*/ 2980849 w 6400800"/>
                <a:gd name="connsiteY5319" fmla="*/ 285274 h 514350"/>
                <a:gd name="connsiteX5320" fmla="*/ 2976086 w 6400800"/>
                <a:gd name="connsiteY5320" fmla="*/ 307181 h 514350"/>
                <a:gd name="connsiteX5321" fmla="*/ 2972276 w 6400800"/>
                <a:gd name="connsiteY5321" fmla="*/ 327184 h 514350"/>
                <a:gd name="connsiteX5322" fmla="*/ 2970371 w 6400800"/>
                <a:gd name="connsiteY5322" fmla="*/ 322421 h 514350"/>
                <a:gd name="connsiteX5323" fmla="*/ 2974181 w 6400800"/>
                <a:gd name="connsiteY5323" fmla="*/ 311944 h 514350"/>
                <a:gd name="connsiteX5324" fmla="*/ 2964656 w 6400800"/>
                <a:gd name="connsiteY5324" fmla="*/ 349091 h 514350"/>
                <a:gd name="connsiteX5325" fmla="*/ 2968466 w 6400800"/>
                <a:gd name="connsiteY5325" fmla="*/ 334804 h 514350"/>
                <a:gd name="connsiteX5326" fmla="*/ 2970371 w 6400800"/>
                <a:gd name="connsiteY5326" fmla="*/ 344329 h 514350"/>
                <a:gd name="connsiteX5327" fmla="*/ 2969419 w 6400800"/>
                <a:gd name="connsiteY5327" fmla="*/ 353854 h 514350"/>
                <a:gd name="connsiteX5328" fmla="*/ 2966561 w 6400800"/>
                <a:gd name="connsiteY5328" fmla="*/ 377666 h 514350"/>
                <a:gd name="connsiteX5329" fmla="*/ 2963704 w 6400800"/>
                <a:gd name="connsiteY5329" fmla="*/ 366236 h 514350"/>
                <a:gd name="connsiteX5330" fmla="*/ 2969419 w 6400800"/>
                <a:gd name="connsiteY5330" fmla="*/ 341471 h 514350"/>
                <a:gd name="connsiteX5331" fmla="*/ 2964656 w 6400800"/>
                <a:gd name="connsiteY5331" fmla="*/ 349091 h 514350"/>
                <a:gd name="connsiteX5332" fmla="*/ 2958941 w 6400800"/>
                <a:gd name="connsiteY5332" fmla="*/ 383381 h 514350"/>
                <a:gd name="connsiteX5333" fmla="*/ 2958941 w 6400800"/>
                <a:gd name="connsiteY5333" fmla="*/ 383381 h 514350"/>
                <a:gd name="connsiteX5334" fmla="*/ 2958941 w 6400800"/>
                <a:gd name="connsiteY5334" fmla="*/ 383381 h 514350"/>
                <a:gd name="connsiteX5335" fmla="*/ 2958941 w 6400800"/>
                <a:gd name="connsiteY5335" fmla="*/ 383381 h 514350"/>
                <a:gd name="connsiteX5336" fmla="*/ 2958941 w 6400800"/>
                <a:gd name="connsiteY5336" fmla="*/ 383381 h 514350"/>
                <a:gd name="connsiteX5337" fmla="*/ 2936081 w 6400800"/>
                <a:gd name="connsiteY5337" fmla="*/ 284321 h 514350"/>
                <a:gd name="connsiteX5338" fmla="*/ 2934176 w 6400800"/>
                <a:gd name="connsiteY5338" fmla="*/ 273844 h 514350"/>
                <a:gd name="connsiteX5339" fmla="*/ 2936081 w 6400800"/>
                <a:gd name="connsiteY5339" fmla="*/ 271939 h 514350"/>
                <a:gd name="connsiteX5340" fmla="*/ 2936081 w 6400800"/>
                <a:gd name="connsiteY5340" fmla="*/ 284321 h 514350"/>
                <a:gd name="connsiteX5341" fmla="*/ 2936081 w 6400800"/>
                <a:gd name="connsiteY5341" fmla="*/ 267176 h 514350"/>
                <a:gd name="connsiteX5342" fmla="*/ 2936081 w 6400800"/>
                <a:gd name="connsiteY5342" fmla="*/ 267176 h 514350"/>
                <a:gd name="connsiteX5343" fmla="*/ 2934176 w 6400800"/>
                <a:gd name="connsiteY5343" fmla="*/ 269081 h 514350"/>
                <a:gd name="connsiteX5344" fmla="*/ 2936081 w 6400800"/>
                <a:gd name="connsiteY5344" fmla="*/ 265271 h 514350"/>
                <a:gd name="connsiteX5345" fmla="*/ 2936081 w 6400800"/>
                <a:gd name="connsiteY5345" fmla="*/ 267176 h 514350"/>
                <a:gd name="connsiteX5346" fmla="*/ 2929414 w 6400800"/>
                <a:gd name="connsiteY5346" fmla="*/ 243364 h 514350"/>
                <a:gd name="connsiteX5347" fmla="*/ 2930366 w 6400800"/>
                <a:gd name="connsiteY5347" fmla="*/ 243364 h 514350"/>
                <a:gd name="connsiteX5348" fmla="*/ 2933224 w 6400800"/>
                <a:gd name="connsiteY5348" fmla="*/ 244316 h 514350"/>
                <a:gd name="connsiteX5349" fmla="*/ 2934176 w 6400800"/>
                <a:gd name="connsiteY5349" fmla="*/ 255746 h 514350"/>
                <a:gd name="connsiteX5350" fmla="*/ 2931319 w 6400800"/>
                <a:gd name="connsiteY5350" fmla="*/ 261461 h 514350"/>
                <a:gd name="connsiteX5351" fmla="*/ 2927509 w 6400800"/>
                <a:gd name="connsiteY5351" fmla="*/ 248126 h 514350"/>
                <a:gd name="connsiteX5352" fmla="*/ 2929414 w 6400800"/>
                <a:gd name="connsiteY5352" fmla="*/ 243364 h 514350"/>
                <a:gd name="connsiteX5353" fmla="*/ 2917984 w 6400800"/>
                <a:gd name="connsiteY5353" fmla="*/ 351949 h 514350"/>
                <a:gd name="connsiteX5354" fmla="*/ 2918936 w 6400800"/>
                <a:gd name="connsiteY5354" fmla="*/ 353854 h 514350"/>
                <a:gd name="connsiteX5355" fmla="*/ 2919889 w 6400800"/>
                <a:gd name="connsiteY5355" fmla="*/ 363379 h 514350"/>
                <a:gd name="connsiteX5356" fmla="*/ 2922746 w 6400800"/>
                <a:gd name="connsiteY5356" fmla="*/ 380524 h 514350"/>
                <a:gd name="connsiteX5357" fmla="*/ 2920841 w 6400800"/>
                <a:gd name="connsiteY5357" fmla="*/ 380524 h 514350"/>
                <a:gd name="connsiteX5358" fmla="*/ 2913221 w 6400800"/>
                <a:gd name="connsiteY5358" fmla="*/ 362426 h 514350"/>
                <a:gd name="connsiteX5359" fmla="*/ 2917984 w 6400800"/>
                <a:gd name="connsiteY5359" fmla="*/ 351949 h 514350"/>
                <a:gd name="connsiteX5360" fmla="*/ 2904649 w 6400800"/>
                <a:gd name="connsiteY5360" fmla="*/ 224314 h 514350"/>
                <a:gd name="connsiteX5361" fmla="*/ 2904649 w 6400800"/>
                <a:gd name="connsiteY5361" fmla="*/ 224314 h 514350"/>
                <a:gd name="connsiteX5362" fmla="*/ 2903696 w 6400800"/>
                <a:gd name="connsiteY5362" fmla="*/ 237649 h 514350"/>
                <a:gd name="connsiteX5363" fmla="*/ 2902744 w 6400800"/>
                <a:gd name="connsiteY5363" fmla="*/ 250031 h 514350"/>
                <a:gd name="connsiteX5364" fmla="*/ 2900839 w 6400800"/>
                <a:gd name="connsiteY5364" fmla="*/ 235744 h 514350"/>
                <a:gd name="connsiteX5365" fmla="*/ 2904649 w 6400800"/>
                <a:gd name="connsiteY5365" fmla="*/ 224314 h 514350"/>
                <a:gd name="connsiteX5366" fmla="*/ 2885599 w 6400800"/>
                <a:gd name="connsiteY5366" fmla="*/ 294799 h 514350"/>
                <a:gd name="connsiteX5367" fmla="*/ 2888456 w 6400800"/>
                <a:gd name="connsiteY5367" fmla="*/ 280511 h 514350"/>
                <a:gd name="connsiteX5368" fmla="*/ 2889409 w 6400800"/>
                <a:gd name="connsiteY5368" fmla="*/ 308134 h 514350"/>
                <a:gd name="connsiteX5369" fmla="*/ 2884646 w 6400800"/>
                <a:gd name="connsiteY5369" fmla="*/ 297656 h 514350"/>
                <a:gd name="connsiteX5370" fmla="*/ 2885599 w 6400800"/>
                <a:gd name="connsiteY5370" fmla="*/ 294799 h 514350"/>
                <a:gd name="connsiteX5371" fmla="*/ 2869406 w 6400800"/>
                <a:gd name="connsiteY5371" fmla="*/ 301466 h 514350"/>
                <a:gd name="connsiteX5372" fmla="*/ 2869406 w 6400800"/>
                <a:gd name="connsiteY5372" fmla="*/ 301466 h 514350"/>
                <a:gd name="connsiteX5373" fmla="*/ 2869406 w 6400800"/>
                <a:gd name="connsiteY5373" fmla="*/ 302419 h 514350"/>
                <a:gd name="connsiteX5374" fmla="*/ 2868454 w 6400800"/>
                <a:gd name="connsiteY5374" fmla="*/ 305276 h 514350"/>
                <a:gd name="connsiteX5375" fmla="*/ 2856071 w 6400800"/>
                <a:gd name="connsiteY5375" fmla="*/ 284321 h 514350"/>
                <a:gd name="connsiteX5376" fmla="*/ 2855119 w 6400800"/>
                <a:gd name="connsiteY5376" fmla="*/ 282416 h 514350"/>
                <a:gd name="connsiteX5377" fmla="*/ 2857976 w 6400800"/>
                <a:gd name="connsiteY5377" fmla="*/ 273844 h 514350"/>
                <a:gd name="connsiteX5378" fmla="*/ 2869406 w 6400800"/>
                <a:gd name="connsiteY5378" fmla="*/ 301466 h 514350"/>
                <a:gd name="connsiteX5379" fmla="*/ 2851309 w 6400800"/>
                <a:gd name="connsiteY5379" fmla="*/ 262414 h 514350"/>
                <a:gd name="connsiteX5380" fmla="*/ 2851309 w 6400800"/>
                <a:gd name="connsiteY5380" fmla="*/ 259556 h 514350"/>
                <a:gd name="connsiteX5381" fmla="*/ 2855119 w 6400800"/>
                <a:gd name="connsiteY5381" fmla="*/ 267176 h 514350"/>
                <a:gd name="connsiteX5382" fmla="*/ 2856071 w 6400800"/>
                <a:gd name="connsiteY5382" fmla="*/ 269081 h 514350"/>
                <a:gd name="connsiteX5383" fmla="*/ 2851309 w 6400800"/>
                <a:gd name="connsiteY5383" fmla="*/ 276701 h 514350"/>
                <a:gd name="connsiteX5384" fmla="*/ 2850356 w 6400800"/>
                <a:gd name="connsiteY5384" fmla="*/ 274796 h 514350"/>
                <a:gd name="connsiteX5385" fmla="*/ 2851309 w 6400800"/>
                <a:gd name="connsiteY5385" fmla="*/ 262414 h 514350"/>
                <a:gd name="connsiteX5386" fmla="*/ 2848451 w 6400800"/>
                <a:gd name="connsiteY5386" fmla="*/ 312896 h 514350"/>
                <a:gd name="connsiteX5387" fmla="*/ 2848451 w 6400800"/>
                <a:gd name="connsiteY5387" fmla="*/ 302419 h 514350"/>
                <a:gd name="connsiteX5388" fmla="*/ 2860834 w 6400800"/>
                <a:gd name="connsiteY5388" fmla="*/ 327184 h 514350"/>
                <a:gd name="connsiteX5389" fmla="*/ 2856071 w 6400800"/>
                <a:gd name="connsiteY5389" fmla="*/ 344329 h 514350"/>
                <a:gd name="connsiteX5390" fmla="*/ 2853214 w 6400800"/>
                <a:gd name="connsiteY5390" fmla="*/ 355759 h 514350"/>
                <a:gd name="connsiteX5391" fmla="*/ 2851309 w 6400800"/>
                <a:gd name="connsiteY5391" fmla="*/ 341471 h 514350"/>
                <a:gd name="connsiteX5392" fmla="*/ 2847499 w 6400800"/>
                <a:gd name="connsiteY5392" fmla="*/ 316706 h 514350"/>
                <a:gd name="connsiteX5393" fmla="*/ 2848451 w 6400800"/>
                <a:gd name="connsiteY5393" fmla="*/ 312896 h 514350"/>
                <a:gd name="connsiteX5394" fmla="*/ 2836069 w 6400800"/>
                <a:gd name="connsiteY5394" fmla="*/ 226219 h 514350"/>
                <a:gd name="connsiteX5395" fmla="*/ 2847499 w 6400800"/>
                <a:gd name="connsiteY5395" fmla="*/ 251936 h 514350"/>
                <a:gd name="connsiteX5396" fmla="*/ 2844641 w 6400800"/>
                <a:gd name="connsiteY5396" fmla="*/ 261461 h 514350"/>
                <a:gd name="connsiteX5397" fmla="*/ 2843689 w 6400800"/>
                <a:gd name="connsiteY5397" fmla="*/ 266224 h 514350"/>
                <a:gd name="connsiteX5398" fmla="*/ 2838926 w 6400800"/>
                <a:gd name="connsiteY5398" fmla="*/ 258604 h 514350"/>
                <a:gd name="connsiteX5399" fmla="*/ 2834164 w 6400800"/>
                <a:gd name="connsiteY5399" fmla="*/ 229076 h 514350"/>
                <a:gd name="connsiteX5400" fmla="*/ 2836069 w 6400800"/>
                <a:gd name="connsiteY5400" fmla="*/ 226219 h 514350"/>
                <a:gd name="connsiteX5401" fmla="*/ 2830354 w 6400800"/>
                <a:gd name="connsiteY5401" fmla="*/ 305276 h 514350"/>
                <a:gd name="connsiteX5402" fmla="*/ 2831306 w 6400800"/>
                <a:gd name="connsiteY5402" fmla="*/ 312896 h 514350"/>
                <a:gd name="connsiteX5403" fmla="*/ 2831306 w 6400800"/>
                <a:gd name="connsiteY5403" fmla="*/ 313849 h 514350"/>
                <a:gd name="connsiteX5404" fmla="*/ 2830354 w 6400800"/>
                <a:gd name="connsiteY5404" fmla="*/ 308134 h 514350"/>
                <a:gd name="connsiteX5405" fmla="*/ 2830354 w 6400800"/>
                <a:gd name="connsiteY5405" fmla="*/ 305276 h 514350"/>
                <a:gd name="connsiteX5406" fmla="*/ 2829401 w 6400800"/>
                <a:gd name="connsiteY5406" fmla="*/ 292894 h 514350"/>
                <a:gd name="connsiteX5407" fmla="*/ 2830354 w 6400800"/>
                <a:gd name="connsiteY5407" fmla="*/ 299561 h 514350"/>
                <a:gd name="connsiteX5408" fmla="*/ 2829401 w 6400800"/>
                <a:gd name="connsiteY5408" fmla="*/ 301466 h 514350"/>
                <a:gd name="connsiteX5409" fmla="*/ 2829401 w 6400800"/>
                <a:gd name="connsiteY5409" fmla="*/ 299561 h 514350"/>
                <a:gd name="connsiteX5410" fmla="*/ 2829401 w 6400800"/>
                <a:gd name="connsiteY5410" fmla="*/ 292894 h 514350"/>
                <a:gd name="connsiteX5411" fmla="*/ 2785586 w 6400800"/>
                <a:gd name="connsiteY5411" fmla="*/ 268129 h 514350"/>
                <a:gd name="connsiteX5412" fmla="*/ 2782729 w 6400800"/>
                <a:gd name="connsiteY5412" fmla="*/ 271939 h 514350"/>
                <a:gd name="connsiteX5413" fmla="*/ 2782729 w 6400800"/>
                <a:gd name="connsiteY5413" fmla="*/ 269081 h 514350"/>
                <a:gd name="connsiteX5414" fmla="*/ 2782729 w 6400800"/>
                <a:gd name="connsiteY5414" fmla="*/ 265271 h 514350"/>
                <a:gd name="connsiteX5415" fmla="*/ 2786539 w 6400800"/>
                <a:gd name="connsiteY5415" fmla="*/ 258604 h 514350"/>
                <a:gd name="connsiteX5416" fmla="*/ 2786539 w 6400800"/>
                <a:gd name="connsiteY5416" fmla="*/ 260509 h 514350"/>
                <a:gd name="connsiteX5417" fmla="*/ 2785586 w 6400800"/>
                <a:gd name="connsiteY5417" fmla="*/ 268129 h 514350"/>
                <a:gd name="connsiteX5418" fmla="*/ 2796064 w 6400800"/>
                <a:gd name="connsiteY5418" fmla="*/ 268129 h 514350"/>
                <a:gd name="connsiteX5419" fmla="*/ 2796064 w 6400800"/>
                <a:gd name="connsiteY5419" fmla="*/ 268129 h 514350"/>
                <a:gd name="connsiteX5420" fmla="*/ 2798921 w 6400800"/>
                <a:gd name="connsiteY5420" fmla="*/ 263366 h 514350"/>
                <a:gd name="connsiteX5421" fmla="*/ 2796064 w 6400800"/>
                <a:gd name="connsiteY5421" fmla="*/ 268129 h 514350"/>
                <a:gd name="connsiteX5422" fmla="*/ 2803684 w 6400800"/>
                <a:gd name="connsiteY5422" fmla="*/ 314801 h 514350"/>
                <a:gd name="connsiteX5423" fmla="*/ 2802731 w 6400800"/>
                <a:gd name="connsiteY5423" fmla="*/ 318611 h 514350"/>
                <a:gd name="connsiteX5424" fmla="*/ 2801779 w 6400800"/>
                <a:gd name="connsiteY5424" fmla="*/ 325279 h 514350"/>
                <a:gd name="connsiteX5425" fmla="*/ 2798921 w 6400800"/>
                <a:gd name="connsiteY5425" fmla="*/ 317659 h 514350"/>
                <a:gd name="connsiteX5426" fmla="*/ 2798921 w 6400800"/>
                <a:gd name="connsiteY5426" fmla="*/ 315754 h 514350"/>
                <a:gd name="connsiteX5427" fmla="*/ 2798921 w 6400800"/>
                <a:gd name="connsiteY5427" fmla="*/ 315754 h 514350"/>
                <a:gd name="connsiteX5428" fmla="*/ 2801779 w 6400800"/>
                <a:gd name="connsiteY5428" fmla="*/ 304324 h 514350"/>
                <a:gd name="connsiteX5429" fmla="*/ 2803684 w 6400800"/>
                <a:gd name="connsiteY5429" fmla="*/ 312896 h 514350"/>
                <a:gd name="connsiteX5430" fmla="*/ 2803684 w 6400800"/>
                <a:gd name="connsiteY5430" fmla="*/ 314801 h 514350"/>
                <a:gd name="connsiteX5431" fmla="*/ 2810351 w 6400800"/>
                <a:gd name="connsiteY5431" fmla="*/ 280511 h 514350"/>
                <a:gd name="connsiteX5432" fmla="*/ 2805589 w 6400800"/>
                <a:gd name="connsiteY5432" fmla="*/ 302419 h 514350"/>
                <a:gd name="connsiteX5433" fmla="*/ 2803684 w 6400800"/>
                <a:gd name="connsiteY5433" fmla="*/ 298609 h 514350"/>
                <a:gd name="connsiteX5434" fmla="*/ 2802731 w 6400800"/>
                <a:gd name="connsiteY5434" fmla="*/ 296704 h 514350"/>
                <a:gd name="connsiteX5435" fmla="*/ 2805589 w 6400800"/>
                <a:gd name="connsiteY5435" fmla="*/ 287179 h 514350"/>
                <a:gd name="connsiteX5436" fmla="*/ 2809399 w 6400800"/>
                <a:gd name="connsiteY5436" fmla="*/ 277654 h 514350"/>
                <a:gd name="connsiteX5437" fmla="*/ 2810351 w 6400800"/>
                <a:gd name="connsiteY5437" fmla="*/ 275749 h 514350"/>
                <a:gd name="connsiteX5438" fmla="*/ 2810351 w 6400800"/>
                <a:gd name="connsiteY5438" fmla="*/ 280511 h 514350"/>
                <a:gd name="connsiteX5439" fmla="*/ 2811304 w 6400800"/>
                <a:gd name="connsiteY5439" fmla="*/ 276701 h 514350"/>
                <a:gd name="connsiteX5440" fmla="*/ 2811304 w 6400800"/>
                <a:gd name="connsiteY5440" fmla="*/ 274796 h 514350"/>
                <a:gd name="connsiteX5441" fmla="*/ 2813209 w 6400800"/>
                <a:gd name="connsiteY5441" fmla="*/ 270986 h 514350"/>
                <a:gd name="connsiteX5442" fmla="*/ 2811304 w 6400800"/>
                <a:gd name="connsiteY5442" fmla="*/ 276701 h 514350"/>
                <a:gd name="connsiteX5443" fmla="*/ 2812256 w 6400800"/>
                <a:gd name="connsiteY5443" fmla="*/ 236696 h 514350"/>
                <a:gd name="connsiteX5444" fmla="*/ 2806541 w 6400800"/>
                <a:gd name="connsiteY5444" fmla="*/ 246221 h 514350"/>
                <a:gd name="connsiteX5445" fmla="*/ 2799874 w 6400800"/>
                <a:gd name="connsiteY5445" fmla="*/ 251936 h 514350"/>
                <a:gd name="connsiteX5446" fmla="*/ 2794159 w 6400800"/>
                <a:gd name="connsiteY5446" fmla="*/ 257651 h 514350"/>
                <a:gd name="connsiteX5447" fmla="*/ 2792254 w 6400800"/>
                <a:gd name="connsiteY5447" fmla="*/ 245269 h 514350"/>
                <a:gd name="connsiteX5448" fmla="*/ 2796064 w 6400800"/>
                <a:gd name="connsiteY5448" fmla="*/ 238601 h 514350"/>
                <a:gd name="connsiteX5449" fmla="*/ 2804636 w 6400800"/>
                <a:gd name="connsiteY5449" fmla="*/ 224314 h 514350"/>
                <a:gd name="connsiteX5450" fmla="*/ 2812256 w 6400800"/>
                <a:gd name="connsiteY5450" fmla="*/ 236696 h 514350"/>
                <a:gd name="connsiteX5451" fmla="*/ 2804636 w 6400800"/>
                <a:gd name="connsiteY5451" fmla="*/ 223361 h 514350"/>
                <a:gd name="connsiteX5452" fmla="*/ 2794159 w 6400800"/>
                <a:gd name="connsiteY5452" fmla="*/ 235744 h 514350"/>
                <a:gd name="connsiteX5453" fmla="*/ 2792254 w 6400800"/>
                <a:gd name="connsiteY5453" fmla="*/ 238601 h 514350"/>
                <a:gd name="connsiteX5454" fmla="*/ 2792254 w 6400800"/>
                <a:gd name="connsiteY5454" fmla="*/ 238601 h 514350"/>
                <a:gd name="connsiteX5455" fmla="*/ 2796064 w 6400800"/>
                <a:gd name="connsiteY5455" fmla="*/ 230981 h 514350"/>
                <a:gd name="connsiteX5456" fmla="*/ 2801779 w 6400800"/>
                <a:gd name="connsiteY5456" fmla="*/ 219551 h 514350"/>
                <a:gd name="connsiteX5457" fmla="*/ 2804636 w 6400800"/>
                <a:gd name="connsiteY5457" fmla="*/ 223361 h 514350"/>
                <a:gd name="connsiteX5458" fmla="*/ 2787491 w 6400800"/>
                <a:gd name="connsiteY5458" fmla="*/ 196691 h 514350"/>
                <a:gd name="connsiteX5459" fmla="*/ 2800826 w 6400800"/>
                <a:gd name="connsiteY5459" fmla="*/ 217646 h 514350"/>
                <a:gd name="connsiteX5460" fmla="*/ 2792254 w 6400800"/>
                <a:gd name="connsiteY5460" fmla="*/ 228124 h 514350"/>
                <a:gd name="connsiteX5461" fmla="*/ 2790349 w 6400800"/>
                <a:gd name="connsiteY5461" fmla="*/ 230981 h 514350"/>
                <a:gd name="connsiteX5462" fmla="*/ 2787491 w 6400800"/>
                <a:gd name="connsiteY5462" fmla="*/ 218599 h 514350"/>
                <a:gd name="connsiteX5463" fmla="*/ 2781776 w 6400800"/>
                <a:gd name="connsiteY5463" fmla="*/ 196691 h 514350"/>
                <a:gd name="connsiteX5464" fmla="*/ 2783681 w 6400800"/>
                <a:gd name="connsiteY5464" fmla="*/ 218599 h 514350"/>
                <a:gd name="connsiteX5465" fmla="*/ 2784634 w 6400800"/>
                <a:gd name="connsiteY5465" fmla="*/ 237649 h 514350"/>
                <a:gd name="connsiteX5466" fmla="*/ 2780824 w 6400800"/>
                <a:gd name="connsiteY5466" fmla="*/ 243364 h 514350"/>
                <a:gd name="connsiteX5467" fmla="*/ 2778919 w 6400800"/>
                <a:gd name="connsiteY5467" fmla="*/ 204311 h 514350"/>
                <a:gd name="connsiteX5468" fmla="*/ 2777966 w 6400800"/>
                <a:gd name="connsiteY5468" fmla="*/ 186214 h 514350"/>
                <a:gd name="connsiteX5469" fmla="*/ 2775109 w 6400800"/>
                <a:gd name="connsiteY5469" fmla="*/ 204311 h 514350"/>
                <a:gd name="connsiteX5470" fmla="*/ 2774156 w 6400800"/>
                <a:gd name="connsiteY5470" fmla="*/ 214789 h 514350"/>
                <a:gd name="connsiteX5471" fmla="*/ 2770346 w 6400800"/>
                <a:gd name="connsiteY5471" fmla="*/ 190976 h 514350"/>
                <a:gd name="connsiteX5472" fmla="*/ 2770346 w 6400800"/>
                <a:gd name="connsiteY5472" fmla="*/ 189071 h 514350"/>
                <a:gd name="connsiteX5473" fmla="*/ 2770346 w 6400800"/>
                <a:gd name="connsiteY5473" fmla="*/ 185261 h 514350"/>
                <a:gd name="connsiteX5474" fmla="*/ 2768441 w 6400800"/>
                <a:gd name="connsiteY5474" fmla="*/ 166211 h 514350"/>
                <a:gd name="connsiteX5475" fmla="*/ 2787491 w 6400800"/>
                <a:gd name="connsiteY5475" fmla="*/ 196691 h 514350"/>
                <a:gd name="connsiteX5476" fmla="*/ 2767489 w 6400800"/>
                <a:gd name="connsiteY5476" fmla="*/ 167164 h 514350"/>
                <a:gd name="connsiteX5477" fmla="*/ 2767489 w 6400800"/>
                <a:gd name="connsiteY5477" fmla="*/ 170974 h 514350"/>
                <a:gd name="connsiteX5478" fmla="*/ 2766536 w 6400800"/>
                <a:gd name="connsiteY5478" fmla="*/ 166211 h 514350"/>
                <a:gd name="connsiteX5479" fmla="*/ 2767489 w 6400800"/>
                <a:gd name="connsiteY5479" fmla="*/ 167164 h 514350"/>
                <a:gd name="connsiteX5480" fmla="*/ 2757964 w 6400800"/>
                <a:gd name="connsiteY5480" fmla="*/ 342424 h 514350"/>
                <a:gd name="connsiteX5481" fmla="*/ 2755106 w 6400800"/>
                <a:gd name="connsiteY5481" fmla="*/ 336709 h 514350"/>
                <a:gd name="connsiteX5482" fmla="*/ 2758916 w 6400800"/>
                <a:gd name="connsiteY5482" fmla="*/ 329089 h 514350"/>
                <a:gd name="connsiteX5483" fmla="*/ 2760821 w 6400800"/>
                <a:gd name="connsiteY5483" fmla="*/ 332899 h 514350"/>
                <a:gd name="connsiteX5484" fmla="*/ 2757964 w 6400800"/>
                <a:gd name="connsiteY5484" fmla="*/ 342424 h 514350"/>
                <a:gd name="connsiteX5485" fmla="*/ 2762726 w 6400800"/>
                <a:gd name="connsiteY5485" fmla="*/ 327184 h 514350"/>
                <a:gd name="connsiteX5486" fmla="*/ 2761774 w 6400800"/>
                <a:gd name="connsiteY5486" fmla="*/ 330994 h 514350"/>
                <a:gd name="connsiteX5487" fmla="*/ 2759869 w 6400800"/>
                <a:gd name="connsiteY5487" fmla="*/ 328136 h 514350"/>
                <a:gd name="connsiteX5488" fmla="*/ 2761774 w 6400800"/>
                <a:gd name="connsiteY5488" fmla="*/ 324326 h 514350"/>
                <a:gd name="connsiteX5489" fmla="*/ 2762726 w 6400800"/>
                <a:gd name="connsiteY5489" fmla="*/ 327184 h 514350"/>
                <a:gd name="connsiteX5490" fmla="*/ 2762726 w 6400800"/>
                <a:gd name="connsiteY5490" fmla="*/ 327184 h 514350"/>
                <a:gd name="connsiteX5491" fmla="*/ 2762726 w 6400800"/>
                <a:gd name="connsiteY5491" fmla="*/ 250031 h 514350"/>
                <a:gd name="connsiteX5492" fmla="*/ 2762726 w 6400800"/>
                <a:gd name="connsiteY5492" fmla="*/ 270034 h 514350"/>
                <a:gd name="connsiteX5493" fmla="*/ 2754154 w 6400800"/>
                <a:gd name="connsiteY5493" fmla="*/ 282416 h 514350"/>
                <a:gd name="connsiteX5494" fmla="*/ 2753201 w 6400800"/>
                <a:gd name="connsiteY5494" fmla="*/ 284321 h 514350"/>
                <a:gd name="connsiteX5495" fmla="*/ 2752249 w 6400800"/>
                <a:gd name="connsiteY5495" fmla="*/ 282416 h 514350"/>
                <a:gd name="connsiteX5496" fmla="*/ 2753201 w 6400800"/>
                <a:gd name="connsiteY5496" fmla="*/ 278606 h 514350"/>
                <a:gd name="connsiteX5497" fmla="*/ 2756059 w 6400800"/>
                <a:gd name="connsiteY5497" fmla="*/ 267176 h 514350"/>
                <a:gd name="connsiteX5498" fmla="*/ 2761774 w 6400800"/>
                <a:gd name="connsiteY5498" fmla="*/ 251936 h 514350"/>
                <a:gd name="connsiteX5499" fmla="*/ 2762726 w 6400800"/>
                <a:gd name="connsiteY5499" fmla="*/ 250031 h 514350"/>
                <a:gd name="connsiteX5500" fmla="*/ 2762726 w 6400800"/>
                <a:gd name="connsiteY5500" fmla="*/ 250031 h 514350"/>
                <a:gd name="connsiteX5501" fmla="*/ 2753201 w 6400800"/>
                <a:gd name="connsiteY5501" fmla="*/ 250031 h 514350"/>
                <a:gd name="connsiteX5502" fmla="*/ 2757011 w 6400800"/>
                <a:gd name="connsiteY5502" fmla="*/ 230981 h 514350"/>
                <a:gd name="connsiteX5503" fmla="*/ 2762726 w 6400800"/>
                <a:gd name="connsiteY5503" fmla="*/ 249079 h 514350"/>
                <a:gd name="connsiteX5504" fmla="*/ 2760821 w 6400800"/>
                <a:gd name="connsiteY5504" fmla="*/ 252889 h 514350"/>
                <a:gd name="connsiteX5505" fmla="*/ 2752249 w 6400800"/>
                <a:gd name="connsiteY5505" fmla="*/ 267176 h 514350"/>
                <a:gd name="connsiteX5506" fmla="*/ 2748439 w 6400800"/>
                <a:gd name="connsiteY5506" fmla="*/ 275749 h 514350"/>
                <a:gd name="connsiteX5507" fmla="*/ 2747486 w 6400800"/>
                <a:gd name="connsiteY5507" fmla="*/ 274796 h 514350"/>
                <a:gd name="connsiteX5508" fmla="*/ 2753201 w 6400800"/>
                <a:gd name="connsiteY5508" fmla="*/ 250031 h 514350"/>
                <a:gd name="connsiteX5509" fmla="*/ 2749391 w 6400800"/>
                <a:gd name="connsiteY5509" fmla="*/ 362426 h 514350"/>
                <a:gd name="connsiteX5510" fmla="*/ 2746534 w 6400800"/>
                <a:gd name="connsiteY5510" fmla="*/ 357664 h 514350"/>
                <a:gd name="connsiteX5511" fmla="*/ 2746534 w 6400800"/>
                <a:gd name="connsiteY5511" fmla="*/ 354806 h 514350"/>
                <a:gd name="connsiteX5512" fmla="*/ 2749391 w 6400800"/>
                <a:gd name="connsiteY5512" fmla="*/ 362426 h 514350"/>
                <a:gd name="connsiteX5513" fmla="*/ 2734151 w 6400800"/>
                <a:gd name="connsiteY5513" fmla="*/ 258604 h 514350"/>
                <a:gd name="connsiteX5514" fmla="*/ 2740819 w 6400800"/>
                <a:gd name="connsiteY5514" fmla="*/ 273844 h 514350"/>
                <a:gd name="connsiteX5515" fmla="*/ 2735104 w 6400800"/>
                <a:gd name="connsiteY5515" fmla="*/ 290036 h 514350"/>
                <a:gd name="connsiteX5516" fmla="*/ 2734151 w 6400800"/>
                <a:gd name="connsiteY5516" fmla="*/ 287179 h 514350"/>
                <a:gd name="connsiteX5517" fmla="*/ 2734151 w 6400800"/>
                <a:gd name="connsiteY5517" fmla="*/ 291941 h 514350"/>
                <a:gd name="connsiteX5518" fmla="*/ 2734151 w 6400800"/>
                <a:gd name="connsiteY5518" fmla="*/ 291941 h 514350"/>
                <a:gd name="connsiteX5519" fmla="*/ 2732246 w 6400800"/>
                <a:gd name="connsiteY5519" fmla="*/ 289084 h 514350"/>
                <a:gd name="connsiteX5520" fmla="*/ 2731294 w 6400800"/>
                <a:gd name="connsiteY5520" fmla="*/ 286226 h 514350"/>
                <a:gd name="connsiteX5521" fmla="*/ 2734151 w 6400800"/>
                <a:gd name="connsiteY5521" fmla="*/ 258604 h 514350"/>
                <a:gd name="connsiteX5522" fmla="*/ 2715101 w 6400800"/>
                <a:gd name="connsiteY5522" fmla="*/ 290989 h 514350"/>
                <a:gd name="connsiteX5523" fmla="*/ 2716054 w 6400800"/>
                <a:gd name="connsiteY5523" fmla="*/ 273844 h 514350"/>
                <a:gd name="connsiteX5524" fmla="*/ 2717959 w 6400800"/>
                <a:gd name="connsiteY5524" fmla="*/ 278606 h 514350"/>
                <a:gd name="connsiteX5525" fmla="*/ 2716054 w 6400800"/>
                <a:gd name="connsiteY5525" fmla="*/ 304324 h 514350"/>
                <a:gd name="connsiteX5526" fmla="*/ 2715101 w 6400800"/>
                <a:gd name="connsiteY5526" fmla="*/ 303371 h 514350"/>
                <a:gd name="connsiteX5527" fmla="*/ 2715101 w 6400800"/>
                <a:gd name="connsiteY5527" fmla="*/ 290989 h 514350"/>
                <a:gd name="connsiteX5528" fmla="*/ 2705576 w 6400800"/>
                <a:gd name="connsiteY5528" fmla="*/ 243364 h 514350"/>
                <a:gd name="connsiteX5529" fmla="*/ 2704624 w 6400800"/>
                <a:gd name="connsiteY5529" fmla="*/ 247174 h 514350"/>
                <a:gd name="connsiteX5530" fmla="*/ 2703671 w 6400800"/>
                <a:gd name="connsiteY5530" fmla="*/ 238601 h 514350"/>
                <a:gd name="connsiteX5531" fmla="*/ 2705576 w 6400800"/>
                <a:gd name="connsiteY5531" fmla="*/ 243364 h 514350"/>
                <a:gd name="connsiteX5532" fmla="*/ 2697956 w 6400800"/>
                <a:gd name="connsiteY5532" fmla="*/ 312896 h 514350"/>
                <a:gd name="connsiteX5533" fmla="*/ 2697956 w 6400800"/>
                <a:gd name="connsiteY5533" fmla="*/ 313849 h 514350"/>
                <a:gd name="connsiteX5534" fmla="*/ 2697956 w 6400800"/>
                <a:gd name="connsiteY5534" fmla="*/ 310991 h 514350"/>
                <a:gd name="connsiteX5535" fmla="*/ 2697956 w 6400800"/>
                <a:gd name="connsiteY5535" fmla="*/ 312896 h 514350"/>
                <a:gd name="connsiteX5536" fmla="*/ 2664619 w 6400800"/>
                <a:gd name="connsiteY5536" fmla="*/ 234791 h 514350"/>
                <a:gd name="connsiteX5537" fmla="*/ 2666524 w 6400800"/>
                <a:gd name="connsiteY5537" fmla="*/ 238601 h 514350"/>
                <a:gd name="connsiteX5538" fmla="*/ 2673191 w 6400800"/>
                <a:gd name="connsiteY5538" fmla="*/ 287179 h 514350"/>
                <a:gd name="connsiteX5539" fmla="*/ 2670334 w 6400800"/>
                <a:gd name="connsiteY5539" fmla="*/ 279559 h 514350"/>
                <a:gd name="connsiteX5540" fmla="*/ 2670334 w 6400800"/>
                <a:gd name="connsiteY5540" fmla="*/ 278606 h 514350"/>
                <a:gd name="connsiteX5541" fmla="*/ 2671286 w 6400800"/>
                <a:gd name="connsiteY5541" fmla="*/ 276701 h 514350"/>
                <a:gd name="connsiteX5542" fmla="*/ 2670334 w 6400800"/>
                <a:gd name="connsiteY5542" fmla="*/ 278606 h 514350"/>
                <a:gd name="connsiteX5543" fmla="*/ 2664619 w 6400800"/>
                <a:gd name="connsiteY5543" fmla="*/ 246221 h 514350"/>
                <a:gd name="connsiteX5544" fmla="*/ 2663666 w 6400800"/>
                <a:gd name="connsiteY5544" fmla="*/ 240506 h 514350"/>
                <a:gd name="connsiteX5545" fmla="*/ 2664619 w 6400800"/>
                <a:gd name="connsiteY5545" fmla="*/ 234791 h 514350"/>
                <a:gd name="connsiteX5546" fmla="*/ 2657951 w 6400800"/>
                <a:gd name="connsiteY5546" fmla="*/ 339566 h 514350"/>
                <a:gd name="connsiteX5547" fmla="*/ 2656046 w 6400800"/>
                <a:gd name="connsiteY5547" fmla="*/ 336709 h 514350"/>
                <a:gd name="connsiteX5548" fmla="*/ 2657951 w 6400800"/>
                <a:gd name="connsiteY5548" fmla="*/ 325279 h 514350"/>
                <a:gd name="connsiteX5549" fmla="*/ 2657951 w 6400800"/>
                <a:gd name="connsiteY5549" fmla="*/ 339566 h 514350"/>
                <a:gd name="connsiteX5550" fmla="*/ 2654141 w 6400800"/>
                <a:gd name="connsiteY5550" fmla="*/ 277654 h 514350"/>
                <a:gd name="connsiteX5551" fmla="*/ 2659856 w 6400800"/>
                <a:gd name="connsiteY5551" fmla="*/ 298609 h 514350"/>
                <a:gd name="connsiteX5552" fmla="*/ 2659856 w 6400800"/>
                <a:gd name="connsiteY5552" fmla="*/ 299561 h 514350"/>
                <a:gd name="connsiteX5553" fmla="*/ 2653189 w 6400800"/>
                <a:gd name="connsiteY5553" fmla="*/ 316706 h 514350"/>
                <a:gd name="connsiteX5554" fmla="*/ 2652236 w 6400800"/>
                <a:gd name="connsiteY5554" fmla="*/ 319564 h 514350"/>
                <a:gd name="connsiteX5555" fmla="*/ 2650331 w 6400800"/>
                <a:gd name="connsiteY5555" fmla="*/ 311944 h 514350"/>
                <a:gd name="connsiteX5556" fmla="*/ 2647474 w 6400800"/>
                <a:gd name="connsiteY5556" fmla="*/ 301466 h 514350"/>
                <a:gd name="connsiteX5557" fmla="*/ 2654141 w 6400800"/>
                <a:gd name="connsiteY5557" fmla="*/ 277654 h 514350"/>
                <a:gd name="connsiteX5558" fmla="*/ 2633186 w 6400800"/>
                <a:gd name="connsiteY5558" fmla="*/ 283369 h 514350"/>
                <a:gd name="connsiteX5559" fmla="*/ 2633186 w 6400800"/>
                <a:gd name="connsiteY5559" fmla="*/ 285274 h 514350"/>
                <a:gd name="connsiteX5560" fmla="*/ 2633186 w 6400800"/>
                <a:gd name="connsiteY5560" fmla="*/ 286226 h 514350"/>
                <a:gd name="connsiteX5561" fmla="*/ 2632234 w 6400800"/>
                <a:gd name="connsiteY5561" fmla="*/ 290036 h 514350"/>
                <a:gd name="connsiteX5562" fmla="*/ 2633186 w 6400800"/>
                <a:gd name="connsiteY5562" fmla="*/ 283369 h 514350"/>
                <a:gd name="connsiteX5563" fmla="*/ 2578894 w 6400800"/>
                <a:gd name="connsiteY5563" fmla="*/ 242411 h 514350"/>
                <a:gd name="connsiteX5564" fmla="*/ 2577941 w 6400800"/>
                <a:gd name="connsiteY5564" fmla="*/ 241459 h 514350"/>
                <a:gd name="connsiteX5565" fmla="*/ 2580799 w 6400800"/>
                <a:gd name="connsiteY5565" fmla="*/ 235744 h 514350"/>
                <a:gd name="connsiteX5566" fmla="*/ 2580799 w 6400800"/>
                <a:gd name="connsiteY5566" fmla="*/ 235744 h 514350"/>
                <a:gd name="connsiteX5567" fmla="*/ 2578894 w 6400800"/>
                <a:gd name="connsiteY5567" fmla="*/ 242411 h 514350"/>
                <a:gd name="connsiteX5568" fmla="*/ 2597944 w 6400800"/>
                <a:gd name="connsiteY5568" fmla="*/ 275749 h 514350"/>
                <a:gd name="connsiteX5569" fmla="*/ 2597944 w 6400800"/>
                <a:gd name="connsiteY5569" fmla="*/ 274796 h 514350"/>
                <a:gd name="connsiteX5570" fmla="*/ 2597944 w 6400800"/>
                <a:gd name="connsiteY5570" fmla="*/ 275749 h 514350"/>
                <a:gd name="connsiteX5571" fmla="*/ 2597944 w 6400800"/>
                <a:gd name="connsiteY5571" fmla="*/ 275749 h 514350"/>
                <a:gd name="connsiteX5572" fmla="*/ 2616041 w 6400800"/>
                <a:gd name="connsiteY5572" fmla="*/ 309086 h 514350"/>
                <a:gd name="connsiteX5573" fmla="*/ 2613184 w 6400800"/>
                <a:gd name="connsiteY5573" fmla="*/ 319564 h 514350"/>
                <a:gd name="connsiteX5574" fmla="*/ 2613184 w 6400800"/>
                <a:gd name="connsiteY5574" fmla="*/ 318611 h 514350"/>
                <a:gd name="connsiteX5575" fmla="*/ 2613184 w 6400800"/>
                <a:gd name="connsiteY5575" fmla="*/ 319564 h 514350"/>
                <a:gd name="connsiteX5576" fmla="*/ 2613184 w 6400800"/>
                <a:gd name="connsiteY5576" fmla="*/ 319564 h 514350"/>
                <a:gd name="connsiteX5577" fmla="*/ 2600801 w 6400800"/>
                <a:gd name="connsiteY5577" fmla="*/ 289084 h 514350"/>
                <a:gd name="connsiteX5578" fmla="*/ 2602706 w 6400800"/>
                <a:gd name="connsiteY5578" fmla="*/ 282416 h 514350"/>
                <a:gd name="connsiteX5579" fmla="*/ 2612231 w 6400800"/>
                <a:gd name="connsiteY5579" fmla="*/ 299561 h 514350"/>
                <a:gd name="connsiteX5580" fmla="*/ 2616041 w 6400800"/>
                <a:gd name="connsiteY5580" fmla="*/ 308134 h 514350"/>
                <a:gd name="connsiteX5581" fmla="*/ 2616041 w 6400800"/>
                <a:gd name="connsiteY5581" fmla="*/ 309086 h 514350"/>
                <a:gd name="connsiteX5582" fmla="*/ 2616041 w 6400800"/>
                <a:gd name="connsiteY5582" fmla="*/ 309086 h 514350"/>
                <a:gd name="connsiteX5583" fmla="*/ 2604611 w 6400800"/>
                <a:gd name="connsiteY5583" fmla="*/ 276701 h 514350"/>
                <a:gd name="connsiteX5584" fmla="*/ 2608421 w 6400800"/>
                <a:gd name="connsiteY5584" fmla="*/ 267176 h 514350"/>
                <a:gd name="connsiteX5585" fmla="*/ 2615089 w 6400800"/>
                <a:gd name="connsiteY5585" fmla="*/ 290036 h 514350"/>
                <a:gd name="connsiteX5586" fmla="*/ 2604611 w 6400800"/>
                <a:gd name="connsiteY5586" fmla="*/ 276701 h 514350"/>
                <a:gd name="connsiteX5587" fmla="*/ 2614136 w 6400800"/>
                <a:gd name="connsiteY5587" fmla="*/ 276701 h 514350"/>
                <a:gd name="connsiteX5588" fmla="*/ 2609374 w 6400800"/>
                <a:gd name="connsiteY5588" fmla="*/ 266224 h 514350"/>
                <a:gd name="connsiteX5589" fmla="*/ 2612231 w 6400800"/>
                <a:gd name="connsiteY5589" fmla="*/ 257651 h 514350"/>
                <a:gd name="connsiteX5590" fmla="*/ 2614136 w 6400800"/>
                <a:gd name="connsiteY5590" fmla="*/ 276701 h 514350"/>
                <a:gd name="connsiteX5591" fmla="*/ 2606516 w 6400800"/>
                <a:gd name="connsiteY5591" fmla="*/ 208121 h 514350"/>
                <a:gd name="connsiteX5592" fmla="*/ 2611279 w 6400800"/>
                <a:gd name="connsiteY5592" fmla="*/ 250984 h 514350"/>
                <a:gd name="connsiteX5593" fmla="*/ 2611279 w 6400800"/>
                <a:gd name="connsiteY5593" fmla="*/ 251936 h 514350"/>
                <a:gd name="connsiteX5594" fmla="*/ 2600801 w 6400800"/>
                <a:gd name="connsiteY5594" fmla="*/ 271939 h 514350"/>
                <a:gd name="connsiteX5595" fmla="*/ 2597944 w 6400800"/>
                <a:gd name="connsiteY5595" fmla="*/ 268129 h 514350"/>
                <a:gd name="connsiteX5596" fmla="*/ 2595086 w 6400800"/>
                <a:gd name="connsiteY5596" fmla="*/ 237649 h 514350"/>
                <a:gd name="connsiteX5597" fmla="*/ 2594134 w 6400800"/>
                <a:gd name="connsiteY5597" fmla="*/ 228124 h 514350"/>
                <a:gd name="connsiteX5598" fmla="*/ 2605564 w 6400800"/>
                <a:gd name="connsiteY5598" fmla="*/ 179546 h 514350"/>
                <a:gd name="connsiteX5599" fmla="*/ 2606516 w 6400800"/>
                <a:gd name="connsiteY5599" fmla="*/ 208121 h 514350"/>
                <a:gd name="connsiteX5600" fmla="*/ 2586514 w 6400800"/>
                <a:gd name="connsiteY5600" fmla="*/ 186214 h 514350"/>
                <a:gd name="connsiteX5601" fmla="*/ 2598896 w 6400800"/>
                <a:gd name="connsiteY5601" fmla="*/ 159544 h 514350"/>
                <a:gd name="connsiteX5602" fmla="*/ 2601754 w 6400800"/>
                <a:gd name="connsiteY5602" fmla="*/ 153829 h 514350"/>
                <a:gd name="connsiteX5603" fmla="*/ 2603659 w 6400800"/>
                <a:gd name="connsiteY5603" fmla="*/ 173831 h 514350"/>
                <a:gd name="connsiteX5604" fmla="*/ 2590324 w 6400800"/>
                <a:gd name="connsiteY5604" fmla="*/ 210979 h 514350"/>
                <a:gd name="connsiteX5605" fmla="*/ 2586514 w 6400800"/>
                <a:gd name="connsiteY5605" fmla="*/ 187166 h 514350"/>
                <a:gd name="connsiteX5606" fmla="*/ 2586514 w 6400800"/>
                <a:gd name="connsiteY5606" fmla="*/ 186214 h 514350"/>
                <a:gd name="connsiteX5607" fmla="*/ 2584609 w 6400800"/>
                <a:gd name="connsiteY5607" fmla="*/ 408146 h 514350"/>
                <a:gd name="connsiteX5608" fmla="*/ 2584609 w 6400800"/>
                <a:gd name="connsiteY5608" fmla="*/ 408146 h 514350"/>
                <a:gd name="connsiteX5609" fmla="*/ 2581751 w 6400800"/>
                <a:gd name="connsiteY5609" fmla="*/ 393859 h 514350"/>
                <a:gd name="connsiteX5610" fmla="*/ 2584609 w 6400800"/>
                <a:gd name="connsiteY5610" fmla="*/ 408146 h 514350"/>
                <a:gd name="connsiteX5611" fmla="*/ 2580799 w 6400800"/>
                <a:gd name="connsiteY5611" fmla="*/ 199549 h 514350"/>
                <a:gd name="connsiteX5612" fmla="*/ 2581751 w 6400800"/>
                <a:gd name="connsiteY5612" fmla="*/ 228124 h 514350"/>
                <a:gd name="connsiteX5613" fmla="*/ 2578894 w 6400800"/>
                <a:gd name="connsiteY5613" fmla="*/ 231934 h 514350"/>
                <a:gd name="connsiteX5614" fmla="*/ 2575084 w 6400800"/>
                <a:gd name="connsiteY5614" fmla="*/ 236696 h 514350"/>
                <a:gd name="connsiteX5615" fmla="*/ 2573179 w 6400800"/>
                <a:gd name="connsiteY5615" fmla="*/ 233839 h 514350"/>
                <a:gd name="connsiteX5616" fmla="*/ 2572226 w 6400800"/>
                <a:gd name="connsiteY5616" fmla="*/ 229076 h 514350"/>
                <a:gd name="connsiteX5617" fmla="*/ 2571274 w 6400800"/>
                <a:gd name="connsiteY5617" fmla="*/ 219551 h 514350"/>
                <a:gd name="connsiteX5618" fmla="*/ 2580799 w 6400800"/>
                <a:gd name="connsiteY5618" fmla="*/ 199549 h 514350"/>
                <a:gd name="connsiteX5619" fmla="*/ 2569369 w 6400800"/>
                <a:gd name="connsiteY5619" fmla="*/ 320516 h 514350"/>
                <a:gd name="connsiteX5620" fmla="*/ 2570321 w 6400800"/>
                <a:gd name="connsiteY5620" fmla="*/ 327184 h 514350"/>
                <a:gd name="connsiteX5621" fmla="*/ 2571274 w 6400800"/>
                <a:gd name="connsiteY5621" fmla="*/ 330041 h 514350"/>
                <a:gd name="connsiteX5622" fmla="*/ 2563654 w 6400800"/>
                <a:gd name="connsiteY5622" fmla="*/ 345281 h 514350"/>
                <a:gd name="connsiteX5623" fmla="*/ 2562701 w 6400800"/>
                <a:gd name="connsiteY5623" fmla="*/ 342424 h 514350"/>
                <a:gd name="connsiteX5624" fmla="*/ 2569369 w 6400800"/>
                <a:gd name="connsiteY5624" fmla="*/ 320516 h 514350"/>
                <a:gd name="connsiteX5625" fmla="*/ 2556034 w 6400800"/>
                <a:gd name="connsiteY5625" fmla="*/ 262414 h 514350"/>
                <a:gd name="connsiteX5626" fmla="*/ 2559844 w 6400800"/>
                <a:gd name="connsiteY5626" fmla="*/ 251936 h 514350"/>
                <a:gd name="connsiteX5627" fmla="*/ 2560796 w 6400800"/>
                <a:gd name="connsiteY5627" fmla="*/ 257651 h 514350"/>
                <a:gd name="connsiteX5628" fmla="*/ 2559844 w 6400800"/>
                <a:gd name="connsiteY5628" fmla="*/ 259556 h 514350"/>
                <a:gd name="connsiteX5629" fmla="*/ 2554129 w 6400800"/>
                <a:gd name="connsiteY5629" fmla="*/ 269081 h 514350"/>
                <a:gd name="connsiteX5630" fmla="*/ 2556034 w 6400800"/>
                <a:gd name="connsiteY5630" fmla="*/ 262414 h 514350"/>
                <a:gd name="connsiteX5631" fmla="*/ 2561749 w 6400800"/>
                <a:gd name="connsiteY5631" fmla="*/ 276701 h 514350"/>
                <a:gd name="connsiteX5632" fmla="*/ 2562701 w 6400800"/>
                <a:gd name="connsiteY5632" fmla="*/ 274796 h 514350"/>
                <a:gd name="connsiteX5633" fmla="*/ 2564606 w 6400800"/>
                <a:gd name="connsiteY5633" fmla="*/ 287179 h 514350"/>
                <a:gd name="connsiteX5634" fmla="*/ 2557939 w 6400800"/>
                <a:gd name="connsiteY5634" fmla="*/ 309086 h 514350"/>
                <a:gd name="connsiteX5635" fmla="*/ 2556034 w 6400800"/>
                <a:gd name="connsiteY5635" fmla="*/ 313849 h 514350"/>
                <a:gd name="connsiteX5636" fmla="*/ 2553176 w 6400800"/>
                <a:gd name="connsiteY5636" fmla="*/ 296704 h 514350"/>
                <a:gd name="connsiteX5637" fmla="*/ 2561749 w 6400800"/>
                <a:gd name="connsiteY5637" fmla="*/ 276701 h 514350"/>
                <a:gd name="connsiteX5638" fmla="*/ 2538889 w 6400800"/>
                <a:gd name="connsiteY5638" fmla="*/ 252889 h 514350"/>
                <a:gd name="connsiteX5639" fmla="*/ 2540794 w 6400800"/>
                <a:gd name="connsiteY5639" fmla="*/ 242411 h 514350"/>
                <a:gd name="connsiteX5640" fmla="*/ 2542699 w 6400800"/>
                <a:gd name="connsiteY5640" fmla="*/ 238601 h 514350"/>
                <a:gd name="connsiteX5641" fmla="*/ 2544604 w 6400800"/>
                <a:gd name="connsiteY5641" fmla="*/ 233839 h 514350"/>
                <a:gd name="connsiteX5642" fmla="*/ 2543651 w 6400800"/>
                <a:gd name="connsiteY5642" fmla="*/ 248126 h 514350"/>
                <a:gd name="connsiteX5643" fmla="*/ 2542699 w 6400800"/>
                <a:gd name="connsiteY5643" fmla="*/ 257651 h 514350"/>
                <a:gd name="connsiteX5644" fmla="*/ 2537936 w 6400800"/>
                <a:gd name="connsiteY5644" fmla="*/ 268129 h 514350"/>
                <a:gd name="connsiteX5645" fmla="*/ 2538889 w 6400800"/>
                <a:gd name="connsiteY5645" fmla="*/ 252889 h 514350"/>
                <a:gd name="connsiteX5646" fmla="*/ 2521744 w 6400800"/>
                <a:gd name="connsiteY5646" fmla="*/ 475774 h 514350"/>
                <a:gd name="connsiteX5647" fmla="*/ 2522696 w 6400800"/>
                <a:gd name="connsiteY5647" fmla="*/ 484346 h 514350"/>
                <a:gd name="connsiteX5648" fmla="*/ 2520791 w 6400800"/>
                <a:gd name="connsiteY5648" fmla="*/ 479584 h 514350"/>
                <a:gd name="connsiteX5649" fmla="*/ 2521744 w 6400800"/>
                <a:gd name="connsiteY5649" fmla="*/ 475774 h 514350"/>
                <a:gd name="connsiteX5650" fmla="*/ 2514124 w 6400800"/>
                <a:gd name="connsiteY5650" fmla="*/ 323374 h 514350"/>
                <a:gd name="connsiteX5651" fmla="*/ 2514124 w 6400800"/>
                <a:gd name="connsiteY5651" fmla="*/ 323374 h 514350"/>
                <a:gd name="connsiteX5652" fmla="*/ 2513171 w 6400800"/>
                <a:gd name="connsiteY5652" fmla="*/ 328136 h 514350"/>
                <a:gd name="connsiteX5653" fmla="*/ 2513171 w 6400800"/>
                <a:gd name="connsiteY5653" fmla="*/ 329089 h 514350"/>
                <a:gd name="connsiteX5654" fmla="*/ 2514124 w 6400800"/>
                <a:gd name="connsiteY5654" fmla="*/ 323374 h 514350"/>
                <a:gd name="connsiteX5655" fmla="*/ 2509361 w 6400800"/>
                <a:gd name="connsiteY5655" fmla="*/ 300514 h 514350"/>
                <a:gd name="connsiteX5656" fmla="*/ 2508409 w 6400800"/>
                <a:gd name="connsiteY5656" fmla="*/ 302419 h 514350"/>
                <a:gd name="connsiteX5657" fmla="*/ 2508409 w 6400800"/>
                <a:gd name="connsiteY5657" fmla="*/ 302419 h 514350"/>
                <a:gd name="connsiteX5658" fmla="*/ 2507456 w 6400800"/>
                <a:gd name="connsiteY5658" fmla="*/ 294799 h 514350"/>
                <a:gd name="connsiteX5659" fmla="*/ 2509361 w 6400800"/>
                <a:gd name="connsiteY5659" fmla="*/ 300514 h 514350"/>
                <a:gd name="connsiteX5660" fmla="*/ 2496979 w 6400800"/>
                <a:gd name="connsiteY5660" fmla="*/ 292894 h 514350"/>
                <a:gd name="connsiteX5661" fmla="*/ 2497931 w 6400800"/>
                <a:gd name="connsiteY5661" fmla="*/ 290036 h 514350"/>
                <a:gd name="connsiteX5662" fmla="*/ 2496979 w 6400800"/>
                <a:gd name="connsiteY5662" fmla="*/ 290989 h 514350"/>
                <a:gd name="connsiteX5663" fmla="*/ 2497931 w 6400800"/>
                <a:gd name="connsiteY5663" fmla="*/ 284321 h 514350"/>
                <a:gd name="connsiteX5664" fmla="*/ 2498884 w 6400800"/>
                <a:gd name="connsiteY5664" fmla="*/ 269081 h 514350"/>
                <a:gd name="connsiteX5665" fmla="*/ 2498884 w 6400800"/>
                <a:gd name="connsiteY5665" fmla="*/ 266224 h 514350"/>
                <a:gd name="connsiteX5666" fmla="*/ 2502694 w 6400800"/>
                <a:gd name="connsiteY5666" fmla="*/ 277654 h 514350"/>
                <a:gd name="connsiteX5667" fmla="*/ 2502694 w 6400800"/>
                <a:gd name="connsiteY5667" fmla="*/ 283369 h 514350"/>
                <a:gd name="connsiteX5668" fmla="*/ 2501741 w 6400800"/>
                <a:gd name="connsiteY5668" fmla="*/ 302419 h 514350"/>
                <a:gd name="connsiteX5669" fmla="*/ 2501741 w 6400800"/>
                <a:gd name="connsiteY5669" fmla="*/ 313849 h 514350"/>
                <a:gd name="connsiteX5670" fmla="*/ 2500789 w 6400800"/>
                <a:gd name="connsiteY5670" fmla="*/ 325279 h 514350"/>
                <a:gd name="connsiteX5671" fmla="*/ 2500789 w 6400800"/>
                <a:gd name="connsiteY5671" fmla="*/ 326231 h 514350"/>
                <a:gd name="connsiteX5672" fmla="*/ 2499836 w 6400800"/>
                <a:gd name="connsiteY5672" fmla="*/ 315754 h 514350"/>
                <a:gd name="connsiteX5673" fmla="*/ 2499836 w 6400800"/>
                <a:gd name="connsiteY5673" fmla="*/ 310039 h 514350"/>
                <a:gd name="connsiteX5674" fmla="*/ 2500789 w 6400800"/>
                <a:gd name="connsiteY5674" fmla="*/ 297656 h 514350"/>
                <a:gd name="connsiteX5675" fmla="*/ 2500789 w 6400800"/>
                <a:gd name="connsiteY5675" fmla="*/ 286226 h 514350"/>
                <a:gd name="connsiteX5676" fmla="*/ 2496979 w 6400800"/>
                <a:gd name="connsiteY5676" fmla="*/ 292894 h 514350"/>
                <a:gd name="connsiteX5677" fmla="*/ 2496979 w 6400800"/>
                <a:gd name="connsiteY5677" fmla="*/ 292894 h 514350"/>
                <a:gd name="connsiteX5678" fmla="*/ 2449354 w 6400800"/>
                <a:gd name="connsiteY5678" fmla="*/ 334804 h 514350"/>
                <a:gd name="connsiteX5679" fmla="*/ 2447449 w 6400800"/>
                <a:gd name="connsiteY5679" fmla="*/ 328136 h 514350"/>
                <a:gd name="connsiteX5680" fmla="*/ 2450306 w 6400800"/>
                <a:gd name="connsiteY5680" fmla="*/ 321469 h 514350"/>
                <a:gd name="connsiteX5681" fmla="*/ 2450306 w 6400800"/>
                <a:gd name="connsiteY5681" fmla="*/ 322421 h 514350"/>
                <a:gd name="connsiteX5682" fmla="*/ 2451259 w 6400800"/>
                <a:gd name="connsiteY5682" fmla="*/ 324326 h 514350"/>
                <a:gd name="connsiteX5683" fmla="*/ 2449354 w 6400800"/>
                <a:gd name="connsiteY5683" fmla="*/ 334804 h 514350"/>
                <a:gd name="connsiteX5684" fmla="*/ 2450306 w 6400800"/>
                <a:gd name="connsiteY5684" fmla="*/ 254794 h 514350"/>
                <a:gd name="connsiteX5685" fmla="*/ 2451259 w 6400800"/>
                <a:gd name="connsiteY5685" fmla="*/ 251936 h 514350"/>
                <a:gd name="connsiteX5686" fmla="*/ 2451259 w 6400800"/>
                <a:gd name="connsiteY5686" fmla="*/ 250984 h 514350"/>
                <a:gd name="connsiteX5687" fmla="*/ 2451259 w 6400800"/>
                <a:gd name="connsiteY5687" fmla="*/ 251936 h 514350"/>
                <a:gd name="connsiteX5688" fmla="*/ 2450306 w 6400800"/>
                <a:gd name="connsiteY5688" fmla="*/ 254794 h 514350"/>
                <a:gd name="connsiteX5689" fmla="*/ 2452211 w 6400800"/>
                <a:gd name="connsiteY5689" fmla="*/ 251936 h 514350"/>
                <a:gd name="connsiteX5690" fmla="*/ 2451259 w 6400800"/>
                <a:gd name="connsiteY5690" fmla="*/ 250984 h 514350"/>
                <a:gd name="connsiteX5691" fmla="*/ 2456021 w 6400800"/>
                <a:gd name="connsiteY5691" fmla="*/ 238601 h 514350"/>
                <a:gd name="connsiteX5692" fmla="*/ 2460784 w 6400800"/>
                <a:gd name="connsiteY5692" fmla="*/ 231934 h 514350"/>
                <a:gd name="connsiteX5693" fmla="*/ 2459831 w 6400800"/>
                <a:gd name="connsiteY5693" fmla="*/ 235744 h 514350"/>
                <a:gd name="connsiteX5694" fmla="*/ 2456021 w 6400800"/>
                <a:gd name="connsiteY5694" fmla="*/ 248126 h 514350"/>
                <a:gd name="connsiteX5695" fmla="*/ 2452211 w 6400800"/>
                <a:gd name="connsiteY5695" fmla="*/ 251936 h 514350"/>
                <a:gd name="connsiteX5696" fmla="*/ 2457926 w 6400800"/>
                <a:gd name="connsiteY5696" fmla="*/ 266224 h 514350"/>
                <a:gd name="connsiteX5697" fmla="*/ 2456974 w 6400800"/>
                <a:gd name="connsiteY5697" fmla="*/ 268129 h 514350"/>
                <a:gd name="connsiteX5698" fmla="*/ 2457926 w 6400800"/>
                <a:gd name="connsiteY5698" fmla="*/ 266224 h 514350"/>
                <a:gd name="connsiteX5699" fmla="*/ 2457926 w 6400800"/>
                <a:gd name="connsiteY5699" fmla="*/ 266224 h 514350"/>
                <a:gd name="connsiteX5700" fmla="*/ 2457926 w 6400800"/>
                <a:gd name="connsiteY5700" fmla="*/ 374809 h 514350"/>
                <a:gd name="connsiteX5701" fmla="*/ 2456021 w 6400800"/>
                <a:gd name="connsiteY5701" fmla="*/ 367189 h 514350"/>
                <a:gd name="connsiteX5702" fmla="*/ 2456021 w 6400800"/>
                <a:gd name="connsiteY5702" fmla="*/ 362426 h 514350"/>
                <a:gd name="connsiteX5703" fmla="*/ 2456021 w 6400800"/>
                <a:gd name="connsiteY5703" fmla="*/ 344329 h 514350"/>
                <a:gd name="connsiteX5704" fmla="*/ 2458879 w 6400800"/>
                <a:gd name="connsiteY5704" fmla="*/ 354806 h 514350"/>
                <a:gd name="connsiteX5705" fmla="*/ 2457926 w 6400800"/>
                <a:gd name="connsiteY5705" fmla="*/ 374809 h 514350"/>
                <a:gd name="connsiteX5706" fmla="*/ 2456974 w 6400800"/>
                <a:gd name="connsiteY5706" fmla="*/ 308134 h 514350"/>
                <a:gd name="connsiteX5707" fmla="*/ 2456974 w 6400800"/>
                <a:gd name="connsiteY5707" fmla="*/ 305276 h 514350"/>
                <a:gd name="connsiteX5708" fmla="*/ 2457926 w 6400800"/>
                <a:gd name="connsiteY5708" fmla="*/ 302419 h 514350"/>
                <a:gd name="connsiteX5709" fmla="*/ 2459831 w 6400800"/>
                <a:gd name="connsiteY5709" fmla="*/ 313849 h 514350"/>
                <a:gd name="connsiteX5710" fmla="*/ 2460784 w 6400800"/>
                <a:gd name="connsiteY5710" fmla="*/ 317659 h 514350"/>
                <a:gd name="connsiteX5711" fmla="*/ 2456974 w 6400800"/>
                <a:gd name="connsiteY5711" fmla="*/ 308134 h 514350"/>
                <a:gd name="connsiteX5712" fmla="*/ 2458879 w 6400800"/>
                <a:gd name="connsiteY5712" fmla="*/ 290036 h 514350"/>
                <a:gd name="connsiteX5713" fmla="*/ 2459831 w 6400800"/>
                <a:gd name="connsiteY5713" fmla="*/ 287179 h 514350"/>
                <a:gd name="connsiteX5714" fmla="*/ 2463641 w 6400800"/>
                <a:gd name="connsiteY5714" fmla="*/ 277654 h 514350"/>
                <a:gd name="connsiteX5715" fmla="*/ 2465546 w 6400800"/>
                <a:gd name="connsiteY5715" fmla="*/ 281464 h 514350"/>
                <a:gd name="connsiteX5716" fmla="*/ 2458879 w 6400800"/>
                <a:gd name="connsiteY5716" fmla="*/ 290036 h 514350"/>
                <a:gd name="connsiteX5717" fmla="*/ 2464594 w 6400800"/>
                <a:gd name="connsiteY5717" fmla="*/ 305276 h 514350"/>
                <a:gd name="connsiteX5718" fmla="*/ 2460784 w 6400800"/>
                <a:gd name="connsiteY5718" fmla="*/ 295751 h 514350"/>
                <a:gd name="connsiteX5719" fmla="*/ 2462689 w 6400800"/>
                <a:gd name="connsiteY5719" fmla="*/ 292894 h 514350"/>
                <a:gd name="connsiteX5720" fmla="*/ 2466499 w 6400800"/>
                <a:gd name="connsiteY5720" fmla="*/ 285274 h 514350"/>
                <a:gd name="connsiteX5721" fmla="*/ 2464594 w 6400800"/>
                <a:gd name="connsiteY5721" fmla="*/ 305276 h 514350"/>
                <a:gd name="connsiteX5722" fmla="*/ 2467451 w 6400800"/>
                <a:gd name="connsiteY5722" fmla="*/ 274796 h 514350"/>
                <a:gd name="connsiteX5723" fmla="*/ 2466499 w 6400800"/>
                <a:gd name="connsiteY5723" fmla="*/ 272891 h 514350"/>
                <a:gd name="connsiteX5724" fmla="*/ 2468404 w 6400800"/>
                <a:gd name="connsiteY5724" fmla="*/ 268129 h 514350"/>
                <a:gd name="connsiteX5725" fmla="*/ 2467451 w 6400800"/>
                <a:gd name="connsiteY5725" fmla="*/ 274796 h 514350"/>
                <a:gd name="connsiteX5726" fmla="*/ 2471261 w 6400800"/>
                <a:gd name="connsiteY5726" fmla="*/ 233839 h 514350"/>
                <a:gd name="connsiteX5727" fmla="*/ 2470309 w 6400800"/>
                <a:gd name="connsiteY5727" fmla="*/ 245269 h 514350"/>
                <a:gd name="connsiteX5728" fmla="*/ 2469356 w 6400800"/>
                <a:gd name="connsiteY5728" fmla="*/ 246221 h 514350"/>
                <a:gd name="connsiteX5729" fmla="*/ 2459831 w 6400800"/>
                <a:gd name="connsiteY5729" fmla="*/ 263366 h 514350"/>
                <a:gd name="connsiteX5730" fmla="*/ 2458879 w 6400800"/>
                <a:gd name="connsiteY5730" fmla="*/ 261461 h 514350"/>
                <a:gd name="connsiteX5731" fmla="*/ 2461736 w 6400800"/>
                <a:gd name="connsiteY5731" fmla="*/ 247174 h 514350"/>
                <a:gd name="connsiteX5732" fmla="*/ 2462689 w 6400800"/>
                <a:gd name="connsiteY5732" fmla="*/ 245269 h 514350"/>
                <a:gd name="connsiteX5733" fmla="*/ 2472214 w 6400800"/>
                <a:gd name="connsiteY5733" fmla="*/ 231934 h 514350"/>
                <a:gd name="connsiteX5734" fmla="*/ 2472214 w 6400800"/>
                <a:gd name="connsiteY5734" fmla="*/ 231934 h 514350"/>
                <a:gd name="connsiteX5735" fmla="*/ 2473166 w 6400800"/>
                <a:gd name="connsiteY5735" fmla="*/ 240506 h 514350"/>
                <a:gd name="connsiteX5736" fmla="*/ 2472214 w 6400800"/>
                <a:gd name="connsiteY5736" fmla="*/ 242411 h 514350"/>
                <a:gd name="connsiteX5737" fmla="*/ 2471261 w 6400800"/>
                <a:gd name="connsiteY5737" fmla="*/ 233839 h 514350"/>
                <a:gd name="connsiteX5738" fmla="*/ 2467451 w 6400800"/>
                <a:gd name="connsiteY5738" fmla="*/ 211931 h 514350"/>
                <a:gd name="connsiteX5739" fmla="*/ 2465546 w 6400800"/>
                <a:gd name="connsiteY5739" fmla="*/ 213836 h 514350"/>
                <a:gd name="connsiteX5740" fmla="*/ 2466499 w 6400800"/>
                <a:gd name="connsiteY5740" fmla="*/ 211931 h 514350"/>
                <a:gd name="connsiteX5741" fmla="*/ 2468404 w 6400800"/>
                <a:gd name="connsiteY5741" fmla="*/ 208121 h 514350"/>
                <a:gd name="connsiteX5742" fmla="*/ 2468404 w 6400800"/>
                <a:gd name="connsiteY5742" fmla="*/ 210979 h 514350"/>
                <a:gd name="connsiteX5743" fmla="*/ 2467451 w 6400800"/>
                <a:gd name="connsiteY5743" fmla="*/ 211931 h 514350"/>
                <a:gd name="connsiteX5744" fmla="*/ 2467451 w 6400800"/>
                <a:gd name="connsiteY5744" fmla="*/ 211931 h 514350"/>
                <a:gd name="connsiteX5745" fmla="*/ 2467451 w 6400800"/>
                <a:gd name="connsiteY5745" fmla="*/ 211931 h 514350"/>
                <a:gd name="connsiteX5746" fmla="*/ 2470309 w 6400800"/>
                <a:gd name="connsiteY5746" fmla="*/ 218599 h 514350"/>
                <a:gd name="connsiteX5747" fmla="*/ 2472214 w 6400800"/>
                <a:gd name="connsiteY5747" fmla="*/ 230029 h 514350"/>
                <a:gd name="connsiteX5748" fmla="*/ 2472214 w 6400800"/>
                <a:gd name="connsiteY5748" fmla="*/ 230029 h 514350"/>
                <a:gd name="connsiteX5749" fmla="*/ 2463641 w 6400800"/>
                <a:gd name="connsiteY5749" fmla="*/ 237649 h 514350"/>
                <a:gd name="connsiteX5750" fmla="*/ 2464594 w 6400800"/>
                <a:gd name="connsiteY5750" fmla="*/ 234791 h 514350"/>
                <a:gd name="connsiteX5751" fmla="*/ 2466499 w 6400800"/>
                <a:gd name="connsiteY5751" fmla="*/ 224314 h 514350"/>
                <a:gd name="connsiteX5752" fmla="*/ 2466499 w 6400800"/>
                <a:gd name="connsiteY5752" fmla="*/ 224314 h 514350"/>
                <a:gd name="connsiteX5753" fmla="*/ 2470309 w 6400800"/>
                <a:gd name="connsiteY5753" fmla="*/ 218599 h 514350"/>
                <a:gd name="connsiteX5754" fmla="*/ 2477929 w 6400800"/>
                <a:gd name="connsiteY5754" fmla="*/ 223361 h 514350"/>
                <a:gd name="connsiteX5755" fmla="*/ 2475071 w 6400800"/>
                <a:gd name="connsiteY5755" fmla="*/ 212884 h 514350"/>
                <a:gd name="connsiteX5756" fmla="*/ 2477929 w 6400800"/>
                <a:gd name="connsiteY5756" fmla="*/ 209074 h 514350"/>
                <a:gd name="connsiteX5757" fmla="*/ 2477929 w 6400800"/>
                <a:gd name="connsiteY5757" fmla="*/ 217646 h 514350"/>
                <a:gd name="connsiteX5758" fmla="*/ 2477929 w 6400800"/>
                <a:gd name="connsiteY5758" fmla="*/ 223361 h 514350"/>
                <a:gd name="connsiteX5759" fmla="*/ 2473166 w 6400800"/>
                <a:gd name="connsiteY5759" fmla="*/ 206216 h 514350"/>
                <a:gd name="connsiteX5760" fmla="*/ 2472214 w 6400800"/>
                <a:gd name="connsiteY5760" fmla="*/ 203359 h 514350"/>
                <a:gd name="connsiteX5761" fmla="*/ 2471261 w 6400800"/>
                <a:gd name="connsiteY5761" fmla="*/ 201454 h 514350"/>
                <a:gd name="connsiteX5762" fmla="*/ 2474119 w 6400800"/>
                <a:gd name="connsiteY5762" fmla="*/ 195739 h 514350"/>
                <a:gd name="connsiteX5763" fmla="*/ 2477929 w 6400800"/>
                <a:gd name="connsiteY5763" fmla="*/ 189071 h 514350"/>
                <a:gd name="connsiteX5764" fmla="*/ 2477929 w 6400800"/>
                <a:gd name="connsiteY5764" fmla="*/ 201454 h 514350"/>
                <a:gd name="connsiteX5765" fmla="*/ 2473166 w 6400800"/>
                <a:gd name="connsiteY5765" fmla="*/ 206216 h 514350"/>
                <a:gd name="connsiteX5766" fmla="*/ 2473166 w 6400800"/>
                <a:gd name="connsiteY5766" fmla="*/ 255746 h 514350"/>
                <a:gd name="connsiteX5767" fmla="*/ 2475071 w 6400800"/>
                <a:gd name="connsiteY5767" fmla="*/ 251936 h 514350"/>
                <a:gd name="connsiteX5768" fmla="*/ 2476976 w 6400800"/>
                <a:gd name="connsiteY5768" fmla="*/ 266224 h 514350"/>
                <a:gd name="connsiteX5769" fmla="*/ 2479834 w 6400800"/>
                <a:gd name="connsiteY5769" fmla="*/ 292894 h 514350"/>
                <a:gd name="connsiteX5770" fmla="*/ 2479834 w 6400800"/>
                <a:gd name="connsiteY5770" fmla="*/ 296704 h 514350"/>
                <a:gd name="connsiteX5771" fmla="*/ 2479834 w 6400800"/>
                <a:gd name="connsiteY5771" fmla="*/ 295751 h 514350"/>
                <a:gd name="connsiteX5772" fmla="*/ 2475071 w 6400800"/>
                <a:gd name="connsiteY5772" fmla="*/ 288131 h 514350"/>
                <a:gd name="connsiteX5773" fmla="*/ 2473166 w 6400800"/>
                <a:gd name="connsiteY5773" fmla="*/ 255746 h 514350"/>
                <a:gd name="connsiteX5774" fmla="*/ 2481739 w 6400800"/>
                <a:gd name="connsiteY5774" fmla="*/ 324326 h 514350"/>
                <a:gd name="connsiteX5775" fmla="*/ 2480786 w 6400800"/>
                <a:gd name="connsiteY5775" fmla="*/ 326231 h 514350"/>
                <a:gd name="connsiteX5776" fmla="*/ 2476024 w 6400800"/>
                <a:gd name="connsiteY5776" fmla="*/ 340519 h 514350"/>
                <a:gd name="connsiteX5777" fmla="*/ 2476024 w 6400800"/>
                <a:gd name="connsiteY5777" fmla="*/ 308134 h 514350"/>
                <a:gd name="connsiteX5778" fmla="*/ 2476024 w 6400800"/>
                <a:gd name="connsiteY5778" fmla="*/ 308134 h 514350"/>
                <a:gd name="connsiteX5779" fmla="*/ 2479834 w 6400800"/>
                <a:gd name="connsiteY5779" fmla="*/ 318611 h 514350"/>
                <a:gd name="connsiteX5780" fmla="*/ 2480786 w 6400800"/>
                <a:gd name="connsiteY5780" fmla="*/ 322421 h 514350"/>
                <a:gd name="connsiteX5781" fmla="*/ 2481739 w 6400800"/>
                <a:gd name="connsiteY5781" fmla="*/ 324326 h 514350"/>
                <a:gd name="connsiteX5782" fmla="*/ 2481739 w 6400800"/>
                <a:gd name="connsiteY5782" fmla="*/ 324326 h 514350"/>
                <a:gd name="connsiteX5783" fmla="*/ 2436971 w 6400800"/>
                <a:gd name="connsiteY5783" fmla="*/ 215741 h 514350"/>
                <a:gd name="connsiteX5784" fmla="*/ 2447449 w 6400800"/>
                <a:gd name="connsiteY5784" fmla="*/ 195739 h 514350"/>
                <a:gd name="connsiteX5785" fmla="*/ 2457926 w 6400800"/>
                <a:gd name="connsiteY5785" fmla="*/ 178594 h 514350"/>
                <a:gd name="connsiteX5786" fmla="*/ 2475071 w 6400800"/>
                <a:gd name="connsiteY5786" fmla="*/ 150971 h 514350"/>
                <a:gd name="connsiteX5787" fmla="*/ 2482691 w 6400800"/>
                <a:gd name="connsiteY5787" fmla="*/ 138589 h 514350"/>
                <a:gd name="connsiteX5788" fmla="*/ 2480786 w 6400800"/>
                <a:gd name="connsiteY5788" fmla="*/ 154781 h 514350"/>
                <a:gd name="connsiteX5789" fmla="*/ 2478881 w 6400800"/>
                <a:gd name="connsiteY5789" fmla="*/ 181451 h 514350"/>
                <a:gd name="connsiteX5790" fmla="*/ 2470309 w 6400800"/>
                <a:gd name="connsiteY5790" fmla="*/ 193834 h 514350"/>
                <a:gd name="connsiteX5791" fmla="*/ 2469356 w 6400800"/>
                <a:gd name="connsiteY5791" fmla="*/ 194786 h 514350"/>
                <a:gd name="connsiteX5792" fmla="*/ 2465546 w 6400800"/>
                <a:gd name="connsiteY5792" fmla="*/ 181451 h 514350"/>
                <a:gd name="connsiteX5793" fmla="*/ 2467451 w 6400800"/>
                <a:gd name="connsiteY5793" fmla="*/ 197644 h 514350"/>
                <a:gd name="connsiteX5794" fmla="*/ 2460784 w 6400800"/>
                <a:gd name="connsiteY5794" fmla="*/ 209074 h 514350"/>
                <a:gd name="connsiteX5795" fmla="*/ 2447449 w 6400800"/>
                <a:gd name="connsiteY5795" fmla="*/ 234791 h 514350"/>
                <a:gd name="connsiteX5796" fmla="*/ 2436971 w 6400800"/>
                <a:gd name="connsiteY5796" fmla="*/ 247174 h 514350"/>
                <a:gd name="connsiteX5797" fmla="*/ 2436019 w 6400800"/>
                <a:gd name="connsiteY5797" fmla="*/ 249079 h 514350"/>
                <a:gd name="connsiteX5798" fmla="*/ 2436019 w 6400800"/>
                <a:gd name="connsiteY5798" fmla="*/ 249079 h 514350"/>
                <a:gd name="connsiteX5799" fmla="*/ 2433161 w 6400800"/>
                <a:gd name="connsiteY5799" fmla="*/ 225266 h 514350"/>
                <a:gd name="connsiteX5800" fmla="*/ 2436971 w 6400800"/>
                <a:gd name="connsiteY5800" fmla="*/ 215741 h 514350"/>
                <a:gd name="connsiteX5801" fmla="*/ 2416016 w 6400800"/>
                <a:gd name="connsiteY5801" fmla="*/ 313849 h 514350"/>
                <a:gd name="connsiteX5802" fmla="*/ 2416016 w 6400800"/>
                <a:gd name="connsiteY5802" fmla="*/ 313849 h 514350"/>
                <a:gd name="connsiteX5803" fmla="*/ 2413159 w 6400800"/>
                <a:gd name="connsiteY5803" fmla="*/ 304324 h 514350"/>
                <a:gd name="connsiteX5804" fmla="*/ 2415064 w 6400800"/>
                <a:gd name="connsiteY5804" fmla="*/ 301466 h 514350"/>
                <a:gd name="connsiteX5805" fmla="*/ 2415064 w 6400800"/>
                <a:gd name="connsiteY5805" fmla="*/ 303371 h 514350"/>
                <a:gd name="connsiteX5806" fmla="*/ 2416016 w 6400800"/>
                <a:gd name="connsiteY5806" fmla="*/ 313849 h 514350"/>
                <a:gd name="connsiteX5807" fmla="*/ 2416016 w 6400800"/>
                <a:gd name="connsiteY5807" fmla="*/ 313849 h 514350"/>
                <a:gd name="connsiteX5808" fmla="*/ 2422684 w 6400800"/>
                <a:gd name="connsiteY5808" fmla="*/ 288131 h 514350"/>
                <a:gd name="connsiteX5809" fmla="*/ 2422684 w 6400800"/>
                <a:gd name="connsiteY5809" fmla="*/ 293846 h 514350"/>
                <a:gd name="connsiteX5810" fmla="*/ 2420779 w 6400800"/>
                <a:gd name="connsiteY5810" fmla="*/ 299561 h 514350"/>
                <a:gd name="connsiteX5811" fmla="*/ 2418874 w 6400800"/>
                <a:gd name="connsiteY5811" fmla="*/ 293846 h 514350"/>
                <a:gd name="connsiteX5812" fmla="*/ 2420779 w 6400800"/>
                <a:gd name="connsiteY5812" fmla="*/ 290989 h 514350"/>
                <a:gd name="connsiteX5813" fmla="*/ 2422684 w 6400800"/>
                <a:gd name="connsiteY5813" fmla="*/ 288131 h 514350"/>
                <a:gd name="connsiteX5814" fmla="*/ 2414111 w 6400800"/>
                <a:gd name="connsiteY5814" fmla="*/ 259556 h 514350"/>
                <a:gd name="connsiteX5815" fmla="*/ 2419826 w 6400800"/>
                <a:gd name="connsiteY5815" fmla="*/ 248126 h 514350"/>
                <a:gd name="connsiteX5816" fmla="*/ 2420779 w 6400800"/>
                <a:gd name="connsiteY5816" fmla="*/ 266224 h 514350"/>
                <a:gd name="connsiteX5817" fmla="*/ 2412206 w 6400800"/>
                <a:gd name="connsiteY5817" fmla="*/ 277654 h 514350"/>
                <a:gd name="connsiteX5818" fmla="*/ 2410301 w 6400800"/>
                <a:gd name="connsiteY5818" fmla="*/ 273844 h 514350"/>
                <a:gd name="connsiteX5819" fmla="*/ 2408396 w 6400800"/>
                <a:gd name="connsiteY5819" fmla="*/ 270986 h 514350"/>
                <a:gd name="connsiteX5820" fmla="*/ 2414111 w 6400800"/>
                <a:gd name="connsiteY5820" fmla="*/ 259556 h 514350"/>
                <a:gd name="connsiteX5821" fmla="*/ 2406491 w 6400800"/>
                <a:gd name="connsiteY5821" fmla="*/ 275749 h 514350"/>
                <a:gd name="connsiteX5822" fmla="*/ 2406491 w 6400800"/>
                <a:gd name="connsiteY5822" fmla="*/ 275749 h 514350"/>
                <a:gd name="connsiteX5823" fmla="*/ 2409349 w 6400800"/>
                <a:gd name="connsiteY5823" fmla="*/ 282416 h 514350"/>
                <a:gd name="connsiteX5824" fmla="*/ 2406491 w 6400800"/>
                <a:gd name="connsiteY5824" fmla="*/ 286226 h 514350"/>
                <a:gd name="connsiteX5825" fmla="*/ 2404586 w 6400800"/>
                <a:gd name="connsiteY5825" fmla="*/ 280511 h 514350"/>
                <a:gd name="connsiteX5826" fmla="*/ 2406491 w 6400800"/>
                <a:gd name="connsiteY5826" fmla="*/ 275749 h 514350"/>
                <a:gd name="connsiteX5827" fmla="*/ 2405539 w 6400800"/>
                <a:gd name="connsiteY5827" fmla="*/ 317659 h 514350"/>
                <a:gd name="connsiteX5828" fmla="*/ 2408396 w 6400800"/>
                <a:gd name="connsiteY5828" fmla="*/ 328136 h 514350"/>
                <a:gd name="connsiteX5829" fmla="*/ 2408396 w 6400800"/>
                <a:gd name="connsiteY5829" fmla="*/ 334804 h 514350"/>
                <a:gd name="connsiteX5830" fmla="*/ 2407444 w 6400800"/>
                <a:gd name="connsiteY5830" fmla="*/ 332899 h 514350"/>
                <a:gd name="connsiteX5831" fmla="*/ 2407444 w 6400800"/>
                <a:gd name="connsiteY5831" fmla="*/ 340519 h 514350"/>
                <a:gd name="connsiteX5832" fmla="*/ 2404586 w 6400800"/>
                <a:gd name="connsiteY5832" fmla="*/ 350996 h 514350"/>
                <a:gd name="connsiteX5833" fmla="*/ 2400776 w 6400800"/>
                <a:gd name="connsiteY5833" fmla="*/ 364331 h 514350"/>
                <a:gd name="connsiteX5834" fmla="*/ 2398871 w 6400800"/>
                <a:gd name="connsiteY5834" fmla="*/ 343376 h 514350"/>
                <a:gd name="connsiteX5835" fmla="*/ 2397919 w 6400800"/>
                <a:gd name="connsiteY5835" fmla="*/ 333851 h 514350"/>
                <a:gd name="connsiteX5836" fmla="*/ 2398871 w 6400800"/>
                <a:gd name="connsiteY5836" fmla="*/ 330994 h 514350"/>
                <a:gd name="connsiteX5837" fmla="*/ 2405539 w 6400800"/>
                <a:gd name="connsiteY5837" fmla="*/ 317659 h 514350"/>
                <a:gd name="connsiteX5838" fmla="*/ 2398871 w 6400800"/>
                <a:gd name="connsiteY5838" fmla="*/ 291941 h 514350"/>
                <a:gd name="connsiteX5839" fmla="*/ 2399824 w 6400800"/>
                <a:gd name="connsiteY5839" fmla="*/ 295751 h 514350"/>
                <a:gd name="connsiteX5840" fmla="*/ 2394109 w 6400800"/>
                <a:gd name="connsiteY5840" fmla="*/ 303371 h 514350"/>
                <a:gd name="connsiteX5841" fmla="*/ 2394109 w 6400800"/>
                <a:gd name="connsiteY5841" fmla="*/ 302419 h 514350"/>
                <a:gd name="connsiteX5842" fmla="*/ 2398871 w 6400800"/>
                <a:gd name="connsiteY5842" fmla="*/ 291941 h 514350"/>
                <a:gd name="connsiteX5843" fmla="*/ 2393156 w 6400800"/>
                <a:gd name="connsiteY5843" fmla="*/ 267176 h 514350"/>
                <a:gd name="connsiteX5844" fmla="*/ 2391251 w 6400800"/>
                <a:gd name="connsiteY5844" fmla="*/ 270034 h 514350"/>
                <a:gd name="connsiteX5845" fmla="*/ 2389346 w 6400800"/>
                <a:gd name="connsiteY5845" fmla="*/ 254794 h 514350"/>
                <a:gd name="connsiteX5846" fmla="*/ 2393156 w 6400800"/>
                <a:gd name="connsiteY5846" fmla="*/ 267176 h 514350"/>
                <a:gd name="connsiteX5847" fmla="*/ 2351246 w 6400800"/>
                <a:gd name="connsiteY5847" fmla="*/ 278606 h 514350"/>
                <a:gd name="connsiteX5848" fmla="*/ 2351246 w 6400800"/>
                <a:gd name="connsiteY5848" fmla="*/ 278606 h 514350"/>
                <a:gd name="connsiteX5849" fmla="*/ 2351246 w 6400800"/>
                <a:gd name="connsiteY5849" fmla="*/ 275749 h 514350"/>
                <a:gd name="connsiteX5850" fmla="*/ 2351246 w 6400800"/>
                <a:gd name="connsiteY5850" fmla="*/ 278606 h 514350"/>
                <a:gd name="connsiteX5851" fmla="*/ 2378869 w 6400800"/>
                <a:gd name="connsiteY5851" fmla="*/ 295751 h 514350"/>
                <a:gd name="connsiteX5852" fmla="*/ 2375059 w 6400800"/>
                <a:gd name="connsiteY5852" fmla="*/ 303371 h 514350"/>
                <a:gd name="connsiteX5853" fmla="*/ 2374106 w 6400800"/>
                <a:gd name="connsiteY5853" fmla="*/ 305276 h 514350"/>
                <a:gd name="connsiteX5854" fmla="*/ 2374106 w 6400800"/>
                <a:gd name="connsiteY5854" fmla="*/ 304324 h 514350"/>
                <a:gd name="connsiteX5855" fmla="*/ 2376011 w 6400800"/>
                <a:gd name="connsiteY5855" fmla="*/ 231934 h 514350"/>
                <a:gd name="connsiteX5856" fmla="*/ 2366486 w 6400800"/>
                <a:gd name="connsiteY5856" fmla="*/ 277654 h 514350"/>
                <a:gd name="connsiteX5857" fmla="*/ 2364581 w 6400800"/>
                <a:gd name="connsiteY5857" fmla="*/ 272891 h 514350"/>
                <a:gd name="connsiteX5858" fmla="*/ 2361724 w 6400800"/>
                <a:gd name="connsiteY5858" fmla="*/ 264319 h 514350"/>
                <a:gd name="connsiteX5859" fmla="*/ 2361724 w 6400800"/>
                <a:gd name="connsiteY5859" fmla="*/ 245269 h 514350"/>
                <a:gd name="connsiteX5860" fmla="*/ 2365534 w 6400800"/>
                <a:gd name="connsiteY5860" fmla="*/ 234791 h 514350"/>
                <a:gd name="connsiteX5861" fmla="*/ 2376011 w 6400800"/>
                <a:gd name="connsiteY5861" fmla="*/ 211931 h 514350"/>
                <a:gd name="connsiteX5862" fmla="*/ 2376011 w 6400800"/>
                <a:gd name="connsiteY5862" fmla="*/ 244316 h 514350"/>
                <a:gd name="connsiteX5863" fmla="*/ 2376964 w 6400800"/>
                <a:gd name="connsiteY5863" fmla="*/ 290989 h 514350"/>
                <a:gd name="connsiteX5864" fmla="*/ 2378869 w 6400800"/>
                <a:gd name="connsiteY5864" fmla="*/ 295751 h 514350"/>
                <a:gd name="connsiteX5865" fmla="*/ 2362676 w 6400800"/>
                <a:gd name="connsiteY5865" fmla="*/ 180499 h 514350"/>
                <a:gd name="connsiteX5866" fmla="*/ 2368391 w 6400800"/>
                <a:gd name="connsiteY5866" fmla="*/ 166211 h 514350"/>
                <a:gd name="connsiteX5867" fmla="*/ 2377916 w 6400800"/>
                <a:gd name="connsiteY5867" fmla="*/ 140494 h 514350"/>
                <a:gd name="connsiteX5868" fmla="*/ 2378869 w 6400800"/>
                <a:gd name="connsiteY5868" fmla="*/ 143351 h 514350"/>
                <a:gd name="connsiteX5869" fmla="*/ 2378869 w 6400800"/>
                <a:gd name="connsiteY5869" fmla="*/ 152876 h 514350"/>
                <a:gd name="connsiteX5870" fmla="*/ 2377916 w 6400800"/>
                <a:gd name="connsiteY5870" fmla="*/ 147161 h 514350"/>
                <a:gd name="connsiteX5871" fmla="*/ 2377916 w 6400800"/>
                <a:gd name="connsiteY5871" fmla="*/ 173831 h 514350"/>
                <a:gd name="connsiteX5872" fmla="*/ 2377916 w 6400800"/>
                <a:gd name="connsiteY5872" fmla="*/ 203359 h 514350"/>
                <a:gd name="connsiteX5873" fmla="*/ 2362676 w 6400800"/>
                <a:gd name="connsiteY5873" fmla="*/ 227171 h 514350"/>
                <a:gd name="connsiteX5874" fmla="*/ 2360771 w 6400800"/>
                <a:gd name="connsiteY5874" fmla="*/ 185261 h 514350"/>
                <a:gd name="connsiteX5875" fmla="*/ 2362676 w 6400800"/>
                <a:gd name="connsiteY5875" fmla="*/ 180499 h 514350"/>
                <a:gd name="connsiteX5876" fmla="*/ 2340769 w 6400800"/>
                <a:gd name="connsiteY5876" fmla="*/ 241459 h 514350"/>
                <a:gd name="connsiteX5877" fmla="*/ 2342674 w 6400800"/>
                <a:gd name="connsiteY5877" fmla="*/ 235744 h 514350"/>
                <a:gd name="connsiteX5878" fmla="*/ 2347436 w 6400800"/>
                <a:gd name="connsiteY5878" fmla="*/ 221456 h 514350"/>
                <a:gd name="connsiteX5879" fmla="*/ 2359819 w 6400800"/>
                <a:gd name="connsiteY5879" fmla="*/ 187166 h 514350"/>
                <a:gd name="connsiteX5880" fmla="*/ 2355056 w 6400800"/>
                <a:gd name="connsiteY5880" fmla="*/ 236696 h 514350"/>
                <a:gd name="connsiteX5881" fmla="*/ 2353151 w 6400800"/>
                <a:gd name="connsiteY5881" fmla="*/ 230029 h 514350"/>
                <a:gd name="connsiteX5882" fmla="*/ 2354104 w 6400800"/>
                <a:gd name="connsiteY5882" fmla="*/ 241459 h 514350"/>
                <a:gd name="connsiteX5883" fmla="*/ 2344579 w 6400800"/>
                <a:gd name="connsiteY5883" fmla="*/ 259556 h 514350"/>
                <a:gd name="connsiteX5884" fmla="*/ 2344579 w 6400800"/>
                <a:gd name="connsiteY5884" fmla="*/ 259556 h 514350"/>
                <a:gd name="connsiteX5885" fmla="*/ 2339816 w 6400800"/>
                <a:gd name="connsiteY5885" fmla="*/ 245269 h 514350"/>
                <a:gd name="connsiteX5886" fmla="*/ 2340769 w 6400800"/>
                <a:gd name="connsiteY5886" fmla="*/ 241459 h 514350"/>
                <a:gd name="connsiteX5887" fmla="*/ 2344579 w 6400800"/>
                <a:gd name="connsiteY5887" fmla="*/ 320516 h 514350"/>
                <a:gd name="connsiteX5888" fmla="*/ 2339816 w 6400800"/>
                <a:gd name="connsiteY5888" fmla="*/ 310991 h 514350"/>
                <a:gd name="connsiteX5889" fmla="*/ 2339816 w 6400800"/>
                <a:gd name="connsiteY5889" fmla="*/ 310039 h 514350"/>
                <a:gd name="connsiteX5890" fmla="*/ 2344579 w 6400800"/>
                <a:gd name="connsiteY5890" fmla="*/ 320516 h 514350"/>
                <a:gd name="connsiteX5891" fmla="*/ 2337911 w 6400800"/>
                <a:gd name="connsiteY5891" fmla="*/ 317659 h 514350"/>
                <a:gd name="connsiteX5892" fmla="*/ 2341721 w 6400800"/>
                <a:gd name="connsiteY5892" fmla="*/ 327184 h 514350"/>
                <a:gd name="connsiteX5893" fmla="*/ 2336959 w 6400800"/>
                <a:gd name="connsiteY5893" fmla="*/ 321469 h 514350"/>
                <a:gd name="connsiteX5894" fmla="*/ 2337911 w 6400800"/>
                <a:gd name="connsiteY5894" fmla="*/ 317659 h 514350"/>
                <a:gd name="connsiteX5895" fmla="*/ 2332196 w 6400800"/>
                <a:gd name="connsiteY5895" fmla="*/ 280511 h 514350"/>
                <a:gd name="connsiteX5896" fmla="*/ 2333149 w 6400800"/>
                <a:gd name="connsiteY5896" fmla="*/ 283369 h 514350"/>
                <a:gd name="connsiteX5897" fmla="*/ 2332196 w 6400800"/>
                <a:gd name="connsiteY5897" fmla="*/ 281464 h 514350"/>
                <a:gd name="connsiteX5898" fmla="*/ 2332196 w 6400800"/>
                <a:gd name="connsiteY5898" fmla="*/ 280511 h 514350"/>
                <a:gd name="connsiteX5899" fmla="*/ 2330291 w 6400800"/>
                <a:gd name="connsiteY5899" fmla="*/ 289084 h 514350"/>
                <a:gd name="connsiteX5900" fmla="*/ 2331244 w 6400800"/>
                <a:gd name="connsiteY5900" fmla="*/ 290989 h 514350"/>
                <a:gd name="connsiteX5901" fmla="*/ 2330291 w 6400800"/>
                <a:gd name="connsiteY5901" fmla="*/ 292894 h 514350"/>
                <a:gd name="connsiteX5902" fmla="*/ 2329339 w 6400800"/>
                <a:gd name="connsiteY5902" fmla="*/ 290989 h 514350"/>
                <a:gd name="connsiteX5903" fmla="*/ 2330291 w 6400800"/>
                <a:gd name="connsiteY5903" fmla="*/ 289084 h 514350"/>
                <a:gd name="connsiteX5904" fmla="*/ 2329339 w 6400800"/>
                <a:gd name="connsiteY5904" fmla="*/ 293846 h 514350"/>
                <a:gd name="connsiteX5905" fmla="*/ 2329339 w 6400800"/>
                <a:gd name="connsiteY5905" fmla="*/ 292894 h 514350"/>
                <a:gd name="connsiteX5906" fmla="*/ 2330291 w 6400800"/>
                <a:gd name="connsiteY5906" fmla="*/ 294799 h 514350"/>
                <a:gd name="connsiteX5907" fmla="*/ 2328386 w 6400800"/>
                <a:gd name="connsiteY5907" fmla="*/ 299561 h 514350"/>
                <a:gd name="connsiteX5908" fmla="*/ 2328386 w 6400800"/>
                <a:gd name="connsiteY5908" fmla="*/ 298609 h 514350"/>
                <a:gd name="connsiteX5909" fmla="*/ 2329339 w 6400800"/>
                <a:gd name="connsiteY5909" fmla="*/ 293846 h 514350"/>
                <a:gd name="connsiteX5910" fmla="*/ 2313146 w 6400800"/>
                <a:gd name="connsiteY5910" fmla="*/ 194786 h 514350"/>
                <a:gd name="connsiteX5911" fmla="*/ 2315051 w 6400800"/>
                <a:gd name="connsiteY5911" fmla="*/ 201454 h 514350"/>
                <a:gd name="connsiteX5912" fmla="*/ 2316004 w 6400800"/>
                <a:gd name="connsiteY5912" fmla="*/ 205264 h 514350"/>
                <a:gd name="connsiteX5913" fmla="*/ 2314099 w 6400800"/>
                <a:gd name="connsiteY5913" fmla="*/ 214789 h 514350"/>
                <a:gd name="connsiteX5914" fmla="*/ 2314099 w 6400800"/>
                <a:gd name="connsiteY5914" fmla="*/ 214789 h 514350"/>
                <a:gd name="connsiteX5915" fmla="*/ 2310289 w 6400800"/>
                <a:gd name="connsiteY5915" fmla="*/ 207169 h 514350"/>
                <a:gd name="connsiteX5916" fmla="*/ 2313146 w 6400800"/>
                <a:gd name="connsiteY5916" fmla="*/ 194786 h 514350"/>
                <a:gd name="connsiteX5917" fmla="*/ 2304574 w 6400800"/>
                <a:gd name="connsiteY5917" fmla="*/ 197644 h 514350"/>
                <a:gd name="connsiteX5918" fmla="*/ 2305526 w 6400800"/>
                <a:gd name="connsiteY5918" fmla="*/ 200501 h 514350"/>
                <a:gd name="connsiteX5919" fmla="*/ 2303621 w 6400800"/>
                <a:gd name="connsiteY5919" fmla="*/ 205264 h 514350"/>
                <a:gd name="connsiteX5920" fmla="*/ 2304574 w 6400800"/>
                <a:gd name="connsiteY5920" fmla="*/ 197644 h 514350"/>
                <a:gd name="connsiteX5921" fmla="*/ 2297906 w 6400800"/>
                <a:gd name="connsiteY5921" fmla="*/ 272891 h 514350"/>
                <a:gd name="connsiteX5922" fmla="*/ 2298859 w 6400800"/>
                <a:gd name="connsiteY5922" fmla="*/ 256699 h 514350"/>
                <a:gd name="connsiteX5923" fmla="*/ 2299811 w 6400800"/>
                <a:gd name="connsiteY5923" fmla="*/ 250984 h 514350"/>
                <a:gd name="connsiteX5924" fmla="*/ 2308384 w 6400800"/>
                <a:gd name="connsiteY5924" fmla="*/ 211931 h 514350"/>
                <a:gd name="connsiteX5925" fmla="*/ 2309336 w 6400800"/>
                <a:gd name="connsiteY5925" fmla="*/ 215741 h 514350"/>
                <a:gd name="connsiteX5926" fmla="*/ 2311241 w 6400800"/>
                <a:gd name="connsiteY5926" fmla="*/ 221456 h 514350"/>
                <a:gd name="connsiteX5927" fmla="*/ 2311241 w 6400800"/>
                <a:gd name="connsiteY5927" fmla="*/ 221456 h 514350"/>
                <a:gd name="connsiteX5928" fmla="*/ 2304574 w 6400800"/>
                <a:gd name="connsiteY5928" fmla="*/ 253841 h 514350"/>
                <a:gd name="connsiteX5929" fmla="*/ 2302669 w 6400800"/>
                <a:gd name="connsiteY5929" fmla="*/ 251936 h 514350"/>
                <a:gd name="connsiteX5930" fmla="*/ 2304574 w 6400800"/>
                <a:gd name="connsiteY5930" fmla="*/ 253841 h 514350"/>
                <a:gd name="connsiteX5931" fmla="*/ 2299811 w 6400800"/>
                <a:gd name="connsiteY5931" fmla="*/ 274796 h 514350"/>
                <a:gd name="connsiteX5932" fmla="*/ 2294096 w 6400800"/>
                <a:gd name="connsiteY5932" fmla="*/ 300514 h 514350"/>
                <a:gd name="connsiteX5933" fmla="*/ 2297906 w 6400800"/>
                <a:gd name="connsiteY5933" fmla="*/ 272891 h 514350"/>
                <a:gd name="connsiteX5934" fmla="*/ 2271236 w 6400800"/>
                <a:gd name="connsiteY5934" fmla="*/ 369094 h 514350"/>
                <a:gd name="connsiteX5935" fmla="*/ 2270284 w 6400800"/>
                <a:gd name="connsiteY5935" fmla="*/ 376714 h 514350"/>
                <a:gd name="connsiteX5936" fmla="*/ 2270284 w 6400800"/>
                <a:gd name="connsiteY5936" fmla="*/ 376714 h 514350"/>
                <a:gd name="connsiteX5937" fmla="*/ 2270284 w 6400800"/>
                <a:gd name="connsiteY5937" fmla="*/ 372904 h 514350"/>
                <a:gd name="connsiteX5938" fmla="*/ 2271236 w 6400800"/>
                <a:gd name="connsiteY5938" fmla="*/ 369094 h 514350"/>
                <a:gd name="connsiteX5939" fmla="*/ 2252186 w 6400800"/>
                <a:gd name="connsiteY5939" fmla="*/ 297656 h 514350"/>
                <a:gd name="connsiteX5940" fmla="*/ 2251234 w 6400800"/>
                <a:gd name="connsiteY5940" fmla="*/ 311944 h 514350"/>
                <a:gd name="connsiteX5941" fmla="*/ 2250281 w 6400800"/>
                <a:gd name="connsiteY5941" fmla="*/ 308134 h 514350"/>
                <a:gd name="connsiteX5942" fmla="*/ 2252186 w 6400800"/>
                <a:gd name="connsiteY5942" fmla="*/ 297656 h 514350"/>
                <a:gd name="connsiteX5943" fmla="*/ 2215991 w 6400800"/>
                <a:gd name="connsiteY5943" fmla="*/ 252889 h 514350"/>
                <a:gd name="connsiteX5944" fmla="*/ 2215991 w 6400800"/>
                <a:gd name="connsiteY5944" fmla="*/ 256699 h 514350"/>
                <a:gd name="connsiteX5945" fmla="*/ 2215991 w 6400800"/>
                <a:gd name="connsiteY5945" fmla="*/ 256699 h 514350"/>
                <a:gd name="connsiteX5946" fmla="*/ 2215991 w 6400800"/>
                <a:gd name="connsiteY5946" fmla="*/ 252889 h 514350"/>
                <a:gd name="connsiteX5947" fmla="*/ 2211229 w 6400800"/>
                <a:gd name="connsiteY5947" fmla="*/ 281464 h 514350"/>
                <a:gd name="connsiteX5948" fmla="*/ 2214086 w 6400800"/>
                <a:gd name="connsiteY5948" fmla="*/ 260509 h 514350"/>
                <a:gd name="connsiteX5949" fmla="*/ 2215039 w 6400800"/>
                <a:gd name="connsiteY5949" fmla="*/ 261461 h 514350"/>
                <a:gd name="connsiteX5950" fmla="*/ 2215039 w 6400800"/>
                <a:gd name="connsiteY5950" fmla="*/ 267176 h 514350"/>
                <a:gd name="connsiteX5951" fmla="*/ 2212181 w 6400800"/>
                <a:gd name="connsiteY5951" fmla="*/ 299561 h 514350"/>
                <a:gd name="connsiteX5952" fmla="*/ 2206466 w 6400800"/>
                <a:gd name="connsiteY5952" fmla="*/ 309086 h 514350"/>
                <a:gd name="connsiteX5953" fmla="*/ 2211229 w 6400800"/>
                <a:gd name="connsiteY5953" fmla="*/ 281464 h 514350"/>
                <a:gd name="connsiteX5954" fmla="*/ 2205514 w 6400800"/>
                <a:gd name="connsiteY5954" fmla="*/ 337661 h 514350"/>
                <a:gd name="connsiteX5955" fmla="*/ 2204561 w 6400800"/>
                <a:gd name="connsiteY5955" fmla="*/ 339566 h 514350"/>
                <a:gd name="connsiteX5956" fmla="*/ 2204561 w 6400800"/>
                <a:gd name="connsiteY5956" fmla="*/ 340519 h 514350"/>
                <a:gd name="connsiteX5957" fmla="*/ 2205514 w 6400800"/>
                <a:gd name="connsiteY5957" fmla="*/ 337661 h 514350"/>
                <a:gd name="connsiteX5958" fmla="*/ 2183606 w 6400800"/>
                <a:gd name="connsiteY5958" fmla="*/ 336709 h 514350"/>
                <a:gd name="connsiteX5959" fmla="*/ 2185511 w 6400800"/>
                <a:gd name="connsiteY5959" fmla="*/ 345281 h 514350"/>
                <a:gd name="connsiteX5960" fmla="*/ 2184559 w 6400800"/>
                <a:gd name="connsiteY5960" fmla="*/ 350044 h 514350"/>
                <a:gd name="connsiteX5961" fmla="*/ 2183606 w 6400800"/>
                <a:gd name="connsiteY5961" fmla="*/ 340519 h 514350"/>
                <a:gd name="connsiteX5962" fmla="*/ 2183606 w 6400800"/>
                <a:gd name="connsiteY5962" fmla="*/ 337661 h 514350"/>
                <a:gd name="connsiteX5963" fmla="*/ 2183606 w 6400800"/>
                <a:gd name="connsiteY5963" fmla="*/ 336709 h 514350"/>
                <a:gd name="connsiteX5964" fmla="*/ 2178844 w 6400800"/>
                <a:gd name="connsiteY5964" fmla="*/ 345281 h 514350"/>
                <a:gd name="connsiteX5965" fmla="*/ 2178844 w 6400800"/>
                <a:gd name="connsiteY5965" fmla="*/ 357664 h 514350"/>
                <a:gd name="connsiteX5966" fmla="*/ 2175986 w 6400800"/>
                <a:gd name="connsiteY5966" fmla="*/ 350996 h 514350"/>
                <a:gd name="connsiteX5967" fmla="*/ 2178844 w 6400800"/>
                <a:gd name="connsiteY5967" fmla="*/ 345281 h 514350"/>
                <a:gd name="connsiteX5968" fmla="*/ 2150269 w 6400800"/>
                <a:gd name="connsiteY5968" fmla="*/ 278606 h 514350"/>
                <a:gd name="connsiteX5969" fmla="*/ 2162651 w 6400800"/>
                <a:gd name="connsiteY5969" fmla="*/ 232886 h 514350"/>
                <a:gd name="connsiteX5970" fmla="*/ 2161699 w 6400800"/>
                <a:gd name="connsiteY5970" fmla="*/ 235744 h 514350"/>
                <a:gd name="connsiteX5971" fmla="*/ 2157889 w 6400800"/>
                <a:gd name="connsiteY5971" fmla="*/ 253841 h 514350"/>
                <a:gd name="connsiteX5972" fmla="*/ 2154079 w 6400800"/>
                <a:gd name="connsiteY5972" fmla="*/ 274796 h 514350"/>
                <a:gd name="connsiteX5973" fmla="*/ 2151221 w 6400800"/>
                <a:gd name="connsiteY5973" fmla="*/ 293846 h 514350"/>
                <a:gd name="connsiteX5974" fmla="*/ 2148364 w 6400800"/>
                <a:gd name="connsiteY5974" fmla="*/ 288131 h 514350"/>
                <a:gd name="connsiteX5975" fmla="*/ 2150269 w 6400800"/>
                <a:gd name="connsiteY5975" fmla="*/ 296704 h 514350"/>
                <a:gd name="connsiteX5976" fmla="*/ 2147411 w 6400800"/>
                <a:gd name="connsiteY5976" fmla="*/ 314801 h 514350"/>
                <a:gd name="connsiteX5977" fmla="*/ 2140744 w 6400800"/>
                <a:gd name="connsiteY5977" fmla="*/ 305276 h 514350"/>
                <a:gd name="connsiteX5978" fmla="*/ 2150269 w 6400800"/>
                <a:gd name="connsiteY5978" fmla="*/ 278606 h 514350"/>
                <a:gd name="connsiteX5979" fmla="*/ 2142649 w 6400800"/>
                <a:gd name="connsiteY5979" fmla="*/ 305276 h 514350"/>
                <a:gd name="connsiteX5980" fmla="*/ 2148364 w 6400800"/>
                <a:gd name="connsiteY5980" fmla="*/ 319564 h 514350"/>
                <a:gd name="connsiteX5981" fmla="*/ 2148364 w 6400800"/>
                <a:gd name="connsiteY5981" fmla="*/ 320516 h 514350"/>
                <a:gd name="connsiteX5982" fmla="*/ 2148364 w 6400800"/>
                <a:gd name="connsiteY5982" fmla="*/ 321469 h 514350"/>
                <a:gd name="connsiteX5983" fmla="*/ 2145506 w 6400800"/>
                <a:gd name="connsiteY5983" fmla="*/ 343376 h 514350"/>
                <a:gd name="connsiteX5984" fmla="*/ 2139791 w 6400800"/>
                <a:gd name="connsiteY5984" fmla="*/ 324326 h 514350"/>
                <a:gd name="connsiteX5985" fmla="*/ 2138839 w 6400800"/>
                <a:gd name="connsiteY5985" fmla="*/ 320516 h 514350"/>
                <a:gd name="connsiteX5986" fmla="*/ 2142649 w 6400800"/>
                <a:gd name="connsiteY5986" fmla="*/ 305276 h 514350"/>
                <a:gd name="connsiteX5987" fmla="*/ 2058829 w 6400800"/>
                <a:gd name="connsiteY5987" fmla="*/ 353854 h 514350"/>
                <a:gd name="connsiteX5988" fmla="*/ 2056924 w 6400800"/>
                <a:gd name="connsiteY5988" fmla="*/ 366236 h 514350"/>
                <a:gd name="connsiteX5989" fmla="*/ 2055971 w 6400800"/>
                <a:gd name="connsiteY5989" fmla="*/ 361474 h 514350"/>
                <a:gd name="connsiteX5990" fmla="*/ 2054066 w 6400800"/>
                <a:gd name="connsiteY5990" fmla="*/ 352901 h 514350"/>
                <a:gd name="connsiteX5991" fmla="*/ 2054066 w 6400800"/>
                <a:gd name="connsiteY5991" fmla="*/ 351949 h 514350"/>
                <a:gd name="connsiteX5992" fmla="*/ 2059781 w 6400800"/>
                <a:gd name="connsiteY5992" fmla="*/ 338614 h 514350"/>
                <a:gd name="connsiteX5993" fmla="*/ 2060734 w 6400800"/>
                <a:gd name="connsiteY5993" fmla="*/ 343376 h 514350"/>
                <a:gd name="connsiteX5994" fmla="*/ 2058829 w 6400800"/>
                <a:gd name="connsiteY5994" fmla="*/ 353854 h 514350"/>
                <a:gd name="connsiteX5995" fmla="*/ 2081689 w 6400800"/>
                <a:gd name="connsiteY5995" fmla="*/ 350044 h 514350"/>
                <a:gd name="connsiteX5996" fmla="*/ 2079784 w 6400800"/>
                <a:gd name="connsiteY5996" fmla="*/ 354806 h 514350"/>
                <a:gd name="connsiteX5997" fmla="*/ 2077879 w 6400800"/>
                <a:gd name="connsiteY5997" fmla="*/ 347186 h 514350"/>
                <a:gd name="connsiteX5998" fmla="*/ 2077879 w 6400800"/>
                <a:gd name="connsiteY5998" fmla="*/ 344329 h 514350"/>
                <a:gd name="connsiteX5999" fmla="*/ 2080736 w 6400800"/>
                <a:gd name="connsiteY5999" fmla="*/ 348139 h 514350"/>
                <a:gd name="connsiteX6000" fmla="*/ 2081689 w 6400800"/>
                <a:gd name="connsiteY6000" fmla="*/ 350044 h 514350"/>
                <a:gd name="connsiteX6001" fmla="*/ 2081689 w 6400800"/>
                <a:gd name="connsiteY6001" fmla="*/ 350044 h 514350"/>
                <a:gd name="connsiteX6002" fmla="*/ 2081689 w 6400800"/>
                <a:gd name="connsiteY6002" fmla="*/ 339566 h 514350"/>
                <a:gd name="connsiteX6003" fmla="*/ 2081689 w 6400800"/>
                <a:gd name="connsiteY6003" fmla="*/ 341471 h 514350"/>
                <a:gd name="connsiteX6004" fmla="*/ 2078831 w 6400800"/>
                <a:gd name="connsiteY6004" fmla="*/ 337661 h 514350"/>
                <a:gd name="connsiteX6005" fmla="*/ 2079784 w 6400800"/>
                <a:gd name="connsiteY6005" fmla="*/ 330041 h 514350"/>
                <a:gd name="connsiteX6006" fmla="*/ 2081689 w 6400800"/>
                <a:gd name="connsiteY6006" fmla="*/ 339566 h 514350"/>
                <a:gd name="connsiteX6007" fmla="*/ 2081689 w 6400800"/>
                <a:gd name="connsiteY6007" fmla="*/ 339566 h 514350"/>
                <a:gd name="connsiteX6008" fmla="*/ 2085499 w 6400800"/>
                <a:gd name="connsiteY6008" fmla="*/ 290036 h 514350"/>
                <a:gd name="connsiteX6009" fmla="*/ 2084546 w 6400800"/>
                <a:gd name="connsiteY6009" fmla="*/ 307181 h 514350"/>
                <a:gd name="connsiteX6010" fmla="*/ 2083594 w 6400800"/>
                <a:gd name="connsiteY6010" fmla="*/ 303371 h 514350"/>
                <a:gd name="connsiteX6011" fmla="*/ 2086451 w 6400800"/>
                <a:gd name="connsiteY6011" fmla="*/ 273844 h 514350"/>
                <a:gd name="connsiteX6012" fmla="*/ 2087404 w 6400800"/>
                <a:gd name="connsiteY6012" fmla="*/ 267176 h 514350"/>
                <a:gd name="connsiteX6013" fmla="*/ 2085499 w 6400800"/>
                <a:gd name="connsiteY6013" fmla="*/ 290036 h 514350"/>
                <a:gd name="connsiteX6014" fmla="*/ 2089309 w 6400800"/>
                <a:gd name="connsiteY6014" fmla="*/ 180499 h 514350"/>
                <a:gd name="connsiteX6015" fmla="*/ 2089309 w 6400800"/>
                <a:gd name="connsiteY6015" fmla="*/ 200501 h 514350"/>
                <a:gd name="connsiteX6016" fmla="*/ 2086451 w 6400800"/>
                <a:gd name="connsiteY6016" fmla="*/ 192881 h 514350"/>
                <a:gd name="connsiteX6017" fmla="*/ 2089309 w 6400800"/>
                <a:gd name="connsiteY6017" fmla="*/ 180499 h 514350"/>
                <a:gd name="connsiteX6018" fmla="*/ 2072164 w 6400800"/>
                <a:gd name="connsiteY6018" fmla="*/ 241459 h 514350"/>
                <a:gd name="connsiteX6019" fmla="*/ 2086451 w 6400800"/>
                <a:gd name="connsiteY6019" fmla="*/ 193834 h 514350"/>
                <a:gd name="connsiteX6020" fmla="*/ 2090261 w 6400800"/>
                <a:gd name="connsiteY6020" fmla="*/ 207169 h 514350"/>
                <a:gd name="connsiteX6021" fmla="*/ 2090261 w 6400800"/>
                <a:gd name="connsiteY6021" fmla="*/ 208121 h 514350"/>
                <a:gd name="connsiteX6022" fmla="*/ 2075974 w 6400800"/>
                <a:gd name="connsiteY6022" fmla="*/ 271939 h 514350"/>
                <a:gd name="connsiteX6023" fmla="*/ 2074069 w 6400800"/>
                <a:gd name="connsiteY6023" fmla="*/ 282416 h 514350"/>
                <a:gd name="connsiteX6024" fmla="*/ 2068354 w 6400800"/>
                <a:gd name="connsiteY6024" fmla="*/ 271939 h 514350"/>
                <a:gd name="connsiteX6025" fmla="*/ 2065496 w 6400800"/>
                <a:gd name="connsiteY6025" fmla="*/ 266224 h 514350"/>
                <a:gd name="connsiteX6026" fmla="*/ 2072164 w 6400800"/>
                <a:gd name="connsiteY6026" fmla="*/ 241459 h 514350"/>
                <a:gd name="connsiteX6027" fmla="*/ 2062639 w 6400800"/>
                <a:gd name="connsiteY6027" fmla="*/ 270034 h 514350"/>
                <a:gd name="connsiteX6028" fmla="*/ 2063591 w 6400800"/>
                <a:gd name="connsiteY6028" fmla="*/ 272891 h 514350"/>
                <a:gd name="connsiteX6029" fmla="*/ 2069306 w 6400800"/>
                <a:gd name="connsiteY6029" fmla="*/ 292894 h 514350"/>
                <a:gd name="connsiteX6030" fmla="*/ 2070259 w 6400800"/>
                <a:gd name="connsiteY6030" fmla="*/ 294799 h 514350"/>
                <a:gd name="connsiteX6031" fmla="*/ 2067401 w 6400800"/>
                <a:gd name="connsiteY6031" fmla="*/ 310039 h 514350"/>
                <a:gd name="connsiteX6032" fmla="*/ 2065496 w 6400800"/>
                <a:gd name="connsiteY6032" fmla="*/ 303371 h 514350"/>
                <a:gd name="connsiteX6033" fmla="*/ 2058829 w 6400800"/>
                <a:gd name="connsiteY6033" fmla="*/ 284321 h 514350"/>
                <a:gd name="connsiteX6034" fmla="*/ 2062639 w 6400800"/>
                <a:gd name="connsiteY6034" fmla="*/ 270034 h 514350"/>
                <a:gd name="connsiteX6035" fmla="*/ 2053114 w 6400800"/>
                <a:gd name="connsiteY6035" fmla="*/ 301466 h 514350"/>
                <a:gd name="connsiteX6036" fmla="*/ 2054066 w 6400800"/>
                <a:gd name="connsiteY6036" fmla="*/ 306229 h 514350"/>
                <a:gd name="connsiteX6037" fmla="*/ 2056924 w 6400800"/>
                <a:gd name="connsiteY6037" fmla="*/ 320516 h 514350"/>
                <a:gd name="connsiteX6038" fmla="*/ 2055971 w 6400800"/>
                <a:gd name="connsiteY6038" fmla="*/ 320516 h 514350"/>
                <a:gd name="connsiteX6039" fmla="*/ 2049304 w 6400800"/>
                <a:gd name="connsiteY6039" fmla="*/ 317659 h 514350"/>
                <a:gd name="connsiteX6040" fmla="*/ 2055971 w 6400800"/>
                <a:gd name="connsiteY6040" fmla="*/ 321469 h 514350"/>
                <a:gd name="connsiteX6041" fmla="*/ 2057876 w 6400800"/>
                <a:gd name="connsiteY6041" fmla="*/ 322421 h 514350"/>
                <a:gd name="connsiteX6042" fmla="*/ 2059781 w 6400800"/>
                <a:gd name="connsiteY6042" fmla="*/ 332899 h 514350"/>
                <a:gd name="connsiteX6043" fmla="*/ 2053114 w 6400800"/>
                <a:gd name="connsiteY6043" fmla="*/ 342424 h 514350"/>
                <a:gd name="connsiteX6044" fmla="*/ 2049304 w 6400800"/>
                <a:gd name="connsiteY6044" fmla="*/ 321469 h 514350"/>
                <a:gd name="connsiteX6045" fmla="*/ 2049304 w 6400800"/>
                <a:gd name="connsiteY6045" fmla="*/ 315754 h 514350"/>
                <a:gd name="connsiteX6046" fmla="*/ 2053114 w 6400800"/>
                <a:gd name="connsiteY6046" fmla="*/ 301466 h 514350"/>
                <a:gd name="connsiteX6047" fmla="*/ 2044541 w 6400800"/>
                <a:gd name="connsiteY6047" fmla="*/ 260509 h 514350"/>
                <a:gd name="connsiteX6048" fmla="*/ 2044541 w 6400800"/>
                <a:gd name="connsiteY6048" fmla="*/ 260509 h 514350"/>
                <a:gd name="connsiteX6049" fmla="*/ 2044541 w 6400800"/>
                <a:gd name="connsiteY6049" fmla="*/ 259556 h 514350"/>
                <a:gd name="connsiteX6050" fmla="*/ 2044541 w 6400800"/>
                <a:gd name="connsiteY6050" fmla="*/ 260509 h 514350"/>
                <a:gd name="connsiteX6051" fmla="*/ 2019776 w 6400800"/>
                <a:gd name="connsiteY6051" fmla="*/ 188119 h 514350"/>
                <a:gd name="connsiteX6052" fmla="*/ 2019776 w 6400800"/>
                <a:gd name="connsiteY6052" fmla="*/ 185261 h 514350"/>
                <a:gd name="connsiteX6053" fmla="*/ 2020729 w 6400800"/>
                <a:gd name="connsiteY6053" fmla="*/ 177641 h 514350"/>
                <a:gd name="connsiteX6054" fmla="*/ 2020729 w 6400800"/>
                <a:gd name="connsiteY6054" fmla="*/ 189071 h 514350"/>
                <a:gd name="connsiteX6055" fmla="*/ 2021681 w 6400800"/>
                <a:gd name="connsiteY6055" fmla="*/ 220504 h 514350"/>
                <a:gd name="connsiteX6056" fmla="*/ 2023586 w 6400800"/>
                <a:gd name="connsiteY6056" fmla="*/ 244316 h 514350"/>
                <a:gd name="connsiteX6057" fmla="*/ 2022634 w 6400800"/>
                <a:gd name="connsiteY6057" fmla="*/ 247174 h 514350"/>
                <a:gd name="connsiteX6058" fmla="*/ 2016919 w 6400800"/>
                <a:gd name="connsiteY6058" fmla="*/ 222409 h 514350"/>
                <a:gd name="connsiteX6059" fmla="*/ 2019776 w 6400800"/>
                <a:gd name="connsiteY6059" fmla="*/ 188119 h 514350"/>
                <a:gd name="connsiteX6060" fmla="*/ 1999774 w 6400800"/>
                <a:gd name="connsiteY6060" fmla="*/ 298609 h 514350"/>
                <a:gd name="connsiteX6061" fmla="*/ 1999774 w 6400800"/>
                <a:gd name="connsiteY6061" fmla="*/ 304324 h 514350"/>
                <a:gd name="connsiteX6062" fmla="*/ 1997869 w 6400800"/>
                <a:gd name="connsiteY6062" fmla="*/ 310039 h 514350"/>
                <a:gd name="connsiteX6063" fmla="*/ 1999774 w 6400800"/>
                <a:gd name="connsiteY6063" fmla="*/ 298609 h 514350"/>
                <a:gd name="connsiteX6064" fmla="*/ 1992154 w 6400800"/>
                <a:gd name="connsiteY6064" fmla="*/ 349091 h 514350"/>
                <a:gd name="connsiteX6065" fmla="*/ 1992154 w 6400800"/>
                <a:gd name="connsiteY6065" fmla="*/ 359569 h 514350"/>
                <a:gd name="connsiteX6066" fmla="*/ 1992154 w 6400800"/>
                <a:gd name="connsiteY6066" fmla="*/ 369094 h 514350"/>
                <a:gd name="connsiteX6067" fmla="*/ 1988344 w 6400800"/>
                <a:gd name="connsiteY6067" fmla="*/ 373856 h 514350"/>
                <a:gd name="connsiteX6068" fmla="*/ 1992154 w 6400800"/>
                <a:gd name="connsiteY6068" fmla="*/ 349091 h 514350"/>
                <a:gd name="connsiteX6069" fmla="*/ 1987391 w 6400800"/>
                <a:gd name="connsiteY6069" fmla="*/ 381476 h 514350"/>
                <a:gd name="connsiteX6070" fmla="*/ 1987391 w 6400800"/>
                <a:gd name="connsiteY6070" fmla="*/ 381476 h 514350"/>
                <a:gd name="connsiteX6071" fmla="*/ 1992154 w 6400800"/>
                <a:gd name="connsiteY6071" fmla="*/ 372904 h 514350"/>
                <a:gd name="connsiteX6072" fmla="*/ 1992154 w 6400800"/>
                <a:gd name="connsiteY6072" fmla="*/ 379571 h 514350"/>
                <a:gd name="connsiteX6073" fmla="*/ 1991201 w 6400800"/>
                <a:gd name="connsiteY6073" fmla="*/ 386239 h 514350"/>
                <a:gd name="connsiteX6074" fmla="*/ 1988344 w 6400800"/>
                <a:gd name="connsiteY6074" fmla="*/ 400526 h 514350"/>
                <a:gd name="connsiteX6075" fmla="*/ 1988344 w 6400800"/>
                <a:gd name="connsiteY6075" fmla="*/ 399574 h 514350"/>
                <a:gd name="connsiteX6076" fmla="*/ 1985486 w 6400800"/>
                <a:gd name="connsiteY6076" fmla="*/ 392906 h 514350"/>
                <a:gd name="connsiteX6077" fmla="*/ 1987391 w 6400800"/>
                <a:gd name="connsiteY6077" fmla="*/ 381476 h 514350"/>
                <a:gd name="connsiteX6078" fmla="*/ 1968341 w 6400800"/>
                <a:gd name="connsiteY6078" fmla="*/ 290989 h 514350"/>
                <a:gd name="connsiteX6079" fmla="*/ 1967389 w 6400800"/>
                <a:gd name="connsiteY6079" fmla="*/ 297656 h 514350"/>
                <a:gd name="connsiteX6080" fmla="*/ 1966436 w 6400800"/>
                <a:gd name="connsiteY6080" fmla="*/ 305276 h 514350"/>
                <a:gd name="connsiteX6081" fmla="*/ 1965484 w 6400800"/>
                <a:gd name="connsiteY6081" fmla="*/ 318611 h 514350"/>
                <a:gd name="connsiteX6082" fmla="*/ 1964531 w 6400800"/>
                <a:gd name="connsiteY6082" fmla="*/ 304324 h 514350"/>
                <a:gd name="connsiteX6083" fmla="*/ 1964531 w 6400800"/>
                <a:gd name="connsiteY6083" fmla="*/ 300514 h 514350"/>
                <a:gd name="connsiteX6084" fmla="*/ 1968341 w 6400800"/>
                <a:gd name="connsiteY6084" fmla="*/ 290989 h 514350"/>
                <a:gd name="connsiteX6085" fmla="*/ 1937861 w 6400800"/>
                <a:gd name="connsiteY6085" fmla="*/ 310039 h 514350"/>
                <a:gd name="connsiteX6086" fmla="*/ 1937861 w 6400800"/>
                <a:gd name="connsiteY6086" fmla="*/ 302419 h 514350"/>
                <a:gd name="connsiteX6087" fmla="*/ 1937861 w 6400800"/>
                <a:gd name="connsiteY6087" fmla="*/ 295751 h 514350"/>
                <a:gd name="connsiteX6088" fmla="*/ 1938814 w 6400800"/>
                <a:gd name="connsiteY6088" fmla="*/ 306229 h 514350"/>
                <a:gd name="connsiteX6089" fmla="*/ 1937861 w 6400800"/>
                <a:gd name="connsiteY6089" fmla="*/ 310039 h 514350"/>
                <a:gd name="connsiteX6090" fmla="*/ 1938814 w 6400800"/>
                <a:gd name="connsiteY6090" fmla="*/ 272891 h 514350"/>
                <a:gd name="connsiteX6091" fmla="*/ 1936909 w 6400800"/>
                <a:gd name="connsiteY6091" fmla="*/ 266224 h 514350"/>
                <a:gd name="connsiteX6092" fmla="*/ 1936909 w 6400800"/>
                <a:gd name="connsiteY6092" fmla="*/ 261461 h 514350"/>
                <a:gd name="connsiteX6093" fmla="*/ 1936909 w 6400800"/>
                <a:gd name="connsiteY6093" fmla="*/ 246221 h 514350"/>
                <a:gd name="connsiteX6094" fmla="*/ 1938814 w 6400800"/>
                <a:gd name="connsiteY6094" fmla="*/ 272891 h 514350"/>
                <a:gd name="connsiteX6095" fmla="*/ 1900714 w 6400800"/>
                <a:gd name="connsiteY6095" fmla="*/ 338614 h 514350"/>
                <a:gd name="connsiteX6096" fmla="*/ 1900714 w 6400800"/>
                <a:gd name="connsiteY6096" fmla="*/ 333851 h 514350"/>
                <a:gd name="connsiteX6097" fmla="*/ 1902619 w 6400800"/>
                <a:gd name="connsiteY6097" fmla="*/ 329089 h 514350"/>
                <a:gd name="connsiteX6098" fmla="*/ 1904524 w 6400800"/>
                <a:gd name="connsiteY6098" fmla="*/ 325279 h 514350"/>
                <a:gd name="connsiteX6099" fmla="*/ 1900714 w 6400800"/>
                <a:gd name="connsiteY6099" fmla="*/ 338614 h 514350"/>
                <a:gd name="connsiteX6100" fmla="*/ 1915954 w 6400800"/>
                <a:gd name="connsiteY6100" fmla="*/ 436721 h 514350"/>
                <a:gd name="connsiteX6101" fmla="*/ 1915954 w 6400800"/>
                <a:gd name="connsiteY6101" fmla="*/ 433864 h 514350"/>
                <a:gd name="connsiteX6102" fmla="*/ 1916906 w 6400800"/>
                <a:gd name="connsiteY6102" fmla="*/ 434816 h 514350"/>
                <a:gd name="connsiteX6103" fmla="*/ 1915954 w 6400800"/>
                <a:gd name="connsiteY6103" fmla="*/ 436721 h 514350"/>
                <a:gd name="connsiteX6104" fmla="*/ 1920716 w 6400800"/>
                <a:gd name="connsiteY6104" fmla="*/ 401479 h 514350"/>
                <a:gd name="connsiteX6105" fmla="*/ 1919764 w 6400800"/>
                <a:gd name="connsiteY6105" fmla="*/ 407194 h 514350"/>
                <a:gd name="connsiteX6106" fmla="*/ 1917859 w 6400800"/>
                <a:gd name="connsiteY6106" fmla="*/ 404336 h 514350"/>
                <a:gd name="connsiteX6107" fmla="*/ 1919764 w 6400800"/>
                <a:gd name="connsiteY6107" fmla="*/ 398621 h 514350"/>
                <a:gd name="connsiteX6108" fmla="*/ 1920716 w 6400800"/>
                <a:gd name="connsiteY6108" fmla="*/ 401479 h 514350"/>
                <a:gd name="connsiteX6109" fmla="*/ 1917859 w 6400800"/>
                <a:gd name="connsiteY6109" fmla="*/ 331946 h 514350"/>
                <a:gd name="connsiteX6110" fmla="*/ 1919764 w 6400800"/>
                <a:gd name="connsiteY6110" fmla="*/ 337661 h 514350"/>
                <a:gd name="connsiteX6111" fmla="*/ 1919764 w 6400800"/>
                <a:gd name="connsiteY6111" fmla="*/ 337661 h 514350"/>
                <a:gd name="connsiteX6112" fmla="*/ 1918811 w 6400800"/>
                <a:gd name="connsiteY6112" fmla="*/ 338614 h 514350"/>
                <a:gd name="connsiteX6113" fmla="*/ 1916906 w 6400800"/>
                <a:gd name="connsiteY6113" fmla="*/ 342424 h 514350"/>
                <a:gd name="connsiteX6114" fmla="*/ 1916906 w 6400800"/>
                <a:gd name="connsiteY6114" fmla="*/ 341471 h 514350"/>
                <a:gd name="connsiteX6115" fmla="*/ 1915954 w 6400800"/>
                <a:gd name="connsiteY6115" fmla="*/ 344329 h 514350"/>
                <a:gd name="connsiteX6116" fmla="*/ 1915001 w 6400800"/>
                <a:gd name="connsiteY6116" fmla="*/ 345281 h 514350"/>
                <a:gd name="connsiteX6117" fmla="*/ 1917859 w 6400800"/>
                <a:gd name="connsiteY6117" fmla="*/ 331946 h 514350"/>
                <a:gd name="connsiteX6118" fmla="*/ 1919764 w 6400800"/>
                <a:gd name="connsiteY6118" fmla="*/ 360521 h 514350"/>
                <a:gd name="connsiteX6119" fmla="*/ 1919764 w 6400800"/>
                <a:gd name="connsiteY6119" fmla="*/ 364331 h 514350"/>
                <a:gd name="connsiteX6120" fmla="*/ 1915001 w 6400800"/>
                <a:gd name="connsiteY6120" fmla="*/ 373856 h 514350"/>
                <a:gd name="connsiteX6121" fmla="*/ 1908334 w 6400800"/>
                <a:gd name="connsiteY6121" fmla="*/ 388144 h 514350"/>
                <a:gd name="connsiteX6122" fmla="*/ 1907381 w 6400800"/>
                <a:gd name="connsiteY6122" fmla="*/ 387191 h 514350"/>
                <a:gd name="connsiteX6123" fmla="*/ 1907381 w 6400800"/>
                <a:gd name="connsiteY6123" fmla="*/ 385286 h 514350"/>
                <a:gd name="connsiteX6124" fmla="*/ 1910239 w 6400800"/>
                <a:gd name="connsiteY6124" fmla="*/ 380524 h 514350"/>
                <a:gd name="connsiteX6125" fmla="*/ 1919764 w 6400800"/>
                <a:gd name="connsiteY6125" fmla="*/ 360521 h 514350"/>
                <a:gd name="connsiteX6126" fmla="*/ 1910239 w 6400800"/>
                <a:gd name="connsiteY6126" fmla="*/ 299561 h 514350"/>
                <a:gd name="connsiteX6127" fmla="*/ 1908334 w 6400800"/>
                <a:gd name="connsiteY6127" fmla="*/ 305276 h 514350"/>
                <a:gd name="connsiteX6128" fmla="*/ 1908334 w 6400800"/>
                <a:gd name="connsiteY6128" fmla="*/ 305276 h 514350"/>
                <a:gd name="connsiteX6129" fmla="*/ 1910239 w 6400800"/>
                <a:gd name="connsiteY6129" fmla="*/ 299561 h 514350"/>
                <a:gd name="connsiteX6130" fmla="*/ 1906429 w 6400800"/>
                <a:gd name="connsiteY6130" fmla="*/ 313849 h 514350"/>
                <a:gd name="connsiteX6131" fmla="*/ 1908334 w 6400800"/>
                <a:gd name="connsiteY6131" fmla="*/ 309086 h 514350"/>
                <a:gd name="connsiteX6132" fmla="*/ 1908334 w 6400800"/>
                <a:gd name="connsiteY6132" fmla="*/ 310039 h 514350"/>
                <a:gd name="connsiteX6133" fmla="*/ 1906429 w 6400800"/>
                <a:gd name="connsiteY6133" fmla="*/ 315754 h 514350"/>
                <a:gd name="connsiteX6134" fmla="*/ 1905476 w 6400800"/>
                <a:gd name="connsiteY6134" fmla="*/ 316706 h 514350"/>
                <a:gd name="connsiteX6135" fmla="*/ 1906429 w 6400800"/>
                <a:gd name="connsiteY6135" fmla="*/ 313849 h 514350"/>
                <a:gd name="connsiteX6136" fmla="*/ 1893094 w 6400800"/>
                <a:gd name="connsiteY6136" fmla="*/ 259556 h 514350"/>
                <a:gd name="connsiteX6137" fmla="*/ 1894046 w 6400800"/>
                <a:gd name="connsiteY6137" fmla="*/ 256699 h 514350"/>
                <a:gd name="connsiteX6138" fmla="*/ 1894999 w 6400800"/>
                <a:gd name="connsiteY6138" fmla="*/ 256699 h 514350"/>
                <a:gd name="connsiteX6139" fmla="*/ 1899761 w 6400800"/>
                <a:gd name="connsiteY6139" fmla="*/ 260509 h 514350"/>
                <a:gd name="connsiteX6140" fmla="*/ 1904524 w 6400800"/>
                <a:gd name="connsiteY6140" fmla="*/ 275749 h 514350"/>
                <a:gd name="connsiteX6141" fmla="*/ 1895951 w 6400800"/>
                <a:gd name="connsiteY6141" fmla="*/ 297656 h 514350"/>
                <a:gd name="connsiteX6142" fmla="*/ 1894046 w 6400800"/>
                <a:gd name="connsiteY6142" fmla="*/ 281464 h 514350"/>
                <a:gd name="connsiteX6143" fmla="*/ 1892141 w 6400800"/>
                <a:gd name="connsiteY6143" fmla="*/ 270034 h 514350"/>
                <a:gd name="connsiteX6144" fmla="*/ 1893094 w 6400800"/>
                <a:gd name="connsiteY6144" fmla="*/ 272891 h 514350"/>
                <a:gd name="connsiteX6145" fmla="*/ 1893094 w 6400800"/>
                <a:gd name="connsiteY6145" fmla="*/ 259556 h 514350"/>
                <a:gd name="connsiteX6146" fmla="*/ 1841659 w 6400800"/>
                <a:gd name="connsiteY6146" fmla="*/ 297656 h 514350"/>
                <a:gd name="connsiteX6147" fmla="*/ 1840706 w 6400800"/>
                <a:gd name="connsiteY6147" fmla="*/ 313849 h 514350"/>
                <a:gd name="connsiteX6148" fmla="*/ 1838801 w 6400800"/>
                <a:gd name="connsiteY6148" fmla="*/ 294799 h 514350"/>
                <a:gd name="connsiteX6149" fmla="*/ 1838801 w 6400800"/>
                <a:gd name="connsiteY6149" fmla="*/ 290989 h 514350"/>
                <a:gd name="connsiteX6150" fmla="*/ 1841659 w 6400800"/>
                <a:gd name="connsiteY6150" fmla="*/ 297656 h 514350"/>
                <a:gd name="connsiteX6151" fmla="*/ 1822609 w 6400800"/>
                <a:gd name="connsiteY6151" fmla="*/ 363379 h 514350"/>
                <a:gd name="connsiteX6152" fmla="*/ 1826419 w 6400800"/>
                <a:gd name="connsiteY6152" fmla="*/ 353854 h 514350"/>
                <a:gd name="connsiteX6153" fmla="*/ 1827371 w 6400800"/>
                <a:gd name="connsiteY6153" fmla="*/ 364331 h 514350"/>
                <a:gd name="connsiteX6154" fmla="*/ 1823561 w 6400800"/>
                <a:gd name="connsiteY6154" fmla="*/ 368141 h 514350"/>
                <a:gd name="connsiteX6155" fmla="*/ 1822609 w 6400800"/>
                <a:gd name="connsiteY6155" fmla="*/ 363379 h 514350"/>
                <a:gd name="connsiteX6156" fmla="*/ 1828324 w 6400800"/>
                <a:gd name="connsiteY6156" fmla="*/ 403384 h 514350"/>
                <a:gd name="connsiteX6157" fmla="*/ 1827371 w 6400800"/>
                <a:gd name="connsiteY6157" fmla="*/ 400526 h 514350"/>
                <a:gd name="connsiteX6158" fmla="*/ 1825466 w 6400800"/>
                <a:gd name="connsiteY6158" fmla="*/ 381476 h 514350"/>
                <a:gd name="connsiteX6159" fmla="*/ 1828324 w 6400800"/>
                <a:gd name="connsiteY6159" fmla="*/ 377666 h 514350"/>
                <a:gd name="connsiteX6160" fmla="*/ 1829276 w 6400800"/>
                <a:gd name="connsiteY6160" fmla="*/ 399574 h 514350"/>
                <a:gd name="connsiteX6161" fmla="*/ 1828324 w 6400800"/>
                <a:gd name="connsiteY6161" fmla="*/ 403384 h 514350"/>
                <a:gd name="connsiteX6162" fmla="*/ 1833086 w 6400800"/>
                <a:gd name="connsiteY6162" fmla="*/ 339566 h 514350"/>
                <a:gd name="connsiteX6163" fmla="*/ 1833086 w 6400800"/>
                <a:gd name="connsiteY6163" fmla="*/ 339566 h 514350"/>
                <a:gd name="connsiteX6164" fmla="*/ 1833086 w 6400800"/>
                <a:gd name="connsiteY6164" fmla="*/ 340519 h 514350"/>
                <a:gd name="connsiteX6165" fmla="*/ 1833086 w 6400800"/>
                <a:gd name="connsiteY6165" fmla="*/ 339566 h 514350"/>
                <a:gd name="connsiteX6166" fmla="*/ 1824514 w 6400800"/>
                <a:gd name="connsiteY6166" fmla="*/ 272891 h 514350"/>
                <a:gd name="connsiteX6167" fmla="*/ 1824514 w 6400800"/>
                <a:gd name="connsiteY6167" fmla="*/ 263366 h 514350"/>
                <a:gd name="connsiteX6168" fmla="*/ 1835944 w 6400800"/>
                <a:gd name="connsiteY6168" fmla="*/ 285274 h 514350"/>
                <a:gd name="connsiteX6169" fmla="*/ 1834991 w 6400800"/>
                <a:gd name="connsiteY6169" fmla="*/ 294799 h 514350"/>
                <a:gd name="connsiteX6170" fmla="*/ 1834039 w 6400800"/>
                <a:gd name="connsiteY6170" fmla="*/ 320516 h 514350"/>
                <a:gd name="connsiteX6171" fmla="*/ 1834039 w 6400800"/>
                <a:gd name="connsiteY6171" fmla="*/ 330994 h 514350"/>
                <a:gd name="connsiteX6172" fmla="*/ 1833086 w 6400800"/>
                <a:gd name="connsiteY6172" fmla="*/ 331946 h 514350"/>
                <a:gd name="connsiteX6173" fmla="*/ 1832134 w 6400800"/>
                <a:gd name="connsiteY6173" fmla="*/ 332899 h 514350"/>
                <a:gd name="connsiteX6174" fmla="*/ 1827371 w 6400800"/>
                <a:gd name="connsiteY6174" fmla="*/ 316706 h 514350"/>
                <a:gd name="connsiteX6175" fmla="*/ 1822609 w 6400800"/>
                <a:gd name="connsiteY6175" fmla="*/ 303371 h 514350"/>
                <a:gd name="connsiteX6176" fmla="*/ 1824514 w 6400800"/>
                <a:gd name="connsiteY6176" fmla="*/ 272891 h 514350"/>
                <a:gd name="connsiteX6177" fmla="*/ 1822609 w 6400800"/>
                <a:gd name="connsiteY6177" fmla="*/ 309086 h 514350"/>
                <a:gd name="connsiteX6178" fmla="*/ 1823561 w 6400800"/>
                <a:gd name="connsiteY6178" fmla="*/ 317659 h 514350"/>
                <a:gd name="connsiteX6179" fmla="*/ 1825466 w 6400800"/>
                <a:gd name="connsiteY6179" fmla="*/ 338614 h 514350"/>
                <a:gd name="connsiteX6180" fmla="*/ 1825466 w 6400800"/>
                <a:gd name="connsiteY6180" fmla="*/ 340519 h 514350"/>
                <a:gd name="connsiteX6181" fmla="*/ 1820704 w 6400800"/>
                <a:gd name="connsiteY6181" fmla="*/ 348139 h 514350"/>
                <a:gd name="connsiteX6182" fmla="*/ 1820704 w 6400800"/>
                <a:gd name="connsiteY6182" fmla="*/ 332899 h 514350"/>
                <a:gd name="connsiteX6183" fmla="*/ 1820704 w 6400800"/>
                <a:gd name="connsiteY6183" fmla="*/ 331946 h 514350"/>
                <a:gd name="connsiteX6184" fmla="*/ 1822609 w 6400800"/>
                <a:gd name="connsiteY6184" fmla="*/ 309086 h 514350"/>
                <a:gd name="connsiteX6185" fmla="*/ 1763554 w 6400800"/>
                <a:gd name="connsiteY6185" fmla="*/ 411956 h 514350"/>
                <a:gd name="connsiteX6186" fmla="*/ 1762601 w 6400800"/>
                <a:gd name="connsiteY6186" fmla="*/ 406241 h 514350"/>
                <a:gd name="connsiteX6187" fmla="*/ 1761649 w 6400800"/>
                <a:gd name="connsiteY6187" fmla="*/ 397669 h 514350"/>
                <a:gd name="connsiteX6188" fmla="*/ 1761649 w 6400800"/>
                <a:gd name="connsiteY6188" fmla="*/ 397669 h 514350"/>
                <a:gd name="connsiteX6189" fmla="*/ 1764506 w 6400800"/>
                <a:gd name="connsiteY6189" fmla="*/ 400526 h 514350"/>
                <a:gd name="connsiteX6190" fmla="*/ 1763554 w 6400800"/>
                <a:gd name="connsiteY6190" fmla="*/ 411956 h 514350"/>
                <a:gd name="connsiteX6191" fmla="*/ 1766411 w 6400800"/>
                <a:gd name="connsiteY6191" fmla="*/ 379571 h 514350"/>
                <a:gd name="connsiteX6192" fmla="*/ 1766411 w 6400800"/>
                <a:gd name="connsiteY6192" fmla="*/ 379571 h 514350"/>
                <a:gd name="connsiteX6193" fmla="*/ 1766411 w 6400800"/>
                <a:gd name="connsiteY6193" fmla="*/ 377666 h 514350"/>
                <a:gd name="connsiteX6194" fmla="*/ 1766411 w 6400800"/>
                <a:gd name="connsiteY6194" fmla="*/ 379571 h 514350"/>
                <a:gd name="connsiteX6195" fmla="*/ 1792129 w 6400800"/>
                <a:gd name="connsiteY6195" fmla="*/ 251936 h 514350"/>
                <a:gd name="connsiteX6196" fmla="*/ 1802606 w 6400800"/>
                <a:gd name="connsiteY6196" fmla="*/ 219551 h 514350"/>
                <a:gd name="connsiteX6197" fmla="*/ 1802606 w 6400800"/>
                <a:gd name="connsiteY6197" fmla="*/ 219551 h 514350"/>
                <a:gd name="connsiteX6198" fmla="*/ 1801654 w 6400800"/>
                <a:gd name="connsiteY6198" fmla="*/ 274796 h 514350"/>
                <a:gd name="connsiteX6199" fmla="*/ 1800701 w 6400800"/>
                <a:gd name="connsiteY6199" fmla="*/ 327184 h 514350"/>
                <a:gd name="connsiteX6200" fmla="*/ 1794034 w 6400800"/>
                <a:gd name="connsiteY6200" fmla="*/ 310991 h 514350"/>
                <a:gd name="connsiteX6201" fmla="*/ 1788319 w 6400800"/>
                <a:gd name="connsiteY6201" fmla="*/ 294799 h 514350"/>
                <a:gd name="connsiteX6202" fmla="*/ 1787366 w 6400800"/>
                <a:gd name="connsiteY6202" fmla="*/ 292894 h 514350"/>
                <a:gd name="connsiteX6203" fmla="*/ 1786414 w 6400800"/>
                <a:gd name="connsiteY6203" fmla="*/ 287179 h 514350"/>
                <a:gd name="connsiteX6204" fmla="*/ 1788319 w 6400800"/>
                <a:gd name="connsiteY6204" fmla="*/ 279559 h 514350"/>
                <a:gd name="connsiteX6205" fmla="*/ 1787366 w 6400800"/>
                <a:gd name="connsiteY6205" fmla="*/ 275749 h 514350"/>
                <a:gd name="connsiteX6206" fmla="*/ 1785461 w 6400800"/>
                <a:gd name="connsiteY6206" fmla="*/ 274796 h 514350"/>
                <a:gd name="connsiteX6207" fmla="*/ 1785461 w 6400800"/>
                <a:gd name="connsiteY6207" fmla="*/ 274796 h 514350"/>
                <a:gd name="connsiteX6208" fmla="*/ 1792129 w 6400800"/>
                <a:gd name="connsiteY6208" fmla="*/ 251936 h 514350"/>
                <a:gd name="connsiteX6209" fmla="*/ 1785461 w 6400800"/>
                <a:gd name="connsiteY6209" fmla="*/ 276701 h 514350"/>
                <a:gd name="connsiteX6210" fmla="*/ 1786414 w 6400800"/>
                <a:gd name="connsiteY6210" fmla="*/ 278606 h 514350"/>
                <a:gd name="connsiteX6211" fmla="*/ 1786414 w 6400800"/>
                <a:gd name="connsiteY6211" fmla="*/ 282416 h 514350"/>
                <a:gd name="connsiteX6212" fmla="*/ 1785461 w 6400800"/>
                <a:gd name="connsiteY6212" fmla="*/ 276701 h 514350"/>
                <a:gd name="connsiteX6213" fmla="*/ 1785461 w 6400800"/>
                <a:gd name="connsiteY6213" fmla="*/ 276701 h 514350"/>
                <a:gd name="connsiteX6214" fmla="*/ 1776889 w 6400800"/>
                <a:gd name="connsiteY6214" fmla="*/ 330994 h 514350"/>
                <a:gd name="connsiteX6215" fmla="*/ 1785461 w 6400800"/>
                <a:gd name="connsiteY6215" fmla="*/ 376714 h 514350"/>
                <a:gd name="connsiteX6216" fmla="*/ 1786414 w 6400800"/>
                <a:gd name="connsiteY6216" fmla="*/ 385286 h 514350"/>
                <a:gd name="connsiteX6217" fmla="*/ 1784509 w 6400800"/>
                <a:gd name="connsiteY6217" fmla="*/ 382429 h 514350"/>
                <a:gd name="connsiteX6218" fmla="*/ 1785461 w 6400800"/>
                <a:gd name="connsiteY6218" fmla="*/ 374809 h 514350"/>
                <a:gd name="connsiteX6219" fmla="*/ 1783556 w 6400800"/>
                <a:gd name="connsiteY6219" fmla="*/ 380524 h 514350"/>
                <a:gd name="connsiteX6220" fmla="*/ 1776889 w 6400800"/>
                <a:gd name="connsiteY6220" fmla="*/ 370999 h 514350"/>
                <a:gd name="connsiteX6221" fmla="*/ 1776889 w 6400800"/>
                <a:gd name="connsiteY6221" fmla="*/ 337661 h 514350"/>
                <a:gd name="connsiteX6222" fmla="*/ 1776889 w 6400800"/>
                <a:gd name="connsiteY6222" fmla="*/ 330994 h 514350"/>
                <a:gd name="connsiteX6223" fmla="*/ 1755934 w 6400800"/>
                <a:gd name="connsiteY6223" fmla="*/ 211931 h 514350"/>
                <a:gd name="connsiteX6224" fmla="*/ 1761649 w 6400800"/>
                <a:gd name="connsiteY6224" fmla="*/ 233839 h 514350"/>
                <a:gd name="connsiteX6225" fmla="*/ 1762601 w 6400800"/>
                <a:gd name="connsiteY6225" fmla="*/ 238601 h 514350"/>
                <a:gd name="connsiteX6226" fmla="*/ 1760696 w 6400800"/>
                <a:gd name="connsiteY6226" fmla="*/ 234791 h 514350"/>
                <a:gd name="connsiteX6227" fmla="*/ 1759744 w 6400800"/>
                <a:gd name="connsiteY6227" fmla="*/ 230981 h 514350"/>
                <a:gd name="connsiteX6228" fmla="*/ 1759744 w 6400800"/>
                <a:gd name="connsiteY6228" fmla="*/ 232886 h 514350"/>
                <a:gd name="connsiteX6229" fmla="*/ 1756886 w 6400800"/>
                <a:gd name="connsiteY6229" fmla="*/ 227171 h 514350"/>
                <a:gd name="connsiteX6230" fmla="*/ 1754981 w 6400800"/>
                <a:gd name="connsiteY6230" fmla="*/ 223361 h 514350"/>
                <a:gd name="connsiteX6231" fmla="*/ 1755934 w 6400800"/>
                <a:gd name="connsiteY6231" fmla="*/ 211931 h 514350"/>
                <a:gd name="connsiteX6232" fmla="*/ 1754981 w 6400800"/>
                <a:gd name="connsiteY6232" fmla="*/ 232886 h 514350"/>
                <a:gd name="connsiteX6233" fmla="*/ 1755934 w 6400800"/>
                <a:gd name="connsiteY6233" fmla="*/ 235744 h 514350"/>
                <a:gd name="connsiteX6234" fmla="*/ 1754981 w 6400800"/>
                <a:gd name="connsiteY6234" fmla="*/ 240506 h 514350"/>
                <a:gd name="connsiteX6235" fmla="*/ 1754981 w 6400800"/>
                <a:gd name="connsiteY6235" fmla="*/ 232886 h 514350"/>
                <a:gd name="connsiteX6236" fmla="*/ 1754029 w 6400800"/>
                <a:gd name="connsiteY6236" fmla="*/ 281464 h 514350"/>
                <a:gd name="connsiteX6237" fmla="*/ 1754981 w 6400800"/>
                <a:gd name="connsiteY6237" fmla="*/ 252889 h 514350"/>
                <a:gd name="connsiteX6238" fmla="*/ 1756886 w 6400800"/>
                <a:gd name="connsiteY6238" fmla="*/ 236696 h 514350"/>
                <a:gd name="connsiteX6239" fmla="*/ 1763554 w 6400800"/>
                <a:gd name="connsiteY6239" fmla="*/ 256699 h 514350"/>
                <a:gd name="connsiteX6240" fmla="*/ 1768316 w 6400800"/>
                <a:gd name="connsiteY6240" fmla="*/ 286226 h 514350"/>
                <a:gd name="connsiteX6241" fmla="*/ 1754981 w 6400800"/>
                <a:gd name="connsiteY6241" fmla="*/ 322421 h 514350"/>
                <a:gd name="connsiteX6242" fmla="*/ 1754029 w 6400800"/>
                <a:gd name="connsiteY6242" fmla="*/ 317659 h 514350"/>
                <a:gd name="connsiteX6243" fmla="*/ 1754029 w 6400800"/>
                <a:gd name="connsiteY6243" fmla="*/ 316706 h 514350"/>
                <a:gd name="connsiteX6244" fmla="*/ 1754029 w 6400800"/>
                <a:gd name="connsiteY6244" fmla="*/ 281464 h 514350"/>
                <a:gd name="connsiteX6245" fmla="*/ 1687354 w 6400800"/>
                <a:gd name="connsiteY6245" fmla="*/ 295751 h 514350"/>
                <a:gd name="connsiteX6246" fmla="*/ 1685449 w 6400800"/>
                <a:gd name="connsiteY6246" fmla="*/ 314801 h 514350"/>
                <a:gd name="connsiteX6247" fmla="*/ 1684496 w 6400800"/>
                <a:gd name="connsiteY6247" fmla="*/ 325279 h 514350"/>
                <a:gd name="connsiteX6248" fmla="*/ 1681639 w 6400800"/>
                <a:gd name="connsiteY6248" fmla="*/ 311944 h 514350"/>
                <a:gd name="connsiteX6249" fmla="*/ 1681639 w 6400800"/>
                <a:gd name="connsiteY6249" fmla="*/ 309086 h 514350"/>
                <a:gd name="connsiteX6250" fmla="*/ 1681639 w 6400800"/>
                <a:gd name="connsiteY6250" fmla="*/ 310039 h 514350"/>
                <a:gd name="connsiteX6251" fmla="*/ 1680686 w 6400800"/>
                <a:gd name="connsiteY6251" fmla="*/ 306229 h 514350"/>
                <a:gd name="connsiteX6252" fmla="*/ 1681639 w 6400800"/>
                <a:gd name="connsiteY6252" fmla="*/ 303371 h 514350"/>
                <a:gd name="connsiteX6253" fmla="*/ 1684496 w 6400800"/>
                <a:gd name="connsiteY6253" fmla="*/ 295751 h 514350"/>
                <a:gd name="connsiteX6254" fmla="*/ 1689259 w 6400800"/>
                <a:gd name="connsiteY6254" fmla="*/ 282416 h 514350"/>
                <a:gd name="connsiteX6255" fmla="*/ 1687354 w 6400800"/>
                <a:gd name="connsiteY6255" fmla="*/ 295751 h 514350"/>
                <a:gd name="connsiteX6256" fmla="*/ 1678781 w 6400800"/>
                <a:gd name="connsiteY6256" fmla="*/ 276701 h 514350"/>
                <a:gd name="connsiteX6257" fmla="*/ 1684496 w 6400800"/>
                <a:gd name="connsiteY6257" fmla="*/ 245269 h 514350"/>
                <a:gd name="connsiteX6258" fmla="*/ 1686401 w 6400800"/>
                <a:gd name="connsiteY6258" fmla="*/ 259556 h 514350"/>
                <a:gd name="connsiteX6259" fmla="*/ 1686401 w 6400800"/>
                <a:gd name="connsiteY6259" fmla="*/ 268129 h 514350"/>
                <a:gd name="connsiteX6260" fmla="*/ 1686401 w 6400800"/>
                <a:gd name="connsiteY6260" fmla="*/ 270986 h 514350"/>
                <a:gd name="connsiteX6261" fmla="*/ 1675924 w 6400800"/>
                <a:gd name="connsiteY6261" fmla="*/ 292894 h 514350"/>
                <a:gd name="connsiteX6262" fmla="*/ 1675924 w 6400800"/>
                <a:gd name="connsiteY6262" fmla="*/ 291941 h 514350"/>
                <a:gd name="connsiteX6263" fmla="*/ 1678781 w 6400800"/>
                <a:gd name="connsiteY6263" fmla="*/ 278606 h 514350"/>
                <a:gd name="connsiteX6264" fmla="*/ 1679734 w 6400800"/>
                <a:gd name="connsiteY6264" fmla="*/ 275749 h 514350"/>
                <a:gd name="connsiteX6265" fmla="*/ 1678781 w 6400800"/>
                <a:gd name="connsiteY6265" fmla="*/ 276701 h 514350"/>
                <a:gd name="connsiteX6266" fmla="*/ 1677829 w 6400800"/>
                <a:gd name="connsiteY6266" fmla="*/ 199549 h 514350"/>
                <a:gd name="connsiteX6267" fmla="*/ 1678781 w 6400800"/>
                <a:gd name="connsiteY6267" fmla="*/ 204311 h 514350"/>
                <a:gd name="connsiteX6268" fmla="*/ 1676876 w 6400800"/>
                <a:gd name="connsiteY6268" fmla="*/ 213836 h 514350"/>
                <a:gd name="connsiteX6269" fmla="*/ 1677829 w 6400800"/>
                <a:gd name="connsiteY6269" fmla="*/ 199549 h 514350"/>
                <a:gd name="connsiteX6270" fmla="*/ 1640681 w 6400800"/>
                <a:gd name="connsiteY6270" fmla="*/ 226219 h 514350"/>
                <a:gd name="connsiteX6271" fmla="*/ 1649254 w 6400800"/>
                <a:gd name="connsiteY6271" fmla="*/ 254794 h 514350"/>
                <a:gd name="connsiteX6272" fmla="*/ 1654016 w 6400800"/>
                <a:gd name="connsiteY6272" fmla="*/ 274796 h 514350"/>
                <a:gd name="connsiteX6273" fmla="*/ 1653064 w 6400800"/>
                <a:gd name="connsiteY6273" fmla="*/ 281464 h 514350"/>
                <a:gd name="connsiteX6274" fmla="*/ 1652111 w 6400800"/>
                <a:gd name="connsiteY6274" fmla="*/ 279559 h 514350"/>
                <a:gd name="connsiteX6275" fmla="*/ 1652111 w 6400800"/>
                <a:gd name="connsiteY6275" fmla="*/ 282416 h 514350"/>
                <a:gd name="connsiteX6276" fmla="*/ 1649254 w 6400800"/>
                <a:gd name="connsiteY6276" fmla="*/ 300514 h 514350"/>
                <a:gd name="connsiteX6277" fmla="*/ 1641634 w 6400800"/>
                <a:gd name="connsiteY6277" fmla="*/ 281464 h 514350"/>
                <a:gd name="connsiteX6278" fmla="*/ 1643539 w 6400800"/>
                <a:gd name="connsiteY6278" fmla="*/ 279559 h 514350"/>
                <a:gd name="connsiteX6279" fmla="*/ 1647349 w 6400800"/>
                <a:gd name="connsiteY6279" fmla="*/ 277654 h 514350"/>
                <a:gd name="connsiteX6280" fmla="*/ 1654016 w 6400800"/>
                <a:gd name="connsiteY6280" fmla="*/ 273844 h 514350"/>
                <a:gd name="connsiteX6281" fmla="*/ 1647349 w 6400800"/>
                <a:gd name="connsiteY6281" fmla="*/ 276701 h 514350"/>
                <a:gd name="connsiteX6282" fmla="*/ 1643539 w 6400800"/>
                <a:gd name="connsiteY6282" fmla="*/ 278606 h 514350"/>
                <a:gd name="connsiteX6283" fmla="*/ 1642586 w 6400800"/>
                <a:gd name="connsiteY6283" fmla="*/ 279559 h 514350"/>
                <a:gd name="connsiteX6284" fmla="*/ 1642586 w 6400800"/>
                <a:gd name="connsiteY6284" fmla="*/ 255746 h 514350"/>
                <a:gd name="connsiteX6285" fmla="*/ 1640681 w 6400800"/>
                <a:gd name="connsiteY6285" fmla="*/ 226219 h 514350"/>
                <a:gd name="connsiteX6286" fmla="*/ 1640681 w 6400800"/>
                <a:gd name="connsiteY6286" fmla="*/ 226219 h 514350"/>
                <a:gd name="connsiteX6287" fmla="*/ 1620679 w 6400800"/>
                <a:gd name="connsiteY6287" fmla="*/ 348139 h 514350"/>
                <a:gd name="connsiteX6288" fmla="*/ 1620679 w 6400800"/>
                <a:gd name="connsiteY6288" fmla="*/ 351949 h 514350"/>
                <a:gd name="connsiteX6289" fmla="*/ 1620679 w 6400800"/>
                <a:gd name="connsiteY6289" fmla="*/ 353854 h 514350"/>
                <a:gd name="connsiteX6290" fmla="*/ 1618774 w 6400800"/>
                <a:gd name="connsiteY6290" fmla="*/ 356711 h 514350"/>
                <a:gd name="connsiteX6291" fmla="*/ 1620679 w 6400800"/>
                <a:gd name="connsiteY6291" fmla="*/ 348139 h 514350"/>
                <a:gd name="connsiteX6292" fmla="*/ 1618774 w 6400800"/>
                <a:gd name="connsiteY6292" fmla="*/ 311944 h 514350"/>
                <a:gd name="connsiteX6293" fmla="*/ 1616869 w 6400800"/>
                <a:gd name="connsiteY6293" fmla="*/ 315754 h 514350"/>
                <a:gd name="connsiteX6294" fmla="*/ 1605439 w 6400800"/>
                <a:gd name="connsiteY6294" fmla="*/ 343376 h 514350"/>
                <a:gd name="connsiteX6295" fmla="*/ 1602581 w 6400800"/>
                <a:gd name="connsiteY6295" fmla="*/ 350996 h 514350"/>
                <a:gd name="connsiteX6296" fmla="*/ 1602581 w 6400800"/>
                <a:gd name="connsiteY6296" fmla="*/ 342424 h 514350"/>
                <a:gd name="connsiteX6297" fmla="*/ 1613059 w 6400800"/>
                <a:gd name="connsiteY6297" fmla="*/ 321469 h 514350"/>
                <a:gd name="connsiteX6298" fmla="*/ 1619726 w 6400800"/>
                <a:gd name="connsiteY6298" fmla="*/ 310039 h 514350"/>
                <a:gd name="connsiteX6299" fmla="*/ 1618774 w 6400800"/>
                <a:gd name="connsiteY6299" fmla="*/ 311944 h 514350"/>
                <a:gd name="connsiteX6300" fmla="*/ 1610201 w 6400800"/>
                <a:gd name="connsiteY6300" fmla="*/ 269081 h 514350"/>
                <a:gd name="connsiteX6301" fmla="*/ 1614011 w 6400800"/>
                <a:gd name="connsiteY6301" fmla="*/ 258604 h 514350"/>
                <a:gd name="connsiteX6302" fmla="*/ 1616869 w 6400800"/>
                <a:gd name="connsiteY6302" fmla="*/ 252889 h 514350"/>
                <a:gd name="connsiteX6303" fmla="*/ 1617821 w 6400800"/>
                <a:gd name="connsiteY6303" fmla="*/ 292894 h 514350"/>
                <a:gd name="connsiteX6304" fmla="*/ 1617821 w 6400800"/>
                <a:gd name="connsiteY6304" fmla="*/ 293846 h 514350"/>
                <a:gd name="connsiteX6305" fmla="*/ 1614011 w 6400800"/>
                <a:gd name="connsiteY6305" fmla="*/ 289084 h 514350"/>
                <a:gd name="connsiteX6306" fmla="*/ 1606391 w 6400800"/>
                <a:gd name="connsiteY6306" fmla="*/ 277654 h 514350"/>
                <a:gd name="connsiteX6307" fmla="*/ 1610201 w 6400800"/>
                <a:gd name="connsiteY6307" fmla="*/ 269081 h 514350"/>
                <a:gd name="connsiteX6308" fmla="*/ 1600676 w 6400800"/>
                <a:gd name="connsiteY6308" fmla="*/ 297656 h 514350"/>
                <a:gd name="connsiteX6309" fmla="*/ 1606391 w 6400800"/>
                <a:gd name="connsiteY6309" fmla="*/ 279559 h 514350"/>
                <a:gd name="connsiteX6310" fmla="*/ 1611154 w 6400800"/>
                <a:gd name="connsiteY6310" fmla="*/ 290989 h 514350"/>
                <a:gd name="connsiteX6311" fmla="*/ 1616869 w 6400800"/>
                <a:gd name="connsiteY6311" fmla="*/ 303371 h 514350"/>
                <a:gd name="connsiteX6312" fmla="*/ 1606391 w 6400800"/>
                <a:gd name="connsiteY6312" fmla="*/ 317659 h 514350"/>
                <a:gd name="connsiteX6313" fmla="*/ 1601629 w 6400800"/>
                <a:gd name="connsiteY6313" fmla="*/ 325279 h 514350"/>
                <a:gd name="connsiteX6314" fmla="*/ 1600676 w 6400800"/>
                <a:gd name="connsiteY6314" fmla="*/ 319564 h 514350"/>
                <a:gd name="connsiteX6315" fmla="*/ 1599724 w 6400800"/>
                <a:gd name="connsiteY6315" fmla="*/ 305276 h 514350"/>
                <a:gd name="connsiteX6316" fmla="*/ 1600676 w 6400800"/>
                <a:gd name="connsiteY6316" fmla="*/ 297656 h 514350"/>
                <a:gd name="connsiteX6317" fmla="*/ 1567339 w 6400800"/>
                <a:gd name="connsiteY6317" fmla="*/ 315754 h 514350"/>
                <a:gd name="connsiteX6318" fmla="*/ 1568291 w 6400800"/>
                <a:gd name="connsiteY6318" fmla="*/ 330041 h 514350"/>
                <a:gd name="connsiteX6319" fmla="*/ 1566386 w 6400800"/>
                <a:gd name="connsiteY6319" fmla="*/ 320516 h 514350"/>
                <a:gd name="connsiteX6320" fmla="*/ 1567339 w 6400800"/>
                <a:gd name="connsiteY6320" fmla="*/ 315754 h 514350"/>
                <a:gd name="connsiteX6321" fmla="*/ 1547336 w 6400800"/>
                <a:gd name="connsiteY6321" fmla="*/ 265271 h 514350"/>
                <a:gd name="connsiteX6322" fmla="*/ 1546384 w 6400800"/>
                <a:gd name="connsiteY6322" fmla="*/ 275749 h 514350"/>
                <a:gd name="connsiteX6323" fmla="*/ 1545431 w 6400800"/>
                <a:gd name="connsiteY6323" fmla="*/ 272891 h 514350"/>
                <a:gd name="connsiteX6324" fmla="*/ 1547336 w 6400800"/>
                <a:gd name="connsiteY6324" fmla="*/ 265271 h 514350"/>
                <a:gd name="connsiteX6325" fmla="*/ 1541621 w 6400800"/>
                <a:gd name="connsiteY6325" fmla="*/ 286226 h 514350"/>
                <a:gd name="connsiteX6326" fmla="*/ 1543526 w 6400800"/>
                <a:gd name="connsiteY6326" fmla="*/ 293846 h 514350"/>
                <a:gd name="connsiteX6327" fmla="*/ 1542574 w 6400800"/>
                <a:gd name="connsiteY6327" fmla="*/ 301466 h 514350"/>
                <a:gd name="connsiteX6328" fmla="*/ 1539716 w 6400800"/>
                <a:gd name="connsiteY6328" fmla="*/ 291941 h 514350"/>
                <a:gd name="connsiteX6329" fmla="*/ 1541621 w 6400800"/>
                <a:gd name="connsiteY6329" fmla="*/ 286226 h 514350"/>
                <a:gd name="connsiteX6330" fmla="*/ 1537811 w 6400800"/>
                <a:gd name="connsiteY6330" fmla="*/ 271939 h 514350"/>
                <a:gd name="connsiteX6331" fmla="*/ 1538764 w 6400800"/>
                <a:gd name="connsiteY6331" fmla="*/ 276701 h 514350"/>
                <a:gd name="connsiteX6332" fmla="*/ 1536859 w 6400800"/>
                <a:gd name="connsiteY6332" fmla="*/ 280511 h 514350"/>
                <a:gd name="connsiteX6333" fmla="*/ 1537811 w 6400800"/>
                <a:gd name="connsiteY6333" fmla="*/ 271939 h 514350"/>
                <a:gd name="connsiteX6334" fmla="*/ 1533049 w 6400800"/>
                <a:gd name="connsiteY6334" fmla="*/ 338614 h 514350"/>
                <a:gd name="connsiteX6335" fmla="*/ 1533049 w 6400800"/>
                <a:gd name="connsiteY6335" fmla="*/ 335756 h 514350"/>
                <a:gd name="connsiteX6336" fmla="*/ 1535906 w 6400800"/>
                <a:gd name="connsiteY6336" fmla="*/ 350044 h 514350"/>
                <a:gd name="connsiteX6337" fmla="*/ 1536859 w 6400800"/>
                <a:gd name="connsiteY6337" fmla="*/ 357664 h 514350"/>
                <a:gd name="connsiteX6338" fmla="*/ 1536859 w 6400800"/>
                <a:gd name="connsiteY6338" fmla="*/ 362426 h 514350"/>
                <a:gd name="connsiteX6339" fmla="*/ 1536859 w 6400800"/>
                <a:gd name="connsiteY6339" fmla="*/ 362426 h 514350"/>
                <a:gd name="connsiteX6340" fmla="*/ 1532096 w 6400800"/>
                <a:gd name="connsiteY6340" fmla="*/ 346234 h 514350"/>
                <a:gd name="connsiteX6341" fmla="*/ 1533049 w 6400800"/>
                <a:gd name="connsiteY6341" fmla="*/ 338614 h 514350"/>
                <a:gd name="connsiteX6342" fmla="*/ 1519714 w 6400800"/>
                <a:gd name="connsiteY6342" fmla="*/ 270986 h 514350"/>
                <a:gd name="connsiteX6343" fmla="*/ 1525429 w 6400800"/>
                <a:gd name="connsiteY6343" fmla="*/ 297656 h 514350"/>
                <a:gd name="connsiteX6344" fmla="*/ 1524476 w 6400800"/>
                <a:gd name="connsiteY6344" fmla="*/ 301466 h 514350"/>
                <a:gd name="connsiteX6345" fmla="*/ 1521619 w 6400800"/>
                <a:gd name="connsiteY6345" fmla="*/ 315754 h 514350"/>
                <a:gd name="connsiteX6346" fmla="*/ 1519714 w 6400800"/>
                <a:gd name="connsiteY6346" fmla="*/ 310991 h 514350"/>
                <a:gd name="connsiteX6347" fmla="*/ 1517809 w 6400800"/>
                <a:gd name="connsiteY6347" fmla="*/ 268129 h 514350"/>
                <a:gd name="connsiteX6348" fmla="*/ 1519714 w 6400800"/>
                <a:gd name="connsiteY6348" fmla="*/ 270986 h 514350"/>
                <a:gd name="connsiteX6349" fmla="*/ 1503521 w 6400800"/>
                <a:gd name="connsiteY6349" fmla="*/ 302419 h 514350"/>
                <a:gd name="connsiteX6350" fmla="*/ 1502569 w 6400800"/>
                <a:gd name="connsiteY6350" fmla="*/ 313849 h 514350"/>
                <a:gd name="connsiteX6351" fmla="*/ 1502569 w 6400800"/>
                <a:gd name="connsiteY6351" fmla="*/ 330041 h 514350"/>
                <a:gd name="connsiteX6352" fmla="*/ 1501616 w 6400800"/>
                <a:gd name="connsiteY6352" fmla="*/ 329089 h 514350"/>
                <a:gd name="connsiteX6353" fmla="*/ 1497806 w 6400800"/>
                <a:gd name="connsiteY6353" fmla="*/ 311944 h 514350"/>
                <a:gd name="connsiteX6354" fmla="*/ 1503521 w 6400800"/>
                <a:gd name="connsiteY6354" fmla="*/ 302419 h 514350"/>
                <a:gd name="connsiteX6355" fmla="*/ 1477804 w 6400800"/>
                <a:gd name="connsiteY6355" fmla="*/ 272891 h 514350"/>
                <a:gd name="connsiteX6356" fmla="*/ 1477804 w 6400800"/>
                <a:gd name="connsiteY6356" fmla="*/ 272891 h 514350"/>
                <a:gd name="connsiteX6357" fmla="*/ 1477804 w 6400800"/>
                <a:gd name="connsiteY6357" fmla="*/ 282416 h 514350"/>
                <a:gd name="connsiteX6358" fmla="*/ 1476851 w 6400800"/>
                <a:gd name="connsiteY6358" fmla="*/ 294799 h 514350"/>
                <a:gd name="connsiteX6359" fmla="*/ 1475899 w 6400800"/>
                <a:gd name="connsiteY6359" fmla="*/ 295751 h 514350"/>
                <a:gd name="connsiteX6360" fmla="*/ 1474946 w 6400800"/>
                <a:gd name="connsiteY6360" fmla="*/ 282416 h 514350"/>
                <a:gd name="connsiteX6361" fmla="*/ 1477804 w 6400800"/>
                <a:gd name="connsiteY6361" fmla="*/ 272891 h 514350"/>
                <a:gd name="connsiteX6362" fmla="*/ 1461611 w 6400800"/>
                <a:gd name="connsiteY6362" fmla="*/ 326231 h 514350"/>
                <a:gd name="connsiteX6363" fmla="*/ 1461611 w 6400800"/>
                <a:gd name="connsiteY6363" fmla="*/ 328136 h 514350"/>
                <a:gd name="connsiteX6364" fmla="*/ 1460659 w 6400800"/>
                <a:gd name="connsiteY6364" fmla="*/ 330041 h 514350"/>
                <a:gd name="connsiteX6365" fmla="*/ 1460659 w 6400800"/>
                <a:gd name="connsiteY6365" fmla="*/ 329089 h 514350"/>
                <a:gd name="connsiteX6366" fmla="*/ 1461611 w 6400800"/>
                <a:gd name="connsiteY6366" fmla="*/ 326231 h 514350"/>
                <a:gd name="connsiteX6367" fmla="*/ 1457801 w 6400800"/>
                <a:gd name="connsiteY6367" fmla="*/ 309086 h 514350"/>
                <a:gd name="connsiteX6368" fmla="*/ 1457801 w 6400800"/>
                <a:gd name="connsiteY6368" fmla="*/ 309086 h 514350"/>
                <a:gd name="connsiteX6369" fmla="*/ 1455896 w 6400800"/>
                <a:gd name="connsiteY6369" fmla="*/ 302419 h 514350"/>
                <a:gd name="connsiteX6370" fmla="*/ 1457801 w 6400800"/>
                <a:gd name="connsiteY6370" fmla="*/ 309086 h 514350"/>
                <a:gd name="connsiteX6371" fmla="*/ 1442561 w 6400800"/>
                <a:gd name="connsiteY6371" fmla="*/ 328136 h 514350"/>
                <a:gd name="connsiteX6372" fmla="*/ 1442561 w 6400800"/>
                <a:gd name="connsiteY6372" fmla="*/ 318611 h 514350"/>
                <a:gd name="connsiteX6373" fmla="*/ 1444466 w 6400800"/>
                <a:gd name="connsiteY6373" fmla="*/ 333851 h 514350"/>
                <a:gd name="connsiteX6374" fmla="*/ 1442561 w 6400800"/>
                <a:gd name="connsiteY6374" fmla="*/ 330041 h 514350"/>
                <a:gd name="connsiteX6375" fmla="*/ 1442561 w 6400800"/>
                <a:gd name="connsiteY6375" fmla="*/ 328136 h 514350"/>
                <a:gd name="connsiteX6376" fmla="*/ 1415891 w 6400800"/>
                <a:gd name="connsiteY6376" fmla="*/ 281464 h 514350"/>
                <a:gd name="connsiteX6377" fmla="*/ 1415891 w 6400800"/>
                <a:gd name="connsiteY6377" fmla="*/ 289084 h 514350"/>
                <a:gd name="connsiteX6378" fmla="*/ 1415891 w 6400800"/>
                <a:gd name="connsiteY6378" fmla="*/ 289084 h 514350"/>
                <a:gd name="connsiteX6379" fmla="*/ 1413034 w 6400800"/>
                <a:gd name="connsiteY6379" fmla="*/ 286226 h 514350"/>
                <a:gd name="connsiteX6380" fmla="*/ 1415891 w 6400800"/>
                <a:gd name="connsiteY6380" fmla="*/ 281464 h 514350"/>
                <a:gd name="connsiteX6381" fmla="*/ 1412081 w 6400800"/>
                <a:gd name="connsiteY6381" fmla="*/ 290036 h 514350"/>
                <a:gd name="connsiteX6382" fmla="*/ 1413986 w 6400800"/>
                <a:gd name="connsiteY6382" fmla="*/ 292894 h 514350"/>
                <a:gd name="connsiteX6383" fmla="*/ 1415891 w 6400800"/>
                <a:gd name="connsiteY6383" fmla="*/ 295751 h 514350"/>
                <a:gd name="connsiteX6384" fmla="*/ 1415891 w 6400800"/>
                <a:gd name="connsiteY6384" fmla="*/ 300514 h 514350"/>
                <a:gd name="connsiteX6385" fmla="*/ 1412081 w 6400800"/>
                <a:gd name="connsiteY6385" fmla="*/ 290036 h 514350"/>
                <a:gd name="connsiteX6386" fmla="*/ 1412081 w 6400800"/>
                <a:gd name="connsiteY6386" fmla="*/ 290036 h 514350"/>
                <a:gd name="connsiteX6387" fmla="*/ 1383506 w 6400800"/>
                <a:gd name="connsiteY6387" fmla="*/ 364331 h 514350"/>
                <a:gd name="connsiteX6388" fmla="*/ 1382554 w 6400800"/>
                <a:gd name="connsiteY6388" fmla="*/ 358616 h 514350"/>
                <a:gd name="connsiteX6389" fmla="*/ 1382554 w 6400800"/>
                <a:gd name="connsiteY6389" fmla="*/ 357664 h 514350"/>
                <a:gd name="connsiteX6390" fmla="*/ 1383506 w 6400800"/>
                <a:gd name="connsiteY6390" fmla="*/ 362426 h 514350"/>
                <a:gd name="connsiteX6391" fmla="*/ 1383506 w 6400800"/>
                <a:gd name="connsiteY6391" fmla="*/ 364331 h 514350"/>
                <a:gd name="connsiteX6392" fmla="*/ 1386364 w 6400800"/>
                <a:gd name="connsiteY6392" fmla="*/ 298609 h 514350"/>
                <a:gd name="connsiteX6393" fmla="*/ 1386364 w 6400800"/>
                <a:gd name="connsiteY6393" fmla="*/ 298609 h 514350"/>
                <a:gd name="connsiteX6394" fmla="*/ 1384459 w 6400800"/>
                <a:gd name="connsiteY6394" fmla="*/ 293846 h 514350"/>
                <a:gd name="connsiteX6395" fmla="*/ 1386364 w 6400800"/>
                <a:gd name="connsiteY6395" fmla="*/ 290989 h 514350"/>
                <a:gd name="connsiteX6396" fmla="*/ 1391126 w 6400800"/>
                <a:gd name="connsiteY6396" fmla="*/ 286226 h 514350"/>
                <a:gd name="connsiteX6397" fmla="*/ 1386364 w 6400800"/>
                <a:gd name="connsiteY6397" fmla="*/ 298609 h 514350"/>
                <a:gd name="connsiteX6398" fmla="*/ 1383506 w 6400800"/>
                <a:gd name="connsiteY6398" fmla="*/ 287179 h 514350"/>
                <a:gd name="connsiteX6399" fmla="*/ 1382554 w 6400800"/>
                <a:gd name="connsiteY6399" fmla="*/ 288131 h 514350"/>
                <a:gd name="connsiteX6400" fmla="*/ 1376839 w 6400800"/>
                <a:gd name="connsiteY6400" fmla="*/ 274796 h 514350"/>
                <a:gd name="connsiteX6401" fmla="*/ 1384459 w 6400800"/>
                <a:gd name="connsiteY6401" fmla="*/ 242411 h 514350"/>
                <a:gd name="connsiteX6402" fmla="*/ 1390174 w 6400800"/>
                <a:gd name="connsiteY6402" fmla="*/ 281464 h 514350"/>
                <a:gd name="connsiteX6403" fmla="*/ 1383506 w 6400800"/>
                <a:gd name="connsiteY6403" fmla="*/ 287179 h 514350"/>
                <a:gd name="connsiteX6404" fmla="*/ 1391126 w 6400800"/>
                <a:gd name="connsiteY6404" fmla="*/ 310991 h 514350"/>
                <a:gd name="connsiteX6405" fmla="*/ 1393031 w 6400800"/>
                <a:gd name="connsiteY6405" fmla="*/ 299561 h 514350"/>
                <a:gd name="connsiteX6406" fmla="*/ 1393031 w 6400800"/>
                <a:gd name="connsiteY6406" fmla="*/ 298609 h 514350"/>
                <a:gd name="connsiteX6407" fmla="*/ 1393984 w 6400800"/>
                <a:gd name="connsiteY6407" fmla="*/ 305276 h 514350"/>
                <a:gd name="connsiteX6408" fmla="*/ 1391126 w 6400800"/>
                <a:gd name="connsiteY6408" fmla="*/ 310991 h 514350"/>
                <a:gd name="connsiteX6409" fmla="*/ 1397794 w 6400800"/>
                <a:gd name="connsiteY6409" fmla="*/ 278606 h 514350"/>
                <a:gd name="connsiteX6410" fmla="*/ 1397794 w 6400800"/>
                <a:gd name="connsiteY6410" fmla="*/ 278606 h 514350"/>
                <a:gd name="connsiteX6411" fmla="*/ 1397794 w 6400800"/>
                <a:gd name="connsiteY6411" fmla="*/ 279559 h 514350"/>
                <a:gd name="connsiteX6412" fmla="*/ 1397794 w 6400800"/>
                <a:gd name="connsiteY6412" fmla="*/ 278606 h 514350"/>
                <a:gd name="connsiteX6413" fmla="*/ 1397794 w 6400800"/>
                <a:gd name="connsiteY6413" fmla="*/ 278606 h 514350"/>
                <a:gd name="connsiteX6414" fmla="*/ 1397794 w 6400800"/>
                <a:gd name="connsiteY6414" fmla="*/ 322421 h 514350"/>
                <a:gd name="connsiteX6415" fmla="*/ 1399699 w 6400800"/>
                <a:gd name="connsiteY6415" fmla="*/ 331946 h 514350"/>
                <a:gd name="connsiteX6416" fmla="*/ 1399699 w 6400800"/>
                <a:gd name="connsiteY6416" fmla="*/ 333851 h 514350"/>
                <a:gd name="connsiteX6417" fmla="*/ 1396841 w 6400800"/>
                <a:gd name="connsiteY6417" fmla="*/ 326231 h 514350"/>
                <a:gd name="connsiteX6418" fmla="*/ 1397794 w 6400800"/>
                <a:gd name="connsiteY6418" fmla="*/ 322421 h 514350"/>
                <a:gd name="connsiteX6419" fmla="*/ 1387316 w 6400800"/>
                <a:gd name="connsiteY6419" fmla="*/ 231934 h 514350"/>
                <a:gd name="connsiteX6420" fmla="*/ 1395889 w 6400800"/>
                <a:gd name="connsiteY6420" fmla="*/ 270986 h 514350"/>
                <a:gd name="connsiteX6421" fmla="*/ 1394936 w 6400800"/>
                <a:gd name="connsiteY6421" fmla="*/ 272891 h 514350"/>
                <a:gd name="connsiteX6422" fmla="*/ 1384459 w 6400800"/>
                <a:gd name="connsiteY6422" fmla="*/ 240506 h 514350"/>
                <a:gd name="connsiteX6423" fmla="*/ 1387316 w 6400800"/>
                <a:gd name="connsiteY6423" fmla="*/ 231934 h 514350"/>
                <a:gd name="connsiteX6424" fmla="*/ 1380649 w 6400800"/>
                <a:gd name="connsiteY6424" fmla="*/ 232886 h 514350"/>
                <a:gd name="connsiteX6425" fmla="*/ 1386364 w 6400800"/>
                <a:gd name="connsiteY6425" fmla="*/ 225266 h 514350"/>
                <a:gd name="connsiteX6426" fmla="*/ 1386364 w 6400800"/>
                <a:gd name="connsiteY6426" fmla="*/ 225266 h 514350"/>
                <a:gd name="connsiteX6427" fmla="*/ 1372076 w 6400800"/>
                <a:gd name="connsiteY6427" fmla="*/ 262414 h 514350"/>
                <a:gd name="connsiteX6428" fmla="*/ 1370171 w 6400800"/>
                <a:gd name="connsiteY6428" fmla="*/ 257651 h 514350"/>
                <a:gd name="connsiteX6429" fmla="*/ 1369219 w 6400800"/>
                <a:gd name="connsiteY6429" fmla="*/ 253841 h 514350"/>
                <a:gd name="connsiteX6430" fmla="*/ 1380649 w 6400800"/>
                <a:gd name="connsiteY6430" fmla="*/ 232886 h 514350"/>
                <a:gd name="connsiteX6431" fmla="*/ 1356836 w 6400800"/>
                <a:gd name="connsiteY6431" fmla="*/ 300514 h 514350"/>
                <a:gd name="connsiteX6432" fmla="*/ 1356836 w 6400800"/>
                <a:gd name="connsiteY6432" fmla="*/ 302419 h 514350"/>
                <a:gd name="connsiteX6433" fmla="*/ 1355884 w 6400800"/>
                <a:gd name="connsiteY6433" fmla="*/ 304324 h 514350"/>
                <a:gd name="connsiteX6434" fmla="*/ 1355884 w 6400800"/>
                <a:gd name="connsiteY6434" fmla="*/ 299561 h 514350"/>
                <a:gd name="connsiteX6435" fmla="*/ 1356836 w 6400800"/>
                <a:gd name="connsiteY6435" fmla="*/ 300514 h 514350"/>
                <a:gd name="connsiteX6436" fmla="*/ 1339691 w 6400800"/>
                <a:gd name="connsiteY6436" fmla="*/ 325279 h 514350"/>
                <a:gd name="connsiteX6437" fmla="*/ 1339691 w 6400800"/>
                <a:gd name="connsiteY6437" fmla="*/ 324326 h 514350"/>
                <a:gd name="connsiteX6438" fmla="*/ 1341596 w 6400800"/>
                <a:gd name="connsiteY6438" fmla="*/ 317659 h 514350"/>
                <a:gd name="connsiteX6439" fmla="*/ 1341596 w 6400800"/>
                <a:gd name="connsiteY6439" fmla="*/ 317659 h 514350"/>
                <a:gd name="connsiteX6440" fmla="*/ 1341596 w 6400800"/>
                <a:gd name="connsiteY6440" fmla="*/ 330994 h 514350"/>
                <a:gd name="connsiteX6441" fmla="*/ 1339691 w 6400800"/>
                <a:gd name="connsiteY6441" fmla="*/ 325279 h 514350"/>
                <a:gd name="connsiteX6442" fmla="*/ 1340644 w 6400800"/>
                <a:gd name="connsiteY6442" fmla="*/ 226219 h 514350"/>
                <a:gd name="connsiteX6443" fmla="*/ 1340644 w 6400800"/>
                <a:gd name="connsiteY6443" fmla="*/ 226219 h 514350"/>
                <a:gd name="connsiteX6444" fmla="*/ 1344454 w 6400800"/>
                <a:gd name="connsiteY6444" fmla="*/ 237649 h 514350"/>
                <a:gd name="connsiteX6445" fmla="*/ 1344454 w 6400800"/>
                <a:gd name="connsiteY6445" fmla="*/ 242411 h 514350"/>
                <a:gd name="connsiteX6446" fmla="*/ 1343501 w 6400800"/>
                <a:gd name="connsiteY6446" fmla="*/ 264319 h 514350"/>
                <a:gd name="connsiteX6447" fmla="*/ 1343501 w 6400800"/>
                <a:gd name="connsiteY6447" fmla="*/ 272891 h 514350"/>
                <a:gd name="connsiteX6448" fmla="*/ 1339691 w 6400800"/>
                <a:gd name="connsiteY6448" fmla="*/ 269081 h 514350"/>
                <a:gd name="connsiteX6449" fmla="*/ 1340644 w 6400800"/>
                <a:gd name="connsiteY6449" fmla="*/ 226219 h 514350"/>
                <a:gd name="connsiteX6450" fmla="*/ 1337786 w 6400800"/>
                <a:gd name="connsiteY6450" fmla="*/ 295751 h 514350"/>
                <a:gd name="connsiteX6451" fmla="*/ 1338739 w 6400800"/>
                <a:gd name="connsiteY6451" fmla="*/ 271939 h 514350"/>
                <a:gd name="connsiteX6452" fmla="*/ 1342549 w 6400800"/>
                <a:gd name="connsiteY6452" fmla="*/ 276701 h 514350"/>
                <a:gd name="connsiteX6453" fmla="*/ 1342549 w 6400800"/>
                <a:gd name="connsiteY6453" fmla="*/ 276701 h 514350"/>
                <a:gd name="connsiteX6454" fmla="*/ 1342549 w 6400800"/>
                <a:gd name="connsiteY6454" fmla="*/ 286226 h 514350"/>
                <a:gd name="connsiteX6455" fmla="*/ 1337786 w 6400800"/>
                <a:gd name="connsiteY6455" fmla="*/ 295751 h 514350"/>
                <a:gd name="connsiteX6456" fmla="*/ 1337786 w 6400800"/>
                <a:gd name="connsiteY6456" fmla="*/ 296704 h 514350"/>
                <a:gd name="connsiteX6457" fmla="*/ 1337786 w 6400800"/>
                <a:gd name="connsiteY6457" fmla="*/ 295751 h 514350"/>
                <a:gd name="connsiteX6458" fmla="*/ 1314926 w 6400800"/>
                <a:gd name="connsiteY6458" fmla="*/ 320516 h 514350"/>
                <a:gd name="connsiteX6459" fmla="*/ 1314926 w 6400800"/>
                <a:gd name="connsiteY6459" fmla="*/ 320516 h 514350"/>
                <a:gd name="connsiteX6460" fmla="*/ 1314926 w 6400800"/>
                <a:gd name="connsiteY6460" fmla="*/ 320516 h 514350"/>
                <a:gd name="connsiteX6461" fmla="*/ 1314926 w 6400800"/>
                <a:gd name="connsiteY6461" fmla="*/ 320516 h 514350"/>
                <a:gd name="connsiteX6462" fmla="*/ 1311116 w 6400800"/>
                <a:gd name="connsiteY6462" fmla="*/ 312896 h 514350"/>
                <a:gd name="connsiteX6463" fmla="*/ 1311116 w 6400800"/>
                <a:gd name="connsiteY6463" fmla="*/ 312896 h 514350"/>
                <a:gd name="connsiteX6464" fmla="*/ 1311116 w 6400800"/>
                <a:gd name="connsiteY6464" fmla="*/ 314801 h 514350"/>
                <a:gd name="connsiteX6465" fmla="*/ 1311116 w 6400800"/>
                <a:gd name="connsiteY6465" fmla="*/ 314801 h 514350"/>
                <a:gd name="connsiteX6466" fmla="*/ 1311116 w 6400800"/>
                <a:gd name="connsiteY6466" fmla="*/ 312896 h 514350"/>
                <a:gd name="connsiteX6467" fmla="*/ 1242536 w 6400800"/>
                <a:gd name="connsiteY6467" fmla="*/ 344329 h 514350"/>
                <a:gd name="connsiteX6468" fmla="*/ 1238726 w 6400800"/>
                <a:gd name="connsiteY6468" fmla="*/ 336709 h 514350"/>
                <a:gd name="connsiteX6469" fmla="*/ 1238726 w 6400800"/>
                <a:gd name="connsiteY6469" fmla="*/ 310991 h 514350"/>
                <a:gd name="connsiteX6470" fmla="*/ 1238726 w 6400800"/>
                <a:gd name="connsiteY6470" fmla="*/ 307181 h 514350"/>
                <a:gd name="connsiteX6471" fmla="*/ 1244441 w 6400800"/>
                <a:gd name="connsiteY6471" fmla="*/ 339566 h 514350"/>
                <a:gd name="connsiteX6472" fmla="*/ 1244441 w 6400800"/>
                <a:gd name="connsiteY6472" fmla="*/ 340519 h 514350"/>
                <a:gd name="connsiteX6473" fmla="*/ 1242536 w 6400800"/>
                <a:gd name="connsiteY6473" fmla="*/ 344329 h 514350"/>
                <a:gd name="connsiteX6474" fmla="*/ 1279684 w 6400800"/>
                <a:gd name="connsiteY6474" fmla="*/ 290989 h 514350"/>
                <a:gd name="connsiteX6475" fmla="*/ 1279684 w 6400800"/>
                <a:gd name="connsiteY6475" fmla="*/ 284321 h 514350"/>
                <a:gd name="connsiteX6476" fmla="*/ 1281589 w 6400800"/>
                <a:gd name="connsiteY6476" fmla="*/ 287179 h 514350"/>
                <a:gd name="connsiteX6477" fmla="*/ 1279684 w 6400800"/>
                <a:gd name="connsiteY6477" fmla="*/ 290989 h 514350"/>
                <a:gd name="connsiteX6478" fmla="*/ 1298734 w 6400800"/>
                <a:gd name="connsiteY6478" fmla="*/ 332899 h 514350"/>
                <a:gd name="connsiteX6479" fmla="*/ 1298734 w 6400800"/>
                <a:gd name="connsiteY6479" fmla="*/ 332899 h 514350"/>
                <a:gd name="connsiteX6480" fmla="*/ 1298734 w 6400800"/>
                <a:gd name="connsiteY6480" fmla="*/ 330994 h 514350"/>
                <a:gd name="connsiteX6481" fmla="*/ 1298734 w 6400800"/>
                <a:gd name="connsiteY6481" fmla="*/ 332899 h 514350"/>
                <a:gd name="connsiteX6482" fmla="*/ 1295876 w 6400800"/>
                <a:gd name="connsiteY6482" fmla="*/ 278606 h 514350"/>
                <a:gd name="connsiteX6483" fmla="*/ 1305401 w 6400800"/>
                <a:gd name="connsiteY6483" fmla="*/ 299561 h 514350"/>
                <a:gd name="connsiteX6484" fmla="*/ 1305401 w 6400800"/>
                <a:gd name="connsiteY6484" fmla="*/ 300514 h 514350"/>
                <a:gd name="connsiteX6485" fmla="*/ 1304449 w 6400800"/>
                <a:gd name="connsiteY6485" fmla="*/ 303371 h 514350"/>
                <a:gd name="connsiteX6486" fmla="*/ 1300639 w 6400800"/>
                <a:gd name="connsiteY6486" fmla="*/ 295751 h 514350"/>
                <a:gd name="connsiteX6487" fmla="*/ 1293971 w 6400800"/>
                <a:gd name="connsiteY6487" fmla="*/ 284321 h 514350"/>
                <a:gd name="connsiteX6488" fmla="*/ 1295876 w 6400800"/>
                <a:gd name="connsiteY6488" fmla="*/ 278606 h 514350"/>
                <a:gd name="connsiteX6489" fmla="*/ 1299686 w 6400800"/>
                <a:gd name="connsiteY6489" fmla="*/ 328136 h 514350"/>
                <a:gd name="connsiteX6490" fmla="*/ 1299686 w 6400800"/>
                <a:gd name="connsiteY6490" fmla="*/ 330041 h 514350"/>
                <a:gd name="connsiteX6491" fmla="*/ 1298734 w 6400800"/>
                <a:gd name="connsiteY6491" fmla="*/ 331946 h 514350"/>
                <a:gd name="connsiteX6492" fmla="*/ 1293019 w 6400800"/>
                <a:gd name="connsiteY6492" fmla="*/ 324326 h 514350"/>
                <a:gd name="connsiteX6493" fmla="*/ 1289209 w 6400800"/>
                <a:gd name="connsiteY6493" fmla="*/ 318611 h 514350"/>
                <a:gd name="connsiteX6494" fmla="*/ 1289209 w 6400800"/>
                <a:gd name="connsiteY6494" fmla="*/ 318611 h 514350"/>
                <a:gd name="connsiteX6495" fmla="*/ 1289209 w 6400800"/>
                <a:gd name="connsiteY6495" fmla="*/ 309086 h 514350"/>
                <a:gd name="connsiteX6496" fmla="*/ 1290161 w 6400800"/>
                <a:gd name="connsiteY6496" fmla="*/ 305276 h 514350"/>
                <a:gd name="connsiteX6497" fmla="*/ 1299686 w 6400800"/>
                <a:gd name="connsiteY6497" fmla="*/ 328136 h 514350"/>
                <a:gd name="connsiteX6498" fmla="*/ 1289209 w 6400800"/>
                <a:gd name="connsiteY6498" fmla="*/ 263366 h 514350"/>
                <a:gd name="connsiteX6499" fmla="*/ 1287304 w 6400800"/>
                <a:gd name="connsiteY6499" fmla="*/ 268129 h 514350"/>
                <a:gd name="connsiteX6500" fmla="*/ 1287304 w 6400800"/>
                <a:gd name="connsiteY6500" fmla="*/ 259556 h 514350"/>
                <a:gd name="connsiteX6501" fmla="*/ 1289209 w 6400800"/>
                <a:gd name="connsiteY6501" fmla="*/ 263366 h 514350"/>
                <a:gd name="connsiteX6502" fmla="*/ 1276826 w 6400800"/>
                <a:gd name="connsiteY6502" fmla="*/ 238601 h 514350"/>
                <a:gd name="connsiteX6503" fmla="*/ 1278731 w 6400800"/>
                <a:gd name="connsiteY6503" fmla="*/ 242411 h 514350"/>
                <a:gd name="connsiteX6504" fmla="*/ 1286351 w 6400800"/>
                <a:gd name="connsiteY6504" fmla="*/ 257651 h 514350"/>
                <a:gd name="connsiteX6505" fmla="*/ 1285399 w 6400800"/>
                <a:gd name="connsiteY6505" fmla="*/ 267176 h 514350"/>
                <a:gd name="connsiteX6506" fmla="*/ 1277779 w 6400800"/>
                <a:gd name="connsiteY6506" fmla="*/ 255746 h 514350"/>
                <a:gd name="connsiteX6507" fmla="*/ 1276826 w 6400800"/>
                <a:gd name="connsiteY6507" fmla="*/ 242411 h 514350"/>
                <a:gd name="connsiteX6508" fmla="*/ 1276826 w 6400800"/>
                <a:gd name="connsiteY6508" fmla="*/ 238601 h 514350"/>
                <a:gd name="connsiteX6509" fmla="*/ 1273016 w 6400800"/>
                <a:gd name="connsiteY6509" fmla="*/ 271939 h 514350"/>
                <a:gd name="connsiteX6510" fmla="*/ 1273969 w 6400800"/>
                <a:gd name="connsiteY6510" fmla="*/ 272891 h 514350"/>
                <a:gd name="connsiteX6511" fmla="*/ 1273016 w 6400800"/>
                <a:gd name="connsiteY6511" fmla="*/ 291941 h 514350"/>
                <a:gd name="connsiteX6512" fmla="*/ 1271111 w 6400800"/>
                <a:gd name="connsiteY6512" fmla="*/ 288131 h 514350"/>
                <a:gd name="connsiteX6513" fmla="*/ 1273016 w 6400800"/>
                <a:gd name="connsiteY6513" fmla="*/ 271939 h 514350"/>
                <a:gd name="connsiteX6514" fmla="*/ 1240631 w 6400800"/>
                <a:gd name="connsiteY6514" fmla="*/ 229076 h 514350"/>
                <a:gd name="connsiteX6515" fmla="*/ 1244441 w 6400800"/>
                <a:gd name="connsiteY6515" fmla="*/ 220504 h 514350"/>
                <a:gd name="connsiteX6516" fmla="*/ 1253966 w 6400800"/>
                <a:gd name="connsiteY6516" fmla="*/ 237649 h 514350"/>
                <a:gd name="connsiteX6517" fmla="*/ 1264444 w 6400800"/>
                <a:gd name="connsiteY6517" fmla="*/ 257651 h 514350"/>
                <a:gd name="connsiteX6518" fmla="*/ 1268254 w 6400800"/>
                <a:gd name="connsiteY6518" fmla="*/ 264319 h 514350"/>
                <a:gd name="connsiteX6519" fmla="*/ 1262539 w 6400800"/>
                <a:gd name="connsiteY6519" fmla="*/ 286226 h 514350"/>
                <a:gd name="connsiteX6520" fmla="*/ 1254919 w 6400800"/>
                <a:gd name="connsiteY6520" fmla="*/ 277654 h 514350"/>
                <a:gd name="connsiteX6521" fmla="*/ 1241584 w 6400800"/>
                <a:gd name="connsiteY6521" fmla="*/ 251936 h 514350"/>
                <a:gd name="connsiteX6522" fmla="*/ 1235869 w 6400800"/>
                <a:gd name="connsiteY6522" fmla="*/ 243364 h 514350"/>
                <a:gd name="connsiteX6523" fmla="*/ 1235869 w 6400800"/>
                <a:gd name="connsiteY6523" fmla="*/ 242411 h 514350"/>
                <a:gd name="connsiteX6524" fmla="*/ 1240631 w 6400800"/>
                <a:gd name="connsiteY6524" fmla="*/ 229076 h 514350"/>
                <a:gd name="connsiteX6525" fmla="*/ 1228249 w 6400800"/>
                <a:gd name="connsiteY6525" fmla="*/ 304324 h 514350"/>
                <a:gd name="connsiteX6526" fmla="*/ 1227296 w 6400800"/>
                <a:gd name="connsiteY6526" fmla="*/ 288131 h 514350"/>
                <a:gd name="connsiteX6527" fmla="*/ 1227296 w 6400800"/>
                <a:gd name="connsiteY6527" fmla="*/ 281464 h 514350"/>
                <a:gd name="connsiteX6528" fmla="*/ 1228249 w 6400800"/>
                <a:gd name="connsiteY6528" fmla="*/ 279559 h 514350"/>
                <a:gd name="connsiteX6529" fmla="*/ 1228249 w 6400800"/>
                <a:gd name="connsiteY6529" fmla="*/ 278606 h 514350"/>
                <a:gd name="connsiteX6530" fmla="*/ 1229201 w 6400800"/>
                <a:gd name="connsiteY6530" fmla="*/ 279559 h 514350"/>
                <a:gd name="connsiteX6531" fmla="*/ 1231106 w 6400800"/>
                <a:gd name="connsiteY6531" fmla="*/ 284321 h 514350"/>
                <a:gd name="connsiteX6532" fmla="*/ 1228249 w 6400800"/>
                <a:gd name="connsiteY6532" fmla="*/ 304324 h 514350"/>
                <a:gd name="connsiteX6533" fmla="*/ 1232059 w 6400800"/>
                <a:gd name="connsiteY6533" fmla="*/ 280511 h 514350"/>
                <a:gd name="connsiteX6534" fmla="*/ 1232059 w 6400800"/>
                <a:gd name="connsiteY6534" fmla="*/ 278606 h 514350"/>
                <a:gd name="connsiteX6535" fmla="*/ 1230154 w 6400800"/>
                <a:gd name="connsiteY6535" fmla="*/ 275749 h 514350"/>
                <a:gd name="connsiteX6536" fmla="*/ 1227296 w 6400800"/>
                <a:gd name="connsiteY6536" fmla="*/ 275749 h 514350"/>
                <a:gd name="connsiteX6537" fmla="*/ 1226344 w 6400800"/>
                <a:gd name="connsiteY6537" fmla="*/ 275749 h 514350"/>
                <a:gd name="connsiteX6538" fmla="*/ 1226344 w 6400800"/>
                <a:gd name="connsiteY6538" fmla="*/ 269081 h 514350"/>
                <a:gd name="connsiteX6539" fmla="*/ 1230154 w 6400800"/>
                <a:gd name="connsiteY6539" fmla="*/ 272891 h 514350"/>
                <a:gd name="connsiteX6540" fmla="*/ 1233011 w 6400800"/>
                <a:gd name="connsiteY6540" fmla="*/ 276701 h 514350"/>
                <a:gd name="connsiteX6541" fmla="*/ 1232059 w 6400800"/>
                <a:gd name="connsiteY6541" fmla="*/ 280511 h 514350"/>
                <a:gd name="connsiteX6542" fmla="*/ 1230154 w 6400800"/>
                <a:gd name="connsiteY6542" fmla="*/ 221456 h 514350"/>
                <a:gd name="connsiteX6543" fmla="*/ 1233964 w 6400800"/>
                <a:gd name="connsiteY6543" fmla="*/ 233839 h 514350"/>
                <a:gd name="connsiteX6544" fmla="*/ 1233964 w 6400800"/>
                <a:gd name="connsiteY6544" fmla="*/ 233839 h 514350"/>
                <a:gd name="connsiteX6545" fmla="*/ 1233011 w 6400800"/>
                <a:gd name="connsiteY6545" fmla="*/ 230029 h 514350"/>
                <a:gd name="connsiteX6546" fmla="*/ 1230154 w 6400800"/>
                <a:gd name="connsiteY6546" fmla="*/ 221456 h 514350"/>
                <a:gd name="connsiteX6547" fmla="*/ 1230154 w 6400800"/>
                <a:gd name="connsiteY6547" fmla="*/ 221456 h 514350"/>
                <a:gd name="connsiteX6548" fmla="*/ 1229201 w 6400800"/>
                <a:gd name="connsiteY6548" fmla="*/ 257651 h 514350"/>
                <a:gd name="connsiteX6549" fmla="*/ 1229201 w 6400800"/>
                <a:gd name="connsiteY6549" fmla="*/ 257651 h 514350"/>
                <a:gd name="connsiteX6550" fmla="*/ 1230154 w 6400800"/>
                <a:gd name="connsiteY6550" fmla="*/ 259556 h 514350"/>
                <a:gd name="connsiteX6551" fmla="*/ 1230154 w 6400800"/>
                <a:gd name="connsiteY6551" fmla="*/ 262414 h 514350"/>
                <a:gd name="connsiteX6552" fmla="*/ 1232059 w 6400800"/>
                <a:gd name="connsiteY6552" fmla="*/ 274796 h 514350"/>
                <a:gd name="connsiteX6553" fmla="*/ 1232059 w 6400800"/>
                <a:gd name="connsiteY6553" fmla="*/ 274796 h 514350"/>
                <a:gd name="connsiteX6554" fmla="*/ 1229201 w 6400800"/>
                <a:gd name="connsiteY6554" fmla="*/ 272891 h 514350"/>
                <a:gd name="connsiteX6555" fmla="*/ 1225391 w 6400800"/>
                <a:gd name="connsiteY6555" fmla="*/ 269081 h 514350"/>
                <a:gd name="connsiteX6556" fmla="*/ 1225391 w 6400800"/>
                <a:gd name="connsiteY6556" fmla="*/ 265271 h 514350"/>
                <a:gd name="connsiteX6557" fmla="*/ 1229201 w 6400800"/>
                <a:gd name="connsiteY6557" fmla="*/ 257651 h 514350"/>
                <a:gd name="connsiteX6558" fmla="*/ 1226344 w 6400800"/>
                <a:gd name="connsiteY6558" fmla="*/ 235744 h 514350"/>
                <a:gd name="connsiteX6559" fmla="*/ 1228249 w 6400800"/>
                <a:gd name="connsiteY6559" fmla="*/ 244316 h 514350"/>
                <a:gd name="connsiteX6560" fmla="*/ 1227296 w 6400800"/>
                <a:gd name="connsiteY6560" fmla="*/ 246221 h 514350"/>
                <a:gd name="connsiteX6561" fmla="*/ 1225391 w 6400800"/>
                <a:gd name="connsiteY6561" fmla="*/ 244316 h 514350"/>
                <a:gd name="connsiteX6562" fmla="*/ 1225391 w 6400800"/>
                <a:gd name="connsiteY6562" fmla="*/ 231934 h 514350"/>
                <a:gd name="connsiteX6563" fmla="*/ 1226344 w 6400800"/>
                <a:gd name="connsiteY6563" fmla="*/ 235744 h 514350"/>
                <a:gd name="connsiteX6564" fmla="*/ 1197769 w 6400800"/>
                <a:gd name="connsiteY6564" fmla="*/ 293846 h 514350"/>
                <a:gd name="connsiteX6565" fmla="*/ 1198721 w 6400800"/>
                <a:gd name="connsiteY6565" fmla="*/ 290036 h 514350"/>
                <a:gd name="connsiteX6566" fmla="*/ 1198721 w 6400800"/>
                <a:gd name="connsiteY6566" fmla="*/ 291941 h 514350"/>
                <a:gd name="connsiteX6567" fmla="*/ 1199674 w 6400800"/>
                <a:gd name="connsiteY6567" fmla="*/ 299561 h 514350"/>
                <a:gd name="connsiteX6568" fmla="*/ 1196816 w 6400800"/>
                <a:gd name="connsiteY6568" fmla="*/ 307181 h 514350"/>
                <a:gd name="connsiteX6569" fmla="*/ 1194911 w 6400800"/>
                <a:gd name="connsiteY6569" fmla="*/ 299561 h 514350"/>
                <a:gd name="connsiteX6570" fmla="*/ 1197769 w 6400800"/>
                <a:gd name="connsiteY6570" fmla="*/ 293846 h 514350"/>
                <a:gd name="connsiteX6571" fmla="*/ 1196816 w 6400800"/>
                <a:gd name="connsiteY6571" fmla="*/ 459581 h 514350"/>
                <a:gd name="connsiteX6572" fmla="*/ 1196816 w 6400800"/>
                <a:gd name="connsiteY6572" fmla="*/ 459581 h 514350"/>
                <a:gd name="connsiteX6573" fmla="*/ 1195864 w 6400800"/>
                <a:gd name="connsiteY6573" fmla="*/ 455771 h 514350"/>
                <a:gd name="connsiteX6574" fmla="*/ 1196816 w 6400800"/>
                <a:gd name="connsiteY6574" fmla="*/ 459581 h 514350"/>
                <a:gd name="connsiteX6575" fmla="*/ 1190149 w 6400800"/>
                <a:gd name="connsiteY6575" fmla="*/ 324326 h 514350"/>
                <a:gd name="connsiteX6576" fmla="*/ 1190149 w 6400800"/>
                <a:gd name="connsiteY6576" fmla="*/ 324326 h 514350"/>
                <a:gd name="connsiteX6577" fmla="*/ 1189196 w 6400800"/>
                <a:gd name="connsiteY6577" fmla="*/ 320516 h 514350"/>
                <a:gd name="connsiteX6578" fmla="*/ 1190149 w 6400800"/>
                <a:gd name="connsiteY6578" fmla="*/ 324326 h 514350"/>
                <a:gd name="connsiteX6579" fmla="*/ 1170146 w 6400800"/>
                <a:gd name="connsiteY6579" fmla="*/ 270986 h 514350"/>
                <a:gd name="connsiteX6580" fmla="*/ 1170146 w 6400800"/>
                <a:gd name="connsiteY6580" fmla="*/ 268129 h 514350"/>
                <a:gd name="connsiteX6581" fmla="*/ 1170146 w 6400800"/>
                <a:gd name="connsiteY6581" fmla="*/ 264319 h 514350"/>
                <a:gd name="connsiteX6582" fmla="*/ 1172051 w 6400800"/>
                <a:gd name="connsiteY6582" fmla="*/ 235744 h 514350"/>
                <a:gd name="connsiteX6583" fmla="*/ 1174909 w 6400800"/>
                <a:gd name="connsiteY6583" fmla="*/ 245269 h 514350"/>
                <a:gd name="connsiteX6584" fmla="*/ 1176814 w 6400800"/>
                <a:gd name="connsiteY6584" fmla="*/ 260509 h 514350"/>
                <a:gd name="connsiteX6585" fmla="*/ 1177766 w 6400800"/>
                <a:gd name="connsiteY6585" fmla="*/ 285274 h 514350"/>
                <a:gd name="connsiteX6586" fmla="*/ 1177766 w 6400800"/>
                <a:gd name="connsiteY6586" fmla="*/ 308134 h 514350"/>
                <a:gd name="connsiteX6587" fmla="*/ 1176814 w 6400800"/>
                <a:gd name="connsiteY6587" fmla="*/ 305276 h 514350"/>
                <a:gd name="connsiteX6588" fmla="*/ 1168241 w 6400800"/>
                <a:gd name="connsiteY6588" fmla="*/ 287179 h 514350"/>
                <a:gd name="connsiteX6589" fmla="*/ 1170146 w 6400800"/>
                <a:gd name="connsiteY6589" fmla="*/ 270986 h 514350"/>
                <a:gd name="connsiteX6590" fmla="*/ 1170146 w 6400800"/>
                <a:gd name="connsiteY6590" fmla="*/ 309086 h 514350"/>
                <a:gd name="connsiteX6591" fmla="*/ 1173956 w 6400800"/>
                <a:gd name="connsiteY6591" fmla="*/ 321469 h 514350"/>
                <a:gd name="connsiteX6592" fmla="*/ 1172051 w 6400800"/>
                <a:gd name="connsiteY6592" fmla="*/ 327184 h 514350"/>
                <a:gd name="connsiteX6593" fmla="*/ 1170146 w 6400800"/>
                <a:gd name="connsiteY6593" fmla="*/ 322421 h 514350"/>
                <a:gd name="connsiteX6594" fmla="*/ 1170146 w 6400800"/>
                <a:gd name="connsiteY6594" fmla="*/ 318611 h 514350"/>
                <a:gd name="connsiteX6595" fmla="*/ 1168241 w 6400800"/>
                <a:gd name="connsiteY6595" fmla="*/ 303371 h 514350"/>
                <a:gd name="connsiteX6596" fmla="*/ 1170146 w 6400800"/>
                <a:gd name="connsiteY6596" fmla="*/ 309086 h 514350"/>
                <a:gd name="connsiteX6597" fmla="*/ 1164431 w 6400800"/>
                <a:gd name="connsiteY6597" fmla="*/ 236696 h 514350"/>
                <a:gd name="connsiteX6598" fmla="*/ 1161574 w 6400800"/>
                <a:gd name="connsiteY6598" fmla="*/ 253841 h 514350"/>
                <a:gd name="connsiteX6599" fmla="*/ 1161574 w 6400800"/>
                <a:gd name="connsiteY6599" fmla="*/ 251936 h 514350"/>
                <a:gd name="connsiteX6600" fmla="*/ 1161574 w 6400800"/>
                <a:gd name="connsiteY6600" fmla="*/ 250984 h 514350"/>
                <a:gd name="connsiteX6601" fmla="*/ 1164431 w 6400800"/>
                <a:gd name="connsiteY6601" fmla="*/ 236696 h 514350"/>
                <a:gd name="connsiteX6602" fmla="*/ 1140619 w 6400800"/>
                <a:gd name="connsiteY6602" fmla="*/ 290036 h 514350"/>
                <a:gd name="connsiteX6603" fmla="*/ 1139666 w 6400800"/>
                <a:gd name="connsiteY6603" fmla="*/ 291941 h 514350"/>
                <a:gd name="connsiteX6604" fmla="*/ 1137761 w 6400800"/>
                <a:gd name="connsiteY6604" fmla="*/ 283369 h 514350"/>
                <a:gd name="connsiteX6605" fmla="*/ 1140619 w 6400800"/>
                <a:gd name="connsiteY6605" fmla="*/ 290036 h 514350"/>
                <a:gd name="connsiteX6606" fmla="*/ 1114901 w 6400800"/>
                <a:gd name="connsiteY6606" fmla="*/ 339566 h 514350"/>
                <a:gd name="connsiteX6607" fmla="*/ 1117759 w 6400800"/>
                <a:gd name="connsiteY6607" fmla="*/ 315754 h 514350"/>
                <a:gd name="connsiteX6608" fmla="*/ 1119664 w 6400800"/>
                <a:gd name="connsiteY6608" fmla="*/ 325279 h 514350"/>
                <a:gd name="connsiteX6609" fmla="*/ 1121569 w 6400800"/>
                <a:gd name="connsiteY6609" fmla="*/ 334804 h 514350"/>
                <a:gd name="connsiteX6610" fmla="*/ 1120616 w 6400800"/>
                <a:gd name="connsiteY6610" fmla="*/ 341471 h 514350"/>
                <a:gd name="connsiteX6611" fmla="*/ 1120616 w 6400800"/>
                <a:gd name="connsiteY6611" fmla="*/ 342424 h 514350"/>
                <a:gd name="connsiteX6612" fmla="*/ 1118711 w 6400800"/>
                <a:gd name="connsiteY6612" fmla="*/ 348139 h 514350"/>
                <a:gd name="connsiteX6613" fmla="*/ 1114901 w 6400800"/>
                <a:gd name="connsiteY6613" fmla="*/ 341471 h 514350"/>
                <a:gd name="connsiteX6614" fmla="*/ 1114901 w 6400800"/>
                <a:gd name="connsiteY6614" fmla="*/ 339566 h 514350"/>
                <a:gd name="connsiteX6615" fmla="*/ 1111091 w 6400800"/>
                <a:gd name="connsiteY6615" fmla="*/ 219551 h 514350"/>
                <a:gd name="connsiteX6616" fmla="*/ 1112044 w 6400800"/>
                <a:gd name="connsiteY6616" fmla="*/ 222409 h 514350"/>
                <a:gd name="connsiteX6617" fmla="*/ 1112996 w 6400800"/>
                <a:gd name="connsiteY6617" fmla="*/ 230029 h 514350"/>
                <a:gd name="connsiteX6618" fmla="*/ 1112996 w 6400800"/>
                <a:gd name="connsiteY6618" fmla="*/ 230029 h 514350"/>
                <a:gd name="connsiteX6619" fmla="*/ 1111091 w 6400800"/>
                <a:gd name="connsiteY6619" fmla="*/ 219551 h 514350"/>
                <a:gd name="connsiteX6620" fmla="*/ 1111091 w 6400800"/>
                <a:gd name="connsiteY6620" fmla="*/ 219551 h 514350"/>
                <a:gd name="connsiteX6621" fmla="*/ 1110139 w 6400800"/>
                <a:gd name="connsiteY6621" fmla="*/ 217646 h 514350"/>
                <a:gd name="connsiteX6622" fmla="*/ 1110139 w 6400800"/>
                <a:gd name="connsiteY6622" fmla="*/ 217646 h 514350"/>
                <a:gd name="connsiteX6623" fmla="*/ 1109186 w 6400800"/>
                <a:gd name="connsiteY6623" fmla="*/ 215741 h 514350"/>
                <a:gd name="connsiteX6624" fmla="*/ 1110139 w 6400800"/>
                <a:gd name="connsiteY6624" fmla="*/ 217646 h 514350"/>
                <a:gd name="connsiteX6625" fmla="*/ 1101566 w 6400800"/>
                <a:gd name="connsiteY6625" fmla="*/ 236696 h 514350"/>
                <a:gd name="connsiteX6626" fmla="*/ 1111091 w 6400800"/>
                <a:gd name="connsiteY6626" fmla="*/ 278606 h 514350"/>
                <a:gd name="connsiteX6627" fmla="*/ 1109186 w 6400800"/>
                <a:gd name="connsiteY6627" fmla="*/ 293846 h 514350"/>
                <a:gd name="connsiteX6628" fmla="*/ 1106329 w 6400800"/>
                <a:gd name="connsiteY6628" fmla="*/ 309086 h 514350"/>
                <a:gd name="connsiteX6629" fmla="*/ 1106329 w 6400800"/>
                <a:gd name="connsiteY6629" fmla="*/ 308134 h 514350"/>
                <a:gd name="connsiteX6630" fmla="*/ 1105376 w 6400800"/>
                <a:gd name="connsiteY6630" fmla="*/ 295751 h 514350"/>
                <a:gd name="connsiteX6631" fmla="*/ 1105376 w 6400800"/>
                <a:gd name="connsiteY6631" fmla="*/ 300514 h 514350"/>
                <a:gd name="connsiteX6632" fmla="*/ 1099661 w 6400800"/>
                <a:gd name="connsiteY6632" fmla="*/ 272891 h 514350"/>
                <a:gd name="connsiteX6633" fmla="*/ 1094899 w 6400800"/>
                <a:gd name="connsiteY6633" fmla="*/ 249079 h 514350"/>
                <a:gd name="connsiteX6634" fmla="*/ 1101566 w 6400800"/>
                <a:gd name="connsiteY6634" fmla="*/ 236696 h 514350"/>
                <a:gd name="connsiteX6635" fmla="*/ 1027271 w 6400800"/>
                <a:gd name="connsiteY6635" fmla="*/ 325279 h 514350"/>
                <a:gd name="connsiteX6636" fmla="*/ 1030129 w 6400800"/>
                <a:gd name="connsiteY6636" fmla="*/ 310991 h 514350"/>
                <a:gd name="connsiteX6637" fmla="*/ 1034891 w 6400800"/>
                <a:gd name="connsiteY6637" fmla="*/ 297656 h 514350"/>
                <a:gd name="connsiteX6638" fmla="*/ 1039654 w 6400800"/>
                <a:gd name="connsiteY6638" fmla="*/ 288131 h 514350"/>
                <a:gd name="connsiteX6639" fmla="*/ 1042511 w 6400800"/>
                <a:gd name="connsiteY6639" fmla="*/ 299561 h 514350"/>
                <a:gd name="connsiteX6640" fmla="*/ 1039654 w 6400800"/>
                <a:gd name="connsiteY6640" fmla="*/ 305276 h 514350"/>
                <a:gd name="connsiteX6641" fmla="*/ 1028224 w 6400800"/>
                <a:gd name="connsiteY6641" fmla="*/ 330994 h 514350"/>
                <a:gd name="connsiteX6642" fmla="*/ 1027271 w 6400800"/>
                <a:gd name="connsiteY6642" fmla="*/ 325279 h 514350"/>
                <a:gd name="connsiteX6643" fmla="*/ 1040606 w 6400800"/>
                <a:gd name="connsiteY6643" fmla="*/ 374809 h 514350"/>
                <a:gd name="connsiteX6644" fmla="*/ 1039654 w 6400800"/>
                <a:gd name="connsiteY6644" fmla="*/ 370999 h 514350"/>
                <a:gd name="connsiteX6645" fmla="*/ 1045369 w 6400800"/>
                <a:gd name="connsiteY6645" fmla="*/ 355759 h 514350"/>
                <a:gd name="connsiteX6646" fmla="*/ 1047274 w 6400800"/>
                <a:gd name="connsiteY6646" fmla="*/ 364331 h 514350"/>
                <a:gd name="connsiteX6647" fmla="*/ 1048226 w 6400800"/>
                <a:gd name="connsiteY6647" fmla="*/ 386239 h 514350"/>
                <a:gd name="connsiteX6648" fmla="*/ 1044416 w 6400800"/>
                <a:gd name="connsiteY6648" fmla="*/ 384334 h 514350"/>
                <a:gd name="connsiteX6649" fmla="*/ 1040606 w 6400800"/>
                <a:gd name="connsiteY6649" fmla="*/ 374809 h 514350"/>
                <a:gd name="connsiteX6650" fmla="*/ 1046321 w 6400800"/>
                <a:gd name="connsiteY6650" fmla="*/ 389096 h 514350"/>
                <a:gd name="connsiteX6651" fmla="*/ 1048226 w 6400800"/>
                <a:gd name="connsiteY6651" fmla="*/ 391001 h 514350"/>
                <a:gd name="connsiteX6652" fmla="*/ 1048226 w 6400800"/>
                <a:gd name="connsiteY6652" fmla="*/ 392906 h 514350"/>
                <a:gd name="connsiteX6653" fmla="*/ 1046321 w 6400800"/>
                <a:gd name="connsiteY6653" fmla="*/ 389096 h 514350"/>
                <a:gd name="connsiteX6654" fmla="*/ 1056799 w 6400800"/>
                <a:gd name="connsiteY6654" fmla="*/ 292894 h 514350"/>
                <a:gd name="connsiteX6655" fmla="*/ 1061561 w 6400800"/>
                <a:gd name="connsiteY6655" fmla="*/ 282416 h 514350"/>
                <a:gd name="connsiteX6656" fmla="*/ 1066324 w 6400800"/>
                <a:gd name="connsiteY6656" fmla="*/ 271939 h 514350"/>
                <a:gd name="connsiteX6657" fmla="*/ 1066324 w 6400800"/>
                <a:gd name="connsiteY6657" fmla="*/ 273844 h 514350"/>
                <a:gd name="connsiteX6658" fmla="*/ 1067276 w 6400800"/>
                <a:gd name="connsiteY6658" fmla="*/ 278606 h 514350"/>
                <a:gd name="connsiteX6659" fmla="*/ 1063466 w 6400800"/>
                <a:gd name="connsiteY6659" fmla="*/ 285274 h 514350"/>
                <a:gd name="connsiteX6660" fmla="*/ 1057751 w 6400800"/>
                <a:gd name="connsiteY6660" fmla="*/ 295751 h 514350"/>
                <a:gd name="connsiteX6661" fmla="*/ 1056799 w 6400800"/>
                <a:gd name="connsiteY6661" fmla="*/ 292894 h 514350"/>
                <a:gd name="connsiteX6662" fmla="*/ 1059656 w 6400800"/>
                <a:gd name="connsiteY6662" fmla="*/ 360521 h 514350"/>
                <a:gd name="connsiteX6663" fmla="*/ 1059656 w 6400800"/>
                <a:gd name="connsiteY6663" fmla="*/ 360521 h 514350"/>
                <a:gd name="connsiteX6664" fmla="*/ 1059656 w 6400800"/>
                <a:gd name="connsiteY6664" fmla="*/ 360521 h 514350"/>
                <a:gd name="connsiteX6665" fmla="*/ 1059656 w 6400800"/>
                <a:gd name="connsiteY6665" fmla="*/ 360521 h 514350"/>
                <a:gd name="connsiteX6666" fmla="*/ 1064419 w 6400800"/>
                <a:gd name="connsiteY6666" fmla="*/ 383381 h 514350"/>
                <a:gd name="connsiteX6667" fmla="*/ 1062514 w 6400800"/>
                <a:gd name="connsiteY6667" fmla="*/ 379571 h 514350"/>
                <a:gd name="connsiteX6668" fmla="*/ 1063466 w 6400800"/>
                <a:gd name="connsiteY6668" fmla="*/ 374809 h 514350"/>
                <a:gd name="connsiteX6669" fmla="*/ 1064419 w 6400800"/>
                <a:gd name="connsiteY6669" fmla="*/ 378619 h 514350"/>
                <a:gd name="connsiteX6670" fmla="*/ 1064419 w 6400800"/>
                <a:gd name="connsiteY6670" fmla="*/ 380524 h 514350"/>
                <a:gd name="connsiteX6671" fmla="*/ 1065371 w 6400800"/>
                <a:gd name="connsiteY6671" fmla="*/ 386239 h 514350"/>
                <a:gd name="connsiteX6672" fmla="*/ 1064419 w 6400800"/>
                <a:gd name="connsiteY6672" fmla="*/ 383381 h 514350"/>
                <a:gd name="connsiteX6673" fmla="*/ 1069181 w 6400800"/>
                <a:gd name="connsiteY6673" fmla="*/ 330994 h 514350"/>
                <a:gd name="connsiteX6674" fmla="*/ 1063466 w 6400800"/>
                <a:gd name="connsiteY6674" fmla="*/ 312896 h 514350"/>
                <a:gd name="connsiteX6675" fmla="*/ 1069181 w 6400800"/>
                <a:gd name="connsiteY6675" fmla="*/ 300514 h 514350"/>
                <a:gd name="connsiteX6676" fmla="*/ 1070134 w 6400800"/>
                <a:gd name="connsiteY6676" fmla="*/ 326231 h 514350"/>
                <a:gd name="connsiteX6677" fmla="*/ 1069181 w 6400800"/>
                <a:gd name="connsiteY6677" fmla="*/ 330994 h 514350"/>
                <a:gd name="connsiteX6678" fmla="*/ 1077754 w 6400800"/>
                <a:gd name="connsiteY6678" fmla="*/ 262414 h 514350"/>
                <a:gd name="connsiteX6679" fmla="*/ 1075849 w 6400800"/>
                <a:gd name="connsiteY6679" fmla="*/ 264319 h 514350"/>
                <a:gd name="connsiteX6680" fmla="*/ 1073944 w 6400800"/>
                <a:gd name="connsiteY6680" fmla="*/ 256699 h 514350"/>
                <a:gd name="connsiteX6681" fmla="*/ 1074896 w 6400800"/>
                <a:gd name="connsiteY6681" fmla="*/ 256699 h 514350"/>
                <a:gd name="connsiteX6682" fmla="*/ 1075849 w 6400800"/>
                <a:gd name="connsiteY6682" fmla="*/ 256699 h 514350"/>
                <a:gd name="connsiteX6683" fmla="*/ 1077754 w 6400800"/>
                <a:gd name="connsiteY6683" fmla="*/ 262414 h 514350"/>
                <a:gd name="connsiteX6684" fmla="*/ 1045369 w 6400800"/>
                <a:gd name="connsiteY6684" fmla="*/ 175736 h 514350"/>
                <a:gd name="connsiteX6685" fmla="*/ 1054894 w 6400800"/>
                <a:gd name="connsiteY6685" fmla="*/ 153829 h 514350"/>
                <a:gd name="connsiteX6686" fmla="*/ 1055846 w 6400800"/>
                <a:gd name="connsiteY6686" fmla="*/ 155734 h 514350"/>
                <a:gd name="connsiteX6687" fmla="*/ 1059656 w 6400800"/>
                <a:gd name="connsiteY6687" fmla="*/ 171926 h 514350"/>
                <a:gd name="connsiteX6688" fmla="*/ 1064419 w 6400800"/>
                <a:gd name="connsiteY6688" fmla="*/ 193834 h 514350"/>
                <a:gd name="connsiteX6689" fmla="*/ 1069181 w 6400800"/>
                <a:gd name="connsiteY6689" fmla="*/ 215741 h 514350"/>
                <a:gd name="connsiteX6690" fmla="*/ 1076801 w 6400800"/>
                <a:gd name="connsiteY6690" fmla="*/ 253841 h 514350"/>
                <a:gd name="connsiteX6691" fmla="*/ 1074896 w 6400800"/>
                <a:gd name="connsiteY6691" fmla="*/ 252889 h 514350"/>
                <a:gd name="connsiteX6692" fmla="*/ 1067276 w 6400800"/>
                <a:gd name="connsiteY6692" fmla="*/ 216694 h 514350"/>
                <a:gd name="connsiteX6693" fmla="*/ 1068229 w 6400800"/>
                <a:gd name="connsiteY6693" fmla="*/ 257651 h 514350"/>
                <a:gd name="connsiteX6694" fmla="*/ 1067276 w 6400800"/>
                <a:gd name="connsiteY6694" fmla="*/ 259556 h 514350"/>
                <a:gd name="connsiteX6695" fmla="*/ 1065371 w 6400800"/>
                <a:gd name="connsiteY6695" fmla="*/ 252889 h 514350"/>
                <a:gd name="connsiteX6696" fmla="*/ 1066324 w 6400800"/>
                <a:gd name="connsiteY6696" fmla="*/ 261461 h 514350"/>
                <a:gd name="connsiteX6697" fmla="*/ 1055846 w 6400800"/>
                <a:gd name="connsiteY6697" fmla="*/ 278606 h 514350"/>
                <a:gd name="connsiteX6698" fmla="*/ 1054894 w 6400800"/>
                <a:gd name="connsiteY6698" fmla="*/ 280511 h 514350"/>
                <a:gd name="connsiteX6699" fmla="*/ 1053941 w 6400800"/>
                <a:gd name="connsiteY6699" fmla="*/ 277654 h 514350"/>
                <a:gd name="connsiteX6700" fmla="*/ 1043464 w 6400800"/>
                <a:gd name="connsiteY6700" fmla="*/ 245269 h 514350"/>
                <a:gd name="connsiteX6701" fmla="*/ 1035844 w 6400800"/>
                <a:gd name="connsiteY6701" fmla="*/ 220504 h 514350"/>
                <a:gd name="connsiteX6702" fmla="*/ 1032034 w 6400800"/>
                <a:gd name="connsiteY6702" fmla="*/ 209074 h 514350"/>
                <a:gd name="connsiteX6703" fmla="*/ 1045369 w 6400800"/>
                <a:gd name="connsiteY6703" fmla="*/ 175736 h 514350"/>
                <a:gd name="connsiteX6704" fmla="*/ 1019651 w 6400800"/>
                <a:gd name="connsiteY6704" fmla="*/ 267176 h 514350"/>
                <a:gd name="connsiteX6705" fmla="*/ 1023461 w 6400800"/>
                <a:gd name="connsiteY6705" fmla="*/ 221456 h 514350"/>
                <a:gd name="connsiteX6706" fmla="*/ 1024414 w 6400800"/>
                <a:gd name="connsiteY6706" fmla="*/ 218599 h 514350"/>
                <a:gd name="connsiteX6707" fmla="*/ 1032034 w 6400800"/>
                <a:gd name="connsiteY6707" fmla="*/ 253841 h 514350"/>
                <a:gd name="connsiteX6708" fmla="*/ 1038701 w 6400800"/>
                <a:gd name="connsiteY6708" fmla="*/ 283369 h 514350"/>
                <a:gd name="connsiteX6709" fmla="*/ 1037749 w 6400800"/>
                <a:gd name="connsiteY6709" fmla="*/ 284321 h 514350"/>
                <a:gd name="connsiteX6710" fmla="*/ 1031081 w 6400800"/>
                <a:gd name="connsiteY6710" fmla="*/ 294799 h 514350"/>
                <a:gd name="connsiteX6711" fmla="*/ 1025366 w 6400800"/>
                <a:gd name="connsiteY6711" fmla="*/ 306229 h 514350"/>
                <a:gd name="connsiteX6712" fmla="*/ 1023461 w 6400800"/>
                <a:gd name="connsiteY6712" fmla="*/ 284321 h 514350"/>
                <a:gd name="connsiteX6713" fmla="*/ 1022509 w 6400800"/>
                <a:gd name="connsiteY6713" fmla="*/ 269081 h 514350"/>
                <a:gd name="connsiteX6714" fmla="*/ 1019651 w 6400800"/>
                <a:gd name="connsiteY6714" fmla="*/ 284321 h 514350"/>
                <a:gd name="connsiteX6715" fmla="*/ 1015841 w 6400800"/>
                <a:gd name="connsiteY6715" fmla="*/ 314801 h 514350"/>
                <a:gd name="connsiteX6716" fmla="*/ 1015841 w 6400800"/>
                <a:gd name="connsiteY6716" fmla="*/ 315754 h 514350"/>
                <a:gd name="connsiteX6717" fmla="*/ 1015841 w 6400800"/>
                <a:gd name="connsiteY6717" fmla="*/ 315754 h 514350"/>
                <a:gd name="connsiteX6718" fmla="*/ 1022509 w 6400800"/>
                <a:gd name="connsiteY6718" fmla="*/ 251936 h 514350"/>
                <a:gd name="connsiteX6719" fmla="*/ 1019651 w 6400800"/>
                <a:gd name="connsiteY6719" fmla="*/ 267176 h 514350"/>
                <a:gd name="connsiteX6720" fmla="*/ 1011079 w 6400800"/>
                <a:gd name="connsiteY6720" fmla="*/ 364331 h 514350"/>
                <a:gd name="connsiteX6721" fmla="*/ 1012031 w 6400800"/>
                <a:gd name="connsiteY6721" fmla="*/ 355759 h 514350"/>
                <a:gd name="connsiteX6722" fmla="*/ 1013936 w 6400800"/>
                <a:gd name="connsiteY6722" fmla="*/ 342424 h 514350"/>
                <a:gd name="connsiteX6723" fmla="*/ 1013936 w 6400800"/>
                <a:gd name="connsiteY6723" fmla="*/ 342424 h 514350"/>
                <a:gd name="connsiteX6724" fmla="*/ 1012031 w 6400800"/>
                <a:gd name="connsiteY6724" fmla="*/ 364331 h 514350"/>
                <a:gd name="connsiteX6725" fmla="*/ 1011079 w 6400800"/>
                <a:gd name="connsiteY6725" fmla="*/ 366236 h 514350"/>
                <a:gd name="connsiteX6726" fmla="*/ 1011079 w 6400800"/>
                <a:gd name="connsiteY6726" fmla="*/ 366236 h 514350"/>
                <a:gd name="connsiteX6727" fmla="*/ 1011079 w 6400800"/>
                <a:gd name="connsiteY6727" fmla="*/ 364331 h 514350"/>
                <a:gd name="connsiteX6728" fmla="*/ 1004411 w 6400800"/>
                <a:gd name="connsiteY6728" fmla="*/ 257651 h 514350"/>
                <a:gd name="connsiteX6729" fmla="*/ 1001554 w 6400800"/>
                <a:gd name="connsiteY6729" fmla="*/ 281464 h 514350"/>
                <a:gd name="connsiteX6730" fmla="*/ 996791 w 6400800"/>
                <a:gd name="connsiteY6730" fmla="*/ 271939 h 514350"/>
                <a:gd name="connsiteX6731" fmla="*/ 1004411 w 6400800"/>
                <a:gd name="connsiteY6731" fmla="*/ 257651 h 514350"/>
                <a:gd name="connsiteX6732" fmla="*/ 991076 w 6400800"/>
                <a:gd name="connsiteY6732" fmla="*/ 283369 h 514350"/>
                <a:gd name="connsiteX6733" fmla="*/ 995839 w 6400800"/>
                <a:gd name="connsiteY6733" fmla="*/ 273844 h 514350"/>
                <a:gd name="connsiteX6734" fmla="*/ 999649 w 6400800"/>
                <a:gd name="connsiteY6734" fmla="*/ 291941 h 514350"/>
                <a:gd name="connsiteX6735" fmla="*/ 995839 w 6400800"/>
                <a:gd name="connsiteY6735" fmla="*/ 326231 h 514350"/>
                <a:gd name="connsiteX6736" fmla="*/ 993934 w 6400800"/>
                <a:gd name="connsiteY6736" fmla="*/ 330994 h 514350"/>
                <a:gd name="connsiteX6737" fmla="*/ 992981 w 6400800"/>
                <a:gd name="connsiteY6737" fmla="*/ 320516 h 514350"/>
                <a:gd name="connsiteX6738" fmla="*/ 991076 w 6400800"/>
                <a:gd name="connsiteY6738" fmla="*/ 338614 h 514350"/>
                <a:gd name="connsiteX6739" fmla="*/ 990124 w 6400800"/>
                <a:gd name="connsiteY6739" fmla="*/ 341471 h 514350"/>
                <a:gd name="connsiteX6740" fmla="*/ 981551 w 6400800"/>
                <a:gd name="connsiteY6740" fmla="*/ 365284 h 514350"/>
                <a:gd name="connsiteX6741" fmla="*/ 980599 w 6400800"/>
                <a:gd name="connsiteY6741" fmla="*/ 363379 h 514350"/>
                <a:gd name="connsiteX6742" fmla="*/ 977741 w 6400800"/>
                <a:gd name="connsiteY6742" fmla="*/ 331946 h 514350"/>
                <a:gd name="connsiteX6743" fmla="*/ 975836 w 6400800"/>
                <a:gd name="connsiteY6743" fmla="*/ 311944 h 514350"/>
                <a:gd name="connsiteX6744" fmla="*/ 991076 w 6400800"/>
                <a:gd name="connsiteY6744" fmla="*/ 283369 h 514350"/>
                <a:gd name="connsiteX6745" fmla="*/ 960596 w 6400800"/>
                <a:gd name="connsiteY6745" fmla="*/ 298609 h 514350"/>
                <a:gd name="connsiteX6746" fmla="*/ 968216 w 6400800"/>
                <a:gd name="connsiteY6746" fmla="*/ 280511 h 514350"/>
                <a:gd name="connsiteX6747" fmla="*/ 967264 w 6400800"/>
                <a:gd name="connsiteY6747" fmla="*/ 294799 h 514350"/>
                <a:gd name="connsiteX6748" fmla="*/ 961549 w 6400800"/>
                <a:gd name="connsiteY6748" fmla="*/ 304324 h 514350"/>
                <a:gd name="connsiteX6749" fmla="*/ 961549 w 6400800"/>
                <a:gd name="connsiteY6749" fmla="*/ 303371 h 514350"/>
                <a:gd name="connsiteX6750" fmla="*/ 960596 w 6400800"/>
                <a:gd name="connsiteY6750" fmla="*/ 301466 h 514350"/>
                <a:gd name="connsiteX6751" fmla="*/ 960596 w 6400800"/>
                <a:gd name="connsiteY6751" fmla="*/ 298609 h 514350"/>
                <a:gd name="connsiteX6752" fmla="*/ 939641 w 6400800"/>
                <a:gd name="connsiteY6752" fmla="*/ 258604 h 514350"/>
                <a:gd name="connsiteX6753" fmla="*/ 939641 w 6400800"/>
                <a:gd name="connsiteY6753" fmla="*/ 258604 h 514350"/>
                <a:gd name="connsiteX6754" fmla="*/ 943451 w 6400800"/>
                <a:gd name="connsiteY6754" fmla="*/ 246221 h 514350"/>
                <a:gd name="connsiteX6755" fmla="*/ 943451 w 6400800"/>
                <a:gd name="connsiteY6755" fmla="*/ 251936 h 514350"/>
                <a:gd name="connsiteX6756" fmla="*/ 939641 w 6400800"/>
                <a:gd name="connsiteY6756" fmla="*/ 258604 h 514350"/>
                <a:gd name="connsiteX6757" fmla="*/ 939641 w 6400800"/>
                <a:gd name="connsiteY6757" fmla="*/ 258604 h 514350"/>
                <a:gd name="connsiteX6758" fmla="*/ 944404 w 6400800"/>
                <a:gd name="connsiteY6758" fmla="*/ 280511 h 514350"/>
                <a:gd name="connsiteX6759" fmla="*/ 943451 w 6400800"/>
                <a:gd name="connsiteY6759" fmla="*/ 273844 h 514350"/>
                <a:gd name="connsiteX6760" fmla="*/ 944404 w 6400800"/>
                <a:gd name="connsiteY6760" fmla="*/ 270986 h 514350"/>
                <a:gd name="connsiteX6761" fmla="*/ 944404 w 6400800"/>
                <a:gd name="connsiteY6761" fmla="*/ 271939 h 514350"/>
                <a:gd name="connsiteX6762" fmla="*/ 944404 w 6400800"/>
                <a:gd name="connsiteY6762" fmla="*/ 275749 h 514350"/>
                <a:gd name="connsiteX6763" fmla="*/ 944404 w 6400800"/>
                <a:gd name="connsiteY6763" fmla="*/ 280511 h 514350"/>
                <a:gd name="connsiteX6764" fmla="*/ 944404 w 6400800"/>
                <a:gd name="connsiteY6764" fmla="*/ 270986 h 514350"/>
                <a:gd name="connsiteX6765" fmla="*/ 944404 w 6400800"/>
                <a:gd name="connsiteY6765" fmla="*/ 270986 h 514350"/>
                <a:gd name="connsiteX6766" fmla="*/ 944404 w 6400800"/>
                <a:gd name="connsiteY6766" fmla="*/ 270986 h 514350"/>
                <a:gd name="connsiteX6767" fmla="*/ 944404 w 6400800"/>
                <a:gd name="connsiteY6767" fmla="*/ 270986 h 514350"/>
                <a:gd name="connsiteX6768" fmla="*/ 933926 w 6400800"/>
                <a:gd name="connsiteY6768" fmla="*/ 227171 h 514350"/>
                <a:gd name="connsiteX6769" fmla="*/ 958691 w 6400800"/>
                <a:gd name="connsiteY6769" fmla="*/ 138589 h 514350"/>
                <a:gd name="connsiteX6770" fmla="*/ 958691 w 6400800"/>
                <a:gd name="connsiteY6770" fmla="*/ 146209 h 514350"/>
                <a:gd name="connsiteX6771" fmla="*/ 953929 w 6400800"/>
                <a:gd name="connsiteY6771" fmla="*/ 203359 h 514350"/>
                <a:gd name="connsiteX6772" fmla="*/ 950119 w 6400800"/>
                <a:gd name="connsiteY6772" fmla="*/ 242411 h 514350"/>
                <a:gd name="connsiteX6773" fmla="*/ 948214 w 6400800"/>
                <a:gd name="connsiteY6773" fmla="*/ 246221 h 514350"/>
                <a:gd name="connsiteX6774" fmla="*/ 947261 w 6400800"/>
                <a:gd name="connsiteY6774" fmla="*/ 240506 h 514350"/>
                <a:gd name="connsiteX6775" fmla="*/ 949166 w 6400800"/>
                <a:gd name="connsiteY6775" fmla="*/ 233839 h 514350"/>
                <a:gd name="connsiteX6776" fmla="*/ 946309 w 6400800"/>
                <a:gd name="connsiteY6776" fmla="*/ 238601 h 514350"/>
                <a:gd name="connsiteX6777" fmla="*/ 944404 w 6400800"/>
                <a:gd name="connsiteY6777" fmla="*/ 230029 h 514350"/>
                <a:gd name="connsiteX6778" fmla="*/ 944404 w 6400800"/>
                <a:gd name="connsiteY6778" fmla="*/ 241459 h 514350"/>
                <a:gd name="connsiteX6779" fmla="*/ 939641 w 6400800"/>
                <a:gd name="connsiteY6779" fmla="*/ 251936 h 514350"/>
                <a:gd name="connsiteX6780" fmla="*/ 938689 w 6400800"/>
                <a:gd name="connsiteY6780" fmla="*/ 248126 h 514350"/>
                <a:gd name="connsiteX6781" fmla="*/ 936784 w 6400800"/>
                <a:gd name="connsiteY6781" fmla="*/ 241459 h 514350"/>
                <a:gd name="connsiteX6782" fmla="*/ 943451 w 6400800"/>
                <a:gd name="connsiteY6782" fmla="*/ 217646 h 514350"/>
                <a:gd name="connsiteX6783" fmla="*/ 934879 w 6400800"/>
                <a:gd name="connsiteY6783" fmla="*/ 235744 h 514350"/>
                <a:gd name="connsiteX6784" fmla="*/ 932974 w 6400800"/>
                <a:gd name="connsiteY6784" fmla="*/ 230029 h 514350"/>
                <a:gd name="connsiteX6785" fmla="*/ 933926 w 6400800"/>
                <a:gd name="connsiteY6785" fmla="*/ 227171 h 514350"/>
                <a:gd name="connsiteX6786" fmla="*/ 921544 w 6400800"/>
                <a:gd name="connsiteY6786" fmla="*/ 452914 h 514350"/>
                <a:gd name="connsiteX6787" fmla="*/ 920591 w 6400800"/>
                <a:gd name="connsiteY6787" fmla="*/ 451961 h 514350"/>
                <a:gd name="connsiteX6788" fmla="*/ 919639 w 6400800"/>
                <a:gd name="connsiteY6788" fmla="*/ 438626 h 514350"/>
                <a:gd name="connsiteX6789" fmla="*/ 921544 w 6400800"/>
                <a:gd name="connsiteY6789" fmla="*/ 452914 h 514350"/>
                <a:gd name="connsiteX6790" fmla="*/ 912019 w 6400800"/>
                <a:gd name="connsiteY6790" fmla="*/ 210979 h 514350"/>
                <a:gd name="connsiteX6791" fmla="*/ 915829 w 6400800"/>
                <a:gd name="connsiteY6791" fmla="*/ 227171 h 514350"/>
                <a:gd name="connsiteX6792" fmla="*/ 914876 w 6400800"/>
                <a:gd name="connsiteY6792" fmla="*/ 230029 h 514350"/>
                <a:gd name="connsiteX6793" fmla="*/ 912971 w 6400800"/>
                <a:gd name="connsiteY6793" fmla="*/ 236696 h 514350"/>
                <a:gd name="connsiteX6794" fmla="*/ 912019 w 6400800"/>
                <a:gd name="connsiteY6794" fmla="*/ 232886 h 514350"/>
                <a:gd name="connsiteX6795" fmla="*/ 912019 w 6400800"/>
                <a:gd name="connsiteY6795" fmla="*/ 228124 h 514350"/>
                <a:gd name="connsiteX6796" fmla="*/ 911066 w 6400800"/>
                <a:gd name="connsiteY6796" fmla="*/ 210979 h 514350"/>
                <a:gd name="connsiteX6797" fmla="*/ 911066 w 6400800"/>
                <a:gd name="connsiteY6797" fmla="*/ 204311 h 514350"/>
                <a:gd name="connsiteX6798" fmla="*/ 912019 w 6400800"/>
                <a:gd name="connsiteY6798" fmla="*/ 210979 h 514350"/>
                <a:gd name="connsiteX6799" fmla="*/ 833914 w 6400800"/>
                <a:gd name="connsiteY6799" fmla="*/ 333851 h 514350"/>
                <a:gd name="connsiteX6800" fmla="*/ 834866 w 6400800"/>
                <a:gd name="connsiteY6800" fmla="*/ 331946 h 514350"/>
                <a:gd name="connsiteX6801" fmla="*/ 834866 w 6400800"/>
                <a:gd name="connsiteY6801" fmla="*/ 337661 h 514350"/>
                <a:gd name="connsiteX6802" fmla="*/ 833914 w 6400800"/>
                <a:gd name="connsiteY6802" fmla="*/ 333851 h 514350"/>
                <a:gd name="connsiteX6803" fmla="*/ 847249 w 6400800"/>
                <a:gd name="connsiteY6803" fmla="*/ 304324 h 514350"/>
                <a:gd name="connsiteX6804" fmla="*/ 846296 w 6400800"/>
                <a:gd name="connsiteY6804" fmla="*/ 301466 h 514350"/>
                <a:gd name="connsiteX6805" fmla="*/ 846296 w 6400800"/>
                <a:gd name="connsiteY6805" fmla="*/ 299561 h 514350"/>
                <a:gd name="connsiteX6806" fmla="*/ 851059 w 6400800"/>
                <a:gd name="connsiteY6806" fmla="*/ 286226 h 514350"/>
                <a:gd name="connsiteX6807" fmla="*/ 847249 w 6400800"/>
                <a:gd name="connsiteY6807" fmla="*/ 304324 h 514350"/>
                <a:gd name="connsiteX6808" fmla="*/ 880586 w 6400800"/>
                <a:gd name="connsiteY6808" fmla="*/ 300514 h 514350"/>
                <a:gd name="connsiteX6809" fmla="*/ 876776 w 6400800"/>
                <a:gd name="connsiteY6809" fmla="*/ 319564 h 514350"/>
                <a:gd name="connsiteX6810" fmla="*/ 872966 w 6400800"/>
                <a:gd name="connsiteY6810" fmla="*/ 343376 h 514350"/>
                <a:gd name="connsiteX6811" fmla="*/ 869156 w 6400800"/>
                <a:gd name="connsiteY6811" fmla="*/ 350996 h 514350"/>
                <a:gd name="connsiteX6812" fmla="*/ 868204 w 6400800"/>
                <a:gd name="connsiteY6812" fmla="*/ 349091 h 514350"/>
                <a:gd name="connsiteX6813" fmla="*/ 867251 w 6400800"/>
                <a:gd name="connsiteY6813" fmla="*/ 348139 h 514350"/>
                <a:gd name="connsiteX6814" fmla="*/ 867251 w 6400800"/>
                <a:gd name="connsiteY6814" fmla="*/ 335756 h 514350"/>
                <a:gd name="connsiteX6815" fmla="*/ 866299 w 6400800"/>
                <a:gd name="connsiteY6815" fmla="*/ 301466 h 514350"/>
                <a:gd name="connsiteX6816" fmla="*/ 863441 w 6400800"/>
                <a:gd name="connsiteY6816" fmla="*/ 272891 h 514350"/>
                <a:gd name="connsiteX6817" fmla="*/ 861536 w 6400800"/>
                <a:gd name="connsiteY6817" fmla="*/ 257651 h 514350"/>
                <a:gd name="connsiteX6818" fmla="*/ 862489 w 6400800"/>
                <a:gd name="connsiteY6818" fmla="*/ 255746 h 514350"/>
                <a:gd name="connsiteX6819" fmla="*/ 862489 w 6400800"/>
                <a:gd name="connsiteY6819" fmla="*/ 255746 h 514350"/>
                <a:gd name="connsiteX6820" fmla="*/ 876776 w 6400800"/>
                <a:gd name="connsiteY6820" fmla="*/ 286226 h 514350"/>
                <a:gd name="connsiteX6821" fmla="*/ 881539 w 6400800"/>
                <a:gd name="connsiteY6821" fmla="*/ 296704 h 514350"/>
                <a:gd name="connsiteX6822" fmla="*/ 880586 w 6400800"/>
                <a:gd name="connsiteY6822" fmla="*/ 300514 h 514350"/>
                <a:gd name="connsiteX6823" fmla="*/ 885349 w 6400800"/>
                <a:gd name="connsiteY6823" fmla="*/ 318611 h 514350"/>
                <a:gd name="connsiteX6824" fmla="*/ 884396 w 6400800"/>
                <a:gd name="connsiteY6824" fmla="*/ 319564 h 514350"/>
                <a:gd name="connsiteX6825" fmla="*/ 883444 w 6400800"/>
                <a:gd name="connsiteY6825" fmla="*/ 320516 h 514350"/>
                <a:gd name="connsiteX6826" fmla="*/ 884396 w 6400800"/>
                <a:gd name="connsiteY6826" fmla="*/ 303371 h 514350"/>
                <a:gd name="connsiteX6827" fmla="*/ 887254 w 6400800"/>
                <a:gd name="connsiteY6827" fmla="*/ 310039 h 514350"/>
                <a:gd name="connsiteX6828" fmla="*/ 885349 w 6400800"/>
                <a:gd name="connsiteY6828" fmla="*/ 318611 h 514350"/>
                <a:gd name="connsiteX6829" fmla="*/ 900589 w 6400800"/>
                <a:gd name="connsiteY6829" fmla="*/ 246221 h 514350"/>
                <a:gd name="connsiteX6830" fmla="*/ 900589 w 6400800"/>
                <a:gd name="connsiteY6830" fmla="*/ 246221 h 514350"/>
                <a:gd name="connsiteX6831" fmla="*/ 898684 w 6400800"/>
                <a:gd name="connsiteY6831" fmla="*/ 234791 h 514350"/>
                <a:gd name="connsiteX6832" fmla="*/ 897731 w 6400800"/>
                <a:gd name="connsiteY6832" fmla="*/ 252889 h 514350"/>
                <a:gd name="connsiteX6833" fmla="*/ 897731 w 6400800"/>
                <a:gd name="connsiteY6833" fmla="*/ 253841 h 514350"/>
                <a:gd name="connsiteX6834" fmla="*/ 894874 w 6400800"/>
                <a:gd name="connsiteY6834" fmla="*/ 250031 h 514350"/>
                <a:gd name="connsiteX6835" fmla="*/ 897731 w 6400800"/>
                <a:gd name="connsiteY6835" fmla="*/ 254794 h 514350"/>
                <a:gd name="connsiteX6836" fmla="*/ 897731 w 6400800"/>
                <a:gd name="connsiteY6836" fmla="*/ 257651 h 514350"/>
                <a:gd name="connsiteX6837" fmla="*/ 896779 w 6400800"/>
                <a:gd name="connsiteY6837" fmla="*/ 264319 h 514350"/>
                <a:gd name="connsiteX6838" fmla="*/ 896779 w 6400800"/>
                <a:gd name="connsiteY6838" fmla="*/ 264319 h 514350"/>
                <a:gd name="connsiteX6839" fmla="*/ 896779 w 6400800"/>
                <a:gd name="connsiteY6839" fmla="*/ 264319 h 514350"/>
                <a:gd name="connsiteX6840" fmla="*/ 896779 w 6400800"/>
                <a:gd name="connsiteY6840" fmla="*/ 265271 h 514350"/>
                <a:gd name="connsiteX6841" fmla="*/ 896779 w 6400800"/>
                <a:gd name="connsiteY6841" fmla="*/ 270986 h 514350"/>
                <a:gd name="connsiteX6842" fmla="*/ 896779 w 6400800"/>
                <a:gd name="connsiteY6842" fmla="*/ 272891 h 514350"/>
                <a:gd name="connsiteX6843" fmla="*/ 895826 w 6400800"/>
                <a:gd name="connsiteY6843" fmla="*/ 285274 h 514350"/>
                <a:gd name="connsiteX6844" fmla="*/ 895826 w 6400800"/>
                <a:gd name="connsiteY6844" fmla="*/ 287179 h 514350"/>
                <a:gd name="connsiteX6845" fmla="*/ 891064 w 6400800"/>
                <a:gd name="connsiteY6845" fmla="*/ 279559 h 514350"/>
                <a:gd name="connsiteX6846" fmla="*/ 873919 w 6400800"/>
                <a:gd name="connsiteY6846" fmla="*/ 250984 h 514350"/>
                <a:gd name="connsiteX6847" fmla="*/ 869156 w 6400800"/>
                <a:gd name="connsiteY6847" fmla="*/ 243364 h 514350"/>
                <a:gd name="connsiteX6848" fmla="*/ 869156 w 6400800"/>
                <a:gd name="connsiteY6848" fmla="*/ 242411 h 514350"/>
                <a:gd name="connsiteX6849" fmla="*/ 878681 w 6400800"/>
                <a:gd name="connsiteY6849" fmla="*/ 215741 h 514350"/>
                <a:gd name="connsiteX6850" fmla="*/ 887254 w 6400800"/>
                <a:gd name="connsiteY6850" fmla="*/ 200501 h 514350"/>
                <a:gd name="connsiteX6851" fmla="*/ 895826 w 6400800"/>
                <a:gd name="connsiteY6851" fmla="*/ 223361 h 514350"/>
                <a:gd name="connsiteX6852" fmla="*/ 901541 w 6400800"/>
                <a:gd name="connsiteY6852" fmla="*/ 240506 h 514350"/>
                <a:gd name="connsiteX6853" fmla="*/ 900589 w 6400800"/>
                <a:gd name="connsiteY6853" fmla="*/ 246221 h 514350"/>
                <a:gd name="connsiteX6854" fmla="*/ 891064 w 6400800"/>
                <a:gd name="connsiteY6854" fmla="*/ 190976 h 514350"/>
                <a:gd name="connsiteX6855" fmla="*/ 892969 w 6400800"/>
                <a:gd name="connsiteY6855" fmla="*/ 187166 h 514350"/>
                <a:gd name="connsiteX6856" fmla="*/ 896779 w 6400800"/>
                <a:gd name="connsiteY6856" fmla="*/ 202406 h 514350"/>
                <a:gd name="connsiteX6857" fmla="*/ 891064 w 6400800"/>
                <a:gd name="connsiteY6857" fmla="*/ 190976 h 514350"/>
                <a:gd name="connsiteX6858" fmla="*/ 904399 w 6400800"/>
                <a:gd name="connsiteY6858" fmla="*/ 181451 h 514350"/>
                <a:gd name="connsiteX6859" fmla="*/ 904399 w 6400800"/>
                <a:gd name="connsiteY6859" fmla="*/ 183356 h 514350"/>
                <a:gd name="connsiteX6860" fmla="*/ 903446 w 6400800"/>
                <a:gd name="connsiteY6860" fmla="*/ 210979 h 514350"/>
                <a:gd name="connsiteX6861" fmla="*/ 903446 w 6400800"/>
                <a:gd name="connsiteY6861" fmla="*/ 210026 h 514350"/>
                <a:gd name="connsiteX6862" fmla="*/ 894874 w 6400800"/>
                <a:gd name="connsiteY6862" fmla="*/ 188119 h 514350"/>
                <a:gd name="connsiteX6863" fmla="*/ 903446 w 6400800"/>
                <a:gd name="connsiteY6863" fmla="*/ 173831 h 514350"/>
                <a:gd name="connsiteX6864" fmla="*/ 904399 w 6400800"/>
                <a:gd name="connsiteY6864" fmla="*/ 181451 h 514350"/>
                <a:gd name="connsiteX6865" fmla="*/ 888206 w 6400800"/>
                <a:gd name="connsiteY6865" fmla="*/ 137636 h 514350"/>
                <a:gd name="connsiteX6866" fmla="*/ 890111 w 6400800"/>
                <a:gd name="connsiteY6866" fmla="*/ 132874 h 514350"/>
                <a:gd name="connsiteX6867" fmla="*/ 898684 w 6400800"/>
                <a:gd name="connsiteY6867" fmla="*/ 161449 h 514350"/>
                <a:gd name="connsiteX6868" fmla="*/ 893921 w 6400800"/>
                <a:gd name="connsiteY6868" fmla="*/ 168116 h 514350"/>
                <a:gd name="connsiteX6869" fmla="*/ 885349 w 6400800"/>
                <a:gd name="connsiteY6869" fmla="*/ 180499 h 514350"/>
                <a:gd name="connsiteX6870" fmla="*/ 874871 w 6400800"/>
                <a:gd name="connsiteY6870" fmla="*/ 163354 h 514350"/>
                <a:gd name="connsiteX6871" fmla="*/ 888206 w 6400800"/>
                <a:gd name="connsiteY6871" fmla="*/ 137636 h 514350"/>
                <a:gd name="connsiteX6872" fmla="*/ 872966 w 6400800"/>
                <a:gd name="connsiteY6872" fmla="*/ 169069 h 514350"/>
                <a:gd name="connsiteX6873" fmla="*/ 881539 w 6400800"/>
                <a:gd name="connsiteY6873" fmla="*/ 188119 h 514350"/>
                <a:gd name="connsiteX6874" fmla="*/ 878681 w 6400800"/>
                <a:gd name="connsiteY6874" fmla="*/ 191929 h 514350"/>
                <a:gd name="connsiteX6875" fmla="*/ 856774 w 6400800"/>
                <a:gd name="connsiteY6875" fmla="*/ 226219 h 514350"/>
                <a:gd name="connsiteX6876" fmla="*/ 851059 w 6400800"/>
                <a:gd name="connsiteY6876" fmla="*/ 217646 h 514350"/>
                <a:gd name="connsiteX6877" fmla="*/ 872966 w 6400800"/>
                <a:gd name="connsiteY6877" fmla="*/ 169069 h 514350"/>
                <a:gd name="connsiteX6878" fmla="*/ 847249 w 6400800"/>
                <a:gd name="connsiteY6878" fmla="*/ 225266 h 514350"/>
                <a:gd name="connsiteX6879" fmla="*/ 848201 w 6400800"/>
                <a:gd name="connsiteY6879" fmla="*/ 223361 h 514350"/>
                <a:gd name="connsiteX6880" fmla="*/ 852011 w 6400800"/>
                <a:gd name="connsiteY6880" fmla="*/ 232886 h 514350"/>
                <a:gd name="connsiteX6881" fmla="*/ 845344 w 6400800"/>
                <a:gd name="connsiteY6881" fmla="*/ 243364 h 514350"/>
                <a:gd name="connsiteX6882" fmla="*/ 837724 w 6400800"/>
                <a:gd name="connsiteY6882" fmla="*/ 256699 h 514350"/>
                <a:gd name="connsiteX6883" fmla="*/ 836771 w 6400800"/>
                <a:gd name="connsiteY6883" fmla="*/ 250984 h 514350"/>
                <a:gd name="connsiteX6884" fmla="*/ 847249 w 6400800"/>
                <a:gd name="connsiteY6884" fmla="*/ 225266 h 514350"/>
                <a:gd name="connsiteX6885" fmla="*/ 835819 w 6400800"/>
                <a:gd name="connsiteY6885" fmla="*/ 195739 h 514350"/>
                <a:gd name="connsiteX6886" fmla="*/ 835819 w 6400800"/>
                <a:gd name="connsiteY6886" fmla="*/ 195739 h 514350"/>
                <a:gd name="connsiteX6887" fmla="*/ 840581 w 6400800"/>
                <a:gd name="connsiteY6887" fmla="*/ 206216 h 514350"/>
                <a:gd name="connsiteX6888" fmla="*/ 833914 w 6400800"/>
                <a:gd name="connsiteY6888" fmla="*/ 219551 h 514350"/>
                <a:gd name="connsiteX6889" fmla="*/ 832961 w 6400800"/>
                <a:gd name="connsiteY6889" fmla="*/ 221456 h 514350"/>
                <a:gd name="connsiteX6890" fmla="*/ 835819 w 6400800"/>
                <a:gd name="connsiteY6890" fmla="*/ 195739 h 514350"/>
                <a:gd name="connsiteX6891" fmla="*/ 826294 w 6400800"/>
                <a:gd name="connsiteY6891" fmla="*/ 274796 h 514350"/>
                <a:gd name="connsiteX6892" fmla="*/ 828199 w 6400800"/>
                <a:gd name="connsiteY6892" fmla="*/ 270986 h 514350"/>
                <a:gd name="connsiteX6893" fmla="*/ 828199 w 6400800"/>
                <a:gd name="connsiteY6893" fmla="*/ 272891 h 514350"/>
                <a:gd name="connsiteX6894" fmla="*/ 826294 w 6400800"/>
                <a:gd name="connsiteY6894" fmla="*/ 276701 h 514350"/>
                <a:gd name="connsiteX6895" fmla="*/ 826294 w 6400800"/>
                <a:gd name="connsiteY6895" fmla="*/ 274796 h 514350"/>
                <a:gd name="connsiteX6896" fmla="*/ 812006 w 6400800"/>
                <a:gd name="connsiteY6896" fmla="*/ 448151 h 514350"/>
                <a:gd name="connsiteX6897" fmla="*/ 812006 w 6400800"/>
                <a:gd name="connsiteY6897" fmla="*/ 448151 h 514350"/>
                <a:gd name="connsiteX6898" fmla="*/ 812006 w 6400800"/>
                <a:gd name="connsiteY6898" fmla="*/ 448151 h 514350"/>
                <a:gd name="connsiteX6899" fmla="*/ 812006 w 6400800"/>
                <a:gd name="connsiteY6899" fmla="*/ 448151 h 514350"/>
                <a:gd name="connsiteX6900" fmla="*/ 785336 w 6400800"/>
                <a:gd name="connsiteY6900" fmla="*/ 330041 h 514350"/>
                <a:gd name="connsiteX6901" fmla="*/ 782479 w 6400800"/>
                <a:gd name="connsiteY6901" fmla="*/ 325279 h 514350"/>
                <a:gd name="connsiteX6902" fmla="*/ 782479 w 6400800"/>
                <a:gd name="connsiteY6902" fmla="*/ 315754 h 514350"/>
                <a:gd name="connsiteX6903" fmla="*/ 786289 w 6400800"/>
                <a:gd name="connsiteY6903" fmla="*/ 326231 h 514350"/>
                <a:gd name="connsiteX6904" fmla="*/ 785336 w 6400800"/>
                <a:gd name="connsiteY6904" fmla="*/ 330041 h 514350"/>
                <a:gd name="connsiteX6905" fmla="*/ 797719 w 6400800"/>
                <a:gd name="connsiteY6905" fmla="*/ 271939 h 514350"/>
                <a:gd name="connsiteX6906" fmla="*/ 803434 w 6400800"/>
                <a:gd name="connsiteY6906" fmla="*/ 286226 h 514350"/>
                <a:gd name="connsiteX6907" fmla="*/ 802481 w 6400800"/>
                <a:gd name="connsiteY6907" fmla="*/ 288131 h 514350"/>
                <a:gd name="connsiteX6908" fmla="*/ 792956 w 6400800"/>
                <a:gd name="connsiteY6908" fmla="*/ 310039 h 514350"/>
                <a:gd name="connsiteX6909" fmla="*/ 792956 w 6400800"/>
                <a:gd name="connsiteY6909" fmla="*/ 309086 h 514350"/>
                <a:gd name="connsiteX6910" fmla="*/ 787241 w 6400800"/>
                <a:gd name="connsiteY6910" fmla="*/ 296704 h 514350"/>
                <a:gd name="connsiteX6911" fmla="*/ 795814 w 6400800"/>
                <a:gd name="connsiteY6911" fmla="*/ 266224 h 514350"/>
                <a:gd name="connsiteX6912" fmla="*/ 797719 w 6400800"/>
                <a:gd name="connsiteY6912" fmla="*/ 271939 h 514350"/>
                <a:gd name="connsiteX6913" fmla="*/ 790099 w 6400800"/>
                <a:gd name="connsiteY6913" fmla="*/ 253841 h 514350"/>
                <a:gd name="connsiteX6914" fmla="*/ 793909 w 6400800"/>
                <a:gd name="connsiteY6914" fmla="*/ 261461 h 514350"/>
                <a:gd name="connsiteX6915" fmla="*/ 793909 w 6400800"/>
                <a:gd name="connsiteY6915" fmla="*/ 262414 h 514350"/>
                <a:gd name="connsiteX6916" fmla="*/ 784384 w 6400800"/>
                <a:gd name="connsiteY6916" fmla="*/ 286226 h 514350"/>
                <a:gd name="connsiteX6917" fmla="*/ 785336 w 6400800"/>
                <a:gd name="connsiteY6917" fmla="*/ 273844 h 514350"/>
                <a:gd name="connsiteX6918" fmla="*/ 790099 w 6400800"/>
                <a:gd name="connsiteY6918" fmla="*/ 253841 h 514350"/>
                <a:gd name="connsiteX6919" fmla="*/ 773906 w 6400800"/>
                <a:gd name="connsiteY6919" fmla="*/ 236696 h 514350"/>
                <a:gd name="connsiteX6920" fmla="*/ 776764 w 6400800"/>
                <a:gd name="connsiteY6920" fmla="*/ 213836 h 514350"/>
                <a:gd name="connsiteX6921" fmla="*/ 783431 w 6400800"/>
                <a:gd name="connsiteY6921" fmla="*/ 229076 h 514350"/>
                <a:gd name="connsiteX6922" fmla="*/ 780574 w 6400800"/>
                <a:gd name="connsiteY6922" fmla="*/ 235744 h 514350"/>
                <a:gd name="connsiteX6923" fmla="*/ 777716 w 6400800"/>
                <a:gd name="connsiteY6923" fmla="*/ 231934 h 514350"/>
                <a:gd name="connsiteX6924" fmla="*/ 780574 w 6400800"/>
                <a:gd name="connsiteY6924" fmla="*/ 236696 h 514350"/>
                <a:gd name="connsiteX6925" fmla="*/ 773906 w 6400800"/>
                <a:gd name="connsiteY6925" fmla="*/ 255746 h 514350"/>
                <a:gd name="connsiteX6926" fmla="*/ 773906 w 6400800"/>
                <a:gd name="connsiteY6926" fmla="*/ 236696 h 514350"/>
                <a:gd name="connsiteX6927" fmla="*/ 724376 w 6400800"/>
                <a:gd name="connsiteY6927" fmla="*/ 219551 h 514350"/>
                <a:gd name="connsiteX6928" fmla="*/ 726281 w 6400800"/>
                <a:gd name="connsiteY6928" fmla="*/ 203359 h 514350"/>
                <a:gd name="connsiteX6929" fmla="*/ 726281 w 6400800"/>
                <a:gd name="connsiteY6929" fmla="*/ 229076 h 514350"/>
                <a:gd name="connsiteX6930" fmla="*/ 723424 w 6400800"/>
                <a:gd name="connsiteY6930" fmla="*/ 223361 h 514350"/>
                <a:gd name="connsiteX6931" fmla="*/ 724376 w 6400800"/>
                <a:gd name="connsiteY6931" fmla="*/ 219551 h 514350"/>
                <a:gd name="connsiteX6932" fmla="*/ 723424 w 6400800"/>
                <a:gd name="connsiteY6932" fmla="*/ 224314 h 514350"/>
                <a:gd name="connsiteX6933" fmla="*/ 724376 w 6400800"/>
                <a:gd name="connsiteY6933" fmla="*/ 235744 h 514350"/>
                <a:gd name="connsiteX6934" fmla="*/ 726281 w 6400800"/>
                <a:gd name="connsiteY6934" fmla="*/ 250984 h 514350"/>
                <a:gd name="connsiteX6935" fmla="*/ 726281 w 6400800"/>
                <a:gd name="connsiteY6935" fmla="*/ 251936 h 514350"/>
                <a:gd name="connsiteX6936" fmla="*/ 727234 w 6400800"/>
                <a:gd name="connsiteY6936" fmla="*/ 276701 h 514350"/>
                <a:gd name="connsiteX6937" fmla="*/ 727234 w 6400800"/>
                <a:gd name="connsiteY6937" fmla="*/ 288131 h 514350"/>
                <a:gd name="connsiteX6938" fmla="*/ 725329 w 6400800"/>
                <a:gd name="connsiteY6938" fmla="*/ 284321 h 514350"/>
                <a:gd name="connsiteX6939" fmla="*/ 717709 w 6400800"/>
                <a:gd name="connsiteY6939" fmla="*/ 260509 h 514350"/>
                <a:gd name="connsiteX6940" fmla="*/ 723424 w 6400800"/>
                <a:gd name="connsiteY6940" fmla="*/ 224314 h 514350"/>
                <a:gd name="connsiteX6941" fmla="*/ 710089 w 6400800"/>
                <a:gd name="connsiteY6941" fmla="*/ 308134 h 514350"/>
                <a:gd name="connsiteX6942" fmla="*/ 711041 w 6400800"/>
                <a:gd name="connsiteY6942" fmla="*/ 320516 h 514350"/>
                <a:gd name="connsiteX6943" fmla="*/ 717709 w 6400800"/>
                <a:gd name="connsiteY6943" fmla="*/ 373856 h 514350"/>
                <a:gd name="connsiteX6944" fmla="*/ 711041 w 6400800"/>
                <a:gd name="connsiteY6944" fmla="*/ 389096 h 514350"/>
                <a:gd name="connsiteX6945" fmla="*/ 709136 w 6400800"/>
                <a:gd name="connsiteY6945" fmla="*/ 383381 h 514350"/>
                <a:gd name="connsiteX6946" fmla="*/ 711041 w 6400800"/>
                <a:gd name="connsiteY6946" fmla="*/ 372904 h 514350"/>
                <a:gd name="connsiteX6947" fmla="*/ 713899 w 6400800"/>
                <a:gd name="connsiteY6947" fmla="*/ 352901 h 514350"/>
                <a:gd name="connsiteX6948" fmla="*/ 707231 w 6400800"/>
                <a:gd name="connsiteY6948" fmla="*/ 372904 h 514350"/>
                <a:gd name="connsiteX6949" fmla="*/ 706279 w 6400800"/>
                <a:gd name="connsiteY6949" fmla="*/ 374809 h 514350"/>
                <a:gd name="connsiteX6950" fmla="*/ 701516 w 6400800"/>
                <a:gd name="connsiteY6950" fmla="*/ 357664 h 514350"/>
                <a:gd name="connsiteX6951" fmla="*/ 701516 w 6400800"/>
                <a:gd name="connsiteY6951" fmla="*/ 357664 h 514350"/>
                <a:gd name="connsiteX6952" fmla="*/ 710089 w 6400800"/>
                <a:gd name="connsiteY6952" fmla="*/ 308134 h 514350"/>
                <a:gd name="connsiteX6953" fmla="*/ 676751 w 6400800"/>
                <a:gd name="connsiteY6953" fmla="*/ 253841 h 514350"/>
                <a:gd name="connsiteX6954" fmla="*/ 676751 w 6400800"/>
                <a:gd name="connsiteY6954" fmla="*/ 246221 h 514350"/>
                <a:gd name="connsiteX6955" fmla="*/ 679609 w 6400800"/>
                <a:gd name="connsiteY6955" fmla="*/ 220504 h 514350"/>
                <a:gd name="connsiteX6956" fmla="*/ 682466 w 6400800"/>
                <a:gd name="connsiteY6956" fmla="*/ 181451 h 514350"/>
                <a:gd name="connsiteX6957" fmla="*/ 682466 w 6400800"/>
                <a:gd name="connsiteY6957" fmla="*/ 178594 h 514350"/>
                <a:gd name="connsiteX6958" fmla="*/ 696754 w 6400800"/>
                <a:gd name="connsiteY6958" fmla="*/ 231934 h 514350"/>
                <a:gd name="connsiteX6959" fmla="*/ 705326 w 6400800"/>
                <a:gd name="connsiteY6959" fmla="*/ 267176 h 514350"/>
                <a:gd name="connsiteX6960" fmla="*/ 703421 w 6400800"/>
                <a:gd name="connsiteY6960" fmla="*/ 273844 h 514350"/>
                <a:gd name="connsiteX6961" fmla="*/ 694849 w 6400800"/>
                <a:gd name="connsiteY6961" fmla="*/ 307181 h 514350"/>
                <a:gd name="connsiteX6962" fmla="*/ 692944 w 6400800"/>
                <a:gd name="connsiteY6962" fmla="*/ 313849 h 514350"/>
                <a:gd name="connsiteX6963" fmla="*/ 690086 w 6400800"/>
                <a:gd name="connsiteY6963" fmla="*/ 322421 h 514350"/>
                <a:gd name="connsiteX6964" fmla="*/ 673894 w 6400800"/>
                <a:gd name="connsiteY6964" fmla="*/ 274796 h 514350"/>
                <a:gd name="connsiteX6965" fmla="*/ 676751 w 6400800"/>
                <a:gd name="connsiteY6965" fmla="*/ 253841 h 514350"/>
                <a:gd name="connsiteX6966" fmla="*/ 668179 w 6400800"/>
                <a:gd name="connsiteY6966" fmla="*/ 331946 h 514350"/>
                <a:gd name="connsiteX6967" fmla="*/ 668179 w 6400800"/>
                <a:gd name="connsiteY6967" fmla="*/ 330041 h 514350"/>
                <a:gd name="connsiteX6968" fmla="*/ 669131 w 6400800"/>
                <a:gd name="connsiteY6968" fmla="*/ 334804 h 514350"/>
                <a:gd name="connsiteX6969" fmla="*/ 671989 w 6400800"/>
                <a:gd name="connsiteY6969" fmla="*/ 346234 h 514350"/>
                <a:gd name="connsiteX6970" fmla="*/ 674846 w 6400800"/>
                <a:gd name="connsiteY6970" fmla="*/ 359569 h 514350"/>
                <a:gd name="connsiteX6971" fmla="*/ 676751 w 6400800"/>
                <a:gd name="connsiteY6971" fmla="*/ 370999 h 514350"/>
                <a:gd name="connsiteX6972" fmla="*/ 675799 w 6400800"/>
                <a:gd name="connsiteY6972" fmla="*/ 373856 h 514350"/>
                <a:gd name="connsiteX6973" fmla="*/ 674846 w 6400800"/>
                <a:gd name="connsiteY6973" fmla="*/ 377666 h 514350"/>
                <a:gd name="connsiteX6974" fmla="*/ 670084 w 6400800"/>
                <a:gd name="connsiteY6974" fmla="*/ 368141 h 514350"/>
                <a:gd name="connsiteX6975" fmla="*/ 664369 w 6400800"/>
                <a:gd name="connsiteY6975" fmla="*/ 358616 h 514350"/>
                <a:gd name="connsiteX6976" fmla="*/ 668179 w 6400800"/>
                <a:gd name="connsiteY6976" fmla="*/ 331946 h 514350"/>
                <a:gd name="connsiteX6977" fmla="*/ 656749 w 6400800"/>
                <a:gd name="connsiteY6977" fmla="*/ 266224 h 514350"/>
                <a:gd name="connsiteX6978" fmla="*/ 656749 w 6400800"/>
                <a:gd name="connsiteY6978" fmla="*/ 267176 h 514350"/>
                <a:gd name="connsiteX6979" fmla="*/ 656749 w 6400800"/>
                <a:gd name="connsiteY6979" fmla="*/ 269081 h 514350"/>
                <a:gd name="connsiteX6980" fmla="*/ 656749 w 6400800"/>
                <a:gd name="connsiteY6980" fmla="*/ 266224 h 514350"/>
                <a:gd name="connsiteX6981" fmla="*/ 608171 w 6400800"/>
                <a:gd name="connsiteY6981" fmla="*/ 318611 h 514350"/>
                <a:gd name="connsiteX6982" fmla="*/ 611981 w 6400800"/>
                <a:gd name="connsiteY6982" fmla="*/ 279559 h 514350"/>
                <a:gd name="connsiteX6983" fmla="*/ 613886 w 6400800"/>
                <a:gd name="connsiteY6983" fmla="*/ 288131 h 514350"/>
                <a:gd name="connsiteX6984" fmla="*/ 615791 w 6400800"/>
                <a:gd name="connsiteY6984" fmla="*/ 327184 h 514350"/>
                <a:gd name="connsiteX6985" fmla="*/ 615791 w 6400800"/>
                <a:gd name="connsiteY6985" fmla="*/ 331946 h 514350"/>
                <a:gd name="connsiteX6986" fmla="*/ 615791 w 6400800"/>
                <a:gd name="connsiteY6986" fmla="*/ 337661 h 514350"/>
                <a:gd name="connsiteX6987" fmla="*/ 613886 w 6400800"/>
                <a:gd name="connsiteY6987" fmla="*/ 333851 h 514350"/>
                <a:gd name="connsiteX6988" fmla="*/ 607219 w 6400800"/>
                <a:gd name="connsiteY6988" fmla="*/ 321469 h 514350"/>
                <a:gd name="connsiteX6989" fmla="*/ 608171 w 6400800"/>
                <a:gd name="connsiteY6989" fmla="*/ 318611 h 514350"/>
                <a:gd name="connsiteX6990" fmla="*/ 606266 w 6400800"/>
                <a:gd name="connsiteY6990" fmla="*/ 341471 h 514350"/>
                <a:gd name="connsiteX6991" fmla="*/ 615791 w 6400800"/>
                <a:gd name="connsiteY6991" fmla="*/ 364331 h 514350"/>
                <a:gd name="connsiteX6992" fmla="*/ 615791 w 6400800"/>
                <a:gd name="connsiteY6992" fmla="*/ 365284 h 514350"/>
                <a:gd name="connsiteX6993" fmla="*/ 611029 w 6400800"/>
                <a:gd name="connsiteY6993" fmla="*/ 375761 h 514350"/>
                <a:gd name="connsiteX6994" fmla="*/ 608171 w 6400800"/>
                <a:gd name="connsiteY6994" fmla="*/ 363379 h 514350"/>
                <a:gd name="connsiteX6995" fmla="*/ 605314 w 6400800"/>
                <a:gd name="connsiteY6995" fmla="*/ 350996 h 514350"/>
                <a:gd name="connsiteX6996" fmla="*/ 606266 w 6400800"/>
                <a:gd name="connsiteY6996" fmla="*/ 341471 h 514350"/>
                <a:gd name="connsiteX6997" fmla="*/ 606266 w 6400800"/>
                <a:gd name="connsiteY6997" fmla="*/ 424339 h 514350"/>
                <a:gd name="connsiteX6998" fmla="*/ 609124 w 6400800"/>
                <a:gd name="connsiteY6998" fmla="*/ 433864 h 514350"/>
                <a:gd name="connsiteX6999" fmla="*/ 607219 w 6400800"/>
                <a:gd name="connsiteY6999" fmla="*/ 436721 h 514350"/>
                <a:gd name="connsiteX7000" fmla="*/ 601504 w 6400800"/>
                <a:gd name="connsiteY7000" fmla="*/ 435769 h 514350"/>
                <a:gd name="connsiteX7001" fmla="*/ 606266 w 6400800"/>
                <a:gd name="connsiteY7001" fmla="*/ 424339 h 514350"/>
                <a:gd name="connsiteX7002" fmla="*/ 599599 w 6400800"/>
                <a:gd name="connsiteY7002" fmla="*/ 401479 h 514350"/>
                <a:gd name="connsiteX7003" fmla="*/ 599599 w 6400800"/>
                <a:gd name="connsiteY7003" fmla="*/ 401479 h 514350"/>
                <a:gd name="connsiteX7004" fmla="*/ 599599 w 6400800"/>
                <a:gd name="connsiteY7004" fmla="*/ 403384 h 514350"/>
                <a:gd name="connsiteX7005" fmla="*/ 599599 w 6400800"/>
                <a:gd name="connsiteY7005" fmla="*/ 401479 h 514350"/>
                <a:gd name="connsiteX7006" fmla="*/ 587216 w 6400800"/>
                <a:gd name="connsiteY7006" fmla="*/ 300514 h 514350"/>
                <a:gd name="connsiteX7007" fmla="*/ 591979 w 6400800"/>
                <a:gd name="connsiteY7007" fmla="*/ 310039 h 514350"/>
                <a:gd name="connsiteX7008" fmla="*/ 591026 w 6400800"/>
                <a:gd name="connsiteY7008" fmla="*/ 316706 h 514350"/>
                <a:gd name="connsiteX7009" fmla="*/ 591026 w 6400800"/>
                <a:gd name="connsiteY7009" fmla="*/ 316706 h 514350"/>
                <a:gd name="connsiteX7010" fmla="*/ 590074 w 6400800"/>
                <a:gd name="connsiteY7010" fmla="*/ 319564 h 514350"/>
                <a:gd name="connsiteX7011" fmla="*/ 587216 w 6400800"/>
                <a:gd name="connsiteY7011" fmla="*/ 311944 h 514350"/>
                <a:gd name="connsiteX7012" fmla="*/ 586264 w 6400800"/>
                <a:gd name="connsiteY7012" fmla="*/ 299561 h 514350"/>
                <a:gd name="connsiteX7013" fmla="*/ 587216 w 6400800"/>
                <a:gd name="connsiteY7013" fmla="*/ 300514 h 514350"/>
                <a:gd name="connsiteX7014" fmla="*/ 553879 w 6400800"/>
                <a:gd name="connsiteY7014" fmla="*/ 257651 h 514350"/>
                <a:gd name="connsiteX7015" fmla="*/ 555784 w 6400800"/>
                <a:gd name="connsiteY7015" fmla="*/ 233839 h 514350"/>
                <a:gd name="connsiteX7016" fmla="*/ 558641 w 6400800"/>
                <a:gd name="connsiteY7016" fmla="*/ 249079 h 514350"/>
                <a:gd name="connsiteX7017" fmla="*/ 556736 w 6400800"/>
                <a:gd name="connsiteY7017" fmla="*/ 247174 h 514350"/>
                <a:gd name="connsiteX7018" fmla="*/ 558641 w 6400800"/>
                <a:gd name="connsiteY7018" fmla="*/ 250984 h 514350"/>
                <a:gd name="connsiteX7019" fmla="*/ 570071 w 6400800"/>
                <a:gd name="connsiteY7019" fmla="*/ 297656 h 514350"/>
                <a:gd name="connsiteX7020" fmla="*/ 571976 w 6400800"/>
                <a:gd name="connsiteY7020" fmla="*/ 303371 h 514350"/>
                <a:gd name="connsiteX7021" fmla="*/ 569119 w 6400800"/>
                <a:gd name="connsiteY7021" fmla="*/ 312896 h 514350"/>
                <a:gd name="connsiteX7022" fmla="*/ 564356 w 6400800"/>
                <a:gd name="connsiteY7022" fmla="*/ 295751 h 514350"/>
                <a:gd name="connsiteX7023" fmla="*/ 553879 w 6400800"/>
                <a:gd name="connsiteY7023" fmla="*/ 266224 h 514350"/>
                <a:gd name="connsiteX7024" fmla="*/ 553879 w 6400800"/>
                <a:gd name="connsiteY7024" fmla="*/ 257651 h 514350"/>
                <a:gd name="connsiteX7025" fmla="*/ 551974 w 6400800"/>
                <a:gd name="connsiteY7025" fmla="*/ 295751 h 514350"/>
                <a:gd name="connsiteX7026" fmla="*/ 551974 w 6400800"/>
                <a:gd name="connsiteY7026" fmla="*/ 295751 h 514350"/>
                <a:gd name="connsiteX7027" fmla="*/ 552926 w 6400800"/>
                <a:gd name="connsiteY7027" fmla="*/ 298609 h 514350"/>
                <a:gd name="connsiteX7028" fmla="*/ 556736 w 6400800"/>
                <a:gd name="connsiteY7028" fmla="*/ 317659 h 514350"/>
                <a:gd name="connsiteX7029" fmla="*/ 557689 w 6400800"/>
                <a:gd name="connsiteY7029" fmla="*/ 321469 h 514350"/>
                <a:gd name="connsiteX7030" fmla="*/ 557689 w 6400800"/>
                <a:gd name="connsiteY7030" fmla="*/ 322421 h 514350"/>
                <a:gd name="connsiteX7031" fmla="*/ 557689 w 6400800"/>
                <a:gd name="connsiteY7031" fmla="*/ 326231 h 514350"/>
                <a:gd name="connsiteX7032" fmla="*/ 552926 w 6400800"/>
                <a:gd name="connsiteY7032" fmla="*/ 306229 h 514350"/>
                <a:gd name="connsiteX7033" fmla="*/ 551974 w 6400800"/>
                <a:gd name="connsiteY7033" fmla="*/ 295751 h 514350"/>
                <a:gd name="connsiteX7034" fmla="*/ 529114 w 6400800"/>
                <a:gd name="connsiteY7034" fmla="*/ 290036 h 514350"/>
                <a:gd name="connsiteX7035" fmla="*/ 529114 w 6400800"/>
                <a:gd name="connsiteY7035" fmla="*/ 290036 h 514350"/>
                <a:gd name="connsiteX7036" fmla="*/ 529114 w 6400800"/>
                <a:gd name="connsiteY7036" fmla="*/ 290036 h 514350"/>
                <a:gd name="connsiteX7037" fmla="*/ 529114 w 6400800"/>
                <a:gd name="connsiteY7037" fmla="*/ 290036 h 514350"/>
                <a:gd name="connsiteX7038" fmla="*/ 522446 w 6400800"/>
                <a:gd name="connsiteY7038" fmla="*/ 336709 h 514350"/>
                <a:gd name="connsiteX7039" fmla="*/ 523399 w 6400800"/>
                <a:gd name="connsiteY7039" fmla="*/ 329089 h 514350"/>
                <a:gd name="connsiteX7040" fmla="*/ 526256 w 6400800"/>
                <a:gd name="connsiteY7040" fmla="*/ 336709 h 514350"/>
                <a:gd name="connsiteX7041" fmla="*/ 531019 w 6400800"/>
                <a:gd name="connsiteY7041" fmla="*/ 350996 h 514350"/>
                <a:gd name="connsiteX7042" fmla="*/ 531971 w 6400800"/>
                <a:gd name="connsiteY7042" fmla="*/ 374809 h 514350"/>
                <a:gd name="connsiteX7043" fmla="*/ 533876 w 6400800"/>
                <a:gd name="connsiteY7043" fmla="*/ 403384 h 514350"/>
                <a:gd name="connsiteX7044" fmla="*/ 528161 w 6400800"/>
                <a:gd name="connsiteY7044" fmla="*/ 394811 h 514350"/>
                <a:gd name="connsiteX7045" fmla="*/ 532924 w 6400800"/>
                <a:gd name="connsiteY7045" fmla="*/ 410051 h 514350"/>
                <a:gd name="connsiteX7046" fmla="*/ 534829 w 6400800"/>
                <a:gd name="connsiteY7046" fmla="*/ 417671 h 514350"/>
                <a:gd name="connsiteX7047" fmla="*/ 535781 w 6400800"/>
                <a:gd name="connsiteY7047" fmla="*/ 430054 h 514350"/>
                <a:gd name="connsiteX7048" fmla="*/ 523399 w 6400800"/>
                <a:gd name="connsiteY7048" fmla="*/ 428149 h 514350"/>
                <a:gd name="connsiteX7049" fmla="*/ 522446 w 6400800"/>
                <a:gd name="connsiteY7049" fmla="*/ 427196 h 514350"/>
                <a:gd name="connsiteX7050" fmla="*/ 522446 w 6400800"/>
                <a:gd name="connsiteY7050" fmla="*/ 423386 h 514350"/>
                <a:gd name="connsiteX7051" fmla="*/ 527209 w 6400800"/>
                <a:gd name="connsiteY7051" fmla="*/ 410051 h 514350"/>
                <a:gd name="connsiteX7052" fmla="*/ 522446 w 6400800"/>
                <a:gd name="connsiteY7052" fmla="*/ 418624 h 514350"/>
                <a:gd name="connsiteX7053" fmla="*/ 521494 w 6400800"/>
                <a:gd name="connsiteY7053" fmla="*/ 405289 h 514350"/>
                <a:gd name="connsiteX7054" fmla="*/ 517684 w 6400800"/>
                <a:gd name="connsiteY7054" fmla="*/ 369094 h 514350"/>
                <a:gd name="connsiteX7055" fmla="*/ 522446 w 6400800"/>
                <a:gd name="connsiteY7055" fmla="*/ 336709 h 514350"/>
                <a:gd name="connsiteX7056" fmla="*/ 512921 w 6400800"/>
                <a:gd name="connsiteY7056" fmla="*/ 271939 h 514350"/>
                <a:gd name="connsiteX7057" fmla="*/ 509111 w 6400800"/>
                <a:gd name="connsiteY7057" fmla="*/ 287179 h 514350"/>
                <a:gd name="connsiteX7058" fmla="*/ 509111 w 6400800"/>
                <a:gd name="connsiteY7058" fmla="*/ 288131 h 514350"/>
                <a:gd name="connsiteX7059" fmla="*/ 507206 w 6400800"/>
                <a:gd name="connsiteY7059" fmla="*/ 275749 h 514350"/>
                <a:gd name="connsiteX7060" fmla="*/ 508159 w 6400800"/>
                <a:gd name="connsiteY7060" fmla="*/ 262414 h 514350"/>
                <a:gd name="connsiteX7061" fmla="*/ 509111 w 6400800"/>
                <a:gd name="connsiteY7061" fmla="*/ 262414 h 514350"/>
                <a:gd name="connsiteX7062" fmla="*/ 512921 w 6400800"/>
                <a:gd name="connsiteY7062" fmla="*/ 271939 h 514350"/>
                <a:gd name="connsiteX7063" fmla="*/ 497681 w 6400800"/>
                <a:gd name="connsiteY7063" fmla="*/ 207169 h 514350"/>
                <a:gd name="connsiteX7064" fmla="*/ 506254 w 6400800"/>
                <a:gd name="connsiteY7064" fmla="*/ 245269 h 514350"/>
                <a:gd name="connsiteX7065" fmla="*/ 509111 w 6400800"/>
                <a:gd name="connsiteY7065" fmla="*/ 256699 h 514350"/>
                <a:gd name="connsiteX7066" fmla="*/ 506254 w 6400800"/>
                <a:gd name="connsiteY7066" fmla="*/ 256699 h 514350"/>
                <a:gd name="connsiteX7067" fmla="*/ 505301 w 6400800"/>
                <a:gd name="connsiteY7067" fmla="*/ 256699 h 514350"/>
                <a:gd name="connsiteX7068" fmla="*/ 505301 w 6400800"/>
                <a:gd name="connsiteY7068" fmla="*/ 256699 h 514350"/>
                <a:gd name="connsiteX7069" fmla="*/ 497681 w 6400800"/>
                <a:gd name="connsiteY7069" fmla="*/ 207169 h 514350"/>
                <a:gd name="connsiteX7070" fmla="*/ 497681 w 6400800"/>
                <a:gd name="connsiteY7070" fmla="*/ 207169 h 514350"/>
                <a:gd name="connsiteX7071" fmla="*/ 487204 w 6400800"/>
                <a:gd name="connsiteY7071" fmla="*/ 419576 h 514350"/>
                <a:gd name="connsiteX7072" fmla="*/ 486251 w 6400800"/>
                <a:gd name="connsiteY7072" fmla="*/ 422434 h 514350"/>
                <a:gd name="connsiteX7073" fmla="*/ 483394 w 6400800"/>
                <a:gd name="connsiteY7073" fmla="*/ 422434 h 514350"/>
                <a:gd name="connsiteX7074" fmla="*/ 483394 w 6400800"/>
                <a:gd name="connsiteY7074" fmla="*/ 418624 h 514350"/>
                <a:gd name="connsiteX7075" fmla="*/ 481489 w 6400800"/>
                <a:gd name="connsiteY7075" fmla="*/ 401479 h 514350"/>
                <a:gd name="connsiteX7076" fmla="*/ 487204 w 6400800"/>
                <a:gd name="connsiteY7076" fmla="*/ 419576 h 514350"/>
                <a:gd name="connsiteX7077" fmla="*/ 437674 w 6400800"/>
                <a:gd name="connsiteY7077" fmla="*/ 390049 h 514350"/>
                <a:gd name="connsiteX7078" fmla="*/ 437674 w 6400800"/>
                <a:gd name="connsiteY7078" fmla="*/ 390049 h 514350"/>
                <a:gd name="connsiteX7079" fmla="*/ 437674 w 6400800"/>
                <a:gd name="connsiteY7079" fmla="*/ 388144 h 514350"/>
                <a:gd name="connsiteX7080" fmla="*/ 437674 w 6400800"/>
                <a:gd name="connsiteY7080" fmla="*/ 388144 h 514350"/>
                <a:gd name="connsiteX7081" fmla="*/ 437674 w 6400800"/>
                <a:gd name="connsiteY7081" fmla="*/ 390049 h 514350"/>
                <a:gd name="connsiteX7082" fmla="*/ 437674 w 6400800"/>
                <a:gd name="connsiteY7082" fmla="*/ 390049 h 514350"/>
                <a:gd name="connsiteX7083" fmla="*/ 448151 w 6400800"/>
                <a:gd name="connsiteY7083" fmla="*/ 362426 h 514350"/>
                <a:gd name="connsiteX7084" fmla="*/ 446246 w 6400800"/>
                <a:gd name="connsiteY7084" fmla="*/ 356711 h 514350"/>
                <a:gd name="connsiteX7085" fmla="*/ 449104 w 6400800"/>
                <a:gd name="connsiteY7085" fmla="*/ 347186 h 514350"/>
                <a:gd name="connsiteX7086" fmla="*/ 448151 w 6400800"/>
                <a:gd name="connsiteY7086" fmla="*/ 362426 h 514350"/>
                <a:gd name="connsiteX7087" fmla="*/ 436721 w 6400800"/>
                <a:gd name="connsiteY7087" fmla="*/ 227171 h 514350"/>
                <a:gd name="connsiteX7088" fmla="*/ 440531 w 6400800"/>
                <a:gd name="connsiteY7088" fmla="*/ 246221 h 514350"/>
                <a:gd name="connsiteX7089" fmla="*/ 434816 w 6400800"/>
                <a:gd name="connsiteY7089" fmla="*/ 234791 h 514350"/>
                <a:gd name="connsiteX7090" fmla="*/ 436721 w 6400800"/>
                <a:gd name="connsiteY7090" fmla="*/ 227171 h 514350"/>
                <a:gd name="connsiteX7091" fmla="*/ 428149 w 6400800"/>
                <a:gd name="connsiteY7091" fmla="*/ 280511 h 514350"/>
                <a:gd name="connsiteX7092" fmla="*/ 431959 w 6400800"/>
                <a:gd name="connsiteY7092" fmla="*/ 253841 h 514350"/>
                <a:gd name="connsiteX7093" fmla="*/ 432911 w 6400800"/>
                <a:gd name="connsiteY7093" fmla="*/ 258604 h 514350"/>
                <a:gd name="connsiteX7094" fmla="*/ 438626 w 6400800"/>
                <a:gd name="connsiteY7094" fmla="*/ 284321 h 514350"/>
                <a:gd name="connsiteX7095" fmla="*/ 439579 w 6400800"/>
                <a:gd name="connsiteY7095" fmla="*/ 290036 h 514350"/>
                <a:gd name="connsiteX7096" fmla="*/ 432911 w 6400800"/>
                <a:gd name="connsiteY7096" fmla="*/ 281464 h 514350"/>
                <a:gd name="connsiteX7097" fmla="*/ 439579 w 6400800"/>
                <a:gd name="connsiteY7097" fmla="*/ 295751 h 514350"/>
                <a:gd name="connsiteX7098" fmla="*/ 441484 w 6400800"/>
                <a:gd name="connsiteY7098" fmla="*/ 299561 h 514350"/>
                <a:gd name="connsiteX7099" fmla="*/ 443389 w 6400800"/>
                <a:gd name="connsiteY7099" fmla="*/ 312896 h 514350"/>
                <a:gd name="connsiteX7100" fmla="*/ 446246 w 6400800"/>
                <a:gd name="connsiteY7100" fmla="*/ 328136 h 514350"/>
                <a:gd name="connsiteX7101" fmla="*/ 447199 w 6400800"/>
                <a:gd name="connsiteY7101" fmla="*/ 335756 h 514350"/>
                <a:gd name="connsiteX7102" fmla="*/ 445294 w 6400800"/>
                <a:gd name="connsiteY7102" fmla="*/ 341471 h 514350"/>
                <a:gd name="connsiteX7103" fmla="*/ 442436 w 6400800"/>
                <a:gd name="connsiteY7103" fmla="*/ 349091 h 514350"/>
                <a:gd name="connsiteX7104" fmla="*/ 434816 w 6400800"/>
                <a:gd name="connsiteY7104" fmla="*/ 331946 h 514350"/>
                <a:gd name="connsiteX7105" fmla="*/ 434816 w 6400800"/>
                <a:gd name="connsiteY7105" fmla="*/ 317659 h 514350"/>
                <a:gd name="connsiteX7106" fmla="*/ 432911 w 6400800"/>
                <a:gd name="connsiteY7106" fmla="*/ 328136 h 514350"/>
                <a:gd name="connsiteX7107" fmla="*/ 423386 w 6400800"/>
                <a:gd name="connsiteY7107" fmla="*/ 303371 h 514350"/>
                <a:gd name="connsiteX7108" fmla="*/ 428149 w 6400800"/>
                <a:gd name="connsiteY7108" fmla="*/ 280511 h 514350"/>
                <a:gd name="connsiteX7109" fmla="*/ 418624 w 6400800"/>
                <a:gd name="connsiteY7109" fmla="*/ 345281 h 514350"/>
                <a:gd name="connsiteX7110" fmla="*/ 422434 w 6400800"/>
                <a:gd name="connsiteY7110" fmla="*/ 322421 h 514350"/>
                <a:gd name="connsiteX7111" fmla="*/ 427196 w 6400800"/>
                <a:gd name="connsiteY7111" fmla="*/ 339566 h 514350"/>
                <a:gd name="connsiteX7112" fmla="*/ 430054 w 6400800"/>
                <a:gd name="connsiteY7112" fmla="*/ 350996 h 514350"/>
                <a:gd name="connsiteX7113" fmla="*/ 428149 w 6400800"/>
                <a:gd name="connsiteY7113" fmla="*/ 362426 h 514350"/>
                <a:gd name="connsiteX7114" fmla="*/ 426244 w 6400800"/>
                <a:gd name="connsiteY7114" fmla="*/ 356711 h 514350"/>
                <a:gd name="connsiteX7115" fmla="*/ 420529 w 6400800"/>
                <a:gd name="connsiteY7115" fmla="*/ 344329 h 514350"/>
                <a:gd name="connsiteX7116" fmla="*/ 422434 w 6400800"/>
                <a:gd name="connsiteY7116" fmla="*/ 357664 h 514350"/>
                <a:gd name="connsiteX7117" fmla="*/ 424339 w 6400800"/>
                <a:gd name="connsiteY7117" fmla="*/ 372904 h 514350"/>
                <a:gd name="connsiteX7118" fmla="*/ 425291 w 6400800"/>
                <a:gd name="connsiteY7118" fmla="*/ 377666 h 514350"/>
                <a:gd name="connsiteX7119" fmla="*/ 424339 w 6400800"/>
                <a:gd name="connsiteY7119" fmla="*/ 375761 h 514350"/>
                <a:gd name="connsiteX7120" fmla="*/ 424339 w 6400800"/>
                <a:gd name="connsiteY7120" fmla="*/ 374809 h 514350"/>
                <a:gd name="connsiteX7121" fmla="*/ 418624 w 6400800"/>
                <a:gd name="connsiteY7121" fmla="*/ 351949 h 514350"/>
                <a:gd name="connsiteX7122" fmla="*/ 418624 w 6400800"/>
                <a:gd name="connsiteY7122" fmla="*/ 345281 h 514350"/>
                <a:gd name="connsiteX7123" fmla="*/ 406241 w 6400800"/>
                <a:gd name="connsiteY7123" fmla="*/ 261461 h 514350"/>
                <a:gd name="connsiteX7124" fmla="*/ 411956 w 6400800"/>
                <a:gd name="connsiteY7124" fmla="*/ 285274 h 514350"/>
                <a:gd name="connsiteX7125" fmla="*/ 407194 w 6400800"/>
                <a:gd name="connsiteY7125" fmla="*/ 310039 h 514350"/>
                <a:gd name="connsiteX7126" fmla="*/ 405289 w 6400800"/>
                <a:gd name="connsiteY7126" fmla="*/ 302419 h 514350"/>
                <a:gd name="connsiteX7127" fmla="*/ 406241 w 6400800"/>
                <a:gd name="connsiteY7127" fmla="*/ 261461 h 514350"/>
                <a:gd name="connsiteX7128" fmla="*/ 382429 w 6400800"/>
                <a:gd name="connsiteY7128" fmla="*/ 290036 h 514350"/>
                <a:gd name="connsiteX7129" fmla="*/ 381476 w 6400800"/>
                <a:gd name="connsiteY7129" fmla="*/ 293846 h 514350"/>
                <a:gd name="connsiteX7130" fmla="*/ 381476 w 6400800"/>
                <a:gd name="connsiteY7130" fmla="*/ 285274 h 514350"/>
                <a:gd name="connsiteX7131" fmla="*/ 382429 w 6400800"/>
                <a:gd name="connsiteY7131" fmla="*/ 290036 h 514350"/>
                <a:gd name="connsiteX7132" fmla="*/ 361474 w 6400800"/>
                <a:gd name="connsiteY7132" fmla="*/ 394811 h 514350"/>
                <a:gd name="connsiteX7133" fmla="*/ 361474 w 6400800"/>
                <a:gd name="connsiteY7133" fmla="*/ 404336 h 514350"/>
                <a:gd name="connsiteX7134" fmla="*/ 361474 w 6400800"/>
                <a:gd name="connsiteY7134" fmla="*/ 407194 h 514350"/>
                <a:gd name="connsiteX7135" fmla="*/ 354806 w 6400800"/>
                <a:gd name="connsiteY7135" fmla="*/ 383381 h 514350"/>
                <a:gd name="connsiteX7136" fmla="*/ 354806 w 6400800"/>
                <a:gd name="connsiteY7136" fmla="*/ 382429 h 514350"/>
                <a:gd name="connsiteX7137" fmla="*/ 352901 w 6400800"/>
                <a:gd name="connsiteY7137" fmla="*/ 373856 h 514350"/>
                <a:gd name="connsiteX7138" fmla="*/ 361474 w 6400800"/>
                <a:gd name="connsiteY7138" fmla="*/ 394811 h 514350"/>
                <a:gd name="connsiteX7139" fmla="*/ 347186 w 6400800"/>
                <a:gd name="connsiteY7139" fmla="*/ 307181 h 514350"/>
                <a:gd name="connsiteX7140" fmla="*/ 349091 w 6400800"/>
                <a:gd name="connsiteY7140" fmla="*/ 311944 h 514350"/>
                <a:gd name="connsiteX7141" fmla="*/ 347186 w 6400800"/>
                <a:gd name="connsiteY7141" fmla="*/ 309086 h 514350"/>
                <a:gd name="connsiteX7142" fmla="*/ 347186 w 6400800"/>
                <a:gd name="connsiteY7142" fmla="*/ 307181 h 514350"/>
                <a:gd name="connsiteX7143" fmla="*/ 347186 w 6400800"/>
                <a:gd name="connsiteY7143" fmla="*/ 429101 h 514350"/>
                <a:gd name="connsiteX7144" fmla="*/ 348139 w 6400800"/>
                <a:gd name="connsiteY7144" fmla="*/ 432911 h 514350"/>
                <a:gd name="connsiteX7145" fmla="*/ 346234 w 6400800"/>
                <a:gd name="connsiteY7145" fmla="*/ 432911 h 514350"/>
                <a:gd name="connsiteX7146" fmla="*/ 347186 w 6400800"/>
                <a:gd name="connsiteY7146" fmla="*/ 429101 h 514350"/>
                <a:gd name="connsiteX7147" fmla="*/ 310991 w 6400800"/>
                <a:gd name="connsiteY7147" fmla="*/ 439579 h 514350"/>
                <a:gd name="connsiteX7148" fmla="*/ 311944 w 6400800"/>
                <a:gd name="connsiteY7148" fmla="*/ 424339 h 514350"/>
                <a:gd name="connsiteX7149" fmla="*/ 317659 w 6400800"/>
                <a:gd name="connsiteY7149" fmla="*/ 438626 h 514350"/>
                <a:gd name="connsiteX7150" fmla="*/ 310991 w 6400800"/>
                <a:gd name="connsiteY7150" fmla="*/ 439579 h 514350"/>
                <a:gd name="connsiteX7151" fmla="*/ 302419 w 6400800"/>
                <a:gd name="connsiteY7151" fmla="*/ 230981 h 514350"/>
                <a:gd name="connsiteX7152" fmla="*/ 304324 w 6400800"/>
                <a:gd name="connsiteY7152" fmla="*/ 237649 h 514350"/>
                <a:gd name="connsiteX7153" fmla="*/ 307181 w 6400800"/>
                <a:gd name="connsiteY7153" fmla="*/ 252889 h 514350"/>
                <a:gd name="connsiteX7154" fmla="*/ 300514 w 6400800"/>
                <a:gd name="connsiteY7154" fmla="*/ 244316 h 514350"/>
                <a:gd name="connsiteX7155" fmla="*/ 302419 w 6400800"/>
                <a:gd name="connsiteY7155" fmla="*/ 230981 h 514350"/>
                <a:gd name="connsiteX7156" fmla="*/ 295751 w 6400800"/>
                <a:gd name="connsiteY7156" fmla="*/ 269081 h 514350"/>
                <a:gd name="connsiteX7157" fmla="*/ 297656 w 6400800"/>
                <a:gd name="connsiteY7157" fmla="*/ 262414 h 514350"/>
                <a:gd name="connsiteX7158" fmla="*/ 295751 w 6400800"/>
                <a:gd name="connsiteY7158" fmla="*/ 265271 h 514350"/>
                <a:gd name="connsiteX7159" fmla="*/ 297656 w 6400800"/>
                <a:gd name="connsiteY7159" fmla="*/ 251936 h 514350"/>
                <a:gd name="connsiteX7160" fmla="*/ 299561 w 6400800"/>
                <a:gd name="connsiteY7160" fmla="*/ 243364 h 514350"/>
                <a:gd name="connsiteX7161" fmla="*/ 301466 w 6400800"/>
                <a:gd name="connsiteY7161" fmla="*/ 247174 h 514350"/>
                <a:gd name="connsiteX7162" fmla="*/ 310039 w 6400800"/>
                <a:gd name="connsiteY7162" fmla="*/ 270986 h 514350"/>
                <a:gd name="connsiteX7163" fmla="*/ 319564 w 6400800"/>
                <a:gd name="connsiteY7163" fmla="*/ 312896 h 514350"/>
                <a:gd name="connsiteX7164" fmla="*/ 330041 w 6400800"/>
                <a:gd name="connsiteY7164" fmla="*/ 358616 h 514350"/>
                <a:gd name="connsiteX7165" fmla="*/ 330041 w 6400800"/>
                <a:gd name="connsiteY7165" fmla="*/ 362426 h 514350"/>
                <a:gd name="connsiteX7166" fmla="*/ 327184 w 6400800"/>
                <a:gd name="connsiteY7166" fmla="*/ 404336 h 514350"/>
                <a:gd name="connsiteX7167" fmla="*/ 327184 w 6400800"/>
                <a:gd name="connsiteY7167" fmla="*/ 404336 h 514350"/>
                <a:gd name="connsiteX7168" fmla="*/ 321469 w 6400800"/>
                <a:gd name="connsiteY7168" fmla="*/ 392906 h 514350"/>
                <a:gd name="connsiteX7169" fmla="*/ 310991 w 6400800"/>
                <a:gd name="connsiteY7169" fmla="*/ 362426 h 514350"/>
                <a:gd name="connsiteX7170" fmla="*/ 296704 w 6400800"/>
                <a:gd name="connsiteY7170" fmla="*/ 318611 h 514350"/>
                <a:gd name="connsiteX7171" fmla="*/ 291941 w 6400800"/>
                <a:gd name="connsiteY7171" fmla="*/ 302419 h 514350"/>
                <a:gd name="connsiteX7172" fmla="*/ 295751 w 6400800"/>
                <a:gd name="connsiteY7172" fmla="*/ 269081 h 514350"/>
                <a:gd name="connsiteX7173" fmla="*/ 283369 w 6400800"/>
                <a:gd name="connsiteY7173" fmla="*/ 378619 h 514350"/>
                <a:gd name="connsiteX7174" fmla="*/ 284321 w 6400800"/>
                <a:gd name="connsiteY7174" fmla="*/ 365284 h 514350"/>
                <a:gd name="connsiteX7175" fmla="*/ 285274 w 6400800"/>
                <a:gd name="connsiteY7175" fmla="*/ 363379 h 514350"/>
                <a:gd name="connsiteX7176" fmla="*/ 295751 w 6400800"/>
                <a:gd name="connsiteY7176" fmla="*/ 387191 h 514350"/>
                <a:gd name="connsiteX7177" fmla="*/ 302419 w 6400800"/>
                <a:gd name="connsiteY7177" fmla="*/ 400526 h 514350"/>
                <a:gd name="connsiteX7178" fmla="*/ 303371 w 6400800"/>
                <a:gd name="connsiteY7178" fmla="*/ 404336 h 514350"/>
                <a:gd name="connsiteX7179" fmla="*/ 301466 w 6400800"/>
                <a:gd name="connsiteY7179" fmla="*/ 412909 h 514350"/>
                <a:gd name="connsiteX7180" fmla="*/ 295751 w 6400800"/>
                <a:gd name="connsiteY7180" fmla="*/ 442436 h 514350"/>
                <a:gd name="connsiteX7181" fmla="*/ 283369 w 6400800"/>
                <a:gd name="connsiteY7181" fmla="*/ 444341 h 514350"/>
                <a:gd name="connsiteX7182" fmla="*/ 281464 w 6400800"/>
                <a:gd name="connsiteY7182" fmla="*/ 435769 h 514350"/>
                <a:gd name="connsiteX7183" fmla="*/ 281464 w 6400800"/>
                <a:gd name="connsiteY7183" fmla="*/ 407194 h 514350"/>
                <a:gd name="connsiteX7184" fmla="*/ 283369 w 6400800"/>
                <a:gd name="connsiteY7184" fmla="*/ 378619 h 514350"/>
                <a:gd name="connsiteX7185" fmla="*/ 237649 w 6400800"/>
                <a:gd name="connsiteY7185" fmla="*/ 415766 h 514350"/>
                <a:gd name="connsiteX7186" fmla="*/ 228124 w 6400800"/>
                <a:gd name="connsiteY7186" fmla="*/ 395764 h 514350"/>
                <a:gd name="connsiteX7187" fmla="*/ 229076 w 6400800"/>
                <a:gd name="connsiteY7187" fmla="*/ 383381 h 514350"/>
                <a:gd name="connsiteX7188" fmla="*/ 239554 w 6400800"/>
                <a:gd name="connsiteY7188" fmla="*/ 406241 h 514350"/>
                <a:gd name="connsiteX7189" fmla="*/ 237649 w 6400800"/>
                <a:gd name="connsiteY7189" fmla="*/ 415766 h 514350"/>
                <a:gd name="connsiteX7190" fmla="*/ 247174 w 6400800"/>
                <a:gd name="connsiteY7190" fmla="*/ 431006 h 514350"/>
                <a:gd name="connsiteX7191" fmla="*/ 248126 w 6400800"/>
                <a:gd name="connsiteY7191" fmla="*/ 425291 h 514350"/>
                <a:gd name="connsiteX7192" fmla="*/ 248126 w 6400800"/>
                <a:gd name="connsiteY7192" fmla="*/ 425291 h 514350"/>
                <a:gd name="connsiteX7193" fmla="*/ 247174 w 6400800"/>
                <a:gd name="connsiteY7193" fmla="*/ 431006 h 514350"/>
                <a:gd name="connsiteX7194" fmla="*/ 264319 w 6400800"/>
                <a:gd name="connsiteY7194" fmla="*/ 204311 h 514350"/>
                <a:gd name="connsiteX7195" fmla="*/ 270986 w 6400800"/>
                <a:gd name="connsiteY7195" fmla="*/ 185261 h 514350"/>
                <a:gd name="connsiteX7196" fmla="*/ 267176 w 6400800"/>
                <a:gd name="connsiteY7196" fmla="*/ 214789 h 514350"/>
                <a:gd name="connsiteX7197" fmla="*/ 266224 w 6400800"/>
                <a:gd name="connsiteY7197" fmla="*/ 210026 h 514350"/>
                <a:gd name="connsiteX7198" fmla="*/ 264319 w 6400800"/>
                <a:gd name="connsiteY7198" fmla="*/ 204311 h 514350"/>
                <a:gd name="connsiteX7199" fmla="*/ 264319 w 6400800"/>
                <a:gd name="connsiteY7199" fmla="*/ 204311 h 514350"/>
                <a:gd name="connsiteX7200" fmla="*/ 254794 w 6400800"/>
                <a:gd name="connsiteY7200" fmla="*/ 235744 h 514350"/>
                <a:gd name="connsiteX7201" fmla="*/ 258604 w 6400800"/>
                <a:gd name="connsiteY7201" fmla="*/ 220504 h 514350"/>
                <a:gd name="connsiteX7202" fmla="*/ 261461 w 6400800"/>
                <a:gd name="connsiteY7202" fmla="*/ 242411 h 514350"/>
                <a:gd name="connsiteX7203" fmla="*/ 262414 w 6400800"/>
                <a:gd name="connsiteY7203" fmla="*/ 245269 h 514350"/>
                <a:gd name="connsiteX7204" fmla="*/ 260509 w 6400800"/>
                <a:gd name="connsiteY7204" fmla="*/ 270034 h 514350"/>
                <a:gd name="connsiteX7205" fmla="*/ 257651 w 6400800"/>
                <a:gd name="connsiteY7205" fmla="*/ 264319 h 514350"/>
                <a:gd name="connsiteX7206" fmla="*/ 250984 w 6400800"/>
                <a:gd name="connsiteY7206" fmla="*/ 249079 h 514350"/>
                <a:gd name="connsiteX7207" fmla="*/ 254794 w 6400800"/>
                <a:gd name="connsiteY7207" fmla="*/ 235744 h 514350"/>
                <a:gd name="connsiteX7208" fmla="*/ 245269 w 6400800"/>
                <a:gd name="connsiteY7208" fmla="*/ 276701 h 514350"/>
                <a:gd name="connsiteX7209" fmla="*/ 249079 w 6400800"/>
                <a:gd name="connsiteY7209" fmla="*/ 260509 h 514350"/>
                <a:gd name="connsiteX7210" fmla="*/ 250984 w 6400800"/>
                <a:gd name="connsiteY7210" fmla="*/ 268129 h 514350"/>
                <a:gd name="connsiteX7211" fmla="*/ 258604 w 6400800"/>
                <a:gd name="connsiteY7211" fmla="*/ 292894 h 514350"/>
                <a:gd name="connsiteX7212" fmla="*/ 259556 w 6400800"/>
                <a:gd name="connsiteY7212" fmla="*/ 294799 h 514350"/>
                <a:gd name="connsiteX7213" fmla="*/ 259556 w 6400800"/>
                <a:gd name="connsiteY7213" fmla="*/ 297656 h 514350"/>
                <a:gd name="connsiteX7214" fmla="*/ 257651 w 6400800"/>
                <a:gd name="connsiteY7214" fmla="*/ 333851 h 514350"/>
                <a:gd name="connsiteX7215" fmla="*/ 250984 w 6400800"/>
                <a:gd name="connsiteY7215" fmla="*/ 309086 h 514350"/>
                <a:gd name="connsiteX7216" fmla="*/ 253841 w 6400800"/>
                <a:gd name="connsiteY7216" fmla="*/ 301466 h 514350"/>
                <a:gd name="connsiteX7217" fmla="*/ 250984 w 6400800"/>
                <a:gd name="connsiteY7217" fmla="*/ 307181 h 514350"/>
                <a:gd name="connsiteX7218" fmla="*/ 244316 w 6400800"/>
                <a:gd name="connsiteY7218" fmla="*/ 284321 h 514350"/>
                <a:gd name="connsiteX7219" fmla="*/ 245269 w 6400800"/>
                <a:gd name="connsiteY7219" fmla="*/ 276701 h 514350"/>
                <a:gd name="connsiteX7220" fmla="*/ 236696 w 6400800"/>
                <a:gd name="connsiteY7220" fmla="*/ 325279 h 514350"/>
                <a:gd name="connsiteX7221" fmla="*/ 237649 w 6400800"/>
                <a:gd name="connsiteY7221" fmla="*/ 322421 h 514350"/>
                <a:gd name="connsiteX7222" fmla="*/ 238601 w 6400800"/>
                <a:gd name="connsiteY7222" fmla="*/ 329089 h 514350"/>
                <a:gd name="connsiteX7223" fmla="*/ 235744 w 6400800"/>
                <a:gd name="connsiteY7223" fmla="*/ 335756 h 514350"/>
                <a:gd name="connsiteX7224" fmla="*/ 236696 w 6400800"/>
                <a:gd name="connsiteY7224" fmla="*/ 325279 h 514350"/>
                <a:gd name="connsiteX7225" fmla="*/ 234791 w 6400800"/>
                <a:gd name="connsiteY7225" fmla="*/ 353854 h 514350"/>
                <a:gd name="connsiteX7226" fmla="*/ 240506 w 6400800"/>
                <a:gd name="connsiteY7226" fmla="*/ 337661 h 514350"/>
                <a:gd name="connsiteX7227" fmla="*/ 241459 w 6400800"/>
                <a:gd name="connsiteY7227" fmla="*/ 342424 h 514350"/>
                <a:gd name="connsiteX7228" fmla="*/ 248126 w 6400800"/>
                <a:gd name="connsiteY7228" fmla="*/ 372904 h 514350"/>
                <a:gd name="connsiteX7229" fmla="*/ 247174 w 6400800"/>
                <a:gd name="connsiteY7229" fmla="*/ 378619 h 514350"/>
                <a:gd name="connsiteX7230" fmla="*/ 242411 w 6400800"/>
                <a:gd name="connsiteY7230" fmla="*/ 369094 h 514350"/>
                <a:gd name="connsiteX7231" fmla="*/ 234791 w 6400800"/>
                <a:gd name="connsiteY7231" fmla="*/ 353854 h 514350"/>
                <a:gd name="connsiteX7232" fmla="*/ 234791 w 6400800"/>
                <a:gd name="connsiteY7232" fmla="*/ 353854 h 514350"/>
                <a:gd name="connsiteX7233" fmla="*/ 222409 w 6400800"/>
                <a:gd name="connsiteY7233" fmla="*/ 297656 h 514350"/>
                <a:gd name="connsiteX7234" fmla="*/ 227171 w 6400800"/>
                <a:gd name="connsiteY7234" fmla="*/ 278606 h 514350"/>
                <a:gd name="connsiteX7235" fmla="*/ 228124 w 6400800"/>
                <a:gd name="connsiteY7235" fmla="*/ 284321 h 514350"/>
                <a:gd name="connsiteX7236" fmla="*/ 230029 w 6400800"/>
                <a:gd name="connsiteY7236" fmla="*/ 290989 h 514350"/>
                <a:gd name="connsiteX7237" fmla="*/ 222409 w 6400800"/>
                <a:gd name="connsiteY7237" fmla="*/ 324326 h 514350"/>
                <a:gd name="connsiteX7238" fmla="*/ 221456 w 6400800"/>
                <a:gd name="connsiteY7238" fmla="*/ 330041 h 514350"/>
                <a:gd name="connsiteX7239" fmla="*/ 220504 w 6400800"/>
                <a:gd name="connsiteY7239" fmla="*/ 329089 h 514350"/>
                <a:gd name="connsiteX7240" fmla="*/ 218599 w 6400800"/>
                <a:gd name="connsiteY7240" fmla="*/ 312896 h 514350"/>
                <a:gd name="connsiteX7241" fmla="*/ 222409 w 6400800"/>
                <a:gd name="connsiteY7241" fmla="*/ 297656 h 514350"/>
                <a:gd name="connsiteX7242" fmla="*/ 169069 w 6400800"/>
                <a:gd name="connsiteY7242" fmla="*/ 411956 h 514350"/>
                <a:gd name="connsiteX7243" fmla="*/ 169069 w 6400800"/>
                <a:gd name="connsiteY7243" fmla="*/ 412909 h 514350"/>
                <a:gd name="connsiteX7244" fmla="*/ 165259 w 6400800"/>
                <a:gd name="connsiteY7244" fmla="*/ 396716 h 514350"/>
                <a:gd name="connsiteX7245" fmla="*/ 164306 w 6400800"/>
                <a:gd name="connsiteY7245" fmla="*/ 375761 h 514350"/>
                <a:gd name="connsiteX7246" fmla="*/ 161449 w 6400800"/>
                <a:gd name="connsiteY7246" fmla="*/ 345281 h 514350"/>
                <a:gd name="connsiteX7247" fmla="*/ 158591 w 6400800"/>
                <a:gd name="connsiteY7247" fmla="*/ 321469 h 514350"/>
                <a:gd name="connsiteX7248" fmla="*/ 159544 w 6400800"/>
                <a:gd name="connsiteY7248" fmla="*/ 323374 h 514350"/>
                <a:gd name="connsiteX7249" fmla="*/ 162401 w 6400800"/>
                <a:gd name="connsiteY7249" fmla="*/ 328136 h 514350"/>
                <a:gd name="connsiteX7250" fmla="*/ 167164 w 6400800"/>
                <a:gd name="connsiteY7250" fmla="*/ 376714 h 514350"/>
                <a:gd name="connsiteX7251" fmla="*/ 170021 w 6400800"/>
                <a:gd name="connsiteY7251" fmla="*/ 402431 h 514350"/>
                <a:gd name="connsiteX7252" fmla="*/ 169069 w 6400800"/>
                <a:gd name="connsiteY7252" fmla="*/ 411956 h 514350"/>
                <a:gd name="connsiteX7253" fmla="*/ 209074 w 6400800"/>
                <a:gd name="connsiteY7253" fmla="*/ 350044 h 514350"/>
                <a:gd name="connsiteX7254" fmla="*/ 209074 w 6400800"/>
                <a:gd name="connsiteY7254" fmla="*/ 359569 h 514350"/>
                <a:gd name="connsiteX7255" fmla="*/ 207169 w 6400800"/>
                <a:gd name="connsiteY7255" fmla="*/ 356711 h 514350"/>
                <a:gd name="connsiteX7256" fmla="*/ 209074 w 6400800"/>
                <a:gd name="connsiteY7256" fmla="*/ 350044 h 514350"/>
                <a:gd name="connsiteX7257" fmla="*/ 170974 w 6400800"/>
                <a:gd name="connsiteY7257" fmla="*/ 259556 h 514350"/>
                <a:gd name="connsiteX7258" fmla="*/ 178594 w 6400800"/>
                <a:gd name="connsiteY7258" fmla="*/ 274796 h 514350"/>
                <a:gd name="connsiteX7259" fmla="*/ 187166 w 6400800"/>
                <a:gd name="connsiteY7259" fmla="*/ 291941 h 514350"/>
                <a:gd name="connsiteX7260" fmla="*/ 205264 w 6400800"/>
                <a:gd name="connsiteY7260" fmla="*/ 330041 h 514350"/>
                <a:gd name="connsiteX7261" fmla="*/ 200501 w 6400800"/>
                <a:gd name="connsiteY7261" fmla="*/ 343376 h 514350"/>
                <a:gd name="connsiteX7262" fmla="*/ 199549 w 6400800"/>
                <a:gd name="connsiteY7262" fmla="*/ 342424 h 514350"/>
                <a:gd name="connsiteX7263" fmla="*/ 180499 w 6400800"/>
                <a:gd name="connsiteY7263" fmla="*/ 310039 h 514350"/>
                <a:gd name="connsiteX7264" fmla="*/ 176689 w 6400800"/>
                <a:gd name="connsiteY7264" fmla="*/ 296704 h 514350"/>
                <a:gd name="connsiteX7265" fmla="*/ 176689 w 6400800"/>
                <a:gd name="connsiteY7265" fmla="*/ 305276 h 514350"/>
                <a:gd name="connsiteX7266" fmla="*/ 172879 w 6400800"/>
                <a:gd name="connsiteY7266" fmla="*/ 299561 h 514350"/>
                <a:gd name="connsiteX7267" fmla="*/ 171926 w 6400800"/>
                <a:gd name="connsiteY7267" fmla="*/ 298609 h 514350"/>
                <a:gd name="connsiteX7268" fmla="*/ 168116 w 6400800"/>
                <a:gd name="connsiteY7268" fmla="*/ 279559 h 514350"/>
                <a:gd name="connsiteX7269" fmla="*/ 158591 w 6400800"/>
                <a:gd name="connsiteY7269" fmla="*/ 235744 h 514350"/>
                <a:gd name="connsiteX7270" fmla="*/ 170974 w 6400800"/>
                <a:gd name="connsiteY7270" fmla="*/ 259556 h 514350"/>
                <a:gd name="connsiteX7271" fmla="*/ 161449 w 6400800"/>
                <a:gd name="connsiteY7271" fmla="*/ 307181 h 514350"/>
                <a:gd name="connsiteX7272" fmla="*/ 156686 w 6400800"/>
                <a:gd name="connsiteY7272" fmla="*/ 301466 h 514350"/>
                <a:gd name="connsiteX7273" fmla="*/ 155734 w 6400800"/>
                <a:gd name="connsiteY7273" fmla="*/ 297656 h 514350"/>
                <a:gd name="connsiteX7274" fmla="*/ 161449 w 6400800"/>
                <a:gd name="connsiteY7274" fmla="*/ 307181 h 514350"/>
                <a:gd name="connsiteX7275" fmla="*/ 130969 w 6400800"/>
                <a:gd name="connsiteY7275" fmla="*/ 280511 h 514350"/>
                <a:gd name="connsiteX7276" fmla="*/ 133826 w 6400800"/>
                <a:gd name="connsiteY7276" fmla="*/ 284321 h 514350"/>
                <a:gd name="connsiteX7277" fmla="*/ 145256 w 6400800"/>
                <a:gd name="connsiteY7277" fmla="*/ 301466 h 514350"/>
                <a:gd name="connsiteX7278" fmla="*/ 150971 w 6400800"/>
                <a:gd name="connsiteY7278" fmla="*/ 310039 h 514350"/>
                <a:gd name="connsiteX7279" fmla="*/ 150019 w 6400800"/>
                <a:gd name="connsiteY7279" fmla="*/ 341471 h 514350"/>
                <a:gd name="connsiteX7280" fmla="*/ 149066 w 6400800"/>
                <a:gd name="connsiteY7280" fmla="*/ 339566 h 514350"/>
                <a:gd name="connsiteX7281" fmla="*/ 145256 w 6400800"/>
                <a:gd name="connsiteY7281" fmla="*/ 328136 h 514350"/>
                <a:gd name="connsiteX7282" fmla="*/ 140494 w 6400800"/>
                <a:gd name="connsiteY7282" fmla="*/ 317659 h 514350"/>
                <a:gd name="connsiteX7283" fmla="*/ 132874 w 6400800"/>
                <a:gd name="connsiteY7283" fmla="*/ 301466 h 514350"/>
                <a:gd name="connsiteX7284" fmla="*/ 127159 w 6400800"/>
                <a:gd name="connsiteY7284" fmla="*/ 290989 h 514350"/>
                <a:gd name="connsiteX7285" fmla="*/ 130969 w 6400800"/>
                <a:gd name="connsiteY7285" fmla="*/ 280511 h 514350"/>
                <a:gd name="connsiteX7286" fmla="*/ 121444 w 6400800"/>
                <a:gd name="connsiteY7286" fmla="*/ 318611 h 514350"/>
                <a:gd name="connsiteX7287" fmla="*/ 127159 w 6400800"/>
                <a:gd name="connsiteY7287" fmla="*/ 294799 h 514350"/>
                <a:gd name="connsiteX7288" fmla="*/ 127159 w 6400800"/>
                <a:gd name="connsiteY7288" fmla="*/ 293846 h 514350"/>
                <a:gd name="connsiteX7289" fmla="*/ 129064 w 6400800"/>
                <a:gd name="connsiteY7289" fmla="*/ 303371 h 514350"/>
                <a:gd name="connsiteX7290" fmla="*/ 133826 w 6400800"/>
                <a:gd name="connsiteY7290" fmla="*/ 320516 h 514350"/>
                <a:gd name="connsiteX7291" fmla="*/ 138589 w 6400800"/>
                <a:gd name="connsiteY7291" fmla="*/ 342424 h 514350"/>
                <a:gd name="connsiteX7292" fmla="*/ 143351 w 6400800"/>
                <a:gd name="connsiteY7292" fmla="*/ 369094 h 514350"/>
                <a:gd name="connsiteX7293" fmla="*/ 148114 w 6400800"/>
                <a:gd name="connsiteY7293" fmla="*/ 398621 h 514350"/>
                <a:gd name="connsiteX7294" fmla="*/ 149066 w 6400800"/>
                <a:gd name="connsiteY7294" fmla="*/ 403384 h 514350"/>
                <a:gd name="connsiteX7295" fmla="*/ 149066 w 6400800"/>
                <a:gd name="connsiteY7295" fmla="*/ 411004 h 514350"/>
                <a:gd name="connsiteX7296" fmla="*/ 149066 w 6400800"/>
                <a:gd name="connsiteY7296" fmla="*/ 416719 h 514350"/>
                <a:gd name="connsiteX7297" fmla="*/ 138589 w 6400800"/>
                <a:gd name="connsiteY7297" fmla="*/ 388144 h 514350"/>
                <a:gd name="connsiteX7298" fmla="*/ 129064 w 6400800"/>
                <a:gd name="connsiteY7298" fmla="*/ 363379 h 514350"/>
                <a:gd name="connsiteX7299" fmla="*/ 131921 w 6400800"/>
                <a:gd name="connsiteY7299" fmla="*/ 358616 h 514350"/>
                <a:gd name="connsiteX7300" fmla="*/ 129064 w 6400800"/>
                <a:gd name="connsiteY7300" fmla="*/ 361474 h 514350"/>
                <a:gd name="connsiteX7301" fmla="*/ 124301 w 6400800"/>
                <a:gd name="connsiteY7301" fmla="*/ 350044 h 514350"/>
                <a:gd name="connsiteX7302" fmla="*/ 125254 w 6400800"/>
                <a:gd name="connsiteY7302" fmla="*/ 344329 h 514350"/>
                <a:gd name="connsiteX7303" fmla="*/ 129064 w 6400800"/>
                <a:gd name="connsiteY7303" fmla="*/ 328136 h 514350"/>
                <a:gd name="connsiteX7304" fmla="*/ 121444 w 6400800"/>
                <a:gd name="connsiteY7304" fmla="*/ 343376 h 514350"/>
                <a:gd name="connsiteX7305" fmla="*/ 121444 w 6400800"/>
                <a:gd name="connsiteY7305" fmla="*/ 343376 h 514350"/>
                <a:gd name="connsiteX7306" fmla="*/ 120491 w 6400800"/>
                <a:gd name="connsiteY7306" fmla="*/ 341471 h 514350"/>
                <a:gd name="connsiteX7307" fmla="*/ 117634 w 6400800"/>
                <a:gd name="connsiteY7307" fmla="*/ 334804 h 514350"/>
                <a:gd name="connsiteX7308" fmla="*/ 121444 w 6400800"/>
                <a:gd name="connsiteY7308" fmla="*/ 318611 h 514350"/>
                <a:gd name="connsiteX7309" fmla="*/ 116681 w 6400800"/>
                <a:gd name="connsiteY7309" fmla="*/ 393859 h 514350"/>
                <a:gd name="connsiteX7310" fmla="*/ 127159 w 6400800"/>
                <a:gd name="connsiteY7310" fmla="*/ 419576 h 514350"/>
                <a:gd name="connsiteX7311" fmla="*/ 113824 w 6400800"/>
                <a:gd name="connsiteY7311" fmla="*/ 414814 h 514350"/>
                <a:gd name="connsiteX7312" fmla="*/ 116681 w 6400800"/>
                <a:gd name="connsiteY7312" fmla="*/ 393859 h 514350"/>
                <a:gd name="connsiteX7313" fmla="*/ 91916 w 6400800"/>
                <a:gd name="connsiteY7313" fmla="*/ 341471 h 514350"/>
                <a:gd name="connsiteX7314" fmla="*/ 92869 w 6400800"/>
                <a:gd name="connsiteY7314" fmla="*/ 335756 h 514350"/>
                <a:gd name="connsiteX7315" fmla="*/ 94774 w 6400800"/>
                <a:gd name="connsiteY7315" fmla="*/ 340519 h 514350"/>
                <a:gd name="connsiteX7316" fmla="*/ 102394 w 6400800"/>
                <a:gd name="connsiteY7316" fmla="*/ 358616 h 514350"/>
                <a:gd name="connsiteX7317" fmla="*/ 96679 w 6400800"/>
                <a:gd name="connsiteY7317" fmla="*/ 384334 h 514350"/>
                <a:gd name="connsiteX7318" fmla="*/ 94774 w 6400800"/>
                <a:gd name="connsiteY7318" fmla="*/ 399574 h 514350"/>
                <a:gd name="connsiteX7319" fmla="*/ 93821 w 6400800"/>
                <a:gd name="connsiteY7319" fmla="*/ 400526 h 514350"/>
                <a:gd name="connsiteX7320" fmla="*/ 90964 w 6400800"/>
                <a:gd name="connsiteY7320" fmla="*/ 404336 h 514350"/>
                <a:gd name="connsiteX7321" fmla="*/ 88106 w 6400800"/>
                <a:gd name="connsiteY7321" fmla="*/ 382429 h 514350"/>
                <a:gd name="connsiteX7322" fmla="*/ 85249 w 6400800"/>
                <a:gd name="connsiteY7322" fmla="*/ 365284 h 514350"/>
                <a:gd name="connsiteX7323" fmla="*/ 91916 w 6400800"/>
                <a:gd name="connsiteY7323" fmla="*/ 341471 h 514350"/>
                <a:gd name="connsiteX7324" fmla="*/ 72866 w 6400800"/>
                <a:gd name="connsiteY7324" fmla="*/ 407194 h 514350"/>
                <a:gd name="connsiteX7325" fmla="*/ 72866 w 6400800"/>
                <a:gd name="connsiteY7325" fmla="*/ 409099 h 514350"/>
                <a:gd name="connsiteX7326" fmla="*/ 71914 w 6400800"/>
                <a:gd name="connsiteY7326" fmla="*/ 409099 h 514350"/>
                <a:gd name="connsiteX7327" fmla="*/ 72866 w 6400800"/>
                <a:gd name="connsiteY7327" fmla="*/ 407194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Lst>
              <a:rect l="l" t="t" r="r" b="b"/>
              <a:pathLst>
                <a:path w="6400800" h="514350">
                  <a:moveTo>
                    <a:pt x="7144" y="511016"/>
                  </a:moveTo>
                  <a:lnTo>
                    <a:pt x="6354604" y="511016"/>
                  </a:lnTo>
                  <a:lnTo>
                    <a:pt x="6354604" y="409099"/>
                  </a:lnTo>
                  <a:cubicBezTo>
                    <a:pt x="6346031" y="411004"/>
                    <a:pt x="6337459" y="413861"/>
                    <a:pt x="6327934" y="415766"/>
                  </a:cubicBezTo>
                  <a:cubicBezTo>
                    <a:pt x="6327934" y="411956"/>
                    <a:pt x="6327934" y="408146"/>
                    <a:pt x="6327934" y="404336"/>
                  </a:cubicBezTo>
                  <a:cubicBezTo>
                    <a:pt x="6328887" y="396716"/>
                    <a:pt x="6327934" y="389096"/>
                    <a:pt x="6328887" y="383381"/>
                  </a:cubicBezTo>
                  <a:cubicBezTo>
                    <a:pt x="6329839" y="371951"/>
                    <a:pt x="6329839" y="365284"/>
                    <a:pt x="6329839" y="365284"/>
                  </a:cubicBezTo>
                  <a:cubicBezTo>
                    <a:pt x="6329839" y="365284"/>
                    <a:pt x="6327934" y="371951"/>
                    <a:pt x="6324124" y="383381"/>
                  </a:cubicBezTo>
                  <a:cubicBezTo>
                    <a:pt x="6322219" y="389096"/>
                    <a:pt x="6321267" y="395764"/>
                    <a:pt x="6319362" y="404336"/>
                  </a:cubicBezTo>
                  <a:cubicBezTo>
                    <a:pt x="6318409" y="409099"/>
                    <a:pt x="6317456" y="413861"/>
                    <a:pt x="6316504" y="419576"/>
                  </a:cubicBezTo>
                  <a:cubicBezTo>
                    <a:pt x="6311742" y="420529"/>
                    <a:pt x="6306979" y="421481"/>
                    <a:pt x="6303169" y="423386"/>
                  </a:cubicBezTo>
                  <a:cubicBezTo>
                    <a:pt x="6303169" y="416719"/>
                    <a:pt x="6303169" y="411004"/>
                    <a:pt x="6304121" y="405289"/>
                  </a:cubicBezTo>
                  <a:cubicBezTo>
                    <a:pt x="6308884" y="390049"/>
                    <a:pt x="6314599" y="373856"/>
                    <a:pt x="6319362" y="358616"/>
                  </a:cubicBezTo>
                  <a:cubicBezTo>
                    <a:pt x="6320314" y="355759"/>
                    <a:pt x="6321267" y="352901"/>
                    <a:pt x="6322219" y="349091"/>
                  </a:cubicBezTo>
                  <a:cubicBezTo>
                    <a:pt x="6326029" y="336709"/>
                    <a:pt x="6330792" y="325279"/>
                    <a:pt x="6334601" y="312896"/>
                  </a:cubicBezTo>
                  <a:cubicBezTo>
                    <a:pt x="6340317" y="297656"/>
                    <a:pt x="6345079" y="283369"/>
                    <a:pt x="6349842" y="269081"/>
                  </a:cubicBezTo>
                  <a:cubicBezTo>
                    <a:pt x="6354604" y="254794"/>
                    <a:pt x="6359367" y="240506"/>
                    <a:pt x="6363176" y="228124"/>
                  </a:cubicBezTo>
                  <a:cubicBezTo>
                    <a:pt x="6367939" y="214789"/>
                    <a:pt x="6371749" y="202406"/>
                    <a:pt x="6375559" y="190976"/>
                  </a:cubicBezTo>
                  <a:cubicBezTo>
                    <a:pt x="6383179" y="168116"/>
                    <a:pt x="6388894" y="149066"/>
                    <a:pt x="6393656" y="134779"/>
                  </a:cubicBezTo>
                  <a:cubicBezTo>
                    <a:pt x="6397467" y="121444"/>
                    <a:pt x="6400324" y="113824"/>
                    <a:pt x="6400324" y="113824"/>
                  </a:cubicBezTo>
                  <a:cubicBezTo>
                    <a:pt x="6400324" y="113824"/>
                    <a:pt x="6396514" y="121444"/>
                    <a:pt x="6389846" y="133826"/>
                  </a:cubicBezTo>
                  <a:cubicBezTo>
                    <a:pt x="6386989" y="139541"/>
                    <a:pt x="6384131" y="146209"/>
                    <a:pt x="6380321" y="153829"/>
                  </a:cubicBezTo>
                  <a:cubicBezTo>
                    <a:pt x="6385084" y="136684"/>
                    <a:pt x="6389846" y="121444"/>
                    <a:pt x="6392704" y="110966"/>
                  </a:cubicBezTo>
                  <a:cubicBezTo>
                    <a:pt x="6396514" y="95726"/>
                    <a:pt x="6399371" y="87154"/>
                    <a:pt x="6399371" y="87154"/>
                  </a:cubicBezTo>
                  <a:cubicBezTo>
                    <a:pt x="6399371" y="87154"/>
                    <a:pt x="6395562" y="95726"/>
                    <a:pt x="6388894" y="109061"/>
                  </a:cubicBezTo>
                  <a:cubicBezTo>
                    <a:pt x="6386037" y="115729"/>
                    <a:pt x="6382226" y="125254"/>
                    <a:pt x="6377464" y="134779"/>
                  </a:cubicBezTo>
                  <a:cubicBezTo>
                    <a:pt x="6372701" y="144304"/>
                    <a:pt x="6367939" y="155734"/>
                    <a:pt x="6364129" y="168116"/>
                  </a:cubicBezTo>
                  <a:cubicBezTo>
                    <a:pt x="6354604" y="192881"/>
                    <a:pt x="6343174" y="222409"/>
                    <a:pt x="6332696" y="253841"/>
                  </a:cubicBezTo>
                  <a:cubicBezTo>
                    <a:pt x="6326981" y="270034"/>
                    <a:pt x="6321267" y="286226"/>
                    <a:pt x="6316504" y="302419"/>
                  </a:cubicBezTo>
                  <a:cubicBezTo>
                    <a:pt x="6315551" y="304324"/>
                    <a:pt x="6315551" y="306229"/>
                    <a:pt x="6314599" y="308134"/>
                  </a:cubicBezTo>
                  <a:cubicBezTo>
                    <a:pt x="6315551" y="300514"/>
                    <a:pt x="6316504" y="293846"/>
                    <a:pt x="6317456" y="287179"/>
                  </a:cubicBezTo>
                  <a:cubicBezTo>
                    <a:pt x="6318409" y="279559"/>
                    <a:pt x="6319362" y="272891"/>
                    <a:pt x="6319362" y="267176"/>
                  </a:cubicBezTo>
                  <a:cubicBezTo>
                    <a:pt x="6320314" y="256699"/>
                    <a:pt x="6320314" y="250031"/>
                    <a:pt x="6320314" y="250031"/>
                  </a:cubicBezTo>
                  <a:cubicBezTo>
                    <a:pt x="6320314" y="250031"/>
                    <a:pt x="6318409" y="255746"/>
                    <a:pt x="6314599" y="266224"/>
                  </a:cubicBezTo>
                  <a:cubicBezTo>
                    <a:pt x="6311742" y="276701"/>
                    <a:pt x="6306979" y="291941"/>
                    <a:pt x="6302217" y="310039"/>
                  </a:cubicBezTo>
                  <a:cubicBezTo>
                    <a:pt x="6299359" y="318611"/>
                    <a:pt x="6296501" y="329089"/>
                    <a:pt x="6293644" y="339566"/>
                  </a:cubicBezTo>
                  <a:cubicBezTo>
                    <a:pt x="6291739" y="347186"/>
                    <a:pt x="6288881" y="354806"/>
                    <a:pt x="6286976" y="362426"/>
                  </a:cubicBezTo>
                  <a:cubicBezTo>
                    <a:pt x="6286024" y="352901"/>
                    <a:pt x="6285071" y="343376"/>
                    <a:pt x="6284119" y="335756"/>
                  </a:cubicBezTo>
                  <a:cubicBezTo>
                    <a:pt x="6286024" y="330041"/>
                    <a:pt x="6286976" y="324326"/>
                    <a:pt x="6288881" y="318611"/>
                  </a:cubicBezTo>
                  <a:cubicBezTo>
                    <a:pt x="6293644" y="303371"/>
                    <a:pt x="6298406" y="289084"/>
                    <a:pt x="6302217" y="274796"/>
                  </a:cubicBezTo>
                  <a:cubicBezTo>
                    <a:pt x="6304121" y="268129"/>
                    <a:pt x="6306026" y="261461"/>
                    <a:pt x="6307931" y="255746"/>
                  </a:cubicBezTo>
                  <a:cubicBezTo>
                    <a:pt x="6309837" y="250031"/>
                    <a:pt x="6311742" y="244316"/>
                    <a:pt x="6313646" y="238601"/>
                  </a:cubicBezTo>
                  <a:cubicBezTo>
                    <a:pt x="6317456" y="228124"/>
                    <a:pt x="6320314" y="218599"/>
                    <a:pt x="6323171" y="210026"/>
                  </a:cubicBezTo>
                  <a:cubicBezTo>
                    <a:pt x="6327934" y="193834"/>
                    <a:pt x="6330792" y="185261"/>
                    <a:pt x="6330792" y="185261"/>
                  </a:cubicBezTo>
                  <a:cubicBezTo>
                    <a:pt x="6330792" y="185261"/>
                    <a:pt x="6326981" y="193834"/>
                    <a:pt x="6319362" y="208121"/>
                  </a:cubicBezTo>
                  <a:cubicBezTo>
                    <a:pt x="6315551" y="215741"/>
                    <a:pt x="6311742" y="224314"/>
                    <a:pt x="6306026" y="234791"/>
                  </a:cubicBezTo>
                  <a:cubicBezTo>
                    <a:pt x="6303169" y="239554"/>
                    <a:pt x="6301264" y="245269"/>
                    <a:pt x="6298406" y="250984"/>
                  </a:cubicBezTo>
                  <a:cubicBezTo>
                    <a:pt x="6295549" y="256699"/>
                    <a:pt x="6293644" y="263366"/>
                    <a:pt x="6290787" y="270034"/>
                  </a:cubicBezTo>
                  <a:cubicBezTo>
                    <a:pt x="6286976" y="279559"/>
                    <a:pt x="6282214" y="290036"/>
                    <a:pt x="6278404" y="301466"/>
                  </a:cubicBezTo>
                  <a:cubicBezTo>
                    <a:pt x="6277451" y="295751"/>
                    <a:pt x="6277451" y="292894"/>
                    <a:pt x="6277451" y="292894"/>
                  </a:cubicBezTo>
                  <a:cubicBezTo>
                    <a:pt x="6277451" y="292894"/>
                    <a:pt x="6277451" y="297656"/>
                    <a:pt x="6276499" y="306229"/>
                  </a:cubicBezTo>
                  <a:cubicBezTo>
                    <a:pt x="6275546" y="308134"/>
                    <a:pt x="6274594" y="310991"/>
                    <a:pt x="6273642" y="312896"/>
                  </a:cubicBezTo>
                  <a:cubicBezTo>
                    <a:pt x="6272689" y="315754"/>
                    <a:pt x="6271737" y="319564"/>
                    <a:pt x="6269831" y="322421"/>
                  </a:cubicBezTo>
                  <a:cubicBezTo>
                    <a:pt x="6270784" y="314801"/>
                    <a:pt x="6272689" y="308134"/>
                    <a:pt x="6273642" y="300514"/>
                  </a:cubicBezTo>
                  <a:cubicBezTo>
                    <a:pt x="6277451" y="283369"/>
                    <a:pt x="6280309" y="267176"/>
                    <a:pt x="6283167" y="252889"/>
                  </a:cubicBezTo>
                  <a:cubicBezTo>
                    <a:pt x="6285071" y="245269"/>
                    <a:pt x="6286024" y="238601"/>
                    <a:pt x="6287929" y="231934"/>
                  </a:cubicBezTo>
                  <a:cubicBezTo>
                    <a:pt x="6289834" y="225266"/>
                    <a:pt x="6290787" y="218599"/>
                    <a:pt x="6292692" y="212884"/>
                  </a:cubicBezTo>
                  <a:cubicBezTo>
                    <a:pt x="6295549" y="200501"/>
                    <a:pt x="6298406" y="190024"/>
                    <a:pt x="6300312" y="181451"/>
                  </a:cubicBezTo>
                  <a:cubicBezTo>
                    <a:pt x="6304121" y="164306"/>
                    <a:pt x="6306026" y="153829"/>
                    <a:pt x="6306026" y="153829"/>
                  </a:cubicBezTo>
                  <a:cubicBezTo>
                    <a:pt x="6306026" y="153829"/>
                    <a:pt x="6302217" y="163354"/>
                    <a:pt x="6296501" y="180499"/>
                  </a:cubicBezTo>
                  <a:cubicBezTo>
                    <a:pt x="6293644" y="189071"/>
                    <a:pt x="6289834" y="199549"/>
                    <a:pt x="6286024" y="210979"/>
                  </a:cubicBezTo>
                  <a:cubicBezTo>
                    <a:pt x="6284119" y="216694"/>
                    <a:pt x="6282214" y="223361"/>
                    <a:pt x="6279356" y="230029"/>
                  </a:cubicBezTo>
                  <a:cubicBezTo>
                    <a:pt x="6277451" y="236696"/>
                    <a:pt x="6275546" y="243364"/>
                    <a:pt x="6273642" y="250984"/>
                  </a:cubicBezTo>
                  <a:cubicBezTo>
                    <a:pt x="6269831" y="265271"/>
                    <a:pt x="6265069" y="281464"/>
                    <a:pt x="6260306" y="298609"/>
                  </a:cubicBezTo>
                  <a:cubicBezTo>
                    <a:pt x="6255544" y="315754"/>
                    <a:pt x="6251734" y="333851"/>
                    <a:pt x="6246971" y="351949"/>
                  </a:cubicBezTo>
                  <a:cubicBezTo>
                    <a:pt x="6244114" y="366236"/>
                    <a:pt x="6240304" y="381476"/>
                    <a:pt x="6236494" y="396716"/>
                  </a:cubicBezTo>
                  <a:cubicBezTo>
                    <a:pt x="6236494" y="395764"/>
                    <a:pt x="6235542" y="395764"/>
                    <a:pt x="6235542" y="394811"/>
                  </a:cubicBezTo>
                  <a:cubicBezTo>
                    <a:pt x="6235542" y="379571"/>
                    <a:pt x="6234589" y="370046"/>
                    <a:pt x="6234589" y="370046"/>
                  </a:cubicBezTo>
                  <a:cubicBezTo>
                    <a:pt x="6234589" y="370046"/>
                    <a:pt x="6233637" y="376714"/>
                    <a:pt x="6230779" y="389096"/>
                  </a:cubicBezTo>
                  <a:cubicBezTo>
                    <a:pt x="6229826" y="387191"/>
                    <a:pt x="6228874" y="386239"/>
                    <a:pt x="6227921" y="384334"/>
                  </a:cubicBezTo>
                  <a:cubicBezTo>
                    <a:pt x="6224112" y="378619"/>
                    <a:pt x="6220301" y="372904"/>
                    <a:pt x="6216492" y="367189"/>
                  </a:cubicBezTo>
                  <a:cubicBezTo>
                    <a:pt x="6218396" y="360521"/>
                    <a:pt x="6220301" y="354806"/>
                    <a:pt x="6223159" y="348139"/>
                  </a:cubicBezTo>
                  <a:cubicBezTo>
                    <a:pt x="6227921" y="334804"/>
                    <a:pt x="6232684" y="322421"/>
                    <a:pt x="6236494" y="310991"/>
                  </a:cubicBezTo>
                  <a:cubicBezTo>
                    <a:pt x="6240304" y="299561"/>
                    <a:pt x="6244114" y="289084"/>
                    <a:pt x="6247924" y="279559"/>
                  </a:cubicBezTo>
                  <a:cubicBezTo>
                    <a:pt x="6251734" y="270034"/>
                    <a:pt x="6254592" y="262414"/>
                    <a:pt x="6256496" y="254794"/>
                  </a:cubicBezTo>
                  <a:cubicBezTo>
                    <a:pt x="6261259" y="241459"/>
                    <a:pt x="6264117" y="233839"/>
                    <a:pt x="6264117" y="233839"/>
                  </a:cubicBezTo>
                  <a:cubicBezTo>
                    <a:pt x="6264117" y="233839"/>
                    <a:pt x="6260306" y="241459"/>
                    <a:pt x="6252687" y="253841"/>
                  </a:cubicBezTo>
                  <a:cubicBezTo>
                    <a:pt x="6248876" y="260509"/>
                    <a:pt x="6245067" y="268129"/>
                    <a:pt x="6240304" y="276701"/>
                  </a:cubicBezTo>
                  <a:cubicBezTo>
                    <a:pt x="6235542" y="285274"/>
                    <a:pt x="6230779" y="295751"/>
                    <a:pt x="6225064" y="307181"/>
                  </a:cubicBezTo>
                  <a:cubicBezTo>
                    <a:pt x="6220301" y="318611"/>
                    <a:pt x="6214587" y="330994"/>
                    <a:pt x="6208871" y="343376"/>
                  </a:cubicBezTo>
                  <a:cubicBezTo>
                    <a:pt x="6207919" y="346234"/>
                    <a:pt x="6206014" y="349091"/>
                    <a:pt x="6205062" y="351949"/>
                  </a:cubicBezTo>
                  <a:cubicBezTo>
                    <a:pt x="6205062" y="351949"/>
                    <a:pt x="6204109" y="350996"/>
                    <a:pt x="6204109" y="350996"/>
                  </a:cubicBezTo>
                  <a:cubicBezTo>
                    <a:pt x="6206967" y="340519"/>
                    <a:pt x="6208871" y="330041"/>
                    <a:pt x="6210776" y="320516"/>
                  </a:cubicBezTo>
                  <a:cubicBezTo>
                    <a:pt x="6214587" y="298609"/>
                    <a:pt x="6219349" y="280511"/>
                    <a:pt x="6222206" y="268129"/>
                  </a:cubicBezTo>
                  <a:cubicBezTo>
                    <a:pt x="6225064" y="255746"/>
                    <a:pt x="6226017" y="248126"/>
                    <a:pt x="6226017" y="248126"/>
                  </a:cubicBezTo>
                  <a:cubicBezTo>
                    <a:pt x="6226017" y="248126"/>
                    <a:pt x="6223159" y="254794"/>
                    <a:pt x="6218396" y="267176"/>
                  </a:cubicBezTo>
                  <a:cubicBezTo>
                    <a:pt x="6216492" y="272891"/>
                    <a:pt x="6213634" y="280511"/>
                    <a:pt x="6209824" y="289084"/>
                  </a:cubicBezTo>
                  <a:cubicBezTo>
                    <a:pt x="6206967" y="297656"/>
                    <a:pt x="6203156" y="307181"/>
                    <a:pt x="6199346" y="317659"/>
                  </a:cubicBezTo>
                  <a:cubicBezTo>
                    <a:pt x="6197442" y="323374"/>
                    <a:pt x="6195537" y="330041"/>
                    <a:pt x="6193631" y="335756"/>
                  </a:cubicBezTo>
                  <a:cubicBezTo>
                    <a:pt x="6190774" y="330994"/>
                    <a:pt x="6186964" y="326231"/>
                    <a:pt x="6184106" y="322421"/>
                  </a:cubicBezTo>
                  <a:cubicBezTo>
                    <a:pt x="6183154" y="321469"/>
                    <a:pt x="6182201" y="320516"/>
                    <a:pt x="6181249" y="318611"/>
                  </a:cubicBezTo>
                  <a:cubicBezTo>
                    <a:pt x="6182201" y="312896"/>
                    <a:pt x="6183154" y="307181"/>
                    <a:pt x="6184106" y="302419"/>
                  </a:cubicBezTo>
                  <a:cubicBezTo>
                    <a:pt x="6186012" y="291941"/>
                    <a:pt x="6186964" y="282416"/>
                    <a:pt x="6189821" y="274796"/>
                  </a:cubicBezTo>
                  <a:cubicBezTo>
                    <a:pt x="6193631" y="259556"/>
                    <a:pt x="6195537" y="250984"/>
                    <a:pt x="6195537" y="250984"/>
                  </a:cubicBezTo>
                  <a:cubicBezTo>
                    <a:pt x="6195537" y="250984"/>
                    <a:pt x="6191726" y="259556"/>
                    <a:pt x="6186012" y="273844"/>
                  </a:cubicBezTo>
                  <a:cubicBezTo>
                    <a:pt x="6183154" y="280511"/>
                    <a:pt x="6180296" y="290036"/>
                    <a:pt x="6176487" y="300514"/>
                  </a:cubicBezTo>
                  <a:cubicBezTo>
                    <a:pt x="6175534" y="303371"/>
                    <a:pt x="6174581" y="306229"/>
                    <a:pt x="6173629" y="309086"/>
                  </a:cubicBezTo>
                  <a:cubicBezTo>
                    <a:pt x="6173629" y="309086"/>
                    <a:pt x="6172676" y="308134"/>
                    <a:pt x="6172676" y="308134"/>
                  </a:cubicBezTo>
                  <a:cubicBezTo>
                    <a:pt x="6173629" y="303371"/>
                    <a:pt x="6174581" y="298609"/>
                    <a:pt x="6174581" y="294799"/>
                  </a:cubicBezTo>
                  <a:cubicBezTo>
                    <a:pt x="6176487" y="283369"/>
                    <a:pt x="6178392" y="272891"/>
                    <a:pt x="6180296" y="263366"/>
                  </a:cubicBezTo>
                  <a:cubicBezTo>
                    <a:pt x="6182201" y="253841"/>
                    <a:pt x="6184106" y="244316"/>
                    <a:pt x="6185059" y="236696"/>
                  </a:cubicBezTo>
                  <a:cubicBezTo>
                    <a:pt x="6186964" y="229076"/>
                    <a:pt x="6187917" y="221456"/>
                    <a:pt x="6188869" y="215741"/>
                  </a:cubicBezTo>
                  <a:cubicBezTo>
                    <a:pt x="6190774" y="204311"/>
                    <a:pt x="6192679" y="197644"/>
                    <a:pt x="6192679" y="197644"/>
                  </a:cubicBezTo>
                  <a:cubicBezTo>
                    <a:pt x="6192679" y="197644"/>
                    <a:pt x="6189821" y="203359"/>
                    <a:pt x="6185059" y="214789"/>
                  </a:cubicBezTo>
                  <a:cubicBezTo>
                    <a:pt x="6180296" y="225266"/>
                    <a:pt x="6174581" y="241459"/>
                    <a:pt x="6168867" y="260509"/>
                  </a:cubicBezTo>
                  <a:cubicBezTo>
                    <a:pt x="6166962" y="267176"/>
                    <a:pt x="6165056" y="273844"/>
                    <a:pt x="6163151" y="280511"/>
                  </a:cubicBezTo>
                  <a:cubicBezTo>
                    <a:pt x="6161246" y="270034"/>
                    <a:pt x="6160294" y="261461"/>
                    <a:pt x="6159342" y="253841"/>
                  </a:cubicBezTo>
                  <a:cubicBezTo>
                    <a:pt x="6156484" y="235744"/>
                    <a:pt x="6154579" y="225266"/>
                    <a:pt x="6154579" y="225266"/>
                  </a:cubicBezTo>
                  <a:cubicBezTo>
                    <a:pt x="6154579" y="225266"/>
                    <a:pt x="6155531" y="248126"/>
                    <a:pt x="6156484" y="285274"/>
                  </a:cubicBezTo>
                  <a:cubicBezTo>
                    <a:pt x="6151721" y="278606"/>
                    <a:pt x="6146959" y="272891"/>
                    <a:pt x="6143149" y="268129"/>
                  </a:cubicBezTo>
                  <a:cubicBezTo>
                    <a:pt x="6143149" y="268129"/>
                    <a:pt x="6143149" y="267176"/>
                    <a:pt x="6143149" y="267176"/>
                  </a:cubicBezTo>
                  <a:cubicBezTo>
                    <a:pt x="6144101" y="263366"/>
                    <a:pt x="6145054" y="259556"/>
                    <a:pt x="6146006" y="256699"/>
                  </a:cubicBezTo>
                  <a:cubicBezTo>
                    <a:pt x="6156484" y="210026"/>
                    <a:pt x="6161246" y="178594"/>
                    <a:pt x="6161246" y="178594"/>
                  </a:cubicBezTo>
                  <a:cubicBezTo>
                    <a:pt x="6161246" y="178594"/>
                    <a:pt x="6158389" y="186214"/>
                    <a:pt x="6152674" y="200501"/>
                  </a:cubicBezTo>
                  <a:cubicBezTo>
                    <a:pt x="6152674" y="199549"/>
                    <a:pt x="6152674" y="198596"/>
                    <a:pt x="6152674" y="197644"/>
                  </a:cubicBezTo>
                  <a:cubicBezTo>
                    <a:pt x="6154579" y="188119"/>
                    <a:pt x="6155531" y="179546"/>
                    <a:pt x="6156484" y="172879"/>
                  </a:cubicBezTo>
                  <a:cubicBezTo>
                    <a:pt x="6158389" y="158591"/>
                    <a:pt x="6160294" y="150971"/>
                    <a:pt x="6160294" y="150971"/>
                  </a:cubicBezTo>
                  <a:cubicBezTo>
                    <a:pt x="6160294" y="150971"/>
                    <a:pt x="6157437" y="158591"/>
                    <a:pt x="6152674" y="171926"/>
                  </a:cubicBezTo>
                  <a:cubicBezTo>
                    <a:pt x="6150769" y="178594"/>
                    <a:pt x="6147912" y="187166"/>
                    <a:pt x="6145054" y="196691"/>
                  </a:cubicBezTo>
                  <a:cubicBezTo>
                    <a:pt x="6143149" y="204311"/>
                    <a:pt x="6140292" y="211931"/>
                    <a:pt x="6138387" y="220504"/>
                  </a:cubicBezTo>
                  <a:cubicBezTo>
                    <a:pt x="6136481" y="209074"/>
                    <a:pt x="6135529" y="202406"/>
                    <a:pt x="6135529" y="202406"/>
                  </a:cubicBezTo>
                  <a:cubicBezTo>
                    <a:pt x="6135529" y="202406"/>
                    <a:pt x="6135529" y="209074"/>
                    <a:pt x="6134576" y="221456"/>
                  </a:cubicBezTo>
                  <a:cubicBezTo>
                    <a:pt x="6134576" y="227171"/>
                    <a:pt x="6132671" y="234791"/>
                    <a:pt x="6132671" y="242411"/>
                  </a:cubicBezTo>
                  <a:cubicBezTo>
                    <a:pt x="6132671" y="244316"/>
                    <a:pt x="6131719" y="246221"/>
                    <a:pt x="6131719" y="249079"/>
                  </a:cubicBezTo>
                  <a:cubicBezTo>
                    <a:pt x="6131719" y="250984"/>
                    <a:pt x="6130767" y="251936"/>
                    <a:pt x="6130767" y="253841"/>
                  </a:cubicBezTo>
                  <a:cubicBezTo>
                    <a:pt x="6129814" y="252889"/>
                    <a:pt x="6129814" y="251936"/>
                    <a:pt x="6129814" y="251936"/>
                  </a:cubicBezTo>
                  <a:cubicBezTo>
                    <a:pt x="6129814" y="251936"/>
                    <a:pt x="6129814" y="252889"/>
                    <a:pt x="6130767" y="254794"/>
                  </a:cubicBezTo>
                  <a:cubicBezTo>
                    <a:pt x="6130767" y="256699"/>
                    <a:pt x="6129814" y="258604"/>
                    <a:pt x="6129814" y="261461"/>
                  </a:cubicBezTo>
                  <a:cubicBezTo>
                    <a:pt x="6129814" y="250031"/>
                    <a:pt x="6129814" y="243364"/>
                    <a:pt x="6129814" y="243364"/>
                  </a:cubicBezTo>
                  <a:cubicBezTo>
                    <a:pt x="6129814" y="243364"/>
                    <a:pt x="6127909" y="254794"/>
                    <a:pt x="6126004" y="274796"/>
                  </a:cubicBezTo>
                  <a:cubicBezTo>
                    <a:pt x="6126004" y="276701"/>
                    <a:pt x="6126004" y="279559"/>
                    <a:pt x="6125051" y="281464"/>
                  </a:cubicBezTo>
                  <a:cubicBezTo>
                    <a:pt x="6124099" y="275749"/>
                    <a:pt x="6123146" y="270986"/>
                    <a:pt x="6122194" y="267176"/>
                  </a:cubicBezTo>
                  <a:cubicBezTo>
                    <a:pt x="6119337" y="251936"/>
                    <a:pt x="6117431" y="243364"/>
                    <a:pt x="6117431" y="243364"/>
                  </a:cubicBezTo>
                  <a:cubicBezTo>
                    <a:pt x="6117431" y="243364"/>
                    <a:pt x="6117431" y="251936"/>
                    <a:pt x="6118384" y="267176"/>
                  </a:cubicBezTo>
                  <a:cubicBezTo>
                    <a:pt x="6118384" y="275749"/>
                    <a:pt x="6119337" y="287179"/>
                    <a:pt x="6119337" y="300514"/>
                  </a:cubicBezTo>
                  <a:cubicBezTo>
                    <a:pt x="6117431" y="306229"/>
                    <a:pt x="6115526" y="311944"/>
                    <a:pt x="6114574" y="317659"/>
                  </a:cubicBezTo>
                  <a:cubicBezTo>
                    <a:pt x="6114574" y="313849"/>
                    <a:pt x="6114574" y="310991"/>
                    <a:pt x="6114574" y="307181"/>
                  </a:cubicBezTo>
                  <a:cubicBezTo>
                    <a:pt x="6113621" y="299561"/>
                    <a:pt x="6113621" y="292894"/>
                    <a:pt x="6112669" y="286226"/>
                  </a:cubicBezTo>
                  <a:cubicBezTo>
                    <a:pt x="6111717" y="279559"/>
                    <a:pt x="6110764" y="274796"/>
                    <a:pt x="6109812" y="270986"/>
                  </a:cubicBezTo>
                  <a:cubicBezTo>
                    <a:pt x="6106954" y="262414"/>
                    <a:pt x="6105049" y="258604"/>
                    <a:pt x="6105049" y="258604"/>
                  </a:cubicBezTo>
                  <a:cubicBezTo>
                    <a:pt x="6105049" y="258604"/>
                    <a:pt x="6105049" y="263366"/>
                    <a:pt x="6106001" y="272891"/>
                  </a:cubicBezTo>
                  <a:cubicBezTo>
                    <a:pt x="6106001" y="275749"/>
                    <a:pt x="6106001" y="278606"/>
                    <a:pt x="6106001" y="282416"/>
                  </a:cubicBezTo>
                  <a:cubicBezTo>
                    <a:pt x="6105049" y="279559"/>
                    <a:pt x="6105049" y="276701"/>
                    <a:pt x="6104096" y="273844"/>
                  </a:cubicBezTo>
                  <a:cubicBezTo>
                    <a:pt x="6103144" y="271939"/>
                    <a:pt x="6103144" y="270034"/>
                    <a:pt x="6102192" y="268129"/>
                  </a:cubicBezTo>
                  <a:cubicBezTo>
                    <a:pt x="6102192" y="263366"/>
                    <a:pt x="6101239" y="258604"/>
                    <a:pt x="6101239" y="253841"/>
                  </a:cubicBezTo>
                  <a:cubicBezTo>
                    <a:pt x="6102192" y="251936"/>
                    <a:pt x="6102192" y="249079"/>
                    <a:pt x="6103144" y="247174"/>
                  </a:cubicBezTo>
                  <a:cubicBezTo>
                    <a:pt x="6105049" y="238601"/>
                    <a:pt x="6106954" y="230981"/>
                    <a:pt x="6107906" y="225266"/>
                  </a:cubicBezTo>
                  <a:cubicBezTo>
                    <a:pt x="6110764" y="212884"/>
                    <a:pt x="6111717" y="205264"/>
                    <a:pt x="6111717" y="205264"/>
                  </a:cubicBezTo>
                  <a:cubicBezTo>
                    <a:pt x="6111717" y="205264"/>
                    <a:pt x="6108859" y="211931"/>
                    <a:pt x="6104096" y="223361"/>
                  </a:cubicBezTo>
                  <a:cubicBezTo>
                    <a:pt x="6103144" y="227171"/>
                    <a:pt x="6101239" y="230981"/>
                    <a:pt x="6099334" y="234791"/>
                  </a:cubicBezTo>
                  <a:cubicBezTo>
                    <a:pt x="6098381" y="220504"/>
                    <a:pt x="6097429" y="210026"/>
                    <a:pt x="6096476" y="206216"/>
                  </a:cubicBezTo>
                  <a:cubicBezTo>
                    <a:pt x="6096476" y="204311"/>
                    <a:pt x="6097429" y="201454"/>
                    <a:pt x="6097429" y="199549"/>
                  </a:cubicBezTo>
                  <a:cubicBezTo>
                    <a:pt x="6099334" y="191929"/>
                    <a:pt x="6100287" y="184309"/>
                    <a:pt x="6101239" y="177641"/>
                  </a:cubicBezTo>
                  <a:cubicBezTo>
                    <a:pt x="6102192" y="170974"/>
                    <a:pt x="6103144" y="163354"/>
                    <a:pt x="6104096" y="157639"/>
                  </a:cubicBezTo>
                  <a:cubicBezTo>
                    <a:pt x="6106001" y="145256"/>
                    <a:pt x="6106954" y="133826"/>
                    <a:pt x="6107906" y="124301"/>
                  </a:cubicBezTo>
                  <a:cubicBezTo>
                    <a:pt x="6109812" y="106204"/>
                    <a:pt x="6110764" y="95726"/>
                    <a:pt x="6110764" y="95726"/>
                  </a:cubicBezTo>
                  <a:cubicBezTo>
                    <a:pt x="6110764" y="95726"/>
                    <a:pt x="6107906" y="106204"/>
                    <a:pt x="6104096" y="124301"/>
                  </a:cubicBezTo>
                  <a:cubicBezTo>
                    <a:pt x="6102192" y="132874"/>
                    <a:pt x="6099334" y="144304"/>
                    <a:pt x="6096476" y="156686"/>
                  </a:cubicBezTo>
                  <a:cubicBezTo>
                    <a:pt x="6095524" y="163354"/>
                    <a:pt x="6093619" y="170021"/>
                    <a:pt x="6091714" y="176689"/>
                  </a:cubicBezTo>
                  <a:cubicBezTo>
                    <a:pt x="6089809" y="183356"/>
                    <a:pt x="6087904" y="190976"/>
                    <a:pt x="6085999" y="198596"/>
                  </a:cubicBezTo>
                  <a:cubicBezTo>
                    <a:pt x="6085046" y="203359"/>
                    <a:pt x="6083142" y="209074"/>
                    <a:pt x="6081237" y="214789"/>
                  </a:cubicBezTo>
                  <a:cubicBezTo>
                    <a:pt x="6077426" y="206216"/>
                    <a:pt x="6074569" y="201454"/>
                    <a:pt x="6074569" y="201454"/>
                  </a:cubicBezTo>
                  <a:cubicBezTo>
                    <a:pt x="6074569" y="201454"/>
                    <a:pt x="6076474" y="208121"/>
                    <a:pt x="6079331" y="219551"/>
                  </a:cubicBezTo>
                  <a:cubicBezTo>
                    <a:pt x="6078379" y="222409"/>
                    <a:pt x="6076474" y="225266"/>
                    <a:pt x="6073617" y="230029"/>
                  </a:cubicBezTo>
                  <a:cubicBezTo>
                    <a:pt x="6072664" y="231934"/>
                    <a:pt x="6071712" y="234791"/>
                    <a:pt x="6069806" y="237649"/>
                  </a:cubicBezTo>
                  <a:cubicBezTo>
                    <a:pt x="6069806" y="233839"/>
                    <a:pt x="6069806" y="230981"/>
                    <a:pt x="6069806" y="228124"/>
                  </a:cubicBezTo>
                  <a:cubicBezTo>
                    <a:pt x="6069806" y="213836"/>
                    <a:pt x="6069806" y="205264"/>
                    <a:pt x="6069806" y="205264"/>
                  </a:cubicBezTo>
                  <a:cubicBezTo>
                    <a:pt x="6069806" y="205264"/>
                    <a:pt x="6067901" y="213836"/>
                    <a:pt x="6065996" y="228124"/>
                  </a:cubicBezTo>
                  <a:cubicBezTo>
                    <a:pt x="6065044" y="235744"/>
                    <a:pt x="6063139" y="243364"/>
                    <a:pt x="6061234" y="253841"/>
                  </a:cubicBezTo>
                  <a:cubicBezTo>
                    <a:pt x="6060281" y="256699"/>
                    <a:pt x="6060281" y="259556"/>
                    <a:pt x="6059329" y="263366"/>
                  </a:cubicBezTo>
                  <a:cubicBezTo>
                    <a:pt x="6058376" y="265271"/>
                    <a:pt x="6058376" y="267176"/>
                    <a:pt x="6057424" y="268129"/>
                  </a:cubicBezTo>
                  <a:cubicBezTo>
                    <a:pt x="6054567" y="275749"/>
                    <a:pt x="6051709" y="285274"/>
                    <a:pt x="6048851" y="294799"/>
                  </a:cubicBezTo>
                  <a:cubicBezTo>
                    <a:pt x="6045994" y="304324"/>
                    <a:pt x="6044089" y="313849"/>
                    <a:pt x="6041231" y="324326"/>
                  </a:cubicBezTo>
                  <a:cubicBezTo>
                    <a:pt x="6041231" y="324326"/>
                    <a:pt x="6041231" y="325279"/>
                    <a:pt x="6041231" y="325279"/>
                  </a:cubicBezTo>
                  <a:cubicBezTo>
                    <a:pt x="6038374" y="318611"/>
                    <a:pt x="6036469" y="311944"/>
                    <a:pt x="6033612" y="306229"/>
                  </a:cubicBezTo>
                  <a:cubicBezTo>
                    <a:pt x="6032659" y="303371"/>
                    <a:pt x="6030754" y="299561"/>
                    <a:pt x="6029801" y="296704"/>
                  </a:cubicBezTo>
                  <a:cubicBezTo>
                    <a:pt x="6029801" y="296704"/>
                    <a:pt x="6029801" y="295751"/>
                    <a:pt x="6029801" y="295751"/>
                  </a:cubicBezTo>
                  <a:cubicBezTo>
                    <a:pt x="6030754" y="290036"/>
                    <a:pt x="6031706" y="285274"/>
                    <a:pt x="6031706" y="281464"/>
                  </a:cubicBezTo>
                  <a:cubicBezTo>
                    <a:pt x="6032659" y="272891"/>
                    <a:pt x="6033612" y="269081"/>
                    <a:pt x="6033612" y="269081"/>
                  </a:cubicBezTo>
                  <a:cubicBezTo>
                    <a:pt x="6033612" y="269081"/>
                    <a:pt x="6031706" y="272891"/>
                    <a:pt x="6027896" y="280511"/>
                  </a:cubicBezTo>
                  <a:cubicBezTo>
                    <a:pt x="6026944" y="282416"/>
                    <a:pt x="6025992" y="284321"/>
                    <a:pt x="6025039" y="286226"/>
                  </a:cubicBezTo>
                  <a:cubicBezTo>
                    <a:pt x="6023134" y="281464"/>
                    <a:pt x="6021229" y="276701"/>
                    <a:pt x="6020276" y="272891"/>
                  </a:cubicBezTo>
                  <a:cubicBezTo>
                    <a:pt x="6013609" y="254794"/>
                    <a:pt x="6008846" y="244316"/>
                    <a:pt x="6008846" y="244316"/>
                  </a:cubicBezTo>
                  <a:cubicBezTo>
                    <a:pt x="6008846" y="244316"/>
                    <a:pt x="6011704" y="254794"/>
                    <a:pt x="6016467" y="273844"/>
                  </a:cubicBezTo>
                  <a:cubicBezTo>
                    <a:pt x="6018371" y="279559"/>
                    <a:pt x="6020276" y="286226"/>
                    <a:pt x="6022181" y="293846"/>
                  </a:cubicBezTo>
                  <a:cubicBezTo>
                    <a:pt x="6021229" y="296704"/>
                    <a:pt x="6020276" y="299561"/>
                    <a:pt x="6019324" y="302419"/>
                  </a:cubicBezTo>
                  <a:cubicBezTo>
                    <a:pt x="6018371" y="305276"/>
                    <a:pt x="6017419" y="309086"/>
                    <a:pt x="6016467" y="311944"/>
                  </a:cubicBezTo>
                  <a:cubicBezTo>
                    <a:pt x="6014562" y="318611"/>
                    <a:pt x="6012656" y="326231"/>
                    <a:pt x="6010751" y="333851"/>
                  </a:cubicBezTo>
                  <a:cubicBezTo>
                    <a:pt x="6010751" y="333851"/>
                    <a:pt x="6010751" y="334804"/>
                    <a:pt x="6010751" y="334804"/>
                  </a:cubicBezTo>
                  <a:cubicBezTo>
                    <a:pt x="6007894" y="330041"/>
                    <a:pt x="6005989" y="325279"/>
                    <a:pt x="6003131" y="320516"/>
                  </a:cubicBezTo>
                  <a:cubicBezTo>
                    <a:pt x="6001226" y="316706"/>
                    <a:pt x="5999321" y="312896"/>
                    <a:pt x="5996464" y="308134"/>
                  </a:cubicBezTo>
                  <a:cubicBezTo>
                    <a:pt x="5997417" y="306229"/>
                    <a:pt x="5998369" y="304324"/>
                    <a:pt x="5999321" y="302419"/>
                  </a:cubicBezTo>
                  <a:cubicBezTo>
                    <a:pt x="6002179" y="294799"/>
                    <a:pt x="6005037" y="289084"/>
                    <a:pt x="6007894" y="283369"/>
                  </a:cubicBezTo>
                  <a:cubicBezTo>
                    <a:pt x="6012656" y="272891"/>
                    <a:pt x="6014562" y="267176"/>
                    <a:pt x="6014562" y="267176"/>
                  </a:cubicBezTo>
                  <a:cubicBezTo>
                    <a:pt x="6014562" y="267176"/>
                    <a:pt x="6010751" y="272891"/>
                    <a:pt x="6004084" y="281464"/>
                  </a:cubicBezTo>
                  <a:cubicBezTo>
                    <a:pt x="6001226" y="286226"/>
                    <a:pt x="5997417" y="291941"/>
                    <a:pt x="5993606" y="297656"/>
                  </a:cubicBezTo>
                  <a:cubicBezTo>
                    <a:pt x="5992654" y="289084"/>
                    <a:pt x="5990749" y="281464"/>
                    <a:pt x="5989796" y="273844"/>
                  </a:cubicBezTo>
                  <a:cubicBezTo>
                    <a:pt x="5990749" y="266224"/>
                    <a:pt x="5990749" y="258604"/>
                    <a:pt x="5991701" y="250984"/>
                  </a:cubicBezTo>
                  <a:cubicBezTo>
                    <a:pt x="5992654" y="235744"/>
                    <a:pt x="5995512" y="223361"/>
                    <a:pt x="5997417" y="212884"/>
                  </a:cubicBezTo>
                  <a:cubicBezTo>
                    <a:pt x="6001226" y="191929"/>
                    <a:pt x="6003131" y="179546"/>
                    <a:pt x="6003131" y="179546"/>
                  </a:cubicBezTo>
                  <a:cubicBezTo>
                    <a:pt x="6003131" y="179546"/>
                    <a:pt x="5999321" y="190976"/>
                    <a:pt x="5993606" y="211931"/>
                  </a:cubicBezTo>
                  <a:cubicBezTo>
                    <a:pt x="5990749" y="222409"/>
                    <a:pt x="5986939" y="233839"/>
                    <a:pt x="5985034" y="248126"/>
                  </a:cubicBezTo>
                  <a:cubicBezTo>
                    <a:pt x="5981224" y="233839"/>
                    <a:pt x="5978367" y="219551"/>
                    <a:pt x="5974556" y="206216"/>
                  </a:cubicBezTo>
                  <a:cubicBezTo>
                    <a:pt x="5974556" y="206216"/>
                    <a:pt x="5974556" y="206216"/>
                    <a:pt x="5974556" y="206216"/>
                  </a:cubicBezTo>
                  <a:cubicBezTo>
                    <a:pt x="5975509" y="195739"/>
                    <a:pt x="5976462" y="186214"/>
                    <a:pt x="5977414" y="178594"/>
                  </a:cubicBezTo>
                  <a:cubicBezTo>
                    <a:pt x="5978367" y="163354"/>
                    <a:pt x="5979319" y="153829"/>
                    <a:pt x="5979319" y="153829"/>
                  </a:cubicBezTo>
                  <a:cubicBezTo>
                    <a:pt x="5979319" y="153829"/>
                    <a:pt x="5977414" y="162401"/>
                    <a:pt x="5973604" y="177641"/>
                  </a:cubicBezTo>
                  <a:cubicBezTo>
                    <a:pt x="5972651" y="181451"/>
                    <a:pt x="5971699" y="186214"/>
                    <a:pt x="5969794" y="191929"/>
                  </a:cubicBezTo>
                  <a:cubicBezTo>
                    <a:pt x="5965984" y="180499"/>
                    <a:pt x="5963126" y="170021"/>
                    <a:pt x="5959317" y="160496"/>
                  </a:cubicBezTo>
                  <a:cubicBezTo>
                    <a:pt x="5954554" y="148114"/>
                    <a:pt x="5950744" y="137636"/>
                    <a:pt x="5946934" y="130016"/>
                  </a:cubicBezTo>
                  <a:cubicBezTo>
                    <a:pt x="5939314" y="112871"/>
                    <a:pt x="5934551" y="104299"/>
                    <a:pt x="5934551" y="104299"/>
                  </a:cubicBezTo>
                  <a:cubicBezTo>
                    <a:pt x="5934551" y="104299"/>
                    <a:pt x="5937409" y="113824"/>
                    <a:pt x="5943124" y="131921"/>
                  </a:cubicBezTo>
                  <a:cubicBezTo>
                    <a:pt x="5945981" y="140494"/>
                    <a:pt x="5948839" y="150971"/>
                    <a:pt x="5951696" y="163354"/>
                  </a:cubicBezTo>
                  <a:cubicBezTo>
                    <a:pt x="5955506" y="175736"/>
                    <a:pt x="5957412" y="189071"/>
                    <a:pt x="5961221" y="204311"/>
                  </a:cubicBezTo>
                  <a:cubicBezTo>
                    <a:pt x="5962174" y="208121"/>
                    <a:pt x="5963126" y="212884"/>
                    <a:pt x="5964079" y="216694"/>
                  </a:cubicBezTo>
                  <a:cubicBezTo>
                    <a:pt x="5964079" y="218599"/>
                    <a:pt x="5963126" y="220504"/>
                    <a:pt x="5962174" y="222409"/>
                  </a:cubicBezTo>
                  <a:cubicBezTo>
                    <a:pt x="5961221" y="226219"/>
                    <a:pt x="5959317" y="230981"/>
                    <a:pt x="5958364" y="235744"/>
                  </a:cubicBezTo>
                  <a:cubicBezTo>
                    <a:pt x="5957412" y="234791"/>
                    <a:pt x="5957412" y="233839"/>
                    <a:pt x="5956459" y="232886"/>
                  </a:cubicBezTo>
                  <a:cubicBezTo>
                    <a:pt x="5956459" y="231934"/>
                    <a:pt x="5956459" y="231934"/>
                    <a:pt x="5956459" y="231934"/>
                  </a:cubicBezTo>
                  <a:cubicBezTo>
                    <a:pt x="5956459" y="231934"/>
                    <a:pt x="5956459" y="231934"/>
                    <a:pt x="5956459" y="232886"/>
                  </a:cubicBezTo>
                  <a:cubicBezTo>
                    <a:pt x="5948839" y="219551"/>
                    <a:pt x="5943124" y="208121"/>
                    <a:pt x="5938362" y="199549"/>
                  </a:cubicBezTo>
                  <a:cubicBezTo>
                    <a:pt x="5931694" y="187166"/>
                    <a:pt x="5927884" y="180499"/>
                    <a:pt x="5927884" y="180499"/>
                  </a:cubicBezTo>
                  <a:cubicBezTo>
                    <a:pt x="5927884" y="180499"/>
                    <a:pt x="5937409" y="209074"/>
                    <a:pt x="5953601" y="250984"/>
                  </a:cubicBezTo>
                  <a:cubicBezTo>
                    <a:pt x="5953601" y="252889"/>
                    <a:pt x="5952649" y="253841"/>
                    <a:pt x="5952649" y="255746"/>
                  </a:cubicBezTo>
                  <a:cubicBezTo>
                    <a:pt x="5949792" y="264319"/>
                    <a:pt x="5947887" y="272891"/>
                    <a:pt x="5945029" y="282416"/>
                  </a:cubicBezTo>
                  <a:cubicBezTo>
                    <a:pt x="5945029" y="283369"/>
                    <a:pt x="5944076" y="284321"/>
                    <a:pt x="5944076" y="285274"/>
                  </a:cubicBezTo>
                  <a:cubicBezTo>
                    <a:pt x="5943124" y="280511"/>
                    <a:pt x="5941219" y="275749"/>
                    <a:pt x="5940267" y="271939"/>
                  </a:cubicBezTo>
                  <a:cubicBezTo>
                    <a:pt x="5936456" y="259556"/>
                    <a:pt x="5932646" y="247174"/>
                    <a:pt x="5928837" y="237649"/>
                  </a:cubicBezTo>
                  <a:cubicBezTo>
                    <a:pt x="5925979" y="230981"/>
                    <a:pt x="5924074" y="225266"/>
                    <a:pt x="5922169" y="220504"/>
                  </a:cubicBezTo>
                  <a:cubicBezTo>
                    <a:pt x="5923121" y="217646"/>
                    <a:pt x="5923121" y="216694"/>
                    <a:pt x="5923121" y="216694"/>
                  </a:cubicBezTo>
                  <a:cubicBezTo>
                    <a:pt x="5923121" y="216694"/>
                    <a:pt x="5922169" y="217646"/>
                    <a:pt x="5921217" y="219551"/>
                  </a:cubicBezTo>
                  <a:cubicBezTo>
                    <a:pt x="5920264" y="216694"/>
                    <a:pt x="5919312" y="213836"/>
                    <a:pt x="5917406" y="211931"/>
                  </a:cubicBezTo>
                  <a:cubicBezTo>
                    <a:pt x="5913596" y="204311"/>
                    <a:pt x="5910739" y="198596"/>
                    <a:pt x="5908834" y="194786"/>
                  </a:cubicBezTo>
                  <a:cubicBezTo>
                    <a:pt x="5908834" y="190976"/>
                    <a:pt x="5907881" y="187166"/>
                    <a:pt x="5907881" y="183356"/>
                  </a:cubicBezTo>
                  <a:cubicBezTo>
                    <a:pt x="5905976" y="168116"/>
                    <a:pt x="5905024" y="159544"/>
                    <a:pt x="5905024" y="159544"/>
                  </a:cubicBezTo>
                  <a:cubicBezTo>
                    <a:pt x="5905024" y="159544"/>
                    <a:pt x="5904071" y="168116"/>
                    <a:pt x="5904071" y="184309"/>
                  </a:cubicBezTo>
                  <a:cubicBezTo>
                    <a:pt x="5904071" y="191929"/>
                    <a:pt x="5903119" y="201454"/>
                    <a:pt x="5903119" y="211931"/>
                  </a:cubicBezTo>
                  <a:cubicBezTo>
                    <a:pt x="5903119" y="217646"/>
                    <a:pt x="5903119" y="223361"/>
                    <a:pt x="5902167" y="229076"/>
                  </a:cubicBezTo>
                  <a:cubicBezTo>
                    <a:pt x="5902167" y="234791"/>
                    <a:pt x="5902167" y="241459"/>
                    <a:pt x="5902167" y="248126"/>
                  </a:cubicBezTo>
                  <a:cubicBezTo>
                    <a:pt x="5902167" y="254794"/>
                    <a:pt x="5902167" y="262414"/>
                    <a:pt x="5903119" y="270034"/>
                  </a:cubicBezTo>
                  <a:cubicBezTo>
                    <a:pt x="5902167" y="274796"/>
                    <a:pt x="5901214" y="279559"/>
                    <a:pt x="5900262" y="285274"/>
                  </a:cubicBezTo>
                  <a:cubicBezTo>
                    <a:pt x="5900262" y="284321"/>
                    <a:pt x="5900262" y="283369"/>
                    <a:pt x="5899309" y="282416"/>
                  </a:cubicBezTo>
                  <a:cubicBezTo>
                    <a:pt x="5897404" y="274796"/>
                    <a:pt x="5896451" y="268129"/>
                    <a:pt x="5895499" y="263366"/>
                  </a:cubicBezTo>
                  <a:cubicBezTo>
                    <a:pt x="5893594" y="255746"/>
                    <a:pt x="5892642" y="250031"/>
                    <a:pt x="5891689" y="248126"/>
                  </a:cubicBezTo>
                  <a:cubicBezTo>
                    <a:pt x="5891689" y="246221"/>
                    <a:pt x="5891689" y="245269"/>
                    <a:pt x="5891689" y="245269"/>
                  </a:cubicBezTo>
                  <a:cubicBezTo>
                    <a:pt x="5891689" y="245269"/>
                    <a:pt x="5891689" y="246221"/>
                    <a:pt x="5890737" y="247174"/>
                  </a:cubicBezTo>
                  <a:cubicBezTo>
                    <a:pt x="5890737" y="247174"/>
                    <a:pt x="5890737" y="247174"/>
                    <a:pt x="5890737" y="247174"/>
                  </a:cubicBezTo>
                  <a:cubicBezTo>
                    <a:pt x="5890737" y="247174"/>
                    <a:pt x="5890737" y="247174"/>
                    <a:pt x="5890737" y="248126"/>
                  </a:cubicBezTo>
                  <a:cubicBezTo>
                    <a:pt x="5889784" y="251936"/>
                    <a:pt x="5885974" y="261461"/>
                    <a:pt x="5881212" y="275749"/>
                  </a:cubicBezTo>
                  <a:cubicBezTo>
                    <a:pt x="5880259" y="270986"/>
                    <a:pt x="5879306" y="266224"/>
                    <a:pt x="5878354" y="262414"/>
                  </a:cubicBezTo>
                  <a:cubicBezTo>
                    <a:pt x="5875496" y="248126"/>
                    <a:pt x="5874544" y="240506"/>
                    <a:pt x="5874544" y="240506"/>
                  </a:cubicBezTo>
                  <a:cubicBezTo>
                    <a:pt x="5874544" y="240506"/>
                    <a:pt x="5874544" y="248126"/>
                    <a:pt x="5874544" y="262414"/>
                  </a:cubicBezTo>
                  <a:cubicBezTo>
                    <a:pt x="5874544" y="270034"/>
                    <a:pt x="5875496" y="279559"/>
                    <a:pt x="5875496" y="290989"/>
                  </a:cubicBezTo>
                  <a:cubicBezTo>
                    <a:pt x="5874544" y="293846"/>
                    <a:pt x="5873592" y="295751"/>
                    <a:pt x="5873592" y="298609"/>
                  </a:cubicBezTo>
                  <a:cubicBezTo>
                    <a:pt x="5872639" y="290036"/>
                    <a:pt x="5872639" y="280511"/>
                    <a:pt x="5870734" y="271939"/>
                  </a:cubicBezTo>
                  <a:cubicBezTo>
                    <a:pt x="5869781" y="278606"/>
                    <a:pt x="5868829" y="286226"/>
                    <a:pt x="5867876" y="292894"/>
                  </a:cubicBezTo>
                  <a:cubicBezTo>
                    <a:pt x="5867876" y="285274"/>
                    <a:pt x="5867876" y="276701"/>
                    <a:pt x="5866924" y="269081"/>
                  </a:cubicBezTo>
                  <a:cubicBezTo>
                    <a:pt x="5866924" y="260509"/>
                    <a:pt x="5865971" y="251936"/>
                    <a:pt x="5865971" y="243364"/>
                  </a:cubicBezTo>
                  <a:cubicBezTo>
                    <a:pt x="5870734" y="231934"/>
                    <a:pt x="5873592" y="225266"/>
                    <a:pt x="5873592" y="225266"/>
                  </a:cubicBezTo>
                  <a:cubicBezTo>
                    <a:pt x="5873592" y="225266"/>
                    <a:pt x="5870734" y="230029"/>
                    <a:pt x="5865971" y="237649"/>
                  </a:cubicBezTo>
                  <a:cubicBezTo>
                    <a:pt x="5865971" y="234791"/>
                    <a:pt x="5865971" y="232886"/>
                    <a:pt x="5865971" y="230029"/>
                  </a:cubicBezTo>
                  <a:cubicBezTo>
                    <a:pt x="5865971" y="217646"/>
                    <a:pt x="5865019" y="205264"/>
                    <a:pt x="5865019" y="194786"/>
                  </a:cubicBezTo>
                  <a:cubicBezTo>
                    <a:pt x="5864067" y="172879"/>
                    <a:pt x="5863114" y="154781"/>
                    <a:pt x="5863114" y="141446"/>
                  </a:cubicBezTo>
                  <a:cubicBezTo>
                    <a:pt x="5862162" y="128111"/>
                    <a:pt x="5862162" y="121444"/>
                    <a:pt x="5862162" y="121444"/>
                  </a:cubicBezTo>
                  <a:cubicBezTo>
                    <a:pt x="5862162" y="121444"/>
                    <a:pt x="5861209" y="129064"/>
                    <a:pt x="5859304" y="141446"/>
                  </a:cubicBezTo>
                  <a:cubicBezTo>
                    <a:pt x="5858351" y="147161"/>
                    <a:pt x="5857399" y="153829"/>
                    <a:pt x="5856446" y="161449"/>
                  </a:cubicBezTo>
                  <a:cubicBezTo>
                    <a:pt x="5855494" y="145256"/>
                    <a:pt x="5854542" y="130969"/>
                    <a:pt x="5853589" y="120491"/>
                  </a:cubicBezTo>
                  <a:cubicBezTo>
                    <a:pt x="5852637" y="106204"/>
                    <a:pt x="5851684" y="98584"/>
                    <a:pt x="5851684" y="98584"/>
                  </a:cubicBezTo>
                  <a:cubicBezTo>
                    <a:pt x="5851684" y="98584"/>
                    <a:pt x="5850731" y="106204"/>
                    <a:pt x="5849779" y="120491"/>
                  </a:cubicBezTo>
                  <a:cubicBezTo>
                    <a:pt x="5848826" y="127159"/>
                    <a:pt x="5848826" y="135731"/>
                    <a:pt x="5847874" y="146209"/>
                  </a:cubicBezTo>
                  <a:cubicBezTo>
                    <a:pt x="5846921" y="155734"/>
                    <a:pt x="5846921" y="167164"/>
                    <a:pt x="5846921" y="179546"/>
                  </a:cubicBezTo>
                  <a:cubicBezTo>
                    <a:pt x="5845969" y="203359"/>
                    <a:pt x="5845969" y="231934"/>
                    <a:pt x="5846921" y="262414"/>
                  </a:cubicBezTo>
                  <a:cubicBezTo>
                    <a:pt x="5846921" y="264319"/>
                    <a:pt x="5846921" y="267176"/>
                    <a:pt x="5846921" y="269081"/>
                  </a:cubicBezTo>
                  <a:cubicBezTo>
                    <a:pt x="5845969" y="270986"/>
                    <a:pt x="5844064" y="272891"/>
                    <a:pt x="5843112" y="274796"/>
                  </a:cubicBezTo>
                  <a:cubicBezTo>
                    <a:pt x="5842159" y="270034"/>
                    <a:pt x="5841206" y="265271"/>
                    <a:pt x="5840254" y="261461"/>
                  </a:cubicBezTo>
                  <a:cubicBezTo>
                    <a:pt x="5840254" y="254794"/>
                    <a:pt x="5840254" y="248126"/>
                    <a:pt x="5841206" y="242411"/>
                  </a:cubicBezTo>
                  <a:cubicBezTo>
                    <a:pt x="5841206" y="230029"/>
                    <a:pt x="5841206" y="223361"/>
                    <a:pt x="5841206" y="223361"/>
                  </a:cubicBezTo>
                  <a:cubicBezTo>
                    <a:pt x="5841206" y="223361"/>
                    <a:pt x="5839301" y="230029"/>
                    <a:pt x="5837396" y="242411"/>
                  </a:cubicBezTo>
                  <a:cubicBezTo>
                    <a:pt x="5837396" y="243364"/>
                    <a:pt x="5837396" y="244316"/>
                    <a:pt x="5836444" y="245269"/>
                  </a:cubicBezTo>
                  <a:cubicBezTo>
                    <a:pt x="5833587" y="233839"/>
                    <a:pt x="5831681" y="224314"/>
                    <a:pt x="5829776" y="215741"/>
                  </a:cubicBezTo>
                  <a:cubicBezTo>
                    <a:pt x="5825967" y="198596"/>
                    <a:pt x="5824062" y="189071"/>
                    <a:pt x="5824062" y="189071"/>
                  </a:cubicBezTo>
                  <a:cubicBezTo>
                    <a:pt x="5824062" y="189071"/>
                    <a:pt x="5825014" y="198596"/>
                    <a:pt x="5825967" y="215741"/>
                  </a:cubicBezTo>
                  <a:cubicBezTo>
                    <a:pt x="5826919" y="224314"/>
                    <a:pt x="5827871" y="234791"/>
                    <a:pt x="5828824" y="246221"/>
                  </a:cubicBezTo>
                  <a:cubicBezTo>
                    <a:pt x="5829776" y="252889"/>
                    <a:pt x="5830729" y="260509"/>
                    <a:pt x="5831681" y="268129"/>
                  </a:cubicBezTo>
                  <a:cubicBezTo>
                    <a:pt x="5830729" y="270034"/>
                    <a:pt x="5828824" y="272891"/>
                    <a:pt x="5826919" y="276701"/>
                  </a:cubicBezTo>
                  <a:cubicBezTo>
                    <a:pt x="5826919" y="274796"/>
                    <a:pt x="5825967" y="272891"/>
                    <a:pt x="5825967" y="270986"/>
                  </a:cubicBezTo>
                  <a:cubicBezTo>
                    <a:pt x="5825014" y="263366"/>
                    <a:pt x="5823109" y="255746"/>
                    <a:pt x="5822156" y="250031"/>
                  </a:cubicBezTo>
                  <a:cubicBezTo>
                    <a:pt x="5820251" y="238601"/>
                    <a:pt x="5818346" y="231934"/>
                    <a:pt x="5818346" y="231934"/>
                  </a:cubicBezTo>
                  <a:cubicBezTo>
                    <a:pt x="5818346" y="231934"/>
                    <a:pt x="5818346" y="238601"/>
                    <a:pt x="5818346" y="250031"/>
                  </a:cubicBezTo>
                  <a:cubicBezTo>
                    <a:pt x="5818346" y="255746"/>
                    <a:pt x="5818346" y="262414"/>
                    <a:pt x="5818346" y="270986"/>
                  </a:cubicBezTo>
                  <a:cubicBezTo>
                    <a:pt x="5816442" y="267176"/>
                    <a:pt x="5814537" y="264319"/>
                    <a:pt x="5812631" y="262414"/>
                  </a:cubicBezTo>
                  <a:lnTo>
                    <a:pt x="5812631" y="246221"/>
                  </a:lnTo>
                  <a:lnTo>
                    <a:pt x="5814537" y="220504"/>
                  </a:lnTo>
                  <a:cubicBezTo>
                    <a:pt x="5815489" y="220504"/>
                    <a:pt x="5815489" y="220504"/>
                    <a:pt x="5816442" y="221456"/>
                  </a:cubicBezTo>
                  <a:cubicBezTo>
                    <a:pt x="5817394" y="222409"/>
                    <a:pt x="5818346" y="222409"/>
                    <a:pt x="5819299" y="224314"/>
                  </a:cubicBezTo>
                  <a:cubicBezTo>
                    <a:pt x="5821204" y="226219"/>
                    <a:pt x="5821204" y="229076"/>
                    <a:pt x="5822156" y="231934"/>
                  </a:cubicBezTo>
                  <a:cubicBezTo>
                    <a:pt x="5822156" y="229076"/>
                    <a:pt x="5822156" y="226219"/>
                    <a:pt x="5821204" y="223361"/>
                  </a:cubicBezTo>
                  <a:cubicBezTo>
                    <a:pt x="5820251" y="222409"/>
                    <a:pt x="5819299" y="220504"/>
                    <a:pt x="5818346" y="219551"/>
                  </a:cubicBezTo>
                  <a:cubicBezTo>
                    <a:pt x="5817394" y="218599"/>
                    <a:pt x="5815489" y="217646"/>
                    <a:pt x="5813584" y="217646"/>
                  </a:cubicBezTo>
                  <a:lnTo>
                    <a:pt x="5811679" y="217646"/>
                  </a:lnTo>
                  <a:lnTo>
                    <a:pt x="5811679" y="219551"/>
                  </a:lnTo>
                  <a:cubicBezTo>
                    <a:pt x="5809774" y="228124"/>
                    <a:pt x="5806917" y="237649"/>
                    <a:pt x="5805012" y="246221"/>
                  </a:cubicBezTo>
                  <a:cubicBezTo>
                    <a:pt x="5804059" y="250031"/>
                    <a:pt x="5804059" y="252889"/>
                    <a:pt x="5803106" y="256699"/>
                  </a:cubicBezTo>
                  <a:cubicBezTo>
                    <a:pt x="5801201" y="258604"/>
                    <a:pt x="5799296" y="261461"/>
                    <a:pt x="5796439" y="264319"/>
                  </a:cubicBezTo>
                  <a:cubicBezTo>
                    <a:pt x="5796439" y="259556"/>
                    <a:pt x="5795487" y="256699"/>
                    <a:pt x="5795487" y="253841"/>
                  </a:cubicBezTo>
                  <a:cubicBezTo>
                    <a:pt x="5794534" y="250031"/>
                    <a:pt x="5794534" y="248126"/>
                    <a:pt x="5794534" y="248126"/>
                  </a:cubicBezTo>
                  <a:cubicBezTo>
                    <a:pt x="5794534" y="248126"/>
                    <a:pt x="5794534" y="250031"/>
                    <a:pt x="5794534" y="253841"/>
                  </a:cubicBezTo>
                  <a:cubicBezTo>
                    <a:pt x="5794534" y="257651"/>
                    <a:pt x="5794534" y="262414"/>
                    <a:pt x="5793581" y="268129"/>
                  </a:cubicBezTo>
                  <a:cubicBezTo>
                    <a:pt x="5792629" y="269081"/>
                    <a:pt x="5792629" y="269081"/>
                    <a:pt x="5791676" y="270034"/>
                  </a:cubicBezTo>
                  <a:cubicBezTo>
                    <a:pt x="5791676" y="270034"/>
                    <a:pt x="5791676" y="270034"/>
                    <a:pt x="5791676" y="270034"/>
                  </a:cubicBezTo>
                  <a:lnTo>
                    <a:pt x="5787867" y="239554"/>
                  </a:lnTo>
                  <a:cubicBezTo>
                    <a:pt x="5791676" y="229076"/>
                    <a:pt x="5793581" y="224314"/>
                    <a:pt x="5793581" y="224314"/>
                  </a:cubicBezTo>
                  <a:cubicBezTo>
                    <a:pt x="5793581" y="224314"/>
                    <a:pt x="5791676" y="228124"/>
                    <a:pt x="5786914" y="234791"/>
                  </a:cubicBezTo>
                  <a:lnTo>
                    <a:pt x="5785009" y="205264"/>
                  </a:lnTo>
                  <a:cubicBezTo>
                    <a:pt x="5788819" y="197644"/>
                    <a:pt x="5791676" y="190024"/>
                    <a:pt x="5795487" y="183356"/>
                  </a:cubicBezTo>
                  <a:cubicBezTo>
                    <a:pt x="5795487" y="183356"/>
                    <a:pt x="5795487" y="184309"/>
                    <a:pt x="5795487" y="184309"/>
                  </a:cubicBezTo>
                  <a:cubicBezTo>
                    <a:pt x="5795487" y="184309"/>
                    <a:pt x="5795487" y="183356"/>
                    <a:pt x="5795487" y="183356"/>
                  </a:cubicBezTo>
                  <a:cubicBezTo>
                    <a:pt x="5796439" y="181451"/>
                    <a:pt x="5797392" y="179546"/>
                    <a:pt x="5797392" y="178594"/>
                  </a:cubicBezTo>
                  <a:cubicBezTo>
                    <a:pt x="5803106" y="165259"/>
                    <a:pt x="5808821" y="153829"/>
                    <a:pt x="5812631" y="145256"/>
                  </a:cubicBezTo>
                  <a:cubicBezTo>
                    <a:pt x="5821204" y="126206"/>
                    <a:pt x="5825967" y="115729"/>
                    <a:pt x="5825967" y="115729"/>
                  </a:cubicBezTo>
                  <a:cubicBezTo>
                    <a:pt x="5825967" y="115729"/>
                    <a:pt x="5820251" y="125254"/>
                    <a:pt x="5809774" y="143351"/>
                  </a:cubicBezTo>
                  <a:cubicBezTo>
                    <a:pt x="5805012" y="151924"/>
                    <a:pt x="5798344" y="162401"/>
                    <a:pt x="5791676" y="173831"/>
                  </a:cubicBezTo>
                  <a:cubicBezTo>
                    <a:pt x="5790724" y="172879"/>
                    <a:pt x="5789771" y="171926"/>
                    <a:pt x="5788819" y="170974"/>
                  </a:cubicBezTo>
                  <a:cubicBezTo>
                    <a:pt x="5786914" y="170021"/>
                    <a:pt x="5785009" y="169069"/>
                    <a:pt x="5783104" y="169069"/>
                  </a:cubicBezTo>
                  <a:lnTo>
                    <a:pt x="5781199" y="169069"/>
                  </a:lnTo>
                  <a:lnTo>
                    <a:pt x="5781199" y="170974"/>
                  </a:lnTo>
                  <a:lnTo>
                    <a:pt x="5777389" y="197644"/>
                  </a:lnTo>
                  <a:cubicBezTo>
                    <a:pt x="5774531" y="204311"/>
                    <a:pt x="5770721" y="210026"/>
                    <a:pt x="5766912" y="217646"/>
                  </a:cubicBezTo>
                  <a:cubicBezTo>
                    <a:pt x="5762149" y="226219"/>
                    <a:pt x="5757387" y="234791"/>
                    <a:pt x="5752624" y="244316"/>
                  </a:cubicBezTo>
                  <a:cubicBezTo>
                    <a:pt x="5752624" y="240506"/>
                    <a:pt x="5751671" y="236696"/>
                    <a:pt x="5751671" y="233839"/>
                  </a:cubicBezTo>
                  <a:cubicBezTo>
                    <a:pt x="5750719" y="228124"/>
                    <a:pt x="5749767" y="222409"/>
                    <a:pt x="5749767" y="216694"/>
                  </a:cubicBezTo>
                  <a:cubicBezTo>
                    <a:pt x="5754529" y="199549"/>
                    <a:pt x="5757387" y="190024"/>
                    <a:pt x="5757387" y="190024"/>
                  </a:cubicBezTo>
                  <a:cubicBezTo>
                    <a:pt x="5757387" y="190024"/>
                    <a:pt x="5754529" y="197644"/>
                    <a:pt x="5749767" y="210979"/>
                  </a:cubicBezTo>
                  <a:cubicBezTo>
                    <a:pt x="5749767" y="209074"/>
                    <a:pt x="5748814" y="206216"/>
                    <a:pt x="5748814" y="204311"/>
                  </a:cubicBezTo>
                  <a:cubicBezTo>
                    <a:pt x="5746909" y="188119"/>
                    <a:pt x="5745004" y="178594"/>
                    <a:pt x="5745004" y="178594"/>
                  </a:cubicBezTo>
                  <a:cubicBezTo>
                    <a:pt x="5745004" y="178594"/>
                    <a:pt x="5745004" y="188119"/>
                    <a:pt x="5745004" y="204311"/>
                  </a:cubicBezTo>
                  <a:cubicBezTo>
                    <a:pt x="5745004" y="210026"/>
                    <a:pt x="5745004" y="215741"/>
                    <a:pt x="5745004" y="222409"/>
                  </a:cubicBezTo>
                  <a:cubicBezTo>
                    <a:pt x="5745004" y="223361"/>
                    <a:pt x="5744051" y="224314"/>
                    <a:pt x="5744051" y="225266"/>
                  </a:cubicBezTo>
                  <a:cubicBezTo>
                    <a:pt x="5740242" y="234791"/>
                    <a:pt x="5736431" y="247174"/>
                    <a:pt x="5731669" y="259556"/>
                  </a:cubicBezTo>
                  <a:cubicBezTo>
                    <a:pt x="5731669" y="259556"/>
                    <a:pt x="5731669" y="258604"/>
                    <a:pt x="5731669" y="258604"/>
                  </a:cubicBezTo>
                  <a:cubicBezTo>
                    <a:pt x="5733574" y="245269"/>
                    <a:pt x="5734526" y="238601"/>
                    <a:pt x="5734526" y="238601"/>
                  </a:cubicBezTo>
                  <a:cubicBezTo>
                    <a:pt x="5734526" y="238601"/>
                    <a:pt x="5732621" y="246221"/>
                    <a:pt x="5727859" y="258604"/>
                  </a:cubicBezTo>
                  <a:cubicBezTo>
                    <a:pt x="5726906" y="260509"/>
                    <a:pt x="5726906" y="262414"/>
                    <a:pt x="5725954" y="264319"/>
                  </a:cubicBezTo>
                  <a:cubicBezTo>
                    <a:pt x="5725954" y="264319"/>
                    <a:pt x="5725954" y="263366"/>
                    <a:pt x="5725954" y="263366"/>
                  </a:cubicBezTo>
                  <a:cubicBezTo>
                    <a:pt x="5725954" y="263366"/>
                    <a:pt x="5725954" y="262414"/>
                    <a:pt x="5725954" y="262414"/>
                  </a:cubicBezTo>
                  <a:cubicBezTo>
                    <a:pt x="5725954" y="260509"/>
                    <a:pt x="5726906" y="258604"/>
                    <a:pt x="5726906" y="256699"/>
                  </a:cubicBezTo>
                  <a:cubicBezTo>
                    <a:pt x="5727859" y="251936"/>
                    <a:pt x="5728812" y="247174"/>
                    <a:pt x="5729764" y="242411"/>
                  </a:cubicBezTo>
                  <a:cubicBezTo>
                    <a:pt x="5730717" y="237649"/>
                    <a:pt x="5731669" y="233839"/>
                    <a:pt x="5732621" y="230029"/>
                  </a:cubicBezTo>
                  <a:cubicBezTo>
                    <a:pt x="5734526" y="222409"/>
                    <a:pt x="5736431" y="215741"/>
                    <a:pt x="5737384" y="210026"/>
                  </a:cubicBezTo>
                  <a:cubicBezTo>
                    <a:pt x="5740242" y="198596"/>
                    <a:pt x="5741194" y="191929"/>
                    <a:pt x="5741194" y="191929"/>
                  </a:cubicBezTo>
                  <a:cubicBezTo>
                    <a:pt x="5741194" y="191929"/>
                    <a:pt x="5740242" y="193834"/>
                    <a:pt x="5739289" y="196691"/>
                  </a:cubicBezTo>
                  <a:cubicBezTo>
                    <a:pt x="5740242" y="192881"/>
                    <a:pt x="5740242" y="190024"/>
                    <a:pt x="5740242" y="190024"/>
                  </a:cubicBezTo>
                  <a:cubicBezTo>
                    <a:pt x="5740242" y="190024"/>
                    <a:pt x="5737384" y="197644"/>
                    <a:pt x="5731669" y="211931"/>
                  </a:cubicBezTo>
                  <a:cubicBezTo>
                    <a:pt x="5730717" y="215741"/>
                    <a:pt x="5728812" y="219551"/>
                    <a:pt x="5726906" y="224314"/>
                  </a:cubicBezTo>
                  <a:cubicBezTo>
                    <a:pt x="5725954" y="225266"/>
                    <a:pt x="5725954" y="227171"/>
                    <a:pt x="5725001" y="228124"/>
                  </a:cubicBezTo>
                  <a:cubicBezTo>
                    <a:pt x="5723096" y="231934"/>
                    <a:pt x="5722144" y="235744"/>
                    <a:pt x="5720239" y="240506"/>
                  </a:cubicBezTo>
                  <a:cubicBezTo>
                    <a:pt x="5719287" y="243364"/>
                    <a:pt x="5718334" y="246221"/>
                    <a:pt x="5717381" y="250031"/>
                  </a:cubicBezTo>
                  <a:cubicBezTo>
                    <a:pt x="5716429" y="251936"/>
                    <a:pt x="5716429" y="252889"/>
                    <a:pt x="5715476" y="254794"/>
                  </a:cubicBezTo>
                  <a:cubicBezTo>
                    <a:pt x="5713571" y="260509"/>
                    <a:pt x="5711667" y="266224"/>
                    <a:pt x="5709762" y="272891"/>
                  </a:cubicBezTo>
                  <a:cubicBezTo>
                    <a:pt x="5707856" y="278606"/>
                    <a:pt x="5705951" y="284321"/>
                    <a:pt x="5704046" y="290989"/>
                  </a:cubicBezTo>
                  <a:cubicBezTo>
                    <a:pt x="5701189" y="285274"/>
                    <a:pt x="5699284" y="280511"/>
                    <a:pt x="5696426" y="275749"/>
                  </a:cubicBezTo>
                  <a:cubicBezTo>
                    <a:pt x="5695474" y="271939"/>
                    <a:pt x="5695474" y="269081"/>
                    <a:pt x="5695474" y="269081"/>
                  </a:cubicBezTo>
                  <a:cubicBezTo>
                    <a:pt x="5695474" y="269081"/>
                    <a:pt x="5695474" y="270034"/>
                    <a:pt x="5695474" y="272891"/>
                  </a:cubicBezTo>
                  <a:cubicBezTo>
                    <a:pt x="5692617" y="268129"/>
                    <a:pt x="5690712" y="263366"/>
                    <a:pt x="5688806" y="259556"/>
                  </a:cubicBezTo>
                  <a:cubicBezTo>
                    <a:pt x="5683092" y="249079"/>
                    <a:pt x="5680234" y="243364"/>
                    <a:pt x="5680234" y="243364"/>
                  </a:cubicBezTo>
                  <a:cubicBezTo>
                    <a:pt x="5680234" y="243364"/>
                    <a:pt x="5682139" y="250031"/>
                    <a:pt x="5684996" y="260509"/>
                  </a:cubicBezTo>
                  <a:cubicBezTo>
                    <a:pt x="5687854" y="269081"/>
                    <a:pt x="5690712" y="279559"/>
                    <a:pt x="5694521" y="292894"/>
                  </a:cubicBezTo>
                  <a:cubicBezTo>
                    <a:pt x="5694521" y="297656"/>
                    <a:pt x="5694521" y="302419"/>
                    <a:pt x="5694521" y="309086"/>
                  </a:cubicBezTo>
                  <a:cubicBezTo>
                    <a:pt x="5694521" y="313849"/>
                    <a:pt x="5694521" y="318611"/>
                    <a:pt x="5694521" y="323374"/>
                  </a:cubicBezTo>
                  <a:cubicBezTo>
                    <a:pt x="5693569" y="326231"/>
                    <a:pt x="5692617" y="329089"/>
                    <a:pt x="5691664" y="331946"/>
                  </a:cubicBezTo>
                  <a:cubicBezTo>
                    <a:pt x="5690712" y="330994"/>
                    <a:pt x="5690712" y="330041"/>
                    <a:pt x="5689759" y="329089"/>
                  </a:cubicBezTo>
                  <a:lnTo>
                    <a:pt x="5689759" y="320516"/>
                  </a:lnTo>
                  <a:cubicBezTo>
                    <a:pt x="5688806" y="309086"/>
                    <a:pt x="5688806" y="297656"/>
                    <a:pt x="5687854" y="286226"/>
                  </a:cubicBezTo>
                  <a:cubicBezTo>
                    <a:pt x="5686901" y="297656"/>
                    <a:pt x="5685949" y="308134"/>
                    <a:pt x="5684996" y="319564"/>
                  </a:cubicBezTo>
                  <a:cubicBezTo>
                    <a:pt x="5684044" y="317659"/>
                    <a:pt x="5683092" y="315754"/>
                    <a:pt x="5681187" y="312896"/>
                  </a:cubicBezTo>
                  <a:cubicBezTo>
                    <a:pt x="5679281" y="299561"/>
                    <a:pt x="5677376" y="286226"/>
                    <a:pt x="5675471" y="273844"/>
                  </a:cubicBezTo>
                  <a:cubicBezTo>
                    <a:pt x="5674519" y="267176"/>
                    <a:pt x="5673567" y="260509"/>
                    <a:pt x="5672614" y="253841"/>
                  </a:cubicBezTo>
                  <a:cubicBezTo>
                    <a:pt x="5671662" y="247174"/>
                    <a:pt x="5671662" y="241459"/>
                    <a:pt x="5670709" y="235744"/>
                  </a:cubicBezTo>
                  <a:cubicBezTo>
                    <a:pt x="5669756" y="224314"/>
                    <a:pt x="5668804" y="214789"/>
                    <a:pt x="5667851" y="207169"/>
                  </a:cubicBezTo>
                  <a:cubicBezTo>
                    <a:pt x="5666899" y="198596"/>
                    <a:pt x="5665946" y="192881"/>
                    <a:pt x="5665946" y="188119"/>
                  </a:cubicBezTo>
                  <a:cubicBezTo>
                    <a:pt x="5666899" y="185261"/>
                    <a:pt x="5666899" y="183356"/>
                    <a:pt x="5666899" y="183356"/>
                  </a:cubicBezTo>
                  <a:cubicBezTo>
                    <a:pt x="5666899" y="183356"/>
                    <a:pt x="5665946" y="184309"/>
                    <a:pt x="5665946" y="186214"/>
                  </a:cubicBezTo>
                  <a:cubicBezTo>
                    <a:pt x="5665946" y="183356"/>
                    <a:pt x="5664994" y="181451"/>
                    <a:pt x="5664994" y="181451"/>
                  </a:cubicBezTo>
                  <a:cubicBezTo>
                    <a:pt x="5664994" y="181451"/>
                    <a:pt x="5664994" y="184309"/>
                    <a:pt x="5664994" y="188119"/>
                  </a:cubicBezTo>
                  <a:cubicBezTo>
                    <a:pt x="5663089" y="192881"/>
                    <a:pt x="5659279" y="201454"/>
                    <a:pt x="5654517" y="211931"/>
                  </a:cubicBezTo>
                  <a:cubicBezTo>
                    <a:pt x="5654517" y="210026"/>
                    <a:pt x="5654517" y="207169"/>
                    <a:pt x="5653564" y="205264"/>
                  </a:cubicBezTo>
                  <a:cubicBezTo>
                    <a:pt x="5652612" y="199549"/>
                    <a:pt x="5652612" y="193834"/>
                    <a:pt x="5652612" y="189071"/>
                  </a:cubicBezTo>
                  <a:cubicBezTo>
                    <a:pt x="5655469" y="183356"/>
                    <a:pt x="5657374" y="179546"/>
                    <a:pt x="5657374" y="179546"/>
                  </a:cubicBezTo>
                  <a:cubicBezTo>
                    <a:pt x="5657374" y="179546"/>
                    <a:pt x="5655469" y="182404"/>
                    <a:pt x="5652612" y="187166"/>
                  </a:cubicBezTo>
                  <a:cubicBezTo>
                    <a:pt x="5652612" y="186214"/>
                    <a:pt x="5652612" y="186214"/>
                    <a:pt x="5652612" y="185261"/>
                  </a:cubicBezTo>
                  <a:cubicBezTo>
                    <a:pt x="5651659" y="173831"/>
                    <a:pt x="5651659" y="167164"/>
                    <a:pt x="5651659" y="167164"/>
                  </a:cubicBezTo>
                  <a:cubicBezTo>
                    <a:pt x="5651659" y="167164"/>
                    <a:pt x="5650706" y="171926"/>
                    <a:pt x="5649754" y="179546"/>
                  </a:cubicBezTo>
                  <a:cubicBezTo>
                    <a:pt x="5649754" y="179546"/>
                    <a:pt x="5649754" y="178594"/>
                    <a:pt x="5649754" y="178594"/>
                  </a:cubicBezTo>
                  <a:cubicBezTo>
                    <a:pt x="5648801" y="171926"/>
                    <a:pt x="5648801" y="166211"/>
                    <a:pt x="5647849" y="159544"/>
                  </a:cubicBezTo>
                  <a:cubicBezTo>
                    <a:pt x="5647849" y="153829"/>
                    <a:pt x="5646896" y="148114"/>
                    <a:pt x="5646896" y="142399"/>
                  </a:cubicBezTo>
                  <a:cubicBezTo>
                    <a:pt x="5645944" y="131921"/>
                    <a:pt x="5644992" y="122396"/>
                    <a:pt x="5645944" y="114776"/>
                  </a:cubicBezTo>
                  <a:cubicBezTo>
                    <a:pt x="5645944" y="99536"/>
                    <a:pt x="5644992" y="90011"/>
                    <a:pt x="5644992" y="90011"/>
                  </a:cubicBezTo>
                  <a:cubicBezTo>
                    <a:pt x="5644992" y="90011"/>
                    <a:pt x="5644039" y="98584"/>
                    <a:pt x="5641181" y="113824"/>
                  </a:cubicBezTo>
                  <a:cubicBezTo>
                    <a:pt x="5640229" y="121444"/>
                    <a:pt x="5639276" y="130969"/>
                    <a:pt x="5639276" y="141446"/>
                  </a:cubicBezTo>
                  <a:cubicBezTo>
                    <a:pt x="5639276" y="147161"/>
                    <a:pt x="5638324" y="152876"/>
                    <a:pt x="5638324" y="158591"/>
                  </a:cubicBezTo>
                  <a:cubicBezTo>
                    <a:pt x="5638324" y="164306"/>
                    <a:pt x="5638324" y="170974"/>
                    <a:pt x="5638324" y="177641"/>
                  </a:cubicBezTo>
                  <a:cubicBezTo>
                    <a:pt x="5638324" y="186214"/>
                    <a:pt x="5638324" y="195739"/>
                    <a:pt x="5639276" y="205264"/>
                  </a:cubicBezTo>
                  <a:cubicBezTo>
                    <a:pt x="5638324" y="206216"/>
                    <a:pt x="5638324" y="207169"/>
                    <a:pt x="5637371" y="208121"/>
                  </a:cubicBezTo>
                  <a:cubicBezTo>
                    <a:pt x="5637371" y="208121"/>
                    <a:pt x="5636419" y="209074"/>
                    <a:pt x="5636419" y="209074"/>
                  </a:cubicBezTo>
                  <a:cubicBezTo>
                    <a:pt x="5636419" y="208121"/>
                    <a:pt x="5636419" y="208121"/>
                    <a:pt x="5636419" y="208121"/>
                  </a:cubicBezTo>
                  <a:cubicBezTo>
                    <a:pt x="5636419" y="208121"/>
                    <a:pt x="5636419" y="208121"/>
                    <a:pt x="5636419" y="209074"/>
                  </a:cubicBezTo>
                  <a:cubicBezTo>
                    <a:pt x="5635467" y="210979"/>
                    <a:pt x="5633562" y="212884"/>
                    <a:pt x="5631656" y="215741"/>
                  </a:cubicBezTo>
                  <a:cubicBezTo>
                    <a:pt x="5628799" y="201454"/>
                    <a:pt x="5626894" y="192881"/>
                    <a:pt x="5626894" y="192881"/>
                  </a:cubicBezTo>
                  <a:cubicBezTo>
                    <a:pt x="5626894" y="192881"/>
                    <a:pt x="5626894" y="204311"/>
                    <a:pt x="5626894" y="222409"/>
                  </a:cubicBezTo>
                  <a:cubicBezTo>
                    <a:pt x="5626894" y="222409"/>
                    <a:pt x="5626894" y="222409"/>
                    <a:pt x="5626894" y="223361"/>
                  </a:cubicBezTo>
                  <a:cubicBezTo>
                    <a:pt x="5624037" y="219551"/>
                    <a:pt x="5621179" y="215741"/>
                    <a:pt x="5618321" y="211931"/>
                  </a:cubicBezTo>
                  <a:cubicBezTo>
                    <a:pt x="5608796" y="199549"/>
                    <a:pt x="5601176" y="189071"/>
                    <a:pt x="5593556" y="181451"/>
                  </a:cubicBezTo>
                  <a:cubicBezTo>
                    <a:pt x="5579269" y="165259"/>
                    <a:pt x="5570696" y="155734"/>
                    <a:pt x="5570696" y="155734"/>
                  </a:cubicBezTo>
                  <a:cubicBezTo>
                    <a:pt x="5570696" y="155734"/>
                    <a:pt x="5577364" y="166211"/>
                    <a:pt x="5590699" y="184309"/>
                  </a:cubicBezTo>
                  <a:cubicBezTo>
                    <a:pt x="5597367" y="192881"/>
                    <a:pt x="5604034" y="204311"/>
                    <a:pt x="5612606" y="217646"/>
                  </a:cubicBezTo>
                  <a:cubicBezTo>
                    <a:pt x="5613559" y="219551"/>
                    <a:pt x="5614512" y="221456"/>
                    <a:pt x="5616417" y="223361"/>
                  </a:cubicBezTo>
                  <a:cubicBezTo>
                    <a:pt x="5617369" y="226219"/>
                    <a:pt x="5618321" y="230029"/>
                    <a:pt x="5620226" y="233839"/>
                  </a:cubicBezTo>
                  <a:cubicBezTo>
                    <a:pt x="5620226" y="233839"/>
                    <a:pt x="5620226" y="233839"/>
                    <a:pt x="5620226" y="234791"/>
                  </a:cubicBezTo>
                  <a:cubicBezTo>
                    <a:pt x="5619274" y="236696"/>
                    <a:pt x="5618321" y="238601"/>
                    <a:pt x="5616417" y="241459"/>
                  </a:cubicBezTo>
                  <a:cubicBezTo>
                    <a:pt x="5616417" y="241459"/>
                    <a:pt x="5616417" y="240506"/>
                    <a:pt x="5616417" y="240506"/>
                  </a:cubicBezTo>
                  <a:cubicBezTo>
                    <a:pt x="5616417" y="240506"/>
                    <a:pt x="5616417" y="240506"/>
                    <a:pt x="5616417" y="241459"/>
                  </a:cubicBezTo>
                  <a:cubicBezTo>
                    <a:pt x="5615464" y="242411"/>
                    <a:pt x="5614512" y="244316"/>
                    <a:pt x="5614512" y="245269"/>
                  </a:cubicBezTo>
                  <a:cubicBezTo>
                    <a:pt x="5608796" y="255746"/>
                    <a:pt x="5602129" y="267176"/>
                    <a:pt x="5594509" y="280511"/>
                  </a:cubicBezTo>
                  <a:cubicBezTo>
                    <a:pt x="5594509" y="278606"/>
                    <a:pt x="5594509" y="277654"/>
                    <a:pt x="5594509" y="275749"/>
                  </a:cubicBezTo>
                  <a:cubicBezTo>
                    <a:pt x="5594509" y="272891"/>
                    <a:pt x="5594509" y="270986"/>
                    <a:pt x="5594509" y="268129"/>
                  </a:cubicBezTo>
                  <a:cubicBezTo>
                    <a:pt x="5595462" y="260509"/>
                    <a:pt x="5596414" y="256699"/>
                    <a:pt x="5596414" y="256699"/>
                  </a:cubicBezTo>
                  <a:cubicBezTo>
                    <a:pt x="5596414" y="256699"/>
                    <a:pt x="5595462" y="258604"/>
                    <a:pt x="5594509" y="263366"/>
                  </a:cubicBezTo>
                  <a:cubicBezTo>
                    <a:pt x="5594509" y="263366"/>
                    <a:pt x="5594509" y="262414"/>
                    <a:pt x="5594509" y="262414"/>
                  </a:cubicBezTo>
                  <a:cubicBezTo>
                    <a:pt x="5593556" y="257651"/>
                    <a:pt x="5593556" y="253841"/>
                    <a:pt x="5592604" y="250031"/>
                  </a:cubicBezTo>
                  <a:cubicBezTo>
                    <a:pt x="5591651" y="243364"/>
                    <a:pt x="5590699" y="238601"/>
                    <a:pt x="5590699" y="232886"/>
                  </a:cubicBezTo>
                  <a:cubicBezTo>
                    <a:pt x="5594509" y="223361"/>
                    <a:pt x="5596414" y="217646"/>
                    <a:pt x="5596414" y="217646"/>
                  </a:cubicBezTo>
                  <a:cubicBezTo>
                    <a:pt x="5596414" y="217646"/>
                    <a:pt x="5593556" y="221456"/>
                    <a:pt x="5589746" y="230029"/>
                  </a:cubicBezTo>
                  <a:cubicBezTo>
                    <a:pt x="5589746" y="230029"/>
                    <a:pt x="5589746" y="230029"/>
                    <a:pt x="5589746" y="230029"/>
                  </a:cubicBezTo>
                  <a:cubicBezTo>
                    <a:pt x="5587842" y="218599"/>
                    <a:pt x="5586889" y="211931"/>
                    <a:pt x="5586889" y="211931"/>
                  </a:cubicBezTo>
                  <a:cubicBezTo>
                    <a:pt x="5586889" y="211931"/>
                    <a:pt x="5585937" y="218599"/>
                    <a:pt x="5585937" y="230029"/>
                  </a:cubicBezTo>
                  <a:cubicBezTo>
                    <a:pt x="5585937" y="230029"/>
                    <a:pt x="5585937" y="230981"/>
                    <a:pt x="5585937" y="230981"/>
                  </a:cubicBezTo>
                  <a:cubicBezTo>
                    <a:pt x="5584984" y="225266"/>
                    <a:pt x="5584031" y="219551"/>
                    <a:pt x="5583079" y="213836"/>
                  </a:cubicBezTo>
                  <a:cubicBezTo>
                    <a:pt x="5583079" y="223361"/>
                    <a:pt x="5583079" y="232886"/>
                    <a:pt x="5583079" y="242411"/>
                  </a:cubicBezTo>
                  <a:cubicBezTo>
                    <a:pt x="5582126" y="243364"/>
                    <a:pt x="5582126" y="245269"/>
                    <a:pt x="5581174" y="246221"/>
                  </a:cubicBezTo>
                  <a:cubicBezTo>
                    <a:pt x="5580221" y="247174"/>
                    <a:pt x="5579269" y="249079"/>
                    <a:pt x="5579269" y="250031"/>
                  </a:cubicBezTo>
                  <a:cubicBezTo>
                    <a:pt x="5576412" y="235744"/>
                    <a:pt x="5574506" y="221456"/>
                    <a:pt x="5571649" y="209074"/>
                  </a:cubicBezTo>
                  <a:cubicBezTo>
                    <a:pt x="5570696" y="202406"/>
                    <a:pt x="5568792" y="194786"/>
                    <a:pt x="5567839" y="189071"/>
                  </a:cubicBezTo>
                  <a:cubicBezTo>
                    <a:pt x="5565934" y="182404"/>
                    <a:pt x="5564981" y="176689"/>
                    <a:pt x="5563076" y="170974"/>
                  </a:cubicBezTo>
                  <a:cubicBezTo>
                    <a:pt x="5560219" y="159544"/>
                    <a:pt x="5557362" y="150019"/>
                    <a:pt x="5555456" y="141446"/>
                  </a:cubicBezTo>
                  <a:cubicBezTo>
                    <a:pt x="5550694" y="125254"/>
                    <a:pt x="5548789" y="115729"/>
                    <a:pt x="5548789" y="115729"/>
                  </a:cubicBezTo>
                  <a:cubicBezTo>
                    <a:pt x="5548789" y="115729"/>
                    <a:pt x="5549742" y="125254"/>
                    <a:pt x="5551646" y="142399"/>
                  </a:cubicBezTo>
                  <a:cubicBezTo>
                    <a:pt x="5552599" y="150971"/>
                    <a:pt x="5554504" y="160496"/>
                    <a:pt x="5555456" y="172879"/>
                  </a:cubicBezTo>
                  <a:cubicBezTo>
                    <a:pt x="5556409" y="178594"/>
                    <a:pt x="5557362" y="185261"/>
                    <a:pt x="5558314" y="190976"/>
                  </a:cubicBezTo>
                  <a:cubicBezTo>
                    <a:pt x="5559267" y="197644"/>
                    <a:pt x="5559267" y="204311"/>
                    <a:pt x="5560219" y="211931"/>
                  </a:cubicBezTo>
                  <a:cubicBezTo>
                    <a:pt x="5561171" y="226219"/>
                    <a:pt x="5563076" y="241459"/>
                    <a:pt x="5564981" y="257651"/>
                  </a:cubicBezTo>
                  <a:cubicBezTo>
                    <a:pt x="5565934" y="263366"/>
                    <a:pt x="5565934" y="269081"/>
                    <a:pt x="5565934" y="274796"/>
                  </a:cubicBezTo>
                  <a:cubicBezTo>
                    <a:pt x="5564981" y="275749"/>
                    <a:pt x="5564981" y="277654"/>
                    <a:pt x="5564029" y="278606"/>
                  </a:cubicBezTo>
                  <a:cubicBezTo>
                    <a:pt x="5563076" y="280511"/>
                    <a:pt x="5562124" y="282416"/>
                    <a:pt x="5561171" y="284321"/>
                  </a:cubicBezTo>
                  <a:cubicBezTo>
                    <a:pt x="5557362" y="277654"/>
                    <a:pt x="5553551" y="270034"/>
                    <a:pt x="5549742" y="264319"/>
                  </a:cubicBezTo>
                  <a:cubicBezTo>
                    <a:pt x="5549742" y="263366"/>
                    <a:pt x="5548789" y="262414"/>
                    <a:pt x="5548789" y="261461"/>
                  </a:cubicBezTo>
                  <a:cubicBezTo>
                    <a:pt x="5546884" y="255746"/>
                    <a:pt x="5545931" y="250984"/>
                    <a:pt x="5544026" y="247174"/>
                  </a:cubicBezTo>
                  <a:cubicBezTo>
                    <a:pt x="5545931" y="234791"/>
                    <a:pt x="5547837" y="228124"/>
                    <a:pt x="5547837" y="228124"/>
                  </a:cubicBezTo>
                  <a:cubicBezTo>
                    <a:pt x="5547837" y="228124"/>
                    <a:pt x="5545931" y="232886"/>
                    <a:pt x="5542121" y="241459"/>
                  </a:cubicBezTo>
                  <a:cubicBezTo>
                    <a:pt x="5542121" y="240506"/>
                    <a:pt x="5541169" y="239554"/>
                    <a:pt x="5541169" y="238601"/>
                  </a:cubicBezTo>
                  <a:cubicBezTo>
                    <a:pt x="5540217" y="235744"/>
                    <a:pt x="5539264" y="232886"/>
                    <a:pt x="5538312" y="230029"/>
                  </a:cubicBezTo>
                  <a:cubicBezTo>
                    <a:pt x="5546884" y="192881"/>
                    <a:pt x="5551646" y="167164"/>
                    <a:pt x="5551646" y="167164"/>
                  </a:cubicBezTo>
                  <a:cubicBezTo>
                    <a:pt x="5551646" y="167164"/>
                    <a:pt x="5542121" y="190024"/>
                    <a:pt x="5528787" y="225266"/>
                  </a:cubicBezTo>
                  <a:cubicBezTo>
                    <a:pt x="5526881" y="221456"/>
                    <a:pt x="5524976" y="219551"/>
                    <a:pt x="5524976" y="217646"/>
                  </a:cubicBezTo>
                  <a:cubicBezTo>
                    <a:pt x="5524024" y="213836"/>
                    <a:pt x="5524024" y="210026"/>
                    <a:pt x="5524024" y="207169"/>
                  </a:cubicBezTo>
                  <a:cubicBezTo>
                    <a:pt x="5522119" y="192881"/>
                    <a:pt x="5521167" y="185261"/>
                    <a:pt x="5521167" y="185261"/>
                  </a:cubicBezTo>
                  <a:cubicBezTo>
                    <a:pt x="5521167" y="185261"/>
                    <a:pt x="5521167" y="192881"/>
                    <a:pt x="5520214" y="207169"/>
                  </a:cubicBezTo>
                  <a:cubicBezTo>
                    <a:pt x="5520214" y="213836"/>
                    <a:pt x="5520214" y="222409"/>
                    <a:pt x="5520214" y="232886"/>
                  </a:cubicBezTo>
                  <a:cubicBezTo>
                    <a:pt x="5520214" y="237649"/>
                    <a:pt x="5520214" y="243364"/>
                    <a:pt x="5520214" y="248126"/>
                  </a:cubicBezTo>
                  <a:cubicBezTo>
                    <a:pt x="5520214" y="249079"/>
                    <a:pt x="5520214" y="250031"/>
                    <a:pt x="5520214" y="250984"/>
                  </a:cubicBezTo>
                  <a:cubicBezTo>
                    <a:pt x="5515451" y="264319"/>
                    <a:pt x="5510689" y="277654"/>
                    <a:pt x="5505926" y="291941"/>
                  </a:cubicBezTo>
                  <a:cubicBezTo>
                    <a:pt x="5504974" y="294799"/>
                    <a:pt x="5504021" y="297656"/>
                    <a:pt x="5503069" y="300514"/>
                  </a:cubicBezTo>
                  <a:cubicBezTo>
                    <a:pt x="5501164" y="297656"/>
                    <a:pt x="5500212" y="293846"/>
                    <a:pt x="5498306" y="290989"/>
                  </a:cubicBezTo>
                  <a:cubicBezTo>
                    <a:pt x="5498306" y="289084"/>
                    <a:pt x="5498306" y="287179"/>
                    <a:pt x="5498306" y="285274"/>
                  </a:cubicBezTo>
                  <a:cubicBezTo>
                    <a:pt x="5499259" y="274796"/>
                    <a:pt x="5499259" y="269081"/>
                    <a:pt x="5499259" y="269081"/>
                  </a:cubicBezTo>
                  <a:cubicBezTo>
                    <a:pt x="5499259" y="269081"/>
                    <a:pt x="5497354" y="274796"/>
                    <a:pt x="5494496" y="284321"/>
                  </a:cubicBezTo>
                  <a:cubicBezTo>
                    <a:pt x="5489734" y="273844"/>
                    <a:pt x="5484971" y="265271"/>
                    <a:pt x="5481162" y="257651"/>
                  </a:cubicBezTo>
                  <a:cubicBezTo>
                    <a:pt x="5482114" y="255746"/>
                    <a:pt x="5482114" y="253841"/>
                    <a:pt x="5483067" y="251936"/>
                  </a:cubicBezTo>
                  <a:cubicBezTo>
                    <a:pt x="5486876" y="241459"/>
                    <a:pt x="5489734" y="231934"/>
                    <a:pt x="5492592" y="224314"/>
                  </a:cubicBezTo>
                  <a:cubicBezTo>
                    <a:pt x="5497354" y="209074"/>
                    <a:pt x="5500212" y="200501"/>
                    <a:pt x="5500212" y="200501"/>
                  </a:cubicBezTo>
                  <a:cubicBezTo>
                    <a:pt x="5500212" y="200501"/>
                    <a:pt x="5498306" y="205264"/>
                    <a:pt x="5493544" y="212884"/>
                  </a:cubicBezTo>
                  <a:cubicBezTo>
                    <a:pt x="5496401" y="203359"/>
                    <a:pt x="5500212" y="194786"/>
                    <a:pt x="5502117" y="188119"/>
                  </a:cubicBezTo>
                  <a:cubicBezTo>
                    <a:pt x="5507831" y="170974"/>
                    <a:pt x="5511642" y="160496"/>
                    <a:pt x="5511642" y="160496"/>
                  </a:cubicBezTo>
                  <a:cubicBezTo>
                    <a:pt x="5511642" y="160496"/>
                    <a:pt x="5506879" y="170021"/>
                    <a:pt x="5498306" y="186214"/>
                  </a:cubicBezTo>
                  <a:cubicBezTo>
                    <a:pt x="5494496" y="194786"/>
                    <a:pt x="5489734" y="204311"/>
                    <a:pt x="5484019" y="215741"/>
                  </a:cubicBezTo>
                  <a:cubicBezTo>
                    <a:pt x="5481162" y="221456"/>
                    <a:pt x="5478304" y="227171"/>
                    <a:pt x="5475446" y="233839"/>
                  </a:cubicBezTo>
                  <a:cubicBezTo>
                    <a:pt x="5474494" y="236696"/>
                    <a:pt x="5473542" y="238601"/>
                    <a:pt x="5472589" y="241459"/>
                  </a:cubicBezTo>
                  <a:cubicBezTo>
                    <a:pt x="5465921" y="228124"/>
                    <a:pt x="5461159" y="221456"/>
                    <a:pt x="5461159" y="221456"/>
                  </a:cubicBezTo>
                  <a:cubicBezTo>
                    <a:pt x="5461159" y="221456"/>
                    <a:pt x="5464017" y="231934"/>
                    <a:pt x="5469731" y="248126"/>
                  </a:cubicBezTo>
                  <a:cubicBezTo>
                    <a:pt x="5468779" y="250031"/>
                    <a:pt x="5467826" y="252889"/>
                    <a:pt x="5466874" y="254794"/>
                  </a:cubicBezTo>
                  <a:cubicBezTo>
                    <a:pt x="5466874" y="255746"/>
                    <a:pt x="5465921" y="256699"/>
                    <a:pt x="5465921" y="257651"/>
                  </a:cubicBezTo>
                  <a:cubicBezTo>
                    <a:pt x="5465921" y="257651"/>
                    <a:pt x="5464969" y="256699"/>
                    <a:pt x="5464969" y="256699"/>
                  </a:cubicBezTo>
                  <a:cubicBezTo>
                    <a:pt x="5461159" y="252889"/>
                    <a:pt x="5458301" y="249079"/>
                    <a:pt x="5455444" y="246221"/>
                  </a:cubicBezTo>
                  <a:cubicBezTo>
                    <a:pt x="5454492" y="240506"/>
                    <a:pt x="5453539" y="234791"/>
                    <a:pt x="5452587" y="230029"/>
                  </a:cubicBezTo>
                  <a:cubicBezTo>
                    <a:pt x="5451634" y="224314"/>
                    <a:pt x="5449729" y="219551"/>
                    <a:pt x="5448776" y="214789"/>
                  </a:cubicBezTo>
                  <a:cubicBezTo>
                    <a:pt x="5445919" y="205264"/>
                    <a:pt x="5444014" y="196691"/>
                    <a:pt x="5442109" y="190024"/>
                  </a:cubicBezTo>
                  <a:cubicBezTo>
                    <a:pt x="5442109" y="190024"/>
                    <a:pt x="5442109" y="190024"/>
                    <a:pt x="5442109" y="190024"/>
                  </a:cubicBezTo>
                  <a:cubicBezTo>
                    <a:pt x="5442109" y="184309"/>
                    <a:pt x="5442109" y="180499"/>
                    <a:pt x="5442109" y="180499"/>
                  </a:cubicBezTo>
                  <a:cubicBezTo>
                    <a:pt x="5442109" y="180499"/>
                    <a:pt x="5442109" y="182404"/>
                    <a:pt x="5441156" y="186214"/>
                  </a:cubicBezTo>
                  <a:cubicBezTo>
                    <a:pt x="5438299" y="174784"/>
                    <a:pt x="5436394" y="169069"/>
                    <a:pt x="5436394" y="169069"/>
                  </a:cubicBezTo>
                  <a:cubicBezTo>
                    <a:pt x="5436394" y="169069"/>
                    <a:pt x="5437346" y="176689"/>
                    <a:pt x="5438299" y="190976"/>
                  </a:cubicBezTo>
                  <a:cubicBezTo>
                    <a:pt x="5438299" y="192881"/>
                    <a:pt x="5438299" y="193834"/>
                    <a:pt x="5439251" y="195739"/>
                  </a:cubicBezTo>
                  <a:cubicBezTo>
                    <a:pt x="5437346" y="203359"/>
                    <a:pt x="5435442" y="212884"/>
                    <a:pt x="5433537" y="225266"/>
                  </a:cubicBezTo>
                  <a:cubicBezTo>
                    <a:pt x="5430679" y="223361"/>
                    <a:pt x="5429726" y="221456"/>
                    <a:pt x="5429726" y="221456"/>
                  </a:cubicBezTo>
                  <a:cubicBezTo>
                    <a:pt x="5429726" y="221456"/>
                    <a:pt x="5430679" y="223361"/>
                    <a:pt x="5433537" y="225266"/>
                  </a:cubicBezTo>
                  <a:cubicBezTo>
                    <a:pt x="5432584" y="230029"/>
                    <a:pt x="5431631" y="235744"/>
                    <a:pt x="5430679" y="240506"/>
                  </a:cubicBezTo>
                  <a:cubicBezTo>
                    <a:pt x="5429726" y="232886"/>
                    <a:pt x="5428774" y="228124"/>
                    <a:pt x="5428774" y="228124"/>
                  </a:cubicBezTo>
                  <a:cubicBezTo>
                    <a:pt x="5428774" y="228124"/>
                    <a:pt x="5428774" y="232886"/>
                    <a:pt x="5428774" y="242411"/>
                  </a:cubicBezTo>
                  <a:cubicBezTo>
                    <a:pt x="5426869" y="234791"/>
                    <a:pt x="5425917" y="228124"/>
                    <a:pt x="5424012" y="222409"/>
                  </a:cubicBezTo>
                  <a:cubicBezTo>
                    <a:pt x="5421154" y="208121"/>
                    <a:pt x="5419249" y="200501"/>
                    <a:pt x="5419249" y="200501"/>
                  </a:cubicBezTo>
                  <a:cubicBezTo>
                    <a:pt x="5419249" y="200501"/>
                    <a:pt x="5419249" y="209074"/>
                    <a:pt x="5420201" y="223361"/>
                  </a:cubicBezTo>
                  <a:cubicBezTo>
                    <a:pt x="5421154" y="235744"/>
                    <a:pt x="5422106" y="253841"/>
                    <a:pt x="5424964" y="274796"/>
                  </a:cubicBezTo>
                  <a:cubicBezTo>
                    <a:pt x="5424012" y="282416"/>
                    <a:pt x="5422106" y="290989"/>
                    <a:pt x="5420201" y="299561"/>
                  </a:cubicBezTo>
                  <a:cubicBezTo>
                    <a:pt x="5419249" y="301466"/>
                    <a:pt x="5419249" y="303371"/>
                    <a:pt x="5418296" y="305276"/>
                  </a:cubicBezTo>
                  <a:cubicBezTo>
                    <a:pt x="5417344" y="302419"/>
                    <a:pt x="5416392" y="300514"/>
                    <a:pt x="5415439" y="298609"/>
                  </a:cubicBezTo>
                  <a:cubicBezTo>
                    <a:pt x="5416392" y="294799"/>
                    <a:pt x="5417344" y="291941"/>
                    <a:pt x="5417344" y="291941"/>
                  </a:cubicBezTo>
                  <a:cubicBezTo>
                    <a:pt x="5417344" y="291941"/>
                    <a:pt x="5416392" y="293846"/>
                    <a:pt x="5414487" y="296704"/>
                  </a:cubicBezTo>
                  <a:cubicBezTo>
                    <a:pt x="5414487" y="296704"/>
                    <a:pt x="5414487" y="295751"/>
                    <a:pt x="5414487" y="295751"/>
                  </a:cubicBezTo>
                  <a:cubicBezTo>
                    <a:pt x="5413534" y="292894"/>
                    <a:pt x="5412581" y="290036"/>
                    <a:pt x="5411629" y="287179"/>
                  </a:cubicBezTo>
                  <a:cubicBezTo>
                    <a:pt x="5413534" y="274796"/>
                    <a:pt x="5414487" y="268129"/>
                    <a:pt x="5414487" y="268129"/>
                  </a:cubicBezTo>
                  <a:cubicBezTo>
                    <a:pt x="5414487" y="268129"/>
                    <a:pt x="5412581" y="272891"/>
                    <a:pt x="5409724" y="282416"/>
                  </a:cubicBezTo>
                  <a:cubicBezTo>
                    <a:pt x="5407819" y="276701"/>
                    <a:pt x="5405914" y="271939"/>
                    <a:pt x="5404009" y="267176"/>
                  </a:cubicBezTo>
                  <a:cubicBezTo>
                    <a:pt x="5402104" y="262414"/>
                    <a:pt x="5401151" y="258604"/>
                    <a:pt x="5399246" y="253841"/>
                  </a:cubicBezTo>
                  <a:cubicBezTo>
                    <a:pt x="5400199" y="240506"/>
                    <a:pt x="5400199" y="232886"/>
                    <a:pt x="5400199" y="232886"/>
                  </a:cubicBezTo>
                  <a:cubicBezTo>
                    <a:pt x="5400199" y="232886"/>
                    <a:pt x="5399246" y="237649"/>
                    <a:pt x="5396389" y="247174"/>
                  </a:cubicBezTo>
                  <a:cubicBezTo>
                    <a:pt x="5396389" y="246221"/>
                    <a:pt x="5395437" y="245269"/>
                    <a:pt x="5395437" y="244316"/>
                  </a:cubicBezTo>
                  <a:cubicBezTo>
                    <a:pt x="5390674" y="231934"/>
                    <a:pt x="5387817" y="224314"/>
                    <a:pt x="5387817" y="224314"/>
                  </a:cubicBezTo>
                  <a:cubicBezTo>
                    <a:pt x="5387817" y="224314"/>
                    <a:pt x="5388769" y="231934"/>
                    <a:pt x="5391626" y="245269"/>
                  </a:cubicBezTo>
                  <a:cubicBezTo>
                    <a:pt x="5392579" y="249079"/>
                    <a:pt x="5393531" y="252889"/>
                    <a:pt x="5394484" y="257651"/>
                  </a:cubicBezTo>
                  <a:cubicBezTo>
                    <a:pt x="5391626" y="269081"/>
                    <a:pt x="5388769" y="283369"/>
                    <a:pt x="5384959" y="300514"/>
                  </a:cubicBezTo>
                  <a:cubicBezTo>
                    <a:pt x="5384959" y="299561"/>
                    <a:pt x="5384959" y="298609"/>
                    <a:pt x="5384006" y="297656"/>
                  </a:cubicBezTo>
                  <a:cubicBezTo>
                    <a:pt x="5383054" y="288131"/>
                    <a:pt x="5382101" y="283369"/>
                    <a:pt x="5382101" y="283369"/>
                  </a:cubicBezTo>
                  <a:cubicBezTo>
                    <a:pt x="5382101" y="283369"/>
                    <a:pt x="5382101" y="284321"/>
                    <a:pt x="5382101" y="287179"/>
                  </a:cubicBezTo>
                  <a:cubicBezTo>
                    <a:pt x="5381149" y="283369"/>
                    <a:pt x="5380196" y="280511"/>
                    <a:pt x="5380196" y="276701"/>
                  </a:cubicBezTo>
                  <a:cubicBezTo>
                    <a:pt x="5380196" y="275749"/>
                    <a:pt x="5379244" y="273844"/>
                    <a:pt x="5379244" y="272891"/>
                  </a:cubicBezTo>
                  <a:cubicBezTo>
                    <a:pt x="5380196" y="270986"/>
                    <a:pt x="5380196" y="269081"/>
                    <a:pt x="5380196" y="269081"/>
                  </a:cubicBezTo>
                  <a:cubicBezTo>
                    <a:pt x="5380196" y="269081"/>
                    <a:pt x="5380196" y="270034"/>
                    <a:pt x="5379244" y="271939"/>
                  </a:cubicBezTo>
                  <a:cubicBezTo>
                    <a:pt x="5376387" y="260509"/>
                    <a:pt x="5374481" y="250984"/>
                    <a:pt x="5372576" y="241459"/>
                  </a:cubicBezTo>
                  <a:cubicBezTo>
                    <a:pt x="5372576" y="238601"/>
                    <a:pt x="5372576" y="235744"/>
                    <a:pt x="5373529" y="232886"/>
                  </a:cubicBezTo>
                  <a:cubicBezTo>
                    <a:pt x="5374481" y="217646"/>
                    <a:pt x="5376387" y="203359"/>
                    <a:pt x="5378292" y="190024"/>
                  </a:cubicBezTo>
                  <a:cubicBezTo>
                    <a:pt x="5379244" y="176689"/>
                    <a:pt x="5382101" y="165259"/>
                    <a:pt x="5384006" y="153829"/>
                  </a:cubicBezTo>
                  <a:cubicBezTo>
                    <a:pt x="5384959" y="148114"/>
                    <a:pt x="5385912" y="143351"/>
                    <a:pt x="5386864" y="138589"/>
                  </a:cubicBezTo>
                  <a:cubicBezTo>
                    <a:pt x="5387817" y="133826"/>
                    <a:pt x="5388769" y="130016"/>
                    <a:pt x="5389721" y="126206"/>
                  </a:cubicBezTo>
                  <a:cubicBezTo>
                    <a:pt x="5392579" y="110966"/>
                    <a:pt x="5394484" y="102394"/>
                    <a:pt x="5394484" y="102394"/>
                  </a:cubicBezTo>
                  <a:cubicBezTo>
                    <a:pt x="5394484" y="102394"/>
                    <a:pt x="5391626" y="110966"/>
                    <a:pt x="5385912" y="125254"/>
                  </a:cubicBezTo>
                  <a:cubicBezTo>
                    <a:pt x="5384959" y="129064"/>
                    <a:pt x="5383054" y="132874"/>
                    <a:pt x="5381149" y="137636"/>
                  </a:cubicBezTo>
                  <a:cubicBezTo>
                    <a:pt x="5379244" y="142399"/>
                    <a:pt x="5378292" y="147161"/>
                    <a:pt x="5376387" y="151924"/>
                  </a:cubicBezTo>
                  <a:cubicBezTo>
                    <a:pt x="5373529" y="162401"/>
                    <a:pt x="5369719" y="174784"/>
                    <a:pt x="5366862" y="188119"/>
                  </a:cubicBezTo>
                  <a:cubicBezTo>
                    <a:pt x="5365909" y="193834"/>
                    <a:pt x="5364004" y="199549"/>
                    <a:pt x="5363051" y="205264"/>
                  </a:cubicBezTo>
                  <a:cubicBezTo>
                    <a:pt x="5361146" y="199549"/>
                    <a:pt x="5360194" y="196691"/>
                    <a:pt x="5360194" y="196691"/>
                  </a:cubicBezTo>
                  <a:cubicBezTo>
                    <a:pt x="5360194" y="196691"/>
                    <a:pt x="5361146" y="201454"/>
                    <a:pt x="5361146" y="210979"/>
                  </a:cubicBezTo>
                  <a:cubicBezTo>
                    <a:pt x="5360194" y="217646"/>
                    <a:pt x="5358289" y="224314"/>
                    <a:pt x="5357337" y="230981"/>
                  </a:cubicBezTo>
                  <a:cubicBezTo>
                    <a:pt x="5356384" y="235744"/>
                    <a:pt x="5355431" y="240506"/>
                    <a:pt x="5355431" y="245269"/>
                  </a:cubicBezTo>
                  <a:cubicBezTo>
                    <a:pt x="5355431" y="241459"/>
                    <a:pt x="5354479" y="238601"/>
                    <a:pt x="5354479" y="235744"/>
                  </a:cubicBezTo>
                  <a:cubicBezTo>
                    <a:pt x="5354479" y="233839"/>
                    <a:pt x="5354479" y="231934"/>
                    <a:pt x="5354479" y="230029"/>
                  </a:cubicBezTo>
                  <a:cubicBezTo>
                    <a:pt x="5355431" y="217646"/>
                    <a:pt x="5355431" y="210979"/>
                    <a:pt x="5355431" y="210979"/>
                  </a:cubicBezTo>
                  <a:cubicBezTo>
                    <a:pt x="5355431" y="210979"/>
                    <a:pt x="5354479" y="214789"/>
                    <a:pt x="5352574" y="222409"/>
                  </a:cubicBezTo>
                  <a:cubicBezTo>
                    <a:pt x="5350669" y="210026"/>
                    <a:pt x="5348764" y="199549"/>
                    <a:pt x="5347812" y="190024"/>
                  </a:cubicBezTo>
                  <a:cubicBezTo>
                    <a:pt x="5347812" y="186214"/>
                    <a:pt x="5347812" y="182404"/>
                    <a:pt x="5347812" y="179546"/>
                  </a:cubicBezTo>
                  <a:cubicBezTo>
                    <a:pt x="5347812" y="167164"/>
                    <a:pt x="5347812" y="160496"/>
                    <a:pt x="5347812" y="160496"/>
                  </a:cubicBezTo>
                  <a:cubicBezTo>
                    <a:pt x="5347812" y="160496"/>
                    <a:pt x="5346859" y="165259"/>
                    <a:pt x="5344954" y="173831"/>
                  </a:cubicBezTo>
                  <a:cubicBezTo>
                    <a:pt x="5342096" y="158591"/>
                    <a:pt x="5341144" y="150019"/>
                    <a:pt x="5341144" y="150019"/>
                  </a:cubicBezTo>
                  <a:cubicBezTo>
                    <a:pt x="5341144" y="150019"/>
                    <a:pt x="5341144" y="160496"/>
                    <a:pt x="5342096" y="177641"/>
                  </a:cubicBezTo>
                  <a:cubicBezTo>
                    <a:pt x="5342096" y="180499"/>
                    <a:pt x="5342096" y="184309"/>
                    <a:pt x="5342096" y="187166"/>
                  </a:cubicBezTo>
                  <a:cubicBezTo>
                    <a:pt x="5341144" y="190976"/>
                    <a:pt x="5341144" y="195739"/>
                    <a:pt x="5340192" y="200501"/>
                  </a:cubicBezTo>
                  <a:cubicBezTo>
                    <a:pt x="5339239" y="209074"/>
                    <a:pt x="5337334" y="218599"/>
                    <a:pt x="5337334" y="229076"/>
                  </a:cubicBezTo>
                  <a:cubicBezTo>
                    <a:pt x="5337334" y="239554"/>
                    <a:pt x="5336381" y="250984"/>
                    <a:pt x="5336381" y="263366"/>
                  </a:cubicBezTo>
                  <a:cubicBezTo>
                    <a:pt x="5336381" y="269081"/>
                    <a:pt x="5336381" y="275749"/>
                    <a:pt x="5336381" y="282416"/>
                  </a:cubicBezTo>
                  <a:cubicBezTo>
                    <a:pt x="5336381" y="282416"/>
                    <a:pt x="5336381" y="282416"/>
                    <a:pt x="5336381" y="282416"/>
                  </a:cubicBezTo>
                  <a:cubicBezTo>
                    <a:pt x="5335429" y="286226"/>
                    <a:pt x="5334476" y="290036"/>
                    <a:pt x="5333524" y="293846"/>
                  </a:cubicBezTo>
                  <a:cubicBezTo>
                    <a:pt x="5333524" y="292894"/>
                    <a:pt x="5332571" y="291941"/>
                    <a:pt x="5332571" y="291941"/>
                  </a:cubicBezTo>
                  <a:cubicBezTo>
                    <a:pt x="5330667" y="287179"/>
                    <a:pt x="5329714" y="282416"/>
                    <a:pt x="5327809" y="278606"/>
                  </a:cubicBezTo>
                  <a:cubicBezTo>
                    <a:pt x="5323999" y="269081"/>
                    <a:pt x="5321142" y="259556"/>
                    <a:pt x="5319237" y="252889"/>
                  </a:cubicBezTo>
                  <a:cubicBezTo>
                    <a:pt x="5313521" y="238601"/>
                    <a:pt x="5310664" y="230029"/>
                    <a:pt x="5310664" y="230029"/>
                  </a:cubicBezTo>
                  <a:cubicBezTo>
                    <a:pt x="5310664" y="230029"/>
                    <a:pt x="5312569" y="238601"/>
                    <a:pt x="5315426" y="253841"/>
                  </a:cubicBezTo>
                  <a:cubicBezTo>
                    <a:pt x="5316379" y="257651"/>
                    <a:pt x="5317331" y="262414"/>
                    <a:pt x="5318284" y="267176"/>
                  </a:cubicBezTo>
                  <a:cubicBezTo>
                    <a:pt x="5316379" y="264319"/>
                    <a:pt x="5315426" y="263366"/>
                    <a:pt x="5315426" y="263366"/>
                  </a:cubicBezTo>
                  <a:cubicBezTo>
                    <a:pt x="5315426" y="263366"/>
                    <a:pt x="5317331" y="268129"/>
                    <a:pt x="5320189" y="276701"/>
                  </a:cubicBezTo>
                  <a:cubicBezTo>
                    <a:pt x="5320189" y="278606"/>
                    <a:pt x="5321142" y="279559"/>
                    <a:pt x="5321142" y="281464"/>
                  </a:cubicBezTo>
                  <a:cubicBezTo>
                    <a:pt x="5322094" y="286226"/>
                    <a:pt x="5323046" y="291941"/>
                    <a:pt x="5324951" y="297656"/>
                  </a:cubicBezTo>
                  <a:cubicBezTo>
                    <a:pt x="5325904" y="300514"/>
                    <a:pt x="5326856" y="303371"/>
                    <a:pt x="5326856" y="306229"/>
                  </a:cubicBezTo>
                  <a:cubicBezTo>
                    <a:pt x="5323999" y="310991"/>
                    <a:pt x="5320189" y="316706"/>
                    <a:pt x="5316379" y="322421"/>
                  </a:cubicBezTo>
                  <a:cubicBezTo>
                    <a:pt x="5313521" y="327184"/>
                    <a:pt x="5309712" y="332899"/>
                    <a:pt x="5306854" y="338614"/>
                  </a:cubicBezTo>
                  <a:cubicBezTo>
                    <a:pt x="5303996" y="343376"/>
                    <a:pt x="5301139" y="349091"/>
                    <a:pt x="5298281" y="354806"/>
                  </a:cubicBezTo>
                  <a:cubicBezTo>
                    <a:pt x="5298281" y="350996"/>
                    <a:pt x="5298281" y="347186"/>
                    <a:pt x="5298281" y="344329"/>
                  </a:cubicBezTo>
                  <a:cubicBezTo>
                    <a:pt x="5299234" y="334804"/>
                    <a:pt x="5300187" y="326231"/>
                    <a:pt x="5301139" y="318611"/>
                  </a:cubicBezTo>
                  <a:cubicBezTo>
                    <a:pt x="5303044" y="308134"/>
                    <a:pt x="5303996" y="299561"/>
                    <a:pt x="5305901" y="291941"/>
                  </a:cubicBezTo>
                  <a:cubicBezTo>
                    <a:pt x="5309712" y="276701"/>
                    <a:pt x="5311617" y="269081"/>
                    <a:pt x="5311617" y="269081"/>
                  </a:cubicBezTo>
                  <a:cubicBezTo>
                    <a:pt x="5311617" y="269081"/>
                    <a:pt x="5307806" y="276701"/>
                    <a:pt x="5302092" y="290989"/>
                  </a:cubicBezTo>
                  <a:cubicBezTo>
                    <a:pt x="5301139" y="293846"/>
                    <a:pt x="5300187" y="295751"/>
                    <a:pt x="5299234" y="298609"/>
                  </a:cubicBezTo>
                  <a:cubicBezTo>
                    <a:pt x="5299234" y="276701"/>
                    <a:pt x="5299234" y="263366"/>
                    <a:pt x="5299234" y="263366"/>
                  </a:cubicBezTo>
                  <a:cubicBezTo>
                    <a:pt x="5299234" y="263366"/>
                    <a:pt x="5295424" y="284321"/>
                    <a:pt x="5290662" y="317659"/>
                  </a:cubicBezTo>
                  <a:cubicBezTo>
                    <a:pt x="5290662" y="315754"/>
                    <a:pt x="5289709" y="314801"/>
                    <a:pt x="5289709" y="312896"/>
                  </a:cubicBezTo>
                  <a:cubicBezTo>
                    <a:pt x="5287804" y="306229"/>
                    <a:pt x="5286851" y="300514"/>
                    <a:pt x="5284946" y="295751"/>
                  </a:cubicBezTo>
                  <a:cubicBezTo>
                    <a:pt x="5284946" y="295751"/>
                    <a:pt x="5284946" y="295751"/>
                    <a:pt x="5284946" y="295751"/>
                  </a:cubicBezTo>
                  <a:cubicBezTo>
                    <a:pt x="5284946" y="295751"/>
                    <a:pt x="5284946" y="295751"/>
                    <a:pt x="5284946" y="295751"/>
                  </a:cubicBezTo>
                  <a:cubicBezTo>
                    <a:pt x="5283994" y="291941"/>
                    <a:pt x="5283042" y="288131"/>
                    <a:pt x="5282089" y="284321"/>
                  </a:cubicBezTo>
                  <a:cubicBezTo>
                    <a:pt x="5282089" y="283369"/>
                    <a:pt x="5282089" y="283369"/>
                    <a:pt x="5281137" y="282416"/>
                  </a:cubicBezTo>
                  <a:cubicBezTo>
                    <a:pt x="5285899" y="264319"/>
                    <a:pt x="5288756" y="252889"/>
                    <a:pt x="5288756" y="252889"/>
                  </a:cubicBezTo>
                  <a:cubicBezTo>
                    <a:pt x="5288756" y="252889"/>
                    <a:pt x="5284946" y="260509"/>
                    <a:pt x="5279231" y="273844"/>
                  </a:cubicBezTo>
                  <a:cubicBezTo>
                    <a:pt x="5278279" y="269081"/>
                    <a:pt x="5276374" y="265271"/>
                    <a:pt x="5275421" y="262414"/>
                  </a:cubicBezTo>
                  <a:cubicBezTo>
                    <a:pt x="5270659" y="250031"/>
                    <a:pt x="5268754" y="243364"/>
                    <a:pt x="5268754" y="243364"/>
                  </a:cubicBezTo>
                  <a:cubicBezTo>
                    <a:pt x="5268754" y="243364"/>
                    <a:pt x="5269706" y="250031"/>
                    <a:pt x="5271612" y="262414"/>
                  </a:cubicBezTo>
                  <a:cubicBezTo>
                    <a:pt x="5272564" y="268129"/>
                    <a:pt x="5273517" y="275749"/>
                    <a:pt x="5274469" y="283369"/>
                  </a:cubicBezTo>
                  <a:cubicBezTo>
                    <a:pt x="5270659" y="290989"/>
                    <a:pt x="5266849" y="300514"/>
                    <a:pt x="5263039" y="310039"/>
                  </a:cubicBezTo>
                  <a:cubicBezTo>
                    <a:pt x="5263039" y="305276"/>
                    <a:pt x="5263039" y="302419"/>
                    <a:pt x="5263039" y="302419"/>
                  </a:cubicBezTo>
                  <a:cubicBezTo>
                    <a:pt x="5263039" y="302419"/>
                    <a:pt x="5262087" y="305276"/>
                    <a:pt x="5260181" y="310039"/>
                  </a:cubicBezTo>
                  <a:cubicBezTo>
                    <a:pt x="5260181" y="310039"/>
                    <a:pt x="5260181" y="309086"/>
                    <a:pt x="5260181" y="309086"/>
                  </a:cubicBezTo>
                  <a:cubicBezTo>
                    <a:pt x="5260181" y="306229"/>
                    <a:pt x="5260181" y="303371"/>
                    <a:pt x="5261134" y="301466"/>
                  </a:cubicBezTo>
                  <a:cubicBezTo>
                    <a:pt x="5261134" y="294799"/>
                    <a:pt x="5262087" y="289084"/>
                    <a:pt x="5262087" y="284321"/>
                  </a:cubicBezTo>
                  <a:cubicBezTo>
                    <a:pt x="5263039" y="274796"/>
                    <a:pt x="5263039" y="269081"/>
                    <a:pt x="5263039" y="269081"/>
                  </a:cubicBezTo>
                  <a:cubicBezTo>
                    <a:pt x="5263039" y="269081"/>
                    <a:pt x="5261134" y="273844"/>
                    <a:pt x="5258276" y="283369"/>
                  </a:cubicBezTo>
                  <a:cubicBezTo>
                    <a:pt x="5258276" y="284321"/>
                    <a:pt x="5257324" y="286226"/>
                    <a:pt x="5257324" y="287179"/>
                  </a:cubicBezTo>
                  <a:cubicBezTo>
                    <a:pt x="5256371" y="282416"/>
                    <a:pt x="5256371" y="277654"/>
                    <a:pt x="5255419" y="273844"/>
                  </a:cubicBezTo>
                  <a:cubicBezTo>
                    <a:pt x="5255419" y="272891"/>
                    <a:pt x="5255419" y="271939"/>
                    <a:pt x="5255419" y="271939"/>
                  </a:cubicBezTo>
                  <a:cubicBezTo>
                    <a:pt x="5255419" y="271939"/>
                    <a:pt x="5255419" y="271939"/>
                    <a:pt x="5255419" y="270986"/>
                  </a:cubicBezTo>
                  <a:cubicBezTo>
                    <a:pt x="5256371" y="268129"/>
                    <a:pt x="5256371" y="266224"/>
                    <a:pt x="5256371" y="266224"/>
                  </a:cubicBezTo>
                  <a:cubicBezTo>
                    <a:pt x="5256371" y="266224"/>
                    <a:pt x="5256371" y="267176"/>
                    <a:pt x="5255419" y="268129"/>
                  </a:cubicBezTo>
                  <a:cubicBezTo>
                    <a:pt x="5256371" y="255746"/>
                    <a:pt x="5257324" y="244316"/>
                    <a:pt x="5258276" y="232886"/>
                  </a:cubicBezTo>
                  <a:cubicBezTo>
                    <a:pt x="5262087" y="188119"/>
                    <a:pt x="5263039" y="158591"/>
                    <a:pt x="5263039" y="158591"/>
                  </a:cubicBezTo>
                  <a:cubicBezTo>
                    <a:pt x="5263039" y="158591"/>
                    <a:pt x="5258276" y="175736"/>
                    <a:pt x="5252562" y="204311"/>
                  </a:cubicBezTo>
                  <a:cubicBezTo>
                    <a:pt x="5253514" y="193834"/>
                    <a:pt x="5254467" y="183356"/>
                    <a:pt x="5255419" y="173831"/>
                  </a:cubicBezTo>
                  <a:cubicBezTo>
                    <a:pt x="5256371" y="160496"/>
                    <a:pt x="5257324" y="150019"/>
                    <a:pt x="5258276" y="140494"/>
                  </a:cubicBezTo>
                  <a:cubicBezTo>
                    <a:pt x="5260181" y="121444"/>
                    <a:pt x="5260181" y="110966"/>
                    <a:pt x="5260181" y="110966"/>
                  </a:cubicBezTo>
                  <a:cubicBezTo>
                    <a:pt x="5260181" y="110966"/>
                    <a:pt x="5257324" y="121444"/>
                    <a:pt x="5254467" y="139541"/>
                  </a:cubicBezTo>
                  <a:cubicBezTo>
                    <a:pt x="5252562" y="149066"/>
                    <a:pt x="5250656" y="159544"/>
                    <a:pt x="5247799" y="172879"/>
                  </a:cubicBezTo>
                  <a:cubicBezTo>
                    <a:pt x="5246846" y="179546"/>
                    <a:pt x="5244942" y="186214"/>
                    <a:pt x="5243989" y="192881"/>
                  </a:cubicBezTo>
                  <a:cubicBezTo>
                    <a:pt x="5243989" y="195739"/>
                    <a:pt x="5243037" y="198596"/>
                    <a:pt x="5243037" y="201454"/>
                  </a:cubicBezTo>
                  <a:cubicBezTo>
                    <a:pt x="5242084" y="197644"/>
                    <a:pt x="5241131" y="194786"/>
                    <a:pt x="5241131" y="194786"/>
                  </a:cubicBezTo>
                  <a:cubicBezTo>
                    <a:pt x="5241131" y="194786"/>
                    <a:pt x="5241131" y="199549"/>
                    <a:pt x="5241131" y="209074"/>
                  </a:cubicBezTo>
                  <a:cubicBezTo>
                    <a:pt x="5241131" y="210979"/>
                    <a:pt x="5240179" y="213836"/>
                    <a:pt x="5240179" y="215741"/>
                  </a:cubicBezTo>
                  <a:cubicBezTo>
                    <a:pt x="5239226" y="225266"/>
                    <a:pt x="5237321" y="235744"/>
                    <a:pt x="5235417" y="246221"/>
                  </a:cubicBezTo>
                  <a:cubicBezTo>
                    <a:pt x="5234464" y="248126"/>
                    <a:pt x="5232559" y="250984"/>
                    <a:pt x="5230654" y="252889"/>
                  </a:cubicBezTo>
                  <a:cubicBezTo>
                    <a:pt x="5227796" y="256699"/>
                    <a:pt x="5225892" y="261461"/>
                    <a:pt x="5222081" y="266224"/>
                  </a:cubicBezTo>
                  <a:cubicBezTo>
                    <a:pt x="5220176" y="270034"/>
                    <a:pt x="5217319" y="274796"/>
                    <a:pt x="5215414" y="279559"/>
                  </a:cubicBezTo>
                  <a:cubicBezTo>
                    <a:pt x="5215414" y="279559"/>
                    <a:pt x="5215414" y="279559"/>
                    <a:pt x="5215414" y="278606"/>
                  </a:cubicBezTo>
                  <a:cubicBezTo>
                    <a:pt x="5216367" y="276701"/>
                    <a:pt x="5216367" y="275749"/>
                    <a:pt x="5216367" y="275749"/>
                  </a:cubicBezTo>
                  <a:cubicBezTo>
                    <a:pt x="5216367" y="275749"/>
                    <a:pt x="5216367" y="276701"/>
                    <a:pt x="5215414" y="277654"/>
                  </a:cubicBezTo>
                  <a:cubicBezTo>
                    <a:pt x="5213509" y="267176"/>
                    <a:pt x="5212556" y="257651"/>
                    <a:pt x="5211604" y="249079"/>
                  </a:cubicBezTo>
                  <a:cubicBezTo>
                    <a:pt x="5210651" y="239554"/>
                    <a:pt x="5209699" y="230981"/>
                    <a:pt x="5208746" y="224314"/>
                  </a:cubicBezTo>
                  <a:cubicBezTo>
                    <a:pt x="5206842" y="210979"/>
                    <a:pt x="5205889" y="202406"/>
                    <a:pt x="5205889" y="202406"/>
                  </a:cubicBezTo>
                  <a:cubicBezTo>
                    <a:pt x="5205889" y="202406"/>
                    <a:pt x="5205889" y="210026"/>
                    <a:pt x="5204937" y="224314"/>
                  </a:cubicBezTo>
                  <a:cubicBezTo>
                    <a:pt x="5204937" y="230981"/>
                    <a:pt x="5204937" y="239554"/>
                    <a:pt x="5204937" y="249079"/>
                  </a:cubicBezTo>
                  <a:cubicBezTo>
                    <a:pt x="5204937" y="253841"/>
                    <a:pt x="5204937" y="258604"/>
                    <a:pt x="5204937" y="264319"/>
                  </a:cubicBezTo>
                  <a:cubicBezTo>
                    <a:pt x="5204937" y="270034"/>
                    <a:pt x="5204937" y="275749"/>
                    <a:pt x="5205889" y="281464"/>
                  </a:cubicBezTo>
                  <a:cubicBezTo>
                    <a:pt x="5205889" y="284321"/>
                    <a:pt x="5205889" y="286226"/>
                    <a:pt x="5205889" y="289084"/>
                  </a:cubicBezTo>
                  <a:cubicBezTo>
                    <a:pt x="5204937" y="287179"/>
                    <a:pt x="5203984" y="286226"/>
                    <a:pt x="5203984" y="286226"/>
                  </a:cubicBezTo>
                  <a:cubicBezTo>
                    <a:pt x="5203984" y="286226"/>
                    <a:pt x="5204937" y="288131"/>
                    <a:pt x="5205889" y="290989"/>
                  </a:cubicBezTo>
                  <a:cubicBezTo>
                    <a:pt x="5205889" y="290989"/>
                    <a:pt x="5205889" y="290989"/>
                    <a:pt x="5205889" y="291941"/>
                  </a:cubicBezTo>
                  <a:cubicBezTo>
                    <a:pt x="5204937" y="290036"/>
                    <a:pt x="5203984" y="289084"/>
                    <a:pt x="5203984" y="287179"/>
                  </a:cubicBezTo>
                  <a:cubicBezTo>
                    <a:pt x="5203984" y="287179"/>
                    <a:pt x="5203984" y="287179"/>
                    <a:pt x="5203984" y="287179"/>
                  </a:cubicBezTo>
                  <a:cubicBezTo>
                    <a:pt x="5203984" y="287179"/>
                    <a:pt x="5203984" y="287179"/>
                    <a:pt x="5203984" y="287179"/>
                  </a:cubicBezTo>
                  <a:cubicBezTo>
                    <a:pt x="5201126" y="281464"/>
                    <a:pt x="5199221" y="278606"/>
                    <a:pt x="5199221" y="278606"/>
                  </a:cubicBezTo>
                  <a:cubicBezTo>
                    <a:pt x="5199221" y="278606"/>
                    <a:pt x="5200174" y="283369"/>
                    <a:pt x="5202079" y="290989"/>
                  </a:cubicBezTo>
                  <a:cubicBezTo>
                    <a:pt x="5201126" y="292894"/>
                    <a:pt x="5200174" y="295751"/>
                    <a:pt x="5198269" y="300514"/>
                  </a:cubicBezTo>
                  <a:cubicBezTo>
                    <a:pt x="5197317" y="298609"/>
                    <a:pt x="5196364" y="297656"/>
                    <a:pt x="5195412" y="295751"/>
                  </a:cubicBezTo>
                  <a:cubicBezTo>
                    <a:pt x="5193506" y="284321"/>
                    <a:pt x="5192554" y="273844"/>
                    <a:pt x="5191601" y="263366"/>
                  </a:cubicBezTo>
                  <a:cubicBezTo>
                    <a:pt x="5187792" y="232886"/>
                    <a:pt x="5185887" y="208121"/>
                    <a:pt x="5184934" y="190024"/>
                  </a:cubicBezTo>
                  <a:cubicBezTo>
                    <a:pt x="5183981" y="181451"/>
                    <a:pt x="5183981" y="173831"/>
                    <a:pt x="5183981" y="169069"/>
                  </a:cubicBezTo>
                  <a:cubicBezTo>
                    <a:pt x="5183981" y="164306"/>
                    <a:pt x="5183981" y="161449"/>
                    <a:pt x="5183981" y="161449"/>
                  </a:cubicBezTo>
                  <a:cubicBezTo>
                    <a:pt x="5183981" y="161449"/>
                    <a:pt x="5183981" y="164306"/>
                    <a:pt x="5183029" y="169069"/>
                  </a:cubicBezTo>
                  <a:cubicBezTo>
                    <a:pt x="5182076" y="173831"/>
                    <a:pt x="5182076" y="180499"/>
                    <a:pt x="5181124" y="190024"/>
                  </a:cubicBezTo>
                  <a:cubicBezTo>
                    <a:pt x="5181124" y="196691"/>
                    <a:pt x="5180171" y="204311"/>
                    <a:pt x="5180171" y="211931"/>
                  </a:cubicBezTo>
                  <a:cubicBezTo>
                    <a:pt x="5179219" y="212884"/>
                    <a:pt x="5178267" y="213836"/>
                    <a:pt x="5177314" y="215741"/>
                  </a:cubicBezTo>
                  <a:cubicBezTo>
                    <a:pt x="5174456" y="219551"/>
                    <a:pt x="5170646" y="224314"/>
                    <a:pt x="5165884" y="231934"/>
                  </a:cubicBezTo>
                  <a:cubicBezTo>
                    <a:pt x="5164931" y="232886"/>
                    <a:pt x="5163979" y="234791"/>
                    <a:pt x="5163979" y="235744"/>
                  </a:cubicBezTo>
                  <a:cubicBezTo>
                    <a:pt x="5163026" y="233839"/>
                    <a:pt x="5162074" y="231934"/>
                    <a:pt x="5161121" y="230029"/>
                  </a:cubicBezTo>
                  <a:cubicBezTo>
                    <a:pt x="5161121" y="230029"/>
                    <a:pt x="5161121" y="229076"/>
                    <a:pt x="5161121" y="229076"/>
                  </a:cubicBezTo>
                  <a:cubicBezTo>
                    <a:pt x="5162074" y="222409"/>
                    <a:pt x="5162074" y="217646"/>
                    <a:pt x="5163026" y="213836"/>
                  </a:cubicBezTo>
                  <a:cubicBezTo>
                    <a:pt x="5163979" y="210026"/>
                    <a:pt x="5163979" y="208121"/>
                    <a:pt x="5163979" y="208121"/>
                  </a:cubicBezTo>
                  <a:cubicBezTo>
                    <a:pt x="5163979" y="208121"/>
                    <a:pt x="5161121" y="213836"/>
                    <a:pt x="5158264" y="224314"/>
                  </a:cubicBezTo>
                  <a:cubicBezTo>
                    <a:pt x="5157312" y="222409"/>
                    <a:pt x="5156359" y="221456"/>
                    <a:pt x="5156359" y="220504"/>
                  </a:cubicBezTo>
                  <a:cubicBezTo>
                    <a:pt x="5152549" y="213836"/>
                    <a:pt x="5149692" y="208121"/>
                    <a:pt x="5147787" y="205264"/>
                  </a:cubicBezTo>
                  <a:cubicBezTo>
                    <a:pt x="5146834" y="195739"/>
                    <a:pt x="5145881" y="186214"/>
                    <a:pt x="5144929" y="178594"/>
                  </a:cubicBezTo>
                  <a:cubicBezTo>
                    <a:pt x="5143024" y="159544"/>
                    <a:pt x="5141119" y="149066"/>
                    <a:pt x="5141119" y="149066"/>
                  </a:cubicBezTo>
                  <a:cubicBezTo>
                    <a:pt x="5141119" y="149066"/>
                    <a:pt x="5141119" y="159544"/>
                    <a:pt x="5141119" y="178594"/>
                  </a:cubicBezTo>
                  <a:cubicBezTo>
                    <a:pt x="5141119" y="197644"/>
                    <a:pt x="5141119" y="224314"/>
                    <a:pt x="5141119" y="255746"/>
                  </a:cubicBezTo>
                  <a:cubicBezTo>
                    <a:pt x="5141119" y="256699"/>
                    <a:pt x="5141119" y="257651"/>
                    <a:pt x="5141119" y="258604"/>
                  </a:cubicBezTo>
                  <a:cubicBezTo>
                    <a:pt x="5140167" y="259556"/>
                    <a:pt x="5140167" y="259556"/>
                    <a:pt x="5139214" y="260509"/>
                  </a:cubicBezTo>
                  <a:cubicBezTo>
                    <a:pt x="5138262" y="261461"/>
                    <a:pt x="5136356" y="263366"/>
                    <a:pt x="5134451" y="265271"/>
                  </a:cubicBezTo>
                  <a:cubicBezTo>
                    <a:pt x="5131594" y="216694"/>
                    <a:pt x="5128737" y="184309"/>
                    <a:pt x="5128737" y="184309"/>
                  </a:cubicBezTo>
                  <a:cubicBezTo>
                    <a:pt x="5128737" y="184309"/>
                    <a:pt x="5126831" y="204311"/>
                    <a:pt x="5124926" y="236696"/>
                  </a:cubicBezTo>
                  <a:cubicBezTo>
                    <a:pt x="5121117" y="225266"/>
                    <a:pt x="5119212" y="219551"/>
                    <a:pt x="5119212" y="219551"/>
                  </a:cubicBezTo>
                  <a:cubicBezTo>
                    <a:pt x="5119212" y="219551"/>
                    <a:pt x="5121117" y="230029"/>
                    <a:pt x="5123974" y="249079"/>
                  </a:cubicBezTo>
                  <a:cubicBezTo>
                    <a:pt x="5123974" y="251936"/>
                    <a:pt x="5123974" y="255746"/>
                    <a:pt x="5123021" y="258604"/>
                  </a:cubicBezTo>
                  <a:cubicBezTo>
                    <a:pt x="5122069" y="263366"/>
                    <a:pt x="5121117" y="270034"/>
                    <a:pt x="5120164" y="279559"/>
                  </a:cubicBezTo>
                  <a:cubicBezTo>
                    <a:pt x="5119212" y="281464"/>
                    <a:pt x="5117306" y="283369"/>
                    <a:pt x="5116354" y="285274"/>
                  </a:cubicBezTo>
                  <a:cubicBezTo>
                    <a:pt x="5113496" y="289084"/>
                    <a:pt x="5109687" y="293846"/>
                    <a:pt x="5106829" y="298609"/>
                  </a:cubicBezTo>
                  <a:cubicBezTo>
                    <a:pt x="5105876" y="299561"/>
                    <a:pt x="5104924" y="301466"/>
                    <a:pt x="5103971" y="303371"/>
                  </a:cubicBezTo>
                  <a:cubicBezTo>
                    <a:pt x="5097304" y="287179"/>
                    <a:pt x="5090637" y="272891"/>
                    <a:pt x="5085874" y="261461"/>
                  </a:cubicBezTo>
                  <a:cubicBezTo>
                    <a:pt x="5085874" y="261461"/>
                    <a:pt x="5085874" y="261461"/>
                    <a:pt x="5086826" y="261461"/>
                  </a:cubicBezTo>
                  <a:cubicBezTo>
                    <a:pt x="5089684" y="260509"/>
                    <a:pt x="5091589" y="260509"/>
                    <a:pt x="5091589" y="260509"/>
                  </a:cubicBezTo>
                  <a:cubicBezTo>
                    <a:pt x="5091589" y="260509"/>
                    <a:pt x="5089684" y="260509"/>
                    <a:pt x="5086826" y="260509"/>
                  </a:cubicBezTo>
                  <a:cubicBezTo>
                    <a:pt x="5086826" y="260509"/>
                    <a:pt x="5085874" y="260509"/>
                    <a:pt x="5085874" y="260509"/>
                  </a:cubicBezTo>
                  <a:cubicBezTo>
                    <a:pt x="5078254" y="243364"/>
                    <a:pt x="5073492" y="232886"/>
                    <a:pt x="5071587" y="230029"/>
                  </a:cubicBezTo>
                  <a:cubicBezTo>
                    <a:pt x="5071587" y="225266"/>
                    <a:pt x="5071587" y="222409"/>
                    <a:pt x="5071587" y="222409"/>
                  </a:cubicBezTo>
                  <a:cubicBezTo>
                    <a:pt x="5071587" y="222409"/>
                    <a:pt x="5070634" y="224314"/>
                    <a:pt x="5069681" y="227171"/>
                  </a:cubicBezTo>
                  <a:cubicBezTo>
                    <a:pt x="5066824" y="214789"/>
                    <a:pt x="5063967" y="203359"/>
                    <a:pt x="5062062" y="192881"/>
                  </a:cubicBezTo>
                  <a:cubicBezTo>
                    <a:pt x="5061109" y="186214"/>
                    <a:pt x="5059204" y="180499"/>
                    <a:pt x="5058251" y="174784"/>
                  </a:cubicBezTo>
                  <a:cubicBezTo>
                    <a:pt x="5057299" y="169069"/>
                    <a:pt x="5056346" y="164306"/>
                    <a:pt x="5055394" y="159544"/>
                  </a:cubicBezTo>
                  <a:cubicBezTo>
                    <a:pt x="5051584" y="140494"/>
                    <a:pt x="5049679" y="130016"/>
                    <a:pt x="5049679" y="130016"/>
                  </a:cubicBezTo>
                  <a:cubicBezTo>
                    <a:pt x="5049679" y="130016"/>
                    <a:pt x="5050631" y="140494"/>
                    <a:pt x="5050631" y="159544"/>
                  </a:cubicBezTo>
                  <a:cubicBezTo>
                    <a:pt x="5050631" y="164306"/>
                    <a:pt x="5051584" y="169069"/>
                    <a:pt x="5051584" y="174784"/>
                  </a:cubicBezTo>
                  <a:cubicBezTo>
                    <a:pt x="5052537" y="180499"/>
                    <a:pt x="5052537" y="186214"/>
                    <a:pt x="5053489" y="192881"/>
                  </a:cubicBezTo>
                  <a:cubicBezTo>
                    <a:pt x="5055394" y="206216"/>
                    <a:pt x="5056346" y="220504"/>
                    <a:pt x="5059204" y="236696"/>
                  </a:cubicBezTo>
                  <a:cubicBezTo>
                    <a:pt x="5060156" y="240506"/>
                    <a:pt x="5061109" y="245269"/>
                    <a:pt x="5061109" y="249079"/>
                  </a:cubicBezTo>
                  <a:cubicBezTo>
                    <a:pt x="5059204" y="254794"/>
                    <a:pt x="5057299" y="262414"/>
                    <a:pt x="5055394" y="270034"/>
                  </a:cubicBezTo>
                  <a:cubicBezTo>
                    <a:pt x="5054442" y="270986"/>
                    <a:pt x="5053489" y="270986"/>
                    <a:pt x="5052537" y="271939"/>
                  </a:cubicBezTo>
                  <a:cubicBezTo>
                    <a:pt x="5052537" y="271939"/>
                    <a:pt x="5052537" y="271939"/>
                    <a:pt x="5052537" y="271939"/>
                  </a:cubicBezTo>
                  <a:cubicBezTo>
                    <a:pt x="5051584" y="269081"/>
                    <a:pt x="5051584" y="267176"/>
                    <a:pt x="5051584" y="267176"/>
                  </a:cubicBezTo>
                  <a:cubicBezTo>
                    <a:pt x="5051584" y="267176"/>
                    <a:pt x="5051584" y="268129"/>
                    <a:pt x="5051584" y="269081"/>
                  </a:cubicBezTo>
                  <a:cubicBezTo>
                    <a:pt x="5050631" y="266224"/>
                    <a:pt x="5049679" y="264319"/>
                    <a:pt x="5048726" y="261461"/>
                  </a:cubicBezTo>
                  <a:cubicBezTo>
                    <a:pt x="5048726" y="261461"/>
                    <a:pt x="5048726" y="261461"/>
                    <a:pt x="5048726" y="261461"/>
                  </a:cubicBezTo>
                  <a:cubicBezTo>
                    <a:pt x="5049679" y="255746"/>
                    <a:pt x="5050631" y="252889"/>
                    <a:pt x="5050631" y="252889"/>
                  </a:cubicBezTo>
                  <a:cubicBezTo>
                    <a:pt x="5050631" y="252889"/>
                    <a:pt x="5049679" y="254794"/>
                    <a:pt x="5047774" y="259556"/>
                  </a:cubicBezTo>
                  <a:cubicBezTo>
                    <a:pt x="5043964" y="250984"/>
                    <a:pt x="5041106" y="243364"/>
                    <a:pt x="5039201" y="236696"/>
                  </a:cubicBezTo>
                  <a:cubicBezTo>
                    <a:pt x="5034439" y="222409"/>
                    <a:pt x="5031581" y="214789"/>
                    <a:pt x="5031581" y="214789"/>
                  </a:cubicBezTo>
                  <a:cubicBezTo>
                    <a:pt x="5031581" y="214789"/>
                    <a:pt x="5033487" y="223361"/>
                    <a:pt x="5035392" y="237649"/>
                  </a:cubicBezTo>
                  <a:cubicBezTo>
                    <a:pt x="5036344" y="243364"/>
                    <a:pt x="5037296" y="249079"/>
                    <a:pt x="5039201" y="256699"/>
                  </a:cubicBezTo>
                  <a:cubicBezTo>
                    <a:pt x="5038249" y="258604"/>
                    <a:pt x="5036344" y="261461"/>
                    <a:pt x="5034439" y="265271"/>
                  </a:cubicBezTo>
                  <a:cubicBezTo>
                    <a:pt x="5034439" y="264319"/>
                    <a:pt x="5034439" y="263366"/>
                    <a:pt x="5034439" y="262414"/>
                  </a:cubicBezTo>
                  <a:cubicBezTo>
                    <a:pt x="5033487" y="253841"/>
                    <a:pt x="5031581" y="247174"/>
                    <a:pt x="5030629" y="241459"/>
                  </a:cubicBezTo>
                  <a:cubicBezTo>
                    <a:pt x="5028724" y="230029"/>
                    <a:pt x="5026819" y="223361"/>
                    <a:pt x="5026819" y="223361"/>
                  </a:cubicBezTo>
                  <a:cubicBezTo>
                    <a:pt x="5026819" y="223361"/>
                    <a:pt x="5026819" y="230029"/>
                    <a:pt x="5025867" y="242411"/>
                  </a:cubicBezTo>
                  <a:cubicBezTo>
                    <a:pt x="5025867" y="248126"/>
                    <a:pt x="5025867" y="255746"/>
                    <a:pt x="5025867" y="263366"/>
                  </a:cubicBezTo>
                  <a:cubicBezTo>
                    <a:pt x="5025867" y="267176"/>
                    <a:pt x="5025867" y="271939"/>
                    <a:pt x="5025867" y="276701"/>
                  </a:cubicBezTo>
                  <a:cubicBezTo>
                    <a:pt x="5025867" y="277654"/>
                    <a:pt x="5025867" y="279559"/>
                    <a:pt x="5025867" y="281464"/>
                  </a:cubicBezTo>
                  <a:cubicBezTo>
                    <a:pt x="5020151" y="274796"/>
                    <a:pt x="5015389" y="268129"/>
                    <a:pt x="5010626" y="263366"/>
                  </a:cubicBezTo>
                  <a:cubicBezTo>
                    <a:pt x="5003006" y="255746"/>
                    <a:pt x="4998244" y="250984"/>
                    <a:pt x="4995387" y="248126"/>
                  </a:cubicBezTo>
                  <a:cubicBezTo>
                    <a:pt x="4996339" y="245269"/>
                    <a:pt x="4997292" y="243364"/>
                    <a:pt x="4997292" y="243364"/>
                  </a:cubicBezTo>
                  <a:cubicBezTo>
                    <a:pt x="4997292" y="243364"/>
                    <a:pt x="4996339" y="245269"/>
                    <a:pt x="4994434" y="248126"/>
                  </a:cubicBezTo>
                  <a:cubicBezTo>
                    <a:pt x="4993481" y="247174"/>
                    <a:pt x="4992529" y="246221"/>
                    <a:pt x="4992529" y="246221"/>
                  </a:cubicBezTo>
                  <a:cubicBezTo>
                    <a:pt x="4994434" y="211931"/>
                    <a:pt x="4994434" y="190024"/>
                    <a:pt x="4994434" y="190024"/>
                  </a:cubicBezTo>
                  <a:cubicBezTo>
                    <a:pt x="4994434" y="190024"/>
                    <a:pt x="4988719" y="210026"/>
                    <a:pt x="4983004" y="240506"/>
                  </a:cubicBezTo>
                  <a:cubicBezTo>
                    <a:pt x="4982051" y="239554"/>
                    <a:pt x="4981099" y="238601"/>
                    <a:pt x="4981099" y="238601"/>
                  </a:cubicBezTo>
                  <a:cubicBezTo>
                    <a:pt x="4967764" y="226219"/>
                    <a:pt x="4959192" y="219551"/>
                    <a:pt x="4959192" y="219551"/>
                  </a:cubicBezTo>
                  <a:cubicBezTo>
                    <a:pt x="4959192" y="219551"/>
                    <a:pt x="4965859" y="227171"/>
                    <a:pt x="4978242" y="241459"/>
                  </a:cubicBezTo>
                  <a:cubicBezTo>
                    <a:pt x="4979194" y="243364"/>
                    <a:pt x="4981099" y="244316"/>
                    <a:pt x="4982051" y="246221"/>
                  </a:cubicBezTo>
                  <a:cubicBezTo>
                    <a:pt x="4982051" y="247174"/>
                    <a:pt x="4982051" y="248126"/>
                    <a:pt x="4982051" y="248126"/>
                  </a:cubicBezTo>
                  <a:cubicBezTo>
                    <a:pt x="4980146" y="257651"/>
                    <a:pt x="4978242" y="268129"/>
                    <a:pt x="4976337" y="279559"/>
                  </a:cubicBezTo>
                  <a:cubicBezTo>
                    <a:pt x="4974431" y="283369"/>
                    <a:pt x="4971574" y="287179"/>
                    <a:pt x="4969669" y="290989"/>
                  </a:cubicBezTo>
                  <a:cubicBezTo>
                    <a:pt x="4965859" y="281464"/>
                    <a:pt x="4963001" y="272891"/>
                    <a:pt x="4960144" y="265271"/>
                  </a:cubicBezTo>
                  <a:cubicBezTo>
                    <a:pt x="4960144" y="265271"/>
                    <a:pt x="4960144" y="264319"/>
                    <a:pt x="4960144" y="264319"/>
                  </a:cubicBezTo>
                  <a:cubicBezTo>
                    <a:pt x="4960144" y="253841"/>
                    <a:pt x="4960144" y="245269"/>
                    <a:pt x="4959192" y="237649"/>
                  </a:cubicBezTo>
                  <a:cubicBezTo>
                    <a:pt x="4958239" y="223361"/>
                    <a:pt x="4958239" y="215741"/>
                    <a:pt x="4958239" y="214789"/>
                  </a:cubicBezTo>
                  <a:cubicBezTo>
                    <a:pt x="4963001" y="194786"/>
                    <a:pt x="4965859" y="177641"/>
                    <a:pt x="4968717" y="164306"/>
                  </a:cubicBezTo>
                  <a:cubicBezTo>
                    <a:pt x="4972526" y="145256"/>
                    <a:pt x="4974431" y="134779"/>
                    <a:pt x="4974431" y="134779"/>
                  </a:cubicBezTo>
                  <a:cubicBezTo>
                    <a:pt x="4974431" y="134779"/>
                    <a:pt x="4970621" y="145256"/>
                    <a:pt x="4964906" y="163354"/>
                  </a:cubicBezTo>
                  <a:cubicBezTo>
                    <a:pt x="4962049" y="171926"/>
                    <a:pt x="4959192" y="181451"/>
                    <a:pt x="4955381" y="191929"/>
                  </a:cubicBezTo>
                  <a:cubicBezTo>
                    <a:pt x="4955381" y="182404"/>
                    <a:pt x="4955381" y="176689"/>
                    <a:pt x="4955381" y="176689"/>
                  </a:cubicBezTo>
                  <a:cubicBezTo>
                    <a:pt x="4955381" y="176689"/>
                    <a:pt x="4954429" y="186214"/>
                    <a:pt x="4952524" y="202406"/>
                  </a:cubicBezTo>
                  <a:cubicBezTo>
                    <a:pt x="4952524" y="202406"/>
                    <a:pt x="4952524" y="203359"/>
                    <a:pt x="4952524" y="203359"/>
                  </a:cubicBezTo>
                  <a:cubicBezTo>
                    <a:pt x="4949667" y="210979"/>
                    <a:pt x="4947762" y="218599"/>
                    <a:pt x="4944904" y="227171"/>
                  </a:cubicBezTo>
                  <a:cubicBezTo>
                    <a:pt x="4944904" y="227171"/>
                    <a:pt x="4944904" y="226219"/>
                    <a:pt x="4944904" y="226219"/>
                  </a:cubicBezTo>
                  <a:cubicBezTo>
                    <a:pt x="4939189" y="209074"/>
                    <a:pt x="4936331" y="199549"/>
                    <a:pt x="4936331" y="199549"/>
                  </a:cubicBezTo>
                  <a:cubicBezTo>
                    <a:pt x="4936331" y="199549"/>
                    <a:pt x="4938237" y="213836"/>
                    <a:pt x="4942046" y="236696"/>
                  </a:cubicBezTo>
                  <a:cubicBezTo>
                    <a:pt x="4942046" y="237649"/>
                    <a:pt x="4941094" y="238601"/>
                    <a:pt x="4941094" y="239554"/>
                  </a:cubicBezTo>
                  <a:cubicBezTo>
                    <a:pt x="4935379" y="255746"/>
                    <a:pt x="4929664" y="273844"/>
                    <a:pt x="4922996" y="292894"/>
                  </a:cubicBezTo>
                  <a:cubicBezTo>
                    <a:pt x="4922996" y="291941"/>
                    <a:pt x="4922996" y="290036"/>
                    <a:pt x="4922996" y="289084"/>
                  </a:cubicBezTo>
                  <a:cubicBezTo>
                    <a:pt x="4921092" y="275749"/>
                    <a:pt x="4920139" y="269081"/>
                    <a:pt x="4920139" y="269081"/>
                  </a:cubicBezTo>
                  <a:cubicBezTo>
                    <a:pt x="4920139" y="269081"/>
                    <a:pt x="4919187" y="276701"/>
                    <a:pt x="4919187" y="290036"/>
                  </a:cubicBezTo>
                  <a:cubicBezTo>
                    <a:pt x="4919187" y="291941"/>
                    <a:pt x="4919187" y="293846"/>
                    <a:pt x="4919187" y="296704"/>
                  </a:cubicBezTo>
                  <a:cubicBezTo>
                    <a:pt x="4918234" y="293846"/>
                    <a:pt x="4918234" y="290989"/>
                    <a:pt x="4917281" y="289084"/>
                  </a:cubicBezTo>
                  <a:cubicBezTo>
                    <a:pt x="4915376" y="279559"/>
                    <a:pt x="4913471" y="271939"/>
                    <a:pt x="4911567" y="266224"/>
                  </a:cubicBezTo>
                  <a:cubicBezTo>
                    <a:pt x="4907756" y="253841"/>
                    <a:pt x="4904899" y="246221"/>
                    <a:pt x="4904899" y="246221"/>
                  </a:cubicBezTo>
                  <a:cubicBezTo>
                    <a:pt x="4904899" y="246221"/>
                    <a:pt x="4905851" y="253841"/>
                    <a:pt x="4907756" y="267176"/>
                  </a:cubicBezTo>
                  <a:cubicBezTo>
                    <a:pt x="4908709" y="273844"/>
                    <a:pt x="4908709" y="281464"/>
                    <a:pt x="4909662" y="290989"/>
                  </a:cubicBezTo>
                  <a:cubicBezTo>
                    <a:pt x="4910614" y="299561"/>
                    <a:pt x="4910614" y="310039"/>
                    <a:pt x="4911567" y="321469"/>
                  </a:cubicBezTo>
                  <a:cubicBezTo>
                    <a:pt x="4910614" y="323374"/>
                    <a:pt x="4909662" y="325279"/>
                    <a:pt x="4908709" y="327184"/>
                  </a:cubicBezTo>
                  <a:cubicBezTo>
                    <a:pt x="4906804" y="322421"/>
                    <a:pt x="4903946" y="317659"/>
                    <a:pt x="4902042" y="313849"/>
                  </a:cubicBezTo>
                  <a:cubicBezTo>
                    <a:pt x="4899184" y="308134"/>
                    <a:pt x="4896326" y="302419"/>
                    <a:pt x="4894421" y="298609"/>
                  </a:cubicBezTo>
                  <a:cubicBezTo>
                    <a:pt x="4893469" y="290036"/>
                    <a:pt x="4892517" y="285274"/>
                    <a:pt x="4892517" y="285274"/>
                  </a:cubicBezTo>
                  <a:cubicBezTo>
                    <a:pt x="4892517" y="285274"/>
                    <a:pt x="4892517" y="288131"/>
                    <a:pt x="4891564" y="293846"/>
                  </a:cubicBezTo>
                  <a:cubicBezTo>
                    <a:pt x="4889659" y="290989"/>
                    <a:pt x="4888706" y="289084"/>
                    <a:pt x="4888706" y="289084"/>
                  </a:cubicBezTo>
                  <a:cubicBezTo>
                    <a:pt x="4888706" y="289084"/>
                    <a:pt x="4889659" y="291941"/>
                    <a:pt x="4891564" y="295751"/>
                  </a:cubicBezTo>
                  <a:cubicBezTo>
                    <a:pt x="4890612" y="306229"/>
                    <a:pt x="4888706" y="324326"/>
                    <a:pt x="4887754" y="348139"/>
                  </a:cubicBezTo>
                  <a:cubicBezTo>
                    <a:pt x="4887754" y="350996"/>
                    <a:pt x="4887754" y="354806"/>
                    <a:pt x="4887754" y="357664"/>
                  </a:cubicBezTo>
                  <a:cubicBezTo>
                    <a:pt x="4885849" y="354806"/>
                    <a:pt x="4883944" y="352901"/>
                    <a:pt x="4882991" y="350996"/>
                  </a:cubicBezTo>
                  <a:cubicBezTo>
                    <a:pt x="4882991" y="347186"/>
                    <a:pt x="4882039" y="343376"/>
                    <a:pt x="4882039" y="338614"/>
                  </a:cubicBezTo>
                  <a:cubicBezTo>
                    <a:pt x="4882039" y="338614"/>
                    <a:pt x="4882039" y="337661"/>
                    <a:pt x="4882039" y="337661"/>
                  </a:cubicBezTo>
                  <a:cubicBezTo>
                    <a:pt x="4882991" y="333851"/>
                    <a:pt x="4882991" y="330041"/>
                    <a:pt x="4883944" y="327184"/>
                  </a:cubicBezTo>
                  <a:cubicBezTo>
                    <a:pt x="4884896" y="324326"/>
                    <a:pt x="4884896" y="321469"/>
                    <a:pt x="4885849" y="319564"/>
                  </a:cubicBezTo>
                  <a:cubicBezTo>
                    <a:pt x="4886801" y="315754"/>
                    <a:pt x="4887754" y="312896"/>
                    <a:pt x="4887754" y="312896"/>
                  </a:cubicBezTo>
                  <a:cubicBezTo>
                    <a:pt x="4887754" y="312896"/>
                    <a:pt x="4886801" y="314801"/>
                    <a:pt x="4884896" y="318611"/>
                  </a:cubicBezTo>
                  <a:cubicBezTo>
                    <a:pt x="4883944" y="320516"/>
                    <a:pt x="4882991" y="323374"/>
                    <a:pt x="4882039" y="326231"/>
                  </a:cubicBezTo>
                  <a:cubicBezTo>
                    <a:pt x="4882039" y="327184"/>
                    <a:pt x="4882039" y="327184"/>
                    <a:pt x="4882039" y="328136"/>
                  </a:cubicBezTo>
                  <a:cubicBezTo>
                    <a:pt x="4882039" y="327184"/>
                    <a:pt x="4882039" y="326231"/>
                    <a:pt x="4882039" y="326231"/>
                  </a:cubicBezTo>
                  <a:cubicBezTo>
                    <a:pt x="4880134" y="312896"/>
                    <a:pt x="4878229" y="300514"/>
                    <a:pt x="4877276" y="288131"/>
                  </a:cubicBezTo>
                  <a:cubicBezTo>
                    <a:pt x="4876324" y="279559"/>
                    <a:pt x="4874419" y="270986"/>
                    <a:pt x="4873466" y="263366"/>
                  </a:cubicBezTo>
                  <a:cubicBezTo>
                    <a:pt x="4875372" y="253841"/>
                    <a:pt x="4876324" y="245269"/>
                    <a:pt x="4878229" y="238601"/>
                  </a:cubicBezTo>
                  <a:cubicBezTo>
                    <a:pt x="4881087" y="221456"/>
                    <a:pt x="4882039" y="211931"/>
                    <a:pt x="4882039" y="211931"/>
                  </a:cubicBezTo>
                  <a:cubicBezTo>
                    <a:pt x="4882039" y="211931"/>
                    <a:pt x="4879181" y="221456"/>
                    <a:pt x="4874419" y="237649"/>
                  </a:cubicBezTo>
                  <a:cubicBezTo>
                    <a:pt x="4873466" y="241459"/>
                    <a:pt x="4872514" y="245269"/>
                    <a:pt x="4870609" y="249079"/>
                  </a:cubicBezTo>
                  <a:cubicBezTo>
                    <a:pt x="4869656" y="242411"/>
                    <a:pt x="4867751" y="236696"/>
                    <a:pt x="4866799" y="231934"/>
                  </a:cubicBezTo>
                  <a:cubicBezTo>
                    <a:pt x="4863941" y="218599"/>
                    <a:pt x="4862037" y="210979"/>
                    <a:pt x="4862037" y="210979"/>
                  </a:cubicBezTo>
                  <a:cubicBezTo>
                    <a:pt x="4862037" y="210979"/>
                    <a:pt x="4862037" y="218599"/>
                    <a:pt x="4862989" y="232886"/>
                  </a:cubicBezTo>
                  <a:cubicBezTo>
                    <a:pt x="4862989" y="237649"/>
                    <a:pt x="4863941" y="242411"/>
                    <a:pt x="4863941" y="248126"/>
                  </a:cubicBezTo>
                  <a:cubicBezTo>
                    <a:pt x="4863941" y="250984"/>
                    <a:pt x="4863941" y="255746"/>
                    <a:pt x="4863941" y="261461"/>
                  </a:cubicBezTo>
                  <a:cubicBezTo>
                    <a:pt x="4862989" y="262414"/>
                    <a:pt x="4862037" y="263366"/>
                    <a:pt x="4860131" y="264319"/>
                  </a:cubicBezTo>
                  <a:cubicBezTo>
                    <a:pt x="4856322" y="268129"/>
                    <a:pt x="4850606" y="272891"/>
                    <a:pt x="4843939" y="281464"/>
                  </a:cubicBezTo>
                  <a:cubicBezTo>
                    <a:pt x="4842987" y="277654"/>
                    <a:pt x="4842034" y="273844"/>
                    <a:pt x="4841081" y="270986"/>
                  </a:cubicBezTo>
                  <a:cubicBezTo>
                    <a:pt x="4842034" y="268129"/>
                    <a:pt x="4842987" y="266224"/>
                    <a:pt x="4842987" y="266224"/>
                  </a:cubicBezTo>
                  <a:cubicBezTo>
                    <a:pt x="4842987" y="266224"/>
                    <a:pt x="4842034" y="267176"/>
                    <a:pt x="4841081" y="269081"/>
                  </a:cubicBezTo>
                  <a:cubicBezTo>
                    <a:pt x="4840129" y="265271"/>
                    <a:pt x="4840129" y="262414"/>
                    <a:pt x="4840129" y="262414"/>
                  </a:cubicBezTo>
                  <a:cubicBezTo>
                    <a:pt x="4840129" y="262414"/>
                    <a:pt x="4840129" y="265271"/>
                    <a:pt x="4840129" y="270034"/>
                  </a:cubicBezTo>
                  <a:cubicBezTo>
                    <a:pt x="4838224" y="271939"/>
                    <a:pt x="4836319" y="274796"/>
                    <a:pt x="4833462" y="278606"/>
                  </a:cubicBezTo>
                  <a:cubicBezTo>
                    <a:pt x="4830604" y="283369"/>
                    <a:pt x="4826794" y="288131"/>
                    <a:pt x="4822984" y="294799"/>
                  </a:cubicBezTo>
                  <a:cubicBezTo>
                    <a:pt x="4821079" y="297656"/>
                    <a:pt x="4819174" y="301466"/>
                    <a:pt x="4816316" y="304324"/>
                  </a:cubicBezTo>
                  <a:cubicBezTo>
                    <a:pt x="4814412" y="308134"/>
                    <a:pt x="4812506" y="311944"/>
                    <a:pt x="4809649" y="315754"/>
                  </a:cubicBezTo>
                  <a:cubicBezTo>
                    <a:pt x="4809649" y="316706"/>
                    <a:pt x="4808697" y="317659"/>
                    <a:pt x="4807744" y="318611"/>
                  </a:cubicBezTo>
                  <a:cubicBezTo>
                    <a:pt x="4807744" y="309086"/>
                    <a:pt x="4807744" y="304324"/>
                    <a:pt x="4807744" y="304324"/>
                  </a:cubicBezTo>
                  <a:cubicBezTo>
                    <a:pt x="4807744" y="304324"/>
                    <a:pt x="4805839" y="312896"/>
                    <a:pt x="4803934" y="327184"/>
                  </a:cubicBezTo>
                  <a:cubicBezTo>
                    <a:pt x="4801076" y="331946"/>
                    <a:pt x="4798219" y="336709"/>
                    <a:pt x="4795362" y="342424"/>
                  </a:cubicBezTo>
                  <a:cubicBezTo>
                    <a:pt x="4795362" y="335756"/>
                    <a:pt x="4795362" y="330041"/>
                    <a:pt x="4795362" y="324326"/>
                  </a:cubicBezTo>
                  <a:cubicBezTo>
                    <a:pt x="4795362" y="319564"/>
                    <a:pt x="4795362" y="315754"/>
                    <a:pt x="4795362" y="311944"/>
                  </a:cubicBezTo>
                  <a:cubicBezTo>
                    <a:pt x="4796314" y="308134"/>
                    <a:pt x="4796314" y="305276"/>
                    <a:pt x="4796314" y="302419"/>
                  </a:cubicBezTo>
                  <a:cubicBezTo>
                    <a:pt x="4796314" y="300514"/>
                    <a:pt x="4796314" y="299561"/>
                    <a:pt x="4797266" y="297656"/>
                  </a:cubicBezTo>
                  <a:cubicBezTo>
                    <a:pt x="4799172" y="286226"/>
                    <a:pt x="4802029" y="274796"/>
                    <a:pt x="4803934" y="264319"/>
                  </a:cubicBezTo>
                  <a:cubicBezTo>
                    <a:pt x="4811554" y="221456"/>
                    <a:pt x="4815364" y="192881"/>
                    <a:pt x="4815364" y="192881"/>
                  </a:cubicBezTo>
                  <a:cubicBezTo>
                    <a:pt x="4815364" y="192881"/>
                    <a:pt x="4804887" y="220504"/>
                    <a:pt x="4792504" y="262414"/>
                  </a:cubicBezTo>
                  <a:cubicBezTo>
                    <a:pt x="4791551" y="264319"/>
                    <a:pt x="4791551" y="266224"/>
                    <a:pt x="4790599" y="268129"/>
                  </a:cubicBezTo>
                  <a:cubicBezTo>
                    <a:pt x="4788694" y="256699"/>
                    <a:pt x="4788694" y="250031"/>
                    <a:pt x="4788694" y="250031"/>
                  </a:cubicBezTo>
                  <a:cubicBezTo>
                    <a:pt x="4788694" y="250031"/>
                    <a:pt x="4788694" y="257651"/>
                    <a:pt x="4787741" y="270986"/>
                  </a:cubicBezTo>
                  <a:cubicBezTo>
                    <a:pt x="4787741" y="273844"/>
                    <a:pt x="4787741" y="277654"/>
                    <a:pt x="4787741" y="281464"/>
                  </a:cubicBezTo>
                  <a:cubicBezTo>
                    <a:pt x="4785837" y="287179"/>
                    <a:pt x="4783931" y="292894"/>
                    <a:pt x="4782979" y="299561"/>
                  </a:cubicBezTo>
                  <a:cubicBezTo>
                    <a:pt x="4782979" y="297656"/>
                    <a:pt x="4782979" y="295751"/>
                    <a:pt x="4782979" y="293846"/>
                  </a:cubicBezTo>
                  <a:cubicBezTo>
                    <a:pt x="4783931" y="282416"/>
                    <a:pt x="4783931" y="271939"/>
                    <a:pt x="4784884" y="263366"/>
                  </a:cubicBezTo>
                  <a:cubicBezTo>
                    <a:pt x="4785837" y="253841"/>
                    <a:pt x="4785837" y="246221"/>
                    <a:pt x="4786789" y="239554"/>
                  </a:cubicBezTo>
                  <a:cubicBezTo>
                    <a:pt x="4788694" y="226219"/>
                    <a:pt x="4789647" y="218599"/>
                    <a:pt x="4789647" y="218599"/>
                  </a:cubicBezTo>
                  <a:cubicBezTo>
                    <a:pt x="4789647" y="218599"/>
                    <a:pt x="4787741" y="226219"/>
                    <a:pt x="4782979" y="238601"/>
                  </a:cubicBezTo>
                  <a:cubicBezTo>
                    <a:pt x="4781074" y="245269"/>
                    <a:pt x="4779169" y="252889"/>
                    <a:pt x="4777264" y="262414"/>
                  </a:cubicBezTo>
                  <a:cubicBezTo>
                    <a:pt x="4776312" y="264319"/>
                    <a:pt x="4776312" y="266224"/>
                    <a:pt x="4776312" y="269081"/>
                  </a:cubicBezTo>
                  <a:cubicBezTo>
                    <a:pt x="4774406" y="257651"/>
                    <a:pt x="4773454" y="251936"/>
                    <a:pt x="4773454" y="251936"/>
                  </a:cubicBezTo>
                  <a:cubicBezTo>
                    <a:pt x="4773454" y="251936"/>
                    <a:pt x="4773454" y="264319"/>
                    <a:pt x="4773454" y="284321"/>
                  </a:cubicBezTo>
                  <a:cubicBezTo>
                    <a:pt x="4772501" y="287179"/>
                    <a:pt x="4772501" y="290989"/>
                    <a:pt x="4771549" y="293846"/>
                  </a:cubicBezTo>
                  <a:cubicBezTo>
                    <a:pt x="4771549" y="294799"/>
                    <a:pt x="4771549" y="294799"/>
                    <a:pt x="4771549" y="295751"/>
                  </a:cubicBezTo>
                  <a:cubicBezTo>
                    <a:pt x="4769644" y="273844"/>
                    <a:pt x="4767739" y="260509"/>
                    <a:pt x="4767739" y="260509"/>
                  </a:cubicBezTo>
                  <a:cubicBezTo>
                    <a:pt x="4767739" y="260509"/>
                    <a:pt x="4765834" y="274796"/>
                    <a:pt x="4764881" y="297656"/>
                  </a:cubicBezTo>
                  <a:cubicBezTo>
                    <a:pt x="4762024" y="290036"/>
                    <a:pt x="4758214" y="283369"/>
                    <a:pt x="4755356" y="276701"/>
                  </a:cubicBezTo>
                  <a:cubicBezTo>
                    <a:pt x="4753451" y="273844"/>
                    <a:pt x="4752499" y="271939"/>
                    <a:pt x="4750594" y="270034"/>
                  </a:cubicBezTo>
                  <a:cubicBezTo>
                    <a:pt x="4753451" y="260509"/>
                    <a:pt x="4755356" y="251936"/>
                    <a:pt x="4758214" y="243364"/>
                  </a:cubicBezTo>
                  <a:cubicBezTo>
                    <a:pt x="4767739" y="209074"/>
                    <a:pt x="4774406" y="180499"/>
                    <a:pt x="4780122" y="161449"/>
                  </a:cubicBezTo>
                  <a:cubicBezTo>
                    <a:pt x="4784884" y="141446"/>
                    <a:pt x="4787741" y="130016"/>
                    <a:pt x="4787741" y="130016"/>
                  </a:cubicBezTo>
                  <a:cubicBezTo>
                    <a:pt x="4787741" y="130016"/>
                    <a:pt x="4782979" y="140494"/>
                    <a:pt x="4776312" y="160496"/>
                  </a:cubicBezTo>
                  <a:cubicBezTo>
                    <a:pt x="4769644" y="179546"/>
                    <a:pt x="4759166" y="207169"/>
                    <a:pt x="4747737" y="240506"/>
                  </a:cubicBezTo>
                  <a:cubicBezTo>
                    <a:pt x="4745831" y="246221"/>
                    <a:pt x="4743926" y="251936"/>
                    <a:pt x="4742022" y="257651"/>
                  </a:cubicBezTo>
                  <a:cubicBezTo>
                    <a:pt x="4742022" y="257651"/>
                    <a:pt x="4742022" y="257651"/>
                    <a:pt x="4742022" y="257651"/>
                  </a:cubicBezTo>
                  <a:cubicBezTo>
                    <a:pt x="4737259" y="251936"/>
                    <a:pt x="4732497" y="248126"/>
                    <a:pt x="4727734" y="244316"/>
                  </a:cubicBezTo>
                  <a:cubicBezTo>
                    <a:pt x="4725829" y="242411"/>
                    <a:pt x="4722972" y="241459"/>
                    <a:pt x="4721066" y="240506"/>
                  </a:cubicBezTo>
                  <a:cubicBezTo>
                    <a:pt x="4719162" y="239554"/>
                    <a:pt x="4717256" y="238601"/>
                    <a:pt x="4716304" y="238601"/>
                  </a:cubicBezTo>
                  <a:cubicBezTo>
                    <a:pt x="4713447" y="237649"/>
                    <a:pt x="4712494" y="237649"/>
                    <a:pt x="4712494" y="237649"/>
                  </a:cubicBezTo>
                  <a:cubicBezTo>
                    <a:pt x="4712494" y="237649"/>
                    <a:pt x="4713447" y="238601"/>
                    <a:pt x="4716304" y="239554"/>
                  </a:cubicBezTo>
                  <a:cubicBezTo>
                    <a:pt x="4719162" y="240506"/>
                    <a:pt x="4722019" y="243364"/>
                    <a:pt x="4725829" y="246221"/>
                  </a:cubicBezTo>
                  <a:cubicBezTo>
                    <a:pt x="4729639" y="250031"/>
                    <a:pt x="4733449" y="254794"/>
                    <a:pt x="4736306" y="260509"/>
                  </a:cubicBezTo>
                  <a:cubicBezTo>
                    <a:pt x="4737259" y="262414"/>
                    <a:pt x="4738212" y="264319"/>
                    <a:pt x="4739164" y="266224"/>
                  </a:cubicBezTo>
                  <a:cubicBezTo>
                    <a:pt x="4736306" y="274796"/>
                    <a:pt x="4732497" y="284321"/>
                    <a:pt x="4729639" y="293846"/>
                  </a:cubicBezTo>
                  <a:cubicBezTo>
                    <a:pt x="4729639" y="294799"/>
                    <a:pt x="4729639" y="294799"/>
                    <a:pt x="4728687" y="295751"/>
                  </a:cubicBezTo>
                  <a:cubicBezTo>
                    <a:pt x="4728687" y="295751"/>
                    <a:pt x="4728687" y="295751"/>
                    <a:pt x="4728687" y="294799"/>
                  </a:cubicBezTo>
                  <a:cubicBezTo>
                    <a:pt x="4728687" y="291941"/>
                    <a:pt x="4728687" y="290989"/>
                    <a:pt x="4728687" y="290989"/>
                  </a:cubicBezTo>
                  <a:cubicBezTo>
                    <a:pt x="4728687" y="290989"/>
                    <a:pt x="4728687" y="291941"/>
                    <a:pt x="4727734" y="293846"/>
                  </a:cubicBezTo>
                  <a:cubicBezTo>
                    <a:pt x="4723924" y="285274"/>
                    <a:pt x="4720114" y="277654"/>
                    <a:pt x="4717256" y="270986"/>
                  </a:cubicBezTo>
                  <a:cubicBezTo>
                    <a:pt x="4716304" y="269081"/>
                    <a:pt x="4715351" y="267176"/>
                    <a:pt x="4714399" y="265271"/>
                  </a:cubicBezTo>
                  <a:cubicBezTo>
                    <a:pt x="4715351" y="257651"/>
                    <a:pt x="4716304" y="252889"/>
                    <a:pt x="4716304" y="252889"/>
                  </a:cubicBezTo>
                  <a:cubicBezTo>
                    <a:pt x="4716304" y="252889"/>
                    <a:pt x="4715351" y="256699"/>
                    <a:pt x="4713447" y="262414"/>
                  </a:cubicBezTo>
                  <a:cubicBezTo>
                    <a:pt x="4708684" y="252889"/>
                    <a:pt x="4706779" y="248126"/>
                    <a:pt x="4706779" y="248126"/>
                  </a:cubicBezTo>
                  <a:cubicBezTo>
                    <a:pt x="4706779" y="248126"/>
                    <a:pt x="4708684" y="254794"/>
                    <a:pt x="4712494" y="267176"/>
                  </a:cubicBezTo>
                  <a:cubicBezTo>
                    <a:pt x="4711541" y="270034"/>
                    <a:pt x="4710589" y="273844"/>
                    <a:pt x="4708684" y="277654"/>
                  </a:cubicBezTo>
                  <a:cubicBezTo>
                    <a:pt x="4700112" y="251936"/>
                    <a:pt x="4694397" y="236696"/>
                    <a:pt x="4694397" y="236696"/>
                  </a:cubicBezTo>
                  <a:cubicBezTo>
                    <a:pt x="4694397" y="236696"/>
                    <a:pt x="4697254" y="258604"/>
                    <a:pt x="4702969" y="293846"/>
                  </a:cubicBezTo>
                  <a:cubicBezTo>
                    <a:pt x="4700112" y="304324"/>
                    <a:pt x="4696301" y="317659"/>
                    <a:pt x="4691539" y="331946"/>
                  </a:cubicBezTo>
                  <a:cubicBezTo>
                    <a:pt x="4691539" y="330994"/>
                    <a:pt x="4690587" y="330041"/>
                    <a:pt x="4690587" y="329089"/>
                  </a:cubicBezTo>
                  <a:cubicBezTo>
                    <a:pt x="4685824" y="319564"/>
                    <a:pt x="4682966" y="313849"/>
                    <a:pt x="4682966" y="313849"/>
                  </a:cubicBezTo>
                  <a:cubicBezTo>
                    <a:pt x="4682966" y="313849"/>
                    <a:pt x="4683919" y="316706"/>
                    <a:pt x="4684872" y="322421"/>
                  </a:cubicBezTo>
                  <a:cubicBezTo>
                    <a:pt x="4684872" y="322421"/>
                    <a:pt x="4684872" y="322421"/>
                    <a:pt x="4684872" y="322421"/>
                  </a:cubicBezTo>
                  <a:cubicBezTo>
                    <a:pt x="4676299" y="310991"/>
                    <a:pt x="4671537" y="304324"/>
                    <a:pt x="4671537" y="304324"/>
                  </a:cubicBezTo>
                  <a:cubicBezTo>
                    <a:pt x="4671537" y="304324"/>
                    <a:pt x="4675347" y="311944"/>
                    <a:pt x="4682014" y="324326"/>
                  </a:cubicBezTo>
                  <a:cubicBezTo>
                    <a:pt x="4683919" y="328136"/>
                    <a:pt x="4686776" y="332899"/>
                    <a:pt x="4688681" y="337661"/>
                  </a:cubicBezTo>
                  <a:cubicBezTo>
                    <a:pt x="4688681" y="338614"/>
                    <a:pt x="4688681" y="339566"/>
                    <a:pt x="4689634" y="340519"/>
                  </a:cubicBezTo>
                  <a:cubicBezTo>
                    <a:pt x="4687729" y="349091"/>
                    <a:pt x="4684872" y="356711"/>
                    <a:pt x="4682966" y="366236"/>
                  </a:cubicBezTo>
                  <a:cubicBezTo>
                    <a:pt x="4681062" y="364331"/>
                    <a:pt x="4680109" y="361474"/>
                    <a:pt x="4678204" y="359569"/>
                  </a:cubicBezTo>
                  <a:cubicBezTo>
                    <a:pt x="4675347" y="355759"/>
                    <a:pt x="4671537" y="351949"/>
                    <a:pt x="4669631" y="349091"/>
                  </a:cubicBezTo>
                  <a:cubicBezTo>
                    <a:pt x="4669631" y="349091"/>
                    <a:pt x="4669631" y="349091"/>
                    <a:pt x="4668679" y="348139"/>
                  </a:cubicBezTo>
                  <a:cubicBezTo>
                    <a:pt x="4669631" y="341471"/>
                    <a:pt x="4669631" y="335756"/>
                    <a:pt x="4669631" y="330994"/>
                  </a:cubicBezTo>
                  <a:cubicBezTo>
                    <a:pt x="4670584" y="318611"/>
                    <a:pt x="4669631" y="310991"/>
                    <a:pt x="4669631" y="310991"/>
                  </a:cubicBezTo>
                  <a:cubicBezTo>
                    <a:pt x="4669631" y="310991"/>
                    <a:pt x="4669631" y="311944"/>
                    <a:pt x="4669631" y="313849"/>
                  </a:cubicBezTo>
                  <a:cubicBezTo>
                    <a:pt x="4669631" y="310039"/>
                    <a:pt x="4670584" y="305276"/>
                    <a:pt x="4670584" y="301466"/>
                  </a:cubicBezTo>
                  <a:cubicBezTo>
                    <a:pt x="4670584" y="296704"/>
                    <a:pt x="4670584" y="291941"/>
                    <a:pt x="4670584" y="287179"/>
                  </a:cubicBezTo>
                  <a:cubicBezTo>
                    <a:pt x="4672489" y="282416"/>
                    <a:pt x="4673441" y="278606"/>
                    <a:pt x="4675347" y="274796"/>
                  </a:cubicBezTo>
                  <a:cubicBezTo>
                    <a:pt x="4683919" y="259556"/>
                    <a:pt x="4689634" y="250984"/>
                    <a:pt x="4689634" y="250984"/>
                  </a:cubicBezTo>
                  <a:cubicBezTo>
                    <a:pt x="4689634" y="250984"/>
                    <a:pt x="4686776" y="254794"/>
                    <a:pt x="4681062" y="262414"/>
                  </a:cubicBezTo>
                  <a:cubicBezTo>
                    <a:pt x="4684872" y="252889"/>
                    <a:pt x="4686776" y="248126"/>
                    <a:pt x="4686776" y="248126"/>
                  </a:cubicBezTo>
                  <a:cubicBezTo>
                    <a:pt x="4686776" y="248126"/>
                    <a:pt x="4682966" y="254794"/>
                    <a:pt x="4675347" y="265271"/>
                  </a:cubicBezTo>
                  <a:cubicBezTo>
                    <a:pt x="4673441" y="267176"/>
                    <a:pt x="4672489" y="270034"/>
                    <a:pt x="4670584" y="272891"/>
                  </a:cubicBezTo>
                  <a:cubicBezTo>
                    <a:pt x="4670584" y="270986"/>
                    <a:pt x="4670584" y="270034"/>
                    <a:pt x="4670584" y="268129"/>
                  </a:cubicBezTo>
                  <a:cubicBezTo>
                    <a:pt x="4669631" y="261461"/>
                    <a:pt x="4669631" y="255746"/>
                    <a:pt x="4668679" y="250984"/>
                  </a:cubicBezTo>
                  <a:cubicBezTo>
                    <a:pt x="4668679" y="250031"/>
                    <a:pt x="4668679" y="248126"/>
                    <a:pt x="4669631" y="247174"/>
                  </a:cubicBezTo>
                  <a:cubicBezTo>
                    <a:pt x="4671537" y="230981"/>
                    <a:pt x="4671537" y="222409"/>
                    <a:pt x="4671537" y="222409"/>
                  </a:cubicBezTo>
                  <a:cubicBezTo>
                    <a:pt x="4671537" y="222409"/>
                    <a:pt x="4671537" y="224314"/>
                    <a:pt x="4670584" y="229076"/>
                  </a:cubicBezTo>
                  <a:cubicBezTo>
                    <a:pt x="4669631" y="231934"/>
                    <a:pt x="4668679" y="236696"/>
                    <a:pt x="4666774" y="242411"/>
                  </a:cubicBezTo>
                  <a:cubicBezTo>
                    <a:pt x="4666774" y="242411"/>
                    <a:pt x="4666774" y="242411"/>
                    <a:pt x="4666774" y="241459"/>
                  </a:cubicBezTo>
                  <a:cubicBezTo>
                    <a:pt x="4666774" y="241459"/>
                    <a:pt x="4666774" y="241459"/>
                    <a:pt x="4666774" y="241459"/>
                  </a:cubicBezTo>
                  <a:cubicBezTo>
                    <a:pt x="4666774" y="241459"/>
                    <a:pt x="4666774" y="241459"/>
                    <a:pt x="4666774" y="241459"/>
                  </a:cubicBezTo>
                  <a:cubicBezTo>
                    <a:pt x="4665822" y="235744"/>
                    <a:pt x="4663916" y="230981"/>
                    <a:pt x="4662012" y="228124"/>
                  </a:cubicBezTo>
                  <a:cubicBezTo>
                    <a:pt x="4661059" y="224314"/>
                    <a:pt x="4660106" y="222409"/>
                    <a:pt x="4660106" y="222409"/>
                  </a:cubicBezTo>
                  <a:cubicBezTo>
                    <a:pt x="4660106" y="222409"/>
                    <a:pt x="4660106" y="224314"/>
                    <a:pt x="4661059" y="228124"/>
                  </a:cubicBezTo>
                  <a:cubicBezTo>
                    <a:pt x="4662012" y="231934"/>
                    <a:pt x="4662964" y="237649"/>
                    <a:pt x="4662964" y="244316"/>
                  </a:cubicBezTo>
                  <a:cubicBezTo>
                    <a:pt x="4662964" y="245269"/>
                    <a:pt x="4662964" y="245269"/>
                    <a:pt x="4662964" y="246221"/>
                  </a:cubicBezTo>
                  <a:cubicBezTo>
                    <a:pt x="4662964" y="246221"/>
                    <a:pt x="4662964" y="246221"/>
                    <a:pt x="4662964" y="246221"/>
                  </a:cubicBezTo>
                  <a:cubicBezTo>
                    <a:pt x="4660106" y="250031"/>
                    <a:pt x="4657249" y="254794"/>
                    <a:pt x="4654391" y="262414"/>
                  </a:cubicBezTo>
                  <a:cubicBezTo>
                    <a:pt x="4653439" y="265271"/>
                    <a:pt x="4652487" y="268129"/>
                    <a:pt x="4650581" y="271939"/>
                  </a:cubicBezTo>
                  <a:cubicBezTo>
                    <a:pt x="4649629" y="267176"/>
                    <a:pt x="4647724" y="264319"/>
                    <a:pt x="4646772" y="261461"/>
                  </a:cubicBezTo>
                  <a:cubicBezTo>
                    <a:pt x="4646772" y="260509"/>
                    <a:pt x="4645819" y="259556"/>
                    <a:pt x="4645819" y="259556"/>
                  </a:cubicBezTo>
                  <a:cubicBezTo>
                    <a:pt x="4645819" y="257651"/>
                    <a:pt x="4646772" y="255746"/>
                    <a:pt x="4646772" y="253841"/>
                  </a:cubicBezTo>
                  <a:cubicBezTo>
                    <a:pt x="4648676" y="243364"/>
                    <a:pt x="4650581" y="234791"/>
                    <a:pt x="4653439" y="227171"/>
                  </a:cubicBezTo>
                  <a:cubicBezTo>
                    <a:pt x="4657249" y="212884"/>
                    <a:pt x="4660106" y="204311"/>
                    <a:pt x="4660106" y="204311"/>
                  </a:cubicBezTo>
                  <a:cubicBezTo>
                    <a:pt x="4660106" y="204311"/>
                    <a:pt x="4656297" y="211931"/>
                    <a:pt x="4650581" y="226219"/>
                  </a:cubicBezTo>
                  <a:cubicBezTo>
                    <a:pt x="4647724" y="232886"/>
                    <a:pt x="4643914" y="241459"/>
                    <a:pt x="4641056" y="251936"/>
                  </a:cubicBezTo>
                  <a:cubicBezTo>
                    <a:pt x="4639151" y="256699"/>
                    <a:pt x="4637247" y="261461"/>
                    <a:pt x="4636294" y="267176"/>
                  </a:cubicBezTo>
                  <a:cubicBezTo>
                    <a:pt x="4636294" y="264319"/>
                    <a:pt x="4636294" y="261461"/>
                    <a:pt x="4636294" y="259556"/>
                  </a:cubicBezTo>
                  <a:cubicBezTo>
                    <a:pt x="4636294" y="251936"/>
                    <a:pt x="4637247" y="246221"/>
                    <a:pt x="4638199" y="242411"/>
                  </a:cubicBezTo>
                  <a:cubicBezTo>
                    <a:pt x="4639151" y="238601"/>
                    <a:pt x="4639151" y="235744"/>
                    <a:pt x="4639151" y="235744"/>
                  </a:cubicBezTo>
                  <a:cubicBezTo>
                    <a:pt x="4639151" y="235744"/>
                    <a:pt x="4638199" y="237649"/>
                    <a:pt x="4637247" y="241459"/>
                  </a:cubicBezTo>
                  <a:cubicBezTo>
                    <a:pt x="4636294" y="245269"/>
                    <a:pt x="4633437" y="250984"/>
                    <a:pt x="4632484" y="258604"/>
                  </a:cubicBezTo>
                  <a:cubicBezTo>
                    <a:pt x="4632484" y="258604"/>
                    <a:pt x="4632484" y="258604"/>
                    <a:pt x="4632484" y="258604"/>
                  </a:cubicBezTo>
                  <a:cubicBezTo>
                    <a:pt x="4631531" y="255746"/>
                    <a:pt x="4631531" y="254794"/>
                    <a:pt x="4631531" y="254794"/>
                  </a:cubicBezTo>
                  <a:cubicBezTo>
                    <a:pt x="4631531" y="254794"/>
                    <a:pt x="4631531" y="256699"/>
                    <a:pt x="4632484" y="259556"/>
                  </a:cubicBezTo>
                  <a:cubicBezTo>
                    <a:pt x="4630579" y="267176"/>
                    <a:pt x="4629626" y="275749"/>
                    <a:pt x="4628674" y="285274"/>
                  </a:cubicBezTo>
                  <a:cubicBezTo>
                    <a:pt x="4628674" y="288131"/>
                    <a:pt x="4628674" y="290989"/>
                    <a:pt x="4628674" y="293846"/>
                  </a:cubicBezTo>
                  <a:cubicBezTo>
                    <a:pt x="4627722" y="296704"/>
                    <a:pt x="4626769" y="300514"/>
                    <a:pt x="4625816" y="303371"/>
                  </a:cubicBezTo>
                  <a:cubicBezTo>
                    <a:pt x="4619149" y="298609"/>
                    <a:pt x="4614387" y="295751"/>
                    <a:pt x="4610576" y="293846"/>
                  </a:cubicBezTo>
                  <a:cubicBezTo>
                    <a:pt x="4606766" y="291941"/>
                    <a:pt x="4604862" y="290989"/>
                    <a:pt x="4604862" y="290989"/>
                  </a:cubicBezTo>
                  <a:cubicBezTo>
                    <a:pt x="4604862" y="290989"/>
                    <a:pt x="4606766" y="291941"/>
                    <a:pt x="4610576" y="294799"/>
                  </a:cubicBezTo>
                  <a:cubicBezTo>
                    <a:pt x="4614387" y="296704"/>
                    <a:pt x="4619149" y="301466"/>
                    <a:pt x="4624864" y="307181"/>
                  </a:cubicBezTo>
                  <a:cubicBezTo>
                    <a:pt x="4624864" y="307181"/>
                    <a:pt x="4624864" y="307181"/>
                    <a:pt x="4625816" y="308134"/>
                  </a:cubicBezTo>
                  <a:cubicBezTo>
                    <a:pt x="4624864" y="313849"/>
                    <a:pt x="4622959" y="319564"/>
                    <a:pt x="4622006" y="325279"/>
                  </a:cubicBezTo>
                  <a:cubicBezTo>
                    <a:pt x="4621054" y="330994"/>
                    <a:pt x="4620101" y="337661"/>
                    <a:pt x="4619149" y="343376"/>
                  </a:cubicBezTo>
                  <a:cubicBezTo>
                    <a:pt x="4615339" y="330041"/>
                    <a:pt x="4611529" y="317659"/>
                    <a:pt x="4607719" y="306229"/>
                  </a:cubicBezTo>
                  <a:cubicBezTo>
                    <a:pt x="4605814" y="300514"/>
                    <a:pt x="4604862" y="295751"/>
                    <a:pt x="4602956" y="290989"/>
                  </a:cubicBezTo>
                  <a:cubicBezTo>
                    <a:pt x="4602004" y="282416"/>
                    <a:pt x="4601051" y="274796"/>
                    <a:pt x="4601051" y="269081"/>
                  </a:cubicBezTo>
                  <a:cubicBezTo>
                    <a:pt x="4599147" y="255746"/>
                    <a:pt x="4599147" y="248126"/>
                    <a:pt x="4599147" y="248126"/>
                  </a:cubicBezTo>
                  <a:cubicBezTo>
                    <a:pt x="4599147" y="248126"/>
                    <a:pt x="4598194" y="255746"/>
                    <a:pt x="4597241" y="269081"/>
                  </a:cubicBezTo>
                  <a:cubicBezTo>
                    <a:pt x="4597241" y="270034"/>
                    <a:pt x="4597241" y="270986"/>
                    <a:pt x="4597241" y="271939"/>
                  </a:cubicBezTo>
                  <a:cubicBezTo>
                    <a:pt x="4594384" y="263366"/>
                    <a:pt x="4591526" y="255746"/>
                    <a:pt x="4589622" y="250031"/>
                  </a:cubicBezTo>
                  <a:cubicBezTo>
                    <a:pt x="4589622" y="247174"/>
                    <a:pt x="4589622" y="244316"/>
                    <a:pt x="4589622" y="240506"/>
                  </a:cubicBezTo>
                  <a:cubicBezTo>
                    <a:pt x="4590574" y="225266"/>
                    <a:pt x="4590574" y="210979"/>
                    <a:pt x="4590574" y="197644"/>
                  </a:cubicBezTo>
                  <a:cubicBezTo>
                    <a:pt x="4591526" y="144304"/>
                    <a:pt x="4590574" y="109061"/>
                    <a:pt x="4590574" y="109061"/>
                  </a:cubicBezTo>
                  <a:cubicBezTo>
                    <a:pt x="4590574" y="109061"/>
                    <a:pt x="4584859" y="144304"/>
                    <a:pt x="4579144" y="197644"/>
                  </a:cubicBezTo>
                  <a:cubicBezTo>
                    <a:pt x="4578191" y="210979"/>
                    <a:pt x="4576287" y="225266"/>
                    <a:pt x="4574381" y="240506"/>
                  </a:cubicBezTo>
                  <a:cubicBezTo>
                    <a:pt x="4573429" y="245269"/>
                    <a:pt x="4573429" y="250984"/>
                    <a:pt x="4573429" y="256699"/>
                  </a:cubicBezTo>
                  <a:cubicBezTo>
                    <a:pt x="4573429" y="256699"/>
                    <a:pt x="4572476" y="257651"/>
                    <a:pt x="4572476" y="257651"/>
                  </a:cubicBezTo>
                  <a:cubicBezTo>
                    <a:pt x="4569619" y="259556"/>
                    <a:pt x="4566762" y="262414"/>
                    <a:pt x="4563904" y="265271"/>
                  </a:cubicBezTo>
                  <a:cubicBezTo>
                    <a:pt x="4563904" y="265271"/>
                    <a:pt x="4563904" y="264319"/>
                    <a:pt x="4563904" y="264319"/>
                  </a:cubicBezTo>
                  <a:cubicBezTo>
                    <a:pt x="4561999" y="261461"/>
                    <a:pt x="4560094" y="258604"/>
                    <a:pt x="4559141" y="255746"/>
                  </a:cubicBezTo>
                  <a:cubicBezTo>
                    <a:pt x="4559141" y="253841"/>
                    <a:pt x="4560094" y="250984"/>
                    <a:pt x="4560094" y="249079"/>
                  </a:cubicBezTo>
                  <a:cubicBezTo>
                    <a:pt x="4570572" y="195739"/>
                    <a:pt x="4576287" y="159544"/>
                    <a:pt x="4576287" y="159544"/>
                  </a:cubicBezTo>
                  <a:cubicBezTo>
                    <a:pt x="4576287" y="159544"/>
                    <a:pt x="4564856" y="192881"/>
                    <a:pt x="4550569" y="243364"/>
                  </a:cubicBezTo>
                  <a:cubicBezTo>
                    <a:pt x="4550569" y="243364"/>
                    <a:pt x="4550569" y="243364"/>
                    <a:pt x="4550569" y="243364"/>
                  </a:cubicBezTo>
                  <a:cubicBezTo>
                    <a:pt x="4550569" y="243364"/>
                    <a:pt x="4550569" y="243364"/>
                    <a:pt x="4550569" y="243364"/>
                  </a:cubicBezTo>
                  <a:cubicBezTo>
                    <a:pt x="4550569" y="244316"/>
                    <a:pt x="4549616" y="245269"/>
                    <a:pt x="4549616" y="246221"/>
                  </a:cubicBezTo>
                  <a:cubicBezTo>
                    <a:pt x="4549616" y="247174"/>
                    <a:pt x="4549616" y="248126"/>
                    <a:pt x="4548664" y="248126"/>
                  </a:cubicBezTo>
                  <a:cubicBezTo>
                    <a:pt x="4548664" y="248126"/>
                    <a:pt x="4548664" y="248126"/>
                    <a:pt x="4548664" y="248126"/>
                  </a:cubicBezTo>
                  <a:cubicBezTo>
                    <a:pt x="4548664" y="248126"/>
                    <a:pt x="4548664" y="248126"/>
                    <a:pt x="4548664" y="248126"/>
                  </a:cubicBezTo>
                  <a:cubicBezTo>
                    <a:pt x="4544854" y="261461"/>
                    <a:pt x="4540091" y="276701"/>
                    <a:pt x="4536281" y="292894"/>
                  </a:cubicBezTo>
                  <a:cubicBezTo>
                    <a:pt x="4534376" y="261461"/>
                    <a:pt x="4531519" y="241459"/>
                    <a:pt x="4531519" y="241459"/>
                  </a:cubicBezTo>
                  <a:cubicBezTo>
                    <a:pt x="4531519" y="241459"/>
                    <a:pt x="4527709" y="266224"/>
                    <a:pt x="4525804" y="303371"/>
                  </a:cubicBezTo>
                  <a:cubicBezTo>
                    <a:pt x="4525804" y="305276"/>
                    <a:pt x="4525804" y="307181"/>
                    <a:pt x="4525804" y="309086"/>
                  </a:cubicBezTo>
                  <a:cubicBezTo>
                    <a:pt x="4524851" y="308134"/>
                    <a:pt x="4524851" y="308134"/>
                    <a:pt x="4524851" y="308134"/>
                  </a:cubicBezTo>
                  <a:cubicBezTo>
                    <a:pt x="4524851" y="308134"/>
                    <a:pt x="4524851" y="309086"/>
                    <a:pt x="4525804" y="310039"/>
                  </a:cubicBezTo>
                  <a:cubicBezTo>
                    <a:pt x="4524851" y="317659"/>
                    <a:pt x="4524851" y="325279"/>
                    <a:pt x="4523899" y="333851"/>
                  </a:cubicBezTo>
                  <a:cubicBezTo>
                    <a:pt x="4523899" y="334804"/>
                    <a:pt x="4523899" y="336709"/>
                    <a:pt x="4523899" y="337661"/>
                  </a:cubicBezTo>
                  <a:cubicBezTo>
                    <a:pt x="4523899" y="338614"/>
                    <a:pt x="4523899" y="338614"/>
                    <a:pt x="4522947" y="339566"/>
                  </a:cubicBezTo>
                  <a:cubicBezTo>
                    <a:pt x="4521041" y="333851"/>
                    <a:pt x="4519137" y="328136"/>
                    <a:pt x="4517231" y="322421"/>
                  </a:cubicBezTo>
                  <a:cubicBezTo>
                    <a:pt x="4516279" y="314801"/>
                    <a:pt x="4515326" y="307181"/>
                    <a:pt x="4514374" y="301466"/>
                  </a:cubicBezTo>
                  <a:cubicBezTo>
                    <a:pt x="4515326" y="299561"/>
                    <a:pt x="4516279" y="298609"/>
                    <a:pt x="4517231" y="297656"/>
                  </a:cubicBezTo>
                  <a:cubicBezTo>
                    <a:pt x="4520089" y="293846"/>
                    <a:pt x="4521041" y="291941"/>
                    <a:pt x="4521041" y="291941"/>
                  </a:cubicBezTo>
                  <a:cubicBezTo>
                    <a:pt x="4521041" y="291941"/>
                    <a:pt x="4519137" y="293846"/>
                    <a:pt x="4516279" y="297656"/>
                  </a:cubicBezTo>
                  <a:cubicBezTo>
                    <a:pt x="4515326" y="298609"/>
                    <a:pt x="4515326" y="299561"/>
                    <a:pt x="4514374" y="300514"/>
                  </a:cubicBezTo>
                  <a:cubicBezTo>
                    <a:pt x="4514374" y="299561"/>
                    <a:pt x="4514374" y="299561"/>
                    <a:pt x="4514374" y="298609"/>
                  </a:cubicBezTo>
                  <a:cubicBezTo>
                    <a:pt x="4515326" y="296704"/>
                    <a:pt x="4516279" y="294799"/>
                    <a:pt x="4517231" y="293846"/>
                  </a:cubicBezTo>
                  <a:cubicBezTo>
                    <a:pt x="4519137" y="290036"/>
                    <a:pt x="4520089" y="288131"/>
                    <a:pt x="4520089" y="288131"/>
                  </a:cubicBezTo>
                  <a:cubicBezTo>
                    <a:pt x="4520089" y="288131"/>
                    <a:pt x="4519137" y="290036"/>
                    <a:pt x="4516279" y="292894"/>
                  </a:cubicBezTo>
                  <a:cubicBezTo>
                    <a:pt x="4515326" y="293846"/>
                    <a:pt x="4515326" y="294799"/>
                    <a:pt x="4514374" y="295751"/>
                  </a:cubicBezTo>
                  <a:cubicBezTo>
                    <a:pt x="4513422" y="290036"/>
                    <a:pt x="4512469" y="285274"/>
                    <a:pt x="4512469" y="281464"/>
                  </a:cubicBezTo>
                  <a:cubicBezTo>
                    <a:pt x="4511516" y="272891"/>
                    <a:pt x="4511516" y="268129"/>
                    <a:pt x="4511516" y="268129"/>
                  </a:cubicBezTo>
                  <a:cubicBezTo>
                    <a:pt x="4511516" y="268129"/>
                    <a:pt x="4511516" y="270034"/>
                    <a:pt x="4510564" y="272891"/>
                  </a:cubicBezTo>
                  <a:cubicBezTo>
                    <a:pt x="4508659" y="259556"/>
                    <a:pt x="4506754" y="250984"/>
                    <a:pt x="4506754" y="250984"/>
                  </a:cubicBezTo>
                  <a:cubicBezTo>
                    <a:pt x="4506754" y="250984"/>
                    <a:pt x="4506754" y="267176"/>
                    <a:pt x="4506754" y="292894"/>
                  </a:cubicBezTo>
                  <a:cubicBezTo>
                    <a:pt x="4504849" y="289084"/>
                    <a:pt x="4502944" y="285274"/>
                    <a:pt x="4501991" y="282416"/>
                  </a:cubicBezTo>
                  <a:cubicBezTo>
                    <a:pt x="4499134" y="276701"/>
                    <a:pt x="4496276" y="271939"/>
                    <a:pt x="4494372" y="267176"/>
                  </a:cubicBezTo>
                  <a:cubicBezTo>
                    <a:pt x="4491514" y="262414"/>
                    <a:pt x="4489609" y="258604"/>
                    <a:pt x="4486751" y="254794"/>
                  </a:cubicBezTo>
                  <a:cubicBezTo>
                    <a:pt x="4483894" y="250984"/>
                    <a:pt x="4481989" y="248126"/>
                    <a:pt x="4480084" y="245269"/>
                  </a:cubicBezTo>
                  <a:cubicBezTo>
                    <a:pt x="4478179" y="242411"/>
                    <a:pt x="4476274" y="240506"/>
                    <a:pt x="4474369" y="238601"/>
                  </a:cubicBezTo>
                  <a:cubicBezTo>
                    <a:pt x="4471512" y="235744"/>
                    <a:pt x="4470559" y="233839"/>
                    <a:pt x="4469606" y="233839"/>
                  </a:cubicBezTo>
                  <a:cubicBezTo>
                    <a:pt x="4470559" y="230981"/>
                    <a:pt x="4471512" y="228124"/>
                    <a:pt x="4471512" y="225266"/>
                  </a:cubicBezTo>
                  <a:cubicBezTo>
                    <a:pt x="4474369" y="214789"/>
                    <a:pt x="4476274" y="206216"/>
                    <a:pt x="4477226" y="198596"/>
                  </a:cubicBezTo>
                  <a:cubicBezTo>
                    <a:pt x="4480084" y="184309"/>
                    <a:pt x="4481037" y="175736"/>
                    <a:pt x="4481037" y="175736"/>
                  </a:cubicBezTo>
                  <a:cubicBezTo>
                    <a:pt x="4481037" y="175736"/>
                    <a:pt x="4478179" y="183356"/>
                    <a:pt x="4473416" y="197644"/>
                  </a:cubicBezTo>
                  <a:cubicBezTo>
                    <a:pt x="4471512" y="204311"/>
                    <a:pt x="4467701" y="212884"/>
                    <a:pt x="4463891" y="222409"/>
                  </a:cubicBezTo>
                  <a:cubicBezTo>
                    <a:pt x="4461034" y="229076"/>
                    <a:pt x="4458176" y="236696"/>
                    <a:pt x="4455319" y="244316"/>
                  </a:cubicBezTo>
                  <a:cubicBezTo>
                    <a:pt x="4454366" y="240506"/>
                    <a:pt x="4453414" y="237649"/>
                    <a:pt x="4453414" y="237649"/>
                  </a:cubicBezTo>
                  <a:cubicBezTo>
                    <a:pt x="4453414" y="237649"/>
                    <a:pt x="4453414" y="240506"/>
                    <a:pt x="4454366" y="247174"/>
                  </a:cubicBezTo>
                  <a:cubicBezTo>
                    <a:pt x="4453414" y="249079"/>
                    <a:pt x="4452462" y="251936"/>
                    <a:pt x="4451509" y="253841"/>
                  </a:cubicBezTo>
                  <a:cubicBezTo>
                    <a:pt x="4446747" y="265271"/>
                    <a:pt x="4441984" y="276701"/>
                    <a:pt x="4436269" y="289084"/>
                  </a:cubicBezTo>
                  <a:cubicBezTo>
                    <a:pt x="4436269" y="288131"/>
                    <a:pt x="4435316" y="288131"/>
                    <a:pt x="4435316" y="287179"/>
                  </a:cubicBezTo>
                  <a:cubicBezTo>
                    <a:pt x="4436269" y="283369"/>
                    <a:pt x="4437222" y="278606"/>
                    <a:pt x="4438174" y="274796"/>
                  </a:cubicBezTo>
                  <a:cubicBezTo>
                    <a:pt x="4440079" y="265271"/>
                    <a:pt x="4441984" y="255746"/>
                    <a:pt x="4444841" y="247174"/>
                  </a:cubicBezTo>
                  <a:cubicBezTo>
                    <a:pt x="4449604" y="229076"/>
                    <a:pt x="4452462" y="211931"/>
                    <a:pt x="4454366" y="195739"/>
                  </a:cubicBezTo>
                  <a:cubicBezTo>
                    <a:pt x="4457224" y="179546"/>
                    <a:pt x="4459129" y="165259"/>
                    <a:pt x="4460081" y="151924"/>
                  </a:cubicBezTo>
                  <a:cubicBezTo>
                    <a:pt x="4461034" y="145256"/>
                    <a:pt x="4461987" y="139541"/>
                    <a:pt x="4461987" y="133826"/>
                  </a:cubicBezTo>
                  <a:cubicBezTo>
                    <a:pt x="4461987" y="128111"/>
                    <a:pt x="4462939" y="123349"/>
                    <a:pt x="4462939" y="118586"/>
                  </a:cubicBezTo>
                  <a:cubicBezTo>
                    <a:pt x="4463891" y="99536"/>
                    <a:pt x="4463891" y="89059"/>
                    <a:pt x="4463891" y="89059"/>
                  </a:cubicBezTo>
                  <a:cubicBezTo>
                    <a:pt x="4463891" y="89059"/>
                    <a:pt x="4461987" y="99536"/>
                    <a:pt x="4458176" y="118586"/>
                  </a:cubicBezTo>
                  <a:cubicBezTo>
                    <a:pt x="4457224" y="123349"/>
                    <a:pt x="4456272" y="128111"/>
                    <a:pt x="4455319" y="133826"/>
                  </a:cubicBezTo>
                  <a:cubicBezTo>
                    <a:pt x="4454366" y="139541"/>
                    <a:pt x="4452462" y="145256"/>
                    <a:pt x="4451509" y="151924"/>
                  </a:cubicBezTo>
                  <a:cubicBezTo>
                    <a:pt x="4448651" y="164306"/>
                    <a:pt x="4445794" y="178594"/>
                    <a:pt x="4441984" y="194786"/>
                  </a:cubicBezTo>
                  <a:cubicBezTo>
                    <a:pt x="4438174" y="210026"/>
                    <a:pt x="4434364" y="227171"/>
                    <a:pt x="4428649" y="245269"/>
                  </a:cubicBezTo>
                  <a:cubicBezTo>
                    <a:pt x="4426744" y="252889"/>
                    <a:pt x="4423887" y="261461"/>
                    <a:pt x="4421981" y="269081"/>
                  </a:cubicBezTo>
                  <a:cubicBezTo>
                    <a:pt x="4419124" y="265271"/>
                    <a:pt x="4417219" y="261461"/>
                    <a:pt x="4414362" y="258604"/>
                  </a:cubicBezTo>
                  <a:cubicBezTo>
                    <a:pt x="4406741" y="247174"/>
                    <a:pt x="4400074" y="237649"/>
                    <a:pt x="4394359" y="230029"/>
                  </a:cubicBezTo>
                  <a:cubicBezTo>
                    <a:pt x="4391501" y="227171"/>
                    <a:pt x="4389597" y="224314"/>
                    <a:pt x="4387691" y="221456"/>
                  </a:cubicBezTo>
                  <a:cubicBezTo>
                    <a:pt x="4392454" y="195739"/>
                    <a:pt x="4395312" y="180499"/>
                    <a:pt x="4395312" y="180499"/>
                  </a:cubicBezTo>
                  <a:cubicBezTo>
                    <a:pt x="4395312" y="180499"/>
                    <a:pt x="4390549" y="193834"/>
                    <a:pt x="4382929" y="215741"/>
                  </a:cubicBezTo>
                  <a:cubicBezTo>
                    <a:pt x="4378166" y="209074"/>
                    <a:pt x="4375309" y="206216"/>
                    <a:pt x="4375309" y="206216"/>
                  </a:cubicBezTo>
                  <a:cubicBezTo>
                    <a:pt x="4375309" y="206216"/>
                    <a:pt x="4378166" y="210979"/>
                    <a:pt x="4381976" y="218599"/>
                  </a:cubicBezTo>
                  <a:cubicBezTo>
                    <a:pt x="4378166" y="230029"/>
                    <a:pt x="4374356" y="244316"/>
                    <a:pt x="4369594" y="259556"/>
                  </a:cubicBezTo>
                  <a:cubicBezTo>
                    <a:pt x="4368641" y="248126"/>
                    <a:pt x="4368641" y="241459"/>
                    <a:pt x="4368641" y="241459"/>
                  </a:cubicBezTo>
                  <a:cubicBezTo>
                    <a:pt x="4368641" y="241459"/>
                    <a:pt x="4367689" y="249079"/>
                    <a:pt x="4366737" y="263366"/>
                  </a:cubicBezTo>
                  <a:cubicBezTo>
                    <a:pt x="4366737" y="267176"/>
                    <a:pt x="4365784" y="270986"/>
                    <a:pt x="4365784" y="274796"/>
                  </a:cubicBezTo>
                  <a:cubicBezTo>
                    <a:pt x="4364831" y="277654"/>
                    <a:pt x="4363879" y="281464"/>
                    <a:pt x="4362926" y="285274"/>
                  </a:cubicBezTo>
                  <a:cubicBezTo>
                    <a:pt x="4362926" y="284321"/>
                    <a:pt x="4362926" y="283369"/>
                    <a:pt x="4362926" y="282416"/>
                  </a:cubicBezTo>
                  <a:cubicBezTo>
                    <a:pt x="4361974" y="269081"/>
                    <a:pt x="4361022" y="261461"/>
                    <a:pt x="4361022" y="261461"/>
                  </a:cubicBezTo>
                  <a:cubicBezTo>
                    <a:pt x="4361022" y="261461"/>
                    <a:pt x="4360069" y="269081"/>
                    <a:pt x="4359116" y="283369"/>
                  </a:cubicBezTo>
                  <a:cubicBezTo>
                    <a:pt x="4359116" y="285274"/>
                    <a:pt x="4359116" y="288131"/>
                    <a:pt x="4359116" y="290989"/>
                  </a:cubicBezTo>
                  <a:cubicBezTo>
                    <a:pt x="4358164" y="291941"/>
                    <a:pt x="4358164" y="293846"/>
                    <a:pt x="4357212" y="295751"/>
                  </a:cubicBezTo>
                  <a:cubicBezTo>
                    <a:pt x="4355306" y="291941"/>
                    <a:pt x="4353401" y="288131"/>
                    <a:pt x="4351497" y="284321"/>
                  </a:cubicBezTo>
                  <a:cubicBezTo>
                    <a:pt x="4351497" y="274796"/>
                    <a:pt x="4351497" y="266224"/>
                    <a:pt x="4351497" y="257651"/>
                  </a:cubicBezTo>
                  <a:cubicBezTo>
                    <a:pt x="4351497" y="250984"/>
                    <a:pt x="4351497" y="245269"/>
                    <a:pt x="4351497" y="238601"/>
                  </a:cubicBezTo>
                  <a:cubicBezTo>
                    <a:pt x="4351497" y="232886"/>
                    <a:pt x="4350544" y="227171"/>
                    <a:pt x="4349591" y="221456"/>
                  </a:cubicBezTo>
                  <a:cubicBezTo>
                    <a:pt x="4348639" y="210979"/>
                    <a:pt x="4346734" y="201454"/>
                    <a:pt x="4345781" y="194786"/>
                  </a:cubicBezTo>
                  <a:cubicBezTo>
                    <a:pt x="4343876" y="179546"/>
                    <a:pt x="4342924" y="170974"/>
                    <a:pt x="4342924" y="170974"/>
                  </a:cubicBezTo>
                  <a:cubicBezTo>
                    <a:pt x="4342924" y="170974"/>
                    <a:pt x="4342924" y="179546"/>
                    <a:pt x="4341972" y="194786"/>
                  </a:cubicBezTo>
                  <a:cubicBezTo>
                    <a:pt x="4341972" y="201454"/>
                    <a:pt x="4341972" y="209074"/>
                    <a:pt x="4341972" y="217646"/>
                  </a:cubicBezTo>
                  <a:cubicBezTo>
                    <a:pt x="4341019" y="210026"/>
                    <a:pt x="4340066" y="205264"/>
                    <a:pt x="4340066" y="205264"/>
                  </a:cubicBezTo>
                  <a:cubicBezTo>
                    <a:pt x="4340066" y="205264"/>
                    <a:pt x="4340066" y="212884"/>
                    <a:pt x="4339114" y="226219"/>
                  </a:cubicBezTo>
                  <a:cubicBezTo>
                    <a:pt x="4339114" y="232886"/>
                    <a:pt x="4339114" y="240506"/>
                    <a:pt x="4338162" y="250031"/>
                  </a:cubicBezTo>
                  <a:cubicBezTo>
                    <a:pt x="4338162" y="250984"/>
                    <a:pt x="4338162" y="251936"/>
                    <a:pt x="4338162" y="252889"/>
                  </a:cubicBezTo>
                  <a:cubicBezTo>
                    <a:pt x="4338162" y="251936"/>
                    <a:pt x="4337209" y="250984"/>
                    <a:pt x="4337209" y="250984"/>
                  </a:cubicBezTo>
                  <a:cubicBezTo>
                    <a:pt x="4330541" y="231934"/>
                    <a:pt x="4324826" y="213836"/>
                    <a:pt x="4318159" y="196691"/>
                  </a:cubicBezTo>
                  <a:cubicBezTo>
                    <a:pt x="4306729" y="163354"/>
                    <a:pt x="4296251" y="135731"/>
                    <a:pt x="4289584" y="116681"/>
                  </a:cubicBezTo>
                  <a:cubicBezTo>
                    <a:pt x="4282916" y="97631"/>
                    <a:pt x="4278154" y="86201"/>
                    <a:pt x="4278154" y="86201"/>
                  </a:cubicBezTo>
                  <a:cubicBezTo>
                    <a:pt x="4278154" y="86201"/>
                    <a:pt x="4281012" y="97631"/>
                    <a:pt x="4285774" y="117634"/>
                  </a:cubicBezTo>
                  <a:cubicBezTo>
                    <a:pt x="4291489" y="137636"/>
                    <a:pt x="4298156" y="166211"/>
                    <a:pt x="4307681" y="199549"/>
                  </a:cubicBezTo>
                  <a:cubicBezTo>
                    <a:pt x="4315301" y="228124"/>
                    <a:pt x="4324826" y="261461"/>
                    <a:pt x="4334351" y="295751"/>
                  </a:cubicBezTo>
                  <a:cubicBezTo>
                    <a:pt x="4334351" y="295751"/>
                    <a:pt x="4334351" y="296704"/>
                    <a:pt x="4334351" y="296704"/>
                  </a:cubicBezTo>
                  <a:cubicBezTo>
                    <a:pt x="4334351" y="295751"/>
                    <a:pt x="4334351" y="294799"/>
                    <a:pt x="4334351" y="294799"/>
                  </a:cubicBezTo>
                  <a:cubicBezTo>
                    <a:pt x="4334351" y="294799"/>
                    <a:pt x="4334351" y="296704"/>
                    <a:pt x="4334351" y="301466"/>
                  </a:cubicBezTo>
                  <a:cubicBezTo>
                    <a:pt x="4334351" y="306229"/>
                    <a:pt x="4333399" y="310991"/>
                    <a:pt x="4333399" y="315754"/>
                  </a:cubicBezTo>
                  <a:cubicBezTo>
                    <a:pt x="4332447" y="325279"/>
                    <a:pt x="4331494" y="334804"/>
                    <a:pt x="4329589" y="344329"/>
                  </a:cubicBezTo>
                  <a:cubicBezTo>
                    <a:pt x="4329589" y="344329"/>
                    <a:pt x="4328637" y="343376"/>
                    <a:pt x="4328637" y="343376"/>
                  </a:cubicBezTo>
                  <a:cubicBezTo>
                    <a:pt x="4327684" y="342424"/>
                    <a:pt x="4327684" y="341471"/>
                    <a:pt x="4326731" y="340519"/>
                  </a:cubicBezTo>
                  <a:cubicBezTo>
                    <a:pt x="4326731" y="338614"/>
                    <a:pt x="4325779" y="335756"/>
                    <a:pt x="4325779" y="333851"/>
                  </a:cubicBezTo>
                  <a:cubicBezTo>
                    <a:pt x="4321969" y="309086"/>
                    <a:pt x="4318159" y="286226"/>
                    <a:pt x="4315301" y="267176"/>
                  </a:cubicBezTo>
                  <a:cubicBezTo>
                    <a:pt x="4308634" y="228124"/>
                    <a:pt x="4301966" y="202406"/>
                    <a:pt x="4301966" y="202406"/>
                  </a:cubicBezTo>
                  <a:cubicBezTo>
                    <a:pt x="4301966" y="202406"/>
                    <a:pt x="4301966" y="229076"/>
                    <a:pt x="4303872" y="268129"/>
                  </a:cubicBezTo>
                  <a:cubicBezTo>
                    <a:pt x="4303872" y="270034"/>
                    <a:pt x="4303872" y="271939"/>
                    <a:pt x="4303872" y="274796"/>
                  </a:cubicBezTo>
                  <a:cubicBezTo>
                    <a:pt x="4302919" y="279559"/>
                    <a:pt x="4302919" y="284321"/>
                    <a:pt x="4301966" y="290036"/>
                  </a:cubicBezTo>
                  <a:cubicBezTo>
                    <a:pt x="4301966" y="292894"/>
                    <a:pt x="4301014" y="296704"/>
                    <a:pt x="4300062" y="300514"/>
                  </a:cubicBezTo>
                  <a:cubicBezTo>
                    <a:pt x="4296251" y="295751"/>
                    <a:pt x="4292441" y="290989"/>
                    <a:pt x="4288631" y="286226"/>
                  </a:cubicBezTo>
                  <a:cubicBezTo>
                    <a:pt x="4292441" y="292894"/>
                    <a:pt x="4295299" y="298609"/>
                    <a:pt x="4299109" y="305276"/>
                  </a:cubicBezTo>
                  <a:cubicBezTo>
                    <a:pt x="4298156" y="310991"/>
                    <a:pt x="4297204" y="316706"/>
                    <a:pt x="4296251" y="323374"/>
                  </a:cubicBezTo>
                  <a:cubicBezTo>
                    <a:pt x="4295299" y="330041"/>
                    <a:pt x="4293394" y="337661"/>
                    <a:pt x="4292441" y="346234"/>
                  </a:cubicBezTo>
                  <a:cubicBezTo>
                    <a:pt x="4291489" y="345281"/>
                    <a:pt x="4291489" y="344329"/>
                    <a:pt x="4290537" y="343376"/>
                  </a:cubicBezTo>
                  <a:cubicBezTo>
                    <a:pt x="4289584" y="330994"/>
                    <a:pt x="4289584" y="319564"/>
                    <a:pt x="4288631" y="308134"/>
                  </a:cubicBezTo>
                  <a:cubicBezTo>
                    <a:pt x="4285774" y="262414"/>
                    <a:pt x="4281964" y="231934"/>
                    <a:pt x="4281964" y="231934"/>
                  </a:cubicBezTo>
                  <a:cubicBezTo>
                    <a:pt x="4281964" y="231934"/>
                    <a:pt x="4279106" y="262414"/>
                    <a:pt x="4277201" y="309086"/>
                  </a:cubicBezTo>
                  <a:cubicBezTo>
                    <a:pt x="4277201" y="311944"/>
                    <a:pt x="4277201" y="315754"/>
                    <a:pt x="4277201" y="318611"/>
                  </a:cubicBezTo>
                  <a:cubicBezTo>
                    <a:pt x="4276249" y="315754"/>
                    <a:pt x="4274344" y="312896"/>
                    <a:pt x="4273391" y="310039"/>
                  </a:cubicBezTo>
                  <a:cubicBezTo>
                    <a:pt x="4273391" y="308134"/>
                    <a:pt x="4272439" y="305276"/>
                    <a:pt x="4272439" y="303371"/>
                  </a:cubicBezTo>
                  <a:cubicBezTo>
                    <a:pt x="4271487" y="292894"/>
                    <a:pt x="4271487" y="283369"/>
                    <a:pt x="4270534" y="273844"/>
                  </a:cubicBezTo>
                  <a:cubicBezTo>
                    <a:pt x="4270534" y="269081"/>
                    <a:pt x="4269581" y="265271"/>
                    <a:pt x="4269581" y="260509"/>
                  </a:cubicBezTo>
                  <a:cubicBezTo>
                    <a:pt x="4269581" y="258604"/>
                    <a:pt x="4269581" y="257651"/>
                    <a:pt x="4269581" y="255746"/>
                  </a:cubicBezTo>
                  <a:cubicBezTo>
                    <a:pt x="4269581" y="248126"/>
                    <a:pt x="4270534" y="241459"/>
                    <a:pt x="4270534" y="234791"/>
                  </a:cubicBezTo>
                  <a:cubicBezTo>
                    <a:pt x="4273391" y="187166"/>
                    <a:pt x="4273391" y="155734"/>
                    <a:pt x="4273391" y="155734"/>
                  </a:cubicBezTo>
                  <a:cubicBezTo>
                    <a:pt x="4273391" y="155734"/>
                    <a:pt x="4265772" y="187166"/>
                    <a:pt x="4259104" y="233839"/>
                  </a:cubicBezTo>
                  <a:cubicBezTo>
                    <a:pt x="4257199" y="245269"/>
                    <a:pt x="4255294" y="258604"/>
                    <a:pt x="4253389" y="271939"/>
                  </a:cubicBezTo>
                  <a:cubicBezTo>
                    <a:pt x="4253389" y="270986"/>
                    <a:pt x="4252437" y="270986"/>
                    <a:pt x="4252437" y="270034"/>
                  </a:cubicBezTo>
                  <a:cubicBezTo>
                    <a:pt x="4252437" y="267176"/>
                    <a:pt x="4253389" y="264319"/>
                    <a:pt x="4253389" y="262414"/>
                  </a:cubicBezTo>
                  <a:cubicBezTo>
                    <a:pt x="4255294" y="248126"/>
                    <a:pt x="4255294" y="240506"/>
                    <a:pt x="4255294" y="240506"/>
                  </a:cubicBezTo>
                  <a:cubicBezTo>
                    <a:pt x="4255294" y="240506"/>
                    <a:pt x="4253389" y="248126"/>
                    <a:pt x="4249579" y="262414"/>
                  </a:cubicBezTo>
                  <a:cubicBezTo>
                    <a:pt x="4249579" y="263366"/>
                    <a:pt x="4249579" y="264319"/>
                    <a:pt x="4248626" y="264319"/>
                  </a:cubicBezTo>
                  <a:cubicBezTo>
                    <a:pt x="4247674" y="263366"/>
                    <a:pt x="4247674" y="262414"/>
                    <a:pt x="4246722" y="261461"/>
                  </a:cubicBezTo>
                  <a:cubicBezTo>
                    <a:pt x="4245769" y="260509"/>
                    <a:pt x="4244816" y="259556"/>
                    <a:pt x="4244816" y="257651"/>
                  </a:cubicBezTo>
                  <a:cubicBezTo>
                    <a:pt x="4244816" y="253841"/>
                    <a:pt x="4244816" y="251936"/>
                    <a:pt x="4244816" y="251936"/>
                  </a:cubicBezTo>
                  <a:cubicBezTo>
                    <a:pt x="4244816" y="251936"/>
                    <a:pt x="4244816" y="253841"/>
                    <a:pt x="4243864" y="256699"/>
                  </a:cubicBezTo>
                  <a:cubicBezTo>
                    <a:pt x="4242912" y="254794"/>
                    <a:pt x="4241959" y="252889"/>
                    <a:pt x="4240054" y="251936"/>
                  </a:cubicBezTo>
                  <a:cubicBezTo>
                    <a:pt x="4236244" y="246221"/>
                    <a:pt x="4232434" y="240506"/>
                    <a:pt x="4229576" y="235744"/>
                  </a:cubicBezTo>
                  <a:cubicBezTo>
                    <a:pt x="4223862" y="227171"/>
                    <a:pt x="4220051" y="222409"/>
                    <a:pt x="4220051" y="222409"/>
                  </a:cubicBezTo>
                  <a:cubicBezTo>
                    <a:pt x="4220051" y="222409"/>
                    <a:pt x="4221956" y="228124"/>
                    <a:pt x="4226719" y="237649"/>
                  </a:cubicBezTo>
                  <a:cubicBezTo>
                    <a:pt x="4228624" y="242411"/>
                    <a:pt x="4231481" y="248126"/>
                    <a:pt x="4234339" y="254794"/>
                  </a:cubicBezTo>
                  <a:cubicBezTo>
                    <a:pt x="4235291" y="255746"/>
                    <a:pt x="4235291" y="257651"/>
                    <a:pt x="4236244" y="258604"/>
                  </a:cubicBezTo>
                  <a:cubicBezTo>
                    <a:pt x="4234339" y="256699"/>
                    <a:pt x="4233387" y="253841"/>
                    <a:pt x="4231481" y="251936"/>
                  </a:cubicBezTo>
                  <a:cubicBezTo>
                    <a:pt x="4227672" y="246221"/>
                    <a:pt x="4223862" y="242411"/>
                    <a:pt x="4220051" y="237649"/>
                  </a:cubicBezTo>
                  <a:cubicBezTo>
                    <a:pt x="4213384" y="229076"/>
                    <a:pt x="4206716" y="223361"/>
                    <a:pt x="4202906" y="219551"/>
                  </a:cubicBezTo>
                  <a:cubicBezTo>
                    <a:pt x="4199097" y="215741"/>
                    <a:pt x="4196239" y="213836"/>
                    <a:pt x="4196239" y="213836"/>
                  </a:cubicBezTo>
                  <a:cubicBezTo>
                    <a:pt x="4196239" y="213836"/>
                    <a:pt x="4198144" y="216694"/>
                    <a:pt x="4201954" y="220504"/>
                  </a:cubicBezTo>
                  <a:cubicBezTo>
                    <a:pt x="4205764" y="225266"/>
                    <a:pt x="4211479" y="230981"/>
                    <a:pt x="4216241" y="240506"/>
                  </a:cubicBezTo>
                  <a:cubicBezTo>
                    <a:pt x="4219099" y="245269"/>
                    <a:pt x="4222909" y="250031"/>
                    <a:pt x="4225766" y="255746"/>
                  </a:cubicBezTo>
                  <a:cubicBezTo>
                    <a:pt x="4228624" y="261461"/>
                    <a:pt x="4232434" y="267176"/>
                    <a:pt x="4235291" y="273844"/>
                  </a:cubicBezTo>
                  <a:cubicBezTo>
                    <a:pt x="4235291" y="273844"/>
                    <a:pt x="4235291" y="273844"/>
                    <a:pt x="4235291" y="274796"/>
                  </a:cubicBezTo>
                  <a:cubicBezTo>
                    <a:pt x="4235291" y="276701"/>
                    <a:pt x="4235291" y="279559"/>
                    <a:pt x="4235291" y="282416"/>
                  </a:cubicBezTo>
                  <a:cubicBezTo>
                    <a:pt x="4235291" y="282416"/>
                    <a:pt x="4234339" y="281464"/>
                    <a:pt x="4234339" y="281464"/>
                  </a:cubicBezTo>
                  <a:cubicBezTo>
                    <a:pt x="4231481" y="277654"/>
                    <a:pt x="4229576" y="276701"/>
                    <a:pt x="4229576" y="276701"/>
                  </a:cubicBezTo>
                  <a:cubicBezTo>
                    <a:pt x="4229576" y="276701"/>
                    <a:pt x="4231481" y="278606"/>
                    <a:pt x="4233387" y="282416"/>
                  </a:cubicBezTo>
                  <a:cubicBezTo>
                    <a:pt x="4233387" y="283369"/>
                    <a:pt x="4234339" y="283369"/>
                    <a:pt x="4235291" y="284321"/>
                  </a:cubicBezTo>
                  <a:cubicBezTo>
                    <a:pt x="4235291" y="284321"/>
                    <a:pt x="4235291" y="284321"/>
                    <a:pt x="4235291" y="285274"/>
                  </a:cubicBezTo>
                  <a:cubicBezTo>
                    <a:pt x="4233387" y="292894"/>
                    <a:pt x="4231481" y="301466"/>
                    <a:pt x="4229576" y="310039"/>
                  </a:cubicBezTo>
                  <a:cubicBezTo>
                    <a:pt x="4225766" y="301466"/>
                    <a:pt x="4222909" y="295751"/>
                    <a:pt x="4222909" y="295751"/>
                  </a:cubicBezTo>
                  <a:cubicBezTo>
                    <a:pt x="4222909" y="295751"/>
                    <a:pt x="4224814" y="303371"/>
                    <a:pt x="4228624" y="316706"/>
                  </a:cubicBezTo>
                  <a:cubicBezTo>
                    <a:pt x="4227672" y="319564"/>
                    <a:pt x="4227672" y="323374"/>
                    <a:pt x="4226719" y="327184"/>
                  </a:cubicBezTo>
                  <a:cubicBezTo>
                    <a:pt x="4225766" y="331946"/>
                    <a:pt x="4224814" y="336709"/>
                    <a:pt x="4223862" y="341471"/>
                  </a:cubicBezTo>
                  <a:cubicBezTo>
                    <a:pt x="4223862" y="338614"/>
                    <a:pt x="4222909" y="336709"/>
                    <a:pt x="4222909" y="334804"/>
                  </a:cubicBezTo>
                  <a:cubicBezTo>
                    <a:pt x="4221004" y="320516"/>
                    <a:pt x="4219099" y="311944"/>
                    <a:pt x="4219099" y="311944"/>
                  </a:cubicBezTo>
                  <a:cubicBezTo>
                    <a:pt x="4219099" y="311944"/>
                    <a:pt x="4219099" y="319564"/>
                    <a:pt x="4219099" y="331946"/>
                  </a:cubicBezTo>
                  <a:cubicBezTo>
                    <a:pt x="4218147" y="329089"/>
                    <a:pt x="4218147" y="326231"/>
                    <a:pt x="4217194" y="322421"/>
                  </a:cubicBezTo>
                  <a:cubicBezTo>
                    <a:pt x="4206716" y="272891"/>
                    <a:pt x="4198144" y="240506"/>
                    <a:pt x="4198144" y="240506"/>
                  </a:cubicBezTo>
                  <a:cubicBezTo>
                    <a:pt x="4198144" y="240506"/>
                    <a:pt x="4200049" y="273844"/>
                    <a:pt x="4205764" y="323374"/>
                  </a:cubicBezTo>
                  <a:cubicBezTo>
                    <a:pt x="4206716" y="335756"/>
                    <a:pt x="4208622" y="350044"/>
                    <a:pt x="4210526" y="364331"/>
                  </a:cubicBezTo>
                  <a:cubicBezTo>
                    <a:pt x="4210526" y="364331"/>
                    <a:pt x="4210526" y="363379"/>
                    <a:pt x="4210526" y="363379"/>
                  </a:cubicBezTo>
                  <a:cubicBezTo>
                    <a:pt x="4209574" y="357664"/>
                    <a:pt x="4207669" y="353854"/>
                    <a:pt x="4206716" y="350044"/>
                  </a:cubicBezTo>
                  <a:cubicBezTo>
                    <a:pt x="4204812" y="342424"/>
                    <a:pt x="4202906" y="338614"/>
                    <a:pt x="4202906" y="338614"/>
                  </a:cubicBezTo>
                  <a:cubicBezTo>
                    <a:pt x="4202906" y="338614"/>
                    <a:pt x="4202906" y="343376"/>
                    <a:pt x="4202906" y="350996"/>
                  </a:cubicBezTo>
                  <a:cubicBezTo>
                    <a:pt x="4202906" y="354806"/>
                    <a:pt x="4202906" y="359569"/>
                    <a:pt x="4202906" y="365284"/>
                  </a:cubicBezTo>
                  <a:cubicBezTo>
                    <a:pt x="4202906" y="368141"/>
                    <a:pt x="4202906" y="370999"/>
                    <a:pt x="4202906" y="373856"/>
                  </a:cubicBezTo>
                  <a:cubicBezTo>
                    <a:pt x="4202906" y="375761"/>
                    <a:pt x="4202906" y="377666"/>
                    <a:pt x="4202906" y="380524"/>
                  </a:cubicBezTo>
                  <a:cubicBezTo>
                    <a:pt x="4202906" y="379571"/>
                    <a:pt x="4202906" y="379571"/>
                    <a:pt x="4201954" y="378619"/>
                  </a:cubicBezTo>
                  <a:cubicBezTo>
                    <a:pt x="4201954" y="372904"/>
                    <a:pt x="4201001" y="367189"/>
                    <a:pt x="4201001" y="361474"/>
                  </a:cubicBezTo>
                  <a:cubicBezTo>
                    <a:pt x="4199097" y="318611"/>
                    <a:pt x="4196239" y="290989"/>
                    <a:pt x="4196239" y="290989"/>
                  </a:cubicBezTo>
                  <a:cubicBezTo>
                    <a:pt x="4196239" y="290989"/>
                    <a:pt x="4193381" y="310991"/>
                    <a:pt x="4191476" y="343376"/>
                  </a:cubicBezTo>
                  <a:cubicBezTo>
                    <a:pt x="4190524" y="340519"/>
                    <a:pt x="4189571" y="338614"/>
                    <a:pt x="4188619" y="335756"/>
                  </a:cubicBezTo>
                  <a:cubicBezTo>
                    <a:pt x="4185761" y="329089"/>
                    <a:pt x="4183856" y="323374"/>
                    <a:pt x="4181951" y="319564"/>
                  </a:cubicBezTo>
                  <a:cubicBezTo>
                    <a:pt x="4181951" y="318611"/>
                    <a:pt x="4180999" y="317659"/>
                    <a:pt x="4180999" y="316706"/>
                  </a:cubicBezTo>
                  <a:cubicBezTo>
                    <a:pt x="4180999" y="291941"/>
                    <a:pt x="4180999" y="271939"/>
                    <a:pt x="4180999" y="256699"/>
                  </a:cubicBezTo>
                  <a:cubicBezTo>
                    <a:pt x="4180999" y="239554"/>
                    <a:pt x="4180999" y="230029"/>
                    <a:pt x="4180999" y="230029"/>
                  </a:cubicBezTo>
                  <a:cubicBezTo>
                    <a:pt x="4180999" y="230029"/>
                    <a:pt x="4180046" y="239554"/>
                    <a:pt x="4177189" y="256699"/>
                  </a:cubicBezTo>
                  <a:cubicBezTo>
                    <a:pt x="4177189" y="260509"/>
                    <a:pt x="4176236" y="265271"/>
                    <a:pt x="4175284" y="270034"/>
                  </a:cubicBezTo>
                  <a:cubicBezTo>
                    <a:pt x="4175284" y="263366"/>
                    <a:pt x="4174331" y="257651"/>
                    <a:pt x="4174331" y="251936"/>
                  </a:cubicBezTo>
                  <a:cubicBezTo>
                    <a:pt x="4172426" y="207169"/>
                    <a:pt x="4168616" y="176689"/>
                    <a:pt x="4168616" y="176689"/>
                  </a:cubicBezTo>
                  <a:cubicBezTo>
                    <a:pt x="4168616" y="176689"/>
                    <a:pt x="4164806" y="207169"/>
                    <a:pt x="4162901" y="251936"/>
                  </a:cubicBezTo>
                  <a:cubicBezTo>
                    <a:pt x="4161949" y="263366"/>
                    <a:pt x="4161949" y="274796"/>
                    <a:pt x="4160996" y="287179"/>
                  </a:cubicBezTo>
                  <a:cubicBezTo>
                    <a:pt x="4158139" y="292894"/>
                    <a:pt x="4156234" y="298609"/>
                    <a:pt x="4154329" y="303371"/>
                  </a:cubicBezTo>
                  <a:cubicBezTo>
                    <a:pt x="4151471" y="295751"/>
                    <a:pt x="4149566" y="288131"/>
                    <a:pt x="4146709" y="280511"/>
                  </a:cubicBezTo>
                  <a:cubicBezTo>
                    <a:pt x="4144804" y="267176"/>
                    <a:pt x="4141946" y="255746"/>
                    <a:pt x="4140041" y="246221"/>
                  </a:cubicBezTo>
                  <a:cubicBezTo>
                    <a:pt x="4137184" y="231934"/>
                    <a:pt x="4133374" y="224314"/>
                    <a:pt x="4133374" y="224314"/>
                  </a:cubicBezTo>
                  <a:cubicBezTo>
                    <a:pt x="4133374" y="224314"/>
                    <a:pt x="4134326" y="226219"/>
                    <a:pt x="4134326" y="230029"/>
                  </a:cubicBezTo>
                  <a:cubicBezTo>
                    <a:pt x="4135279" y="233839"/>
                    <a:pt x="4135279" y="239554"/>
                    <a:pt x="4136231" y="247174"/>
                  </a:cubicBezTo>
                  <a:cubicBezTo>
                    <a:pt x="4136231" y="248126"/>
                    <a:pt x="4136231" y="249079"/>
                    <a:pt x="4136231" y="250031"/>
                  </a:cubicBezTo>
                  <a:cubicBezTo>
                    <a:pt x="4130516" y="230981"/>
                    <a:pt x="4123849" y="213836"/>
                    <a:pt x="4118134" y="197644"/>
                  </a:cubicBezTo>
                  <a:cubicBezTo>
                    <a:pt x="4108609" y="166211"/>
                    <a:pt x="4100036" y="139541"/>
                    <a:pt x="4093369" y="121444"/>
                  </a:cubicBezTo>
                  <a:cubicBezTo>
                    <a:pt x="4087654" y="103346"/>
                    <a:pt x="4083844" y="92869"/>
                    <a:pt x="4083844" y="92869"/>
                  </a:cubicBezTo>
                  <a:cubicBezTo>
                    <a:pt x="4083844" y="92869"/>
                    <a:pt x="4085749" y="103346"/>
                    <a:pt x="4089559" y="122396"/>
                  </a:cubicBezTo>
                  <a:cubicBezTo>
                    <a:pt x="4093369" y="141446"/>
                    <a:pt x="4099084" y="168116"/>
                    <a:pt x="4106704" y="200501"/>
                  </a:cubicBezTo>
                  <a:cubicBezTo>
                    <a:pt x="4110514" y="215741"/>
                    <a:pt x="4115276" y="231934"/>
                    <a:pt x="4119086" y="248126"/>
                  </a:cubicBezTo>
                  <a:cubicBezTo>
                    <a:pt x="4118134" y="251936"/>
                    <a:pt x="4118134" y="256699"/>
                    <a:pt x="4117181" y="262414"/>
                  </a:cubicBezTo>
                  <a:cubicBezTo>
                    <a:pt x="4116229" y="270034"/>
                    <a:pt x="4115276" y="279559"/>
                    <a:pt x="4114324" y="290036"/>
                  </a:cubicBezTo>
                  <a:cubicBezTo>
                    <a:pt x="4113371" y="288131"/>
                    <a:pt x="4111466" y="286226"/>
                    <a:pt x="4110514" y="284321"/>
                  </a:cubicBezTo>
                  <a:cubicBezTo>
                    <a:pt x="4113371" y="274796"/>
                    <a:pt x="4114324" y="269081"/>
                    <a:pt x="4114324" y="269081"/>
                  </a:cubicBezTo>
                  <a:cubicBezTo>
                    <a:pt x="4114324" y="269081"/>
                    <a:pt x="4112419" y="273844"/>
                    <a:pt x="4108609" y="282416"/>
                  </a:cubicBezTo>
                  <a:cubicBezTo>
                    <a:pt x="4106704" y="279559"/>
                    <a:pt x="4104799" y="276701"/>
                    <a:pt x="4102894" y="273844"/>
                  </a:cubicBezTo>
                  <a:cubicBezTo>
                    <a:pt x="4100989" y="270034"/>
                    <a:pt x="4098131" y="266224"/>
                    <a:pt x="4096226" y="263366"/>
                  </a:cubicBezTo>
                  <a:cubicBezTo>
                    <a:pt x="4097179" y="262414"/>
                    <a:pt x="4097179" y="262414"/>
                    <a:pt x="4097179" y="262414"/>
                  </a:cubicBezTo>
                  <a:cubicBezTo>
                    <a:pt x="4097179" y="262414"/>
                    <a:pt x="4097179" y="262414"/>
                    <a:pt x="4096226" y="263366"/>
                  </a:cubicBezTo>
                  <a:cubicBezTo>
                    <a:pt x="4094321" y="259556"/>
                    <a:pt x="4092416" y="256699"/>
                    <a:pt x="4090511" y="253841"/>
                  </a:cubicBezTo>
                  <a:cubicBezTo>
                    <a:pt x="4090511" y="253841"/>
                    <a:pt x="4090511" y="252889"/>
                    <a:pt x="4090511" y="252889"/>
                  </a:cubicBezTo>
                  <a:cubicBezTo>
                    <a:pt x="4090511" y="248126"/>
                    <a:pt x="4090511" y="243364"/>
                    <a:pt x="4090511" y="238601"/>
                  </a:cubicBezTo>
                  <a:cubicBezTo>
                    <a:pt x="4090511" y="230029"/>
                    <a:pt x="4090511" y="222409"/>
                    <a:pt x="4090511" y="215741"/>
                  </a:cubicBezTo>
                  <a:cubicBezTo>
                    <a:pt x="4090511" y="203359"/>
                    <a:pt x="4089559" y="195739"/>
                    <a:pt x="4089559" y="195739"/>
                  </a:cubicBezTo>
                  <a:cubicBezTo>
                    <a:pt x="4089559" y="195739"/>
                    <a:pt x="4088606" y="202406"/>
                    <a:pt x="4086701" y="214789"/>
                  </a:cubicBezTo>
                  <a:cubicBezTo>
                    <a:pt x="4085749" y="221456"/>
                    <a:pt x="4084796" y="228124"/>
                    <a:pt x="4083844" y="236696"/>
                  </a:cubicBezTo>
                  <a:cubicBezTo>
                    <a:pt x="4083844" y="237649"/>
                    <a:pt x="4083844" y="238601"/>
                    <a:pt x="4083844" y="239554"/>
                  </a:cubicBezTo>
                  <a:cubicBezTo>
                    <a:pt x="4082891" y="238601"/>
                    <a:pt x="4082891" y="237649"/>
                    <a:pt x="4081939" y="236696"/>
                  </a:cubicBezTo>
                  <a:cubicBezTo>
                    <a:pt x="4081939" y="235744"/>
                    <a:pt x="4081939" y="235744"/>
                    <a:pt x="4081939" y="234791"/>
                  </a:cubicBezTo>
                  <a:cubicBezTo>
                    <a:pt x="4081939" y="225266"/>
                    <a:pt x="4081939" y="216694"/>
                    <a:pt x="4081939" y="210026"/>
                  </a:cubicBezTo>
                  <a:cubicBezTo>
                    <a:pt x="4081939" y="195739"/>
                    <a:pt x="4081939" y="188119"/>
                    <a:pt x="4081939" y="188119"/>
                  </a:cubicBezTo>
                  <a:cubicBezTo>
                    <a:pt x="4081939" y="188119"/>
                    <a:pt x="4080034" y="195739"/>
                    <a:pt x="4078129" y="210026"/>
                  </a:cubicBezTo>
                  <a:cubicBezTo>
                    <a:pt x="4077176" y="214789"/>
                    <a:pt x="4076224" y="220504"/>
                    <a:pt x="4075271" y="227171"/>
                  </a:cubicBezTo>
                  <a:cubicBezTo>
                    <a:pt x="4065746" y="210979"/>
                    <a:pt x="4059079" y="202406"/>
                    <a:pt x="4059079" y="202406"/>
                  </a:cubicBezTo>
                  <a:cubicBezTo>
                    <a:pt x="4059079" y="202406"/>
                    <a:pt x="4063841" y="214789"/>
                    <a:pt x="4073366" y="236696"/>
                  </a:cubicBezTo>
                  <a:cubicBezTo>
                    <a:pt x="4072414" y="241459"/>
                    <a:pt x="4071461" y="246221"/>
                    <a:pt x="4071461" y="250984"/>
                  </a:cubicBezTo>
                  <a:cubicBezTo>
                    <a:pt x="4070509" y="256699"/>
                    <a:pt x="4069556" y="261461"/>
                    <a:pt x="4067651" y="268129"/>
                  </a:cubicBezTo>
                  <a:cubicBezTo>
                    <a:pt x="4066699" y="271939"/>
                    <a:pt x="4065746" y="275749"/>
                    <a:pt x="4064794" y="279559"/>
                  </a:cubicBezTo>
                  <a:cubicBezTo>
                    <a:pt x="4063841" y="270986"/>
                    <a:pt x="4062889" y="262414"/>
                    <a:pt x="4061936" y="253841"/>
                  </a:cubicBezTo>
                  <a:cubicBezTo>
                    <a:pt x="4059079" y="237649"/>
                    <a:pt x="4057174" y="221456"/>
                    <a:pt x="4054316" y="207169"/>
                  </a:cubicBezTo>
                  <a:cubicBezTo>
                    <a:pt x="4053364" y="199549"/>
                    <a:pt x="4052411" y="192881"/>
                    <a:pt x="4050506" y="186214"/>
                  </a:cubicBezTo>
                  <a:cubicBezTo>
                    <a:pt x="4049554" y="179546"/>
                    <a:pt x="4047649" y="173831"/>
                    <a:pt x="4046696" y="168116"/>
                  </a:cubicBezTo>
                  <a:cubicBezTo>
                    <a:pt x="4043839" y="156686"/>
                    <a:pt x="4041934" y="146209"/>
                    <a:pt x="4040029" y="137636"/>
                  </a:cubicBezTo>
                  <a:cubicBezTo>
                    <a:pt x="4036219" y="121444"/>
                    <a:pt x="4034314" y="111919"/>
                    <a:pt x="4034314" y="111919"/>
                  </a:cubicBezTo>
                  <a:cubicBezTo>
                    <a:pt x="4034314" y="111919"/>
                    <a:pt x="4035266" y="121444"/>
                    <a:pt x="4036219" y="138589"/>
                  </a:cubicBezTo>
                  <a:cubicBezTo>
                    <a:pt x="4037171" y="147161"/>
                    <a:pt x="4038124" y="157639"/>
                    <a:pt x="4039076" y="169069"/>
                  </a:cubicBezTo>
                  <a:cubicBezTo>
                    <a:pt x="4040029" y="180499"/>
                    <a:pt x="4040981" y="193834"/>
                    <a:pt x="4042886" y="208121"/>
                  </a:cubicBezTo>
                  <a:cubicBezTo>
                    <a:pt x="4043839" y="217646"/>
                    <a:pt x="4044791" y="228124"/>
                    <a:pt x="4044791" y="238601"/>
                  </a:cubicBezTo>
                  <a:cubicBezTo>
                    <a:pt x="4037171" y="196691"/>
                    <a:pt x="4031456" y="170021"/>
                    <a:pt x="4031456" y="170021"/>
                  </a:cubicBezTo>
                  <a:cubicBezTo>
                    <a:pt x="4031456" y="170021"/>
                    <a:pt x="4032409" y="203359"/>
                    <a:pt x="4036219" y="252889"/>
                  </a:cubicBezTo>
                  <a:cubicBezTo>
                    <a:pt x="4036219" y="256699"/>
                    <a:pt x="4037171" y="260509"/>
                    <a:pt x="4037171" y="264319"/>
                  </a:cubicBezTo>
                  <a:cubicBezTo>
                    <a:pt x="4036219" y="266224"/>
                    <a:pt x="4036219" y="269081"/>
                    <a:pt x="4035266" y="271939"/>
                  </a:cubicBezTo>
                  <a:cubicBezTo>
                    <a:pt x="4033361" y="270034"/>
                    <a:pt x="4031456" y="268129"/>
                    <a:pt x="4030504" y="266224"/>
                  </a:cubicBezTo>
                  <a:cubicBezTo>
                    <a:pt x="4027646" y="263366"/>
                    <a:pt x="4025741" y="260509"/>
                    <a:pt x="4023836" y="258604"/>
                  </a:cubicBezTo>
                  <a:cubicBezTo>
                    <a:pt x="4018121" y="247174"/>
                    <a:pt x="4013359" y="237649"/>
                    <a:pt x="4009549" y="229076"/>
                  </a:cubicBezTo>
                  <a:cubicBezTo>
                    <a:pt x="4000976" y="212884"/>
                    <a:pt x="3996214" y="203359"/>
                    <a:pt x="3996214" y="203359"/>
                  </a:cubicBezTo>
                  <a:cubicBezTo>
                    <a:pt x="3996214" y="203359"/>
                    <a:pt x="4000024" y="212884"/>
                    <a:pt x="4005739" y="230981"/>
                  </a:cubicBezTo>
                  <a:cubicBezTo>
                    <a:pt x="4008596" y="237649"/>
                    <a:pt x="4011454" y="246221"/>
                    <a:pt x="4014311" y="255746"/>
                  </a:cubicBezTo>
                  <a:cubicBezTo>
                    <a:pt x="4010501" y="248126"/>
                    <a:pt x="4007644" y="243364"/>
                    <a:pt x="4007644" y="243364"/>
                  </a:cubicBezTo>
                  <a:cubicBezTo>
                    <a:pt x="4007644" y="243364"/>
                    <a:pt x="4010501" y="251936"/>
                    <a:pt x="4015264" y="267176"/>
                  </a:cubicBezTo>
                  <a:cubicBezTo>
                    <a:pt x="4018121" y="274796"/>
                    <a:pt x="4020979" y="284321"/>
                    <a:pt x="4024789" y="294799"/>
                  </a:cubicBezTo>
                  <a:cubicBezTo>
                    <a:pt x="4025741" y="296704"/>
                    <a:pt x="4026694" y="299561"/>
                    <a:pt x="4026694" y="301466"/>
                  </a:cubicBezTo>
                  <a:cubicBezTo>
                    <a:pt x="4023836" y="310039"/>
                    <a:pt x="4020026" y="319564"/>
                    <a:pt x="4017169" y="329089"/>
                  </a:cubicBezTo>
                  <a:cubicBezTo>
                    <a:pt x="4017169" y="329089"/>
                    <a:pt x="4016216" y="328136"/>
                    <a:pt x="4016216" y="328136"/>
                  </a:cubicBezTo>
                  <a:cubicBezTo>
                    <a:pt x="4011454" y="325279"/>
                    <a:pt x="4008596" y="322421"/>
                    <a:pt x="4005739" y="320516"/>
                  </a:cubicBezTo>
                  <a:cubicBezTo>
                    <a:pt x="4005739" y="319564"/>
                    <a:pt x="4005739" y="318611"/>
                    <a:pt x="4005739" y="318611"/>
                  </a:cubicBezTo>
                  <a:cubicBezTo>
                    <a:pt x="4005739" y="315754"/>
                    <a:pt x="4004786" y="313849"/>
                    <a:pt x="4004786" y="310991"/>
                  </a:cubicBezTo>
                  <a:cubicBezTo>
                    <a:pt x="4004786" y="285274"/>
                    <a:pt x="4002881" y="269081"/>
                    <a:pt x="4002881" y="269081"/>
                  </a:cubicBezTo>
                  <a:cubicBezTo>
                    <a:pt x="4002881" y="269081"/>
                    <a:pt x="4001929" y="274796"/>
                    <a:pt x="4000024" y="284321"/>
                  </a:cubicBezTo>
                  <a:cubicBezTo>
                    <a:pt x="3996214" y="261461"/>
                    <a:pt x="3993356" y="248126"/>
                    <a:pt x="3993356" y="248126"/>
                  </a:cubicBezTo>
                  <a:cubicBezTo>
                    <a:pt x="3993356" y="248126"/>
                    <a:pt x="3993356" y="262414"/>
                    <a:pt x="3993356" y="286226"/>
                  </a:cubicBezTo>
                  <a:cubicBezTo>
                    <a:pt x="3993356" y="286226"/>
                    <a:pt x="3992404" y="286226"/>
                    <a:pt x="3992404" y="286226"/>
                  </a:cubicBezTo>
                  <a:cubicBezTo>
                    <a:pt x="3991451" y="286226"/>
                    <a:pt x="3990499" y="287179"/>
                    <a:pt x="3990499" y="287179"/>
                  </a:cubicBezTo>
                  <a:cubicBezTo>
                    <a:pt x="3988594" y="289084"/>
                    <a:pt x="3986689" y="290989"/>
                    <a:pt x="3985736" y="292894"/>
                  </a:cubicBezTo>
                  <a:lnTo>
                    <a:pt x="3985736" y="292894"/>
                  </a:lnTo>
                  <a:lnTo>
                    <a:pt x="3985736" y="293846"/>
                  </a:lnTo>
                  <a:cubicBezTo>
                    <a:pt x="3984784" y="300514"/>
                    <a:pt x="3983831" y="307181"/>
                    <a:pt x="3983831" y="313849"/>
                  </a:cubicBezTo>
                  <a:cubicBezTo>
                    <a:pt x="3981926" y="310039"/>
                    <a:pt x="3980021" y="307181"/>
                    <a:pt x="3978116" y="303371"/>
                  </a:cubicBezTo>
                  <a:cubicBezTo>
                    <a:pt x="3983831" y="284321"/>
                    <a:pt x="3987641" y="272891"/>
                    <a:pt x="3987641" y="272891"/>
                  </a:cubicBezTo>
                  <a:cubicBezTo>
                    <a:pt x="3987641" y="272891"/>
                    <a:pt x="3982879" y="282416"/>
                    <a:pt x="3976211" y="298609"/>
                  </a:cubicBezTo>
                  <a:cubicBezTo>
                    <a:pt x="3975259" y="296704"/>
                    <a:pt x="3974306" y="295751"/>
                    <a:pt x="3973354" y="293846"/>
                  </a:cubicBezTo>
                  <a:cubicBezTo>
                    <a:pt x="3973354" y="291941"/>
                    <a:pt x="3973354" y="290036"/>
                    <a:pt x="3973354" y="288131"/>
                  </a:cubicBezTo>
                  <a:cubicBezTo>
                    <a:pt x="3973354" y="288131"/>
                    <a:pt x="3973354" y="288131"/>
                    <a:pt x="3973354" y="287179"/>
                  </a:cubicBezTo>
                  <a:cubicBezTo>
                    <a:pt x="3975259" y="283369"/>
                    <a:pt x="3976211" y="280511"/>
                    <a:pt x="3977164" y="278606"/>
                  </a:cubicBezTo>
                  <a:cubicBezTo>
                    <a:pt x="3979069" y="273844"/>
                    <a:pt x="3980974" y="270986"/>
                    <a:pt x="3980974" y="270986"/>
                  </a:cubicBezTo>
                  <a:cubicBezTo>
                    <a:pt x="3980974" y="270986"/>
                    <a:pt x="3979069" y="272891"/>
                    <a:pt x="3976211" y="277654"/>
                  </a:cubicBezTo>
                  <a:cubicBezTo>
                    <a:pt x="3975259" y="278606"/>
                    <a:pt x="3974306" y="280511"/>
                    <a:pt x="3973354" y="282416"/>
                  </a:cubicBezTo>
                  <a:cubicBezTo>
                    <a:pt x="3973354" y="271939"/>
                    <a:pt x="3974306" y="262414"/>
                    <a:pt x="3974306" y="254794"/>
                  </a:cubicBezTo>
                  <a:cubicBezTo>
                    <a:pt x="3975259" y="238601"/>
                    <a:pt x="3975259" y="230029"/>
                    <a:pt x="3975259" y="230029"/>
                  </a:cubicBezTo>
                  <a:cubicBezTo>
                    <a:pt x="3975259" y="230029"/>
                    <a:pt x="3973354" y="238601"/>
                    <a:pt x="3970496" y="254794"/>
                  </a:cubicBezTo>
                  <a:cubicBezTo>
                    <a:pt x="3969544" y="262414"/>
                    <a:pt x="3967639" y="271939"/>
                    <a:pt x="3965734" y="281464"/>
                  </a:cubicBezTo>
                  <a:cubicBezTo>
                    <a:pt x="3964781" y="278606"/>
                    <a:pt x="3962876" y="276701"/>
                    <a:pt x="3961924" y="274796"/>
                  </a:cubicBezTo>
                  <a:cubicBezTo>
                    <a:pt x="3961924" y="272891"/>
                    <a:pt x="3962876" y="270986"/>
                    <a:pt x="3962876" y="269081"/>
                  </a:cubicBezTo>
                  <a:cubicBezTo>
                    <a:pt x="3965734" y="253841"/>
                    <a:pt x="3966686" y="245269"/>
                    <a:pt x="3966686" y="245269"/>
                  </a:cubicBezTo>
                  <a:cubicBezTo>
                    <a:pt x="3966686" y="245269"/>
                    <a:pt x="3963829" y="253841"/>
                    <a:pt x="3959066" y="268129"/>
                  </a:cubicBezTo>
                  <a:cubicBezTo>
                    <a:pt x="3959066" y="268129"/>
                    <a:pt x="3959066" y="269081"/>
                    <a:pt x="3959066" y="269081"/>
                  </a:cubicBezTo>
                  <a:cubicBezTo>
                    <a:pt x="3959066" y="268129"/>
                    <a:pt x="3958114" y="267176"/>
                    <a:pt x="3958114" y="267176"/>
                  </a:cubicBezTo>
                  <a:cubicBezTo>
                    <a:pt x="3958114" y="267176"/>
                    <a:pt x="3958114" y="268129"/>
                    <a:pt x="3958114" y="269081"/>
                  </a:cubicBezTo>
                  <a:cubicBezTo>
                    <a:pt x="3957161" y="267176"/>
                    <a:pt x="3956209" y="266224"/>
                    <a:pt x="3955256" y="264319"/>
                  </a:cubicBezTo>
                  <a:cubicBezTo>
                    <a:pt x="3955256" y="258604"/>
                    <a:pt x="3955256" y="252889"/>
                    <a:pt x="3954304" y="247174"/>
                  </a:cubicBezTo>
                  <a:cubicBezTo>
                    <a:pt x="3954304" y="235744"/>
                    <a:pt x="3952399" y="224314"/>
                    <a:pt x="3951446" y="214789"/>
                  </a:cubicBezTo>
                  <a:cubicBezTo>
                    <a:pt x="3950494" y="205264"/>
                    <a:pt x="3949541" y="196691"/>
                    <a:pt x="3947636" y="190024"/>
                  </a:cubicBezTo>
                  <a:cubicBezTo>
                    <a:pt x="3944779" y="176689"/>
                    <a:pt x="3943826" y="169069"/>
                    <a:pt x="3943826" y="169069"/>
                  </a:cubicBezTo>
                  <a:cubicBezTo>
                    <a:pt x="3943826" y="169069"/>
                    <a:pt x="3943826" y="176689"/>
                    <a:pt x="3943826" y="190024"/>
                  </a:cubicBezTo>
                  <a:cubicBezTo>
                    <a:pt x="3943826" y="196691"/>
                    <a:pt x="3943826" y="205264"/>
                    <a:pt x="3943826" y="214789"/>
                  </a:cubicBezTo>
                  <a:cubicBezTo>
                    <a:pt x="3943826" y="218599"/>
                    <a:pt x="3943826" y="222409"/>
                    <a:pt x="3943826" y="225266"/>
                  </a:cubicBezTo>
                  <a:cubicBezTo>
                    <a:pt x="3942874" y="221456"/>
                    <a:pt x="3941921" y="218599"/>
                    <a:pt x="3940969" y="215741"/>
                  </a:cubicBezTo>
                  <a:cubicBezTo>
                    <a:pt x="3940016" y="212884"/>
                    <a:pt x="3939064" y="210026"/>
                    <a:pt x="3939064" y="207169"/>
                  </a:cubicBezTo>
                  <a:cubicBezTo>
                    <a:pt x="3940016" y="206216"/>
                    <a:pt x="3940016" y="205264"/>
                    <a:pt x="3940016" y="205264"/>
                  </a:cubicBezTo>
                  <a:cubicBezTo>
                    <a:pt x="3940016" y="205264"/>
                    <a:pt x="3940016" y="206216"/>
                    <a:pt x="3939064" y="206216"/>
                  </a:cubicBezTo>
                  <a:cubicBezTo>
                    <a:pt x="3937159" y="201454"/>
                    <a:pt x="3936206" y="197644"/>
                    <a:pt x="3936206" y="197644"/>
                  </a:cubicBezTo>
                  <a:cubicBezTo>
                    <a:pt x="3936206" y="197644"/>
                    <a:pt x="3936206" y="201454"/>
                    <a:pt x="3937159" y="208121"/>
                  </a:cubicBezTo>
                  <a:cubicBezTo>
                    <a:pt x="3935254" y="210026"/>
                    <a:pt x="3932396" y="212884"/>
                    <a:pt x="3929539" y="216694"/>
                  </a:cubicBezTo>
                  <a:cubicBezTo>
                    <a:pt x="3928586" y="210026"/>
                    <a:pt x="3926681" y="204311"/>
                    <a:pt x="3925729" y="197644"/>
                  </a:cubicBezTo>
                  <a:cubicBezTo>
                    <a:pt x="3922871" y="183356"/>
                    <a:pt x="3919061" y="170021"/>
                    <a:pt x="3916204" y="158591"/>
                  </a:cubicBezTo>
                  <a:cubicBezTo>
                    <a:pt x="3915251" y="153829"/>
                    <a:pt x="3913346" y="148114"/>
                    <a:pt x="3912394" y="144304"/>
                  </a:cubicBezTo>
                  <a:cubicBezTo>
                    <a:pt x="3913346" y="142399"/>
                    <a:pt x="3914299" y="141446"/>
                    <a:pt x="3915251" y="139541"/>
                  </a:cubicBezTo>
                  <a:cubicBezTo>
                    <a:pt x="3927634" y="121444"/>
                    <a:pt x="3935254" y="110966"/>
                    <a:pt x="3935254" y="110966"/>
                  </a:cubicBezTo>
                  <a:cubicBezTo>
                    <a:pt x="3935254" y="110966"/>
                    <a:pt x="3926681" y="120491"/>
                    <a:pt x="3912394" y="136684"/>
                  </a:cubicBezTo>
                  <a:cubicBezTo>
                    <a:pt x="3911441" y="137636"/>
                    <a:pt x="3911441" y="138589"/>
                    <a:pt x="3910489" y="138589"/>
                  </a:cubicBezTo>
                  <a:cubicBezTo>
                    <a:pt x="3909536" y="134779"/>
                    <a:pt x="3908584" y="131921"/>
                    <a:pt x="3906679" y="128111"/>
                  </a:cubicBezTo>
                  <a:cubicBezTo>
                    <a:pt x="3900964" y="111919"/>
                    <a:pt x="3898106" y="102394"/>
                    <a:pt x="3898106" y="102394"/>
                  </a:cubicBezTo>
                  <a:cubicBezTo>
                    <a:pt x="3898106" y="102394"/>
                    <a:pt x="3900011" y="111919"/>
                    <a:pt x="3902869" y="129064"/>
                  </a:cubicBezTo>
                  <a:cubicBezTo>
                    <a:pt x="3903821" y="132874"/>
                    <a:pt x="3904774" y="137636"/>
                    <a:pt x="3905726" y="143351"/>
                  </a:cubicBezTo>
                  <a:cubicBezTo>
                    <a:pt x="3905726" y="143351"/>
                    <a:pt x="3905726" y="143351"/>
                    <a:pt x="3905726" y="143351"/>
                  </a:cubicBezTo>
                  <a:cubicBezTo>
                    <a:pt x="3900011" y="150019"/>
                    <a:pt x="3894296" y="158591"/>
                    <a:pt x="3887629" y="167164"/>
                  </a:cubicBezTo>
                  <a:cubicBezTo>
                    <a:pt x="3880961" y="175736"/>
                    <a:pt x="3874294" y="185261"/>
                    <a:pt x="3866674" y="195739"/>
                  </a:cubicBezTo>
                  <a:cubicBezTo>
                    <a:pt x="3864769" y="190976"/>
                    <a:pt x="3863816" y="186214"/>
                    <a:pt x="3862864" y="182404"/>
                  </a:cubicBezTo>
                  <a:cubicBezTo>
                    <a:pt x="3857149" y="165259"/>
                    <a:pt x="3854291" y="155734"/>
                    <a:pt x="3854291" y="155734"/>
                  </a:cubicBezTo>
                  <a:cubicBezTo>
                    <a:pt x="3854291" y="155734"/>
                    <a:pt x="3856196" y="166211"/>
                    <a:pt x="3859054" y="183356"/>
                  </a:cubicBezTo>
                  <a:cubicBezTo>
                    <a:pt x="3860006" y="189071"/>
                    <a:pt x="3861911" y="195739"/>
                    <a:pt x="3862864" y="202406"/>
                  </a:cubicBezTo>
                  <a:cubicBezTo>
                    <a:pt x="3860959" y="204311"/>
                    <a:pt x="3860006" y="207169"/>
                    <a:pt x="3858101" y="209074"/>
                  </a:cubicBezTo>
                  <a:cubicBezTo>
                    <a:pt x="3856196" y="211931"/>
                    <a:pt x="3855244" y="213836"/>
                    <a:pt x="3853339" y="216694"/>
                  </a:cubicBezTo>
                  <a:cubicBezTo>
                    <a:pt x="3851434" y="208121"/>
                    <a:pt x="3850481" y="200501"/>
                    <a:pt x="3849529" y="195739"/>
                  </a:cubicBezTo>
                  <a:cubicBezTo>
                    <a:pt x="3850481" y="189071"/>
                    <a:pt x="3851434" y="183356"/>
                    <a:pt x="3852386" y="178594"/>
                  </a:cubicBezTo>
                  <a:cubicBezTo>
                    <a:pt x="3854291" y="166211"/>
                    <a:pt x="3855244" y="158591"/>
                    <a:pt x="3855244" y="158591"/>
                  </a:cubicBezTo>
                  <a:cubicBezTo>
                    <a:pt x="3855244" y="158591"/>
                    <a:pt x="3853339" y="165259"/>
                    <a:pt x="3848576" y="177641"/>
                  </a:cubicBezTo>
                  <a:cubicBezTo>
                    <a:pt x="3846671" y="184309"/>
                    <a:pt x="3844766" y="190976"/>
                    <a:pt x="3841909" y="199549"/>
                  </a:cubicBezTo>
                  <a:cubicBezTo>
                    <a:pt x="3840956" y="204311"/>
                    <a:pt x="3839051" y="208121"/>
                    <a:pt x="3838099" y="212884"/>
                  </a:cubicBezTo>
                  <a:cubicBezTo>
                    <a:pt x="3837146" y="216694"/>
                    <a:pt x="3836194" y="221456"/>
                    <a:pt x="3835241" y="225266"/>
                  </a:cubicBezTo>
                  <a:cubicBezTo>
                    <a:pt x="3835241" y="224314"/>
                    <a:pt x="3834289" y="223361"/>
                    <a:pt x="3834289" y="222409"/>
                  </a:cubicBezTo>
                  <a:cubicBezTo>
                    <a:pt x="3831431" y="217646"/>
                    <a:pt x="3828574" y="212884"/>
                    <a:pt x="3825716" y="209074"/>
                  </a:cubicBezTo>
                  <a:cubicBezTo>
                    <a:pt x="3815239" y="193834"/>
                    <a:pt x="3809524" y="184309"/>
                    <a:pt x="3809524" y="184309"/>
                  </a:cubicBezTo>
                  <a:cubicBezTo>
                    <a:pt x="3809524" y="184309"/>
                    <a:pt x="3814286" y="193834"/>
                    <a:pt x="3821906" y="210979"/>
                  </a:cubicBezTo>
                  <a:cubicBezTo>
                    <a:pt x="3823811" y="214789"/>
                    <a:pt x="3825716" y="219551"/>
                    <a:pt x="3828574" y="224314"/>
                  </a:cubicBezTo>
                  <a:cubicBezTo>
                    <a:pt x="3829526" y="227171"/>
                    <a:pt x="3831431" y="230981"/>
                    <a:pt x="3832384" y="234791"/>
                  </a:cubicBezTo>
                  <a:cubicBezTo>
                    <a:pt x="3831431" y="241459"/>
                    <a:pt x="3829526" y="248126"/>
                    <a:pt x="3828574" y="254794"/>
                  </a:cubicBezTo>
                  <a:cubicBezTo>
                    <a:pt x="3827621" y="256699"/>
                    <a:pt x="3826669" y="257651"/>
                    <a:pt x="3825716" y="259556"/>
                  </a:cubicBezTo>
                  <a:cubicBezTo>
                    <a:pt x="3823811" y="262414"/>
                    <a:pt x="3821906" y="266224"/>
                    <a:pt x="3820954" y="269081"/>
                  </a:cubicBezTo>
                  <a:cubicBezTo>
                    <a:pt x="3820954" y="268129"/>
                    <a:pt x="3820001" y="268129"/>
                    <a:pt x="3820001" y="267176"/>
                  </a:cubicBezTo>
                  <a:cubicBezTo>
                    <a:pt x="3810476" y="255746"/>
                    <a:pt x="3804761" y="249079"/>
                    <a:pt x="3804761" y="249079"/>
                  </a:cubicBezTo>
                  <a:cubicBezTo>
                    <a:pt x="3804761" y="249079"/>
                    <a:pt x="3809524" y="256699"/>
                    <a:pt x="3817144" y="270034"/>
                  </a:cubicBezTo>
                  <a:cubicBezTo>
                    <a:pt x="3818096" y="270986"/>
                    <a:pt x="3818096" y="271939"/>
                    <a:pt x="3819049" y="272891"/>
                  </a:cubicBezTo>
                  <a:cubicBezTo>
                    <a:pt x="3815239" y="280511"/>
                    <a:pt x="3811429" y="287179"/>
                    <a:pt x="3806666" y="294799"/>
                  </a:cubicBezTo>
                  <a:cubicBezTo>
                    <a:pt x="3806666" y="294799"/>
                    <a:pt x="3806666" y="294799"/>
                    <a:pt x="3806666" y="294799"/>
                  </a:cubicBezTo>
                  <a:cubicBezTo>
                    <a:pt x="3805714" y="293846"/>
                    <a:pt x="3804761" y="291941"/>
                    <a:pt x="3803809" y="290989"/>
                  </a:cubicBezTo>
                  <a:cubicBezTo>
                    <a:pt x="3803809" y="290036"/>
                    <a:pt x="3803809" y="289084"/>
                    <a:pt x="3802856" y="287179"/>
                  </a:cubicBezTo>
                  <a:cubicBezTo>
                    <a:pt x="3801904" y="283369"/>
                    <a:pt x="3800951" y="280511"/>
                    <a:pt x="3799999" y="276701"/>
                  </a:cubicBezTo>
                  <a:cubicBezTo>
                    <a:pt x="3798094" y="270034"/>
                    <a:pt x="3796189" y="265271"/>
                    <a:pt x="3795236" y="260509"/>
                  </a:cubicBezTo>
                  <a:cubicBezTo>
                    <a:pt x="3792379" y="250984"/>
                    <a:pt x="3790474" y="246221"/>
                    <a:pt x="3790474" y="246221"/>
                  </a:cubicBezTo>
                  <a:cubicBezTo>
                    <a:pt x="3790474" y="246221"/>
                    <a:pt x="3790474" y="251936"/>
                    <a:pt x="3791426" y="260509"/>
                  </a:cubicBezTo>
                  <a:cubicBezTo>
                    <a:pt x="3791426" y="264319"/>
                    <a:pt x="3792379" y="269081"/>
                    <a:pt x="3792379" y="273844"/>
                  </a:cubicBezTo>
                  <a:cubicBezTo>
                    <a:pt x="3790474" y="271939"/>
                    <a:pt x="3789521" y="270034"/>
                    <a:pt x="3787616" y="268129"/>
                  </a:cubicBezTo>
                  <a:cubicBezTo>
                    <a:pt x="3783806" y="263366"/>
                    <a:pt x="3779996" y="259556"/>
                    <a:pt x="3777139" y="255746"/>
                  </a:cubicBezTo>
                  <a:cubicBezTo>
                    <a:pt x="3776186" y="251936"/>
                    <a:pt x="3774281" y="249079"/>
                    <a:pt x="3773329" y="246221"/>
                  </a:cubicBezTo>
                  <a:cubicBezTo>
                    <a:pt x="3767614" y="231934"/>
                    <a:pt x="3764756" y="224314"/>
                    <a:pt x="3764756" y="224314"/>
                  </a:cubicBezTo>
                  <a:cubicBezTo>
                    <a:pt x="3764756" y="224314"/>
                    <a:pt x="3766661" y="232886"/>
                    <a:pt x="3769519" y="247174"/>
                  </a:cubicBezTo>
                  <a:cubicBezTo>
                    <a:pt x="3771424" y="254794"/>
                    <a:pt x="3773329" y="263366"/>
                    <a:pt x="3776186" y="273844"/>
                  </a:cubicBezTo>
                  <a:cubicBezTo>
                    <a:pt x="3778091" y="281464"/>
                    <a:pt x="3779996" y="290989"/>
                    <a:pt x="3781901" y="299561"/>
                  </a:cubicBezTo>
                  <a:cubicBezTo>
                    <a:pt x="3775234" y="275749"/>
                    <a:pt x="3767614" y="253841"/>
                    <a:pt x="3760946" y="234791"/>
                  </a:cubicBezTo>
                  <a:cubicBezTo>
                    <a:pt x="3759041" y="229076"/>
                    <a:pt x="3757136" y="224314"/>
                    <a:pt x="3755231" y="218599"/>
                  </a:cubicBezTo>
                  <a:cubicBezTo>
                    <a:pt x="3758089" y="214789"/>
                    <a:pt x="3759041" y="211931"/>
                    <a:pt x="3759041" y="211931"/>
                  </a:cubicBezTo>
                  <a:cubicBezTo>
                    <a:pt x="3759041" y="211931"/>
                    <a:pt x="3757136" y="213836"/>
                    <a:pt x="3754279" y="217646"/>
                  </a:cubicBezTo>
                  <a:cubicBezTo>
                    <a:pt x="3753326" y="213836"/>
                    <a:pt x="3752374" y="210979"/>
                    <a:pt x="3750469" y="208121"/>
                  </a:cubicBezTo>
                  <a:cubicBezTo>
                    <a:pt x="3752374" y="201454"/>
                    <a:pt x="3752374" y="197644"/>
                    <a:pt x="3752374" y="197644"/>
                  </a:cubicBezTo>
                  <a:cubicBezTo>
                    <a:pt x="3752374" y="197644"/>
                    <a:pt x="3751421" y="200501"/>
                    <a:pt x="3748564" y="205264"/>
                  </a:cubicBezTo>
                  <a:cubicBezTo>
                    <a:pt x="3739991" y="181451"/>
                    <a:pt x="3734276" y="167164"/>
                    <a:pt x="3734276" y="167164"/>
                  </a:cubicBezTo>
                  <a:cubicBezTo>
                    <a:pt x="3734276" y="167164"/>
                    <a:pt x="3737134" y="186214"/>
                    <a:pt x="3742849" y="217646"/>
                  </a:cubicBezTo>
                  <a:cubicBezTo>
                    <a:pt x="3740944" y="222409"/>
                    <a:pt x="3738086" y="229076"/>
                    <a:pt x="3736181" y="236696"/>
                  </a:cubicBezTo>
                  <a:cubicBezTo>
                    <a:pt x="3736181" y="237649"/>
                    <a:pt x="3736181" y="237649"/>
                    <a:pt x="3735229" y="238601"/>
                  </a:cubicBezTo>
                  <a:cubicBezTo>
                    <a:pt x="3733324" y="240506"/>
                    <a:pt x="3731419" y="243364"/>
                    <a:pt x="3730466" y="245269"/>
                  </a:cubicBezTo>
                  <a:cubicBezTo>
                    <a:pt x="3728561" y="242411"/>
                    <a:pt x="3727609" y="239554"/>
                    <a:pt x="3726656" y="236696"/>
                  </a:cubicBezTo>
                  <a:cubicBezTo>
                    <a:pt x="3726656" y="235744"/>
                    <a:pt x="3726656" y="234791"/>
                    <a:pt x="3726656" y="232886"/>
                  </a:cubicBezTo>
                  <a:cubicBezTo>
                    <a:pt x="3726656" y="221456"/>
                    <a:pt x="3725704" y="214789"/>
                    <a:pt x="3725704" y="214789"/>
                  </a:cubicBezTo>
                  <a:cubicBezTo>
                    <a:pt x="3725704" y="214789"/>
                    <a:pt x="3724751" y="220504"/>
                    <a:pt x="3722846" y="230029"/>
                  </a:cubicBezTo>
                  <a:cubicBezTo>
                    <a:pt x="3722846" y="230029"/>
                    <a:pt x="3722846" y="229076"/>
                    <a:pt x="3721894" y="229076"/>
                  </a:cubicBezTo>
                  <a:cubicBezTo>
                    <a:pt x="3721894" y="229076"/>
                    <a:pt x="3721894" y="229076"/>
                    <a:pt x="3721894" y="229076"/>
                  </a:cubicBezTo>
                  <a:cubicBezTo>
                    <a:pt x="3723799" y="215741"/>
                    <a:pt x="3724751" y="203359"/>
                    <a:pt x="3725704" y="190976"/>
                  </a:cubicBezTo>
                  <a:cubicBezTo>
                    <a:pt x="3726656" y="184309"/>
                    <a:pt x="3726656" y="178594"/>
                    <a:pt x="3727609" y="172879"/>
                  </a:cubicBezTo>
                  <a:cubicBezTo>
                    <a:pt x="3728561" y="167164"/>
                    <a:pt x="3729514" y="161449"/>
                    <a:pt x="3730466" y="155734"/>
                  </a:cubicBezTo>
                  <a:cubicBezTo>
                    <a:pt x="3732371" y="145256"/>
                    <a:pt x="3733324" y="135731"/>
                    <a:pt x="3734276" y="128111"/>
                  </a:cubicBezTo>
                  <a:cubicBezTo>
                    <a:pt x="3736181" y="112871"/>
                    <a:pt x="3737134" y="104299"/>
                    <a:pt x="3737134" y="104299"/>
                  </a:cubicBezTo>
                  <a:cubicBezTo>
                    <a:pt x="3737134" y="104299"/>
                    <a:pt x="3734276" y="112871"/>
                    <a:pt x="3730466" y="127159"/>
                  </a:cubicBezTo>
                  <a:cubicBezTo>
                    <a:pt x="3728561" y="134779"/>
                    <a:pt x="3725704" y="143351"/>
                    <a:pt x="3722846" y="153829"/>
                  </a:cubicBezTo>
                  <a:cubicBezTo>
                    <a:pt x="3720941" y="158591"/>
                    <a:pt x="3719989" y="164306"/>
                    <a:pt x="3718084" y="170021"/>
                  </a:cubicBezTo>
                  <a:cubicBezTo>
                    <a:pt x="3717131" y="175736"/>
                    <a:pt x="3715226" y="182404"/>
                    <a:pt x="3714274" y="188119"/>
                  </a:cubicBezTo>
                  <a:cubicBezTo>
                    <a:pt x="3713321" y="194786"/>
                    <a:pt x="3711416" y="201454"/>
                    <a:pt x="3710464" y="208121"/>
                  </a:cubicBezTo>
                  <a:cubicBezTo>
                    <a:pt x="3710464" y="208121"/>
                    <a:pt x="3710464" y="208121"/>
                    <a:pt x="3710464" y="207169"/>
                  </a:cubicBezTo>
                  <a:cubicBezTo>
                    <a:pt x="3702844" y="194786"/>
                    <a:pt x="3697129" y="184309"/>
                    <a:pt x="3691414" y="174784"/>
                  </a:cubicBezTo>
                  <a:cubicBezTo>
                    <a:pt x="3684746" y="164306"/>
                    <a:pt x="3679984" y="155734"/>
                    <a:pt x="3677126" y="150971"/>
                  </a:cubicBezTo>
                  <a:cubicBezTo>
                    <a:pt x="3678079" y="142399"/>
                    <a:pt x="3678079" y="137636"/>
                    <a:pt x="3678079" y="137636"/>
                  </a:cubicBezTo>
                  <a:cubicBezTo>
                    <a:pt x="3678079" y="137636"/>
                    <a:pt x="3677126" y="141446"/>
                    <a:pt x="3675221" y="149066"/>
                  </a:cubicBezTo>
                  <a:cubicBezTo>
                    <a:pt x="3674269" y="148114"/>
                    <a:pt x="3674269" y="147161"/>
                    <a:pt x="3674269" y="147161"/>
                  </a:cubicBezTo>
                  <a:cubicBezTo>
                    <a:pt x="3674269" y="147161"/>
                    <a:pt x="3674269" y="148114"/>
                    <a:pt x="3675221" y="150019"/>
                  </a:cubicBezTo>
                  <a:cubicBezTo>
                    <a:pt x="3674269" y="153829"/>
                    <a:pt x="3673316" y="158591"/>
                    <a:pt x="3672364" y="164306"/>
                  </a:cubicBezTo>
                  <a:cubicBezTo>
                    <a:pt x="3670459" y="172879"/>
                    <a:pt x="3668554" y="182404"/>
                    <a:pt x="3665696" y="194786"/>
                  </a:cubicBezTo>
                  <a:cubicBezTo>
                    <a:pt x="3664744" y="199549"/>
                    <a:pt x="3663791" y="204311"/>
                    <a:pt x="3662839" y="209074"/>
                  </a:cubicBezTo>
                  <a:cubicBezTo>
                    <a:pt x="3662839" y="209074"/>
                    <a:pt x="3662839" y="210026"/>
                    <a:pt x="3661886" y="210026"/>
                  </a:cubicBezTo>
                  <a:cubicBezTo>
                    <a:pt x="3660934" y="211931"/>
                    <a:pt x="3659029" y="214789"/>
                    <a:pt x="3658076" y="216694"/>
                  </a:cubicBezTo>
                  <a:cubicBezTo>
                    <a:pt x="3659029" y="190976"/>
                    <a:pt x="3658076" y="174784"/>
                    <a:pt x="3658076" y="174784"/>
                  </a:cubicBezTo>
                  <a:cubicBezTo>
                    <a:pt x="3658076" y="174784"/>
                    <a:pt x="3652361" y="200501"/>
                    <a:pt x="3645694" y="239554"/>
                  </a:cubicBezTo>
                  <a:cubicBezTo>
                    <a:pt x="3645694" y="241459"/>
                    <a:pt x="3644741" y="244316"/>
                    <a:pt x="3644741" y="246221"/>
                  </a:cubicBezTo>
                  <a:cubicBezTo>
                    <a:pt x="3644741" y="247174"/>
                    <a:pt x="3643789" y="248126"/>
                    <a:pt x="3643789" y="249079"/>
                  </a:cubicBezTo>
                  <a:cubicBezTo>
                    <a:pt x="3642836" y="251936"/>
                    <a:pt x="3641884" y="255746"/>
                    <a:pt x="3640931" y="259556"/>
                  </a:cubicBezTo>
                  <a:cubicBezTo>
                    <a:pt x="3636169" y="249079"/>
                    <a:pt x="3633311" y="243364"/>
                    <a:pt x="3633311" y="243364"/>
                  </a:cubicBezTo>
                  <a:cubicBezTo>
                    <a:pt x="3633311" y="243364"/>
                    <a:pt x="3635216" y="250984"/>
                    <a:pt x="3639979" y="265271"/>
                  </a:cubicBezTo>
                  <a:cubicBezTo>
                    <a:pt x="3639026" y="268129"/>
                    <a:pt x="3638074" y="271939"/>
                    <a:pt x="3637121" y="275749"/>
                  </a:cubicBezTo>
                  <a:cubicBezTo>
                    <a:pt x="3631406" y="266224"/>
                    <a:pt x="3627596" y="261461"/>
                    <a:pt x="3627596" y="261461"/>
                  </a:cubicBezTo>
                  <a:cubicBezTo>
                    <a:pt x="3627596" y="261461"/>
                    <a:pt x="3630454" y="268129"/>
                    <a:pt x="3635216" y="280511"/>
                  </a:cubicBezTo>
                  <a:cubicBezTo>
                    <a:pt x="3635216" y="280511"/>
                    <a:pt x="3635216" y="280511"/>
                    <a:pt x="3635216" y="281464"/>
                  </a:cubicBezTo>
                  <a:cubicBezTo>
                    <a:pt x="3633311" y="290036"/>
                    <a:pt x="3631406" y="299561"/>
                    <a:pt x="3630454" y="309086"/>
                  </a:cubicBezTo>
                  <a:cubicBezTo>
                    <a:pt x="3629501" y="316706"/>
                    <a:pt x="3628549" y="324326"/>
                    <a:pt x="3627596" y="332899"/>
                  </a:cubicBezTo>
                  <a:cubicBezTo>
                    <a:pt x="3624739" y="325279"/>
                    <a:pt x="3622834" y="318611"/>
                    <a:pt x="3620929" y="312896"/>
                  </a:cubicBezTo>
                  <a:cubicBezTo>
                    <a:pt x="3620929" y="310991"/>
                    <a:pt x="3620929" y="309086"/>
                    <a:pt x="3620929" y="309086"/>
                  </a:cubicBezTo>
                  <a:cubicBezTo>
                    <a:pt x="3620929" y="309086"/>
                    <a:pt x="3620929" y="310039"/>
                    <a:pt x="3619976" y="310991"/>
                  </a:cubicBezTo>
                  <a:cubicBezTo>
                    <a:pt x="3619976" y="310039"/>
                    <a:pt x="3619024" y="309086"/>
                    <a:pt x="3619024" y="308134"/>
                  </a:cubicBezTo>
                  <a:cubicBezTo>
                    <a:pt x="3620929" y="295751"/>
                    <a:pt x="3621881" y="284321"/>
                    <a:pt x="3622834" y="272891"/>
                  </a:cubicBezTo>
                  <a:cubicBezTo>
                    <a:pt x="3624739" y="252889"/>
                    <a:pt x="3625691" y="234791"/>
                    <a:pt x="3626644" y="221456"/>
                  </a:cubicBezTo>
                  <a:cubicBezTo>
                    <a:pt x="3629501" y="215741"/>
                    <a:pt x="3630454" y="211931"/>
                    <a:pt x="3630454" y="211931"/>
                  </a:cubicBezTo>
                  <a:cubicBezTo>
                    <a:pt x="3630454" y="211931"/>
                    <a:pt x="3629501" y="213836"/>
                    <a:pt x="3626644" y="216694"/>
                  </a:cubicBezTo>
                  <a:cubicBezTo>
                    <a:pt x="3626644" y="215741"/>
                    <a:pt x="3626644" y="214789"/>
                    <a:pt x="3626644" y="214789"/>
                  </a:cubicBezTo>
                  <a:cubicBezTo>
                    <a:pt x="3626644" y="200501"/>
                    <a:pt x="3626644" y="192881"/>
                    <a:pt x="3626644" y="192881"/>
                  </a:cubicBezTo>
                  <a:cubicBezTo>
                    <a:pt x="3626644" y="192881"/>
                    <a:pt x="3624739" y="200501"/>
                    <a:pt x="3622834" y="214789"/>
                  </a:cubicBezTo>
                  <a:cubicBezTo>
                    <a:pt x="3621881" y="217646"/>
                    <a:pt x="3621881" y="221456"/>
                    <a:pt x="3620929" y="226219"/>
                  </a:cubicBezTo>
                  <a:cubicBezTo>
                    <a:pt x="3620929" y="226219"/>
                    <a:pt x="3620929" y="226219"/>
                    <a:pt x="3620929" y="227171"/>
                  </a:cubicBezTo>
                  <a:cubicBezTo>
                    <a:pt x="3618071" y="231934"/>
                    <a:pt x="3614261" y="237649"/>
                    <a:pt x="3609499" y="243364"/>
                  </a:cubicBezTo>
                  <a:cubicBezTo>
                    <a:pt x="3607594" y="246221"/>
                    <a:pt x="3605689" y="249079"/>
                    <a:pt x="3603784" y="251936"/>
                  </a:cubicBezTo>
                  <a:cubicBezTo>
                    <a:pt x="3607594" y="242411"/>
                    <a:pt x="3610451" y="233839"/>
                    <a:pt x="3613309" y="225266"/>
                  </a:cubicBezTo>
                  <a:cubicBezTo>
                    <a:pt x="3615214" y="219551"/>
                    <a:pt x="3617119" y="213836"/>
                    <a:pt x="3619024" y="208121"/>
                  </a:cubicBezTo>
                  <a:cubicBezTo>
                    <a:pt x="3620929" y="202406"/>
                    <a:pt x="3622834" y="197644"/>
                    <a:pt x="3624739" y="192881"/>
                  </a:cubicBezTo>
                  <a:cubicBezTo>
                    <a:pt x="3628549" y="183356"/>
                    <a:pt x="3631406" y="174784"/>
                    <a:pt x="3634264" y="168116"/>
                  </a:cubicBezTo>
                  <a:cubicBezTo>
                    <a:pt x="3639026" y="153829"/>
                    <a:pt x="3642836" y="146209"/>
                    <a:pt x="3642836" y="146209"/>
                  </a:cubicBezTo>
                  <a:cubicBezTo>
                    <a:pt x="3642836" y="146209"/>
                    <a:pt x="3639026" y="153829"/>
                    <a:pt x="3631406" y="166211"/>
                  </a:cubicBezTo>
                  <a:cubicBezTo>
                    <a:pt x="3627596" y="172879"/>
                    <a:pt x="3623786" y="180499"/>
                    <a:pt x="3618071" y="189071"/>
                  </a:cubicBezTo>
                  <a:cubicBezTo>
                    <a:pt x="3615214" y="193834"/>
                    <a:pt x="3613309" y="198596"/>
                    <a:pt x="3610451" y="203359"/>
                  </a:cubicBezTo>
                  <a:cubicBezTo>
                    <a:pt x="3607594" y="209074"/>
                    <a:pt x="3605689" y="213836"/>
                    <a:pt x="3602831" y="219551"/>
                  </a:cubicBezTo>
                  <a:cubicBezTo>
                    <a:pt x="3598069" y="229076"/>
                    <a:pt x="3593306" y="238601"/>
                    <a:pt x="3588544" y="250031"/>
                  </a:cubicBezTo>
                  <a:cubicBezTo>
                    <a:pt x="3588544" y="245269"/>
                    <a:pt x="3588544" y="242411"/>
                    <a:pt x="3588544" y="242411"/>
                  </a:cubicBezTo>
                  <a:cubicBezTo>
                    <a:pt x="3588544" y="242411"/>
                    <a:pt x="3587591" y="248126"/>
                    <a:pt x="3585686" y="256699"/>
                  </a:cubicBezTo>
                  <a:cubicBezTo>
                    <a:pt x="3585686" y="256699"/>
                    <a:pt x="3585686" y="256699"/>
                    <a:pt x="3585686" y="257651"/>
                  </a:cubicBezTo>
                  <a:cubicBezTo>
                    <a:pt x="3583781" y="261461"/>
                    <a:pt x="3581876" y="266224"/>
                    <a:pt x="3579971" y="270986"/>
                  </a:cubicBezTo>
                  <a:cubicBezTo>
                    <a:pt x="3578066" y="274796"/>
                    <a:pt x="3576161" y="278606"/>
                    <a:pt x="3573304" y="282416"/>
                  </a:cubicBezTo>
                  <a:cubicBezTo>
                    <a:pt x="3571399" y="275749"/>
                    <a:pt x="3569494" y="269081"/>
                    <a:pt x="3568541" y="263366"/>
                  </a:cubicBezTo>
                  <a:cubicBezTo>
                    <a:pt x="3566636" y="257651"/>
                    <a:pt x="3565684" y="252889"/>
                    <a:pt x="3564731" y="248126"/>
                  </a:cubicBezTo>
                  <a:cubicBezTo>
                    <a:pt x="3564731" y="248126"/>
                    <a:pt x="3564731" y="248126"/>
                    <a:pt x="3564731" y="248126"/>
                  </a:cubicBezTo>
                  <a:cubicBezTo>
                    <a:pt x="3563779" y="244316"/>
                    <a:pt x="3563779" y="241459"/>
                    <a:pt x="3562826" y="237649"/>
                  </a:cubicBezTo>
                  <a:cubicBezTo>
                    <a:pt x="3562826" y="236696"/>
                    <a:pt x="3562826" y="235744"/>
                    <a:pt x="3561874" y="233839"/>
                  </a:cubicBezTo>
                  <a:cubicBezTo>
                    <a:pt x="3564731" y="230029"/>
                    <a:pt x="3566636" y="227171"/>
                    <a:pt x="3566636" y="227171"/>
                  </a:cubicBezTo>
                  <a:cubicBezTo>
                    <a:pt x="3566636" y="227171"/>
                    <a:pt x="3564731" y="229076"/>
                    <a:pt x="3561874" y="230981"/>
                  </a:cubicBezTo>
                  <a:cubicBezTo>
                    <a:pt x="3559969" y="222409"/>
                    <a:pt x="3559016" y="218599"/>
                    <a:pt x="3559016" y="218599"/>
                  </a:cubicBezTo>
                  <a:cubicBezTo>
                    <a:pt x="3559016" y="218599"/>
                    <a:pt x="3559016" y="223361"/>
                    <a:pt x="3559016" y="231934"/>
                  </a:cubicBezTo>
                  <a:cubicBezTo>
                    <a:pt x="3557111" y="228124"/>
                    <a:pt x="3556159" y="224314"/>
                    <a:pt x="3554254" y="220504"/>
                  </a:cubicBezTo>
                  <a:cubicBezTo>
                    <a:pt x="3559969" y="211931"/>
                    <a:pt x="3564731" y="204311"/>
                    <a:pt x="3569494" y="197644"/>
                  </a:cubicBezTo>
                  <a:cubicBezTo>
                    <a:pt x="3576161" y="189071"/>
                    <a:pt x="3580924" y="180499"/>
                    <a:pt x="3585686" y="174784"/>
                  </a:cubicBezTo>
                  <a:cubicBezTo>
                    <a:pt x="3595211" y="162401"/>
                    <a:pt x="3600926" y="154781"/>
                    <a:pt x="3600926" y="154781"/>
                  </a:cubicBezTo>
                  <a:cubicBezTo>
                    <a:pt x="3600926" y="154781"/>
                    <a:pt x="3594259" y="160496"/>
                    <a:pt x="3582829" y="171926"/>
                  </a:cubicBezTo>
                  <a:cubicBezTo>
                    <a:pt x="3577114" y="176689"/>
                    <a:pt x="3570446" y="184309"/>
                    <a:pt x="3562826" y="192881"/>
                  </a:cubicBezTo>
                  <a:cubicBezTo>
                    <a:pt x="3558064" y="197644"/>
                    <a:pt x="3553301" y="203359"/>
                    <a:pt x="3549491" y="209074"/>
                  </a:cubicBezTo>
                  <a:cubicBezTo>
                    <a:pt x="3545681" y="199549"/>
                    <a:pt x="3542824" y="193834"/>
                    <a:pt x="3542824" y="193834"/>
                  </a:cubicBezTo>
                  <a:cubicBezTo>
                    <a:pt x="3542824" y="193834"/>
                    <a:pt x="3543776" y="200501"/>
                    <a:pt x="3546634" y="212884"/>
                  </a:cubicBezTo>
                  <a:cubicBezTo>
                    <a:pt x="3544729" y="215741"/>
                    <a:pt x="3541871" y="218599"/>
                    <a:pt x="3539966" y="222409"/>
                  </a:cubicBezTo>
                  <a:cubicBezTo>
                    <a:pt x="3539966" y="222409"/>
                    <a:pt x="3539014" y="223361"/>
                    <a:pt x="3539014" y="223361"/>
                  </a:cubicBezTo>
                  <a:cubicBezTo>
                    <a:pt x="3539014" y="219551"/>
                    <a:pt x="3539014" y="214789"/>
                    <a:pt x="3539014" y="210979"/>
                  </a:cubicBezTo>
                  <a:cubicBezTo>
                    <a:pt x="3539014" y="200501"/>
                    <a:pt x="3539014" y="191929"/>
                    <a:pt x="3539014" y="184309"/>
                  </a:cubicBezTo>
                  <a:cubicBezTo>
                    <a:pt x="3539014" y="180499"/>
                    <a:pt x="3539014" y="176689"/>
                    <a:pt x="3539014" y="173831"/>
                  </a:cubicBezTo>
                  <a:cubicBezTo>
                    <a:pt x="3539966" y="170974"/>
                    <a:pt x="3540919" y="170021"/>
                    <a:pt x="3540919" y="170021"/>
                  </a:cubicBezTo>
                  <a:cubicBezTo>
                    <a:pt x="3540919" y="170021"/>
                    <a:pt x="3539966" y="170974"/>
                    <a:pt x="3539014" y="172879"/>
                  </a:cubicBezTo>
                  <a:cubicBezTo>
                    <a:pt x="3539014" y="166211"/>
                    <a:pt x="3539014" y="162401"/>
                    <a:pt x="3539014" y="162401"/>
                  </a:cubicBezTo>
                  <a:cubicBezTo>
                    <a:pt x="3539014" y="162401"/>
                    <a:pt x="3538061" y="167164"/>
                    <a:pt x="3537109" y="176689"/>
                  </a:cubicBezTo>
                  <a:cubicBezTo>
                    <a:pt x="3535204" y="180499"/>
                    <a:pt x="3531394" y="184309"/>
                    <a:pt x="3527584" y="190976"/>
                  </a:cubicBezTo>
                  <a:cubicBezTo>
                    <a:pt x="3522821" y="197644"/>
                    <a:pt x="3518059" y="205264"/>
                    <a:pt x="3511391" y="214789"/>
                  </a:cubicBezTo>
                  <a:cubicBezTo>
                    <a:pt x="3511391" y="214789"/>
                    <a:pt x="3511391" y="215741"/>
                    <a:pt x="3510439" y="215741"/>
                  </a:cubicBezTo>
                  <a:cubicBezTo>
                    <a:pt x="3509486" y="210026"/>
                    <a:pt x="3509486" y="205264"/>
                    <a:pt x="3508534" y="201454"/>
                  </a:cubicBezTo>
                  <a:cubicBezTo>
                    <a:pt x="3506629" y="188119"/>
                    <a:pt x="3505676" y="180499"/>
                    <a:pt x="3505676" y="180499"/>
                  </a:cubicBezTo>
                  <a:cubicBezTo>
                    <a:pt x="3505676" y="180499"/>
                    <a:pt x="3505676" y="188119"/>
                    <a:pt x="3504724" y="202406"/>
                  </a:cubicBezTo>
                  <a:cubicBezTo>
                    <a:pt x="3504724" y="209074"/>
                    <a:pt x="3504724" y="216694"/>
                    <a:pt x="3503771" y="226219"/>
                  </a:cubicBezTo>
                  <a:cubicBezTo>
                    <a:pt x="3502819" y="228124"/>
                    <a:pt x="3501866" y="229076"/>
                    <a:pt x="3500914" y="230981"/>
                  </a:cubicBezTo>
                  <a:cubicBezTo>
                    <a:pt x="3498056" y="235744"/>
                    <a:pt x="3495199" y="241459"/>
                    <a:pt x="3491389" y="247174"/>
                  </a:cubicBezTo>
                  <a:cubicBezTo>
                    <a:pt x="3488531" y="241459"/>
                    <a:pt x="3486626" y="235744"/>
                    <a:pt x="3483769" y="230029"/>
                  </a:cubicBezTo>
                  <a:cubicBezTo>
                    <a:pt x="3479006" y="218599"/>
                    <a:pt x="3474244" y="209074"/>
                    <a:pt x="3469481" y="200501"/>
                  </a:cubicBezTo>
                  <a:cubicBezTo>
                    <a:pt x="3470434" y="197644"/>
                    <a:pt x="3471386" y="193834"/>
                    <a:pt x="3471386" y="190976"/>
                  </a:cubicBezTo>
                  <a:cubicBezTo>
                    <a:pt x="3473291" y="182404"/>
                    <a:pt x="3475196" y="174784"/>
                    <a:pt x="3477101" y="167164"/>
                  </a:cubicBezTo>
                  <a:cubicBezTo>
                    <a:pt x="3479006" y="159544"/>
                    <a:pt x="3480911" y="152876"/>
                    <a:pt x="3482816" y="146209"/>
                  </a:cubicBezTo>
                  <a:cubicBezTo>
                    <a:pt x="3486626" y="132874"/>
                    <a:pt x="3489484" y="121444"/>
                    <a:pt x="3492341" y="111919"/>
                  </a:cubicBezTo>
                  <a:cubicBezTo>
                    <a:pt x="3497104" y="92869"/>
                    <a:pt x="3499961" y="82391"/>
                    <a:pt x="3499961" y="82391"/>
                  </a:cubicBezTo>
                  <a:cubicBezTo>
                    <a:pt x="3499961" y="82391"/>
                    <a:pt x="3496151" y="92869"/>
                    <a:pt x="3488531" y="110966"/>
                  </a:cubicBezTo>
                  <a:cubicBezTo>
                    <a:pt x="3484721" y="120491"/>
                    <a:pt x="3480911" y="130969"/>
                    <a:pt x="3476149" y="144304"/>
                  </a:cubicBezTo>
                  <a:cubicBezTo>
                    <a:pt x="3473291" y="150971"/>
                    <a:pt x="3471386" y="157639"/>
                    <a:pt x="3468529" y="164306"/>
                  </a:cubicBezTo>
                  <a:cubicBezTo>
                    <a:pt x="3466624" y="170974"/>
                    <a:pt x="3464719" y="177641"/>
                    <a:pt x="3461861" y="185261"/>
                  </a:cubicBezTo>
                  <a:cubicBezTo>
                    <a:pt x="3456146" y="173831"/>
                    <a:pt x="3452336" y="168116"/>
                    <a:pt x="3452336" y="168116"/>
                  </a:cubicBezTo>
                  <a:cubicBezTo>
                    <a:pt x="3452336" y="168116"/>
                    <a:pt x="3455194" y="175736"/>
                    <a:pt x="3460909" y="189071"/>
                  </a:cubicBezTo>
                  <a:cubicBezTo>
                    <a:pt x="3457099" y="200501"/>
                    <a:pt x="3454241" y="211931"/>
                    <a:pt x="3450431" y="225266"/>
                  </a:cubicBezTo>
                  <a:cubicBezTo>
                    <a:pt x="3447574" y="220504"/>
                    <a:pt x="3444716" y="214789"/>
                    <a:pt x="3441859" y="210026"/>
                  </a:cubicBezTo>
                  <a:cubicBezTo>
                    <a:pt x="3441859" y="209074"/>
                    <a:pt x="3441859" y="208121"/>
                    <a:pt x="3442811" y="208121"/>
                  </a:cubicBezTo>
                  <a:cubicBezTo>
                    <a:pt x="3444716" y="197644"/>
                    <a:pt x="3445669" y="190976"/>
                    <a:pt x="3445669" y="190976"/>
                  </a:cubicBezTo>
                  <a:cubicBezTo>
                    <a:pt x="3445669" y="190976"/>
                    <a:pt x="3442811" y="196691"/>
                    <a:pt x="3439001" y="205264"/>
                  </a:cubicBezTo>
                  <a:cubicBezTo>
                    <a:pt x="3439001" y="205264"/>
                    <a:pt x="3439001" y="205264"/>
                    <a:pt x="3439001" y="205264"/>
                  </a:cubicBezTo>
                  <a:cubicBezTo>
                    <a:pt x="3439001" y="190976"/>
                    <a:pt x="3439001" y="177641"/>
                    <a:pt x="3438049" y="165259"/>
                  </a:cubicBezTo>
                  <a:cubicBezTo>
                    <a:pt x="3438049" y="153829"/>
                    <a:pt x="3437096" y="144304"/>
                    <a:pt x="3437096" y="135731"/>
                  </a:cubicBezTo>
                  <a:cubicBezTo>
                    <a:pt x="3436144" y="127159"/>
                    <a:pt x="3436144" y="119539"/>
                    <a:pt x="3435191" y="112871"/>
                  </a:cubicBezTo>
                  <a:cubicBezTo>
                    <a:pt x="3434239" y="100489"/>
                    <a:pt x="3433286" y="92869"/>
                    <a:pt x="3433286" y="92869"/>
                  </a:cubicBezTo>
                  <a:cubicBezTo>
                    <a:pt x="3433286" y="92869"/>
                    <a:pt x="3432334" y="100489"/>
                    <a:pt x="3431381" y="112871"/>
                  </a:cubicBezTo>
                  <a:cubicBezTo>
                    <a:pt x="3430429" y="122396"/>
                    <a:pt x="3429476" y="134779"/>
                    <a:pt x="3428524" y="149066"/>
                  </a:cubicBezTo>
                  <a:cubicBezTo>
                    <a:pt x="3428524" y="149066"/>
                    <a:pt x="3428524" y="150019"/>
                    <a:pt x="3428524" y="150019"/>
                  </a:cubicBezTo>
                  <a:cubicBezTo>
                    <a:pt x="3427571" y="143351"/>
                    <a:pt x="3426619" y="137636"/>
                    <a:pt x="3426619" y="131921"/>
                  </a:cubicBezTo>
                  <a:cubicBezTo>
                    <a:pt x="3424714" y="120491"/>
                    <a:pt x="3423761" y="113824"/>
                    <a:pt x="3423761" y="113824"/>
                  </a:cubicBezTo>
                  <a:cubicBezTo>
                    <a:pt x="3423761" y="113824"/>
                    <a:pt x="3422809" y="120491"/>
                    <a:pt x="3422809" y="131921"/>
                  </a:cubicBezTo>
                  <a:cubicBezTo>
                    <a:pt x="3422809" y="142399"/>
                    <a:pt x="3421856" y="157639"/>
                    <a:pt x="3420904" y="174784"/>
                  </a:cubicBezTo>
                  <a:cubicBezTo>
                    <a:pt x="3418046" y="170021"/>
                    <a:pt x="3415189" y="166211"/>
                    <a:pt x="3412331" y="162401"/>
                  </a:cubicBezTo>
                  <a:cubicBezTo>
                    <a:pt x="3405664" y="152876"/>
                    <a:pt x="3400901" y="146209"/>
                    <a:pt x="3398044" y="141446"/>
                  </a:cubicBezTo>
                  <a:cubicBezTo>
                    <a:pt x="3398996" y="135731"/>
                    <a:pt x="3400901" y="129064"/>
                    <a:pt x="3401854" y="123349"/>
                  </a:cubicBezTo>
                  <a:cubicBezTo>
                    <a:pt x="3399949" y="128111"/>
                    <a:pt x="3398044" y="133826"/>
                    <a:pt x="3396139" y="139541"/>
                  </a:cubicBezTo>
                  <a:cubicBezTo>
                    <a:pt x="3393281" y="135731"/>
                    <a:pt x="3391376" y="132874"/>
                    <a:pt x="3391376" y="132874"/>
                  </a:cubicBezTo>
                  <a:cubicBezTo>
                    <a:pt x="3391376" y="132874"/>
                    <a:pt x="3392329" y="134779"/>
                    <a:pt x="3395186" y="139541"/>
                  </a:cubicBezTo>
                  <a:cubicBezTo>
                    <a:pt x="3395186" y="140494"/>
                    <a:pt x="3395186" y="140494"/>
                    <a:pt x="3395186" y="141446"/>
                  </a:cubicBezTo>
                  <a:cubicBezTo>
                    <a:pt x="3391376" y="153829"/>
                    <a:pt x="3386614" y="166211"/>
                    <a:pt x="3382804" y="177641"/>
                  </a:cubicBezTo>
                  <a:cubicBezTo>
                    <a:pt x="3382804" y="175736"/>
                    <a:pt x="3382804" y="174784"/>
                    <a:pt x="3382804" y="172879"/>
                  </a:cubicBezTo>
                  <a:cubicBezTo>
                    <a:pt x="3381851" y="158591"/>
                    <a:pt x="3381851" y="150971"/>
                    <a:pt x="3381851" y="150971"/>
                  </a:cubicBezTo>
                  <a:cubicBezTo>
                    <a:pt x="3381851" y="150971"/>
                    <a:pt x="3380899" y="158591"/>
                    <a:pt x="3378994" y="172879"/>
                  </a:cubicBezTo>
                  <a:cubicBezTo>
                    <a:pt x="3378041" y="179546"/>
                    <a:pt x="3377089" y="188119"/>
                    <a:pt x="3376136" y="197644"/>
                  </a:cubicBezTo>
                  <a:cubicBezTo>
                    <a:pt x="3372326" y="210026"/>
                    <a:pt x="3368516" y="222409"/>
                    <a:pt x="3365659" y="234791"/>
                  </a:cubicBezTo>
                  <a:cubicBezTo>
                    <a:pt x="3363754" y="240506"/>
                    <a:pt x="3361849" y="247174"/>
                    <a:pt x="3358991" y="253841"/>
                  </a:cubicBezTo>
                  <a:cubicBezTo>
                    <a:pt x="3358991" y="254794"/>
                    <a:pt x="3358039" y="256699"/>
                    <a:pt x="3358039" y="257651"/>
                  </a:cubicBezTo>
                  <a:cubicBezTo>
                    <a:pt x="3355181" y="250984"/>
                    <a:pt x="3353276" y="244316"/>
                    <a:pt x="3351371" y="239554"/>
                  </a:cubicBezTo>
                  <a:cubicBezTo>
                    <a:pt x="3351371" y="238601"/>
                    <a:pt x="3351371" y="237649"/>
                    <a:pt x="3351371" y="237649"/>
                  </a:cubicBezTo>
                  <a:cubicBezTo>
                    <a:pt x="3351371" y="237649"/>
                    <a:pt x="3351371" y="237649"/>
                    <a:pt x="3351371" y="238601"/>
                  </a:cubicBezTo>
                  <a:cubicBezTo>
                    <a:pt x="3347561" y="228124"/>
                    <a:pt x="3344704" y="221456"/>
                    <a:pt x="3344704" y="221456"/>
                  </a:cubicBezTo>
                  <a:cubicBezTo>
                    <a:pt x="3344704" y="221456"/>
                    <a:pt x="3346609" y="230981"/>
                    <a:pt x="3349466" y="248126"/>
                  </a:cubicBezTo>
                  <a:cubicBezTo>
                    <a:pt x="3348514" y="252889"/>
                    <a:pt x="3348514" y="258604"/>
                    <a:pt x="3347561" y="265271"/>
                  </a:cubicBezTo>
                  <a:cubicBezTo>
                    <a:pt x="3346609" y="270986"/>
                    <a:pt x="3346609" y="276701"/>
                    <a:pt x="3345656" y="283369"/>
                  </a:cubicBezTo>
                  <a:cubicBezTo>
                    <a:pt x="3344704" y="284321"/>
                    <a:pt x="3344704" y="285274"/>
                    <a:pt x="3343751" y="287179"/>
                  </a:cubicBezTo>
                  <a:cubicBezTo>
                    <a:pt x="3341846" y="283369"/>
                    <a:pt x="3340894" y="278606"/>
                    <a:pt x="3339941" y="274796"/>
                  </a:cubicBezTo>
                  <a:cubicBezTo>
                    <a:pt x="3335179" y="259556"/>
                    <a:pt x="3329464" y="245269"/>
                    <a:pt x="3325654" y="231934"/>
                  </a:cubicBezTo>
                  <a:cubicBezTo>
                    <a:pt x="3326606" y="227171"/>
                    <a:pt x="3327559" y="221456"/>
                    <a:pt x="3328511" y="216694"/>
                  </a:cubicBezTo>
                  <a:cubicBezTo>
                    <a:pt x="3332321" y="199549"/>
                    <a:pt x="3334226" y="184309"/>
                    <a:pt x="3338036" y="170974"/>
                  </a:cubicBezTo>
                  <a:cubicBezTo>
                    <a:pt x="3340894" y="157639"/>
                    <a:pt x="3343751" y="145256"/>
                    <a:pt x="3346609" y="136684"/>
                  </a:cubicBezTo>
                  <a:cubicBezTo>
                    <a:pt x="3352324" y="117634"/>
                    <a:pt x="3355181" y="106204"/>
                    <a:pt x="3355181" y="106204"/>
                  </a:cubicBezTo>
                  <a:cubicBezTo>
                    <a:pt x="3355181" y="106204"/>
                    <a:pt x="3350419" y="116681"/>
                    <a:pt x="3342799" y="134779"/>
                  </a:cubicBezTo>
                  <a:cubicBezTo>
                    <a:pt x="3338989" y="144304"/>
                    <a:pt x="3335179" y="155734"/>
                    <a:pt x="3330416" y="169069"/>
                  </a:cubicBezTo>
                  <a:cubicBezTo>
                    <a:pt x="3325654" y="180499"/>
                    <a:pt x="3322796" y="193834"/>
                    <a:pt x="3318986" y="208121"/>
                  </a:cubicBezTo>
                  <a:cubicBezTo>
                    <a:pt x="3318986" y="206216"/>
                    <a:pt x="3318986" y="205264"/>
                    <a:pt x="3318986" y="203359"/>
                  </a:cubicBezTo>
                  <a:cubicBezTo>
                    <a:pt x="3319939" y="200501"/>
                    <a:pt x="3319939" y="198596"/>
                    <a:pt x="3320891" y="195739"/>
                  </a:cubicBezTo>
                  <a:cubicBezTo>
                    <a:pt x="3323749" y="185261"/>
                    <a:pt x="3325654" y="176689"/>
                    <a:pt x="3327559" y="170021"/>
                  </a:cubicBezTo>
                  <a:cubicBezTo>
                    <a:pt x="3330416" y="155734"/>
                    <a:pt x="3332321" y="147161"/>
                    <a:pt x="3332321" y="147161"/>
                  </a:cubicBezTo>
                  <a:cubicBezTo>
                    <a:pt x="3332321" y="147161"/>
                    <a:pt x="3329464" y="154781"/>
                    <a:pt x="3323749" y="169069"/>
                  </a:cubicBezTo>
                  <a:cubicBezTo>
                    <a:pt x="3323749" y="170021"/>
                    <a:pt x="3322796" y="170974"/>
                    <a:pt x="3322796" y="171926"/>
                  </a:cubicBezTo>
                  <a:cubicBezTo>
                    <a:pt x="3322796" y="170021"/>
                    <a:pt x="3323749" y="167164"/>
                    <a:pt x="3323749" y="165259"/>
                  </a:cubicBezTo>
                  <a:cubicBezTo>
                    <a:pt x="3325654" y="158591"/>
                    <a:pt x="3326606" y="152876"/>
                    <a:pt x="3328511" y="147161"/>
                  </a:cubicBezTo>
                  <a:cubicBezTo>
                    <a:pt x="3331369" y="135731"/>
                    <a:pt x="3334226" y="125254"/>
                    <a:pt x="3336131" y="116681"/>
                  </a:cubicBezTo>
                  <a:cubicBezTo>
                    <a:pt x="3339941" y="99536"/>
                    <a:pt x="3341846" y="90011"/>
                    <a:pt x="3341846" y="90011"/>
                  </a:cubicBezTo>
                  <a:cubicBezTo>
                    <a:pt x="3341846" y="90011"/>
                    <a:pt x="3338036" y="99536"/>
                    <a:pt x="3332321" y="114776"/>
                  </a:cubicBezTo>
                  <a:cubicBezTo>
                    <a:pt x="3329464" y="122396"/>
                    <a:pt x="3325654" y="132874"/>
                    <a:pt x="3321844" y="143351"/>
                  </a:cubicBezTo>
                  <a:cubicBezTo>
                    <a:pt x="3319939" y="149066"/>
                    <a:pt x="3318034" y="154781"/>
                    <a:pt x="3315176" y="161449"/>
                  </a:cubicBezTo>
                  <a:cubicBezTo>
                    <a:pt x="3313271" y="168116"/>
                    <a:pt x="3311366" y="174784"/>
                    <a:pt x="3308509" y="181451"/>
                  </a:cubicBezTo>
                  <a:cubicBezTo>
                    <a:pt x="3308509" y="181451"/>
                    <a:pt x="3308509" y="181451"/>
                    <a:pt x="3308509" y="181451"/>
                  </a:cubicBezTo>
                  <a:cubicBezTo>
                    <a:pt x="3307556" y="179546"/>
                    <a:pt x="3307556" y="178594"/>
                    <a:pt x="3306604" y="176689"/>
                  </a:cubicBezTo>
                  <a:cubicBezTo>
                    <a:pt x="3298031" y="153829"/>
                    <a:pt x="3292316" y="140494"/>
                    <a:pt x="3292316" y="140494"/>
                  </a:cubicBezTo>
                  <a:cubicBezTo>
                    <a:pt x="3292316" y="140494"/>
                    <a:pt x="3297079" y="158591"/>
                    <a:pt x="3305651" y="189071"/>
                  </a:cubicBezTo>
                  <a:cubicBezTo>
                    <a:pt x="3301841" y="201454"/>
                    <a:pt x="3298031" y="213836"/>
                    <a:pt x="3294221" y="227171"/>
                  </a:cubicBezTo>
                  <a:cubicBezTo>
                    <a:pt x="3294221" y="228124"/>
                    <a:pt x="3293269" y="230029"/>
                    <a:pt x="3293269" y="230981"/>
                  </a:cubicBezTo>
                  <a:cubicBezTo>
                    <a:pt x="3293269" y="230029"/>
                    <a:pt x="3292316" y="230029"/>
                    <a:pt x="3292316" y="229076"/>
                  </a:cubicBezTo>
                  <a:cubicBezTo>
                    <a:pt x="3282791" y="209074"/>
                    <a:pt x="3277076" y="197644"/>
                    <a:pt x="3277076" y="197644"/>
                  </a:cubicBezTo>
                  <a:cubicBezTo>
                    <a:pt x="3277076" y="197644"/>
                    <a:pt x="3282791" y="211931"/>
                    <a:pt x="3291364" y="237649"/>
                  </a:cubicBezTo>
                  <a:cubicBezTo>
                    <a:pt x="3289459" y="244316"/>
                    <a:pt x="3287554" y="250984"/>
                    <a:pt x="3285649" y="257651"/>
                  </a:cubicBezTo>
                  <a:cubicBezTo>
                    <a:pt x="3282791" y="253841"/>
                    <a:pt x="3279934" y="249079"/>
                    <a:pt x="3277076" y="246221"/>
                  </a:cubicBezTo>
                  <a:cubicBezTo>
                    <a:pt x="3276124" y="245269"/>
                    <a:pt x="3275171" y="243364"/>
                    <a:pt x="3274219" y="242411"/>
                  </a:cubicBezTo>
                  <a:cubicBezTo>
                    <a:pt x="3276124" y="215741"/>
                    <a:pt x="3277076" y="199549"/>
                    <a:pt x="3277076" y="199549"/>
                  </a:cubicBezTo>
                  <a:cubicBezTo>
                    <a:pt x="3277076" y="199549"/>
                    <a:pt x="3275171" y="206216"/>
                    <a:pt x="3272314" y="217646"/>
                  </a:cubicBezTo>
                  <a:cubicBezTo>
                    <a:pt x="3271361" y="222409"/>
                    <a:pt x="3269456" y="228124"/>
                    <a:pt x="3268504" y="234791"/>
                  </a:cubicBezTo>
                  <a:cubicBezTo>
                    <a:pt x="3265646" y="230029"/>
                    <a:pt x="3261836" y="226219"/>
                    <a:pt x="3258979" y="223361"/>
                  </a:cubicBezTo>
                  <a:cubicBezTo>
                    <a:pt x="3247549" y="210979"/>
                    <a:pt x="3241834" y="203359"/>
                    <a:pt x="3241834" y="203359"/>
                  </a:cubicBezTo>
                  <a:cubicBezTo>
                    <a:pt x="3241834" y="203359"/>
                    <a:pt x="3247549" y="211931"/>
                    <a:pt x="3256121" y="226219"/>
                  </a:cubicBezTo>
                  <a:cubicBezTo>
                    <a:pt x="3259931" y="230981"/>
                    <a:pt x="3262789" y="236696"/>
                    <a:pt x="3266599" y="243364"/>
                  </a:cubicBezTo>
                  <a:cubicBezTo>
                    <a:pt x="3264694" y="250031"/>
                    <a:pt x="3262789" y="256699"/>
                    <a:pt x="3260884" y="265271"/>
                  </a:cubicBezTo>
                  <a:cubicBezTo>
                    <a:pt x="3258979" y="271939"/>
                    <a:pt x="3257074" y="279559"/>
                    <a:pt x="3256121" y="288131"/>
                  </a:cubicBezTo>
                  <a:cubicBezTo>
                    <a:pt x="3256121" y="287179"/>
                    <a:pt x="3256121" y="287179"/>
                    <a:pt x="3256121" y="287179"/>
                  </a:cubicBezTo>
                  <a:cubicBezTo>
                    <a:pt x="3256121" y="287179"/>
                    <a:pt x="3256121" y="288131"/>
                    <a:pt x="3256121" y="289084"/>
                  </a:cubicBezTo>
                  <a:cubicBezTo>
                    <a:pt x="3256121" y="290989"/>
                    <a:pt x="3255169" y="291941"/>
                    <a:pt x="3255169" y="293846"/>
                  </a:cubicBezTo>
                  <a:cubicBezTo>
                    <a:pt x="3254216" y="292894"/>
                    <a:pt x="3254216" y="291941"/>
                    <a:pt x="3253264" y="290036"/>
                  </a:cubicBezTo>
                  <a:cubicBezTo>
                    <a:pt x="3253264" y="284321"/>
                    <a:pt x="3254216" y="280511"/>
                    <a:pt x="3254216" y="280511"/>
                  </a:cubicBezTo>
                  <a:cubicBezTo>
                    <a:pt x="3254216" y="280511"/>
                    <a:pt x="3253264" y="282416"/>
                    <a:pt x="3252311" y="287179"/>
                  </a:cubicBezTo>
                  <a:cubicBezTo>
                    <a:pt x="3248501" y="280511"/>
                    <a:pt x="3246596" y="276701"/>
                    <a:pt x="3246596" y="276701"/>
                  </a:cubicBezTo>
                  <a:cubicBezTo>
                    <a:pt x="3246596" y="276701"/>
                    <a:pt x="3248501" y="281464"/>
                    <a:pt x="3251359" y="290989"/>
                  </a:cubicBezTo>
                  <a:cubicBezTo>
                    <a:pt x="3250406" y="292894"/>
                    <a:pt x="3250406" y="295751"/>
                    <a:pt x="3249454" y="298609"/>
                  </a:cubicBezTo>
                  <a:cubicBezTo>
                    <a:pt x="3248501" y="300514"/>
                    <a:pt x="3248501" y="302419"/>
                    <a:pt x="3247549" y="304324"/>
                  </a:cubicBezTo>
                  <a:cubicBezTo>
                    <a:pt x="3247549" y="302419"/>
                    <a:pt x="3246596" y="301466"/>
                    <a:pt x="3246596" y="301466"/>
                  </a:cubicBezTo>
                  <a:cubicBezTo>
                    <a:pt x="3246596" y="301466"/>
                    <a:pt x="3246596" y="303371"/>
                    <a:pt x="3246596" y="306229"/>
                  </a:cubicBezTo>
                  <a:cubicBezTo>
                    <a:pt x="3245644" y="310039"/>
                    <a:pt x="3244691" y="313849"/>
                    <a:pt x="3243739" y="317659"/>
                  </a:cubicBezTo>
                  <a:cubicBezTo>
                    <a:pt x="3242786" y="312896"/>
                    <a:pt x="3240881" y="308134"/>
                    <a:pt x="3239929" y="304324"/>
                  </a:cubicBezTo>
                  <a:cubicBezTo>
                    <a:pt x="3241834" y="299561"/>
                    <a:pt x="3242786" y="296704"/>
                    <a:pt x="3242786" y="296704"/>
                  </a:cubicBezTo>
                  <a:cubicBezTo>
                    <a:pt x="3242786" y="296704"/>
                    <a:pt x="3241834" y="298609"/>
                    <a:pt x="3238976" y="302419"/>
                  </a:cubicBezTo>
                  <a:cubicBezTo>
                    <a:pt x="3238024" y="299561"/>
                    <a:pt x="3237071" y="296704"/>
                    <a:pt x="3236119" y="293846"/>
                  </a:cubicBezTo>
                  <a:cubicBezTo>
                    <a:pt x="3236119" y="292894"/>
                    <a:pt x="3235166" y="291941"/>
                    <a:pt x="3235166" y="290036"/>
                  </a:cubicBezTo>
                  <a:cubicBezTo>
                    <a:pt x="3238024" y="284321"/>
                    <a:pt x="3239929" y="278606"/>
                    <a:pt x="3241834" y="273844"/>
                  </a:cubicBezTo>
                  <a:cubicBezTo>
                    <a:pt x="3244691" y="267176"/>
                    <a:pt x="3247549" y="261461"/>
                    <a:pt x="3249454" y="256699"/>
                  </a:cubicBezTo>
                  <a:cubicBezTo>
                    <a:pt x="3254216" y="247174"/>
                    <a:pt x="3256121" y="242411"/>
                    <a:pt x="3256121" y="242411"/>
                  </a:cubicBezTo>
                  <a:cubicBezTo>
                    <a:pt x="3256121" y="242411"/>
                    <a:pt x="3252311" y="247174"/>
                    <a:pt x="3245644" y="254794"/>
                  </a:cubicBezTo>
                  <a:cubicBezTo>
                    <a:pt x="3242786" y="258604"/>
                    <a:pt x="3238976" y="263366"/>
                    <a:pt x="3235166" y="270034"/>
                  </a:cubicBezTo>
                  <a:cubicBezTo>
                    <a:pt x="3233261" y="271939"/>
                    <a:pt x="3232309" y="274796"/>
                    <a:pt x="3230404" y="276701"/>
                  </a:cubicBezTo>
                  <a:cubicBezTo>
                    <a:pt x="3230404" y="275749"/>
                    <a:pt x="3229451" y="273844"/>
                    <a:pt x="3229451" y="272891"/>
                  </a:cubicBezTo>
                  <a:cubicBezTo>
                    <a:pt x="3227546" y="266224"/>
                    <a:pt x="3224689" y="260509"/>
                    <a:pt x="3222784" y="253841"/>
                  </a:cubicBezTo>
                  <a:cubicBezTo>
                    <a:pt x="3220879" y="250031"/>
                    <a:pt x="3219926" y="245269"/>
                    <a:pt x="3218021" y="241459"/>
                  </a:cubicBezTo>
                  <a:cubicBezTo>
                    <a:pt x="3218021" y="239554"/>
                    <a:pt x="3218021" y="238601"/>
                    <a:pt x="3218021" y="236696"/>
                  </a:cubicBezTo>
                  <a:cubicBezTo>
                    <a:pt x="3219926" y="226219"/>
                    <a:pt x="3221831" y="215741"/>
                    <a:pt x="3222784" y="206216"/>
                  </a:cubicBezTo>
                  <a:cubicBezTo>
                    <a:pt x="3225641" y="191929"/>
                    <a:pt x="3227546" y="178594"/>
                    <a:pt x="3229451" y="166211"/>
                  </a:cubicBezTo>
                  <a:cubicBezTo>
                    <a:pt x="3231356" y="154781"/>
                    <a:pt x="3233261" y="144304"/>
                    <a:pt x="3235166" y="135731"/>
                  </a:cubicBezTo>
                  <a:cubicBezTo>
                    <a:pt x="3238024" y="118586"/>
                    <a:pt x="3239929" y="109061"/>
                    <a:pt x="3239929" y="109061"/>
                  </a:cubicBezTo>
                  <a:cubicBezTo>
                    <a:pt x="3239929" y="109061"/>
                    <a:pt x="3237071" y="118586"/>
                    <a:pt x="3231356" y="134779"/>
                  </a:cubicBezTo>
                  <a:cubicBezTo>
                    <a:pt x="3226594" y="150971"/>
                    <a:pt x="3218974" y="175736"/>
                    <a:pt x="3212306" y="204311"/>
                  </a:cubicBezTo>
                  <a:cubicBezTo>
                    <a:pt x="3211354" y="208121"/>
                    <a:pt x="3210401" y="211931"/>
                    <a:pt x="3209449" y="215741"/>
                  </a:cubicBezTo>
                  <a:cubicBezTo>
                    <a:pt x="3207544" y="210979"/>
                    <a:pt x="3206591" y="207169"/>
                    <a:pt x="3204686" y="204311"/>
                  </a:cubicBezTo>
                  <a:cubicBezTo>
                    <a:pt x="3204686" y="186214"/>
                    <a:pt x="3203734" y="175736"/>
                    <a:pt x="3203734" y="175736"/>
                  </a:cubicBezTo>
                  <a:cubicBezTo>
                    <a:pt x="3203734" y="175736"/>
                    <a:pt x="3202781" y="187166"/>
                    <a:pt x="3200876" y="206216"/>
                  </a:cubicBezTo>
                  <a:cubicBezTo>
                    <a:pt x="3199924" y="215741"/>
                    <a:pt x="3198019" y="227171"/>
                    <a:pt x="3196114" y="240506"/>
                  </a:cubicBezTo>
                  <a:cubicBezTo>
                    <a:pt x="3196114" y="241459"/>
                    <a:pt x="3196114" y="242411"/>
                    <a:pt x="3195161" y="243364"/>
                  </a:cubicBezTo>
                  <a:cubicBezTo>
                    <a:pt x="3195161" y="234791"/>
                    <a:pt x="3196114" y="226219"/>
                    <a:pt x="3196114" y="217646"/>
                  </a:cubicBezTo>
                  <a:cubicBezTo>
                    <a:pt x="3197066" y="204311"/>
                    <a:pt x="3197066" y="191929"/>
                    <a:pt x="3198019" y="180499"/>
                  </a:cubicBezTo>
                  <a:cubicBezTo>
                    <a:pt x="3198971" y="169069"/>
                    <a:pt x="3198971" y="159544"/>
                    <a:pt x="3199924" y="151924"/>
                  </a:cubicBezTo>
                  <a:cubicBezTo>
                    <a:pt x="3200876" y="135731"/>
                    <a:pt x="3200876" y="127159"/>
                    <a:pt x="3200876" y="127159"/>
                  </a:cubicBezTo>
                  <a:cubicBezTo>
                    <a:pt x="3200876" y="127159"/>
                    <a:pt x="3198971" y="135731"/>
                    <a:pt x="3195161" y="151924"/>
                  </a:cubicBezTo>
                  <a:cubicBezTo>
                    <a:pt x="3192304" y="168116"/>
                    <a:pt x="3187541" y="190976"/>
                    <a:pt x="3184684" y="217646"/>
                  </a:cubicBezTo>
                  <a:cubicBezTo>
                    <a:pt x="3183731" y="223361"/>
                    <a:pt x="3182779" y="230029"/>
                    <a:pt x="3181826" y="235744"/>
                  </a:cubicBezTo>
                  <a:cubicBezTo>
                    <a:pt x="3180874" y="233839"/>
                    <a:pt x="3179921" y="232886"/>
                    <a:pt x="3179921" y="231934"/>
                  </a:cubicBezTo>
                  <a:cubicBezTo>
                    <a:pt x="3179921" y="227171"/>
                    <a:pt x="3179921" y="224314"/>
                    <a:pt x="3179921" y="224314"/>
                  </a:cubicBezTo>
                  <a:cubicBezTo>
                    <a:pt x="3179921" y="224314"/>
                    <a:pt x="3179921" y="226219"/>
                    <a:pt x="3178969" y="230029"/>
                  </a:cubicBezTo>
                  <a:cubicBezTo>
                    <a:pt x="3178016" y="228124"/>
                    <a:pt x="3177064" y="227171"/>
                    <a:pt x="3177064" y="227171"/>
                  </a:cubicBezTo>
                  <a:cubicBezTo>
                    <a:pt x="3177064" y="227171"/>
                    <a:pt x="3178016" y="229076"/>
                    <a:pt x="3178016" y="231934"/>
                  </a:cubicBezTo>
                  <a:cubicBezTo>
                    <a:pt x="3177064" y="236696"/>
                    <a:pt x="3176111" y="243364"/>
                    <a:pt x="3174206" y="250984"/>
                  </a:cubicBezTo>
                  <a:cubicBezTo>
                    <a:pt x="3173254" y="258604"/>
                    <a:pt x="3171349" y="267176"/>
                    <a:pt x="3170396" y="277654"/>
                  </a:cubicBezTo>
                  <a:cubicBezTo>
                    <a:pt x="3170396" y="276701"/>
                    <a:pt x="3170396" y="276701"/>
                    <a:pt x="3169444" y="275749"/>
                  </a:cubicBezTo>
                  <a:cubicBezTo>
                    <a:pt x="3168491" y="254794"/>
                    <a:pt x="3165634" y="234791"/>
                    <a:pt x="3163729" y="215741"/>
                  </a:cubicBezTo>
                  <a:cubicBezTo>
                    <a:pt x="3163729" y="212884"/>
                    <a:pt x="3162776" y="210026"/>
                    <a:pt x="3162776" y="207169"/>
                  </a:cubicBezTo>
                  <a:cubicBezTo>
                    <a:pt x="3162776" y="206216"/>
                    <a:pt x="3163729" y="204311"/>
                    <a:pt x="3163729" y="203359"/>
                  </a:cubicBezTo>
                  <a:cubicBezTo>
                    <a:pt x="3169444" y="174784"/>
                    <a:pt x="3172301" y="150019"/>
                    <a:pt x="3174206" y="132874"/>
                  </a:cubicBezTo>
                  <a:cubicBezTo>
                    <a:pt x="3176111" y="115729"/>
                    <a:pt x="3178016" y="106204"/>
                    <a:pt x="3178016" y="106204"/>
                  </a:cubicBezTo>
                  <a:cubicBezTo>
                    <a:pt x="3178016" y="106204"/>
                    <a:pt x="3175159" y="115729"/>
                    <a:pt x="3170396" y="131921"/>
                  </a:cubicBezTo>
                  <a:cubicBezTo>
                    <a:pt x="3167539" y="143351"/>
                    <a:pt x="3162776" y="159544"/>
                    <a:pt x="3158014" y="177641"/>
                  </a:cubicBezTo>
                  <a:cubicBezTo>
                    <a:pt x="3157061" y="171926"/>
                    <a:pt x="3156109" y="165259"/>
                    <a:pt x="3154204" y="159544"/>
                  </a:cubicBezTo>
                  <a:cubicBezTo>
                    <a:pt x="3152299" y="150971"/>
                    <a:pt x="3150394" y="142399"/>
                    <a:pt x="3149441" y="134779"/>
                  </a:cubicBezTo>
                  <a:cubicBezTo>
                    <a:pt x="3147536" y="127159"/>
                    <a:pt x="3145631" y="119539"/>
                    <a:pt x="3143726" y="112871"/>
                  </a:cubicBezTo>
                  <a:cubicBezTo>
                    <a:pt x="3139916" y="99536"/>
                    <a:pt x="3137059" y="87154"/>
                    <a:pt x="3133249" y="77629"/>
                  </a:cubicBezTo>
                  <a:cubicBezTo>
                    <a:pt x="3126581" y="58579"/>
                    <a:pt x="3122771" y="47149"/>
                    <a:pt x="3122771" y="47149"/>
                  </a:cubicBezTo>
                  <a:cubicBezTo>
                    <a:pt x="3122771" y="47149"/>
                    <a:pt x="3125629" y="58579"/>
                    <a:pt x="3129439" y="78581"/>
                  </a:cubicBezTo>
                  <a:cubicBezTo>
                    <a:pt x="3132296" y="88106"/>
                    <a:pt x="3134201" y="100489"/>
                    <a:pt x="3136106" y="114776"/>
                  </a:cubicBezTo>
                  <a:cubicBezTo>
                    <a:pt x="3137059" y="121444"/>
                    <a:pt x="3138964" y="129064"/>
                    <a:pt x="3139916" y="136684"/>
                  </a:cubicBezTo>
                  <a:cubicBezTo>
                    <a:pt x="3140869" y="144304"/>
                    <a:pt x="3141821" y="152876"/>
                    <a:pt x="3142774" y="161449"/>
                  </a:cubicBezTo>
                  <a:cubicBezTo>
                    <a:pt x="3145631" y="177641"/>
                    <a:pt x="3146584" y="195739"/>
                    <a:pt x="3147536" y="213836"/>
                  </a:cubicBezTo>
                  <a:cubicBezTo>
                    <a:pt x="3147536" y="214789"/>
                    <a:pt x="3146584" y="215741"/>
                    <a:pt x="3146584" y="217646"/>
                  </a:cubicBezTo>
                  <a:cubicBezTo>
                    <a:pt x="3145631" y="214789"/>
                    <a:pt x="3144679" y="211931"/>
                    <a:pt x="3143726" y="210026"/>
                  </a:cubicBezTo>
                  <a:cubicBezTo>
                    <a:pt x="3141821" y="205264"/>
                    <a:pt x="3139916" y="201454"/>
                    <a:pt x="3138964" y="196691"/>
                  </a:cubicBezTo>
                  <a:cubicBezTo>
                    <a:pt x="3137059" y="190024"/>
                    <a:pt x="3136106" y="184309"/>
                    <a:pt x="3134201" y="179546"/>
                  </a:cubicBezTo>
                  <a:cubicBezTo>
                    <a:pt x="3129439" y="164306"/>
                    <a:pt x="3126581" y="155734"/>
                    <a:pt x="3126581" y="155734"/>
                  </a:cubicBezTo>
                  <a:cubicBezTo>
                    <a:pt x="3126581" y="155734"/>
                    <a:pt x="3127534" y="161449"/>
                    <a:pt x="3129439" y="172879"/>
                  </a:cubicBezTo>
                  <a:cubicBezTo>
                    <a:pt x="3125629" y="164306"/>
                    <a:pt x="3121819" y="155734"/>
                    <a:pt x="3118961" y="150019"/>
                  </a:cubicBezTo>
                  <a:cubicBezTo>
                    <a:pt x="3116104" y="144304"/>
                    <a:pt x="3114199" y="139541"/>
                    <a:pt x="3112294" y="136684"/>
                  </a:cubicBezTo>
                  <a:cubicBezTo>
                    <a:pt x="3108484" y="128111"/>
                    <a:pt x="3105626" y="120491"/>
                    <a:pt x="3102769" y="113824"/>
                  </a:cubicBezTo>
                  <a:cubicBezTo>
                    <a:pt x="3095149" y="96679"/>
                    <a:pt x="3090386" y="87154"/>
                    <a:pt x="3090386" y="87154"/>
                  </a:cubicBezTo>
                  <a:cubicBezTo>
                    <a:pt x="3090386" y="87154"/>
                    <a:pt x="3093244" y="97631"/>
                    <a:pt x="3099911" y="114776"/>
                  </a:cubicBezTo>
                  <a:cubicBezTo>
                    <a:pt x="3102769" y="123349"/>
                    <a:pt x="3105626" y="133826"/>
                    <a:pt x="3109436" y="146209"/>
                  </a:cubicBezTo>
                  <a:cubicBezTo>
                    <a:pt x="3111341" y="152876"/>
                    <a:pt x="3113246" y="159544"/>
                    <a:pt x="3115151" y="167164"/>
                  </a:cubicBezTo>
                  <a:cubicBezTo>
                    <a:pt x="3111341" y="159544"/>
                    <a:pt x="3109436" y="155734"/>
                    <a:pt x="3109436" y="155734"/>
                  </a:cubicBezTo>
                  <a:cubicBezTo>
                    <a:pt x="3109436" y="155734"/>
                    <a:pt x="3111341" y="163354"/>
                    <a:pt x="3116104" y="176689"/>
                  </a:cubicBezTo>
                  <a:cubicBezTo>
                    <a:pt x="3118009" y="181451"/>
                    <a:pt x="3119914" y="188119"/>
                    <a:pt x="3121819" y="194786"/>
                  </a:cubicBezTo>
                  <a:cubicBezTo>
                    <a:pt x="3122771" y="200501"/>
                    <a:pt x="3124676" y="207169"/>
                    <a:pt x="3125629" y="213836"/>
                  </a:cubicBezTo>
                  <a:cubicBezTo>
                    <a:pt x="3124676" y="214789"/>
                    <a:pt x="3124676" y="215741"/>
                    <a:pt x="3123724" y="215741"/>
                  </a:cubicBezTo>
                  <a:cubicBezTo>
                    <a:pt x="3123724" y="212884"/>
                    <a:pt x="3122771" y="210979"/>
                    <a:pt x="3122771" y="210979"/>
                  </a:cubicBezTo>
                  <a:cubicBezTo>
                    <a:pt x="3122771" y="210979"/>
                    <a:pt x="3122771" y="212884"/>
                    <a:pt x="3122771" y="216694"/>
                  </a:cubicBezTo>
                  <a:cubicBezTo>
                    <a:pt x="3119914" y="219551"/>
                    <a:pt x="3117056" y="223361"/>
                    <a:pt x="3113246" y="228124"/>
                  </a:cubicBezTo>
                  <a:cubicBezTo>
                    <a:pt x="3113246" y="228124"/>
                    <a:pt x="3113246" y="228124"/>
                    <a:pt x="3113246" y="228124"/>
                  </a:cubicBezTo>
                  <a:cubicBezTo>
                    <a:pt x="3112294" y="213836"/>
                    <a:pt x="3111341" y="201454"/>
                    <a:pt x="3110389" y="191929"/>
                  </a:cubicBezTo>
                  <a:cubicBezTo>
                    <a:pt x="3109436" y="178594"/>
                    <a:pt x="3108484" y="171926"/>
                    <a:pt x="3108484" y="171926"/>
                  </a:cubicBezTo>
                  <a:cubicBezTo>
                    <a:pt x="3108484" y="171926"/>
                    <a:pt x="3107531" y="179546"/>
                    <a:pt x="3106579" y="192881"/>
                  </a:cubicBezTo>
                  <a:cubicBezTo>
                    <a:pt x="3105626" y="202406"/>
                    <a:pt x="3105626" y="213836"/>
                    <a:pt x="3104674" y="228124"/>
                  </a:cubicBezTo>
                  <a:cubicBezTo>
                    <a:pt x="3104674" y="228124"/>
                    <a:pt x="3104674" y="227171"/>
                    <a:pt x="3104674" y="227171"/>
                  </a:cubicBezTo>
                  <a:cubicBezTo>
                    <a:pt x="3099911" y="214789"/>
                    <a:pt x="3097054" y="208121"/>
                    <a:pt x="3097054" y="208121"/>
                  </a:cubicBezTo>
                  <a:cubicBezTo>
                    <a:pt x="3097054" y="208121"/>
                    <a:pt x="3098006" y="215741"/>
                    <a:pt x="3100864" y="228124"/>
                  </a:cubicBezTo>
                  <a:cubicBezTo>
                    <a:pt x="3101816" y="232886"/>
                    <a:pt x="3102769" y="238601"/>
                    <a:pt x="3103721" y="244316"/>
                  </a:cubicBezTo>
                  <a:cubicBezTo>
                    <a:pt x="3100864" y="248126"/>
                    <a:pt x="3098959" y="251936"/>
                    <a:pt x="3096101" y="255746"/>
                  </a:cubicBezTo>
                  <a:cubicBezTo>
                    <a:pt x="3093244" y="260509"/>
                    <a:pt x="3090386" y="264319"/>
                    <a:pt x="3087529" y="270034"/>
                  </a:cubicBezTo>
                  <a:cubicBezTo>
                    <a:pt x="3085624" y="263366"/>
                    <a:pt x="3083719" y="257651"/>
                    <a:pt x="3082766" y="252889"/>
                  </a:cubicBezTo>
                  <a:cubicBezTo>
                    <a:pt x="3078956" y="241459"/>
                    <a:pt x="3077051" y="233839"/>
                    <a:pt x="3077051" y="233839"/>
                  </a:cubicBezTo>
                  <a:cubicBezTo>
                    <a:pt x="3077051" y="233839"/>
                    <a:pt x="3078004" y="240506"/>
                    <a:pt x="3078956" y="252889"/>
                  </a:cubicBezTo>
                  <a:cubicBezTo>
                    <a:pt x="3078956" y="256699"/>
                    <a:pt x="3079909" y="260509"/>
                    <a:pt x="3079909" y="264319"/>
                  </a:cubicBezTo>
                  <a:cubicBezTo>
                    <a:pt x="3078956" y="261461"/>
                    <a:pt x="3078004" y="258604"/>
                    <a:pt x="3077051" y="255746"/>
                  </a:cubicBezTo>
                  <a:cubicBezTo>
                    <a:pt x="3076099" y="252889"/>
                    <a:pt x="3075146" y="250984"/>
                    <a:pt x="3074194" y="248126"/>
                  </a:cubicBezTo>
                  <a:cubicBezTo>
                    <a:pt x="3074194" y="246221"/>
                    <a:pt x="3074194" y="244316"/>
                    <a:pt x="3074194" y="242411"/>
                  </a:cubicBezTo>
                  <a:cubicBezTo>
                    <a:pt x="3074194" y="237649"/>
                    <a:pt x="3075146" y="232886"/>
                    <a:pt x="3075146" y="229076"/>
                  </a:cubicBezTo>
                  <a:cubicBezTo>
                    <a:pt x="3076099" y="226219"/>
                    <a:pt x="3077051" y="223361"/>
                    <a:pt x="3077051" y="220504"/>
                  </a:cubicBezTo>
                  <a:cubicBezTo>
                    <a:pt x="3080861" y="208121"/>
                    <a:pt x="3082766" y="197644"/>
                    <a:pt x="3086576" y="189071"/>
                  </a:cubicBezTo>
                  <a:cubicBezTo>
                    <a:pt x="3092291" y="171926"/>
                    <a:pt x="3096101" y="161449"/>
                    <a:pt x="3096101" y="161449"/>
                  </a:cubicBezTo>
                  <a:cubicBezTo>
                    <a:pt x="3096101" y="161449"/>
                    <a:pt x="3091339" y="170974"/>
                    <a:pt x="3083719" y="188119"/>
                  </a:cubicBezTo>
                  <a:cubicBezTo>
                    <a:pt x="3079909" y="196691"/>
                    <a:pt x="3076099" y="207169"/>
                    <a:pt x="3071336" y="218599"/>
                  </a:cubicBezTo>
                  <a:cubicBezTo>
                    <a:pt x="3070384" y="220504"/>
                    <a:pt x="3069431" y="222409"/>
                    <a:pt x="3068479" y="224314"/>
                  </a:cubicBezTo>
                  <a:cubicBezTo>
                    <a:pt x="3068479" y="221456"/>
                    <a:pt x="3068479" y="218599"/>
                    <a:pt x="3068479" y="216694"/>
                  </a:cubicBezTo>
                  <a:cubicBezTo>
                    <a:pt x="3068479" y="213836"/>
                    <a:pt x="3069431" y="211931"/>
                    <a:pt x="3069431" y="209074"/>
                  </a:cubicBezTo>
                  <a:cubicBezTo>
                    <a:pt x="3070384" y="198596"/>
                    <a:pt x="3071336" y="189071"/>
                    <a:pt x="3072289" y="181451"/>
                  </a:cubicBezTo>
                  <a:cubicBezTo>
                    <a:pt x="3073241" y="166211"/>
                    <a:pt x="3073241" y="157639"/>
                    <a:pt x="3073241" y="157639"/>
                  </a:cubicBezTo>
                  <a:cubicBezTo>
                    <a:pt x="3073241" y="157639"/>
                    <a:pt x="3071336" y="166211"/>
                    <a:pt x="3067526" y="180499"/>
                  </a:cubicBezTo>
                  <a:cubicBezTo>
                    <a:pt x="3067526" y="181451"/>
                    <a:pt x="3067526" y="182404"/>
                    <a:pt x="3066574" y="183356"/>
                  </a:cubicBezTo>
                  <a:cubicBezTo>
                    <a:pt x="3065621" y="169069"/>
                    <a:pt x="3065621" y="157639"/>
                    <a:pt x="3064669" y="148114"/>
                  </a:cubicBezTo>
                  <a:cubicBezTo>
                    <a:pt x="3064669" y="146209"/>
                    <a:pt x="3064669" y="145256"/>
                    <a:pt x="3064669" y="145256"/>
                  </a:cubicBezTo>
                  <a:cubicBezTo>
                    <a:pt x="3064669" y="145256"/>
                    <a:pt x="3064669" y="145256"/>
                    <a:pt x="3064669" y="146209"/>
                  </a:cubicBezTo>
                  <a:cubicBezTo>
                    <a:pt x="3063716" y="136684"/>
                    <a:pt x="3063716" y="131921"/>
                    <a:pt x="3063716" y="131921"/>
                  </a:cubicBezTo>
                  <a:cubicBezTo>
                    <a:pt x="3063716" y="131921"/>
                    <a:pt x="3061811" y="148114"/>
                    <a:pt x="3058954" y="174784"/>
                  </a:cubicBezTo>
                  <a:cubicBezTo>
                    <a:pt x="3058001" y="179546"/>
                    <a:pt x="3057049" y="185261"/>
                    <a:pt x="3056096" y="190976"/>
                  </a:cubicBezTo>
                  <a:cubicBezTo>
                    <a:pt x="3055144" y="193834"/>
                    <a:pt x="3055144" y="197644"/>
                    <a:pt x="3054191" y="201454"/>
                  </a:cubicBezTo>
                  <a:cubicBezTo>
                    <a:pt x="3052286" y="196691"/>
                    <a:pt x="3050381" y="192881"/>
                    <a:pt x="3049429" y="189071"/>
                  </a:cubicBezTo>
                  <a:cubicBezTo>
                    <a:pt x="3049429" y="189071"/>
                    <a:pt x="3049429" y="189071"/>
                    <a:pt x="3049429" y="188119"/>
                  </a:cubicBezTo>
                  <a:cubicBezTo>
                    <a:pt x="3052286" y="174784"/>
                    <a:pt x="3053239" y="162401"/>
                    <a:pt x="3056096" y="151924"/>
                  </a:cubicBezTo>
                  <a:cubicBezTo>
                    <a:pt x="3060859" y="131921"/>
                    <a:pt x="3062764" y="120491"/>
                    <a:pt x="3062764" y="120491"/>
                  </a:cubicBezTo>
                  <a:cubicBezTo>
                    <a:pt x="3062764" y="120491"/>
                    <a:pt x="3058954" y="130969"/>
                    <a:pt x="3052286" y="150971"/>
                  </a:cubicBezTo>
                  <a:cubicBezTo>
                    <a:pt x="3048476" y="160496"/>
                    <a:pt x="3045619" y="172879"/>
                    <a:pt x="3041809" y="186214"/>
                  </a:cubicBezTo>
                  <a:cubicBezTo>
                    <a:pt x="3039904" y="192881"/>
                    <a:pt x="3037999" y="200501"/>
                    <a:pt x="3036094" y="208121"/>
                  </a:cubicBezTo>
                  <a:cubicBezTo>
                    <a:pt x="3035141" y="210979"/>
                    <a:pt x="3035141" y="213836"/>
                    <a:pt x="3034189" y="215741"/>
                  </a:cubicBezTo>
                  <a:cubicBezTo>
                    <a:pt x="3033236" y="211931"/>
                    <a:pt x="3032284" y="209074"/>
                    <a:pt x="3032284" y="205264"/>
                  </a:cubicBezTo>
                  <a:cubicBezTo>
                    <a:pt x="3038951" y="181451"/>
                    <a:pt x="3044666" y="162401"/>
                    <a:pt x="3048476" y="148114"/>
                  </a:cubicBezTo>
                  <a:cubicBezTo>
                    <a:pt x="3053239" y="131921"/>
                    <a:pt x="3057049" y="123349"/>
                    <a:pt x="3057049" y="123349"/>
                  </a:cubicBezTo>
                  <a:cubicBezTo>
                    <a:pt x="3057049" y="123349"/>
                    <a:pt x="3056096" y="125254"/>
                    <a:pt x="3054191" y="129064"/>
                  </a:cubicBezTo>
                  <a:cubicBezTo>
                    <a:pt x="3052286" y="132874"/>
                    <a:pt x="3049429" y="138589"/>
                    <a:pt x="3045619" y="146209"/>
                  </a:cubicBezTo>
                  <a:cubicBezTo>
                    <a:pt x="3040856" y="155734"/>
                    <a:pt x="3035141" y="169069"/>
                    <a:pt x="3029426" y="184309"/>
                  </a:cubicBezTo>
                  <a:cubicBezTo>
                    <a:pt x="3029426" y="177641"/>
                    <a:pt x="3028474" y="171926"/>
                    <a:pt x="3029426" y="167164"/>
                  </a:cubicBezTo>
                  <a:cubicBezTo>
                    <a:pt x="3030379" y="150019"/>
                    <a:pt x="3030379" y="140494"/>
                    <a:pt x="3030379" y="140494"/>
                  </a:cubicBezTo>
                  <a:cubicBezTo>
                    <a:pt x="3030379" y="140494"/>
                    <a:pt x="3028474" y="150019"/>
                    <a:pt x="3025616" y="166211"/>
                  </a:cubicBezTo>
                  <a:cubicBezTo>
                    <a:pt x="3023711" y="174784"/>
                    <a:pt x="3023711" y="184309"/>
                    <a:pt x="3022759" y="196691"/>
                  </a:cubicBezTo>
                  <a:cubicBezTo>
                    <a:pt x="3022759" y="198596"/>
                    <a:pt x="3022759" y="200501"/>
                    <a:pt x="3022759" y="202406"/>
                  </a:cubicBezTo>
                  <a:cubicBezTo>
                    <a:pt x="3021806" y="205264"/>
                    <a:pt x="3020854" y="208121"/>
                    <a:pt x="3019901" y="210979"/>
                  </a:cubicBezTo>
                  <a:cubicBezTo>
                    <a:pt x="3017044" y="218599"/>
                    <a:pt x="3014186" y="226219"/>
                    <a:pt x="3011329" y="234791"/>
                  </a:cubicBezTo>
                  <a:cubicBezTo>
                    <a:pt x="3009424" y="230981"/>
                    <a:pt x="3008471" y="228124"/>
                    <a:pt x="3007519" y="226219"/>
                  </a:cubicBezTo>
                  <a:cubicBezTo>
                    <a:pt x="3009424" y="219551"/>
                    <a:pt x="3011329" y="215741"/>
                    <a:pt x="3011329" y="215741"/>
                  </a:cubicBezTo>
                  <a:cubicBezTo>
                    <a:pt x="3011329" y="215741"/>
                    <a:pt x="3009424" y="218599"/>
                    <a:pt x="3006566" y="222409"/>
                  </a:cubicBezTo>
                  <a:cubicBezTo>
                    <a:pt x="3004661" y="215741"/>
                    <a:pt x="3003709" y="209074"/>
                    <a:pt x="3001804" y="202406"/>
                  </a:cubicBezTo>
                  <a:cubicBezTo>
                    <a:pt x="3001804" y="200501"/>
                    <a:pt x="3000851" y="199549"/>
                    <a:pt x="3000851" y="197644"/>
                  </a:cubicBezTo>
                  <a:cubicBezTo>
                    <a:pt x="3001804" y="194786"/>
                    <a:pt x="3002756" y="191929"/>
                    <a:pt x="3003709" y="189071"/>
                  </a:cubicBezTo>
                  <a:cubicBezTo>
                    <a:pt x="3006566" y="179546"/>
                    <a:pt x="3008471" y="170974"/>
                    <a:pt x="3011329" y="164306"/>
                  </a:cubicBezTo>
                  <a:cubicBezTo>
                    <a:pt x="3016091" y="150971"/>
                    <a:pt x="3018949" y="142399"/>
                    <a:pt x="3018949" y="142399"/>
                  </a:cubicBezTo>
                  <a:cubicBezTo>
                    <a:pt x="3018949" y="142399"/>
                    <a:pt x="3015139" y="150019"/>
                    <a:pt x="3007519" y="162401"/>
                  </a:cubicBezTo>
                  <a:cubicBezTo>
                    <a:pt x="3004661" y="168116"/>
                    <a:pt x="3001804" y="174784"/>
                    <a:pt x="2997994" y="182404"/>
                  </a:cubicBezTo>
                  <a:cubicBezTo>
                    <a:pt x="2997041" y="177641"/>
                    <a:pt x="2996089" y="172879"/>
                    <a:pt x="2995136" y="169069"/>
                  </a:cubicBezTo>
                  <a:cubicBezTo>
                    <a:pt x="3002756" y="140494"/>
                    <a:pt x="3009424" y="117634"/>
                    <a:pt x="3014186" y="100489"/>
                  </a:cubicBezTo>
                  <a:cubicBezTo>
                    <a:pt x="3017044" y="90011"/>
                    <a:pt x="3019901" y="82391"/>
                    <a:pt x="3021806" y="76676"/>
                  </a:cubicBezTo>
                  <a:cubicBezTo>
                    <a:pt x="3023711" y="70961"/>
                    <a:pt x="3024664" y="68104"/>
                    <a:pt x="3024664" y="68104"/>
                  </a:cubicBezTo>
                  <a:cubicBezTo>
                    <a:pt x="3024664" y="68104"/>
                    <a:pt x="3023711" y="70961"/>
                    <a:pt x="3020854" y="75724"/>
                  </a:cubicBezTo>
                  <a:cubicBezTo>
                    <a:pt x="3017996" y="80486"/>
                    <a:pt x="3015139" y="88106"/>
                    <a:pt x="3010376" y="98584"/>
                  </a:cubicBezTo>
                  <a:cubicBezTo>
                    <a:pt x="3006566" y="108109"/>
                    <a:pt x="3001804" y="120491"/>
                    <a:pt x="2996089" y="134779"/>
                  </a:cubicBezTo>
                  <a:cubicBezTo>
                    <a:pt x="2994184" y="139541"/>
                    <a:pt x="2993231" y="143351"/>
                    <a:pt x="2991326" y="148114"/>
                  </a:cubicBezTo>
                  <a:cubicBezTo>
                    <a:pt x="2989421" y="138589"/>
                    <a:pt x="2988469" y="130016"/>
                    <a:pt x="2987516" y="122396"/>
                  </a:cubicBezTo>
                  <a:cubicBezTo>
                    <a:pt x="2985611" y="103346"/>
                    <a:pt x="2984659" y="91916"/>
                    <a:pt x="2984659" y="91916"/>
                  </a:cubicBezTo>
                  <a:cubicBezTo>
                    <a:pt x="2984659" y="91916"/>
                    <a:pt x="2984659" y="103346"/>
                    <a:pt x="2983706" y="122396"/>
                  </a:cubicBezTo>
                  <a:cubicBezTo>
                    <a:pt x="2983706" y="131921"/>
                    <a:pt x="2984659" y="144304"/>
                    <a:pt x="2985611" y="157639"/>
                  </a:cubicBezTo>
                  <a:cubicBezTo>
                    <a:pt x="2985611" y="159544"/>
                    <a:pt x="2985611" y="161449"/>
                    <a:pt x="2985611" y="163354"/>
                  </a:cubicBezTo>
                  <a:cubicBezTo>
                    <a:pt x="2983706" y="169069"/>
                    <a:pt x="2981801" y="175736"/>
                    <a:pt x="2978944" y="182404"/>
                  </a:cubicBezTo>
                  <a:cubicBezTo>
                    <a:pt x="2973229" y="199549"/>
                    <a:pt x="2967514" y="218599"/>
                    <a:pt x="2960846" y="238601"/>
                  </a:cubicBezTo>
                  <a:cubicBezTo>
                    <a:pt x="2959894" y="236696"/>
                    <a:pt x="2959894" y="234791"/>
                    <a:pt x="2959894" y="234791"/>
                  </a:cubicBezTo>
                  <a:cubicBezTo>
                    <a:pt x="2959894" y="234791"/>
                    <a:pt x="2959894" y="236696"/>
                    <a:pt x="2960846" y="239554"/>
                  </a:cubicBezTo>
                  <a:cubicBezTo>
                    <a:pt x="2957036" y="250984"/>
                    <a:pt x="2954179" y="262414"/>
                    <a:pt x="2950369" y="274796"/>
                  </a:cubicBezTo>
                  <a:cubicBezTo>
                    <a:pt x="2951321" y="268129"/>
                    <a:pt x="2952274" y="264319"/>
                    <a:pt x="2952274" y="264319"/>
                  </a:cubicBezTo>
                  <a:cubicBezTo>
                    <a:pt x="2952274" y="264319"/>
                    <a:pt x="2949416" y="271939"/>
                    <a:pt x="2944654" y="284321"/>
                  </a:cubicBezTo>
                  <a:cubicBezTo>
                    <a:pt x="2944654" y="284321"/>
                    <a:pt x="2944654" y="283369"/>
                    <a:pt x="2944654" y="283369"/>
                  </a:cubicBezTo>
                  <a:cubicBezTo>
                    <a:pt x="2944654" y="281464"/>
                    <a:pt x="2944654" y="279559"/>
                    <a:pt x="2945606" y="277654"/>
                  </a:cubicBezTo>
                  <a:cubicBezTo>
                    <a:pt x="2947511" y="263366"/>
                    <a:pt x="2948464" y="250984"/>
                    <a:pt x="2949416" y="238601"/>
                  </a:cubicBezTo>
                  <a:cubicBezTo>
                    <a:pt x="2950369" y="232886"/>
                    <a:pt x="2950369" y="226219"/>
                    <a:pt x="2951321" y="221456"/>
                  </a:cubicBezTo>
                  <a:cubicBezTo>
                    <a:pt x="2952274" y="215741"/>
                    <a:pt x="2953226" y="210979"/>
                    <a:pt x="2953226" y="205264"/>
                  </a:cubicBezTo>
                  <a:cubicBezTo>
                    <a:pt x="2954179" y="195739"/>
                    <a:pt x="2955131" y="186214"/>
                    <a:pt x="2956084" y="179546"/>
                  </a:cubicBezTo>
                  <a:cubicBezTo>
                    <a:pt x="2957989" y="165259"/>
                    <a:pt x="2958941" y="156686"/>
                    <a:pt x="2958941" y="156686"/>
                  </a:cubicBezTo>
                  <a:cubicBezTo>
                    <a:pt x="2958941" y="156686"/>
                    <a:pt x="2957036" y="164306"/>
                    <a:pt x="2952274" y="178594"/>
                  </a:cubicBezTo>
                  <a:cubicBezTo>
                    <a:pt x="2950369" y="185261"/>
                    <a:pt x="2948464" y="193834"/>
                    <a:pt x="2945606" y="203359"/>
                  </a:cubicBezTo>
                  <a:cubicBezTo>
                    <a:pt x="2944654" y="208121"/>
                    <a:pt x="2942749" y="212884"/>
                    <a:pt x="2941796" y="218599"/>
                  </a:cubicBezTo>
                  <a:cubicBezTo>
                    <a:pt x="2940844" y="224314"/>
                    <a:pt x="2939891" y="230029"/>
                    <a:pt x="2937986" y="235744"/>
                  </a:cubicBezTo>
                  <a:cubicBezTo>
                    <a:pt x="2936081" y="246221"/>
                    <a:pt x="2933224" y="257651"/>
                    <a:pt x="2931319" y="270034"/>
                  </a:cubicBezTo>
                  <a:cubicBezTo>
                    <a:pt x="2930366" y="266224"/>
                    <a:pt x="2930366" y="263366"/>
                    <a:pt x="2929414" y="260509"/>
                  </a:cubicBezTo>
                  <a:cubicBezTo>
                    <a:pt x="2929414" y="258604"/>
                    <a:pt x="2928461" y="257651"/>
                    <a:pt x="2928461" y="256699"/>
                  </a:cubicBezTo>
                  <a:cubicBezTo>
                    <a:pt x="2930366" y="253841"/>
                    <a:pt x="2931319" y="251936"/>
                    <a:pt x="2931319" y="251936"/>
                  </a:cubicBezTo>
                  <a:cubicBezTo>
                    <a:pt x="2931319" y="251936"/>
                    <a:pt x="2930366" y="252889"/>
                    <a:pt x="2927509" y="254794"/>
                  </a:cubicBezTo>
                  <a:cubicBezTo>
                    <a:pt x="2926556" y="251936"/>
                    <a:pt x="2925604" y="249079"/>
                    <a:pt x="2925604" y="247174"/>
                  </a:cubicBezTo>
                  <a:cubicBezTo>
                    <a:pt x="2929414" y="237649"/>
                    <a:pt x="2931319" y="231934"/>
                    <a:pt x="2931319" y="231934"/>
                  </a:cubicBezTo>
                  <a:cubicBezTo>
                    <a:pt x="2931319" y="231934"/>
                    <a:pt x="2928461" y="235744"/>
                    <a:pt x="2924651" y="243364"/>
                  </a:cubicBezTo>
                  <a:cubicBezTo>
                    <a:pt x="2923699" y="241459"/>
                    <a:pt x="2923699" y="239554"/>
                    <a:pt x="2922746" y="237649"/>
                  </a:cubicBezTo>
                  <a:lnTo>
                    <a:pt x="2922746" y="236696"/>
                  </a:lnTo>
                  <a:lnTo>
                    <a:pt x="2921794" y="236696"/>
                  </a:lnTo>
                  <a:cubicBezTo>
                    <a:pt x="2919889" y="236696"/>
                    <a:pt x="2917984" y="236696"/>
                    <a:pt x="2916079" y="236696"/>
                  </a:cubicBezTo>
                  <a:lnTo>
                    <a:pt x="2916079" y="236696"/>
                  </a:lnTo>
                  <a:cubicBezTo>
                    <a:pt x="2928461" y="200501"/>
                    <a:pt x="2935129" y="176689"/>
                    <a:pt x="2935129" y="176689"/>
                  </a:cubicBezTo>
                  <a:cubicBezTo>
                    <a:pt x="2935129" y="176689"/>
                    <a:pt x="2924651" y="196691"/>
                    <a:pt x="2909411" y="230029"/>
                  </a:cubicBezTo>
                  <a:cubicBezTo>
                    <a:pt x="2907506" y="222409"/>
                    <a:pt x="2904649" y="216694"/>
                    <a:pt x="2902744" y="211931"/>
                  </a:cubicBezTo>
                  <a:cubicBezTo>
                    <a:pt x="2901791" y="206216"/>
                    <a:pt x="2900839" y="201454"/>
                    <a:pt x="2900839" y="195739"/>
                  </a:cubicBezTo>
                  <a:cubicBezTo>
                    <a:pt x="2899886" y="188119"/>
                    <a:pt x="2898934" y="180499"/>
                    <a:pt x="2897981" y="173831"/>
                  </a:cubicBezTo>
                  <a:cubicBezTo>
                    <a:pt x="2897029" y="167164"/>
                    <a:pt x="2897029" y="160496"/>
                    <a:pt x="2896076" y="153829"/>
                  </a:cubicBezTo>
                  <a:cubicBezTo>
                    <a:pt x="2895124" y="141446"/>
                    <a:pt x="2894171" y="130969"/>
                    <a:pt x="2893219" y="121444"/>
                  </a:cubicBezTo>
                  <a:cubicBezTo>
                    <a:pt x="2891314" y="103346"/>
                    <a:pt x="2890361" y="93821"/>
                    <a:pt x="2890361" y="93821"/>
                  </a:cubicBezTo>
                  <a:cubicBezTo>
                    <a:pt x="2890361" y="93821"/>
                    <a:pt x="2890361" y="104299"/>
                    <a:pt x="2889409" y="121444"/>
                  </a:cubicBezTo>
                  <a:cubicBezTo>
                    <a:pt x="2889409" y="130016"/>
                    <a:pt x="2889409" y="141446"/>
                    <a:pt x="2889409" y="153829"/>
                  </a:cubicBezTo>
                  <a:cubicBezTo>
                    <a:pt x="2889409" y="160496"/>
                    <a:pt x="2889409" y="166211"/>
                    <a:pt x="2889409" y="173831"/>
                  </a:cubicBezTo>
                  <a:cubicBezTo>
                    <a:pt x="2889409" y="180499"/>
                    <a:pt x="2890361" y="188119"/>
                    <a:pt x="2890361" y="195739"/>
                  </a:cubicBezTo>
                  <a:cubicBezTo>
                    <a:pt x="2890361" y="200501"/>
                    <a:pt x="2891314" y="206216"/>
                    <a:pt x="2891314" y="211931"/>
                  </a:cubicBezTo>
                  <a:cubicBezTo>
                    <a:pt x="2890361" y="213836"/>
                    <a:pt x="2889409" y="215741"/>
                    <a:pt x="2887504" y="217646"/>
                  </a:cubicBezTo>
                  <a:cubicBezTo>
                    <a:pt x="2886551" y="218599"/>
                    <a:pt x="2885599" y="220504"/>
                    <a:pt x="2885599" y="221456"/>
                  </a:cubicBezTo>
                  <a:cubicBezTo>
                    <a:pt x="2883694" y="212884"/>
                    <a:pt x="2882741" y="204311"/>
                    <a:pt x="2880836" y="195739"/>
                  </a:cubicBezTo>
                  <a:cubicBezTo>
                    <a:pt x="2878931" y="185261"/>
                    <a:pt x="2877026" y="174784"/>
                    <a:pt x="2874169" y="166211"/>
                  </a:cubicBezTo>
                  <a:cubicBezTo>
                    <a:pt x="2872264" y="157639"/>
                    <a:pt x="2870359" y="150019"/>
                    <a:pt x="2867501" y="144304"/>
                  </a:cubicBezTo>
                  <a:cubicBezTo>
                    <a:pt x="2863691" y="131921"/>
                    <a:pt x="2860834" y="125254"/>
                    <a:pt x="2860834" y="125254"/>
                  </a:cubicBezTo>
                  <a:cubicBezTo>
                    <a:pt x="2860834" y="125254"/>
                    <a:pt x="2861786" y="132874"/>
                    <a:pt x="2863691" y="145256"/>
                  </a:cubicBezTo>
                  <a:cubicBezTo>
                    <a:pt x="2864644" y="151924"/>
                    <a:pt x="2865596" y="159544"/>
                    <a:pt x="2866549" y="168116"/>
                  </a:cubicBezTo>
                  <a:cubicBezTo>
                    <a:pt x="2867501" y="176689"/>
                    <a:pt x="2868454" y="187166"/>
                    <a:pt x="2869406" y="197644"/>
                  </a:cubicBezTo>
                  <a:cubicBezTo>
                    <a:pt x="2870359" y="208121"/>
                    <a:pt x="2871311" y="220504"/>
                    <a:pt x="2872264" y="232886"/>
                  </a:cubicBezTo>
                  <a:cubicBezTo>
                    <a:pt x="2872264" y="237649"/>
                    <a:pt x="2873216" y="242411"/>
                    <a:pt x="2873216" y="247174"/>
                  </a:cubicBezTo>
                  <a:cubicBezTo>
                    <a:pt x="2870359" y="253841"/>
                    <a:pt x="2867501" y="262414"/>
                    <a:pt x="2864644" y="270034"/>
                  </a:cubicBezTo>
                  <a:cubicBezTo>
                    <a:pt x="2863691" y="270986"/>
                    <a:pt x="2863691" y="272891"/>
                    <a:pt x="2863691" y="274796"/>
                  </a:cubicBezTo>
                  <a:cubicBezTo>
                    <a:pt x="2860834" y="269081"/>
                    <a:pt x="2857976" y="263366"/>
                    <a:pt x="2855119" y="257651"/>
                  </a:cubicBezTo>
                  <a:cubicBezTo>
                    <a:pt x="2850356" y="248126"/>
                    <a:pt x="2845594" y="239554"/>
                    <a:pt x="2841784" y="230029"/>
                  </a:cubicBezTo>
                  <a:cubicBezTo>
                    <a:pt x="2855119" y="229076"/>
                    <a:pt x="2855119" y="226219"/>
                    <a:pt x="2855119" y="226219"/>
                  </a:cubicBezTo>
                  <a:cubicBezTo>
                    <a:pt x="2855119" y="226219"/>
                    <a:pt x="2854166" y="228124"/>
                    <a:pt x="2853214" y="231934"/>
                  </a:cubicBezTo>
                  <a:cubicBezTo>
                    <a:pt x="2849404" y="224314"/>
                    <a:pt x="2844641" y="215741"/>
                    <a:pt x="2840831" y="209074"/>
                  </a:cubicBezTo>
                  <a:cubicBezTo>
                    <a:pt x="2857024" y="174784"/>
                    <a:pt x="2866549" y="150971"/>
                    <a:pt x="2866549" y="150971"/>
                  </a:cubicBezTo>
                  <a:cubicBezTo>
                    <a:pt x="2866549" y="150971"/>
                    <a:pt x="2853214" y="169069"/>
                    <a:pt x="2835116" y="198596"/>
                  </a:cubicBezTo>
                  <a:cubicBezTo>
                    <a:pt x="2833211" y="194786"/>
                    <a:pt x="2831306" y="191929"/>
                    <a:pt x="2829401" y="188119"/>
                  </a:cubicBezTo>
                  <a:cubicBezTo>
                    <a:pt x="2826544" y="170021"/>
                    <a:pt x="2823686" y="151924"/>
                    <a:pt x="2820829" y="132874"/>
                  </a:cubicBezTo>
                  <a:cubicBezTo>
                    <a:pt x="2820829" y="146209"/>
                    <a:pt x="2820829" y="160496"/>
                    <a:pt x="2821781" y="173831"/>
                  </a:cubicBezTo>
                  <a:cubicBezTo>
                    <a:pt x="2817019" y="166211"/>
                    <a:pt x="2812256" y="158591"/>
                    <a:pt x="2807494" y="151924"/>
                  </a:cubicBezTo>
                  <a:cubicBezTo>
                    <a:pt x="2797969" y="137636"/>
                    <a:pt x="2790349" y="125254"/>
                    <a:pt x="2782729" y="115729"/>
                  </a:cubicBezTo>
                  <a:cubicBezTo>
                    <a:pt x="2768441" y="95726"/>
                    <a:pt x="2759869" y="85249"/>
                    <a:pt x="2759869" y="85249"/>
                  </a:cubicBezTo>
                  <a:cubicBezTo>
                    <a:pt x="2759869" y="85249"/>
                    <a:pt x="2766536" y="97631"/>
                    <a:pt x="2778919" y="118586"/>
                  </a:cubicBezTo>
                  <a:cubicBezTo>
                    <a:pt x="2785586" y="129064"/>
                    <a:pt x="2792254" y="142399"/>
                    <a:pt x="2799874" y="156686"/>
                  </a:cubicBezTo>
                  <a:cubicBezTo>
                    <a:pt x="2803684" y="164306"/>
                    <a:pt x="2808446" y="171926"/>
                    <a:pt x="2812256" y="180499"/>
                  </a:cubicBezTo>
                  <a:cubicBezTo>
                    <a:pt x="2815114" y="186214"/>
                    <a:pt x="2817971" y="191929"/>
                    <a:pt x="2820829" y="197644"/>
                  </a:cubicBezTo>
                  <a:cubicBezTo>
                    <a:pt x="2820829" y="199549"/>
                    <a:pt x="2820829" y="202406"/>
                    <a:pt x="2820829" y="204311"/>
                  </a:cubicBezTo>
                  <a:cubicBezTo>
                    <a:pt x="2820829" y="209074"/>
                    <a:pt x="2821781" y="213836"/>
                    <a:pt x="2821781" y="218599"/>
                  </a:cubicBezTo>
                  <a:cubicBezTo>
                    <a:pt x="2819876" y="221456"/>
                    <a:pt x="2818924" y="224314"/>
                    <a:pt x="2817019" y="227171"/>
                  </a:cubicBezTo>
                  <a:cubicBezTo>
                    <a:pt x="2813209" y="222409"/>
                    <a:pt x="2810351" y="216694"/>
                    <a:pt x="2806541" y="211931"/>
                  </a:cubicBezTo>
                  <a:cubicBezTo>
                    <a:pt x="2806541" y="210979"/>
                    <a:pt x="2805589" y="210979"/>
                    <a:pt x="2805589" y="210026"/>
                  </a:cubicBezTo>
                  <a:cubicBezTo>
                    <a:pt x="2806541" y="209074"/>
                    <a:pt x="2806541" y="208121"/>
                    <a:pt x="2806541" y="208121"/>
                  </a:cubicBezTo>
                  <a:cubicBezTo>
                    <a:pt x="2806541" y="208121"/>
                    <a:pt x="2806541" y="208121"/>
                    <a:pt x="2805589" y="209074"/>
                  </a:cubicBezTo>
                  <a:cubicBezTo>
                    <a:pt x="2800826" y="202406"/>
                    <a:pt x="2796064" y="196691"/>
                    <a:pt x="2792254" y="191929"/>
                  </a:cubicBezTo>
                  <a:cubicBezTo>
                    <a:pt x="2782729" y="179546"/>
                    <a:pt x="2775109" y="169069"/>
                    <a:pt x="2767489" y="161449"/>
                  </a:cubicBezTo>
                  <a:cubicBezTo>
                    <a:pt x="2766536" y="160496"/>
                    <a:pt x="2766536" y="159544"/>
                    <a:pt x="2765584" y="158591"/>
                  </a:cubicBezTo>
                  <a:cubicBezTo>
                    <a:pt x="2765584" y="157639"/>
                    <a:pt x="2765584" y="156686"/>
                    <a:pt x="2765584" y="155734"/>
                  </a:cubicBezTo>
                  <a:cubicBezTo>
                    <a:pt x="2764631" y="145256"/>
                    <a:pt x="2762726" y="135731"/>
                    <a:pt x="2762726" y="128111"/>
                  </a:cubicBezTo>
                  <a:cubicBezTo>
                    <a:pt x="2760821" y="112871"/>
                    <a:pt x="2759869" y="103346"/>
                    <a:pt x="2759869" y="103346"/>
                  </a:cubicBezTo>
                  <a:cubicBezTo>
                    <a:pt x="2759869" y="103346"/>
                    <a:pt x="2759869" y="111919"/>
                    <a:pt x="2758916" y="128111"/>
                  </a:cubicBezTo>
                  <a:cubicBezTo>
                    <a:pt x="2758916" y="134779"/>
                    <a:pt x="2758916" y="141446"/>
                    <a:pt x="2758916" y="150019"/>
                  </a:cubicBezTo>
                  <a:cubicBezTo>
                    <a:pt x="2750344" y="140494"/>
                    <a:pt x="2745581" y="135731"/>
                    <a:pt x="2745581" y="135731"/>
                  </a:cubicBezTo>
                  <a:cubicBezTo>
                    <a:pt x="2745581" y="135731"/>
                    <a:pt x="2750344" y="142399"/>
                    <a:pt x="2758916" y="153829"/>
                  </a:cubicBezTo>
                  <a:cubicBezTo>
                    <a:pt x="2758916" y="154781"/>
                    <a:pt x="2758916" y="155734"/>
                    <a:pt x="2758916" y="155734"/>
                  </a:cubicBezTo>
                  <a:cubicBezTo>
                    <a:pt x="2758916" y="161449"/>
                    <a:pt x="2758916" y="167164"/>
                    <a:pt x="2758916" y="172879"/>
                  </a:cubicBezTo>
                  <a:cubicBezTo>
                    <a:pt x="2758916" y="178594"/>
                    <a:pt x="2759869" y="185261"/>
                    <a:pt x="2759869" y="191929"/>
                  </a:cubicBezTo>
                  <a:cubicBezTo>
                    <a:pt x="2759869" y="200501"/>
                    <a:pt x="2760821" y="210026"/>
                    <a:pt x="2761774" y="219551"/>
                  </a:cubicBezTo>
                  <a:cubicBezTo>
                    <a:pt x="2761774" y="218599"/>
                    <a:pt x="2760821" y="217646"/>
                    <a:pt x="2760821" y="217646"/>
                  </a:cubicBezTo>
                  <a:cubicBezTo>
                    <a:pt x="2760821" y="216694"/>
                    <a:pt x="2760821" y="216694"/>
                    <a:pt x="2760821" y="216694"/>
                  </a:cubicBezTo>
                  <a:cubicBezTo>
                    <a:pt x="2760821" y="216694"/>
                    <a:pt x="2760821" y="216694"/>
                    <a:pt x="2760821" y="217646"/>
                  </a:cubicBezTo>
                  <a:cubicBezTo>
                    <a:pt x="2749391" y="189071"/>
                    <a:pt x="2741771" y="172879"/>
                    <a:pt x="2741771" y="172879"/>
                  </a:cubicBezTo>
                  <a:cubicBezTo>
                    <a:pt x="2741771" y="172879"/>
                    <a:pt x="2747486" y="193834"/>
                    <a:pt x="2757011" y="228124"/>
                  </a:cubicBezTo>
                  <a:cubicBezTo>
                    <a:pt x="2754154" y="236696"/>
                    <a:pt x="2749391" y="250984"/>
                    <a:pt x="2743676" y="268129"/>
                  </a:cubicBezTo>
                  <a:cubicBezTo>
                    <a:pt x="2740819" y="262414"/>
                    <a:pt x="2737961" y="258604"/>
                    <a:pt x="2736056" y="254794"/>
                  </a:cubicBezTo>
                  <a:cubicBezTo>
                    <a:pt x="2737009" y="241459"/>
                    <a:pt x="2737009" y="232886"/>
                    <a:pt x="2737009" y="232886"/>
                  </a:cubicBezTo>
                  <a:cubicBezTo>
                    <a:pt x="2737009" y="232886"/>
                    <a:pt x="2735104" y="238601"/>
                    <a:pt x="2732246" y="249079"/>
                  </a:cubicBezTo>
                  <a:cubicBezTo>
                    <a:pt x="2731294" y="247174"/>
                    <a:pt x="2730341" y="246221"/>
                    <a:pt x="2730341" y="246221"/>
                  </a:cubicBezTo>
                  <a:cubicBezTo>
                    <a:pt x="2730341" y="246221"/>
                    <a:pt x="2730341" y="247174"/>
                    <a:pt x="2731294" y="250031"/>
                  </a:cubicBezTo>
                  <a:cubicBezTo>
                    <a:pt x="2730341" y="252889"/>
                    <a:pt x="2730341" y="254794"/>
                    <a:pt x="2729389" y="258604"/>
                  </a:cubicBezTo>
                  <a:lnTo>
                    <a:pt x="2729389" y="247174"/>
                  </a:lnTo>
                  <a:lnTo>
                    <a:pt x="2731294" y="218599"/>
                  </a:lnTo>
                  <a:cubicBezTo>
                    <a:pt x="2732246" y="218599"/>
                    <a:pt x="2732246" y="218599"/>
                    <a:pt x="2733199" y="219551"/>
                  </a:cubicBezTo>
                  <a:cubicBezTo>
                    <a:pt x="2734151" y="220504"/>
                    <a:pt x="2735104" y="221456"/>
                    <a:pt x="2736056" y="222409"/>
                  </a:cubicBezTo>
                  <a:cubicBezTo>
                    <a:pt x="2737961" y="224314"/>
                    <a:pt x="2737961" y="228124"/>
                    <a:pt x="2738914" y="230981"/>
                  </a:cubicBezTo>
                  <a:cubicBezTo>
                    <a:pt x="2738914" y="228124"/>
                    <a:pt x="2738914" y="225266"/>
                    <a:pt x="2737961" y="222409"/>
                  </a:cubicBezTo>
                  <a:cubicBezTo>
                    <a:pt x="2737009" y="220504"/>
                    <a:pt x="2736056" y="219551"/>
                    <a:pt x="2735104" y="218599"/>
                  </a:cubicBezTo>
                  <a:cubicBezTo>
                    <a:pt x="2734151" y="217646"/>
                    <a:pt x="2732246" y="216694"/>
                    <a:pt x="2730341" y="216694"/>
                  </a:cubicBezTo>
                  <a:lnTo>
                    <a:pt x="2728436" y="216694"/>
                  </a:lnTo>
                  <a:lnTo>
                    <a:pt x="2728436" y="218599"/>
                  </a:lnTo>
                  <a:cubicBezTo>
                    <a:pt x="2726531" y="228124"/>
                    <a:pt x="2723674" y="238601"/>
                    <a:pt x="2721769" y="248126"/>
                  </a:cubicBezTo>
                  <a:cubicBezTo>
                    <a:pt x="2720816" y="251936"/>
                    <a:pt x="2720816" y="256699"/>
                    <a:pt x="2719864" y="260509"/>
                  </a:cubicBezTo>
                  <a:cubicBezTo>
                    <a:pt x="2718911" y="258604"/>
                    <a:pt x="2717959" y="256699"/>
                    <a:pt x="2717006" y="254794"/>
                  </a:cubicBezTo>
                  <a:cubicBezTo>
                    <a:pt x="2717006" y="254794"/>
                    <a:pt x="2717006" y="253841"/>
                    <a:pt x="2717006" y="253841"/>
                  </a:cubicBezTo>
                  <a:cubicBezTo>
                    <a:pt x="2717959" y="244316"/>
                    <a:pt x="2718911" y="238601"/>
                    <a:pt x="2718911" y="238601"/>
                  </a:cubicBezTo>
                  <a:cubicBezTo>
                    <a:pt x="2718911" y="238601"/>
                    <a:pt x="2717959" y="241459"/>
                    <a:pt x="2716054" y="247174"/>
                  </a:cubicBezTo>
                  <a:cubicBezTo>
                    <a:pt x="2717006" y="204311"/>
                    <a:pt x="2716054" y="176689"/>
                    <a:pt x="2716054" y="176689"/>
                  </a:cubicBezTo>
                  <a:cubicBezTo>
                    <a:pt x="2716054" y="176689"/>
                    <a:pt x="2715101" y="185261"/>
                    <a:pt x="2713196" y="198596"/>
                  </a:cubicBezTo>
                  <a:cubicBezTo>
                    <a:pt x="2712244" y="207169"/>
                    <a:pt x="2710339" y="217646"/>
                    <a:pt x="2709386" y="230029"/>
                  </a:cubicBezTo>
                  <a:cubicBezTo>
                    <a:pt x="2707481" y="226219"/>
                    <a:pt x="2706529" y="221456"/>
                    <a:pt x="2704624" y="218599"/>
                  </a:cubicBezTo>
                  <a:lnTo>
                    <a:pt x="2703671" y="199549"/>
                  </a:lnTo>
                  <a:lnTo>
                    <a:pt x="2703671" y="163354"/>
                  </a:lnTo>
                  <a:cubicBezTo>
                    <a:pt x="2704624" y="163354"/>
                    <a:pt x="2705576" y="163354"/>
                    <a:pt x="2706529" y="164306"/>
                  </a:cubicBezTo>
                  <a:cubicBezTo>
                    <a:pt x="2708434" y="165259"/>
                    <a:pt x="2709386" y="166211"/>
                    <a:pt x="2710339" y="167164"/>
                  </a:cubicBezTo>
                  <a:cubicBezTo>
                    <a:pt x="2712244" y="170021"/>
                    <a:pt x="2713196" y="173831"/>
                    <a:pt x="2714149" y="176689"/>
                  </a:cubicBezTo>
                  <a:cubicBezTo>
                    <a:pt x="2714149" y="172879"/>
                    <a:pt x="2713196" y="169069"/>
                    <a:pt x="2712244" y="166211"/>
                  </a:cubicBezTo>
                  <a:cubicBezTo>
                    <a:pt x="2711291" y="164306"/>
                    <a:pt x="2710339" y="163354"/>
                    <a:pt x="2708434" y="161449"/>
                  </a:cubicBezTo>
                  <a:cubicBezTo>
                    <a:pt x="2706529" y="160496"/>
                    <a:pt x="2704624" y="159544"/>
                    <a:pt x="2702719" y="159544"/>
                  </a:cubicBezTo>
                  <a:lnTo>
                    <a:pt x="2700814" y="159544"/>
                  </a:lnTo>
                  <a:lnTo>
                    <a:pt x="2700814" y="161449"/>
                  </a:lnTo>
                  <a:lnTo>
                    <a:pt x="2697004" y="193834"/>
                  </a:lnTo>
                  <a:cubicBezTo>
                    <a:pt x="2694146" y="186214"/>
                    <a:pt x="2693194" y="181451"/>
                    <a:pt x="2693194" y="181451"/>
                  </a:cubicBezTo>
                  <a:cubicBezTo>
                    <a:pt x="2693194" y="181451"/>
                    <a:pt x="2694146" y="187166"/>
                    <a:pt x="2697004" y="198596"/>
                  </a:cubicBezTo>
                  <a:lnTo>
                    <a:pt x="2697004" y="198596"/>
                  </a:lnTo>
                  <a:cubicBezTo>
                    <a:pt x="2696051" y="210979"/>
                    <a:pt x="2696051" y="224314"/>
                    <a:pt x="2696051" y="236696"/>
                  </a:cubicBezTo>
                  <a:cubicBezTo>
                    <a:pt x="2696051" y="245269"/>
                    <a:pt x="2696051" y="253841"/>
                    <a:pt x="2697004" y="262414"/>
                  </a:cubicBezTo>
                  <a:cubicBezTo>
                    <a:pt x="2697004" y="262414"/>
                    <a:pt x="2697004" y="263366"/>
                    <a:pt x="2697004" y="263366"/>
                  </a:cubicBezTo>
                  <a:cubicBezTo>
                    <a:pt x="2697004" y="264319"/>
                    <a:pt x="2696051" y="265271"/>
                    <a:pt x="2696051" y="265271"/>
                  </a:cubicBezTo>
                  <a:cubicBezTo>
                    <a:pt x="2695099" y="264319"/>
                    <a:pt x="2694146" y="262414"/>
                    <a:pt x="2694146" y="261461"/>
                  </a:cubicBezTo>
                  <a:cubicBezTo>
                    <a:pt x="2691289" y="255746"/>
                    <a:pt x="2688431" y="250984"/>
                    <a:pt x="2685574" y="246221"/>
                  </a:cubicBezTo>
                  <a:cubicBezTo>
                    <a:pt x="2682716" y="233839"/>
                    <a:pt x="2680811" y="221456"/>
                    <a:pt x="2677954" y="210979"/>
                  </a:cubicBezTo>
                  <a:cubicBezTo>
                    <a:pt x="2677001" y="207169"/>
                    <a:pt x="2677001" y="204311"/>
                    <a:pt x="2676049" y="200501"/>
                  </a:cubicBezTo>
                  <a:cubicBezTo>
                    <a:pt x="2677954" y="190976"/>
                    <a:pt x="2679859" y="182404"/>
                    <a:pt x="2681764" y="173831"/>
                  </a:cubicBezTo>
                  <a:cubicBezTo>
                    <a:pt x="2683669" y="162401"/>
                    <a:pt x="2685574" y="152876"/>
                    <a:pt x="2687479" y="144304"/>
                  </a:cubicBezTo>
                  <a:cubicBezTo>
                    <a:pt x="2690336" y="128111"/>
                    <a:pt x="2691289" y="118586"/>
                    <a:pt x="2691289" y="118586"/>
                  </a:cubicBezTo>
                  <a:cubicBezTo>
                    <a:pt x="2691289" y="118586"/>
                    <a:pt x="2688431" y="128111"/>
                    <a:pt x="2683669" y="143351"/>
                  </a:cubicBezTo>
                  <a:cubicBezTo>
                    <a:pt x="2681764" y="149066"/>
                    <a:pt x="2679859" y="155734"/>
                    <a:pt x="2677954" y="162401"/>
                  </a:cubicBezTo>
                  <a:cubicBezTo>
                    <a:pt x="2677001" y="166211"/>
                    <a:pt x="2675096" y="170974"/>
                    <a:pt x="2673191" y="176689"/>
                  </a:cubicBezTo>
                  <a:cubicBezTo>
                    <a:pt x="2673191" y="176689"/>
                    <a:pt x="2673191" y="177641"/>
                    <a:pt x="2673191" y="177641"/>
                  </a:cubicBezTo>
                  <a:cubicBezTo>
                    <a:pt x="2673191" y="176689"/>
                    <a:pt x="2672239" y="174784"/>
                    <a:pt x="2672239" y="173831"/>
                  </a:cubicBezTo>
                  <a:cubicBezTo>
                    <a:pt x="2670334" y="163354"/>
                    <a:pt x="2668429" y="153829"/>
                    <a:pt x="2666524" y="146209"/>
                  </a:cubicBezTo>
                  <a:cubicBezTo>
                    <a:pt x="2663666" y="130969"/>
                    <a:pt x="2661761" y="121444"/>
                    <a:pt x="2661761" y="121444"/>
                  </a:cubicBezTo>
                  <a:cubicBezTo>
                    <a:pt x="2661761" y="121444"/>
                    <a:pt x="2661761" y="130016"/>
                    <a:pt x="2662714" y="146209"/>
                  </a:cubicBezTo>
                  <a:cubicBezTo>
                    <a:pt x="2663666" y="158591"/>
                    <a:pt x="2664619" y="176689"/>
                    <a:pt x="2666524" y="196691"/>
                  </a:cubicBezTo>
                  <a:cubicBezTo>
                    <a:pt x="2666524" y="197644"/>
                    <a:pt x="2665571" y="199549"/>
                    <a:pt x="2665571" y="200501"/>
                  </a:cubicBezTo>
                  <a:cubicBezTo>
                    <a:pt x="2665571" y="201454"/>
                    <a:pt x="2664619" y="203359"/>
                    <a:pt x="2664619" y="204311"/>
                  </a:cubicBezTo>
                  <a:cubicBezTo>
                    <a:pt x="2658904" y="192881"/>
                    <a:pt x="2653189" y="183356"/>
                    <a:pt x="2649379" y="174784"/>
                  </a:cubicBezTo>
                  <a:cubicBezTo>
                    <a:pt x="2639854" y="152876"/>
                    <a:pt x="2634139" y="141446"/>
                    <a:pt x="2634139" y="141446"/>
                  </a:cubicBezTo>
                  <a:cubicBezTo>
                    <a:pt x="2634139" y="141446"/>
                    <a:pt x="2637949" y="153829"/>
                    <a:pt x="2646521" y="176689"/>
                  </a:cubicBezTo>
                  <a:cubicBezTo>
                    <a:pt x="2650331" y="187166"/>
                    <a:pt x="2656046" y="199549"/>
                    <a:pt x="2661761" y="214789"/>
                  </a:cubicBezTo>
                  <a:cubicBezTo>
                    <a:pt x="2661761" y="215741"/>
                    <a:pt x="2661761" y="215741"/>
                    <a:pt x="2660809" y="216694"/>
                  </a:cubicBezTo>
                  <a:cubicBezTo>
                    <a:pt x="2656999" y="210026"/>
                    <a:pt x="2655094" y="204311"/>
                    <a:pt x="2652236" y="201454"/>
                  </a:cubicBezTo>
                  <a:cubicBezTo>
                    <a:pt x="2649379" y="197644"/>
                    <a:pt x="2648426" y="196691"/>
                    <a:pt x="2648426" y="196691"/>
                  </a:cubicBezTo>
                  <a:cubicBezTo>
                    <a:pt x="2648426" y="196691"/>
                    <a:pt x="2649379" y="198596"/>
                    <a:pt x="2651284" y="202406"/>
                  </a:cubicBezTo>
                  <a:cubicBezTo>
                    <a:pt x="2654141" y="206216"/>
                    <a:pt x="2655094" y="211931"/>
                    <a:pt x="2657951" y="218599"/>
                  </a:cubicBezTo>
                  <a:cubicBezTo>
                    <a:pt x="2657951" y="220504"/>
                    <a:pt x="2658904" y="222409"/>
                    <a:pt x="2658904" y="223361"/>
                  </a:cubicBezTo>
                  <a:cubicBezTo>
                    <a:pt x="2658904" y="224314"/>
                    <a:pt x="2657951" y="225266"/>
                    <a:pt x="2657951" y="226219"/>
                  </a:cubicBezTo>
                  <a:cubicBezTo>
                    <a:pt x="2654141" y="214789"/>
                    <a:pt x="2650331" y="203359"/>
                    <a:pt x="2647474" y="193834"/>
                  </a:cubicBezTo>
                  <a:cubicBezTo>
                    <a:pt x="2644616" y="184309"/>
                    <a:pt x="2640806" y="175736"/>
                    <a:pt x="2638901" y="169069"/>
                  </a:cubicBezTo>
                  <a:cubicBezTo>
                    <a:pt x="2634139" y="154781"/>
                    <a:pt x="2631281" y="147161"/>
                    <a:pt x="2631281" y="147161"/>
                  </a:cubicBezTo>
                  <a:cubicBezTo>
                    <a:pt x="2631281" y="147161"/>
                    <a:pt x="2632234" y="155734"/>
                    <a:pt x="2635091" y="170021"/>
                  </a:cubicBezTo>
                  <a:cubicBezTo>
                    <a:pt x="2637949" y="184309"/>
                    <a:pt x="2641759" y="205264"/>
                    <a:pt x="2647474" y="230029"/>
                  </a:cubicBezTo>
                  <a:cubicBezTo>
                    <a:pt x="2648426" y="235744"/>
                    <a:pt x="2650331" y="241459"/>
                    <a:pt x="2651284" y="247174"/>
                  </a:cubicBezTo>
                  <a:cubicBezTo>
                    <a:pt x="2648426" y="255746"/>
                    <a:pt x="2645569" y="264319"/>
                    <a:pt x="2642711" y="273844"/>
                  </a:cubicBezTo>
                  <a:cubicBezTo>
                    <a:pt x="2641759" y="272891"/>
                    <a:pt x="2641759" y="271939"/>
                    <a:pt x="2640806" y="270034"/>
                  </a:cubicBezTo>
                  <a:cubicBezTo>
                    <a:pt x="2640806" y="269081"/>
                    <a:pt x="2639854" y="269081"/>
                    <a:pt x="2639854" y="268129"/>
                  </a:cubicBezTo>
                  <a:cubicBezTo>
                    <a:pt x="2642711" y="238601"/>
                    <a:pt x="2643664" y="220504"/>
                    <a:pt x="2643664" y="220504"/>
                  </a:cubicBezTo>
                  <a:cubicBezTo>
                    <a:pt x="2643664" y="220504"/>
                    <a:pt x="2640806" y="230029"/>
                    <a:pt x="2636996" y="247174"/>
                  </a:cubicBezTo>
                  <a:cubicBezTo>
                    <a:pt x="2636996" y="220504"/>
                    <a:pt x="2636044" y="204311"/>
                    <a:pt x="2636044" y="204311"/>
                  </a:cubicBezTo>
                  <a:cubicBezTo>
                    <a:pt x="2636044" y="204311"/>
                    <a:pt x="2633186" y="217646"/>
                    <a:pt x="2630329" y="240506"/>
                  </a:cubicBezTo>
                  <a:cubicBezTo>
                    <a:pt x="2628424" y="228124"/>
                    <a:pt x="2625566" y="216694"/>
                    <a:pt x="2623661" y="206216"/>
                  </a:cubicBezTo>
                  <a:cubicBezTo>
                    <a:pt x="2618899" y="182404"/>
                    <a:pt x="2614136" y="162401"/>
                    <a:pt x="2610326" y="147161"/>
                  </a:cubicBezTo>
                  <a:cubicBezTo>
                    <a:pt x="2613184" y="141446"/>
                    <a:pt x="2615089" y="137636"/>
                    <a:pt x="2615089" y="137636"/>
                  </a:cubicBezTo>
                  <a:cubicBezTo>
                    <a:pt x="2615089" y="137636"/>
                    <a:pt x="2613184" y="140494"/>
                    <a:pt x="2610326" y="145256"/>
                  </a:cubicBezTo>
                  <a:cubicBezTo>
                    <a:pt x="2610326" y="144304"/>
                    <a:pt x="2610326" y="144304"/>
                    <a:pt x="2609374" y="143351"/>
                  </a:cubicBezTo>
                  <a:cubicBezTo>
                    <a:pt x="2605564" y="128111"/>
                    <a:pt x="2603659" y="119539"/>
                    <a:pt x="2603659" y="119539"/>
                  </a:cubicBezTo>
                  <a:cubicBezTo>
                    <a:pt x="2603659" y="119539"/>
                    <a:pt x="2604611" y="128111"/>
                    <a:pt x="2605564" y="144304"/>
                  </a:cubicBezTo>
                  <a:cubicBezTo>
                    <a:pt x="2605564" y="146209"/>
                    <a:pt x="2605564" y="149066"/>
                    <a:pt x="2606516" y="150971"/>
                  </a:cubicBezTo>
                  <a:cubicBezTo>
                    <a:pt x="2604611" y="153829"/>
                    <a:pt x="2602706" y="155734"/>
                    <a:pt x="2600801" y="158591"/>
                  </a:cubicBezTo>
                  <a:cubicBezTo>
                    <a:pt x="2596991" y="163354"/>
                    <a:pt x="2594134" y="169069"/>
                    <a:pt x="2589371" y="175736"/>
                  </a:cubicBezTo>
                  <a:cubicBezTo>
                    <a:pt x="2589371" y="174784"/>
                    <a:pt x="2589371" y="172879"/>
                    <a:pt x="2588419" y="171926"/>
                  </a:cubicBezTo>
                  <a:cubicBezTo>
                    <a:pt x="2585561" y="155734"/>
                    <a:pt x="2583656" y="147161"/>
                    <a:pt x="2583656" y="147161"/>
                  </a:cubicBezTo>
                  <a:cubicBezTo>
                    <a:pt x="2583656" y="147161"/>
                    <a:pt x="2583656" y="156686"/>
                    <a:pt x="2584609" y="171926"/>
                  </a:cubicBezTo>
                  <a:cubicBezTo>
                    <a:pt x="2584609" y="174784"/>
                    <a:pt x="2584609" y="178594"/>
                    <a:pt x="2585561" y="182404"/>
                  </a:cubicBezTo>
                  <a:cubicBezTo>
                    <a:pt x="2585561" y="182404"/>
                    <a:pt x="2585561" y="182404"/>
                    <a:pt x="2585561" y="182404"/>
                  </a:cubicBezTo>
                  <a:cubicBezTo>
                    <a:pt x="2582704" y="187166"/>
                    <a:pt x="2579846" y="192881"/>
                    <a:pt x="2576036" y="198596"/>
                  </a:cubicBezTo>
                  <a:cubicBezTo>
                    <a:pt x="2575084" y="190976"/>
                    <a:pt x="2575084" y="183356"/>
                    <a:pt x="2574131" y="177641"/>
                  </a:cubicBezTo>
                  <a:cubicBezTo>
                    <a:pt x="2573179" y="165259"/>
                    <a:pt x="2573179" y="157639"/>
                    <a:pt x="2573179" y="157639"/>
                  </a:cubicBezTo>
                  <a:cubicBezTo>
                    <a:pt x="2573179" y="157639"/>
                    <a:pt x="2572226" y="162401"/>
                    <a:pt x="2571274" y="170974"/>
                  </a:cubicBezTo>
                  <a:cubicBezTo>
                    <a:pt x="2571274" y="170974"/>
                    <a:pt x="2571274" y="170021"/>
                    <a:pt x="2571274" y="170021"/>
                  </a:cubicBezTo>
                  <a:cubicBezTo>
                    <a:pt x="2570321" y="162401"/>
                    <a:pt x="2570321" y="155734"/>
                    <a:pt x="2569369" y="149066"/>
                  </a:cubicBezTo>
                  <a:cubicBezTo>
                    <a:pt x="2569369" y="142399"/>
                    <a:pt x="2568416" y="135731"/>
                    <a:pt x="2568416" y="130016"/>
                  </a:cubicBezTo>
                  <a:cubicBezTo>
                    <a:pt x="2567464" y="118586"/>
                    <a:pt x="2566511" y="108109"/>
                    <a:pt x="2567464" y="99536"/>
                  </a:cubicBezTo>
                  <a:cubicBezTo>
                    <a:pt x="2567464" y="82391"/>
                    <a:pt x="2566511" y="72866"/>
                    <a:pt x="2566511" y="72866"/>
                  </a:cubicBezTo>
                  <a:cubicBezTo>
                    <a:pt x="2566511" y="72866"/>
                    <a:pt x="2565559" y="82391"/>
                    <a:pt x="2562701" y="99536"/>
                  </a:cubicBezTo>
                  <a:cubicBezTo>
                    <a:pt x="2561749" y="108109"/>
                    <a:pt x="2560796" y="118586"/>
                    <a:pt x="2560796" y="130016"/>
                  </a:cubicBezTo>
                  <a:cubicBezTo>
                    <a:pt x="2560796" y="135731"/>
                    <a:pt x="2559844" y="142399"/>
                    <a:pt x="2559844" y="149066"/>
                  </a:cubicBezTo>
                  <a:cubicBezTo>
                    <a:pt x="2559844" y="155734"/>
                    <a:pt x="2559844" y="162401"/>
                    <a:pt x="2559844" y="170021"/>
                  </a:cubicBezTo>
                  <a:cubicBezTo>
                    <a:pt x="2559844" y="178594"/>
                    <a:pt x="2559844" y="187166"/>
                    <a:pt x="2560796" y="195739"/>
                  </a:cubicBezTo>
                  <a:cubicBezTo>
                    <a:pt x="2559844" y="192881"/>
                    <a:pt x="2558891" y="191929"/>
                    <a:pt x="2558891" y="191929"/>
                  </a:cubicBezTo>
                  <a:cubicBezTo>
                    <a:pt x="2558891" y="191929"/>
                    <a:pt x="2559844" y="194786"/>
                    <a:pt x="2561749" y="200501"/>
                  </a:cubicBezTo>
                  <a:cubicBezTo>
                    <a:pt x="2561749" y="206216"/>
                    <a:pt x="2562701" y="211931"/>
                    <a:pt x="2562701" y="217646"/>
                  </a:cubicBezTo>
                  <a:cubicBezTo>
                    <a:pt x="2562701" y="219551"/>
                    <a:pt x="2562701" y="221456"/>
                    <a:pt x="2562701" y="223361"/>
                  </a:cubicBezTo>
                  <a:cubicBezTo>
                    <a:pt x="2558891" y="230981"/>
                    <a:pt x="2555081" y="238601"/>
                    <a:pt x="2551271" y="247174"/>
                  </a:cubicBezTo>
                  <a:cubicBezTo>
                    <a:pt x="2550319" y="239554"/>
                    <a:pt x="2550319" y="233839"/>
                    <a:pt x="2549366" y="230029"/>
                  </a:cubicBezTo>
                  <a:cubicBezTo>
                    <a:pt x="2553176" y="219551"/>
                    <a:pt x="2555081" y="212884"/>
                    <a:pt x="2555081" y="212884"/>
                  </a:cubicBezTo>
                  <a:cubicBezTo>
                    <a:pt x="2555081" y="212884"/>
                    <a:pt x="2552224" y="218599"/>
                    <a:pt x="2546509" y="228124"/>
                  </a:cubicBezTo>
                  <a:cubicBezTo>
                    <a:pt x="2546509" y="226219"/>
                    <a:pt x="2547461" y="224314"/>
                    <a:pt x="2547461" y="222409"/>
                  </a:cubicBezTo>
                  <a:cubicBezTo>
                    <a:pt x="2551271" y="206216"/>
                    <a:pt x="2553176" y="196691"/>
                    <a:pt x="2553176" y="196691"/>
                  </a:cubicBezTo>
                  <a:cubicBezTo>
                    <a:pt x="2553176" y="196691"/>
                    <a:pt x="2549366" y="205264"/>
                    <a:pt x="2543651" y="221456"/>
                  </a:cubicBezTo>
                  <a:cubicBezTo>
                    <a:pt x="2541746" y="228124"/>
                    <a:pt x="2538889" y="236696"/>
                    <a:pt x="2536984" y="246221"/>
                  </a:cubicBezTo>
                  <a:cubicBezTo>
                    <a:pt x="2536984" y="245269"/>
                    <a:pt x="2536984" y="245269"/>
                    <a:pt x="2536984" y="244316"/>
                  </a:cubicBezTo>
                  <a:cubicBezTo>
                    <a:pt x="2535079" y="230029"/>
                    <a:pt x="2534126" y="221456"/>
                    <a:pt x="2534126" y="221456"/>
                  </a:cubicBezTo>
                  <a:cubicBezTo>
                    <a:pt x="2534126" y="221456"/>
                    <a:pt x="2534126" y="230029"/>
                    <a:pt x="2533174" y="244316"/>
                  </a:cubicBezTo>
                  <a:cubicBezTo>
                    <a:pt x="2533174" y="246221"/>
                    <a:pt x="2533174" y="249079"/>
                    <a:pt x="2533174" y="250984"/>
                  </a:cubicBezTo>
                  <a:cubicBezTo>
                    <a:pt x="2533174" y="249079"/>
                    <a:pt x="2532221" y="247174"/>
                    <a:pt x="2532221" y="245269"/>
                  </a:cubicBezTo>
                  <a:cubicBezTo>
                    <a:pt x="2529364" y="233839"/>
                    <a:pt x="2527459" y="223361"/>
                    <a:pt x="2524601" y="213836"/>
                  </a:cubicBezTo>
                  <a:cubicBezTo>
                    <a:pt x="2521744" y="204311"/>
                    <a:pt x="2519839" y="196691"/>
                    <a:pt x="2517934" y="190024"/>
                  </a:cubicBezTo>
                  <a:cubicBezTo>
                    <a:pt x="2513171" y="176689"/>
                    <a:pt x="2511266" y="169069"/>
                    <a:pt x="2511266" y="169069"/>
                  </a:cubicBezTo>
                  <a:cubicBezTo>
                    <a:pt x="2511266" y="169069"/>
                    <a:pt x="2512219" y="176689"/>
                    <a:pt x="2514124" y="190976"/>
                  </a:cubicBezTo>
                  <a:cubicBezTo>
                    <a:pt x="2515076" y="197644"/>
                    <a:pt x="2516029" y="206216"/>
                    <a:pt x="2516981" y="215741"/>
                  </a:cubicBezTo>
                  <a:cubicBezTo>
                    <a:pt x="2517934" y="225266"/>
                    <a:pt x="2518886" y="235744"/>
                    <a:pt x="2520791" y="248126"/>
                  </a:cubicBezTo>
                  <a:cubicBezTo>
                    <a:pt x="2521744" y="257651"/>
                    <a:pt x="2522696" y="267176"/>
                    <a:pt x="2523649" y="277654"/>
                  </a:cubicBezTo>
                  <a:cubicBezTo>
                    <a:pt x="2522696" y="279559"/>
                    <a:pt x="2521744" y="281464"/>
                    <a:pt x="2521744" y="282416"/>
                  </a:cubicBezTo>
                  <a:cubicBezTo>
                    <a:pt x="2519839" y="274796"/>
                    <a:pt x="2517934" y="269081"/>
                    <a:pt x="2516981" y="263366"/>
                  </a:cubicBezTo>
                  <a:cubicBezTo>
                    <a:pt x="2513171" y="250031"/>
                    <a:pt x="2511266" y="243364"/>
                    <a:pt x="2511266" y="243364"/>
                  </a:cubicBezTo>
                  <a:cubicBezTo>
                    <a:pt x="2511266" y="243364"/>
                    <a:pt x="2512219" y="250984"/>
                    <a:pt x="2513171" y="264319"/>
                  </a:cubicBezTo>
                  <a:cubicBezTo>
                    <a:pt x="2513171" y="268129"/>
                    <a:pt x="2514124" y="272891"/>
                    <a:pt x="2514124" y="277654"/>
                  </a:cubicBezTo>
                  <a:cubicBezTo>
                    <a:pt x="2510314" y="269081"/>
                    <a:pt x="2507456" y="262414"/>
                    <a:pt x="2504599" y="256699"/>
                  </a:cubicBezTo>
                  <a:cubicBezTo>
                    <a:pt x="2504599" y="254794"/>
                    <a:pt x="2504599" y="253841"/>
                    <a:pt x="2504599" y="253841"/>
                  </a:cubicBezTo>
                  <a:cubicBezTo>
                    <a:pt x="2504599" y="253841"/>
                    <a:pt x="2504599" y="254794"/>
                    <a:pt x="2503646" y="255746"/>
                  </a:cubicBezTo>
                  <a:cubicBezTo>
                    <a:pt x="2499836" y="248126"/>
                    <a:pt x="2497931" y="243364"/>
                    <a:pt x="2497931" y="243364"/>
                  </a:cubicBezTo>
                  <a:cubicBezTo>
                    <a:pt x="2497931" y="243364"/>
                    <a:pt x="2499836" y="249079"/>
                    <a:pt x="2502694" y="259556"/>
                  </a:cubicBezTo>
                  <a:cubicBezTo>
                    <a:pt x="2501741" y="261461"/>
                    <a:pt x="2500789" y="264319"/>
                    <a:pt x="2499836" y="267176"/>
                  </a:cubicBezTo>
                  <a:cubicBezTo>
                    <a:pt x="2499836" y="268129"/>
                    <a:pt x="2498884" y="269081"/>
                    <a:pt x="2498884" y="270034"/>
                  </a:cubicBezTo>
                  <a:cubicBezTo>
                    <a:pt x="2496979" y="253841"/>
                    <a:pt x="2496026" y="237649"/>
                    <a:pt x="2494121" y="223361"/>
                  </a:cubicBezTo>
                  <a:cubicBezTo>
                    <a:pt x="2495074" y="222409"/>
                    <a:pt x="2495074" y="221456"/>
                    <a:pt x="2496026" y="220504"/>
                  </a:cubicBezTo>
                  <a:cubicBezTo>
                    <a:pt x="2500789" y="212884"/>
                    <a:pt x="2504599" y="207169"/>
                    <a:pt x="2506504" y="203359"/>
                  </a:cubicBezTo>
                  <a:cubicBezTo>
                    <a:pt x="2509361" y="199549"/>
                    <a:pt x="2510314" y="197644"/>
                    <a:pt x="2510314" y="197644"/>
                  </a:cubicBezTo>
                  <a:cubicBezTo>
                    <a:pt x="2510314" y="197644"/>
                    <a:pt x="2508409" y="199549"/>
                    <a:pt x="2505551" y="203359"/>
                  </a:cubicBezTo>
                  <a:cubicBezTo>
                    <a:pt x="2502694" y="206216"/>
                    <a:pt x="2497931" y="210979"/>
                    <a:pt x="2493169" y="217646"/>
                  </a:cubicBezTo>
                  <a:cubicBezTo>
                    <a:pt x="2493169" y="217646"/>
                    <a:pt x="2493169" y="216694"/>
                    <a:pt x="2493169" y="216694"/>
                  </a:cubicBezTo>
                  <a:cubicBezTo>
                    <a:pt x="2492216" y="210026"/>
                    <a:pt x="2492216" y="203359"/>
                    <a:pt x="2491264" y="196691"/>
                  </a:cubicBezTo>
                  <a:cubicBezTo>
                    <a:pt x="2497931" y="188119"/>
                    <a:pt x="2501741" y="183356"/>
                    <a:pt x="2501741" y="183356"/>
                  </a:cubicBezTo>
                  <a:cubicBezTo>
                    <a:pt x="2501741" y="183356"/>
                    <a:pt x="2497931" y="187166"/>
                    <a:pt x="2490311" y="192881"/>
                  </a:cubicBezTo>
                  <a:cubicBezTo>
                    <a:pt x="2489359" y="187166"/>
                    <a:pt x="2489359" y="181451"/>
                    <a:pt x="2489359" y="176689"/>
                  </a:cubicBezTo>
                  <a:cubicBezTo>
                    <a:pt x="2492216" y="171926"/>
                    <a:pt x="2495074" y="168116"/>
                    <a:pt x="2497931" y="165259"/>
                  </a:cubicBezTo>
                  <a:cubicBezTo>
                    <a:pt x="2500789" y="161449"/>
                    <a:pt x="2502694" y="159544"/>
                    <a:pt x="2502694" y="159544"/>
                  </a:cubicBezTo>
                  <a:cubicBezTo>
                    <a:pt x="2502694" y="159544"/>
                    <a:pt x="2500789" y="161449"/>
                    <a:pt x="2496979" y="164306"/>
                  </a:cubicBezTo>
                  <a:cubicBezTo>
                    <a:pt x="2495074" y="166211"/>
                    <a:pt x="2492216" y="169069"/>
                    <a:pt x="2489359" y="171926"/>
                  </a:cubicBezTo>
                  <a:cubicBezTo>
                    <a:pt x="2489359" y="165259"/>
                    <a:pt x="2488406" y="158591"/>
                    <a:pt x="2488406" y="153829"/>
                  </a:cubicBezTo>
                  <a:cubicBezTo>
                    <a:pt x="2488406" y="146209"/>
                    <a:pt x="2487454" y="139541"/>
                    <a:pt x="2487454" y="135731"/>
                  </a:cubicBezTo>
                  <a:cubicBezTo>
                    <a:pt x="2491264" y="129064"/>
                    <a:pt x="2494121" y="125254"/>
                    <a:pt x="2494121" y="125254"/>
                  </a:cubicBezTo>
                  <a:cubicBezTo>
                    <a:pt x="2494121" y="125254"/>
                    <a:pt x="2492216" y="128111"/>
                    <a:pt x="2487454" y="132874"/>
                  </a:cubicBezTo>
                  <a:cubicBezTo>
                    <a:pt x="2487454" y="130969"/>
                    <a:pt x="2487454" y="129064"/>
                    <a:pt x="2487454" y="129064"/>
                  </a:cubicBezTo>
                  <a:cubicBezTo>
                    <a:pt x="2487454" y="129064"/>
                    <a:pt x="2487454" y="130969"/>
                    <a:pt x="2486501" y="132874"/>
                  </a:cubicBezTo>
                  <a:cubicBezTo>
                    <a:pt x="2483644" y="136684"/>
                    <a:pt x="2479834" y="140494"/>
                    <a:pt x="2475071" y="146209"/>
                  </a:cubicBezTo>
                  <a:cubicBezTo>
                    <a:pt x="2469356" y="152876"/>
                    <a:pt x="2462689" y="161449"/>
                    <a:pt x="2455069" y="171926"/>
                  </a:cubicBezTo>
                  <a:cubicBezTo>
                    <a:pt x="2451259" y="176689"/>
                    <a:pt x="2447449" y="182404"/>
                    <a:pt x="2442686" y="188119"/>
                  </a:cubicBezTo>
                  <a:cubicBezTo>
                    <a:pt x="2439829" y="192881"/>
                    <a:pt x="2436019" y="197644"/>
                    <a:pt x="2433161" y="203359"/>
                  </a:cubicBezTo>
                  <a:cubicBezTo>
                    <a:pt x="2433161" y="199549"/>
                    <a:pt x="2432209" y="195739"/>
                    <a:pt x="2432209" y="191929"/>
                  </a:cubicBezTo>
                  <a:cubicBezTo>
                    <a:pt x="2428399" y="158591"/>
                    <a:pt x="2426494" y="130969"/>
                    <a:pt x="2425541" y="110966"/>
                  </a:cubicBezTo>
                  <a:cubicBezTo>
                    <a:pt x="2425541" y="101441"/>
                    <a:pt x="2424589" y="93821"/>
                    <a:pt x="2424589" y="88106"/>
                  </a:cubicBezTo>
                  <a:cubicBezTo>
                    <a:pt x="2424589" y="82391"/>
                    <a:pt x="2424589" y="80486"/>
                    <a:pt x="2424589" y="80486"/>
                  </a:cubicBezTo>
                  <a:cubicBezTo>
                    <a:pt x="2424589" y="80486"/>
                    <a:pt x="2424589" y="83344"/>
                    <a:pt x="2423636" y="88106"/>
                  </a:cubicBezTo>
                  <a:cubicBezTo>
                    <a:pt x="2422684" y="92869"/>
                    <a:pt x="2422684" y="101441"/>
                    <a:pt x="2421731" y="110966"/>
                  </a:cubicBezTo>
                  <a:cubicBezTo>
                    <a:pt x="2420779" y="120491"/>
                    <a:pt x="2420779" y="132874"/>
                    <a:pt x="2420779" y="146209"/>
                  </a:cubicBezTo>
                  <a:cubicBezTo>
                    <a:pt x="2420779" y="159544"/>
                    <a:pt x="2420779" y="175736"/>
                    <a:pt x="2421731" y="191929"/>
                  </a:cubicBezTo>
                  <a:cubicBezTo>
                    <a:pt x="2421731" y="200501"/>
                    <a:pt x="2422684" y="210026"/>
                    <a:pt x="2422684" y="220504"/>
                  </a:cubicBezTo>
                  <a:cubicBezTo>
                    <a:pt x="2416969" y="230029"/>
                    <a:pt x="2411254" y="239554"/>
                    <a:pt x="2405539" y="250031"/>
                  </a:cubicBezTo>
                  <a:cubicBezTo>
                    <a:pt x="2404586" y="251936"/>
                    <a:pt x="2403634" y="254794"/>
                    <a:pt x="2401729" y="256699"/>
                  </a:cubicBezTo>
                  <a:cubicBezTo>
                    <a:pt x="2401729" y="256699"/>
                    <a:pt x="2400776" y="255746"/>
                    <a:pt x="2400776" y="255746"/>
                  </a:cubicBezTo>
                  <a:cubicBezTo>
                    <a:pt x="2397919" y="247174"/>
                    <a:pt x="2395061" y="239554"/>
                    <a:pt x="2392204" y="233839"/>
                  </a:cubicBezTo>
                  <a:cubicBezTo>
                    <a:pt x="2389346" y="208121"/>
                    <a:pt x="2386489" y="186214"/>
                    <a:pt x="2385536" y="170974"/>
                  </a:cubicBezTo>
                  <a:cubicBezTo>
                    <a:pt x="2384584" y="162401"/>
                    <a:pt x="2383631" y="155734"/>
                    <a:pt x="2382679" y="150971"/>
                  </a:cubicBezTo>
                  <a:cubicBezTo>
                    <a:pt x="2383631" y="147161"/>
                    <a:pt x="2384584" y="144304"/>
                    <a:pt x="2384584" y="140494"/>
                  </a:cubicBezTo>
                  <a:cubicBezTo>
                    <a:pt x="2384584" y="138589"/>
                    <a:pt x="2383631" y="137636"/>
                    <a:pt x="2382679" y="135731"/>
                  </a:cubicBezTo>
                  <a:cubicBezTo>
                    <a:pt x="2385536" y="129064"/>
                    <a:pt x="2388394" y="121444"/>
                    <a:pt x="2390299" y="114776"/>
                  </a:cubicBezTo>
                  <a:cubicBezTo>
                    <a:pt x="2413159" y="53816"/>
                    <a:pt x="2427446" y="12859"/>
                    <a:pt x="2427446" y="12859"/>
                  </a:cubicBezTo>
                  <a:cubicBezTo>
                    <a:pt x="2427446" y="12859"/>
                    <a:pt x="2407444" y="50959"/>
                    <a:pt x="2380774" y="110014"/>
                  </a:cubicBezTo>
                  <a:cubicBezTo>
                    <a:pt x="2374106" y="124301"/>
                    <a:pt x="2366486" y="140494"/>
                    <a:pt x="2358866" y="157639"/>
                  </a:cubicBezTo>
                  <a:cubicBezTo>
                    <a:pt x="2357914" y="160496"/>
                    <a:pt x="2356009" y="163354"/>
                    <a:pt x="2355056" y="166211"/>
                  </a:cubicBezTo>
                  <a:cubicBezTo>
                    <a:pt x="2356009" y="162401"/>
                    <a:pt x="2356961" y="158591"/>
                    <a:pt x="2357914" y="155734"/>
                  </a:cubicBezTo>
                  <a:cubicBezTo>
                    <a:pt x="2360771" y="141446"/>
                    <a:pt x="2362676" y="132874"/>
                    <a:pt x="2362676" y="132874"/>
                  </a:cubicBezTo>
                  <a:cubicBezTo>
                    <a:pt x="2362676" y="132874"/>
                    <a:pt x="2359819" y="140494"/>
                    <a:pt x="2354104" y="154781"/>
                  </a:cubicBezTo>
                  <a:cubicBezTo>
                    <a:pt x="2351246" y="161449"/>
                    <a:pt x="2348389" y="170021"/>
                    <a:pt x="2344579" y="179546"/>
                  </a:cubicBezTo>
                  <a:cubicBezTo>
                    <a:pt x="2340769" y="189071"/>
                    <a:pt x="2336959" y="200501"/>
                    <a:pt x="2334101" y="211931"/>
                  </a:cubicBezTo>
                  <a:cubicBezTo>
                    <a:pt x="2334101" y="211931"/>
                    <a:pt x="2334101" y="211931"/>
                    <a:pt x="2334101" y="211931"/>
                  </a:cubicBezTo>
                  <a:cubicBezTo>
                    <a:pt x="2336006" y="197644"/>
                    <a:pt x="2338864" y="184309"/>
                    <a:pt x="2340769" y="171926"/>
                  </a:cubicBezTo>
                  <a:cubicBezTo>
                    <a:pt x="2343626" y="156686"/>
                    <a:pt x="2344579" y="143351"/>
                    <a:pt x="2347436" y="130969"/>
                  </a:cubicBezTo>
                  <a:cubicBezTo>
                    <a:pt x="2350294" y="118586"/>
                    <a:pt x="2352199" y="108109"/>
                    <a:pt x="2354104" y="99536"/>
                  </a:cubicBezTo>
                  <a:cubicBezTo>
                    <a:pt x="2357914" y="82391"/>
                    <a:pt x="2358866" y="71914"/>
                    <a:pt x="2358866" y="71914"/>
                  </a:cubicBezTo>
                  <a:cubicBezTo>
                    <a:pt x="2358866" y="71914"/>
                    <a:pt x="2355056" y="81439"/>
                    <a:pt x="2350294" y="98584"/>
                  </a:cubicBezTo>
                  <a:cubicBezTo>
                    <a:pt x="2347436" y="107156"/>
                    <a:pt x="2344579" y="117634"/>
                    <a:pt x="2340769" y="129064"/>
                  </a:cubicBezTo>
                  <a:cubicBezTo>
                    <a:pt x="2336959" y="140494"/>
                    <a:pt x="2333149" y="154781"/>
                    <a:pt x="2330291" y="170021"/>
                  </a:cubicBezTo>
                  <a:cubicBezTo>
                    <a:pt x="2328386" y="177641"/>
                    <a:pt x="2326481" y="185261"/>
                    <a:pt x="2324576" y="193834"/>
                  </a:cubicBezTo>
                  <a:cubicBezTo>
                    <a:pt x="2323624" y="190976"/>
                    <a:pt x="2321719" y="188119"/>
                    <a:pt x="2320766" y="185261"/>
                  </a:cubicBezTo>
                  <a:cubicBezTo>
                    <a:pt x="2324576" y="168116"/>
                    <a:pt x="2326481" y="157639"/>
                    <a:pt x="2326481" y="157639"/>
                  </a:cubicBezTo>
                  <a:cubicBezTo>
                    <a:pt x="2326481" y="157639"/>
                    <a:pt x="2323624" y="165259"/>
                    <a:pt x="2318861" y="179546"/>
                  </a:cubicBezTo>
                  <a:cubicBezTo>
                    <a:pt x="2316004" y="173831"/>
                    <a:pt x="2315051" y="170974"/>
                    <a:pt x="2315051" y="170974"/>
                  </a:cubicBezTo>
                  <a:cubicBezTo>
                    <a:pt x="2315051" y="170974"/>
                    <a:pt x="2316004" y="174784"/>
                    <a:pt x="2317909" y="181451"/>
                  </a:cubicBezTo>
                  <a:cubicBezTo>
                    <a:pt x="2316956" y="185261"/>
                    <a:pt x="2315051" y="189071"/>
                    <a:pt x="2313146" y="193834"/>
                  </a:cubicBezTo>
                  <a:cubicBezTo>
                    <a:pt x="2312194" y="192881"/>
                    <a:pt x="2312194" y="191929"/>
                    <a:pt x="2311241" y="190976"/>
                  </a:cubicBezTo>
                  <a:cubicBezTo>
                    <a:pt x="2314099" y="161449"/>
                    <a:pt x="2314099" y="141446"/>
                    <a:pt x="2314099" y="141446"/>
                  </a:cubicBezTo>
                  <a:cubicBezTo>
                    <a:pt x="2314099" y="141446"/>
                    <a:pt x="2306479" y="165259"/>
                    <a:pt x="2298859" y="202406"/>
                  </a:cubicBezTo>
                  <a:cubicBezTo>
                    <a:pt x="2296954" y="211931"/>
                    <a:pt x="2294096" y="221456"/>
                    <a:pt x="2292191" y="231934"/>
                  </a:cubicBezTo>
                  <a:cubicBezTo>
                    <a:pt x="2291239" y="237649"/>
                    <a:pt x="2290286" y="244316"/>
                    <a:pt x="2289334" y="250031"/>
                  </a:cubicBezTo>
                  <a:cubicBezTo>
                    <a:pt x="2288381" y="252889"/>
                    <a:pt x="2287429" y="255746"/>
                    <a:pt x="2285524" y="259556"/>
                  </a:cubicBezTo>
                  <a:cubicBezTo>
                    <a:pt x="2282666" y="267176"/>
                    <a:pt x="2279809" y="276701"/>
                    <a:pt x="2275999" y="287179"/>
                  </a:cubicBezTo>
                  <a:cubicBezTo>
                    <a:pt x="2275999" y="287179"/>
                    <a:pt x="2275999" y="288131"/>
                    <a:pt x="2275999" y="288131"/>
                  </a:cubicBezTo>
                  <a:cubicBezTo>
                    <a:pt x="2275999" y="286226"/>
                    <a:pt x="2275999" y="284321"/>
                    <a:pt x="2275999" y="282416"/>
                  </a:cubicBezTo>
                  <a:cubicBezTo>
                    <a:pt x="2276951" y="271939"/>
                    <a:pt x="2276951" y="265271"/>
                    <a:pt x="2276951" y="265271"/>
                  </a:cubicBezTo>
                  <a:cubicBezTo>
                    <a:pt x="2276951" y="265271"/>
                    <a:pt x="2275046" y="270986"/>
                    <a:pt x="2272189" y="281464"/>
                  </a:cubicBezTo>
                  <a:cubicBezTo>
                    <a:pt x="2271236" y="284321"/>
                    <a:pt x="2270284" y="287179"/>
                    <a:pt x="2269331" y="290989"/>
                  </a:cubicBezTo>
                  <a:cubicBezTo>
                    <a:pt x="2269331" y="290989"/>
                    <a:pt x="2269331" y="290989"/>
                    <a:pt x="2269331" y="290989"/>
                  </a:cubicBezTo>
                  <a:cubicBezTo>
                    <a:pt x="2269331" y="280511"/>
                    <a:pt x="2268379" y="270034"/>
                    <a:pt x="2269331" y="261461"/>
                  </a:cubicBezTo>
                  <a:cubicBezTo>
                    <a:pt x="2270284" y="252889"/>
                    <a:pt x="2269331" y="245269"/>
                    <a:pt x="2270284" y="238601"/>
                  </a:cubicBezTo>
                  <a:cubicBezTo>
                    <a:pt x="2271236" y="232886"/>
                    <a:pt x="2271236" y="228124"/>
                    <a:pt x="2272189" y="225266"/>
                  </a:cubicBezTo>
                  <a:cubicBezTo>
                    <a:pt x="2275046" y="215741"/>
                    <a:pt x="2275999" y="210979"/>
                    <a:pt x="2275999" y="210979"/>
                  </a:cubicBezTo>
                  <a:cubicBezTo>
                    <a:pt x="2275999" y="210979"/>
                    <a:pt x="2272189" y="218599"/>
                    <a:pt x="2266474" y="232886"/>
                  </a:cubicBezTo>
                  <a:cubicBezTo>
                    <a:pt x="2267426" y="230029"/>
                    <a:pt x="2267426" y="228124"/>
                    <a:pt x="2267426" y="228124"/>
                  </a:cubicBezTo>
                  <a:cubicBezTo>
                    <a:pt x="2267426" y="228124"/>
                    <a:pt x="2265521" y="230981"/>
                    <a:pt x="2263616" y="235744"/>
                  </a:cubicBezTo>
                  <a:cubicBezTo>
                    <a:pt x="2264569" y="226219"/>
                    <a:pt x="2265521" y="220504"/>
                    <a:pt x="2265521" y="220504"/>
                  </a:cubicBezTo>
                  <a:cubicBezTo>
                    <a:pt x="2265521" y="220504"/>
                    <a:pt x="2262664" y="230029"/>
                    <a:pt x="2256949" y="247174"/>
                  </a:cubicBezTo>
                  <a:cubicBezTo>
                    <a:pt x="2255044" y="250984"/>
                    <a:pt x="2253139" y="253841"/>
                    <a:pt x="2252186" y="258604"/>
                  </a:cubicBezTo>
                  <a:cubicBezTo>
                    <a:pt x="2251234" y="259556"/>
                    <a:pt x="2251234" y="260509"/>
                    <a:pt x="2250281" y="262414"/>
                  </a:cubicBezTo>
                  <a:cubicBezTo>
                    <a:pt x="2252186" y="255746"/>
                    <a:pt x="2253139" y="249079"/>
                    <a:pt x="2255044" y="243364"/>
                  </a:cubicBezTo>
                  <a:cubicBezTo>
                    <a:pt x="2260759" y="216694"/>
                    <a:pt x="2264569" y="194786"/>
                    <a:pt x="2267426" y="178594"/>
                  </a:cubicBezTo>
                  <a:cubicBezTo>
                    <a:pt x="2269331" y="163354"/>
                    <a:pt x="2270284" y="153829"/>
                    <a:pt x="2270284" y="153829"/>
                  </a:cubicBezTo>
                  <a:cubicBezTo>
                    <a:pt x="2270284" y="153829"/>
                    <a:pt x="2267426" y="162401"/>
                    <a:pt x="2262664" y="177641"/>
                  </a:cubicBezTo>
                  <a:cubicBezTo>
                    <a:pt x="2260759" y="185261"/>
                    <a:pt x="2257901" y="194786"/>
                    <a:pt x="2254091" y="205264"/>
                  </a:cubicBezTo>
                  <a:cubicBezTo>
                    <a:pt x="2251234" y="212884"/>
                    <a:pt x="2249329" y="221456"/>
                    <a:pt x="2246471" y="230981"/>
                  </a:cubicBezTo>
                  <a:cubicBezTo>
                    <a:pt x="2244566" y="234791"/>
                    <a:pt x="2243614" y="239554"/>
                    <a:pt x="2241709" y="244316"/>
                  </a:cubicBezTo>
                  <a:cubicBezTo>
                    <a:pt x="2240756" y="240506"/>
                    <a:pt x="2239804" y="236696"/>
                    <a:pt x="2239804" y="233839"/>
                  </a:cubicBezTo>
                  <a:cubicBezTo>
                    <a:pt x="2235994" y="215741"/>
                    <a:pt x="2233136" y="205264"/>
                    <a:pt x="2233136" y="205264"/>
                  </a:cubicBezTo>
                  <a:cubicBezTo>
                    <a:pt x="2233136" y="205264"/>
                    <a:pt x="2235041" y="224314"/>
                    <a:pt x="2237899" y="255746"/>
                  </a:cubicBezTo>
                  <a:cubicBezTo>
                    <a:pt x="2236946" y="259556"/>
                    <a:pt x="2235041" y="264319"/>
                    <a:pt x="2234089" y="269081"/>
                  </a:cubicBezTo>
                  <a:cubicBezTo>
                    <a:pt x="2234089" y="269081"/>
                    <a:pt x="2233136" y="270034"/>
                    <a:pt x="2233136" y="270034"/>
                  </a:cubicBezTo>
                  <a:cubicBezTo>
                    <a:pt x="2233136" y="268129"/>
                    <a:pt x="2233136" y="265271"/>
                    <a:pt x="2233136" y="263366"/>
                  </a:cubicBezTo>
                  <a:cubicBezTo>
                    <a:pt x="2233136" y="253841"/>
                    <a:pt x="2232184" y="244316"/>
                    <a:pt x="2231231" y="234791"/>
                  </a:cubicBezTo>
                  <a:cubicBezTo>
                    <a:pt x="2230279" y="225266"/>
                    <a:pt x="2229326" y="216694"/>
                    <a:pt x="2228374" y="207169"/>
                  </a:cubicBezTo>
                  <a:cubicBezTo>
                    <a:pt x="2229326" y="198596"/>
                    <a:pt x="2230279" y="193834"/>
                    <a:pt x="2230279" y="193834"/>
                  </a:cubicBezTo>
                  <a:cubicBezTo>
                    <a:pt x="2230279" y="193834"/>
                    <a:pt x="2229326" y="197644"/>
                    <a:pt x="2226469" y="204311"/>
                  </a:cubicBezTo>
                  <a:cubicBezTo>
                    <a:pt x="2225516" y="202406"/>
                    <a:pt x="2224564" y="201454"/>
                    <a:pt x="2222659" y="200501"/>
                  </a:cubicBezTo>
                  <a:cubicBezTo>
                    <a:pt x="2221706" y="200501"/>
                    <a:pt x="2221706" y="199549"/>
                    <a:pt x="2220754" y="199549"/>
                  </a:cubicBezTo>
                  <a:cubicBezTo>
                    <a:pt x="2219801" y="199549"/>
                    <a:pt x="2218849" y="199549"/>
                    <a:pt x="2217896" y="199549"/>
                  </a:cubicBezTo>
                  <a:cubicBezTo>
                    <a:pt x="2215991" y="200501"/>
                    <a:pt x="2215991" y="201454"/>
                    <a:pt x="2215039" y="202406"/>
                  </a:cubicBezTo>
                  <a:cubicBezTo>
                    <a:pt x="2213134" y="206216"/>
                    <a:pt x="2213134" y="210979"/>
                    <a:pt x="2213134" y="214789"/>
                  </a:cubicBezTo>
                  <a:cubicBezTo>
                    <a:pt x="2214086" y="210979"/>
                    <a:pt x="2215039" y="206216"/>
                    <a:pt x="2217896" y="203359"/>
                  </a:cubicBezTo>
                  <a:cubicBezTo>
                    <a:pt x="2218849" y="202406"/>
                    <a:pt x="2218849" y="201454"/>
                    <a:pt x="2219801" y="201454"/>
                  </a:cubicBezTo>
                  <a:cubicBezTo>
                    <a:pt x="2219801" y="201454"/>
                    <a:pt x="2220754" y="201454"/>
                    <a:pt x="2220754" y="202406"/>
                  </a:cubicBezTo>
                  <a:cubicBezTo>
                    <a:pt x="2221706" y="203359"/>
                    <a:pt x="2222659" y="205264"/>
                    <a:pt x="2223611" y="207169"/>
                  </a:cubicBezTo>
                  <a:lnTo>
                    <a:pt x="2223611" y="215741"/>
                  </a:lnTo>
                  <a:cubicBezTo>
                    <a:pt x="2223611" y="215741"/>
                    <a:pt x="2223611" y="215741"/>
                    <a:pt x="2223611" y="215741"/>
                  </a:cubicBezTo>
                  <a:cubicBezTo>
                    <a:pt x="2221706" y="222409"/>
                    <a:pt x="2218849" y="230981"/>
                    <a:pt x="2215991" y="241459"/>
                  </a:cubicBezTo>
                  <a:cubicBezTo>
                    <a:pt x="2213134" y="250984"/>
                    <a:pt x="2209324" y="262414"/>
                    <a:pt x="2206466" y="274796"/>
                  </a:cubicBezTo>
                  <a:cubicBezTo>
                    <a:pt x="2203609" y="287179"/>
                    <a:pt x="2199799" y="299561"/>
                    <a:pt x="2196941" y="313849"/>
                  </a:cubicBezTo>
                  <a:cubicBezTo>
                    <a:pt x="2195989" y="308134"/>
                    <a:pt x="2195989" y="305276"/>
                    <a:pt x="2195989" y="305276"/>
                  </a:cubicBezTo>
                  <a:cubicBezTo>
                    <a:pt x="2195989" y="305276"/>
                    <a:pt x="2195989" y="310039"/>
                    <a:pt x="2195036" y="317659"/>
                  </a:cubicBezTo>
                  <a:cubicBezTo>
                    <a:pt x="2194084" y="315754"/>
                    <a:pt x="2193131" y="314801"/>
                    <a:pt x="2193131" y="314801"/>
                  </a:cubicBezTo>
                  <a:cubicBezTo>
                    <a:pt x="2193131" y="314801"/>
                    <a:pt x="2194084" y="315754"/>
                    <a:pt x="2195036" y="318611"/>
                  </a:cubicBezTo>
                  <a:cubicBezTo>
                    <a:pt x="2195036" y="320516"/>
                    <a:pt x="2195036" y="321469"/>
                    <a:pt x="2195036" y="323374"/>
                  </a:cubicBezTo>
                  <a:cubicBezTo>
                    <a:pt x="2194084" y="327184"/>
                    <a:pt x="2193131" y="330994"/>
                    <a:pt x="2192179" y="334804"/>
                  </a:cubicBezTo>
                  <a:cubicBezTo>
                    <a:pt x="2191226" y="332899"/>
                    <a:pt x="2191226" y="331946"/>
                    <a:pt x="2190274" y="330994"/>
                  </a:cubicBezTo>
                  <a:cubicBezTo>
                    <a:pt x="2190274" y="330041"/>
                    <a:pt x="2191226" y="330041"/>
                    <a:pt x="2191226" y="330041"/>
                  </a:cubicBezTo>
                  <a:cubicBezTo>
                    <a:pt x="2191226" y="330041"/>
                    <a:pt x="2191226" y="330041"/>
                    <a:pt x="2190274" y="330994"/>
                  </a:cubicBezTo>
                  <a:cubicBezTo>
                    <a:pt x="2189321" y="328136"/>
                    <a:pt x="2188369" y="326231"/>
                    <a:pt x="2188369" y="326231"/>
                  </a:cubicBezTo>
                  <a:cubicBezTo>
                    <a:pt x="2188369" y="326231"/>
                    <a:pt x="2188369" y="328136"/>
                    <a:pt x="2189321" y="331946"/>
                  </a:cubicBezTo>
                  <a:cubicBezTo>
                    <a:pt x="2189321" y="331946"/>
                    <a:pt x="2188369" y="332899"/>
                    <a:pt x="2188369" y="332899"/>
                  </a:cubicBezTo>
                  <a:cubicBezTo>
                    <a:pt x="2186464" y="321469"/>
                    <a:pt x="2185511" y="315754"/>
                    <a:pt x="2185511" y="315754"/>
                  </a:cubicBezTo>
                  <a:cubicBezTo>
                    <a:pt x="2185511" y="315754"/>
                    <a:pt x="2185511" y="323374"/>
                    <a:pt x="2184559" y="336709"/>
                  </a:cubicBezTo>
                  <a:cubicBezTo>
                    <a:pt x="2184559" y="336709"/>
                    <a:pt x="2184559" y="336709"/>
                    <a:pt x="2184559" y="337661"/>
                  </a:cubicBezTo>
                  <a:cubicBezTo>
                    <a:pt x="2183606" y="339566"/>
                    <a:pt x="2181701" y="341471"/>
                    <a:pt x="2179796" y="343376"/>
                  </a:cubicBezTo>
                  <a:cubicBezTo>
                    <a:pt x="2179796" y="342424"/>
                    <a:pt x="2178844" y="341471"/>
                    <a:pt x="2178844" y="340519"/>
                  </a:cubicBezTo>
                  <a:cubicBezTo>
                    <a:pt x="2183606" y="320516"/>
                    <a:pt x="2188369" y="301466"/>
                    <a:pt x="2192179" y="283369"/>
                  </a:cubicBezTo>
                  <a:cubicBezTo>
                    <a:pt x="2205514" y="228124"/>
                    <a:pt x="2212181" y="190024"/>
                    <a:pt x="2212181" y="190024"/>
                  </a:cubicBezTo>
                  <a:cubicBezTo>
                    <a:pt x="2212181" y="190024"/>
                    <a:pt x="2199799" y="222409"/>
                    <a:pt x="2183606" y="272891"/>
                  </a:cubicBezTo>
                  <a:cubicBezTo>
                    <a:pt x="2184559" y="266224"/>
                    <a:pt x="2186464" y="259556"/>
                    <a:pt x="2187416" y="253841"/>
                  </a:cubicBezTo>
                  <a:cubicBezTo>
                    <a:pt x="2189321" y="246221"/>
                    <a:pt x="2190274" y="239554"/>
                    <a:pt x="2192179" y="231934"/>
                  </a:cubicBezTo>
                  <a:cubicBezTo>
                    <a:pt x="2194084" y="224314"/>
                    <a:pt x="2195989" y="216694"/>
                    <a:pt x="2196941" y="210026"/>
                  </a:cubicBezTo>
                  <a:cubicBezTo>
                    <a:pt x="2197894" y="204311"/>
                    <a:pt x="2199799" y="198596"/>
                    <a:pt x="2200751" y="193834"/>
                  </a:cubicBezTo>
                  <a:cubicBezTo>
                    <a:pt x="2201704" y="189071"/>
                    <a:pt x="2203609" y="184309"/>
                    <a:pt x="2204561" y="179546"/>
                  </a:cubicBezTo>
                  <a:cubicBezTo>
                    <a:pt x="2207419" y="170021"/>
                    <a:pt x="2209324" y="162401"/>
                    <a:pt x="2211229" y="155734"/>
                  </a:cubicBezTo>
                  <a:cubicBezTo>
                    <a:pt x="2215039" y="142399"/>
                    <a:pt x="2217896" y="134779"/>
                    <a:pt x="2217896" y="134779"/>
                  </a:cubicBezTo>
                  <a:cubicBezTo>
                    <a:pt x="2217896" y="134779"/>
                    <a:pt x="2215039" y="139541"/>
                    <a:pt x="2211229" y="148114"/>
                  </a:cubicBezTo>
                  <a:cubicBezTo>
                    <a:pt x="2211229" y="148114"/>
                    <a:pt x="2211229" y="147161"/>
                    <a:pt x="2211229" y="147161"/>
                  </a:cubicBezTo>
                  <a:cubicBezTo>
                    <a:pt x="2213134" y="139541"/>
                    <a:pt x="2215039" y="131921"/>
                    <a:pt x="2216944" y="125254"/>
                  </a:cubicBezTo>
                  <a:cubicBezTo>
                    <a:pt x="2218849" y="118586"/>
                    <a:pt x="2220754" y="111919"/>
                    <a:pt x="2222659" y="105251"/>
                  </a:cubicBezTo>
                  <a:cubicBezTo>
                    <a:pt x="2226469" y="92869"/>
                    <a:pt x="2229326" y="81439"/>
                    <a:pt x="2233136" y="72866"/>
                  </a:cubicBezTo>
                  <a:cubicBezTo>
                    <a:pt x="2238851" y="54769"/>
                    <a:pt x="2242661" y="45244"/>
                    <a:pt x="2242661" y="45244"/>
                  </a:cubicBezTo>
                  <a:cubicBezTo>
                    <a:pt x="2242661" y="45244"/>
                    <a:pt x="2237899" y="54769"/>
                    <a:pt x="2229326" y="71914"/>
                  </a:cubicBezTo>
                  <a:cubicBezTo>
                    <a:pt x="2224564" y="80486"/>
                    <a:pt x="2220754" y="90964"/>
                    <a:pt x="2215991" y="103346"/>
                  </a:cubicBezTo>
                  <a:cubicBezTo>
                    <a:pt x="2213134" y="109061"/>
                    <a:pt x="2211229" y="115729"/>
                    <a:pt x="2208371" y="122396"/>
                  </a:cubicBezTo>
                  <a:cubicBezTo>
                    <a:pt x="2205514" y="129064"/>
                    <a:pt x="2203609" y="136684"/>
                    <a:pt x="2200751" y="144304"/>
                  </a:cubicBezTo>
                  <a:cubicBezTo>
                    <a:pt x="2195036" y="159544"/>
                    <a:pt x="2190274" y="176689"/>
                    <a:pt x="2184559" y="193834"/>
                  </a:cubicBezTo>
                  <a:cubicBezTo>
                    <a:pt x="2181701" y="204311"/>
                    <a:pt x="2177891" y="215741"/>
                    <a:pt x="2175034" y="228124"/>
                  </a:cubicBezTo>
                  <a:cubicBezTo>
                    <a:pt x="2175986" y="218599"/>
                    <a:pt x="2176939" y="210026"/>
                    <a:pt x="2177891" y="203359"/>
                  </a:cubicBezTo>
                  <a:cubicBezTo>
                    <a:pt x="2178844" y="198596"/>
                    <a:pt x="2178844" y="193834"/>
                    <a:pt x="2178844" y="190024"/>
                  </a:cubicBezTo>
                  <a:cubicBezTo>
                    <a:pt x="2179796" y="186214"/>
                    <a:pt x="2180749" y="184309"/>
                    <a:pt x="2180749" y="184309"/>
                  </a:cubicBezTo>
                  <a:cubicBezTo>
                    <a:pt x="2180749" y="184309"/>
                    <a:pt x="2179796" y="185261"/>
                    <a:pt x="2179796" y="187166"/>
                  </a:cubicBezTo>
                  <a:cubicBezTo>
                    <a:pt x="2180749" y="180499"/>
                    <a:pt x="2180749" y="176689"/>
                    <a:pt x="2180749" y="176689"/>
                  </a:cubicBezTo>
                  <a:cubicBezTo>
                    <a:pt x="2180749" y="176689"/>
                    <a:pt x="2178844" y="183356"/>
                    <a:pt x="2175986" y="194786"/>
                  </a:cubicBezTo>
                  <a:cubicBezTo>
                    <a:pt x="2174081" y="198596"/>
                    <a:pt x="2172176" y="202406"/>
                    <a:pt x="2170271" y="208121"/>
                  </a:cubicBezTo>
                  <a:cubicBezTo>
                    <a:pt x="2163604" y="223361"/>
                    <a:pt x="2155031" y="245269"/>
                    <a:pt x="2144554" y="271939"/>
                  </a:cubicBezTo>
                  <a:cubicBezTo>
                    <a:pt x="2141696" y="279559"/>
                    <a:pt x="2137886" y="288131"/>
                    <a:pt x="2135029" y="296704"/>
                  </a:cubicBezTo>
                  <a:cubicBezTo>
                    <a:pt x="2135029" y="296704"/>
                    <a:pt x="2135029" y="296704"/>
                    <a:pt x="2135029" y="295751"/>
                  </a:cubicBezTo>
                  <a:cubicBezTo>
                    <a:pt x="2133124" y="290989"/>
                    <a:pt x="2131219" y="286226"/>
                    <a:pt x="2129314" y="282416"/>
                  </a:cubicBezTo>
                  <a:cubicBezTo>
                    <a:pt x="2133124" y="261461"/>
                    <a:pt x="2135981" y="244316"/>
                    <a:pt x="2137886" y="231934"/>
                  </a:cubicBezTo>
                  <a:cubicBezTo>
                    <a:pt x="2139791" y="217646"/>
                    <a:pt x="2141696" y="210026"/>
                    <a:pt x="2141696" y="210026"/>
                  </a:cubicBezTo>
                  <a:cubicBezTo>
                    <a:pt x="2141696" y="210026"/>
                    <a:pt x="2138839" y="217646"/>
                    <a:pt x="2134076" y="230981"/>
                  </a:cubicBezTo>
                  <a:cubicBezTo>
                    <a:pt x="2131219" y="239554"/>
                    <a:pt x="2127409" y="250984"/>
                    <a:pt x="2123599" y="263366"/>
                  </a:cubicBezTo>
                  <a:cubicBezTo>
                    <a:pt x="2123599" y="260509"/>
                    <a:pt x="2122646" y="257651"/>
                    <a:pt x="2122646" y="253841"/>
                  </a:cubicBezTo>
                  <a:cubicBezTo>
                    <a:pt x="2120741" y="238601"/>
                    <a:pt x="2118836" y="225266"/>
                    <a:pt x="2117884" y="211931"/>
                  </a:cubicBezTo>
                  <a:cubicBezTo>
                    <a:pt x="2115979" y="198596"/>
                    <a:pt x="2114074" y="187166"/>
                    <a:pt x="2112169" y="176689"/>
                  </a:cubicBezTo>
                  <a:cubicBezTo>
                    <a:pt x="2110264" y="166211"/>
                    <a:pt x="2108359" y="157639"/>
                    <a:pt x="2107406" y="150019"/>
                  </a:cubicBezTo>
                  <a:cubicBezTo>
                    <a:pt x="2104549" y="134779"/>
                    <a:pt x="2102644" y="127159"/>
                    <a:pt x="2102644" y="127159"/>
                  </a:cubicBezTo>
                  <a:cubicBezTo>
                    <a:pt x="2102644" y="127159"/>
                    <a:pt x="2102644" y="135731"/>
                    <a:pt x="2103596" y="150971"/>
                  </a:cubicBezTo>
                  <a:cubicBezTo>
                    <a:pt x="2103596" y="155734"/>
                    <a:pt x="2104549" y="161449"/>
                    <a:pt x="2104549" y="168116"/>
                  </a:cubicBezTo>
                  <a:cubicBezTo>
                    <a:pt x="2104549" y="171926"/>
                    <a:pt x="2104549" y="176689"/>
                    <a:pt x="2104549" y="183356"/>
                  </a:cubicBezTo>
                  <a:cubicBezTo>
                    <a:pt x="2104549" y="190024"/>
                    <a:pt x="2105501" y="197644"/>
                    <a:pt x="2105501" y="207169"/>
                  </a:cubicBezTo>
                  <a:cubicBezTo>
                    <a:pt x="2105501" y="212884"/>
                    <a:pt x="2106454" y="218599"/>
                    <a:pt x="2106454" y="225266"/>
                  </a:cubicBezTo>
                  <a:cubicBezTo>
                    <a:pt x="2105501" y="224314"/>
                    <a:pt x="2105501" y="222409"/>
                    <a:pt x="2104549" y="221456"/>
                  </a:cubicBezTo>
                  <a:cubicBezTo>
                    <a:pt x="2104549" y="221456"/>
                    <a:pt x="2104549" y="221456"/>
                    <a:pt x="2104549" y="221456"/>
                  </a:cubicBezTo>
                  <a:lnTo>
                    <a:pt x="2104549" y="221456"/>
                  </a:lnTo>
                  <a:cubicBezTo>
                    <a:pt x="2103596" y="219551"/>
                    <a:pt x="2102644" y="217646"/>
                    <a:pt x="2102644" y="215741"/>
                  </a:cubicBezTo>
                  <a:cubicBezTo>
                    <a:pt x="2102644" y="211931"/>
                    <a:pt x="2101691" y="208121"/>
                    <a:pt x="2101691" y="205264"/>
                  </a:cubicBezTo>
                  <a:cubicBezTo>
                    <a:pt x="2100739" y="193834"/>
                    <a:pt x="2099786" y="184309"/>
                    <a:pt x="2098834" y="176689"/>
                  </a:cubicBezTo>
                  <a:cubicBezTo>
                    <a:pt x="2098834" y="173831"/>
                    <a:pt x="2097881" y="170974"/>
                    <a:pt x="2097881" y="168116"/>
                  </a:cubicBezTo>
                  <a:cubicBezTo>
                    <a:pt x="2100739" y="155734"/>
                    <a:pt x="2102644" y="149066"/>
                    <a:pt x="2102644" y="149066"/>
                  </a:cubicBezTo>
                  <a:cubicBezTo>
                    <a:pt x="2102644" y="149066"/>
                    <a:pt x="2100739" y="153829"/>
                    <a:pt x="2096929" y="162401"/>
                  </a:cubicBezTo>
                  <a:cubicBezTo>
                    <a:pt x="2095976" y="155734"/>
                    <a:pt x="2095024" y="151924"/>
                    <a:pt x="2095024" y="151924"/>
                  </a:cubicBezTo>
                  <a:cubicBezTo>
                    <a:pt x="2095024" y="151924"/>
                    <a:pt x="2095024" y="157639"/>
                    <a:pt x="2095024" y="167164"/>
                  </a:cubicBezTo>
                  <a:cubicBezTo>
                    <a:pt x="2088356" y="182404"/>
                    <a:pt x="2078831" y="206216"/>
                    <a:pt x="2066449" y="235744"/>
                  </a:cubicBezTo>
                  <a:cubicBezTo>
                    <a:pt x="2063591" y="243364"/>
                    <a:pt x="2060734" y="250984"/>
                    <a:pt x="2056924" y="259556"/>
                  </a:cubicBezTo>
                  <a:cubicBezTo>
                    <a:pt x="2061686" y="234791"/>
                    <a:pt x="2063591" y="219551"/>
                    <a:pt x="2063591" y="219551"/>
                  </a:cubicBezTo>
                  <a:cubicBezTo>
                    <a:pt x="2063591" y="219551"/>
                    <a:pt x="2058829" y="231934"/>
                    <a:pt x="2052161" y="252889"/>
                  </a:cubicBezTo>
                  <a:cubicBezTo>
                    <a:pt x="2051209" y="250984"/>
                    <a:pt x="2050256" y="249079"/>
                    <a:pt x="2050256" y="248126"/>
                  </a:cubicBezTo>
                  <a:cubicBezTo>
                    <a:pt x="2050256" y="238601"/>
                    <a:pt x="2050256" y="233839"/>
                    <a:pt x="2050256" y="233839"/>
                  </a:cubicBezTo>
                  <a:cubicBezTo>
                    <a:pt x="2050256" y="233839"/>
                    <a:pt x="2049304" y="237649"/>
                    <a:pt x="2048351" y="244316"/>
                  </a:cubicBezTo>
                  <a:cubicBezTo>
                    <a:pt x="2047399" y="241459"/>
                    <a:pt x="2046446" y="240506"/>
                    <a:pt x="2046446" y="240506"/>
                  </a:cubicBezTo>
                  <a:cubicBezTo>
                    <a:pt x="2046446" y="240506"/>
                    <a:pt x="2047399" y="242411"/>
                    <a:pt x="2047399" y="247174"/>
                  </a:cubicBezTo>
                  <a:cubicBezTo>
                    <a:pt x="2046446" y="251936"/>
                    <a:pt x="2045494" y="258604"/>
                    <a:pt x="2044541" y="266224"/>
                  </a:cubicBezTo>
                  <a:cubicBezTo>
                    <a:pt x="2044541" y="264319"/>
                    <a:pt x="2043589" y="261461"/>
                    <a:pt x="2043589" y="259556"/>
                  </a:cubicBezTo>
                  <a:cubicBezTo>
                    <a:pt x="2042636" y="255746"/>
                    <a:pt x="2042636" y="252889"/>
                    <a:pt x="2041684" y="249079"/>
                  </a:cubicBezTo>
                  <a:cubicBezTo>
                    <a:pt x="2046446" y="210026"/>
                    <a:pt x="2048351" y="184309"/>
                    <a:pt x="2048351" y="184309"/>
                  </a:cubicBezTo>
                  <a:cubicBezTo>
                    <a:pt x="2048351" y="184309"/>
                    <a:pt x="2044541" y="196691"/>
                    <a:pt x="2039779" y="216694"/>
                  </a:cubicBezTo>
                  <a:cubicBezTo>
                    <a:pt x="2038826" y="218599"/>
                    <a:pt x="2037874" y="220504"/>
                    <a:pt x="2036921" y="223361"/>
                  </a:cubicBezTo>
                  <a:cubicBezTo>
                    <a:pt x="2036921" y="221456"/>
                    <a:pt x="2035969" y="220504"/>
                    <a:pt x="2035969" y="218599"/>
                  </a:cubicBezTo>
                  <a:cubicBezTo>
                    <a:pt x="2034064" y="206216"/>
                    <a:pt x="2032159" y="195739"/>
                    <a:pt x="2031206" y="187166"/>
                  </a:cubicBezTo>
                  <a:cubicBezTo>
                    <a:pt x="2030254" y="179546"/>
                    <a:pt x="2029301" y="173831"/>
                    <a:pt x="2028349" y="169069"/>
                  </a:cubicBezTo>
                  <a:cubicBezTo>
                    <a:pt x="2030254" y="154781"/>
                    <a:pt x="2031206" y="147161"/>
                    <a:pt x="2031206" y="147161"/>
                  </a:cubicBezTo>
                  <a:cubicBezTo>
                    <a:pt x="2031206" y="147161"/>
                    <a:pt x="2030254" y="150971"/>
                    <a:pt x="2028349" y="157639"/>
                  </a:cubicBezTo>
                  <a:cubicBezTo>
                    <a:pt x="2029301" y="145256"/>
                    <a:pt x="2030254" y="138589"/>
                    <a:pt x="2030254" y="138589"/>
                  </a:cubicBezTo>
                  <a:cubicBezTo>
                    <a:pt x="2030254" y="138589"/>
                    <a:pt x="2028349" y="146209"/>
                    <a:pt x="2023586" y="160496"/>
                  </a:cubicBezTo>
                  <a:cubicBezTo>
                    <a:pt x="2021681" y="167164"/>
                    <a:pt x="2019776" y="176689"/>
                    <a:pt x="2017871" y="186214"/>
                  </a:cubicBezTo>
                  <a:cubicBezTo>
                    <a:pt x="2017871" y="188119"/>
                    <a:pt x="2016919" y="190024"/>
                    <a:pt x="2016919" y="191929"/>
                  </a:cubicBezTo>
                  <a:cubicBezTo>
                    <a:pt x="2016919" y="191929"/>
                    <a:pt x="2016919" y="190976"/>
                    <a:pt x="2016919" y="190976"/>
                  </a:cubicBezTo>
                  <a:cubicBezTo>
                    <a:pt x="2018824" y="170021"/>
                    <a:pt x="2019776" y="158591"/>
                    <a:pt x="2019776" y="158591"/>
                  </a:cubicBezTo>
                  <a:cubicBezTo>
                    <a:pt x="2019776" y="158591"/>
                    <a:pt x="2017871" y="166211"/>
                    <a:pt x="2015014" y="178594"/>
                  </a:cubicBezTo>
                  <a:cubicBezTo>
                    <a:pt x="2015014" y="176689"/>
                    <a:pt x="2014061" y="174784"/>
                    <a:pt x="2014061" y="174784"/>
                  </a:cubicBezTo>
                  <a:cubicBezTo>
                    <a:pt x="2014061" y="174784"/>
                    <a:pt x="2014061" y="175736"/>
                    <a:pt x="2014061" y="177641"/>
                  </a:cubicBezTo>
                  <a:cubicBezTo>
                    <a:pt x="2013109" y="172879"/>
                    <a:pt x="2012156" y="168116"/>
                    <a:pt x="2011204" y="163354"/>
                  </a:cubicBezTo>
                  <a:cubicBezTo>
                    <a:pt x="2008346" y="148114"/>
                    <a:pt x="2006441" y="135731"/>
                    <a:pt x="2003584" y="125254"/>
                  </a:cubicBezTo>
                  <a:cubicBezTo>
                    <a:pt x="1999774" y="104299"/>
                    <a:pt x="1996916" y="91916"/>
                    <a:pt x="1996916" y="91916"/>
                  </a:cubicBezTo>
                  <a:cubicBezTo>
                    <a:pt x="1996916" y="91916"/>
                    <a:pt x="1997869" y="104299"/>
                    <a:pt x="1999774" y="125254"/>
                  </a:cubicBezTo>
                  <a:cubicBezTo>
                    <a:pt x="2000726" y="135731"/>
                    <a:pt x="2001679" y="149066"/>
                    <a:pt x="2003584" y="164306"/>
                  </a:cubicBezTo>
                  <a:cubicBezTo>
                    <a:pt x="2004536" y="175736"/>
                    <a:pt x="2006441" y="189071"/>
                    <a:pt x="2008346" y="203359"/>
                  </a:cubicBezTo>
                  <a:cubicBezTo>
                    <a:pt x="2005489" y="213836"/>
                    <a:pt x="2002631" y="227171"/>
                    <a:pt x="1999774" y="240506"/>
                  </a:cubicBezTo>
                  <a:cubicBezTo>
                    <a:pt x="1995011" y="262414"/>
                    <a:pt x="1990249" y="288131"/>
                    <a:pt x="1984534" y="314801"/>
                  </a:cubicBezTo>
                  <a:cubicBezTo>
                    <a:pt x="1984534" y="303371"/>
                    <a:pt x="1984534" y="292894"/>
                    <a:pt x="1984534" y="283369"/>
                  </a:cubicBezTo>
                  <a:cubicBezTo>
                    <a:pt x="1984534" y="277654"/>
                    <a:pt x="1984534" y="271939"/>
                    <a:pt x="1984534" y="267176"/>
                  </a:cubicBezTo>
                  <a:cubicBezTo>
                    <a:pt x="1985486" y="265271"/>
                    <a:pt x="1986439" y="263366"/>
                    <a:pt x="1986439" y="263366"/>
                  </a:cubicBezTo>
                  <a:cubicBezTo>
                    <a:pt x="1986439" y="263366"/>
                    <a:pt x="1985486" y="264319"/>
                    <a:pt x="1984534" y="265271"/>
                  </a:cubicBezTo>
                  <a:cubicBezTo>
                    <a:pt x="1984534" y="257651"/>
                    <a:pt x="1984534" y="250031"/>
                    <a:pt x="1985486" y="243364"/>
                  </a:cubicBezTo>
                  <a:cubicBezTo>
                    <a:pt x="1986439" y="231934"/>
                    <a:pt x="1986439" y="221456"/>
                    <a:pt x="1987391" y="212884"/>
                  </a:cubicBezTo>
                  <a:cubicBezTo>
                    <a:pt x="1988344" y="195739"/>
                    <a:pt x="1989296" y="186214"/>
                    <a:pt x="1989296" y="186214"/>
                  </a:cubicBezTo>
                  <a:cubicBezTo>
                    <a:pt x="1989296" y="186214"/>
                    <a:pt x="1987391" y="195739"/>
                    <a:pt x="1983581" y="211931"/>
                  </a:cubicBezTo>
                  <a:cubicBezTo>
                    <a:pt x="1981676" y="220504"/>
                    <a:pt x="1979771" y="230029"/>
                    <a:pt x="1978819" y="242411"/>
                  </a:cubicBezTo>
                  <a:cubicBezTo>
                    <a:pt x="1976914" y="253841"/>
                    <a:pt x="1975961" y="267176"/>
                    <a:pt x="1974056" y="281464"/>
                  </a:cubicBezTo>
                  <a:cubicBezTo>
                    <a:pt x="1974056" y="281464"/>
                    <a:pt x="1973104" y="282416"/>
                    <a:pt x="1973104" y="282416"/>
                  </a:cubicBezTo>
                  <a:cubicBezTo>
                    <a:pt x="1971199" y="284321"/>
                    <a:pt x="1970246" y="286226"/>
                    <a:pt x="1968341" y="289084"/>
                  </a:cubicBezTo>
                  <a:cubicBezTo>
                    <a:pt x="1968341" y="287179"/>
                    <a:pt x="1968341" y="285274"/>
                    <a:pt x="1968341" y="283369"/>
                  </a:cubicBezTo>
                  <a:cubicBezTo>
                    <a:pt x="1971199" y="277654"/>
                    <a:pt x="1973104" y="274796"/>
                    <a:pt x="1973104" y="274796"/>
                  </a:cubicBezTo>
                  <a:cubicBezTo>
                    <a:pt x="1973104" y="274796"/>
                    <a:pt x="1971199" y="276701"/>
                    <a:pt x="1968341" y="280511"/>
                  </a:cubicBezTo>
                  <a:cubicBezTo>
                    <a:pt x="1970246" y="255746"/>
                    <a:pt x="1972151" y="235744"/>
                    <a:pt x="1973104" y="224314"/>
                  </a:cubicBezTo>
                  <a:cubicBezTo>
                    <a:pt x="1975961" y="201454"/>
                    <a:pt x="1976914" y="187166"/>
                    <a:pt x="1976914" y="187166"/>
                  </a:cubicBezTo>
                  <a:cubicBezTo>
                    <a:pt x="1976914" y="187166"/>
                    <a:pt x="1973104" y="198596"/>
                    <a:pt x="1967389" y="218599"/>
                  </a:cubicBezTo>
                  <a:cubicBezTo>
                    <a:pt x="1967389" y="217646"/>
                    <a:pt x="1967389" y="216694"/>
                    <a:pt x="1967389" y="216694"/>
                  </a:cubicBezTo>
                  <a:cubicBezTo>
                    <a:pt x="1967389" y="216694"/>
                    <a:pt x="1967389" y="217646"/>
                    <a:pt x="1966436" y="220504"/>
                  </a:cubicBezTo>
                  <a:cubicBezTo>
                    <a:pt x="1963579" y="229076"/>
                    <a:pt x="1960721" y="238601"/>
                    <a:pt x="1957864" y="250031"/>
                  </a:cubicBezTo>
                  <a:cubicBezTo>
                    <a:pt x="1955959" y="256699"/>
                    <a:pt x="1954054" y="264319"/>
                    <a:pt x="1952149" y="271939"/>
                  </a:cubicBezTo>
                  <a:cubicBezTo>
                    <a:pt x="1947386" y="250031"/>
                    <a:pt x="1944529" y="232886"/>
                    <a:pt x="1941671" y="221456"/>
                  </a:cubicBezTo>
                  <a:cubicBezTo>
                    <a:pt x="1941671" y="218599"/>
                    <a:pt x="1942624" y="215741"/>
                    <a:pt x="1942624" y="213836"/>
                  </a:cubicBezTo>
                  <a:cubicBezTo>
                    <a:pt x="1946434" y="203359"/>
                    <a:pt x="1949291" y="193834"/>
                    <a:pt x="1952149" y="186214"/>
                  </a:cubicBezTo>
                  <a:cubicBezTo>
                    <a:pt x="1958816" y="168116"/>
                    <a:pt x="1962626" y="157639"/>
                    <a:pt x="1962626" y="157639"/>
                  </a:cubicBezTo>
                  <a:cubicBezTo>
                    <a:pt x="1962626" y="157639"/>
                    <a:pt x="1957864" y="167164"/>
                    <a:pt x="1948339" y="185261"/>
                  </a:cubicBezTo>
                  <a:cubicBezTo>
                    <a:pt x="1947386" y="187166"/>
                    <a:pt x="1946434" y="189071"/>
                    <a:pt x="1945481" y="190976"/>
                  </a:cubicBezTo>
                  <a:cubicBezTo>
                    <a:pt x="1945481" y="190024"/>
                    <a:pt x="1945481" y="189071"/>
                    <a:pt x="1945481" y="189071"/>
                  </a:cubicBezTo>
                  <a:cubicBezTo>
                    <a:pt x="1945481" y="189071"/>
                    <a:pt x="1945481" y="190024"/>
                    <a:pt x="1944529" y="192881"/>
                  </a:cubicBezTo>
                  <a:cubicBezTo>
                    <a:pt x="1942624" y="196691"/>
                    <a:pt x="1940719" y="201454"/>
                    <a:pt x="1938814" y="205264"/>
                  </a:cubicBezTo>
                  <a:cubicBezTo>
                    <a:pt x="1936909" y="170021"/>
                    <a:pt x="1935004" y="148114"/>
                    <a:pt x="1935004" y="148114"/>
                  </a:cubicBezTo>
                  <a:cubicBezTo>
                    <a:pt x="1935004" y="148114"/>
                    <a:pt x="1931194" y="178594"/>
                    <a:pt x="1928336" y="224314"/>
                  </a:cubicBezTo>
                  <a:cubicBezTo>
                    <a:pt x="1928336" y="225266"/>
                    <a:pt x="1928336" y="227171"/>
                    <a:pt x="1928336" y="229076"/>
                  </a:cubicBezTo>
                  <a:cubicBezTo>
                    <a:pt x="1927384" y="231934"/>
                    <a:pt x="1925479" y="234791"/>
                    <a:pt x="1924526" y="236696"/>
                  </a:cubicBezTo>
                  <a:cubicBezTo>
                    <a:pt x="1921669" y="243364"/>
                    <a:pt x="1918811" y="250984"/>
                    <a:pt x="1915001" y="258604"/>
                  </a:cubicBezTo>
                  <a:cubicBezTo>
                    <a:pt x="1914049" y="261461"/>
                    <a:pt x="1912144" y="265271"/>
                    <a:pt x="1911191" y="268129"/>
                  </a:cubicBezTo>
                  <a:cubicBezTo>
                    <a:pt x="1910239" y="265271"/>
                    <a:pt x="1908334" y="262414"/>
                    <a:pt x="1907381" y="259556"/>
                  </a:cubicBezTo>
                  <a:lnTo>
                    <a:pt x="1907381" y="258604"/>
                  </a:lnTo>
                  <a:lnTo>
                    <a:pt x="1907381" y="258604"/>
                  </a:lnTo>
                  <a:cubicBezTo>
                    <a:pt x="1905476" y="256699"/>
                    <a:pt x="1903571" y="254794"/>
                    <a:pt x="1900714" y="253841"/>
                  </a:cubicBezTo>
                  <a:cubicBezTo>
                    <a:pt x="1899761" y="253841"/>
                    <a:pt x="1898809" y="252889"/>
                    <a:pt x="1897856" y="252889"/>
                  </a:cubicBezTo>
                  <a:cubicBezTo>
                    <a:pt x="1897856" y="252889"/>
                    <a:pt x="1896904" y="252889"/>
                    <a:pt x="1896904" y="252889"/>
                  </a:cubicBezTo>
                  <a:cubicBezTo>
                    <a:pt x="1896904" y="251936"/>
                    <a:pt x="1896904" y="251936"/>
                    <a:pt x="1896904" y="250984"/>
                  </a:cubicBezTo>
                  <a:cubicBezTo>
                    <a:pt x="1896904" y="249079"/>
                    <a:pt x="1897856" y="247174"/>
                    <a:pt x="1897856" y="246221"/>
                  </a:cubicBezTo>
                  <a:cubicBezTo>
                    <a:pt x="1899761" y="240506"/>
                    <a:pt x="1900714" y="234791"/>
                    <a:pt x="1902619" y="230029"/>
                  </a:cubicBezTo>
                  <a:cubicBezTo>
                    <a:pt x="1903571" y="228124"/>
                    <a:pt x="1903571" y="226219"/>
                    <a:pt x="1903571" y="226219"/>
                  </a:cubicBezTo>
                  <a:cubicBezTo>
                    <a:pt x="1903571" y="226219"/>
                    <a:pt x="1903571" y="226219"/>
                    <a:pt x="1902619" y="227171"/>
                  </a:cubicBezTo>
                  <a:cubicBezTo>
                    <a:pt x="1903571" y="222409"/>
                    <a:pt x="1905476" y="218599"/>
                    <a:pt x="1906429" y="214789"/>
                  </a:cubicBezTo>
                  <a:cubicBezTo>
                    <a:pt x="1909286" y="205264"/>
                    <a:pt x="1912144" y="196691"/>
                    <a:pt x="1915001" y="190976"/>
                  </a:cubicBezTo>
                  <a:cubicBezTo>
                    <a:pt x="1919764" y="177641"/>
                    <a:pt x="1922621" y="170021"/>
                    <a:pt x="1922621" y="170021"/>
                  </a:cubicBezTo>
                  <a:cubicBezTo>
                    <a:pt x="1922621" y="170021"/>
                    <a:pt x="1918811" y="176689"/>
                    <a:pt x="1911191" y="189071"/>
                  </a:cubicBezTo>
                  <a:cubicBezTo>
                    <a:pt x="1907381" y="194786"/>
                    <a:pt x="1903571" y="203359"/>
                    <a:pt x="1899761" y="211931"/>
                  </a:cubicBezTo>
                  <a:cubicBezTo>
                    <a:pt x="1897856" y="216694"/>
                    <a:pt x="1894999" y="221456"/>
                    <a:pt x="1893094" y="226219"/>
                  </a:cubicBezTo>
                  <a:cubicBezTo>
                    <a:pt x="1892141" y="229076"/>
                    <a:pt x="1890236" y="231934"/>
                    <a:pt x="1889284" y="235744"/>
                  </a:cubicBezTo>
                  <a:cubicBezTo>
                    <a:pt x="1889284" y="234791"/>
                    <a:pt x="1889284" y="233839"/>
                    <a:pt x="1888331" y="232886"/>
                  </a:cubicBezTo>
                  <a:cubicBezTo>
                    <a:pt x="1888331" y="227171"/>
                    <a:pt x="1888331" y="221456"/>
                    <a:pt x="1889284" y="216694"/>
                  </a:cubicBezTo>
                  <a:cubicBezTo>
                    <a:pt x="1889284" y="210979"/>
                    <a:pt x="1890236" y="205264"/>
                    <a:pt x="1891189" y="200501"/>
                  </a:cubicBezTo>
                  <a:cubicBezTo>
                    <a:pt x="1892141" y="195739"/>
                    <a:pt x="1893094" y="190976"/>
                    <a:pt x="1894046" y="187166"/>
                  </a:cubicBezTo>
                  <a:cubicBezTo>
                    <a:pt x="1895951" y="179546"/>
                    <a:pt x="1897856" y="172879"/>
                    <a:pt x="1899761" y="169069"/>
                  </a:cubicBezTo>
                  <a:cubicBezTo>
                    <a:pt x="1901666" y="165259"/>
                    <a:pt x="1902619" y="162401"/>
                    <a:pt x="1902619" y="162401"/>
                  </a:cubicBezTo>
                  <a:cubicBezTo>
                    <a:pt x="1902619" y="162401"/>
                    <a:pt x="1901666" y="164306"/>
                    <a:pt x="1898809" y="168116"/>
                  </a:cubicBezTo>
                  <a:cubicBezTo>
                    <a:pt x="1895951" y="171926"/>
                    <a:pt x="1893094" y="177641"/>
                    <a:pt x="1890236" y="186214"/>
                  </a:cubicBezTo>
                  <a:cubicBezTo>
                    <a:pt x="1889284" y="190024"/>
                    <a:pt x="1887379" y="194786"/>
                    <a:pt x="1885474" y="199549"/>
                  </a:cubicBezTo>
                  <a:cubicBezTo>
                    <a:pt x="1884521" y="204311"/>
                    <a:pt x="1883569" y="209074"/>
                    <a:pt x="1882616" y="213836"/>
                  </a:cubicBezTo>
                  <a:cubicBezTo>
                    <a:pt x="1882616" y="211931"/>
                    <a:pt x="1882616" y="210026"/>
                    <a:pt x="1882616" y="210026"/>
                  </a:cubicBezTo>
                  <a:cubicBezTo>
                    <a:pt x="1882616" y="210026"/>
                    <a:pt x="1880711" y="216694"/>
                    <a:pt x="1878806" y="228124"/>
                  </a:cubicBezTo>
                  <a:cubicBezTo>
                    <a:pt x="1877854" y="232886"/>
                    <a:pt x="1876901" y="237649"/>
                    <a:pt x="1874996" y="243364"/>
                  </a:cubicBezTo>
                  <a:cubicBezTo>
                    <a:pt x="1874996" y="239554"/>
                    <a:pt x="1874996" y="237649"/>
                    <a:pt x="1874996" y="237649"/>
                  </a:cubicBezTo>
                  <a:cubicBezTo>
                    <a:pt x="1874996" y="237649"/>
                    <a:pt x="1874044" y="244316"/>
                    <a:pt x="1872139" y="255746"/>
                  </a:cubicBezTo>
                  <a:cubicBezTo>
                    <a:pt x="1871186" y="260509"/>
                    <a:pt x="1870234" y="266224"/>
                    <a:pt x="1868329" y="270986"/>
                  </a:cubicBezTo>
                  <a:cubicBezTo>
                    <a:pt x="1868329" y="267176"/>
                    <a:pt x="1869281" y="263366"/>
                    <a:pt x="1869281" y="259556"/>
                  </a:cubicBezTo>
                  <a:cubicBezTo>
                    <a:pt x="1871186" y="243364"/>
                    <a:pt x="1873091" y="228124"/>
                    <a:pt x="1874996" y="213836"/>
                  </a:cubicBezTo>
                  <a:cubicBezTo>
                    <a:pt x="1875949" y="207169"/>
                    <a:pt x="1876901" y="200501"/>
                    <a:pt x="1877854" y="193834"/>
                  </a:cubicBezTo>
                  <a:cubicBezTo>
                    <a:pt x="1878806" y="187166"/>
                    <a:pt x="1880711" y="181451"/>
                    <a:pt x="1881664" y="175736"/>
                  </a:cubicBezTo>
                  <a:cubicBezTo>
                    <a:pt x="1883569" y="164306"/>
                    <a:pt x="1885474" y="154781"/>
                    <a:pt x="1888331" y="146209"/>
                  </a:cubicBezTo>
                  <a:cubicBezTo>
                    <a:pt x="1892141" y="130016"/>
                    <a:pt x="1894999" y="120491"/>
                    <a:pt x="1894999" y="120491"/>
                  </a:cubicBezTo>
                  <a:cubicBezTo>
                    <a:pt x="1894999" y="120491"/>
                    <a:pt x="1891189" y="129064"/>
                    <a:pt x="1885474" y="144304"/>
                  </a:cubicBezTo>
                  <a:cubicBezTo>
                    <a:pt x="1882616" y="151924"/>
                    <a:pt x="1878806" y="161449"/>
                    <a:pt x="1875949" y="172879"/>
                  </a:cubicBezTo>
                  <a:cubicBezTo>
                    <a:pt x="1874044" y="178594"/>
                    <a:pt x="1872139" y="184309"/>
                    <a:pt x="1870234" y="190976"/>
                  </a:cubicBezTo>
                  <a:cubicBezTo>
                    <a:pt x="1868329" y="197644"/>
                    <a:pt x="1867376" y="204311"/>
                    <a:pt x="1865471" y="210979"/>
                  </a:cubicBezTo>
                  <a:cubicBezTo>
                    <a:pt x="1863566" y="219551"/>
                    <a:pt x="1860709" y="229076"/>
                    <a:pt x="1858804" y="238601"/>
                  </a:cubicBezTo>
                  <a:cubicBezTo>
                    <a:pt x="1858804" y="221456"/>
                    <a:pt x="1857851" y="206216"/>
                    <a:pt x="1856899" y="194786"/>
                  </a:cubicBezTo>
                  <a:cubicBezTo>
                    <a:pt x="1855946" y="181451"/>
                    <a:pt x="1854994" y="172879"/>
                    <a:pt x="1854994" y="172879"/>
                  </a:cubicBezTo>
                  <a:cubicBezTo>
                    <a:pt x="1854994" y="172879"/>
                    <a:pt x="1854041" y="180499"/>
                    <a:pt x="1853089" y="194786"/>
                  </a:cubicBezTo>
                  <a:cubicBezTo>
                    <a:pt x="1852136" y="208121"/>
                    <a:pt x="1850231" y="228124"/>
                    <a:pt x="1848326" y="250984"/>
                  </a:cubicBezTo>
                  <a:cubicBezTo>
                    <a:pt x="1847374" y="260509"/>
                    <a:pt x="1846421" y="271939"/>
                    <a:pt x="1845469" y="282416"/>
                  </a:cubicBezTo>
                  <a:cubicBezTo>
                    <a:pt x="1843564" y="279559"/>
                    <a:pt x="1841659" y="276701"/>
                    <a:pt x="1839754" y="273844"/>
                  </a:cubicBezTo>
                  <a:cubicBezTo>
                    <a:pt x="1839754" y="270986"/>
                    <a:pt x="1838801" y="269081"/>
                    <a:pt x="1838801" y="269081"/>
                  </a:cubicBezTo>
                  <a:cubicBezTo>
                    <a:pt x="1838801" y="269081"/>
                    <a:pt x="1838801" y="270034"/>
                    <a:pt x="1838801" y="272891"/>
                  </a:cubicBezTo>
                  <a:cubicBezTo>
                    <a:pt x="1834039" y="266224"/>
                    <a:pt x="1830229" y="260509"/>
                    <a:pt x="1827371" y="256699"/>
                  </a:cubicBezTo>
                  <a:cubicBezTo>
                    <a:pt x="1829276" y="216694"/>
                    <a:pt x="1828324" y="190976"/>
                    <a:pt x="1828324" y="190976"/>
                  </a:cubicBezTo>
                  <a:cubicBezTo>
                    <a:pt x="1828324" y="190976"/>
                    <a:pt x="1826419" y="202406"/>
                    <a:pt x="1822609" y="222409"/>
                  </a:cubicBezTo>
                  <a:cubicBezTo>
                    <a:pt x="1822609" y="219551"/>
                    <a:pt x="1822609" y="217646"/>
                    <a:pt x="1822609" y="214789"/>
                  </a:cubicBezTo>
                  <a:cubicBezTo>
                    <a:pt x="1822609" y="196691"/>
                    <a:pt x="1821656" y="178594"/>
                    <a:pt x="1822609" y="161449"/>
                  </a:cubicBezTo>
                  <a:cubicBezTo>
                    <a:pt x="1823561" y="144304"/>
                    <a:pt x="1823561" y="129064"/>
                    <a:pt x="1823561" y="113824"/>
                  </a:cubicBezTo>
                  <a:cubicBezTo>
                    <a:pt x="1824514" y="54769"/>
                    <a:pt x="1823561" y="15716"/>
                    <a:pt x="1823561" y="15716"/>
                  </a:cubicBezTo>
                  <a:cubicBezTo>
                    <a:pt x="1823561" y="15716"/>
                    <a:pt x="1817846" y="54769"/>
                    <a:pt x="1812131" y="112871"/>
                  </a:cubicBezTo>
                  <a:cubicBezTo>
                    <a:pt x="1811179" y="127159"/>
                    <a:pt x="1809274" y="143351"/>
                    <a:pt x="1807369" y="160496"/>
                  </a:cubicBezTo>
                  <a:cubicBezTo>
                    <a:pt x="1805464" y="175736"/>
                    <a:pt x="1805464" y="191929"/>
                    <a:pt x="1805464" y="209074"/>
                  </a:cubicBezTo>
                  <a:cubicBezTo>
                    <a:pt x="1803559" y="210026"/>
                    <a:pt x="1802606" y="210979"/>
                    <a:pt x="1801654" y="211931"/>
                  </a:cubicBezTo>
                  <a:lnTo>
                    <a:pt x="1801654" y="211931"/>
                  </a:lnTo>
                  <a:lnTo>
                    <a:pt x="1801654" y="212884"/>
                  </a:lnTo>
                  <a:cubicBezTo>
                    <a:pt x="1797844" y="221456"/>
                    <a:pt x="1794034" y="229076"/>
                    <a:pt x="1790224" y="237649"/>
                  </a:cubicBezTo>
                  <a:cubicBezTo>
                    <a:pt x="1790224" y="217646"/>
                    <a:pt x="1790224" y="207169"/>
                    <a:pt x="1790224" y="207169"/>
                  </a:cubicBezTo>
                  <a:cubicBezTo>
                    <a:pt x="1790224" y="207169"/>
                    <a:pt x="1788319" y="218599"/>
                    <a:pt x="1786414" y="239554"/>
                  </a:cubicBezTo>
                  <a:cubicBezTo>
                    <a:pt x="1786414" y="243364"/>
                    <a:pt x="1785461" y="246221"/>
                    <a:pt x="1784509" y="250984"/>
                  </a:cubicBezTo>
                  <a:cubicBezTo>
                    <a:pt x="1784509" y="251936"/>
                    <a:pt x="1784509" y="251936"/>
                    <a:pt x="1783556" y="252889"/>
                  </a:cubicBezTo>
                  <a:cubicBezTo>
                    <a:pt x="1779746" y="236696"/>
                    <a:pt x="1776889" y="226219"/>
                    <a:pt x="1776889" y="226219"/>
                  </a:cubicBezTo>
                  <a:cubicBezTo>
                    <a:pt x="1776889" y="226219"/>
                    <a:pt x="1776889" y="236696"/>
                    <a:pt x="1777841" y="253841"/>
                  </a:cubicBezTo>
                  <a:cubicBezTo>
                    <a:pt x="1774031" y="244316"/>
                    <a:pt x="1771174" y="236696"/>
                    <a:pt x="1768316" y="230029"/>
                  </a:cubicBezTo>
                  <a:cubicBezTo>
                    <a:pt x="1763554" y="219551"/>
                    <a:pt x="1760696" y="211931"/>
                    <a:pt x="1759744" y="209074"/>
                  </a:cubicBezTo>
                  <a:cubicBezTo>
                    <a:pt x="1759744" y="209074"/>
                    <a:pt x="1759744" y="208121"/>
                    <a:pt x="1759744" y="208121"/>
                  </a:cubicBezTo>
                  <a:cubicBezTo>
                    <a:pt x="1761649" y="202406"/>
                    <a:pt x="1761649" y="198596"/>
                    <a:pt x="1761649" y="198596"/>
                  </a:cubicBezTo>
                  <a:cubicBezTo>
                    <a:pt x="1761649" y="198596"/>
                    <a:pt x="1760696" y="200501"/>
                    <a:pt x="1759744" y="203359"/>
                  </a:cubicBezTo>
                  <a:cubicBezTo>
                    <a:pt x="1759744" y="200501"/>
                    <a:pt x="1759744" y="197644"/>
                    <a:pt x="1759744" y="195739"/>
                  </a:cubicBezTo>
                  <a:cubicBezTo>
                    <a:pt x="1760696" y="187166"/>
                    <a:pt x="1760696" y="178594"/>
                    <a:pt x="1761649" y="171926"/>
                  </a:cubicBezTo>
                  <a:cubicBezTo>
                    <a:pt x="1762601" y="158591"/>
                    <a:pt x="1762601" y="151924"/>
                    <a:pt x="1762601" y="151924"/>
                  </a:cubicBezTo>
                  <a:cubicBezTo>
                    <a:pt x="1762601" y="151924"/>
                    <a:pt x="1760696" y="159544"/>
                    <a:pt x="1756886" y="171926"/>
                  </a:cubicBezTo>
                  <a:cubicBezTo>
                    <a:pt x="1754981" y="180499"/>
                    <a:pt x="1752124" y="191929"/>
                    <a:pt x="1749266" y="205264"/>
                  </a:cubicBezTo>
                  <a:cubicBezTo>
                    <a:pt x="1746409" y="200501"/>
                    <a:pt x="1745456" y="197644"/>
                    <a:pt x="1745456" y="197644"/>
                  </a:cubicBezTo>
                  <a:cubicBezTo>
                    <a:pt x="1745456" y="197644"/>
                    <a:pt x="1746409" y="201454"/>
                    <a:pt x="1749266" y="208121"/>
                  </a:cubicBezTo>
                  <a:cubicBezTo>
                    <a:pt x="1748314" y="213836"/>
                    <a:pt x="1747361" y="219551"/>
                    <a:pt x="1746409" y="225266"/>
                  </a:cubicBezTo>
                  <a:cubicBezTo>
                    <a:pt x="1746409" y="226219"/>
                    <a:pt x="1746409" y="227171"/>
                    <a:pt x="1746409" y="228124"/>
                  </a:cubicBezTo>
                  <a:cubicBezTo>
                    <a:pt x="1741646" y="193834"/>
                    <a:pt x="1737836" y="171926"/>
                    <a:pt x="1737836" y="171926"/>
                  </a:cubicBezTo>
                  <a:cubicBezTo>
                    <a:pt x="1737836" y="171926"/>
                    <a:pt x="1736884" y="204311"/>
                    <a:pt x="1738789" y="252889"/>
                  </a:cubicBezTo>
                  <a:cubicBezTo>
                    <a:pt x="1737836" y="253841"/>
                    <a:pt x="1737836" y="255746"/>
                    <a:pt x="1736884" y="256699"/>
                  </a:cubicBezTo>
                  <a:cubicBezTo>
                    <a:pt x="1735931" y="253841"/>
                    <a:pt x="1735931" y="252889"/>
                    <a:pt x="1735931" y="252889"/>
                  </a:cubicBezTo>
                  <a:cubicBezTo>
                    <a:pt x="1735931" y="252889"/>
                    <a:pt x="1735931" y="254794"/>
                    <a:pt x="1735931" y="257651"/>
                  </a:cubicBezTo>
                  <a:cubicBezTo>
                    <a:pt x="1734979" y="259556"/>
                    <a:pt x="1734026" y="261461"/>
                    <a:pt x="1733074" y="264319"/>
                  </a:cubicBezTo>
                  <a:cubicBezTo>
                    <a:pt x="1731169" y="270034"/>
                    <a:pt x="1729264" y="276701"/>
                    <a:pt x="1727359" y="283369"/>
                  </a:cubicBezTo>
                  <a:cubicBezTo>
                    <a:pt x="1725454" y="288131"/>
                    <a:pt x="1723549" y="293846"/>
                    <a:pt x="1722596" y="299561"/>
                  </a:cubicBezTo>
                  <a:cubicBezTo>
                    <a:pt x="1720691" y="278606"/>
                    <a:pt x="1718786" y="267176"/>
                    <a:pt x="1718786" y="267176"/>
                  </a:cubicBezTo>
                  <a:cubicBezTo>
                    <a:pt x="1718786" y="267176"/>
                    <a:pt x="1717834" y="286226"/>
                    <a:pt x="1716881" y="317659"/>
                  </a:cubicBezTo>
                  <a:cubicBezTo>
                    <a:pt x="1716881" y="317659"/>
                    <a:pt x="1716881" y="318611"/>
                    <a:pt x="1716881" y="318611"/>
                  </a:cubicBezTo>
                  <a:cubicBezTo>
                    <a:pt x="1715929" y="317659"/>
                    <a:pt x="1715929" y="316706"/>
                    <a:pt x="1714976" y="316706"/>
                  </a:cubicBezTo>
                  <a:cubicBezTo>
                    <a:pt x="1712119" y="307181"/>
                    <a:pt x="1710214" y="297656"/>
                    <a:pt x="1707356" y="288131"/>
                  </a:cubicBezTo>
                  <a:cubicBezTo>
                    <a:pt x="1708309" y="270034"/>
                    <a:pt x="1709261" y="252889"/>
                    <a:pt x="1709261" y="237649"/>
                  </a:cubicBezTo>
                  <a:cubicBezTo>
                    <a:pt x="1711166" y="192881"/>
                    <a:pt x="1710214" y="163354"/>
                    <a:pt x="1710214" y="163354"/>
                  </a:cubicBezTo>
                  <a:cubicBezTo>
                    <a:pt x="1710214" y="163354"/>
                    <a:pt x="1705451" y="189071"/>
                    <a:pt x="1698784" y="229076"/>
                  </a:cubicBezTo>
                  <a:cubicBezTo>
                    <a:pt x="1696879" y="219551"/>
                    <a:pt x="1695926" y="210979"/>
                    <a:pt x="1694021" y="203359"/>
                  </a:cubicBezTo>
                  <a:cubicBezTo>
                    <a:pt x="1695926" y="191929"/>
                    <a:pt x="1697831" y="180499"/>
                    <a:pt x="1699736" y="170021"/>
                  </a:cubicBezTo>
                  <a:cubicBezTo>
                    <a:pt x="1702594" y="151924"/>
                    <a:pt x="1705451" y="134779"/>
                    <a:pt x="1706404" y="119539"/>
                  </a:cubicBezTo>
                  <a:cubicBezTo>
                    <a:pt x="1708309" y="104299"/>
                    <a:pt x="1709261" y="91916"/>
                    <a:pt x="1710214" y="80486"/>
                  </a:cubicBezTo>
                  <a:cubicBezTo>
                    <a:pt x="1712119" y="59531"/>
                    <a:pt x="1713071" y="47149"/>
                    <a:pt x="1713071" y="47149"/>
                  </a:cubicBezTo>
                  <a:cubicBezTo>
                    <a:pt x="1713071" y="47149"/>
                    <a:pt x="1710214" y="59531"/>
                    <a:pt x="1706404" y="80486"/>
                  </a:cubicBezTo>
                  <a:cubicBezTo>
                    <a:pt x="1704499" y="90964"/>
                    <a:pt x="1701641" y="104299"/>
                    <a:pt x="1698784" y="118586"/>
                  </a:cubicBezTo>
                  <a:cubicBezTo>
                    <a:pt x="1695926" y="133826"/>
                    <a:pt x="1692116" y="150019"/>
                    <a:pt x="1688306" y="168116"/>
                  </a:cubicBezTo>
                  <a:cubicBezTo>
                    <a:pt x="1688306" y="169069"/>
                    <a:pt x="1687354" y="170974"/>
                    <a:pt x="1687354" y="171926"/>
                  </a:cubicBezTo>
                  <a:cubicBezTo>
                    <a:pt x="1685449" y="164306"/>
                    <a:pt x="1684496" y="160496"/>
                    <a:pt x="1684496" y="160496"/>
                  </a:cubicBezTo>
                  <a:cubicBezTo>
                    <a:pt x="1684496" y="160496"/>
                    <a:pt x="1684496" y="167164"/>
                    <a:pt x="1685449" y="179546"/>
                  </a:cubicBezTo>
                  <a:cubicBezTo>
                    <a:pt x="1684496" y="185261"/>
                    <a:pt x="1682591" y="191929"/>
                    <a:pt x="1681639" y="197644"/>
                  </a:cubicBezTo>
                  <a:cubicBezTo>
                    <a:pt x="1680686" y="195739"/>
                    <a:pt x="1680686" y="194786"/>
                    <a:pt x="1680686" y="192881"/>
                  </a:cubicBezTo>
                  <a:cubicBezTo>
                    <a:pt x="1681639" y="186214"/>
                    <a:pt x="1681639" y="180499"/>
                    <a:pt x="1681639" y="174784"/>
                  </a:cubicBezTo>
                  <a:cubicBezTo>
                    <a:pt x="1681639" y="162401"/>
                    <a:pt x="1682591" y="151924"/>
                    <a:pt x="1682591" y="143351"/>
                  </a:cubicBezTo>
                  <a:cubicBezTo>
                    <a:pt x="1682591" y="126206"/>
                    <a:pt x="1683544" y="115729"/>
                    <a:pt x="1683544" y="115729"/>
                  </a:cubicBezTo>
                  <a:cubicBezTo>
                    <a:pt x="1683544" y="115729"/>
                    <a:pt x="1681639" y="125254"/>
                    <a:pt x="1678781" y="143351"/>
                  </a:cubicBezTo>
                  <a:cubicBezTo>
                    <a:pt x="1677829" y="151924"/>
                    <a:pt x="1675924" y="162401"/>
                    <a:pt x="1674019" y="174784"/>
                  </a:cubicBezTo>
                  <a:cubicBezTo>
                    <a:pt x="1672114" y="187166"/>
                    <a:pt x="1669256" y="200501"/>
                    <a:pt x="1666399" y="215741"/>
                  </a:cubicBezTo>
                  <a:cubicBezTo>
                    <a:pt x="1665446" y="220504"/>
                    <a:pt x="1664494" y="226219"/>
                    <a:pt x="1663541" y="231934"/>
                  </a:cubicBezTo>
                  <a:cubicBezTo>
                    <a:pt x="1662589" y="228124"/>
                    <a:pt x="1661636" y="225266"/>
                    <a:pt x="1661636" y="225266"/>
                  </a:cubicBezTo>
                  <a:cubicBezTo>
                    <a:pt x="1661636" y="225266"/>
                    <a:pt x="1661636" y="229076"/>
                    <a:pt x="1662589" y="236696"/>
                  </a:cubicBezTo>
                  <a:cubicBezTo>
                    <a:pt x="1661636" y="242411"/>
                    <a:pt x="1660684" y="248126"/>
                    <a:pt x="1659731" y="253841"/>
                  </a:cubicBezTo>
                  <a:cubicBezTo>
                    <a:pt x="1659731" y="252889"/>
                    <a:pt x="1658779" y="251936"/>
                    <a:pt x="1658779" y="251936"/>
                  </a:cubicBezTo>
                  <a:cubicBezTo>
                    <a:pt x="1654969" y="240506"/>
                    <a:pt x="1650206" y="230981"/>
                    <a:pt x="1646396" y="223361"/>
                  </a:cubicBezTo>
                  <a:cubicBezTo>
                    <a:pt x="1645444" y="220504"/>
                    <a:pt x="1643539" y="218599"/>
                    <a:pt x="1642586" y="215741"/>
                  </a:cubicBezTo>
                  <a:cubicBezTo>
                    <a:pt x="1642586" y="210979"/>
                    <a:pt x="1642586" y="207169"/>
                    <a:pt x="1642586" y="202406"/>
                  </a:cubicBezTo>
                  <a:cubicBezTo>
                    <a:pt x="1641634" y="186214"/>
                    <a:pt x="1641634" y="170021"/>
                    <a:pt x="1640681" y="154781"/>
                  </a:cubicBezTo>
                  <a:cubicBezTo>
                    <a:pt x="1639729" y="139541"/>
                    <a:pt x="1637824" y="125254"/>
                    <a:pt x="1635919" y="111919"/>
                  </a:cubicBezTo>
                  <a:cubicBezTo>
                    <a:pt x="1630204" y="58579"/>
                    <a:pt x="1624489" y="23336"/>
                    <a:pt x="1624489" y="23336"/>
                  </a:cubicBezTo>
                  <a:cubicBezTo>
                    <a:pt x="1624489" y="23336"/>
                    <a:pt x="1623536" y="58579"/>
                    <a:pt x="1624489" y="111919"/>
                  </a:cubicBezTo>
                  <a:cubicBezTo>
                    <a:pt x="1624489" y="125254"/>
                    <a:pt x="1624489" y="139541"/>
                    <a:pt x="1625441" y="154781"/>
                  </a:cubicBezTo>
                  <a:cubicBezTo>
                    <a:pt x="1626394" y="170021"/>
                    <a:pt x="1624489" y="186214"/>
                    <a:pt x="1625441" y="202406"/>
                  </a:cubicBezTo>
                  <a:cubicBezTo>
                    <a:pt x="1625441" y="210026"/>
                    <a:pt x="1625441" y="217646"/>
                    <a:pt x="1625441" y="225266"/>
                  </a:cubicBezTo>
                  <a:cubicBezTo>
                    <a:pt x="1625441" y="227171"/>
                    <a:pt x="1625441" y="229076"/>
                    <a:pt x="1625441" y="230981"/>
                  </a:cubicBezTo>
                  <a:cubicBezTo>
                    <a:pt x="1624489" y="230029"/>
                    <a:pt x="1624489" y="228124"/>
                    <a:pt x="1623536" y="227171"/>
                  </a:cubicBezTo>
                  <a:cubicBezTo>
                    <a:pt x="1620679" y="211931"/>
                    <a:pt x="1619726" y="203359"/>
                    <a:pt x="1619726" y="203359"/>
                  </a:cubicBezTo>
                  <a:cubicBezTo>
                    <a:pt x="1619726" y="203359"/>
                    <a:pt x="1619726" y="208121"/>
                    <a:pt x="1619726" y="217646"/>
                  </a:cubicBezTo>
                  <a:cubicBezTo>
                    <a:pt x="1613059" y="201454"/>
                    <a:pt x="1608296" y="190976"/>
                    <a:pt x="1608296" y="190976"/>
                  </a:cubicBezTo>
                  <a:cubicBezTo>
                    <a:pt x="1608296" y="190976"/>
                    <a:pt x="1612106" y="207169"/>
                    <a:pt x="1619726" y="233839"/>
                  </a:cubicBezTo>
                  <a:cubicBezTo>
                    <a:pt x="1619726" y="236696"/>
                    <a:pt x="1619726" y="239554"/>
                    <a:pt x="1619726" y="242411"/>
                  </a:cubicBezTo>
                  <a:cubicBezTo>
                    <a:pt x="1615916" y="236696"/>
                    <a:pt x="1613059" y="233839"/>
                    <a:pt x="1613059" y="233839"/>
                  </a:cubicBezTo>
                  <a:cubicBezTo>
                    <a:pt x="1613059" y="233839"/>
                    <a:pt x="1614964" y="238601"/>
                    <a:pt x="1619726" y="247174"/>
                  </a:cubicBezTo>
                  <a:cubicBezTo>
                    <a:pt x="1616869" y="250984"/>
                    <a:pt x="1614011" y="256699"/>
                    <a:pt x="1610201" y="264319"/>
                  </a:cubicBezTo>
                  <a:cubicBezTo>
                    <a:pt x="1609249" y="266224"/>
                    <a:pt x="1608296" y="268129"/>
                    <a:pt x="1607344" y="270034"/>
                  </a:cubicBezTo>
                  <a:cubicBezTo>
                    <a:pt x="1607344" y="269081"/>
                    <a:pt x="1606391" y="269081"/>
                    <a:pt x="1606391" y="269081"/>
                  </a:cubicBezTo>
                  <a:cubicBezTo>
                    <a:pt x="1606391" y="269081"/>
                    <a:pt x="1606391" y="269081"/>
                    <a:pt x="1607344" y="270034"/>
                  </a:cubicBezTo>
                  <a:cubicBezTo>
                    <a:pt x="1605439" y="273844"/>
                    <a:pt x="1603534" y="277654"/>
                    <a:pt x="1601629" y="282416"/>
                  </a:cubicBezTo>
                  <a:cubicBezTo>
                    <a:pt x="1601629" y="277654"/>
                    <a:pt x="1600676" y="273844"/>
                    <a:pt x="1600676" y="269081"/>
                  </a:cubicBezTo>
                  <a:cubicBezTo>
                    <a:pt x="1598771" y="243364"/>
                    <a:pt x="1596866" y="221456"/>
                    <a:pt x="1595914" y="207169"/>
                  </a:cubicBezTo>
                  <a:cubicBezTo>
                    <a:pt x="1594961" y="191929"/>
                    <a:pt x="1594009" y="183356"/>
                    <a:pt x="1594009" y="183356"/>
                  </a:cubicBezTo>
                  <a:cubicBezTo>
                    <a:pt x="1594009" y="183356"/>
                    <a:pt x="1593056" y="191929"/>
                    <a:pt x="1592104" y="207169"/>
                  </a:cubicBezTo>
                  <a:cubicBezTo>
                    <a:pt x="1592104" y="212884"/>
                    <a:pt x="1591151" y="219551"/>
                    <a:pt x="1591151" y="227171"/>
                  </a:cubicBezTo>
                  <a:cubicBezTo>
                    <a:pt x="1589246" y="216694"/>
                    <a:pt x="1586389" y="207169"/>
                    <a:pt x="1583531" y="197644"/>
                  </a:cubicBezTo>
                  <a:cubicBezTo>
                    <a:pt x="1581626" y="190976"/>
                    <a:pt x="1579721" y="185261"/>
                    <a:pt x="1578769" y="179546"/>
                  </a:cubicBezTo>
                  <a:cubicBezTo>
                    <a:pt x="1576864" y="173831"/>
                    <a:pt x="1574959" y="168116"/>
                    <a:pt x="1573054" y="163354"/>
                  </a:cubicBezTo>
                  <a:cubicBezTo>
                    <a:pt x="1569244" y="152876"/>
                    <a:pt x="1566386" y="144304"/>
                    <a:pt x="1563529" y="137636"/>
                  </a:cubicBezTo>
                  <a:cubicBezTo>
                    <a:pt x="1556861" y="123349"/>
                    <a:pt x="1554004" y="115729"/>
                    <a:pt x="1554004" y="115729"/>
                  </a:cubicBezTo>
                  <a:cubicBezTo>
                    <a:pt x="1554004" y="115729"/>
                    <a:pt x="1555909" y="124301"/>
                    <a:pt x="1560671" y="138589"/>
                  </a:cubicBezTo>
                  <a:cubicBezTo>
                    <a:pt x="1562576" y="146209"/>
                    <a:pt x="1564481" y="154781"/>
                    <a:pt x="1567339" y="165259"/>
                  </a:cubicBezTo>
                  <a:cubicBezTo>
                    <a:pt x="1568291" y="170021"/>
                    <a:pt x="1569244" y="175736"/>
                    <a:pt x="1571149" y="181451"/>
                  </a:cubicBezTo>
                  <a:cubicBezTo>
                    <a:pt x="1572101" y="187166"/>
                    <a:pt x="1573054" y="192881"/>
                    <a:pt x="1574006" y="199549"/>
                  </a:cubicBezTo>
                  <a:cubicBezTo>
                    <a:pt x="1576864" y="211931"/>
                    <a:pt x="1577816" y="226219"/>
                    <a:pt x="1579721" y="240506"/>
                  </a:cubicBezTo>
                  <a:cubicBezTo>
                    <a:pt x="1581626" y="253841"/>
                    <a:pt x="1582579" y="269081"/>
                    <a:pt x="1584484" y="283369"/>
                  </a:cubicBezTo>
                  <a:cubicBezTo>
                    <a:pt x="1581626" y="274796"/>
                    <a:pt x="1579721" y="266224"/>
                    <a:pt x="1576864" y="258604"/>
                  </a:cubicBezTo>
                  <a:cubicBezTo>
                    <a:pt x="1575911" y="255746"/>
                    <a:pt x="1574959" y="252889"/>
                    <a:pt x="1573054" y="249079"/>
                  </a:cubicBezTo>
                  <a:cubicBezTo>
                    <a:pt x="1573054" y="249079"/>
                    <a:pt x="1573054" y="248126"/>
                    <a:pt x="1573054" y="247174"/>
                  </a:cubicBezTo>
                  <a:cubicBezTo>
                    <a:pt x="1573054" y="243364"/>
                    <a:pt x="1573054" y="238601"/>
                    <a:pt x="1572101" y="234791"/>
                  </a:cubicBezTo>
                  <a:cubicBezTo>
                    <a:pt x="1571149" y="221456"/>
                    <a:pt x="1569244" y="209074"/>
                    <a:pt x="1567339" y="198596"/>
                  </a:cubicBezTo>
                  <a:cubicBezTo>
                    <a:pt x="1566386" y="192881"/>
                    <a:pt x="1564481" y="188119"/>
                    <a:pt x="1563529" y="184309"/>
                  </a:cubicBezTo>
                  <a:cubicBezTo>
                    <a:pt x="1561624" y="179546"/>
                    <a:pt x="1560671" y="175736"/>
                    <a:pt x="1558766" y="171926"/>
                  </a:cubicBezTo>
                  <a:cubicBezTo>
                    <a:pt x="1555909" y="164306"/>
                    <a:pt x="1553051" y="159544"/>
                    <a:pt x="1550194" y="155734"/>
                  </a:cubicBezTo>
                  <a:cubicBezTo>
                    <a:pt x="1548289" y="151924"/>
                    <a:pt x="1546384" y="150019"/>
                    <a:pt x="1546384" y="150019"/>
                  </a:cubicBezTo>
                  <a:cubicBezTo>
                    <a:pt x="1546384" y="150019"/>
                    <a:pt x="1547336" y="151924"/>
                    <a:pt x="1549241" y="155734"/>
                  </a:cubicBezTo>
                  <a:cubicBezTo>
                    <a:pt x="1551146" y="159544"/>
                    <a:pt x="1553051" y="165259"/>
                    <a:pt x="1554956" y="171926"/>
                  </a:cubicBezTo>
                  <a:cubicBezTo>
                    <a:pt x="1555909" y="175736"/>
                    <a:pt x="1556861" y="179546"/>
                    <a:pt x="1557814" y="184309"/>
                  </a:cubicBezTo>
                  <a:cubicBezTo>
                    <a:pt x="1557814" y="189071"/>
                    <a:pt x="1558766" y="193834"/>
                    <a:pt x="1559719" y="198596"/>
                  </a:cubicBezTo>
                  <a:cubicBezTo>
                    <a:pt x="1559719" y="203359"/>
                    <a:pt x="1560671" y="208121"/>
                    <a:pt x="1560671" y="213836"/>
                  </a:cubicBezTo>
                  <a:cubicBezTo>
                    <a:pt x="1560671" y="214789"/>
                    <a:pt x="1560671" y="215741"/>
                    <a:pt x="1559719" y="216694"/>
                  </a:cubicBezTo>
                  <a:cubicBezTo>
                    <a:pt x="1558766" y="213836"/>
                    <a:pt x="1556861" y="210979"/>
                    <a:pt x="1555909" y="208121"/>
                  </a:cubicBezTo>
                  <a:cubicBezTo>
                    <a:pt x="1554004" y="203359"/>
                    <a:pt x="1551146" y="199549"/>
                    <a:pt x="1549241" y="194786"/>
                  </a:cubicBezTo>
                  <a:cubicBezTo>
                    <a:pt x="1545431" y="186214"/>
                    <a:pt x="1541621" y="179546"/>
                    <a:pt x="1537811" y="173831"/>
                  </a:cubicBezTo>
                  <a:cubicBezTo>
                    <a:pt x="1530191" y="162401"/>
                    <a:pt x="1526381" y="156686"/>
                    <a:pt x="1526381" y="156686"/>
                  </a:cubicBezTo>
                  <a:cubicBezTo>
                    <a:pt x="1526381" y="156686"/>
                    <a:pt x="1529239" y="163354"/>
                    <a:pt x="1534001" y="175736"/>
                  </a:cubicBezTo>
                  <a:cubicBezTo>
                    <a:pt x="1536859" y="181451"/>
                    <a:pt x="1539716" y="189071"/>
                    <a:pt x="1542574" y="197644"/>
                  </a:cubicBezTo>
                  <a:cubicBezTo>
                    <a:pt x="1543526" y="201454"/>
                    <a:pt x="1545431" y="205264"/>
                    <a:pt x="1546384" y="209074"/>
                  </a:cubicBezTo>
                  <a:cubicBezTo>
                    <a:pt x="1546384" y="208121"/>
                    <a:pt x="1545431" y="208121"/>
                    <a:pt x="1545431" y="208121"/>
                  </a:cubicBezTo>
                  <a:cubicBezTo>
                    <a:pt x="1545431" y="208121"/>
                    <a:pt x="1546384" y="209074"/>
                    <a:pt x="1546384" y="210979"/>
                  </a:cubicBezTo>
                  <a:cubicBezTo>
                    <a:pt x="1548289" y="215741"/>
                    <a:pt x="1549241" y="220504"/>
                    <a:pt x="1551146" y="226219"/>
                  </a:cubicBezTo>
                  <a:cubicBezTo>
                    <a:pt x="1552099" y="228124"/>
                    <a:pt x="1552099" y="229076"/>
                    <a:pt x="1552099" y="230981"/>
                  </a:cubicBezTo>
                  <a:cubicBezTo>
                    <a:pt x="1552099" y="232886"/>
                    <a:pt x="1553051" y="233839"/>
                    <a:pt x="1553051" y="235744"/>
                  </a:cubicBezTo>
                  <a:cubicBezTo>
                    <a:pt x="1553051" y="237649"/>
                    <a:pt x="1553051" y="239554"/>
                    <a:pt x="1554004" y="241459"/>
                  </a:cubicBezTo>
                  <a:cubicBezTo>
                    <a:pt x="1554004" y="242411"/>
                    <a:pt x="1554004" y="243364"/>
                    <a:pt x="1554004" y="244316"/>
                  </a:cubicBezTo>
                  <a:cubicBezTo>
                    <a:pt x="1554004" y="246221"/>
                    <a:pt x="1553051" y="248126"/>
                    <a:pt x="1553051" y="250031"/>
                  </a:cubicBezTo>
                  <a:cubicBezTo>
                    <a:pt x="1551146" y="253841"/>
                    <a:pt x="1549241" y="257651"/>
                    <a:pt x="1547336" y="263366"/>
                  </a:cubicBezTo>
                  <a:cubicBezTo>
                    <a:pt x="1545431" y="258604"/>
                    <a:pt x="1543526" y="254794"/>
                    <a:pt x="1542574" y="251936"/>
                  </a:cubicBezTo>
                  <a:cubicBezTo>
                    <a:pt x="1542574" y="249079"/>
                    <a:pt x="1542574" y="245269"/>
                    <a:pt x="1542574" y="243364"/>
                  </a:cubicBezTo>
                  <a:cubicBezTo>
                    <a:pt x="1542574" y="230029"/>
                    <a:pt x="1542574" y="222409"/>
                    <a:pt x="1542574" y="222409"/>
                  </a:cubicBezTo>
                  <a:cubicBezTo>
                    <a:pt x="1542574" y="222409"/>
                    <a:pt x="1541621" y="230029"/>
                    <a:pt x="1538764" y="243364"/>
                  </a:cubicBezTo>
                  <a:cubicBezTo>
                    <a:pt x="1538764" y="243364"/>
                    <a:pt x="1538764" y="243364"/>
                    <a:pt x="1538764" y="243364"/>
                  </a:cubicBezTo>
                  <a:cubicBezTo>
                    <a:pt x="1534001" y="232886"/>
                    <a:pt x="1531144" y="226219"/>
                    <a:pt x="1531144" y="226219"/>
                  </a:cubicBezTo>
                  <a:cubicBezTo>
                    <a:pt x="1531144" y="226219"/>
                    <a:pt x="1533049" y="234791"/>
                    <a:pt x="1537811" y="250031"/>
                  </a:cubicBezTo>
                  <a:cubicBezTo>
                    <a:pt x="1537811" y="252889"/>
                    <a:pt x="1536859" y="255746"/>
                    <a:pt x="1536859" y="258604"/>
                  </a:cubicBezTo>
                  <a:cubicBezTo>
                    <a:pt x="1534954" y="251936"/>
                    <a:pt x="1533049" y="245269"/>
                    <a:pt x="1531144" y="239554"/>
                  </a:cubicBezTo>
                  <a:cubicBezTo>
                    <a:pt x="1529239" y="232886"/>
                    <a:pt x="1527334" y="227171"/>
                    <a:pt x="1525429" y="220504"/>
                  </a:cubicBezTo>
                  <a:cubicBezTo>
                    <a:pt x="1524476" y="217646"/>
                    <a:pt x="1523524" y="214789"/>
                    <a:pt x="1521619" y="211931"/>
                  </a:cubicBezTo>
                  <a:cubicBezTo>
                    <a:pt x="1518761" y="173831"/>
                    <a:pt x="1515904" y="150019"/>
                    <a:pt x="1515904" y="150019"/>
                  </a:cubicBezTo>
                  <a:cubicBezTo>
                    <a:pt x="1515904" y="150019"/>
                    <a:pt x="1514951" y="166211"/>
                    <a:pt x="1513046" y="192881"/>
                  </a:cubicBezTo>
                  <a:cubicBezTo>
                    <a:pt x="1510189" y="187166"/>
                    <a:pt x="1508284" y="182404"/>
                    <a:pt x="1506379" y="177641"/>
                  </a:cubicBezTo>
                  <a:cubicBezTo>
                    <a:pt x="1499711" y="163354"/>
                    <a:pt x="1495901" y="154781"/>
                    <a:pt x="1495901" y="154781"/>
                  </a:cubicBezTo>
                  <a:cubicBezTo>
                    <a:pt x="1495901" y="154781"/>
                    <a:pt x="1497806" y="163354"/>
                    <a:pt x="1502569" y="178594"/>
                  </a:cubicBezTo>
                  <a:cubicBezTo>
                    <a:pt x="1503521" y="182404"/>
                    <a:pt x="1504474" y="186214"/>
                    <a:pt x="1505426" y="190024"/>
                  </a:cubicBezTo>
                  <a:cubicBezTo>
                    <a:pt x="1505426" y="189071"/>
                    <a:pt x="1504474" y="189071"/>
                    <a:pt x="1504474" y="189071"/>
                  </a:cubicBezTo>
                  <a:cubicBezTo>
                    <a:pt x="1504474" y="189071"/>
                    <a:pt x="1506379" y="196691"/>
                    <a:pt x="1510189" y="210026"/>
                  </a:cubicBezTo>
                  <a:cubicBezTo>
                    <a:pt x="1510189" y="210979"/>
                    <a:pt x="1511141" y="212884"/>
                    <a:pt x="1511141" y="213836"/>
                  </a:cubicBezTo>
                  <a:cubicBezTo>
                    <a:pt x="1511141" y="220504"/>
                    <a:pt x="1510189" y="227171"/>
                    <a:pt x="1510189" y="233839"/>
                  </a:cubicBezTo>
                  <a:cubicBezTo>
                    <a:pt x="1510189" y="241459"/>
                    <a:pt x="1509236" y="250031"/>
                    <a:pt x="1509236" y="258604"/>
                  </a:cubicBezTo>
                  <a:cubicBezTo>
                    <a:pt x="1503521" y="241459"/>
                    <a:pt x="1498759" y="230981"/>
                    <a:pt x="1498759" y="230981"/>
                  </a:cubicBezTo>
                  <a:cubicBezTo>
                    <a:pt x="1498759" y="230981"/>
                    <a:pt x="1501616" y="248126"/>
                    <a:pt x="1508284" y="275749"/>
                  </a:cubicBezTo>
                  <a:cubicBezTo>
                    <a:pt x="1508284" y="279559"/>
                    <a:pt x="1508284" y="283369"/>
                    <a:pt x="1507331" y="288131"/>
                  </a:cubicBezTo>
                  <a:cubicBezTo>
                    <a:pt x="1506379" y="290036"/>
                    <a:pt x="1505426" y="290989"/>
                    <a:pt x="1504474" y="292894"/>
                  </a:cubicBezTo>
                  <a:cubicBezTo>
                    <a:pt x="1503521" y="294799"/>
                    <a:pt x="1501616" y="296704"/>
                    <a:pt x="1500664" y="298609"/>
                  </a:cubicBezTo>
                  <a:cubicBezTo>
                    <a:pt x="1497806" y="287179"/>
                    <a:pt x="1495901" y="275749"/>
                    <a:pt x="1493044" y="266224"/>
                  </a:cubicBezTo>
                  <a:cubicBezTo>
                    <a:pt x="1495901" y="253841"/>
                    <a:pt x="1497806" y="246221"/>
                    <a:pt x="1497806" y="246221"/>
                  </a:cubicBezTo>
                  <a:cubicBezTo>
                    <a:pt x="1497806" y="246221"/>
                    <a:pt x="1495901" y="251936"/>
                    <a:pt x="1491139" y="260509"/>
                  </a:cubicBezTo>
                  <a:cubicBezTo>
                    <a:pt x="1491139" y="260509"/>
                    <a:pt x="1491139" y="259556"/>
                    <a:pt x="1491139" y="259556"/>
                  </a:cubicBezTo>
                  <a:cubicBezTo>
                    <a:pt x="1491139" y="253841"/>
                    <a:pt x="1490186" y="249079"/>
                    <a:pt x="1490186" y="244316"/>
                  </a:cubicBezTo>
                  <a:cubicBezTo>
                    <a:pt x="1490186" y="242411"/>
                    <a:pt x="1490186" y="240506"/>
                    <a:pt x="1489234" y="238601"/>
                  </a:cubicBezTo>
                  <a:cubicBezTo>
                    <a:pt x="1489234" y="237649"/>
                    <a:pt x="1489234" y="237649"/>
                    <a:pt x="1489234" y="237649"/>
                  </a:cubicBezTo>
                  <a:cubicBezTo>
                    <a:pt x="1489234" y="237649"/>
                    <a:pt x="1489234" y="237649"/>
                    <a:pt x="1489234" y="238601"/>
                  </a:cubicBezTo>
                  <a:cubicBezTo>
                    <a:pt x="1488281" y="230981"/>
                    <a:pt x="1488281" y="225266"/>
                    <a:pt x="1486376" y="219551"/>
                  </a:cubicBezTo>
                  <a:cubicBezTo>
                    <a:pt x="1483519" y="206216"/>
                    <a:pt x="1482566" y="198596"/>
                    <a:pt x="1482566" y="198596"/>
                  </a:cubicBezTo>
                  <a:cubicBezTo>
                    <a:pt x="1482566" y="198596"/>
                    <a:pt x="1482566" y="206216"/>
                    <a:pt x="1482566" y="220504"/>
                  </a:cubicBezTo>
                  <a:cubicBezTo>
                    <a:pt x="1482566" y="222409"/>
                    <a:pt x="1482566" y="225266"/>
                    <a:pt x="1482566" y="228124"/>
                  </a:cubicBezTo>
                  <a:cubicBezTo>
                    <a:pt x="1476851" y="206216"/>
                    <a:pt x="1473041" y="193834"/>
                    <a:pt x="1473041" y="193834"/>
                  </a:cubicBezTo>
                  <a:cubicBezTo>
                    <a:pt x="1473041" y="193834"/>
                    <a:pt x="1474946" y="220504"/>
                    <a:pt x="1479709" y="259556"/>
                  </a:cubicBezTo>
                  <a:cubicBezTo>
                    <a:pt x="1479709" y="260509"/>
                    <a:pt x="1478756" y="261461"/>
                    <a:pt x="1478756" y="262414"/>
                  </a:cubicBezTo>
                  <a:cubicBezTo>
                    <a:pt x="1477804" y="263366"/>
                    <a:pt x="1477804" y="265271"/>
                    <a:pt x="1476851" y="266224"/>
                  </a:cubicBezTo>
                  <a:cubicBezTo>
                    <a:pt x="1476851" y="263366"/>
                    <a:pt x="1475899" y="260509"/>
                    <a:pt x="1475899" y="257651"/>
                  </a:cubicBezTo>
                  <a:cubicBezTo>
                    <a:pt x="1473994" y="244316"/>
                    <a:pt x="1473041" y="232886"/>
                    <a:pt x="1471136" y="221456"/>
                  </a:cubicBezTo>
                  <a:cubicBezTo>
                    <a:pt x="1469231" y="210979"/>
                    <a:pt x="1468279" y="201454"/>
                    <a:pt x="1466374" y="193834"/>
                  </a:cubicBezTo>
                  <a:cubicBezTo>
                    <a:pt x="1462564" y="178594"/>
                    <a:pt x="1460659" y="170021"/>
                    <a:pt x="1460659" y="170021"/>
                  </a:cubicBezTo>
                  <a:cubicBezTo>
                    <a:pt x="1460659" y="170021"/>
                    <a:pt x="1461611" y="178594"/>
                    <a:pt x="1462564" y="193834"/>
                  </a:cubicBezTo>
                  <a:cubicBezTo>
                    <a:pt x="1463516" y="201454"/>
                    <a:pt x="1463516" y="210979"/>
                    <a:pt x="1464469" y="221456"/>
                  </a:cubicBezTo>
                  <a:cubicBezTo>
                    <a:pt x="1465421" y="231934"/>
                    <a:pt x="1465421" y="244316"/>
                    <a:pt x="1465421" y="257651"/>
                  </a:cubicBezTo>
                  <a:cubicBezTo>
                    <a:pt x="1465421" y="263366"/>
                    <a:pt x="1465421" y="269081"/>
                    <a:pt x="1465421" y="275749"/>
                  </a:cubicBezTo>
                  <a:cubicBezTo>
                    <a:pt x="1462564" y="265271"/>
                    <a:pt x="1458754" y="254794"/>
                    <a:pt x="1455896" y="246221"/>
                  </a:cubicBezTo>
                  <a:cubicBezTo>
                    <a:pt x="1453039" y="235744"/>
                    <a:pt x="1450181" y="226219"/>
                    <a:pt x="1447324" y="218599"/>
                  </a:cubicBezTo>
                  <a:cubicBezTo>
                    <a:pt x="1442561" y="203359"/>
                    <a:pt x="1439704" y="194786"/>
                    <a:pt x="1439704" y="194786"/>
                  </a:cubicBezTo>
                  <a:cubicBezTo>
                    <a:pt x="1439704" y="194786"/>
                    <a:pt x="1440656" y="202406"/>
                    <a:pt x="1442561" y="215741"/>
                  </a:cubicBezTo>
                  <a:cubicBezTo>
                    <a:pt x="1439704" y="203359"/>
                    <a:pt x="1437799" y="193834"/>
                    <a:pt x="1435894" y="185261"/>
                  </a:cubicBezTo>
                  <a:cubicBezTo>
                    <a:pt x="1435894" y="169069"/>
                    <a:pt x="1435894" y="159544"/>
                    <a:pt x="1435894" y="159544"/>
                  </a:cubicBezTo>
                  <a:cubicBezTo>
                    <a:pt x="1435894" y="159544"/>
                    <a:pt x="1434941" y="164306"/>
                    <a:pt x="1433036" y="173831"/>
                  </a:cubicBezTo>
                  <a:cubicBezTo>
                    <a:pt x="1431131" y="165259"/>
                    <a:pt x="1430179" y="160496"/>
                    <a:pt x="1430179" y="160496"/>
                  </a:cubicBezTo>
                  <a:cubicBezTo>
                    <a:pt x="1430179" y="160496"/>
                    <a:pt x="1430179" y="162401"/>
                    <a:pt x="1430179" y="166211"/>
                  </a:cubicBezTo>
                  <a:cubicBezTo>
                    <a:pt x="1428274" y="158591"/>
                    <a:pt x="1427321" y="151924"/>
                    <a:pt x="1425416" y="147161"/>
                  </a:cubicBezTo>
                  <a:cubicBezTo>
                    <a:pt x="1421606" y="134779"/>
                    <a:pt x="1418749" y="127159"/>
                    <a:pt x="1418749" y="127159"/>
                  </a:cubicBezTo>
                  <a:cubicBezTo>
                    <a:pt x="1418749" y="127159"/>
                    <a:pt x="1419701" y="134779"/>
                    <a:pt x="1421606" y="148114"/>
                  </a:cubicBezTo>
                  <a:cubicBezTo>
                    <a:pt x="1422559" y="154781"/>
                    <a:pt x="1423511" y="162401"/>
                    <a:pt x="1423511" y="171926"/>
                  </a:cubicBezTo>
                  <a:cubicBezTo>
                    <a:pt x="1424464" y="181451"/>
                    <a:pt x="1424464" y="190976"/>
                    <a:pt x="1425416" y="202406"/>
                  </a:cubicBezTo>
                  <a:cubicBezTo>
                    <a:pt x="1425416" y="208121"/>
                    <a:pt x="1426369" y="212884"/>
                    <a:pt x="1426369" y="218599"/>
                  </a:cubicBezTo>
                  <a:cubicBezTo>
                    <a:pt x="1425416" y="224314"/>
                    <a:pt x="1424464" y="230029"/>
                    <a:pt x="1424464" y="235744"/>
                  </a:cubicBezTo>
                  <a:cubicBezTo>
                    <a:pt x="1423511" y="231934"/>
                    <a:pt x="1422559" y="229076"/>
                    <a:pt x="1421606" y="226219"/>
                  </a:cubicBezTo>
                  <a:cubicBezTo>
                    <a:pt x="1419701" y="219551"/>
                    <a:pt x="1416844" y="214789"/>
                    <a:pt x="1415891" y="210026"/>
                  </a:cubicBezTo>
                  <a:cubicBezTo>
                    <a:pt x="1412081" y="201454"/>
                    <a:pt x="1410176" y="195739"/>
                    <a:pt x="1410176" y="195739"/>
                  </a:cubicBezTo>
                  <a:cubicBezTo>
                    <a:pt x="1410176" y="195739"/>
                    <a:pt x="1411129" y="201454"/>
                    <a:pt x="1412081" y="210979"/>
                  </a:cubicBezTo>
                  <a:cubicBezTo>
                    <a:pt x="1413034" y="215741"/>
                    <a:pt x="1413986" y="221456"/>
                    <a:pt x="1414939" y="228124"/>
                  </a:cubicBezTo>
                  <a:cubicBezTo>
                    <a:pt x="1415891" y="234791"/>
                    <a:pt x="1416844" y="241459"/>
                    <a:pt x="1416844" y="250031"/>
                  </a:cubicBezTo>
                  <a:cubicBezTo>
                    <a:pt x="1416844" y="255746"/>
                    <a:pt x="1417796" y="261461"/>
                    <a:pt x="1418749" y="268129"/>
                  </a:cubicBezTo>
                  <a:cubicBezTo>
                    <a:pt x="1416844" y="270986"/>
                    <a:pt x="1414939" y="273844"/>
                    <a:pt x="1413034" y="277654"/>
                  </a:cubicBezTo>
                  <a:cubicBezTo>
                    <a:pt x="1412081" y="275749"/>
                    <a:pt x="1412081" y="273844"/>
                    <a:pt x="1411129" y="271939"/>
                  </a:cubicBezTo>
                  <a:cubicBezTo>
                    <a:pt x="1406366" y="237649"/>
                    <a:pt x="1401604" y="215741"/>
                    <a:pt x="1401604" y="215741"/>
                  </a:cubicBezTo>
                  <a:cubicBezTo>
                    <a:pt x="1401604" y="215741"/>
                    <a:pt x="1401604" y="226219"/>
                    <a:pt x="1400651" y="243364"/>
                  </a:cubicBezTo>
                  <a:cubicBezTo>
                    <a:pt x="1397794" y="233839"/>
                    <a:pt x="1394936" y="226219"/>
                    <a:pt x="1392079" y="219551"/>
                  </a:cubicBezTo>
                  <a:cubicBezTo>
                    <a:pt x="1392079" y="217646"/>
                    <a:pt x="1393031" y="215741"/>
                    <a:pt x="1393031" y="213836"/>
                  </a:cubicBezTo>
                  <a:cubicBezTo>
                    <a:pt x="1393984" y="212884"/>
                    <a:pt x="1394936" y="211931"/>
                    <a:pt x="1395889" y="210979"/>
                  </a:cubicBezTo>
                  <a:cubicBezTo>
                    <a:pt x="1399699" y="207169"/>
                    <a:pt x="1400651" y="205264"/>
                    <a:pt x="1400651" y="205264"/>
                  </a:cubicBezTo>
                  <a:cubicBezTo>
                    <a:pt x="1400651" y="205264"/>
                    <a:pt x="1398746" y="207169"/>
                    <a:pt x="1394936" y="210026"/>
                  </a:cubicBezTo>
                  <a:cubicBezTo>
                    <a:pt x="1394936" y="210026"/>
                    <a:pt x="1393984" y="210979"/>
                    <a:pt x="1393031" y="210979"/>
                  </a:cubicBezTo>
                  <a:cubicBezTo>
                    <a:pt x="1393984" y="205264"/>
                    <a:pt x="1394936" y="202406"/>
                    <a:pt x="1394936" y="202406"/>
                  </a:cubicBezTo>
                  <a:cubicBezTo>
                    <a:pt x="1394936" y="202406"/>
                    <a:pt x="1393031" y="206216"/>
                    <a:pt x="1391126" y="212884"/>
                  </a:cubicBezTo>
                  <a:cubicBezTo>
                    <a:pt x="1391126" y="212884"/>
                    <a:pt x="1390174" y="213836"/>
                    <a:pt x="1390174" y="213836"/>
                  </a:cubicBezTo>
                  <a:cubicBezTo>
                    <a:pt x="1386364" y="204311"/>
                    <a:pt x="1384459" y="199549"/>
                    <a:pt x="1384459" y="199549"/>
                  </a:cubicBezTo>
                  <a:cubicBezTo>
                    <a:pt x="1384459" y="199549"/>
                    <a:pt x="1385411" y="205264"/>
                    <a:pt x="1387316" y="215741"/>
                  </a:cubicBezTo>
                  <a:cubicBezTo>
                    <a:pt x="1384459" y="218599"/>
                    <a:pt x="1382554" y="220504"/>
                    <a:pt x="1378744" y="224314"/>
                  </a:cubicBezTo>
                  <a:cubicBezTo>
                    <a:pt x="1374934" y="229076"/>
                    <a:pt x="1371124" y="233839"/>
                    <a:pt x="1367314" y="240506"/>
                  </a:cubicBezTo>
                  <a:cubicBezTo>
                    <a:pt x="1363504" y="230029"/>
                    <a:pt x="1358741" y="219551"/>
                    <a:pt x="1354931" y="209074"/>
                  </a:cubicBezTo>
                  <a:cubicBezTo>
                    <a:pt x="1354931" y="199549"/>
                    <a:pt x="1354931" y="191929"/>
                    <a:pt x="1354931" y="185261"/>
                  </a:cubicBezTo>
                  <a:cubicBezTo>
                    <a:pt x="1354931" y="167164"/>
                    <a:pt x="1354931" y="157639"/>
                    <a:pt x="1354931" y="157639"/>
                  </a:cubicBezTo>
                  <a:cubicBezTo>
                    <a:pt x="1354931" y="157639"/>
                    <a:pt x="1353026" y="168116"/>
                    <a:pt x="1351121" y="185261"/>
                  </a:cubicBezTo>
                  <a:cubicBezTo>
                    <a:pt x="1350169" y="189071"/>
                    <a:pt x="1350169" y="192881"/>
                    <a:pt x="1349216" y="197644"/>
                  </a:cubicBezTo>
                  <a:cubicBezTo>
                    <a:pt x="1347311" y="193834"/>
                    <a:pt x="1345406" y="190024"/>
                    <a:pt x="1343501" y="186214"/>
                  </a:cubicBezTo>
                  <a:cubicBezTo>
                    <a:pt x="1343501" y="181451"/>
                    <a:pt x="1344454" y="175736"/>
                    <a:pt x="1344454" y="171926"/>
                  </a:cubicBezTo>
                  <a:cubicBezTo>
                    <a:pt x="1344454" y="166211"/>
                    <a:pt x="1344454" y="161449"/>
                    <a:pt x="1344454" y="157639"/>
                  </a:cubicBezTo>
                  <a:cubicBezTo>
                    <a:pt x="1344454" y="151924"/>
                    <a:pt x="1345406" y="147161"/>
                    <a:pt x="1345406" y="142399"/>
                  </a:cubicBezTo>
                  <a:cubicBezTo>
                    <a:pt x="1346359" y="129064"/>
                    <a:pt x="1346359" y="120491"/>
                    <a:pt x="1346359" y="120491"/>
                  </a:cubicBezTo>
                  <a:cubicBezTo>
                    <a:pt x="1346359" y="120491"/>
                    <a:pt x="1344454" y="128111"/>
                    <a:pt x="1341596" y="141446"/>
                  </a:cubicBezTo>
                  <a:cubicBezTo>
                    <a:pt x="1340644" y="148114"/>
                    <a:pt x="1338739" y="156686"/>
                    <a:pt x="1336834" y="166211"/>
                  </a:cubicBezTo>
                  <a:cubicBezTo>
                    <a:pt x="1336834" y="167164"/>
                    <a:pt x="1336834" y="168116"/>
                    <a:pt x="1335881" y="169069"/>
                  </a:cubicBezTo>
                  <a:cubicBezTo>
                    <a:pt x="1333024" y="162401"/>
                    <a:pt x="1330166" y="156686"/>
                    <a:pt x="1327309" y="150971"/>
                  </a:cubicBezTo>
                  <a:cubicBezTo>
                    <a:pt x="1299686" y="91916"/>
                    <a:pt x="1280636" y="53816"/>
                    <a:pt x="1280636" y="53816"/>
                  </a:cubicBezTo>
                  <a:cubicBezTo>
                    <a:pt x="1280636" y="53816"/>
                    <a:pt x="1293971" y="94774"/>
                    <a:pt x="1317784" y="155734"/>
                  </a:cubicBezTo>
                  <a:cubicBezTo>
                    <a:pt x="1322546" y="168116"/>
                    <a:pt x="1327309" y="180499"/>
                    <a:pt x="1332071" y="193834"/>
                  </a:cubicBezTo>
                  <a:cubicBezTo>
                    <a:pt x="1332071" y="195739"/>
                    <a:pt x="1332071" y="196691"/>
                    <a:pt x="1331119" y="197644"/>
                  </a:cubicBezTo>
                  <a:cubicBezTo>
                    <a:pt x="1329214" y="209074"/>
                    <a:pt x="1327309" y="222409"/>
                    <a:pt x="1326356" y="235744"/>
                  </a:cubicBezTo>
                  <a:cubicBezTo>
                    <a:pt x="1324451" y="249079"/>
                    <a:pt x="1323499" y="263366"/>
                    <a:pt x="1321594" y="277654"/>
                  </a:cubicBezTo>
                  <a:cubicBezTo>
                    <a:pt x="1321594" y="283369"/>
                    <a:pt x="1320641" y="288131"/>
                    <a:pt x="1319689" y="293846"/>
                  </a:cubicBezTo>
                  <a:cubicBezTo>
                    <a:pt x="1318736" y="292894"/>
                    <a:pt x="1318736" y="291941"/>
                    <a:pt x="1317784" y="290989"/>
                  </a:cubicBezTo>
                  <a:cubicBezTo>
                    <a:pt x="1317784" y="289084"/>
                    <a:pt x="1317784" y="289084"/>
                    <a:pt x="1317784" y="289084"/>
                  </a:cubicBezTo>
                  <a:cubicBezTo>
                    <a:pt x="1317784" y="289084"/>
                    <a:pt x="1317784" y="290036"/>
                    <a:pt x="1316831" y="290989"/>
                  </a:cubicBezTo>
                  <a:cubicBezTo>
                    <a:pt x="1316831" y="290036"/>
                    <a:pt x="1315879" y="289084"/>
                    <a:pt x="1315879" y="288131"/>
                  </a:cubicBezTo>
                  <a:cubicBezTo>
                    <a:pt x="1314926" y="287179"/>
                    <a:pt x="1314926" y="286226"/>
                    <a:pt x="1313974" y="285274"/>
                  </a:cubicBezTo>
                  <a:cubicBezTo>
                    <a:pt x="1315879" y="259556"/>
                    <a:pt x="1316831" y="244316"/>
                    <a:pt x="1316831" y="244316"/>
                  </a:cubicBezTo>
                  <a:cubicBezTo>
                    <a:pt x="1316831" y="244316"/>
                    <a:pt x="1313974" y="256699"/>
                    <a:pt x="1309211" y="277654"/>
                  </a:cubicBezTo>
                  <a:cubicBezTo>
                    <a:pt x="1305401" y="271939"/>
                    <a:pt x="1302544" y="266224"/>
                    <a:pt x="1298734" y="260509"/>
                  </a:cubicBezTo>
                  <a:cubicBezTo>
                    <a:pt x="1304449" y="235744"/>
                    <a:pt x="1310164" y="213836"/>
                    <a:pt x="1313974" y="199549"/>
                  </a:cubicBezTo>
                  <a:cubicBezTo>
                    <a:pt x="1317784" y="182404"/>
                    <a:pt x="1319689" y="172879"/>
                    <a:pt x="1319689" y="172879"/>
                  </a:cubicBezTo>
                  <a:cubicBezTo>
                    <a:pt x="1319689" y="172879"/>
                    <a:pt x="1307306" y="202406"/>
                    <a:pt x="1291114" y="249079"/>
                  </a:cubicBezTo>
                  <a:cubicBezTo>
                    <a:pt x="1287304" y="243364"/>
                    <a:pt x="1284446" y="238601"/>
                    <a:pt x="1281589" y="234791"/>
                  </a:cubicBezTo>
                  <a:cubicBezTo>
                    <a:pt x="1273016" y="222409"/>
                    <a:pt x="1267301" y="215741"/>
                    <a:pt x="1267301" y="215741"/>
                  </a:cubicBezTo>
                  <a:cubicBezTo>
                    <a:pt x="1267301" y="215741"/>
                    <a:pt x="1270159" y="222409"/>
                    <a:pt x="1275874" y="232886"/>
                  </a:cubicBezTo>
                  <a:cubicBezTo>
                    <a:pt x="1274921" y="234791"/>
                    <a:pt x="1273969" y="238601"/>
                    <a:pt x="1272064" y="243364"/>
                  </a:cubicBezTo>
                  <a:cubicBezTo>
                    <a:pt x="1268254" y="237649"/>
                    <a:pt x="1264444" y="231934"/>
                    <a:pt x="1261586" y="227171"/>
                  </a:cubicBezTo>
                  <a:cubicBezTo>
                    <a:pt x="1257776" y="221456"/>
                    <a:pt x="1253014" y="215741"/>
                    <a:pt x="1249204" y="210979"/>
                  </a:cubicBezTo>
                  <a:cubicBezTo>
                    <a:pt x="1248251" y="210026"/>
                    <a:pt x="1248251" y="209074"/>
                    <a:pt x="1247299" y="208121"/>
                  </a:cubicBezTo>
                  <a:cubicBezTo>
                    <a:pt x="1250156" y="203359"/>
                    <a:pt x="1251109" y="199549"/>
                    <a:pt x="1251109" y="199549"/>
                  </a:cubicBezTo>
                  <a:cubicBezTo>
                    <a:pt x="1251109" y="199549"/>
                    <a:pt x="1249204" y="202406"/>
                    <a:pt x="1246346" y="206216"/>
                  </a:cubicBezTo>
                  <a:cubicBezTo>
                    <a:pt x="1239679" y="197644"/>
                    <a:pt x="1233964" y="190024"/>
                    <a:pt x="1229201" y="184309"/>
                  </a:cubicBezTo>
                  <a:cubicBezTo>
                    <a:pt x="1217771" y="170974"/>
                    <a:pt x="1211104" y="162401"/>
                    <a:pt x="1211104" y="162401"/>
                  </a:cubicBezTo>
                  <a:cubicBezTo>
                    <a:pt x="1211104" y="162401"/>
                    <a:pt x="1216819" y="170974"/>
                    <a:pt x="1226344" y="186214"/>
                  </a:cubicBezTo>
                  <a:cubicBezTo>
                    <a:pt x="1231106" y="192881"/>
                    <a:pt x="1235869" y="202406"/>
                    <a:pt x="1242536" y="211931"/>
                  </a:cubicBezTo>
                  <a:cubicBezTo>
                    <a:pt x="1240631" y="214789"/>
                    <a:pt x="1238726" y="217646"/>
                    <a:pt x="1236821" y="220504"/>
                  </a:cubicBezTo>
                  <a:cubicBezTo>
                    <a:pt x="1235869" y="222409"/>
                    <a:pt x="1234916" y="224314"/>
                    <a:pt x="1233011" y="226219"/>
                  </a:cubicBezTo>
                  <a:cubicBezTo>
                    <a:pt x="1233011" y="221456"/>
                    <a:pt x="1232059" y="217646"/>
                    <a:pt x="1231106" y="212884"/>
                  </a:cubicBezTo>
                  <a:cubicBezTo>
                    <a:pt x="1231106" y="211931"/>
                    <a:pt x="1230154" y="210026"/>
                    <a:pt x="1228249" y="209074"/>
                  </a:cubicBezTo>
                  <a:cubicBezTo>
                    <a:pt x="1228249" y="209074"/>
                    <a:pt x="1227296" y="209074"/>
                    <a:pt x="1226344" y="209074"/>
                  </a:cubicBezTo>
                  <a:cubicBezTo>
                    <a:pt x="1225391" y="206216"/>
                    <a:pt x="1224439" y="202406"/>
                    <a:pt x="1223486" y="199549"/>
                  </a:cubicBezTo>
                  <a:cubicBezTo>
                    <a:pt x="1218724" y="187166"/>
                    <a:pt x="1215866" y="179546"/>
                    <a:pt x="1215866" y="179546"/>
                  </a:cubicBezTo>
                  <a:cubicBezTo>
                    <a:pt x="1215866" y="179546"/>
                    <a:pt x="1216819" y="187166"/>
                    <a:pt x="1219676" y="200501"/>
                  </a:cubicBezTo>
                  <a:cubicBezTo>
                    <a:pt x="1220629" y="204311"/>
                    <a:pt x="1220629" y="208121"/>
                    <a:pt x="1221581" y="211931"/>
                  </a:cubicBezTo>
                  <a:cubicBezTo>
                    <a:pt x="1221581" y="212884"/>
                    <a:pt x="1220629" y="212884"/>
                    <a:pt x="1220629" y="213836"/>
                  </a:cubicBezTo>
                  <a:cubicBezTo>
                    <a:pt x="1214914" y="208121"/>
                    <a:pt x="1211104" y="203359"/>
                    <a:pt x="1207294" y="200501"/>
                  </a:cubicBezTo>
                  <a:cubicBezTo>
                    <a:pt x="1203484" y="197644"/>
                    <a:pt x="1201579" y="195739"/>
                    <a:pt x="1201579" y="195739"/>
                  </a:cubicBezTo>
                  <a:cubicBezTo>
                    <a:pt x="1201579" y="195739"/>
                    <a:pt x="1203484" y="197644"/>
                    <a:pt x="1206341" y="201454"/>
                  </a:cubicBezTo>
                  <a:cubicBezTo>
                    <a:pt x="1209199" y="205264"/>
                    <a:pt x="1213009" y="210979"/>
                    <a:pt x="1217771" y="217646"/>
                  </a:cubicBezTo>
                  <a:lnTo>
                    <a:pt x="1217771" y="217646"/>
                  </a:lnTo>
                  <a:cubicBezTo>
                    <a:pt x="1216819" y="222409"/>
                    <a:pt x="1216819" y="227171"/>
                    <a:pt x="1216819" y="231934"/>
                  </a:cubicBezTo>
                  <a:cubicBezTo>
                    <a:pt x="1207294" y="223361"/>
                    <a:pt x="1202531" y="219551"/>
                    <a:pt x="1202531" y="219551"/>
                  </a:cubicBezTo>
                  <a:cubicBezTo>
                    <a:pt x="1202531" y="219551"/>
                    <a:pt x="1207294" y="226219"/>
                    <a:pt x="1215866" y="236696"/>
                  </a:cubicBezTo>
                  <a:cubicBezTo>
                    <a:pt x="1215866" y="240506"/>
                    <a:pt x="1214914" y="245269"/>
                    <a:pt x="1214914" y="249079"/>
                  </a:cubicBezTo>
                  <a:cubicBezTo>
                    <a:pt x="1214914" y="250984"/>
                    <a:pt x="1214914" y="252889"/>
                    <a:pt x="1214914" y="255746"/>
                  </a:cubicBezTo>
                  <a:cubicBezTo>
                    <a:pt x="1214914" y="253841"/>
                    <a:pt x="1213961" y="252889"/>
                    <a:pt x="1213961" y="250984"/>
                  </a:cubicBezTo>
                  <a:cubicBezTo>
                    <a:pt x="1213961" y="250984"/>
                    <a:pt x="1213961" y="250031"/>
                    <a:pt x="1213961" y="250031"/>
                  </a:cubicBezTo>
                  <a:cubicBezTo>
                    <a:pt x="1213961" y="249079"/>
                    <a:pt x="1214914" y="249079"/>
                    <a:pt x="1214914" y="249079"/>
                  </a:cubicBezTo>
                  <a:cubicBezTo>
                    <a:pt x="1214914" y="249079"/>
                    <a:pt x="1214914" y="249079"/>
                    <a:pt x="1213961" y="250031"/>
                  </a:cubicBezTo>
                  <a:cubicBezTo>
                    <a:pt x="1212056" y="242411"/>
                    <a:pt x="1209199" y="235744"/>
                    <a:pt x="1207294" y="229076"/>
                  </a:cubicBezTo>
                  <a:cubicBezTo>
                    <a:pt x="1204436" y="222409"/>
                    <a:pt x="1202531" y="216694"/>
                    <a:pt x="1200626" y="212884"/>
                  </a:cubicBezTo>
                  <a:cubicBezTo>
                    <a:pt x="1195864" y="204311"/>
                    <a:pt x="1193959" y="198596"/>
                    <a:pt x="1193959" y="198596"/>
                  </a:cubicBezTo>
                  <a:cubicBezTo>
                    <a:pt x="1193959" y="198596"/>
                    <a:pt x="1194911" y="204311"/>
                    <a:pt x="1196816" y="213836"/>
                  </a:cubicBezTo>
                  <a:cubicBezTo>
                    <a:pt x="1197769" y="218599"/>
                    <a:pt x="1198721" y="224314"/>
                    <a:pt x="1200626" y="230981"/>
                  </a:cubicBezTo>
                  <a:cubicBezTo>
                    <a:pt x="1201579" y="237649"/>
                    <a:pt x="1202531" y="245269"/>
                    <a:pt x="1204436" y="252889"/>
                  </a:cubicBezTo>
                  <a:cubicBezTo>
                    <a:pt x="1204436" y="254794"/>
                    <a:pt x="1205389" y="256699"/>
                    <a:pt x="1205389" y="258604"/>
                  </a:cubicBezTo>
                  <a:cubicBezTo>
                    <a:pt x="1202531" y="251936"/>
                    <a:pt x="1199674" y="245269"/>
                    <a:pt x="1196816" y="239554"/>
                  </a:cubicBezTo>
                  <a:cubicBezTo>
                    <a:pt x="1193959" y="233839"/>
                    <a:pt x="1191101" y="229076"/>
                    <a:pt x="1189196" y="224314"/>
                  </a:cubicBezTo>
                  <a:cubicBezTo>
                    <a:pt x="1184434" y="216694"/>
                    <a:pt x="1181576" y="211931"/>
                    <a:pt x="1181576" y="211931"/>
                  </a:cubicBezTo>
                  <a:cubicBezTo>
                    <a:pt x="1181576" y="211931"/>
                    <a:pt x="1183481" y="216694"/>
                    <a:pt x="1185386" y="225266"/>
                  </a:cubicBezTo>
                  <a:cubicBezTo>
                    <a:pt x="1187291" y="230029"/>
                    <a:pt x="1188244" y="234791"/>
                    <a:pt x="1190149" y="241459"/>
                  </a:cubicBezTo>
                  <a:cubicBezTo>
                    <a:pt x="1192054" y="247174"/>
                    <a:pt x="1193006" y="254794"/>
                    <a:pt x="1194911" y="262414"/>
                  </a:cubicBezTo>
                  <a:cubicBezTo>
                    <a:pt x="1195864" y="267176"/>
                    <a:pt x="1196816" y="271939"/>
                    <a:pt x="1197769" y="276701"/>
                  </a:cubicBezTo>
                  <a:cubicBezTo>
                    <a:pt x="1196816" y="279559"/>
                    <a:pt x="1194911" y="281464"/>
                    <a:pt x="1193959" y="284321"/>
                  </a:cubicBezTo>
                  <a:cubicBezTo>
                    <a:pt x="1193959" y="284321"/>
                    <a:pt x="1193959" y="283369"/>
                    <a:pt x="1193959" y="283369"/>
                  </a:cubicBezTo>
                  <a:cubicBezTo>
                    <a:pt x="1193959" y="282416"/>
                    <a:pt x="1193006" y="280511"/>
                    <a:pt x="1193006" y="279559"/>
                  </a:cubicBezTo>
                  <a:cubicBezTo>
                    <a:pt x="1193959" y="277654"/>
                    <a:pt x="1193959" y="276701"/>
                    <a:pt x="1193959" y="276701"/>
                  </a:cubicBezTo>
                  <a:cubicBezTo>
                    <a:pt x="1193959" y="276701"/>
                    <a:pt x="1193959" y="277654"/>
                    <a:pt x="1193006" y="278606"/>
                  </a:cubicBezTo>
                  <a:cubicBezTo>
                    <a:pt x="1190149" y="268129"/>
                    <a:pt x="1187291" y="258604"/>
                    <a:pt x="1184434" y="250984"/>
                  </a:cubicBezTo>
                  <a:cubicBezTo>
                    <a:pt x="1179671" y="239554"/>
                    <a:pt x="1176814" y="231934"/>
                    <a:pt x="1174909" y="227171"/>
                  </a:cubicBezTo>
                  <a:cubicBezTo>
                    <a:pt x="1174909" y="226219"/>
                    <a:pt x="1174909" y="224314"/>
                    <a:pt x="1174909" y="223361"/>
                  </a:cubicBezTo>
                  <a:cubicBezTo>
                    <a:pt x="1174909" y="212884"/>
                    <a:pt x="1175861" y="204311"/>
                    <a:pt x="1175861" y="196691"/>
                  </a:cubicBezTo>
                  <a:cubicBezTo>
                    <a:pt x="1175861" y="182404"/>
                    <a:pt x="1174909" y="173831"/>
                    <a:pt x="1174909" y="173831"/>
                  </a:cubicBezTo>
                  <a:cubicBezTo>
                    <a:pt x="1174909" y="173831"/>
                    <a:pt x="1173956" y="182404"/>
                    <a:pt x="1172051" y="196691"/>
                  </a:cubicBezTo>
                  <a:cubicBezTo>
                    <a:pt x="1171099" y="204311"/>
                    <a:pt x="1169194" y="212884"/>
                    <a:pt x="1168241" y="223361"/>
                  </a:cubicBezTo>
                  <a:cubicBezTo>
                    <a:pt x="1168241" y="224314"/>
                    <a:pt x="1168241" y="225266"/>
                    <a:pt x="1168241" y="226219"/>
                  </a:cubicBezTo>
                  <a:cubicBezTo>
                    <a:pt x="1167289" y="229076"/>
                    <a:pt x="1165384" y="232886"/>
                    <a:pt x="1162526" y="238601"/>
                  </a:cubicBezTo>
                  <a:cubicBezTo>
                    <a:pt x="1161574" y="230981"/>
                    <a:pt x="1160621" y="223361"/>
                    <a:pt x="1158716" y="215741"/>
                  </a:cubicBezTo>
                  <a:cubicBezTo>
                    <a:pt x="1156811" y="206216"/>
                    <a:pt x="1153954" y="197644"/>
                    <a:pt x="1152049" y="189071"/>
                  </a:cubicBezTo>
                  <a:cubicBezTo>
                    <a:pt x="1143476" y="155734"/>
                    <a:pt x="1136809" y="133826"/>
                    <a:pt x="1136809" y="133826"/>
                  </a:cubicBezTo>
                  <a:cubicBezTo>
                    <a:pt x="1136809" y="133826"/>
                    <a:pt x="1137761" y="156686"/>
                    <a:pt x="1140619" y="190024"/>
                  </a:cubicBezTo>
                  <a:cubicBezTo>
                    <a:pt x="1141571" y="198596"/>
                    <a:pt x="1142524" y="208121"/>
                    <a:pt x="1143476" y="217646"/>
                  </a:cubicBezTo>
                  <a:cubicBezTo>
                    <a:pt x="1144429" y="227171"/>
                    <a:pt x="1144429" y="237649"/>
                    <a:pt x="1146334" y="248126"/>
                  </a:cubicBezTo>
                  <a:cubicBezTo>
                    <a:pt x="1146334" y="252889"/>
                    <a:pt x="1147286" y="256699"/>
                    <a:pt x="1147286" y="261461"/>
                  </a:cubicBezTo>
                  <a:cubicBezTo>
                    <a:pt x="1147286" y="261461"/>
                    <a:pt x="1147286" y="261461"/>
                    <a:pt x="1147286" y="261461"/>
                  </a:cubicBezTo>
                  <a:cubicBezTo>
                    <a:pt x="1147286" y="259556"/>
                    <a:pt x="1147286" y="258604"/>
                    <a:pt x="1147286" y="258604"/>
                  </a:cubicBezTo>
                  <a:cubicBezTo>
                    <a:pt x="1147286" y="258604"/>
                    <a:pt x="1147286" y="259556"/>
                    <a:pt x="1147286" y="260509"/>
                  </a:cubicBezTo>
                  <a:cubicBezTo>
                    <a:pt x="1146334" y="257651"/>
                    <a:pt x="1144429" y="254794"/>
                    <a:pt x="1143476" y="251936"/>
                  </a:cubicBezTo>
                  <a:cubicBezTo>
                    <a:pt x="1142524" y="250984"/>
                    <a:pt x="1142524" y="250031"/>
                    <a:pt x="1141571" y="249079"/>
                  </a:cubicBezTo>
                  <a:cubicBezTo>
                    <a:pt x="1141571" y="242411"/>
                    <a:pt x="1141571" y="237649"/>
                    <a:pt x="1141571" y="237649"/>
                  </a:cubicBezTo>
                  <a:cubicBezTo>
                    <a:pt x="1141571" y="237649"/>
                    <a:pt x="1140619" y="240506"/>
                    <a:pt x="1139666" y="246221"/>
                  </a:cubicBezTo>
                  <a:cubicBezTo>
                    <a:pt x="1136809" y="241459"/>
                    <a:pt x="1134904" y="236696"/>
                    <a:pt x="1132046" y="231934"/>
                  </a:cubicBezTo>
                  <a:cubicBezTo>
                    <a:pt x="1132046" y="231934"/>
                    <a:pt x="1132046" y="230981"/>
                    <a:pt x="1132046" y="230981"/>
                  </a:cubicBezTo>
                  <a:cubicBezTo>
                    <a:pt x="1128236" y="211931"/>
                    <a:pt x="1124426" y="193834"/>
                    <a:pt x="1120616" y="177641"/>
                  </a:cubicBezTo>
                  <a:cubicBezTo>
                    <a:pt x="1116806" y="161449"/>
                    <a:pt x="1113949" y="146209"/>
                    <a:pt x="1110139" y="132874"/>
                  </a:cubicBezTo>
                  <a:cubicBezTo>
                    <a:pt x="1106329" y="119539"/>
                    <a:pt x="1103471" y="108109"/>
                    <a:pt x="1100614" y="98584"/>
                  </a:cubicBezTo>
                  <a:cubicBezTo>
                    <a:pt x="1094899" y="79534"/>
                    <a:pt x="1092041" y="69056"/>
                    <a:pt x="1092041" y="69056"/>
                  </a:cubicBezTo>
                  <a:cubicBezTo>
                    <a:pt x="1092041" y="69056"/>
                    <a:pt x="1093946" y="80486"/>
                    <a:pt x="1096804" y="99536"/>
                  </a:cubicBezTo>
                  <a:cubicBezTo>
                    <a:pt x="1098709" y="109061"/>
                    <a:pt x="1100614" y="121444"/>
                    <a:pt x="1103471" y="134779"/>
                  </a:cubicBezTo>
                  <a:cubicBezTo>
                    <a:pt x="1106329" y="148114"/>
                    <a:pt x="1108234" y="163354"/>
                    <a:pt x="1110139" y="180499"/>
                  </a:cubicBezTo>
                  <a:cubicBezTo>
                    <a:pt x="1111091" y="186214"/>
                    <a:pt x="1112044" y="192881"/>
                    <a:pt x="1112996" y="199549"/>
                  </a:cubicBezTo>
                  <a:cubicBezTo>
                    <a:pt x="1112044" y="197644"/>
                    <a:pt x="1111091" y="196691"/>
                    <a:pt x="1110139" y="194786"/>
                  </a:cubicBezTo>
                  <a:cubicBezTo>
                    <a:pt x="1109186" y="192881"/>
                    <a:pt x="1107281" y="190976"/>
                    <a:pt x="1106329" y="190024"/>
                  </a:cubicBezTo>
                  <a:cubicBezTo>
                    <a:pt x="1106329" y="189071"/>
                    <a:pt x="1106329" y="189071"/>
                    <a:pt x="1105376" y="188119"/>
                  </a:cubicBezTo>
                  <a:cubicBezTo>
                    <a:pt x="1101566" y="177641"/>
                    <a:pt x="1098709" y="168116"/>
                    <a:pt x="1095851" y="160496"/>
                  </a:cubicBezTo>
                  <a:cubicBezTo>
                    <a:pt x="1090136" y="145256"/>
                    <a:pt x="1087279" y="136684"/>
                    <a:pt x="1087279" y="136684"/>
                  </a:cubicBezTo>
                  <a:cubicBezTo>
                    <a:pt x="1087279" y="136684"/>
                    <a:pt x="1089184" y="145256"/>
                    <a:pt x="1092041" y="161449"/>
                  </a:cubicBezTo>
                  <a:cubicBezTo>
                    <a:pt x="1093946" y="169069"/>
                    <a:pt x="1095851" y="178594"/>
                    <a:pt x="1098709" y="190024"/>
                  </a:cubicBezTo>
                  <a:cubicBezTo>
                    <a:pt x="1100614" y="197644"/>
                    <a:pt x="1102519" y="207169"/>
                    <a:pt x="1103471" y="215741"/>
                  </a:cubicBezTo>
                  <a:cubicBezTo>
                    <a:pt x="1099661" y="206216"/>
                    <a:pt x="1097756" y="200501"/>
                    <a:pt x="1097756" y="200501"/>
                  </a:cubicBezTo>
                  <a:cubicBezTo>
                    <a:pt x="1097756" y="200501"/>
                    <a:pt x="1099661" y="209074"/>
                    <a:pt x="1102519" y="224314"/>
                  </a:cubicBezTo>
                  <a:cubicBezTo>
                    <a:pt x="1100614" y="227171"/>
                    <a:pt x="1097756" y="230981"/>
                    <a:pt x="1094899" y="233839"/>
                  </a:cubicBezTo>
                  <a:cubicBezTo>
                    <a:pt x="1092994" y="225266"/>
                    <a:pt x="1091089" y="216694"/>
                    <a:pt x="1089184" y="209074"/>
                  </a:cubicBezTo>
                  <a:cubicBezTo>
                    <a:pt x="1086326" y="182404"/>
                    <a:pt x="1084421" y="166211"/>
                    <a:pt x="1084421" y="166211"/>
                  </a:cubicBezTo>
                  <a:cubicBezTo>
                    <a:pt x="1084421" y="166211"/>
                    <a:pt x="1084421" y="172879"/>
                    <a:pt x="1083469" y="184309"/>
                  </a:cubicBezTo>
                  <a:cubicBezTo>
                    <a:pt x="1080611" y="171926"/>
                    <a:pt x="1077754" y="160496"/>
                    <a:pt x="1073944" y="149066"/>
                  </a:cubicBezTo>
                  <a:cubicBezTo>
                    <a:pt x="1071086" y="140494"/>
                    <a:pt x="1069181" y="131921"/>
                    <a:pt x="1066324" y="123349"/>
                  </a:cubicBezTo>
                  <a:cubicBezTo>
                    <a:pt x="1072991" y="105251"/>
                    <a:pt x="1075849" y="94774"/>
                    <a:pt x="1075849" y="94774"/>
                  </a:cubicBezTo>
                  <a:cubicBezTo>
                    <a:pt x="1075849" y="94774"/>
                    <a:pt x="1072039" y="103346"/>
                    <a:pt x="1064419" y="119539"/>
                  </a:cubicBezTo>
                  <a:cubicBezTo>
                    <a:pt x="1062514" y="112871"/>
                    <a:pt x="1059656" y="106204"/>
                    <a:pt x="1057751" y="100489"/>
                  </a:cubicBezTo>
                  <a:cubicBezTo>
                    <a:pt x="1054894" y="92869"/>
                    <a:pt x="1052036" y="85249"/>
                    <a:pt x="1050131" y="78581"/>
                  </a:cubicBezTo>
                  <a:cubicBezTo>
                    <a:pt x="1047274" y="71914"/>
                    <a:pt x="1044416" y="65246"/>
                    <a:pt x="1042511" y="59531"/>
                  </a:cubicBezTo>
                  <a:cubicBezTo>
                    <a:pt x="1037749" y="47149"/>
                    <a:pt x="1032986" y="36671"/>
                    <a:pt x="1029176" y="28099"/>
                  </a:cubicBezTo>
                  <a:cubicBezTo>
                    <a:pt x="1017746" y="16669"/>
                    <a:pt x="1012984" y="7144"/>
                    <a:pt x="1012984" y="7144"/>
                  </a:cubicBezTo>
                  <a:cubicBezTo>
                    <a:pt x="1012984" y="7144"/>
                    <a:pt x="1016794" y="17621"/>
                    <a:pt x="1022509" y="34766"/>
                  </a:cubicBezTo>
                  <a:cubicBezTo>
                    <a:pt x="1025366" y="43339"/>
                    <a:pt x="1029176" y="54769"/>
                    <a:pt x="1032986" y="67151"/>
                  </a:cubicBezTo>
                  <a:cubicBezTo>
                    <a:pt x="1034891" y="73819"/>
                    <a:pt x="1036796" y="79534"/>
                    <a:pt x="1038701" y="87154"/>
                  </a:cubicBezTo>
                  <a:cubicBezTo>
                    <a:pt x="1040606" y="93821"/>
                    <a:pt x="1042511" y="101441"/>
                    <a:pt x="1044416" y="109061"/>
                  </a:cubicBezTo>
                  <a:cubicBezTo>
                    <a:pt x="1044416" y="109061"/>
                    <a:pt x="1044416" y="110014"/>
                    <a:pt x="1044416" y="110014"/>
                  </a:cubicBezTo>
                  <a:cubicBezTo>
                    <a:pt x="1039654" y="101441"/>
                    <a:pt x="1037749" y="96679"/>
                    <a:pt x="1037749" y="96679"/>
                  </a:cubicBezTo>
                  <a:cubicBezTo>
                    <a:pt x="1037749" y="96679"/>
                    <a:pt x="1039654" y="104299"/>
                    <a:pt x="1044416" y="117634"/>
                  </a:cubicBezTo>
                  <a:cubicBezTo>
                    <a:pt x="1046321" y="124301"/>
                    <a:pt x="1049179" y="131921"/>
                    <a:pt x="1051084" y="141446"/>
                  </a:cubicBezTo>
                  <a:cubicBezTo>
                    <a:pt x="1051084" y="143351"/>
                    <a:pt x="1052036" y="144304"/>
                    <a:pt x="1052036" y="146209"/>
                  </a:cubicBezTo>
                  <a:cubicBezTo>
                    <a:pt x="1048226" y="153829"/>
                    <a:pt x="1043464" y="163354"/>
                    <a:pt x="1037749" y="172879"/>
                  </a:cubicBezTo>
                  <a:cubicBezTo>
                    <a:pt x="1033939" y="180499"/>
                    <a:pt x="1029176" y="188119"/>
                    <a:pt x="1024414" y="195739"/>
                  </a:cubicBezTo>
                  <a:cubicBezTo>
                    <a:pt x="1024414" y="194786"/>
                    <a:pt x="1023461" y="193834"/>
                    <a:pt x="1023461" y="192881"/>
                  </a:cubicBezTo>
                  <a:cubicBezTo>
                    <a:pt x="1023461" y="190024"/>
                    <a:pt x="1023461" y="187166"/>
                    <a:pt x="1023461" y="184309"/>
                  </a:cubicBezTo>
                  <a:cubicBezTo>
                    <a:pt x="1024414" y="169069"/>
                    <a:pt x="1024414" y="154781"/>
                    <a:pt x="1024414" y="142399"/>
                  </a:cubicBezTo>
                  <a:cubicBezTo>
                    <a:pt x="1024414" y="130016"/>
                    <a:pt x="1024414" y="119539"/>
                    <a:pt x="1023461" y="110014"/>
                  </a:cubicBezTo>
                  <a:cubicBezTo>
                    <a:pt x="1023461" y="101441"/>
                    <a:pt x="1022509" y="93821"/>
                    <a:pt x="1021556" y="89059"/>
                  </a:cubicBezTo>
                  <a:cubicBezTo>
                    <a:pt x="1020604" y="84296"/>
                    <a:pt x="1020604" y="81439"/>
                    <a:pt x="1020604" y="81439"/>
                  </a:cubicBezTo>
                  <a:cubicBezTo>
                    <a:pt x="1020604" y="81439"/>
                    <a:pt x="1020604" y="84296"/>
                    <a:pt x="1020604" y="89059"/>
                  </a:cubicBezTo>
                  <a:cubicBezTo>
                    <a:pt x="1020604" y="93821"/>
                    <a:pt x="1019651" y="100489"/>
                    <a:pt x="1019651" y="110014"/>
                  </a:cubicBezTo>
                  <a:cubicBezTo>
                    <a:pt x="1018699" y="124301"/>
                    <a:pt x="1016794" y="142399"/>
                    <a:pt x="1014889" y="165259"/>
                  </a:cubicBezTo>
                  <a:cubicBezTo>
                    <a:pt x="1013936" y="162401"/>
                    <a:pt x="1013936" y="161449"/>
                    <a:pt x="1013936" y="161449"/>
                  </a:cubicBezTo>
                  <a:cubicBezTo>
                    <a:pt x="1013936" y="161449"/>
                    <a:pt x="1013936" y="163354"/>
                    <a:pt x="1014889" y="168116"/>
                  </a:cubicBezTo>
                  <a:cubicBezTo>
                    <a:pt x="1013936" y="172879"/>
                    <a:pt x="1013936" y="178594"/>
                    <a:pt x="1012984" y="183356"/>
                  </a:cubicBezTo>
                  <a:cubicBezTo>
                    <a:pt x="1011079" y="196691"/>
                    <a:pt x="1009174" y="210026"/>
                    <a:pt x="1007269" y="224314"/>
                  </a:cubicBezTo>
                  <a:cubicBezTo>
                    <a:pt x="996791" y="242411"/>
                    <a:pt x="984409" y="262414"/>
                    <a:pt x="972026" y="283369"/>
                  </a:cubicBezTo>
                  <a:cubicBezTo>
                    <a:pt x="972026" y="277654"/>
                    <a:pt x="971074" y="273844"/>
                    <a:pt x="971074" y="269081"/>
                  </a:cubicBezTo>
                  <a:cubicBezTo>
                    <a:pt x="972979" y="263366"/>
                    <a:pt x="975836" y="256699"/>
                    <a:pt x="977741" y="251936"/>
                  </a:cubicBezTo>
                  <a:cubicBezTo>
                    <a:pt x="983456" y="235744"/>
                    <a:pt x="989171" y="220504"/>
                    <a:pt x="992981" y="206216"/>
                  </a:cubicBezTo>
                  <a:cubicBezTo>
                    <a:pt x="996791" y="192881"/>
                    <a:pt x="1000601" y="180499"/>
                    <a:pt x="1002506" y="170974"/>
                  </a:cubicBezTo>
                  <a:cubicBezTo>
                    <a:pt x="1007269" y="150971"/>
                    <a:pt x="1009174" y="139541"/>
                    <a:pt x="1009174" y="139541"/>
                  </a:cubicBezTo>
                  <a:cubicBezTo>
                    <a:pt x="1009174" y="139541"/>
                    <a:pt x="1005364" y="150971"/>
                    <a:pt x="998696" y="170021"/>
                  </a:cubicBezTo>
                  <a:cubicBezTo>
                    <a:pt x="995839" y="179546"/>
                    <a:pt x="990124" y="190976"/>
                    <a:pt x="985361" y="204311"/>
                  </a:cubicBezTo>
                  <a:cubicBezTo>
                    <a:pt x="980599" y="217646"/>
                    <a:pt x="972979" y="231934"/>
                    <a:pt x="966311" y="248126"/>
                  </a:cubicBezTo>
                  <a:cubicBezTo>
                    <a:pt x="964406" y="251936"/>
                    <a:pt x="962501" y="255746"/>
                    <a:pt x="960596" y="260509"/>
                  </a:cubicBezTo>
                  <a:cubicBezTo>
                    <a:pt x="961549" y="248126"/>
                    <a:pt x="961549" y="236696"/>
                    <a:pt x="961549" y="225266"/>
                  </a:cubicBezTo>
                  <a:cubicBezTo>
                    <a:pt x="966311" y="212884"/>
                    <a:pt x="969169" y="206216"/>
                    <a:pt x="969169" y="206216"/>
                  </a:cubicBezTo>
                  <a:cubicBezTo>
                    <a:pt x="969169" y="206216"/>
                    <a:pt x="966311" y="210979"/>
                    <a:pt x="961549" y="218599"/>
                  </a:cubicBezTo>
                  <a:cubicBezTo>
                    <a:pt x="961549" y="213836"/>
                    <a:pt x="961549" y="210026"/>
                    <a:pt x="961549" y="206216"/>
                  </a:cubicBezTo>
                  <a:cubicBezTo>
                    <a:pt x="961549" y="182404"/>
                    <a:pt x="960596" y="162401"/>
                    <a:pt x="958691" y="149066"/>
                  </a:cubicBezTo>
                  <a:cubicBezTo>
                    <a:pt x="957739" y="143351"/>
                    <a:pt x="957739" y="138589"/>
                    <a:pt x="956786" y="134779"/>
                  </a:cubicBezTo>
                  <a:cubicBezTo>
                    <a:pt x="956786" y="132874"/>
                    <a:pt x="957739" y="131921"/>
                    <a:pt x="957739" y="131921"/>
                  </a:cubicBezTo>
                  <a:cubicBezTo>
                    <a:pt x="957739" y="131921"/>
                    <a:pt x="957739" y="132874"/>
                    <a:pt x="956786" y="133826"/>
                  </a:cubicBezTo>
                  <a:cubicBezTo>
                    <a:pt x="956786" y="133826"/>
                    <a:pt x="956786" y="132874"/>
                    <a:pt x="956786" y="132874"/>
                  </a:cubicBezTo>
                  <a:cubicBezTo>
                    <a:pt x="955834" y="129064"/>
                    <a:pt x="955834" y="127159"/>
                    <a:pt x="955834" y="127159"/>
                  </a:cubicBezTo>
                  <a:cubicBezTo>
                    <a:pt x="955834" y="127159"/>
                    <a:pt x="955834" y="130969"/>
                    <a:pt x="955834" y="136684"/>
                  </a:cubicBezTo>
                  <a:cubicBezTo>
                    <a:pt x="951071" y="147161"/>
                    <a:pt x="940594" y="171926"/>
                    <a:pt x="927259" y="206216"/>
                  </a:cubicBezTo>
                  <a:cubicBezTo>
                    <a:pt x="927259" y="206216"/>
                    <a:pt x="927259" y="205264"/>
                    <a:pt x="927259" y="205264"/>
                  </a:cubicBezTo>
                  <a:cubicBezTo>
                    <a:pt x="928211" y="196691"/>
                    <a:pt x="929164" y="189071"/>
                    <a:pt x="930116" y="183356"/>
                  </a:cubicBezTo>
                  <a:cubicBezTo>
                    <a:pt x="932021" y="170974"/>
                    <a:pt x="932974" y="164306"/>
                    <a:pt x="932974" y="164306"/>
                  </a:cubicBezTo>
                  <a:cubicBezTo>
                    <a:pt x="932974" y="164306"/>
                    <a:pt x="930116" y="170974"/>
                    <a:pt x="926306" y="183356"/>
                  </a:cubicBezTo>
                  <a:cubicBezTo>
                    <a:pt x="924401" y="189071"/>
                    <a:pt x="922496" y="195739"/>
                    <a:pt x="920591" y="203359"/>
                  </a:cubicBezTo>
                  <a:cubicBezTo>
                    <a:pt x="916781" y="192881"/>
                    <a:pt x="913924" y="182404"/>
                    <a:pt x="910114" y="171926"/>
                  </a:cubicBezTo>
                  <a:cubicBezTo>
                    <a:pt x="909161" y="169069"/>
                    <a:pt x="908209" y="167164"/>
                    <a:pt x="907256" y="164306"/>
                  </a:cubicBezTo>
                  <a:cubicBezTo>
                    <a:pt x="909161" y="161449"/>
                    <a:pt x="910114" y="159544"/>
                    <a:pt x="912019" y="157639"/>
                  </a:cubicBezTo>
                  <a:cubicBezTo>
                    <a:pt x="920591" y="145256"/>
                    <a:pt x="927259" y="133826"/>
                    <a:pt x="933926" y="124301"/>
                  </a:cubicBezTo>
                  <a:cubicBezTo>
                    <a:pt x="946309" y="106204"/>
                    <a:pt x="953929" y="95726"/>
                    <a:pt x="953929" y="95726"/>
                  </a:cubicBezTo>
                  <a:cubicBezTo>
                    <a:pt x="953929" y="95726"/>
                    <a:pt x="945356" y="105251"/>
                    <a:pt x="931069" y="121444"/>
                  </a:cubicBezTo>
                  <a:cubicBezTo>
                    <a:pt x="923449" y="129064"/>
                    <a:pt x="915829" y="140494"/>
                    <a:pt x="906304" y="151924"/>
                  </a:cubicBezTo>
                  <a:cubicBezTo>
                    <a:pt x="905351" y="152876"/>
                    <a:pt x="904399" y="153829"/>
                    <a:pt x="904399" y="154781"/>
                  </a:cubicBezTo>
                  <a:cubicBezTo>
                    <a:pt x="901541" y="147161"/>
                    <a:pt x="898684" y="139541"/>
                    <a:pt x="894874" y="131921"/>
                  </a:cubicBezTo>
                  <a:lnTo>
                    <a:pt x="892016" y="126206"/>
                  </a:lnTo>
                  <a:cubicBezTo>
                    <a:pt x="893921" y="122396"/>
                    <a:pt x="895826" y="118586"/>
                    <a:pt x="897731" y="115729"/>
                  </a:cubicBezTo>
                  <a:cubicBezTo>
                    <a:pt x="905351" y="100489"/>
                    <a:pt x="912019" y="87154"/>
                    <a:pt x="918686" y="77629"/>
                  </a:cubicBezTo>
                  <a:cubicBezTo>
                    <a:pt x="931069" y="56674"/>
                    <a:pt x="937736" y="44291"/>
                    <a:pt x="937736" y="44291"/>
                  </a:cubicBezTo>
                  <a:cubicBezTo>
                    <a:pt x="937736" y="44291"/>
                    <a:pt x="929164" y="55721"/>
                    <a:pt x="914876" y="74771"/>
                  </a:cubicBezTo>
                  <a:cubicBezTo>
                    <a:pt x="907256" y="84296"/>
                    <a:pt x="899636" y="96679"/>
                    <a:pt x="890111" y="110966"/>
                  </a:cubicBezTo>
                  <a:cubicBezTo>
                    <a:pt x="889159" y="112871"/>
                    <a:pt x="887254" y="114776"/>
                    <a:pt x="886301" y="116681"/>
                  </a:cubicBezTo>
                  <a:lnTo>
                    <a:pt x="874871" y="92869"/>
                  </a:lnTo>
                  <a:lnTo>
                    <a:pt x="873919" y="90964"/>
                  </a:lnTo>
                  <a:lnTo>
                    <a:pt x="872966" y="91916"/>
                  </a:lnTo>
                  <a:cubicBezTo>
                    <a:pt x="871061" y="92869"/>
                    <a:pt x="869156" y="93821"/>
                    <a:pt x="868204" y="95726"/>
                  </a:cubicBezTo>
                  <a:cubicBezTo>
                    <a:pt x="867251" y="97631"/>
                    <a:pt x="866299" y="99536"/>
                    <a:pt x="866299" y="101441"/>
                  </a:cubicBezTo>
                  <a:cubicBezTo>
                    <a:pt x="866299" y="105251"/>
                    <a:pt x="867251" y="110014"/>
                    <a:pt x="868204" y="113824"/>
                  </a:cubicBezTo>
                  <a:cubicBezTo>
                    <a:pt x="867251" y="110014"/>
                    <a:pt x="867251" y="106204"/>
                    <a:pt x="868204" y="102394"/>
                  </a:cubicBezTo>
                  <a:cubicBezTo>
                    <a:pt x="868204" y="100489"/>
                    <a:pt x="869156" y="99536"/>
                    <a:pt x="870109" y="97631"/>
                  </a:cubicBezTo>
                  <a:cubicBezTo>
                    <a:pt x="871061" y="96679"/>
                    <a:pt x="872014" y="96679"/>
                    <a:pt x="872966" y="95726"/>
                  </a:cubicBezTo>
                  <a:lnTo>
                    <a:pt x="882491" y="122396"/>
                  </a:lnTo>
                  <a:cubicBezTo>
                    <a:pt x="880586" y="126206"/>
                    <a:pt x="877729" y="129064"/>
                    <a:pt x="875824" y="132874"/>
                  </a:cubicBezTo>
                  <a:cubicBezTo>
                    <a:pt x="871061" y="141446"/>
                    <a:pt x="866299" y="150019"/>
                    <a:pt x="860584" y="159544"/>
                  </a:cubicBezTo>
                  <a:cubicBezTo>
                    <a:pt x="852964" y="172879"/>
                    <a:pt x="845344" y="188119"/>
                    <a:pt x="837724" y="203359"/>
                  </a:cubicBezTo>
                  <a:cubicBezTo>
                    <a:pt x="834866" y="198596"/>
                    <a:pt x="832961" y="195739"/>
                    <a:pt x="832009" y="194786"/>
                  </a:cubicBezTo>
                  <a:cubicBezTo>
                    <a:pt x="834866" y="170974"/>
                    <a:pt x="836771" y="151924"/>
                    <a:pt x="838676" y="137636"/>
                  </a:cubicBezTo>
                  <a:cubicBezTo>
                    <a:pt x="839629" y="123349"/>
                    <a:pt x="840581" y="115729"/>
                    <a:pt x="840581" y="115729"/>
                  </a:cubicBezTo>
                  <a:cubicBezTo>
                    <a:pt x="840581" y="115729"/>
                    <a:pt x="838676" y="123349"/>
                    <a:pt x="834866" y="137636"/>
                  </a:cubicBezTo>
                  <a:cubicBezTo>
                    <a:pt x="831056" y="151924"/>
                    <a:pt x="826294" y="170974"/>
                    <a:pt x="820579" y="194786"/>
                  </a:cubicBezTo>
                  <a:cubicBezTo>
                    <a:pt x="819626" y="197644"/>
                    <a:pt x="819626" y="200501"/>
                    <a:pt x="818674" y="204311"/>
                  </a:cubicBezTo>
                  <a:cubicBezTo>
                    <a:pt x="817721" y="202406"/>
                    <a:pt x="816769" y="199549"/>
                    <a:pt x="815816" y="197644"/>
                  </a:cubicBezTo>
                  <a:cubicBezTo>
                    <a:pt x="810101" y="183356"/>
                    <a:pt x="807244" y="174784"/>
                    <a:pt x="807244" y="174784"/>
                  </a:cubicBezTo>
                  <a:cubicBezTo>
                    <a:pt x="807244" y="174784"/>
                    <a:pt x="809149" y="183356"/>
                    <a:pt x="812006" y="198596"/>
                  </a:cubicBezTo>
                  <a:cubicBezTo>
                    <a:pt x="812959" y="202406"/>
                    <a:pt x="813911" y="206216"/>
                    <a:pt x="814864" y="210979"/>
                  </a:cubicBezTo>
                  <a:cubicBezTo>
                    <a:pt x="814864" y="212884"/>
                    <a:pt x="815816" y="214789"/>
                    <a:pt x="815816" y="216694"/>
                  </a:cubicBezTo>
                  <a:cubicBezTo>
                    <a:pt x="813911" y="224314"/>
                    <a:pt x="812959" y="231934"/>
                    <a:pt x="811054" y="239554"/>
                  </a:cubicBezTo>
                  <a:cubicBezTo>
                    <a:pt x="809149" y="226219"/>
                    <a:pt x="808196" y="219551"/>
                    <a:pt x="808196" y="219551"/>
                  </a:cubicBezTo>
                  <a:cubicBezTo>
                    <a:pt x="808196" y="219551"/>
                    <a:pt x="807244" y="236696"/>
                    <a:pt x="807244" y="264319"/>
                  </a:cubicBezTo>
                  <a:cubicBezTo>
                    <a:pt x="807244" y="265271"/>
                    <a:pt x="807244" y="265271"/>
                    <a:pt x="807244" y="266224"/>
                  </a:cubicBezTo>
                  <a:cubicBezTo>
                    <a:pt x="804386" y="259556"/>
                    <a:pt x="801529" y="252889"/>
                    <a:pt x="798671" y="246221"/>
                  </a:cubicBezTo>
                  <a:cubicBezTo>
                    <a:pt x="799624" y="241459"/>
                    <a:pt x="800576" y="239554"/>
                    <a:pt x="800576" y="239554"/>
                  </a:cubicBezTo>
                  <a:cubicBezTo>
                    <a:pt x="800576" y="239554"/>
                    <a:pt x="799624" y="241459"/>
                    <a:pt x="797719" y="245269"/>
                  </a:cubicBezTo>
                  <a:cubicBezTo>
                    <a:pt x="797719" y="244316"/>
                    <a:pt x="796766" y="243364"/>
                    <a:pt x="796766" y="242411"/>
                  </a:cubicBezTo>
                  <a:cubicBezTo>
                    <a:pt x="795814" y="239554"/>
                    <a:pt x="793909" y="236696"/>
                    <a:pt x="792956" y="233839"/>
                  </a:cubicBezTo>
                  <a:cubicBezTo>
                    <a:pt x="794861" y="229076"/>
                    <a:pt x="795814" y="223361"/>
                    <a:pt x="796766" y="218599"/>
                  </a:cubicBezTo>
                  <a:cubicBezTo>
                    <a:pt x="802481" y="196691"/>
                    <a:pt x="806291" y="177641"/>
                    <a:pt x="809149" y="164306"/>
                  </a:cubicBezTo>
                  <a:cubicBezTo>
                    <a:pt x="811054" y="150971"/>
                    <a:pt x="812959" y="143351"/>
                    <a:pt x="812959" y="143351"/>
                  </a:cubicBezTo>
                  <a:cubicBezTo>
                    <a:pt x="812959" y="143351"/>
                    <a:pt x="810101" y="150971"/>
                    <a:pt x="805339" y="163354"/>
                  </a:cubicBezTo>
                  <a:cubicBezTo>
                    <a:pt x="803434" y="170021"/>
                    <a:pt x="800576" y="177641"/>
                    <a:pt x="796766" y="186214"/>
                  </a:cubicBezTo>
                  <a:cubicBezTo>
                    <a:pt x="793909" y="194786"/>
                    <a:pt x="790099" y="205264"/>
                    <a:pt x="785336" y="215741"/>
                  </a:cubicBezTo>
                  <a:cubicBezTo>
                    <a:pt x="785336" y="216694"/>
                    <a:pt x="784384" y="217646"/>
                    <a:pt x="784384" y="218599"/>
                  </a:cubicBezTo>
                  <a:cubicBezTo>
                    <a:pt x="781526" y="213836"/>
                    <a:pt x="779621" y="209074"/>
                    <a:pt x="776764" y="205264"/>
                  </a:cubicBezTo>
                  <a:cubicBezTo>
                    <a:pt x="775811" y="204311"/>
                    <a:pt x="775811" y="203359"/>
                    <a:pt x="774859" y="202406"/>
                  </a:cubicBezTo>
                  <a:cubicBezTo>
                    <a:pt x="774859" y="202406"/>
                    <a:pt x="774859" y="202406"/>
                    <a:pt x="774859" y="201454"/>
                  </a:cubicBezTo>
                  <a:cubicBezTo>
                    <a:pt x="777716" y="176689"/>
                    <a:pt x="779621" y="156686"/>
                    <a:pt x="780574" y="142399"/>
                  </a:cubicBezTo>
                  <a:cubicBezTo>
                    <a:pt x="781526" y="128111"/>
                    <a:pt x="781526" y="119539"/>
                    <a:pt x="781526" y="119539"/>
                  </a:cubicBezTo>
                  <a:cubicBezTo>
                    <a:pt x="781526" y="119539"/>
                    <a:pt x="779621" y="127159"/>
                    <a:pt x="776764" y="141446"/>
                  </a:cubicBezTo>
                  <a:cubicBezTo>
                    <a:pt x="775811" y="148114"/>
                    <a:pt x="772954" y="156686"/>
                    <a:pt x="771049" y="167164"/>
                  </a:cubicBezTo>
                  <a:cubicBezTo>
                    <a:pt x="769144" y="173831"/>
                    <a:pt x="768191" y="181451"/>
                    <a:pt x="766286" y="189071"/>
                  </a:cubicBezTo>
                  <a:cubicBezTo>
                    <a:pt x="763429" y="185261"/>
                    <a:pt x="760571" y="181451"/>
                    <a:pt x="758666" y="178594"/>
                  </a:cubicBezTo>
                  <a:cubicBezTo>
                    <a:pt x="753904" y="171926"/>
                    <a:pt x="748189" y="166211"/>
                    <a:pt x="745331" y="163354"/>
                  </a:cubicBezTo>
                  <a:cubicBezTo>
                    <a:pt x="742474" y="159544"/>
                    <a:pt x="740569" y="157639"/>
                    <a:pt x="740569" y="157639"/>
                  </a:cubicBezTo>
                  <a:cubicBezTo>
                    <a:pt x="740569" y="157639"/>
                    <a:pt x="741521" y="159544"/>
                    <a:pt x="744379" y="163354"/>
                  </a:cubicBezTo>
                  <a:cubicBezTo>
                    <a:pt x="747236" y="167164"/>
                    <a:pt x="751046" y="172879"/>
                    <a:pt x="754856" y="180499"/>
                  </a:cubicBezTo>
                  <a:cubicBezTo>
                    <a:pt x="757714" y="185261"/>
                    <a:pt x="760571" y="190976"/>
                    <a:pt x="763429" y="196691"/>
                  </a:cubicBezTo>
                  <a:cubicBezTo>
                    <a:pt x="763429" y="197644"/>
                    <a:pt x="763429" y="198596"/>
                    <a:pt x="762476" y="199549"/>
                  </a:cubicBezTo>
                  <a:cubicBezTo>
                    <a:pt x="759619" y="211931"/>
                    <a:pt x="756761" y="224314"/>
                    <a:pt x="753904" y="238601"/>
                  </a:cubicBezTo>
                  <a:cubicBezTo>
                    <a:pt x="749141" y="230029"/>
                    <a:pt x="747236" y="224314"/>
                    <a:pt x="747236" y="224314"/>
                  </a:cubicBezTo>
                  <a:cubicBezTo>
                    <a:pt x="747236" y="224314"/>
                    <a:pt x="749141" y="230981"/>
                    <a:pt x="752951" y="241459"/>
                  </a:cubicBezTo>
                  <a:cubicBezTo>
                    <a:pt x="751999" y="242411"/>
                    <a:pt x="751999" y="242411"/>
                    <a:pt x="751046" y="243364"/>
                  </a:cubicBezTo>
                  <a:cubicBezTo>
                    <a:pt x="749141" y="246221"/>
                    <a:pt x="749141" y="250031"/>
                    <a:pt x="749141" y="252889"/>
                  </a:cubicBezTo>
                  <a:cubicBezTo>
                    <a:pt x="750094" y="250031"/>
                    <a:pt x="751046" y="246221"/>
                    <a:pt x="752951" y="244316"/>
                  </a:cubicBezTo>
                  <a:cubicBezTo>
                    <a:pt x="752951" y="244316"/>
                    <a:pt x="752951" y="244316"/>
                    <a:pt x="752951" y="244316"/>
                  </a:cubicBezTo>
                  <a:cubicBezTo>
                    <a:pt x="750094" y="256699"/>
                    <a:pt x="747236" y="269081"/>
                    <a:pt x="744379" y="282416"/>
                  </a:cubicBezTo>
                  <a:cubicBezTo>
                    <a:pt x="743426" y="287179"/>
                    <a:pt x="742474" y="291941"/>
                    <a:pt x="741521" y="296704"/>
                  </a:cubicBezTo>
                  <a:cubicBezTo>
                    <a:pt x="740569" y="299561"/>
                    <a:pt x="739616" y="302419"/>
                    <a:pt x="738664" y="306229"/>
                  </a:cubicBezTo>
                  <a:cubicBezTo>
                    <a:pt x="738664" y="306229"/>
                    <a:pt x="738664" y="306229"/>
                    <a:pt x="738664" y="306229"/>
                  </a:cubicBezTo>
                  <a:cubicBezTo>
                    <a:pt x="738664" y="302419"/>
                    <a:pt x="737711" y="297656"/>
                    <a:pt x="737711" y="293846"/>
                  </a:cubicBezTo>
                  <a:cubicBezTo>
                    <a:pt x="736759" y="285274"/>
                    <a:pt x="735806" y="277654"/>
                    <a:pt x="733901" y="270034"/>
                  </a:cubicBezTo>
                  <a:cubicBezTo>
                    <a:pt x="732949" y="266224"/>
                    <a:pt x="731996" y="263366"/>
                    <a:pt x="731996" y="259556"/>
                  </a:cubicBezTo>
                  <a:cubicBezTo>
                    <a:pt x="731996" y="258604"/>
                    <a:pt x="731996" y="258604"/>
                    <a:pt x="731044" y="257651"/>
                  </a:cubicBezTo>
                  <a:cubicBezTo>
                    <a:pt x="729139" y="238601"/>
                    <a:pt x="727234" y="223361"/>
                    <a:pt x="725329" y="210979"/>
                  </a:cubicBezTo>
                  <a:cubicBezTo>
                    <a:pt x="723424" y="195739"/>
                    <a:pt x="722471" y="186214"/>
                    <a:pt x="722471" y="186214"/>
                  </a:cubicBezTo>
                  <a:cubicBezTo>
                    <a:pt x="722471" y="186214"/>
                    <a:pt x="722471" y="190976"/>
                    <a:pt x="722471" y="199549"/>
                  </a:cubicBezTo>
                  <a:cubicBezTo>
                    <a:pt x="720566" y="204311"/>
                    <a:pt x="715804" y="220504"/>
                    <a:pt x="709136" y="243364"/>
                  </a:cubicBezTo>
                  <a:cubicBezTo>
                    <a:pt x="707231" y="238601"/>
                    <a:pt x="706279" y="233839"/>
                    <a:pt x="704374" y="229076"/>
                  </a:cubicBezTo>
                  <a:cubicBezTo>
                    <a:pt x="698659" y="211931"/>
                    <a:pt x="692944" y="195739"/>
                    <a:pt x="687229" y="181451"/>
                  </a:cubicBezTo>
                  <a:cubicBezTo>
                    <a:pt x="684371" y="174784"/>
                    <a:pt x="682466" y="168116"/>
                    <a:pt x="679609" y="161449"/>
                  </a:cubicBezTo>
                  <a:cubicBezTo>
                    <a:pt x="679609" y="156686"/>
                    <a:pt x="679609" y="151924"/>
                    <a:pt x="679609" y="148114"/>
                  </a:cubicBezTo>
                  <a:cubicBezTo>
                    <a:pt x="679609" y="138589"/>
                    <a:pt x="679609" y="130016"/>
                    <a:pt x="679609" y="122396"/>
                  </a:cubicBezTo>
                  <a:cubicBezTo>
                    <a:pt x="679609" y="108109"/>
                    <a:pt x="678656" y="100489"/>
                    <a:pt x="678656" y="100489"/>
                  </a:cubicBezTo>
                  <a:cubicBezTo>
                    <a:pt x="678656" y="100489"/>
                    <a:pt x="677704" y="108109"/>
                    <a:pt x="675799" y="122396"/>
                  </a:cubicBezTo>
                  <a:cubicBezTo>
                    <a:pt x="674846" y="128111"/>
                    <a:pt x="673894" y="135731"/>
                    <a:pt x="672941" y="144304"/>
                  </a:cubicBezTo>
                  <a:cubicBezTo>
                    <a:pt x="669131" y="134779"/>
                    <a:pt x="665321" y="127159"/>
                    <a:pt x="663416" y="122396"/>
                  </a:cubicBezTo>
                  <a:cubicBezTo>
                    <a:pt x="660559" y="117634"/>
                    <a:pt x="659606" y="114776"/>
                    <a:pt x="659606" y="114776"/>
                  </a:cubicBezTo>
                  <a:cubicBezTo>
                    <a:pt x="659606" y="114776"/>
                    <a:pt x="660559" y="117634"/>
                    <a:pt x="662464" y="123349"/>
                  </a:cubicBezTo>
                  <a:cubicBezTo>
                    <a:pt x="664369" y="129064"/>
                    <a:pt x="667226" y="136684"/>
                    <a:pt x="670084" y="147161"/>
                  </a:cubicBezTo>
                  <a:cubicBezTo>
                    <a:pt x="671036" y="149066"/>
                    <a:pt x="671036" y="151924"/>
                    <a:pt x="671989" y="153829"/>
                  </a:cubicBezTo>
                  <a:cubicBezTo>
                    <a:pt x="671989" y="157639"/>
                    <a:pt x="671036" y="160496"/>
                    <a:pt x="671036" y="164306"/>
                  </a:cubicBezTo>
                  <a:cubicBezTo>
                    <a:pt x="670084" y="170021"/>
                    <a:pt x="669131" y="175736"/>
                    <a:pt x="668179" y="181451"/>
                  </a:cubicBezTo>
                  <a:cubicBezTo>
                    <a:pt x="666274" y="193834"/>
                    <a:pt x="664369" y="206216"/>
                    <a:pt x="662464" y="219551"/>
                  </a:cubicBezTo>
                  <a:cubicBezTo>
                    <a:pt x="661511" y="226219"/>
                    <a:pt x="660559" y="232886"/>
                    <a:pt x="658654" y="239554"/>
                  </a:cubicBezTo>
                  <a:cubicBezTo>
                    <a:pt x="657701" y="236696"/>
                    <a:pt x="656749" y="233839"/>
                    <a:pt x="655796" y="231934"/>
                  </a:cubicBezTo>
                  <a:cubicBezTo>
                    <a:pt x="656749" y="218599"/>
                    <a:pt x="657701" y="210026"/>
                    <a:pt x="657701" y="210026"/>
                  </a:cubicBezTo>
                  <a:cubicBezTo>
                    <a:pt x="657701" y="210026"/>
                    <a:pt x="655796" y="215741"/>
                    <a:pt x="653891" y="226219"/>
                  </a:cubicBezTo>
                  <a:cubicBezTo>
                    <a:pt x="648176" y="212884"/>
                    <a:pt x="643414" y="201454"/>
                    <a:pt x="638651" y="191929"/>
                  </a:cubicBezTo>
                  <a:cubicBezTo>
                    <a:pt x="634841" y="184309"/>
                    <a:pt x="631984" y="178594"/>
                    <a:pt x="630079" y="174784"/>
                  </a:cubicBezTo>
                  <a:cubicBezTo>
                    <a:pt x="628174" y="170974"/>
                    <a:pt x="627221" y="169069"/>
                    <a:pt x="627221" y="169069"/>
                  </a:cubicBezTo>
                  <a:cubicBezTo>
                    <a:pt x="627221" y="169069"/>
                    <a:pt x="630079" y="178594"/>
                    <a:pt x="635794" y="193834"/>
                  </a:cubicBezTo>
                  <a:cubicBezTo>
                    <a:pt x="639604" y="205264"/>
                    <a:pt x="644366" y="221456"/>
                    <a:pt x="649129" y="240506"/>
                  </a:cubicBezTo>
                  <a:cubicBezTo>
                    <a:pt x="649129" y="241459"/>
                    <a:pt x="649129" y="242411"/>
                    <a:pt x="650081" y="244316"/>
                  </a:cubicBezTo>
                  <a:cubicBezTo>
                    <a:pt x="649129" y="250031"/>
                    <a:pt x="648176" y="255746"/>
                    <a:pt x="647224" y="262414"/>
                  </a:cubicBezTo>
                  <a:cubicBezTo>
                    <a:pt x="646271" y="268129"/>
                    <a:pt x="645319" y="273844"/>
                    <a:pt x="644366" y="279559"/>
                  </a:cubicBezTo>
                  <a:cubicBezTo>
                    <a:pt x="643414" y="285274"/>
                    <a:pt x="643414" y="291941"/>
                    <a:pt x="642461" y="298609"/>
                  </a:cubicBezTo>
                  <a:cubicBezTo>
                    <a:pt x="642461" y="298609"/>
                    <a:pt x="642461" y="298609"/>
                    <a:pt x="642461" y="298609"/>
                  </a:cubicBezTo>
                  <a:cubicBezTo>
                    <a:pt x="642461" y="296704"/>
                    <a:pt x="642461" y="294799"/>
                    <a:pt x="642461" y="294799"/>
                  </a:cubicBezTo>
                  <a:cubicBezTo>
                    <a:pt x="642461" y="294799"/>
                    <a:pt x="642461" y="302419"/>
                    <a:pt x="641509" y="315754"/>
                  </a:cubicBezTo>
                  <a:cubicBezTo>
                    <a:pt x="641509" y="316706"/>
                    <a:pt x="641509" y="316706"/>
                    <a:pt x="641509" y="317659"/>
                  </a:cubicBezTo>
                  <a:cubicBezTo>
                    <a:pt x="640556" y="314801"/>
                    <a:pt x="639604" y="311944"/>
                    <a:pt x="639604" y="309086"/>
                  </a:cubicBezTo>
                  <a:cubicBezTo>
                    <a:pt x="640556" y="306229"/>
                    <a:pt x="640556" y="304324"/>
                    <a:pt x="640556" y="304324"/>
                  </a:cubicBezTo>
                  <a:cubicBezTo>
                    <a:pt x="640556" y="304324"/>
                    <a:pt x="639604" y="305276"/>
                    <a:pt x="638651" y="307181"/>
                  </a:cubicBezTo>
                  <a:cubicBezTo>
                    <a:pt x="636746" y="299561"/>
                    <a:pt x="634841" y="291941"/>
                    <a:pt x="632936" y="284321"/>
                  </a:cubicBezTo>
                  <a:cubicBezTo>
                    <a:pt x="630079" y="271939"/>
                    <a:pt x="626269" y="260509"/>
                    <a:pt x="624364" y="250031"/>
                  </a:cubicBezTo>
                  <a:cubicBezTo>
                    <a:pt x="622459" y="239554"/>
                    <a:pt x="619601" y="230981"/>
                    <a:pt x="617696" y="223361"/>
                  </a:cubicBezTo>
                  <a:cubicBezTo>
                    <a:pt x="616744" y="218599"/>
                    <a:pt x="615791" y="214789"/>
                    <a:pt x="614839" y="210979"/>
                  </a:cubicBezTo>
                  <a:cubicBezTo>
                    <a:pt x="615791" y="204311"/>
                    <a:pt x="615791" y="197644"/>
                    <a:pt x="615791" y="190024"/>
                  </a:cubicBezTo>
                  <a:cubicBezTo>
                    <a:pt x="616744" y="169069"/>
                    <a:pt x="617696" y="148114"/>
                    <a:pt x="617696" y="126206"/>
                  </a:cubicBezTo>
                  <a:cubicBezTo>
                    <a:pt x="613886" y="146209"/>
                    <a:pt x="610076" y="166211"/>
                    <a:pt x="607219" y="187166"/>
                  </a:cubicBezTo>
                  <a:cubicBezTo>
                    <a:pt x="607219" y="186214"/>
                    <a:pt x="607219" y="185261"/>
                    <a:pt x="606266" y="184309"/>
                  </a:cubicBezTo>
                  <a:cubicBezTo>
                    <a:pt x="606266" y="186214"/>
                    <a:pt x="606266" y="188119"/>
                    <a:pt x="606266" y="189071"/>
                  </a:cubicBezTo>
                  <a:cubicBezTo>
                    <a:pt x="604361" y="197644"/>
                    <a:pt x="603409" y="207169"/>
                    <a:pt x="601504" y="215741"/>
                  </a:cubicBezTo>
                  <a:cubicBezTo>
                    <a:pt x="600551" y="213836"/>
                    <a:pt x="600551" y="211931"/>
                    <a:pt x="599599" y="210979"/>
                  </a:cubicBezTo>
                  <a:cubicBezTo>
                    <a:pt x="593884" y="198596"/>
                    <a:pt x="591026" y="191929"/>
                    <a:pt x="591026" y="191929"/>
                  </a:cubicBezTo>
                  <a:cubicBezTo>
                    <a:pt x="591026" y="191929"/>
                    <a:pt x="592931" y="199549"/>
                    <a:pt x="595789" y="212884"/>
                  </a:cubicBezTo>
                  <a:cubicBezTo>
                    <a:pt x="596741" y="217646"/>
                    <a:pt x="597694" y="223361"/>
                    <a:pt x="599599" y="230029"/>
                  </a:cubicBezTo>
                  <a:cubicBezTo>
                    <a:pt x="598646" y="237649"/>
                    <a:pt x="596741" y="244316"/>
                    <a:pt x="595789" y="251936"/>
                  </a:cubicBezTo>
                  <a:cubicBezTo>
                    <a:pt x="592931" y="266224"/>
                    <a:pt x="591026" y="280511"/>
                    <a:pt x="589121" y="294799"/>
                  </a:cubicBezTo>
                  <a:cubicBezTo>
                    <a:pt x="586264" y="290989"/>
                    <a:pt x="584359" y="288131"/>
                    <a:pt x="582454" y="284321"/>
                  </a:cubicBezTo>
                  <a:cubicBezTo>
                    <a:pt x="583406" y="277654"/>
                    <a:pt x="584359" y="270986"/>
                    <a:pt x="585311" y="265271"/>
                  </a:cubicBezTo>
                  <a:cubicBezTo>
                    <a:pt x="586264" y="256699"/>
                    <a:pt x="587216" y="250031"/>
                    <a:pt x="588169" y="244316"/>
                  </a:cubicBezTo>
                  <a:cubicBezTo>
                    <a:pt x="590074" y="232886"/>
                    <a:pt x="591026" y="225266"/>
                    <a:pt x="591026" y="225266"/>
                  </a:cubicBezTo>
                  <a:cubicBezTo>
                    <a:pt x="591026" y="225266"/>
                    <a:pt x="588169" y="231934"/>
                    <a:pt x="584359" y="243364"/>
                  </a:cubicBezTo>
                  <a:cubicBezTo>
                    <a:pt x="583406" y="247174"/>
                    <a:pt x="581501" y="252889"/>
                    <a:pt x="579596" y="258604"/>
                  </a:cubicBezTo>
                  <a:cubicBezTo>
                    <a:pt x="578644" y="248126"/>
                    <a:pt x="578644" y="239554"/>
                    <a:pt x="577691" y="231934"/>
                  </a:cubicBezTo>
                  <a:cubicBezTo>
                    <a:pt x="576739" y="218599"/>
                    <a:pt x="575786" y="210979"/>
                    <a:pt x="575786" y="210979"/>
                  </a:cubicBezTo>
                  <a:cubicBezTo>
                    <a:pt x="575786" y="210979"/>
                    <a:pt x="574834" y="218599"/>
                    <a:pt x="573881" y="230981"/>
                  </a:cubicBezTo>
                  <a:cubicBezTo>
                    <a:pt x="572929" y="240506"/>
                    <a:pt x="571976" y="252889"/>
                    <a:pt x="571024" y="267176"/>
                  </a:cubicBezTo>
                  <a:cubicBezTo>
                    <a:pt x="571024" y="267176"/>
                    <a:pt x="571024" y="267176"/>
                    <a:pt x="571024" y="267176"/>
                  </a:cubicBezTo>
                  <a:cubicBezTo>
                    <a:pt x="570071" y="265271"/>
                    <a:pt x="568166" y="264319"/>
                    <a:pt x="567214" y="262414"/>
                  </a:cubicBezTo>
                  <a:cubicBezTo>
                    <a:pt x="561499" y="245269"/>
                    <a:pt x="556736" y="230981"/>
                    <a:pt x="552926" y="219551"/>
                  </a:cubicBezTo>
                  <a:cubicBezTo>
                    <a:pt x="552926" y="219551"/>
                    <a:pt x="552926" y="218599"/>
                    <a:pt x="552926" y="218599"/>
                  </a:cubicBezTo>
                  <a:cubicBezTo>
                    <a:pt x="553879" y="208121"/>
                    <a:pt x="554831" y="198596"/>
                    <a:pt x="555784" y="189071"/>
                  </a:cubicBezTo>
                  <a:cubicBezTo>
                    <a:pt x="556736" y="179546"/>
                    <a:pt x="557689" y="170021"/>
                    <a:pt x="558641" y="162401"/>
                  </a:cubicBezTo>
                  <a:cubicBezTo>
                    <a:pt x="559594" y="154781"/>
                    <a:pt x="560546" y="147161"/>
                    <a:pt x="561499" y="141446"/>
                  </a:cubicBezTo>
                  <a:cubicBezTo>
                    <a:pt x="563404" y="130016"/>
                    <a:pt x="564356" y="123349"/>
                    <a:pt x="564356" y="123349"/>
                  </a:cubicBezTo>
                  <a:cubicBezTo>
                    <a:pt x="564356" y="123349"/>
                    <a:pt x="561499" y="130016"/>
                    <a:pt x="557689" y="140494"/>
                  </a:cubicBezTo>
                  <a:cubicBezTo>
                    <a:pt x="555784" y="146209"/>
                    <a:pt x="553879" y="152876"/>
                    <a:pt x="551021" y="160496"/>
                  </a:cubicBezTo>
                  <a:cubicBezTo>
                    <a:pt x="548164" y="168116"/>
                    <a:pt x="546259" y="177641"/>
                    <a:pt x="544354" y="187166"/>
                  </a:cubicBezTo>
                  <a:cubicBezTo>
                    <a:pt x="542449" y="196691"/>
                    <a:pt x="540544" y="207169"/>
                    <a:pt x="537686" y="218599"/>
                  </a:cubicBezTo>
                  <a:cubicBezTo>
                    <a:pt x="536734" y="222409"/>
                    <a:pt x="536734" y="227171"/>
                    <a:pt x="535781" y="231934"/>
                  </a:cubicBezTo>
                  <a:cubicBezTo>
                    <a:pt x="535781" y="228124"/>
                    <a:pt x="534829" y="224314"/>
                    <a:pt x="534829" y="220504"/>
                  </a:cubicBezTo>
                  <a:cubicBezTo>
                    <a:pt x="534829" y="214789"/>
                    <a:pt x="533876" y="210026"/>
                    <a:pt x="532924" y="205264"/>
                  </a:cubicBezTo>
                  <a:cubicBezTo>
                    <a:pt x="532924" y="198596"/>
                    <a:pt x="533876" y="192881"/>
                    <a:pt x="533876" y="186214"/>
                  </a:cubicBezTo>
                  <a:cubicBezTo>
                    <a:pt x="533876" y="179546"/>
                    <a:pt x="534829" y="172879"/>
                    <a:pt x="534829" y="166211"/>
                  </a:cubicBezTo>
                  <a:cubicBezTo>
                    <a:pt x="534829" y="159544"/>
                    <a:pt x="534829" y="153829"/>
                    <a:pt x="534829" y="148114"/>
                  </a:cubicBezTo>
                  <a:cubicBezTo>
                    <a:pt x="534829" y="136684"/>
                    <a:pt x="534829" y="127159"/>
                    <a:pt x="534829" y="118586"/>
                  </a:cubicBezTo>
                  <a:cubicBezTo>
                    <a:pt x="534829" y="102394"/>
                    <a:pt x="533876" y="92869"/>
                    <a:pt x="533876" y="92869"/>
                  </a:cubicBezTo>
                  <a:cubicBezTo>
                    <a:pt x="533876" y="92869"/>
                    <a:pt x="532924" y="102394"/>
                    <a:pt x="531019" y="118586"/>
                  </a:cubicBezTo>
                  <a:cubicBezTo>
                    <a:pt x="530066" y="126206"/>
                    <a:pt x="529114" y="136684"/>
                    <a:pt x="528161" y="147161"/>
                  </a:cubicBezTo>
                  <a:cubicBezTo>
                    <a:pt x="527209" y="152876"/>
                    <a:pt x="527209" y="158591"/>
                    <a:pt x="526256" y="165259"/>
                  </a:cubicBezTo>
                  <a:cubicBezTo>
                    <a:pt x="525304" y="171926"/>
                    <a:pt x="524351" y="177641"/>
                    <a:pt x="523399" y="185261"/>
                  </a:cubicBezTo>
                  <a:cubicBezTo>
                    <a:pt x="522446" y="189071"/>
                    <a:pt x="522446" y="192881"/>
                    <a:pt x="521494" y="197644"/>
                  </a:cubicBezTo>
                  <a:cubicBezTo>
                    <a:pt x="518636" y="187166"/>
                    <a:pt x="516731" y="177641"/>
                    <a:pt x="513874" y="170021"/>
                  </a:cubicBezTo>
                  <a:cubicBezTo>
                    <a:pt x="509111" y="153829"/>
                    <a:pt x="506254" y="144304"/>
                    <a:pt x="506254" y="144304"/>
                  </a:cubicBezTo>
                  <a:cubicBezTo>
                    <a:pt x="506254" y="144304"/>
                    <a:pt x="507206" y="153829"/>
                    <a:pt x="510064" y="170974"/>
                  </a:cubicBezTo>
                  <a:cubicBezTo>
                    <a:pt x="511969" y="184309"/>
                    <a:pt x="513874" y="201454"/>
                    <a:pt x="517684" y="222409"/>
                  </a:cubicBezTo>
                  <a:cubicBezTo>
                    <a:pt x="517684" y="225266"/>
                    <a:pt x="516731" y="227171"/>
                    <a:pt x="516731" y="230029"/>
                  </a:cubicBezTo>
                  <a:cubicBezTo>
                    <a:pt x="515779" y="237649"/>
                    <a:pt x="514826" y="244316"/>
                    <a:pt x="512921" y="251936"/>
                  </a:cubicBezTo>
                  <a:cubicBezTo>
                    <a:pt x="499586" y="210026"/>
                    <a:pt x="490061" y="181451"/>
                    <a:pt x="487204" y="172879"/>
                  </a:cubicBezTo>
                  <a:cubicBezTo>
                    <a:pt x="486251" y="167164"/>
                    <a:pt x="485299" y="164306"/>
                    <a:pt x="485299" y="164306"/>
                  </a:cubicBezTo>
                  <a:cubicBezTo>
                    <a:pt x="485299" y="164306"/>
                    <a:pt x="486251" y="173831"/>
                    <a:pt x="486251" y="189071"/>
                  </a:cubicBezTo>
                  <a:cubicBezTo>
                    <a:pt x="487204" y="196691"/>
                    <a:pt x="487204" y="207169"/>
                    <a:pt x="488156" y="217646"/>
                  </a:cubicBezTo>
                  <a:cubicBezTo>
                    <a:pt x="488156" y="224314"/>
                    <a:pt x="489109" y="230981"/>
                    <a:pt x="489109" y="238601"/>
                  </a:cubicBezTo>
                  <a:cubicBezTo>
                    <a:pt x="488156" y="232886"/>
                    <a:pt x="487204" y="228124"/>
                    <a:pt x="486251" y="223361"/>
                  </a:cubicBezTo>
                  <a:cubicBezTo>
                    <a:pt x="485299" y="217646"/>
                    <a:pt x="484346" y="212884"/>
                    <a:pt x="482441" y="207169"/>
                  </a:cubicBezTo>
                  <a:cubicBezTo>
                    <a:pt x="480536" y="202406"/>
                    <a:pt x="479584" y="197644"/>
                    <a:pt x="478631" y="192881"/>
                  </a:cubicBezTo>
                  <a:cubicBezTo>
                    <a:pt x="475774" y="184309"/>
                    <a:pt x="473869" y="176689"/>
                    <a:pt x="471964" y="170021"/>
                  </a:cubicBezTo>
                  <a:cubicBezTo>
                    <a:pt x="468154" y="157639"/>
                    <a:pt x="465296" y="150019"/>
                    <a:pt x="465296" y="150019"/>
                  </a:cubicBezTo>
                  <a:cubicBezTo>
                    <a:pt x="465296" y="150019"/>
                    <a:pt x="466249" y="157639"/>
                    <a:pt x="468154" y="170021"/>
                  </a:cubicBezTo>
                  <a:cubicBezTo>
                    <a:pt x="469106" y="176689"/>
                    <a:pt x="470059" y="184309"/>
                    <a:pt x="471011" y="193834"/>
                  </a:cubicBezTo>
                  <a:cubicBezTo>
                    <a:pt x="471964" y="198596"/>
                    <a:pt x="471964" y="203359"/>
                    <a:pt x="472916" y="208121"/>
                  </a:cubicBezTo>
                  <a:cubicBezTo>
                    <a:pt x="473869" y="212884"/>
                    <a:pt x="473869" y="218599"/>
                    <a:pt x="474821" y="224314"/>
                  </a:cubicBezTo>
                  <a:cubicBezTo>
                    <a:pt x="475774" y="233839"/>
                    <a:pt x="476726" y="244316"/>
                    <a:pt x="478631" y="255746"/>
                  </a:cubicBezTo>
                  <a:cubicBezTo>
                    <a:pt x="477679" y="250031"/>
                    <a:pt x="475774" y="245269"/>
                    <a:pt x="474821" y="240506"/>
                  </a:cubicBezTo>
                  <a:cubicBezTo>
                    <a:pt x="467201" y="211931"/>
                    <a:pt x="460534" y="188119"/>
                    <a:pt x="455771" y="170974"/>
                  </a:cubicBezTo>
                  <a:cubicBezTo>
                    <a:pt x="450056" y="154781"/>
                    <a:pt x="447199" y="145256"/>
                    <a:pt x="447199" y="145256"/>
                  </a:cubicBezTo>
                  <a:cubicBezTo>
                    <a:pt x="447199" y="145256"/>
                    <a:pt x="449104" y="154781"/>
                    <a:pt x="451961" y="171926"/>
                  </a:cubicBezTo>
                  <a:cubicBezTo>
                    <a:pt x="453866" y="180499"/>
                    <a:pt x="454819" y="190976"/>
                    <a:pt x="457676" y="202406"/>
                  </a:cubicBezTo>
                  <a:cubicBezTo>
                    <a:pt x="459581" y="213836"/>
                    <a:pt x="462439" y="227171"/>
                    <a:pt x="464344" y="242411"/>
                  </a:cubicBezTo>
                  <a:cubicBezTo>
                    <a:pt x="466249" y="254794"/>
                    <a:pt x="469106" y="268129"/>
                    <a:pt x="471011" y="282416"/>
                  </a:cubicBezTo>
                  <a:cubicBezTo>
                    <a:pt x="469106" y="278606"/>
                    <a:pt x="468154" y="275749"/>
                    <a:pt x="467201" y="272891"/>
                  </a:cubicBezTo>
                  <a:cubicBezTo>
                    <a:pt x="462439" y="262414"/>
                    <a:pt x="459581" y="255746"/>
                    <a:pt x="459581" y="255746"/>
                  </a:cubicBezTo>
                  <a:cubicBezTo>
                    <a:pt x="459581" y="255746"/>
                    <a:pt x="460534" y="262414"/>
                    <a:pt x="463391" y="273844"/>
                  </a:cubicBezTo>
                  <a:cubicBezTo>
                    <a:pt x="464344" y="279559"/>
                    <a:pt x="466249" y="286226"/>
                    <a:pt x="468154" y="293846"/>
                  </a:cubicBezTo>
                  <a:cubicBezTo>
                    <a:pt x="469106" y="297656"/>
                    <a:pt x="470059" y="302419"/>
                    <a:pt x="471011" y="306229"/>
                  </a:cubicBezTo>
                  <a:cubicBezTo>
                    <a:pt x="471964" y="310991"/>
                    <a:pt x="472916" y="315754"/>
                    <a:pt x="473869" y="320516"/>
                  </a:cubicBezTo>
                  <a:cubicBezTo>
                    <a:pt x="475774" y="330041"/>
                    <a:pt x="477679" y="340519"/>
                    <a:pt x="479584" y="351949"/>
                  </a:cubicBezTo>
                  <a:cubicBezTo>
                    <a:pt x="479584" y="352901"/>
                    <a:pt x="479584" y="352901"/>
                    <a:pt x="479584" y="353854"/>
                  </a:cubicBezTo>
                  <a:cubicBezTo>
                    <a:pt x="479584" y="353854"/>
                    <a:pt x="479584" y="352901"/>
                    <a:pt x="478631" y="351949"/>
                  </a:cubicBezTo>
                  <a:cubicBezTo>
                    <a:pt x="476726" y="347186"/>
                    <a:pt x="473869" y="343376"/>
                    <a:pt x="471964" y="338614"/>
                  </a:cubicBezTo>
                  <a:cubicBezTo>
                    <a:pt x="471011" y="333851"/>
                    <a:pt x="471011" y="329089"/>
                    <a:pt x="470059" y="324326"/>
                  </a:cubicBezTo>
                  <a:cubicBezTo>
                    <a:pt x="468154" y="309086"/>
                    <a:pt x="465296" y="294799"/>
                    <a:pt x="462439" y="280511"/>
                  </a:cubicBezTo>
                  <a:cubicBezTo>
                    <a:pt x="459581" y="266224"/>
                    <a:pt x="455771" y="252889"/>
                    <a:pt x="452914" y="240506"/>
                  </a:cubicBezTo>
                  <a:cubicBezTo>
                    <a:pt x="449104" y="228124"/>
                    <a:pt x="445294" y="215741"/>
                    <a:pt x="441484" y="205264"/>
                  </a:cubicBezTo>
                  <a:cubicBezTo>
                    <a:pt x="440531" y="201454"/>
                    <a:pt x="438626" y="198596"/>
                    <a:pt x="437674" y="194786"/>
                  </a:cubicBezTo>
                  <a:cubicBezTo>
                    <a:pt x="438626" y="185261"/>
                    <a:pt x="439579" y="175736"/>
                    <a:pt x="440531" y="167164"/>
                  </a:cubicBezTo>
                  <a:cubicBezTo>
                    <a:pt x="441484" y="151924"/>
                    <a:pt x="442436" y="139541"/>
                    <a:pt x="442436" y="128111"/>
                  </a:cubicBezTo>
                  <a:cubicBezTo>
                    <a:pt x="442436" y="106204"/>
                    <a:pt x="441484" y="94774"/>
                    <a:pt x="441484" y="94774"/>
                  </a:cubicBezTo>
                  <a:cubicBezTo>
                    <a:pt x="441484" y="94774"/>
                    <a:pt x="440531" y="107156"/>
                    <a:pt x="438626" y="128111"/>
                  </a:cubicBezTo>
                  <a:cubicBezTo>
                    <a:pt x="437674" y="138589"/>
                    <a:pt x="435769" y="151924"/>
                    <a:pt x="433864" y="166211"/>
                  </a:cubicBezTo>
                  <a:cubicBezTo>
                    <a:pt x="432911" y="170021"/>
                    <a:pt x="432911" y="173831"/>
                    <a:pt x="431959" y="178594"/>
                  </a:cubicBezTo>
                  <a:cubicBezTo>
                    <a:pt x="431959" y="177641"/>
                    <a:pt x="431006" y="176689"/>
                    <a:pt x="431006" y="175736"/>
                  </a:cubicBezTo>
                  <a:cubicBezTo>
                    <a:pt x="427196" y="167164"/>
                    <a:pt x="423386" y="159544"/>
                    <a:pt x="419576" y="153829"/>
                  </a:cubicBezTo>
                  <a:cubicBezTo>
                    <a:pt x="412909" y="142399"/>
                    <a:pt x="408146" y="135731"/>
                    <a:pt x="408146" y="135731"/>
                  </a:cubicBezTo>
                  <a:cubicBezTo>
                    <a:pt x="408146" y="135731"/>
                    <a:pt x="411004" y="143351"/>
                    <a:pt x="415766" y="155734"/>
                  </a:cubicBezTo>
                  <a:cubicBezTo>
                    <a:pt x="418624" y="161449"/>
                    <a:pt x="420529" y="170021"/>
                    <a:pt x="423386" y="178594"/>
                  </a:cubicBezTo>
                  <a:cubicBezTo>
                    <a:pt x="425291" y="184309"/>
                    <a:pt x="427196" y="190024"/>
                    <a:pt x="428149" y="195739"/>
                  </a:cubicBezTo>
                  <a:cubicBezTo>
                    <a:pt x="427196" y="201454"/>
                    <a:pt x="425291" y="208121"/>
                    <a:pt x="424339" y="214789"/>
                  </a:cubicBezTo>
                  <a:cubicBezTo>
                    <a:pt x="424339" y="214789"/>
                    <a:pt x="424339" y="214789"/>
                    <a:pt x="424339" y="214789"/>
                  </a:cubicBezTo>
                  <a:cubicBezTo>
                    <a:pt x="418624" y="206216"/>
                    <a:pt x="415766" y="202406"/>
                    <a:pt x="415766" y="202406"/>
                  </a:cubicBezTo>
                  <a:cubicBezTo>
                    <a:pt x="415766" y="202406"/>
                    <a:pt x="417671" y="208121"/>
                    <a:pt x="421481" y="216694"/>
                  </a:cubicBezTo>
                  <a:cubicBezTo>
                    <a:pt x="422434" y="218599"/>
                    <a:pt x="423386" y="220504"/>
                    <a:pt x="423386" y="223361"/>
                  </a:cubicBezTo>
                  <a:cubicBezTo>
                    <a:pt x="420529" y="238601"/>
                    <a:pt x="416719" y="255746"/>
                    <a:pt x="412909" y="272891"/>
                  </a:cubicBezTo>
                  <a:cubicBezTo>
                    <a:pt x="410051" y="264319"/>
                    <a:pt x="407194" y="257651"/>
                    <a:pt x="405289" y="253841"/>
                  </a:cubicBezTo>
                  <a:cubicBezTo>
                    <a:pt x="405289" y="253841"/>
                    <a:pt x="405289" y="253841"/>
                    <a:pt x="405289" y="253841"/>
                  </a:cubicBezTo>
                  <a:cubicBezTo>
                    <a:pt x="405289" y="237649"/>
                    <a:pt x="405289" y="223361"/>
                    <a:pt x="404336" y="210026"/>
                  </a:cubicBezTo>
                  <a:cubicBezTo>
                    <a:pt x="403384" y="196691"/>
                    <a:pt x="403384" y="185261"/>
                    <a:pt x="401479" y="176689"/>
                  </a:cubicBezTo>
                  <a:cubicBezTo>
                    <a:pt x="398621" y="158591"/>
                    <a:pt x="396716" y="148114"/>
                    <a:pt x="396716" y="148114"/>
                  </a:cubicBezTo>
                  <a:cubicBezTo>
                    <a:pt x="396716" y="148114"/>
                    <a:pt x="396716" y="158591"/>
                    <a:pt x="397669" y="177641"/>
                  </a:cubicBezTo>
                  <a:cubicBezTo>
                    <a:pt x="397669" y="186214"/>
                    <a:pt x="397669" y="195739"/>
                    <a:pt x="396716" y="206216"/>
                  </a:cubicBezTo>
                  <a:cubicBezTo>
                    <a:pt x="394811" y="214789"/>
                    <a:pt x="391954" y="228124"/>
                    <a:pt x="389096" y="244316"/>
                  </a:cubicBezTo>
                  <a:cubicBezTo>
                    <a:pt x="386239" y="235744"/>
                    <a:pt x="384334" y="227171"/>
                    <a:pt x="381476" y="219551"/>
                  </a:cubicBezTo>
                  <a:cubicBezTo>
                    <a:pt x="379571" y="212884"/>
                    <a:pt x="377666" y="205264"/>
                    <a:pt x="374809" y="199549"/>
                  </a:cubicBezTo>
                  <a:cubicBezTo>
                    <a:pt x="373856" y="197644"/>
                    <a:pt x="373856" y="196691"/>
                    <a:pt x="372904" y="194786"/>
                  </a:cubicBezTo>
                  <a:cubicBezTo>
                    <a:pt x="372904" y="193834"/>
                    <a:pt x="372904" y="192881"/>
                    <a:pt x="372904" y="190976"/>
                  </a:cubicBezTo>
                  <a:cubicBezTo>
                    <a:pt x="371951" y="186214"/>
                    <a:pt x="370999" y="181451"/>
                    <a:pt x="370046" y="177641"/>
                  </a:cubicBezTo>
                  <a:cubicBezTo>
                    <a:pt x="368141" y="169069"/>
                    <a:pt x="367189" y="162401"/>
                    <a:pt x="366236" y="155734"/>
                  </a:cubicBezTo>
                  <a:cubicBezTo>
                    <a:pt x="365284" y="152876"/>
                    <a:pt x="365284" y="150019"/>
                    <a:pt x="364331" y="148114"/>
                  </a:cubicBezTo>
                  <a:cubicBezTo>
                    <a:pt x="363379" y="140494"/>
                    <a:pt x="363379" y="135731"/>
                    <a:pt x="363379" y="135731"/>
                  </a:cubicBezTo>
                  <a:cubicBezTo>
                    <a:pt x="363379" y="135731"/>
                    <a:pt x="363379" y="137636"/>
                    <a:pt x="363379" y="140494"/>
                  </a:cubicBezTo>
                  <a:cubicBezTo>
                    <a:pt x="362426" y="138589"/>
                    <a:pt x="362426" y="136684"/>
                    <a:pt x="362426" y="136684"/>
                  </a:cubicBezTo>
                  <a:cubicBezTo>
                    <a:pt x="362426" y="136684"/>
                    <a:pt x="362426" y="142399"/>
                    <a:pt x="362426" y="151924"/>
                  </a:cubicBezTo>
                  <a:cubicBezTo>
                    <a:pt x="362426" y="154781"/>
                    <a:pt x="362426" y="158591"/>
                    <a:pt x="361474" y="163354"/>
                  </a:cubicBezTo>
                  <a:cubicBezTo>
                    <a:pt x="359569" y="159544"/>
                    <a:pt x="358616" y="155734"/>
                    <a:pt x="357664" y="151924"/>
                  </a:cubicBezTo>
                  <a:cubicBezTo>
                    <a:pt x="350996" y="135731"/>
                    <a:pt x="348139" y="127159"/>
                    <a:pt x="348139" y="127159"/>
                  </a:cubicBezTo>
                  <a:cubicBezTo>
                    <a:pt x="348139" y="127159"/>
                    <a:pt x="350044" y="136684"/>
                    <a:pt x="353854" y="153829"/>
                  </a:cubicBezTo>
                  <a:cubicBezTo>
                    <a:pt x="355759" y="162401"/>
                    <a:pt x="358616" y="171926"/>
                    <a:pt x="361474" y="183356"/>
                  </a:cubicBezTo>
                  <a:cubicBezTo>
                    <a:pt x="361474" y="186214"/>
                    <a:pt x="361474" y="189071"/>
                    <a:pt x="361474" y="192881"/>
                  </a:cubicBezTo>
                  <a:cubicBezTo>
                    <a:pt x="359569" y="187166"/>
                    <a:pt x="357664" y="184309"/>
                    <a:pt x="357664" y="184309"/>
                  </a:cubicBezTo>
                  <a:cubicBezTo>
                    <a:pt x="357664" y="184309"/>
                    <a:pt x="358616" y="189071"/>
                    <a:pt x="360521" y="198596"/>
                  </a:cubicBezTo>
                  <a:cubicBezTo>
                    <a:pt x="360521" y="205264"/>
                    <a:pt x="360521" y="212884"/>
                    <a:pt x="359569" y="221456"/>
                  </a:cubicBezTo>
                  <a:cubicBezTo>
                    <a:pt x="357664" y="216694"/>
                    <a:pt x="356711" y="211931"/>
                    <a:pt x="355759" y="208121"/>
                  </a:cubicBezTo>
                  <a:cubicBezTo>
                    <a:pt x="352901" y="199549"/>
                    <a:pt x="350996" y="193834"/>
                    <a:pt x="350996" y="193834"/>
                  </a:cubicBezTo>
                  <a:cubicBezTo>
                    <a:pt x="350996" y="193834"/>
                    <a:pt x="350996" y="199549"/>
                    <a:pt x="351949" y="208121"/>
                  </a:cubicBezTo>
                  <a:cubicBezTo>
                    <a:pt x="351949" y="212884"/>
                    <a:pt x="352901" y="218599"/>
                    <a:pt x="352901" y="224314"/>
                  </a:cubicBezTo>
                  <a:cubicBezTo>
                    <a:pt x="353854" y="230981"/>
                    <a:pt x="353854" y="237649"/>
                    <a:pt x="353854" y="246221"/>
                  </a:cubicBezTo>
                  <a:cubicBezTo>
                    <a:pt x="353854" y="253841"/>
                    <a:pt x="354806" y="262414"/>
                    <a:pt x="354806" y="270986"/>
                  </a:cubicBezTo>
                  <a:cubicBezTo>
                    <a:pt x="355759" y="279559"/>
                    <a:pt x="355759" y="289084"/>
                    <a:pt x="355759" y="299561"/>
                  </a:cubicBezTo>
                  <a:cubicBezTo>
                    <a:pt x="355759" y="305276"/>
                    <a:pt x="356711" y="310991"/>
                    <a:pt x="356711" y="316706"/>
                  </a:cubicBezTo>
                  <a:cubicBezTo>
                    <a:pt x="352901" y="310039"/>
                    <a:pt x="349091" y="303371"/>
                    <a:pt x="346234" y="298609"/>
                  </a:cubicBezTo>
                  <a:cubicBezTo>
                    <a:pt x="346234" y="297656"/>
                    <a:pt x="345281" y="297656"/>
                    <a:pt x="345281" y="296704"/>
                  </a:cubicBezTo>
                  <a:cubicBezTo>
                    <a:pt x="345281" y="294799"/>
                    <a:pt x="345281" y="293846"/>
                    <a:pt x="345281" y="291941"/>
                  </a:cubicBezTo>
                  <a:cubicBezTo>
                    <a:pt x="346234" y="282416"/>
                    <a:pt x="347186" y="274796"/>
                    <a:pt x="348139" y="267176"/>
                  </a:cubicBezTo>
                  <a:cubicBezTo>
                    <a:pt x="349091" y="253841"/>
                    <a:pt x="350044" y="246221"/>
                    <a:pt x="350044" y="246221"/>
                  </a:cubicBezTo>
                  <a:cubicBezTo>
                    <a:pt x="350044" y="246221"/>
                    <a:pt x="348139" y="253841"/>
                    <a:pt x="344329" y="267176"/>
                  </a:cubicBezTo>
                  <a:cubicBezTo>
                    <a:pt x="342424" y="272891"/>
                    <a:pt x="341471" y="279559"/>
                    <a:pt x="339566" y="287179"/>
                  </a:cubicBezTo>
                  <a:cubicBezTo>
                    <a:pt x="339566" y="287179"/>
                    <a:pt x="339566" y="287179"/>
                    <a:pt x="339566" y="287179"/>
                  </a:cubicBezTo>
                  <a:cubicBezTo>
                    <a:pt x="339566" y="287179"/>
                    <a:pt x="339566" y="287179"/>
                    <a:pt x="339566" y="288131"/>
                  </a:cubicBezTo>
                  <a:cubicBezTo>
                    <a:pt x="339566" y="289084"/>
                    <a:pt x="338614" y="290036"/>
                    <a:pt x="338614" y="291941"/>
                  </a:cubicBezTo>
                  <a:cubicBezTo>
                    <a:pt x="338614" y="293846"/>
                    <a:pt x="337661" y="295751"/>
                    <a:pt x="337661" y="297656"/>
                  </a:cubicBezTo>
                  <a:cubicBezTo>
                    <a:pt x="332899" y="290036"/>
                    <a:pt x="328136" y="283369"/>
                    <a:pt x="324326" y="277654"/>
                  </a:cubicBezTo>
                  <a:cubicBezTo>
                    <a:pt x="320516" y="263366"/>
                    <a:pt x="315754" y="249079"/>
                    <a:pt x="310991" y="233839"/>
                  </a:cubicBezTo>
                  <a:cubicBezTo>
                    <a:pt x="308134" y="226219"/>
                    <a:pt x="306229" y="219551"/>
                    <a:pt x="303371" y="211931"/>
                  </a:cubicBezTo>
                  <a:cubicBezTo>
                    <a:pt x="304324" y="206216"/>
                    <a:pt x="305276" y="201454"/>
                    <a:pt x="306229" y="196691"/>
                  </a:cubicBezTo>
                  <a:cubicBezTo>
                    <a:pt x="310039" y="179546"/>
                    <a:pt x="312896" y="164306"/>
                    <a:pt x="316706" y="150971"/>
                  </a:cubicBezTo>
                  <a:cubicBezTo>
                    <a:pt x="320516" y="137636"/>
                    <a:pt x="322421" y="125254"/>
                    <a:pt x="326231" y="115729"/>
                  </a:cubicBezTo>
                  <a:cubicBezTo>
                    <a:pt x="331946" y="96679"/>
                    <a:pt x="335756" y="85249"/>
                    <a:pt x="335756" y="85249"/>
                  </a:cubicBezTo>
                  <a:cubicBezTo>
                    <a:pt x="335756" y="85249"/>
                    <a:pt x="330994" y="95726"/>
                    <a:pt x="323374" y="113824"/>
                  </a:cubicBezTo>
                  <a:cubicBezTo>
                    <a:pt x="319564" y="123349"/>
                    <a:pt x="315754" y="134779"/>
                    <a:pt x="310991" y="148114"/>
                  </a:cubicBezTo>
                  <a:cubicBezTo>
                    <a:pt x="309086" y="154781"/>
                    <a:pt x="306229" y="161449"/>
                    <a:pt x="303371" y="169069"/>
                  </a:cubicBezTo>
                  <a:cubicBezTo>
                    <a:pt x="301466" y="175736"/>
                    <a:pt x="299561" y="183356"/>
                    <a:pt x="297656" y="190024"/>
                  </a:cubicBezTo>
                  <a:cubicBezTo>
                    <a:pt x="293846" y="179546"/>
                    <a:pt x="290989" y="170021"/>
                    <a:pt x="287179" y="159544"/>
                  </a:cubicBezTo>
                  <a:cubicBezTo>
                    <a:pt x="290036" y="172879"/>
                    <a:pt x="291941" y="185261"/>
                    <a:pt x="294799" y="198596"/>
                  </a:cubicBezTo>
                  <a:cubicBezTo>
                    <a:pt x="290989" y="213836"/>
                    <a:pt x="287179" y="230029"/>
                    <a:pt x="283369" y="247174"/>
                  </a:cubicBezTo>
                  <a:cubicBezTo>
                    <a:pt x="282416" y="252889"/>
                    <a:pt x="281464" y="258604"/>
                    <a:pt x="279559" y="264319"/>
                  </a:cubicBezTo>
                  <a:cubicBezTo>
                    <a:pt x="278606" y="260509"/>
                    <a:pt x="277654" y="257651"/>
                    <a:pt x="276701" y="253841"/>
                  </a:cubicBezTo>
                  <a:cubicBezTo>
                    <a:pt x="276701" y="245269"/>
                    <a:pt x="277654" y="235744"/>
                    <a:pt x="278606" y="227171"/>
                  </a:cubicBezTo>
                  <a:cubicBezTo>
                    <a:pt x="280511" y="205264"/>
                    <a:pt x="281464" y="185261"/>
                    <a:pt x="284321" y="166211"/>
                  </a:cubicBezTo>
                  <a:cubicBezTo>
                    <a:pt x="285274" y="156686"/>
                    <a:pt x="286226" y="148114"/>
                    <a:pt x="287179" y="139541"/>
                  </a:cubicBezTo>
                  <a:cubicBezTo>
                    <a:pt x="288131" y="130969"/>
                    <a:pt x="290036" y="123349"/>
                    <a:pt x="290989" y="115729"/>
                  </a:cubicBezTo>
                  <a:cubicBezTo>
                    <a:pt x="293846" y="100489"/>
                    <a:pt x="294799" y="87154"/>
                    <a:pt x="297656" y="76676"/>
                  </a:cubicBezTo>
                  <a:cubicBezTo>
                    <a:pt x="302419" y="54769"/>
                    <a:pt x="304324" y="42386"/>
                    <a:pt x="304324" y="42386"/>
                  </a:cubicBezTo>
                  <a:cubicBezTo>
                    <a:pt x="304324" y="42386"/>
                    <a:pt x="300514" y="54769"/>
                    <a:pt x="293846" y="75724"/>
                  </a:cubicBezTo>
                  <a:cubicBezTo>
                    <a:pt x="290036" y="86201"/>
                    <a:pt x="287179" y="99536"/>
                    <a:pt x="283369" y="114776"/>
                  </a:cubicBezTo>
                  <a:cubicBezTo>
                    <a:pt x="281464" y="122396"/>
                    <a:pt x="279559" y="130016"/>
                    <a:pt x="277654" y="138589"/>
                  </a:cubicBezTo>
                  <a:cubicBezTo>
                    <a:pt x="275749" y="147161"/>
                    <a:pt x="274796" y="156686"/>
                    <a:pt x="272891" y="165259"/>
                  </a:cubicBezTo>
                  <a:cubicBezTo>
                    <a:pt x="271939" y="170021"/>
                    <a:pt x="270986" y="173831"/>
                    <a:pt x="270034" y="178594"/>
                  </a:cubicBezTo>
                  <a:cubicBezTo>
                    <a:pt x="268129" y="182404"/>
                    <a:pt x="265271" y="188119"/>
                    <a:pt x="261461" y="196691"/>
                  </a:cubicBezTo>
                  <a:cubicBezTo>
                    <a:pt x="260509" y="191929"/>
                    <a:pt x="258604" y="187166"/>
                    <a:pt x="258604" y="183356"/>
                  </a:cubicBezTo>
                  <a:cubicBezTo>
                    <a:pt x="255746" y="170021"/>
                    <a:pt x="253841" y="161449"/>
                    <a:pt x="253841" y="161449"/>
                  </a:cubicBezTo>
                  <a:cubicBezTo>
                    <a:pt x="253841" y="161449"/>
                    <a:pt x="253841" y="169069"/>
                    <a:pt x="254794" y="183356"/>
                  </a:cubicBezTo>
                  <a:cubicBezTo>
                    <a:pt x="254794" y="190024"/>
                    <a:pt x="255746" y="197644"/>
                    <a:pt x="256699" y="207169"/>
                  </a:cubicBezTo>
                  <a:cubicBezTo>
                    <a:pt x="253841" y="213836"/>
                    <a:pt x="250984" y="222409"/>
                    <a:pt x="247174" y="231934"/>
                  </a:cubicBezTo>
                  <a:cubicBezTo>
                    <a:pt x="246221" y="232886"/>
                    <a:pt x="246221" y="234791"/>
                    <a:pt x="245269" y="236696"/>
                  </a:cubicBezTo>
                  <a:cubicBezTo>
                    <a:pt x="243364" y="231934"/>
                    <a:pt x="242411" y="230029"/>
                    <a:pt x="242411" y="230029"/>
                  </a:cubicBezTo>
                  <a:cubicBezTo>
                    <a:pt x="242411" y="230029"/>
                    <a:pt x="243364" y="233839"/>
                    <a:pt x="244316" y="240506"/>
                  </a:cubicBezTo>
                  <a:cubicBezTo>
                    <a:pt x="241459" y="247174"/>
                    <a:pt x="239554" y="254794"/>
                    <a:pt x="236696" y="262414"/>
                  </a:cubicBezTo>
                  <a:cubicBezTo>
                    <a:pt x="232886" y="250031"/>
                    <a:pt x="229076" y="238601"/>
                    <a:pt x="226219" y="227171"/>
                  </a:cubicBezTo>
                  <a:cubicBezTo>
                    <a:pt x="223361" y="219551"/>
                    <a:pt x="221456" y="210979"/>
                    <a:pt x="218599" y="204311"/>
                  </a:cubicBezTo>
                  <a:cubicBezTo>
                    <a:pt x="215741" y="196691"/>
                    <a:pt x="213836" y="190024"/>
                    <a:pt x="210979" y="184309"/>
                  </a:cubicBezTo>
                  <a:cubicBezTo>
                    <a:pt x="206216" y="171926"/>
                    <a:pt x="202406" y="160496"/>
                    <a:pt x="198596" y="150971"/>
                  </a:cubicBezTo>
                  <a:cubicBezTo>
                    <a:pt x="191929" y="132874"/>
                    <a:pt x="187166" y="122396"/>
                    <a:pt x="187166" y="122396"/>
                  </a:cubicBezTo>
                  <a:cubicBezTo>
                    <a:pt x="187166" y="122396"/>
                    <a:pt x="190024" y="132874"/>
                    <a:pt x="194786" y="151924"/>
                  </a:cubicBezTo>
                  <a:cubicBezTo>
                    <a:pt x="197644" y="161449"/>
                    <a:pt x="200501" y="172879"/>
                    <a:pt x="204311" y="186214"/>
                  </a:cubicBezTo>
                  <a:cubicBezTo>
                    <a:pt x="206216" y="192881"/>
                    <a:pt x="208121" y="199549"/>
                    <a:pt x="210026" y="207169"/>
                  </a:cubicBezTo>
                  <a:cubicBezTo>
                    <a:pt x="211931" y="214789"/>
                    <a:pt x="213836" y="222409"/>
                    <a:pt x="215741" y="230981"/>
                  </a:cubicBezTo>
                  <a:cubicBezTo>
                    <a:pt x="218599" y="245269"/>
                    <a:pt x="222409" y="260509"/>
                    <a:pt x="226219" y="275749"/>
                  </a:cubicBezTo>
                  <a:cubicBezTo>
                    <a:pt x="224314" y="280511"/>
                    <a:pt x="221456" y="287179"/>
                    <a:pt x="218599" y="295751"/>
                  </a:cubicBezTo>
                  <a:cubicBezTo>
                    <a:pt x="218599" y="296704"/>
                    <a:pt x="217646" y="297656"/>
                    <a:pt x="217646" y="298609"/>
                  </a:cubicBezTo>
                  <a:cubicBezTo>
                    <a:pt x="216694" y="286226"/>
                    <a:pt x="215741" y="274796"/>
                    <a:pt x="214789" y="266224"/>
                  </a:cubicBezTo>
                  <a:cubicBezTo>
                    <a:pt x="213836" y="250984"/>
                    <a:pt x="212884" y="241459"/>
                    <a:pt x="212884" y="241459"/>
                  </a:cubicBezTo>
                  <a:cubicBezTo>
                    <a:pt x="212884" y="241459"/>
                    <a:pt x="211931" y="250031"/>
                    <a:pt x="210979" y="266224"/>
                  </a:cubicBezTo>
                  <a:cubicBezTo>
                    <a:pt x="210026" y="277654"/>
                    <a:pt x="210026" y="291941"/>
                    <a:pt x="209074" y="309086"/>
                  </a:cubicBezTo>
                  <a:cubicBezTo>
                    <a:pt x="204311" y="301466"/>
                    <a:pt x="200501" y="293846"/>
                    <a:pt x="196691" y="287179"/>
                  </a:cubicBezTo>
                  <a:cubicBezTo>
                    <a:pt x="192881" y="281464"/>
                    <a:pt x="190024" y="275749"/>
                    <a:pt x="187166" y="270034"/>
                  </a:cubicBezTo>
                  <a:cubicBezTo>
                    <a:pt x="183356" y="265271"/>
                    <a:pt x="180499" y="260509"/>
                    <a:pt x="177641" y="255746"/>
                  </a:cubicBezTo>
                  <a:cubicBezTo>
                    <a:pt x="171926" y="246221"/>
                    <a:pt x="166211" y="238601"/>
                    <a:pt x="161449" y="231934"/>
                  </a:cubicBezTo>
                  <a:cubicBezTo>
                    <a:pt x="159544" y="230029"/>
                    <a:pt x="158591" y="227171"/>
                    <a:pt x="156686" y="225266"/>
                  </a:cubicBezTo>
                  <a:cubicBezTo>
                    <a:pt x="154781" y="214789"/>
                    <a:pt x="152876" y="209074"/>
                    <a:pt x="152876" y="209074"/>
                  </a:cubicBezTo>
                  <a:cubicBezTo>
                    <a:pt x="152876" y="209074"/>
                    <a:pt x="152876" y="212884"/>
                    <a:pt x="152876" y="219551"/>
                  </a:cubicBezTo>
                  <a:cubicBezTo>
                    <a:pt x="149066" y="213836"/>
                    <a:pt x="146209" y="210979"/>
                    <a:pt x="146209" y="210979"/>
                  </a:cubicBezTo>
                  <a:cubicBezTo>
                    <a:pt x="146209" y="210979"/>
                    <a:pt x="148114" y="215741"/>
                    <a:pt x="152876" y="224314"/>
                  </a:cubicBezTo>
                  <a:cubicBezTo>
                    <a:pt x="153829" y="235744"/>
                    <a:pt x="154781" y="253841"/>
                    <a:pt x="156686" y="275749"/>
                  </a:cubicBezTo>
                  <a:cubicBezTo>
                    <a:pt x="153829" y="271939"/>
                    <a:pt x="150971" y="267176"/>
                    <a:pt x="148114" y="263366"/>
                  </a:cubicBezTo>
                  <a:cubicBezTo>
                    <a:pt x="139541" y="252889"/>
                    <a:pt x="131921" y="242411"/>
                    <a:pt x="124301" y="233839"/>
                  </a:cubicBezTo>
                  <a:cubicBezTo>
                    <a:pt x="116681" y="225266"/>
                    <a:pt x="110966" y="217646"/>
                    <a:pt x="104299" y="212884"/>
                  </a:cubicBezTo>
                  <a:cubicBezTo>
                    <a:pt x="94774" y="203359"/>
                    <a:pt x="88106" y="197644"/>
                    <a:pt x="88106" y="197644"/>
                  </a:cubicBezTo>
                  <a:cubicBezTo>
                    <a:pt x="88106" y="197644"/>
                    <a:pt x="93821" y="205264"/>
                    <a:pt x="103346" y="217646"/>
                  </a:cubicBezTo>
                  <a:cubicBezTo>
                    <a:pt x="108109" y="223361"/>
                    <a:pt x="113824" y="231934"/>
                    <a:pt x="119539" y="240506"/>
                  </a:cubicBezTo>
                  <a:cubicBezTo>
                    <a:pt x="126206" y="249079"/>
                    <a:pt x="131921" y="260509"/>
                    <a:pt x="139541" y="271939"/>
                  </a:cubicBezTo>
                  <a:cubicBezTo>
                    <a:pt x="143351" y="278606"/>
                    <a:pt x="148114" y="285274"/>
                    <a:pt x="151924" y="292894"/>
                  </a:cubicBezTo>
                  <a:cubicBezTo>
                    <a:pt x="151924" y="294799"/>
                    <a:pt x="151924" y="295751"/>
                    <a:pt x="151924" y="297656"/>
                  </a:cubicBezTo>
                  <a:cubicBezTo>
                    <a:pt x="151924" y="297656"/>
                    <a:pt x="150971" y="296704"/>
                    <a:pt x="150971" y="296704"/>
                  </a:cubicBezTo>
                  <a:cubicBezTo>
                    <a:pt x="145256" y="290989"/>
                    <a:pt x="140494" y="285274"/>
                    <a:pt x="136684" y="282416"/>
                  </a:cubicBezTo>
                  <a:cubicBezTo>
                    <a:pt x="134779" y="280511"/>
                    <a:pt x="133826" y="279559"/>
                    <a:pt x="131921" y="278606"/>
                  </a:cubicBezTo>
                  <a:cubicBezTo>
                    <a:pt x="132874" y="275749"/>
                    <a:pt x="132874" y="274796"/>
                    <a:pt x="132874" y="274796"/>
                  </a:cubicBezTo>
                  <a:cubicBezTo>
                    <a:pt x="132874" y="274796"/>
                    <a:pt x="131921" y="275749"/>
                    <a:pt x="130969" y="278606"/>
                  </a:cubicBezTo>
                  <a:cubicBezTo>
                    <a:pt x="125254" y="273844"/>
                    <a:pt x="122396" y="270986"/>
                    <a:pt x="122396" y="270986"/>
                  </a:cubicBezTo>
                  <a:cubicBezTo>
                    <a:pt x="122396" y="270986"/>
                    <a:pt x="125254" y="274796"/>
                    <a:pt x="130016" y="280511"/>
                  </a:cubicBezTo>
                  <a:cubicBezTo>
                    <a:pt x="128111" y="283369"/>
                    <a:pt x="126206" y="288131"/>
                    <a:pt x="123349" y="293846"/>
                  </a:cubicBezTo>
                  <a:cubicBezTo>
                    <a:pt x="120491" y="299561"/>
                    <a:pt x="117634" y="308134"/>
                    <a:pt x="114776" y="316706"/>
                  </a:cubicBezTo>
                  <a:cubicBezTo>
                    <a:pt x="113824" y="318611"/>
                    <a:pt x="113824" y="319564"/>
                    <a:pt x="112871" y="321469"/>
                  </a:cubicBezTo>
                  <a:cubicBezTo>
                    <a:pt x="110014" y="313849"/>
                    <a:pt x="107156" y="306229"/>
                    <a:pt x="103346" y="299561"/>
                  </a:cubicBezTo>
                  <a:cubicBezTo>
                    <a:pt x="97631" y="286226"/>
                    <a:pt x="91916" y="273844"/>
                    <a:pt x="86201" y="262414"/>
                  </a:cubicBezTo>
                  <a:cubicBezTo>
                    <a:pt x="83344" y="255746"/>
                    <a:pt x="80486" y="250984"/>
                    <a:pt x="78581" y="245269"/>
                  </a:cubicBezTo>
                  <a:cubicBezTo>
                    <a:pt x="75724" y="240506"/>
                    <a:pt x="72866" y="235744"/>
                    <a:pt x="70961" y="230981"/>
                  </a:cubicBezTo>
                  <a:cubicBezTo>
                    <a:pt x="66199" y="222409"/>
                    <a:pt x="61436" y="213836"/>
                    <a:pt x="57626" y="208121"/>
                  </a:cubicBezTo>
                  <a:cubicBezTo>
                    <a:pt x="50006" y="195739"/>
                    <a:pt x="46196" y="188119"/>
                    <a:pt x="46196" y="188119"/>
                  </a:cubicBezTo>
                  <a:cubicBezTo>
                    <a:pt x="46196" y="188119"/>
                    <a:pt x="49054" y="195739"/>
                    <a:pt x="54769" y="210026"/>
                  </a:cubicBezTo>
                  <a:cubicBezTo>
                    <a:pt x="57626" y="216694"/>
                    <a:pt x="60484" y="225266"/>
                    <a:pt x="64294" y="234791"/>
                  </a:cubicBezTo>
                  <a:cubicBezTo>
                    <a:pt x="66199" y="239554"/>
                    <a:pt x="68104" y="244316"/>
                    <a:pt x="70009" y="250031"/>
                  </a:cubicBezTo>
                  <a:cubicBezTo>
                    <a:pt x="71914" y="254794"/>
                    <a:pt x="73819" y="260509"/>
                    <a:pt x="75724" y="266224"/>
                  </a:cubicBezTo>
                  <a:cubicBezTo>
                    <a:pt x="78581" y="274796"/>
                    <a:pt x="82391" y="283369"/>
                    <a:pt x="85249" y="292894"/>
                  </a:cubicBezTo>
                  <a:cubicBezTo>
                    <a:pt x="83344" y="290036"/>
                    <a:pt x="81439" y="286226"/>
                    <a:pt x="79534" y="284321"/>
                  </a:cubicBezTo>
                  <a:cubicBezTo>
                    <a:pt x="74771" y="277654"/>
                    <a:pt x="71914" y="271939"/>
                    <a:pt x="68104" y="268129"/>
                  </a:cubicBezTo>
                  <a:cubicBezTo>
                    <a:pt x="61436" y="258604"/>
                    <a:pt x="57626" y="253841"/>
                    <a:pt x="57626" y="253841"/>
                  </a:cubicBezTo>
                  <a:cubicBezTo>
                    <a:pt x="57626" y="253841"/>
                    <a:pt x="59531" y="259556"/>
                    <a:pt x="64294" y="270034"/>
                  </a:cubicBezTo>
                  <a:cubicBezTo>
                    <a:pt x="66199" y="274796"/>
                    <a:pt x="69056" y="281464"/>
                    <a:pt x="71914" y="288131"/>
                  </a:cubicBezTo>
                  <a:cubicBezTo>
                    <a:pt x="76676" y="295751"/>
                    <a:pt x="79534" y="303371"/>
                    <a:pt x="83344" y="311944"/>
                  </a:cubicBezTo>
                  <a:cubicBezTo>
                    <a:pt x="86201" y="317659"/>
                    <a:pt x="88106" y="324326"/>
                    <a:pt x="90964" y="330994"/>
                  </a:cubicBezTo>
                  <a:cubicBezTo>
                    <a:pt x="90011" y="333851"/>
                    <a:pt x="89059" y="336709"/>
                    <a:pt x="87154" y="339566"/>
                  </a:cubicBezTo>
                  <a:cubicBezTo>
                    <a:pt x="85249" y="343376"/>
                    <a:pt x="83344" y="348139"/>
                    <a:pt x="81439" y="352901"/>
                  </a:cubicBezTo>
                  <a:cubicBezTo>
                    <a:pt x="80486" y="348139"/>
                    <a:pt x="79534" y="343376"/>
                    <a:pt x="78581" y="339566"/>
                  </a:cubicBezTo>
                  <a:cubicBezTo>
                    <a:pt x="75724" y="326231"/>
                    <a:pt x="72866" y="312896"/>
                    <a:pt x="70009" y="301466"/>
                  </a:cubicBezTo>
                  <a:cubicBezTo>
                    <a:pt x="67151" y="290036"/>
                    <a:pt x="64294" y="278606"/>
                    <a:pt x="61436" y="269081"/>
                  </a:cubicBezTo>
                  <a:cubicBezTo>
                    <a:pt x="58579" y="259556"/>
                    <a:pt x="56674" y="250984"/>
                    <a:pt x="53816" y="244316"/>
                  </a:cubicBezTo>
                  <a:cubicBezTo>
                    <a:pt x="49054" y="230981"/>
                    <a:pt x="46196" y="223361"/>
                    <a:pt x="46196" y="223361"/>
                  </a:cubicBezTo>
                  <a:cubicBezTo>
                    <a:pt x="46196" y="223361"/>
                    <a:pt x="47149" y="230981"/>
                    <a:pt x="50006" y="245269"/>
                  </a:cubicBezTo>
                  <a:cubicBezTo>
                    <a:pt x="50959" y="251936"/>
                    <a:pt x="51911" y="260509"/>
                    <a:pt x="53816" y="270034"/>
                  </a:cubicBezTo>
                  <a:cubicBezTo>
                    <a:pt x="55721" y="279559"/>
                    <a:pt x="56674" y="290989"/>
                    <a:pt x="58579" y="302419"/>
                  </a:cubicBezTo>
                  <a:cubicBezTo>
                    <a:pt x="60484" y="314801"/>
                    <a:pt x="61436" y="327184"/>
                    <a:pt x="64294" y="340519"/>
                  </a:cubicBezTo>
                  <a:cubicBezTo>
                    <a:pt x="66199" y="353854"/>
                    <a:pt x="67151" y="367189"/>
                    <a:pt x="69056" y="381476"/>
                  </a:cubicBezTo>
                  <a:cubicBezTo>
                    <a:pt x="68104" y="382429"/>
                    <a:pt x="68104" y="383381"/>
                    <a:pt x="67151" y="385286"/>
                  </a:cubicBezTo>
                  <a:cubicBezTo>
                    <a:pt x="64294" y="391954"/>
                    <a:pt x="62389" y="398621"/>
                    <a:pt x="60484" y="405289"/>
                  </a:cubicBezTo>
                  <a:cubicBezTo>
                    <a:pt x="60484" y="406241"/>
                    <a:pt x="60484" y="406241"/>
                    <a:pt x="59531" y="407194"/>
                  </a:cubicBezTo>
                  <a:cubicBezTo>
                    <a:pt x="58579" y="407194"/>
                    <a:pt x="57626" y="407194"/>
                    <a:pt x="56674" y="407194"/>
                  </a:cubicBezTo>
                  <a:cubicBezTo>
                    <a:pt x="55721" y="404336"/>
                    <a:pt x="55721" y="402431"/>
                    <a:pt x="54769" y="399574"/>
                  </a:cubicBezTo>
                  <a:cubicBezTo>
                    <a:pt x="51911" y="387191"/>
                    <a:pt x="49054" y="375761"/>
                    <a:pt x="46196" y="364331"/>
                  </a:cubicBezTo>
                  <a:cubicBezTo>
                    <a:pt x="43339" y="352901"/>
                    <a:pt x="40481" y="342424"/>
                    <a:pt x="37624" y="332899"/>
                  </a:cubicBezTo>
                  <a:cubicBezTo>
                    <a:pt x="31909" y="313849"/>
                    <a:pt x="26194" y="297656"/>
                    <a:pt x="21431" y="287179"/>
                  </a:cubicBezTo>
                  <a:cubicBezTo>
                    <a:pt x="16669" y="276701"/>
                    <a:pt x="13811" y="270034"/>
                    <a:pt x="13811" y="270034"/>
                  </a:cubicBezTo>
                  <a:cubicBezTo>
                    <a:pt x="13811" y="270034"/>
                    <a:pt x="14764" y="276701"/>
                    <a:pt x="17621" y="288131"/>
                  </a:cubicBezTo>
                  <a:cubicBezTo>
                    <a:pt x="18574" y="293846"/>
                    <a:pt x="20479" y="300514"/>
                    <a:pt x="21431" y="309086"/>
                  </a:cubicBezTo>
                  <a:cubicBezTo>
                    <a:pt x="23336" y="316706"/>
                    <a:pt x="24289" y="326231"/>
                    <a:pt x="26194" y="335756"/>
                  </a:cubicBezTo>
                  <a:cubicBezTo>
                    <a:pt x="28099" y="345281"/>
                    <a:pt x="30004" y="355759"/>
                    <a:pt x="31909" y="367189"/>
                  </a:cubicBezTo>
                  <a:cubicBezTo>
                    <a:pt x="35719" y="378619"/>
                    <a:pt x="37624" y="390049"/>
                    <a:pt x="39529" y="402431"/>
                  </a:cubicBezTo>
                  <a:cubicBezTo>
                    <a:pt x="39529" y="403384"/>
                    <a:pt x="39529" y="403384"/>
                    <a:pt x="39529" y="404336"/>
                  </a:cubicBezTo>
                  <a:cubicBezTo>
                    <a:pt x="29051" y="402431"/>
                    <a:pt x="18574" y="401479"/>
                    <a:pt x="7144" y="399574"/>
                  </a:cubicBezTo>
                  <a:lnTo>
                    <a:pt x="7144" y="511016"/>
                  </a:lnTo>
                  <a:close/>
                  <a:moveTo>
                    <a:pt x="6277451" y="364331"/>
                  </a:moveTo>
                  <a:cubicBezTo>
                    <a:pt x="6278404" y="362426"/>
                    <a:pt x="6278404" y="359569"/>
                    <a:pt x="6279356" y="357664"/>
                  </a:cubicBezTo>
                  <a:cubicBezTo>
                    <a:pt x="6279356" y="358616"/>
                    <a:pt x="6279356" y="360521"/>
                    <a:pt x="6279356" y="361474"/>
                  </a:cubicBezTo>
                  <a:cubicBezTo>
                    <a:pt x="6278404" y="370999"/>
                    <a:pt x="6278404" y="384334"/>
                    <a:pt x="6277451" y="399574"/>
                  </a:cubicBezTo>
                  <a:cubicBezTo>
                    <a:pt x="6274594" y="409099"/>
                    <a:pt x="6270784" y="419576"/>
                    <a:pt x="6267926" y="430054"/>
                  </a:cubicBezTo>
                  <a:cubicBezTo>
                    <a:pt x="6266974" y="430054"/>
                    <a:pt x="6266974" y="430054"/>
                    <a:pt x="6266021" y="430054"/>
                  </a:cubicBezTo>
                  <a:cubicBezTo>
                    <a:pt x="6264117" y="427196"/>
                    <a:pt x="6262212" y="424339"/>
                    <a:pt x="6260306" y="421481"/>
                  </a:cubicBezTo>
                  <a:cubicBezTo>
                    <a:pt x="6266021" y="402431"/>
                    <a:pt x="6271737" y="383381"/>
                    <a:pt x="6277451" y="364331"/>
                  </a:cubicBezTo>
                  <a:close/>
                  <a:moveTo>
                    <a:pt x="6211729" y="425291"/>
                  </a:moveTo>
                  <a:cubicBezTo>
                    <a:pt x="6211729" y="415766"/>
                    <a:pt x="6212681" y="406241"/>
                    <a:pt x="6212681" y="398621"/>
                  </a:cubicBezTo>
                  <a:cubicBezTo>
                    <a:pt x="6212681" y="395764"/>
                    <a:pt x="6212681" y="392906"/>
                    <a:pt x="6213634" y="390049"/>
                  </a:cubicBezTo>
                  <a:cubicBezTo>
                    <a:pt x="6214587" y="391001"/>
                    <a:pt x="6215539" y="392906"/>
                    <a:pt x="6216492" y="393859"/>
                  </a:cubicBezTo>
                  <a:cubicBezTo>
                    <a:pt x="6220301" y="398621"/>
                    <a:pt x="6224112" y="403384"/>
                    <a:pt x="6227921" y="408146"/>
                  </a:cubicBezTo>
                  <a:cubicBezTo>
                    <a:pt x="6226969" y="410051"/>
                    <a:pt x="6226017" y="411956"/>
                    <a:pt x="6225064" y="412909"/>
                  </a:cubicBezTo>
                  <a:cubicBezTo>
                    <a:pt x="6224112" y="414814"/>
                    <a:pt x="6222206" y="417671"/>
                    <a:pt x="6221254" y="420529"/>
                  </a:cubicBezTo>
                  <a:cubicBezTo>
                    <a:pt x="6220301" y="423386"/>
                    <a:pt x="6219349" y="426244"/>
                    <a:pt x="6218396" y="429101"/>
                  </a:cubicBezTo>
                  <a:cubicBezTo>
                    <a:pt x="6218396" y="430054"/>
                    <a:pt x="6218396" y="430054"/>
                    <a:pt x="6217444" y="431006"/>
                  </a:cubicBezTo>
                  <a:cubicBezTo>
                    <a:pt x="6217444" y="430054"/>
                    <a:pt x="6217444" y="429101"/>
                    <a:pt x="6217444" y="429101"/>
                  </a:cubicBezTo>
                  <a:cubicBezTo>
                    <a:pt x="6216492" y="419576"/>
                    <a:pt x="6215539" y="413861"/>
                    <a:pt x="6215539" y="413861"/>
                  </a:cubicBezTo>
                  <a:cubicBezTo>
                    <a:pt x="6215539" y="413861"/>
                    <a:pt x="6214587" y="419576"/>
                    <a:pt x="6213634" y="429101"/>
                  </a:cubicBezTo>
                  <a:cubicBezTo>
                    <a:pt x="6213634" y="432911"/>
                    <a:pt x="6212681" y="436721"/>
                    <a:pt x="6211729" y="441484"/>
                  </a:cubicBezTo>
                  <a:cubicBezTo>
                    <a:pt x="6211729" y="435769"/>
                    <a:pt x="6211729" y="430054"/>
                    <a:pt x="6211729" y="425291"/>
                  </a:cubicBezTo>
                  <a:close/>
                  <a:moveTo>
                    <a:pt x="6183154" y="343376"/>
                  </a:moveTo>
                  <a:cubicBezTo>
                    <a:pt x="6185059" y="346234"/>
                    <a:pt x="6186012" y="348139"/>
                    <a:pt x="6187917" y="350996"/>
                  </a:cubicBezTo>
                  <a:cubicBezTo>
                    <a:pt x="6188869" y="352901"/>
                    <a:pt x="6190774" y="354806"/>
                    <a:pt x="6191726" y="356711"/>
                  </a:cubicBezTo>
                  <a:cubicBezTo>
                    <a:pt x="6188869" y="366236"/>
                    <a:pt x="6186012" y="376714"/>
                    <a:pt x="6183154" y="388144"/>
                  </a:cubicBezTo>
                  <a:cubicBezTo>
                    <a:pt x="6183154" y="389096"/>
                    <a:pt x="6182201" y="391001"/>
                    <a:pt x="6182201" y="391954"/>
                  </a:cubicBezTo>
                  <a:cubicBezTo>
                    <a:pt x="6182201" y="386239"/>
                    <a:pt x="6181249" y="381476"/>
                    <a:pt x="6181249" y="375761"/>
                  </a:cubicBezTo>
                  <a:cubicBezTo>
                    <a:pt x="6181249" y="374809"/>
                    <a:pt x="6181249" y="373856"/>
                    <a:pt x="6181249" y="372904"/>
                  </a:cubicBezTo>
                  <a:cubicBezTo>
                    <a:pt x="6181249" y="362426"/>
                    <a:pt x="6182201" y="352901"/>
                    <a:pt x="6183154" y="343376"/>
                  </a:cubicBezTo>
                  <a:close/>
                  <a:moveTo>
                    <a:pt x="6144101" y="308134"/>
                  </a:moveTo>
                  <a:cubicBezTo>
                    <a:pt x="6145054" y="297656"/>
                    <a:pt x="6146959" y="287179"/>
                    <a:pt x="6147912" y="276701"/>
                  </a:cubicBezTo>
                  <a:cubicBezTo>
                    <a:pt x="6149817" y="280511"/>
                    <a:pt x="6151721" y="284321"/>
                    <a:pt x="6153626" y="289084"/>
                  </a:cubicBezTo>
                  <a:cubicBezTo>
                    <a:pt x="6156484" y="293846"/>
                    <a:pt x="6158389" y="299561"/>
                    <a:pt x="6161246" y="305276"/>
                  </a:cubicBezTo>
                  <a:cubicBezTo>
                    <a:pt x="6160294" y="308134"/>
                    <a:pt x="6159342" y="313849"/>
                    <a:pt x="6157437" y="319564"/>
                  </a:cubicBezTo>
                  <a:cubicBezTo>
                    <a:pt x="6155531" y="325279"/>
                    <a:pt x="6154579" y="332899"/>
                    <a:pt x="6152674" y="342424"/>
                  </a:cubicBezTo>
                  <a:cubicBezTo>
                    <a:pt x="6151721" y="347186"/>
                    <a:pt x="6150769" y="351949"/>
                    <a:pt x="6150769" y="356711"/>
                  </a:cubicBezTo>
                  <a:cubicBezTo>
                    <a:pt x="6150769" y="358616"/>
                    <a:pt x="6149817" y="359569"/>
                    <a:pt x="6149817" y="360521"/>
                  </a:cubicBezTo>
                  <a:cubicBezTo>
                    <a:pt x="6149817" y="362426"/>
                    <a:pt x="6148864" y="363379"/>
                    <a:pt x="6148864" y="365284"/>
                  </a:cubicBezTo>
                  <a:cubicBezTo>
                    <a:pt x="6146959" y="362426"/>
                    <a:pt x="6146006" y="360521"/>
                    <a:pt x="6146006" y="360521"/>
                  </a:cubicBezTo>
                  <a:cubicBezTo>
                    <a:pt x="6146006" y="360521"/>
                    <a:pt x="6146959" y="363379"/>
                    <a:pt x="6147912" y="368141"/>
                  </a:cubicBezTo>
                  <a:cubicBezTo>
                    <a:pt x="6146959" y="374809"/>
                    <a:pt x="6146006" y="382429"/>
                    <a:pt x="6145054" y="389096"/>
                  </a:cubicBezTo>
                  <a:cubicBezTo>
                    <a:pt x="6145054" y="388144"/>
                    <a:pt x="6144101" y="387191"/>
                    <a:pt x="6144101" y="386239"/>
                  </a:cubicBezTo>
                  <a:cubicBezTo>
                    <a:pt x="6144101" y="385286"/>
                    <a:pt x="6143149" y="385286"/>
                    <a:pt x="6143149" y="384334"/>
                  </a:cubicBezTo>
                  <a:cubicBezTo>
                    <a:pt x="6143149" y="379571"/>
                    <a:pt x="6142196" y="373856"/>
                    <a:pt x="6142196" y="369094"/>
                  </a:cubicBezTo>
                  <a:cubicBezTo>
                    <a:pt x="6141244" y="360521"/>
                    <a:pt x="6140292" y="351949"/>
                    <a:pt x="6139339" y="343376"/>
                  </a:cubicBezTo>
                  <a:cubicBezTo>
                    <a:pt x="6142196" y="331946"/>
                    <a:pt x="6143149" y="319564"/>
                    <a:pt x="6144101" y="308134"/>
                  </a:cubicBezTo>
                  <a:close/>
                  <a:moveTo>
                    <a:pt x="6095524" y="384334"/>
                  </a:moveTo>
                  <a:cubicBezTo>
                    <a:pt x="6093619" y="393859"/>
                    <a:pt x="6090762" y="403384"/>
                    <a:pt x="6088856" y="412909"/>
                  </a:cubicBezTo>
                  <a:cubicBezTo>
                    <a:pt x="6086951" y="420529"/>
                    <a:pt x="6085046" y="428149"/>
                    <a:pt x="6083142" y="435769"/>
                  </a:cubicBezTo>
                  <a:cubicBezTo>
                    <a:pt x="6081237" y="428149"/>
                    <a:pt x="6079331" y="419576"/>
                    <a:pt x="6076474" y="411956"/>
                  </a:cubicBezTo>
                  <a:cubicBezTo>
                    <a:pt x="6077426" y="405289"/>
                    <a:pt x="6078379" y="397669"/>
                    <a:pt x="6079331" y="391001"/>
                  </a:cubicBezTo>
                  <a:cubicBezTo>
                    <a:pt x="6080284" y="383381"/>
                    <a:pt x="6082189" y="375761"/>
                    <a:pt x="6084094" y="368141"/>
                  </a:cubicBezTo>
                  <a:lnTo>
                    <a:pt x="6088856" y="347186"/>
                  </a:lnTo>
                  <a:cubicBezTo>
                    <a:pt x="6089809" y="347186"/>
                    <a:pt x="6090762" y="347186"/>
                    <a:pt x="6091714" y="348139"/>
                  </a:cubicBezTo>
                  <a:cubicBezTo>
                    <a:pt x="6093619" y="349091"/>
                    <a:pt x="6094571" y="350044"/>
                    <a:pt x="6095524" y="350996"/>
                  </a:cubicBezTo>
                  <a:cubicBezTo>
                    <a:pt x="6098381" y="352901"/>
                    <a:pt x="6099334" y="356711"/>
                    <a:pt x="6100287" y="359569"/>
                  </a:cubicBezTo>
                  <a:cubicBezTo>
                    <a:pt x="6099334" y="367189"/>
                    <a:pt x="6097429" y="375761"/>
                    <a:pt x="6095524" y="384334"/>
                  </a:cubicBezTo>
                  <a:close/>
                  <a:moveTo>
                    <a:pt x="6102192" y="206216"/>
                  </a:moveTo>
                  <a:cubicBezTo>
                    <a:pt x="6102192" y="211931"/>
                    <a:pt x="6102192" y="222409"/>
                    <a:pt x="6101239" y="235744"/>
                  </a:cubicBezTo>
                  <a:cubicBezTo>
                    <a:pt x="6101239" y="237649"/>
                    <a:pt x="6101239" y="239554"/>
                    <a:pt x="6101239" y="241459"/>
                  </a:cubicBezTo>
                  <a:cubicBezTo>
                    <a:pt x="6101239" y="241459"/>
                    <a:pt x="6101239" y="242411"/>
                    <a:pt x="6101239" y="242411"/>
                  </a:cubicBezTo>
                  <a:cubicBezTo>
                    <a:pt x="6101239" y="242411"/>
                    <a:pt x="6101239" y="242411"/>
                    <a:pt x="6101239" y="242411"/>
                  </a:cubicBezTo>
                  <a:cubicBezTo>
                    <a:pt x="6101239" y="241459"/>
                    <a:pt x="6100287" y="240506"/>
                    <a:pt x="6100287" y="239554"/>
                  </a:cubicBezTo>
                  <a:cubicBezTo>
                    <a:pt x="6099334" y="236696"/>
                    <a:pt x="6098381" y="233839"/>
                    <a:pt x="6097429" y="230981"/>
                  </a:cubicBezTo>
                  <a:cubicBezTo>
                    <a:pt x="6099334" y="222409"/>
                    <a:pt x="6100287" y="213836"/>
                    <a:pt x="6102192" y="206216"/>
                  </a:cubicBezTo>
                  <a:close/>
                  <a:moveTo>
                    <a:pt x="6100287" y="284321"/>
                  </a:moveTo>
                  <a:cubicBezTo>
                    <a:pt x="6099334" y="282416"/>
                    <a:pt x="6099334" y="281464"/>
                    <a:pt x="6098381" y="279559"/>
                  </a:cubicBezTo>
                  <a:cubicBezTo>
                    <a:pt x="6098381" y="278606"/>
                    <a:pt x="6099334" y="277654"/>
                    <a:pt x="6099334" y="277654"/>
                  </a:cubicBezTo>
                  <a:cubicBezTo>
                    <a:pt x="6099334" y="279559"/>
                    <a:pt x="6099334" y="281464"/>
                    <a:pt x="6100287" y="284321"/>
                  </a:cubicBezTo>
                  <a:close/>
                  <a:moveTo>
                    <a:pt x="6093619" y="247174"/>
                  </a:moveTo>
                  <a:cubicBezTo>
                    <a:pt x="6094571" y="250031"/>
                    <a:pt x="6094571" y="252889"/>
                    <a:pt x="6095524" y="255746"/>
                  </a:cubicBezTo>
                  <a:cubicBezTo>
                    <a:pt x="6094571" y="258604"/>
                    <a:pt x="6092667" y="261461"/>
                    <a:pt x="6091714" y="264319"/>
                  </a:cubicBezTo>
                  <a:cubicBezTo>
                    <a:pt x="6091714" y="263366"/>
                    <a:pt x="6090762" y="262414"/>
                    <a:pt x="6090762" y="262414"/>
                  </a:cubicBezTo>
                  <a:cubicBezTo>
                    <a:pt x="6091714" y="257651"/>
                    <a:pt x="6092667" y="251936"/>
                    <a:pt x="6093619" y="247174"/>
                  </a:cubicBezTo>
                  <a:close/>
                  <a:moveTo>
                    <a:pt x="6088856" y="269081"/>
                  </a:moveTo>
                  <a:cubicBezTo>
                    <a:pt x="6088856" y="269081"/>
                    <a:pt x="6088856" y="270034"/>
                    <a:pt x="6088856" y="270034"/>
                  </a:cubicBezTo>
                  <a:cubicBezTo>
                    <a:pt x="6088856" y="270034"/>
                    <a:pt x="6088856" y="270034"/>
                    <a:pt x="6088856" y="270034"/>
                  </a:cubicBezTo>
                  <a:cubicBezTo>
                    <a:pt x="6088856" y="270986"/>
                    <a:pt x="6087904" y="271939"/>
                    <a:pt x="6087904" y="272891"/>
                  </a:cubicBezTo>
                  <a:cubicBezTo>
                    <a:pt x="6088856" y="270986"/>
                    <a:pt x="6088856" y="270034"/>
                    <a:pt x="6088856" y="269081"/>
                  </a:cubicBezTo>
                  <a:close/>
                  <a:moveTo>
                    <a:pt x="6067901" y="369094"/>
                  </a:moveTo>
                  <a:cubicBezTo>
                    <a:pt x="6072664" y="358616"/>
                    <a:pt x="6076474" y="349091"/>
                    <a:pt x="6080284" y="339566"/>
                  </a:cubicBezTo>
                  <a:cubicBezTo>
                    <a:pt x="6082189" y="334804"/>
                    <a:pt x="6084094" y="330041"/>
                    <a:pt x="6085046" y="326231"/>
                  </a:cubicBezTo>
                  <a:cubicBezTo>
                    <a:pt x="6085999" y="321469"/>
                    <a:pt x="6087904" y="317659"/>
                    <a:pt x="6088856" y="313849"/>
                  </a:cubicBezTo>
                  <a:cubicBezTo>
                    <a:pt x="6090762" y="306229"/>
                    <a:pt x="6092667" y="299561"/>
                    <a:pt x="6093619" y="293846"/>
                  </a:cubicBezTo>
                  <a:cubicBezTo>
                    <a:pt x="6093619" y="293846"/>
                    <a:pt x="6093619" y="293846"/>
                    <a:pt x="6093619" y="293846"/>
                  </a:cubicBezTo>
                  <a:cubicBezTo>
                    <a:pt x="6094571" y="299561"/>
                    <a:pt x="6095524" y="305276"/>
                    <a:pt x="6096476" y="310991"/>
                  </a:cubicBezTo>
                  <a:cubicBezTo>
                    <a:pt x="6098381" y="319564"/>
                    <a:pt x="6098381" y="329089"/>
                    <a:pt x="6100287" y="339566"/>
                  </a:cubicBezTo>
                  <a:cubicBezTo>
                    <a:pt x="6100287" y="345281"/>
                    <a:pt x="6101239" y="350044"/>
                    <a:pt x="6101239" y="355759"/>
                  </a:cubicBezTo>
                  <a:cubicBezTo>
                    <a:pt x="6101239" y="355759"/>
                    <a:pt x="6101239" y="355759"/>
                    <a:pt x="6101239" y="355759"/>
                  </a:cubicBezTo>
                  <a:cubicBezTo>
                    <a:pt x="6101239" y="356711"/>
                    <a:pt x="6100287" y="358616"/>
                    <a:pt x="6100287" y="359569"/>
                  </a:cubicBezTo>
                  <a:cubicBezTo>
                    <a:pt x="6100287" y="355759"/>
                    <a:pt x="6099334" y="352901"/>
                    <a:pt x="6097429" y="350044"/>
                  </a:cubicBezTo>
                  <a:cubicBezTo>
                    <a:pt x="6096476" y="348139"/>
                    <a:pt x="6094571" y="347186"/>
                    <a:pt x="6093619" y="345281"/>
                  </a:cubicBezTo>
                  <a:cubicBezTo>
                    <a:pt x="6091714" y="344329"/>
                    <a:pt x="6089809" y="343376"/>
                    <a:pt x="6087904" y="342424"/>
                  </a:cubicBezTo>
                  <a:lnTo>
                    <a:pt x="6085999" y="341471"/>
                  </a:lnTo>
                  <a:lnTo>
                    <a:pt x="6085046" y="343376"/>
                  </a:lnTo>
                  <a:cubicBezTo>
                    <a:pt x="6082189" y="350996"/>
                    <a:pt x="6079331" y="357664"/>
                    <a:pt x="6076474" y="365284"/>
                  </a:cubicBezTo>
                  <a:cubicBezTo>
                    <a:pt x="6074569" y="371951"/>
                    <a:pt x="6071712" y="377666"/>
                    <a:pt x="6069806" y="384334"/>
                  </a:cubicBezTo>
                  <a:cubicBezTo>
                    <a:pt x="6068854" y="380524"/>
                    <a:pt x="6067901" y="376714"/>
                    <a:pt x="6065996" y="372904"/>
                  </a:cubicBezTo>
                  <a:cubicBezTo>
                    <a:pt x="6066949" y="371951"/>
                    <a:pt x="6067901" y="370999"/>
                    <a:pt x="6067901" y="369094"/>
                  </a:cubicBezTo>
                  <a:close/>
                  <a:moveTo>
                    <a:pt x="6035517" y="310039"/>
                  </a:moveTo>
                  <a:cubicBezTo>
                    <a:pt x="6035517" y="309086"/>
                    <a:pt x="6035517" y="309086"/>
                    <a:pt x="6035517" y="308134"/>
                  </a:cubicBezTo>
                  <a:cubicBezTo>
                    <a:pt x="6036469" y="312896"/>
                    <a:pt x="6038374" y="318611"/>
                    <a:pt x="6040279" y="324326"/>
                  </a:cubicBezTo>
                  <a:cubicBezTo>
                    <a:pt x="6041231" y="329089"/>
                    <a:pt x="6042184" y="333851"/>
                    <a:pt x="6044089" y="338614"/>
                  </a:cubicBezTo>
                  <a:cubicBezTo>
                    <a:pt x="6042184" y="344329"/>
                    <a:pt x="6040279" y="350044"/>
                    <a:pt x="6038374" y="355759"/>
                  </a:cubicBezTo>
                  <a:cubicBezTo>
                    <a:pt x="6036469" y="345281"/>
                    <a:pt x="6035517" y="336709"/>
                    <a:pt x="6033612" y="330041"/>
                  </a:cubicBezTo>
                  <a:cubicBezTo>
                    <a:pt x="6034564" y="323374"/>
                    <a:pt x="6034564" y="315754"/>
                    <a:pt x="6035517" y="310039"/>
                  </a:cubicBezTo>
                  <a:close/>
                  <a:moveTo>
                    <a:pt x="6012656" y="361474"/>
                  </a:moveTo>
                  <a:cubicBezTo>
                    <a:pt x="6012656" y="362426"/>
                    <a:pt x="6012656" y="363379"/>
                    <a:pt x="6012656" y="363379"/>
                  </a:cubicBezTo>
                  <a:cubicBezTo>
                    <a:pt x="6012656" y="362426"/>
                    <a:pt x="6012656" y="361474"/>
                    <a:pt x="6012656" y="359569"/>
                  </a:cubicBezTo>
                  <a:cubicBezTo>
                    <a:pt x="6012656" y="360521"/>
                    <a:pt x="6012656" y="360521"/>
                    <a:pt x="6012656" y="361474"/>
                  </a:cubicBezTo>
                  <a:close/>
                  <a:moveTo>
                    <a:pt x="6007894" y="351949"/>
                  </a:moveTo>
                  <a:cubicBezTo>
                    <a:pt x="6007894" y="351949"/>
                    <a:pt x="6007894" y="352901"/>
                    <a:pt x="6007894" y="352901"/>
                  </a:cubicBezTo>
                  <a:cubicBezTo>
                    <a:pt x="6007894" y="351949"/>
                    <a:pt x="6007894" y="351949"/>
                    <a:pt x="6007894" y="351949"/>
                  </a:cubicBezTo>
                  <a:cubicBezTo>
                    <a:pt x="6007894" y="350996"/>
                    <a:pt x="6007894" y="351949"/>
                    <a:pt x="6007894" y="351949"/>
                  </a:cubicBezTo>
                  <a:close/>
                  <a:moveTo>
                    <a:pt x="5976462" y="410051"/>
                  </a:moveTo>
                  <a:cubicBezTo>
                    <a:pt x="5975509" y="407194"/>
                    <a:pt x="5974556" y="404336"/>
                    <a:pt x="5973604" y="402431"/>
                  </a:cubicBezTo>
                  <a:cubicBezTo>
                    <a:pt x="5973604" y="401479"/>
                    <a:pt x="5972651" y="399574"/>
                    <a:pt x="5972651" y="398621"/>
                  </a:cubicBezTo>
                  <a:cubicBezTo>
                    <a:pt x="5972651" y="395764"/>
                    <a:pt x="5971699" y="392906"/>
                    <a:pt x="5971699" y="391001"/>
                  </a:cubicBezTo>
                  <a:cubicBezTo>
                    <a:pt x="5972651" y="389096"/>
                    <a:pt x="5972651" y="387191"/>
                    <a:pt x="5973604" y="386239"/>
                  </a:cubicBezTo>
                  <a:cubicBezTo>
                    <a:pt x="5975509" y="382429"/>
                    <a:pt x="5976462" y="378619"/>
                    <a:pt x="5977414" y="374809"/>
                  </a:cubicBezTo>
                  <a:cubicBezTo>
                    <a:pt x="5977414" y="385286"/>
                    <a:pt x="5976462" y="397669"/>
                    <a:pt x="5976462" y="410051"/>
                  </a:cubicBezTo>
                  <a:close/>
                  <a:moveTo>
                    <a:pt x="5976462" y="239554"/>
                  </a:moveTo>
                  <a:cubicBezTo>
                    <a:pt x="5977414" y="243364"/>
                    <a:pt x="5977414" y="246221"/>
                    <a:pt x="5978367" y="250031"/>
                  </a:cubicBezTo>
                  <a:cubicBezTo>
                    <a:pt x="5978367" y="251936"/>
                    <a:pt x="5979319" y="254794"/>
                    <a:pt x="5979319" y="256699"/>
                  </a:cubicBezTo>
                  <a:cubicBezTo>
                    <a:pt x="5977414" y="253841"/>
                    <a:pt x="5976462" y="250984"/>
                    <a:pt x="5974556" y="248126"/>
                  </a:cubicBezTo>
                  <a:cubicBezTo>
                    <a:pt x="5975509" y="245269"/>
                    <a:pt x="5975509" y="242411"/>
                    <a:pt x="5976462" y="239554"/>
                  </a:cubicBezTo>
                  <a:close/>
                  <a:moveTo>
                    <a:pt x="5965984" y="291941"/>
                  </a:moveTo>
                  <a:cubicBezTo>
                    <a:pt x="5965984" y="290036"/>
                    <a:pt x="5966937" y="288131"/>
                    <a:pt x="5966937" y="286226"/>
                  </a:cubicBezTo>
                  <a:cubicBezTo>
                    <a:pt x="5966937" y="285274"/>
                    <a:pt x="5967889" y="283369"/>
                    <a:pt x="5967889" y="282416"/>
                  </a:cubicBezTo>
                  <a:cubicBezTo>
                    <a:pt x="5968842" y="277654"/>
                    <a:pt x="5969794" y="273844"/>
                    <a:pt x="5970746" y="269081"/>
                  </a:cubicBezTo>
                  <a:cubicBezTo>
                    <a:pt x="5974556" y="278606"/>
                    <a:pt x="5979319" y="289084"/>
                    <a:pt x="5983129" y="298609"/>
                  </a:cubicBezTo>
                  <a:cubicBezTo>
                    <a:pt x="5982176" y="309086"/>
                    <a:pt x="5981224" y="319564"/>
                    <a:pt x="5980271" y="330994"/>
                  </a:cubicBezTo>
                  <a:cubicBezTo>
                    <a:pt x="5980271" y="330994"/>
                    <a:pt x="5980271" y="331946"/>
                    <a:pt x="5979319" y="331946"/>
                  </a:cubicBezTo>
                  <a:cubicBezTo>
                    <a:pt x="5977414" y="329089"/>
                    <a:pt x="5976462" y="328136"/>
                    <a:pt x="5976462" y="328136"/>
                  </a:cubicBezTo>
                  <a:cubicBezTo>
                    <a:pt x="5976462" y="328136"/>
                    <a:pt x="5977414" y="330041"/>
                    <a:pt x="5979319" y="332899"/>
                  </a:cubicBezTo>
                  <a:cubicBezTo>
                    <a:pt x="5977414" y="336709"/>
                    <a:pt x="5974556" y="341471"/>
                    <a:pt x="5972651" y="346234"/>
                  </a:cubicBezTo>
                  <a:cubicBezTo>
                    <a:pt x="5970746" y="349091"/>
                    <a:pt x="5969794" y="352901"/>
                    <a:pt x="5967889" y="355759"/>
                  </a:cubicBezTo>
                  <a:cubicBezTo>
                    <a:pt x="5967889" y="355759"/>
                    <a:pt x="5967889" y="355759"/>
                    <a:pt x="5967889" y="355759"/>
                  </a:cubicBezTo>
                  <a:cubicBezTo>
                    <a:pt x="5967889" y="353854"/>
                    <a:pt x="5967889" y="352901"/>
                    <a:pt x="5966937" y="351949"/>
                  </a:cubicBezTo>
                  <a:cubicBezTo>
                    <a:pt x="5965984" y="346234"/>
                    <a:pt x="5965984" y="339566"/>
                    <a:pt x="5965031" y="333851"/>
                  </a:cubicBezTo>
                  <a:cubicBezTo>
                    <a:pt x="5964079" y="321469"/>
                    <a:pt x="5964079" y="310039"/>
                    <a:pt x="5963126" y="299561"/>
                  </a:cubicBezTo>
                  <a:cubicBezTo>
                    <a:pt x="5964079" y="296704"/>
                    <a:pt x="5965031" y="294799"/>
                    <a:pt x="5965984" y="291941"/>
                  </a:cubicBezTo>
                  <a:close/>
                  <a:moveTo>
                    <a:pt x="5952649" y="385286"/>
                  </a:moveTo>
                  <a:cubicBezTo>
                    <a:pt x="5952649" y="385286"/>
                    <a:pt x="5952649" y="385286"/>
                    <a:pt x="5952649" y="385286"/>
                  </a:cubicBezTo>
                  <a:cubicBezTo>
                    <a:pt x="5952649" y="385286"/>
                    <a:pt x="5952649" y="385286"/>
                    <a:pt x="5952649" y="385286"/>
                  </a:cubicBezTo>
                  <a:cubicBezTo>
                    <a:pt x="5952649" y="385286"/>
                    <a:pt x="5952649" y="385286"/>
                    <a:pt x="5952649" y="385286"/>
                  </a:cubicBezTo>
                  <a:close/>
                  <a:moveTo>
                    <a:pt x="5934551" y="339566"/>
                  </a:moveTo>
                  <a:cubicBezTo>
                    <a:pt x="5934551" y="337661"/>
                    <a:pt x="5933599" y="334804"/>
                    <a:pt x="5933599" y="332899"/>
                  </a:cubicBezTo>
                  <a:cubicBezTo>
                    <a:pt x="5933599" y="331946"/>
                    <a:pt x="5933599" y="331946"/>
                    <a:pt x="5933599" y="330994"/>
                  </a:cubicBezTo>
                  <a:cubicBezTo>
                    <a:pt x="5934551" y="332899"/>
                    <a:pt x="5934551" y="334804"/>
                    <a:pt x="5935504" y="336709"/>
                  </a:cubicBezTo>
                  <a:cubicBezTo>
                    <a:pt x="5935504" y="337661"/>
                    <a:pt x="5934551" y="338614"/>
                    <a:pt x="5934551" y="339566"/>
                  </a:cubicBezTo>
                  <a:close/>
                  <a:moveTo>
                    <a:pt x="5948839" y="371951"/>
                  </a:moveTo>
                  <a:cubicBezTo>
                    <a:pt x="5947887" y="374809"/>
                    <a:pt x="5946934" y="378619"/>
                    <a:pt x="5945981" y="382429"/>
                  </a:cubicBezTo>
                  <a:cubicBezTo>
                    <a:pt x="5945029" y="386239"/>
                    <a:pt x="5944076" y="389096"/>
                    <a:pt x="5943124" y="392906"/>
                  </a:cubicBezTo>
                  <a:cubicBezTo>
                    <a:pt x="5943124" y="387191"/>
                    <a:pt x="5943124" y="382429"/>
                    <a:pt x="5943124" y="378619"/>
                  </a:cubicBezTo>
                  <a:cubicBezTo>
                    <a:pt x="5943124" y="378619"/>
                    <a:pt x="5943124" y="378619"/>
                    <a:pt x="5943124" y="378619"/>
                  </a:cubicBezTo>
                  <a:cubicBezTo>
                    <a:pt x="5945029" y="373856"/>
                    <a:pt x="5945981" y="370046"/>
                    <a:pt x="5946934" y="365284"/>
                  </a:cubicBezTo>
                  <a:cubicBezTo>
                    <a:pt x="5946934" y="367189"/>
                    <a:pt x="5947887" y="370046"/>
                    <a:pt x="5948839" y="371951"/>
                  </a:cubicBezTo>
                  <a:close/>
                  <a:moveTo>
                    <a:pt x="5930742" y="234791"/>
                  </a:moveTo>
                  <a:cubicBezTo>
                    <a:pt x="5933599" y="245269"/>
                    <a:pt x="5935504" y="256699"/>
                    <a:pt x="5938362" y="269081"/>
                  </a:cubicBezTo>
                  <a:cubicBezTo>
                    <a:pt x="5941219" y="280511"/>
                    <a:pt x="5942171" y="293846"/>
                    <a:pt x="5945029" y="307181"/>
                  </a:cubicBezTo>
                  <a:cubicBezTo>
                    <a:pt x="5943124" y="312896"/>
                    <a:pt x="5941219" y="317659"/>
                    <a:pt x="5940267" y="323374"/>
                  </a:cubicBezTo>
                  <a:cubicBezTo>
                    <a:pt x="5940267" y="323374"/>
                    <a:pt x="5940267" y="324326"/>
                    <a:pt x="5940267" y="324326"/>
                  </a:cubicBezTo>
                  <a:cubicBezTo>
                    <a:pt x="5937409" y="318611"/>
                    <a:pt x="5934551" y="312896"/>
                    <a:pt x="5931694" y="307181"/>
                  </a:cubicBezTo>
                  <a:cubicBezTo>
                    <a:pt x="5930742" y="299561"/>
                    <a:pt x="5929789" y="291941"/>
                    <a:pt x="5928837" y="284321"/>
                  </a:cubicBezTo>
                  <a:cubicBezTo>
                    <a:pt x="5927884" y="277654"/>
                    <a:pt x="5927884" y="271939"/>
                    <a:pt x="5926931" y="266224"/>
                  </a:cubicBezTo>
                  <a:cubicBezTo>
                    <a:pt x="5928837" y="261461"/>
                    <a:pt x="5929789" y="259556"/>
                    <a:pt x="5929789" y="259556"/>
                  </a:cubicBezTo>
                  <a:cubicBezTo>
                    <a:pt x="5929789" y="259556"/>
                    <a:pt x="5928837" y="261461"/>
                    <a:pt x="5926931" y="264319"/>
                  </a:cubicBezTo>
                  <a:cubicBezTo>
                    <a:pt x="5925979" y="257651"/>
                    <a:pt x="5925026" y="251936"/>
                    <a:pt x="5925026" y="245269"/>
                  </a:cubicBezTo>
                  <a:cubicBezTo>
                    <a:pt x="5925979" y="241459"/>
                    <a:pt x="5926931" y="237649"/>
                    <a:pt x="5926931" y="233839"/>
                  </a:cubicBezTo>
                  <a:cubicBezTo>
                    <a:pt x="5927884" y="230981"/>
                    <a:pt x="5927884" y="228124"/>
                    <a:pt x="5928837" y="226219"/>
                  </a:cubicBezTo>
                  <a:cubicBezTo>
                    <a:pt x="5928837" y="229076"/>
                    <a:pt x="5929789" y="231934"/>
                    <a:pt x="5930742" y="234791"/>
                  </a:cubicBezTo>
                  <a:close/>
                  <a:moveTo>
                    <a:pt x="5923121" y="209074"/>
                  </a:moveTo>
                  <a:cubicBezTo>
                    <a:pt x="5924074" y="212884"/>
                    <a:pt x="5925979" y="217646"/>
                    <a:pt x="5926931" y="222409"/>
                  </a:cubicBezTo>
                  <a:cubicBezTo>
                    <a:pt x="5925026" y="225266"/>
                    <a:pt x="5924074" y="229076"/>
                    <a:pt x="5922169" y="232886"/>
                  </a:cubicBezTo>
                  <a:cubicBezTo>
                    <a:pt x="5921217" y="223361"/>
                    <a:pt x="5920264" y="214789"/>
                    <a:pt x="5919312" y="206216"/>
                  </a:cubicBezTo>
                  <a:cubicBezTo>
                    <a:pt x="5919312" y="201454"/>
                    <a:pt x="5918359" y="197644"/>
                    <a:pt x="5918359" y="193834"/>
                  </a:cubicBezTo>
                  <a:cubicBezTo>
                    <a:pt x="5920264" y="197644"/>
                    <a:pt x="5921217" y="202406"/>
                    <a:pt x="5923121" y="209074"/>
                  </a:cubicBezTo>
                  <a:close/>
                  <a:moveTo>
                    <a:pt x="5901214" y="244316"/>
                  </a:moveTo>
                  <a:cubicBezTo>
                    <a:pt x="5901214" y="247174"/>
                    <a:pt x="5901214" y="251936"/>
                    <a:pt x="5901214" y="258604"/>
                  </a:cubicBezTo>
                  <a:cubicBezTo>
                    <a:pt x="5901214" y="264319"/>
                    <a:pt x="5901214" y="270986"/>
                    <a:pt x="5902167" y="278606"/>
                  </a:cubicBezTo>
                  <a:cubicBezTo>
                    <a:pt x="5902167" y="286226"/>
                    <a:pt x="5903119" y="293846"/>
                    <a:pt x="5904071" y="302419"/>
                  </a:cubicBezTo>
                  <a:cubicBezTo>
                    <a:pt x="5903119" y="304324"/>
                    <a:pt x="5901214" y="307181"/>
                    <a:pt x="5900262" y="310039"/>
                  </a:cubicBezTo>
                  <a:cubicBezTo>
                    <a:pt x="5898356" y="300514"/>
                    <a:pt x="5896451" y="291941"/>
                    <a:pt x="5895499" y="284321"/>
                  </a:cubicBezTo>
                  <a:cubicBezTo>
                    <a:pt x="5897404" y="264319"/>
                    <a:pt x="5900262" y="250984"/>
                    <a:pt x="5901214" y="244316"/>
                  </a:cubicBezTo>
                  <a:close/>
                  <a:moveTo>
                    <a:pt x="5903119" y="324326"/>
                  </a:moveTo>
                  <a:cubicBezTo>
                    <a:pt x="5903119" y="325279"/>
                    <a:pt x="5903119" y="327184"/>
                    <a:pt x="5903119" y="328136"/>
                  </a:cubicBezTo>
                  <a:cubicBezTo>
                    <a:pt x="5903119" y="327184"/>
                    <a:pt x="5903119" y="326231"/>
                    <a:pt x="5902167" y="325279"/>
                  </a:cubicBezTo>
                  <a:cubicBezTo>
                    <a:pt x="5903119" y="325279"/>
                    <a:pt x="5903119" y="324326"/>
                    <a:pt x="5903119" y="324326"/>
                  </a:cubicBezTo>
                  <a:close/>
                  <a:moveTo>
                    <a:pt x="5892642" y="348139"/>
                  </a:moveTo>
                  <a:cubicBezTo>
                    <a:pt x="5892642" y="350044"/>
                    <a:pt x="5892642" y="350996"/>
                    <a:pt x="5893594" y="352901"/>
                  </a:cubicBezTo>
                  <a:cubicBezTo>
                    <a:pt x="5893594" y="353854"/>
                    <a:pt x="5893594" y="354806"/>
                    <a:pt x="5893594" y="355759"/>
                  </a:cubicBezTo>
                  <a:cubicBezTo>
                    <a:pt x="5892642" y="353854"/>
                    <a:pt x="5892642" y="351949"/>
                    <a:pt x="5891689" y="350996"/>
                  </a:cubicBezTo>
                  <a:cubicBezTo>
                    <a:pt x="5892642" y="350044"/>
                    <a:pt x="5892642" y="349091"/>
                    <a:pt x="5892642" y="348139"/>
                  </a:cubicBezTo>
                  <a:close/>
                  <a:moveTo>
                    <a:pt x="5893594" y="373856"/>
                  </a:moveTo>
                  <a:cubicBezTo>
                    <a:pt x="5895499" y="379571"/>
                    <a:pt x="5897404" y="385286"/>
                    <a:pt x="5898356" y="391954"/>
                  </a:cubicBezTo>
                  <a:cubicBezTo>
                    <a:pt x="5899309" y="396716"/>
                    <a:pt x="5901214" y="402431"/>
                    <a:pt x="5902167" y="408146"/>
                  </a:cubicBezTo>
                  <a:cubicBezTo>
                    <a:pt x="5903119" y="411004"/>
                    <a:pt x="5903119" y="414814"/>
                    <a:pt x="5904071" y="417671"/>
                  </a:cubicBezTo>
                  <a:cubicBezTo>
                    <a:pt x="5904071" y="417671"/>
                    <a:pt x="5904071" y="417671"/>
                    <a:pt x="5904071" y="417671"/>
                  </a:cubicBezTo>
                  <a:cubicBezTo>
                    <a:pt x="5899309" y="407194"/>
                    <a:pt x="5895499" y="397669"/>
                    <a:pt x="5890737" y="387191"/>
                  </a:cubicBezTo>
                  <a:cubicBezTo>
                    <a:pt x="5889784" y="386239"/>
                    <a:pt x="5889784" y="385286"/>
                    <a:pt x="5888831" y="383381"/>
                  </a:cubicBezTo>
                  <a:lnTo>
                    <a:pt x="5887879" y="357664"/>
                  </a:lnTo>
                  <a:cubicBezTo>
                    <a:pt x="5887879" y="357664"/>
                    <a:pt x="5887879" y="356711"/>
                    <a:pt x="5888831" y="356711"/>
                  </a:cubicBezTo>
                  <a:cubicBezTo>
                    <a:pt x="5889784" y="363379"/>
                    <a:pt x="5891689" y="368141"/>
                    <a:pt x="5893594" y="373856"/>
                  </a:cubicBezTo>
                  <a:close/>
                  <a:moveTo>
                    <a:pt x="5886926" y="321469"/>
                  </a:moveTo>
                  <a:cubicBezTo>
                    <a:pt x="5887879" y="317659"/>
                    <a:pt x="5887879" y="314801"/>
                    <a:pt x="5888831" y="311944"/>
                  </a:cubicBezTo>
                  <a:cubicBezTo>
                    <a:pt x="5888831" y="312896"/>
                    <a:pt x="5888831" y="313849"/>
                    <a:pt x="5888831" y="314801"/>
                  </a:cubicBezTo>
                  <a:cubicBezTo>
                    <a:pt x="5888831" y="318611"/>
                    <a:pt x="5889784" y="322421"/>
                    <a:pt x="5889784" y="326231"/>
                  </a:cubicBezTo>
                  <a:cubicBezTo>
                    <a:pt x="5888831" y="328136"/>
                    <a:pt x="5887879" y="330041"/>
                    <a:pt x="5885974" y="332899"/>
                  </a:cubicBezTo>
                  <a:cubicBezTo>
                    <a:pt x="5885974" y="330041"/>
                    <a:pt x="5885974" y="327184"/>
                    <a:pt x="5885974" y="325279"/>
                  </a:cubicBezTo>
                  <a:cubicBezTo>
                    <a:pt x="5885974" y="323374"/>
                    <a:pt x="5886926" y="322421"/>
                    <a:pt x="5886926" y="321469"/>
                  </a:cubicBezTo>
                  <a:close/>
                  <a:moveTo>
                    <a:pt x="5858351" y="279559"/>
                  </a:moveTo>
                  <a:cubicBezTo>
                    <a:pt x="5858351" y="281464"/>
                    <a:pt x="5858351" y="282416"/>
                    <a:pt x="5858351" y="284321"/>
                  </a:cubicBezTo>
                  <a:cubicBezTo>
                    <a:pt x="5858351" y="284321"/>
                    <a:pt x="5858351" y="285274"/>
                    <a:pt x="5858351" y="285274"/>
                  </a:cubicBezTo>
                  <a:cubicBezTo>
                    <a:pt x="5858351" y="284321"/>
                    <a:pt x="5857399" y="283369"/>
                    <a:pt x="5857399" y="281464"/>
                  </a:cubicBezTo>
                  <a:cubicBezTo>
                    <a:pt x="5857399" y="281464"/>
                    <a:pt x="5857399" y="280511"/>
                    <a:pt x="5858351" y="279559"/>
                  </a:cubicBezTo>
                  <a:close/>
                  <a:moveTo>
                    <a:pt x="5841206" y="264319"/>
                  </a:moveTo>
                  <a:cubicBezTo>
                    <a:pt x="5841206" y="266224"/>
                    <a:pt x="5840254" y="268129"/>
                    <a:pt x="5840254" y="270034"/>
                  </a:cubicBezTo>
                  <a:cubicBezTo>
                    <a:pt x="5840254" y="272891"/>
                    <a:pt x="5839301" y="274796"/>
                    <a:pt x="5839301" y="277654"/>
                  </a:cubicBezTo>
                  <a:cubicBezTo>
                    <a:pt x="5839301" y="275749"/>
                    <a:pt x="5838349" y="273844"/>
                    <a:pt x="5838349" y="271939"/>
                  </a:cubicBezTo>
                  <a:cubicBezTo>
                    <a:pt x="5840254" y="269081"/>
                    <a:pt x="5840254" y="267176"/>
                    <a:pt x="5841206" y="264319"/>
                  </a:cubicBezTo>
                  <a:close/>
                  <a:moveTo>
                    <a:pt x="5828824" y="305276"/>
                  </a:moveTo>
                  <a:cubicBezTo>
                    <a:pt x="5827871" y="306229"/>
                    <a:pt x="5827871" y="307181"/>
                    <a:pt x="5826919" y="308134"/>
                  </a:cubicBezTo>
                  <a:cubicBezTo>
                    <a:pt x="5826919" y="307181"/>
                    <a:pt x="5826919" y="307181"/>
                    <a:pt x="5826919" y="306229"/>
                  </a:cubicBezTo>
                  <a:cubicBezTo>
                    <a:pt x="5827871" y="304324"/>
                    <a:pt x="5828824" y="301466"/>
                    <a:pt x="5829776" y="299561"/>
                  </a:cubicBezTo>
                  <a:cubicBezTo>
                    <a:pt x="5828824" y="302419"/>
                    <a:pt x="5828824" y="303371"/>
                    <a:pt x="5828824" y="305276"/>
                  </a:cubicBezTo>
                  <a:close/>
                  <a:moveTo>
                    <a:pt x="5823109" y="259556"/>
                  </a:moveTo>
                  <a:cubicBezTo>
                    <a:pt x="5824062" y="262414"/>
                    <a:pt x="5825967" y="266224"/>
                    <a:pt x="5827871" y="270986"/>
                  </a:cubicBezTo>
                  <a:cubicBezTo>
                    <a:pt x="5827871" y="271939"/>
                    <a:pt x="5828824" y="272891"/>
                    <a:pt x="5828824" y="273844"/>
                  </a:cubicBezTo>
                  <a:cubicBezTo>
                    <a:pt x="5828824" y="277654"/>
                    <a:pt x="5828824" y="281464"/>
                    <a:pt x="5828824" y="286226"/>
                  </a:cubicBezTo>
                  <a:cubicBezTo>
                    <a:pt x="5826919" y="289084"/>
                    <a:pt x="5825967" y="291941"/>
                    <a:pt x="5824062" y="295751"/>
                  </a:cubicBezTo>
                  <a:lnTo>
                    <a:pt x="5824062" y="294799"/>
                  </a:lnTo>
                  <a:lnTo>
                    <a:pt x="5823109" y="267176"/>
                  </a:lnTo>
                  <a:lnTo>
                    <a:pt x="5823109" y="259556"/>
                  </a:lnTo>
                  <a:close/>
                  <a:moveTo>
                    <a:pt x="5813584" y="252889"/>
                  </a:moveTo>
                  <a:cubicBezTo>
                    <a:pt x="5813584" y="254794"/>
                    <a:pt x="5812631" y="256699"/>
                    <a:pt x="5812631" y="258604"/>
                  </a:cubicBezTo>
                  <a:cubicBezTo>
                    <a:pt x="5811679" y="256699"/>
                    <a:pt x="5811679" y="255746"/>
                    <a:pt x="5811679" y="255746"/>
                  </a:cubicBezTo>
                  <a:cubicBezTo>
                    <a:pt x="5811679" y="255746"/>
                    <a:pt x="5811679" y="258604"/>
                    <a:pt x="5811679" y="262414"/>
                  </a:cubicBezTo>
                  <a:cubicBezTo>
                    <a:pt x="5811679" y="264319"/>
                    <a:pt x="5810726" y="265271"/>
                    <a:pt x="5810726" y="267176"/>
                  </a:cubicBezTo>
                  <a:cubicBezTo>
                    <a:pt x="5809774" y="276701"/>
                    <a:pt x="5808821" y="285274"/>
                    <a:pt x="5808821" y="294799"/>
                  </a:cubicBezTo>
                  <a:lnTo>
                    <a:pt x="5808821" y="304324"/>
                  </a:lnTo>
                  <a:lnTo>
                    <a:pt x="5807869" y="300514"/>
                  </a:lnTo>
                  <a:cubicBezTo>
                    <a:pt x="5808821" y="286226"/>
                    <a:pt x="5807869" y="273844"/>
                    <a:pt x="5806917" y="264319"/>
                  </a:cubicBezTo>
                  <a:cubicBezTo>
                    <a:pt x="5806917" y="263366"/>
                    <a:pt x="5806917" y="263366"/>
                    <a:pt x="5806917" y="262414"/>
                  </a:cubicBezTo>
                  <a:cubicBezTo>
                    <a:pt x="5809774" y="258604"/>
                    <a:pt x="5812631" y="254794"/>
                    <a:pt x="5813584" y="252889"/>
                  </a:cubicBezTo>
                  <a:close/>
                  <a:moveTo>
                    <a:pt x="5804059" y="268129"/>
                  </a:moveTo>
                  <a:cubicBezTo>
                    <a:pt x="5804059" y="268129"/>
                    <a:pt x="5804059" y="269081"/>
                    <a:pt x="5804059" y="269081"/>
                  </a:cubicBezTo>
                  <a:lnTo>
                    <a:pt x="5804059" y="268129"/>
                  </a:lnTo>
                  <a:cubicBezTo>
                    <a:pt x="5804059" y="268129"/>
                    <a:pt x="5804059" y="268129"/>
                    <a:pt x="5804059" y="268129"/>
                  </a:cubicBezTo>
                  <a:close/>
                  <a:moveTo>
                    <a:pt x="5799296" y="164306"/>
                  </a:moveTo>
                  <a:cubicBezTo>
                    <a:pt x="5800249" y="165259"/>
                    <a:pt x="5801201" y="165259"/>
                    <a:pt x="5802154" y="166211"/>
                  </a:cubicBezTo>
                  <a:cubicBezTo>
                    <a:pt x="5800249" y="170021"/>
                    <a:pt x="5798344" y="172879"/>
                    <a:pt x="5796439" y="176689"/>
                  </a:cubicBezTo>
                  <a:lnTo>
                    <a:pt x="5796439" y="163354"/>
                  </a:lnTo>
                  <a:cubicBezTo>
                    <a:pt x="5797392" y="163354"/>
                    <a:pt x="5798344" y="163354"/>
                    <a:pt x="5799296" y="164306"/>
                  </a:cubicBezTo>
                  <a:close/>
                  <a:moveTo>
                    <a:pt x="5770721" y="386239"/>
                  </a:moveTo>
                  <a:cubicBezTo>
                    <a:pt x="5770721" y="385286"/>
                    <a:pt x="5770721" y="384334"/>
                    <a:pt x="5770721" y="383381"/>
                  </a:cubicBezTo>
                  <a:cubicBezTo>
                    <a:pt x="5770721" y="383381"/>
                    <a:pt x="5770721" y="382429"/>
                    <a:pt x="5770721" y="382429"/>
                  </a:cubicBezTo>
                  <a:cubicBezTo>
                    <a:pt x="5770721" y="384334"/>
                    <a:pt x="5770721" y="385286"/>
                    <a:pt x="5771674" y="387191"/>
                  </a:cubicBezTo>
                  <a:cubicBezTo>
                    <a:pt x="5771674" y="386239"/>
                    <a:pt x="5771674" y="386239"/>
                    <a:pt x="5770721" y="386239"/>
                  </a:cubicBezTo>
                  <a:close/>
                  <a:moveTo>
                    <a:pt x="5782151" y="253841"/>
                  </a:moveTo>
                  <a:cubicBezTo>
                    <a:pt x="5781199" y="254794"/>
                    <a:pt x="5781199" y="256699"/>
                    <a:pt x="5780246" y="258604"/>
                  </a:cubicBezTo>
                  <a:cubicBezTo>
                    <a:pt x="5779294" y="261461"/>
                    <a:pt x="5778342" y="264319"/>
                    <a:pt x="5777389" y="267176"/>
                  </a:cubicBezTo>
                  <a:cubicBezTo>
                    <a:pt x="5776437" y="270034"/>
                    <a:pt x="5775484" y="272891"/>
                    <a:pt x="5773579" y="275749"/>
                  </a:cubicBezTo>
                  <a:cubicBezTo>
                    <a:pt x="5773579" y="274796"/>
                    <a:pt x="5772626" y="274796"/>
                    <a:pt x="5772626" y="273844"/>
                  </a:cubicBezTo>
                  <a:cubicBezTo>
                    <a:pt x="5772626" y="273844"/>
                    <a:pt x="5772626" y="272891"/>
                    <a:pt x="5771674" y="272891"/>
                  </a:cubicBezTo>
                  <a:cubicBezTo>
                    <a:pt x="5777389" y="256699"/>
                    <a:pt x="5781199" y="246221"/>
                    <a:pt x="5783104" y="241459"/>
                  </a:cubicBezTo>
                  <a:cubicBezTo>
                    <a:pt x="5783104" y="245269"/>
                    <a:pt x="5783104" y="250031"/>
                    <a:pt x="5782151" y="253841"/>
                  </a:cubicBezTo>
                  <a:close/>
                  <a:moveTo>
                    <a:pt x="5785962" y="221456"/>
                  </a:moveTo>
                  <a:cubicBezTo>
                    <a:pt x="5785009" y="227171"/>
                    <a:pt x="5785009" y="232886"/>
                    <a:pt x="5784056" y="239554"/>
                  </a:cubicBezTo>
                  <a:cubicBezTo>
                    <a:pt x="5784056" y="239554"/>
                    <a:pt x="5784056" y="240506"/>
                    <a:pt x="5784056" y="240506"/>
                  </a:cubicBezTo>
                  <a:cubicBezTo>
                    <a:pt x="5782151" y="244316"/>
                    <a:pt x="5777389" y="253841"/>
                    <a:pt x="5770721" y="267176"/>
                  </a:cubicBezTo>
                  <a:cubicBezTo>
                    <a:pt x="5770721" y="265271"/>
                    <a:pt x="5769769" y="263366"/>
                    <a:pt x="5769769" y="261461"/>
                  </a:cubicBezTo>
                  <a:cubicBezTo>
                    <a:pt x="5769769" y="260509"/>
                    <a:pt x="5769769" y="259556"/>
                    <a:pt x="5769769" y="258604"/>
                  </a:cubicBezTo>
                  <a:cubicBezTo>
                    <a:pt x="5775484" y="246221"/>
                    <a:pt x="5781199" y="233839"/>
                    <a:pt x="5785962" y="221456"/>
                  </a:cubicBezTo>
                  <a:close/>
                  <a:moveTo>
                    <a:pt x="5754529" y="333851"/>
                  </a:moveTo>
                  <a:cubicBezTo>
                    <a:pt x="5751671" y="338614"/>
                    <a:pt x="5749767" y="343376"/>
                    <a:pt x="5746909" y="348139"/>
                  </a:cubicBezTo>
                  <a:cubicBezTo>
                    <a:pt x="5746909" y="347186"/>
                    <a:pt x="5745956" y="347186"/>
                    <a:pt x="5745956" y="346234"/>
                  </a:cubicBezTo>
                  <a:cubicBezTo>
                    <a:pt x="5748814" y="337661"/>
                    <a:pt x="5751671" y="330041"/>
                    <a:pt x="5754529" y="322421"/>
                  </a:cubicBezTo>
                  <a:cubicBezTo>
                    <a:pt x="5754529" y="325279"/>
                    <a:pt x="5754529" y="329089"/>
                    <a:pt x="5754529" y="333851"/>
                  </a:cubicBezTo>
                  <a:cubicBezTo>
                    <a:pt x="5754529" y="333851"/>
                    <a:pt x="5754529" y="333851"/>
                    <a:pt x="5754529" y="333851"/>
                  </a:cubicBezTo>
                  <a:close/>
                  <a:moveTo>
                    <a:pt x="5762149" y="302419"/>
                  </a:moveTo>
                  <a:cubicBezTo>
                    <a:pt x="5762149" y="303371"/>
                    <a:pt x="5762149" y="303371"/>
                    <a:pt x="5762149" y="302419"/>
                  </a:cubicBezTo>
                  <a:cubicBezTo>
                    <a:pt x="5762149" y="303371"/>
                    <a:pt x="5761196" y="303371"/>
                    <a:pt x="5762149" y="302419"/>
                  </a:cubicBezTo>
                  <a:cubicBezTo>
                    <a:pt x="5761196" y="303371"/>
                    <a:pt x="5761196" y="303371"/>
                    <a:pt x="5762149" y="302419"/>
                  </a:cubicBezTo>
                  <a:close/>
                  <a:moveTo>
                    <a:pt x="5761196" y="304324"/>
                  </a:moveTo>
                  <a:cubicBezTo>
                    <a:pt x="5761196" y="304324"/>
                    <a:pt x="5761196" y="305276"/>
                    <a:pt x="5762149" y="305276"/>
                  </a:cubicBezTo>
                  <a:cubicBezTo>
                    <a:pt x="5762149" y="306229"/>
                    <a:pt x="5762149" y="307181"/>
                    <a:pt x="5762149" y="308134"/>
                  </a:cubicBezTo>
                  <a:cubicBezTo>
                    <a:pt x="5762149" y="309086"/>
                    <a:pt x="5762149" y="309086"/>
                    <a:pt x="5762149" y="310039"/>
                  </a:cubicBezTo>
                  <a:cubicBezTo>
                    <a:pt x="5761196" y="313849"/>
                    <a:pt x="5760244" y="316706"/>
                    <a:pt x="5759292" y="320516"/>
                  </a:cubicBezTo>
                  <a:cubicBezTo>
                    <a:pt x="5758339" y="323374"/>
                    <a:pt x="5758339" y="325279"/>
                    <a:pt x="5757387" y="328136"/>
                  </a:cubicBezTo>
                  <a:cubicBezTo>
                    <a:pt x="5756434" y="324326"/>
                    <a:pt x="5755481" y="321469"/>
                    <a:pt x="5755481" y="320516"/>
                  </a:cubicBezTo>
                  <a:cubicBezTo>
                    <a:pt x="5757387" y="314801"/>
                    <a:pt x="5759292" y="309086"/>
                    <a:pt x="5761196" y="304324"/>
                  </a:cubicBezTo>
                  <a:close/>
                  <a:moveTo>
                    <a:pt x="5760244" y="289084"/>
                  </a:moveTo>
                  <a:cubicBezTo>
                    <a:pt x="5760244" y="290036"/>
                    <a:pt x="5759292" y="290036"/>
                    <a:pt x="5759292" y="290989"/>
                  </a:cubicBezTo>
                  <a:cubicBezTo>
                    <a:pt x="5757387" y="293846"/>
                    <a:pt x="5754529" y="297656"/>
                    <a:pt x="5751671" y="301466"/>
                  </a:cubicBezTo>
                  <a:cubicBezTo>
                    <a:pt x="5750719" y="302419"/>
                    <a:pt x="5749767" y="304324"/>
                    <a:pt x="5748814" y="305276"/>
                  </a:cubicBezTo>
                  <a:cubicBezTo>
                    <a:pt x="5752624" y="296704"/>
                    <a:pt x="5755481" y="288131"/>
                    <a:pt x="5759292" y="280511"/>
                  </a:cubicBezTo>
                  <a:cubicBezTo>
                    <a:pt x="5760244" y="284321"/>
                    <a:pt x="5760244" y="286226"/>
                    <a:pt x="5760244" y="289084"/>
                  </a:cubicBezTo>
                  <a:close/>
                  <a:moveTo>
                    <a:pt x="5756434" y="227171"/>
                  </a:moveTo>
                  <a:cubicBezTo>
                    <a:pt x="5756434" y="231934"/>
                    <a:pt x="5756434" y="237649"/>
                    <a:pt x="5756434" y="243364"/>
                  </a:cubicBezTo>
                  <a:cubicBezTo>
                    <a:pt x="5756434" y="246221"/>
                    <a:pt x="5756434" y="248126"/>
                    <a:pt x="5757387" y="250984"/>
                  </a:cubicBezTo>
                  <a:cubicBezTo>
                    <a:pt x="5756434" y="253841"/>
                    <a:pt x="5754529" y="256699"/>
                    <a:pt x="5753576" y="259556"/>
                  </a:cubicBezTo>
                  <a:cubicBezTo>
                    <a:pt x="5749767" y="268129"/>
                    <a:pt x="5745004" y="276701"/>
                    <a:pt x="5741194" y="285274"/>
                  </a:cubicBezTo>
                  <a:cubicBezTo>
                    <a:pt x="5746909" y="262414"/>
                    <a:pt x="5752624" y="243364"/>
                    <a:pt x="5756434" y="227171"/>
                  </a:cubicBezTo>
                  <a:close/>
                  <a:moveTo>
                    <a:pt x="5676424" y="184309"/>
                  </a:moveTo>
                  <a:cubicBezTo>
                    <a:pt x="5676424" y="188119"/>
                    <a:pt x="5676424" y="192881"/>
                    <a:pt x="5676424" y="198596"/>
                  </a:cubicBezTo>
                  <a:cubicBezTo>
                    <a:pt x="5676424" y="206216"/>
                    <a:pt x="5676424" y="216694"/>
                    <a:pt x="5676424" y="228124"/>
                  </a:cubicBezTo>
                  <a:cubicBezTo>
                    <a:pt x="5676424" y="233839"/>
                    <a:pt x="5676424" y="239554"/>
                    <a:pt x="5676424" y="246221"/>
                  </a:cubicBezTo>
                  <a:cubicBezTo>
                    <a:pt x="5676424" y="252889"/>
                    <a:pt x="5677376" y="259556"/>
                    <a:pt x="5677376" y="266224"/>
                  </a:cubicBezTo>
                  <a:cubicBezTo>
                    <a:pt x="5677376" y="270034"/>
                    <a:pt x="5677376" y="273844"/>
                    <a:pt x="5678329" y="276701"/>
                  </a:cubicBezTo>
                  <a:cubicBezTo>
                    <a:pt x="5678329" y="276701"/>
                    <a:pt x="5678329" y="276701"/>
                    <a:pt x="5678329" y="276701"/>
                  </a:cubicBezTo>
                  <a:cubicBezTo>
                    <a:pt x="5677376" y="270986"/>
                    <a:pt x="5676424" y="265271"/>
                    <a:pt x="5675471" y="259556"/>
                  </a:cubicBezTo>
                  <a:cubicBezTo>
                    <a:pt x="5674519" y="253841"/>
                    <a:pt x="5673567" y="248126"/>
                    <a:pt x="5672614" y="242411"/>
                  </a:cubicBezTo>
                  <a:cubicBezTo>
                    <a:pt x="5671662" y="235744"/>
                    <a:pt x="5670709" y="229076"/>
                    <a:pt x="5669756" y="223361"/>
                  </a:cubicBezTo>
                  <a:cubicBezTo>
                    <a:pt x="5669756" y="221456"/>
                    <a:pt x="5668804" y="218599"/>
                    <a:pt x="5668804" y="216694"/>
                  </a:cubicBezTo>
                  <a:cubicBezTo>
                    <a:pt x="5671662" y="202406"/>
                    <a:pt x="5674519" y="190976"/>
                    <a:pt x="5676424" y="184309"/>
                  </a:cubicBezTo>
                  <a:close/>
                  <a:moveTo>
                    <a:pt x="5652612" y="263366"/>
                  </a:moveTo>
                  <a:cubicBezTo>
                    <a:pt x="5652612" y="262414"/>
                    <a:pt x="5652612" y="262414"/>
                    <a:pt x="5653564" y="261461"/>
                  </a:cubicBezTo>
                  <a:cubicBezTo>
                    <a:pt x="5654517" y="262414"/>
                    <a:pt x="5654517" y="263366"/>
                    <a:pt x="5655469" y="264319"/>
                  </a:cubicBezTo>
                  <a:cubicBezTo>
                    <a:pt x="5655469" y="265271"/>
                    <a:pt x="5655469" y="266224"/>
                    <a:pt x="5655469" y="268129"/>
                  </a:cubicBezTo>
                  <a:cubicBezTo>
                    <a:pt x="5656421" y="273844"/>
                    <a:pt x="5656421" y="279559"/>
                    <a:pt x="5657374" y="286226"/>
                  </a:cubicBezTo>
                  <a:cubicBezTo>
                    <a:pt x="5655469" y="280511"/>
                    <a:pt x="5654517" y="274796"/>
                    <a:pt x="5652612" y="269081"/>
                  </a:cubicBezTo>
                  <a:cubicBezTo>
                    <a:pt x="5652612" y="268129"/>
                    <a:pt x="5652612" y="268129"/>
                    <a:pt x="5651659" y="267176"/>
                  </a:cubicBezTo>
                  <a:cubicBezTo>
                    <a:pt x="5652612" y="265271"/>
                    <a:pt x="5652612" y="264319"/>
                    <a:pt x="5652612" y="263366"/>
                  </a:cubicBezTo>
                  <a:close/>
                  <a:moveTo>
                    <a:pt x="5650706" y="205264"/>
                  </a:moveTo>
                  <a:cubicBezTo>
                    <a:pt x="5650706" y="208121"/>
                    <a:pt x="5650706" y="210979"/>
                    <a:pt x="5651659" y="212884"/>
                  </a:cubicBezTo>
                  <a:cubicBezTo>
                    <a:pt x="5650706" y="210979"/>
                    <a:pt x="5649754" y="209074"/>
                    <a:pt x="5649754" y="207169"/>
                  </a:cubicBezTo>
                  <a:cubicBezTo>
                    <a:pt x="5649754" y="206216"/>
                    <a:pt x="5649754" y="205264"/>
                    <a:pt x="5650706" y="205264"/>
                  </a:cubicBezTo>
                  <a:close/>
                  <a:moveTo>
                    <a:pt x="5647849" y="209074"/>
                  </a:moveTo>
                  <a:cubicBezTo>
                    <a:pt x="5647849" y="211931"/>
                    <a:pt x="5648801" y="215741"/>
                    <a:pt x="5649754" y="219551"/>
                  </a:cubicBezTo>
                  <a:cubicBezTo>
                    <a:pt x="5650706" y="224314"/>
                    <a:pt x="5650706" y="230029"/>
                    <a:pt x="5651659" y="235744"/>
                  </a:cubicBezTo>
                  <a:cubicBezTo>
                    <a:pt x="5651659" y="235744"/>
                    <a:pt x="5651659" y="235744"/>
                    <a:pt x="5651659" y="236696"/>
                  </a:cubicBezTo>
                  <a:cubicBezTo>
                    <a:pt x="5649754" y="233839"/>
                    <a:pt x="5647849" y="230981"/>
                    <a:pt x="5645944" y="228124"/>
                  </a:cubicBezTo>
                  <a:cubicBezTo>
                    <a:pt x="5644992" y="224314"/>
                    <a:pt x="5644992" y="220504"/>
                    <a:pt x="5644039" y="216694"/>
                  </a:cubicBezTo>
                  <a:cubicBezTo>
                    <a:pt x="5644992" y="213836"/>
                    <a:pt x="5646896" y="211931"/>
                    <a:pt x="5647849" y="209074"/>
                  </a:cubicBezTo>
                  <a:close/>
                  <a:moveTo>
                    <a:pt x="5642134" y="370046"/>
                  </a:moveTo>
                  <a:cubicBezTo>
                    <a:pt x="5642134" y="372904"/>
                    <a:pt x="5643087" y="374809"/>
                    <a:pt x="5643087" y="377666"/>
                  </a:cubicBezTo>
                  <a:cubicBezTo>
                    <a:pt x="5642134" y="379571"/>
                    <a:pt x="5642134" y="382429"/>
                    <a:pt x="5641181" y="385286"/>
                  </a:cubicBezTo>
                  <a:cubicBezTo>
                    <a:pt x="5641181" y="379571"/>
                    <a:pt x="5641181" y="374809"/>
                    <a:pt x="5642134" y="370046"/>
                  </a:cubicBezTo>
                  <a:close/>
                  <a:moveTo>
                    <a:pt x="5624037" y="272891"/>
                  </a:moveTo>
                  <a:cubicBezTo>
                    <a:pt x="5624989" y="268129"/>
                    <a:pt x="5624989" y="263366"/>
                    <a:pt x="5625942" y="258604"/>
                  </a:cubicBezTo>
                  <a:cubicBezTo>
                    <a:pt x="5625942" y="256699"/>
                    <a:pt x="5625942" y="255746"/>
                    <a:pt x="5625942" y="254794"/>
                  </a:cubicBezTo>
                  <a:cubicBezTo>
                    <a:pt x="5627846" y="250031"/>
                    <a:pt x="5629751" y="245269"/>
                    <a:pt x="5632609" y="241459"/>
                  </a:cubicBezTo>
                  <a:cubicBezTo>
                    <a:pt x="5633562" y="239554"/>
                    <a:pt x="5634514" y="238601"/>
                    <a:pt x="5634514" y="236696"/>
                  </a:cubicBezTo>
                  <a:cubicBezTo>
                    <a:pt x="5635467" y="239554"/>
                    <a:pt x="5636419" y="242411"/>
                    <a:pt x="5637371" y="245269"/>
                  </a:cubicBezTo>
                  <a:cubicBezTo>
                    <a:pt x="5638324" y="249079"/>
                    <a:pt x="5639276" y="253841"/>
                    <a:pt x="5640229" y="259556"/>
                  </a:cubicBezTo>
                  <a:cubicBezTo>
                    <a:pt x="5640229" y="261461"/>
                    <a:pt x="5640229" y="264319"/>
                    <a:pt x="5640229" y="266224"/>
                  </a:cubicBezTo>
                  <a:cubicBezTo>
                    <a:pt x="5637371" y="272891"/>
                    <a:pt x="5634514" y="280511"/>
                    <a:pt x="5631656" y="288131"/>
                  </a:cubicBezTo>
                  <a:cubicBezTo>
                    <a:pt x="5628799" y="284321"/>
                    <a:pt x="5626894" y="280511"/>
                    <a:pt x="5624037" y="277654"/>
                  </a:cubicBezTo>
                  <a:cubicBezTo>
                    <a:pt x="5623084" y="275749"/>
                    <a:pt x="5624037" y="273844"/>
                    <a:pt x="5624037" y="272891"/>
                  </a:cubicBezTo>
                  <a:close/>
                  <a:moveTo>
                    <a:pt x="5623084" y="289084"/>
                  </a:moveTo>
                  <a:cubicBezTo>
                    <a:pt x="5623084" y="288131"/>
                    <a:pt x="5623084" y="288131"/>
                    <a:pt x="5623084" y="287179"/>
                  </a:cubicBezTo>
                  <a:cubicBezTo>
                    <a:pt x="5624037" y="288131"/>
                    <a:pt x="5624037" y="290036"/>
                    <a:pt x="5624989" y="290989"/>
                  </a:cubicBezTo>
                  <a:cubicBezTo>
                    <a:pt x="5625942" y="292894"/>
                    <a:pt x="5626894" y="295751"/>
                    <a:pt x="5626894" y="298609"/>
                  </a:cubicBezTo>
                  <a:cubicBezTo>
                    <a:pt x="5626894" y="299561"/>
                    <a:pt x="5626894" y="299561"/>
                    <a:pt x="5625942" y="300514"/>
                  </a:cubicBezTo>
                  <a:cubicBezTo>
                    <a:pt x="5625942" y="300514"/>
                    <a:pt x="5625942" y="300514"/>
                    <a:pt x="5625942" y="300514"/>
                  </a:cubicBezTo>
                  <a:cubicBezTo>
                    <a:pt x="5624989" y="298609"/>
                    <a:pt x="5624037" y="297656"/>
                    <a:pt x="5622131" y="295751"/>
                  </a:cubicBezTo>
                  <a:cubicBezTo>
                    <a:pt x="5622131" y="293846"/>
                    <a:pt x="5622131" y="290989"/>
                    <a:pt x="5623084" y="289084"/>
                  </a:cubicBezTo>
                  <a:close/>
                  <a:moveTo>
                    <a:pt x="5621179" y="310991"/>
                  </a:moveTo>
                  <a:cubicBezTo>
                    <a:pt x="5621179" y="310991"/>
                    <a:pt x="5621179" y="310991"/>
                    <a:pt x="5621179" y="310991"/>
                  </a:cubicBezTo>
                  <a:cubicBezTo>
                    <a:pt x="5621179" y="310991"/>
                    <a:pt x="5621179" y="310991"/>
                    <a:pt x="5621179" y="310991"/>
                  </a:cubicBezTo>
                  <a:cubicBezTo>
                    <a:pt x="5621179" y="310991"/>
                    <a:pt x="5621179" y="310991"/>
                    <a:pt x="5621179" y="310991"/>
                  </a:cubicBezTo>
                  <a:close/>
                  <a:moveTo>
                    <a:pt x="5618321" y="270034"/>
                  </a:moveTo>
                  <a:cubicBezTo>
                    <a:pt x="5618321" y="270034"/>
                    <a:pt x="5618321" y="270986"/>
                    <a:pt x="5618321" y="270034"/>
                  </a:cubicBezTo>
                  <a:cubicBezTo>
                    <a:pt x="5618321" y="270986"/>
                    <a:pt x="5618321" y="270986"/>
                    <a:pt x="5618321" y="270034"/>
                  </a:cubicBezTo>
                  <a:cubicBezTo>
                    <a:pt x="5618321" y="270986"/>
                    <a:pt x="5618321" y="270034"/>
                    <a:pt x="5618321" y="270034"/>
                  </a:cubicBezTo>
                  <a:close/>
                  <a:moveTo>
                    <a:pt x="5617369" y="272891"/>
                  </a:moveTo>
                  <a:cubicBezTo>
                    <a:pt x="5617369" y="272891"/>
                    <a:pt x="5617369" y="273844"/>
                    <a:pt x="5618321" y="273844"/>
                  </a:cubicBezTo>
                  <a:cubicBezTo>
                    <a:pt x="5617369" y="277654"/>
                    <a:pt x="5617369" y="282416"/>
                    <a:pt x="5616417" y="286226"/>
                  </a:cubicBezTo>
                  <a:cubicBezTo>
                    <a:pt x="5615464" y="285274"/>
                    <a:pt x="5614512" y="283369"/>
                    <a:pt x="5613559" y="282416"/>
                  </a:cubicBezTo>
                  <a:cubicBezTo>
                    <a:pt x="5614512" y="279559"/>
                    <a:pt x="5615464" y="276701"/>
                    <a:pt x="5617369" y="272891"/>
                  </a:cubicBezTo>
                  <a:close/>
                  <a:moveTo>
                    <a:pt x="5608796" y="290989"/>
                  </a:moveTo>
                  <a:cubicBezTo>
                    <a:pt x="5608796" y="290989"/>
                    <a:pt x="5609749" y="290989"/>
                    <a:pt x="5608796" y="290989"/>
                  </a:cubicBezTo>
                  <a:cubicBezTo>
                    <a:pt x="5609749" y="291941"/>
                    <a:pt x="5610701" y="293846"/>
                    <a:pt x="5611654" y="294799"/>
                  </a:cubicBezTo>
                  <a:cubicBezTo>
                    <a:pt x="5612606" y="295751"/>
                    <a:pt x="5612606" y="296704"/>
                    <a:pt x="5613559" y="297656"/>
                  </a:cubicBezTo>
                  <a:cubicBezTo>
                    <a:pt x="5612606" y="302419"/>
                    <a:pt x="5612606" y="306229"/>
                    <a:pt x="5611654" y="310991"/>
                  </a:cubicBezTo>
                  <a:cubicBezTo>
                    <a:pt x="5610701" y="305276"/>
                    <a:pt x="5609749" y="298609"/>
                    <a:pt x="5608796" y="292894"/>
                  </a:cubicBezTo>
                  <a:cubicBezTo>
                    <a:pt x="5608796" y="291941"/>
                    <a:pt x="5608796" y="291941"/>
                    <a:pt x="5608796" y="290989"/>
                  </a:cubicBezTo>
                  <a:close/>
                  <a:moveTo>
                    <a:pt x="5594509" y="241459"/>
                  </a:moveTo>
                  <a:cubicBezTo>
                    <a:pt x="5594509" y="247174"/>
                    <a:pt x="5594509" y="252889"/>
                    <a:pt x="5595462" y="258604"/>
                  </a:cubicBezTo>
                  <a:cubicBezTo>
                    <a:pt x="5595462" y="258604"/>
                    <a:pt x="5595462" y="259556"/>
                    <a:pt x="5595462" y="259556"/>
                  </a:cubicBezTo>
                  <a:cubicBezTo>
                    <a:pt x="5595462" y="260509"/>
                    <a:pt x="5595462" y="260509"/>
                    <a:pt x="5595462" y="261461"/>
                  </a:cubicBezTo>
                  <a:cubicBezTo>
                    <a:pt x="5594509" y="260509"/>
                    <a:pt x="5594509" y="260509"/>
                    <a:pt x="5593556" y="259556"/>
                  </a:cubicBezTo>
                  <a:cubicBezTo>
                    <a:pt x="5593556" y="256699"/>
                    <a:pt x="5592604" y="252889"/>
                    <a:pt x="5592604" y="250031"/>
                  </a:cubicBezTo>
                  <a:cubicBezTo>
                    <a:pt x="5591651" y="246221"/>
                    <a:pt x="5593556" y="244316"/>
                    <a:pt x="5594509" y="241459"/>
                  </a:cubicBezTo>
                  <a:close/>
                  <a:moveTo>
                    <a:pt x="5578317" y="284321"/>
                  </a:moveTo>
                  <a:cubicBezTo>
                    <a:pt x="5578317" y="285274"/>
                    <a:pt x="5578317" y="285274"/>
                    <a:pt x="5578317" y="286226"/>
                  </a:cubicBezTo>
                  <a:cubicBezTo>
                    <a:pt x="5578317" y="286226"/>
                    <a:pt x="5578317" y="285274"/>
                    <a:pt x="5577364" y="285274"/>
                  </a:cubicBezTo>
                  <a:cubicBezTo>
                    <a:pt x="5578317" y="284321"/>
                    <a:pt x="5578317" y="284321"/>
                    <a:pt x="5578317" y="284321"/>
                  </a:cubicBezTo>
                  <a:close/>
                  <a:moveTo>
                    <a:pt x="5573554" y="299561"/>
                  </a:moveTo>
                  <a:cubicBezTo>
                    <a:pt x="5574506" y="301466"/>
                    <a:pt x="5575459" y="303371"/>
                    <a:pt x="5576412" y="305276"/>
                  </a:cubicBezTo>
                  <a:cubicBezTo>
                    <a:pt x="5576412" y="306229"/>
                    <a:pt x="5577364" y="306229"/>
                    <a:pt x="5577364" y="307181"/>
                  </a:cubicBezTo>
                  <a:cubicBezTo>
                    <a:pt x="5577364" y="311944"/>
                    <a:pt x="5576412" y="317659"/>
                    <a:pt x="5576412" y="325279"/>
                  </a:cubicBezTo>
                  <a:cubicBezTo>
                    <a:pt x="5576412" y="326231"/>
                    <a:pt x="5576412" y="327184"/>
                    <a:pt x="5576412" y="328136"/>
                  </a:cubicBezTo>
                  <a:cubicBezTo>
                    <a:pt x="5576412" y="325279"/>
                    <a:pt x="5575459" y="322421"/>
                    <a:pt x="5575459" y="319564"/>
                  </a:cubicBezTo>
                  <a:cubicBezTo>
                    <a:pt x="5574506" y="313849"/>
                    <a:pt x="5573554" y="309086"/>
                    <a:pt x="5573554" y="303371"/>
                  </a:cubicBezTo>
                  <a:cubicBezTo>
                    <a:pt x="5572601" y="301466"/>
                    <a:pt x="5573554" y="300514"/>
                    <a:pt x="5573554" y="299561"/>
                  </a:cubicBezTo>
                  <a:close/>
                  <a:moveTo>
                    <a:pt x="5550694" y="308134"/>
                  </a:moveTo>
                  <a:cubicBezTo>
                    <a:pt x="5550694" y="305276"/>
                    <a:pt x="5549742" y="303371"/>
                    <a:pt x="5549742" y="301466"/>
                  </a:cubicBezTo>
                  <a:cubicBezTo>
                    <a:pt x="5550694" y="299561"/>
                    <a:pt x="5550694" y="296704"/>
                    <a:pt x="5551646" y="294799"/>
                  </a:cubicBezTo>
                  <a:cubicBezTo>
                    <a:pt x="5551646" y="293846"/>
                    <a:pt x="5552599" y="292894"/>
                    <a:pt x="5552599" y="291941"/>
                  </a:cubicBezTo>
                  <a:cubicBezTo>
                    <a:pt x="5553551" y="294799"/>
                    <a:pt x="5553551" y="298609"/>
                    <a:pt x="5554504" y="302419"/>
                  </a:cubicBezTo>
                  <a:cubicBezTo>
                    <a:pt x="5553551" y="303371"/>
                    <a:pt x="5553551" y="304324"/>
                    <a:pt x="5552599" y="306229"/>
                  </a:cubicBezTo>
                  <a:cubicBezTo>
                    <a:pt x="5551646" y="306229"/>
                    <a:pt x="5551646" y="307181"/>
                    <a:pt x="5550694" y="308134"/>
                  </a:cubicBezTo>
                  <a:close/>
                  <a:moveTo>
                    <a:pt x="5557362" y="313849"/>
                  </a:moveTo>
                  <a:cubicBezTo>
                    <a:pt x="5557362" y="313849"/>
                    <a:pt x="5557362" y="314801"/>
                    <a:pt x="5557362" y="313849"/>
                  </a:cubicBezTo>
                  <a:cubicBezTo>
                    <a:pt x="5556409" y="315754"/>
                    <a:pt x="5554504" y="317659"/>
                    <a:pt x="5553551" y="318611"/>
                  </a:cubicBezTo>
                  <a:cubicBezTo>
                    <a:pt x="5554504" y="315754"/>
                    <a:pt x="5555456" y="312896"/>
                    <a:pt x="5556409" y="310039"/>
                  </a:cubicBezTo>
                  <a:cubicBezTo>
                    <a:pt x="5556409" y="311944"/>
                    <a:pt x="5557362" y="312896"/>
                    <a:pt x="5557362" y="313849"/>
                  </a:cubicBezTo>
                  <a:cubicBezTo>
                    <a:pt x="5557362" y="313849"/>
                    <a:pt x="5557362" y="313849"/>
                    <a:pt x="5557362" y="313849"/>
                  </a:cubicBezTo>
                  <a:close/>
                  <a:moveTo>
                    <a:pt x="5561171" y="359569"/>
                  </a:moveTo>
                  <a:cubicBezTo>
                    <a:pt x="5561171" y="360521"/>
                    <a:pt x="5561171" y="360521"/>
                    <a:pt x="5561171" y="361474"/>
                  </a:cubicBezTo>
                  <a:cubicBezTo>
                    <a:pt x="5561171" y="361474"/>
                    <a:pt x="5560219" y="360521"/>
                    <a:pt x="5560219" y="360521"/>
                  </a:cubicBezTo>
                  <a:cubicBezTo>
                    <a:pt x="5559267" y="357664"/>
                    <a:pt x="5559267" y="353854"/>
                    <a:pt x="5558314" y="350996"/>
                  </a:cubicBezTo>
                  <a:cubicBezTo>
                    <a:pt x="5559267" y="348139"/>
                    <a:pt x="5560219" y="345281"/>
                    <a:pt x="5560219" y="342424"/>
                  </a:cubicBezTo>
                  <a:cubicBezTo>
                    <a:pt x="5561171" y="348139"/>
                    <a:pt x="5561171" y="353854"/>
                    <a:pt x="5561171" y="359569"/>
                  </a:cubicBezTo>
                  <a:close/>
                  <a:moveTo>
                    <a:pt x="5559267" y="303371"/>
                  </a:moveTo>
                  <a:cubicBezTo>
                    <a:pt x="5559267" y="303371"/>
                    <a:pt x="5559267" y="304324"/>
                    <a:pt x="5559267" y="303371"/>
                  </a:cubicBezTo>
                  <a:cubicBezTo>
                    <a:pt x="5559267" y="304324"/>
                    <a:pt x="5559267" y="304324"/>
                    <a:pt x="5559267" y="303371"/>
                  </a:cubicBezTo>
                  <a:cubicBezTo>
                    <a:pt x="5559267" y="303371"/>
                    <a:pt x="5559267" y="303371"/>
                    <a:pt x="5559267" y="303371"/>
                  </a:cubicBezTo>
                  <a:close/>
                  <a:moveTo>
                    <a:pt x="5557362" y="277654"/>
                  </a:moveTo>
                  <a:cubicBezTo>
                    <a:pt x="5557362" y="279559"/>
                    <a:pt x="5557362" y="281464"/>
                    <a:pt x="5558314" y="283369"/>
                  </a:cubicBezTo>
                  <a:cubicBezTo>
                    <a:pt x="5558314" y="287179"/>
                    <a:pt x="5559267" y="290989"/>
                    <a:pt x="5559267" y="293846"/>
                  </a:cubicBezTo>
                  <a:cubicBezTo>
                    <a:pt x="5558314" y="294799"/>
                    <a:pt x="5558314" y="295751"/>
                    <a:pt x="5557362" y="296704"/>
                  </a:cubicBezTo>
                  <a:cubicBezTo>
                    <a:pt x="5556409" y="292894"/>
                    <a:pt x="5555456" y="290036"/>
                    <a:pt x="5554504" y="287179"/>
                  </a:cubicBezTo>
                  <a:cubicBezTo>
                    <a:pt x="5554504" y="284321"/>
                    <a:pt x="5556409" y="281464"/>
                    <a:pt x="5557362" y="277654"/>
                  </a:cubicBezTo>
                  <a:close/>
                  <a:moveTo>
                    <a:pt x="5553551" y="252889"/>
                  </a:moveTo>
                  <a:cubicBezTo>
                    <a:pt x="5553551" y="252889"/>
                    <a:pt x="5553551" y="252889"/>
                    <a:pt x="5553551" y="252889"/>
                  </a:cubicBezTo>
                  <a:cubicBezTo>
                    <a:pt x="5553551" y="253841"/>
                    <a:pt x="5553551" y="253841"/>
                    <a:pt x="5553551" y="253841"/>
                  </a:cubicBezTo>
                  <a:cubicBezTo>
                    <a:pt x="5554504" y="258604"/>
                    <a:pt x="5554504" y="263366"/>
                    <a:pt x="5555456" y="268129"/>
                  </a:cubicBezTo>
                  <a:cubicBezTo>
                    <a:pt x="5555456" y="269081"/>
                    <a:pt x="5555456" y="270034"/>
                    <a:pt x="5555456" y="270986"/>
                  </a:cubicBezTo>
                  <a:cubicBezTo>
                    <a:pt x="5554504" y="272891"/>
                    <a:pt x="5553551" y="273844"/>
                    <a:pt x="5552599" y="275749"/>
                  </a:cubicBezTo>
                  <a:cubicBezTo>
                    <a:pt x="5551646" y="276701"/>
                    <a:pt x="5550694" y="278606"/>
                    <a:pt x="5549742" y="280511"/>
                  </a:cubicBezTo>
                  <a:cubicBezTo>
                    <a:pt x="5549742" y="280511"/>
                    <a:pt x="5549742" y="280511"/>
                    <a:pt x="5549742" y="280511"/>
                  </a:cubicBezTo>
                  <a:cubicBezTo>
                    <a:pt x="5549742" y="280511"/>
                    <a:pt x="5549742" y="280511"/>
                    <a:pt x="5549742" y="280511"/>
                  </a:cubicBezTo>
                  <a:cubicBezTo>
                    <a:pt x="5548789" y="282416"/>
                    <a:pt x="5547837" y="284321"/>
                    <a:pt x="5545931" y="286226"/>
                  </a:cubicBezTo>
                  <a:cubicBezTo>
                    <a:pt x="5545931" y="284321"/>
                    <a:pt x="5544979" y="282416"/>
                    <a:pt x="5544979" y="281464"/>
                  </a:cubicBezTo>
                  <a:cubicBezTo>
                    <a:pt x="5545931" y="279559"/>
                    <a:pt x="5545931" y="277654"/>
                    <a:pt x="5546884" y="275749"/>
                  </a:cubicBezTo>
                  <a:cubicBezTo>
                    <a:pt x="5547837" y="270986"/>
                    <a:pt x="5548789" y="266224"/>
                    <a:pt x="5549742" y="261461"/>
                  </a:cubicBezTo>
                  <a:cubicBezTo>
                    <a:pt x="5552599" y="258604"/>
                    <a:pt x="5553551" y="255746"/>
                    <a:pt x="5553551" y="252889"/>
                  </a:cubicBezTo>
                  <a:close/>
                  <a:moveTo>
                    <a:pt x="5548789" y="226219"/>
                  </a:moveTo>
                  <a:cubicBezTo>
                    <a:pt x="5548789" y="227171"/>
                    <a:pt x="5549742" y="229076"/>
                    <a:pt x="5549742" y="230029"/>
                  </a:cubicBezTo>
                  <a:cubicBezTo>
                    <a:pt x="5549742" y="231934"/>
                    <a:pt x="5550694" y="232886"/>
                    <a:pt x="5550694" y="234791"/>
                  </a:cubicBezTo>
                  <a:cubicBezTo>
                    <a:pt x="5549742" y="232886"/>
                    <a:pt x="5548789" y="230981"/>
                    <a:pt x="5547837" y="230029"/>
                  </a:cubicBezTo>
                  <a:cubicBezTo>
                    <a:pt x="5548789" y="229076"/>
                    <a:pt x="5548789" y="227171"/>
                    <a:pt x="5548789" y="226219"/>
                  </a:cubicBezTo>
                  <a:close/>
                  <a:moveTo>
                    <a:pt x="5546884" y="235744"/>
                  </a:moveTo>
                  <a:cubicBezTo>
                    <a:pt x="5547837" y="238601"/>
                    <a:pt x="5548789" y="241459"/>
                    <a:pt x="5550694" y="244316"/>
                  </a:cubicBezTo>
                  <a:cubicBezTo>
                    <a:pt x="5548789" y="249079"/>
                    <a:pt x="5546884" y="253841"/>
                    <a:pt x="5544979" y="259556"/>
                  </a:cubicBezTo>
                  <a:cubicBezTo>
                    <a:pt x="5544979" y="260509"/>
                    <a:pt x="5544026" y="261461"/>
                    <a:pt x="5544026" y="262414"/>
                  </a:cubicBezTo>
                  <a:cubicBezTo>
                    <a:pt x="5544026" y="260509"/>
                    <a:pt x="5543074" y="258604"/>
                    <a:pt x="5543074" y="257651"/>
                  </a:cubicBezTo>
                  <a:cubicBezTo>
                    <a:pt x="5543074" y="256699"/>
                    <a:pt x="5543074" y="255746"/>
                    <a:pt x="5542121" y="254794"/>
                  </a:cubicBezTo>
                  <a:cubicBezTo>
                    <a:pt x="5544026" y="248126"/>
                    <a:pt x="5545931" y="241459"/>
                    <a:pt x="5546884" y="235744"/>
                  </a:cubicBezTo>
                  <a:close/>
                  <a:moveTo>
                    <a:pt x="5540217" y="218599"/>
                  </a:moveTo>
                  <a:cubicBezTo>
                    <a:pt x="5540217" y="219551"/>
                    <a:pt x="5540217" y="219551"/>
                    <a:pt x="5539264" y="220504"/>
                  </a:cubicBezTo>
                  <a:cubicBezTo>
                    <a:pt x="5539264" y="221456"/>
                    <a:pt x="5538312" y="222409"/>
                    <a:pt x="5538312" y="223361"/>
                  </a:cubicBezTo>
                  <a:cubicBezTo>
                    <a:pt x="5537359" y="218599"/>
                    <a:pt x="5537359" y="214789"/>
                    <a:pt x="5536406" y="210026"/>
                  </a:cubicBezTo>
                  <a:cubicBezTo>
                    <a:pt x="5537359" y="211931"/>
                    <a:pt x="5538312" y="214789"/>
                    <a:pt x="5540217" y="218599"/>
                  </a:cubicBezTo>
                  <a:close/>
                  <a:moveTo>
                    <a:pt x="5507831" y="312896"/>
                  </a:moveTo>
                  <a:cubicBezTo>
                    <a:pt x="5507831" y="313849"/>
                    <a:pt x="5507831" y="313849"/>
                    <a:pt x="5507831" y="312896"/>
                  </a:cubicBezTo>
                  <a:cubicBezTo>
                    <a:pt x="5507831" y="313849"/>
                    <a:pt x="5507831" y="313849"/>
                    <a:pt x="5507831" y="313849"/>
                  </a:cubicBezTo>
                  <a:cubicBezTo>
                    <a:pt x="5507831" y="313849"/>
                    <a:pt x="5507831" y="313849"/>
                    <a:pt x="5507831" y="312896"/>
                  </a:cubicBezTo>
                  <a:close/>
                  <a:moveTo>
                    <a:pt x="5481162" y="326231"/>
                  </a:moveTo>
                  <a:cubicBezTo>
                    <a:pt x="5481162" y="327184"/>
                    <a:pt x="5480209" y="329089"/>
                    <a:pt x="5480209" y="330994"/>
                  </a:cubicBezTo>
                  <a:cubicBezTo>
                    <a:pt x="5480209" y="329089"/>
                    <a:pt x="5480209" y="326231"/>
                    <a:pt x="5479256" y="324326"/>
                  </a:cubicBezTo>
                  <a:cubicBezTo>
                    <a:pt x="5479256" y="323374"/>
                    <a:pt x="5479256" y="323374"/>
                    <a:pt x="5479256" y="322421"/>
                  </a:cubicBezTo>
                  <a:cubicBezTo>
                    <a:pt x="5479256" y="318611"/>
                    <a:pt x="5478304" y="315754"/>
                    <a:pt x="5478304" y="311944"/>
                  </a:cubicBezTo>
                  <a:cubicBezTo>
                    <a:pt x="5479256" y="315754"/>
                    <a:pt x="5480209" y="320516"/>
                    <a:pt x="5482114" y="325279"/>
                  </a:cubicBezTo>
                  <a:cubicBezTo>
                    <a:pt x="5481162" y="325279"/>
                    <a:pt x="5481162" y="325279"/>
                    <a:pt x="5481162" y="326231"/>
                  </a:cubicBezTo>
                  <a:close/>
                  <a:moveTo>
                    <a:pt x="5493544" y="339566"/>
                  </a:moveTo>
                  <a:cubicBezTo>
                    <a:pt x="5493544" y="339566"/>
                    <a:pt x="5493544" y="339566"/>
                    <a:pt x="5493544" y="339566"/>
                  </a:cubicBezTo>
                  <a:cubicBezTo>
                    <a:pt x="5493544" y="339566"/>
                    <a:pt x="5493544" y="339566"/>
                    <a:pt x="5493544" y="339566"/>
                  </a:cubicBezTo>
                  <a:cubicBezTo>
                    <a:pt x="5493544" y="339566"/>
                    <a:pt x="5493544" y="339566"/>
                    <a:pt x="5493544" y="339566"/>
                  </a:cubicBezTo>
                  <a:close/>
                  <a:moveTo>
                    <a:pt x="5488781" y="261461"/>
                  </a:moveTo>
                  <a:cubicBezTo>
                    <a:pt x="5488781" y="261461"/>
                    <a:pt x="5488781" y="261461"/>
                    <a:pt x="5488781" y="261461"/>
                  </a:cubicBezTo>
                  <a:cubicBezTo>
                    <a:pt x="5489734" y="263366"/>
                    <a:pt x="5489734" y="265271"/>
                    <a:pt x="5490687" y="267176"/>
                  </a:cubicBezTo>
                  <a:cubicBezTo>
                    <a:pt x="5489734" y="266224"/>
                    <a:pt x="5488781" y="265271"/>
                    <a:pt x="5487829" y="264319"/>
                  </a:cubicBezTo>
                  <a:cubicBezTo>
                    <a:pt x="5487829" y="263366"/>
                    <a:pt x="5487829" y="262414"/>
                    <a:pt x="5488781" y="261461"/>
                  </a:cubicBezTo>
                  <a:close/>
                  <a:moveTo>
                    <a:pt x="5483067" y="280511"/>
                  </a:moveTo>
                  <a:cubicBezTo>
                    <a:pt x="5484019" y="277654"/>
                    <a:pt x="5484971" y="275749"/>
                    <a:pt x="5484971" y="272891"/>
                  </a:cubicBezTo>
                  <a:cubicBezTo>
                    <a:pt x="5488781" y="278606"/>
                    <a:pt x="5492592" y="285274"/>
                    <a:pt x="5496401" y="291941"/>
                  </a:cubicBezTo>
                  <a:cubicBezTo>
                    <a:pt x="5497354" y="293846"/>
                    <a:pt x="5498306" y="295751"/>
                    <a:pt x="5500212" y="297656"/>
                  </a:cubicBezTo>
                  <a:cubicBezTo>
                    <a:pt x="5499259" y="300514"/>
                    <a:pt x="5498306" y="303371"/>
                    <a:pt x="5497354" y="307181"/>
                  </a:cubicBezTo>
                  <a:cubicBezTo>
                    <a:pt x="5497354" y="308134"/>
                    <a:pt x="5497354" y="310039"/>
                    <a:pt x="5496401" y="310991"/>
                  </a:cubicBezTo>
                  <a:cubicBezTo>
                    <a:pt x="5494496" y="309086"/>
                    <a:pt x="5493544" y="307181"/>
                    <a:pt x="5493544" y="307181"/>
                  </a:cubicBezTo>
                  <a:cubicBezTo>
                    <a:pt x="5493544" y="307181"/>
                    <a:pt x="5494496" y="309086"/>
                    <a:pt x="5495449" y="311944"/>
                  </a:cubicBezTo>
                  <a:cubicBezTo>
                    <a:pt x="5495449" y="314801"/>
                    <a:pt x="5494496" y="316706"/>
                    <a:pt x="5494496" y="319564"/>
                  </a:cubicBezTo>
                  <a:cubicBezTo>
                    <a:pt x="5493544" y="323374"/>
                    <a:pt x="5493544" y="326231"/>
                    <a:pt x="5492592" y="330041"/>
                  </a:cubicBezTo>
                  <a:cubicBezTo>
                    <a:pt x="5491639" y="330994"/>
                    <a:pt x="5490687" y="331946"/>
                    <a:pt x="5488781" y="333851"/>
                  </a:cubicBezTo>
                  <a:cubicBezTo>
                    <a:pt x="5487829" y="330994"/>
                    <a:pt x="5486876" y="329089"/>
                    <a:pt x="5485924" y="327184"/>
                  </a:cubicBezTo>
                  <a:cubicBezTo>
                    <a:pt x="5485924" y="321469"/>
                    <a:pt x="5486876" y="316706"/>
                    <a:pt x="5487829" y="312896"/>
                  </a:cubicBezTo>
                  <a:cubicBezTo>
                    <a:pt x="5488781" y="304324"/>
                    <a:pt x="5489734" y="299561"/>
                    <a:pt x="5489734" y="299561"/>
                  </a:cubicBezTo>
                  <a:cubicBezTo>
                    <a:pt x="5489734" y="299561"/>
                    <a:pt x="5487829" y="304324"/>
                    <a:pt x="5484019" y="311944"/>
                  </a:cubicBezTo>
                  <a:cubicBezTo>
                    <a:pt x="5484019" y="312896"/>
                    <a:pt x="5484019" y="312896"/>
                    <a:pt x="5483067" y="313849"/>
                  </a:cubicBezTo>
                  <a:cubicBezTo>
                    <a:pt x="5483067" y="313849"/>
                    <a:pt x="5483067" y="312896"/>
                    <a:pt x="5483067" y="312896"/>
                  </a:cubicBezTo>
                  <a:cubicBezTo>
                    <a:pt x="5480209" y="300514"/>
                    <a:pt x="5478304" y="292894"/>
                    <a:pt x="5478304" y="292894"/>
                  </a:cubicBezTo>
                  <a:cubicBezTo>
                    <a:pt x="5478304" y="292894"/>
                    <a:pt x="5478304" y="298609"/>
                    <a:pt x="5479256" y="309086"/>
                  </a:cubicBezTo>
                  <a:cubicBezTo>
                    <a:pt x="5479256" y="309086"/>
                    <a:pt x="5479256" y="308134"/>
                    <a:pt x="5479256" y="308134"/>
                  </a:cubicBezTo>
                  <a:cubicBezTo>
                    <a:pt x="5478304" y="305276"/>
                    <a:pt x="5477351" y="303371"/>
                    <a:pt x="5476399" y="300514"/>
                  </a:cubicBezTo>
                  <a:cubicBezTo>
                    <a:pt x="5479256" y="293846"/>
                    <a:pt x="5481162" y="287179"/>
                    <a:pt x="5483067" y="280511"/>
                  </a:cubicBezTo>
                  <a:close/>
                  <a:moveTo>
                    <a:pt x="5472589" y="254794"/>
                  </a:moveTo>
                  <a:cubicBezTo>
                    <a:pt x="5473542" y="255746"/>
                    <a:pt x="5474494" y="256699"/>
                    <a:pt x="5475446" y="258604"/>
                  </a:cubicBezTo>
                  <a:cubicBezTo>
                    <a:pt x="5474494" y="261461"/>
                    <a:pt x="5472589" y="265271"/>
                    <a:pt x="5471637" y="268129"/>
                  </a:cubicBezTo>
                  <a:cubicBezTo>
                    <a:pt x="5470684" y="261461"/>
                    <a:pt x="5469731" y="255746"/>
                    <a:pt x="5468779" y="249079"/>
                  </a:cubicBezTo>
                  <a:cubicBezTo>
                    <a:pt x="5469731" y="250984"/>
                    <a:pt x="5471637" y="252889"/>
                    <a:pt x="5472589" y="254794"/>
                  </a:cubicBezTo>
                  <a:close/>
                  <a:moveTo>
                    <a:pt x="5452587" y="208121"/>
                  </a:moveTo>
                  <a:cubicBezTo>
                    <a:pt x="5452587" y="209074"/>
                    <a:pt x="5452587" y="210026"/>
                    <a:pt x="5452587" y="210026"/>
                  </a:cubicBezTo>
                  <a:cubicBezTo>
                    <a:pt x="5453539" y="214789"/>
                    <a:pt x="5454492" y="220504"/>
                    <a:pt x="5454492" y="225266"/>
                  </a:cubicBezTo>
                  <a:cubicBezTo>
                    <a:pt x="5454492" y="226219"/>
                    <a:pt x="5454492" y="227171"/>
                    <a:pt x="5454492" y="228124"/>
                  </a:cubicBezTo>
                  <a:cubicBezTo>
                    <a:pt x="5453539" y="227171"/>
                    <a:pt x="5451634" y="226219"/>
                    <a:pt x="5450681" y="225266"/>
                  </a:cubicBezTo>
                  <a:cubicBezTo>
                    <a:pt x="5451634" y="219551"/>
                    <a:pt x="5452587" y="212884"/>
                    <a:pt x="5452587" y="208121"/>
                  </a:cubicBezTo>
                  <a:close/>
                  <a:moveTo>
                    <a:pt x="5449729" y="250031"/>
                  </a:moveTo>
                  <a:cubicBezTo>
                    <a:pt x="5450681" y="242411"/>
                    <a:pt x="5450681" y="234791"/>
                    <a:pt x="5451634" y="228124"/>
                  </a:cubicBezTo>
                  <a:cubicBezTo>
                    <a:pt x="5452587" y="229076"/>
                    <a:pt x="5452587" y="229076"/>
                    <a:pt x="5453539" y="230029"/>
                  </a:cubicBezTo>
                  <a:cubicBezTo>
                    <a:pt x="5454492" y="230981"/>
                    <a:pt x="5455444" y="231934"/>
                    <a:pt x="5455444" y="232886"/>
                  </a:cubicBezTo>
                  <a:cubicBezTo>
                    <a:pt x="5455444" y="236696"/>
                    <a:pt x="5456396" y="239554"/>
                    <a:pt x="5456396" y="243364"/>
                  </a:cubicBezTo>
                  <a:cubicBezTo>
                    <a:pt x="5457349" y="255746"/>
                    <a:pt x="5458301" y="268129"/>
                    <a:pt x="5459254" y="282416"/>
                  </a:cubicBezTo>
                  <a:cubicBezTo>
                    <a:pt x="5460206" y="288131"/>
                    <a:pt x="5460206" y="293846"/>
                    <a:pt x="5460206" y="299561"/>
                  </a:cubicBezTo>
                  <a:cubicBezTo>
                    <a:pt x="5458301" y="304324"/>
                    <a:pt x="5457349" y="309086"/>
                    <a:pt x="5455444" y="313849"/>
                  </a:cubicBezTo>
                  <a:cubicBezTo>
                    <a:pt x="5452587" y="302419"/>
                    <a:pt x="5450681" y="290989"/>
                    <a:pt x="5447824" y="280511"/>
                  </a:cubicBezTo>
                  <a:cubicBezTo>
                    <a:pt x="5447824" y="279559"/>
                    <a:pt x="5447824" y="277654"/>
                    <a:pt x="5446871" y="276701"/>
                  </a:cubicBezTo>
                  <a:cubicBezTo>
                    <a:pt x="5448776" y="267176"/>
                    <a:pt x="5448776" y="257651"/>
                    <a:pt x="5449729" y="250031"/>
                  </a:cubicBezTo>
                  <a:close/>
                  <a:moveTo>
                    <a:pt x="5443062" y="327184"/>
                  </a:moveTo>
                  <a:cubicBezTo>
                    <a:pt x="5444014" y="332899"/>
                    <a:pt x="5444967" y="338614"/>
                    <a:pt x="5445919" y="343376"/>
                  </a:cubicBezTo>
                  <a:cubicBezTo>
                    <a:pt x="5444967" y="340519"/>
                    <a:pt x="5444014" y="337661"/>
                    <a:pt x="5443062" y="334804"/>
                  </a:cubicBezTo>
                  <a:cubicBezTo>
                    <a:pt x="5442109" y="332899"/>
                    <a:pt x="5443062" y="330041"/>
                    <a:pt x="5443062" y="327184"/>
                  </a:cubicBezTo>
                  <a:close/>
                  <a:moveTo>
                    <a:pt x="5417344" y="318611"/>
                  </a:moveTo>
                  <a:cubicBezTo>
                    <a:pt x="5418296" y="316706"/>
                    <a:pt x="5418296" y="314801"/>
                    <a:pt x="5419249" y="312896"/>
                  </a:cubicBezTo>
                  <a:cubicBezTo>
                    <a:pt x="5420201" y="315754"/>
                    <a:pt x="5421154" y="318611"/>
                    <a:pt x="5421154" y="320516"/>
                  </a:cubicBezTo>
                  <a:cubicBezTo>
                    <a:pt x="5421154" y="320516"/>
                    <a:pt x="5421154" y="321469"/>
                    <a:pt x="5421154" y="321469"/>
                  </a:cubicBezTo>
                  <a:cubicBezTo>
                    <a:pt x="5421154" y="320516"/>
                    <a:pt x="5421154" y="320516"/>
                    <a:pt x="5421154" y="320516"/>
                  </a:cubicBezTo>
                  <a:cubicBezTo>
                    <a:pt x="5421154" y="320516"/>
                    <a:pt x="5421154" y="321469"/>
                    <a:pt x="5421154" y="322421"/>
                  </a:cubicBezTo>
                  <a:cubicBezTo>
                    <a:pt x="5420201" y="325279"/>
                    <a:pt x="5419249" y="329089"/>
                    <a:pt x="5418296" y="331946"/>
                  </a:cubicBezTo>
                  <a:cubicBezTo>
                    <a:pt x="5417344" y="330994"/>
                    <a:pt x="5417344" y="330041"/>
                    <a:pt x="5417344" y="329089"/>
                  </a:cubicBezTo>
                  <a:cubicBezTo>
                    <a:pt x="5417344" y="326231"/>
                    <a:pt x="5417344" y="322421"/>
                    <a:pt x="5417344" y="318611"/>
                  </a:cubicBezTo>
                  <a:close/>
                  <a:moveTo>
                    <a:pt x="5416392" y="334804"/>
                  </a:moveTo>
                  <a:cubicBezTo>
                    <a:pt x="5416392" y="335756"/>
                    <a:pt x="5416392" y="335756"/>
                    <a:pt x="5417344" y="335756"/>
                  </a:cubicBezTo>
                  <a:cubicBezTo>
                    <a:pt x="5417344" y="336709"/>
                    <a:pt x="5416392" y="337661"/>
                    <a:pt x="5416392" y="337661"/>
                  </a:cubicBezTo>
                  <a:cubicBezTo>
                    <a:pt x="5416392" y="336709"/>
                    <a:pt x="5416392" y="335756"/>
                    <a:pt x="5416392" y="334804"/>
                  </a:cubicBezTo>
                  <a:close/>
                  <a:moveTo>
                    <a:pt x="5405914" y="325279"/>
                  </a:moveTo>
                  <a:cubicBezTo>
                    <a:pt x="5406867" y="302419"/>
                    <a:pt x="5407819" y="284321"/>
                    <a:pt x="5407819" y="271939"/>
                  </a:cubicBezTo>
                  <a:cubicBezTo>
                    <a:pt x="5407819" y="270034"/>
                    <a:pt x="5407819" y="269081"/>
                    <a:pt x="5407819" y="267176"/>
                  </a:cubicBezTo>
                  <a:cubicBezTo>
                    <a:pt x="5409724" y="274796"/>
                    <a:pt x="5411629" y="283369"/>
                    <a:pt x="5414487" y="292894"/>
                  </a:cubicBezTo>
                  <a:cubicBezTo>
                    <a:pt x="5414487" y="292894"/>
                    <a:pt x="5414487" y="292894"/>
                    <a:pt x="5414487" y="293846"/>
                  </a:cubicBezTo>
                  <a:cubicBezTo>
                    <a:pt x="5413534" y="296704"/>
                    <a:pt x="5412581" y="299561"/>
                    <a:pt x="5411629" y="303371"/>
                  </a:cubicBezTo>
                  <a:cubicBezTo>
                    <a:pt x="5408771" y="311944"/>
                    <a:pt x="5406867" y="321469"/>
                    <a:pt x="5404962" y="331946"/>
                  </a:cubicBezTo>
                  <a:cubicBezTo>
                    <a:pt x="5404962" y="331946"/>
                    <a:pt x="5404962" y="332899"/>
                    <a:pt x="5404962" y="332899"/>
                  </a:cubicBezTo>
                  <a:cubicBezTo>
                    <a:pt x="5404962" y="330994"/>
                    <a:pt x="5404962" y="328136"/>
                    <a:pt x="5405914" y="325279"/>
                  </a:cubicBezTo>
                  <a:close/>
                  <a:moveTo>
                    <a:pt x="5384006" y="310991"/>
                  </a:moveTo>
                  <a:cubicBezTo>
                    <a:pt x="5384959" y="318611"/>
                    <a:pt x="5385912" y="326231"/>
                    <a:pt x="5386864" y="334804"/>
                  </a:cubicBezTo>
                  <a:cubicBezTo>
                    <a:pt x="5385912" y="336709"/>
                    <a:pt x="5385912" y="339566"/>
                    <a:pt x="5384959" y="341471"/>
                  </a:cubicBezTo>
                  <a:cubicBezTo>
                    <a:pt x="5384006" y="335756"/>
                    <a:pt x="5383054" y="330041"/>
                    <a:pt x="5382101" y="325279"/>
                  </a:cubicBezTo>
                  <a:cubicBezTo>
                    <a:pt x="5381149" y="317659"/>
                    <a:pt x="5380196" y="310991"/>
                    <a:pt x="5378292" y="305276"/>
                  </a:cubicBezTo>
                  <a:cubicBezTo>
                    <a:pt x="5379244" y="301466"/>
                    <a:pt x="5380196" y="298609"/>
                    <a:pt x="5381149" y="294799"/>
                  </a:cubicBezTo>
                  <a:cubicBezTo>
                    <a:pt x="5382101" y="299561"/>
                    <a:pt x="5383054" y="305276"/>
                    <a:pt x="5384006" y="310991"/>
                  </a:cubicBezTo>
                  <a:close/>
                  <a:moveTo>
                    <a:pt x="5379244" y="274796"/>
                  </a:moveTo>
                  <a:cubicBezTo>
                    <a:pt x="5379244" y="273844"/>
                    <a:pt x="5379244" y="272891"/>
                    <a:pt x="5379244" y="271939"/>
                  </a:cubicBezTo>
                  <a:cubicBezTo>
                    <a:pt x="5379244" y="275749"/>
                    <a:pt x="5380196" y="280511"/>
                    <a:pt x="5381149" y="284321"/>
                  </a:cubicBezTo>
                  <a:cubicBezTo>
                    <a:pt x="5381149" y="284321"/>
                    <a:pt x="5381149" y="285274"/>
                    <a:pt x="5380196" y="285274"/>
                  </a:cubicBezTo>
                  <a:cubicBezTo>
                    <a:pt x="5379244" y="287179"/>
                    <a:pt x="5379244" y="288131"/>
                    <a:pt x="5378292" y="290036"/>
                  </a:cubicBezTo>
                  <a:cubicBezTo>
                    <a:pt x="5378292" y="285274"/>
                    <a:pt x="5378292" y="280511"/>
                    <a:pt x="5379244" y="274796"/>
                  </a:cubicBezTo>
                  <a:close/>
                  <a:moveTo>
                    <a:pt x="5332571" y="321469"/>
                  </a:moveTo>
                  <a:cubicBezTo>
                    <a:pt x="5334476" y="316706"/>
                    <a:pt x="5336381" y="312896"/>
                    <a:pt x="5338287" y="309086"/>
                  </a:cubicBezTo>
                  <a:cubicBezTo>
                    <a:pt x="5338287" y="309086"/>
                    <a:pt x="5338287" y="310039"/>
                    <a:pt x="5338287" y="310039"/>
                  </a:cubicBezTo>
                  <a:cubicBezTo>
                    <a:pt x="5334476" y="323374"/>
                    <a:pt x="5330667" y="337661"/>
                    <a:pt x="5326856" y="351949"/>
                  </a:cubicBezTo>
                  <a:cubicBezTo>
                    <a:pt x="5325904" y="345281"/>
                    <a:pt x="5324951" y="340519"/>
                    <a:pt x="5323999" y="336709"/>
                  </a:cubicBezTo>
                  <a:cubicBezTo>
                    <a:pt x="5327809" y="330994"/>
                    <a:pt x="5330667" y="326231"/>
                    <a:pt x="5332571" y="321469"/>
                  </a:cubicBezTo>
                  <a:close/>
                  <a:moveTo>
                    <a:pt x="5319237" y="350996"/>
                  </a:moveTo>
                  <a:cubicBezTo>
                    <a:pt x="5320189" y="348139"/>
                    <a:pt x="5322094" y="345281"/>
                    <a:pt x="5323046" y="342424"/>
                  </a:cubicBezTo>
                  <a:cubicBezTo>
                    <a:pt x="5323046" y="350044"/>
                    <a:pt x="5322094" y="359569"/>
                    <a:pt x="5322094" y="371951"/>
                  </a:cubicBezTo>
                  <a:cubicBezTo>
                    <a:pt x="5321142" y="368141"/>
                    <a:pt x="5320189" y="365284"/>
                    <a:pt x="5319237" y="362426"/>
                  </a:cubicBezTo>
                  <a:cubicBezTo>
                    <a:pt x="5319237" y="357664"/>
                    <a:pt x="5319237" y="353854"/>
                    <a:pt x="5319237" y="350996"/>
                  </a:cubicBezTo>
                  <a:close/>
                  <a:moveTo>
                    <a:pt x="5316379" y="392906"/>
                  </a:moveTo>
                  <a:cubicBezTo>
                    <a:pt x="5316379" y="389096"/>
                    <a:pt x="5317331" y="386239"/>
                    <a:pt x="5317331" y="382429"/>
                  </a:cubicBezTo>
                  <a:cubicBezTo>
                    <a:pt x="5317331" y="384334"/>
                    <a:pt x="5318284" y="387191"/>
                    <a:pt x="5318284" y="390049"/>
                  </a:cubicBezTo>
                  <a:cubicBezTo>
                    <a:pt x="5317331" y="392906"/>
                    <a:pt x="5316379" y="395764"/>
                    <a:pt x="5315426" y="399574"/>
                  </a:cubicBezTo>
                  <a:cubicBezTo>
                    <a:pt x="5316379" y="396716"/>
                    <a:pt x="5316379" y="394811"/>
                    <a:pt x="5316379" y="392906"/>
                  </a:cubicBezTo>
                  <a:close/>
                  <a:moveTo>
                    <a:pt x="5285899" y="293846"/>
                  </a:moveTo>
                  <a:cubicBezTo>
                    <a:pt x="5285899" y="295751"/>
                    <a:pt x="5285899" y="296704"/>
                    <a:pt x="5286851" y="298609"/>
                  </a:cubicBezTo>
                  <a:cubicBezTo>
                    <a:pt x="5285899" y="299561"/>
                    <a:pt x="5284946" y="300514"/>
                    <a:pt x="5283994" y="302419"/>
                  </a:cubicBezTo>
                  <a:cubicBezTo>
                    <a:pt x="5284946" y="299561"/>
                    <a:pt x="5285899" y="296704"/>
                    <a:pt x="5285899" y="293846"/>
                  </a:cubicBezTo>
                  <a:close/>
                  <a:moveTo>
                    <a:pt x="5279231" y="319564"/>
                  </a:moveTo>
                  <a:cubicBezTo>
                    <a:pt x="5280184" y="316706"/>
                    <a:pt x="5281137" y="313849"/>
                    <a:pt x="5282089" y="311944"/>
                  </a:cubicBezTo>
                  <a:cubicBezTo>
                    <a:pt x="5283994" y="308134"/>
                    <a:pt x="5285899" y="305276"/>
                    <a:pt x="5287804" y="302419"/>
                  </a:cubicBezTo>
                  <a:cubicBezTo>
                    <a:pt x="5287804" y="304324"/>
                    <a:pt x="5288756" y="307181"/>
                    <a:pt x="5288756" y="309086"/>
                  </a:cubicBezTo>
                  <a:cubicBezTo>
                    <a:pt x="5289709" y="318611"/>
                    <a:pt x="5290662" y="329089"/>
                    <a:pt x="5292567" y="340519"/>
                  </a:cubicBezTo>
                  <a:cubicBezTo>
                    <a:pt x="5290662" y="347186"/>
                    <a:pt x="5288756" y="354806"/>
                    <a:pt x="5287804" y="363379"/>
                  </a:cubicBezTo>
                  <a:cubicBezTo>
                    <a:pt x="5287804" y="359569"/>
                    <a:pt x="5287804" y="354806"/>
                    <a:pt x="5287804" y="351949"/>
                  </a:cubicBezTo>
                  <a:cubicBezTo>
                    <a:pt x="5287804" y="341471"/>
                    <a:pt x="5287804" y="335756"/>
                    <a:pt x="5287804" y="335756"/>
                  </a:cubicBezTo>
                  <a:cubicBezTo>
                    <a:pt x="5287804" y="335756"/>
                    <a:pt x="5286851" y="341471"/>
                    <a:pt x="5283994" y="350996"/>
                  </a:cubicBezTo>
                  <a:cubicBezTo>
                    <a:pt x="5283042" y="355759"/>
                    <a:pt x="5282089" y="362426"/>
                    <a:pt x="5280184" y="369094"/>
                  </a:cubicBezTo>
                  <a:cubicBezTo>
                    <a:pt x="5280184" y="369094"/>
                    <a:pt x="5280184" y="369094"/>
                    <a:pt x="5280184" y="370046"/>
                  </a:cubicBezTo>
                  <a:cubicBezTo>
                    <a:pt x="5279231" y="363379"/>
                    <a:pt x="5278279" y="356711"/>
                    <a:pt x="5277326" y="350044"/>
                  </a:cubicBezTo>
                  <a:cubicBezTo>
                    <a:pt x="5276374" y="345281"/>
                    <a:pt x="5276374" y="340519"/>
                    <a:pt x="5275421" y="335756"/>
                  </a:cubicBezTo>
                  <a:cubicBezTo>
                    <a:pt x="5275421" y="330041"/>
                    <a:pt x="5277326" y="324326"/>
                    <a:pt x="5279231" y="319564"/>
                  </a:cubicBezTo>
                  <a:close/>
                  <a:moveTo>
                    <a:pt x="5236369" y="318611"/>
                  </a:moveTo>
                  <a:cubicBezTo>
                    <a:pt x="5236369" y="319564"/>
                    <a:pt x="5235417" y="319564"/>
                    <a:pt x="5235417" y="320516"/>
                  </a:cubicBezTo>
                  <a:cubicBezTo>
                    <a:pt x="5233512" y="317659"/>
                    <a:pt x="5232559" y="314801"/>
                    <a:pt x="5230654" y="311944"/>
                  </a:cubicBezTo>
                  <a:cubicBezTo>
                    <a:pt x="5230654" y="311944"/>
                    <a:pt x="5230654" y="310991"/>
                    <a:pt x="5230654" y="310991"/>
                  </a:cubicBezTo>
                  <a:cubicBezTo>
                    <a:pt x="5233512" y="305276"/>
                    <a:pt x="5236369" y="300514"/>
                    <a:pt x="5239226" y="295751"/>
                  </a:cubicBezTo>
                  <a:cubicBezTo>
                    <a:pt x="5238274" y="303371"/>
                    <a:pt x="5237321" y="310991"/>
                    <a:pt x="5236369" y="318611"/>
                  </a:cubicBezTo>
                  <a:close/>
                  <a:moveTo>
                    <a:pt x="5230654" y="281464"/>
                  </a:moveTo>
                  <a:cubicBezTo>
                    <a:pt x="5233512" y="275749"/>
                    <a:pt x="5235417" y="270034"/>
                    <a:pt x="5237321" y="265271"/>
                  </a:cubicBezTo>
                  <a:cubicBezTo>
                    <a:pt x="5239226" y="260509"/>
                    <a:pt x="5242084" y="255746"/>
                    <a:pt x="5243989" y="251936"/>
                  </a:cubicBezTo>
                  <a:cubicBezTo>
                    <a:pt x="5243037" y="255746"/>
                    <a:pt x="5243037" y="259556"/>
                    <a:pt x="5242084" y="264319"/>
                  </a:cubicBezTo>
                  <a:cubicBezTo>
                    <a:pt x="5241131" y="270034"/>
                    <a:pt x="5240179" y="276701"/>
                    <a:pt x="5240179" y="283369"/>
                  </a:cubicBezTo>
                  <a:cubicBezTo>
                    <a:pt x="5236369" y="288131"/>
                    <a:pt x="5232559" y="293846"/>
                    <a:pt x="5228749" y="299561"/>
                  </a:cubicBezTo>
                  <a:cubicBezTo>
                    <a:pt x="5228749" y="296704"/>
                    <a:pt x="5227796" y="292894"/>
                    <a:pt x="5227796" y="290036"/>
                  </a:cubicBezTo>
                  <a:cubicBezTo>
                    <a:pt x="5227796" y="286226"/>
                    <a:pt x="5228749" y="284321"/>
                    <a:pt x="5230654" y="281464"/>
                  </a:cubicBezTo>
                  <a:close/>
                  <a:moveTo>
                    <a:pt x="5211604" y="344329"/>
                  </a:moveTo>
                  <a:cubicBezTo>
                    <a:pt x="5212556" y="343376"/>
                    <a:pt x="5212556" y="342424"/>
                    <a:pt x="5213509" y="341471"/>
                  </a:cubicBezTo>
                  <a:cubicBezTo>
                    <a:pt x="5213509" y="341471"/>
                    <a:pt x="5213509" y="341471"/>
                    <a:pt x="5213509" y="341471"/>
                  </a:cubicBezTo>
                  <a:cubicBezTo>
                    <a:pt x="5213509" y="341471"/>
                    <a:pt x="5213509" y="342424"/>
                    <a:pt x="5213509" y="342424"/>
                  </a:cubicBezTo>
                  <a:cubicBezTo>
                    <a:pt x="5212556" y="343376"/>
                    <a:pt x="5212556" y="344329"/>
                    <a:pt x="5211604" y="344329"/>
                  </a:cubicBezTo>
                  <a:cubicBezTo>
                    <a:pt x="5211604" y="345281"/>
                    <a:pt x="5211604" y="345281"/>
                    <a:pt x="5211604" y="344329"/>
                  </a:cubicBezTo>
                  <a:close/>
                  <a:moveTo>
                    <a:pt x="5214462" y="343376"/>
                  </a:moveTo>
                  <a:cubicBezTo>
                    <a:pt x="5215414" y="345281"/>
                    <a:pt x="5216367" y="346234"/>
                    <a:pt x="5216367" y="348139"/>
                  </a:cubicBezTo>
                  <a:cubicBezTo>
                    <a:pt x="5215414" y="350044"/>
                    <a:pt x="5214462" y="350996"/>
                    <a:pt x="5213509" y="352901"/>
                  </a:cubicBezTo>
                  <a:cubicBezTo>
                    <a:pt x="5213509" y="351949"/>
                    <a:pt x="5212556" y="351949"/>
                    <a:pt x="5212556" y="350996"/>
                  </a:cubicBezTo>
                  <a:cubicBezTo>
                    <a:pt x="5212556" y="350044"/>
                    <a:pt x="5212556" y="350044"/>
                    <a:pt x="5212556" y="349091"/>
                  </a:cubicBezTo>
                  <a:cubicBezTo>
                    <a:pt x="5212556" y="347186"/>
                    <a:pt x="5213509" y="345281"/>
                    <a:pt x="5214462" y="343376"/>
                  </a:cubicBezTo>
                  <a:cubicBezTo>
                    <a:pt x="5213509" y="343376"/>
                    <a:pt x="5213509" y="343376"/>
                    <a:pt x="5214462" y="343376"/>
                  </a:cubicBezTo>
                  <a:close/>
                  <a:moveTo>
                    <a:pt x="5211604" y="290989"/>
                  </a:moveTo>
                  <a:cubicBezTo>
                    <a:pt x="5211604" y="290989"/>
                    <a:pt x="5211604" y="291941"/>
                    <a:pt x="5211604" y="290989"/>
                  </a:cubicBezTo>
                  <a:cubicBezTo>
                    <a:pt x="5212556" y="292894"/>
                    <a:pt x="5212556" y="294799"/>
                    <a:pt x="5213509" y="296704"/>
                  </a:cubicBezTo>
                  <a:cubicBezTo>
                    <a:pt x="5212556" y="298609"/>
                    <a:pt x="5211604" y="300514"/>
                    <a:pt x="5210651" y="302419"/>
                  </a:cubicBezTo>
                  <a:cubicBezTo>
                    <a:pt x="5211604" y="297656"/>
                    <a:pt x="5211604" y="293846"/>
                    <a:pt x="5211604" y="290989"/>
                  </a:cubicBezTo>
                  <a:close/>
                  <a:moveTo>
                    <a:pt x="5189696" y="260509"/>
                  </a:moveTo>
                  <a:cubicBezTo>
                    <a:pt x="5189696" y="261461"/>
                    <a:pt x="5189696" y="263366"/>
                    <a:pt x="5189696" y="264319"/>
                  </a:cubicBezTo>
                  <a:cubicBezTo>
                    <a:pt x="5188744" y="262414"/>
                    <a:pt x="5187792" y="260509"/>
                    <a:pt x="5186839" y="258604"/>
                  </a:cubicBezTo>
                  <a:cubicBezTo>
                    <a:pt x="5186839" y="258604"/>
                    <a:pt x="5186839" y="257651"/>
                    <a:pt x="5187792" y="257651"/>
                  </a:cubicBezTo>
                  <a:cubicBezTo>
                    <a:pt x="5188744" y="255746"/>
                    <a:pt x="5189696" y="254794"/>
                    <a:pt x="5189696" y="253841"/>
                  </a:cubicBezTo>
                  <a:cubicBezTo>
                    <a:pt x="5189696" y="255746"/>
                    <a:pt x="5189696" y="258604"/>
                    <a:pt x="5189696" y="260509"/>
                  </a:cubicBezTo>
                  <a:close/>
                  <a:moveTo>
                    <a:pt x="5178267" y="230981"/>
                  </a:moveTo>
                  <a:cubicBezTo>
                    <a:pt x="5181124" y="223361"/>
                    <a:pt x="5184934" y="217646"/>
                    <a:pt x="5186839" y="213836"/>
                  </a:cubicBezTo>
                  <a:cubicBezTo>
                    <a:pt x="5187792" y="212884"/>
                    <a:pt x="5187792" y="210979"/>
                    <a:pt x="5188744" y="210026"/>
                  </a:cubicBezTo>
                  <a:cubicBezTo>
                    <a:pt x="5188744" y="212884"/>
                    <a:pt x="5188744" y="215741"/>
                    <a:pt x="5188744" y="219551"/>
                  </a:cubicBezTo>
                  <a:cubicBezTo>
                    <a:pt x="5188744" y="230029"/>
                    <a:pt x="5188744" y="241459"/>
                    <a:pt x="5188744" y="254794"/>
                  </a:cubicBezTo>
                  <a:cubicBezTo>
                    <a:pt x="5187792" y="255746"/>
                    <a:pt x="5186839" y="256699"/>
                    <a:pt x="5185887" y="258604"/>
                  </a:cubicBezTo>
                  <a:cubicBezTo>
                    <a:pt x="5185887" y="258604"/>
                    <a:pt x="5185887" y="258604"/>
                    <a:pt x="5185887" y="258604"/>
                  </a:cubicBezTo>
                  <a:cubicBezTo>
                    <a:pt x="5183029" y="252889"/>
                    <a:pt x="5180171" y="248126"/>
                    <a:pt x="5178267" y="243364"/>
                  </a:cubicBezTo>
                  <a:cubicBezTo>
                    <a:pt x="5177314" y="241459"/>
                    <a:pt x="5176362" y="240506"/>
                    <a:pt x="5175409" y="238601"/>
                  </a:cubicBezTo>
                  <a:cubicBezTo>
                    <a:pt x="5176362" y="234791"/>
                    <a:pt x="5177314" y="232886"/>
                    <a:pt x="5178267" y="230981"/>
                  </a:cubicBezTo>
                  <a:close/>
                  <a:moveTo>
                    <a:pt x="5168742" y="238601"/>
                  </a:moveTo>
                  <a:cubicBezTo>
                    <a:pt x="5168742" y="239554"/>
                    <a:pt x="5168742" y="239554"/>
                    <a:pt x="5168742" y="238601"/>
                  </a:cubicBezTo>
                  <a:cubicBezTo>
                    <a:pt x="5168742" y="239554"/>
                    <a:pt x="5168742" y="239554"/>
                    <a:pt x="5168742" y="238601"/>
                  </a:cubicBezTo>
                  <a:cubicBezTo>
                    <a:pt x="5168742" y="239554"/>
                    <a:pt x="5168742" y="239554"/>
                    <a:pt x="5168742" y="238601"/>
                  </a:cubicBezTo>
                  <a:close/>
                  <a:moveTo>
                    <a:pt x="5166837" y="280511"/>
                  </a:moveTo>
                  <a:cubicBezTo>
                    <a:pt x="5166837" y="272891"/>
                    <a:pt x="5167789" y="266224"/>
                    <a:pt x="5167789" y="259556"/>
                  </a:cubicBezTo>
                  <a:cubicBezTo>
                    <a:pt x="5167789" y="259556"/>
                    <a:pt x="5167789" y="259556"/>
                    <a:pt x="5167789" y="259556"/>
                  </a:cubicBezTo>
                  <a:cubicBezTo>
                    <a:pt x="5168742" y="255746"/>
                    <a:pt x="5170646" y="251936"/>
                    <a:pt x="5171599" y="248126"/>
                  </a:cubicBezTo>
                  <a:cubicBezTo>
                    <a:pt x="5173504" y="252889"/>
                    <a:pt x="5175409" y="257651"/>
                    <a:pt x="5177314" y="263366"/>
                  </a:cubicBezTo>
                  <a:cubicBezTo>
                    <a:pt x="5178267" y="264319"/>
                    <a:pt x="5178267" y="266224"/>
                    <a:pt x="5179219" y="267176"/>
                  </a:cubicBezTo>
                  <a:cubicBezTo>
                    <a:pt x="5178267" y="268129"/>
                    <a:pt x="5177314" y="270034"/>
                    <a:pt x="5176362" y="271939"/>
                  </a:cubicBezTo>
                  <a:cubicBezTo>
                    <a:pt x="5173504" y="275749"/>
                    <a:pt x="5170646" y="281464"/>
                    <a:pt x="5166837" y="287179"/>
                  </a:cubicBezTo>
                  <a:cubicBezTo>
                    <a:pt x="5166837" y="283369"/>
                    <a:pt x="5166837" y="281464"/>
                    <a:pt x="5166837" y="280511"/>
                  </a:cubicBezTo>
                  <a:close/>
                  <a:moveTo>
                    <a:pt x="5166837" y="307181"/>
                  </a:moveTo>
                  <a:cubicBezTo>
                    <a:pt x="5167789" y="303371"/>
                    <a:pt x="5168742" y="299561"/>
                    <a:pt x="5170646" y="296704"/>
                  </a:cubicBezTo>
                  <a:cubicBezTo>
                    <a:pt x="5170646" y="295751"/>
                    <a:pt x="5171599" y="294799"/>
                    <a:pt x="5171599" y="293846"/>
                  </a:cubicBezTo>
                  <a:cubicBezTo>
                    <a:pt x="5173504" y="291941"/>
                    <a:pt x="5175409" y="290036"/>
                    <a:pt x="5176362" y="289084"/>
                  </a:cubicBezTo>
                  <a:cubicBezTo>
                    <a:pt x="5179219" y="286226"/>
                    <a:pt x="5181124" y="284321"/>
                    <a:pt x="5181124" y="284321"/>
                  </a:cubicBezTo>
                  <a:cubicBezTo>
                    <a:pt x="5181124" y="284321"/>
                    <a:pt x="5179219" y="285274"/>
                    <a:pt x="5175409" y="288131"/>
                  </a:cubicBezTo>
                  <a:cubicBezTo>
                    <a:pt x="5174456" y="289084"/>
                    <a:pt x="5173504" y="289084"/>
                    <a:pt x="5172551" y="290036"/>
                  </a:cubicBezTo>
                  <a:cubicBezTo>
                    <a:pt x="5175409" y="283369"/>
                    <a:pt x="5177314" y="277654"/>
                    <a:pt x="5179219" y="272891"/>
                  </a:cubicBezTo>
                  <a:cubicBezTo>
                    <a:pt x="5179219" y="271939"/>
                    <a:pt x="5180171" y="270986"/>
                    <a:pt x="5180171" y="270034"/>
                  </a:cubicBezTo>
                  <a:cubicBezTo>
                    <a:pt x="5182076" y="273844"/>
                    <a:pt x="5183029" y="276701"/>
                    <a:pt x="5184934" y="280511"/>
                  </a:cubicBezTo>
                  <a:cubicBezTo>
                    <a:pt x="5186839" y="284321"/>
                    <a:pt x="5188744" y="289084"/>
                    <a:pt x="5190649" y="292894"/>
                  </a:cubicBezTo>
                  <a:cubicBezTo>
                    <a:pt x="5190649" y="294799"/>
                    <a:pt x="5190649" y="296704"/>
                    <a:pt x="5190649" y="298609"/>
                  </a:cubicBezTo>
                  <a:cubicBezTo>
                    <a:pt x="5191601" y="308134"/>
                    <a:pt x="5191601" y="318611"/>
                    <a:pt x="5192554" y="330041"/>
                  </a:cubicBezTo>
                  <a:cubicBezTo>
                    <a:pt x="5192554" y="331946"/>
                    <a:pt x="5192554" y="333851"/>
                    <a:pt x="5192554" y="335756"/>
                  </a:cubicBezTo>
                  <a:cubicBezTo>
                    <a:pt x="5192554" y="335756"/>
                    <a:pt x="5192554" y="336709"/>
                    <a:pt x="5192554" y="336709"/>
                  </a:cubicBezTo>
                  <a:cubicBezTo>
                    <a:pt x="5192554" y="337661"/>
                    <a:pt x="5191601" y="337661"/>
                    <a:pt x="5191601" y="338614"/>
                  </a:cubicBezTo>
                  <a:cubicBezTo>
                    <a:pt x="5190649" y="341471"/>
                    <a:pt x="5188744" y="345281"/>
                    <a:pt x="5187792" y="348139"/>
                  </a:cubicBezTo>
                  <a:cubicBezTo>
                    <a:pt x="5185887" y="324326"/>
                    <a:pt x="5183981" y="309086"/>
                    <a:pt x="5183981" y="309086"/>
                  </a:cubicBezTo>
                  <a:cubicBezTo>
                    <a:pt x="5183981" y="309086"/>
                    <a:pt x="5180171" y="324326"/>
                    <a:pt x="5177314" y="348139"/>
                  </a:cubicBezTo>
                  <a:cubicBezTo>
                    <a:pt x="5177314" y="350044"/>
                    <a:pt x="5176362" y="352901"/>
                    <a:pt x="5176362" y="354806"/>
                  </a:cubicBezTo>
                  <a:cubicBezTo>
                    <a:pt x="5175409" y="352901"/>
                    <a:pt x="5174456" y="350996"/>
                    <a:pt x="5174456" y="349091"/>
                  </a:cubicBezTo>
                  <a:cubicBezTo>
                    <a:pt x="5173504" y="346234"/>
                    <a:pt x="5172551" y="344329"/>
                    <a:pt x="5171599" y="341471"/>
                  </a:cubicBezTo>
                  <a:cubicBezTo>
                    <a:pt x="5172551" y="336709"/>
                    <a:pt x="5173504" y="332899"/>
                    <a:pt x="5173504" y="328136"/>
                  </a:cubicBezTo>
                  <a:cubicBezTo>
                    <a:pt x="5172551" y="331946"/>
                    <a:pt x="5171599" y="334804"/>
                    <a:pt x="5169694" y="338614"/>
                  </a:cubicBezTo>
                  <a:cubicBezTo>
                    <a:pt x="5168742" y="337661"/>
                    <a:pt x="5168742" y="335756"/>
                    <a:pt x="5167789" y="334804"/>
                  </a:cubicBezTo>
                  <a:cubicBezTo>
                    <a:pt x="5166837" y="327184"/>
                    <a:pt x="5166837" y="320516"/>
                    <a:pt x="5165884" y="312896"/>
                  </a:cubicBezTo>
                  <a:cubicBezTo>
                    <a:pt x="5166837" y="310991"/>
                    <a:pt x="5166837" y="309086"/>
                    <a:pt x="5166837" y="307181"/>
                  </a:cubicBezTo>
                  <a:close/>
                  <a:moveTo>
                    <a:pt x="5161121" y="218599"/>
                  </a:moveTo>
                  <a:cubicBezTo>
                    <a:pt x="5162074" y="221456"/>
                    <a:pt x="5163979" y="225266"/>
                    <a:pt x="5164931" y="229076"/>
                  </a:cubicBezTo>
                  <a:cubicBezTo>
                    <a:pt x="5163979" y="234791"/>
                    <a:pt x="5162074" y="240506"/>
                    <a:pt x="5161121" y="248126"/>
                  </a:cubicBezTo>
                  <a:cubicBezTo>
                    <a:pt x="5160169" y="232886"/>
                    <a:pt x="5158264" y="218599"/>
                    <a:pt x="5157312" y="206216"/>
                  </a:cubicBezTo>
                  <a:cubicBezTo>
                    <a:pt x="5158264" y="209074"/>
                    <a:pt x="5159217" y="213836"/>
                    <a:pt x="5161121" y="218599"/>
                  </a:cubicBezTo>
                  <a:close/>
                  <a:moveTo>
                    <a:pt x="5148739" y="256699"/>
                  </a:moveTo>
                  <a:cubicBezTo>
                    <a:pt x="5148739" y="255746"/>
                    <a:pt x="5149692" y="255746"/>
                    <a:pt x="5149692" y="255746"/>
                  </a:cubicBezTo>
                  <a:cubicBezTo>
                    <a:pt x="5149692" y="264319"/>
                    <a:pt x="5149692" y="273844"/>
                    <a:pt x="5149692" y="283369"/>
                  </a:cubicBezTo>
                  <a:cubicBezTo>
                    <a:pt x="5149692" y="283369"/>
                    <a:pt x="5149692" y="284321"/>
                    <a:pt x="5149692" y="284321"/>
                  </a:cubicBezTo>
                  <a:cubicBezTo>
                    <a:pt x="5147787" y="276701"/>
                    <a:pt x="5144929" y="270034"/>
                    <a:pt x="5143024" y="263366"/>
                  </a:cubicBezTo>
                  <a:cubicBezTo>
                    <a:pt x="5145881" y="261461"/>
                    <a:pt x="5147787" y="258604"/>
                    <a:pt x="5148739" y="256699"/>
                  </a:cubicBezTo>
                  <a:close/>
                  <a:moveTo>
                    <a:pt x="5087779" y="317659"/>
                  </a:moveTo>
                  <a:cubicBezTo>
                    <a:pt x="5087779" y="316706"/>
                    <a:pt x="5087779" y="316706"/>
                    <a:pt x="5087779" y="315754"/>
                  </a:cubicBezTo>
                  <a:cubicBezTo>
                    <a:pt x="5087779" y="316706"/>
                    <a:pt x="5087779" y="316706"/>
                    <a:pt x="5087779" y="317659"/>
                  </a:cubicBezTo>
                  <a:cubicBezTo>
                    <a:pt x="5087779" y="317659"/>
                    <a:pt x="5087779" y="317659"/>
                    <a:pt x="5087779" y="317659"/>
                  </a:cubicBezTo>
                  <a:close/>
                  <a:moveTo>
                    <a:pt x="5122069" y="298609"/>
                  </a:moveTo>
                  <a:cubicBezTo>
                    <a:pt x="5123974" y="294799"/>
                    <a:pt x="5126831" y="290989"/>
                    <a:pt x="5128737" y="287179"/>
                  </a:cubicBezTo>
                  <a:cubicBezTo>
                    <a:pt x="5127784" y="298609"/>
                    <a:pt x="5125879" y="311944"/>
                    <a:pt x="5124926" y="327184"/>
                  </a:cubicBezTo>
                  <a:cubicBezTo>
                    <a:pt x="5123974" y="324326"/>
                    <a:pt x="5122069" y="321469"/>
                    <a:pt x="5121117" y="318611"/>
                  </a:cubicBezTo>
                  <a:cubicBezTo>
                    <a:pt x="5119212" y="314801"/>
                    <a:pt x="5118259" y="311944"/>
                    <a:pt x="5117306" y="308134"/>
                  </a:cubicBezTo>
                  <a:cubicBezTo>
                    <a:pt x="5118259" y="304324"/>
                    <a:pt x="5120164" y="301466"/>
                    <a:pt x="5122069" y="298609"/>
                  </a:cubicBezTo>
                  <a:close/>
                  <a:moveTo>
                    <a:pt x="5110639" y="321469"/>
                  </a:moveTo>
                  <a:cubicBezTo>
                    <a:pt x="5110639" y="321469"/>
                    <a:pt x="5110639" y="321469"/>
                    <a:pt x="5110639" y="321469"/>
                  </a:cubicBezTo>
                  <a:cubicBezTo>
                    <a:pt x="5113496" y="329089"/>
                    <a:pt x="5115401" y="336709"/>
                    <a:pt x="5118259" y="344329"/>
                  </a:cubicBezTo>
                  <a:cubicBezTo>
                    <a:pt x="5117306" y="345281"/>
                    <a:pt x="5117306" y="346234"/>
                    <a:pt x="5116354" y="347186"/>
                  </a:cubicBezTo>
                  <a:cubicBezTo>
                    <a:pt x="5115401" y="348139"/>
                    <a:pt x="5115401" y="349091"/>
                    <a:pt x="5114449" y="349091"/>
                  </a:cubicBezTo>
                  <a:cubicBezTo>
                    <a:pt x="5113496" y="344329"/>
                    <a:pt x="5111592" y="339566"/>
                    <a:pt x="5110639" y="335756"/>
                  </a:cubicBezTo>
                  <a:cubicBezTo>
                    <a:pt x="5109687" y="332899"/>
                    <a:pt x="5108734" y="330041"/>
                    <a:pt x="5107781" y="327184"/>
                  </a:cubicBezTo>
                  <a:cubicBezTo>
                    <a:pt x="5108734" y="325279"/>
                    <a:pt x="5109687" y="323374"/>
                    <a:pt x="5110639" y="321469"/>
                  </a:cubicBezTo>
                  <a:close/>
                  <a:moveTo>
                    <a:pt x="5105876" y="308134"/>
                  </a:moveTo>
                  <a:cubicBezTo>
                    <a:pt x="5104924" y="309086"/>
                    <a:pt x="5103971" y="310991"/>
                    <a:pt x="5103019" y="311944"/>
                  </a:cubicBezTo>
                  <a:cubicBezTo>
                    <a:pt x="5102067" y="310039"/>
                    <a:pt x="5102067" y="308134"/>
                    <a:pt x="5101114" y="306229"/>
                  </a:cubicBezTo>
                  <a:cubicBezTo>
                    <a:pt x="5101114" y="305276"/>
                    <a:pt x="5101114" y="304324"/>
                    <a:pt x="5101114" y="304324"/>
                  </a:cubicBezTo>
                  <a:cubicBezTo>
                    <a:pt x="5101114" y="304324"/>
                    <a:pt x="5101114" y="304324"/>
                    <a:pt x="5101114" y="305276"/>
                  </a:cubicBezTo>
                  <a:cubicBezTo>
                    <a:pt x="5099209" y="299561"/>
                    <a:pt x="5098256" y="293846"/>
                    <a:pt x="5096351" y="288131"/>
                  </a:cubicBezTo>
                  <a:cubicBezTo>
                    <a:pt x="5096351" y="285274"/>
                    <a:pt x="5097304" y="282416"/>
                    <a:pt x="5097304" y="281464"/>
                  </a:cubicBezTo>
                  <a:cubicBezTo>
                    <a:pt x="5100162" y="290989"/>
                    <a:pt x="5103019" y="299561"/>
                    <a:pt x="5105876" y="308134"/>
                  </a:cubicBezTo>
                  <a:close/>
                  <a:moveTo>
                    <a:pt x="5097304" y="282416"/>
                  </a:moveTo>
                  <a:cubicBezTo>
                    <a:pt x="5097304" y="283369"/>
                    <a:pt x="5096351" y="284321"/>
                    <a:pt x="5095399" y="286226"/>
                  </a:cubicBezTo>
                  <a:cubicBezTo>
                    <a:pt x="5094446" y="284321"/>
                    <a:pt x="5094446" y="281464"/>
                    <a:pt x="5093494" y="279559"/>
                  </a:cubicBezTo>
                  <a:cubicBezTo>
                    <a:pt x="5091589" y="271939"/>
                    <a:pt x="5089684" y="265271"/>
                    <a:pt x="5087779" y="258604"/>
                  </a:cubicBezTo>
                  <a:cubicBezTo>
                    <a:pt x="5087779" y="258604"/>
                    <a:pt x="5088731" y="257651"/>
                    <a:pt x="5089684" y="257651"/>
                  </a:cubicBezTo>
                  <a:cubicBezTo>
                    <a:pt x="5092542" y="265271"/>
                    <a:pt x="5094446" y="273844"/>
                    <a:pt x="5097304" y="282416"/>
                  </a:cubicBezTo>
                  <a:close/>
                  <a:moveTo>
                    <a:pt x="5080159" y="224314"/>
                  </a:moveTo>
                  <a:cubicBezTo>
                    <a:pt x="5081112" y="228124"/>
                    <a:pt x="5083969" y="238601"/>
                    <a:pt x="5089684" y="254794"/>
                  </a:cubicBezTo>
                  <a:cubicBezTo>
                    <a:pt x="5089684" y="254794"/>
                    <a:pt x="5088731" y="254794"/>
                    <a:pt x="5087779" y="254794"/>
                  </a:cubicBezTo>
                  <a:cubicBezTo>
                    <a:pt x="5085874" y="245269"/>
                    <a:pt x="5083017" y="236696"/>
                    <a:pt x="5081112" y="228124"/>
                  </a:cubicBezTo>
                  <a:cubicBezTo>
                    <a:pt x="5081112" y="228124"/>
                    <a:pt x="5080159" y="227171"/>
                    <a:pt x="5080159" y="224314"/>
                  </a:cubicBezTo>
                  <a:cubicBezTo>
                    <a:pt x="5080159" y="225266"/>
                    <a:pt x="5080159" y="225266"/>
                    <a:pt x="5080159" y="224314"/>
                  </a:cubicBezTo>
                  <a:close/>
                  <a:moveTo>
                    <a:pt x="5076349" y="272891"/>
                  </a:moveTo>
                  <a:cubicBezTo>
                    <a:pt x="5076349" y="270986"/>
                    <a:pt x="5076349" y="270034"/>
                    <a:pt x="5076349" y="268129"/>
                  </a:cubicBezTo>
                  <a:cubicBezTo>
                    <a:pt x="5077301" y="272891"/>
                    <a:pt x="5078254" y="277654"/>
                    <a:pt x="5079206" y="283369"/>
                  </a:cubicBezTo>
                  <a:cubicBezTo>
                    <a:pt x="5080159" y="289084"/>
                    <a:pt x="5082064" y="295751"/>
                    <a:pt x="5083017" y="301466"/>
                  </a:cubicBezTo>
                  <a:cubicBezTo>
                    <a:pt x="5083017" y="302419"/>
                    <a:pt x="5083017" y="303371"/>
                    <a:pt x="5083017" y="304324"/>
                  </a:cubicBezTo>
                  <a:cubicBezTo>
                    <a:pt x="5083017" y="306229"/>
                    <a:pt x="5082064" y="309086"/>
                    <a:pt x="5082064" y="311944"/>
                  </a:cubicBezTo>
                  <a:cubicBezTo>
                    <a:pt x="5079206" y="305276"/>
                    <a:pt x="5076349" y="298609"/>
                    <a:pt x="5073492" y="292894"/>
                  </a:cubicBezTo>
                  <a:cubicBezTo>
                    <a:pt x="5074444" y="285274"/>
                    <a:pt x="5075396" y="278606"/>
                    <a:pt x="5076349" y="272891"/>
                  </a:cubicBezTo>
                  <a:close/>
                  <a:moveTo>
                    <a:pt x="5066824" y="377666"/>
                  </a:moveTo>
                  <a:cubicBezTo>
                    <a:pt x="5066824" y="378619"/>
                    <a:pt x="5066824" y="379571"/>
                    <a:pt x="5066824" y="380524"/>
                  </a:cubicBezTo>
                  <a:cubicBezTo>
                    <a:pt x="5066824" y="381476"/>
                    <a:pt x="5066824" y="382429"/>
                    <a:pt x="5066824" y="383381"/>
                  </a:cubicBezTo>
                  <a:cubicBezTo>
                    <a:pt x="5066824" y="383381"/>
                    <a:pt x="5066824" y="384334"/>
                    <a:pt x="5065871" y="384334"/>
                  </a:cubicBezTo>
                  <a:cubicBezTo>
                    <a:pt x="5065871" y="383381"/>
                    <a:pt x="5064919" y="382429"/>
                    <a:pt x="5064919" y="381476"/>
                  </a:cubicBezTo>
                  <a:cubicBezTo>
                    <a:pt x="5065871" y="380524"/>
                    <a:pt x="5065871" y="379571"/>
                    <a:pt x="5066824" y="377666"/>
                  </a:cubicBezTo>
                  <a:close/>
                  <a:moveTo>
                    <a:pt x="5057299" y="303371"/>
                  </a:moveTo>
                  <a:cubicBezTo>
                    <a:pt x="5055394" y="300514"/>
                    <a:pt x="5053489" y="297656"/>
                    <a:pt x="5051584" y="294799"/>
                  </a:cubicBezTo>
                  <a:cubicBezTo>
                    <a:pt x="5051584" y="293846"/>
                    <a:pt x="5051584" y="291941"/>
                    <a:pt x="5052537" y="290989"/>
                  </a:cubicBezTo>
                  <a:cubicBezTo>
                    <a:pt x="5053489" y="290036"/>
                    <a:pt x="5054442" y="288131"/>
                    <a:pt x="5055394" y="287179"/>
                  </a:cubicBezTo>
                  <a:cubicBezTo>
                    <a:pt x="5056346" y="291941"/>
                    <a:pt x="5056346" y="297656"/>
                    <a:pt x="5057299" y="303371"/>
                  </a:cubicBezTo>
                  <a:close/>
                  <a:moveTo>
                    <a:pt x="5050631" y="252889"/>
                  </a:moveTo>
                  <a:cubicBezTo>
                    <a:pt x="5051584" y="254794"/>
                    <a:pt x="5051584" y="256699"/>
                    <a:pt x="5052537" y="258604"/>
                  </a:cubicBezTo>
                  <a:cubicBezTo>
                    <a:pt x="5052537" y="259556"/>
                    <a:pt x="5052537" y="260509"/>
                    <a:pt x="5053489" y="260509"/>
                  </a:cubicBezTo>
                  <a:cubicBezTo>
                    <a:pt x="5053489" y="262414"/>
                    <a:pt x="5053489" y="265271"/>
                    <a:pt x="5054442" y="268129"/>
                  </a:cubicBezTo>
                  <a:cubicBezTo>
                    <a:pt x="5053489" y="270034"/>
                    <a:pt x="5053489" y="271939"/>
                    <a:pt x="5052537" y="273844"/>
                  </a:cubicBezTo>
                  <a:cubicBezTo>
                    <a:pt x="5052537" y="274796"/>
                    <a:pt x="5051584" y="275749"/>
                    <a:pt x="5051584" y="276701"/>
                  </a:cubicBezTo>
                  <a:cubicBezTo>
                    <a:pt x="5050631" y="277654"/>
                    <a:pt x="5049679" y="278606"/>
                    <a:pt x="5048726" y="279559"/>
                  </a:cubicBezTo>
                  <a:cubicBezTo>
                    <a:pt x="5048726" y="279559"/>
                    <a:pt x="5048726" y="278606"/>
                    <a:pt x="5048726" y="278606"/>
                  </a:cubicBezTo>
                  <a:cubicBezTo>
                    <a:pt x="5048726" y="277654"/>
                    <a:pt x="5048726" y="275749"/>
                    <a:pt x="5048726" y="274796"/>
                  </a:cubicBezTo>
                  <a:cubicBezTo>
                    <a:pt x="5048726" y="271939"/>
                    <a:pt x="5048726" y="270034"/>
                    <a:pt x="5049679" y="268129"/>
                  </a:cubicBezTo>
                  <a:cubicBezTo>
                    <a:pt x="5049679" y="264319"/>
                    <a:pt x="5050631" y="262414"/>
                    <a:pt x="5050631" y="262414"/>
                  </a:cubicBezTo>
                  <a:cubicBezTo>
                    <a:pt x="5050631" y="262414"/>
                    <a:pt x="5049679" y="264319"/>
                    <a:pt x="5048726" y="268129"/>
                  </a:cubicBezTo>
                  <a:cubicBezTo>
                    <a:pt x="5048726" y="268129"/>
                    <a:pt x="5048726" y="269081"/>
                    <a:pt x="5048726" y="269081"/>
                  </a:cubicBezTo>
                  <a:cubicBezTo>
                    <a:pt x="5048726" y="268129"/>
                    <a:pt x="5048726" y="267176"/>
                    <a:pt x="5048726" y="266224"/>
                  </a:cubicBezTo>
                  <a:cubicBezTo>
                    <a:pt x="5048726" y="260509"/>
                    <a:pt x="5049679" y="256699"/>
                    <a:pt x="5050631" y="252889"/>
                  </a:cubicBezTo>
                  <a:close/>
                  <a:moveTo>
                    <a:pt x="5020151" y="390049"/>
                  </a:moveTo>
                  <a:cubicBezTo>
                    <a:pt x="5018246" y="385286"/>
                    <a:pt x="5016342" y="380524"/>
                    <a:pt x="5014437" y="376714"/>
                  </a:cubicBezTo>
                  <a:cubicBezTo>
                    <a:pt x="5014437" y="376714"/>
                    <a:pt x="5014437" y="375761"/>
                    <a:pt x="5014437" y="375761"/>
                  </a:cubicBezTo>
                  <a:cubicBezTo>
                    <a:pt x="5017294" y="365284"/>
                    <a:pt x="5020151" y="355759"/>
                    <a:pt x="5022056" y="347186"/>
                  </a:cubicBezTo>
                  <a:cubicBezTo>
                    <a:pt x="5022056" y="347186"/>
                    <a:pt x="5022056" y="348139"/>
                    <a:pt x="5022056" y="348139"/>
                  </a:cubicBezTo>
                  <a:cubicBezTo>
                    <a:pt x="5022056" y="352901"/>
                    <a:pt x="5022056" y="357664"/>
                    <a:pt x="5022056" y="363379"/>
                  </a:cubicBezTo>
                  <a:cubicBezTo>
                    <a:pt x="5022056" y="368141"/>
                    <a:pt x="5023009" y="373856"/>
                    <a:pt x="5023009" y="379571"/>
                  </a:cubicBezTo>
                  <a:cubicBezTo>
                    <a:pt x="5023009" y="381476"/>
                    <a:pt x="5023009" y="384334"/>
                    <a:pt x="5023962" y="386239"/>
                  </a:cubicBezTo>
                  <a:cubicBezTo>
                    <a:pt x="5023009" y="386239"/>
                    <a:pt x="5022056" y="388144"/>
                    <a:pt x="5020151" y="390049"/>
                  </a:cubicBezTo>
                  <a:close/>
                  <a:moveTo>
                    <a:pt x="5024914" y="400526"/>
                  </a:moveTo>
                  <a:cubicBezTo>
                    <a:pt x="5024914" y="400526"/>
                    <a:pt x="5024914" y="400526"/>
                    <a:pt x="5024914" y="400526"/>
                  </a:cubicBezTo>
                  <a:cubicBezTo>
                    <a:pt x="5024914" y="400526"/>
                    <a:pt x="5024914" y="400526"/>
                    <a:pt x="5024914" y="400526"/>
                  </a:cubicBezTo>
                  <a:cubicBezTo>
                    <a:pt x="5024914" y="400526"/>
                    <a:pt x="5024914" y="400526"/>
                    <a:pt x="5024914" y="400526"/>
                  </a:cubicBezTo>
                  <a:close/>
                  <a:moveTo>
                    <a:pt x="5035392" y="314801"/>
                  </a:moveTo>
                  <a:cubicBezTo>
                    <a:pt x="5035392" y="315754"/>
                    <a:pt x="5035392" y="316706"/>
                    <a:pt x="5035392" y="317659"/>
                  </a:cubicBezTo>
                  <a:cubicBezTo>
                    <a:pt x="5034439" y="329089"/>
                    <a:pt x="5032534" y="341471"/>
                    <a:pt x="5031581" y="353854"/>
                  </a:cubicBezTo>
                  <a:cubicBezTo>
                    <a:pt x="5031581" y="353854"/>
                    <a:pt x="5031581" y="353854"/>
                    <a:pt x="5031581" y="353854"/>
                  </a:cubicBezTo>
                  <a:cubicBezTo>
                    <a:pt x="5031581" y="353854"/>
                    <a:pt x="5031581" y="354806"/>
                    <a:pt x="5031581" y="354806"/>
                  </a:cubicBezTo>
                  <a:cubicBezTo>
                    <a:pt x="5031581" y="351949"/>
                    <a:pt x="5030629" y="349091"/>
                    <a:pt x="5030629" y="347186"/>
                  </a:cubicBezTo>
                  <a:cubicBezTo>
                    <a:pt x="5029676" y="340519"/>
                    <a:pt x="5028724" y="334804"/>
                    <a:pt x="5027771" y="329089"/>
                  </a:cubicBezTo>
                  <a:cubicBezTo>
                    <a:pt x="5027771" y="328136"/>
                    <a:pt x="5028724" y="326231"/>
                    <a:pt x="5028724" y="325279"/>
                  </a:cubicBezTo>
                  <a:cubicBezTo>
                    <a:pt x="5029676" y="323374"/>
                    <a:pt x="5030629" y="321469"/>
                    <a:pt x="5032534" y="319564"/>
                  </a:cubicBezTo>
                  <a:cubicBezTo>
                    <a:pt x="5033487" y="317659"/>
                    <a:pt x="5034439" y="315754"/>
                    <a:pt x="5035392" y="314801"/>
                  </a:cubicBezTo>
                  <a:close/>
                  <a:moveTo>
                    <a:pt x="5006817" y="242411"/>
                  </a:moveTo>
                  <a:cubicBezTo>
                    <a:pt x="5009674" y="246221"/>
                    <a:pt x="5013484" y="251936"/>
                    <a:pt x="5019199" y="259556"/>
                  </a:cubicBezTo>
                  <a:cubicBezTo>
                    <a:pt x="5022056" y="262414"/>
                    <a:pt x="5023962" y="266224"/>
                    <a:pt x="5025867" y="270034"/>
                  </a:cubicBezTo>
                  <a:cubicBezTo>
                    <a:pt x="5023962" y="268129"/>
                    <a:pt x="5022056" y="265271"/>
                    <a:pt x="5021104" y="263366"/>
                  </a:cubicBezTo>
                  <a:cubicBezTo>
                    <a:pt x="5019199" y="260509"/>
                    <a:pt x="5016342" y="258604"/>
                    <a:pt x="5014437" y="255746"/>
                  </a:cubicBezTo>
                  <a:cubicBezTo>
                    <a:pt x="5011579" y="251936"/>
                    <a:pt x="5007769" y="249079"/>
                    <a:pt x="5004912" y="245269"/>
                  </a:cubicBezTo>
                  <a:cubicBezTo>
                    <a:pt x="5006817" y="244316"/>
                    <a:pt x="5006817" y="243364"/>
                    <a:pt x="5006817" y="242411"/>
                  </a:cubicBezTo>
                  <a:close/>
                  <a:moveTo>
                    <a:pt x="5004912" y="242411"/>
                  </a:moveTo>
                  <a:cubicBezTo>
                    <a:pt x="5004912" y="241459"/>
                    <a:pt x="5004912" y="240506"/>
                    <a:pt x="5004912" y="238601"/>
                  </a:cubicBezTo>
                  <a:cubicBezTo>
                    <a:pt x="5004912" y="238601"/>
                    <a:pt x="5005864" y="239554"/>
                    <a:pt x="5006817" y="241459"/>
                  </a:cubicBezTo>
                  <a:cubicBezTo>
                    <a:pt x="5005864" y="242411"/>
                    <a:pt x="5005864" y="243364"/>
                    <a:pt x="5004912" y="244316"/>
                  </a:cubicBezTo>
                  <a:cubicBezTo>
                    <a:pt x="5004912" y="244316"/>
                    <a:pt x="5004912" y="244316"/>
                    <a:pt x="5004912" y="243364"/>
                  </a:cubicBezTo>
                  <a:cubicBezTo>
                    <a:pt x="5003959" y="243364"/>
                    <a:pt x="5003959" y="242411"/>
                    <a:pt x="5004912" y="242411"/>
                  </a:cubicBezTo>
                  <a:close/>
                  <a:moveTo>
                    <a:pt x="4999196" y="303371"/>
                  </a:moveTo>
                  <a:cubicBezTo>
                    <a:pt x="5001101" y="285274"/>
                    <a:pt x="5002054" y="268129"/>
                    <a:pt x="5003006" y="252889"/>
                  </a:cubicBezTo>
                  <a:cubicBezTo>
                    <a:pt x="5004912" y="255746"/>
                    <a:pt x="5006817" y="257651"/>
                    <a:pt x="5008721" y="260509"/>
                  </a:cubicBezTo>
                  <a:cubicBezTo>
                    <a:pt x="5010626" y="263366"/>
                    <a:pt x="5012531" y="266224"/>
                    <a:pt x="5014437" y="268129"/>
                  </a:cubicBezTo>
                  <a:cubicBezTo>
                    <a:pt x="5016342" y="270986"/>
                    <a:pt x="5018246" y="273844"/>
                    <a:pt x="5020151" y="276701"/>
                  </a:cubicBezTo>
                  <a:cubicBezTo>
                    <a:pt x="5023009" y="281464"/>
                    <a:pt x="5026819" y="287179"/>
                    <a:pt x="5029676" y="292894"/>
                  </a:cubicBezTo>
                  <a:cubicBezTo>
                    <a:pt x="5029676" y="292894"/>
                    <a:pt x="5029676" y="293846"/>
                    <a:pt x="5029676" y="293846"/>
                  </a:cubicBezTo>
                  <a:cubicBezTo>
                    <a:pt x="5028724" y="296704"/>
                    <a:pt x="5026819" y="299561"/>
                    <a:pt x="5025867" y="302419"/>
                  </a:cubicBezTo>
                  <a:cubicBezTo>
                    <a:pt x="5024914" y="303371"/>
                    <a:pt x="5023962" y="304324"/>
                    <a:pt x="5023009" y="305276"/>
                  </a:cubicBezTo>
                  <a:cubicBezTo>
                    <a:pt x="5023009" y="302419"/>
                    <a:pt x="5022056" y="301466"/>
                    <a:pt x="5022056" y="301466"/>
                  </a:cubicBezTo>
                  <a:cubicBezTo>
                    <a:pt x="5022056" y="301466"/>
                    <a:pt x="5022056" y="303371"/>
                    <a:pt x="5022056" y="306229"/>
                  </a:cubicBezTo>
                  <a:cubicBezTo>
                    <a:pt x="5021104" y="307181"/>
                    <a:pt x="5020151" y="308134"/>
                    <a:pt x="5019199" y="309086"/>
                  </a:cubicBezTo>
                  <a:cubicBezTo>
                    <a:pt x="5017294" y="311944"/>
                    <a:pt x="5014437" y="314801"/>
                    <a:pt x="5012531" y="318611"/>
                  </a:cubicBezTo>
                  <a:cubicBezTo>
                    <a:pt x="5012531" y="316706"/>
                    <a:pt x="5013484" y="313849"/>
                    <a:pt x="5013484" y="311944"/>
                  </a:cubicBezTo>
                  <a:cubicBezTo>
                    <a:pt x="5014437" y="305276"/>
                    <a:pt x="5015389" y="299561"/>
                    <a:pt x="5017294" y="294799"/>
                  </a:cubicBezTo>
                  <a:cubicBezTo>
                    <a:pt x="5019199" y="285274"/>
                    <a:pt x="5020151" y="279559"/>
                    <a:pt x="5020151" y="279559"/>
                  </a:cubicBezTo>
                  <a:cubicBezTo>
                    <a:pt x="5020151" y="279559"/>
                    <a:pt x="5017294" y="284321"/>
                    <a:pt x="5013484" y="293846"/>
                  </a:cubicBezTo>
                  <a:cubicBezTo>
                    <a:pt x="5011579" y="298609"/>
                    <a:pt x="5008721" y="304324"/>
                    <a:pt x="5006817" y="310039"/>
                  </a:cubicBezTo>
                  <a:cubicBezTo>
                    <a:pt x="5003959" y="316706"/>
                    <a:pt x="5002054" y="324326"/>
                    <a:pt x="4999196" y="331946"/>
                  </a:cubicBezTo>
                  <a:cubicBezTo>
                    <a:pt x="4999196" y="331946"/>
                    <a:pt x="4999196" y="332899"/>
                    <a:pt x="4999196" y="332899"/>
                  </a:cubicBezTo>
                  <a:cubicBezTo>
                    <a:pt x="4998244" y="330994"/>
                    <a:pt x="4997292" y="329089"/>
                    <a:pt x="4997292" y="327184"/>
                  </a:cubicBezTo>
                  <a:cubicBezTo>
                    <a:pt x="4998244" y="320516"/>
                    <a:pt x="4998244" y="311944"/>
                    <a:pt x="4999196" y="303371"/>
                  </a:cubicBezTo>
                  <a:close/>
                  <a:moveTo>
                    <a:pt x="4968717" y="208121"/>
                  </a:moveTo>
                  <a:cubicBezTo>
                    <a:pt x="4968717" y="209074"/>
                    <a:pt x="4968717" y="210026"/>
                    <a:pt x="4967764" y="212884"/>
                  </a:cubicBezTo>
                  <a:cubicBezTo>
                    <a:pt x="4967764" y="213836"/>
                    <a:pt x="4966812" y="215741"/>
                    <a:pt x="4966812" y="217646"/>
                  </a:cubicBezTo>
                  <a:cubicBezTo>
                    <a:pt x="4966812" y="216694"/>
                    <a:pt x="4966812" y="216694"/>
                    <a:pt x="4966812" y="215741"/>
                  </a:cubicBezTo>
                  <a:cubicBezTo>
                    <a:pt x="4967764" y="213836"/>
                    <a:pt x="4968717" y="210979"/>
                    <a:pt x="4968717" y="208121"/>
                  </a:cubicBezTo>
                  <a:close/>
                  <a:moveTo>
                    <a:pt x="4960144" y="364331"/>
                  </a:moveTo>
                  <a:cubicBezTo>
                    <a:pt x="4960144" y="370046"/>
                    <a:pt x="4961096" y="375761"/>
                    <a:pt x="4961096" y="381476"/>
                  </a:cubicBezTo>
                  <a:cubicBezTo>
                    <a:pt x="4960144" y="384334"/>
                    <a:pt x="4959192" y="388144"/>
                    <a:pt x="4958239" y="391001"/>
                  </a:cubicBezTo>
                  <a:cubicBezTo>
                    <a:pt x="4958239" y="389096"/>
                    <a:pt x="4957287" y="387191"/>
                    <a:pt x="4957287" y="386239"/>
                  </a:cubicBezTo>
                  <a:cubicBezTo>
                    <a:pt x="4957287" y="384334"/>
                    <a:pt x="4957287" y="382429"/>
                    <a:pt x="4957287" y="380524"/>
                  </a:cubicBezTo>
                  <a:cubicBezTo>
                    <a:pt x="4957287" y="371951"/>
                    <a:pt x="4957287" y="363379"/>
                    <a:pt x="4956334" y="356711"/>
                  </a:cubicBezTo>
                  <a:cubicBezTo>
                    <a:pt x="4956334" y="354806"/>
                    <a:pt x="4956334" y="353854"/>
                    <a:pt x="4956334" y="351949"/>
                  </a:cubicBezTo>
                  <a:cubicBezTo>
                    <a:pt x="4957287" y="350996"/>
                    <a:pt x="4958239" y="349091"/>
                    <a:pt x="4958239" y="348139"/>
                  </a:cubicBezTo>
                  <a:cubicBezTo>
                    <a:pt x="4959192" y="352901"/>
                    <a:pt x="4959192" y="358616"/>
                    <a:pt x="4960144" y="364331"/>
                  </a:cubicBezTo>
                  <a:close/>
                  <a:moveTo>
                    <a:pt x="4957287" y="256699"/>
                  </a:moveTo>
                  <a:cubicBezTo>
                    <a:pt x="4957287" y="257651"/>
                    <a:pt x="4957287" y="258604"/>
                    <a:pt x="4957287" y="258604"/>
                  </a:cubicBezTo>
                  <a:cubicBezTo>
                    <a:pt x="4957287" y="258604"/>
                    <a:pt x="4957287" y="259556"/>
                    <a:pt x="4957287" y="259556"/>
                  </a:cubicBezTo>
                  <a:cubicBezTo>
                    <a:pt x="4956334" y="262414"/>
                    <a:pt x="4956334" y="264319"/>
                    <a:pt x="4955381" y="267176"/>
                  </a:cubicBezTo>
                  <a:cubicBezTo>
                    <a:pt x="4955381" y="266224"/>
                    <a:pt x="4954429" y="266224"/>
                    <a:pt x="4954429" y="265271"/>
                  </a:cubicBezTo>
                  <a:cubicBezTo>
                    <a:pt x="4955381" y="263366"/>
                    <a:pt x="4956334" y="259556"/>
                    <a:pt x="4957287" y="256699"/>
                  </a:cubicBezTo>
                  <a:close/>
                  <a:moveTo>
                    <a:pt x="4954429" y="268129"/>
                  </a:moveTo>
                  <a:cubicBezTo>
                    <a:pt x="4954429" y="269081"/>
                    <a:pt x="4955381" y="270034"/>
                    <a:pt x="4955381" y="270986"/>
                  </a:cubicBezTo>
                  <a:cubicBezTo>
                    <a:pt x="4954429" y="276701"/>
                    <a:pt x="4952524" y="283369"/>
                    <a:pt x="4951571" y="290036"/>
                  </a:cubicBezTo>
                  <a:cubicBezTo>
                    <a:pt x="4949667" y="298609"/>
                    <a:pt x="4947762" y="307181"/>
                    <a:pt x="4944904" y="316706"/>
                  </a:cubicBezTo>
                  <a:cubicBezTo>
                    <a:pt x="4943951" y="312896"/>
                    <a:pt x="4943951" y="310991"/>
                    <a:pt x="4943951" y="310991"/>
                  </a:cubicBezTo>
                  <a:cubicBezTo>
                    <a:pt x="4943951" y="310991"/>
                    <a:pt x="4943951" y="314801"/>
                    <a:pt x="4943951" y="320516"/>
                  </a:cubicBezTo>
                  <a:cubicBezTo>
                    <a:pt x="4942999" y="326231"/>
                    <a:pt x="4941094" y="330994"/>
                    <a:pt x="4940142" y="336709"/>
                  </a:cubicBezTo>
                  <a:cubicBezTo>
                    <a:pt x="4940142" y="336709"/>
                    <a:pt x="4940142" y="335756"/>
                    <a:pt x="4940142" y="335756"/>
                  </a:cubicBezTo>
                  <a:cubicBezTo>
                    <a:pt x="4939189" y="331946"/>
                    <a:pt x="4939189" y="329089"/>
                    <a:pt x="4938237" y="325279"/>
                  </a:cubicBezTo>
                  <a:cubicBezTo>
                    <a:pt x="4943951" y="306229"/>
                    <a:pt x="4949667" y="286226"/>
                    <a:pt x="4954429" y="268129"/>
                  </a:cubicBezTo>
                  <a:close/>
                  <a:moveTo>
                    <a:pt x="4922044" y="378619"/>
                  </a:moveTo>
                  <a:cubicBezTo>
                    <a:pt x="4922044" y="378619"/>
                    <a:pt x="4922044" y="378619"/>
                    <a:pt x="4922044" y="378619"/>
                  </a:cubicBezTo>
                  <a:cubicBezTo>
                    <a:pt x="4922044" y="379571"/>
                    <a:pt x="4922044" y="379571"/>
                    <a:pt x="4922044" y="378619"/>
                  </a:cubicBezTo>
                  <a:cubicBezTo>
                    <a:pt x="4922044" y="379571"/>
                    <a:pt x="4922044" y="378619"/>
                    <a:pt x="4922044" y="378619"/>
                  </a:cubicBezTo>
                  <a:close/>
                  <a:moveTo>
                    <a:pt x="4908709" y="307181"/>
                  </a:moveTo>
                  <a:cubicBezTo>
                    <a:pt x="4910614" y="312896"/>
                    <a:pt x="4912519" y="318611"/>
                    <a:pt x="4915376" y="326231"/>
                  </a:cubicBezTo>
                  <a:cubicBezTo>
                    <a:pt x="4913471" y="330041"/>
                    <a:pt x="4911567" y="334804"/>
                    <a:pt x="4909662" y="338614"/>
                  </a:cubicBezTo>
                  <a:cubicBezTo>
                    <a:pt x="4908709" y="327184"/>
                    <a:pt x="4907756" y="316706"/>
                    <a:pt x="4906804" y="308134"/>
                  </a:cubicBezTo>
                  <a:cubicBezTo>
                    <a:pt x="4906804" y="306229"/>
                    <a:pt x="4906804" y="305276"/>
                    <a:pt x="4906804" y="305276"/>
                  </a:cubicBezTo>
                  <a:cubicBezTo>
                    <a:pt x="4906804" y="305276"/>
                    <a:pt x="4906804" y="306229"/>
                    <a:pt x="4905851" y="307181"/>
                  </a:cubicBezTo>
                  <a:cubicBezTo>
                    <a:pt x="4905851" y="303371"/>
                    <a:pt x="4904899" y="300514"/>
                    <a:pt x="4904899" y="297656"/>
                  </a:cubicBezTo>
                  <a:cubicBezTo>
                    <a:pt x="4906804" y="300514"/>
                    <a:pt x="4907756" y="303371"/>
                    <a:pt x="4908709" y="307181"/>
                  </a:cubicBezTo>
                  <a:close/>
                  <a:moveTo>
                    <a:pt x="4897279" y="351949"/>
                  </a:moveTo>
                  <a:cubicBezTo>
                    <a:pt x="4897279" y="356711"/>
                    <a:pt x="4897279" y="360521"/>
                    <a:pt x="4896326" y="365284"/>
                  </a:cubicBezTo>
                  <a:cubicBezTo>
                    <a:pt x="4896326" y="366236"/>
                    <a:pt x="4895374" y="367189"/>
                    <a:pt x="4895374" y="368141"/>
                  </a:cubicBezTo>
                  <a:cubicBezTo>
                    <a:pt x="4895374" y="365284"/>
                    <a:pt x="4894421" y="361474"/>
                    <a:pt x="4894421" y="357664"/>
                  </a:cubicBezTo>
                  <a:cubicBezTo>
                    <a:pt x="4893469" y="351949"/>
                    <a:pt x="4893469" y="347186"/>
                    <a:pt x="4892517" y="341471"/>
                  </a:cubicBezTo>
                  <a:cubicBezTo>
                    <a:pt x="4894421" y="345281"/>
                    <a:pt x="4895374" y="348139"/>
                    <a:pt x="4897279" y="351949"/>
                  </a:cubicBezTo>
                  <a:close/>
                  <a:moveTo>
                    <a:pt x="4822984" y="387191"/>
                  </a:moveTo>
                  <a:cubicBezTo>
                    <a:pt x="4822984" y="386239"/>
                    <a:pt x="4822984" y="386239"/>
                    <a:pt x="4822984" y="385286"/>
                  </a:cubicBezTo>
                  <a:cubicBezTo>
                    <a:pt x="4822984" y="386239"/>
                    <a:pt x="4822984" y="387191"/>
                    <a:pt x="4822984" y="387191"/>
                  </a:cubicBezTo>
                  <a:cubicBezTo>
                    <a:pt x="4822984" y="387191"/>
                    <a:pt x="4822984" y="387191"/>
                    <a:pt x="4822984" y="387191"/>
                  </a:cubicBezTo>
                  <a:close/>
                  <a:moveTo>
                    <a:pt x="4842987" y="338614"/>
                  </a:moveTo>
                  <a:cubicBezTo>
                    <a:pt x="4842987" y="344329"/>
                    <a:pt x="4842987" y="350044"/>
                    <a:pt x="4842987" y="356711"/>
                  </a:cubicBezTo>
                  <a:cubicBezTo>
                    <a:pt x="4842987" y="357664"/>
                    <a:pt x="4842987" y="359569"/>
                    <a:pt x="4842987" y="360521"/>
                  </a:cubicBezTo>
                  <a:cubicBezTo>
                    <a:pt x="4842034" y="366236"/>
                    <a:pt x="4841081" y="373856"/>
                    <a:pt x="4840129" y="382429"/>
                  </a:cubicBezTo>
                  <a:cubicBezTo>
                    <a:pt x="4839176" y="385286"/>
                    <a:pt x="4839176" y="387191"/>
                    <a:pt x="4838224" y="390049"/>
                  </a:cubicBezTo>
                  <a:cubicBezTo>
                    <a:pt x="4834414" y="389096"/>
                    <a:pt x="4830604" y="388144"/>
                    <a:pt x="4826794" y="387191"/>
                  </a:cubicBezTo>
                  <a:cubicBezTo>
                    <a:pt x="4825841" y="384334"/>
                    <a:pt x="4824889" y="381476"/>
                    <a:pt x="4824889" y="379571"/>
                  </a:cubicBezTo>
                  <a:cubicBezTo>
                    <a:pt x="4825841" y="376714"/>
                    <a:pt x="4826794" y="373856"/>
                    <a:pt x="4827747" y="370999"/>
                  </a:cubicBezTo>
                  <a:cubicBezTo>
                    <a:pt x="4830604" y="361474"/>
                    <a:pt x="4834414" y="352901"/>
                    <a:pt x="4838224" y="346234"/>
                  </a:cubicBezTo>
                  <a:cubicBezTo>
                    <a:pt x="4840129" y="342424"/>
                    <a:pt x="4842034" y="339566"/>
                    <a:pt x="4843939" y="336709"/>
                  </a:cubicBezTo>
                  <a:cubicBezTo>
                    <a:pt x="4842987" y="337661"/>
                    <a:pt x="4842987" y="338614"/>
                    <a:pt x="4842987" y="338614"/>
                  </a:cubicBezTo>
                  <a:cubicBezTo>
                    <a:pt x="4842987" y="338614"/>
                    <a:pt x="4842987" y="338614"/>
                    <a:pt x="4842987" y="338614"/>
                  </a:cubicBezTo>
                  <a:close/>
                  <a:moveTo>
                    <a:pt x="4843939" y="329089"/>
                  </a:moveTo>
                  <a:cubicBezTo>
                    <a:pt x="4843939" y="329089"/>
                    <a:pt x="4843939" y="329089"/>
                    <a:pt x="4843939" y="329089"/>
                  </a:cubicBezTo>
                  <a:cubicBezTo>
                    <a:pt x="4841081" y="324326"/>
                    <a:pt x="4838224" y="320516"/>
                    <a:pt x="4836319" y="318611"/>
                  </a:cubicBezTo>
                  <a:cubicBezTo>
                    <a:pt x="4836319" y="318611"/>
                    <a:pt x="4836319" y="318611"/>
                    <a:pt x="4836319" y="318611"/>
                  </a:cubicBezTo>
                  <a:cubicBezTo>
                    <a:pt x="4837272" y="316706"/>
                    <a:pt x="4838224" y="315754"/>
                    <a:pt x="4839176" y="314801"/>
                  </a:cubicBezTo>
                  <a:cubicBezTo>
                    <a:pt x="4840129" y="316706"/>
                    <a:pt x="4841081" y="319564"/>
                    <a:pt x="4842987" y="321469"/>
                  </a:cubicBezTo>
                  <a:cubicBezTo>
                    <a:pt x="4842987" y="322421"/>
                    <a:pt x="4843939" y="323374"/>
                    <a:pt x="4843939" y="323374"/>
                  </a:cubicBezTo>
                  <a:cubicBezTo>
                    <a:pt x="4843939" y="325279"/>
                    <a:pt x="4843939" y="327184"/>
                    <a:pt x="4843939" y="329089"/>
                  </a:cubicBezTo>
                  <a:close/>
                  <a:moveTo>
                    <a:pt x="4845844" y="296704"/>
                  </a:moveTo>
                  <a:cubicBezTo>
                    <a:pt x="4845844" y="302419"/>
                    <a:pt x="4844891" y="309086"/>
                    <a:pt x="4844891" y="316706"/>
                  </a:cubicBezTo>
                  <a:cubicBezTo>
                    <a:pt x="4842987" y="314801"/>
                    <a:pt x="4842034" y="311944"/>
                    <a:pt x="4840129" y="310039"/>
                  </a:cubicBezTo>
                  <a:cubicBezTo>
                    <a:pt x="4839176" y="309086"/>
                    <a:pt x="4838224" y="307181"/>
                    <a:pt x="4837272" y="306229"/>
                  </a:cubicBezTo>
                  <a:cubicBezTo>
                    <a:pt x="4840129" y="300514"/>
                    <a:pt x="4842987" y="295751"/>
                    <a:pt x="4845844" y="290989"/>
                  </a:cubicBezTo>
                  <a:cubicBezTo>
                    <a:pt x="4846797" y="290036"/>
                    <a:pt x="4846797" y="289084"/>
                    <a:pt x="4847749" y="288131"/>
                  </a:cubicBezTo>
                  <a:cubicBezTo>
                    <a:pt x="4846797" y="290989"/>
                    <a:pt x="4845844" y="293846"/>
                    <a:pt x="4845844" y="296704"/>
                  </a:cubicBezTo>
                  <a:close/>
                  <a:moveTo>
                    <a:pt x="4869656" y="325279"/>
                  </a:moveTo>
                  <a:cubicBezTo>
                    <a:pt x="4869656" y="326231"/>
                    <a:pt x="4869656" y="326231"/>
                    <a:pt x="4869656" y="327184"/>
                  </a:cubicBezTo>
                  <a:cubicBezTo>
                    <a:pt x="4869656" y="327184"/>
                    <a:pt x="4869656" y="326231"/>
                    <a:pt x="4869656" y="325279"/>
                  </a:cubicBezTo>
                  <a:cubicBezTo>
                    <a:pt x="4869656" y="323374"/>
                    <a:pt x="4869656" y="320516"/>
                    <a:pt x="4869656" y="318611"/>
                  </a:cubicBezTo>
                  <a:cubicBezTo>
                    <a:pt x="4869656" y="320516"/>
                    <a:pt x="4869656" y="323374"/>
                    <a:pt x="4869656" y="325279"/>
                  </a:cubicBezTo>
                  <a:close/>
                  <a:moveTo>
                    <a:pt x="4854416" y="276701"/>
                  </a:moveTo>
                  <a:cubicBezTo>
                    <a:pt x="4860131" y="267176"/>
                    <a:pt x="4865847" y="261461"/>
                    <a:pt x="4868704" y="256699"/>
                  </a:cubicBezTo>
                  <a:cubicBezTo>
                    <a:pt x="4869656" y="255746"/>
                    <a:pt x="4870609" y="253841"/>
                    <a:pt x="4871562" y="252889"/>
                  </a:cubicBezTo>
                  <a:cubicBezTo>
                    <a:pt x="4871562" y="254794"/>
                    <a:pt x="4871562" y="257651"/>
                    <a:pt x="4871562" y="259556"/>
                  </a:cubicBezTo>
                  <a:cubicBezTo>
                    <a:pt x="4868704" y="270986"/>
                    <a:pt x="4864894" y="283369"/>
                    <a:pt x="4861084" y="296704"/>
                  </a:cubicBezTo>
                  <a:cubicBezTo>
                    <a:pt x="4861084" y="297656"/>
                    <a:pt x="4860131" y="299561"/>
                    <a:pt x="4860131" y="300514"/>
                  </a:cubicBezTo>
                  <a:cubicBezTo>
                    <a:pt x="4857274" y="291941"/>
                    <a:pt x="4855369" y="284321"/>
                    <a:pt x="4853464" y="278606"/>
                  </a:cubicBezTo>
                  <a:cubicBezTo>
                    <a:pt x="4854416" y="277654"/>
                    <a:pt x="4854416" y="277654"/>
                    <a:pt x="4854416" y="276701"/>
                  </a:cubicBezTo>
                  <a:cubicBezTo>
                    <a:pt x="4854416" y="276701"/>
                    <a:pt x="4854416" y="276701"/>
                    <a:pt x="4854416" y="276701"/>
                  </a:cubicBezTo>
                  <a:close/>
                  <a:moveTo>
                    <a:pt x="4850606" y="281464"/>
                  </a:moveTo>
                  <a:cubicBezTo>
                    <a:pt x="4852512" y="290989"/>
                    <a:pt x="4854416" y="303371"/>
                    <a:pt x="4857274" y="316706"/>
                  </a:cubicBezTo>
                  <a:cubicBezTo>
                    <a:pt x="4856322" y="321469"/>
                    <a:pt x="4855369" y="325279"/>
                    <a:pt x="4854416" y="330041"/>
                  </a:cubicBezTo>
                  <a:cubicBezTo>
                    <a:pt x="4853464" y="329089"/>
                    <a:pt x="4852512" y="327184"/>
                    <a:pt x="4852512" y="326231"/>
                  </a:cubicBezTo>
                  <a:cubicBezTo>
                    <a:pt x="4852512" y="325279"/>
                    <a:pt x="4852512" y="323374"/>
                    <a:pt x="4852512" y="322421"/>
                  </a:cubicBezTo>
                  <a:cubicBezTo>
                    <a:pt x="4851559" y="311944"/>
                    <a:pt x="4851559" y="303371"/>
                    <a:pt x="4850606" y="295751"/>
                  </a:cubicBezTo>
                  <a:cubicBezTo>
                    <a:pt x="4850606" y="290989"/>
                    <a:pt x="4849654" y="287179"/>
                    <a:pt x="4849654" y="284321"/>
                  </a:cubicBezTo>
                  <a:cubicBezTo>
                    <a:pt x="4849654" y="283369"/>
                    <a:pt x="4849654" y="282416"/>
                    <a:pt x="4850606" y="281464"/>
                  </a:cubicBezTo>
                  <a:close/>
                  <a:moveTo>
                    <a:pt x="4838224" y="290036"/>
                  </a:moveTo>
                  <a:cubicBezTo>
                    <a:pt x="4841081" y="283369"/>
                    <a:pt x="4843939" y="277654"/>
                    <a:pt x="4845844" y="272891"/>
                  </a:cubicBezTo>
                  <a:cubicBezTo>
                    <a:pt x="4846797" y="270034"/>
                    <a:pt x="4847749" y="267176"/>
                    <a:pt x="4848701" y="265271"/>
                  </a:cubicBezTo>
                  <a:cubicBezTo>
                    <a:pt x="4848701" y="268129"/>
                    <a:pt x="4849654" y="271939"/>
                    <a:pt x="4849654" y="275749"/>
                  </a:cubicBezTo>
                  <a:cubicBezTo>
                    <a:pt x="4848701" y="276701"/>
                    <a:pt x="4848701" y="277654"/>
                    <a:pt x="4847749" y="277654"/>
                  </a:cubicBezTo>
                  <a:cubicBezTo>
                    <a:pt x="4847749" y="274796"/>
                    <a:pt x="4847749" y="273844"/>
                    <a:pt x="4847749" y="273844"/>
                  </a:cubicBezTo>
                  <a:cubicBezTo>
                    <a:pt x="4847749" y="273844"/>
                    <a:pt x="4847749" y="275749"/>
                    <a:pt x="4847749" y="278606"/>
                  </a:cubicBezTo>
                  <a:cubicBezTo>
                    <a:pt x="4845844" y="281464"/>
                    <a:pt x="4842987" y="284321"/>
                    <a:pt x="4841081" y="288131"/>
                  </a:cubicBezTo>
                  <a:cubicBezTo>
                    <a:pt x="4840129" y="290036"/>
                    <a:pt x="4838224" y="291941"/>
                    <a:pt x="4836319" y="294799"/>
                  </a:cubicBezTo>
                  <a:cubicBezTo>
                    <a:pt x="4836319" y="292894"/>
                    <a:pt x="4837272" y="291941"/>
                    <a:pt x="4838224" y="290036"/>
                  </a:cubicBezTo>
                  <a:close/>
                  <a:moveTo>
                    <a:pt x="4835366" y="309086"/>
                  </a:moveTo>
                  <a:cubicBezTo>
                    <a:pt x="4835366" y="309086"/>
                    <a:pt x="4835366" y="308134"/>
                    <a:pt x="4836319" y="308134"/>
                  </a:cubicBezTo>
                  <a:cubicBezTo>
                    <a:pt x="4837272" y="309086"/>
                    <a:pt x="4837272" y="310039"/>
                    <a:pt x="4838224" y="311944"/>
                  </a:cubicBezTo>
                  <a:cubicBezTo>
                    <a:pt x="4838224" y="312896"/>
                    <a:pt x="4839176" y="312896"/>
                    <a:pt x="4839176" y="313849"/>
                  </a:cubicBezTo>
                  <a:cubicBezTo>
                    <a:pt x="4838224" y="314801"/>
                    <a:pt x="4837272" y="315754"/>
                    <a:pt x="4835366" y="317659"/>
                  </a:cubicBezTo>
                  <a:cubicBezTo>
                    <a:pt x="4835366" y="317659"/>
                    <a:pt x="4835366" y="317659"/>
                    <a:pt x="4835366" y="317659"/>
                  </a:cubicBezTo>
                  <a:cubicBezTo>
                    <a:pt x="4835366" y="317659"/>
                    <a:pt x="4834414" y="316706"/>
                    <a:pt x="4834414" y="316706"/>
                  </a:cubicBezTo>
                  <a:cubicBezTo>
                    <a:pt x="4833462" y="315754"/>
                    <a:pt x="4833462" y="315754"/>
                    <a:pt x="4832509" y="314801"/>
                  </a:cubicBezTo>
                  <a:cubicBezTo>
                    <a:pt x="4833462" y="312896"/>
                    <a:pt x="4834414" y="310991"/>
                    <a:pt x="4835366" y="309086"/>
                  </a:cubicBezTo>
                  <a:close/>
                  <a:moveTo>
                    <a:pt x="4830604" y="319564"/>
                  </a:moveTo>
                  <a:cubicBezTo>
                    <a:pt x="4831556" y="317659"/>
                    <a:pt x="4831556" y="316706"/>
                    <a:pt x="4832509" y="314801"/>
                  </a:cubicBezTo>
                  <a:cubicBezTo>
                    <a:pt x="4832509" y="315754"/>
                    <a:pt x="4833462" y="315754"/>
                    <a:pt x="4833462" y="316706"/>
                  </a:cubicBezTo>
                  <a:cubicBezTo>
                    <a:pt x="4833462" y="317659"/>
                    <a:pt x="4834414" y="317659"/>
                    <a:pt x="4834414" y="318611"/>
                  </a:cubicBezTo>
                  <a:cubicBezTo>
                    <a:pt x="4832509" y="320516"/>
                    <a:pt x="4830604" y="322421"/>
                    <a:pt x="4828699" y="324326"/>
                  </a:cubicBezTo>
                  <a:cubicBezTo>
                    <a:pt x="4829651" y="322421"/>
                    <a:pt x="4829651" y="320516"/>
                    <a:pt x="4830604" y="319564"/>
                  </a:cubicBezTo>
                  <a:close/>
                  <a:moveTo>
                    <a:pt x="4817269" y="364331"/>
                  </a:moveTo>
                  <a:cubicBezTo>
                    <a:pt x="4817269" y="361474"/>
                    <a:pt x="4817269" y="359569"/>
                    <a:pt x="4817269" y="356711"/>
                  </a:cubicBezTo>
                  <a:cubicBezTo>
                    <a:pt x="4820126" y="349091"/>
                    <a:pt x="4822984" y="342424"/>
                    <a:pt x="4824889" y="335756"/>
                  </a:cubicBezTo>
                  <a:cubicBezTo>
                    <a:pt x="4824889" y="335756"/>
                    <a:pt x="4825841" y="334804"/>
                    <a:pt x="4825841" y="334804"/>
                  </a:cubicBezTo>
                  <a:cubicBezTo>
                    <a:pt x="4829651" y="328136"/>
                    <a:pt x="4833462" y="323374"/>
                    <a:pt x="4835366" y="319564"/>
                  </a:cubicBezTo>
                  <a:cubicBezTo>
                    <a:pt x="4835366" y="320516"/>
                    <a:pt x="4836319" y="321469"/>
                    <a:pt x="4837272" y="322421"/>
                  </a:cubicBezTo>
                  <a:cubicBezTo>
                    <a:pt x="4838224" y="324326"/>
                    <a:pt x="4839176" y="327184"/>
                    <a:pt x="4841081" y="330994"/>
                  </a:cubicBezTo>
                  <a:cubicBezTo>
                    <a:pt x="4842034" y="332899"/>
                    <a:pt x="4842034" y="333851"/>
                    <a:pt x="4842987" y="335756"/>
                  </a:cubicBezTo>
                  <a:cubicBezTo>
                    <a:pt x="4840129" y="338614"/>
                    <a:pt x="4838224" y="341471"/>
                    <a:pt x="4835366" y="345281"/>
                  </a:cubicBezTo>
                  <a:cubicBezTo>
                    <a:pt x="4831556" y="350996"/>
                    <a:pt x="4826794" y="357664"/>
                    <a:pt x="4822984" y="366236"/>
                  </a:cubicBezTo>
                  <a:cubicBezTo>
                    <a:pt x="4822031" y="367189"/>
                    <a:pt x="4821079" y="368141"/>
                    <a:pt x="4820126" y="369094"/>
                  </a:cubicBezTo>
                  <a:cubicBezTo>
                    <a:pt x="4819174" y="370046"/>
                    <a:pt x="4818222" y="370999"/>
                    <a:pt x="4817269" y="371951"/>
                  </a:cubicBezTo>
                  <a:cubicBezTo>
                    <a:pt x="4816316" y="369094"/>
                    <a:pt x="4817269" y="366236"/>
                    <a:pt x="4817269" y="364331"/>
                  </a:cubicBezTo>
                  <a:close/>
                  <a:moveTo>
                    <a:pt x="4816316" y="376714"/>
                  </a:moveTo>
                  <a:cubicBezTo>
                    <a:pt x="4817269" y="373856"/>
                    <a:pt x="4819174" y="370999"/>
                    <a:pt x="4820126" y="370046"/>
                  </a:cubicBezTo>
                  <a:cubicBezTo>
                    <a:pt x="4820126" y="370046"/>
                    <a:pt x="4820126" y="370046"/>
                    <a:pt x="4820126" y="370046"/>
                  </a:cubicBezTo>
                  <a:cubicBezTo>
                    <a:pt x="4820126" y="370046"/>
                    <a:pt x="4820126" y="370046"/>
                    <a:pt x="4820126" y="370046"/>
                  </a:cubicBezTo>
                  <a:cubicBezTo>
                    <a:pt x="4819174" y="372904"/>
                    <a:pt x="4817269" y="375761"/>
                    <a:pt x="4816316" y="378619"/>
                  </a:cubicBezTo>
                  <a:cubicBezTo>
                    <a:pt x="4816316" y="376714"/>
                    <a:pt x="4816316" y="376714"/>
                    <a:pt x="4816316" y="376714"/>
                  </a:cubicBezTo>
                  <a:close/>
                  <a:moveTo>
                    <a:pt x="4762024" y="305276"/>
                  </a:moveTo>
                  <a:cubicBezTo>
                    <a:pt x="4762024" y="306229"/>
                    <a:pt x="4762976" y="312896"/>
                    <a:pt x="4763929" y="322421"/>
                  </a:cubicBezTo>
                  <a:cubicBezTo>
                    <a:pt x="4762024" y="317659"/>
                    <a:pt x="4761072" y="313849"/>
                    <a:pt x="4760119" y="309086"/>
                  </a:cubicBezTo>
                  <a:cubicBezTo>
                    <a:pt x="4761072" y="306229"/>
                    <a:pt x="4761072" y="303371"/>
                    <a:pt x="4762024" y="300514"/>
                  </a:cubicBezTo>
                  <a:cubicBezTo>
                    <a:pt x="4762024" y="302419"/>
                    <a:pt x="4762024" y="303371"/>
                    <a:pt x="4762024" y="305276"/>
                  </a:cubicBezTo>
                  <a:close/>
                  <a:moveTo>
                    <a:pt x="4755356" y="279559"/>
                  </a:moveTo>
                  <a:cubicBezTo>
                    <a:pt x="4757262" y="284321"/>
                    <a:pt x="4758214" y="289084"/>
                    <a:pt x="4760119" y="294799"/>
                  </a:cubicBezTo>
                  <a:cubicBezTo>
                    <a:pt x="4760119" y="295751"/>
                    <a:pt x="4760119" y="296704"/>
                    <a:pt x="4761072" y="297656"/>
                  </a:cubicBezTo>
                  <a:cubicBezTo>
                    <a:pt x="4760119" y="299561"/>
                    <a:pt x="4759166" y="301466"/>
                    <a:pt x="4758214" y="304324"/>
                  </a:cubicBezTo>
                  <a:cubicBezTo>
                    <a:pt x="4757262" y="300514"/>
                    <a:pt x="4755356" y="296704"/>
                    <a:pt x="4754404" y="292894"/>
                  </a:cubicBezTo>
                  <a:cubicBezTo>
                    <a:pt x="4754404" y="288131"/>
                    <a:pt x="4754404" y="284321"/>
                    <a:pt x="4755356" y="279559"/>
                  </a:cubicBezTo>
                  <a:close/>
                  <a:moveTo>
                    <a:pt x="4759166" y="342424"/>
                  </a:moveTo>
                  <a:cubicBezTo>
                    <a:pt x="4757262" y="338614"/>
                    <a:pt x="4756309" y="335756"/>
                    <a:pt x="4755356" y="331946"/>
                  </a:cubicBezTo>
                  <a:cubicBezTo>
                    <a:pt x="4755356" y="330041"/>
                    <a:pt x="4756309" y="328136"/>
                    <a:pt x="4756309" y="326231"/>
                  </a:cubicBezTo>
                  <a:cubicBezTo>
                    <a:pt x="4757262" y="330994"/>
                    <a:pt x="4758214" y="336709"/>
                    <a:pt x="4759166" y="342424"/>
                  </a:cubicBezTo>
                  <a:close/>
                  <a:moveTo>
                    <a:pt x="4753451" y="312896"/>
                  </a:moveTo>
                  <a:cubicBezTo>
                    <a:pt x="4753451" y="313849"/>
                    <a:pt x="4753451" y="314801"/>
                    <a:pt x="4754404" y="315754"/>
                  </a:cubicBezTo>
                  <a:cubicBezTo>
                    <a:pt x="4754404" y="316706"/>
                    <a:pt x="4754404" y="316706"/>
                    <a:pt x="4753451" y="317659"/>
                  </a:cubicBezTo>
                  <a:cubicBezTo>
                    <a:pt x="4753451" y="315754"/>
                    <a:pt x="4753451" y="313849"/>
                    <a:pt x="4753451" y="312896"/>
                  </a:cubicBezTo>
                  <a:close/>
                  <a:moveTo>
                    <a:pt x="4755356" y="373856"/>
                  </a:moveTo>
                  <a:cubicBezTo>
                    <a:pt x="4755356" y="374809"/>
                    <a:pt x="4755356" y="374809"/>
                    <a:pt x="4756309" y="375761"/>
                  </a:cubicBezTo>
                  <a:cubicBezTo>
                    <a:pt x="4755356" y="376714"/>
                    <a:pt x="4755356" y="378619"/>
                    <a:pt x="4754404" y="379571"/>
                  </a:cubicBezTo>
                  <a:cubicBezTo>
                    <a:pt x="4753451" y="379571"/>
                    <a:pt x="4753451" y="379571"/>
                    <a:pt x="4752499" y="379571"/>
                  </a:cubicBezTo>
                  <a:cubicBezTo>
                    <a:pt x="4753451" y="377666"/>
                    <a:pt x="4754404" y="375761"/>
                    <a:pt x="4755356" y="373856"/>
                  </a:cubicBezTo>
                  <a:close/>
                  <a:moveTo>
                    <a:pt x="4748689" y="291941"/>
                  </a:moveTo>
                  <a:cubicBezTo>
                    <a:pt x="4747737" y="295751"/>
                    <a:pt x="4747737" y="299561"/>
                    <a:pt x="4746784" y="303371"/>
                  </a:cubicBezTo>
                  <a:cubicBezTo>
                    <a:pt x="4746784" y="303371"/>
                    <a:pt x="4746784" y="303371"/>
                    <a:pt x="4746784" y="303371"/>
                  </a:cubicBezTo>
                  <a:cubicBezTo>
                    <a:pt x="4746784" y="302419"/>
                    <a:pt x="4746784" y="300514"/>
                    <a:pt x="4746784" y="299561"/>
                  </a:cubicBezTo>
                  <a:cubicBezTo>
                    <a:pt x="4746784" y="296704"/>
                    <a:pt x="4747737" y="293846"/>
                    <a:pt x="4748689" y="291941"/>
                  </a:cubicBezTo>
                  <a:close/>
                  <a:moveTo>
                    <a:pt x="4738212" y="327184"/>
                  </a:moveTo>
                  <a:cubicBezTo>
                    <a:pt x="4738212" y="331946"/>
                    <a:pt x="4737259" y="335756"/>
                    <a:pt x="4737259" y="341471"/>
                  </a:cubicBezTo>
                  <a:cubicBezTo>
                    <a:pt x="4737259" y="339566"/>
                    <a:pt x="4736306" y="338614"/>
                    <a:pt x="4736306" y="336709"/>
                  </a:cubicBezTo>
                  <a:cubicBezTo>
                    <a:pt x="4737259" y="332899"/>
                    <a:pt x="4737259" y="330041"/>
                    <a:pt x="4738212" y="327184"/>
                  </a:cubicBezTo>
                  <a:close/>
                  <a:moveTo>
                    <a:pt x="4720114" y="261461"/>
                  </a:moveTo>
                  <a:cubicBezTo>
                    <a:pt x="4720114" y="261461"/>
                    <a:pt x="4720114" y="261461"/>
                    <a:pt x="4720114" y="261461"/>
                  </a:cubicBezTo>
                  <a:cubicBezTo>
                    <a:pt x="4722972" y="270034"/>
                    <a:pt x="4725829" y="279559"/>
                    <a:pt x="4729639" y="290989"/>
                  </a:cubicBezTo>
                  <a:cubicBezTo>
                    <a:pt x="4730591" y="292894"/>
                    <a:pt x="4730591" y="294799"/>
                    <a:pt x="4731544" y="296704"/>
                  </a:cubicBezTo>
                  <a:cubicBezTo>
                    <a:pt x="4730591" y="300514"/>
                    <a:pt x="4728687" y="304324"/>
                    <a:pt x="4727734" y="308134"/>
                  </a:cubicBezTo>
                  <a:cubicBezTo>
                    <a:pt x="4726781" y="304324"/>
                    <a:pt x="4724876" y="299561"/>
                    <a:pt x="4723924" y="295751"/>
                  </a:cubicBezTo>
                  <a:cubicBezTo>
                    <a:pt x="4722019" y="289084"/>
                    <a:pt x="4720114" y="282416"/>
                    <a:pt x="4718209" y="276701"/>
                  </a:cubicBezTo>
                  <a:cubicBezTo>
                    <a:pt x="4718209" y="270034"/>
                    <a:pt x="4719162" y="265271"/>
                    <a:pt x="4720114" y="261461"/>
                  </a:cubicBezTo>
                  <a:close/>
                  <a:moveTo>
                    <a:pt x="4709637" y="324326"/>
                  </a:moveTo>
                  <a:cubicBezTo>
                    <a:pt x="4711541" y="315754"/>
                    <a:pt x="4712494" y="308134"/>
                    <a:pt x="4713447" y="301466"/>
                  </a:cubicBezTo>
                  <a:cubicBezTo>
                    <a:pt x="4715351" y="310991"/>
                    <a:pt x="4717256" y="321469"/>
                    <a:pt x="4719162" y="331946"/>
                  </a:cubicBezTo>
                  <a:cubicBezTo>
                    <a:pt x="4718209" y="335756"/>
                    <a:pt x="4716304" y="339566"/>
                    <a:pt x="4715351" y="343376"/>
                  </a:cubicBezTo>
                  <a:cubicBezTo>
                    <a:pt x="4715351" y="343376"/>
                    <a:pt x="4715351" y="343376"/>
                    <a:pt x="4715351" y="343376"/>
                  </a:cubicBezTo>
                  <a:cubicBezTo>
                    <a:pt x="4712494" y="339566"/>
                    <a:pt x="4709637" y="335756"/>
                    <a:pt x="4707731" y="332899"/>
                  </a:cubicBezTo>
                  <a:cubicBezTo>
                    <a:pt x="4708684" y="330041"/>
                    <a:pt x="4708684" y="327184"/>
                    <a:pt x="4709637" y="324326"/>
                  </a:cubicBezTo>
                  <a:close/>
                  <a:moveTo>
                    <a:pt x="4703922" y="355759"/>
                  </a:moveTo>
                  <a:cubicBezTo>
                    <a:pt x="4704874" y="357664"/>
                    <a:pt x="4704874" y="358616"/>
                    <a:pt x="4705826" y="360521"/>
                  </a:cubicBezTo>
                  <a:cubicBezTo>
                    <a:pt x="4706779" y="363379"/>
                    <a:pt x="4707731" y="366236"/>
                    <a:pt x="4708684" y="369094"/>
                  </a:cubicBezTo>
                  <a:cubicBezTo>
                    <a:pt x="4707731" y="371951"/>
                    <a:pt x="4705826" y="374809"/>
                    <a:pt x="4704874" y="377666"/>
                  </a:cubicBezTo>
                  <a:cubicBezTo>
                    <a:pt x="4704874" y="377666"/>
                    <a:pt x="4704874" y="376714"/>
                    <a:pt x="4704874" y="376714"/>
                  </a:cubicBezTo>
                  <a:cubicBezTo>
                    <a:pt x="4703922" y="374809"/>
                    <a:pt x="4702969" y="373856"/>
                    <a:pt x="4702016" y="371951"/>
                  </a:cubicBezTo>
                  <a:cubicBezTo>
                    <a:pt x="4702016" y="366236"/>
                    <a:pt x="4702969" y="361474"/>
                    <a:pt x="4703922" y="355759"/>
                  </a:cubicBezTo>
                  <a:close/>
                  <a:moveTo>
                    <a:pt x="4682966" y="380524"/>
                  </a:moveTo>
                  <a:cubicBezTo>
                    <a:pt x="4682014" y="384334"/>
                    <a:pt x="4681062" y="388144"/>
                    <a:pt x="4680109" y="392906"/>
                  </a:cubicBezTo>
                  <a:cubicBezTo>
                    <a:pt x="4679156" y="392906"/>
                    <a:pt x="4677251" y="393859"/>
                    <a:pt x="4676299" y="393859"/>
                  </a:cubicBezTo>
                  <a:cubicBezTo>
                    <a:pt x="4676299" y="391954"/>
                    <a:pt x="4675347" y="390049"/>
                    <a:pt x="4675347" y="388144"/>
                  </a:cubicBezTo>
                  <a:cubicBezTo>
                    <a:pt x="4678204" y="384334"/>
                    <a:pt x="4681062" y="381476"/>
                    <a:pt x="4682966" y="378619"/>
                  </a:cubicBezTo>
                  <a:cubicBezTo>
                    <a:pt x="4682014" y="379571"/>
                    <a:pt x="4682966" y="380524"/>
                    <a:pt x="4682966" y="380524"/>
                  </a:cubicBezTo>
                  <a:close/>
                  <a:moveTo>
                    <a:pt x="4672489" y="361474"/>
                  </a:moveTo>
                  <a:cubicBezTo>
                    <a:pt x="4674394" y="365284"/>
                    <a:pt x="4677251" y="370046"/>
                    <a:pt x="4679156" y="373856"/>
                  </a:cubicBezTo>
                  <a:cubicBezTo>
                    <a:pt x="4677251" y="375761"/>
                    <a:pt x="4674394" y="377666"/>
                    <a:pt x="4672489" y="379571"/>
                  </a:cubicBezTo>
                  <a:cubicBezTo>
                    <a:pt x="4672489" y="378619"/>
                    <a:pt x="4672489" y="377666"/>
                    <a:pt x="4671537" y="376714"/>
                  </a:cubicBezTo>
                  <a:cubicBezTo>
                    <a:pt x="4671537" y="374809"/>
                    <a:pt x="4670584" y="372904"/>
                    <a:pt x="4670584" y="370999"/>
                  </a:cubicBezTo>
                  <a:cubicBezTo>
                    <a:pt x="4671537" y="368141"/>
                    <a:pt x="4671537" y="364331"/>
                    <a:pt x="4672489" y="361474"/>
                  </a:cubicBezTo>
                  <a:close/>
                  <a:moveTo>
                    <a:pt x="4661059" y="265271"/>
                  </a:moveTo>
                  <a:cubicBezTo>
                    <a:pt x="4662012" y="260509"/>
                    <a:pt x="4662964" y="256699"/>
                    <a:pt x="4663916" y="252889"/>
                  </a:cubicBezTo>
                  <a:cubicBezTo>
                    <a:pt x="4665822" y="246221"/>
                    <a:pt x="4667726" y="241459"/>
                    <a:pt x="4669631" y="237649"/>
                  </a:cubicBezTo>
                  <a:cubicBezTo>
                    <a:pt x="4669631" y="239554"/>
                    <a:pt x="4669631" y="240506"/>
                    <a:pt x="4669631" y="242411"/>
                  </a:cubicBezTo>
                  <a:cubicBezTo>
                    <a:pt x="4667726" y="250031"/>
                    <a:pt x="4664869" y="259556"/>
                    <a:pt x="4661059" y="269081"/>
                  </a:cubicBezTo>
                  <a:cubicBezTo>
                    <a:pt x="4661059" y="268129"/>
                    <a:pt x="4661059" y="266224"/>
                    <a:pt x="4661059" y="265271"/>
                  </a:cubicBezTo>
                  <a:close/>
                  <a:moveTo>
                    <a:pt x="4645819" y="278606"/>
                  </a:moveTo>
                  <a:cubicBezTo>
                    <a:pt x="4646772" y="271939"/>
                    <a:pt x="4647724" y="266224"/>
                    <a:pt x="4648676" y="260509"/>
                  </a:cubicBezTo>
                  <a:cubicBezTo>
                    <a:pt x="4649629" y="257651"/>
                    <a:pt x="4649629" y="253841"/>
                    <a:pt x="4650581" y="250984"/>
                  </a:cubicBezTo>
                  <a:cubicBezTo>
                    <a:pt x="4650581" y="250984"/>
                    <a:pt x="4650581" y="251936"/>
                    <a:pt x="4650581" y="251936"/>
                  </a:cubicBezTo>
                  <a:cubicBezTo>
                    <a:pt x="4651534" y="254794"/>
                    <a:pt x="4652487" y="259556"/>
                    <a:pt x="4652487" y="265271"/>
                  </a:cubicBezTo>
                  <a:cubicBezTo>
                    <a:pt x="4652487" y="267176"/>
                    <a:pt x="4652487" y="269081"/>
                    <a:pt x="4652487" y="270034"/>
                  </a:cubicBezTo>
                  <a:cubicBezTo>
                    <a:pt x="4651534" y="272891"/>
                    <a:pt x="4651534" y="275749"/>
                    <a:pt x="4650581" y="278606"/>
                  </a:cubicBezTo>
                  <a:cubicBezTo>
                    <a:pt x="4649629" y="282416"/>
                    <a:pt x="4648676" y="287179"/>
                    <a:pt x="4648676" y="290989"/>
                  </a:cubicBezTo>
                  <a:cubicBezTo>
                    <a:pt x="4648676" y="287179"/>
                    <a:pt x="4646772" y="283369"/>
                    <a:pt x="4645819" y="278606"/>
                  </a:cubicBezTo>
                  <a:cubicBezTo>
                    <a:pt x="4645819" y="278606"/>
                    <a:pt x="4645819" y="278606"/>
                    <a:pt x="4645819" y="278606"/>
                  </a:cubicBezTo>
                  <a:close/>
                  <a:moveTo>
                    <a:pt x="4642962" y="293846"/>
                  </a:moveTo>
                  <a:cubicBezTo>
                    <a:pt x="4643914" y="296704"/>
                    <a:pt x="4643914" y="299561"/>
                    <a:pt x="4644866" y="302419"/>
                  </a:cubicBezTo>
                  <a:cubicBezTo>
                    <a:pt x="4644866" y="304324"/>
                    <a:pt x="4645819" y="307181"/>
                    <a:pt x="4645819" y="309086"/>
                  </a:cubicBezTo>
                  <a:cubicBezTo>
                    <a:pt x="4645819" y="309086"/>
                    <a:pt x="4645819" y="309086"/>
                    <a:pt x="4645819" y="309086"/>
                  </a:cubicBezTo>
                  <a:cubicBezTo>
                    <a:pt x="4644866" y="308134"/>
                    <a:pt x="4643914" y="307181"/>
                    <a:pt x="4642962" y="306229"/>
                  </a:cubicBezTo>
                  <a:cubicBezTo>
                    <a:pt x="4642962" y="304324"/>
                    <a:pt x="4642009" y="302419"/>
                    <a:pt x="4642009" y="299561"/>
                  </a:cubicBezTo>
                  <a:cubicBezTo>
                    <a:pt x="4642962" y="297656"/>
                    <a:pt x="4642962" y="295751"/>
                    <a:pt x="4642962" y="293846"/>
                  </a:cubicBezTo>
                  <a:close/>
                  <a:moveTo>
                    <a:pt x="4595337" y="280511"/>
                  </a:moveTo>
                  <a:cubicBezTo>
                    <a:pt x="4596289" y="284321"/>
                    <a:pt x="4597241" y="289084"/>
                    <a:pt x="4598194" y="293846"/>
                  </a:cubicBezTo>
                  <a:cubicBezTo>
                    <a:pt x="4598194" y="295751"/>
                    <a:pt x="4598194" y="298609"/>
                    <a:pt x="4598194" y="300514"/>
                  </a:cubicBezTo>
                  <a:cubicBezTo>
                    <a:pt x="4598194" y="304324"/>
                    <a:pt x="4598194" y="308134"/>
                    <a:pt x="4598194" y="311944"/>
                  </a:cubicBezTo>
                  <a:cubicBezTo>
                    <a:pt x="4597241" y="313849"/>
                    <a:pt x="4597241" y="316706"/>
                    <a:pt x="4596289" y="319564"/>
                  </a:cubicBezTo>
                  <a:cubicBezTo>
                    <a:pt x="4595337" y="316706"/>
                    <a:pt x="4594384" y="314801"/>
                    <a:pt x="4593431" y="311944"/>
                  </a:cubicBezTo>
                  <a:cubicBezTo>
                    <a:pt x="4593431" y="310039"/>
                    <a:pt x="4593431" y="307181"/>
                    <a:pt x="4593431" y="305276"/>
                  </a:cubicBezTo>
                  <a:cubicBezTo>
                    <a:pt x="4593431" y="298609"/>
                    <a:pt x="4593431" y="292894"/>
                    <a:pt x="4593431" y="286226"/>
                  </a:cubicBezTo>
                  <a:cubicBezTo>
                    <a:pt x="4593431" y="284321"/>
                    <a:pt x="4594384" y="282416"/>
                    <a:pt x="4595337" y="280511"/>
                  </a:cubicBezTo>
                  <a:cubicBezTo>
                    <a:pt x="4595337" y="280511"/>
                    <a:pt x="4595337" y="280511"/>
                    <a:pt x="4595337" y="280511"/>
                  </a:cubicBezTo>
                  <a:close/>
                  <a:moveTo>
                    <a:pt x="4595337" y="277654"/>
                  </a:moveTo>
                  <a:cubicBezTo>
                    <a:pt x="4594384" y="278606"/>
                    <a:pt x="4594384" y="278606"/>
                    <a:pt x="4593431" y="279559"/>
                  </a:cubicBezTo>
                  <a:cubicBezTo>
                    <a:pt x="4593431" y="279559"/>
                    <a:pt x="4593431" y="280511"/>
                    <a:pt x="4592479" y="280511"/>
                  </a:cubicBezTo>
                  <a:cubicBezTo>
                    <a:pt x="4592479" y="274796"/>
                    <a:pt x="4592479" y="269081"/>
                    <a:pt x="4592479" y="263366"/>
                  </a:cubicBezTo>
                  <a:cubicBezTo>
                    <a:pt x="4593431" y="267176"/>
                    <a:pt x="4594384" y="271939"/>
                    <a:pt x="4595337" y="277654"/>
                  </a:cubicBezTo>
                  <a:close/>
                  <a:moveTo>
                    <a:pt x="4576287" y="253841"/>
                  </a:moveTo>
                  <a:cubicBezTo>
                    <a:pt x="4576287" y="260509"/>
                    <a:pt x="4576287" y="267176"/>
                    <a:pt x="4575334" y="273844"/>
                  </a:cubicBezTo>
                  <a:cubicBezTo>
                    <a:pt x="4573429" y="270034"/>
                    <a:pt x="4571524" y="266224"/>
                    <a:pt x="4569619" y="262414"/>
                  </a:cubicBezTo>
                  <a:cubicBezTo>
                    <a:pt x="4572476" y="259556"/>
                    <a:pt x="4574381" y="256699"/>
                    <a:pt x="4576287" y="253841"/>
                  </a:cubicBezTo>
                  <a:close/>
                  <a:moveTo>
                    <a:pt x="4566762" y="268129"/>
                  </a:moveTo>
                  <a:cubicBezTo>
                    <a:pt x="4566762" y="268129"/>
                    <a:pt x="4566762" y="269081"/>
                    <a:pt x="4566762" y="268129"/>
                  </a:cubicBezTo>
                  <a:cubicBezTo>
                    <a:pt x="4568666" y="273844"/>
                    <a:pt x="4570572" y="278606"/>
                    <a:pt x="4571524" y="284321"/>
                  </a:cubicBezTo>
                  <a:cubicBezTo>
                    <a:pt x="4572476" y="288131"/>
                    <a:pt x="4573429" y="292894"/>
                    <a:pt x="4574381" y="296704"/>
                  </a:cubicBezTo>
                  <a:cubicBezTo>
                    <a:pt x="4574381" y="298609"/>
                    <a:pt x="4574381" y="299561"/>
                    <a:pt x="4574381" y="301466"/>
                  </a:cubicBezTo>
                  <a:cubicBezTo>
                    <a:pt x="4570572" y="293846"/>
                    <a:pt x="4568666" y="289084"/>
                    <a:pt x="4568666" y="289084"/>
                  </a:cubicBezTo>
                  <a:cubicBezTo>
                    <a:pt x="4568666" y="289084"/>
                    <a:pt x="4570572" y="296704"/>
                    <a:pt x="4574381" y="309086"/>
                  </a:cubicBezTo>
                  <a:cubicBezTo>
                    <a:pt x="4573429" y="310991"/>
                    <a:pt x="4572476" y="312896"/>
                    <a:pt x="4571524" y="314801"/>
                  </a:cubicBezTo>
                  <a:cubicBezTo>
                    <a:pt x="4571524" y="314801"/>
                    <a:pt x="4571524" y="314801"/>
                    <a:pt x="4571524" y="315754"/>
                  </a:cubicBezTo>
                  <a:cubicBezTo>
                    <a:pt x="4568666" y="293846"/>
                    <a:pt x="4566762" y="278606"/>
                    <a:pt x="4564856" y="271939"/>
                  </a:cubicBezTo>
                  <a:cubicBezTo>
                    <a:pt x="4564856" y="270986"/>
                    <a:pt x="4565809" y="270034"/>
                    <a:pt x="4566762" y="268129"/>
                  </a:cubicBezTo>
                  <a:close/>
                  <a:moveTo>
                    <a:pt x="4560094" y="254794"/>
                  </a:moveTo>
                  <a:cubicBezTo>
                    <a:pt x="4561047" y="256699"/>
                    <a:pt x="4561999" y="258604"/>
                    <a:pt x="4562951" y="260509"/>
                  </a:cubicBezTo>
                  <a:cubicBezTo>
                    <a:pt x="4561999" y="261461"/>
                    <a:pt x="4561047" y="262414"/>
                    <a:pt x="4561047" y="263366"/>
                  </a:cubicBezTo>
                  <a:cubicBezTo>
                    <a:pt x="4560094" y="265271"/>
                    <a:pt x="4558189" y="266224"/>
                    <a:pt x="4557237" y="268129"/>
                  </a:cubicBezTo>
                  <a:cubicBezTo>
                    <a:pt x="4558189" y="263366"/>
                    <a:pt x="4559141" y="258604"/>
                    <a:pt x="4560094" y="254794"/>
                  </a:cubicBezTo>
                  <a:close/>
                  <a:moveTo>
                    <a:pt x="4548664" y="317659"/>
                  </a:moveTo>
                  <a:cubicBezTo>
                    <a:pt x="4551522" y="307181"/>
                    <a:pt x="4554379" y="298609"/>
                    <a:pt x="4557237" y="290036"/>
                  </a:cubicBezTo>
                  <a:cubicBezTo>
                    <a:pt x="4559141" y="284321"/>
                    <a:pt x="4561047" y="279559"/>
                    <a:pt x="4562951" y="275749"/>
                  </a:cubicBezTo>
                  <a:cubicBezTo>
                    <a:pt x="4561999" y="283369"/>
                    <a:pt x="4561047" y="298609"/>
                    <a:pt x="4560094" y="318611"/>
                  </a:cubicBezTo>
                  <a:cubicBezTo>
                    <a:pt x="4557237" y="313849"/>
                    <a:pt x="4555331" y="310991"/>
                    <a:pt x="4555331" y="310991"/>
                  </a:cubicBezTo>
                  <a:cubicBezTo>
                    <a:pt x="4555331" y="310991"/>
                    <a:pt x="4557237" y="314801"/>
                    <a:pt x="4560094" y="321469"/>
                  </a:cubicBezTo>
                  <a:cubicBezTo>
                    <a:pt x="4560094" y="321469"/>
                    <a:pt x="4560094" y="321469"/>
                    <a:pt x="4560094" y="321469"/>
                  </a:cubicBezTo>
                  <a:cubicBezTo>
                    <a:pt x="4560094" y="328136"/>
                    <a:pt x="4559141" y="334804"/>
                    <a:pt x="4559141" y="342424"/>
                  </a:cubicBezTo>
                  <a:cubicBezTo>
                    <a:pt x="4558189" y="346234"/>
                    <a:pt x="4556284" y="349091"/>
                    <a:pt x="4555331" y="352901"/>
                  </a:cubicBezTo>
                  <a:cubicBezTo>
                    <a:pt x="4554379" y="355759"/>
                    <a:pt x="4553426" y="358616"/>
                    <a:pt x="4552474" y="361474"/>
                  </a:cubicBezTo>
                  <a:cubicBezTo>
                    <a:pt x="4550569" y="354806"/>
                    <a:pt x="4549616" y="349091"/>
                    <a:pt x="4547712" y="343376"/>
                  </a:cubicBezTo>
                  <a:cubicBezTo>
                    <a:pt x="4547712" y="333851"/>
                    <a:pt x="4547712" y="328136"/>
                    <a:pt x="4547712" y="328136"/>
                  </a:cubicBezTo>
                  <a:cubicBezTo>
                    <a:pt x="4547712" y="328136"/>
                    <a:pt x="4546759" y="331946"/>
                    <a:pt x="4545806" y="338614"/>
                  </a:cubicBezTo>
                  <a:cubicBezTo>
                    <a:pt x="4545806" y="338614"/>
                    <a:pt x="4545806" y="337661"/>
                    <a:pt x="4545806" y="337661"/>
                  </a:cubicBezTo>
                  <a:cubicBezTo>
                    <a:pt x="4545806" y="336709"/>
                    <a:pt x="4545806" y="336709"/>
                    <a:pt x="4544854" y="335756"/>
                  </a:cubicBezTo>
                  <a:cubicBezTo>
                    <a:pt x="4546759" y="329089"/>
                    <a:pt x="4547712" y="323374"/>
                    <a:pt x="4548664" y="317659"/>
                  </a:cubicBezTo>
                  <a:close/>
                  <a:moveTo>
                    <a:pt x="4457224" y="306229"/>
                  </a:moveTo>
                  <a:cubicBezTo>
                    <a:pt x="4457224" y="306229"/>
                    <a:pt x="4456272" y="306229"/>
                    <a:pt x="4457224" y="306229"/>
                  </a:cubicBezTo>
                  <a:cubicBezTo>
                    <a:pt x="4457224" y="305276"/>
                    <a:pt x="4457224" y="305276"/>
                    <a:pt x="4457224" y="304324"/>
                  </a:cubicBezTo>
                  <a:cubicBezTo>
                    <a:pt x="4457224" y="305276"/>
                    <a:pt x="4457224" y="306229"/>
                    <a:pt x="4457224" y="306229"/>
                  </a:cubicBezTo>
                  <a:close/>
                  <a:moveTo>
                    <a:pt x="4478179" y="359569"/>
                  </a:moveTo>
                  <a:cubicBezTo>
                    <a:pt x="4477226" y="352901"/>
                    <a:pt x="4476274" y="346234"/>
                    <a:pt x="4476274" y="339566"/>
                  </a:cubicBezTo>
                  <a:cubicBezTo>
                    <a:pt x="4476274" y="338614"/>
                    <a:pt x="4476274" y="337661"/>
                    <a:pt x="4476274" y="336709"/>
                  </a:cubicBezTo>
                  <a:cubicBezTo>
                    <a:pt x="4479131" y="340519"/>
                    <a:pt x="4481037" y="343376"/>
                    <a:pt x="4483894" y="347186"/>
                  </a:cubicBezTo>
                  <a:cubicBezTo>
                    <a:pt x="4481037" y="350996"/>
                    <a:pt x="4480084" y="355759"/>
                    <a:pt x="4478179" y="359569"/>
                  </a:cubicBezTo>
                  <a:close/>
                  <a:moveTo>
                    <a:pt x="4497229" y="371951"/>
                  </a:moveTo>
                  <a:cubicBezTo>
                    <a:pt x="4497229" y="370046"/>
                    <a:pt x="4497229" y="369094"/>
                    <a:pt x="4497229" y="367189"/>
                  </a:cubicBezTo>
                  <a:cubicBezTo>
                    <a:pt x="4497229" y="368141"/>
                    <a:pt x="4497229" y="369094"/>
                    <a:pt x="4498181" y="370046"/>
                  </a:cubicBezTo>
                  <a:cubicBezTo>
                    <a:pt x="4497229" y="370999"/>
                    <a:pt x="4497229" y="370999"/>
                    <a:pt x="4497229" y="371951"/>
                  </a:cubicBezTo>
                  <a:close/>
                  <a:moveTo>
                    <a:pt x="4504849" y="322421"/>
                  </a:moveTo>
                  <a:cubicBezTo>
                    <a:pt x="4504849" y="325279"/>
                    <a:pt x="4504849" y="328136"/>
                    <a:pt x="4504849" y="330994"/>
                  </a:cubicBezTo>
                  <a:cubicBezTo>
                    <a:pt x="4503897" y="333851"/>
                    <a:pt x="4502944" y="337661"/>
                    <a:pt x="4501991" y="341471"/>
                  </a:cubicBezTo>
                  <a:cubicBezTo>
                    <a:pt x="4501991" y="343376"/>
                    <a:pt x="4501039" y="346234"/>
                    <a:pt x="4501039" y="348139"/>
                  </a:cubicBezTo>
                  <a:cubicBezTo>
                    <a:pt x="4500087" y="347186"/>
                    <a:pt x="4499134" y="346234"/>
                    <a:pt x="4499134" y="345281"/>
                  </a:cubicBezTo>
                  <a:cubicBezTo>
                    <a:pt x="4499134" y="344329"/>
                    <a:pt x="4498181" y="343376"/>
                    <a:pt x="4498181" y="342424"/>
                  </a:cubicBezTo>
                  <a:cubicBezTo>
                    <a:pt x="4499134" y="336709"/>
                    <a:pt x="4501039" y="330994"/>
                    <a:pt x="4501991" y="326231"/>
                  </a:cubicBezTo>
                  <a:cubicBezTo>
                    <a:pt x="4502944" y="320516"/>
                    <a:pt x="4504849" y="315754"/>
                    <a:pt x="4506754" y="310991"/>
                  </a:cubicBezTo>
                  <a:cubicBezTo>
                    <a:pt x="4505801" y="314801"/>
                    <a:pt x="4505801" y="318611"/>
                    <a:pt x="4504849" y="322421"/>
                  </a:cubicBezTo>
                  <a:close/>
                  <a:moveTo>
                    <a:pt x="4462939" y="250984"/>
                  </a:moveTo>
                  <a:cubicBezTo>
                    <a:pt x="4465797" y="242411"/>
                    <a:pt x="4468654" y="233839"/>
                    <a:pt x="4470559" y="226219"/>
                  </a:cubicBezTo>
                  <a:cubicBezTo>
                    <a:pt x="4470559" y="227171"/>
                    <a:pt x="4472464" y="229076"/>
                    <a:pt x="4474369" y="231934"/>
                  </a:cubicBezTo>
                  <a:cubicBezTo>
                    <a:pt x="4475322" y="233839"/>
                    <a:pt x="4477226" y="235744"/>
                    <a:pt x="4479131" y="238601"/>
                  </a:cubicBezTo>
                  <a:cubicBezTo>
                    <a:pt x="4481037" y="241459"/>
                    <a:pt x="4481989" y="245269"/>
                    <a:pt x="4483894" y="248126"/>
                  </a:cubicBezTo>
                  <a:cubicBezTo>
                    <a:pt x="4485799" y="251936"/>
                    <a:pt x="4487704" y="255746"/>
                    <a:pt x="4489609" y="260509"/>
                  </a:cubicBezTo>
                  <a:cubicBezTo>
                    <a:pt x="4491514" y="265271"/>
                    <a:pt x="4493419" y="270034"/>
                    <a:pt x="4495324" y="275749"/>
                  </a:cubicBezTo>
                  <a:cubicBezTo>
                    <a:pt x="4497229" y="281464"/>
                    <a:pt x="4499134" y="287179"/>
                    <a:pt x="4501039" y="293846"/>
                  </a:cubicBezTo>
                  <a:cubicBezTo>
                    <a:pt x="4501991" y="296704"/>
                    <a:pt x="4502944" y="299561"/>
                    <a:pt x="4503897" y="303371"/>
                  </a:cubicBezTo>
                  <a:cubicBezTo>
                    <a:pt x="4501991" y="308134"/>
                    <a:pt x="4499134" y="312896"/>
                    <a:pt x="4497229" y="317659"/>
                  </a:cubicBezTo>
                  <a:cubicBezTo>
                    <a:pt x="4496276" y="320516"/>
                    <a:pt x="4494372" y="323374"/>
                    <a:pt x="4493419" y="326231"/>
                  </a:cubicBezTo>
                  <a:cubicBezTo>
                    <a:pt x="4490562" y="297656"/>
                    <a:pt x="4488656" y="280511"/>
                    <a:pt x="4488656" y="280511"/>
                  </a:cubicBezTo>
                  <a:cubicBezTo>
                    <a:pt x="4488656" y="280511"/>
                    <a:pt x="4487704" y="294799"/>
                    <a:pt x="4487704" y="319564"/>
                  </a:cubicBezTo>
                  <a:cubicBezTo>
                    <a:pt x="4486751" y="316706"/>
                    <a:pt x="4484847" y="313849"/>
                    <a:pt x="4483894" y="311944"/>
                  </a:cubicBezTo>
                  <a:cubicBezTo>
                    <a:pt x="4477226" y="297656"/>
                    <a:pt x="4473416" y="289084"/>
                    <a:pt x="4473416" y="289084"/>
                  </a:cubicBezTo>
                  <a:cubicBezTo>
                    <a:pt x="4473416" y="289084"/>
                    <a:pt x="4476274" y="297656"/>
                    <a:pt x="4481037" y="312896"/>
                  </a:cubicBezTo>
                  <a:cubicBezTo>
                    <a:pt x="4482941" y="317659"/>
                    <a:pt x="4484847" y="323374"/>
                    <a:pt x="4486751" y="330041"/>
                  </a:cubicBezTo>
                  <a:cubicBezTo>
                    <a:pt x="4485799" y="329089"/>
                    <a:pt x="4485799" y="328136"/>
                    <a:pt x="4484847" y="328136"/>
                  </a:cubicBezTo>
                  <a:cubicBezTo>
                    <a:pt x="4481037" y="324326"/>
                    <a:pt x="4478179" y="321469"/>
                    <a:pt x="4475322" y="318611"/>
                  </a:cubicBezTo>
                  <a:cubicBezTo>
                    <a:pt x="4474369" y="313849"/>
                    <a:pt x="4473416" y="309086"/>
                    <a:pt x="4473416" y="304324"/>
                  </a:cubicBezTo>
                  <a:cubicBezTo>
                    <a:pt x="4471512" y="294799"/>
                    <a:pt x="4470559" y="286226"/>
                    <a:pt x="4468654" y="278606"/>
                  </a:cubicBezTo>
                  <a:cubicBezTo>
                    <a:pt x="4474369" y="264319"/>
                    <a:pt x="4477226" y="256699"/>
                    <a:pt x="4477226" y="256699"/>
                  </a:cubicBezTo>
                  <a:cubicBezTo>
                    <a:pt x="4477226" y="256699"/>
                    <a:pt x="4473416" y="262414"/>
                    <a:pt x="4466749" y="273844"/>
                  </a:cubicBezTo>
                  <a:cubicBezTo>
                    <a:pt x="4465797" y="268129"/>
                    <a:pt x="4464844" y="263366"/>
                    <a:pt x="4462939" y="258604"/>
                  </a:cubicBezTo>
                  <a:cubicBezTo>
                    <a:pt x="4462939" y="257651"/>
                    <a:pt x="4462939" y="256699"/>
                    <a:pt x="4462939" y="256699"/>
                  </a:cubicBezTo>
                  <a:cubicBezTo>
                    <a:pt x="4461987" y="253841"/>
                    <a:pt x="4461987" y="252889"/>
                    <a:pt x="4462939" y="250984"/>
                  </a:cubicBezTo>
                  <a:close/>
                  <a:moveTo>
                    <a:pt x="4461034" y="255746"/>
                  </a:moveTo>
                  <a:cubicBezTo>
                    <a:pt x="4461034" y="255746"/>
                    <a:pt x="4461034" y="256699"/>
                    <a:pt x="4461034" y="255746"/>
                  </a:cubicBezTo>
                  <a:cubicBezTo>
                    <a:pt x="4461034" y="256699"/>
                    <a:pt x="4461034" y="256699"/>
                    <a:pt x="4461034" y="255746"/>
                  </a:cubicBezTo>
                  <a:cubicBezTo>
                    <a:pt x="4461034" y="255746"/>
                    <a:pt x="4461034" y="255746"/>
                    <a:pt x="4461034" y="255746"/>
                  </a:cubicBezTo>
                  <a:close/>
                  <a:moveTo>
                    <a:pt x="4455319" y="274796"/>
                  </a:moveTo>
                  <a:cubicBezTo>
                    <a:pt x="4456272" y="272891"/>
                    <a:pt x="4457224" y="270034"/>
                    <a:pt x="4457224" y="268129"/>
                  </a:cubicBezTo>
                  <a:cubicBezTo>
                    <a:pt x="4457224" y="270034"/>
                    <a:pt x="4457224" y="271939"/>
                    <a:pt x="4457224" y="273844"/>
                  </a:cubicBezTo>
                  <a:cubicBezTo>
                    <a:pt x="4457224" y="277654"/>
                    <a:pt x="4457224" y="280511"/>
                    <a:pt x="4458176" y="284321"/>
                  </a:cubicBezTo>
                  <a:cubicBezTo>
                    <a:pt x="4457224" y="287179"/>
                    <a:pt x="4455319" y="290036"/>
                    <a:pt x="4454366" y="292894"/>
                  </a:cubicBezTo>
                  <a:cubicBezTo>
                    <a:pt x="4454366" y="287179"/>
                    <a:pt x="4454366" y="280511"/>
                    <a:pt x="4455319" y="274796"/>
                  </a:cubicBezTo>
                  <a:close/>
                  <a:moveTo>
                    <a:pt x="4449604" y="361474"/>
                  </a:moveTo>
                  <a:cubicBezTo>
                    <a:pt x="4450556" y="353854"/>
                    <a:pt x="4450556" y="346234"/>
                    <a:pt x="4451509" y="339566"/>
                  </a:cubicBezTo>
                  <a:cubicBezTo>
                    <a:pt x="4452462" y="340519"/>
                    <a:pt x="4452462" y="342424"/>
                    <a:pt x="4453414" y="343376"/>
                  </a:cubicBezTo>
                  <a:cubicBezTo>
                    <a:pt x="4453414" y="343376"/>
                    <a:pt x="4453414" y="343376"/>
                    <a:pt x="4453414" y="344329"/>
                  </a:cubicBezTo>
                  <a:cubicBezTo>
                    <a:pt x="4453414" y="344329"/>
                    <a:pt x="4453414" y="344329"/>
                    <a:pt x="4453414" y="344329"/>
                  </a:cubicBezTo>
                  <a:cubicBezTo>
                    <a:pt x="4452462" y="350996"/>
                    <a:pt x="4451509" y="358616"/>
                    <a:pt x="4451509" y="366236"/>
                  </a:cubicBezTo>
                  <a:cubicBezTo>
                    <a:pt x="4450556" y="372904"/>
                    <a:pt x="4449604" y="380524"/>
                    <a:pt x="4448651" y="388144"/>
                  </a:cubicBezTo>
                  <a:cubicBezTo>
                    <a:pt x="4447699" y="387191"/>
                    <a:pt x="4447699" y="387191"/>
                    <a:pt x="4446747" y="386239"/>
                  </a:cubicBezTo>
                  <a:cubicBezTo>
                    <a:pt x="4447699" y="377666"/>
                    <a:pt x="4448651" y="370046"/>
                    <a:pt x="4449604" y="361474"/>
                  </a:cubicBezTo>
                  <a:close/>
                  <a:moveTo>
                    <a:pt x="4386739" y="331946"/>
                  </a:moveTo>
                  <a:cubicBezTo>
                    <a:pt x="4387691" y="332899"/>
                    <a:pt x="4388644" y="334804"/>
                    <a:pt x="4390549" y="335756"/>
                  </a:cubicBezTo>
                  <a:cubicBezTo>
                    <a:pt x="4390549" y="337661"/>
                    <a:pt x="4390549" y="339566"/>
                    <a:pt x="4390549" y="342424"/>
                  </a:cubicBezTo>
                  <a:cubicBezTo>
                    <a:pt x="4389597" y="343376"/>
                    <a:pt x="4388644" y="345281"/>
                    <a:pt x="4386739" y="347186"/>
                  </a:cubicBezTo>
                  <a:cubicBezTo>
                    <a:pt x="4386739" y="341471"/>
                    <a:pt x="4386739" y="336709"/>
                    <a:pt x="4386739" y="331946"/>
                  </a:cubicBezTo>
                  <a:close/>
                  <a:moveTo>
                    <a:pt x="4389597" y="376714"/>
                  </a:moveTo>
                  <a:cubicBezTo>
                    <a:pt x="4389597" y="376714"/>
                    <a:pt x="4389597" y="375761"/>
                    <a:pt x="4388644" y="375761"/>
                  </a:cubicBezTo>
                  <a:cubicBezTo>
                    <a:pt x="4388644" y="373856"/>
                    <a:pt x="4387691" y="371951"/>
                    <a:pt x="4387691" y="370046"/>
                  </a:cubicBezTo>
                  <a:cubicBezTo>
                    <a:pt x="4387691" y="367189"/>
                    <a:pt x="4387691" y="363379"/>
                    <a:pt x="4387691" y="360521"/>
                  </a:cubicBezTo>
                  <a:cubicBezTo>
                    <a:pt x="4387691" y="357664"/>
                    <a:pt x="4387691" y="354806"/>
                    <a:pt x="4387691" y="351949"/>
                  </a:cubicBezTo>
                  <a:cubicBezTo>
                    <a:pt x="4388644" y="349091"/>
                    <a:pt x="4390549" y="347186"/>
                    <a:pt x="4391501" y="345281"/>
                  </a:cubicBezTo>
                  <a:cubicBezTo>
                    <a:pt x="4391501" y="346234"/>
                    <a:pt x="4391501" y="348139"/>
                    <a:pt x="4391501" y="349091"/>
                  </a:cubicBezTo>
                  <a:cubicBezTo>
                    <a:pt x="4391501" y="355759"/>
                    <a:pt x="4392454" y="362426"/>
                    <a:pt x="4392454" y="370046"/>
                  </a:cubicBezTo>
                  <a:cubicBezTo>
                    <a:pt x="4390549" y="371951"/>
                    <a:pt x="4389597" y="374809"/>
                    <a:pt x="4389597" y="376714"/>
                  </a:cubicBezTo>
                  <a:close/>
                  <a:moveTo>
                    <a:pt x="4424839" y="351949"/>
                  </a:moveTo>
                  <a:cubicBezTo>
                    <a:pt x="4424839" y="352901"/>
                    <a:pt x="4424839" y="353854"/>
                    <a:pt x="4424839" y="354806"/>
                  </a:cubicBezTo>
                  <a:cubicBezTo>
                    <a:pt x="4423887" y="355759"/>
                    <a:pt x="4423887" y="356711"/>
                    <a:pt x="4422934" y="356711"/>
                  </a:cubicBezTo>
                  <a:cubicBezTo>
                    <a:pt x="4422934" y="354806"/>
                    <a:pt x="4423887" y="353854"/>
                    <a:pt x="4424839" y="351949"/>
                  </a:cubicBezTo>
                  <a:close/>
                  <a:moveTo>
                    <a:pt x="4415314" y="411004"/>
                  </a:moveTo>
                  <a:cubicBezTo>
                    <a:pt x="4415314" y="411004"/>
                    <a:pt x="4415314" y="411956"/>
                    <a:pt x="4415314" y="411956"/>
                  </a:cubicBezTo>
                  <a:cubicBezTo>
                    <a:pt x="4414362" y="411004"/>
                    <a:pt x="4413409" y="410051"/>
                    <a:pt x="4412456" y="409099"/>
                  </a:cubicBezTo>
                  <a:cubicBezTo>
                    <a:pt x="4412456" y="401479"/>
                    <a:pt x="4412456" y="392906"/>
                    <a:pt x="4411504" y="385286"/>
                  </a:cubicBezTo>
                  <a:cubicBezTo>
                    <a:pt x="4414362" y="380524"/>
                    <a:pt x="4417219" y="376714"/>
                    <a:pt x="4420076" y="372904"/>
                  </a:cubicBezTo>
                  <a:cubicBezTo>
                    <a:pt x="4420076" y="373856"/>
                    <a:pt x="4421029" y="373856"/>
                    <a:pt x="4421029" y="374809"/>
                  </a:cubicBezTo>
                  <a:cubicBezTo>
                    <a:pt x="4419124" y="386239"/>
                    <a:pt x="4417219" y="397669"/>
                    <a:pt x="4415314" y="411004"/>
                  </a:cubicBezTo>
                  <a:close/>
                  <a:moveTo>
                    <a:pt x="4410551" y="254794"/>
                  </a:moveTo>
                  <a:cubicBezTo>
                    <a:pt x="4413409" y="260509"/>
                    <a:pt x="4417219" y="267176"/>
                    <a:pt x="4421029" y="273844"/>
                  </a:cubicBezTo>
                  <a:cubicBezTo>
                    <a:pt x="4419124" y="280511"/>
                    <a:pt x="4417219" y="287179"/>
                    <a:pt x="4415314" y="293846"/>
                  </a:cubicBezTo>
                  <a:cubicBezTo>
                    <a:pt x="4413409" y="301466"/>
                    <a:pt x="4410551" y="309086"/>
                    <a:pt x="4408647" y="316706"/>
                  </a:cubicBezTo>
                  <a:cubicBezTo>
                    <a:pt x="4407694" y="305276"/>
                    <a:pt x="4406741" y="297656"/>
                    <a:pt x="4406741" y="297656"/>
                  </a:cubicBezTo>
                  <a:cubicBezTo>
                    <a:pt x="4406741" y="297656"/>
                    <a:pt x="4404837" y="310991"/>
                    <a:pt x="4402931" y="331946"/>
                  </a:cubicBezTo>
                  <a:cubicBezTo>
                    <a:pt x="4402931" y="333851"/>
                    <a:pt x="4401979" y="335756"/>
                    <a:pt x="4401026" y="337661"/>
                  </a:cubicBezTo>
                  <a:cubicBezTo>
                    <a:pt x="4401026" y="337661"/>
                    <a:pt x="4400074" y="336709"/>
                    <a:pt x="4400074" y="336709"/>
                  </a:cubicBezTo>
                  <a:cubicBezTo>
                    <a:pt x="4393406" y="295751"/>
                    <a:pt x="4388644" y="270034"/>
                    <a:pt x="4388644" y="270034"/>
                  </a:cubicBezTo>
                  <a:cubicBezTo>
                    <a:pt x="4388644" y="270034"/>
                    <a:pt x="4388644" y="292894"/>
                    <a:pt x="4389597" y="328136"/>
                  </a:cubicBezTo>
                  <a:cubicBezTo>
                    <a:pt x="4388644" y="327184"/>
                    <a:pt x="4387691" y="326231"/>
                    <a:pt x="4386739" y="325279"/>
                  </a:cubicBezTo>
                  <a:cubicBezTo>
                    <a:pt x="4386739" y="324326"/>
                    <a:pt x="4386739" y="324326"/>
                    <a:pt x="4386739" y="323374"/>
                  </a:cubicBezTo>
                  <a:cubicBezTo>
                    <a:pt x="4387691" y="311944"/>
                    <a:pt x="4386739" y="300514"/>
                    <a:pt x="4387691" y="290989"/>
                  </a:cubicBezTo>
                  <a:cubicBezTo>
                    <a:pt x="4388644" y="280511"/>
                    <a:pt x="4388644" y="271939"/>
                    <a:pt x="4389597" y="263366"/>
                  </a:cubicBezTo>
                  <a:cubicBezTo>
                    <a:pt x="4390549" y="254794"/>
                    <a:pt x="4390549" y="248126"/>
                    <a:pt x="4391501" y="242411"/>
                  </a:cubicBezTo>
                  <a:cubicBezTo>
                    <a:pt x="4392454" y="233839"/>
                    <a:pt x="4393406" y="228124"/>
                    <a:pt x="4393406" y="225266"/>
                  </a:cubicBezTo>
                  <a:cubicBezTo>
                    <a:pt x="4399122" y="232886"/>
                    <a:pt x="4403884" y="243364"/>
                    <a:pt x="4410551" y="254794"/>
                  </a:cubicBezTo>
                  <a:close/>
                  <a:moveTo>
                    <a:pt x="4389597" y="217646"/>
                  </a:moveTo>
                  <a:cubicBezTo>
                    <a:pt x="4390549" y="219551"/>
                    <a:pt x="4392454" y="221456"/>
                    <a:pt x="4393406" y="224314"/>
                  </a:cubicBezTo>
                  <a:cubicBezTo>
                    <a:pt x="4392454" y="227171"/>
                    <a:pt x="4390549" y="232886"/>
                    <a:pt x="4387691" y="240506"/>
                  </a:cubicBezTo>
                  <a:cubicBezTo>
                    <a:pt x="4385787" y="246221"/>
                    <a:pt x="4383881" y="252889"/>
                    <a:pt x="4381976" y="260509"/>
                  </a:cubicBezTo>
                  <a:cubicBezTo>
                    <a:pt x="4381976" y="259556"/>
                    <a:pt x="4381976" y="257651"/>
                    <a:pt x="4381976" y="256699"/>
                  </a:cubicBezTo>
                  <a:cubicBezTo>
                    <a:pt x="4384834" y="242411"/>
                    <a:pt x="4386739" y="229076"/>
                    <a:pt x="4389597" y="217646"/>
                  </a:cubicBezTo>
                  <a:close/>
                  <a:moveTo>
                    <a:pt x="4374356" y="291941"/>
                  </a:moveTo>
                  <a:cubicBezTo>
                    <a:pt x="4374356" y="291941"/>
                    <a:pt x="4374356" y="292894"/>
                    <a:pt x="4374356" y="292894"/>
                  </a:cubicBezTo>
                  <a:cubicBezTo>
                    <a:pt x="4374356" y="292894"/>
                    <a:pt x="4374356" y="292894"/>
                    <a:pt x="4374356" y="291941"/>
                  </a:cubicBezTo>
                  <a:cubicBezTo>
                    <a:pt x="4374356" y="291941"/>
                    <a:pt x="4374356" y="291941"/>
                    <a:pt x="4374356" y="291941"/>
                  </a:cubicBezTo>
                  <a:close/>
                  <a:moveTo>
                    <a:pt x="4360069" y="282416"/>
                  </a:moveTo>
                  <a:cubicBezTo>
                    <a:pt x="4360069" y="284321"/>
                    <a:pt x="4360069" y="287179"/>
                    <a:pt x="4360069" y="290036"/>
                  </a:cubicBezTo>
                  <a:cubicBezTo>
                    <a:pt x="4360069" y="289084"/>
                    <a:pt x="4359116" y="288131"/>
                    <a:pt x="4359116" y="288131"/>
                  </a:cubicBezTo>
                  <a:cubicBezTo>
                    <a:pt x="4359116" y="285274"/>
                    <a:pt x="4359116" y="283369"/>
                    <a:pt x="4360069" y="282416"/>
                  </a:cubicBezTo>
                  <a:close/>
                  <a:moveTo>
                    <a:pt x="4313397" y="387191"/>
                  </a:moveTo>
                  <a:cubicBezTo>
                    <a:pt x="4312444" y="388144"/>
                    <a:pt x="4312444" y="390049"/>
                    <a:pt x="4311491" y="391001"/>
                  </a:cubicBezTo>
                  <a:cubicBezTo>
                    <a:pt x="4312444" y="389096"/>
                    <a:pt x="4312444" y="388144"/>
                    <a:pt x="4313397" y="387191"/>
                  </a:cubicBezTo>
                  <a:cubicBezTo>
                    <a:pt x="4313397" y="386239"/>
                    <a:pt x="4313397" y="387191"/>
                    <a:pt x="4313397" y="387191"/>
                  </a:cubicBezTo>
                  <a:close/>
                  <a:moveTo>
                    <a:pt x="4311491" y="351949"/>
                  </a:moveTo>
                  <a:cubicBezTo>
                    <a:pt x="4311491" y="356711"/>
                    <a:pt x="4312444" y="360521"/>
                    <a:pt x="4312444" y="365284"/>
                  </a:cubicBezTo>
                  <a:cubicBezTo>
                    <a:pt x="4311491" y="364331"/>
                    <a:pt x="4311491" y="364331"/>
                    <a:pt x="4311491" y="363379"/>
                  </a:cubicBezTo>
                  <a:cubicBezTo>
                    <a:pt x="4311491" y="358616"/>
                    <a:pt x="4311491" y="355759"/>
                    <a:pt x="4311491" y="351949"/>
                  </a:cubicBezTo>
                  <a:close/>
                  <a:moveTo>
                    <a:pt x="4247674" y="313849"/>
                  </a:moveTo>
                  <a:cubicBezTo>
                    <a:pt x="4247674" y="312896"/>
                    <a:pt x="4247674" y="312896"/>
                    <a:pt x="4247674" y="311944"/>
                  </a:cubicBezTo>
                  <a:cubicBezTo>
                    <a:pt x="4247674" y="312896"/>
                    <a:pt x="4247674" y="312896"/>
                    <a:pt x="4247674" y="313849"/>
                  </a:cubicBezTo>
                  <a:cubicBezTo>
                    <a:pt x="4247674" y="317659"/>
                    <a:pt x="4247674" y="320516"/>
                    <a:pt x="4246722" y="324326"/>
                  </a:cubicBezTo>
                  <a:cubicBezTo>
                    <a:pt x="4246722" y="323374"/>
                    <a:pt x="4246722" y="322421"/>
                    <a:pt x="4246722" y="322421"/>
                  </a:cubicBezTo>
                  <a:cubicBezTo>
                    <a:pt x="4246722" y="318611"/>
                    <a:pt x="4247674" y="315754"/>
                    <a:pt x="4247674" y="313849"/>
                  </a:cubicBezTo>
                  <a:close/>
                  <a:moveTo>
                    <a:pt x="4181951" y="367189"/>
                  </a:moveTo>
                  <a:cubicBezTo>
                    <a:pt x="4181951" y="351949"/>
                    <a:pt x="4182904" y="337661"/>
                    <a:pt x="4182904" y="324326"/>
                  </a:cubicBezTo>
                  <a:cubicBezTo>
                    <a:pt x="4182904" y="326231"/>
                    <a:pt x="4183856" y="328136"/>
                    <a:pt x="4183856" y="330041"/>
                  </a:cubicBezTo>
                  <a:cubicBezTo>
                    <a:pt x="4184809" y="333851"/>
                    <a:pt x="4185761" y="336709"/>
                    <a:pt x="4185761" y="340519"/>
                  </a:cubicBezTo>
                  <a:cubicBezTo>
                    <a:pt x="4185761" y="341471"/>
                    <a:pt x="4185761" y="342424"/>
                    <a:pt x="4185761" y="342424"/>
                  </a:cubicBezTo>
                  <a:cubicBezTo>
                    <a:pt x="4184809" y="339566"/>
                    <a:pt x="4183856" y="338614"/>
                    <a:pt x="4183856" y="338614"/>
                  </a:cubicBezTo>
                  <a:cubicBezTo>
                    <a:pt x="4183856" y="338614"/>
                    <a:pt x="4184809" y="345281"/>
                    <a:pt x="4187666" y="357664"/>
                  </a:cubicBezTo>
                  <a:cubicBezTo>
                    <a:pt x="4187666" y="360521"/>
                    <a:pt x="4188619" y="362426"/>
                    <a:pt x="4189571" y="365284"/>
                  </a:cubicBezTo>
                  <a:cubicBezTo>
                    <a:pt x="4189571" y="368141"/>
                    <a:pt x="4190524" y="370999"/>
                    <a:pt x="4191476" y="373856"/>
                  </a:cubicBezTo>
                  <a:cubicBezTo>
                    <a:pt x="4191476" y="377666"/>
                    <a:pt x="4190524" y="382429"/>
                    <a:pt x="4190524" y="386239"/>
                  </a:cubicBezTo>
                  <a:cubicBezTo>
                    <a:pt x="4190524" y="388144"/>
                    <a:pt x="4190524" y="390049"/>
                    <a:pt x="4190524" y="391954"/>
                  </a:cubicBezTo>
                  <a:cubicBezTo>
                    <a:pt x="4187666" y="383381"/>
                    <a:pt x="4184809" y="374809"/>
                    <a:pt x="4181951" y="367189"/>
                  </a:cubicBezTo>
                  <a:cubicBezTo>
                    <a:pt x="4181951" y="369094"/>
                    <a:pt x="4181951" y="368141"/>
                    <a:pt x="4181951" y="367189"/>
                  </a:cubicBezTo>
                  <a:close/>
                  <a:moveTo>
                    <a:pt x="4161949" y="401479"/>
                  </a:moveTo>
                  <a:cubicBezTo>
                    <a:pt x="4161949" y="400526"/>
                    <a:pt x="4161949" y="400526"/>
                    <a:pt x="4161949" y="399574"/>
                  </a:cubicBezTo>
                  <a:cubicBezTo>
                    <a:pt x="4161949" y="399574"/>
                    <a:pt x="4161949" y="399574"/>
                    <a:pt x="4161949" y="399574"/>
                  </a:cubicBezTo>
                  <a:cubicBezTo>
                    <a:pt x="4161949" y="400526"/>
                    <a:pt x="4161949" y="401479"/>
                    <a:pt x="4161949" y="401479"/>
                  </a:cubicBezTo>
                  <a:close/>
                  <a:moveTo>
                    <a:pt x="4160044" y="306229"/>
                  </a:moveTo>
                  <a:cubicBezTo>
                    <a:pt x="4160044" y="299561"/>
                    <a:pt x="4160996" y="295751"/>
                    <a:pt x="4160996" y="292894"/>
                  </a:cubicBezTo>
                  <a:cubicBezTo>
                    <a:pt x="4161949" y="289084"/>
                    <a:pt x="4162901" y="286226"/>
                    <a:pt x="4163854" y="282416"/>
                  </a:cubicBezTo>
                  <a:cubicBezTo>
                    <a:pt x="4163854" y="292894"/>
                    <a:pt x="4162901" y="303371"/>
                    <a:pt x="4162901" y="313849"/>
                  </a:cubicBezTo>
                  <a:cubicBezTo>
                    <a:pt x="4161949" y="310991"/>
                    <a:pt x="4160996" y="309086"/>
                    <a:pt x="4160044" y="306229"/>
                  </a:cubicBezTo>
                  <a:cubicBezTo>
                    <a:pt x="4160044" y="306229"/>
                    <a:pt x="4160044" y="306229"/>
                    <a:pt x="4160044" y="306229"/>
                  </a:cubicBezTo>
                  <a:close/>
                  <a:moveTo>
                    <a:pt x="4128611" y="354806"/>
                  </a:moveTo>
                  <a:cubicBezTo>
                    <a:pt x="4128611" y="350996"/>
                    <a:pt x="4128611" y="347186"/>
                    <a:pt x="4127659" y="343376"/>
                  </a:cubicBezTo>
                  <a:cubicBezTo>
                    <a:pt x="4127659" y="345281"/>
                    <a:pt x="4127659" y="347186"/>
                    <a:pt x="4128611" y="350044"/>
                  </a:cubicBezTo>
                  <a:cubicBezTo>
                    <a:pt x="4129564" y="354806"/>
                    <a:pt x="4129564" y="360521"/>
                    <a:pt x="4130516" y="365284"/>
                  </a:cubicBezTo>
                  <a:cubicBezTo>
                    <a:pt x="4129564" y="361474"/>
                    <a:pt x="4129564" y="358616"/>
                    <a:pt x="4128611" y="354806"/>
                  </a:cubicBezTo>
                  <a:close/>
                  <a:moveTo>
                    <a:pt x="4124801" y="255746"/>
                  </a:moveTo>
                  <a:cubicBezTo>
                    <a:pt x="4124801" y="252889"/>
                    <a:pt x="4124801" y="250031"/>
                    <a:pt x="4124801" y="248126"/>
                  </a:cubicBezTo>
                  <a:cubicBezTo>
                    <a:pt x="4129564" y="265271"/>
                    <a:pt x="4134326" y="284321"/>
                    <a:pt x="4140041" y="303371"/>
                  </a:cubicBezTo>
                  <a:cubicBezTo>
                    <a:pt x="4140041" y="304324"/>
                    <a:pt x="4140994" y="306229"/>
                    <a:pt x="4140994" y="307181"/>
                  </a:cubicBezTo>
                  <a:cubicBezTo>
                    <a:pt x="4140994" y="311944"/>
                    <a:pt x="4140994" y="316706"/>
                    <a:pt x="4140994" y="321469"/>
                  </a:cubicBezTo>
                  <a:cubicBezTo>
                    <a:pt x="4136231" y="310991"/>
                    <a:pt x="4133374" y="305276"/>
                    <a:pt x="4133374" y="305276"/>
                  </a:cubicBezTo>
                  <a:cubicBezTo>
                    <a:pt x="4133374" y="305276"/>
                    <a:pt x="4134326" y="308134"/>
                    <a:pt x="4135279" y="312896"/>
                  </a:cubicBezTo>
                  <a:cubicBezTo>
                    <a:pt x="4132421" y="309086"/>
                    <a:pt x="4130516" y="304324"/>
                    <a:pt x="4127659" y="300514"/>
                  </a:cubicBezTo>
                  <a:cubicBezTo>
                    <a:pt x="4125754" y="293846"/>
                    <a:pt x="4124801" y="288131"/>
                    <a:pt x="4123849" y="284321"/>
                  </a:cubicBezTo>
                  <a:cubicBezTo>
                    <a:pt x="4124801" y="273844"/>
                    <a:pt x="4124801" y="264319"/>
                    <a:pt x="4124801" y="255746"/>
                  </a:cubicBezTo>
                  <a:close/>
                  <a:moveTo>
                    <a:pt x="4095274" y="395764"/>
                  </a:moveTo>
                  <a:cubicBezTo>
                    <a:pt x="4094321" y="395764"/>
                    <a:pt x="4094321" y="395764"/>
                    <a:pt x="4095274" y="395764"/>
                  </a:cubicBezTo>
                  <a:cubicBezTo>
                    <a:pt x="4095274" y="394811"/>
                    <a:pt x="4095274" y="394811"/>
                    <a:pt x="4095274" y="394811"/>
                  </a:cubicBezTo>
                  <a:cubicBezTo>
                    <a:pt x="4095274" y="394811"/>
                    <a:pt x="4095274" y="395764"/>
                    <a:pt x="4095274" y="395764"/>
                  </a:cubicBezTo>
                  <a:close/>
                  <a:moveTo>
                    <a:pt x="4093369" y="386239"/>
                  </a:moveTo>
                  <a:cubicBezTo>
                    <a:pt x="4093369" y="383381"/>
                    <a:pt x="4093369" y="379571"/>
                    <a:pt x="4093369" y="376714"/>
                  </a:cubicBezTo>
                  <a:cubicBezTo>
                    <a:pt x="4094321" y="378619"/>
                    <a:pt x="4095274" y="380524"/>
                    <a:pt x="4096226" y="382429"/>
                  </a:cubicBezTo>
                  <a:cubicBezTo>
                    <a:pt x="4094321" y="384334"/>
                    <a:pt x="4094321" y="385286"/>
                    <a:pt x="4093369" y="386239"/>
                  </a:cubicBezTo>
                  <a:close/>
                  <a:moveTo>
                    <a:pt x="4097179" y="342424"/>
                  </a:moveTo>
                  <a:cubicBezTo>
                    <a:pt x="4098131" y="339566"/>
                    <a:pt x="4098131" y="337661"/>
                    <a:pt x="4099084" y="334804"/>
                  </a:cubicBezTo>
                  <a:cubicBezTo>
                    <a:pt x="4099084" y="335756"/>
                    <a:pt x="4099084" y="336709"/>
                    <a:pt x="4099084" y="337661"/>
                  </a:cubicBezTo>
                  <a:cubicBezTo>
                    <a:pt x="4099084" y="339566"/>
                    <a:pt x="4098131" y="340519"/>
                    <a:pt x="4097179" y="342424"/>
                  </a:cubicBezTo>
                  <a:close/>
                  <a:moveTo>
                    <a:pt x="4100989" y="353854"/>
                  </a:moveTo>
                  <a:cubicBezTo>
                    <a:pt x="4100989" y="352901"/>
                    <a:pt x="4100989" y="351949"/>
                    <a:pt x="4100989" y="351949"/>
                  </a:cubicBezTo>
                  <a:cubicBezTo>
                    <a:pt x="4100989" y="351949"/>
                    <a:pt x="4100989" y="351949"/>
                    <a:pt x="4100989" y="351949"/>
                  </a:cubicBezTo>
                  <a:cubicBezTo>
                    <a:pt x="4100989" y="352901"/>
                    <a:pt x="4100989" y="353854"/>
                    <a:pt x="4100989" y="353854"/>
                  </a:cubicBezTo>
                  <a:cubicBezTo>
                    <a:pt x="4100989" y="354806"/>
                    <a:pt x="4100989" y="353854"/>
                    <a:pt x="4100989" y="353854"/>
                  </a:cubicBezTo>
                  <a:close/>
                  <a:moveTo>
                    <a:pt x="4115276" y="322421"/>
                  </a:moveTo>
                  <a:cubicBezTo>
                    <a:pt x="4115276" y="330994"/>
                    <a:pt x="4114324" y="341471"/>
                    <a:pt x="4114324" y="350996"/>
                  </a:cubicBezTo>
                  <a:cubicBezTo>
                    <a:pt x="4113371" y="336709"/>
                    <a:pt x="4111466" y="327184"/>
                    <a:pt x="4111466" y="327184"/>
                  </a:cubicBezTo>
                  <a:cubicBezTo>
                    <a:pt x="4111466" y="327184"/>
                    <a:pt x="4110514" y="332899"/>
                    <a:pt x="4108609" y="342424"/>
                  </a:cubicBezTo>
                  <a:cubicBezTo>
                    <a:pt x="4108609" y="342424"/>
                    <a:pt x="4107656" y="341471"/>
                    <a:pt x="4107656" y="341471"/>
                  </a:cubicBezTo>
                  <a:cubicBezTo>
                    <a:pt x="4107656" y="339566"/>
                    <a:pt x="4106704" y="338614"/>
                    <a:pt x="4106704" y="336709"/>
                  </a:cubicBezTo>
                  <a:cubicBezTo>
                    <a:pt x="4108609" y="330994"/>
                    <a:pt x="4111466" y="326231"/>
                    <a:pt x="4113371" y="322421"/>
                  </a:cubicBezTo>
                  <a:cubicBezTo>
                    <a:pt x="4114324" y="321469"/>
                    <a:pt x="4114324" y="319564"/>
                    <a:pt x="4115276" y="318611"/>
                  </a:cubicBezTo>
                  <a:cubicBezTo>
                    <a:pt x="4115276" y="319564"/>
                    <a:pt x="4115276" y="320516"/>
                    <a:pt x="4115276" y="322421"/>
                  </a:cubicBezTo>
                  <a:close/>
                  <a:moveTo>
                    <a:pt x="4109561" y="295751"/>
                  </a:moveTo>
                  <a:cubicBezTo>
                    <a:pt x="4111466" y="299561"/>
                    <a:pt x="4113371" y="303371"/>
                    <a:pt x="4116229" y="308134"/>
                  </a:cubicBezTo>
                  <a:cubicBezTo>
                    <a:pt x="4116229" y="309086"/>
                    <a:pt x="4116229" y="310991"/>
                    <a:pt x="4116229" y="311944"/>
                  </a:cubicBezTo>
                  <a:cubicBezTo>
                    <a:pt x="4114324" y="314801"/>
                    <a:pt x="4112419" y="316706"/>
                    <a:pt x="4110514" y="320516"/>
                  </a:cubicBezTo>
                  <a:cubicBezTo>
                    <a:pt x="4108609" y="323374"/>
                    <a:pt x="4106704" y="326231"/>
                    <a:pt x="4104799" y="329089"/>
                  </a:cubicBezTo>
                  <a:cubicBezTo>
                    <a:pt x="4103846" y="326231"/>
                    <a:pt x="4102894" y="324326"/>
                    <a:pt x="4102894" y="322421"/>
                  </a:cubicBezTo>
                  <a:cubicBezTo>
                    <a:pt x="4105751" y="311944"/>
                    <a:pt x="4107656" y="303371"/>
                    <a:pt x="4109561" y="295751"/>
                  </a:cubicBezTo>
                  <a:close/>
                  <a:moveTo>
                    <a:pt x="4092416" y="294799"/>
                  </a:moveTo>
                  <a:cubicBezTo>
                    <a:pt x="4093369" y="284321"/>
                    <a:pt x="4093369" y="274796"/>
                    <a:pt x="4094321" y="265271"/>
                  </a:cubicBezTo>
                  <a:cubicBezTo>
                    <a:pt x="4095274" y="268129"/>
                    <a:pt x="4096226" y="270034"/>
                    <a:pt x="4098131" y="272891"/>
                  </a:cubicBezTo>
                  <a:cubicBezTo>
                    <a:pt x="4100989" y="278606"/>
                    <a:pt x="4103846" y="284321"/>
                    <a:pt x="4106704" y="290989"/>
                  </a:cubicBezTo>
                  <a:cubicBezTo>
                    <a:pt x="4103846" y="296704"/>
                    <a:pt x="4101941" y="304324"/>
                    <a:pt x="4098131" y="311944"/>
                  </a:cubicBezTo>
                  <a:cubicBezTo>
                    <a:pt x="4097179" y="308134"/>
                    <a:pt x="4096226" y="306229"/>
                    <a:pt x="4096226" y="306229"/>
                  </a:cubicBezTo>
                  <a:cubicBezTo>
                    <a:pt x="4096226" y="306229"/>
                    <a:pt x="4096226" y="310039"/>
                    <a:pt x="4097179" y="315754"/>
                  </a:cubicBezTo>
                  <a:cubicBezTo>
                    <a:pt x="4095274" y="320516"/>
                    <a:pt x="4093369" y="324326"/>
                    <a:pt x="4092416" y="329089"/>
                  </a:cubicBezTo>
                  <a:cubicBezTo>
                    <a:pt x="4092416" y="328136"/>
                    <a:pt x="4091464" y="326231"/>
                    <a:pt x="4091464" y="325279"/>
                  </a:cubicBezTo>
                  <a:cubicBezTo>
                    <a:pt x="4091464" y="324326"/>
                    <a:pt x="4090511" y="323374"/>
                    <a:pt x="4090511" y="321469"/>
                  </a:cubicBezTo>
                  <a:cubicBezTo>
                    <a:pt x="4091464" y="311944"/>
                    <a:pt x="4092416" y="303371"/>
                    <a:pt x="4092416" y="294799"/>
                  </a:cubicBezTo>
                  <a:close/>
                  <a:moveTo>
                    <a:pt x="4085749" y="244316"/>
                  </a:moveTo>
                  <a:cubicBezTo>
                    <a:pt x="4085749" y="245269"/>
                    <a:pt x="4085749" y="245269"/>
                    <a:pt x="4085749" y="244316"/>
                  </a:cubicBezTo>
                  <a:cubicBezTo>
                    <a:pt x="4085749" y="247174"/>
                    <a:pt x="4085749" y="248126"/>
                    <a:pt x="4084796" y="250031"/>
                  </a:cubicBezTo>
                  <a:cubicBezTo>
                    <a:pt x="4084796" y="249079"/>
                    <a:pt x="4084796" y="246221"/>
                    <a:pt x="4085749" y="244316"/>
                  </a:cubicBezTo>
                  <a:close/>
                  <a:moveTo>
                    <a:pt x="4043839" y="279559"/>
                  </a:moveTo>
                  <a:cubicBezTo>
                    <a:pt x="4044791" y="280511"/>
                    <a:pt x="4044791" y="280511"/>
                    <a:pt x="4043839" y="279559"/>
                  </a:cubicBezTo>
                  <a:cubicBezTo>
                    <a:pt x="4044791" y="281464"/>
                    <a:pt x="4044791" y="282416"/>
                    <a:pt x="4044791" y="283369"/>
                  </a:cubicBezTo>
                  <a:cubicBezTo>
                    <a:pt x="4043839" y="282416"/>
                    <a:pt x="4043839" y="281464"/>
                    <a:pt x="4043839" y="281464"/>
                  </a:cubicBezTo>
                  <a:cubicBezTo>
                    <a:pt x="4043839" y="281464"/>
                    <a:pt x="4043839" y="283369"/>
                    <a:pt x="4044791" y="286226"/>
                  </a:cubicBezTo>
                  <a:cubicBezTo>
                    <a:pt x="4044791" y="287179"/>
                    <a:pt x="4044791" y="288131"/>
                    <a:pt x="4044791" y="290036"/>
                  </a:cubicBezTo>
                  <a:cubicBezTo>
                    <a:pt x="4043839" y="288131"/>
                    <a:pt x="4042886" y="286226"/>
                    <a:pt x="4042886" y="284321"/>
                  </a:cubicBezTo>
                  <a:cubicBezTo>
                    <a:pt x="4043839" y="282416"/>
                    <a:pt x="4043839" y="281464"/>
                    <a:pt x="4043839" y="279559"/>
                  </a:cubicBezTo>
                  <a:close/>
                  <a:moveTo>
                    <a:pt x="4044791" y="333851"/>
                  </a:moveTo>
                  <a:cubicBezTo>
                    <a:pt x="4044791" y="333851"/>
                    <a:pt x="4044791" y="333851"/>
                    <a:pt x="4044791" y="333851"/>
                  </a:cubicBezTo>
                  <a:cubicBezTo>
                    <a:pt x="4044791" y="335756"/>
                    <a:pt x="4044791" y="337661"/>
                    <a:pt x="4044791" y="339566"/>
                  </a:cubicBezTo>
                  <a:cubicBezTo>
                    <a:pt x="4043839" y="338614"/>
                    <a:pt x="4043839" y="338614"/>
                    <a:pt x="4042886" y="337661"/>
                  </a:cubicBezTo>
                  <a:cubicBezTo>
                    <a:pt x="4042886" y="335756"/>
                    <a:pt x="4043839" y="334804"/>
                    <a:pt x="4044791" y="333851"/>
                  </a:cubicBezTo>
                  <a:close/>
                  <a:moveTo>
                    <a:pt x="4039076" y="271939"/>
                  </a:moveTo>
                  <a:cubicBezTo>
                    <a:pt x="4039076" y="272891"/>
                    <a:pt x="4039076" y="272891"/>
                    <a:pt x="4039076" y="273844"/>
                  </a:cubicBezTo>
                  <a:cubicBezTo>
                    <a:pt x="4039076" y="272891"/>
                    <a:pt x="4038124" y="271939"/>
                    <a:pt x="4038124" y="270034"/>
                  </a:cubicBezTo>
                  <a:cubicBezTo>
                    <a:pt x="4037171" y="268129"/>
                    <a:pt x="4037171" y="267176"/>
                    <a:pt x="4036219" y="265271"/>
                  </a:cubicBezTo>
                  <a:cubicBezTo>
                    <a:pt x="4037171" y="267176"/>
                    <a:pt x="4038124" y="269081"/>
                    <a:pt x="4039076" y="271939"/>
                  </a:cubicBezTo>
                  <a:close/>
                  <a:moveTo>
                    <a:pt x="4033361" y="358616"/>
                  </a:moveTo>
                  <a:cubicBezTo>
                    <a:pt x="4033361" y="355759"/>
                    <a:pt x="4034314" y="353854"/>
                    <a:pt x="4034314" y="351949"/>
                  </a:cubicBezTo>
                  <a:cubicBezTo>
                    <a:pt x="4035266" y="350044"/>
                    <a:pt x="4037171" y="347186"/>
                    <a:pt x="4038124" y="345281"/>
                  </a:cubicBezTo>
                  <a:cubicBezTo>
                    <a:pt x="4040029" y="347186"/>
                    <a:pt x="4041934" y="350044"/>
                    <a:pt x="4043839" y="351949"/>
                  </a:cubicBezTo>
                  <a:cubicBezTo>
                    <a:pt x="4042886" y="363379"/>
                    <a:pt x="4041934" y="376714"/>
                    <a:pt x="4040981" y="391954"/>
                  </a:cubicBezTo>
                  <a:cubicBezTo>
                    <a:pt x="4039076" y="398621"/>
                    <a:pt x="4037171" y="406241"/>
                    <a:pt x="4035266" y="413861"/>
                  </a:cubicBezTo>
                  <a:cubicBezTo>
                    <a:pt x="4033361" y="407194"/>
                    <a:pt x="4030504" y="401479"/>
                    <a:pt x="4029551" y="395764"/>
                  </a:cubicBezTo>
                  <a:cubicBezTo>
                    <a:pt x="4028599" y="392906"/>
                    <a:pt x="4027646" y="391001"/>
                    <a:pt x="4027646" y="388144"/>
                  </a:cubicBezTo>
                  <a:cubicBezTo>
                    <a:pt x="4029551" y="377666"/>
                    <a:pt x="4031456" y="368141"/>
                    <a:pt x="4033361" y="358616"/>
                  </a:cubicBezTo>
                  <a:close/>
                  <a:moveTo>
                    <a:pt x="4020026" y="324326"/>
                  </a:moveTo>
                  <a:cubicBezTo>
                    <a:pt x="4020979" y="325279"/>
                    <a:pt x="4020979" y="325279"/>
                    <a:pt x="4021931" y="326231"/>
                  </a:cubicBezTo>
                  <a:cubicBezTo>
                    <a:pt x="4020979" y="329089"/>
                    <a:pt x="4020026" y="331946"/>
                    <a:pt x="4019074" y="334804"/>
                  </a:cubicBezTo>
                  <a:cubicBezTo>
                    <a:pt x="4018121" y="336709"/>
                    <a:pt x="4018121" y="339566"/>
                    <a:pt x="4017169" y="341471"/>
                  </a:cubicBezTo>
                  <a:cubicBezTo>
                    <a:pt x="4017169" y="341471"/>
                    <a:pt x="4017169" y="342424"/>
                    <a:pt x="4016216" y="342424"/>
                  </a:cubicBezTo>
                  <a:cubicBezTo>
                    <a:pt x="4016216" y="343376"/>
                    <a:pt x="4015264" y="343376"/>
                    <a:pt x="4015264" y="344329"/>
                  </a:cubicBezTo>
                  <a:cubicBezTo>
                    <a:pt x="4014311" y="333851"/>
                    <a:pt x="4012406" y="324326"/>
                    <a:pt x="4011454" y="315754"/>
                  </a:cubicBezTo>
                  <a:cubicBezTo>
                    <a:pt x="4014311" y="317659"/>
                    <a:pt x="4017169" y="320516"/>
                    <a:pt x="4020026" y="324326"/>
                  </a:cubicBezTo>
                  <a:close/>
                  <a:moveTo>
                    <a:pt x="3999071" y="282416"/>
                  </a:moveTo>
                  <a:cubicBezTo>
                    <a:pt x="4000024" y="282416"/>
                    <a:pt x="4000024" y="282416"/>
                    <a:pt x="3999071" y="282416"/>
                  </a:cubicBezTo>
                  <a:cubicBezTo>
                    <a:pt x="4000024" y="290989"/>
                    <a:pt x="4000024" y="300514"/>
                    <a:pt x="4000024" y="310991"/>
                  </a:cubicBezTo>
                  <a:cubicBezTo>
                    <a:pt x="4000024" y="312896"/>
                    <a:pt x="4000024" y="314801"/>
                    <a:pt x="4000024" y="316706"/>
                  </a:cubicBezTo>
                  <a:cubicBezTo>
                    <a:pt x="4000024" y="319564"/>
                    <a:pt x="3999071" y="322421"/>
                    <a:pt x="3999071" y="325279"/>
                  </a:cubicBezTo>
                  <a:cubicBezTo>
                    <a:pt x="3999071" y="325279"/>
                    <a:pt x="3999071" y="326231"/>
                    <a:pt x="3999071" y="327184"/>
                  </a:cubicBezTo>
                  <a:cubicBezTo>
                    <a:pt x="3999071" y="326231"/>
                    <a:pt x="3998119" y="325279"/>
                    <a:pt x="3998119" y="324326"/>
                  </a:cubicBezTo>
                  <a:lnTo>
                    <a:pt x="3997166" y="314801"/>
                  </a:lnTo>
                  <a:lnTo>
                    <a:pt x="3996214" y="286226"/>
                  </a:lnTo>
                  <a:cubicBezTo>
                    <a:pt x="3997166" y="285274"/>
                    <a:pt x="3998119" y="284321"/>
                    <a:pt x="3999071" y="282416"/>
                  </a:cubicBezTo>
                  <a:close/>
                  <a:moveTo>
                    <a:pt x="3983831" y="405289"/>
                  </a:moveTo>
                  <a:cubicBezTo>
                    <a:pt x="3982879" y="408146"/>
                    <a:pt x="3981926" y="410051"/>
                    <a:pt x="3980021" y="412909"/>
                  </a:cubicBezTo>
                  <a:cubicBezTo>
                    <a:pt x="3980021" y="412909"/>
                    <a:pt x="3980021" y="412909"/>
                    <a:pt x="3980021" y="412909"/>
                  </a:cubicBezTo>
                  <a:cubicBezTo>
                    <a:pt x="3981926" y="407194"/>
                    <a:pt x="3981926" y="404336"/>
                    <a:pt x="3982879" y="402431"/>
                  </a:cubicBezTo>
                  <a:cubicBezTo>
                    <a:pt x="3982879" y="403384"/>
                    <a:pt x="3982879" y="404336"/>
                    <a:pt x="3983831" y="405289"/>
                  </a:cubicBezTo>
                  <a:close/>
                  <a:moveTo>
                    <a:pt x="3980974" y="395764"/>
                  </a:moveTo>
                  <a:cubicBezTo>
                    <a:pt x="3981926" y="397669"/>
                    <a:pt x="3981926" y="399574"/>
                    <a:pt x="3982879" y="401479"/>
                  </a:cubicBezTo>
                  <a:cubicBezTo>
                    <a:pt x="3982879" y="402431"/>
                    <a:pt x="3980974" y="404336"/>
                    <a:pt x="3979069" y="407194"/>
                  </a:cubicBezTo>
                  <a:cubicBezTo>
                    <a:pt x="3979069" y="407194"/>
                    <a:pt x="3979069" y="406241"/>
                    <a:pt x="3979069" y="406241"/>
                  </a:cubicBezTo>
                  <a:cubicBezTo>
                    <a:pt x="3980021" y="403384"/>
                    <a:pt x="3980021" y="399574"/>
                    <a:pt x="3980974" y="395764"/>
                  </a:cubicBezTo>
                  <a:close/>
                  <a:moveTo>
                    <a:pt x="3976211" y="378619"/>
                  </a:moveTo>
                  <a:cubicBezTo>
                    <a:pt x="3976211" y="378619"/>
                    <a:pt x="3976211" y="378619"/>
                    <a:pt x="3976211" y="378619"/>
                  </a:cubicBezTo>
                  <a:cubicBezTo>
                    <a:pt x="3976211" y="379571"/>
                    <a:pt x="3976211" y="379571"/>
                    <a:pt x="3976211" y="380524"/>
                  </a:cubicBezTo>
                  <a:cubicBezTo>
                    <a:pt x="3976211" y="379571"/>
                    <a:pt x="3976211" y="378619"/>
                    <a:pt x="3976211" y="378619"/>
                  </a:cubicBezTo>
                  <a:close/>
                  <a:moveTo>
                    <a:pt x="3948589" y="255746"/>
                  </a:moveTo>
                  <a:cubicBezTo>
                    <a:pt x="3948589" y="262414"/>
                    <a:pt x="3947636" y="270034"/>
                    <a:pt x="3946684" y="277654"/>
                  </a:cubicBezTo>
                  <a:cubicBezTo>
                    <a:pt x="3946684" y="279559"/>
                    <a:pt x="3946684" y="282416"/>
                    <a:pt x="3945731" y="285274"/>
                  </a:cubicBezTo>
                  <a:cubicBezTo>
                    <a:pt x="3944779" y="278606"/>
                    <a:pt x="3944779" y="272891"/>
                    <a:pt x="3943826" y="266224"/>
                  </a:cubicBezTo>
                  <a:cubicBezTo>
                    <a:pt x="3942874" y="257651"/>
                    <a:pt x="3940969" y="249079"/>
                    <a:pt x="3940016" y="240506"/>
                  </a:cubicBezTo>
                  <a:cubicBezTo>
                    <a:pt x="3940016" y="240506"/>
                    <a:pt x="3940016" y="240506"/>
                    <a:pt x="3940016" y="239554"/>
                  </a:cubicBezTo>
                  <a:cubicBezTo>
                    <a:pt x="3940016" y="238601"/>
                    <a:pt x="3940016" y="237649"/>
                    <a:pt x="3940016" y="236696"/>
                  </a:cubicBezTo>
                  <a:cubicBezTo>
                    <a:pt x="3940969" y="237649"/>
                    <a:pt x="3941921" y="239554"/>
                    <a:pt x="3942874" y="240506"/>
                  </a:cubicBezTo>
                  <a:cubicBezTo>
                    <a:pt x="3944779" y="243364"/>
                    <a:pt x="3945731" y="245269"/>
                    <a:pt x="3947636" y="248126"/>
                  </a:cubicBezTo>
                  <a:cubicBezTo>
                    <a:pt x="3948589" y="251936"/>
                    <a:pt x="3948589" y="253841"/>
                    <a:pt x="3948589" y="255746"/>
                  </a:cubicBezTo>
                  <a:close/>
                  <a:moveTo>
                    <a:pt x="3943826" y="205264"/>
                  </a:moveTo>
                  <a:cubicBezTo>
                    <a:pt x="3943826" y="207169"/>
                    <a:pt x="3943826" y="209074"/>
                    <a:pt x="3943826" y="210979"/>
                  </a:cubicBezTo>
                  <a:cubicBezTo>
                    <a:pt x="3943826" y="216694"/>
                    <a:pt x="3944779" y="223361"/>
                    <a:pt x="3945731" y="230981"/>
                  </a:cubicBezTo>
                  <a:cubicBezTo>
                    <a:pt x="3945731" y="232886"/>
                    <a:pt x="3945731" y="234791"/>
                    <a:pt x="3946684" y="236696"/>
                  </a:cubicBezTo>
                  <a:cubicBezTo>
                    <a:pt x="3943826" y="233839"/>
                    <a:pt x="3941921" y="230029"/>
                    <a:pt x="3939064" y="228124"/>
                  </a:cubicBezTo>
                  <a:cubicBezTo>
                    <a:pt x="3938111" y="224314"/>
                    <a:pt x="3938111" y="219551"/>
                    <a:pt x="3937159" y="215741"/>
                  </a:cubicBezTo>
                  <a:cubicBezTo>
                    <a:pt x="3940016" y="210979"/>
                    <a:pt x="3941921" y="208121"/>
                    <a:pt x="3943826" y="205264"/>
                  </a:cubicBezTo>
                  <a:close/>
                  <a:moveTo>
                    <a:pt x="3866674" y="369094"/>
                  </a:moveTo>
                  <a:cubicBezTo>
                    <a:pt x="3866674" y="369094"/>
                    <a:pt x="3866674" y="368141"/>
                    <a:pt x="3867626" y="368141"/>
                  </a:cubicBezTo>
                  <a:cubicBezTo>
                    <a:pt x="3867626" y="369094"/>
                    <a:pt x="3867626" y="370046"/>
                    <a:pt x="3867626" y="370999"/>
                  </a:cubicBezTo>
                  <a:cubicBezTo>
                    <a:pt x="3867626" y="370046"/>
                    <a:pt x="3866674" y="370046"/>
                    <a:pt x="3866674" y="369094"/>
                  </a:cubicBezTo>
                  <a:close/>
                  <a:moveTo>
                    <a:pt x="3886676" y="354806"/>
                  </a:moveTo>
                  <a:cubicBezTo>
                    <a:pt x="3885724" y="351949"/>
                    <a:pt x="3883819" y="350044"/>
                    <a:pt x="3882866" y="348139"/>
                  </a:cubicBezTo>
                  <a:cubicBezTo>
                    <a:pt x="3882866" y="345281"/>
                    <a:pt x="3881914" y="341471"/>
                    <a:pt x="3881914" y="338614"/>
                  </a:cubicBezTo>
                  <a:cubicBezTo>
                    <a:pt x="3883819" y="343376"/>
                    <a:pt x="3885724" y="349091"/>
                    <a:pt x="3886676" y="354806"/>
                  </a:cubicBezTo>
                  <a:cubicBezTo>
                    <a:pt x="3887629" y="354806"/>
                    <a:pt x="3887629" y="355759"/>
                    <a:pt x="3887629" y="356711"/>
                  </a:cubicBezTo>
                  <a:cubicBezTo>
                    <a:pt x="3887629" y="355759"/>
                    <a:pt x="3887629" y="354806"/>
                    <a:pt x="3886676" y="354806"/>
                  </a:cubicBezTo>
                  <a:close/>
                  <a:moveTo>
                    <a:pt x="3897154" y="278606"/>
                  </a:moveTo>
                  <a:cubicBezTo>
                    <a:pt x="3899059" y="275749"/>
                    <a:pt x="3900011" y="272891"/>
                    <a:pt x="3901916" y="270986"/>
                  </a:cubicBezTo>
                  <a:cubicBezTo>
                    <a:pt x="3901916" y="270986"/>
                    <a:pt x="3901916" y="270986"/>
                    <a:pt x="3901916" y="270986"/>
                  </a:cubicBezTo>
                  <a:cubicBezTo>
                    <a:pt x="3900964" y="273844"/>
                    <a:pt x="3899059" y="276701"/>
                    <a:pt x="3897154" y="278606"/>
                  </a:cubicBezTo>
                  <a:cubicBezTo>
                    <a:pt x="3898106" y="279559"/>
                    <a:pt x="3897154" y="279559"/>
                    <a:pt x="3897154" y="278606"/>
                  </a:cubicBezTo>
                  <a:close/>
                  <a:moveTo>
                    <a:pt x="3900011" y="291941"/>
                  </a:moveTo>
                  <a:cubicBezTo>
                    <a:pt x="3900011" y="290989"/>
                    <a:pt x="3900964" y="289084"/>
                    <a:pt x="3901916" y="288131"/>
                  </a:cubicBezTo>
                  <a:cubicBezTo>
                    <a:pt x="3901916" y="287179"/>
                    <a:pt x="3902869" y="287179"/>
                    <a:pt x="3902869" y="286226"/>
                  </a:cubicBezTo>
                  <a:cubicBezTo>
                    <a:pt x="3902869" y="290036"/>
                    <a:pt x="3902869" y="293846"/>
                    <a:pt x="3903821" y="297656"/>
                  </a:cubicBezTo>
                  <a:cubicBezTo>
                    <a:pt x="3903821" y="298609"/>
                    <a:pt x="3903821" y="300514"/>
                    <a:pt x="3902869" y="301466"/>
                  </a:cubicBezTo>
                  <a:cubicBezTo>
                    <a:pt x="3902869" y="300514"/>
                    <a:pt x="3902869" y="299561"/>
                    <a:pt x="3901916" y="298609"/>
                  </a:cubicBezTo>
                  <a:cubicBezTo>
                    <a:pt x="3901916" y="295751"/>
                    <a:pt x="3900964" y="293846"/>
                    <a:pt x="3900011" y="291941"/>
                  </a:cubicBezTo>
                  <a:close/>
                  <a:moveTo>
                    <a:pt x="3903821" y="431006"/>
                  </a:moveTo>
                  <a:cubicBezTo>
                    <a:pt x="3903821" y="431006"/>
                    <a:pt x="3903821" y="431959"/>
                    <a:pt x="3902869" y="431959"/>
                  </a:cubicBezTo>
                  <a:lnTo>
                    <a:pt x="3901916" y="431959"/>
                  </a:lnTo>
                  <a:cubicBezTo>
                    <a:pt x="3902869" y="430054"/>
                    <a:pt x="3902869" y="428149"/>
                    <a:pt x="3903821" y="426244"/>
                  </a:cubicBezTo>
                  <a:cubicBezTo>
                    <a:pt x="3903821" y="427196"/>
                    <a:pt x="3903821" y="427196"/>
                    <a:pt x="3904774" y="428149"/>
                  </a:cubicBezTo>
                  <a:cubicBezTo>
                    <a:pt x="3903821" y="429101"/>
                    <a:pt x="3903821" y="430054"/>
                    <a:pt x="3903821" y="431006"/>
                  </a:cubicBezTo>
                  <a:close/>
                  <a:moveTo>
                    <a:pt x="3925729" y="309086"/>
                  </a:moveTo>
                  <a:cubicBezTo>
                    <a:pt x="3923824" y="301466"/>
                    <a:pt x="3922871" y="297656"/>
                    <a:pt x="3922871" y="297656"/>
                  </a:cubicBezTo>
                  <a:cubicBezTo>
                    <a:pt x="3922871" y="297656"/>
                    <a:pt x="3922871" y="301466"/>
                    <a:pt x="3923824" y="308134"/>
                  </a:cubicBezTo>
                  <a:cubicBezTo>
                    <a:pt x="3920966" y="297656"/>
                    <a:pt x="3919061" y="291941"/>
                    <a:pt x="3919061" y="291941"/>
                  </a:cubicBezTo>
                  <a:cubicBezTo>
                    <a:pt x="3919061" y="291941"/>
                    <a:pt x="3920014" y="301466"/>
                    <a:pt x="3922871" y="317659"/>
                  </a:cubicBezTo>
                  <a:cubicBezTo>
                    <a:pt x="3922871" y="320516"/>
                    <a:pt x="3923824" y="322421"/>
                    <a:pt x="3923824" y="325279"/>
                  </a:cubicBezTo>
                  <a:cubicBezTo>
                    <a:pt x="3922871" y="328136"/>
                    <a:pt x="3922871" y="331946"/>
                    <a:pt x="3921919" y="334804"/>
                  </a:cubicBezTo>
                  <a:cubicBezTo>
                    <a:pt x="3921919" y="334804"/>
                    <a:pt x="3921919" y="335756"/>
                    <a:pt x="3921919" y="335756"/>
                  </a:cubicBezTo>
                  <a:cubicBezTo>
                    <a:pt x="3921919" y="333851"/>
                    <a:pt x="3920966" y="331946"/>
                    <a:pt x="3920966" y="330041"/>
                  </a:cubicBezTo>
                  <a:cubicBezTo>
                    <a:pt x="3919061" y="319564"/>
                    <a:pt x="3917156" y="310039"/>
                    <a:pt x="3915251" y="301466"/>
                  </a:cubicBezTo>
                  <a:cubicBezTo>
                    <a:pt x="3913346" y="293846"/>
                    <a:pt x="3912394" y="287179"/>
                    <a:pt x="3911441" y="281464"/>
                  </a:cubicBezTo>
                  <a:cubicBezTo>
                    <a:pt x="3911441" y="273844"/>
                    <a:pt x="3912394" y="268129"/>
                    <a:pt x="3912394" y="264319"/>
                  </a:cubicBezTo>
                  <a:cubicBezTo>
                    <a:pt x="3912394" y="264319"/>
                    <a:pt x="3912394" y="263366"/>
                    <a:pt x="3912394" y="263366"/>
                  </a:cubicBezTo>
                  <a:cubicBezTo>
                    <a:pt x="3914299" y="265271"/>
                    <a:pt x="3917156" y="268129"/>
                    <a:pt x="3919061" y="270986"/>
                  </a:cubicBezTo>
                  <a:cubicBezTo>
                    <a:pt x="3920966" y="272891"/>
                    <a:pt x="3922871" y="274796"/>
                    <a:pt x="3923824" y="277654"/>
                  </a:cubicBezTo>
                  <a:cubicBezTo>
                    <a:pt x="3923824" y="277654"/>
                    <a:pt x="3923824" y="280511"/>
                    <a:pt x="3924776" y="284321"/>
                  </a:cubicBezTo>
                  <a:cubicBezTo>
                    <a:pt x="3922871" y="279559"/>
                    <a:pt x="3921919" y="277654"/>
                    <a:pt x="3921919" y="277654"/>
                  </a:cubicBezTo>
                  <a:cubicBezTo>
                    <a:pt x="3921919" y="277654"/>
                    <a:pt x="3923824" y="284321"/>
                    <a:pt x="3926681" y="296704"/>
                  </a:cubicBezTo>
                  <a:cubicBezTo>
                    <a:pt x="3926681" y="298609"/>
                    <a:pt x="3927634" y="301466"/>
                    <a:pt x="3927634" y="304324"/>
                  </a:cubicBezTo>
                  <a:cubicBezTo>
                    <a:pt x="3927634" y="304324"/>
                    <a:pt x="3927634" y="304324"/>
                    <a:pt x="3927634" y="305276"/>
                  </a:cubicBezTo>
                  <a:cubicBezTo>
                    <a:pt x="3926681" y="304324"/>
                    <a:pt x="3925729" y="306229"/>
                    <a:pt x="3925729" y="309086"/>
                  </a:cubicBezTo>
                  <a:close/>
                  <a:moveTo>
                    <a:pt x="3929539" y="287179"/>
                  </a:moveTo>
                  <a:cubicBezTo>
                    <a:pt x="3929539" y="289084"/>
                    <a:pt x="3928586" y="290989"/>
                    <a:pt x="3928586" y="292894"/>
                  </a:cubicBezTo>
                  <a:cubicBezTo>
                    <a:pt x="3928586" y="291941"/>
                    <a:pt x="3927634" y="290989"/>
                    <a:pt x="3927634" y="290036"/>
                  </a:cubicBezTo>
                  <a:cubicBezTo>
                    <a:pt x="3924776" y="281464"/>
                    <a:pt x="3923824" y="275749"/>
                    <a:pt x="3923824" y="275749"/>
                  </a:cubicBezTo>
                  <a:cubicBezTo>
                    <a:pt x="3924776" y="277654"/>
                    <a:pt x="3926681" y="279559"/>
                    <a:pt x="3927634" y="281464"/>
                  </a:cubicBezTo>
                  <a:cubicBezTo>
                    <a:pt x="3928586" y="282416"/>
                    <a:pt x="3928586" y="283369"/>
                    <a:pt x="3929539" y="284321"/>
                  </a:cubicBezTo>
                  <a:cubicBezTo>
                    <a:pt x="3929539" y="284321"/>
                    <a:pt x="3929539" y="285274"/>
                    <a:pt x="3929539" y="287179"/>
                  </a:cubicBezTo>
                  <a:close/>
                  <a:moveTo>
                    <a:pt x="3926681" y="242411"/>
                  </a:moveTo>
                  <a:cubicBezTo>
                    <a:pt x="3927634" y="251936"/>
                    <a:pt x="3928586" y="261461"/>
                    <a:pt x="3928586" y="270986"/>
                  </a:cubicBezTo>
                  <a:cubicBezTo>
                    <a:pt x="3926681" y="269081"/>
                    <a:pt x="3924776" y="266224"/>
                    <a:pt x="3921919" y="265271"/>
                  </a:cubicBezTo>
                  <a:cubicBezTo>
                    <a:pt x="3919061" y="262414"/>
                    <a:pt x="3916204" y="259556"/>
                    <a:pt x="3913346" y="257651"/>
                  </a:cubicBezTo>
                  <a:cubicBezTo>
                    <a:pt x="3915251" y="253841"/>
                    <a:pt x="3916204" y="250031"/>
                    <a:pt x="3917156" y="246221"/>
                  </a:cubicBezTo>
                  <a:cubicBezTo>
                    <a:pt x="3920014" y="241459"/>
                    <a:pt x="3922871" y="236696"/>
                    <a:pt x="3925729" y="232886"/>
                  </a:cubicBezTo>
                  <a:cubicBezTo>
                    <a:pt x="3925729" y="235744"/>
                    <a:pt x="3925729" y="239554"/>
                    <a:pt x="3926681" y="242411"/>
                  </a:cubicBezTo>
                  <a:close/>
                  <a:moveTo>
                    <a:pt x="3900964" y="168116"/>
                  </a:moveTo>
                  <a:cubicBezTo>
                    <a:pt x="3905726" y="160496"/>
                    <a:pt x="3910489" y="153829"/>
                    <a:pt x="3914299" y="147161"/>
                  </a:cubicBezTo>
                  <a:cubicBezTo>
                    <a:pt x="3914299" y="150019"/>
                    <a:pt x="3915251" y="152876"/>
                    <a:pt x="3915251" y="156686"/>
                  </a:cubicBezTo>
                  <a:cubicBezTo>
                    <a:pt x="3917156" y="168116"/>
                    <a:pt x="3919061" y="181451"/>
                    <a:pt x="3920966" y="196691"/>
                  </a:cubicBezTo>
                  <a:cubicBezTo>
                    <a:pt x="3921919" y="202406"/>
                    <a:pt x="3921919" y="208121"/>
                    <a:pt x="3922871" y="213836"/>
                  </a:cubicBezTo>
                  <a:cubicBezTo>
                    <a:pt x="3920966" y="211931"/>
                    <a:pt x="3920014" y="210979"/>
                    <a:pt x="3920014" y="210979"/>
                  </a:cubicBezTo>
                  <a:cubicBezTo>
                    <a:pt x="3920014" y="210979"/>
                    <a:pt x="3920966" y="212884"/>
                    <a:pt x="3923824" y="214789"/>
                  </a:cubicBezTo>
                  <a:cubicBezTo>
                    <a:pt x="3923824" y="218599"/>
                    <a:pt x="3924776" y="222409"/>
                    <a:pt x="3924776" y="226219"/>
                  </a:cubicBezTo>
                  <a:cubicBezTo>
                    <a:pt x="3919061" y="232886"/>
                    <a:pt x="3913346" y="240506"/>
                    <a:pt x="3906679" y="249079"/>
                  </a:cubicBezTo>
                  <a:cubicBezTo>
                    <a:pt x="3905726" y="250031"/>
                    <a:pt x="3905726" y="250984"/>
                    <a:pt x="3904774" y="251936"/>
                  </a:cubicBezTo>
                  <a:cubicBezTo>
                    <a:pt x="3903821" y="251936"/>
                    <a:pt x="3903821" y="250984"/>
                    <a:pt x="3902869" y="250984"/>
                  </a:cubicBezTo>
                  <a:cubicBezTo>
                    <a:pt x="3901916" y="245269"/>
                    <a:pt x="3900964" y="242411"/>
                    <a:pt x="3900964" y="242411"/>
                  </a:cubicBezTo>
                  <a:cubicBezTo>
                    <a:pt x="3900964" y="242411"/>
                    <a:pt x="3900964" y="245269"/>
                    <a:pt x="3900964" y="249079"/>
                  </a:cubicBezTo>
                  <a:cubicBezTo>
                    <a:pt x="3900011" y="248126"/>
                    <a:pt x="3898106" y="247174"/>
                    <a:pt x="3897154" y="247174"/>
                  </a:cubicBezTo>
                  <a:cubicBezTo>
                    <a:pt x="3893344" y="245269"/>
                    <a:pt x="3891439" y="243364"/>
                    <a:pt x="3891439" y="243364"/>
                  </a:cubicBezTo>
                  <a:cubicBezTo>
                    <a:pt x="3891439" y="243364"/>
                    <a:pt x="3893344" y="245269"/>
                    <a:pt x="3896201" y="248126"/>
                  </a:cubicBezTo>
                  <a:cubicBezTo>
                    <a:pt x="3897154" y="249079"/>
                    <a:pt x="3899059" y="250984"/>
                    <a:pt x="3900964" y="251936"/>
                  </a:cubicBezTo>
                  <a:cubicBezTo>
                    <a:pt x="3900964" y="253841"/>
                    <a:pt x="3900964" y="254794"/>
                    <a:pt x="3900964" y="256699"/>
                  </a:cubicBezTo>
                  <a:cubicBezTo>
                    <a:pt x="3899059" y="259556"/>
                    <a:pt x="3896201" y="263366"/>
                    <a:pt x="3894296" y="266224"/>
                  </a:cubicBezTo>
                  <a:cubicBezTo>
                    <a:pt x="3893344" y="261461"/>
                    <a:pt x="3891439" y="255746"/>
                    <a:pt x="3890486" y="250984"/>
                  </a:cubicBezTo>
                  <a:cubicBezTo>
                    <a:pt x="3886676" y="235744"/>
                    <a:pt x="3883819" y="222409"/>
                    <a:pt x="3880009" y="210026"/>
                  </a:cubicBezTo>
                  <a:cubicBezTo>
                    <a:pt x="3880009" y="209074"/>
                    <a:pt x="3879056" y="207169"/>
                    <a:pt x="3879056" y="206216"/>
                  </a:cubicBezTo>
                  <a:cubicBezTo>
                    <a:pt x="3886676" y="191929"/>
                    <a:pt x="3894296" y="178594"/>
                    <a:pt x="3900964" y="168116"/>
                  </a:cubicBezTo>
                  <a:close/>
                  <a:moveTo>
                    <a:pt x="3873341" y="214789"/>
                  </a:moveTo>
                  <a:cubicBezTo>
                    <a:pt x="3875246" y="226219"/>
                    <a:pt x="3877151" y="238601"/>
                    <a:pt x="3879056" y="251936"/>
                  </a:cubicBezTo>
                  <a:cubicBezTo>
                    <a:pt x="3880009" y="260509"/>
                    <a:pt x="3881914" y="270034"/>
                    <a:pt x="3883819" y="280511"/>
                  </a:cubicBezTo>
                  <a:cubicBezTo>
                    <a:pt x="3883819" y="281464"/>
                    <a:pt x="3882866" y="281464"/>
                    <a:pt x="3882866" y="282416"/>
                  </a:cubicBezTo>
                  <a:cubicBezTo>
                    <a:pt x="3880009" y="273844"/>
                    <a:pt x="3878104" y="266224"/>
                    <a:pt x="3875246" y="259556"/>
                  </a:cubicBezTo>
                  <a:cubicBezTo>
                    <a:pt x="3871436" y="250031"/>
                    <a:pt x="3868579" y="241459"/>
                    <a:pt x="3865721" y="234791"/>
                  </a:cubicBezTo>
                  <a:cubicBezTo>
                    <a:pt x="3865721" y="233839"/>
                    <a:pt x="3864769" y="232886"/>
                    <a:pt x="3864769" y="231934"/>
                  </a:cubicBezTo>
                  <a:cubicBezTo>
                    <a:pt x="3867626" y="225266"/>
                    <a:pt x="3870484" y="219551"/>
                    <a:pt x="3873341" y="214789"/>
                  </a:cubicBezTo>
                  <a:close/>
                  <a:moveTo>
                    <a:pt x="3864769" y="341471"/>
                  </a:moveTo>
                  <a:cubicBezTo>
                    <a:pt x="3863816" y="342424"/>
                    <a:pt x="3863816" y="344329"/>
                    <a:pt x="3862864" y="345281"/>
                  </a:cubicBezTo>
                  <a:cubicBezTo>
                    <a:pt x="3862864" y="344329"/>
                    <a:pt x="3863816" y="343376"/>
                    <a:pt x="3864769" y="341471"/>
                  </a:cubicBezTo>
                  <a:cubicBezTo>
                    <a:pt x="3864769" y="341471"/>
                    <a:pt x="3864769" y="341471"/>
                    <a:pt x="3864769" y="341471"/>
                  </a:cubicBezTo>
                  <a:close/>
                  <a:moveTo>
                    <a:pt x="3854291" y="211931"/>
                  </a:moveTo>
                  <a:cubicBezTo>
                    <a:pt x="3854291" y="208121"/>
                    <a:pt x="3855244" y="204311"/>
                    <a:pt x="3856196" y="201454"/>
                  </a:cubicBezTo>
                  <a:cubicBezTo>
                    <a:pt x="3856196" y="206216"/>
                    <a:pt x="3856196" y="212884"/>
                    <a:pt x="3857149" y="220504"/>
                  </a:cubicBezTo>
                  <a:cubicBezTo>
                    <a:pt x="3856196" y="222409"/>
                    <a:pt x="3855244" y="224314"/>
                    <a:pt x="3854291" y="226219"/>
                  </a:cubicBezTo>
                  <a:cubicBezTo>
                    <a:pt x="3853339" y="220504"/>
                    <a:pt x="3854291" y="215741"/>
                    <a:pt x="3854291" y="211931"/>
                  </a:cubicBezTo>
                  <a:close/>
                  <a:moveTo>
                    <a:pt x="3849529" y="262414"/>
                  </a:moveTo>
                  <a:cubicBezTo>
                    <a:pt x="3849529" y="260509"/>
                    <a:pt x="3849529" y="259556"/>
                    <a:pt x="3849529" y="257651"/>
                  </a:cubicBezTo>
                  <a:cubicBezTo>
                    <a:pt x="3849529" y="257651"/>
                    <a:pt x="3849529" y="256699"/>
                    <a:pt x="3850481" y="256699"/>
                  </a:cubicBezTo>
                  <a:cubicBezTo>
                    <a:pt x="3853339" y="263366"/>
                    <a:pt x="3856196" y="270986"/>
                    <a:pt x="3859054" y="278606"/>
                  </a:cubicBezTo>
                  <a:cubicBezTo>
                    <a:pt x="3859054" y="279559"/>
                    <a:pt x="3859054" y="279559"/>
                    <a:pt x="3860006" y="280511"/>
                  </a:cubicBezTo>
                  <a:cubicBezTo>
                    <a:pt x="3860959" y="290989"/>
                    <a:pt x="3861911" y="302419"/>
                    <a:pt x="3862864" y="313849"/>
                  </a:cubicBezTo>
                  <a:cubicBezTo>
                    <a:pt x="3862864" y="313849"/>
                    <a:pt x="3862864" y="313849"/>
                    <a:pt x="3862864" y="313849"/>
                  </a:cubicBezTo>
                  <a:cubicBezTo>
                    <a:pt x="3858101" y="305276"/>
                    <a:pt x="3852386" y="298609"/>
                    <a:pt x="3847624" y="291941"/>
                  </a:cubicBezTo>
                  <a:cubicBezTo>
                    <a:pt x="3848576" y="281464"/>
                    <a:pt x="3848576" y="271939"/>
                    <a:pt x="3849529" y="262414"/>
                  </a:cubicBezTo>
                  <a:close/>
                  <a:moveTo>
                    <a:pt x="3846671" y="308134"/>
                  </a:moveTo>
                  <a:cubicBezTo>
                    <a:pt x="3849529" y="312896"/>
                    <a:pt x="3852386" y="318611"/>
                    <a:pt x="3855244" y="323374"/>
                  </a:cubicBezTo>
                  <a:cubicBezTo>
                    <a:pt x="3855244" y="324326"/>
                    <a:pt x="3856196" y="324326"/>
                    <a:pt x="3856196" y="325279"/>
                  </a:cubicBezTo>
                  <a:cubicBezTo>
                    <a:pt x="3856196" y="326231"/>
                    <a:pt x="3855244" y="326231"/>
                    <a:pt x="3855244" y="327184"/>
                  </a:cubicBezTo>
                  <a:cubicBezTo>
                    <a:pt x="3853339" y="330041"/>
                    <a:pt x="3851434" y="333851"/>
                    <a:pt x="3849529" y="336709"/>
                  </a:cubicBezTo>
                  <a:cubicBezTo>
                    <a:pt x="3848576" y="334804"/>
                    <a:pt x="3846671" y="331946"/>
                    <a:pt x="3845719" y="330041"/>
                  </a:cubicBezTo>
                  <a:cubicBezTo>
                    <a:pt x="3845719" y="323374"/>
                    <a:pt x="3846671" y="315754"/>
                    <a:pt x="3846671" y="308134"/>
                  </a:cubicBezTo>
                  <a:close/>
                  <a:moveTo>
                    <a:pt x="3843814" y="415766"/>
                  </a:moveTo>
                  <a:cubicBezTo>
                    <a:pt x="3844766" y="413861"/>
                    <a:pt x="3845719" y="411956"/>
                    <a:pt x="3846671" y="410051"/>
                  </a:cubicBezTo>
                  <a:cubicBezTo>
                    <a:pt x="3846671" y="411956"/>
                    <a:pt x="3847624" y="414814"/>
                    <a:pt x="3847624" y="416719"/>
                  </a:cubicBezTo>
                  <a:cubicBezTo>
                    <a:pt x="3847624" y="417671"/>
                    <a:pt x="3847624" y="418624"/>
                    <a:pt x="3847624" y="419576"/>
                  </a:cubicBezTo>
                  <a:cubicBezTo>
                    <a:pt x="3847624" y="420529"/>
                    <a:pt x="3846671" y="421481"/>
                    <a:pt x="3846671" y="422434"/>
                  </a:cubicBezTo>
                  <a:cubicBezTo>
                    <a:pt x="3845719" y="423386"/>
                    <a:pt x="3845719" y="425291"/>
                    <a:pt x="3844766" y="426244"/>
                  </a:cubicBezTo>
                  <a:lnTo>
                    <a:pt x="3842861" y="426244"/>
                  </a:lnTo>
                  <a:cubicBezTo>
                    <a:pt x="3843814" y="422434"/>
                    <a:pt x="3843814" y="418624"/>
                    <a:pt x="3843814" y="415766"/>
                  </a:cubicBezTo>
                  <a:close/>
                  <a:moveTo>
                    <a:pt x="3830479" y="297656"/>
                  </a:moveTo>
                  <a:cubicBezTo>
                    <a:pt x="3830479" y="298609"/>
                    <a:pt x="3830479" y="298609"/>
                    <a:pt x="3830479" y="299561"/>
                  </a:cubicBezTo>
                  <a:cubicBezTo>
                    <a:pt x="3830479" y="300514"/>
                    <a:pt x="3830479" y="300514"/>
                    <a:pt x="3830479" y="301466"/>
                  </a:cubicBezTo>
                  <a:cubicBezTo>
                    <a:pt x="3830479" y="303371"/>
                    <a:pt x="3830479" y="305276"/>
                    <a:pt x="3829526" y="307181"/>
                  </a:cubicBezTo>
                  <a:cubicBezTo>
                    <a:pt x="3828574" y="306229"/>
                    <a:pt x="3827621" y="305276"/>
                    <a:pt x="3827621" y="304324"/>
                  </a:cubicBezTo>
                  <a:cubicBezTo>
                    <a:pt x="3828574" y="301466"/>
                    <a:pt x="3829526" y="299561"/>
                    <a:pt x="3830479" y="297656"/>
                  </a:cubicBezTo>
                  <a:close/>
                  <a:moveTo>
                    <a:pt x="3826669" y="305276"/>
                  </a:moveTo>
                  <a:cubicBezTo>
                    <a:pt x="3827621" y="306229"/>
                    <a:pt x="3827621" y="308134"/>
                    <a:pt x="3828574" y="310039"/>
                  </a:cubicBezTo>
                  <a:cubicBezTo>
                    <a:pt x="3828574" y="311944"/>
                    <a:pt x="3828574" y="312896"/>
                    <a:pt x="3827621" y="314801"/>
                  </a:cubicBezTo>
                  <a:cubicBezTo>
                    <a:pt x="3826669" y="312896"/>
                    <a:pt x="3824764" y="310991"/>
                    <a:pt x="3823811" y="309086"/>
                  </a:cubicBezTo>
                  <a:cubicBezTo>
                    <a:pt x="3825716" y="307181"/>
                    <a:pt x="3825716" y="306229"/>
                    <a:pt x="3826669" y="305276"/>
                  </a:cubicBezTo>
                  <a:close/>
                  <a:moveTo>
                    <a:pt x="3820001" y="319564"/>
                  </a:moveTo>
                  <a:cubicBezTo>
                    <a:pt x="3821906" y="323374"/>
                    <a:pt x="3823811" y="328136"/>
                    <a:pt x="3826669" y="332899"/>
                  </a:cubicBezTo>
                  <a:cubicBezTo>
                    <a:pt x="3826669" y="332899"/>
                    <a:pt x="3826669" y="333851"/>
                    <a:pt x="3827621" y="333851"/>
                  </a:cubicBezTo>
                  <a:cubicBezTo>
                    <a:pt x="3827621" y="336709"/>
                    <a:pt x="3826669" y="339566"/>
                    <a:pt x="3826669" y="343376"/>
                  </a:cubicBezTo>
                  <a:cubicBezTo>
                    <a:pt x="3825716" y="354806"/>
                    <a:pt x="3825716" y="366236"/>
                    <a:pt x="3824764" y="377666"/>
                  </a:cubicBezTo>
                  <a:cubicBezTo>
                    <a:pt x="3823811" y="372904"/>
                    <a:pt x="3821906" y="368141"/>
                    <a:pt x="3820954" y="364331"/>
                  </a:cubicBezTo>
                  <a:cubicBezTo>
                    <a:pt x="3820954" y="360521"/>
                    <a:pt x="3820001" y="356711"/>
                    <a:pt x="3820001" y="352901"/>
                  </a:cubicBezTo>
                  <a:cubicBezTo>
                    <a:pt x="3820001" y="347186"/>
                    <a:pt x="3819049" y="341471"/>
                    <a:pt x="3818096" y="336709"/>
                  </a:cubicBezTo>
                  <a:cubicBezTo>
                    <a:pt x="3820001" y="333851"/>
                    <a:pt x="3821906" y="332899"/>
                    <a:pt x="3821906" y="332899"/>
                  </a:cubicBezTo>
                  <a:cubicBezTo>
                    <a:pt x="3821906" y="332899"/>
                    <a:pt x="3820954" y="333851"/>
                    <a:pt x="3818096" y="335756"/>
                  </a:cubicBezTo>
                  <a:cubicBezTo>
                    <a:pt x="3818096" y="332899"/>
                    <a:pt x="3817144" y="329089"/>
                    <a:pt x="3817144" y="326231"/>
                  </a:cubicBezTo>
                  <a:cubicBezTo>
                    <a:pt x="3818096" y="323374"/>
                    <a:pt x="3819049" y="321469"/>
                    <a:pt x="3820001" y="319564"/>
                  </a:cubicBezTo>
                  <a:close/>
                  <a:moveTo>
                    <a:pt x="3788569" y="264319"/>
                  </a:moveTo>
                  <a:cubicBezTo>
                    <a:pt x="3789521" y="266224"/>
                    <a:pt x="3791426" y="268129"/>
                    <a:pt x="3792379" y="270986"/>
                  </a:cubicBezTo>
                  <a:cubicBezTo>
                    <a:pt x="3795236" y="274796"/>
                    <a:pt x="3798094" y="280511"/>
                    <a:pt x="3800951" y="285274"/>
                  </a:cubicBezTo>
                  <a:cubicBezTo>
                    <a:pt x="3800951" y="286226"/>
                    <a:pt x="3800951" y="286226"/>
                    <a:pt x="3800951" y="287179"/>
                  </a:cubicBezTo>
                  <a:cubicBezTo>
                    <a:pt x="3800951" y="290989"/>
                    <a:pt x="3800951" y="294799"/>
                    <a:pt x="3800951" y="298609"/>
                  </a:cubicBezTo>
                  <a:cubicBezTo>
                    <a:pt x="3800951" y="299561"/>
                    <a:pt x="3800951" y="300514"/>
                    <a:pt x="3800951" y="300514"/>
                  </a:cubicBezTo>
                  <a:cubicBezTo>
                    <a:pt x="3799999" y="295751"/>
                    <a:pt x="3798094" y="291941"/>
                    <a:pt x="3797141" y="287179"/>
                  </a:cubicBezTo>
                  <a:cubicBezTo>
                    <a:pt x="3797141" y="286226"/>
                    <a:pt x="3796189" y="285274"/>
                    <a:pt x="3796189" y="285274"/>
                  </a:cubicBezTo>
                  <a:cubicBezTo>
                    <a:pt x="3796189" y="282416"/>
                    <a:pt x="3796189" y="280511"/>
                    <a:pt x="3796189" y="280511"/>
                  </a:cubicBezTo>
                  <a:cubicBezTo>
                    <a:pt x="3796189" y="280511"/>
                    <a:pt x="3796189" y="281464"/>
                    <a:pt x="3795236" y="283369"/>
                  </a:cubicBezTo>
                  <a:cubicBezTo>
                    <a:pt x="3794284" y="279559"/>
                    <a:pt x="3792379" y="275749"/>
                    <a:pt x="3791426" y="271939"/>
                  </a:cubicBezTo>
                  <a:cubicBezTo>
                    <a:pt x="3790474" y="269081"/>
                    <a:pt x="3789521" y="266224"/>
                    <a:pt x="3788569" y="264319"/>
                  </a:cubicBezTo>
                  <a:close/>
                  <a:moveTo>
                    <a:pt x="3748564" y="364331"/>
                  </a:moveTo>
                  <a:cubicBezTo>
                    <a:pt x="3748564" y="359569"/>
                    <a:pt x="3748564" y="355759"/>
                    <a:pt x="3748564" y="351949"/>
                  </a:cubicBezTo>
                  <a:cubicBezTo>
                    <a:pt x="3749516" y="353854"/>
                    <a:pt x="3749516" y="355759"/>
                    <a:pt x="3750469" y="358616"/>
                  </a:cubicBezTo>
                  <a:cubicBezTo>
                    <a:pt x="3749516" y="359569"/>
                    <a:pt x="3749516" y="361474"/>
                    <a:pt x="3748564" y="364331"/>
                  </a:cubicBezTo>
                  <a:close/>
                  <a:moveTo>
                    <a:pt x="3762851" y="399574"/>
                  </a:moveTo>
                  <a:cubicBezTo>
                    <a:pt x="3761899" y="401479"/>
                    <a:pt x="3760946" y="403384"/>
                    <a:pt x="3759994" y="405289"/>
                  </a:cubicBezTo>
                  <a:cubicBezTo>
                    <a:pt x="3759994" y="400526"/>
                    <a:pt x="3760946" y="395764"/>
                    <a:pt x="3760946" y="391954"/>
                  </a:cubicBezTo>
                  <a:cubicBezTo>
                    <a:pt x="3760946" y="391954"/>
                    <a:pt x="3760946" y="391001"/>
                    <a:pt x="3760946" y="391001"/>
                  </a:cubicBezTo>
                  <a:cubicBezTo>
                    <a:pt x="3761899" y="392906"/>
                    <a:pt x="3761899" y="394811"/>
                    <a:pt x="3762851" y="396716"/>
                  </a:cubicBezTo>
                  <a:cubicBezTo>
                    <a:pt x="3763804" y="397669"/>
                    <a:pt x="3762851" y="398621"/>
                    <a:pt x="3762851" y="399574"/>
                  </a:cubicBezTo>
                  <a:close/>
                  <a:moveTo>
                    <a:pt x="3770471" y="290036"/>
                  </a:moveTo>
                  <a:cubicBezTo>
                    <a:pt x="3772376" y="296704"/>
                    <a:pt x="3773329" y="302419"/>
                    <a:pt x="3775234" y="309086"/>
                  </a:cubicBezTo>
                  <a:cubicBezTo>
                    <a:pt x="3774281" y="306229"/>
                    <a:pt x="3773329" y="304324"/>
                    <a:pt x="3771424" y="301466"/>
                  </a:cubicBezTo>
                  <a:cubicBezTo>
                    <a:pt x="3771424" y="300514"/>
                    <a:pt x="3770471" y="300514"/>
                    <a:pt x="3770471" y="299561"/>
                  </a:cubicBezTo>
                  <a:cubicBezTo>
                    <a:pt x="3770471" y="296704"/>
                    <a:pt x="3770471" y="293846"/>
                    <a:pt x="3770471" y="290989"/>
                  </a:cubicBezTo>
                  <a:cubicBezTo>
                    <a:pt x="3770471" y="290989"/>
                    <a:pt x="3770471" y="290036"/>
                    <a:pt x="3770471" y="290036"/>
                  </a:cubicBezTo>
                  <a:close/>
                  <a:moveTo>
                    <a:pt x="3769519" y="370046"/>
                  </a:moveTo>
                  <a:cubicBezTo>
                    <a:pt x="3769519" y="370999"/>
                    <a:pt x="3769519" y="371951"/>
                    <a:pt x="3770471" y="372904"/>
                  </a:cubicBezTo>
                  <a:cubicBezTo>
                    <a:pt x="3769519" y="370999"/>
                    <a:pt x="3768566" y="369094"/>
                    <a:pt x="3767614" y="366236"/>
                  </a:cubicBezTo>
                  <a:cubicBezTo>
                    <a:pt x="3767614" y="362426"/>
                    <a:pt x="3767614" y="359569"/>
                    <a:pt x="3767614" y="359569"/>
                  </a:cubicBezTo>
                  <a:cubicBezTo>
                    <a:pt x="3767614" y="359569"/>
                    <a:pt x="3767614" y="361474"/>
                    <a:pt x="3766661" y="364331"/>
                  </a:cubicBezTo>
                  <a:cubicBezTo>
                    <a:pt x="3765709" y="363379"/>
                    <a:pt x="3765709" y="361474"/>
                    <a:pt x="3764756" y="360521"/>
                  </a:cubicBezTo>
                  <a:cubicBezTo>
                    <a:pt x="3764756" y="359569"/>
                    <a:pt x="3764756" y="358616"/>
                    <a:pt x="3764756" y="357664"/>
                  </a:cubicBezTo>
                  <a:cubicBezTo>
                    <a:pt x="3764756" y="355759"/>
                    <a:pt x="3765709" y="353854"/>
                    <a:pt x="3765709" y="351949"/>
                  </a:cubicBezTo>
                  <a:cubicBezTo>
                    <a:pt x="3767614" y="358616"/>
                    <a:pt x="3768566" y="364331"/>
                    <a:pt x="3769519" y="370046"/>
                  </a:cubicBezTo>
                  <a:close/>
                  <a:moveTo>
                    <a:pt x="3753326" y="250031"/>
                  </a:moveTo>
                  <a:cubicBezTo>
                    <a:pt x="3754279" y="245269"/>
                    <a:pt x="3754279" y="241459"/>
                    <a:pt x="3755231" y="236696"/>
                  </a:cubicBezTo>
                  <a:cubicBezTo>
                    <a:pt x="3755231" y="235744"/>
                    <a:pt x="3755231" y="233839"/>
                    <a:pt x="3756184" y="232886"/>
                  </a:cubicBezTo>
                  <a:cubicBezTo>
                    <a:pt x="3757136" y="231934"/>
                    <a:pt x="3757136" y="230981"/>
                    <a:pt x="3758089" y="230029"/>
                  </a:cubicBezTo>
                  <a:cubicBezTo>
                    <a:pt x="3759041" y="232886"/>
                    <a:pt x="3759041" y="234791"/>
                    <a:pt x="3759994" y="237649"/>
                  </a:cubicBezTo>
                  <a:cubicBezTo>
                    <a:pt x="3762851" y="250984"/>
                    <a:pt x="3766661" y="266224"/>
                    <a:pt x="3769519" y="281464"/>
                  </a:cubicBezTo>
                  <a:cubicBezTo>
                    <a:pt x="3768566" y="284321"/>
                    <a:pt x="3768566" y="287179"/>
                    <a:pt x="3767614" y="290036"/>
                  </a:cubicBezTo>
                  <a:cubicBezTo>
                    <a:pt x="3767614" y="290036"/>
                    <a:pt x="3767614" y="290036"/>
                    <a:pt x="3767614" y="290989"/>
                  </a:cubicBezTo>
                  <a:cubicBezTo>
                    <a:pt x="3762851" y="280511"/>
                    <a:pt x="3757136" y="270986"/>
                    <a:pt x="3752374" y="261461"/>
                  </a:cubicBezTo>
                  <a:cubicBezTo>
                    <a:pt x="3752374" y="258604"/>
                    <a:pt x="3752374" y="253841"/>
                    <a:pt x="3753326" y="250031"/>
                  </a:cubicBezTo>
                  <a:close/>
                  <a:moveTo>
                    <a:pt x="3748564" y="296704"/>
                  </a:moveTo>
                  <a:cubicBezTo>
                    <a:pt x="3748564" y="296704"/>
                    <a:pt x="3748564" y="296704"/>
                    <a:pt x="3748564" y="296704"/>
                  </a:cubicBezTo>
                  <a:cubicBezTo>
                    <a:pt x="3751421" y="301466"/>
                    <a:pt x="3753326" y="307181"/>
                    <a:pt x="3756184" y="313849"/>
                  </a:cubicBezTo>
                  <a:cubicBezTo>
                    <a:pt x="3756184" y="314801"/>
                    <a:pt x="3757136" y="315754"/>
                    <a:pt x="3757136" y="316706"/>
                  </a:cubicBezTo>
                  <a:cubicBezTo>
                    <a:pt x="3758089" y="318611"/>
                    <a:pt x="3758089" y="321469"/>
                    <a:pt x="3759041" y="323374"/>
                  </a:cubicBezTo>
                  <a:cubicBezTo>
                    <a:pt x="3758089" y="325279"/>
                    <a:pt x="3758089" y="328136"/>
                    <a:pt x="3757136" y="330041"/>
                  </a:cubicBezTo>
                  <a:cubicBezTo>
                    <a:pt x="3756184" y="333851"/>
                    <a:pt x="3755231" y="337661"/>
                    <a:pt x="3754279" y="341471"/>
                  </a:cubicBezTo>
                  <a:cubicBezTo>
                    <a:pt x="3753326" y="339566"/>
                    <a:pt x="3751421" y="337661"/>
                    <a:pt x="3750469" y="335756"/>
                  </a:cubicBezTo>
                  <a:cubicBezTo>
                    <a:pt x="3749516" y="333851"/>
                    <a:pt x="3748564" y="332899"/>
                    <a:pt x="3747611" y="331946"/>
                  </a:cubicBezTo>
                  <a:cubicBezTo>
                    <a:pt x="3748564" y="320516"/>
                    <a:pt x="3748564" y="308134"/>
                    <a:pt x="3748564" y="296704"/>
                  </a:cubicBezTo>
                  <a:close/>
                  <a:moveTo>
                    <a:pt x="3738086" y="273844"/>
                  </a:moveTo>
                  <a:cubicBezTo>
                    <a:pt x="3738086" y="273844"/>
                    <a:pt x="3738086" y="273844"/>
                    <a:pt x="3738086" y="273844"/>
                  </a:cubicBezTo>
                  <a:cubicBezTo>
                    <a:pt x="3738086" y="274796"/>
                    <a:pt x="3738086" y="274796"/>
                    <a:pt x="3738086" y="274796"/>
                  </a:cubicBezTo>
                  <a:cubicBezTo>
                    <a:pt x="3738086" y="273844"/>
                    <a:pt x="3738086" y="273844"/>
                    <a:pt x="3738086" y="273844"/>
                  </a:cubicBezTo>
                  <a:close/>
                  <a:moveTo>
                    <a:pt x="3689509" y="326231"/>
                  </a:moveTo>
                  <a:cubicBezTo>
                    <a:pt x="3688556" y="328136"/>
                    <a:pt x="3687604" y="330041"/>
                    <a:pt x="3686651" y="331946"/>
                  </a:cubicBezTo>
                  <a:cubicBezTo>
                    <a:pt x="3686651" y="331946"/>
                    <a:pt x="3686651" y="330994"/>
                    <a:pt x="3685699" y="330994"/>
                  </a:cubicBezTo>
                  <a:cubicBezTo>
                    <a:pt x="3685699" y="328136"/>
                    <a:pt x="3685699" y="325279"/>
                    <a:pt x="3685699" y="322421"/>
                  </a:cubicBezTo>
                  <a:cubicBezTo>
                    <a:pt x="3685699" y="319564"/>
                    <a:pt x="3685699" y="316706"/>
                    <a:pt x="3685699" y="313849"/>
                  </a:cubicBezTo>
                  <a:cubicBezTo>
                    <a:pt x="3686651" y="316706"/>
                    <a:pt x="3688556" y="320516"/>
                    <a:pt x="3689509" y="325279"/>
                  </a:cubicBezTo>
                  <a:cubicBezTo>
                    <a:pt x="3689509" y="326231"/>
                    <a:pt x="3689509" y="326231"/>
                    <a:pt x="3689509" y="326231"/>
                  </a:cubicBezTo>
                  <a:close/>
                  <a:moveTo>
                    <a:pt x="3716179" y="211931"/>
                  </a:moveTo>
                  <a:cubicBezTo>
                    <a:pt x="3718084" y="214789"/>
                    <a:pt x="3719036" y="218599"/>
                    <a:pt x="3720941" y="221456"/>
                  </a:cubicBezTo>
                  <a:cubicBezTo>
                    <a:pt x="3719989" y="224314"/>
                    <a:pt x="3719989" y="227171"/>
                    <a:pt x="3719036" y="230029"/>
                  </a:cubicBezTo>
                  <a:cubicBezTo>
                    <a:pt x="3719036" y="230981"/>
                    <a:pt x="3719036" y="232886"/>
                    <a:pt x="3718084" y="233839"/>
                  </a:cubicBezTo>
                  <a:cubicBezTo>
                    <a:pt x="3715226" y="230029"/>
                    <a:pt x="3713321" y="228124"/>
                    <a:pt x="3713321" y="228124"/>
                  </a:cubicBezTo>
                  <a:cubicBezTo>
                    <a:pt x="3713321" y="228124"/>
                    <a:pt x="3715226" y="230981"/>
                    <a:pt x="3717131" y="235744"/>
                  </a:cubicBezTo>
                  <a:cubicBezTo>
                    <a:pt x="3716179" y="241459"/>
                    <a:pt x="3715226" y="247174"/>
                    <a:pt x="3714274" y="253841"/>
                  </a:cubicBezTo>
                  <a:cubicBezTo>
                    <a:pt x="3714274" y="252889"/>
                    <a:pt x="3714274" y="251936"/>
                    <a:pt x="3714274" y="250984"/>
                  </a:cubicBezTo>
                  <a:cubicBezTo>
                    <a:pt x="3714274" y="246221"/>
                    <a:pt x="3713321" y="242411"/>
                    <a:pt x="3713321" y="238601"/>
                  </a:cubicBezTo>
                  <a:cubicBezTo>
                    <a:pt x="3713321" y="234791"/>
                    <a:pt x="3713321" y="230981"/>
                    <a:pt x="3713321" y="227171"/>
                  </a:cubicBezTo>
                  <a:cubicBezTo>
                    <a:pt x="3713321" y="219551"/>
                    <a:pt x="3712369" y="213836"/>
                    <a:pt x="3712369" y="208121"/>
                  </a:cubicBezTo>
                  <a:cubicBezTo>
                    <a:pt x="3712369" y="207169"/>
                    <a:pt x="3712369" y="206216"/>
                    <a:pt x="3712369" y="205264"/>
                  </a:cubicBezTo>
                  <a:cubicBezTo>
                    <a:pt x="3713321" y="207169"/>
                    <a:pt x="3714274" y="209074"/>
                    <a:pt x="3716179" y="211931"/>
                  </a:cubicBezTo>
                  <a:close/>
                  <a:moveTo>
                    <a:pt x="3679984" y="236696"/>
                  </a:moveTo>
                  <a:cubicBezTo>
                    <a:pt x="3681889" y="222409"/>
                    <a:pt x="3683794" y="209074"/>
                    <a:pt x="3684746" y="196691"/>
                  </a:cubicBezTo>
                  <a:cubicBezTo>
                    <a:pt x="3685699" y="185261"/>
                    <a:pt x="3687604" y="174784"/>
                    <a:pt x="3687604" y="166211"/>
                  </a:cubicBezTo>
                  <a:cubicBezTo>
                    <a:pt x="3687604" y="161449"/>
                    <a:pt x="3688556" y="157639"/>
                    <a:pt x="3688556" y="154781"/>
                  </a:cubicBezTo>
                  <a:cubicBezTo>
                    <a:pt x="3690461" y="159544"/>
                    <a:pt x="3694271" y="168116"/>
                    <a:pt x="3699034" y="178594"/>
                  </a:cubicBezTo>
                  <a:cubicBezTo>
                    <a:pt x="3701891" y="184309"/>
                    <a:pt x="3704749" y="191929"/>
                    <a:pt x="3708559" y="199549"/>
                  </a:cubicBezTo>
                  <a:cubicBezTo>
                    <a:pt x="3708559" y="201454"/>
                    <a:pt x="3707606" y="204311"/>
                    <a:pt x="3707606" y="207169"/>
                  </a:cubicBezTo>
                  <a:cubicBezTo>
                    <a:pt x="3706654" y="211931"/>
                    <a:pt x="3705701" y="218599"/>
                    <a:pt x="3704749" y="226219"/>
                  </a:cubicBezTo>
                  <a:cubicBezTo>
                    <a:pt x="3703796" y="230029"/>
                    <a:pt x="3703796" y="233839"/>
                    <a:pt x="3702844" y="237649"/>
                  </a:cubicBezTo>
                  <a:cubicBezTo>
                    <a:pt x="3702844" y="241459"/>
                    <a:pt x="3701891" y="246221"/>
                    <a:pt x="3701891" y="250984"/>
                  </a:cubicBezTo>
                  <a:cubicBezTo>
                    <a:pt x="3700939" y="259556"/>
                    <a:pt x="3700939" y="270034"/>
                    <a:pt x="3700939" y="280511"/>
                  </a:cubicBezTo>
                  <a:cubicBezTo>
                    <a:pt x="3700939" y="287179"/>
                    <a:pt x="3700939" y="293846"/>
                    <a:pt x="3700939" y="300514"/>
                  </a:cubicBezTo>
                  <a:cubicBezTo>
                    <a:pt x="3699034" y="293846"/>
                    <a:pt x="3697129" y="290036"/>
                    <a:pt x="3697129" y="290036"/>
                  </a:cubicBezTo>
                  <a:cubicBezTo>
                    <a:pt x="3697129" y="290036"/>
                    <a:pt x="3698081" y="296704"/>
                    <a:pt x="3699034" y="308134"/>
                  </a:cubicBezTo>
                  <a:cubicBezTo>
                    <a:pt x="3696176" y="312896"/>
                    <a:pt x="3693319" y="317659"/>
                    <a:pt x="3690461" y="322421"/>
                  </a:cubicBezTo>
                  <a:cubicBezTo>
                    <a:pt x="3687604" y="317659"/>
                    <a:pt x="3685699" y="313849"/>
                    <a:pt x="3683794" y="310991"/>
                  </a:cubicBezTo>
                  <a:cubicBezTo>
                    <a:pt x="3683794" y="305276"/>
                    <a:pt x="3683794" y="302419"/>
                    <a:pt x="3683794" y="302419"/>
                  </a:cubicBezTo>
                  <a:cubicBezTo>
                    <a:pt x="3683794" y="302419"/>
                    <a:pt x="3683794" y="304324"/>
                    <a:pt x="3682841" y="308134"/>
                  </a:cubicBezTo>
                  <a:cubicBezTo>
                    <a:pt x="3680936" y="304324"/>
                    <a:pt x="3679031" y="302419"/>
                    <a:pt x="3679031" y="302419"/>
                  </a:cubicBezTo>
                  <a:cubicBezTo>
                    <a:pt x="3679031" y="302419"/>
                    <a:pt x="3679984" y="305276"/>
                    <a:pt x="3681889" y="310991"/>
                  </a:cubicBezTo>
                  <a:cubicBezTo>
                    <a:pt x="3680936" y="313849"/>
                    <a:pt x="3680936" y="318611"/>
                    <a:pt x="3679984" y="323374"/>
                  </a:cubicBezTo>
                  <a:cubicBezTo>
                    <a:pt x="3677126" y="317659"/>
                    <a:pt x="3675221" y="311944"/>
                    <a:pt x="3672364" y="307181"/>
                  </a:cubicBezTo>
                  <a:cubicBezTo>
                    <a:pt x="3674269" y="300514"/>
                    <a:pt x="3676174" y="294799"/>
                    <a:pt x="3677126" y="289084"/>
                  </a:cubicBezTo>
                  <a:cubicBezTo>
                    <a:pt x="3679031" y="283369"/>
                    <a:pt x="3680936" y="277654"/>
                    <a:pt x="3681889" y="272891"/>
                  </a:cubicBezTo>
                  <a:cubicBezTo>
                    <a:pt x="3683794" y="268129"/>
                    <a:pt x="3685699" y="264319"/>
                    <a:pt x="3686651" y="260509"/>
                  </a:cubicBezTo>
                  <a:cubicBezTo>
                    <a:pt x="3690461" y="253841"/>
                    <a:pt x="3692366" y="250031"/>
                    <a:pt x="3692366" y="250031"/>
                  </a:cubicBezTo>
                  <a:cubicBezTo>
                    <a:pt x="3692366" y="250031"/>
                    <a:pt x="3689509" y="252889"/>
                    <a:pt x="3683794" y="258604"/>
                  </a:cubicBezTo>
                  <a:cubicBezTo>
                    <a:pt x="3680936" y="261461"/>
                    <a:pt x="3678079" y="265271"/>
                    <a:pt x="3675221" y="270034"/>
                  </a:cubicBezTo>
                  <a:cubicBezTo>
                    <a:pt x="3674269" y="271939"/>
                    <a:pt x="3673316" y="273844"/>
                    <a:pt x="3671411" y="275749"/>
                  </a:cubicBezTo>
                  <a:cubicBezTo>
                    <a:pt x="3677126" y="261461"/>
                    <a:pt x="3679031" y="248126"/>
                    <a:pt x="3679984" y="236696"/>
                  </a:cubicBezTo>
                  <a:close/>
                  <a:moveTo>
                    <a:pt x="3678079" y="342424"/>
                  </a:moveTo>
                  <a:cubicBezTo>
                    <a:pt x="3678079" y="344329"/>
                    <a:pt x="3677126" y="346234"/>
                    <a:pt x="3677126" y="349091"/>
                  </a:cubicBezTo>
                  <a:cubicBezTo>
                    <a:pt x="3677126" y="347186"/>
                    <a:pt x="3676174" y="345281"/>
                    <a:pt x="3676174" y="343376"/>
                  </a:cubicBezTo>
                  <a:cubicBezTo>
                    <a:pt x="3675221" y="340519"/>
                    <a:pt x="3675221" y="337661"/>
                    <a:pt x="3674269" y="335756"/>
                  </a:cubicBezTo>
                  <a:cubicBezTo>
                    <a:pt x="3675221" y="337661"/>
                    <a:pt x="3676174" y="340519"/>
                    <a:pt x="3678079" y="342424"/>
                  </a:cubicBezTo>
                  <a:close/>
                  <a:moveTo>
                    <a:pt x="3664744" y="355759"/>
                  </a:moveTo>
                  <a:cubicBezTo>
                    <a:pt x="3664744" y="357664"/>
                    <a:pt x="3664744" y="360521"/>
                    <a:pt x="3664744" y="362426"/>
                  </a:cubicBezTo>
                  <a:cubicBezTo>
                    <a:pt x="3664744" y="365284"/>
                    <a:pt x="3663791" y="368141"/>
                    <a:pt x="3663791" y="371951"/>
                  </a:cubicBezTo>
                  <a:cubicBezTo>
                    <a:pt x="3663791" y="371951"/>
                    <a:pt x="3663791" y="371951"/>
                    <a:pt x="3663791" y="371951"/>
                  </a:cubicBezTo>
                  <a:cubicBezTo>
                    <a:pt x="3663791" y="370046"/>
                    <a:pt x="3662839" y="368141"/>
                    <a:pt x="3662839" y="367189"/>
                  </a:cubicBezTo>
                  <a:cubicBezTo>
                    <a:pt x="3662839" y="367189"/>
                    <a:pt x="3662839" y="367189"/>
                    <a:pt x="3662839" y="366236"/>
                  </a:cubicBezTo>
                  <a:cubicBezTo>
                    <a:pt x="3663791" y="363379"/>
                    <a:pt x="3664744" y="359569"/>
                    <a:pt x="3664744" y="355759"/>
                  </a:cubicBezTo>
                  <a:close/>
                  <a:moveTo>
                    <a:pt x="3603784" y="369094"/>
                  </a:moveTo>
                  <a:cubicBezTo>
                    <a:pt x="3603784" y="367189"/>
                    <a:pt x="3602831" y="365284"/>
                    <a:pt x="3602831" y="363379"/>
                  </a:cubicBezTo>
                  <a:cubicBezTo>
                    <a:pt x="3603784" y="359569"/>
                    <a:pt x="3604736" y="355759"/>
                    <a:pt x="3605689" y="352901"/>
                  </a:cubicBezTo>
                  <a:cubicBezTo>
                    <a:pt x="3605689" y="351949"/>
                    <a:pt x="3606641" y="350996"/>
                    <a:pt x="3606641" y="350044"/>
                  </a:cubicBezTo>
                  <a:cubicBezTo>
                    <a:pt x="3606641" y="350996"/>
                    <a:pt x="3607594" y="351949"/>
                    <a:pt x="3607594" y="352901"/>
                  </a:cubicBezTo>
                  <a:lnTo>
                    <a:pt x="3607594" y="353854"/>
                  </a:lnTo>
                  <a:cubicBezTo>
                    <a:pt x="3605689" y="358616"/>
                    <a:pt x="3604736" y="364331"/>
                    <a:pt x="3603784" y="369094"/>
                  </a:cubicBezTo>
                  <a:close/>
                  <a:moveTo>
                    <a:pt x="3612356" y="329089"/>
                  </a:moveTo>
                  <a:cubicBezTo>
                    <a:pt x="3612356" y="329089"/>
                    <a:pt x="3611404" y="328136"/>
                    <a:pt x="3611404" y="327184"/>
                  </a:cubicBezTo>
                  <a:cubicBezTo>
                    <a:pt x="3611404" y="325279"/>
                    <a:pt x="3611404" y="323374"/>
                    <a:pt x="3610451" y="321469"/>
                  </a:cubicBezTo>
                  <a:cubicBezTo>
                    <a:pt x="3611404" y="322421"/>
                    <a:pt x="3612356" y="323374"/>
                    <a:pt x="3613309" y="324326"/>
                  </a:cubicBezTo>
                  <a:cubicBezTo>
                    <a:pt x="3613309" y="326231"/>
                    <a:pt x="3612356" y="327184"/>
                    <a:pt x="3612356" y="329089"/>
                  </a:cubicBezTo>
                  <a:close/>
                  <a:moveTo>
                    <a:pt x="3633311" y="366236"/>
                  </a:moveTo>
                  <a:cubicBezTo>
                    <a:pt x="3632359" y="363379"/>
                    <a:pt x="3630454" y="361474"/>
                    <a:pt x="3629501" y="358616"/>
                  </a:cubicBezTo>
                  <a:cubicBezTo>
                    <a:pt x="3629501" y="357664"/>
                    <a:pt x="3629501" y="355759"/>
                    <a:pt x="3629501" y="354806"/>
                  </a:cubicBezTo>
                  <a:cubicBezTo>
                    <a:pt x="3631406" y="357664"/>
                    <a:pt x="3632359" y="361474"/>
                    <a:pt x="3633311" y="366236"/>
                  </a:cubicBezTo>
                  <a:cubicBezTo>
                    <a:pt x="3633311" y="366236"/>
                    <a:pt x="3634264" y="366236"/>
                    <a:pt x="3633311" y="366236"/>
                  </a:cubicBezTo>
                  <a:cubicBezTo>
                    <a:pt x="3634264" y="366236"/>
                    <a:pt x="3633311" y="366236"/>
                    <a:pt x="3633311" y="366236"/>
                  </a:cubicBezTo>
                  <a:close/>
                  <a:moveTo>
                    <a:pt x="3632359" y="331946"/>
                  </a:moveTo>
                  <a:cubicBezTo>
                    <a:pt x="3633311" y="336709"/>
                    <a:pt x="3634264" y="342424"/>
                    <a:pt x="3635216" y="348139"/>
                  </a:cubicBezTo>
                  <a:cubicBezTo>
                    <a:pt x="3634264" y="346234"/>
                    <a:pt x="3632359" y="343376"/>
                    <a:pt x="3631406" y="341471"/>
                  </a:cubicBezTo>
                  <a:cubicBezTo>
                    <a:pt x="3631406" y="337661"/>
                    <a:pt x="3631406" y="334804"/>
                    <a:pt x="3632359" y="331946"/>
                  </a:cubicBezTo>
                  <a:close/>
                  <a:moveTo>
                    <a:pt x="3618071" y="270034"/>
                  </a:moveTo>
                  <a:cubicBezTo>
                    <a:pt x="3621881" y="261461"/>
                    <a:pt x="3624739" y="252889"/>
                    <a:pt x="3628549" y="246221"/>
                  </a:cubicBezTo>
                  <a:cubicBezTo>
                    <a:pt x="3629501" y="244316"/>
                    <a:pt x="3629501" y="243364"/>
                    <a:pt x="3630454" y="242411"/>
                  </a:cubicBezTo>
                  <a:cubicBezTo>
                    <a:pt x="3629501" y="249079"/>
                    <a:pt x="3627596" y="256699"/>
                    <a:pt x="3625691" y="265271"/>
                  </a:cubicBezTo>
                  <a:cubicBezTo>
                    <a:pt x="3623786" y="267176"/>
                    <a:pt x="3620929" y="269081"/>
                    <a:pt x="3618071" y="271939"/>
                  </a:cubicBezTo>
                  <a:cubicBezTo>
                    <a:pt x="3618071" y="270986"/>
                    <a:pt x="3618071" y="270034"/>
                    <a:pt x="3618071" y="270034"/>
                  </a:cubicBezTo>
                  <a:close/>
                  <a:moveTo>
                    <a:pt x="3601879" y="310039"/>
                  </a:moveTo>
                  <a:cubicBezTo>
                    <a:pt x="3603784" y="306229"/>
                    <a:pt x="3604736" y="302419"/>
                    <a:pt x="3606641" y="298609"/>
                  </a:cubicBezTo>
                  <a:cubicBezTo>
                    <a:pt x="3609499" y="291941"/>
                    <a:pt x="3612356" y="285274"/>
                    <a:pt x="3615214" y="278606"/>
                  </a:cubicBezTo>
                  <a:cubicBezTo>
                    <a:pt x="3617119" y="276701"/>
                    <a:pt x="3619024" y="273844"/>
                    <a:pt x="3619976" y="271939"/>
                  </a:cubicBezTo>
                  <a:cubicBezTo>
                    <a:pt x="3621881" y="270034"/>
                    <a:pt x="3623786" y="268129"/>
                    <a:pt x="3625691" y="266224"/>
                  </a:cubicBezTo>
                  <a:cubicBezTo>
                    <a:pt x="3625691" y="268129"/>
                    <a:pt x="3624739" y="269081"/>
                    <a:pt x="3624739" y="270986"/>
                  </a:cubicBezTo>
                  <a:cubicBezTo>
                    <a:pt x="3621881" y="282416"/>
                    <a:pt x="3619976" y="295751"/>
                    <a:pt x="3617119" y="309086"/>
                  </a:cubicBezTo>
                  <a:cubicBezTo>
                    <a:pt x="3616166" y="312896"/>
                    <a:pt x="3615214" y="317659"/>
                    <a:pt x="3614261" y="322421"/>
                  </a:cubicBezTo>
                  <a:cubicBezTo>
                    <a:pt x="3613309" y="321469"/>
                    <a:pt x="3612356" y="320516"/>
                    <a:pt x="3611404" y="320516"/>
                  </a:cubicBezTo>
                  <a:cubicBezTo>
                    <a:pt x="3610451" y="312896"/>
                    <a:pt x="3610451" y="306229"/>
                    <a:pt x="3609499" y="298609"/>
                  </a:cubicBezTo>
                  <a:cubicBezTo>
                    <a:pt x="3609499" y="305276"/>
                    <a:pt x="3608546" y="311944"/>
                    <a:pt x="3608546" y="318611"/>
                  </a:cubicBezTo>
                  <a:cubicBezTo>
                    <a:pt x="3607594" y="318611"/>
                    <a:pt x="3606641" y="317659"/>
                    <a:pt x="3606641" y="317659"/>
                  </a:cubicBezTo>
                  <a:cubicBezTo>
                    <a:pt x="3607594" y="318611"/>
                    <a:pt x="3608546" y="318611"/>
                    <a:pt x="3608546" y="319564"/>
                  </a:cubicBezTo>
                  <a:cubicBezTo>
                    <a:pt x="3608546" y="320516"/>
                    <a:pt x="3608546" y="321469"/>
                    <a:pt x="3608546" y="322421"/>
                  </a:cubicBezTo>
                  <a:cubicBezTo>
                    <a:pt x="3606641" y="318611"/>
                    <a:pt x="3604736" y="315754"/>
                    <a:pt x="3602831" y="312896"/>
                  </a:cubicBezTo>
                  <a:cubicBezTo>
                    <a:pt x="3601879" y="310991"/>
                    <a:pt x="3601879" y="310039"/>
                    <a:pt x="3601879" y="310039"/>
                  </a:cubicBezTo>
                  <a:close/>
                  <a:moveTo>
                    <a:pt x="3600926" y="335756"/>
                  </a:moveTo>
                  <a:cubicBezTo>
                    <a:pt x="3601879" y="339566"/>
                    <a:pt x="3603784" y="342424"/>
                    <a:pt x="3604736" y="346234"/>
                  </a:cubicBezTo>
                  <a:cubicBezTo>
                    <a:pt x="3603784" y="348139"/>
                    <a:pt x="3602831" y="350044"/>
                    <a:pt x="3601879" y="351949"/>
                  </a:cubicBezTo>
                  <a:cubicBezTo>
                    <a:pt x="3601879" y="351949"/>
                    <a:pt x="3601879" y="352901"/>
                    <a:pt x="3600926" y="352901"/>
                  </a:cubicBezTo>
                  <a:cubicBezTo>
                    <a:pt x="3600926" y="350044"/>
                    <a:pt x="3599974" y="348139"/>
                    <a:pt x="3599974" y="345281"/>
                  </a:cubicBezTo>
                  <a:cubicBezTo>
                    <a:pt x="3599974" y="342424"/>
                    <a:pt x="3600926" y="338614"/>
                    <a:pt x="3600926" y="335756"/>
                  </a:cubicBezTo>
                  <a:close/>
                  <a:moveTo>
                    <a:pt x="3556159" y="342424"/>
                  </a:moveTo>
                  <a:cubicBezTo>
                    <a:pt x="3556159" y="335756"/>
                    <a:pt x="3557111" y="330041"/>
                    <a:pt x="3557111" y="324326"/>
                  </a:cubicBezTo>
                  <a:cubicBezTo>
                    <a:pt x="3557111" y="325279"/>
                    <a:pt x="3558064" y="327184"/>
                    <a:pt x="3558064" y="328136"/>
                  </a:cubicBezTo>
                  <a:cubicBezTo>
                    <a:pt x="3558064" y="330041"/>
                    <a:pt x="3559016" y="331946"/>
                    <a:pt x="3559016" y="333851"/>
                  </a:cubicBezTo>
                  <a:cubicBezTo>
                    <a:pt x="3559016" y="333851"/>
                    <a:pt x="3559016" y="334804"/>
                    <a:pt x="3559016" y="334804"/>
                  </a:cubicBezTo>
                  <a:cubicBezTo>
                    <a:pt x="3558064" y="337661"/>
                    <a:pt x="3557111" y="339566"/>
                    <a:pt x="3556159" y="342424"/>
                  </a:cubicBezTo>
                  <a:close/>
                  <a:moveTo>
                    <a:pt x="3559969" y="279559"/>
                  </a:moveTo>
                  <a:cubicBezTo>
                    <a:pt x="3559016" y="277654"/>
                    <a:pt x="3559016" y="276701"/>
                    <a:pt x="3559016" y="274796"/>
                  </a:cubicBezTo>
                  <a:cubicBezTo>
                    <a:pt x="3559969" y="275749"/>
                    <a:pt x="3560921" y="275749"/>
                    <a:pt x="3561874" y="276701"/>
                  </a:cubicBezTo>
                  <a:cubicBezTo>
                    <a:pt x="3563779" y="277654"/>
                    <a:pt x="3564731" y="278606"/>
                    <a:pt x="3566636" y="280511"/>
                  </a:cubicBezTo>
                  <a:cubicBezTo>
                    <a:pt x="3565684" y="282416"/>
                    <a:pt x="3563779" y="284321"/>
                    <a:pt x="3562826" y="287179"/>
                  </a:cubicBezTo>
                  <a:cubicBezTo>
                    <a:pt x="3561874" y="285274"/>
                    <a:pt x="3560921" y="282416"/>
                    <a:pt x="3559969" y="279559"/>
                  </a:cubicBezTo>
                  <a:close/>
                  <a:moveTo>
                    <a:pt x="3571399" y="287179"/>
                  </a:moveTo>
                  <a:cubicBezTo>
                    <a:pt x="3571399" y="294799"/>
                    <a:pt x="3571399" y="303371"/>
                    <a:pt x="3571399" y="311944"/>
                  </a:cubicBezTo>
                  <a:cubicBezTo>
                    <a:pt x="3570446" y="312896"/>
                    <a:pt x="3570446" y="313849"/>
                    <a:pt x="3569494" y="314801"/>
                  </a:cubicBezTo>
                  <a:cubicBezTo>
                    <a:pt x="3567589" y="307181"/>
                    <a:pt x="3565684" y="299561"/>
                    <a:pt x="3562826" y="292894"/>
                  </a:cubicBezTo>
                  <a:cubicBezTo>
                    <a:pt x="3563779" y="289084"/>
                    <a:pt x="3565684" y="285274"/>
                    <a:pt x="3566636" y="282416"/>
                  </a:cubicBezTo>
                  <a:cubicBezTo>
                    <a:pt x="3568541" y="283369"/>
                    <a:pt x="3570446" y="284321"/>
                    <a:pt x="3571399" y="287179"/>
                  </a:cubicBezTo>
                  <a:cubicBezTo>
                    <a:pt x="3571399" y="286226"/>
                    <a:pt x="3571399" y="286226"/>
                    <a:pt x="3571399" y="287179"/>
                  </a:cubicBezTo>
                  <a:close/>
                  <a:moveTo>
                    <a:pt x="3571399" y="281464"/>
                  </a:moveTo>
                  <a:cubicBezTo>
                    <a:pt x="3570446" y="280511"/>
                    <a:pt x="3569494" y="280511"/>
                    <a:pt x="3568541" y="279559"/>
                  </a:cubicBezTo>
                  <a:cubicBezTo>
                    <a:pt x="3568541" y="279559"/>
                    <a:pt x="3568541" y="279559"/>
                    <a:pt x="3568541" y="279559"/>
                  </a:cubicBezTo>
                  <a:cubicBezTo>
                    <a:pt x="3570446" y="276701"/>
                    <a:pt x="3571399" y="274796"/>
                    <a:pt x="3571399" y="273844"/>
                  </a:cubicBezTo>
                  <a:cubicBezTo>
                    <a:pt x="3571399" y="276701"/>
                    <a:pt x="3571399" y="279559"/>
                    <a:pt x="3571399" y="281464"/>
                  </a:cubicBezTo>
                  <a:close/>
                  <a:moveTo>
                    <a:pt x="3567589" y="250031"/>
                  </a:moveTo>
                  <a:cubicBezTo>
                    <a:pt x="3568541" y="254794"/>
                    <a:pt x="3569494" y="260509"/>
                    <a:pt x="3570446" y="265271"/>
                  </a:cubicBezTo>
                  <a:cubicBezTo>
                    <a:pt x="3570446" y="267176"/>
                    <a:pt x="3571399" y="270034"/>
                    <a:pt x="3571399" y="271939"/>
                  </a:cubicBezTo>
                  <a:cubicBezTo>
                    <a:pt x="3571399" y="271939"/>
                    <a:pt x="3571399" y="272891"/>
                    <a:pt x="3571399" y="272891"/>
                  </a:cubicBezTo>
                  <a:cubicBezTo>
                    <a:pt x="3571399" y="272891"/>
                    <a:pt x="3569494" y="274796"/>
                    <a:pt x="3567589" y="277654"/>
                  </a:cubicBezTo>
                  <a:cubicBezTo>
                    <a:pt x="3567589" y="277654"/>
                    <a:pt x="3567589" y="277654"/>
                    <a:pt x="3567589" y="277654"/>
                  </a:cubicBezTo>
                  <a:cubicBezTo>
                    <a:pt x="3565684" y="276701"/>
                    <a:pt x="3563779" y="274796"/>
                    <a:pt x="3561874" y="274796"/>
                  </a:cubicBezTo>
                  <a:cubicBezTo>
                    <a:pt x="3559969" y="273844"/>
                    <a:pt x="3559016" y="273844"/>
                    <a:pt x="3558064" y="272891"/>
                  </a:cubicBezTo>
                  <a:cubicBezTo>
                    <a:pt x="3557111" y="269081"/>
                    <a:pt x="3555206" y="264319"/>
                    <a:pt x="3554254" y="260509"/>
                  </a:cubicBezTo>
                  <a:cubicBezTo>
                    <a:pt x="3555206" y="259556"/>
                    <a:pt x="3555206" y="258604"/>
                    <a:pt x="3556159" y="257651"/>
                  </a:cubicBezTo>
                  <a:cubicBezTo>
                    <a:pt x="3559969" y="251936"/>
                    <a:pt x="3562826" y="247174"/>
                    <a:pt x="3566636" y="243364"/>
                  </a:cubicBezTo>
                  <a:cubicBezTo>
                    <a:pt x="3567589" y="246221"/>
                    <a:pt x="3567589" y="248126"/>
                    <a:pt x="3567589" y="250031"/>
                  </a:cubicBezTo>
                  <a:close/>
                  <a:moveTo>
                    <a:pt x="3561874" y="229076"/>
                  </a:moveTo>
                  <a:cubicBezTo>
                    <a:pt x="3561874" y="228124"/>
                    <a:pt x="3562826" y="228124"/>
                    <a:pt x="3562826" y="227171"/>
                  </a:cubicBezTo>
                  <a:cubicBezTo>
                    <a:pt x="3563779" y="230029"/>
                    <a:pt x="3563779" y="232886"/>
                    <a:pt x="3564731" y="235744"/>
                  </a:cubicBezTo>
                  <a:cubicBezTo>
                    <a:pt x="3564731" y="236696"/>
                    <a:pt x="3564731" y="237649"/>
                    <a:pt x="3565684" y="238601"/>
                  </a:cubicBezTo>
                  <a:cubicBezTo>
                    <a:pt x="3561874" y="241459"/>
                    <a:pt x="3557111" y="246221"/>
                    <a:pt x="3552349" y="251936"/>
                  </a:cubicBezTo>
                  <a:cubicBezTo>
                    <a:pt x="3552349" y="250031"/>
                    <a:pt x="3551396" y="248126"/>
                    <a:pt x="3551396" y="247174"/>
                  </a:cubicBezTo>
                  <a:cubicBezTo>
                    <a:pt x="3555206" y="241459"/>
                    <a:pt x="3558064" y="234791"/>
                    <a:pt x="3561874" y="229076"/>
                  </a:cubicBezTo>
                  <a:close/>
                  <a:moveTo>
                    <a:pt x="3551396" y="293846"/>
                  </a:moveTo>
                  <a:cubicBezTo>
                    <a:pt x="3552349" y="298609"/>
                    <a:pt x="3553301" y="303371"/>
                    <a:pt x="3554254" y="307181"/>
                  </a:cubicBezTo>
                  <a:cubicBezTo>
                    <a:pt x="3553301" y="311944"/>
                    <a:pt x="3551396" y="315754"/>
                    <a:pt x="3550444" y="321469"/>
                  </a:cubicBezTo>
                  <a:cubicBezTo>
                    <a:pt x="3549491" y="325279"/>
                    <a:pt x="3548539" y="329089"/>
                    <a:pt x="3547586" y="333851"/>
                  </a:cubicBezTo>
                  <a:cubicBezTo>
                    <a:pt x="3547586" y="332899"/>
                    <a:pt x="3546634" y="332899"/>
                    <a:pt x="3546634" y="331946"/>
                  </a:cubicBezTo>
                  <a:cubicBezTo>
                    <a:pt x="3545681" y="330041"/>
                    <a:pt x="3544729" y="329089"/>
                    <a:pt x="3543776" y="327184"/>
                  </a:cubicBezTo>
                  <a:cubicBezTo>
                    <a:pt x="3544729" y="319564"/>
                    <a:pt x="3544729" y="312896"/>
                    <a:pt x="3544729" y="306229"/>
                  </a:cubicBezTo>
                  <a:cubicBezTo>
                    <a:pt x="3545681" y="299561"/>
                    <a:pt x="3546634" y="292894"/>
                    <a:pt x="3547586" y="286226"/>
                  </a:cubicBezTo>
                  <a:cubicBezTo>
                    <a:pt x="3547586" y="283369"/>
                    <a:pt x="3548539" y="279559"/>
                    <a:pt x="3548539" y="276701"/>
                  </a:cubicBezTo>
                  <a:cubicBezTo>
                    <a:pt x="3548539" y="282416"/>
                    <a:pt x="3550444" y="288131"/>
                    <a:pt x="3551396" y="293846"/>
                  </a:cubicBezTo>
                  <a:close/>
                  <a:moveTo>
                    <a:pt x="3543776" y="191929"/>
                  </a:moveTo>
                  <a:cubicBezTo>
                    <a:pt x="3545681" y="187166"/>
                    <a:pt x="3547586" y="183356"/>
                    <a:pt x="3549491" y="180499"/>
                  </a:cubicBezTo>
                  <a:cubicBezTo>
                    <a:pt x="3549491" y="181451"/>
                    <a:pt x="3549491" y="183356"/>
                    <a:pt x="3548539" y="185261"/>
                  </a:cubicBezTo>
                  <a:cubicBezTo>
                    <a:pt x="3547586" y="192881"/>
                    <a:pt x="3546634" y="201454"/>
                    <a:pt x="3544729" y="211931"/>
                  </a:cubicBezTo>
                  <a:cubicBezTo>
                    <a:pt x="3544729" y="213836"/>
                    <a:pt x="3543776" y="215741"/>
                    <a:pt x="3543776" y="217646"/>
                  </a:cubicBezTo>
                  <a:cubicBezTo>
                    <a:pt x="3541871" y="210026"/>
                    <a:pt x="3539966" y="204311"/>
                    <a:pt x="3539014" y="200501"/>
                  </a:cubicBezTo>
                  <a:cubicBezTo>
                    <a:pt x="3540919" y="196691"/>
                    <a:pt x="3541871" y="194786"/>
                    <a:pt x="3543776" y="191929"/>
                  </a:cubicBezTo>
                  <a:close/>
                  <a:moveTo>
                    <a:pt x="3530441" y="217646"/>
                  </a:moveTo>
                  <a:cubicBezTo>
                    <a:pt x="3533299" y="211931"/>
                    <a:pt x="3536156" y="206216"/>
                    <a:pt x="3539014" y="201454"/>
                  </a:cubicBezTo>
                  <a:cubicBezTo>
                    <a:pt x="3539014" y="205264"/>
                    <a:pt x="3539966" y="210979"/>
                    <a:pt x="3540919" y="217646"/>
                  </a:cubicBezTo>
                  <a:cubicBezTo>
                    <a:pt x="3540919" y="221456"/>
                    <a:pt x="3541871" y="226219"/>
                    <a:pt x="3542824" y="231934"/>
                  </a:cubicBezTo>
                  <a:cubicBezTo>
                    <a:pt x="3541871" y="234791"/>
                    <a:pt x="3541871" y="237649"/>
                    <a:pt x="3540919" y="240506"/>
                  </a:cubicBezTo>
                  <a:cubicBezTo>
                    <a:pt x="3537109" y="246221"/>
                    <a:pt x="3532346" y="252889"/>
                    <a:pt x="3528536" y="259556"/>
                  </a:cubicBezTo>
                  <a:cubicBezTo>
                    <a:pt x="3528536" y="258604"/>
                    <a:pt x="3528536" y="257651"/>
                    <a:pt x="3528536" y="257651"/>
                  </a:cubicBezTo>
                  <a:cubicBezTo>
                    <a:pt x="3528536" y="251936"/>
                    <a:pt x="3528536" y="246221"/>
                    <a:pt x="3527584" y="240506"/>
                  </a:cubicBezTo>
                  <a:cubicBezTo>
                    <a:pt x="3527584" y="236696"/>
                    <a:pt x="3526631" y="232886"/>
                    <a:pt x="3526631" y="229076"/>
                  </a:cubicBezTo>
                  <a:cubicBezTo>
                    <a:pt x="3527584" y="224314"/>
                    <a:pt x="3528536" y="220504"/>
                    <a:pt x="3530441" y="217646"/>
                  </a:cubicBezTo>
                  <a:close/>
                  <a:moveTo>
                    <a:pt x="3490436" y="321469"/>
                  </a:moveTo>
                  <a:cubicBezTo>
                    <a:pt x="3490436" y="320516"/>
                    <a:pt x="3490436" y="318611"/>
                    <a:pt x="3490436" y="317659"/>
                  </a:cubicBezTo>
                  <a:cubicBezTo>
                    <a:pt x="3490436" y="318611"/>
                    <a:pt x="3491389" y="319564"/>
                    <a:pt x="3491389" y="319564"/>
                  </a:cubicBezTo>
                  <a:cubicBezTo>
                    <a:pt x="3491389" y="320516"/>
                    <a:pt x="3491389" y="320516"/>
                    <a:pt x="3490436" y="321469"/>
                  </a:cubicBezTo>
                  <a:close/>
                  <a:moveTo>
                    <a:pt x="3514249" y="250984"/>
                  </a:moveTo>
                  <a:cubicBezTo>
                    <a:pt x="3515201" y="249079"/>
                    <a:pt x="3516154" y="247174"/>
                    <a:pt x="3516154" y="246221"/>
                  </a:cubicBezTo>
                  <a:cubicBezTo>
                    <a:pt x="3516154" y="250031"/>
                    <a:pt x="3516154" y="253841"/>
                    <a:pt x="3515201" y="257651"/>
                  </a:cubicBezTo>
                  <a:cubicBezTo>
                    <a:pt x="3515201" y="261461"/>
                    <a:pt x="3514249" y="266224"/>
                    <a:pt x="3514249" y="270986"/>
                  </a:cubicBezTo>
                  <a:cubicBezTo>
                    <a:pt x="3513296" y="267176"/>
                    <a:pt x="3511391" y="263366"/>
                    <a:pt x="3509486" y="259556"/>
                  </a:cubicBezTo>
                  <a:cubicBezTo>
                    <a:pt x="3512344" y="255746"/>
                    <a:pt x="3513296" y="252889"/>
                    <a:pt x="3514249" y="250984"/>
                  </a:cubicBezTo>
                  <a:close/>
                  <a:moveTo>
                    <a:pt x="3504724" y="271939"/>
                  </a:moveTo>
                  <a:cubicBezTo>
                    <a:pt x="3504724" y="272891"/>
                    <a:pt x="3505676" y="273844"/>
                    <a:pt x="3505676" y="274796"/>
                  </a:cubicBezTo>
                  <a:cubicBezTo>
                    <a:pt x="3506629" y="279559"/>
                    <a:pt x="3508534" y="283369"/>
                    <a:pt x="3509486" y="288131"/>
                  </a:cubicBezTo>
                  <a:cubicBezTo>
                    <a:pt x="3508534" y="290036"/>
                    <a:pt x="3507581" y="291941"/>
                    <a:pt x="3505676" y="293846"/>
                  </a:cubicBezTo>
                  <a:cubicBezTo>
                    <a:pt x="3505676" y="290036"/>
                    <a:pt x="3504724" y="286226"/>
                    <a:pt x="3504724" y="282416"/>
                  </a:cubicBezTo>
                  <a:cubicBezTo>
                    <a:pt x="3504724" y="279559"/>
                    <a:pt x="3504724" y="275749"/>
                    <a:pt x="3504724" y="271939"/>
                  </a:cubicBezTo>
                  <a:cubicBezTo>
                    <a:pt x="3504724" y="272891"/>
                    <a:pt x="3504724" y="272891"/>
                    <a:pt x="3504724" y="271939"/>
                  </a:cubicBezTo>
                  <a:close/>
                  <a:moveTo>
                    <a:pt x="3501866" y="398621"/>
                  </a:moveTo>
                  <a:cubicBezTo>
                    <a:pt x="3499961" y="389096"/>
                    <a:pt x="3497104" y="380524"/>
                    <a:pt x="3495199" y="371951"/>
                  </a:cubicBezTo>
                  <a:cubicBezTo>
                    <a:pt x="3495199" y="370999"/>
                    <a:pt x="3494246" y="370046"/>
                    <a:pt x="3494246" y="369094"/>
                  </a:cubicBezTo>
                  <a:cubicBezTo>
                    <a:pt x="3496151" y="365284"/>
                    <a:pt x="3498056" y="361474"/>
                    <a:pt x="3499961" y="357664"/>
                  </a:cubicBezTo>
                  <a:cubicBezTo>
                    <a:pt x="3500914" y="370999"/>
                    <a:pt x="3500914" y="384334"/>
                    <a:pt x="3501866" y="398621"/>
                  </a:cubicBezTo>
                  <a:close/>
                  <a:moveTo>
                    <a:pt x="3496151" y="290036"/>
                  </a:moveTo>
                  <a:cubicBezTo>
                    <a:pt x="3497104" y="288131"/>
                    <a:pt x="3498056" y="286226"/>
                    <a:pt x="3499009" y="284321"/>
                  </a:cubicBezTo>
                  <a:cubicBezTo>
                    <a:pt x="3499009" y="288131"/>
                    <a:pt x="3499009" y="291941"/>
                    <a:pt x="3499009" y="295751"/>
                  </a:cubicBezTo>
                  <a:cubicBezTo>
                    <a:pt x="3498056" y="293846"/>
                    <a:pt x="3497104" y="291941"/>
                    <a:pt x="3496151" y="290036"/>
                  </a:cubicBezTo>
                  <a:close/>
                  <a:moveTo>
                    <a:pt x="3496151" y="252889"/>
                  </a:moveTo>
                  <a:cubicBezTo>
                    <a:pt x="3496151" y="250984"/>
                    <a:pt x="3496151" y="249079"/>
                    <a:pt x="3496151" y="247174"/>
                  </a:cubicBezTo>
                  <a:cubicBezTo>
                    <a:pt x="3497104" y="250031"/>
                    <a:pt x="3498056" y="252889"/>
                    <a:pt x="3499009" y="254794"/>
                  </a:cubicBezTo>
                  <a:cubicBezTo>
                    <a:pt x="3498056" y="256699"/>
                    <a:pt x="3496151" y="258604"/>
                    <a:pt x="3495199" y="261461"/>
                  </a:cubicBezTo>
                  <a:cubicBezTo>
                    <a:pt x="3495199" y="258604"/>
                    <a:pt x="3496151" y="255746"/>
                    <a:pt x="3496151" y="252889"/>
                  </a:cubicBezTo>
                  <a:close/>
                  <a:moveTo>
                    <a:pt x="3481864" y="205264"/>
                  </a:moveTo>
                  <a:cubicBezTo>
                    <a:pt x="3484721" y="212884"/>
                    <a:pt x="3488531" y="220504"/>
                    <a:pt x="3491389" y="230029"/>
                  </a:cubicBezTo>
                  <a:cubicBezTo>
                    <a:pt x="3492341" y="233839"/>
                    <a:pt x="3494246" y="238601"/>
                    <a:pt x="3495199" y="243364"/>
                  </a:cubicBezTo>
                  <a:cubicBezTo>
                    <a:pt x="3494246" y="245269"/>
                    <a:pt x="3493294" y="248126"/>
                    <a:pt x="3492341" y="251936"/>
                  </a:cubicBezTo>
                  <a:cubicBezTo>
                    <a:pt x="3491389" y="256699"/>
                    <a:pt x="3489484" y="261461"/>
                    <a:pt x="3487579" y="268129"/>
                  </a:cubicBezTo>
                  <a:cubicBezTo>
                    <a:pt x="3487579" y="269081"/>
                    <a:pt x="3487579" y="269081"/>
                    <a:pt x="3486626" y="270034"/>
                  </a:cubicBezTo>
                  <a:cubicBezTo>
                    <a:pt x="3484721" y="265271"/>
                    <a:pt x="3481864" y="260509"/>
                    <a:pt x="3479959" y="255746"/>
                  </a:cubicBezTo>
                  <a:cubicBezTo>
                    <a:pt x="3479959" y="245269"/>
                    <a:pt x="3479959" y="235744"/>
                    <a:pt x="3479959" y="228124"/>
                  </a:cubicBezTo>
                  <a:cubicBezTo>
                    <a:pt x="3479959" y="221456"/>
                    <a:pt x="3479959" y="216694"/>
                    <a:pt x="3479959" y="213836"/>
                  </a:cubicBezTo>
                  <a:cubicBezTo>
                    <a:pt x="3480911" y="211931"/>
                    <a:pt x="3480911" y="208121"/>
                    <a:pt x="3481864" y="205264"/>
                  </a:cubicBezTo>
                  <a:close/>
                  <a:moveTo>
                    <a:pt x="3473291" y="241459"/>
                  </a:moveTo>
                  <a:cubicBezTo>
                    <a:pt x="3474244" y="239554"/>
                    <a:pt x="3474244" y="236696"/>
                    <a:pt x="3475196" y="234791"/>
                  </a:cubicBezTo>
                  <a:cubicBezTo>
                    <a:pt x="3474244" y="236696"/>
                    <a:pt x="3474244" y="239554"/>
                    <a:pt x="3473291" y="241459"/>
                  </a:cubicBezTo>
                  <a:cubicBezTo>
                    <a:pt x="3473291" y="242411"/>
                    <a:pt x="3473291" y="241459"/>
                    <a:pt x="3473291" y="241459"/>
                  </a:cubicBezTo>
                  <a:cubicBezTo>
                    <a:pt x="3473291" y="241459"/>
                    <a:pt x="3473291" y="241459"/>
                    <a:pt x="3473291" y="241459"/>
                  </a:cubicBezTo>
                  <a:close/>
                  <a:moveTo>
                    <a:pt x="3468529" y="260509"/>
                  </a:moveTo>
                  <a:cubicBezTo>
                    <a:pt x="3468529" y="261461"/>
                    <a:pt x="3469481" y="262414"/>
                    <a:pt x="3469481" y="263366"/>
                  </a:cubicBezTo>
                  <a:cubicBezTo>
                    <a:pt x="3469481" y="266224"/>
                    <a:pt x="3468529" y="268129"/>
                    <a:pt x="3468529" y="270986"/>
                  </a:cubicBezTo>
                  <a:cubicBezTo>
                    <a:pt x="3467576" y="279559"/>
                    <a:pt x="3466624" y="290036"/>
                    <a:pt x="3465671" y="300514"/>
                  </a:cubicBezTo>
                  <a:cubicBezTo>
                    <a:pt x="3464719" y="306229"/>
                    <a:pt x="3464719" y="311944"/>
                    <a:pt x="3464719" y="318611"/>
                  </a:cubicBezTo>
                  <a:cubicBezTo>
                    <a:pt x="3464719" y="319564"/>
                    <a:pt x="3463766" y="320516"/>
                    <a:pt x="3463766" y="321469"/>
                  </a:cubicBezTo>
                  <a:cubicBezTo>
                    <a:pt x="3462814" y="316706"/>
                    <a:pt x="3460909" y="311944"/>
                    <a:pt x="3459956" y="307181"/>
                  </a:cubicBezTo>
                  <a:cubicBezTo>
                    <a:pt x="3459956" y="307181"/>
                    <a:pt x="3459956" y="306229"/>
                    <a:pt x="3459956" y="306229"/>
                  </a:cubicBezTo>
                  <a:cubicBezTo>
                    <a:pt x="3459956" y="304324"/>
                    <a:pt x="3460909" y="302419"/>
                    <a:pt x="3460909" y="300514"/>
                  </a:cubicBezTo>
                  <a:cubicBezTo>
                    <a:pt x="3463766" y="287179"/>
                    <a:pt x="3466624" y="273844"/>
                    <a:pt x="3468529" y="260509"/>
                  </a:cubicBezTo>
                  <a:close/>
                  <a:moveTo>
                    <a:pt x="3451384" y="237649"/>
                  </a:moveTo>
                  <a:cubicBezTo>
                    <a:pt x="3451384" y="231934"/>
                    <a:pt x="3451384" y="227171"/>
                    <a:pt x="3451384" y="221456"/>
                  </a:cubicBezTo>
                  <a:cubicBezTo>
                    <a:pt x="3451384" y="221456"/>
                    <a:pt x="3451384" y="221456"/>
                    <a:pt x="3451384" y="222409"/>
                  </a:cubicBezTo>
                  <a:cubicBezTo>
                    <a:pt x="3453289" y="227171"/>
                    <a:pt x="3456146" y="231934"/>
                    <a:pt x="3458051" y="237649"/>
                  </a:cubicBezTo>
                  <a:cubicBezTo>
                    <a:pt x="3458051" y="237649"/>
                    <a:pt x="3458051" y="238601"/>
                    <a:pt x="3458051" y="238601"/>
                  </a:cubicBezTo>
                  <a:cubicBezTo>
                    <a:pt x="3455194" y="248126"/>
                    <a:pt x="3452336" y="257651"/>
                    <a:pt x="3450431" y="267176"/>
                  </a:cubicBezTo>
                  <a:cubicBezTo>
                    <a:pt x="3450431" y="267176"/>
                    <a:pt x="3450431" y="267176"/>
                    <a:pt x="3450431" y="267176"/>
                  </a:cubicBezTo>
                  <a:cubicBezTo>
                    <a:pt x="3451384" y="256699"/>
                    <a:pt x="3451384" y="247174"/>
                    <a:pt x="3451384" y="237649"/>
                  </a:cubicBezTo>
                  <a:close/>
                  <a:moveTo>
                    <a:pt x="3405664" y="273844"/>
                  </a:moveTo>
                  <a:cubicBezTo>
                    <a:pt x="3406616" y="268129"/>
                    <a:pt x="3406616" y="263366"/>
                    <a:pt x="3406616" y="258604"/>
                  </a:cubicBezTo>
                  <a:cubicBezTo>
                    <a:pt x="3406616" y="253841"/>
                    <a:pt x="3406616" y="249079"/>
                    <a:pt x="3406616" y="245269"/>
                  </a:cubicBezTo>
                  <a:cubicBezTo>
                    <a:pt x="3406616" y="247174"/>
                    <a:pt x="3407569" y="251936"/>
                    <a:pt x="3409474" y="259556"/>
                  </a:cubicBezTo>
                  <a:cubicBezTo>
                    <a:pt x="3409474" y="264319"/>
                    <a:pt x="3407569" y="269081"/>
                    <a:pt x="3405664" y="273844"/>
                  </a:cubicBezTo>
                  <a:close/>
                  <a:moveTo>
                    <a:pt x="3416141" y="335756"/>
                  </a:moveTo>
                  <a:cubicBezTo>
                    <a:pt x="3416141" y="341471"/>
                    <a:pt x="3416141" y="347186"/>
                    <a:pt x="3416141" y="353854"/>
                  </a:cubicBezTo>
                  <a:cubicBezTo>
                    <a:pt x="3416141" y="351949"/>
                    <a:pt x="3415189" y="350044"/>
                    <a:pt x="3415189" y="348139"/>
                  </a:cubicBezTo>
                  <a:cubicBezTo>
                    <a:pt x="3414236" y="340519"/>
                    <a:pt x="3414236" y="333851"/>
                    <a:pt x="3413284" y="328136"/>
                  </a:cubicBezTo>
                  <a:cubicBezTo>
                    <a:pt x="3413284" y="328136"/>
                    <a:pt x="3413284" y="328136"/>
                    <a:pt x="3413284" y="328136"/>
                  </a:cubicBezTo>
                  <a:cubicBezTo>
                    <a:pt x="3414236" y="325279"/>
                    <a:pt x="3415189" y="323374"/>
                    <a:pt x="3417094" y="320516"/>
                  </a:cubicBezTo>
                  <a:cubicBezTo>
                    <a:pt x="3417094" y="324326"/>
                    <a:pt x="3417094" y="329089"/>
                    <a:pt x="3416141" y="335756"/>
                  </a:cubicBezTo>
                  <a:close/>
                  <a:moveTo>
                    <a:pt x="3421856" y="320516"/>
                  </a:moveTo>
                  <a:cubicBezTo>
                    <a:pt x="3420904" y="324326"/>
                    <a:pt x="3420904" y="329089"/>
                    <a:pt x="3419951" y="332899"/>
                  </a:cubicBezTo>
                  <a:cubicBezTo>
                    <a:pt x="3418999" y="326231"/>
                    <a:pt x="3418999" y="320516"/>
                    <a:pt x="3418046" y="316706"/>
                  </a:cubicBezTo>
                  <a:cubicBezTo>
                    <a:pt x="3418999" y="314801"/>
                    <a:pt x="3419951" y="312896"/>
                    <a:pt x="3420904" y="310991"/>
                  </a:cubicBezTo>
                  <a:cubicBezTo>
                    <a:pt x="3420904" y="310039"/>
                    <a:pt x="3421856" y="309086"/>
                    <a:pt x="3421856" y="308134"/>
                  </a:cubicBezTo>
                  <a:cubicBezTo>
                    <a:pt x="3421856" y="310039"/>
                    <a:pt x="3422809" y="310991"/>
                    <a:pt x="3422809" y="312896"/>
                  </a:cubicBezTo>
                  <a:cubicBezTo>
                    <a:pt x="3422809" y="314801"/>
                    <a:pt x="3422809" y="317659"/>
                    <a:pt x="3421856" y="320516"/>
                  </a:cubicBezTo>
                  <a:close/>
                  <a:moveTo>
                    <a:pt x="3410426" y="139541"/>
                  </a:moveTo>
                  <a:cubicBezTo>
                    <a:pt x="3413284" y="145256"/>
                    <a:pt x="3417094" y="151924"/>
                    <a:pt x="3421856" y="161449"/>
                  </a:cubicBezTo>
                  <a:cubicBezTo>
                    <a:pt x="3424714" y="167164"/>
                    <a:pt x="3428524" y="173831"/>
                    <a:pt x="3433286" y="181451"/>
                  </a:cubicBezTo>
                  <a:cubicBezTo>
                    <a:pt x="3431381" y="187166"/>
                    <a:pt x="3430429" y="192881"/>
                    <a:pt x="3428524" y="198596"/>
                  </a:cubicBezTo>
                  <a:cubicBezTo>
                    <a:pt x="3427571" y="202406"/>
                    <a:pt x="3426619" y="206216"/>
                    <a:pt x="3425666" y="210026"/>
                  </a:cubicBezTo>
                  <a:cubicBezTo>
                    <a:pt x="3424714" y="205264"/>
                    <a:pt x="3423761" y="200501"/>
                    <a:pt x="3422809" y="195739"/>
                  </a:cubicBezTo>
                  <a:cubicBezTo>
                    <a:pt x="3419951" y="183356"/>
                    <a:pt x="3417094" y="171926"/>
                    <a:pt x="3415189" y="163354"/>
                  </a:cubicBezTo>
                  <a:cubicBezTo>
                    <a:pt x="3413284" y="154781"/>
                    <a:pt x="3411379" y="148114"/>
                    <a:pt x="3410426" y="143351"/>
                  </a:cubicBezTo>
                  <a:cubicBezTo>
                    <a:pt x="3409474" y="141446"/>
                    <a:pt x="3410426" y="140494"/>
                    <a:pt x="3410426" y="139541"/>
                  </a:cubicBezTo>
                  <a:close/>
                  <a:moveTo>
                    <a:pt x="3408521" y="136684"/>
                  </a:moveTo>
                  <a:cubicBezTo>
                    <a:pt x="3408521" y="136684"/>
                    <a:pt x="3408521" y="136684"/>
                    <a:pt x="3408521" y="136684"/>
                  </a:cubicBezTo>
                  <a:cubicBezTo>
                    <a:pt x="3408521" y="136684"/>
                    <a:pt x="3408521" y="136684"/>
                    <a:pt x="3408521" y="136684"/>
                  </a:cubicBezTo>
                  <a:cubicBezTo>
                    <a:pt x="3408521" y="136684"/>
                    <a:pt x="3408521" y="136684"/>
                    <a:pt x="3408521" y="136684"/>
                  </a:cubicBezTo>
                  <a:close/>
                  <a:moveTo>
                    <a:pt x="3395186" y="266224"/>
                  </a:moveTo>
                  <a:cubicBezTo>
                    <a:pt x="3396139" y="251936"/>
                    <a:pt x="3396139" y="239554"/>
                    <a:pt x="3396139" y="227171"/>
                  </a:cubicBezTo>
                  <a:cubicBezTo>
                    <a:pt x="3396139" y="222409"/>
                    <a:pt x="3396139" y="217646"/>
                    <a:pt x="3396139" y="212884"/>
                  </a:cubicBezTo>
                  <a:cubicBezTo>
                    <a:pt x="3397091" y="210026"/>
                    <a:pt x="3398044" y="207169"/>
                    <a:pt x="3398996" y="204311"/>
                  </a:cubicBezTo>
                  <a:cubicBezTo>
                    <a:pt x="3398044" y="206216"/>
                    <a:pt x="3397091" y="208121"/>
                    <a:pt x="3396139" y="210026"/>
                  </a:cubicBezTo>
                  <a:cubicBezTo>
                    <a:pt x="3396139" y="207169"/>
                    <a:pt x="3396139" y="204311"/>
                    <a:pt x="3396139" y="202406"/>
                  </a:cubicBezTo>
                  <a:cubicBezTo>
                    <a:pt x="3397091" y="199549"/>
                    <a:pt x="3397091" y="197644"/>
                    <a:pt x="3398044" y="194786"/>
                  </a:cubicBezTo>
                  <a:cubicBezTo>
                    <a:pt x="3401854" y="178594"/>
                    <a:pt x="3405664" y="162401"/>
                    <a:pt x="3408521" y="145256"/>
                  </a:cubicBezTo>
                  <a:cubicBezTo>
                    <a:pt x="3408521" y="150019"/>
                    <a:pt x="3409474" y="155734"/>
                    <a:pt x="3410426" y="162401"/>
                  </a:cubicBezTo>
                  <a:cubicBezTo>
                    <a:pt x="3411379" y="171926"/>
                    <a:pt x="3412331" y="182404"/>
                    <a:pt x="3414236" y="195739"/>
                  </a:cubicBezTo>
                  <a:cubicBezTo>
                    <a:pt x="3415189" y="202406"/>
                    <a:pt x="3416141" y="209074"/>
                    <a:pt x="3417094" y="215741"/>
                  </a:cubicBezTo>
                  <a:cubicBezTo>
                    <a:pt x="3418046" y="220504"/>
                    <a:pt x="3418999" y="224314"/>
                    <a:pt x="3419951" y="229076"/>
                  </a:cubicBezTo>
                  <a:cubicBezTo>
                    <a:pt x="3418999" y="230981"/>
                    <a:pt x="3418999" y="232886"/>
                    <a:pt x="3418046" y="233839"/>
                  </a:cubicBezTo>
                  <a:cubicBezTo>
                    <a:pt x="3416141" y="240506"/>
                    <a:pt x="3414236" y="247174"/>
                    <a:pt x="3411379" y="253841"/>
                  </a:cubicBezTo>
                  <a:cubicBezTo>
                    <a:pt x="3408521" y="248126"/>
                    <a:pt x="3407569" y="245269"/>
                    <a:pt x="3407569" y="244316"/>
                  </a:cubicBezTo>
                  <a:cubicBezTo>
                    <a:pt x="3407569" y="242411"/>
                    <a:pt x="3407569" y="241459"/>
                    <a:pt x="3407569" y="239554"/>
                  </a:cubicBezTo>
                  <a:cubicBezTo>
                    <a:pt x="3407569" y="230029"/>
                    <a:pt x="3407569" y="224314"/>
                    <a:pt x="3407569" y="224314"/>
                  </a:cubicBezTo>
                  <a:cubicBezTo>
                    <a:pt x="3407569" y="224314"/>
                    <a:pt x="3405664" y="230029"/>
                    <a:pt x="3403759" y="239554"/>
                  </a:cubicBezTo>
                  <a:cubicBezTo>
                    <a:pt x="3402806" y="244316"/>
                    <a:pt x="3400901" y="250031"/>
                    <a:pt x="3399949" y="256699"/>
                  </a:cubicBezTo>
                  <a:cubicBezTo>
                    <a:pt x="3398996" y="262414"/>
                    <a:pt x="3397091" y="269081"/>
                    <a:pt x="3395186" y="275749"/>
                  </a:cubicBezTo>
                  <a:cubicBezTo>
                    <a:pt x="3395186" y="273844"/>
                    <a:pt x="3395186" y="270034"/>
                    <a:pt x="3395186" y="266224"/>
                  </a:cubicBezTo>
                  <a:close/>
                  <a:moveTo>
                    <a:pt x="3363754" y="252889"/>
                  </a:moveTo>
                  <a:cubicBezTo>
                    <a:pt x="3364706" y="256699"/>
                    <a:pt x="3365659" y="260509"/>
                    <a:pt x="3365659" y="264319"/>
                  </a:cubicBezTo>
                  <a:cubicBezTo>
                    <a:pt x="3364706" y="266224"/>
                    <a:pt x="3363754" y="267176"/>
                    <a:pt x="3363754" y="269081"/>
                  </a:cubicBezTo>
                  <a:cubicBezTo>
                    <a:pt x="3363754" y="262414"/>
                    <a:pt x="3363754" y="257651"/>
                    <a:pt x="3363754" y="252889"/>
                  </a:cubicBezTo>
                  <a:close/>
                  <a:moveTo>
                    <a:pt x="3321844" y="351949"/>
                  </a:moveTo>
                  <a:cubicBezTo>
                    <a:pt x="3321844" y="349091"/>
                    <a:pt x="3322796" y="345281"/>
                    <a:pt x="3322796" y="342424"/>
                  </a:cubicBezTo>
                  <a:cubicBezTo>
                    <a:pt x="3322796" y="344329"/>
                    <a:pt x="3323749" y="346234"/>
                    <a:pt x="3323749" y="347186"/>
                  </a:cubicBezTo>
                  <a:cubicBezTo>
                    <a:pt x="3323749" y="349091"/>
                    <a:pt x="3322796" y="350044"/>
                    <a:pt x="3321844" y="351949"/>
                  </a:cubicBezTo>
                  <a:close/>
                  <a:moveTo>
                    <a:pt x="3340894" y="273844"/>
                  </a:moveTo>
                  <a:cubicBezTo>
                    <a:pt x="3342799" y="282416"/>
                    <a:pt x="3345656" y="290036"/>
                    <a:pt x="3347561" y="298609"/>
                  </a:cubicBezTo>
                  <a:cubicBezTo>
                    <a:pt x="3346609" y="300514"/>
                    <a:pt x="3345656" y="302419"/>
                    <a:pt x="3344704" y="304324"/>
                  </a:cubicBezTo>
                  <a:cubicBezTo>
                    <a:pt x="3342799" y="299561"/>
                    <a:pt x="3340894" y="295751"/>
                    <a:pt x="3338989" y="290989"/>
                  </a:cubicBezTo>
                  <a:cubicBezTo>
                    <a:pt x="3338036" y="276701"/>
                    <a:pt x="3336131" y="263366"/>
                    <a:pt x="3335179" y="251936"/>
                  </a:cubicBezTo>
                  <a:cubicBezTo>
                    <a:pt x="3337084" y="259556"/>
                    <a:pt x="3338989" y="266224"/>
                    <a:pt x="3340894" y="273844"/>
                  </a:cubicBezTo>
                  <a:close/>
                  <a:moveTo>
                    <a:pt x="3330416" y="376714"/>
                  </a:moveTo>
                  <a:cubicBezTo>
                    <a:pt x="3330416" y="377666"/>
                    <a:pt x="3330416" y="378619"/>
                    <a:pt x="3331369" y="379571"/>
                  </a:cubicBezTo>
                  <a:cubicBezTo>
                    <a:pt x="3330416" y="380524"/>
                    <a:pt x="3330416" y="382429"/>
                    <a:pt x="3329464" y="384334"/>
                  </a:cubicBezTo>
                  <a:cubicBezTo>
                    <a:pt x="3329464" y="383381"/>
                    <a:pt x="3328511" y="382429"/>
                    <a:pt x="3328511" y="381476"/>
                  </a:cubicBezTo>
                  <a:cubicBezTo>
                    <a:pt x="3328511" y="379571"/>
                    <a:pt x="3329464" y="378619"/>
                    <a:pt x="3330416" y="376714"/>
                  </a:cubicBezTo>
                  <a:close/>
                  <a:moveTo>
                    <a:pt x="3329464" y="202406"/>
                  </a:moveTo>
                  <a:cubicBezTo>
                    <a:pt x="3329464" y="203359"/>
                    <a:pt x="3329464" y="205264"/>
                    <a:pt x="3329464" y="207169"/>
                  </a:cubicBezTo>
                  <a:cubicBezTo>
                    <a:pt x="3329464" y="206216"/>
                    <a:pt x="3329464" y="206216"/>
                    <a:pt x="3328511" y="205264"/>
                  </a:cubicBezTo>
                  <a:cubicBezTo>
                    <a:pt x="3329464" y="204311"/>
                    <a:pt x="3329464" y="203359"/>
                    <a:pt x="3329464" y="202406"/>
                  </a:cubicBezTo>
                  <a:close/>
                  <a:moveTo>
                    <a:pt x="3326606" y="302419"/>
                  </a:moveTo>
                  <a:cubicBezTo>
                    <a:pt x="3327559" y="305276"/>
                    <a:pt x="3328511" y="307181"/>
                    <a:pt x="3329464" y="310039"/>
                  </a:cubicBezTo>
                  <a:cubicBezTo>
                    <a:pt x="3329464" y="310991"/>
                    <a:pt x="3329464" y="310991"/>
                    <a:pt x="3329464" y="311944"/>
                  </a:cubicBezTo>
                  <a:cubicBezTo>
                    <a:pt x="3328511" y="310039"/>
                    <a:pt x="3327559" y="308134"/>
                    <a:pt x="3326606" y="306229"/>
                  </a:cubicBezTo>
                  <a:cubicBezTo>
                    <a:pt x="3326606" y="304324"/>
                    <a:pt x="3326606" y="303371"/>
                    <a:pt x="3326606" y="302419"/>
                  </a:cubicBezTo>
                  <a:close/>
                  <a:moveTo>
                    <a:pt x="3323749" y="227171"/>
                  </a:moveTo>
                  <a:cubicBezTo>
                    <a:pt x="3324701" y="224314"/>
                    <a:pt x="3324701" y="221456"/>
                    <a:pt x="3325654" y="219551"/>
                  </a:cubicBezTo>
                  <a:cubicBezTo>
                    <a:pt x="3325654" y="220504"/>
                    <a:pt x="3325654" y="220504"/>
                    <a:pt x="3325654" y="221456"/>
                  </a:cubicBezTo>
                  <a:cubicBezTo>
                    <a:pt x="3322796" y="232886"/>
                    <a:pt x="3320891" y="244316"/>
                    <a:pt x="3318034" y="256699"/>
                  </a:cubicBezTo>
                  <a:cubicBezTo>
                    <a:pt x="3318034" y="256699"/>
                    <a:pt x="3318034" y="255746"/>
                    <a:pt x="3317081" y="255746"/>
                  </a:cubicBezTo>
                  <a:cubicBezTo>
                    <a:pt x="3319939" y="245269"/>
                    <a:pt x="3321844" y="235744"/>
                    <a:pt x="3323749" y="227171"/>
                  </a:cubicBezTo>
                  <a:close/>
                  <a:moveTo>
                    <a:pt x="3315176" y="269081"/>
                  </a:moveTo>
                  <a:cubicBezTo>
                    <a:pt x="3315176" y="270034"/>
                    <a:pt x="3316129" y="270986"/>
                    <a:pt x="3316129" y="270986"/>
                  </a:cubicBezTo>
                  <a:cubicBezTo>
                    <a:pt x="3315176" y="274796"/>
                    <a:pt x="3315176" y="278606"/>
                    <a:pt x="3314224" y="282416"/>
                  </a:cubicBezTo>
                  <a:cubicBezTo>
                    <a:pt x="3314224" y="281464"/>
                    <a:pt x="3313271" y="280511"/>
                    <a:pt x="3313271" y="280511"/>
                  </a:cubicBezTo>
                  <a:cubicBezTo>
                    <a:pt x="3313271" y="276701"/>
                    <a:pt x="3314224" y="272891"/>
                    <a:pt x="3315176" y="269081"/>
                  </a:cubicBezTo>
                  <a:close/>
                  <a:moveTo>
                    <a:pt x="3305651" y="310991"/>
                  </a:moveTo>
                  <a:cubicBezTo>
                    <a:pt x="3306604" y="307181"/>
                    <a:pt x="3307556" y="302419"/>
                    <a:pt x="3308509" y="298609"/>
                  </a:cubicBezTo>
                  <a:cubicBezTo>
                    <a:pt x="3309461" y="299561"/>
                    <a:pt x="3309461" y="301466"/>
                    <a:pt x="3310414" y="302419"/>
                  </a:cubicBezTo>
                  <a:cubicBezTo>
                    <a:pt x="3309461" y="308134"/>
                    <a:pt x="3308509" y="314801"/>
                    <a:pt x="3307556" y="320516"/>
                  </a:cubicBezTo>
                  <a:cubicBezTo>
                    <a:pt x="3306604" y="318611"/>
                    <a:pt x="3305651" y="315754"/>
                    <a:pt x="3304699" y="313849"/>
                  </a:cubicBezTo>
                  <a:cubicBezTo>
                    <a:pt x="3305651" y="313849"/>
                    <a:pt x="3305651" y="312896"/>
                    <a:pt x="3305651" y="310991"/>
                  </a:cubicBezTo>
                  <a:close/>
                  <a:moveTo>
                    <a:pt x="3302794" y="327184"/>
                  </a:moveTo>
                  <a:cubicBezTo>
                    <a:pt x="3303746" y="330041"/>
                    <a:pt x="3303746" y="332899"/>
                    <a:pt x="3304699" y="335756"/>
                  </a:cubicBezTo>
                  <a:cubicBezTo>
                    <a:pt x="3303746" y="339566"/>
                    <a:pt x="3302794" y="344329"/>
                    <a:pt x="3300889" y="349091"/>
                  </a:cubicBezTo>
                  <a:cubicBezTo>
                    <a:pt x="3299936" y="350996"/>
                    <a:pt x="3299936" y="353854"/>
                    <a:pt x="3298984" y="355759"/>
                  </a:cubicBezTo>
                  <a:cubicBezTo>
                    <a:pt x="3298031" y="354806"/>
                    <a:pt x="3298031" y="352901"/>
                    <a:pt x="3297079" y="351949"/>
                  </a:cubicBezTo>
                  <a:cubicBezTo>
                    <a:pt x="3298984" y="343376"/>
                    <a:pt x="3300889" y="334804"/>
                    <a:pt x="3302794" y="327184"/>
                  </a:cubicBezTo>
                  <a:close/>
                  <a:moveTo>
                    <a:pt x="3279934" y="297656"/>
                  </a:moveTo>
                  <a:cubicBezTo>
                    <a:pt x="3279934" y="294799"/>
                    <a:pt x="3279934" y="291941"/>
                    <a:pt x="3280886" y="289084"/>
                  </a:cubicBezTo>
                  <a:cubicBezTo>
                    <a:pt x="3281839" y="280511"/>
                    <a:pt x="3282791" y="271939"/>
                    <a:pt x="3283744" y="263366"/>
                  </a:cubicBezTo>
                  <a:cubicBezTo>
                    <a:pt x="3283744" y="259556"/>
                    <a:pt x="3284696" y="255746"/>
                    <a:pt x="3284696" y="252889"/>
                  </a:cubicBezTo>
                  <a:cubicBezTo>
                    <a:pt x="3287554" y="258604"/>
                    <a:pt x="3290411" y="264319"/>
                    <a:pt x="3293269" y="270034"/>
                  </a:cubicBezTo>
                  <a:cubicBezTo>
                    <a:pt x="3292316" y="272891"/>
                    <a:pt x="3292316" y="274796"/>
                    <a:pt x="3291364" y="277654"/>
                  </a:cubicBezTo>
                  <a:cubicBezTo>
                    <a:pt x="3291364" y="279559"/>
                    <a:pt x="3290411" y="281464"/>
                    <a:pt x="3290411" y="283369"/>
                  </a:cubicBezTo>
                  <a:cubicBezTo>
                    <a:pt x="3289459" y="271939"/>
                    <a:pt x="3289459" y="264319"/>
                    <a:pt x="3289459" y="264319"/>
                  </a:cubicBezTo>
                  <a:cubicBezTo>
                    <a:pt x="3289459" y="264319"/>
                    <a:pt x="3285649" y="285274"/>
                    <a:pt x="3281839" y="317659"/>
                  </a:cubicBezTo>
                  <a:cubicBezTo>
                    <a:pt x="3281839" y="317659"/>
                    <a:pt x="3280886" y="317659"/>
                    <a:pt x="3280886" y="317659"/>
                  </a:cubicBezTo>
                  <a:cubicBezTo>
                    <a:pt x="3280886" y="317659"/>
                    <a:pt x="3280886" y="316706"/>
                    <a:pt x="3280886" y="316706"/>
                  </a:cubicBezTo>
                  <a:cubicBezTo>
                    <a:pt x="3280886" y="316706"/>
                    <a:pt x="3280886" y="315754"/>
                    <a:pt x="3279934" y="315754"/>
                  </a:cubicBezTo>
                  <a:cubicBezTo>
                    <a:pt x="3279934" y="314801"/>
                    <a:pt x="3278981" y="314801"/>
                    <a:pt x="3278981" y="313849"/>
                  </a:cubicBezTo>
                  <a:cubicBezTo>
                    <a:pt x="3278981" y="308134"/>
                    <a:pt x="3279934" y="302419"/>
                    <a:pt x="3279934" y="297656"/>
                  </a:cubicBezTo>
                  <a:close/>
                  <a:moveTo>
                    <a:pt x="3263741" y="295751"/>
                  </a:moveTo>
                  <a:cubicBezTo>
                    <a:pt x="3263741" y="294799"/>
                    <a:pt x="3263741" y="293846"/>
                    <a:pt x="3263741" y="293846"/>
                  </a:cubicBezTo>
                  <a:cubicBezTo>
                    <a:pt x="3263741" y="293846"/>
                    <a:pt x="3263741" y="294799"/>
                    <a:pt x="3263741" y="295751"/>
                  </a:cubicBezTo>
                  <a:cubicBezTo>
                    <a:pt x="3264694" y="295751"/>
                    <a:pt x="3264694" y="295751"/>
                    <a:pt x="3264694" y="296704"/>
                  </a:cubicBezTo>
                  <a:cubicBezTo>
                    <a:pt x="3263741" y="299561"/>
                    <a:pt x="3262789" y="303371"/>
                    <a:pt x="3262789" y="306229"/>
                  </a:cubicBezTo>
                  <a:cubicBezTo>
                    <a:pt x="3262789" y="302419"/>
                    <a:pt x="3263741" y="298609"/>
                    <a:pt x="3263741" y="295751"/>
                  </a:cubicBezTo>
                  <a:close/>
                  <a:moveTo>
                    <a:pt x="3232309" y="381476"/>
                  </a:moveTo>
                  <a:cubicBezTo>
                    <a:pt x="3232309" y="372904"/>
                    <a:pt x="3232309" y="365284"/>
                    <a:pt x="3232309" y="357664"/>
                  </a:cubicBezTo>
                  <a:cubicBezTo>
                    <a:pt x="3232309" y="357664"/>
                    <a:pt x="3232309" y="358616"/>
                    <a:pt x="3232309" y="358616"/>
                  </a:cubicBezTo>
                  <a:cubicBezTo>
                    <a:pt x="3232309" y="359569"/>
                    <a:pt x="3232309" y="360521"/>
                    <a:pt x="3233261" y="360521"/>
                  </a:cubicBezTo>
                  <a:cubicBezTo>
                    <a:pt x="3233261" y="367189"/>
                    <a:pt x="3233261" y="373856"/>
                    <a:pt x="3232309" y="381476"/>
                  </a:cubicBezTo>
                  <a:close/>
                  <a:moveTo>
                    <a:pt x="3239929" y="327184"/>
                  </a:moveTo>
                  <a:cubicBezTo>
                    <a:pt x="3240881" y="330994"/>
                    <a:pt x="3240881" y="335756"/>
                    <a:pt x="3241834" y="339566"/>
                  </a:cubicBezTo>
                  <a:cubicBezTo>
                    <a:pt x="3240881" y="337661"/>
                    <a:pt x="3239929" y="335756"/>
                    <a:pt x="3239929" y="333851"/>
                  </a:cubicBezTo>
                  <a:cubicBezTo>
                    <a:pt x="3239929" y="331946"/>
                    <a:pt x="3239929" y="330994"/>
                    <a:pt x="3239929" y="329089"/>
                  </a:cubicBezTo>
                  <a:cubicBezTo>
                    <a:pt x="3238976" y="328136"/>
                    <a:pt x="3239929" y="328136"/>
                    <a:pt x="3239929" y="327184"/>
                  </a:cubicBezTo>
                  <a:close/>
                  <a:moveTo>
                    <a:pt x="3234214" y="318611"/>
                  </a:moveTo>
                  <a:cubicBezTo>
                    <a:pt x="3235166" y="315754"/>
                    <a:pt x="3236119" y="312896"/>
                    <a:pt x="3237071" y="310039"/>
                  </a:cubicBezTo>
                  <a:cubicBezTo>
                    <a:pt x="3237071" y="311944"/>
                    <a:pt x="3238024" y="313849"/>
                    <a:pt x="3238024" y="314801"/>
                  </a:cubicBezTo>
                  <a:cubicBezTo>
                    <a:pt x="3238024" y="315754"/>
                    <a:pt x="3238024" y="315754"/>
                    <a:pt x="3238024" y="316706"/>
                  </a:cubicBezTo>
                  <a:cubicBezTo>
                    <a:pt x="3238024" y="316706"/>
                    <a:pt x="3238024" y="317659"/>
                    <a:pt x="3237071" y="317659"/>
                  </a:cubicBezTo>
                  <a:cubicBezTo>
                    <a:pt x="3237071" y="314801"/>
                    <a:pt x="3236119" y="311944"/>
                    <a:pt x="3237071" y="311944"/>
                  </a:cubicBezTo>
                  <a:cubicBezTo>
                    <a:pt x="3238024" y="311944"/>
                    <a:pt x="3237071" y="314801"/>
                    <a:pt x="3236119" y="319564"/>
                  </a:cubicBezTo>
                  <a:cubicBezTo>
                    <a:pt x="3235166" y="320516"/>
                    <a:pt x="3235166" y="321469"/>
                    <a:pt x="3234214" y="322421"/>
                  </a:cubicBezTo>
                  <a:cubicBezTo>
                    <a:pt x="3234214" y="321469"/>
                    <a:pt x="3233261" y="320516"/>
                    <a:pt x="3233261" y="319564"/>
                  </a:cubicBezTo>
                  <a:cubicBezTo>
                    <a:pt x="3234214" y="319564"/>
                    <a:pt x="3234214" y="319564"/>
                    <a:pt x="3234214" y="318611"/>
                  </a:cubicBezTo>
                  <a:close/>
                  <a:moveTo>
                    <a:pt x="3233261" y="286226"/>
                  </a:moveTo>
                  <a:cubicBezTo>
                    <a:pt x="3233261" y="287179"/>
                    <a:pt x="3233261" y="287179"/>
                    <a:pt x="3233261" y="288131"/>
                  </a:cubicBezTo>
                  <a:cubicBezTo>
                    <a:pt x="3233261" y="289084"/>
                    <a:pt x="3232309" y="289084"/>
                    <a:pt x="3232309" y="290036"/>
                  </a:cubicBezTo>
                  <a:cubicBezTo>
                    <a:pt x="3232309" y="287179"/>
                    <a:pt x="3232309" y="285274"/>
                    <a:pt x="3232309" y="282416"/>
                  </a:cubicBezTo>
                  <a:cubicBezTo>
                    <a:pt x="3232309" y="284321"/>
                    <a:pt x="3233261" y="285274"/>
                    <a:pt x="3233261" y="286226"/>
                  </a:cubicBezTo>
                  <a:close/>
                  <a:moveTo>
                    <a:pt x="3222784" y="285274"/>
                  </a:moveTo>
                  <a:cubicBezTo>
                    <a:pt x="3222784" y="281464"/>
                    <a:pt x="3222784" y="277654"/>
                    <a:pt x="3223736" y="273844"/>
                  </a:cubicBezTo>
                  <a:cubicBezTo>
                    <a:pt x="3224689" y="271939"/>
                    <a:pt x="3224689" y="270034"/>
                    <a:pt x="3224689" y="270034"/>
                  </a:cubicBezTo>
                  <a:cubicBezTo>
                    <a:pt x="3224689" y="270034"/>
                    <a:pt x="3224689" y="270034"/>
                    <a:pt x="3224689" y="270986"/>
                  </a:cubicBezTo>
                  <a:cubicBezTo>
                    <a:pt x="3225641" y="265271"/>
                    <a:pt x="3226594" y="259556"/>
                    <a:pt x="3227546" y="253841"/>
                  </a:cubicBezTo>
                  <a:cubicBezTo>
                    <a:pt x="3227546" y="253841"/>
                    <a:pt x="3227546" y="253841"/>
                    <a:pt x="3227546" y="253841"/>
                  </a:cubicBezTo>
                  <a:cubicBezTo>
                    <a:pt x="3226594" y="264319"/>
                    <a:pt x="3225641" y="277654"/>
                    <a:pt x="3223736" y="292894"/>
                  </a:cubicBezTo>
                  <a:cubicBezTo>
                    <a:pt x="3223736" y="292894"/>
                    <a:pt x="3223736" y="291941"/>
                    <a:pt x="3222784" y="291941"/>
                  </a:cubicBezTo>
                  <a:cubicBezTo>
                    <a:pt x="3222784" y="291941"/>
                    <a:pt x="3222784" y="291941"/>
                    <a:pt x="3222784" y="290989"/>
                  </a:cubicBezTo>
                  <a:cubicBezTo>
                    <a:pt x="3221831" y="289084"/>
                    <a:pt x="3221831" y="287179"/>
                    <a:pt x="3222784" y="285274"/>
                  </a:cubicBezTo>
                  <a:close/>
                  <a:moveTo>
                    <a:pt x="3217069" y="207169"/>
                  </a:moveTo>
                  <a:cubicBezTo>
                    <a:pt x="3218021" y="210979"/>
                    <a:pt x="3218974" y="214789"/>
                    <a:pt x="3219926" y="219551"/>
                  </a:cubicBezTo>
                  <a:cubicBezTo>
                    <a:pt x="3218021" y="225266"/>
                    <a:pt x="3217069" y="231934"/>
                    <a:pt x="3215164" y="238601"/>
                  </a:cubicBezTo>
                  <a:cubicBezTo>
                    <a:pt x="3215164" y="226219"/>
                    <a:pt x="3217069" y="215741"/>
                    <a:pt x="3217069" y="207169"/>
                  </a:cubicBezTo>
                  <a:close/>
                  <a:moveTo>
                    <a:pt x="3191351" y="249079"/>
                  </a:moveTo>
                  <a:cubicBezTo>
                    <a:pt x="3191351" y="242411"/>
                    <a:pt x="3192304" y="236696"/>
                    <a:pt x="3192304" y="232886"/>
                  </a:cubicBezTo>
                  <a:cubicBezTo>
                    <a:pt x="3193256" y="234791"/>
                    <a:pt x="3193256" y="235744"/>
                    <a:pt x="3194209" y="238601"/>
                  </a:cubicBezTo>
                  <a:cubicBezTo>
                    <a:pt x="3193256" y="247174"/>
                    <a:pt x="3192304" y="255746"/>
                    <a:pt x="3191351" y="265271"/>
                  </a:cubicBezTo>
                  <a:cubicBezTo>
                    <a:pt x="3191351" y="258604"/>
                    <a:pt x="3191351" y="253841"/>
                    <a:pt x="3191351" y="249079"/>
                  </a:cubicBezTo>
                  <a:close/>
                  <a:moveTo>
                    <a:pt x="3155156" y="313849"/>
                  </a:moveTo>
                  <a:cubicBezTo>
                    <a:pt x="3155156" y="315754"/>
                    <a:pt x="3156109" y="317659"/>
                    <a:pt x="3156109" y="320516"/>
                  </a:cubicBezTo>
                  <a:cubicBezTo>
                    <a:pt x="3156109" y="325279"/>
                    <a:pt x="3157061" y="330041"/>
                    <a:pt x="3158014" y="334804"/>
                  </a:cubicBezTo>
                  <a:cubicBezTo>
                    <a:pt x="3157061" y="341471"/>
                    <a:pt x="3155156" y="348139"/>
                    <a:pt x="3154204" y="354806"/>
                  </a:cubicBezTo>
                  <a:cubicBezTo>
                    <a:pt x="3153251" y="353854"/>
                    <a:pt x="3153251" y="352901"/>
                    <a:pt x="3152299" y="351949"/>
                  </a:cubicBezTo>
                  <a:cubicBezTo>
                    <a:pt x="3152299" y="350996"/>
                    <a:pt x="3152299" y="350044"/>
                    <a:pt x="3152299" y="350044"/>
                  </a:cubicBezTo>
                  <a:cubicBezTo>
                    <a:pt x="3152299" y="348139"/>
                    <a:pt x="3151346" y="347186"/>
                    <a:pt x="3151346" y="345281"/>
                  </a:cubicBezTo>
                  <a:cubicBezTo>
                    <a:pt x="3151346" y="345281"/>
                    <a:pt x="3151346" y="344329"/>
                    <a:pt x="3151346" y="344329"/>
                  </a:cubicBezTo>
                  <a:lnTo>
                    <a:pt x="3151346" y="338614"/>
                  </a:lnTo>
                  <a:cubicBezTo>
                    <a:pt x="3151346" y="329089"/>
                    <a:pt x="3153251" y="321469"/>
                    <a:pt x="3155156" y="313849"/>
                  </a:cubicBezTo>
                  <a:close/>
                  <a:moveTo>
                    <a:pt x="3139916" y="213836"/>
                  </a:moveTo>
                  <a:cubicBezTo>
                    <a:pt x="3140869" y="220504"/>
                    <a:pt x="3142774" y="228124"/>
                    <a:pt x="3143726" y="235744"/>
                  </a:cubicBezTo>
                  <a:cubicBezTo>
                    <a:pt x="3145631" y="246221"/>
                    <a:pt x="3147536" y="256699"/>
                    <a:pt x="3148489" y="267176"/>
                  </a:cubicBezTo>
                  <a:cubicBezTo>
                    <a:pt x="3146584" y="272891"/>
                    <a:pt x="3145631" y="278606"/>
                    <a:pt x="3143726" y="284321"/>
                  </a:cubicBezTo>
                  <a:cubicBezTo>
                    <a:pt x="3140869" y="251936"/>
                    <a:pt x="3138964" y="228124"/>
                    <a:pt x="3137059" y="216694"/>
                  </a:cubicBezTo>
                  <a:cubicBezTo>
                    <a:pt x="3138011" y="215741"/>
                    <a:pt x="3138964" y="214789"/>
                    <a:pt x="3139916" y="213836"/>
                  </a:cubicBezTo>
                  <a:close/>
                  <a:moveTo>
                    <a:pt x="3130391" y="337661"/>
                  </a:moveTo>
                  <a:cubicBezTo>
                    <a:pt x="3130391" y="336709"/>
                    <a:pt x="3130391" y="336709"/>
                    <a:pt x="3130391" y="335756"/>
                  </a:cubicBezTo>
                  <a:cubicBezTo>
                    <a:pt x="3130391" y="335756"/>
                    <a:pt x="3130391" y="335756"/>
                    <a:pt x="3130391" y="335756"/>
                  </a:cubicBezTo>
                  <a:cubicBezTo>
                    <a:pt x="3130391" y="336709"/>
                    <a:pt x="3130391" y="336709"/>
                    <a:pt x="3130391" y="337661"/>
                  </a:cubicBezTo>
                  <a:close/>
                  <a:moveTo>
                    <a:pt x="3130391" y="328136"/>
                  </a:moveTo>
                  <a:cubicBezTo>
                    <a:pt x="3130391" y="328136"/>
                    <a:pt x="3130391" y="327184"/>
                    <a:pt x="3130391" y="328136"/>
                  </a:cubicBezTo>
                  <a:cubicBezTo>
                    <a:pt x="3130391" y="327184"/>
                    <a:pt x="3130391" y="328136"/>
                    <a:pt x="3130391" y="328136"/>
                  </a:cubicBezTo>
                  <a:cubicBezTo>
                    <a:pt x="3130391" y="328136"/>
                    <a:pt x="3130391" y="328136"/>
                    <a:pt x="3130391" y="328136"/>
                  </a:cubicBezTo>
                  <a:close/>
                  <a:moveTo>
                    <a:pt x="3133249" y="276701"/>
                  </a:moveTo>
                  <a:cubicBezTo>
                    <a:pt x="3133249" y="276701"/>
                    <a:pt x="3133249" y="275749"/>
                    <a:pt x="3133249" y="276701"/>
                  </a:cubicBezTo>
                  <a:cubicBezTo>
                    <a:pt x="3131344" y="270034"/>
                    <a:pt x="3129439" y="264319"/>
                    <a:pt x="3128486" y="259556"/>
                  </a:cubicBezTo>
                  <a:cubicBezTo>
                    <a:pt x="3128486" y="254794"/>
                    <a:pt x="3128486" y="250031"/>
                    <a:pt x="3127534" y="246221"/>
                  </a:cubicBezTo>
                  <a:cubicBezTo>
                    <a:pt x="3131344" y="235744"/>
                    <a:pt x="3134201" y="228124"/>
                    <a:pt x="3135154" y="223361"/>
                  </a:cubicBezTo>
                  <a:cubicBezTo>
                    <a:pt x="3135154" y="235744"/>
                    <a:pt x="3134201" y="253841"/>
                    <a:pt x="3133249" y="276701"/>
                  </a:cubicBezTo>
                  <a:close/>
                  <a:moveTo>
                    <a:pt x="3130391" y="229076"/>
                  </a:moveTo>
                  <a:cubicBezTo>
                    <a:pt x="3132296" y="225266"/>
                    <a:pt x="3134201" y="222409"/>
                    <a:pt x="3136106" y="219551"/>
                  </a:cubicBezTo>
                  <a:cubicBezTo>
                    <a:pt x="3136106" y="220504"/>
                    <a:pt x="3136106" y="220504"/>
                    <a:pt x="3136106" y="221456"/>
                  </a:cubicBezTo>
                  <a:cubicBezTo>
                    <a:pt x="3134201" y="224314"/>
                    <a:pt x="3131344" y="229076"/>
                    <a:pt x="3127534" y="236696"/>
                  </a:cubicBezTo>
                  <a:cubicBezTo>
                    <a:pt x="3127534" y="235744"/>
                    <a:pt x="3127534" y="235744"/>
                    <a:pt x="3127534" y="234791"/>
                  </a:cubicBezTo>
                  <a:cubicBezTo>
                    <a:pt x="3128486" y="232886"/>
                    <a:pt x="3129439" y="230981"/>
                    <a:pt x="3130391" y="229076"/>
                  </a:cubicBezTo>
                  <a:close/>
                  <a:moveTo>
                    <a:pt x="3114199" y="290036"/>
                  </a:moveTo>
                  <a:cubicBezTo>
                    <a:pt x="3114199" y="289084"/>
                    <a:pt x="3113246" y="288131"/>
                    <a:pt x="3113246" y="287179"/>
                  </a:cubicBezTo>
                  <a:cubicBezTo>
                    <a:pt x="3113246" y="287179"/>
                    <a:pt x="3113246" y="287179"/>
                    <a:pt x="3113246" y="286226"/>
                  </a:cubicBezTo>
                  <a:cubicBezTo>
                    <a:pt x="3114199" y="284321"/>
                    <a:pt x="3114199" y="283369"/>
                    <a:pt x="3115151" y="281464"/>
                  </a:cubicBezTo>
                  <a:cubicBezTo>
                    <a:pt x="3114199" y="284321"/>
                    <a:pt x="3114199" y="287179"/>
                    <a:pt x="3114199" y="290036"/>
                  </a:cubicBezTo>
                  <a:close/>
                  <a:moveTo>
                    <a:pt x="3115151" y="257651"/>
                  </a:moveTo>
                  <a:cubicBezTo>
                    <a:pt x="3115151" y="256699"/>
                    <a:pt x="3116104" y="256699"/>
                    <a:pt x="3116104" y="255746"/>
                  </a:cubicBezTo>
                  <a:cubicBezTo>
                    <a:pt x="3116104" y="256699"/>
                    <a:pt x="3116104" y="257651"/>
                    <a:pt x="3115151" y="257651"/>
                  </a:cubicBezTo>
                  <a:cubicBezTo>
                    <a:pt x="3114199" y="261461"/>
                    <a:pt x="3111341" y="265271"/>
                    <a:pt x="3109436" y="270034"/>
                  </a:cubicBezTo>
                  <a:cubicBezTo>
                    <a:pt x="3111341" y="266224"/>
                    <a:pt x="3113246" y="261461"/>
                    <a:pt x="3115151" y="257651"/>
                  </a:cubicBezTo>
                  <a:close/>
                  <a:moveTo>
                    <a:pt x="3110389" y="292894"/>
                  </a:moveTo>
                  <a:cubicBezTo>
                    <a:pt x="3111341" y="297656"/>
                    <a:pt x="3112294" y="302419"/>
                    <a:pt x="3113246" y="309086"/>
                  </a:cubicBezTo>
                  <a:cubicBezTo>
                    <a:pt x="3113246" y="310039"/>
                    <a:pt x="3113246" y="310991"/>
                    <a:pt x="3114199" y="311944"/>
                  </a:cubicBezTo>
                  <a:cubicBezTo>
                    <a:pt x="3114199" y="314801"/>
                    <a:pt x="3114199" y="317659"/>
                    <a:pt x="3114199" y="321469"/>
                  </a:cubicBezTo>
                  <a:cubicBezTo>
                    <a:pt x="3114199" y="321469"/>
                    <a:pt x="3114199" y="320516"/>
                    <a:pt x="3114199" y="319564"/>
                  </a:cubicBezTo>
                  <a:cubicBezTo>
                    <a:pt x="3113246" y="315754"/>
                    <a:pt x="3112294" y="312896"/>
                    <a:pt x="3110389" y="309086"/>
                  </a:cubicBezTo>
                  <a:cubicBezTo>
                    <a:pt x="3110389" y="306229"/>
                    <a:pt x="3109436" y="303371"/>
                    <a:pt x="3109436" y="300514"/>
                  </a:cubicBezTo>
                  <a:cubicBezTo>
                    <a:pt x="3109436" y="300514"/>
                    <a:pt x="3109436" y="299561"/>
                    <a:pt x="3109436" y="299561"/>
                  </a:cubicBezTo>
                  <a:cubicBezTo>
                    <a:pt x="3108484" y="297656"/>
                    <a:pt x="3109436" y="295751"/>
                    <a:pt x="3110389" y="292894"/>
                  </a:cubicBezTo>
                  <a:close/>
                  <a:moveTo>
                    <a:pt x="3098006" y="350996"/>
                  </a:moveTo>
                  <a:cubicBezTo>
                    <a:pt x="3098006" y="350996"/>
                    <a:pt x="3098006" y="350996"/>
                    <a:pt x="3098006" y="350996"/>
                  </a:cubicBezTo>
                  <a:cubicBezTo>
                    <a:pt x="3098006" y="351949"/>
                    <a:pt x="3098006" y="352901"/>
                    <a:pt x="3098006" y="353854"/>
                  </a:cubicBezTo>
                  <a:cubicBezTo>
                    <a:pt x="3098006" y="353854"/>
                    <a:pt x="3098006" y="353854"/>
                    <a:pt x="3097054" y="354806"/>
                  </a:cubicBezTo>
                  <a:cubicBezTo>
                    <a:pt x="3097054" y="353854"/>
                    <a:pt x="3098006" y="351949"/>
                    <a:pt x="3098006" y="350996"/>
                  </a:cubicBezTo>
                  <a:close/>
                  <a:moveTo>
                    <a:pt x="3093244" y="377666"/>
                  </a:moveTo>
                  <a:cubicBezTo>
                    <a:pt x="3095149" y="372904"/>
                    <a:pt x="3097054" y="370046"/>
                    <a:pt x="3097054" y="370046"/>
                  </a:cubicBezTo>
                  <a:cubicBezTo>
                    <a:pt x="3097054" y="370046"/>
                    <a:pt x="3096101" y="371951"/>
                    <a:pt x="3094196" y="373856"/>
                  </a:cubicBezTo>
                  <a:cubicBezTo>
                    <a:pt x="3095149" y="368141"/>
                    <a:pt x="3096101" y="361474"/>
                    <a:pt x="3097054" y="355759"/>
                  </a:cubicBezTo>
                  <a:cubicBezTo>
                    <a:pt x="3097054" y="354806"/>
                    <a:pt x="3098006" y="354806"/>
                    <a:pt x="3098006" y="353854"/>
                  </a:cubicBezTo>
                  <a:cubicBezTo>
                    <a:pt x="3098006" y="359569"/>
                    <a:pt x="3098006" y="366236"/>
                    <a:pt x="3098006" y="371951"/>
                  </a:cubicBezTo>
                  <a:cubicBezTo>
                    <a:pt x="3098006" y="375761"/>
                    <a:pt x="3098006" y="379571"/>
                    <a:pt x="3098006" y="383381"/>
                  </a:cubicBezTo>
                  <a:lnTo>
                    <a:pt x="3095149" y="383381"/>
                  </a:lnTo>
                  <a:cubicBezTo>
                    <a:pt x="3095149" y="383381"/>
                    <a:pt x="3095149" y="383381"/>
                    <a:pt x="3095149" y="383381"/>
                  </a:cubicBezTo>
                  <a:cubicBezTo>
                    <a:pt x="3094196" y="381476"/>
                    <a:pt x="3094196" y="379571"/>
                    <a:pt x="3093244" y="378619"/>
                  </a:cubicBezTo>
                  <a:cubicBezTo>
                    <a:pt x="3093244" y="379571"/>
                    <a:pt x="3093244" y="378619"/>
                    <a:pt x="3093244" y="377666"/>
                  </a:cubicBezTo>
                  <a:close/>
                  <a:moveTo>
                    <a:pt x="3084671" y="293846"/>
                  </a:moveTo>
                  <a:cubicBezTo>
                    <a:pt x="3084671" y="288131"/>
                    <a:pt x="3085624" y="282416"/>
                    <a:pt x="3085624" y="276701"/>
                  </a:cubicBezTo>
                  <a:cubicBezTo>
                    <a:pt x="3085624" y="277654"/>
                    <a:pt x="3085624" y="277654"/>
                    <a:pt x="3085624" y="278606"/>
                  </a:cubicBezTo>
                  <a:cubicBezTo>
                    <a:pt x="3086576" y="281464"/>
                    <a:pt x="3087529" y="285274"/>
                    <a:pt x="3088481" y="289084"/>
                  </a:cubicBezTo>
                  <a:cubicBezTo>
                    <a:pt x="3087529" y="290036"/>
                    <a:pt x="3087529" y="290989"/>
                    <a:pt x="3086576" y="291941"/>
                  </a:cubicBezTo>
                  <a:cubicBezTo>
                    <a:pt x="3085624" y="292894"/>
                    <a:pt x="3084671" y="294799"/>
                    <a:pt x="3084671" y="296704"/>
                  </a:cubicBezTo>
                  <a:cubicBezTo>
                    <a:pt x="3084671" y="294799"/>
                    <a:pt x="3084671" y="294799"/>
                    <a:pt x="3084671" y="293846"/>
                  </a:cubicBezTo>
                  <a:close/>
                  <a:moveTo>
                    <a:pt x="3086576" y="348139"/>
                  </a:moveTo>
                  <a:cubicBezTo>
                    <a:pt x="3086576" y="349091"/>
                    <a:pt x="3086576" y="349091"/>
                    <a:pt x="3086576" y="350044"/>
                  </a:cubicBezTo>
                  <a:cubicBezTo>
                    <a:pt x="3085624" y="353854"/>
                    <a:pt x="3084671" y="357664"/>
                    <a:pt x="3083719" y="361474"/>
                  </a:cubicBezTo>
                  <a:cubicBezTo>
                    <a:pt x="3083719" y="360521"/>
                    <a:pt x="3083719" y="358616"/>
                    <a:pt x="3083719" y="357664"/>
                  </a:cubicBezTo>
                  <a:cubicBezTo>
                    <a:pt x="3084671" y="353854"/>
                    <a:pt x="3085624" y="350996"/>
                    <a:pt x="3086576" y="348139"/>
                  </a:cubicBezTo>
                  <a:close/>
                  <a:moveTo>
                    <a:pt x="3057049" y="235744"/>
                  </a:moveTo>
                  <a:cubicBezTo>
                    <a:pt x="3058001" y="227171"/>
                    <a:pt x="3058954" y="218599"/>
                    <a:pt x="3059906" y="210979"/>
                  </a:cubicBezTo>
                  <a:cubicBezTo>
                    <a:pt x="3060859" y="204311"/>
                    <a:pt x="3061811" y="197644"/>
                    <a:pt x="3062764" y="191929"/>
                  </a:cubicBezTo>
                  <a:cubicBezTo>
                    <a:pt x="3063716" y="195739"/>
                    <a:pt x="3065621" y="201454"/>
                    <a:pt x="3067526" y="209074"/>
                  </a:cubicBezTo>
                  <a:cubicBezTo>
                    <a:pt x="3067526" y="213836"/>
                    <a:pt x="3066574" y="217646"/>
                    <a:pt x="3066574" y="222409"/>
                  </a:cubicBezTo>
                  <a:cubicBezTo>
                    <a:pt x="3065621" y="231934"/>
                    <a:pt x="3064669" y="242411"/>
                    <a:pt x="3063716" y="253841"/>
                  </a:cubicBezTo>
                  <a:cubicBezTo>
                    <a:pt x="3062764" y="258604"/>
                    <a:pt x="3060859" y="263366"/>
                    <a:pt x="3059906" y="268129"/>
                  </a:cubicBezTo>
                  <a:cubicBezTo>
                    <a:pt x="3058954" y="262414"/>
                    <a:pt x="3058001" y="257651"/>
                    <a:pt x="3057049" y="252889"/>
                  </a:cubicBezTo>
                  <a:cubicBezTo>
                    <a:pt x="3057049" y="250984"/>
                    <a:pt x="3056096" y="250031"/>
                    <a:pt x="3056096" y="248126"/>
                  </a:cubicBezTo>
                  <a:cubicBezTo>
                    <a:pt x="3056096" y="244316"/>
                    <a:pt x="3056096" y="239554"/>
                    <a:pt x="3057049" y="235744"/>
                  </a:cubicBezTo>
                  <a:close/>
                  <a:moveTo>
                    <a:pt x="3002756" y="307181"/>
                  </a:moveTo>
                  <a:cubicBezTo>
                    <a:pt x="3002756" y="308134"/>
                    <a:pt x="3001804" y="309086"/>
                    <a:pt x="3001804" y="310039"/>
                  </a:cubicBezTo>
                  <a:cubicBezTo>
                    <a:pt x="3001804" y="308134"/>
                    <a:pt x="3002756" y="307181"/>
                    <a:pt x="3002756" y="305276"/>
                  </a:cubicBezTo>
                  <a:cubicBezTo>
                    <a:pt x="3004661" y="298609"/>
                    <a:pt x="3005614" y="292894"/>
                    <a:pt x="3006566" y="286226"/>
                  </a:cubicBezTo>
                  <a:cubicBezTo>
                    <a:pt x="3007519" y="287179"/>
                    <a:pt x="3007519" y="289084"/>
                    <a:pt x="3008471" y="290036"/>
                  </a:cubicBezTo>
                  <a:cubicBezTo>
                    <a:pt x="3006566" y="295751"/>
                    <a:pt x="3004661" y="301466"/>
                    <a:pt x="3002756" y="307181"/>
                  </a:cubicBezTo>
                  <a:close/>
                  <a:moveTo>
                    <a:pt x="3036094" y="249079"/>
                  </a:moveTo>
                  <a:cubicBezTo>
                    <a:pt x="3036094" y="254794"/>
                    <a:pt x="3036094" y="260509"/>
                    <a:pt x="3036094" y="266224"/>
                  </a:cubicBezTo>
                  <a:cubicBezTo>
                    <a:pt x="3035141" y="263366"/>
                    <a:pt x="3034189" y="260509"/>
                    <a:pt x="3033236" y="258604"/>
                  </a:cubicBezTo>
                  <a:cubicBezTo>
                    <a:pt x="3034189" y="255746"/>
                    <a:pt x="3035141" y="252889"/>
                    <a:pt x="3036094" y="249079"/>
                  </a:cubicBezTo>
                  <a:close/>
                  <a:moveTo>
                    <a:pt x="3030379" y="269081"/>
                  </a:moveTo>
                  <a:cubicBezTo>
                    <a:pt x="3030379" y="269081"/>
                    <a:pt x="3030379" y="270034"/>
                    <a:pt x="3030379" y="269081"/>
                  </a:cubicBezTo>
                  <a:cubicBezTo>
                    <a:pt x="3030379" y="270034"/>
                    <a:pt x="3030379" y="270034"/>
                    <a:pt x="3030379" y="269081"/>
                  </a:cubicBezTo>
                  <a:cubicBezTo>
                    <a:pt x="3030379" y="269081"/>
                    <a:pt x="3030379" y="269081"/>
                    <a:pt x="3030379" y="269081"/>
                  </a:cubicBezTo>
                  <a:close/>
                  <a:moveTo>
                    <a:pt x="3027521" y="353854"/>
                  </a:moveTo>
                  <a:cubicBezTo>
                    <a:pt x="3026569" y="356711"/>
                    <a:pt x="3024664" y="360521"/>
                    <a:pt x="3023711" y="364331"/>
                  </a:cubicBezTo>
                  <a:cubicBezTo>
                    <a:pt x="3021806" y="370046"/>
                    <a:pt x="3019901" y="376714"/>
                    <a:pt x="3017996" y="383381"/>
                  </a:cubicBezTo>
                  <a:cubicBezTo>
                    <a:pt x="3017996" y="384334"/>
                    <a:pt x="3017044" y="384334"/>
                    <a:pt x="3017044" y="385286"/>
                  </a:cubicBezTo>
                  <a:cubicBezTo>
                    <a:pt x="3016091" y="382429"/>
                    <a:pt x="3015139" y="379571"/>
                    <a:pt x="3015139" y="376714"/>
                  </a:cubicBezTo>
                  <a:cubicBezTo>
                    <a:pt x="3017044" y="372904"/>
                    <a:pt x="3018949" y="370046"/>
                    <a:pt x="3020854" y="366236"/>
                  </a:cubicBezTo>
                  <a:cubicBezTo>
                    <a:pt x="3023711" y="361474"/>
                    <a:pt x="3025616" y="357664"/>
                    <a:pt x="3028474" y="352901"/>
                  </a:cubicBezTo>
                  <a:cubicBezTo>
                    <a:pt x="3027521" y="352901"/>
                    <a:pt x="3027521" y="353854"/>
                    <a:pt x="3027521" y="353854"/>
                  </a:cubicBezTo>
                  <a:close/>
                  <a:moveTo>
                    <a:pt x="3021806" y="230029"/>
                  </a:moveTo>
                  <a:cubicBezTo>
                    <a:pt x="3022759" y="231934"/>
                    <a:pt x="3022759" y="235744"/>
                    <a:pt x="3024664" y="241459"/>
                  </a:cubicBezTo>
                  <a:cubicBezTo>
                    <a:pt x="3024664" y="241459"/>
                    <a:pt x="3024664" y="241459"/>
                    <a:pt x="3024664" y="241459"/>
                  </a:cubicBezTo>
                  <a:cubicBezTo>
                    <a:pt x="3022759" y="237649"/>
                    <a:pt x="3022759" y="233839"/>
                    <a:pt x="3021806" y="230029"/>
                  </a:cubicBezTo>
                  <a:cubicBezTo>
                    <a:pt x="3021806" y="230029"/>
                    <a:pt x="3021806" y="230029"/>
                    <a:pt x="3021806" y="230029"/>
                  </a:cubicBezTo>
                  <a:close/>
                  <a:moveTo>
                    <a:pt x="3020854" y="305276"/>
                  </a:moveTo>
                  <a:cubicBezTo>
                    <a:pt x="3020854" y="305276"/>
                    <a:pt x="3020854" y="305276"/>
                    <a:pt x="3020854" y="305276"/>
                  </a:cubicBezTo>
                  <a:cubicBezTo>
                    <a:pt x="3020854" y="306229"/>
                    <a:pt x="3020854" y="305276"/>
                    <a:pt x="3020854" y="305276"/>
                  </a:cubicBezTo>
                  <a:cubicBezTo>
                    <a:pt x="3020854" y="305276"/>
                    <a:pt x="3020854" y="305276"/>
                    <a:pt x="3020854" y="305276"/>
                  </a:cubicBezTo>
                  <a:close/>
                  <a:moveTo>
                    <a:pt x="3017996" y="317659"/>
                  </a:moveTo>
                  <a:cubicBezTo>
                    <a:pt x="3018949" y="321469"/>
                    <a:pt x="3020854" y="325279"/>
                    <a:pt x="3021806" y="329089"/>
                  </a:cubicBezTo>
                  <a:cubicBezTo>
                    <a:pt x="3022759" y="332899"/>
                    <a:pt x="3023711" y="336709"/>
                    <a:pt x="3025616" y="339566"/>
                  </a:cubicBezTo>
                  <a:cubicBezTo>
                    <a:pt x="3020854" y="345281"/>
                    <a:pt x="3016091" y="351949"/>
                    <a:pt x="3011329" y="359569"/>
                  </a:cubicBezTo>
                  <a:cubicBezTo>
                    <a:pt x="3011329" y="359569"/>
                    <a:pt x="3011329" y="359569"/>
                    <a:pt x="3011329" y="360521"/>
                  </a:cubicBezTo>
                  <a:cubicBezTo>
                    <a:pt x="3010376" y="357664"/>
                    <a:pt x="3009424" y="354806"/>
                    <a:pt x="3009424" y="351949"/>
                  </a:cubicBezTo>
                  <a:cubicBezTo>
                    <a:pt x="3011329" y="340519"/>
                    <a:pt x="3015139" y="329089"/>
                    <a:pt x="3017996" y="317659"/>
                  </a:cubicBezTo>
                  <a:close/>
                  <a:moveTo>
                    <a:pt x="3013234" y="257651"/>
                  </a:moveTo>
                  <a:cubicBezTo>
                    <a:pt x="3013234" y="258604"/>
                    <a:pt x="3013234" y="259556"/>
                    <a:pt x="3014186" y="261461"/>
                  </a:cubicBezTo>
                  <a:cubicBezTo>
                    <a:pt x="3014186" y="263366"/>
                    <a:pt x="3015139" y="266224"/>
                    <a:pt x="3015139" y="269081"/>
                  </a:cubicBezTo>
                  <a:cubicBezTo>
                    <a:pt x="3013234" y="273844"/>
                    <a:pt x="3012281" y="279559"/>
                    <a:pt x="3010376" y="284321"/>
                  </a:cubicBezTo>
                  <a:cubicBezTo>
                    <a:pt x="3010376" y="283369"/>
                    <a:pt x="3009424" y="283369"/>
                    <a:pt x="3009424" y="282416"/>
                  </a:cubicBezTo>
                  <a:cubicBezTo>
                    <a:pt x="3009424" y="281464"/>
                    <a:pt x="3008471" y="280511"/>
                    <a:pt x="3008471" y="279559"/>
                  </a:cubicBezTo>
                  <a:cubicBezTo>
                    <a:pt x="3008471" y="278606"/>
                    <a:pt x="3008471" y="277654"/>
                    <a:pt x="3009424" y="276701"/>
                  </a:cubicBezTo>
                  <a:cubicBezTo>
                    <a:pt x="3010376" y="270034"/>
                    <a:pt x="3011329" y="263366"/>
                    <a:pt x="3013234" y="257651"/>
                  </a:cubicBezTo>
                  <a:close/>
                  <a:moveTo>
                    <a:pt x="3008471" y="230029"/>
                  </a:moveTo>
                  <a:cubicBezTo>
                    <a:pt x="3009424" y="234791"/>
                    <a:pt x="3010376" y="239554"/>
                    <a:pt x="3010376" y="244316"/>
                  </a:cubicBezTo>
                  <a:cubicBezTo>
                    <a:pt x="3009424" y="246221"/>
                    <a:pt x="3008471" y="249079"/>
                    <a:pt x="3007519" y="250984"/>
                  </a:cubicBezTo>
                  <a:cubicBezTo>
                    <a:pt x="3005614" y="254794"/>
                    <a:pt x="3003709" y="259556"/>
                    <a:pt x="3001804" y="264319"/>
                  </a:cubicBezTo>
                  <a:cubicBezTo>
                    <a:pt x="3003709" y="251936"/>
                    <a:pt x="3005614" y="240506"/>
                    <a:pt x="3008471" y="230029"/>
                  </a:cubicBezTo>
                  <a:close/>
                  <a:moveTo>
                    <a:pt x="3003709" y="195739"/>
                  </a:moveTo>
                  <a:cubicBezTo>
                    <a:pt x="3003709" y="198596"/>
                    <a:pt x="3004661" y="202406"/>
                    <a:pt x="3004661" y="205264"/>
                  </a:cubicBezTo>
                  <a:cubicBezTo>
                    <a:pt x="3002756" y="210979"/>
                    <a:pt x="3000851" y="216694"/>
                    <a:pt x="2997994" y="223361"/>
                  </a:cubicBezTo>
                  <a:cubicBezTo>
                    <a:pt x="2993231" y="235744"/>
                    <a:pt x="2990374" y="248126"/>
                    <a:pt x="2986564" y="262414"/>
                  </a:cubicBezTo>
                  <a:cubicBezTo>
                    <a:pt x="2985611" y="265271"/>
                    <a:pt x="2985611" y="268129"/>
                    <a:pt x="2984659" y="270986"/>
                  </a:cubicBezTo>
                  <a:cubicBezTo>
                    <a:pt x="2984659" y="270986"/>
                    <a:pt x="2984659" y="270986"/>
                    <a:pt x="2984659" y="270986"/>
                  </a:cubicBezTo>
                  <a:cubicBezTo>
                    <a:pt x="2991326" y="243364"/>
                    <a:pt x="2997994" y="218599"/>
                    <a:pt x="3003709" y="195739"/>
                  </a:cubicBezTo>
                  <a:close/>
                  <a:moveTo>
                    <a:pt x="2974181" y="311944"/>
                  </a:moveTo>
                  <a:cubicBezTo>
                    <a:pt x="2976086" y="302419"/>
                    <a:pt x="2978944" y="292894"/>
                    <a:pt x="2980849" y="284321"/>
                  </a:cubicBezTo>
                  <a:cubicBezTo>
                    <a:pt x="2980849" y="284321"/>
                    <a:pt x="2980849" y="285274"/>
                    <a:pt x="2980849" y="285274"/>
                  </a:cubicBezTo>
                  <a:cubicBezTo>
                    <a:pt x="2978944" y="291941"/>
                    <a:pt x="2977991" y="299561"/>
                    <a:pt x="2976086" y="307181"/>
                  </a:cubicBezTo>
                  <a:cubicBezTo>
                    <a:pt x="2975134" y="313849"/>
                    <a:pt x="2973229" y="320516"/>
                    <a:pt x="2972276" y="327184"/>
                  </a:cubicBezTo>
                  <a:cubicBezTo>
                    <a:pt x="2971324" y="325279"/>
                    <a:pt x="2971324" y="324326"/>
                    <a:pt x="2970371" y="322421"/>
                  </a:cubicBezTo>
                  <a:cubicBezTo>
                    <a:pt x="2972276" y="318611"/>
                    <a:pt x="2973229" y="314801"/>
                    <a:pt x="2974181" y="311944"/>
                  </a:cubicBezTo>
                  <a:close/>
                  <a:moveTo>
                    <a:pt x="2964656" y="349091"/>
                  </a:moveTo>
                  <a:cubicBezTo>
                    <a:pt x="2965609" y="344329"/>
                    <a:pt x="2967514" y="339566"/>
                    <a:pt x="2968466" y="334804"/>
                  </a:cubicBezTo>
                  <a:cubicBezTo>
                    <a:pt x="2969419" y="337661"/>
                    <a:pt x="2970371" y="341471"/>
                    <a:pt x="2970371" y="344329"/>
                  </a:cubicBezTo>
                  <a:cubicBezTo>
                    <a:pt x="2970371" y="347186"/>
                    <a:pt x="2969419" y="350996"/>
                    <a:pt x="2969419" y="353854"/>
                  </a:cubicBezTo>
                  <a:cubicBezTo>
                    <a:pt x="2968466" y="361474"/>
                    <a:pt x="2967514" y="369094"/>
                    <a:pt x="2966561" y="377666"/>
                  </a:cubicBezTo>
                  <a:cubicBezTo>
                    <a:pt x="2965609" y="373856"/>
                    <a:pt x="2964656" y="369094"/>
                    <a:pt x="2963704" y="366236"/>
                  </a:cubicBezTo>
                  <a:cubicBezTo>
                    <a:pt x="2967514" y="350996"/>
                    <a:pt x="2969419" y="341471"/>
                    <a:pt x="2969419" y="341471"/>
                  </a:cubicBezTo>
                  <a:cubicBezTo>
                    <a:pt x="2969419" y="341471"/>
                    <a:pt x="2967514" y="344329"/>
                    <a:pt x="2964656" y="349091"/>
                  </a:cubicBezTo>
                  <a:close/>
                  <a:moveTo>
                    <a:pt x="2958941" y="383381"/>
                  </a:moveTo>
                  <a:cubicBezTo>
                    <a:pt x="2958941" y="383381"/>
                    <a:pt x="2958941" y="384334"/>
                    <a:pt x="2958941" y="383381"/>
                  </a:cubicBezTo>
                  <a:cubicBezTo>
                    <a:pt x="2958941" y="384334"/>
                    <a:pt x="2958941" y="384334"/>
                    <a:pt x="2958941" y="383381"/>
                  </a:cubicBezTo>
                  <a:cubicBezTo>
                    <a:pt x="2958941" y="384334"/>
                    <a:pt x="2958941" y="384334"/>
                    <a:pt x="2958941" y="383381"/>
                  </a:cubicBezTo>
                  <a:cubicBezTo>
                    <a:pt x="2958941" y="384334"/>
                    <a:pt x="2958941" y="383381"/>
                    <a:pt x="2958941" y="383381"/>
                  </a:cubicBezTo>
                  <a:close/>
                  <a:moveTo>
                    <a:pt x="2936081" y="284321"/>
                  </a:moveTo>
                  <a:cubicBezTo>
                    <a:pt x="2935129" y="280511"/>
                    <a:pt x="2935129" y="277654"/>
                    <a:pt x="2934176" y="273844"/>
                  </a:cubicBezTo>
                  <a:cubicBezTo>
                    <a:pt x="2935129" y="272891"/>
                    <a:pt x="2935129" y="271939"/>
                    <a:pt x="2936081" y="271939"/>
                  </a:cubicBezTo>
                  <a:cubicBezTo>
                    <a:pt x="2936081" y="276701"/>
                    <a:pt x="2936081" y="280511"/>
                    <a:pt x="2936081" y="284321"/>
                  </a:cubicBezTo>
                  <a:close/>
                  <a:moveTo>
                    <a:pt x="2936081" y="267176"/>
                  </a:moveTo>
                  <a:cubicBezTo>
                    <a:pt x="2936081" y="267176"/>
                    <a:pt x="2936081" y="267176"/>
                    <a:pt x="2936081" y="267176"/>
                  </a:cubicBezTo>
                  <a:cubicBezTo>
                    <a:pt x="2935129" y="268129"/>
                    <a:pt x="2935129" y="268129"/>
                    <a:pt x="2934176" y="269081"/>
                  </a:cubicBezTo>
                  <a:cubicBezTo>
                    <a:pt x="2935129" y="268129"/>
                    <a:pt x="2935129" y="266224"/>
                    <a:pt x="2936081" y="265271"/>
                  </a:cubicBezTo>
                  <a:cubicBezTo>
                    <a:pt x="2935129" y="265271"/>
                    <a:pt x="2936081" y="266224"/>
                    <a:pt x="2936081" y="267176"/>
                  </a:cubicBezTo>
                  <a:close/>
                  <a:moveTo>
                    <a:pt x="2929414" y="243364"/>
                  </a:moveTo>
                  <a:lnTo>
                    <a:pt x="2930366" y="243364"/>
                  </a:lnTo>
                  <a:lnTo>
                    <a:pt x="2933224" y="244316"/>
                  </a:lnTo>
                  <a:cubicBezTo>
                    <a:pt x="2933224" y="248126"/>
                    <a:pt x="2934176" y="251936"/>
                    <a:pt x="2934176" y="255746"/>
                  </a:cubicBezTo>
                  <a:cubicBezTo>
                    <a:pt x="2933224" y="257651"/>
                    <a:pt x="2932271" y="259556"/>
                    <a:pt x="2931319" y="261461"/>
                  </a:cubicBezTo>
                  <a:cubicBezTo>
                    <a:pt x="2930366" y="256699"/>
                    <a:pt x="2929414" y="251936"/>
                    <a:pt x="2927509" y="248126"/>
                  </a:cubicBezTo>
                  <a:cubicBezTo>
                    <a:pt x="2928461" y="246221"/>
                    <a:pt x="2929414" y="245269"/>
                    <a:pt x="2929414" y="243364"/>
                  </a:cubicBezTo>
                  <a:close/>
                  <a:moveTo>
                    <a:pt x="2917984" y="351949"/>
                  </a:moveTo>
                  <a:cubicBezTo>
                    <a:pt x="2917984" y="352901"/>
                    <a:pt x="2917984" y="352901"/>
                    <a:pt x="2918936" y="353854"/>
                  </a:cubicBezTo>
                  <a:cubicBezTo>
                    <a:pt x="2918936" y="356711"/>
                    <a:pt x="2919889" y="360521"/>
                    <a:pt x="2919889" y="363379"/>
                  </a:cubicBezTo>
                  <a:cubicBezTo>
                    <a:pt x="2920841" y="369094"/>
                    <a:pt x="2921794" y="374809"/>
                    <a:pt x="2922746" y="380524"/>
                  </a:cubicBezTo>
                  <a:cubicBezTo>
                    <a:pt x="2921794" y="380524"/>
                    <a:pt x="2921794" y="380524"/>
                    <a:pt x="2920841" y="380524"/>
                  </a:cubicBezTo>
                  <a:cubicBezTo>
                    <a:pt x="2918936" y="374809"/>
                    <a:pt x="2916079" y="368141"/>
                    <a:pt x="2913221" y="362426"/>
                  </a:cubicBezTo>
                  <a:cubicBezTo>
                    <a:pt x="2914174" y="358616"/>
                    <a:pt x="2916079" y="355759"/>
                    <a:pt x="2917984" y="351949"/>
                  </a:cubicBezTo>
                  <a:close/>
                  <a:moveTo>
                    <a:pt x="2904649" y="224314"/>
                  </a:moveTo>
                  <a:cubicBezTo>
                    <a:pt x="2904649" y="224314"/>
                    <a:pt x="2904649" y="224314"/>
                    <a:pt x="2904649" y="224314"/>
                  </a:cubicBezTo>
                  <a:cubicBezTo>
                    <a:pt x="2904649" y="228124"/>
                    <a:pt x="2903696" y="232886"/>
                    <a:pt x="2903696" y="237649"/>
                  </a:cubicBezTo>
                  <a:cubicBezTo>
                    <a:pt x="2903696" y="241459"/>
                    <a:pt x="2902744" y="245269"/>
                    <a:pt x="2902744" y="250031"/>
                  </a:cubicBezTo>
                  <a:cubicBezTo>
                    <a:pt x="2901791" y="245269"/>
                    <a:pt x="2901791" y="240506"/>
                    <a:pt x="2900839" y="235744"/>
                  </a:cubicBezTo>
                  <a:cubicBezTo>
                    <a:pt x="2901791" y="231934"/>
                    <a:pt x="2902744" y="228124"/>
                    <a:pt x="2904649" y="224314"/>
                  </a:cubicBezTo>
                  <a:close/>
                  <a:moveTo>
                    <a:pt x="2885599" y="294799"/>
                  </a:moveTo>
                  <a:cubicBezTo>
                    <a:pt x="2886551" y="290036"/>
                    <a:pt x="2887504" y="285274"/>
                    <a:pt x="2888456" y="280511"/>
                  </a:cubicBezTo>
                  <a:cubicBezTo>
                    <a:pt x="2888456" y="289084"/>
                    <a:pt x="2889409" y="298609"/>
                    <a:pt x="2889409" y="308134"/>
                  </a:cubicBezTo>
                  <a:cubicBezTo>
                    <a:pt x="2887504" y="304324"/>
                    <a:pt x="2886551" y="301466"/>
                    <a:pt x="2884646" y="297656"/>
                  </a:cubicBezTo>
                  <a:cubicBezTo>
                    <a:pt x="2884646" y="296704"/>
                    <a:pt x="2885599" y="295751"/>
                    <a:pt x="2885599" y="294799"/>
                  </a:cubicBezTo>
                  <a:close/>
                  <a:moveTo>
                    <a:pt x="2869406" y="301466"/>
                  </a:moveTo>
                  <a:cubicBezTo>
                    <a:pt x="2869406" y="302419"/>
                    <a:pt x="2869406" y="302419"/>
                    <a:pt x="2869406" y="301466"/>
                  </a:cubicBezTo>
                  <a:cubicBezTo>
                    <a:pt x="2869406" y="302419"/>
                    <a:pt x="2869406" y="302419"/>
                    <a:pt x="2869406" y="302419"/>
                  </a:cubicBezTo>
                  <a:cubicBezTo>
                    <a:pt x="2869406" y="303371"/>
                    <a:pt x="2868454" y="304324"/>
                    <a:pt x="2868454" y="305276"/>
                  </a:cubicBezTo>
                  <a:cubicBezTo>
                    <a:pt x="2864644" y="298609"/>
                    <a:pt x="2860834" y="290989"/>
                    <a:pt x="2856071" y="284321"/>
                  </a:cubicBezTo>
                  <a:cubicBezTo>
                    <a:pt x="2856071" y="283369"/>
                    <a:pt x="2855119" y="283369"/>
                    <a:pt x="2855119" y="282416"/>
                  </a:cubicBezTo>
                  <a:cubicBezTo>
                    <a:pt x="2856071" y="279559"/>
                    <a:pt x="2857024" y="276701"/>
                    <a:pt x="2857976" y="273844"/>
                  </a:cubicBezTo>
                  <a:cubicBezTo>
                    <a:pt x="2861786" y="283369"/>
                    <a:pt x="2865596" y="292894"/>
                    <a:pt x="2869406" y="301466"/>
                  </a:cubicBezTo>
                  <a:close/>
                  <a:moveTo>
                    <a:pt x="2851309" y="262414"/>
                  </a:moveTo>
                  <a:cubicBezTo>
                    <a:pt x="2851309" y="261461"/>
                    <a:pt x="2851309" y="260509"/>
                    <a:pt x="2851309" y="259556"/>
                  </a:cubicBezTo>
                  <a:cubicBezTo>
                    <a:pt x="2852261" y="262414"/>
                    <a:pt x="2853214" y="264319"/>
                    <a:pt x="2855119" y="267176"/>
                  </a:cubicBezTo>
                  <a:cubicBezTo>
                    <a:pt x="2855119" y="268129"/>
                    <a:pt x="2856071" y="268129"/>
                    <a:pt x="2856071" y="269081"/>
                  </a:cubicBezTo>
                  <a:cubicBezTo>
                    <a:pt x="2855119" y="270986"/>
                    <a:pt x="2853214" y="273844"/>
                    <a:pt x="2851309" y="276701"/>
                  </a:cubicBezTo>
                  <a:cubicBezTo>
                    <a:pt x="2851309" y="275749"/>
                    <a:pt x="2850356" y="275749"/>
                    <a:pt x="2850356" y="274796"/>
                  </a:cubicBezTo>
                  <a:cubicBezTo>
                    <a:pt x="2850356" y="270986"/>
                    <a:pt x="2851309" y="267176"/>
                    <a:pt x="2851309" y="262414"/>
                  </a:cubicBezTo>
                  <a:close/>
                  <a:moveTo>
                    <a:pt x="2848451" y="312896"/>
                  </a:moveTo>
                  <a:cubicBezTo>
                    <a:pt x="2848451" y="309086"/>
                    <a:pt x="2848451" y="306229"/>
                    <a:pt x="2848451" y="302419"/>
                  </a:cubicBezTo>
                  <a:cubicBezTo>
                    <a:pt x="2852261" y="310039"/>
                    <a:pt x="2857024" y="318611"/>
                    <a:pt x="2860834" y="327184"/>
                  </a:cubicBezTo>
                  <a:cubicBezTo>
                    <a:pt x="2858929" y="332899"/>
                    <a:pt x="2857024" y="338614"/>
                    <a:pt x="2856071" y="344329"/>
                  </a:cubicBezTo>
                  <a:cubicBezTo>
                    <a:pt x="2855119" y="348139"/>
                    <a:pt x="2854166" y="351949"/>
                    <a:pt x="2853214" y="355759"/>
                  </a:cubicBezTo>
                  <a:cubicBezTo>
                    <a:pt x="2852261" y="350996"/>
                    <a:pt x="2852261" y="346234"/>
                    <a:pt x="2851309" y="341471"/>
                  </a:cubicBezTo>
                  <a:cubicBezTo>
                    <a:pt x="2850356" y="332899"/>
                    <a:pt x="2849404" y="324326"/>
                    <a:pt x="2847499" y="316706"/>
                  </a:cubicBezTo>
                  <a:cubicBezTo>
                    <a:pt x="2848451" y="315754"/>
                    <a:pt x="2848451" y="313849"/>
                    <a:pt x="2848451" y="312896"/>
                  </a:cubicBezTo>
                  <a:close/>
                  <a:moveTo>
                    <a:pt x="2836069" y="226219"/>
                  </a:moveTo>
                  <a:cubicBezTo>
                    <a:pt x="2839879" y="234791"/>
                    <a:pt x="2843689" y="243364"/>
                    <a:pt x="2847499" y="251936"/>
                  </a:cubicBezTo>
                  <a:cubicBezTo>
                    <a:pt x="2846546" y="254794"/>
                    <a:pt x="2845594" y="257651"/>
                    <a:pt x="2844641" y="261461"/>
                  </a:cubicBezTo>
                  <a:cubicBezTo>
                    <a:pt x="2844641" y="262414"/>
                    <a:pt x="2843689" y="264319"/>
                    <a:pt x="2843689" y="266224"/>
                  </a:cubicBezTo>
                  <a:cubicBezTo>
                    <a:pt x="2841784" y="263366"/>
                    <a:pt x="2840831" y="261461"/>
                    <a:pt x="2838926" y="258604"/>
                  </a:cubicBezTo>
                  <a:cubicBezTo>
                    <a:pt x="2837974" y="249079"/>
                    <a:pt x="2836069" y="238601"/>
                    <a:pt x="2834164" y="229076"/>
                  </a:cubicBezTo>
                  <a:cubicBezTo>
                    <a:pt x="2836069" y="228124"/>
                    <a:pt x="2836069" y="227171"/>
                    <a:pt x="2836069" y="226219"/>
                  </a:cubicBezTo>
                  <a:close/>
                  <a:moveTo>
                    <a:pt x="2830354" y="305276"/>
                  </a:moveTo>
                  <a:cubicBezTo>
                    <a:pt x="2830354" y="308134"/>
                    <a:pt x="2830354" y="310039"/>
                    <a:pt x="2831306" y="312896"/>
                  </a:cubicBezTo>
                  <a:cubicBezTo>
                    <a:pt x="2831306" y="312896"/>
                    <a:pt x="2831306" y="312896"/>
                    <a:pt x="2831306" y="313849"/>
                  </a:cubicBezTo>
                  <a:cubicBezTo>
                    <a:pt x="2831306" y="311944"/>
                    <a:pt x="2831306" y="310039"/>
                    <a:pt x="2830354" y="308134"/>
                  </a:cubicBezTo>
                  <a:cubicBezTo>
                    <a:pt x="2830354" y="307181"/>
                    <a:pt x="2830354" y="306229"/>
                    <a:pt x="2830354" y="305276"/>
                  </a:cubicBezTo>
                  <a:close/>
                  <a:moveTo>
                    <a:pt x="2829401" y="292894"/>
                  </a:moveTo>
                  <a:cubicBezTo>
                    <a:pt x="2829401" y="294799"/>
                    <a:pt x="2829401" y="296704"/>
                    <a:pt x="2830354" y="299561"/>
                  </a:cubicBezTo>
                  <a:cubicBezTo>
                    <a:pt x="2830354" y="300514"/>
                    <a:pt x="2830354" y="300514"/>
                    <a:pt x="2829401" y="301466"/>
                  </a:cubicBezTo>
                  <a:cubicBezTo>
                    <a:pt x="2829401" y="300514"/>
                    <a:pt x="2829401" y="300514"/>
                    <a:pt x="2829401" y="299561"/>
                  </a:cubicBezTo>
                  <a:cubicBezTo>
                    <a:pt x="2828449" y="296704"/>
                    <a:pt x="2828449" y="294799"/>
                    <a:pt x="2829401" y="292894"/>
                  </a:cubicBezTo>
                  <a:close/>
                  <a:moveTo>
                    <a:pt x="2785586" y="268129"/>
                  </a:moveTo>
                  <a:cubicBezTo>
                    <a:pt x="2784634" y="269081"/>
                    <a:pt x="2783681" y="270034"/>
                    <a:pt x="2782729" y="271939"/>
                  </a:cubicBezTo>
                  <a:cubicBezTo>
                    <a:pt x="2782729" y="270986"/>
                    <a:pt x="2782729" y="270034"/>
                    <a:pt x="2782729" y="269081"/>
                  </a:cubicBezTo>
                  <a:cubicBezTo>
                    <a:pt x="2782729" y="268129"/>
                    <a:pt x="2782729" y="266224"/>
                    <a:pt x="2782729" y="265271"/>
                  </a:cubicBezTo>
                  <a:cubicBezTo>
                    <a:pt x="2783681" y="263366"/>
                    <a:pt x="2785586" y="260509"/>
                    <a:pt x="2786539" y="258604"/>
                  </a:cubicBezTo>
                  <a:cubicBezTo>
                    <a:pt x="2786539" y="259556"/>
                    <a:pt x="2786539" y="259556"/>
                    <a:pt x="2786539" y="260509"/>
                  </a:cubicBezTo>
                  <a:cubicBezTo>
                    <a:pt x="2785586" y="262414"/>
                    <a:pt x="2785586" y="265271"/>
                    <a:pt x="2785586" y="268129"/>
                  </a:cubicBezTo>
                  <a:close/>
                  <a:moveTo>
                    <a:pt x="2796064" y="268129"/>
                  </a:moveTo>
                  <a:cubicBezTo>
                    <a:pt x="2796064" y="267176"/>
                    <a:pt x="2796064" y="267176"/>
                    <a:pt x="2796064" y="268129"/>
                  </a:cubicBezTo>
                  <a:cubicBezTo>
                    <a:pt x="2797016" y="266224"/>
                    <a:pt x="2797969" y="264319"/>
                    <a:pt x="2798921" y="263366"/>
                  </a:cubicBezTo>
                  <a:cubicBezTo>
                    <a:pt x="2797969" y="264319"/>
                    <a:pt x="2797016" y="266224"/>
                    <a:pt x="2796064" y="268129"/>
                  </a:cubicBezTo>
                  <a:close/>
                  <a:moveTo>
                    <a:pt x="2803684" y="314801"/>
                  </a:moveTo>
                  <a:cubicBezTo>
                    <a:pt x="2803684" y="315754"/>
                    <a:pt x="2802731" y="317659"/>
                    <a:pt x="2802731" y="318611"/>
                  </a:cubicBezTo>
                  <a:cubicBezTo>
                    <a:pt x="2802731" y="320516"/>
                    <a:pt x="2801779" y="322421"/>
                    <a:pt x="2801779" y="325279"/>
                  </a:cubicBezTo>
                  <a:cubicBezTo>
                    <a:pt x="2800826" y="322421"/>
                    <a:pt x="2799874" y="320516"/>
                    <a:pt x="2798921" y="317659"/>
                  </a:cubicBezTo>
                  <a:cubicBezTo>
                    <a:pt x="2798921" y="316706"/>
                    <a:pt x="2798921" y="316706"/>
                    <a:pt x="2798921" y="315754"/>
                  </a:cubicBezTo>
                  <a:cubicBezTo>
                    <a:pt x="2798921" y="315754"/>
                    <a:pt x="2798921" y="315754"/>
                    <a:pt x="2798921" y="315754"/>
                  </a:cubicBezTo>
                  <a:cubicBezTo>
                    <a:pt x="2799874" y="311944"/>
                    <a:pt x="2800826" y="308134"/>
                    <a:pt x="2801779" y="304324"/>
                  </a:cubicBezTo>
                  <a:cubicBezTo>
                    <a:pt x="2802731" y="307181"/>
                    <a:pt x="2802731" y="310039"/>
                    <a:pt x="2803684" y="312896"/>
                  </a:cubicBezTo>
                  <a:cubicBezTo>
                    <a:pt x="2803684" y="313849"/>
                    <a:pt x="2803684" y="313849"/>
                    <a:pt x="2803684" y="314801"/>
                  </a:cubicBezTo>
                  <a:close/>
                  <a:moveTo>
                    <a:pt x="2810351" y="280511"/>
                  </a:moveTo>
                  <a:cubicBezTo>
                    <a:pt x="2808446" y="287179"/>
                    <a:pt x="2807494" y="294799"/>
                    <a:pt x="2805589" y="302419"/>
                  </a:cubicBezTo>
                  <a:cubicBezTo>
                    <a:pt x="2804636" y="301466"/>
                    <a:pt x="2804636" y="299561"/>
                    <a:pt x="2803684" y="298609"/>
                  </a:cubicBezTo>
                  <a:cubicBezTo>
                    <a:pt x="2803684" y="297656"/>
                    <a:pt x="2803684" y="297656"/>
                    <a:pt x="2802731" y="296704"/>
                  </a:cubicBezTo>
                  <a:cubicBezTo>
                    <a:pt x="2803684" y="292894"/>
                    <a:pt x="2804636" y="290036"/>
                    <a:pt x="2805589" y="287179"/>
                  </a:cubicBezTo>
                  <a:cubicBezTo>
                    <a:pt x="2806541" y="284321"/>
                    <a:pt x="2808446" y="280511"/>
                    <a:pt x="2809399" y="277654"/>
                  </a:cubicBezTo>
                  <a:cubicBezTo>
                    <a:pt x="2809399" y="276701"/>
                    <a:pt x="2810351" y="275749"/>
                    <a:pt x="2810351" y="275749"/>
                  </a:cubicBezTo>
                  <a:cubicBezTo>
                    <a:pt x="2811304" y="276701"/>
                    <a:pt x="2810351" y="278606"/>
                    <a:pt x="2810351" y="280511"/>
                  </a:cubicBezTo>
                  <a:close/>
                  <a:moveTo>
                    <a:pt x="2811304" y="276701"/>
                  </a:moveTo>
                  <a:cubicBezTo>
                    <a:pt x="2811304" y="275749"/>
                    <a:pt x="2811304" y="275749"/>
                    <a:pt x="2811304" y="274796"/>
                  </a:cubicBezTo>
                  <a:cubicBezTo>
                    <a:pt x="2812256" y="273844"/>
                    <a:pt x="2812256" y="271939"/>
                    <a:pt x="2813209" y="270986"/>
                  </a:cubicBezTo>
                  <a:cubicBezTo>
                    <a:pt x="2812256" y="272891"/>
                    <a:pt x="2812256" y="274796"/>
                    <a:pt x="2811304" y="276701"/>
                  </a:cubicBezTo>
                  <a:close/>
                  <a:moveTo>
                    <a:pt x="2812256" y="236696"/>
                  </a:moveTo>
                  <a:cubicBezTo>
                    <a:pt x="2810351" y="239554"/>
                    <a:pt x="2808446" y="243364"/>
                    <a:pt x="2806541" y="246221"/>
                  </a:cubicBezTo>
                  <a:cubicBezTo>
                    <a:pt x="2804636" y="248126"/>
                    <a:pt x="2802731" y="250031"/>
                    <a:pt x="2799874" y="251936"/>
                  </a:cubicBezTo>
                  <a:cubicBezTo>
                    <a:pt x="2797969" y="253841"/>
                    <a:pt x="2796064" y="255746"/>
                    <a:pt x="2794159" y="257651"/>
                  </a:cubicBezTo>
                  <a:cubicBezTo>
                    <a:pt x="2793206" y="252889"/>
                    <a:pt x="2792254" y="249079"/>
                    <a:pt x="2792254" y="245269"/>
                  </a:cubicBezTo>
                  <a:cubicBezTo>
                    <a:pt x="2793206" y="242411"/>
                    <a:pt x="2795111" y="240506"/>
                    <a:pt x="2796064" y="238601"/>
                  </a:cubicBezTo>
                  <a:cubicBezTo>
                    <a:pt x="2799874" y="231934"/>
                    <a:pt x="2802731" y="227171"/>
                    <a:pt x="2804636" y="224314"/>
                  </a:cubicBezTo>
                  <a:cubicBezTo>
                    <a:pt x="2807494" y="228124"/>
                    <a:pt x="2809399" y="232886"/>
                    <a:pt x="2812256" y="236696"/>
                  </a:cubicBezTo>
                  <a:close/>
                  <a:moveTo>
                    <a:pt x="2804636" y="223361"/>
                  </a:moveTo>
                  <a:cubicBezTo>
                    <a:pt x="2802731" y="225266"/>
                    <a:pt x="2798921" y="229076"/>
                    <a:pt x="2794159" y="235744"/>
                  </a:cubicBezTo>
                  <a:cubicBezTo>
                    <a:pt x="2793206" y="236696"/>
                    <a:pt x="2793206" y="237649"/>
                    <a:pt x="2792254" y="238601"/>
                  </a:cubicBezTo>
                  <a:cubicBezTo>
                    <a:pt x="2792254" y="238601"/>
                    <a:pt x="2792254" y="238601"/>
                    <a:pt x="2792254" y="238601"/>
                  </a:cubicBezTo>
                  <a:cubicBezTo>
                    <a:pt x="2794159" y="235744"/>
                    <a:pt x="2795111" y="232886"/>
                    <a:pt x="2796064" y="230981"/>
                  </a:cubicBezTo>
                  <a:cubicBezTo>
                    <a:pt x="2797969" y="226219"/>
                    <a:pt x="2800826" y="222409"/>
                    <a:pt x="2801779" y="219551"/>
                  </a:cubicBezTo>
                  <a:cubicBezTo>
                    <a:pt x="2802731" y="220504"/>
                    <a:pt x="2803684" y="222409"/>
                    <a:pt x="2804636" y="223361"/>
                  </a:cubicBezTo>
                  <a:close/>
                  <a:moveTo>
                    <a:pt x="2787491" y="196691"/>
                  </a:moveTo>
                  <a:cubicBezTo>
                    <a:pt x="2792254" y="203359"/>
                    <a:pt x="2796064" y="210026"/>
                    <a:pt x="2800826" y="217646"/>
                  </a:cubicBezTo>
                  <a:cubicBezTo>
                    <a:pt x="2798921" y="220504"/>
                    <a:pt x="2796064" y="224314"/>
                    <a:pt x="2792254" y="228124"/>
                  </a:cubicBezTo>
                  <a:cubicBezTo>
                    <a:pt x="2791301" y="229076"/>
                    <a:pt x="2790349" y="230029"/>
                    <a:pt x="2790349" y="230981"/>
                  </a:cubicBezTo>
                  <a:cubicBezTo>
                    <a:pt x="2789396" y="226219"/>
                    <a:pt x="2788444" y="222409"/>
                    <a:pt x="2787491" y="218599"/>
                  </a:cubicBezTo>
                  <a:cubicBezTo>
                    <a:pt x="2783681" y="205264"/>
                    <a:pt x="2781776" y="196691"/>
                    <a:pt x="2781776" y="196691"/>
                  </a:cubicBezTo>
                  <a:cubicBezTo>
                    <a:pt x="2781776" y="196691"/>
                    <a:pt x="2782729" y="204311"/>
                    <a:pt x="2783681" y="218599"/>
                  </a:cubicBezTo>
                  <a:cubicBezTo>
                    <a:pt x="2784634" y="224314"/>
                    <a:pt x="2784634" y="230981"/>
                    <a:pt x="2784634" y="237649"/>
                  </a:cubicBezTo>
                  <a:cubicBezTo>
                    <a:pt x="2783681" y="239554"/>
                    <a:pt x="2781776" y="241459"/>
                    <a:pt x="2780824" y="243364"/>
                  </a:cubicBezTo>
                  <a:cubicBezTo>
                    <a:pt x="2779871" y="227171"/>
                    <a:pt x="2779871" y="213836"/>
                    <a:pt x="2778919" y="204311"/>
                  </a:cubicBezTo>
                  <a:cubicBezTo>
                    <a:pt x="2777966" y="192881"/>
                    <a:pt x="2777966" y="186214"/>
                    <a:pt x="2777966" y="186214"/>
                  </a:cubicBezTo>
                  <a:cubicBezTo>
                    <a:pt x="2777966" y="186214"/>
                    <a:pt x="2777014" y="192881"/>
                    <a:pt x="2775109" y="204311"/>
                  </a:cubicBezTo>
                  <a:cubicBezTo>
                    <a:pt x="2775109" y="207169"/>
                    <a:pt x="2774156" y="210979"/>
                    <a:pt x="2774156" y="214789"/>
                  </a:cubicBezTo>
                  <a:cubicBezTo>
                    <a:pt x="2773204" y="206216"/>
                    <a:pt x="2772251" y="198596"/>
                    <a:pt x="2770346" y="190976"/>
                  </a:cubicBezTo>
                  <a:cubicBezTo>
                    <a:pt x="2770346" y="190024"/>
                    <a:pt x="2770346" y="190024"/>
                    <a:pt x="2770346" y="189071"/>
                  </a:cubicBezTo>
                  <a:cubicBezTo>
                    <a:pt x="2770346" y="188119"/>
                    <a:pt x="2770346" y="186214"/>
                    <a:pt x="2770346" y="185261"/>
                  </a:cubicBezTo>
                  <a:cubicBezTo>
                    <a:pt x="2769394" y="174784"/>
                    <a:pt x="2768441" y="168116"/>
                    <a:pt x="2768441" y="166211"/>
                  </a:cubicBezTo>
                  <a:cubicBezTo>
                    <a:pt x="2774156" y="174784"/>
                    <a:pt x="2779871" y="185261"/>
                    <a:pt x="2787491" y="196691"/>
                  </a:cubicBezTo>
                  <a:close/>
                  <a:moveTo>
                    <a:pt x="2767489" y="167164"/>
                  </a:moveTo>
                  <a:cubicBezTo>
                    <a:pt x="2767489" y="168116"/>
                    <a:pt x="2767489" y="169069"/>
                    <a:pt x="2767489" y="170974"/>
                  </a:cubicBezTo>
                  <a:cubicBezTo>
                    <a:pt x="2767489" y="169069"/>
                    <a:pt x="2767489" y="168116"/>
                    <a:pt x="2766536" y="166211"/>
                  </a:cubicBezTo>
                  <a:cubicBezTo>
                    <a:pt x="2767489" y="166211"/>
                    <a:pt x="2767489" y="166211"/>
                    <a:pt x="2767489" y="167164"/>
                  </a:cubicBezTo>
                  <a:close/>
                  <a:moveTo>
                    <a:pt x="2757964" y="342424"/>
                  </a:moveTo>
                  <a:cubicBezTo>
                    <a:pt x="2757011" y="340519"/>
                    <a:pt x="2756059" y="338614"/>
                    <a:pt x="2755106" y="336709"/>
                  </a:cubicBezTo>
                  <a:cubicBezTo>
                    <a:pt x="2756059" y="333851"/>
                    <a:pt x="2757964" y="331946"/>
                    <a:pt x="2758916" y="329089"/>
                  </a:cubicBezTo>
                  <a:cubicBezTo>
                    <a:pt x="2759869" y="330041"/>
                    <a:pt x="2759869" y="331946"/>
                    <a:pt x="2760821" y="332899"/>
                  </a:cubicBezTo>
                  <a:cubicBezTo>
                    <a:pt x="2759869" y="336709"/>
                    <a:pt x="2758916" y="339566"/>
                    <a:pt x="2757964" y="342424"/>
                  </a:cubicBezTo>
                  <a:close/>
                  <a:moveTo>
                    <a:pt x="2762726" y="327184"/>
                  </a:moveTo>
                  <a:cubicBezTo>
                    <a:pt x="2762726" y="328136"/>
                    <a:pt x="2761774" y="329089"/>
                    <a:pt x="2761774" y="330994"/>
                  </a:cubicBezTo>
                  <a:cubicBezTo>
                    <a:pt x="2760821" y="330041"/>
                    <a:pt x="2760821" y="329089"/>
                    <a:pt x="2759869" y="328136"/>
                  </a:cubicBezTo>
                  <a:cubicBezTo>
                    <a:pt x="2760821" y="327184"/>
                    <a:pt x="2760821" y="325279"/>
                    <a:pt x="2761774" y="324326"/>
                  </a:cubicBezTo>
                  <a:cubicBezTo>
                    <a:pt x="2762726" y="325279"/>
                    <a:pt x="2762726" y="326231"/>
                    <a:pt x="2762726" y="327184"/>
                  </a:cubicBezTo>
                  <a:cubicBezTo>
                    <a:pt x="2762726" y="327184"/>
                    <a:pt x="2762726" y="327184"/>
                    <a:pt x="2762726" y="327184"/>
                  </a:cubicBezTo>
                  <a:close/>
                  <a:moveTo>
                    <a:pt x="2762726" y="250031"/>
                  </a:moveTo>
                  <a:cubicBezTo>
                    <a:pt x="2762726" y="256699"/>
                    <a:pt x="2762726" y="263366"/>
                    <a:pt x="2762726" y="270034"/>
                  </a:cubicBezTo>
                  <a:cubicBezTo>
                    <a:pt x="2759869" y="273844"/>
                    <a:pt x="2757011" y="278606"/>
                    <a:pt x="2754154" y="282416"/>
                  </a:cubicBezTo>
                  <a:cubicBezTo>
                    <a:pt x="2754154" y="283369"/>
                    <a:pt x="2753201" y="283369"/>
                    <a:pt x="2753201" y="284321"/>
                  </a:cubicBezTo>
                  <a:cubicBezTo>
                    <a:pt x="2753201" y="283369"/>
                    <a:pt x="2752249" y="283369"/>
                    <a:pt x="2752249" y="282416"/>
                  </a:cubicBezTo>
                  <a:cubicBezTo>
                    <a:pt x="2752249" y="281464"/>
                    <a:pt x="2753201" y="280511"/>
                    <a:pt x="2753201" y="278606"/>
                  </a:cubicBezTo>
                  <a:cubicBezTo>
                    <a:pt x="2754154" y="274796"/>
                    <a:pt x="2755106" y="270986"/>
                    <a:pt x="2756059" y="267176"/>
                  </a:cubicBezTo>
                  <a:cubicBezTo>
                    <a:pt x="2757964" y="260509"/>
                    <a:pt x="2759869" y="255746"/>
                    <a:pt x="2761774" y="251936"/>
                  </a:cubicBezTo>
                  <a:cubicBezTo>
                    <a:pt x="2761774" y="251936"/>
                    <a:pt x="2761774" y="250031"/>
                    <a:pt x="2762726" y="250031"/>
                  </a:cubicBezTo>
                  <a:cubicBezTo>
                    <a:pt x="2762726" y="250031"/>
                    <a:pt x="2762726" y="250031"/>
                    <a:pt x="2762726" y="250031"/>
                  </a:cubicBezTo>
                  <a:close/>
                  <a:moveTo>
                    <a:pt x="2753201" y="250031"/>
                  </a:moveTo>
                  <a:cubicBezTo>
                    <a:pt x="2755106" y="242411"/>
                    <a:pt x="2756059" y="236696"/>
                    <a:pt x="2757011" y="230981"/>
                  </a:cubicBezTo>
                  <a:cubicBezTo>
                    <a:pt x="2758916" y="236696"/>
                    <a:pt x="2760821" y="242411"/>
                    <a:pt x="2762726" y="249079"/>
                  </a:cubicBezTo>
                  <a:cubicBezTo>
                    <a:pt x="2761774" y="250031"/>
                    <a:pt x="2761774" y="250984"/>
                    <a:pt x="2760821" y="252889"/>
                  </a:cubicBezTo>
                  <a:cubicBezTo>
                    <a:pt x="2758916" y="255746"/>
                    <a:pt x="2756059" y="260509"/>
                    <a:pt x="2752249" y="267176"/>
                  </a:cubicBezTo>
                  <a:cubicBezTo>
                    <a:pt x="2750344" y="270034"/>
                    <a:pt x="2749391" y="272891"/>
                    <a:pt x="2748439" y="275749"/>
                  </a:cubicBezTo>
                  <a:cubicBezTo>
                    <a:pt x="2748439" y="275749"/>
                    <a:pt x="2748439" y="274796"/>
                    <a:pt x="2747486" y="274796"/>
                  </a:cubicBezTo>
                  <a:cubicBezTo>
                    <a:pt x="2749391" y="265271"/>
                    <a:pt x="2751296" y="256699"/>
                    <a:pt x="2753201" y="250031"/>
                  </a:cubicBezTo>
                  <a:close/>
                  <a:moveTo>
                    <a:pt x="2749391" y="362426"/>
                  </a:moveTo>
                  <a:cubicBezTo>
                    <a:pt x="2748439" y="360521"/>
                    <a:pt x="2747486" y="359569"/>
                    <a:pt x="2746534" y="357664"/>
                  </a:cubicBezTo>
                  <a:cubicBezTo>
                    <a:pt x="2746534" y="356711"/>
                    <a:pt x="2746534" y="355759"/>
                    <a:pt x="2746534" y="354806"/>
                  </a:cubicBezTo>
                  <a:cubicBezTo>
                    <a:pt x="2747486" y="356711"/>
                    <a:pt x="2748439" y="359569"/>
                    <a:pt x="2749391" y="362426"/>
                  </a:cubicBezTo>
                  <a:close/>
                  <a:moveTo>
                    <a:pt x="2734151" y="258604"/>
                  </a:moveTo>
                  <a:cubicBezTo>
                    <a:pt x="2736056" y="262414"/>
                    <a:pt x="2737961" y="268129"/>
                    <a:pt x="2740819" y="273844"/>
                  </a:cubicBezTo>
                  <a:cubicBezTo>
                    <a:pt x="2738914" y="278606"/>
                    <a:pt x="2737009" y="284321"/>
                    <a:pt x="2735104" y="290036"/>
                  </a:cubicBezTo>
                  <a:cubicBezTo>
                    <a:pt x="2735104" y="288131"/>
                    <a:pt x="2734151" y="287179"/>
                    <a:pt x="2734151" y="287179"/>
                  </a:cubicBezTo>
                  <a:cubicBezTo>
                    <a:pt x="2734151" y="287179"/>
                    <a:pt x="2734151" y="289084"/>
                    <a:pt x="2734151" y="291941"/>
                  </a:cubicBezTo>
                  <a:cubicBezTo>
                    <a:pt x="2734151" y="291941"/>
                    <a:pt x="2734151" y="291941"/>
                    <a:pt x="2734151" y="291941"/>
                  </a:cubicBezTo>
                  <a:cubicBezTo>
                    <a:pt x="2733199" y="290989"/>
                    <a:pt x="2733199" y="290036"/>
                    <a:pt x="2732246" y="289084"/>
                  </a:cubicBezTo>
                  <a:cubicBezTo>
                    <a:pt x="2732246" y="288131"/>
                    <a:pt x="2731294" y="287179"/>
                    <a:pt x="2731294" y="286226"/>
                  </a:cubicBezTo>
                  <a:cubicBezTo>
                    <a:pt x="2733199" y="275749"/>
                    <a:pt x="2734151" y="266224"/>
                    <a:pt x="2734151" y="258604"/>
                  </a:cubicBezTo>
                  <a:close/>
                  <a:moveTo>
                    <a:pt x="2715101" y="290989"/>
                  </a:moveTo>
                  <a:cubicBezTo>
                    <a:pt x="2715101" y="284321"/>
                    <a:pt x="2715101" y="278606"/>
                    <a:pt x="2716054" y="273844"/>
                  </a:cubicBezTo>
                  <a:cubicBezTo>
                    <a:pt x="2717006" y="274796"/>
                    <a:pt x="2717006" y="276701"/>
                    <a:pt x="2717959" y="278606"/>
                  </a:cubicBezTo>
                  <a:cubicBezTo>
                    <a:pt x="2717006" y="287179"/>
                    <a:pt x="2717006" y="295751"/>
                    <a:pt x="2716054" y="304324"/>
                  </a:cubicBezTo>
                  <a:cubicBezTo>
                    <a:pt x="2716054" y="304324"/>
                    <a:pt x="2715101" y="303371"/>
                    <a:pt x="2715101" y="303371"/>
                  </a:cubicBezTo>
                  <a:cubicBezTo>
                    <a:pt x="2714149" y="298609"/>
                    <a:pt x="2715101" y="294799"/>
                    <a:pt x="2715101" y="290989"/>
                  </a:cubicBezTo>
                  <a:close/>
                  <a:moveTo>
                    <a:pt x="2705576" y="243364"/>
                  </a:moveTo>
                  <a:cubicBezTo>
                    <a:pt x="2705576" y="244316"/>
                    <a:pt x="2705576" y="246221"/>
                    <a:pt x="2704624" y="247174"/>
                  </a:cubicBezTo>
                  <a:lnTo>
                    <a:pt x="2703671" y="238601"/>
                  </a:lnTo>
                  <a:cubicBezTo>
                    <a:pt x="2704624" y="239554"/>
                    <a:pt x="2705576" y="241459"/>
                    <a:pt x="2705576" y="243364"/>
                  </a:cubicBezTo>
                  <a:close/>
                  <a:moveTo>
                    <a:pt x="2697956" y="312896"/>
                  </a:moveTo>
                  <a:cubicBezTo>
                    <a:pt x="2697956" y="312896"/>
                    <a:pt x="2697956" y="313849"/>
                    <a:pt x="2697956" y="313849"/>
                  </a:cubicBezTo>
                  <a:cubicBezTo>
                    <a:pt x="2697956" y="312896"/>
                    <a:pt x="2697956" y="311944"/>
                    <a:pt x="2697956" y="310991"/>
                  </a:cubicBezTo>
                  <a:lnTo>
                    <a:pt x="2697956" y="312896"/>
                  </a:lnTo>
                  <a:close/>
                  <a:moveTo>
                    <a:pt x="2664619" y="234791"/>
                  </a:moveTo>
                  <a:cubicBezTo>
                    <a:pt x="2665571" y="235744"/>
                    <a:pt x="2665571" y="237649"/>
                    <a:pt x="2666524" y="238601"/>
                  </a:cubicBezTo>
                  <a:cubicBezTo>
                    <a:pt x="2668429" y="253841"/>
                    <a:pt x="2670334" y="270034"/>
                    <a:pt x="2673191" y="287179"/>
                  </a:cubicBezTo>
                  <a:cubicBezTo>
                    <a:pt x="2672239" y="284321"/>
                    <a:pt x="2671286" y="282416"/>
                    <a:pt x="2670334" y="279559"/>
                  </a:cubicBezTo>
                  <a:cubicBezTo>
                    <a:pt x="2670334" y="279559"/>
                    <a:pt x="2670334" y="278606"/>
                    <a:pt x="2670334" y="278606"/>
                  </a:cubicBezTo>
                  <a:cubicBezTo>
                    <a:pt x="2670334" y="276701"/>
                    <a:pt x="2671286" y="276701"/>
                    <a:pt x="2671286" y="276701"/>
                  </a:cubicBezTo>
                  <a:cubicBezTo>
                    <a:pt x="2671286" y="276701"/>
                    <a:pt x="2671286" y="277654"/>
                    <a:pt x="2670334" y="278606"/>
                  </a:cubicBezTo>
                  <a:cubicBezTo>
                    <a:pt x="2669381" y="266224"/>
                    <a:pt x="2667476" y="255746"/>
                    <a:pt x="2664619" y="246221"/>
                  </a:cubicBezTo>
                  <a:cubicBezTo>
                    <a:pt x="2664619" y="244316"/>
                    <a:pt x="2663666" y="242411"/>
                    <a:pt x="2663666" y="240506"/>
                  </a:cubicBezTo>
                  <a:cubicBezTo>
                    <a:pt x="2663666" y="238601"/>
                    <a:pt x="2663666" y="236696"/>
                    <a:pt x="2664619" y="234791"/>
                  </a:cubicBezTo>
                  <a:close/>
                  <a:moveTo>
                    <a:pt x="2657951" y="339566"/>
                  </a:moveTo>
                  <a:cubicBezTo>
                    <a:pt x="2656999" y="338614"/>
                    <a:pt x="2656999" y="337661"/>
                    <a:pt x="2656046" y="336709"/>
                  </a:cubicBezTo>
                  <a:cubicBezTo>
                    <a:pt x="2656999" y="332899"/>
                    <a:pt x="2656999" y="329089"/>
                    <a:pt x="2657951" y="325279"/>
                  </a:cubicBezTo>
                  <a:cubicBezTo>
                    <a:pt x="2658904" y="330041"/>
                    <a:pt x="2657951" y="334804"/>
                    <a:pt x="2657951" y="339566"/>
                  </a:cubicBezTo>
                  <a:close/>
                  <a:moveTo>
                    <a:pt x="2654141" y="277654"/>
                  </a:moveTo>
                  <a:cubicBezTo>
                    <a:pt x="2656046" y="284321"/>
                    <a:pt x="2657951" y="291941"/>
                    <a:pt x="2659856" y="298609"/>
                  </a:cubicBezTo>
                  <a:cubicBezTo>
                    <a:pt x="2659856" y="298609"/>
                    <a:pt x="2659856" y="299561"/>
                    <a:pt x="2659856" y="299561"/>
                  </a:cubicBezTo>
                  <a:cubicBezTo>
                    <a:pt x="2657951" y="304324"/>
                    <a:pt x="2656046" y="310039"/>
                    <a:pt x="2653189" y="316706"/>
                  </a:cubicBezTo>
                  <a:cubicBezTo>
                    <a:pt x="2653189" y="317659"/>
                    <a:pt x="2652236" y="318611"/>
                    <a:pt x="2652236" y="319564"/>
                  </a:cubicBezTo>
                  <a:cubicBezTo>
                    <a:pt x="2651284" y="316706"/>
                    <a:pt x="2651284" y="313849"/>
                    <a:pt x="2650331" y="311944"/>
                  </a:cubicBezTo>
                  <a:cubicBezTo>
                    <a:pt x="2649379" y="308134"/>
                    <a:pt x="2648426" y="305276"/>
                    <a:pt x="2647474" y="301466"/>
                  </a:cubicBezTo>
                  <a:cubicBezTo>
                    <a:pt x="2649379" y="293846"/>
                    <a:pt x="2651284" y="286226"/>
                    <a:pt x="2654141" y="277654"/>
                  </a:cubicBezTo>
                  <a:close/>
                  <a:moveTo>
                    <a:pt x="2633186" y="283369"/>
                  </a:moveTo>
                  <a:cubicBezTo>
                    <a:pt x="2633186" y="284321"/>
                    <a:pt x="2633186" y="284321"/>
                    <a:pt x="2633186" y="285274"/>
                  </a:cubicBezTo>
                  <a:cubicBezTo>
                    <a:pt x="2633186" y="285274"/>
                    <a:pt x="2633186" y="286226"/>
                    <a:pt x="2633186" y="286226"/>
                  </a:cubicBezTo>
                  <a:cubicBezTo>
                    <a:pt x="2633186" y="287179"/>
                    <a:pt x="2632234" y="288131"/>
                    <a:pt x="2632234" y="290036"/>
                  </a:cubicBezTo>
                  <a:cubicBezTo>
                    <a:pt x="2633186" y="287179"/>
                    <a:pt x="2633186" y="285274"/>
                    <a:pt x="2633186" y="283369"/>
                  </a:cubicBezTo>
                  <a:close/>
                  <a:moveTo>
                    <a:pt x="2578894" y="242411"/>
                  </a:moveTo>
                  <a:cubicBezTo>
                    <a:pt x="2578894" y="242411"/>
                    <a:pt x="2578894" y="241459"/>
                    <a:pt x="2577941" y="241459"/>
                  </a:cubicBezTo>
                  <a:cubicBezTo>
                    <a:pt x="2578894" y="239554"/>
                    <a:pt x="2579846" y="237649"/>
                    <a:pt x="2580799" y="235744"/>
                  </a:cubicBezTo>
                  <a:cubicBezTo>
                    <a:pt x="2580799" y="235744"/>
                    <a:pt x="2580799" y="235744"/>
                    <a:pt x="2580799" y="235744"/>
                  </a:cubicBezTo>
                  <a:cubicBezTo>
                    <a:pt x="2580799" y="238601"/>
                    <a:pt x="2579846" y="240506"/>
                    <a:pt x="2578894" y="242411"/>
                  </a:cubicBezTo>
                  <a:close/>
                  <a:moveTo>
                    <a:pt x="2597944" y="275749"/>
                  </a:moveTo>
                  <a:cubicBezTo>
                    <a:pt x="2597944" y="275749"/>
                    <a:pt x="2597944" y="274796"/>
                    <a:pt x="2597944" y="274796"/>
                  </a:cubicBezTo>
                  <a:cubicBezTo>
                    <a:pt x="2597944" y="274796"/>
                    <a:pt x="2598896" y="275749"/>
                    <a:pt x="2597944" y="275749"/>
                  </a:cubicBezTo>
                  <a:cubicBezTo>
                    <a:pt x="2598896" y="275749"/>
                    <a:pt x="2597944" y="275749"/>
                    <a:pt x="2597944" y="275749"/>
                  </a:cubicBezTo>
                  <a:close/>
                  <a:moveTo>
                    <a:pt x="2616041" y="309086"/>
                  </a:moveTo>
                  <a:cubicBezTo>
                    <a:pt x="2615089" y="312896"/>
                    <a:pt x="2614136" y="315754"/>
                    <a:pt x="2613184" y="319564"/>
                  </a:cubicBezTo>
                  <a:cubicBezTo>
                    <a:pt x="2613184" y="318611"/>
                    <a:pt x="2613184" y="318611"/>
                    <a:pt x="2613184" y="318611"/>
                  </a:cubicBezTo>
                  <a:cubicBezTo>
                    <a:pt x="2613184" y="318611"/>
                    <a:pt x="2613184" y="319564"/>
                    <a:pt x="2613184" y="319564"/>
                  </a:cubicBezTo>
                  <a:cubicBezTo>
                    <a:pt x="2613184" y="319564"/>
                    <a:pt x="2613184" y="319564"/>
                    <a:pt x="2613184" y="319564"/>
                  </a:cubicBezTo>
                  <a:cubicBezTo>
                    <a:pt x="2609374" y="309086"/>
                    <a:pt x="2604611" y="298609"/>
                    <a:pt x="2600801" y="289084"/>
                  </a:cubicBezTo>
                  <a:cubicBezTo>
                    <a:pt x="2601754" y="287179"/>
                    <a:pt x="2602706" y="284321"/>
                    <a:pt x="2602706" y="282416"/>
                  </a:cubicBezTo>
                  <a:cubicBezTo>
                    <a:pt x="2605564" y="287179"/>
                    <a:pt x="2609374" y="292894"/>
                    <a:pt x="2612231" y="299561"/>
                  </a:cubicBezTo>
                  <a:cubicBezTo>
                    <a:pt x="2613184" y="302419"/>
                    <a:pt x="2615089" y="305276"/>
                    <a:pt x="2616041" y="308134"/>
                  </a:cubicBezTo>
                  <a:lnTo>
                    <a:pt x="2616041" y="309086"/>
                  </a:lnTo>
                  <a:lnTo>
                    <a:pt x="2616041" y="309086"/>
                  </a:lnTo>
                  <a:close/>
                  <a:moveTo>
                    <a:pt x="2604611" y="276701"/>
                  </a:moveTo>
                  <a:cubicBezTo>
                    <a:pt x="2605564" y="272891"/>
                    <a:pt x="2607469" y="270034"/>
                    <a:pt x="2608421" y="267176"/>
                  </a:cubicBezTo>
                  <a:cubicBezTo>
                    <a:pt x="2609374" y="271939"/>
                    <a:pt x="2612231" y="279559"/>
                    <a:pt x="2615089" y="290036"/>
                  </a:cubicBezTo>
                  <a:cubicBezTo>
                    <a:pt x="2611279" y="285274"/>
                    <a:pt x="2608421" y="280511"/>
                    <a:pt x="2604611" y="276701"/>
                  </a:cubicBezTo>
                  <a:close/>
                  <a:moveTo>
                    <a:pt x="2614136" y="276701"/>
                  </a:moveTo>
                  <a:cubicBezTo>
                    <a:pt x="2612231" y="271939"/>
                    <a:pt x="2610326" y="268129"/>
                    <a:pt x="2609374" y="266224"/>
                  </a:cubicBezTo>
                  <a:cubicBezTo>
                    <a:pt x="2610326" y="263366"/>
                    <a:pt x="2611279" y="260509"/>
                    <a:pt x="2612231" y="257651"/>
                  </a:cubicBezTo>
                  <a:cubicBezTo>
                    <a:pt x="2612231" y="263366"/>
                    <a:pt x="2613184" y="270034"/>
                    <a:pt x="2614136" y="276701"/>
                  </a:cubicBezTo>
                  <a:close/>
                  <a:moveTo>
                    <a:pt x="2606516" y="208121"/>
                  </a:moveTo>
                  <a:cubicBezTo>
                    <a:pt x="2607469" y="221456"/>
                    <a:pt x="2609374" y="235744"/>
                    <a:pt x="2611279" y="250984"/>
                  </a:cubicBezTo>
                  <a:cubicBezTo>
                    <a:pt x="2611279" y="250984"/>
                    <a:pt x="2611279" y="251936"/>
                    <a:pt x="2611279" y="251936"/>
                  </a:cubicBezTo>
                  <a:cubicBezTo>
                    <a:pt x="2608421" y="256699"/>
                    <a:pt x="2604611" y="263366"/>
                    <a:pt x="2600801" y="271939"/>
                  </a:cubicBezTo>
                  <a:cubicBezTo>
                    <a:pt x="2599849" y="270034"/>
                    <a:pt x="2598896" y="269081"/>
                    <a:pt x="2597944" y="268129"/>
                  </a:cubicBezTo>
                  <a:cubicBezTo>
                    <a:pt x="2596991" y="257651"/>
                    <a:pt x="2596039" y="247174"/>
                    <a:pt x="2595086" y="237649"/>
                  </a:cubicBezTo>
                  <a:cubicBezTo>
                    <a:pt x="2595086" y="234791"/>
                    <a:pt x="2594134" y="230981"/>
                    <a:pt x="2594134" y="228124"/>
                  </a:cubicBezTo>
                  <a:cubicBezTo>
                    <a:pt x="2598896" y="207169"/>
                    <a:pt x="2602706" y="190976"/>
                    <a:pt x="2605564" y="179546"/>
                  </a:cubicBezTo>
                  <a:cubicBezTo>
                    <a:pt x="2604611" y="188119"/>
                    <a:pt x="2605564" y="197644"/>
                    <a:pt x="2606516" y="208121"/>
                  </a:cubicBezTo>
                  <a:close/>
                  <a:moveTo>
                    <a:pt x="2586514" y="186214"/>
                  </a:moveTo>
                  <a:cubicBezTo>
                    <a:pt x="2591276" y="175736"/>
                    <a:pt x="2595086" y="167164"/>
                    <a:pt x="2598896" y="159544"/>
                  </a:cubicBezTo>
                  <a:cubicBezTo>
                    <a:pt x="2599849" y="157639"/>
                    <a:pt x="2600801" y="155734"/>
                    <a:pt x="2601754" y="153829"/>
                  </a:cubicBezTo>
                  <a:cubicBezTo>
                    <a:pt x="2602706" y="159544"/>
                    <a:pt x="2602706" y="166211"/>
                    <a:pt x="2603659" y="173831"/>
                  </a:cubicBezTo>
                  <a:cubicBezTo>
                    <a:pt x="2600801" y="182404"/>
                    <a:pt x="2596039" y="194786"/>
                    <a:pt x="2590324" y="210979"/>
                  </a:cubicBezTo>
                  <a:cubicBezTo>
                    <a:pt x="2589371" y="202406"/>
                    <a:pt x="2587466" y="194786"/>
                    <a:pt x="2586514" y="187166"/>
                  </a:cubicBezTo>
                  <a:cubicBezTo>
                    <a:pt x="2586514" y="187166"/>
                    <a:pt x="2586514" y="187166"/>
                    <a:pt x="2586514" y="186214"/>
                  </a:cubicBezTo>
                  <a:close/>
                  <a:moveTo>
                    <a:pt x="2584609" y="408146"/>
                  </a:moveTo>
                  <a:cubicBezTo>
                    <a:pt x="2584609" y="408146"/>
                    <a:pt x="2584609" y="409099"/>
                    <a:pt x="2584609" y="408146"/>
                  </a:cubicBezTo>
                  <a:cubicBezTo>
                    <a:pt x="2583656" y="403384"/>
                    <a:pt x="2582704" y="398621"/>
                    <a:pt x="2581751" y="393859"/>
                  </a:cubicBezTo>
                  <a:cubicBezTo>
                    <a:pt x="2582704" y="398621"/>
                    <a:pt x="2583656" y="403384"/>
                    <a:pt x="2584609" y="408146"/>
                  </a:cubicBezTo>
                  <a:close/>
                  <a:moveTo>
                    <a:pt x="2580799" y="199549"/>
                  </a:moveTo>
                  <a:cubicBezTo>
                    <a:pt x="2580799" y="208121"/>
                    <a:pt x="2581751" y="217646"/>
                    <a:pt x="2581751" y="228124"/>
                  </a:cubicBezTo>
                  <a:cubicBezTo>
                    <a:pt x="2580799" y="229076"/>
                    <a:pt x="2579846" y="230029"/>
                    <a:pt x="2578894" y="231934"/>
                  </a:cubicBezTo>
                  <a:cubicBezTo>
                    <a:pt x="2577941" y="232886"/>
                    <a:pt x="2576989" y="234791"/>
                    <a:pt x="2575084" y="236696"/>
                  </a:cubicBezTo>
                  <a:cubicBezTo>
                    <a:pt x="2574131" y="235744"/>
                    <a:pt x="2574131" y="234791"/>
                    <a:pt x="2573179" y="233839"/>
                  </a:cubicBezTo>
                  <a:cubicBezTo>
                    <a:pt x="2573179" y="231934"/>
                    <a:pt x="2573179" y="230981"/>
                    <a:pt x="2572226" y="229076"/>
                  </a:cubicBezTo>
                  <a:cubicBezTo>
                    <a:pt x="2572226" y="226219"/>
                    <a:pt x="2571274" y="222409"/>
                    <a:pt x="2571274" y="219551"/>
                  </a:cubicBezTo>
                  <a:cubicBezTo>
                    <a:pt x="2575084" y="211931"/>
                    <a:pt x="2577941" y="206216"/>
                    <a:pt x="2580799" y="199549"/>
                  </a:cubicBezTo>
                  <a:close/>
                  <a:moveTo>
                    <a:pt x="2569369" y="320516"/>
                  </a:moveTo>
                  <a:cubicBezTo>
                    <a:pt x="2569369" y="322421"/>
                    <a:pt x="2570321" y="325279"/>
                    <a:pt x="2570321" y="327184"/>
                  </a:cubicBezTo>
                  <a:cubicBezTo>
                    <a:pt x="2570321" y="328136"/>
                    <a:pt x="2570321" y="329089"/>
                    <a:pt x="2571274" y="330041"/>
                  </a:cubicBezTo>
                  <a:cubicBezTo>
                    <a:pt x="2568416" y="334804"/>
                    <a:pt x="2566511" y="339566"/>
                    <a:pt x="2563654" y="345281"/>
                  </a:cubicBezTo>
                  <a:cubicBezTo>
                    <a:pt x="2563654" y="344329"/>
                    <a:pt x="2562701" y="343376"/>
                    <a:pt x="2562701" y="342424"/>
                  </a:cubicBezTo>
                  <a:cubicBezTo>
                    <a:pt x="2565559" y="334804"/>
                    <a:pt x="2567464" y="328136"/>
                    <a:pt x="2569369" y="320516"/>
                  </a:cubicBezTo>
                  <a:close/>
                  <a:moveTo>
                    <a:pt x="2556034" y="262414"/>
                  </a:moveTo>
                  <a:cubicBezTo>
                    <a:pt x="2556986" y="258604"/>
                    <a:pt x="2558891" y="255746"/>
                    <a:pt x="2559844" y="251936"/>
                  </a:cubicBezTo>
                  <a:cubicBezTo>
                    <a:pt x="2559844" y="253841"/>
                    <a:pt x="2559844" y="255746"/>
                    <a:pt x="2560796" y="257651"/>
                  </a:cubicBezTo>
                  <a:cubicBezTo>
                    <a:pt x="2560796" y="258604"/>
                    <a:pt x="2559844" y="258604"/>
                    <a:pt x="2559844" y="259556"/>
                  </a:cubicBezTo>
                  <a:cubicBezTo>
                    <a:pt x="2557939" y="262414"/>
                    <a:pt x="2556034" y="266224"/>
                    <a:pt x="2554129" y="269081"/>
                  </a:cubicBezTo>
                  <a:cubicBezTo>
                    <a:pt x="2554129" y="266224"/>
                    <a:pt x="2555081" y="264319"/>
                    <a:pt x="2556034" y="262414"/>
                  </a:cubicBezTo>
                  <a:close/>
                  <a:moveTo>
                    <a:pt x="2561749" y="276701"/>
                  </a:moveTo>
                  <a:cubicBezTo>
                    <a:pt x="2561749" y="275749"/>
                    <a:pt x="2561749" y="275749"/>
                    <a:pt x="2562701" y="274796"/>
                  </a:cubicBezTo>
                  <a:cubicBezTo>
                    <a:pt x="2563654" y="278606"/>
                    <a:pt x="2563654" y="283369"/>
                    <a:pt x="2564606" y="287179"/>
                  </a:cubicBezTo>
                  <a:cubicBezTo>
                    <a:pt x="2562701" y="293846"/>
                    <a:pt x="2559844" y="301466"/>
                    <a:pt x="2557939" y="309086"/>
                  </a:cubicBezTo>
                  <a:cubicBezTo>
                    <a:pt x="2556986" y="310991"/>
                    <a:pt x="2556986" y="312896"/>
                    <a:pt x="2556034" y="313849"/>
                  </a:cubicBezTo>
                  <a:cubicBezTo>
                    <a:pt x="2555081" y="308134"/>
                    <a:pt x="2554129" y="302419"/>
                    <a:pt x="2553176" y="296704"/>
                  </a:cubicBezTo>
                  <a:cubicBezTo>
                    <a:pt x="2556034" y="290036"/>
                    <a:pt x="2558891" y="282416"/>
                    <a:pt x="2561749" y="276701"/>
                  </a:cubicBezTo>
                  <a:close/>
                  <a:moveTo>
                    <a:pt x="2538889" y="252889"/>
                  </a:moveTo>
                  <a:cubicBezTo>
                    <a:pt x="2539841" y="249079"/>
                    <a:pt x="2539841" y="245269"/>
                    <a:pt x="2540794" y="242411"/>
                  </a:cubicBezTo>
                  <a:cubicBezTo>
                    <a:pt x="2540794" y="241459"/>
                    <a:pt x="2541746" y="239554"/>
                    <a:pt x="2542699" y="238601"/>
                  </a:cubicBezTo>
                  <a:cubicBezTo>
                    <a:pt x="2543651" y="236696"/>
                    <a:pt x="2543651" y="234791"/>
                    <a:pt x="2544604" y="233839"/>
                  </a:cubicBezTo>
                  <a:cubicBezTo>
                    <a:pt x="2544604" y="237649"/>
                    <a:pt x="2543651" y="242411"/>
                    <a:pt x="2543651" y="248126"/>
                  </a:cubicBezTo>
                  <a:cubicBezTo>
                    <a:pt x="2543651" y="250984"/>
                    <a:pt x="2543651" y="253841"/>
                    <a:pt x="2542699" y="257651"/>
                  </a:cubicBezTo>
                  <a:cubicBezTo>
                    <a:pt x="2540794" y="261461"/>
                    <a:pt x="2539841" y="264319"/>
                    <a:pt x="2537936" y="268129"/>
                  </a:cubicBezTo>
                  <a:cubicBezTo>
                    <a:pt x="2537936" y="263366"/>
                    <a:pt x="2537936" y="257651"/>
                    <a:pt x="2538889" y="252889"/>
                  </a:cubicBezTo>
                  <a:close/>
                  <a:moveTo>
                    <a:pt x="2521744" y="475774"/>
                  </a:moveTo>
                  <a:cubicBezTo>
                    <a:pt x="2521744" y="478631"/>
                    <a:pt x="2522696" y="481489"/>
                    <a:pt x="2522696" y="484346"/>
                  </a:cubicBezTo>
                  <a:cubicBezTo>
                    <a:pt x="2521744" y="482441"/>
                    <a:pt x="2521744" y="481489"/>
                    <a:pt x="2520791" y="479584"/>
                  </a:cubicBezTo>
                  <a:cubicBezTo>
                    <a:pt x="2521744" y="478631"/>
                    <a:pt x="2521744" y="477679"/>
                    <a:pt x="2521744" y="475774"/>
                  </a:cubicBezTo>
                  <a:close/>
                  <a:moveTo>
                    <a:pt x="2514124" y="323374"/>
                  </a:moveTo>
                  <a:cubicBezTo>
                    <a:pt x="2514124" y="323374"/>
                    <a:pt x="2515076" y="323374"/>
                    <a:pt x="2514124" y="323374"/>
                  </a:cubicBezTo>
                  <a:cubicBezTo>
                    <a:pt x="2514124" y="325279"/>
                    <a:pt x="2513171" y="326231"/>
                    <a:pt x="2513171" y="328136"/>
                  </a:cubicBezTo>
                  <a:cubicBezTo>
                    <a:pt x="2513171" y="328136"/>
                    <a:pt x="2513171" y="328136"/>
                    <a:pt x="2513171" y="329089"/>
                  </a:cubicBezTo>
                  <a:cubicBezTo>
                    <a:pt x="2513171" y="326231"/>
                    <a:pt x="2514124" y="324326"/>
                    <a:pt x="2514124" y="323374"/>
                  </a:cubicBezTo>
                  <a:close/>
                  <a:moveTo>
                    <a:pt x="2509361" y="300514"/>
                  </a:moveTo>
                  <a:cubicBezTo>
                    <a:pt x="2509361" y="301466"/>
                    <a:pt x="2509361" y="301466"/>
                    <a:pt x="2508409" y="302419"/>
                  </a:cubicBezTo>
                  <a:cubicBezTo>
                    <a:pt x="2508409" y="302419"/>
                    <a:pt x="2508409" y="302419"/>
                    <a:pt x="2508409" y="302419"/>
                  </a:cubicBezTo>
                  <a:cubicBezTo>
                    <a:pt x="2508409" y="299561"/>
                    <a:pt x="2507456" y="297656"/>
                    <a:pt x="2507456" y="294799"/>
                  </a:cubicBezTo>
                  <a:cubicBezTo>
                    <a:pt x="2508409" y="296704"/>
                    <a:pt x="2509361" y="298609"/>
                    <a:pt x="2509361" y="300514"/>
                  </a:cubicBezTo>
                  <a:close/>
                  <a:moveTo>
                    <a:pt x="2496979" y="292894"/>
                  </a:moveTo>
                  <a:cubicBezTo>
                    <a:pt x="2497931" y="290989"/>
                    <a:pt x="2497931" y="290036"/>
                    <a:pt x="2497931" y="290036"/>
                  </a:cubicBezTo>
                  <a:cubicBezTo>
                    <a:pt x="2497931" y="290036"/>
                    <a:pt x="2497931" y="290989"/>
                    <a:pt x="2496979" y="290989"/>
                  </a:cubicBezTo>
                  <a:cubicBezTo>
                    <a:pt x="2496979" y="289084"/>
                    <a:pt x="2496979" y="286226"/>
                    <a:pt x="2497931" y="284321"/>
                  </a:cubicBezTo>
                  <a:cubicBezTo>
                    <a:pt x="2497931" y="278606"/>
                    <a:pt x="2498884" y="272891"/>
                    <a:pt x="2498884" y="269081"/>
                  </a:cubicBezTo>
                  <a:cubicBezTo>
                    <a:pt x="2498884" y="268129"/>
                    <a:pt x="2498884" y="267176"/>
                    <a:pt x="2498884" y="266224"/>
                  </a:cubicBezTo>
                  <a:cubicBezTo>
                    <a:pt x="2499836" y="270034"/>
                    <a:pt x="2500789" y="273844"/>
                    <a:pt x="2502694" y="277654"/>
                  </a:cubicBezTo>
                  <a:cubicBezTo>
                    <a:pt x="2502694" y="279559"/>
                    <a:pt x="2502694" y="281464"/>
                    <a:pt x="2502694" y="283369"/>
                  </a:cubicBezTo>
                  <a:cubicBezTo>
                    <a:pt x="2502694" y="288131"/>
                    <a:pt x="2501741" y="294799"/>
                    <a:pt x="2501741" y="302419"/>
                  </a:cubicBezTo>
                  <a:cubicBezTo>
                    <a:pt x="2501741" y="306229"/>
                    <a:pt x="2501741" y="310039"/>
                    <a:pt x="2501741" y="313849"/>
                  </a:cubicBezTo>
                  <a:cubicBezTo>
                    <a:pt x="2501741" y="317659"/>
                    <a:pt x="2500789" y="321469"/>
                    <a:pt x="2500789" y="325279"/>
                  </a:cubicBezTo>
                  <a:cubicBezTo>
                    <a:pt x="2500789" y="325279"/>
                    <a:pt x="2500789" y="326231"/>
                    <a:pt x="2500789" y="326231"/>
                  </a:cubicBezTo>
                  <a:cubicBezTo>
                    <a:pt x="2500789" y="322421"/>
                    <a:pt x="2499836" y="319564"/>
                    <a:pt x="2499836" y="315754"/>
                  </a:cubicBezTo>
                  <a:cubicBezTo>
                    <a:pt x="2499836" y="313849"/>
                    <a:pt x="2499836" y="311944"/>
                    <a:pt x="2499836" y="310039"/>
                  </a:cubicBezTo>
                  <a:cubicBezTo>
                    <a:pt x="2499836" y="305276"/>
                    <a:pt x="2500789" y="300514"/>
                    <a:pt x="2500789" y="297656"/>
                  </a:cubicBezTo>
                  <a:cubicBezTo>
                    <a:pt x="2500789" y="290989"/>
                    <a:pt x="2500789" y="286226"/>
                    <a:pt x="2500789" y="286226"/>
                  </a:cubicBezTo>
                  <a:cubicBezTo>
                    <a:pt x="2500789" y="286226"/>
                    <a:pt x="2498884" y="289084"/>
                    <a:pt x="2496979" y="292894"/>
                  </a:cubicBezTo>
                  <a:cubicBezTo>
                    <a:pt x="2496979" y="293846"/>
                    <a:pt x="2496979" y="293846"/>
                    <a:pt x="2496979" y="292894"/>
                  </a:cubicBezTo>
                  <a:close/>
                  <a:moveTo>
                    <a:pt x="2449354" y="334804"/>
                  </a:moveTo>
                  <a:cubicBezTo>
                    <a:pt x="2448401" y="332899"/>
                    <a:pt x="2448401" y="330041"/>
                    <a:pt x="2447449" y="328136"/>
                  </a:cubicBezTo>
                  <a:cubicBezTo>
                    <a:pt x="2448401" y="326231"/>
                    <a:pt x="2449354" y="323374"/>
                    <a:pt x="2450306" y="321469"/>
                  </a:cubicBezTo>
                  <a:cubicBezTo>
                    <a:pt x="2450306" y="321469"/>
                    <a:pt x="2450306" y="322421"/>
                    <a:pt x="2450306" y="322421"/>
                  </a:cubicBezTo>
                  <a:cubicBezTo>
                    <a:pt x="2450306" y="323374"/>
                    <a:pt x="2450306" y="323374"/>
                    <a:pt x="2451259" y="324326"/>
                  </a:cubicBezTo>
                  <a:cubicBezTo>
                    <a:pt x="2450306" y="327184"/>
                    <a:pt x="2449354" y="330994"/>
                    <a:pt x="2449354" y="334804"/>
                  </a:cubicBezTo>
                  <a:close/>
                  <a:moveTo>
                    <a:pt x="2450306" y="254794"/>
                  </a:moveTo>
                  <a:cubicBezTo>
                    <a:pt x="2450306" y="253841"/>
                    <a:pt x="2451259" y="252889"/>
                    <a:pt x="2451259" y="251936"/>
                  </a:cubicBezTo>
                  <a:cubicBezTo>
                    <a:pt x="2451259" y="251936"/>
                    <a:pt x="2451259" y="251936"/>
                    <a:pt x="2451259" y="250984"/>
                  </a:cubicBezTo>
                  <a:cubicBezTo>
                    <a:pt x="2451259" y="250984"/>
                    <a:pt x="2451259" y="251936"/>
                    <a:pt x="2451259" y="251936"/>
                  </a:cubicBezTo>
                  <a:cubicBezTo>
                    <a:pt x="2451259" y="252889"/>
                    <a:pt x="2451259" y="253841"/>
                    <a:pt x="2450306" y="254794"/>
                  </a:cubicBezTo>
                  <a:close/>
                  <a:moveTo>
                    <a:pt x="2452211" y="251936"/>
                  </a:moveTo>
                  <a:cubicBezTo>
                    <a:pt x="2452211" y="251936"/>
                    <a:pt x="2452211" y="250984"/>
                    <a:pt x="2451259" y="250984"/>
                  </a:cubicBezTo>
                  <a:cubicBezTo>
                    <a:pt x="2453164" y="246221"/>
                    <a:pt x="2454116" y="242411"/>
                    <a:pt x="2456021" y="238601"/>
                  </a:cubicBezTo>
                  <a:cubicBezTo>
                    <a:pt x="2457926" y="236696"/>
                    <a:pt x="2458879" y="233839"/>
                    <a:pt x="2460784" y="231934"/>
                  </a:cubicBezTo>
                  <a:cubicBezTo>
                    <a:pt x="2460784" y="232886"/>
                    <a:pt x="2459831" y="234791"/>
                    <a:pt x="2459831" y="235744"/>
                  </a:cubicBezTo>
                  <a:cubicBezTo>
                    <a:pt x="2458879" y="239554"/>
                    <a:pt x="2456974" y="243364"/>
                    <a:pt x="2456021" y="248126"/>
                  </a:cubicBezTo>
                  <a:cubicBezTo>
                    <a:pt x="2455069" y="248126"/>
                    <a:pt x="2454116" y="250031"/>
                    <a:pt x="2452211" y="251936"/>
                  </a:cubicBezTo>
                  <a:close/>
                  <a:moveTo>
                    <a:pt x="2457926" y="266224"/>
                  </a:moveTo>
                  <a:cubicBezTo>
                    <a:pt x="2457926" y="267176"/>
                    <a:pt x="2456974" y="267176"/>
                    <a:pt x="2456974" y="268129"/>
                  </a:cubicBezTo>
                  <a:cubicBezTo>
                    <a:pt x="2457926" y="267176"/>
                    <a:pt x="2457926" y="266224"/>
                    <a:pt x="2457926" y="266224"/>
                  </a:cubicBezTo>
                  <a:cubicBezTo>
                    <a:pt x="2457926" y="265271"/>
                    <a:pt x="2457926" y="266224"/>
                    <a:pt x="2457926" y="266224"/>
                  </a:cubicBezTo>
                  <a:close/>
                  <a:moveTo>
                    <a:pt x="2457926" y="374809"/>
                  </a:moveTo>
                  <a:cubicBezTo>
                    <a:pt x="2456974" y="371951"/>
                    <a:pt x="2456974" y="369094"/>
                    <a:pt x="2456021" y="367189"/>
                  </a:cubicBezTo>
                  <a:cubicBezTo>
                    <a:pt x="2456021" y="365284"/>
                    <a:pt x="2456021" y="364331"/>
                    <a:pt x="2456021" y="362426"/>
                  </a:cubicBezTo>
                  <a:cubicBezTo>
                    <a:pt x="2456021" y="355759"/>
                    <a:pt x="2456021" y="350044"/>
                    <a:pt x="2456021" y="344329"/>
                  </a:cubicBezTo>
                  <a:cubicBezTo>
                    <a:pt x="2456974" y="347186"/>
                    <a:pt x="2457926" y="350996"/>
                    <a:pt x="2458879" y="354806"/>
                  </a:cubicBezTo>
                  <a:cubicBezTo>
                    <a:pt x="2459831" y="361474"/>
                    <a:pt x="2458879" y="368141"/>
                    <a:pt x="2457926" y="374809"/>
                  </a:cubicBezTo>
                  <a:close/>
                  <a:moveTo>
                    <a:pt x="2456974" y="308134"/>
                  </a:moveTo>
                  <a:cubicBezTo>
                    <a:pt x="2456974" y="307181"/>
                    <a:pt x="2456974" y="306229"/>
                    <a:pt x="2456974" y="305276"/>
                  </a:cubicBezTo>
                  <a:cubicBezTo>
                    <a:pt x="2456974" y="304324"/>
                    <a:pt x="2457926" y="303371"/>
                    <a:pt x="2457926" y="302419"/>
                  </a:cubicBezTo>
                  <a:cubicBezTo>
                    <a:pt x="2458879" y="306229"/>
                    <a:pt x="2458879" y="310039"/>
                    <a:pt x="2459831" y="313849"/>
                  </a:cubicBezTo>
                  <a:cubicBezTo>
                    <a:pt x="2459831" y="314801"/>
                    <a:pt x="2459831" y="315754"/>
                    <a:pt x="2460784" y="317659"/>
                  </a:cubicBezTo>
                  <a:cubicBezTo>
                    <a:pt x="2458879" y="313849"/>
                    <a:pt x="2457926" y="310991"/>
                    <a:pt x="2456974" y="308134"/>
                  </a:cubicBezTo>
                  <a:close/>
                  <a:moveTo>
                    <a:pt x="2458879" y="290036"/>
                  </a:moveTo>
                  <a:cubicBezTo>
                    <a:pt x="2458879" y="289084"/>
                    <a:pt x="2459831" y="288131"/>
                    <a:pt x="2459831" y="287179"/>
                  </a:cubicBezTo>
                  <a:cubicBezTo>
                    <a:pt x="2460784" y="284321"/>
                    <a:pt x="2461736" y="280511"/>
                    <a:pt x="2463641" y="277654"/>
                  </a:cubicBezTo>
                  <a:cubicBezTo>
                    <a:pt x="2464594" y="278606"/>
                    <a:pt x="2464594" y="280511"/>
                    <a:pt x="2465546" y="281464"/>
                  </a:cubicBezTo>
                  <a:cubicBezTo>
                    <a:pt x="2463641" y="284321"/>
                    <a:pt x="2461736" y="287179"/>
                    <a:pt x="2458879" y="290036"/>
                  </a:cubicBezTo>
                  <a:close/>
                  <a:moveTo>
                    <a:pt x="2464594" y="305276"/>
                  </a:moveTo>
                  <a:cubicBezTo>
                    <a:pt x="2463641" y="301466"/>
                    <a:pt x="2462689" y="298609"/>
                    <a:pt x="2460784" y="295751"/>
                  </a:cubicBezTo>
                  <a:cubicBezTo>
                    <a:pt x="2460784" y="294799"/>
                    <a:pt x="2461736" y="293846"/>
                    <a:pt x="2462689" y="292894"/>
                  </a:cubicBezTo>
                  <a:cubicBezTo>
                    <a:pt x="2464594" y="290036"/>
                    <a:pt x="2465546" y="287179"/>
                    <a:pt x="2466499" y="285274"/>
                  </a:cubicBezTo>
                  <a:cubicBezTo>
                    <a:pt x="2465546" y="290989"/>
                    <a:pt x="2465546" y="297656"/>
                    <a:pt x="2464594" y="305276"/>
                  </a:cubicBezTo>
                  <a:close/>
                  <a:moveTo>
                    <a:pt x="2467451" y="274796"/>
                  </a:moveTo>
                  <a:cubicBezTo>
                    <a:pt x="2467451" y="273844"/>
                    <a:pt x="2466499" y="272891"/>
                    <a:pt x="2466499" y="272891"/>
                  </a:cubicBezTo>
                  <a:cubicBezTo>
                    <a:pt x="2467451" y="270986"/>
                    <a:pt x="2467451" y="270034"/>
                    <a:pt x="2468404" y="268129"/>
                  </a:cubicBezTo>
                  <a:cubicBezTo>
                    <a:pt x="2468404" y="270034"/>
                    <a:pt x="2467451" y="272891"/>
                    <a:pt x="2467451" y="274796"/>
                  </a:cubicBezTo>
                  <a:close/>
                  <a:moveTo>
                    <a:pt x="2471261" y="233839"/>
                  </a:moveTo>
                  <a:cubicBezTo>
                    <a:pt x="2471261" y="233839"/>
                    <a:pt x="2471261" y="237649"/>
                    <a:pt x="2470309" y="245269"/>
                  </a:cubicBezTo>
                  <a:cubicBezTo>
                    <a:pt x="2470309" y="245269"/>
                    <a:pt x="2470309" y="246221"/>
                    <a:pt x="2469356" y="246221"/>
                  </a:cubicBezTo>
                  <a:cubicBezTo>
                    <a:pt x="2466499" y="251936"/>
                    <a:pt x="2462689" y="256699"/>
                    <a:pt x="2459831" y="263366"/>
                  </a:cubicBezTo>
                  <a:cubicBezTo>
                    <a:pt x="2459831" y="262414"/>
                    <a:pt x="2458879" y="262414"/>
                    <a:pt x="2458879" y="261461"/>
                  </a:cubicBezTo>
                  <a:cubicBezTo>
                    <a:pt x="2459831" y="256699"/>
                    <a:pt x="2460784" y="250984"/>
                    <a:pt x="2461736" y="247174"/>
                  </a:cubicBezTo>
                  <a:cubicBezTo>
                    <a:pt x="2461736" y="246221"/>
                    <a:pt x="2462689" y="246221"/>
                    <a:pt x="2462689" y="245269"/>
                  </a:cubicBezTo>
                  <a:cubicBezTo>
                    <a:pt x="2466499" y="239554"/>
                    <a:pt x="2469356" y="234791"/>
                    <a:pt x="2472214" y="231934"/>
                  </a:cubicBezTo>
                  <a:cubicBezTo>
                    <a:pt x="2472214" y="231934"/>
                    <a:pt x="2472214" y="231934"/>
                    <a:pt x="2472214" y="231934"/>
                  </a:cubicBezTo>
                  <a:cubicBezTo>
                    <a:pt x="2472214" y="234791"/>
                    <a:pt x="2473166" y="237649"/>
                    <a:pt x="2473166" y="240506"/>
                  </a:cubicBezTo>
                  <a:cubicBezTo>
                    <a:pt x="2473166" y="241459"/>
                    <a:pt x="2472214" y="241459"/>
                    <a:pt x="2472214" y="242411"/>
                  </a:cubicBezTo>
                  <a:cubicBezTo>
                    <a:pt x="2472214" y="236696"/>
                    <a:pt x="2471261" y="233839"/>
                    <a:pt x="2471261" y="233839"/>
                  </a:cubicBezTo>
                  <a:close/>
                  <a:moveTo>
                    <a:pt x="2467451" y="211931"/>
                  </a:moveTo>
                  <a:cubicBezTo>
                    <a:pt x="2466499" y="212884"/>
                    <a:pt x="2466499" y="212884"/>
                    <a:pt x="2465546" y="213836"/>
                  </a:cubicBezTo>
                  <a:cubicBezTo>
                    <a:pt x="2465546" y="212884"/>
                    <a:pt x="2465546" y="212884"/>
                    <a:pt x="2466499" y="211931"/>
                  </a:cubicBezTo>
                  <a:cubicBezTo>
                    <a:pt x="2467451" y="210026"/>
                    <a:pt x="2467451" y="209074"/>
                    <a:pt x="2468404" y="208121"/>
                  </a:cubicBezTo>
                  <a:cubicBezTo>
                    <a:pt x="2468404" y="209074"/>
                    <a:pt x="2468404" y="210026"/>
                    <a:pt x="2468404" y="210979"/>
                  </a:cubicBezTo>
                  <a:cubicBezTo>
                    <a:pt x="2468404" y="210979"/>
                    <a:pt x="2468404" y="210979"/>
                    <a:pt x="2467451" y="211931"/>
                  </a:cubicBezTo>
                  <a:cubicBezTo>
                    <a:pt x="2468404" y="210979"/>
                    <a:pt x="2468404" y="210979"/>
                    <a:pt x="2467451" y="211931"/>
                  </a:cubicBezTo>
                  <a:cubicBezTo>
                    <a:pt x="2468404" y="210979"/>
                    <a:pt x="2467451" y="210979"/>
                    <a:pt x="2467451" y="211931"/>
                  </a:cubicBezTo>
                  <a:close/>
                  <a:moveTo>
                    <a:pt x="2470309" y="218599"/>
                  </a:moveTo>
                  <a:cubicBezTo>
                    <a:pt x="2471261" y="222409"/>
                    <a:pt x="2471261" y="226219"/>
                    <a:pt x="2472214" y="230029"/>
                  </a:cubicBezTo>
                  <a:cubicBezTo>
                    <a:pt x="2472214" y="230029"/>
                    <a:pt x="2472214" y="230029"/>
                    <a:pt x="2472214" y="230029"/>
                  </a:cubicBezTo>
                  <a:cubicBezTo>
                    <a:pt x="2470309" y="231934"/>
                    <a:pt x="2467451" y="234791"/>
                    <a:pt x="2463641" y="237649"/>
                  </a:cubicBezTo>
                  <a:cubicBezTo>
                    <a:pt x="2463641" y="236696"/>
                    <a:pt x="2463641" y="235744"/>
                    <a:pt x="2464594" y="234791"/>
                  </a:cubicBezTo>
                  <a:cubicBezTo>
                    <a:pt x="2465546" y="230981"/>
                    <a:pt x="2465546" y="227171"/>
                    <a:pt x="2466499" y="224314"/>
                  </a:cubicBezTo>
                  <a:cubicBezTo>
                    <a:pt x="2466499" y="224314"/>
                    <a:pt x="2466499" y="224314"/>
                    <a:pt x="2466499" y="224314"/>
                  </a:cubicBezTo>
                  <a:cubicBezTo>
                    <a:pt x="2467451" y="223361"/>
                    <a:pt x="2468404" y="220504"/>
                    <a:pt x="2470309" y="218599"/>
                  </a:cubicBezTo>
                  <a:close/>
                  <a:moveTo>
                    <a:pt x="2477929" y="223361"/>
                  </a:moveTo>
                  <a:cubicBezTo>
                    <a:pt x="2476976" y="219551"/>
                    <a:pt x="2476024" y="215741"/>
                    <a:pt x="2475071" y="212884"/>
                  </a:cubicBezTo>
                  <a:cubicBezTo>
                    <a:pt x="2476024" y="211931"/>
                    <a:pt x="2476976" y="210026"/>
                    <a:pt x="2477929" y="209074"/>
                  </a:cubicBezTo>
                  <a:cubicBezTo>
                    <a:pt x="2477929" y="211931"/>
                    <a:pt x="2477929" y="214789"/>
                    <a:pt x="2477929" y="217646"/>
                  </a:cubicBezTo>
                  <a:cubicBezTo>
                    <a:pt x="2477929" y="219551"/>
                    <a:pt x="2477929" y="221456"/>
                    <a:pt x="2477929" y="223361"/>
                  </a:cubicBezTo>
                  <a:close/>
                  <a:moveTo>
                    <a:pt x="2473166" y="206216"/>
                  </a:moveTo>
                  <a:cubicBezTo>
                    <a:pt x="2473166" y="205264"/>
                    <a:pt x="2472214" y="204311"/>
                    <a:pt x="2472214" y="203359"/>
                  </a:cubicBezTo>
                  <a:cubicBezTo>
                    <a:pt x="2472214" y="202406"/>
                    <a:pt x="2472214" y="202406"/>
                    <a:pt x="2471261" y="201454"/>
                  </a:cubicBezTo>
                  <a:cubicBezTo>
                    <a:pt x="2472214" y="199549"/>
                    <a:pt x="2473166" y="197644"/>
                    <a:pt x="2474119" y="195739"/>
                  </a:cubicBezTo>
                  <a:cubicBezTo>
                    <a:pt x="2475071" y="193834"/>
                    <a:pt x="2476976" y="190976"/>
                    <a:pt x="2477929" y="189071"/>
                  </a:cubicBezTo>
                  <a:cubicBezTo>
                    <a:pt x="2477929" y="192881"/>
                    <a:pt x="2477929" y="197644"/>
                    <a:pt x="2477929" y="201454"/>
                  </a:cubicBezTo>
                  <a:cubicBezTo>
                    <a:pt x="2476024" y="203359"/>
                    <a:pt x="2474119" y="205264"/>
                    <a:pt x="2473166" y="206216"/>
                  </a:cubicBezTo>
                  <a:close/>
                  <a:moveTo>
                    <a:pt x="2473166" y="255746"/>
                  </a:moveTo>
                  <a:cubicBezTo>
                    <a:pt x="2474119" y="254794"/>
                    <a:pt x="2474119" y="252889"/>
                    <a:pt x="2475071" y="251936"/>
                  </a:cubicBezTo>
                  <a:cubicBezTo>
                    <a:pt x="2476024" y="256699"/>
                    <a:pt x="2476024" y="261461"/>
                    <a:pt x="2476976" y="266224"/>
                  </a:cubicBezTo>
                  <a:cubicBezTo>
                    <a:pt x="2477929" y="274796"/>
                    <a:pt x="2478881" y="283369"/>
                    <a:pt x="2479834" y="292894"/>
                  </a:cubicBezTo>
                  <a:cubicBezTo>
                    <a:pt x="2479834" y="293846"/>
                    <a:pt x="2479834" y="295751"/>
                    <a:pt x="2479834" y="296704"/>
                  </a:cubicBezTo>
                  <a:cubicBezTo>
                    <a:pt x="2479834" y="296704"/>
                    <a:pt x="2479834" y="295751"/>
                    <a:pt x="2479834" y="295751"/>
                  </a:cubicBezTo>
                  <a:cubicBezTo>
                    <a:pt x="2477929" y="292894"/>
                    <a:pt x="2476976" y="290036"/>
                    <a:pt x="2475071" y="288131"/>
                  </a:cubicBezTo>
                  <a:cubicBezTo>
                    <a:pt x="2475071" y="275749"/>
                    <a:pt x="2474119" y="264319"/>
                    <a:pt x="2473166" y="255746"/>
                  </a:cubicBezTo>
                  <a:close/>
                  <a:moveTo>
                    <a:pt x="2481739" y="324326"/>
                  </a:moveTo>
                  <a:cubicBezTo>
                    <a:pt x="2481739" y="325279"/>
                    <a:pt x="2480786" y="325279"/>
                    <a:pt x="2480786" y="326231"/>
                  </a:cubicBezTo>
                  <a:cubicBezTo>
                    <a:pt x="2479834" y="330041"/>
                    <a:pt x="2477929" y="334804"/>
                    <a:pt x="2476024" y="340519"/>
                  </a:cubicBezTo>
                  <a:cubicBezTo>
                    <a:pt x="2476024" y="329089"/>
                    <a:pt x="2476024" y="317659"/>
                    <a:pt x="2476024" y="308134"/>
                  </a:cubicBezTo>
                  <a:cubicBezTo>
                    <a:pt x="2476024" y="308134"/>
                    <a:pt x="2476024" y="308134"/>
                    <a:pt x="2476024" y="308134"/>
                  </a:cubicBezTo>
                  <a:cubicBezTo>
                    <a:pt x="2476976" y="311944"/>
                    <a:pt x="2478881" y="314801"/>
                    <a:pt x="2479834" y="318611"/>
                  </a:cubicBezTo>
                  <a:cubicBezTo>
                    <a:pt x="2479834" y="319564"/>
                    <a:pt x="2480786" y="321469"/>
                    <a:pt x="2480786" y="322421"/>
                  </a:cubicBezTo>
                  <a:cubicBezTo>
                    <a:pt x="2480786" y="322421"/>
                    <a:pt x="2481739" y="323374"/>
                    <a:pt x="2481739" y="324326"/>
                  </a:cubicBezTo>
                  <a:cubicBezTo>
                    <a:pt x="2481739" y="324326"/>
                    <a:pt x="2481739" y="324326"/>
                    <a:pt x="2481739" y="324326"/>
                  </a:cubicBezTo>
                  <a:close/>
                  <a:moveTo>
                    <a:pt x="2436971" y="215741"/>
                  </a:moveTo>
                  <a:cubicBezTo>
                    <a:pt x="2440781" y="209074"/>
                    <a:pt x="2444591" y="202406"/>
                    <a:pt x="2447449" y="195739"/>
                  </a:cubicBezTo>
                  <a:cubicBezTo>
                    <a:pt x="2451259" y="190024"/>
                    <a:pt x="2454116" y="184309"/>
                    <a:pt x="2457926" y="178594"/>
                  </a:cubicBezTo>
                  <a:cubicBezTo>
                    <a:pt x="2464594" y="168116"/>
                    <a:pt x="2469356" y="157639"/>
                    <a:pt x="2475071" y="150971"/>
                  </a:cubicBezTo>
                  <a:cubicBezTo>
                    <a:pt x="2477929" y="146209"/>
                    <a:pt x="2480786" y="142399"/>
                    <a:pt x="2482691" y="138589"/>
                  </a:cubicBezTo>
                  <a:cubicBezTo>
                    <a:pt x="2481739" y="142399"/>
                    <a:pt x="2481739" y="148114"/>
                    <a:pt x="2480786" y="154781"/>
                  </a:cubicBezTo>
                  <a:cubicBezTo>
                    <a:pt x="2479834" y="162401"/>
                    <a:pt x="2479834" y="170974"/>
                    <a:pt x="2478881" y="181451"/>
                  </a:cubicBezTo>
                  <a:cubicBezTo>
                    <a:pt x="2476024" y="185261"/>
                    <a:pt x="2473166" y="189071"/>
                    <a:pt x="2470309" y="193834"/>
                  </a:cubicBezTo>
                  <a:cubicBezTo>
                    <a:pt x="2470309" y="193834"/>
                    <a:pt x="2470309" y="194786"/>
                    <a:pt x="2469356" y="194786"/>
                  </a:cubicBezTo>
                  <a:cubicBezTo>
                    <a:pt x="2466499" y="186214"/>
                    <a:pt x="2465546" y="181451"/>
                    <a:pt x="2465546" y="181451"/>
                  </a:cubicBezTo>
                  <a:cubicBezTo>
                    <a:pt x="2465546" y="181451"/>
                    <a:pt x="2466499" y="187166"/>
                    <a:pt x="2467451" y="197644"/>
                  </a:cubicBezTo>
                  <a:cubicBezTo>
                    <a:pt x="2465546" y="201454"/>
                    <a:pt x="2462689" y="205264"/>
                    <a:pt x="2460784" y="209074"/>
                  </a:cubicBezTo>
                  <a:cubicBezTo>
                    <a:pt x="2456021" y="216694"/>
                    <a:pt x="2452211" y="225266"/>
                    <a:pt x="2447449" y="234791"/>
                  </a:cubicBezTo>
                  <a:cubicBezTo>
                    <a:pt x="2443639" y="238601"/>
                    <a:pt x="2440781" y="243364"/>
                    <a:pt x="2436971" y="247174"/>
                  </a:cubicBezTo>
                  <a:cubicBezTo>
                    <a:pt x="2436971" y="248126"/>
                    <a:pt x="2436019" y="248126"/>
                    <a:pt x="2436019" y="249079"/>
                  </a:cubicBezTo>
                  <a:cubicBezTo>
                    <a:pt x="2436019" y="249079"/>
                    <a:pt x="2436019" y="249079"/>
                    <a:pt x="2436019" y="249079"/>
                  </a:cubicBezTo>
                  <a:cubicBezTo>
                    <a:pt x="2435066" y="240506"/>
                    <a:pt x="2434114" y="232886"/>
                    <a:pt x="2433161" y="225266"/>
                  </a:cubicBezTo>
                  <a:cubicBezTo>
                    <a:pt x="2433161" y="221456"/>
                    <a:pt x="2435066" y="218599"/>
                    <a:pt x="2436971" y="215741"/>
                  </a:cubicBezTo>
                  <a:close/>
                  <a:moveTo>
                    <a:pt x="2416016" y="313849"/>
                  </a:moveTo>
                  <a:cubicBezTo>
                    <a:pt x="2416016" y="313849"/>
                    <a:pt x="2416016" y="313849"/>
                    <a:pt x="2416016" y="313849"/>
                  </a:cubicBezTo>
                  <a:cubicBezTo>
                    <a:pt x="2415064" y="310039"/>
                    <a:pt x="2414111" y="307181"/>
                    <a:pt x="2413159" y="304324"/>
                  </a:cubicBezTo>
                  <a:cubicBezTo>
                    <a:pt x="2414111" y="303371"/>
                    <a:pt x="2414111" y="302419"/>
                    <a:pt x="2415064" y="301466"/>
                  </a:cubicBezTo>
                  <a:cubicBezTo>
                    <a:pt x="2415064" y="302419"/>
                    <a:pt x="2415064" y="302419"/>
                    <a:pt x="2415064" y="303371"/>
                  </a:cubicBezTo>
                  <a:cubicBezTo>
                    <a:pt x="2415064" y="306229"/>
                    <a:pt x="2416016" y="310039"/>
                    <a:pt x="2416016" y="313849"/>
                  </a:cubicBezTo>
                  <a:cubicBezTo>
                    <a:pt x="2416016" y="313849"/>
                    <a:pt x="2416016" y="313849"/>
                    <a:pt x="2416016" y="313849"/>
                  </a:cubicBezTo>
                  <a:close/>
                  <a:moveTo>
                    <a:pt x="2422684" y="288131"/>
                  </a:moveTo>
                  <a:cubicBezTo>
                    <a:pt x="2422684" y="290036"/>
                    <a:pt x="2422684" y="291941"/>
                    <a:pt x="2422684" y="293846"/>
                  </a:cubicBezTo>
                  <a:cubicBezTo>
                    <a:pt x="2421731" y="295751"/>
                    <a:pt x="2421731" y="297656"/>
                    <a:pt x="2420779" y="299561"/>
                  </a:cubicBezTo>
                  <a:cubicBezTo>
                    <a:pt x="2419826" y="297656"/>
                    <a:pt x="2419826" y="295751"/>
                    <a:pt x="2418874" y="293846"/>
                  </a:cubicBezTo>
                  <a:cubicBezTo>
                    <a:pt x="2419826" y="292894"/>
                    <a:pt x="2419826" y="291941"/>
                    <a:pt x="2420779" y="290989"/>
                  </a:cubicBezTo>
                  <a:cubicBezTo>
                    <a:pt x="2421731" y="290036"/>
                    <a:pt x="2421731" y="289084"/>
                    <a:pt x="2422684" y="288131"/>
                  </a:cubicBezTo>
                  <a:close/>
                  <a:moveTo>
                    <a:pt x="2414111" y="259556"/>
                  </a:moveTo>
                  <a:cubicBezTo>
                    <a:pt x="2416016" y="255746"/>
                    <a:pt x="2417921" y="251936"/>
                    <a:pt x="2419826" y="248126"/>
                  </a:cubicBezTo>
                  <a:cubicBezTo>
                    <a:pt x="2419826" y="253841"/>
                    <a:pt x="2420779" y="259556"/>
                    <a:pt x="2420779" y="266224"/>
                  </a:cubicBezTo>
                  <a:cubicBezTo>
                    <a:pt x="2417921" y="270034"/>
                    <a:pt x="2415064" y="273844"/>
                    <a:pt x="2412206" y="277654"/>
                  </a:cubicBezTo>
                  <a:cubicBezTo>
                    <a:pt x="2411254" y="276701"/>
                    <a:pt x="2411254" y="275749"/>
                    <a:pt x="2410301" y="273844"/>
                  </a:cubicBezTo>
                  <a:cubicBezTo>
                    <a:pt x="2409349" y="272891"/>
                    <a:pt x="2409349" y="271939"/>
                    <a:pt x="2408396" y="270986"/>
                  </a:cubicBezTo>
                  <a:cubicBezTo>
                    <a:pt x="2410301" y="268129"/>
                    <a:pt x="2412206" y="263366"/>
                    <a:pt x="2414111" y="259556"/>
                  </a:cubicBezTo>
                  <a:close/>
                  <a:moveTo>
                    <a:pt x="2406491" y="275749"/>
                  </a:moveTo>
                  <a:cubicBezTo>
                    <a:pt x="2406491" y="275749"/>
                    <a:pt x="2406491" y="275749"/>
                    <a:pt x="2406491" y="275749"/>
                  </a:cubicBezTo>
                  <a:cubicBezTo>
                    <a:pt x="2407444" y="277654"/>
                    <a:pt x="2408396" y="279559"/>
                    <a:pt x="2409349" y="282416"/>
                  </a:cubicBezTo>
                  <a:cubicBezTo>
                    <a:pt x="2408396" y="283369"/>
                    <a:pt x="2407444" y="285274"/>
                    <a:pt x="2406491" y="286226"/>
                  </a:cubicBezTo>
                  <a:cubicBezTo>
                    <a:pt x="2405539" y="284321"/>
                    <a:pt x="2405539" y="282416"/>
                    <a:pt x="2404586" y="280511"/>
                  </a:cubicBezTo>
                  <a:cubicBezTo>
                    <a:pt x="2405539" y="278606"/>
                    <a:pt x="2405539" y="276701"/>
                    <a:pt x="2406491" y="275749"/>
                  </a:cubicBezTo>
                  <a:close/>
                  <a:moveTo>
                    <a:pt x="2405539" y="317659"/>
                  </a:moveTo>
                  <a:cubicBezTo>
                    <a:pt x="2406491" y="321469"/>
                    <a:pt x="2407444" y="324326"/>
                    <a:pt x="2408396" y="328136"/>
                  </a:cubicBezTo>
                  <a:cubicBezTo>
                    <a:pt x="2408396" y="330041"/>
                    <a:pt x="2408396" y="331946"/>
                    <a:pt x="2408396" y="334804"/>
                  </a:cubicBezTo>
                  <a:cubicBezTo>
                    <a:pt x="2408396" y="333851"/>
                    <a:pt x="2407444" y="332899"/>
                    <a:pt x="2407444" y="332899"/>
                  </a:cubicBezTo>
                  <a:cubicBezTo>
                    <a:pt x="2407444" y="332899"/>
                    <a:pt x="2407444" y="335756"/>
                    <a:pt x="2407444" y="340519"/>
                  </a:cubicBezTo>
                  <a:cubicBezTo>
                    <a:pt x="2406491" y="344329"/>
                    <a:pt x="2405539" y="347186"/>
                    <a:pt x="2404586" y="350996"/>
                  </a:cubicBezTo>
                  <a:cubicBezTo>
                    <a:pt x="2403634" y="355759"/>
                    <a:pt x="2401729" y="359569"/>
                    <a:pt x="2400776" y="364331"/>
                  </a:cubicBezTo>
                  <a:cubicBezTo>
                    <a:pt x="2399824" y="357664"/>
                    <a:pt x="2398871" y="350044"/>
                    <a:pt x="2398871" y="343376"/>
                  </a:cubicBezTo>
                  <a:cubicBezTo>
                    <a:pt x="2398871" y="340519"/>
                    <a:pt x="2397919" y="336709"/>
                    <a:pt x="2397919" y="333851"/>
                  </a:cubicBezTo>
                  <a:cubicBezTo>
                    <a:pt x="2397919" y="332899"/>
                    <a:pt x="2397919" y="331946"/>
                    <a:pt x="2398871" y="330994"/>
                  </a:cubicBezTo>
                  <a:cubicBezTo>
                    <a:pt x="2399824" y="325279"/>
                    <a:pt x="2402681" y="321469"/>
                    <a:pt x="2405539" y="317659"/>
                  </a:cubicBezTo>
                  <a:close/>
                  <a:moveTo>
                    <a:pt x="2398871" y="291941"/>
                  </a:moveTo>
                  <a:cubicBezTo>
                    <a:pt x="2398871" y="292894"/>
                    <a:pt x="2399824" y="293846"/>
                    <a:pt x="2399824" y="295751"/>
                  </a:cubicBezTo>
                  <a:cubicBezTo>
                    <a:pt x="2397919" y="298609"/>
                    <a:pt x="2396014" y="300514"/>
                    <a:pt x="2394109" y="303371"/>
                  </a:cubicBezTo>
                  <a:cubicBezTo>
                    <a:pt x="2394109" y="303371"/>
                    <a:pt x="2394109" y="302419"/>
                    <a:pt x="2394109" y="302419"/>
                  </a:cubicBezTo>
                  <a:cubicBezTo>
                    <a:pt x="2396014" y="298609"/>
                    <a:pt x="2397919" y="295751"/>
                    <a:pt x="2398871" y="291941"/>
                  </a:cubicBezTo>
                  <a:close/>
                  <a:moveTo>
                    <a:pt x="2393156" y="267176"/>
                  </a:moveTo>
                  <a:cubicBezTo>
                    <a:pt x="2392204" y="268129"/>
                    <a:pt x="2392204" y="269081"/>
                    <a:pt x="2391251" y="270034"/>
                  </a:cubicBezTo>
                  <a:cubicBezTo>
                    <a:pt x="2390299" y="264319"/>
                    <a:pt x="2390299" y="259556"/>
                    <a:pt x="2389346" y="254794"/>
                  </a:cubicBezTo>
                  <a:cubicBezTo>
                    <a:pt x="2391251" y="258604"/>
                    <a:pt x="2392204" y="263366"/>
                    <a:pt x="2393156" y="267176"/>
                  </a:cubicBezTo>
                  <a:close/>
                  <a:moveTo>
                    <a:pt x="2351246" y="278606"/>
                  </a:moveTo>
                  <a:cubicBezTo>
                    <a:pt x="2351246" y="277654"/>
                    <a:pt x="2351246" y="277654"/>
                    <a:pt x="2351246" y="278606"/>
                  </a:cubicBezTo>
                  <a:lnTo>
                    <a:pt x="2351246" y="275749"/>
                  </a:lnTo>
                  <a:cubicBezTo>
                    <a:pt x="2351246" y="276701"/>
                    <a:pt x="2351246" y="277654"/>
                    <a:pt x="2351246" y="278606"/>
                  </a:cubicBezTo>
                  <a:close/>
                  <a:moveTo>
                    <a:pt x="2378869" y="295751"/>
                  </a:moveTo>
                  <a:cubicBezTo>
                    <a:pt x="2377916" y="298609"/>
                    <a:pt x="2376011" y="300514"/>
                    <a:pt x="2375059" y="303371"/>
                  </a:cubicBezTo>
                  <a:cubicBezTo>
                    <a:pt x="2375059" y="304324"/>
                    <a:pt x="2374106" y="304324"/>
                    <a:pt x="2374106" y="305276"/>
                  </a:cubicBezTo>
                  <a:cubicBezTo>
                    <a:pt x="2374106" y="305276"/>
                    <a:pt x="2374106" y="304324"/>
                    <a:pt x="2374106" y="304324"/>
                  </a:cubicBezTo>
                  <a:cubicBezTo>
                    <a:pt x="2376964" y="261461"/>
                    <a:pt x="2376011" y="231934"/>
                    <a:pt x="2376011" y="231934"/>
                  </a:cubicBezTo>
                  <a:cubicBezTo>
                    <a:pt x="2376011" y="231934"/>
                    <a:pt x="2372201" y="249079"/>
                    <a:pt x="2366486" y="277654"/>
                  </a:cubicBezTo>
                  <a:cubicBezTo>
                    <a:pt x="2365534" y="275749"/>
                    <a:pt x="2365534" y="273844"/>
                    <a:pt x="2364581" y="272891"/>
                  </a:cubicBezTo>
                  <a:cubicBezTo>
                    <a:pt x="2363629" y="270034"/>
                    <a:pt x="2362676" y="267176"/>
                    <a:pt x="2361724" y="264319"/>
                  </a:cubicBezTo>
                  <a:cubicBezTo>
                    <a:pt x="2361724" y="257651"/>
                    <a:pt x="2361724" y="250984"/>
                    <a:pt x="2361724" y="245269"/>
                  </a:cubicBezTo>
                  <a:lnTo>
                    <a:pt x="2365534" y="234791"/>
                  </a:lnTo>
                  <a:lnTo>
                    <a:pt x="2376011" y="211931"/>
                  </a:lnTo>
                  <a:cubicBezTo>
                    <a:pt x="2376011" y="221456"/>
                    <a:pt x="2376011" y="232886"/>
                    <a:pt x="2376011" y="244316"/>
                  </a:cubicBezTo>
                  <a:cubicBezTo>
                    <a:pt x="2376011" y="258604"/>
                    <a:pt x="2376011" y="274796"/>
                    <a:pt x="2376964" y="290989"/>
                  </a:cubicBezTo>
                  <a:cubicBezTo>
                    <a:pt x="2378869" y="292894"/>
                    <a:pt x="2378869" y="293846"/>
                    <a:pt x="2378869" y="295751"/>
                  </a:cubicBezTo>
                  <a:close/>
                  <a:moveTo>
                    <a:pt x="2362676" y="180499"/>
                  </a:moveTo>
                  <a:cubicBezTo>
                    <a:pt x="2364581" y="175736"/>
                    <a:pt x="2366486" y="170974"/>
                    <a:pt x="2368391" y="166211"/>
                  </a:cubicBezTo>
                  <a:cubicBezTo>
                    <a:pt x="2372201" y="157639"/>
                    <a:pt x="2375059" y="149066"/>
                    <a:pt x="2377916" y="140494"/>
                  </a:cubicBezTo>
                  <a:cubicBezTo>
                    <a:pt x="2377916" y="141446"/>
                    <a:pt x="2378869" y="142399"/>
                    <a:pt x="2378869" y="143351"/>
                  </a:cubicBezTo>
                  <a:cubicBezTo>
                    <a:pt x="2379821" y="146209"/>
                    <a:pt x="2379821" y="149066"/>
                    <a:pt x="2378869" y="152876"/>
                  </a:cubicBezTo>
                  <a:cubicBezTo>
                    <a:pt x="2377916" y="149066"/>
                    <a:pt x="2377916" y="147161"/>
                    <a:pt x="2377916" y="147161"/>
                  </a:cubicBezTo>
                  <a:cubicBezTo>
                    <a:pt x="2377916" y="147161"/>
                    <a:pt x="2377916" y="156686"/>
                    <a:pt x="2377916" y="173831"/>
                  </a:cubicBezTo>
                  <a:cubicBezTo>
                    <a:pt x="2377916" y="182404"/>
                    <a:pt x="2377916" y="191929"/>
                    <a:pt x="2377916" y="203359"/>
                  </a:cubicBezTo>
                  <a:cubicBezTo>
                    <a:pt x="2373154" y="210979"/>
                    <a:pt x="2368391" y="219551"/>
                    <a:pt x="2362676" y="227171"/>
                  </a:cubicBezTo>
                  <a:cubicBezTo>
                    <a:pt x="2361724" y="206216"/>
                    <a:pt x="2361724" y="190976"/>
                    <a:pt x="2360771" y="185261"/>
                  </a:cubicBezTo>
                  <a:cubicBezTo>
                    <a:pt x="2361724" y="183356"/>
                    <a:pt x="2361724" y="182404"/>
                    <a:pt x="2362676" y="180499"/>
                  </a:cubicBezTo>
                  <a:close/>
                  <a:moveTo>
                    <a:pt x="2340769" y="241459"/>
                  </a:moveTo>
                  <a:cubicBezTo>
                    <a:pt x="2341721" y="239554"/>
                    <a:pt x="2341721" y="237649"/>
                    <a:pt x="2342674" y="235744"/>
                  </a:cubicBezTo>
                  <a:cubicBezTo>
                    <a:pt x="2344579" y="230981"/>
                    <a:pt x="2345531" y="226219"/>
                    <a:pt x="2347436" y="221456"/>
                  </a:cubicBezTo>
                  <a:cubicBezTo>
                    <a:pt x="2352199" y="210026"/>
                    <a:pt x="2356009" y="198596"/>
                    <a:pt x="2359819" y="187166"/>
                  </a:cubicBezTo>
                  <a:cubicBezTo>
                    <a:pt x="2358866" y="194786"/>
                    <a:pt x="2356961" y="212884"/>
                    <a:pt x="2355056" y="236696"/>
                  </a:cubicBezTo>
                  <a:cubicBezTo>
                    <a:pt x="2354104" y="232886"/>
                    <a:pt x="2353151" y="230029"/>
                    <a:pt x="2353151" y="230029"/>
                  </a:cubicBezTo>
                  <a:cubicBezTo>
                    <a:pt x="2353151" y="230029"/>
                    <a:pt x="2354104" y="233839"/>
                    <a:pt x="2354104" y="241459"/>
                  </a:cubicBezTo>
                  <a:cubicBezTo>
                    <a:pt x="2351246" y="247174"/>
                    <a:pt x="2347436" y="253841"/>
                    <a:pt x="2344579" y="259556"/>
                  </a:cubicBezTo>
                  <a:cubicBezTo>
                    <a:pt x="2344579" y="259556"/>
                    <a:pt x="2344579" y="259556"/>
                    <a:pt x="2344579" y="259556"/>
                  </a:cubicBezTo>
                  <a:cubicBezTo>
                    <a:pt x="2342674" y="254794"/>
                    <a:pt x="2340769" y="250031"/>
                    <a:pt x="2339816" y="245269"/>
                  </a:cubicBezTo>
                  <a:lnTo>
                    <a:pt x="2340769" y="241459"/>
                  </a:lnTo>
                  <a:close/>
                  <a:moveTo>
                    <a:pt x="2344579" y="320516"/>
                  </a:moveTo>
                  <a:cubicBezTo>
                    <a:pt x="2342674" y="316706"/>
                    <a:pt x="2340769" y="313849"/>
                    <a:pt x="2339816" y="310991"/>
                  </a:cubicBezTo>
                  <a:lnTo>
                    <a:pt x="2339816" y="310039"/>
                  </a:lnTo>
                  <a:cubicBezTo>
                    <a:pt x="2341721" y="313849"/>
                    <a:pt x="2343626" y="317659"/>
                    <a:pt x="2344579" y="320516"/>
                  </a:cubicBezTo>
                  <a:close/>
                  <a:moveTo>
                    <a:pt x="2337911" y="317659"/>
                  </a:moveTo>
                  <a:cubicBezTo>
                    <a:pt x="2338864" y="320516"/>
                    <a:pt x="2339816" y="324326"/>
                    <a:pt x="2341721" y="327184"/>
                  </a:cubicBezTo>
                  <a:lnTo>
                    <a:pt x="2336959" y="321469"/>
                  </a:lnTo>
                  <a:lnTo>
                    <a:pt x="2337911" y="317659"/>
                  </a:lnTo>
                  <a:close/>
                  <a:moveTo>
                    <a:pt x="2332196" y="280511"/>
                  </a:moveTo>
                  <a:cubicBezTo>
                    <a:pt x="2332196" y="281464"/>
                    <a:pt x="2333149" y="282416"/>
                    <a:pt x="2333149" y="283369"/>
                  </a:cubicBezTo>
                  <a:cubicBezTo>
                    <a:pt x="2333149" y="282416"/>
                    <a:pt x="2332196" y="282416"/>
                    <a:pt x="2332196" y="281464"/>
                  </a:cubicBezTo>
                  <a:lnTo>
                    <a:pt x="2332196" y="280511"/>
                  </a:lnTo>
                  <a:close/>
                  <a:moveTo>
                    <a:pt x="2330291" y="289084"/>
                  </a:moveTo>
                  <a:cubicBezTo>
                    <a:pt x="2330291" y="290036"/>
                    <a:pt x="2331244" y="290989"/>
                    <a:pt x="2331244" y="290989"/>
                  </a:cubicBezTo>
                  <a:lnTo>
                    <a:pt x="2330291" y="292894"/>
                  </a:lnTo>
                  <a:cubicBezTo>
                    <a:pt x="2330291" y="291941"/>
                    <a:pt x="2329339" y="291941"/>
                    <a:pt x="2329339" y="290989"/>
                  </a:cubicBezTo>
                  <a:lnTo>
                    <a:pt x="2330291" y="289084"/>
                  </a:lnTo>
                  <a:close/>
                  <a:moveTo>
                    <a:pt x="2329339" y="293846"/>
                  </a:moveTo>
                  <a:lnTo>
                    <a:pt x="2329339" y="292894"/>
                  </a:lnTo>
                  <a:cubicBezTo>
                    <a:pt x="2329339" y="293846"/>
                    <a:pt x="2329339" y="293846"/>
                    <a:pt x="2330291" y="294799"/>
                  </a:cubicBezTo>
                  <a:lnTo>
                    <a:pt x="2328386" y="299561"/>
                  </a:lnTo>
                  <a:cubicBezTo>
                    <a:pt x="2328386" y="299561"/>
                    <a:pt x="2328386" y="299561"/>
                    <a:pt x="2328386" y="298609"/>
                  </a:cubicBezTo>
                  <a:lnTo>
                    <a:pt x="2329339" y="293846"/>
                  </a:lnTo>
                  <a:close/>
                  <a:moveTo>
                    <a:pt x="2313146" y="194786"/>
                  </a:moveTo>
                  <a:cubicBezTo>
                    <a:pt x="2314099" y="196691"/>
                    <a:pt x="2314099" y="199549"/>
                    <a:pt x="2315051" y="201454"/>
                  </a:cubicBezTo>
                  <a:cubicBezTo>
                    <a:pt x="2315051" y="202406"/>
                    <a:pt x="2316004" y="203359"/>
                    <a:pt x="2316004" y="205264"/>
                  </a:cubicBezTo>
                  <a:cubicBezTo>
                    <a:pt x="2315051" y="208121"/>
                    <a:pt x="2314099" y="211931"/>
                    <a:pt x="2314099" y="214789"/>
                  </a:cubicBezTo>
                  <a:cubicBezTo>
                    <a:pt x="2314099" y="214789"/>
                    <a:pt x="2314099" y="214789"/>
                    <a:pt x="2314099" y="214789"/>
                  </a:cubicBezTo>
                  <a:cubicBezTo>
                    <a:pt x="2313146" y="211931"/>
                    <a:pt x="2311241" y="210026"/>
                    <a:pt x="2310289" y="207169"/>
                  </a:cubicBezTo>
                  <a:cubicBezTo>
                    <a:pt x="2311241" y="202406"/>
                    <a:pt x="2312194" y="198596"/>
                    <a:pt x="2313146" y="194786"/>
                  </a:cubicBezTo>
                  <a:close/>
                  <a:moveTo>
                    <a:pt x="2304574" y="197644"/>
                  </a:moveTo>
                  <a:cubicBezTo>
                    <a:pt x="2304574" y="198596"/>
                    <a:pt x="2305526" y="199549"/>
                    <a:pt x="2305526" y="200501"/>
                  </a:cubicBezTo>
                  <a:cubicBezTo>
                    <a:pt x="2304574" y="202406"/>
                    <a:pt x="2304574" y="204311"/>
                    <a:pt x="2303621" y="205264"/>
                  </a:cubicBezTo>
                  <a:cubicBezTo>
                    <a:pt x="2304574" y="203359"/>
                    <a:pt x="2304574" y="200501"/>
                    <a:pt x="2304574" y="197644"/>
                  </a:cubicBezTo>
                  <a:close/>
                  <a:moveTo>
                    <a:pt x="2297906" y="272891"/>
                  </a:moveTo>
                  <a:cubicBezTo>
                    <a:pt x="2298859" y="267176"/>
                    <a:pt x="2298859" y="262414"/>
                    <a:pt x="2298859" y="256699"/>
                  </a:cubicBezTo>
                  <a:cubicBezTo>
                    <a:pt x="2298859" y="254794"/>
                    <a:pt x="2299811" y="252889"/>
                    <a:pt x="2299811" y="250984"/>
                  </a:cubicBezTo>
                  <a:cubicBezTo>
                    <a:pt x="2303621" y="236696"/>
                    <a:pt x="2306479" y="223361"/>
                    <a:pt x="2308384" y="211931"/>
                  </a:cubicBezTo>
                  <a:cubicBezTo>
                    <a:pt x="2308384" y="212884"/>
                    <a:pt x="2309336" y="214789"/>
                    <a:pt x="2309336" y="215741"/>
                  </a:cubicBezTo>
                  <a:cubicBezTo>
                    <a:pt x="2310289" y="217646"/>
                    <a:pt x="2310289" y="219551"/>
                    <a:pt x="2311241" y="221456"/>
                  </a:cubicBezTo>
                  <a:cubicBezTo>
                    <a:pt x="2311241" y="221456"/>
                    <a:pt x="2311241" y="221456"/>
                    <a:pt x="2311241" y="221456"/>
                  </a:cubicBezTo>
                  <a:cubicBezTo>
                    <a:pt x="2309336" y="231934"/>
                    <a:pt x="2306479" y="242411"/>
                    <a:pt x="2304574" y="253841"/>
                  </a:cubicBezTo>
                  <a:cubicBezTo>
                    <a:pt x="2302669" y="252889"/>
                    <a:pt x="2302669" y="251936"/>
                    <a:pt x="2302669" y="251936"/>
                  </a:cubicBezTo>
                  <a:cubicBezTo>
                    <a:pt x="2302669" y="251936"/>
                    <a:pt x="2303621" y="252889"/>
                    <a:pt x="2304574" y="253841"/>
                  </a:cubicBezTo>
                  <a:cubicBezTo>
                    <a:pt x="2302669" y="260509"/>
                    <a:pt x="2301716" y="268129"/>
                    <a:pt x="2299811" y="274796"/>
                  </a:cubicBezTo>
                  <a:cubicBezTo>
                    <a:pt x="2297906" y="283369"/>
                    <a:pt x="2296001" y="291941"/>
                    <a:pt x="2294096" y="300514"/>
                  </a:cubicBezTo>
                  <a:cubicBezTo>
                    <a:pt x="2296954" y="291941"/>
                    <a:pt x="2297906" y="282416"/>
                    <a:pt x="2297906" y="272891"/>
                  </a:cubicBezTo>
                  <a:close/>
                  <a:moveTo>
                    <a:pt x="2271236" y="369094"/>
                  </a:moveTo>
                  <a:cubicBezTo>
                    <a:pt x="2271236" y="371951"/>
                    <a:pt x="2271236" y="374809"/>
                    <a:pt x="2270284" y="376714"/>
                  </a:cubicBezTo>
                  <a:lnTo>
                    <a:pt x="2270284" y="376714"/>
                  </a:lnTo>
                  <a:cubicBezTo>
                    <a:pt x="2270284" y="375761"/>
                    <a:pt x="2270284" y="373856"/>
                    <a:pt x="2270284" y="372904"/>
                  </a:cubicBezTo>
                  <a:cubicBezTo>
                    <a:pt x="2270284" y="371951"/>
                    <a:pt x="2270284" y="370046"/>
                    <a:pt x="2271236" y="369094"/>
                  </a:cubicBezTo>
                  <a:close/>
                  <a:moveTo>
                    <a:pt x="2252186" y="297656"/>
                  </a:moveTo>
                  <a:cubicBezTo>
                    <a:pt x="2252186" y="302419"/>
                    <a:pt x="2251234" y="307181"/>
                    <a:pt x="2251234" y="311944"/>
                  </a:cubicBezTo>
                  <a:cubicBezTo>
                    <a:pt x="2251234" y="310991"/>
                    <a:pt x="2250281" y="310039"/>
                    <a:pt x="2250281" y="308134"/>
                  </a:cubicBezTo>
                  <a:cubicBezTo>
                    <a:pt x="2251234" y="305276"/>
                    <a:pt x="2252186" y="301466"/>
                    <a:pt x="2252186" y="297656"/>
                  </a:cubicBezTo>
                  <a:close/>
                  <a:moveTo>
                    <a:pt x="2215991" y="252889"/>
                  </a:moveTo>
                  <a:lnTo>
                    <a:pt x="2215991" y="256699"/>
                  </a:lnTo>
                  <a:cubicBezTo>
                    <a:pt x="2215991" y="256699"/>
                    <a:pt x="2215991" y="256699"/>
                    <a:pt x="2215991" y="256699"/>
                  </a:cubicBezTo>
                  <a:cubicBezTo>
                    <a:pt x="2215039" y="255746"/>
                    <a:pt x="2215991" y="254794"/>
                    <a:pt x="2215991" y="252889"/>
                  </a:cubicBezTo>
                  <a:close/>
                  <a:moveTo>
                    <a:pt x="2211229" y="281464"/>
                  </a:moveTo>
                  <a:cubicBezTo>
                    <a:pt x="2212181" y="273844"/>
                    <a:pt x="2213134" y="267176"/>
                    <a:pt x="2214086" y="260509"/>
                  </a:cubicBezTo>
                  <a:cubicBezTo>
                    <a:pt x="2214086" y="260509"/>
                    <a:pt x="2215039" y="261461"/>
                    <a:pt x="2215039" y="261461"/>
                  </a:cubicBezTo>
                  <a:lnTo>
                    <a:pt x="2215039" y="267176"/>
                  </a:lnTo>
                  <a:cubicBezTo>
                    <a:pt x="2214086" y="277654"/>
                    <a:pt x="2213134" y="289084"/>
                    <a:pt x="2212181" y="299561"/>
                  </a:cubicBezTo>
                  <a:cubicBezTo>
                    <a:pt x="2210276" y="302419"/>
                    <a:pt x="2208371" y="306229"/>
                    <a:pt x="2206466" y="309086"/>
                  </a:cubicBezTo>
                  <a:cubicBezTo>
                    <a:pt x="2208371" y="299561"/>
                    <a:pt x="2210276" y="290036"/>
                    <a:pt x="2211229" y="281464"/>
                  </a:cubicBezTo>
                  <a:close/>
                  <a:moveTo>
                    <a:pt x="2205514" y="337661"/>
                  </a:moveTo>
                  <a:cubicBezTo>
                    <a:pt x="2205514" y="338614"/>
                    <a:pt x="2204561" y="338614"/>
                    <a:pt x="2204561" y="339566"/>
                  </a:cubicBezTo>
                  <a:cubicBezTo>
                    <a:pt x="2204561" y="339566"/>
                    <a:pt x="2204561" y="339566"/>
                    <a:pt x="2204561" y="340519"/>
                  </a:cubicBezTo>
                  <a:cubicBezTo>
                    <a:pt x="2204561" y="339566"/>
                    <a:pt x="2204561" y="338614"/>
                    <a:pt x="2205514" y="337661"/>
                  </a:cubicBezTo>
                  <a:close/>
                  <a:moveTo>
                    <a:pt x="2183606" y="336709"/>
                  </a:moveTo>
                  <a:cubicBezTo>
                    <a:pt x="2183606" y="338614"/>
                    <a:pt x="2184559" y="341471"/>
                    <a:pt x="2185511" y="345281"/>
                  </a:cubicBezTo>
                  <a:cubicBezTo>
                    <a:pt x="2185511" y="347186"/>
                    <a:pt x="2184559" y="349091"/>
                    <a:pt x="2184559" y="350044"/>
                  </a:cubicBezTo>
                  <a:cubicBezTo>
                    <a:pt x="2184559" y="347186"/>
                    <a:pt x="2183606" y="343376"/>
                    <a:pt x="2183606" y="340519"/>
                  </a:cubicBezTo>
                  <a:cubicBezTo>
                    <a:pt x="2183606" y="339566"/>
                    <a:pt x="2183606" y="338614"/>
                    <a:pt x="2183606" y="337661"/>
                  </a:cubicBezTo>
                  <a:cubicBezTo>
                    <a:pt x="2182654" y="337661"/>
                    <a:pt x="2182654" y="337661"/>
                    <a:pt x="2183606" y="336709"/>
                  </a:cubicBezTo>
                  <a:close/>
                  <a:moveTo>
                    <a:pt x="2178844" y="345281"/>
                  </a:moveTo>
                  <a:cubicBezTo>
                    <a:pt x="2178844" y="349091"/>
                    <a:pt x="2178844" y="352901"/>
                    <a:pt x="2178844" y="357664"/>
                  </a:cubicBezTo>
                  <a:cubicBezTo>
                    <a:pt x="2177891" y="355759"/>
                    <a:pt x="2176939" y="352901"/>
                    <a:pt x="2175986" y="350996"/>
                  </a:cubicBezTo>
                  <a:cubicBezTo>
                    <a:pt x="2176939" y="348139"/>
                    <a:pt x="2177891" y="346234"/>
                    <a:pt x="2178844" y="345281"/>
                  </a:cubicBezTo>
                  <a:close/>
                  <a:moveTo>
                    <a:pt x="2150269" y="278606"/>
                  </a:moveTo>
                  <a:cubicBezTo>
                    <a:pt x="2155031" y="261461"/>
                    <a:pt x="2159794" y="246221"/>
                    <a:pt x="2162651" y="232886"/>
                  </a:cubicBezTo>
                  <a:cubicBezTo>
                    <a:pt x="2162651" y="233839"/>
                    <a:pt x="2162651" y="234791"/>
                    <a:pt x="2161699" y="235744"/>
                  </a:cubicBezTo>
                  <a:cubicBezTo>
                    <a:pt x="2160746" y="241459"/>
                    <a:pt x="2158841" y="248126"/>
                    <a:pt x="2157889" y="253841"/>
                  </a:cubicBezTo>
                  <a:cubicBezTo>
                    <a:pt x="2156936" y="260509"/>
                    <a:pt x="2155984" y="267176"/>
                    <a:pt x="2154079" y="274796"/>
                  </a:cubicBezTo>
                  <a:cubicBezTo>
                    <a:pt x="2153126" y="280511"/>
                    <a:pt x="2152174" y="287179"/>
                    <a:pt x="2151221" y="293846"/>
                  </a:cubicBezTo>
                  <a:cubicBezTo>
                    <a:pt x="2149316" y="290036"/>
                    <a:pt x="2148364" y="288131"/>
                    <a:pt x="2148364" y="288131"/>
                  </a:cubicBezTo>
                  <a:cubicBezTo>
                    <a:pt x="2148364" y="288131"/>
                    <a:pt x="2149316" y="290989"/>
                    <a:pt x="2150269" y="296704"/>
                  </a:cubicBezTo>
                  <a:cubicBezTo>
                    <a:pt x="2149316" y="302419"/>
                    <a:pt x="2148364" y="309086"/>
                    <a:pt x="2147411" y="314801"/>
                  </a:cubicBezTo>
                  <a:cubicBezTo>
                    <a:pt x="2143601" y="309086"/>
                    <a:pt x="2140744" y="305276"/>
                    <a:pt x="2140744" y="305276"/>
                  </a:cubicBezTo>
                  <a:cubicBezTo>
                    <a:pt x="2145506" y="296704"/>
                    <a:pt x="2147411" y="287179"/>
                    <a:pt x="2150269" y="278606"/>
                  </a:cubicBezTo>
                  <a:close/>
                  <a:moveTo>
                    <a:pt x="2142649" y="305276"/>
                  </a:moveTo>
                  <a:cubicBezTo>
                    <a:pt x="2142649" y="306229"/>
                    <a:pt x="2144554" y="310991"/>
                    <a:pt x="2148364" y="319564"/>
                  </a:cubicBezTo>
                  <a:cubicBezTo>
                    <a:pt x="2148364" y="319564"/>
                    <a:pt x="2148364" y="320516"/>
                    <a:pt x="2148364" y="320516"/>
                  </a:cubicBezTo>
                  <a:cubicBezTo>
                    <a:pt x="2148364" y="320516"/>
                    <a:pt x="2148364" y="321469"/>
                    <a:pt x="2148364" y="321469"/>
                  </a:cubicBezTo>
                  <a:cubicBezTo>
                    <a:pt x="2147411" y="328136"/>
                    <a:pt x="2146459" y="335756"/>
                    <a:pt x="2145506" y="343376"/>
                  </a:cubicBezTo>
                  <a:cubicBezTo>
                    <a:pt x="2143601" y="336709"/>
                    <a:pt x="2141696" y="330994"/>
                    <a:pt x="2139791" y="324326"/>
                  </a:cubicBezTo>
                  <a:cubicBezTo>
                    <a:pt x="2139791" y="323374"/>
                    <a:pt x="2138839" y="321469"/>
                    <a:pt x="2138839" y="320516"/>
                  </a:cubicBezTo>
                  <a:cubicBezTo>
                    <a:pt x="2138839" y="315754"/>
                    <a:pt x="2140744" y="310991"/>
                    <a:pt x="2142649" y="305276"/>
                  </a:cubicBezTo>
                  <a:close/>
                  <a:moveTo>
                    <a:pt x="2058829" y="353854"/>
                  </a:moveTo>
                  <a:cubicBezTo>
                    <a:pt x="2057876" y="357664"/>
                    <a:pt x="2056924" y="362426"/>
                    <a:pt x="2056924" y="366236"/>
                  </a:cubicBezTo>
                  <a:cubicBezTo>
                    <a:pt x="2056924" y="364331"/>
                    <a:pt x="2055971" y="363379"/>
                    <a:pt x="2055971" y="361474"/>
                  </a:cubicBezTo>
                  <a:cubicBezTo>
                    <a:pt x="2055019" y="358616"/>
                    <a:pt x="2055019" y="355759"/>
                    <a:pt x="2054066" y="352901"/>
                  </a:cubicBezTo>
                  <a:cubicBezTo>
                    <a:pt x="2054066" y="352901"/>
                    <a:pt x="2054066" y="352901"/>
                    <a:pt x="2054066" y="351949"/>
                  </a:cubicBezTo>
                  <a:cubicBezTo>
                    <a:pt x="2055971" y="347186"/>
                    <a:pt x="2057876" y="343376"/>
                    <a:pt x="2059781" y="338614"/>
                  </a:cubicBezTo>
                  <a:cubicBezTo>
                    <a:pt x="2059781" y="340519"/>
                    <a:pt x="2060734" y="341471"/>
                    <a:pt x="2060734" y="343376"/>
                  </a:cubicBezTo>
                  <a:cubicBezTo>
                    <a:pt x="2060734" y="347186"/>
                    <a:pt x="2059781" y="350044"/>
                    <a:pt x="2058829" y="353854"/>
                  </a:cubicBezTo>
                  <a:close/>
                  <a:moveTo>
                    <a:pt x="2081689" y="350044"/>
                  </a:moveTo>
                  <a:cubicBezTo>
                    <a:pt x="2080736" y="351949"/>
                    <a:pt x="2080736" y="352901"/>
                    <a:pt x="2079784" y="354806"/>
                  </a:cubicBezTo>
                  <a:cubicBezTo>
                    <a:pt x="2078831" y="351949"/>
                    <a:pt x="2078831" y="350044"/>
                    <a:pt x="2077879" y="347186"/>
                  </a:cubicBezTo>
                  <a:cubicBezTo>
                    <a:pt x="2077879" y="346234"/>
                    <a:pt x="2077879" y="345281"/>
                    <a:pt x="2077879" y="344329"/>
                  </a:cubicBezTo>
                  <a:cubicBezTo>
                    <a:pt x="2078831" y="345281"/>
                    <a:pt x="2079784" y="346234"/>
                    <a:pt x="2080736" y="348139"/>
                  </a:cubicBezTo>
                  <a:cubicBezTo>
                    <a:pt x="2080736" y="348139"/>
                    <a:pt x="2080736" y="349091"/>
                    <a:pt x="2081689" y="350044"/>
                  </a:cubicBezTo>
                  <a:cubicBezTo>
                    <a:pt x="2081689" y="350044"/>
                    <a:pt x="2081689" y="350044"/>
                    <a:pt x="2081689" y="350044"/>
                  </a:cubicBezTo>
                  <a:close/>
                  <a:moveTo>
                    <a:pt x="2081689" y="339566"/>
                  </a:moveTo>
                  <a:cubicBezTo>
                    <a:pt x="2081689" y="340519"/>
                    <a:pt x="2081689" y="341471"/>
                    <a:pt x="2081689" y="341471"/>
                  </a:cubicBezTo>
                  <a:cubicBezTo>
                    <a:pt x="2080736" y="340519"/>
                    <a:pt x="2079784" y="338614"/>
                    <a:pt x="2078831" y="337661"/>
                  </a:cubicBezTo>
                  <a:cubicBezTo>
                    <a:pt x="2078831" y="334804"/>
                    <a:pt x="2079784" y="331946"/>
                    <a:pt x="2079784" y="330041"/>
                  </a:cubicBezTo>
                  <a:cubicBezTo>
                    <a:pt x="2080736" y="332899"/>
                    <a:pt x="2081689" y="335756"/>
                    <a:pt x="2081689" y="339566"/>
                  </a:cubicBezTo>
                  <a:cubicBezTo>
                    <a:pt x="2081689" y="338614"/>
                    <a:pt x="2081689" y="338614"/>
                    <a:pt x="2081689" y="339566"/>
                  </a:cubicBezTo>
                  <a:close/>
                  <a:moveTo>
                    <a:pt x="2085499" y="290036"/>
                  </a:moveTo>
                  <a:cubicBezTo>
                    <a:pt x="2085499" y="295751"/>
                    <a:pt x="2084546" y="301466"/>
                    <a:pt x="2084546" y="307181"/>
                  </a:cubicBezTo>
                  <a:cubicBezTo>
                    <a:pt x="2084546" y="306229"/>
                    <a:pt x="2083594" y="305276"/>
                    <a:pt x="2083594" y="303371"/>
                  </a:cubicBezTo>
                  <a:cubicBezTo>
                    <a:pt x="2084546" y="292894"/>
                    <a:pt x="2085499" y="282416"/>
                    <a:pt x="2086451" y="273844"/>
                  </a:cubicBezTo>
                  <a:cubicBezTo>
                    <a:pt x="2086451" y="271939"/>
                    <a:pt x="2086451" y="269081"/>
                    <a:pt x="2087404" y="267176"/>
                  </a:cubicBezTo>
                  <a:cubicBezTo>
                    <a:pt x="2086451" y="274796"/>
                    <a:pt x="2085499" y="282416"/>
                    <a:pt x="2085499" y="290036"/>
                  </a:cubicBezTo>
                  <a:close/>
                  <a:moveTo>
                    <a:pt x="2089309" y="180499"/>
                  </a:moveTo>
                  <a:cubicBezTo>
                    <a:pt x="2089309" y="186214"/>
                    <a:pt x="2089309" y="192881"/>
                    <a:pt x="2089309" y="200501"/>
                  </a:cubicBezTo>
                  <a:cubicBezTo>
                    <a:pt x="2088356" y="197644"/>
                    <a:pt x="2086451" y="194786"/>
                    <a:pt x="2086451" y="192881"/>
                  </a:cubicBezTo>
                  <a:cubicBezTo>
                    <a:pt x="2087404" y="188119"/>
                    <a:pt x="2088356" y="184309"/>
                    <a:pt x="2089309" y="180499"/>
                  </a:cubicBezTo>
                  <a:close/>
                  <a:moveTo>
                    <a:pt x="2072164" y="241459"/>
                  </a:moveTo>
                  <a:cubicBezTo>
                    <a:pt x="2077879" y="223361"/>
                    <a:pt x="2082641" y="207169"/>
                    <a:pt x="2086451" y="193834"/>
                  </a:cubicBezTo>
                  <a:cubicBezTo>
                    <a:pt x="2087404" y="197644"/>
                    <a:pt x="2088356" y="201454"/>
                    <a:pt x="2090261" y="207169"/>
                  </a:cubicBezTo>
                  <a:cubicBezTo>
                    <a:pt x="2090261" y="207169"/>
                    <a:pt x="2090261" y="207169"/>
                    <a:pt x="2090261" y="208121"/>
                  </a:cubicBezTo>
                  <a:cubicBezTo>
                    <a:pt x="2087404" y="221456"/>
                    <a:pt x="2081689" y="244316"/>
                    <a:pt x="2075974" y="271939"/>
                  </a:cubicBezTo>
                  <a:cubicBezTo>
                    <a:pt x="2075021" y="274796"/>
                    <a:pt x="2075021" y="278606"/>
                    <a:pt x="2074069" y="282416"/>
                  </a:cubicBezTo>
                  <a:cubicBezTo>
                    <a:pt x="2072164" y="278606"/>
                    <a:pt x="2070259" y="274796"/>
                    <a:pt x="2068354" y="271939"/>
                  </a:cubicBezTo>
                  <a:cubicBezTo>
                    <a:pt x="2067401" y="270034"/>
                    <a:pt x="2066449" y="268129"/>
                    <a:pt x="2065496" y="266224"/>
                  </a:cubicBezTo>
                  <a:cubicBezTo>
                    <a:pt x="2067401" y="257651"/>
                    <a:pt x="2069306" y="249079"/>
                    <a:pt x="2072164" y="241459"/>
                  </a:cubicBezTo>
                  <a:close/>
                  <a:moveTo>
                    <a:pt x="2062639" y="270034"/>
                  </a:moveTo>
                  <a:cubicBezTo>
                    <a:pt x="2062639" y="270986"/>
                    <a:pt x="2063591" y="271939"/>
                    <a:pt x="2063591" y="272891"/>
                  </a:cubicBezTo>
                  <a:cubicBezTo>
                    <a:pt x="2065496" y="278606"/>
                    <a:pt x="2067401" y="285274"/>
                    <a:pt x="2069306" y="292894"/>
                  </a:cubicBezTo>
                  <a:cubicBezTo>
                    <a:pt x="2069306" y="293846"/>
                    <a:pt x="2069306" y="293846"/>
                    <a:pt x="2070259" y="294799"/>
                  </a:cubicBezTo>
                  <a:cubicBezTo>
                    <a:pt x="2069306" y="299561"/>
                    <a:pt x="2068354" y="305276"/>
                    <a:pt x="2067401" y="310039"/>
                  </a:cubicBezTo>
                  <a:cubicBezTo>
                    <a:pt x="2066449" y="308134"/>
                    <a:pt x="2066449" y="305276"/>
                    <a:pt x="2065496" y="303371"/>
                  </a:cubicBezTo>
                  <a:cubicBezTo>
                    <a:pt x="2063591" y="296704"/>
                    <a:pt x="2060734" y="290036"/>
                    <a:pt x="2058829" y="284321"/>
                  </a:cubicBezTo>
                  <a:cubicBezTo>
                    <a:pt x="2059781" y="279559"/>
                    <a:pt x="2061686" y="274796"/>
                    <a:pt x="2062639" y="270034"/>
                  </a:cubicBezTo>
                  <a:close/>
                  <a:moveTo>
                    <a:pt x="2053114" y="301466"/>
                  </a:moveTo>
                  <a:cubicBezTo>
                    <a:pt x="2053114" y="303371"/>
                    <a:pt x="2054066" y="304324"/>
                    <a:pt x="2054066" y="306229"/>
                  </a:cubicBezTo>
                  <a:cubicBezTo>
                    <a:pt x="2055019" y="310991"/>
                    <a:pt x="2055971" y="315754"/>
                    <a:pt x="2056924" y="320516"/>
                  </a:cubicBezTo>
                  <a:cubicBezTo>
                    <a:pt x="2056924" y="320516"/>
                    <a:pt x="2055971" y="320516"/>
                    <a:pt x="2055971" y="320516"/>
                  </a:cubicBezTo>
                  <a:cubicBezTo>
                    <a:pt x="2051209" y="318611"/>
                    <a:pt x="2049304" y="317659"/>
                    <a:pt x="2049304" y="317659"/>
                  </a:cubicBezTo>
                  <a:cubicBezTo>
                    <a:pt x="2049304" y="317659"/>
                    <a:pt x="2051209" y="319564"/>
                    <a:pt x="2055971" y="321469"/>
                  </a:cubicBezTo>
                  <a:cubicBezTo>
                    <a:pt x="2056924" y="321469"/>
                    <a:pt x="2056924" y="322421"/>
                    <a:pt x="2057876" y="322421"/>
                  </a:cubicBezTo>
                  <a:cubicBezTo>
                    <a:pt x="2058829" y="326231"/>
                    <a:pt x="2058829" y="329089"/>
                    <a:pt x="2059781" y="332899"/>
                  </a:cubicBezTo>
                  <a:cubicBezTo>
                    <a:pt x="2057876" y="335756"/>
                    <a:pt x="2055971" y="338614"/>
                    <a:pt x="2053114" y="342424"/>
                  </a:cubicBezTo>
                  <a:cubicBezTo>
                    <a:pt x="2052161" y="335756"/>
                    <a:pt x="2050256" y="328136"/>
                    <a:pt x="2049304" y="321469"/>
                  </a:cubicBezTo>
                  <a:cubicBezTo>
                    <a:pt x="2049304" y="319564"/>
                    <a:pt x="2049304" y="317659"/>
                    <a:pt x="2049304" y="315754"/>
                  </a:cubicBezTo>
                  <a:cubicBezTo>
                    <a:pt x="2050256" y="310991"/>
                    <a:pt x="2052161" y="305276"/>
                    <a:pt x="2053114" y="301466"/>
                  </a:cubicBezTo>
                  <a:close/>
                  <a:moveTo>
                    <a:pt x="2044541" y="260509"/>
                  </a:moveTo>
                  <a:cubicBezTo>
                    <a:pt x="2044541" y="260509"/>
                    <a:pt x="2044541" y="260509"/>
                    <a:pt x="2044541" y="260509"/>
                  </a:cubicBezTo>
                  <a:cubicBezTo>
                    <a:pt x="2044541" y="260509"/>
                    <a:pt x="2044541" y="259556"/>
                    <a:pt x="2044541" y="259556"/>
                  </a:cubicBezTo>
                  <a:cubicBezTo>
                    <a:pt x="2044541" y="259556"/>
                    <a:pt x="2044541" y="259556"/>
                    <a:pt x="2044541" y="260509"/>
                  </a:cubicBezTo>
                  <a:close/>
                  <a:moveTo>
                    <a:pt x="2019776" y="188119"/>
                  </a:moveTo>
                  <a:cubicBezTo>
                    <a:pt x="2019776" y="187166"/>
                    <a:pt x="2019776" y="186214"/>
                    <a:pt x="2019776" y="185261"/>
                  </a:cubicBezTo>
                  <a:cubicBezTo>
                    <a:pt x="2019776" y="182404"/>
                    <a:pt x="2020729" y="179546"/>
                    <a:pt x="2020729" y="177641"/>
                  </a:cubicBezTo>
                  <a:cubicBezTo>
                    <a:pt x="2020729" y="180499"/>
                    <a:pt x="2020729" y="184309"/>
                    <a:pt x="2020729" y="189071"/>
                  </a:cubicBezTo>
                  <a:cubicBezTo>
                    <a:pt x="2020729" y="197644"/>
                    <a:pt x="2021681" y="208121"/>
                    <a:pt x="2021681" y="220504"/>
                  </a:cubicBezTo>
                  <a:cubicBezTo>
                    <a:pt x="2021681" y="228124"/>
                    <a:pt x="2022634" y="235744"/>
                    <a:pt x="2023586" y="244316"/>
                  </a:cubicBezTo>
                  <a:cubicBezTo>
                    <a:pt x="2023586" y="245269"/>
                    <a:pt x="2022634" y="246221"/>
                    <a:pt x="2022634" y="247174"/>
                  </a:cubicBezTo>
                  <a:cubicBezTo>
                    <a:pt x="2020729" y="238601"/>
                    <a:pt x="2018824" y="230029"/>
                    <a:pt x="2016919" y="222409"/>
                  </a:cubicBezTo>
                  <a:cubicBezTo>
                    <a:pt x="2018824" y="209074"/>
                    <a:pt x="2018824" y="197644"/>
                    <a:pt x="2019776" y="188119"/>
                  </a:cubicBezTo>
                  <a:close/>
                  <a:moveTo>
                    <a:pt x="1999774" y="298609"/>
                  </a:moveTo>
                  <a:cubicBezTo>
                    <a:pt x="1999774" y="300514"/>
                    <a:pt x="1999774" y="302419"/>
                    <a:pt x="1999774" y="304324"/>
                  </a:cubicBezTo>
                  <a:cubicBezTo>
                    <a:pt x="1998821" y="306229"/>
                    <a:pt x="1998821" y="308134"/>
                    <a:pt x="1997869" y="310039"/>
                  </a:cubicBezTo>
                  <a:cubicBezTo>
                    <a:pt x="1998821" y="306229"/>
                    <a:pt x="1999774" y="302419"/>
                    <a:pt x="1999774" y="298609"/>
                  </a:cubicBezTo>
                  <a:close/>
                  <a:moveTo>
                    <a:pt x="1992154" y="349091"/>
                  </a:moveTo>
                  <a:cubicBezTo>
                    <a:pt x="1992154" y="351949"/>
                    <a:pt x="1992154" y="355759"/>
                    <a:pt x="1992154" y="359569"/>
                  </a:cubicBezTo>
                  <a:cubicBezTo>
                    <a:pt x="1992154" y="362426"/>
                    <a:pt x="1992154" y="366236"/>
                    <a:pt x="1992154" y="369094"/>
                  </a:cubicBezTo>
                  <a:cubicBezTo>
                    <a:pt x="1991201" y="370046"/>
                    <a:pt x="1990249" y="371951"/>
                    <a:pt x="1988344" y="373856"/>
                  </a:cubicBezTo>
                  <a:cubicBezTo>
                    <a:pt x="1990249" y="365284"/>
                    <a:pt x="1991201" y="356711"/>
                    <a:pt x="1992154" y="349091"/>
                  </a:cubicBezTo>
                  <a:close/>
                  <a:moveTo>
                    <a:pt x="1987391" y="381476"/>
                  </a:moveTo>
                  <a:cubicBezTo>
                    <a:pt x="1987391" y="381476"/>
                    <a:pt x="1987391" y="381476"/>
                    <a:pt x="1987391" y="381476"/>
                  </a:cubicBezTo>
                  <a:cubicBezTo>
                    <a:pt x="1989296" y="377666"/>
                    <a:pt x="1991201" y="374809"/>
                    <a:pt x="1992154" y="372904"/>
                  </a:cubicBezTo>
                  <a:cubicBezTo>
                    <a:pt x="1992154" y="374809"/>
                    <a:pt x="1992154" y="377666"/>
                    <a:pt x="1992154" y="379571"/>
                  </a:cubicBezTo>
                  <a:cubicBezTo>
                    <a:pt x="1992154" y="381476"/>
                    <a:pt x="1991201" y="384334"/>
                    <a:pt x="1991201" y="386239"/>
                  </a:cubicBezTo>
                  <a:cubicBezTo>
                    <a:pt x="1990249" y="391001"/>
                    <a:pt x="1989296" y="395764"/>
                    <a:pt x="1988344" y="400526"/>
                  </a:cubicBezTo>
                  <a:cubicBezTo>
                    <a:pt x="1988344" y="400526"/>
                    <a:pt x="1988344" y="399574"/>
                    <a:pt x="1988344" y="399574"/>
                  </a:cubicBezTo>
                  <a:cubicBezTo>
                    <a:pt x="1987391" y="397669"/>
                    <a:pt x="1986439" y="394811"/>
                    <a:pt x="1985486" y="392906"/>
                  </a:cubicBezTo>
                  <a:cubicBezTo>
                    <a:pt x="1986439" y="389096"/>
                    <a:pt x="1986439" y="385286"/>
                    <a:pt x="1987391" y="381476"/>
                  </a:cubicBezTo>
                  <a:close/>
                  <a:moveTo>
                    <a:pt x="1968341" y="290989"/>
                  </a:moveTo>
                  <a:cubicBezTo>
                    <a:pt x="1968341" y="292894"/>
                    <a:pt x="1968341" y="294799"/>
                    <a:pt x="1967389" y="297656"/>
                  </a:cubicBezTo>
                  <a:cubicBezTo>
                    <a:pt x="1967389" y="299561"/>
                    <a:pt x="1966436" y="302419"/>
                    <a:pt x="1966436" y="305276"/>
                  </a:cubicBezTo>
                  <a:cubicBezTo>
                    <a:pt x="1966436" y="309086"/>
                    <a:pt x="1965484" y="313849"/>
                    <a:pt x="1965484" y="318611"/>
                  </a:cubicBezTo>
                  <a:cubicBezTo>
                    <a:pt x="1965484" y="313849"/>
                    <a:pt x="1964531" y="309086"/>
                    <a:pt x="1964531" y="304324"/>
                  </a:cubicBezTo>
                  <a:cubicBezTo>
                    <a:pt x="1964531" y="303371"/>
                    <a:pt x="1964531" y="301466"/>
                    <a:pt x="1964531" y="300514"/>
                  </a:cubicBezTo>
                  <a:cubicBezTo>
                    <a:pt x="1965484" y="296704"/>
                    <a:pt x="1967389" y="293846"/>
                    <a:pt x="1968341" y="290989"/>
                  </a:cubicBezTo>
                  <a:close/>
                  <a:moveTo>
                    <a:pt x="1937861" y="310039"/>
                  </a:moveTo>
                  <a:cubicBezTo>
                    <a:pt x="1937861" y="307181"/>
                    <a:pt x="1937861" y="304324"/>
                    <a:pt x="1937861" y="302419"/>
                  </a:cubicBezTo>
                  <a:cubicBezTo>
                    <a:pt x="1937861" y="300514"/>
                    <a:pt x="1937861" y="297656"/>
                    <a:pt x="1937861" y="295751"/>
                  </a:cubicBezTo>
                  <a:cubicBezTo>
                    <a:pt x="1937861" y="299561"/>
                    <a:pt x="1938814" y="302419"/>
                    <a:pt x="1938814" y="306229"/>
                  </a:cubicBezTo>
                  <a:cubicBezTo>
                    <a:pt x="1938814" y="308134"/>
                    <a:pt x="1938814" y="309086"/>
                    <a:pt x="1937861" y="310039"/>
                  </a:cubicBezTo>
                  <a:close/>
                  <a:moveTo>
                    <a:pt x="1938814" y="272891"/>
                  </a:moveTo>
                  <a:cubicBezTo>
                    <a:pt x="1937861" y="270034"/>
                    <a:pt x="1937861" y="268129"/>
                    <a:pt x="1936909" y="266224"/>
                  </a:cubicBezTo>
                  <a:cubicBezTo>
                    <a:pt x="1936909" y="264319"/>
                    <a:pt x="1936909" y="262414"/>
                    <a:pt x="1936909" y="261461"/>
                  </a:cubicBezTo>
                  <a:cubicBezTo>
                    <a:pt x="1936909" y="256699"/>
                    <a:pt x="1936909" y="250984"/>
                    <a:pt x="1936909" y="246221"/>
                  </a:cubicBezTo>
                  <a:cubicBezTo>
                    <a:pt x="1936909" y="253841"/>
                    <a:pt x="1937861" y="263366"/>
                    <a:pt x="1938814" y="272891"/>
                  </a:cubicBezTo>
                  <a:close/>
                  <a:moveTo>
                    <a:pt x="1900714" y="338614"/>
                  </a:moveTo>
                  <a:cubicBezTo>
                    <a:pt x="1900714" y="336709"/>
                    <a:pt x="1900714" y="334804"/>
                    <a:pt x="1900714" y="333851"/>
                  </a:cubicBezTo>
                  <a:cubicBezTo>
                    <a:pt x="1901666" y="331946"/>
                    <a:pt x="1901666" y="330041"/>
                    <a:pt x="1902619" y="329089"/>
                  </a:cubicBezTo>
                  <a:cubicBezTo>
                    <a:pt x="1903571" y="328136"/>
                    <a:pt x="1904524" y="326231"/>
                    <a:pt x="1904524" y="325279"/>
                  </a:cubicBezTo>
                  <a:cubicBezTo>
                    <a:pt x="1902619" y="330041"/>
                    <a:pt x="1901666" y="333851"/>
                    <a:pt x="1900714" y="338614"/>
                  </a:cubicBezTo>
                  <a:close/>
                  <a:moveTo>
                    <a:pt x="1915954" y="436721"/>
                  </a:moveTo>
                  <a:cubicBezTo>
                    <a:pt x="1915954" y="435769"/>
                    <a:pt x="1915954" y="434816"/>
                    <a:pt x="1915954" y="433864"/>
                  </a:cubicBezTo>
                  <a:cubicBezTo>
                    <a:pt x="1915954" y="433864"/>
                    <a:pt x="1915954" y="434816"/>
                    <a:pt x="1916906" y="434816"/>
                  </a:cubicBezTo>
                  <a:cubicBezTo>
                    <a:pt x="1915954" y="435769"/>
                    <a:pt x="1915954" y="436721"/>
                    <a:pt x="1915954" y="436721"/>
                  </a:cubicBezTo>
                  <a:close/>
                  <a:moveTo>
                    <a:pt x="1920716" y="401479"/>
                  </a:moveTo>
                  <a:cubicBezTo>
                    <a:pt x="1920716" y="403384"/>
                    <a:pt x="1919764" y="405289"/>
                    <a:pt x="1919764" y="407194"/>
                  </a:cubicBezTo>
                  <a:cubicBezTo>
                    <a:pt x="1918811" y="406241"/>
                    <a:pt x="1918811" y="405289"/>
                    <a:pt x="1917859" y="404336"/>
                  </a:cubicBezTo>
                  <a:cubicBezTo>
                    <a:pt x="1918811" y="402431"/>
                    <a:pt x="1919764" y="400526"/>
                    <a:pt x="1919764" y="398621"/>
                  </a:cubicBezTo>
                  <a:cubicBezTo>
                    <a:pt x="1920716" y="399574"/>
                    <a:pt x="1920716" y="400526"/>
                    <a:pt x="1920716" y="401479"/>
                  </a:cubicBezTo>
                  <a:close/>
                  <a:moveTo>
                    <a:pt x="1917859" y="331946"/>
                  </a:moveTo>
                  <a:cubicBezTo>
                    <a:pt x="1918811" y="333851"/>
                    <a:pt x="1919764" y="335756"/>
                    <a:pt x="1919764" y="337661"/>
                  </a:cubicBezTo>
                  <a:cubicBezTo>
                    <a:pt x="1919764" y="337661"/>
                    <a:pt x="1919764" y="337661"/>
                    <a:pt x="1919764" y="337661"/>
                  </a:cubicBezTo>
                  <a:cubicBezTo>
                    <a:pt x="1919764" y="337661"/>
                    <a:pt x="1918811" y="338614"/>
                    <a:pt x="1918811" y="338614"/>
                  </a:cubicBezTo>
                  <a:cubicBezTo>
                    <a:pt x="1917859" y="339566"/>
                    <a:pt x="1916906" y="340519"/>
                    <a:pt x="1916906" y="342424"/>
                  </a:cubicBezTo>
                  <a:cubicBezTo>
                    <a:pt x="1916906" y="341471"/>
                    <a:pt x="1916906" y="341471"/>
                    <a:pt x="1916906" y="341471"/>
                  </a:cubicBezTo>
                  <a:cubicBezTo>
                    <a:pt x="1916906" y="341471"/>
                    <a:pt x="1916906" y="342424"/>
                    <a:pt x="1915954" y="344329"/>
                  </a:cubicBezTo>
                  <a:cubicBezTo>
                    <a:pt x="1915954" y="344329"/>
                    <a:pt x="1915001" y="345281"/>
                    <a:pt x="1915001" y="345281"/>
                  </a:cubicBezTo>
                  <a:cubicBezTo>
                    <a:pt x="1915954" y="340519"/>
                    <a:pt x="1916906" y="335756"/>
                    <a:pt x="1917859" y="331946"/>
                  </a:cubicBezTo>
                  <a:close/>
                  <a:moveTo>
                    <a:pt x="1919764" y="360521"/>
                  </a:moveTo>
                  <a:cubicBezTo>
                    <a:pt x="1919764" y="361474"/>
                    <a:pt x="1919764" y="362426"/>
                    <a:pt x="1919764" y="364331"/>
                  </a:cubicBezTo>
                  <a:cubicBezTo>
                    <a:pt x="1917859" y="367189"/>
                    <a:pt x="1916906" y="370999"/>
                    <a:pt x="1915001" y="373856"/>
                  </a:cubicBezTo>
                  <a:cubicBezTo>
                    <a:pt x="1913096" y="378619"/>
                    <a:pt x="1910239" y="383381"/>
                    <a:pt x="1908334" y="388144"/>
                  </a:cubicBezTo>
                  <a:cubicBezTo>
                    <a:pt x="1908334" y="388144"/>
                    <a:pt x="1907381" y="387191"/>
                    <a:pt x="1907381" y="387191"/>
                  </a:cubicBezTo>
                  <a:cubicBezTo>
                    <a:pt x="1907381" y="386239"/>
                    <a:pt x="1907381" y="386239"/>
                    <a:pt x="1907381" y="385286"/>
                  </a:cubicBezTo>
                  <a:cubicBezTo>
                    <a:pt x="1908334" y="383381"/>
                    <a:pt x="1909286" y="381476"/>
                    <a:pt x="1910239" y="380524"/>
                  </a:cubicBezTo>
                  <a:cubicBezTo>
                    <a:pt x="1913096" y="372904"/>
                    <a:pt x="1916906" y="366236"/>
                    <a:pt x="1919764" y="360521"/>
                  </a:cubicBezTo>
                  <a:close/>
                  <a:moveTo>
                    <a:pt x="1910239" y="299561"/>
                  </a:moveTo>
                  <a:cubicBezTo>
                    <a:pt x="1909286" y="301466"/>
                    <a:pt x="1909286" y="303371"/>
                    <a:pt x="1908334" y="305276"/>
                  </a:cubicBezTo>
                  <a:cubicBezTo>
                    <a:pt x="1908334" y="305276"/>
                    <a:pt x="1908334" y="305276"/>
                    <a:pt x="1908334" y="305276"/>
                  </a:cubicBezTo>
                  <a:cubicBezTo>
                    <a:pt x="1909286" y="302419"/>
                    <a:pt x="1910239" y="300514"/>
                    <a:pt x="1910239" y="299561"/>
                  </a:cubicBezTo>
                  <a:close/>
                  <a:moveTo>
                    <a:pt x="1906429" y="313849"/>
                  </a:moveTo>
                  <a:cubicBezTo>
                    <a:pt x="1907381" y="311944"/>
                    <a:pt x="1907381" y="310991"/>
                    <a:pt x="1908334" y="309086"/>
                  </a:cubicBezTo>
                  <a:cubicBezTo>
                    <a:pt x="1908334" y="309086"/>
                    <a:pt x="1908334" y="309086"/>
                    <a:pt x="1908334" y="310039"/>
                  </a:cubicBezTo>
                  <a:cubicBezTo>
                    <a:pt x="1907381" y="311944"/>
                    <a:pt x="1907381" y="313849"/>
                    <a:pt x="1906429" y="315754"/>
                  </a:cubicBezTo>
                  <a:cubicBezTo>
                    <a:pt x="1906429" y="315754"/>
                    <a:pt x="1905476" y="316706"/>
                    <a:pt x="1905476" y="316706"/>
                  </a:cubicBezTo>
                  <a:cubicBezTo>
                    <a:pt x="1905476" y="314801"/>
                    <a:pt x="1905476" y="314801"/>
                    <a:pt x="1906429" y="313849"/>
                  </a:cubicBezTo>
                  <a:close/>
                  <a:moveTo>
                    <a:pt x="1893094" y="259556"/>
                  </a:moveTo>
                  <a:cubicBezTo>
                    <a:pt x="1893094" y="258604"/>
                    <a:pt x="1894046" y="257651"/>
                    <a:pt x="1894046" y="256699"/>
                  </a:cubicBezTo>
                  <a:cubicBezTo>
                    <a:pt x="1894046" y="256699"/>
                    <a:pt x="1894999" y="256699"/>
                    <a:pt x="1894999" y="256699"/>
                  </a:cubicBezTo>
                  <a:cubicBezTo>
                    <a:pt x="1896904" y="257651"/>
                    <a:pt x="1897856" y="259556"/>
                    <a:pt x="1899761" y="260509"/>
                  </a:cubicBezTo>
                  <a:lnTo>
                    <a:pt x="1904524" y="275749"/>
                  </a:lnTo>
                  <a:cubicBezTo>
                    <a:pt x="1901666" y="283369"/>
                    <a:pt x="1898809" y="290036"/>
                    <a:pt x="1895951" y="297656"/>
                  </a:cubicBezTo>
                  <a:cubicBezTo>
                    <a:pt x="1894999" y="291941"/>
                    <a:pt x="1894999" y="286226"/>
                    <a:pt x="1894046" y="281464"/>
                  </a:cubicBezTo>
                  <a:cubicBezTo>
                    <a:pt x="1894046" y="277654"/>
                    <a:pt x="1893094" y="273844"/>
                    <a:pt x="1892141" y="270034"/>
                  </a:cubicBezTo>
                  <a:cubicBezTo>
                    <a:pt x="1892141" y="270986"/>
                    <a:pt x="1893094" y="271939"/>
                    <a:pt x="1893094" y="272891"/>
                  </a:cubicBezTo>
                  <a:cubicBezTo>
                    <a:pt x="1893094" y="269081"/>
                    <a:pt x="1892141" y="264319"/>
                    <a:pt x="1893094" y="259556"/>
                  </a:cubicBezTo>
                  <a:close/>
                  <a:moveTo>
                    <a:pt x="1841659" y="297656"/>
                  </a:moveTo>
                  <a:cubicBezTo>
                    <a:pt x="1841659" y="303371"/>
                    <a:pt x="1840706" y="308134"/>
                    <a:pt x="1840706" y="313849"/>
                  </a:cubicBezTo>
                  <a:cubicBezTo>
                    <a:pt x="1839754" y="307181"/>
                    <a:pt x="1839754" y="300514"/>
                    <a:pt x="1838801" y="294799"/>
                  </a:cubicBezTo>
                  <a:cubicBezTo>
                    <a:pt x="1838801" y="292894"/>
                    <a:pt x="1838801" y="291941"/>
                    <a:pt x="1838801" y="290989"/>
                  </a:cubicBezTo>
                  <a:cubicBezTo>
                    <a:pt x="1839754" y="292894"/>
                    <a:pt x="1840706" y="294799"/>
                    <a:pt x="1841659" y="297656"/>
                  </a:cubicBezTo>
                  <a:close/>
                  <a:moveTo>
                    <a:pt x="1822609" y="363379"/>
                  </a:moveTo>
                  <a:cubicBezTo>
                    <a:pt x="1823561" y="359569"/>
                    <a:pt x="1825466" y="356711"/>
                    <a:pt x="1826419" y="353854"/>
                  </a:cubicBezTo>
                  <a:cubicBezTo>
                    <a:pt x="1826419" y="357664"/>
                    <a:pt x="1826419" y="360521"/>
                    <a:pt x="1827371" y="364331"/>
                  </a:cubicBezTo>
                  <a:cubicBezTo>
                    <a:pt x="1826419" y="365284"/>
                    <a:pt x="1824514" y="367189"/>
                    <a:pt x="1823561" y="368141"/>
                  </a:cubicBezTo>
                  <a:cubicBezTo>
                    <a:pt x="1822609" y="366236"/>
                    <a:pt x="1822609" y="365284"/>
                    <a:pt x="1822609" y="363379"/>
                  </a:cubicBezTo>
                  <a:close/>
                  <a:moveTo>
                    <a:pt x="1828324" y="403384"/>
                  </a:moveTo>
                  <a:cubicBezTo>
                    <a:pt x="1828324" y="402431"/>
                    <a:pt x="1827371" y="401479"/>
                    <a:pt x="1827371" y="400526"/>
                  </a:cubicBezTo>
                  <a:cubicBezTo>
                    <a:pt x="1826419" y="393859"/>
                    <a:pt x="1825466" y="387191"/>
                    <a:pt x="1825466" y="381476"/>
                  </a:cubicBezTo>
                  <a:cubicBezTo>
                    <a:pt x="1826419" y="379571"/>
                    <a:pt x="1827371" y="378619"/>
                    <a:pt x="1828324" y="377666"/>
                  </a:cubicBezTo>
                  <a:cubicBezTo>
                    <a:pt x="1828324" y="385286"/>
                    <a:pt x="1828324" y="391954"/>
                    <a:pt x="1829276" y="399574"/>
                  </a:cubicBezTo>
                  <a:cubicBezTo>
                    <a:pt x="1828324" y="400526"/>
                    <a:pt x="1828324" y="402431"/>
                    <a:pt x="1828324" y="403384"/>
                  </a:cubicBezTo>
                  <a:close/>
                  <a:moveTo>
                    <a:pt x="1833086" y="339566"/>
                  </a:moveTo>
                  <a:cubicBezTo>
                    <a:pt x="1833086" y="339566"/>
                    <a:pt x="1833086" y="339566"/>
                    <a:pt x="1833086" y="339566"/>
                  </a:cubicBezTo>
                  <a:cubicBezTo>
                    <a:pt x="1833086" y="339566"/>
                    <a:pt x="1833086" y="340519"/>
                    <a:pt x="1833086" y="340519"/>
                  </a:cubicBezTo>
                  <a:cubicBezTo>
                    <a:pt x="1833086" y="340519"/>
                    <a:pt x="1833086" y="339566"/>
                    <a:pt x="1833086" y="339566"/>
                  </a:cubicBezTo>
                  <a:close/>
                  <a:moveTo>
                    <a:pt x="1824514" y="272891"/>
                  </a:moveTo>
                  <a:cubicBezTo>
                    <a:pt x="1824514" y="269081"/>
                    <a:pt x="1824514" y="266224"/>
                    <a:pt x="1824514" y="263366"/>
                  </a:cubicBezTo>
                  <a:cubicBezTo>
                    <a:pt x="1827371" y="269081"/>
                    <a:pt x="1831181" y="276701"/>
                    <a:pt x="1835944" y="285274"/>
                  </a:cubicBezTo>
                  <a:cubicBezTo>
                    <a:pt x="1835944" y="288131"/>
                    <a:pt x="1835944" y="290989"/>
                    <a:pt x="1834991" y="294799"/>
                  </a:cubicBezTo>
                  <a:cubicBezTo>
                    <a:pt x="1834991" y="302419"/>
                    <a:pt x="1834039" y="310991"/>
                    <a:pt x="1834039" y="320516"/>
                  </a:cubicBezTo>
                  <a:cubicBezTo>
                    <a:pt x="1834039" y="323374"/>
                    <a:pt x="1834039" y="327184"/>
                    <a:pt x="1834039" y="330994"/>
                  </a:cubicBezTo>
                  <a:cubicBezTo>
                    <a:pt x="1834039" y="330994"/>
                    <a:pt x="1833086" y="330994"/>
                    <a:pt x="1833086" y="331946"/>
                  </a:cubicBezTo>
                  <a:cubicBezTo>
                    <a:pt x="1833086" y="331946"/>
                    <a:pt x="1832134" y="332899"/>
                    <a:pt x="1832134" y="332899"/>
                  </a:cubicBezTo>
                  <a:cubicBezTo>
                    <a:pt x="1830229" y="326231"/>
                    <a:pt x="1829276" y="321469"/>
                    <a:pt x="1827371" y="316706"/>
                  </a:cubicBezTo>
                  <a:cubicBezTo>
                    <a:pt x="1825466" y="310991"/>
                    <a:pt x="1823561" y="306229"/>
                    <a:pt x="1822609" y="303371"/>
                  </a:cubicBezTo>
                  <a:cubicBezTo>
                    <a:pt x="1823561" y="292894"/>
                    <a:pt x="1823561" y="282416"/>
                    <a:pt x="1824514" y="272891"/>
                  </a:cubicBezTo>
                  <a:close/>
                  <a:moveTo>
                    <a:pt x="1822609" y="309086"/>
                  </a:moveTo>
                  <a:cubicBezTo>
                    <a:pt x="1822609" y="311944"/>
                    <a:pt x="1823561" y="314801"/>
                    <a:pt x="1823561" y="317659"/>
                  </a:cubicBezTo>
                  <a:cubicBezTo>
                    <a:pt x="1824514" y="323374"/>
                    <a:pt x="1824514" y="330994"/>
                    <a:pt x="1825466" y="338614"/>
                  </a:cubicBezTo>
                  <a:cubicBezTo>
                    <a:pt x="1825466" y="339566"/>
                    <a:pt x="1825466" y="340519"/>
                    <a:pt x="1825466" y="340519"/>
                  </a:cubicBezTo>
                  <a:cubicBezTo>
                    <a:pt x="1823561" y="342424"/>
                    <a:pt x="1822609" y="345281"/>
                    <a:pt x="1820704" y="348139"/>
                  </a:cubicBezTo>
                  <a:cubicBezTo>
                    <a:pt x="1820704" y="343376"/>
                    <a:pt x="1820704" y="337661"/>
                    <a:pt x="1820704" y="332899"/>
                  </a:cubicBezTo>
                  <a:cubicBezTo>
                    <a:pt x="1820704" y="332899"/>
                    <a:pt x="1820704" y="332899"/>
                    <a:pt x="1820704" y="331946"/>
                  </a:cubicBezTo>
                  <a:cubicBezTo>
                    <a:pt x="1821656" y="324326"/>
                    <a:pt x="1821656" y="316706"/>
                    <a:pt x="1822609" y="309086"/>
                  </a:cubicBezTo>
                  <a:close/>
                  <a:moveTo>
                    <a:pt x="1763554" y="411956"/>
                  </a:moveTo>
                  <a:cubicBezTo>
                    <a:pt x="1763554" y="410051"/>
                    <a:pt x="1762601" y="408146"/>
                    <a:pt x="1762601" y="406241"/>
                  </a:cubicBezTo>
                  <a:cubicBezTo>
                    <a:pt x="1762601" y="403384"/>
                    <a:pt x="1761649" y="400526"/>
                    <a:pt x="1761649" y="397669"/>
                  </a:cubicBezTo>
                  <a:cubicBezTo>
                    <a:pt x="1761649" y="397669"/>
                    <a:pt x="1761649" y="397669"/>
                    <a:pt x="1761649" y="397669"/>
                  </a:cubicBezTo>
                  <a:cubicBezTo>
                    <a:pt x="1762601" y="398621"/>
                    <a:pt x="1763554" y="399574"/>
                    <a:pt x="1764506" y="400526"/>
                  </a:cubicBezTo>
                  <a:cubicBezTo>
                    <a:pt x="1764506" y="404336"/>
                    <a:pt x="1764506" y="408146"/>
                    <a:pt x="1763554" y="411956"/>
                  </a:cubicBezTo>
                  <a:close/>
                  <a:moveTo>
                    <a:pt x="1766411" y="379571"/>
                  </a:moveTo>
                  <a:cubicBezTo>
                    <a:pt x="1766411" y="379571"/>
                    <a:pt x="1766411" y="379571"/>
                    <a:pt x="1766411" y="379571"/>
                  </a:cubicBezTo>
                  <a:cubicBezTo>
                    <a:pt x="1766411" y="378619"/>
                    <a:pt x="1766411" y="377666"/>
                    <a:pt x="1766411" y="377666"/>
                  </a:cubicBezTo>
                  <a:cubicBezTo>
                    <a:pt x="1766411" y="378619"/>
                    <a:pt x="1766411" y="379571"/>
                    <a:pt x="1766411" y="379571"/>
                  </a:cubicBezTo>
                  <a:close/>
                  <a:moveTo>
                    <a:pt x="1792129" y="251936"/>
                  </a:moveTo>
                  <a:lnTo>
                    <a:pt x="1802606" y="219551"/>
                  </a:lnTo>
                  <a:cubicBezTo>
                    <a:pt x="1802606" y="219551"/>
                    <a:pt x="1802606" y="219551"/>
                    <a:pt x="1802606" y="219551"/>
                  </a:cubicBezTo>
                  <a:cubicBezTo>
                    <a:pt x="1802606" y="237649"/>
                    <a:pt x="1801654" y="255746"/>
                    <a:pt x="1801654" y="274796"/>
                  </a:cubicBezTo>
                  <a:cubicBezTo>
                    <a:pt x="1801654" y="291941"/>
                    <a:pt x="1800701" y="309086"/>
                    <a:pt x="1800701" y="327184"/>
                  </a:cubicBezTo>
                  <a:cubicBezTo>
                    <a:pt x="1798796" y="321469"/>
                    <a:pt x="1796891" y="315754"/>
                    <a:pt x="1794034" y="310991"/>
                  </a:cubicBezTo>
                  <a:cubicBezTo>
                    <a:pt x="1792129" y="305276"/>
                    <a:pt x="1790224" y="299561"/>
                    <a:pt x="1788319" y="294799"/>
                  </a:cubicBezTo>
                  <a:cubicBezTo>
                    <a:pt x="1788319" y="293846"/>
                    <a:pt x="1787366" y="292894"/>
                    <a:pt x="1787366" y="292894"/>
                  </a:cubicBezTo>
                  <a:cubicBezTo>
                    <a:pt x="1787366" y="290989"/>
                    <a:pt x="1786414" y="289084"/>
                    <a:pt x="1786414" y="287179"/>
                  </a:cubicBezTo>
                  <a:cubicBezTo>
                    <a:pt x="1787366" y="284321"/>
                    <a:pt x="1788319" y="282416"/>
                    <a:pt x="1788319" y="279559"/>
                  </a:cubicBezTo>
                  <a:cubicBezTo>
                    <a:pt x="1788319" y="278606"/>
                    <a:pt x="1788319" y="277654"/>
                    <a:pt x="1787366" y="275749"/>
                  </a:cubicBezTo>
                  <a:cubicBezTo>
                    <a:pt x="1787366" y="274796"/>
                    <a:pt x="1785461" y="274796"/>
                    <a:pt x="1785461" y="274796"/>
                  </a:cubicBezTo>
                  <a:cubicBezTo>
                    <a:pt x="1785461" y="274796"/>
                    <a:pt x="1785461" y="274796"/>
                    <a:pt x="1785461" y="274796"/>
                  </a:cubicBezTo>
                  <a:lnTo>
                    <a:pt x="1792129" y="251936"/>
                  </a:lnTo>
                  <a:close/>
                  <a:moveTo>
                    <a:pt x="1785461" y="276701"/>
                  </a:moveTo>
                  <a:cubicBezTo>
                    <a:pt x="1785461" y="276701"/>
                    <a:pt x="1786414" y="277654"/>
                    <a:pt x="1786414" y="278606"/>
                  </a:cubicBezTo>
                  <a:cubicBezTo>
                    <a:pt x="1786414" y="279559"/>
                    <a:pt x="1786414" y="281464"/>
                    <a:pt x="1786414" y="282416"/>
                  </a:cubicBezTo>
                  <a:cubicBezTo>
                    <a:pt x="1785461" y="280511"/>
                    <a:pt x="1785461" y="278606"/>
                    <a:pt x="1785461" y="276701"/>
                  </a:cubicBezTo>
                  <a:cubicBezTo>
                    <a:pt x="1785461" y="276701"/>
                    <a:pt x="1785461" y="276701"/>
                    <a:pt x="1785461" y="276701"/>
                  </a:cubicBezTo>
                  <a:close/>
                  <a:moveTo>
                    <a:pt x="1776889" y="330994"/>
                  </a:moveTo>
                  <a:cubicBezTo>
                    <a:pt x="1779746" y="345281"/>
                    <a:pt x="1782604" y="360521"/>
                    <a:pt x="1785461" y="376714"/>
                  </a:cubicBezTo>
                  <a:cubicBezTo>
                    <a:pt x="1785461" y="379571"/>
                    <a:pt x="1786414" y="382429"/>
                    <a:pt x="1786414" y="385286"/>
                  </a:cubicBezTo>
                  <a:cubicBezTo>
                    <a:pt x="1785461" y="384334"/>
                    <a:pt x="1785461" y="383381"/>
                    <a:pt x="1784509" y="382429"/>
                  </a:cubicBezTo>
                  <a:cubicBezTo>
                    <a:pt x="1785461" y="377666"/>
                    <a:pt x="1785461" y="374809"/>
                    <a:pt x="1785461" y="374809"/>
                  </a:cubicBezTo>
                  <a:cubicBezTo>
                    <a:pt x="1785461" y="374809"/>
                    <a:pt x="1784509" y="376714"/>
                    <a:pt x="1783556" y="380524"/>
                  </a:cubicBezTo>
                  <a:cubicBezTo>
                    <a:pt x="1781651" y="376714"/>
                    <a:pt x="1778794" y="373856"/>
                    <a:pt x="1776889" y="370999"/>
                  </a:cubicBezTo>
                  <a:cubicBezTo>
                    <a:pt x="1776889" y="357664"/>
                    <a:pt x="1776889" y="346234"/>
                    <a:pt x="1776889" y="337661"/>
                  </a:cubicBezTo>
                  <a:cubicBezTo>
                    <a:pt x="1775936" y="334804"/>
                    <a:pt x="1775936" y="332899"/>
                    <a:pt x="1776889" y="330994"/>
                  </a:cubicBezTo>
                  <a:close/>
                  <a:moveTo>
                    <a:pt x="1755934" y="211931"/>
                  </a:moveTo>
                  <a:cubicBezTo>
                    <a:pt x="1756886" y="215741"/>
                    <a:pt x="1758791" y="223361"/>
                    <a:pt x="1761649" y="233839"/>
                  </a:cubicBezTo>
                  <a:cubicBezTo>
                    <a:pt x="1761649" y="234791"/>
                    <a:pt x="1762601" y="236696"/>
                    <a:pt x="1762601" y="238601"/>
                  </a:cubicBezTo>
                  <a:cubicBezTo>
                    <a:pt x="1761649" y="237649"/>
                    <a:pt x="1761649" y="235744"/>
                    <a:pt x="1760696" y="234791"/>
                  </a:cubicBezTo>
                  <a:cubicBezTo>
                    <a:pt x="1759744" y="232886"/>
                    <a:pt x="1759744" y="230981"/>
                    <a:pt x="1759744" y="230981"/>
                  </a:cubicBezTo>
                  <a:cubicBezTo>
                    <a:pt x="1759744" y="230981"/>
                    <a:pt x="1759744" y="231934"/>
                    <a:pt x="1759744" y="232886"/>
                  </a:cubicBezTo>
                  <a:cubicBezTo>
                    <a:pt x="1758791" y="230981"/>
                    <a:pt x="1757839" y="229076"/>
                    <a:pt x="1756886" y="227171"/>
                  </a:cubicBezTo>
                  <a:cubicBezTo>
                    <a:pt x="1755934" y="226219"/>
                    <a:pt x="1755934" y="225266"/>
                    <a:pt x="1754981" y="223361"/>
                  </a:cubicBezTo>
                  <a:cubicBezTo>
                    <a:pt x="1755934" y="219551"/>
                    <a:pt x="1755934" y="215741"/>
                    <a:pt x="1755934" y="211931"/>
                  </a:cubicBezTo>
                  <a:close/>
                  <a:moveTo>
                    <a:pt x="1754981" y="232886"/>
                  </a:moveTo>
                  <a:cubicBezTo>
                    <a:pt x="1754981" y="233839"/>
                    <a:pt x="1755934" y="234791"/>
                    <a:pt x="1755934" y="235744"/>
                  </a:cubicBezTo>
                  <a:cubicBezTo>
                    <a:pt x="1755934" y="236696"/>
                    <a:pt x="1754981" y="237649"/>
                    <a:pt x="1754981" y="240506"/>
                  </a:cubicBezTo>
                  <a:cubicBezTo>
                    <a:pt x="1754981" y="237649"/>
                    <a:pt x="1754981" y="234791"/>
                    <a:pt x="1754981" y="232886"/>
                  </a:cubicBezTo>
                  <a:close/>
                  <a:moveTo>
                    <a:pt x="1754029" y="281464"/>
                  </a:moveTo>
                  <a:cubicBezTo>
                    <a:pt x="1754029" y="270986"/>
                    <a:pt x="1754029" y="261461"/>
                    <a:pt x="1754981" y="252889"/>
                  </a:cubicBezTo>
                  <a:cubicBezTo>
                    <a:pt x="1755934" y="244316"/>
                    <a:pt x="1756886" y="238601"/>
                    <a:pt x="1756886" y="236696"/>
                  </a:cubicBezTo>
                  <a:cubicBezTo>
                    <a:pt x="1758791" y="242411"/>
                    <a:pt x="1761649" y="250031"/>
                    <a:pt x="1763554" y="256699"/>
                  </a:cubicBezTo>
                  <a:cubicBezTo>
                    <a:pt x="1764506" y="265271"/>
                    <a:pt x="1766411" y="274796"/>
                    <a:pt x="1768316" y="286226"/>
                  </a:cubicBezTo>
                  <a:cubicBezTo>
                    <a:pt x="1763554" y="298609"/>
                    <a:pt x="1758791" y="310991"/>
                    <a:pt x="1754981" y="322421"/>
                  </a:cubicBezTo>
                  <a:cubicBezTo>
                    <a:pt x="1754981" y="320516"/>
                    <a:pt x="1754981" y="318611"/>
                    <a:pt x="1754029" y="317659"/>
                  </a:cubicBezTo>
                  <a:cubicBezTo>
                    <a:pt x="1754029" y="317659"/>
                    <a:pt x="1754029" y="316706"/>
                    <a:pt x="1754029" y="316706"/>
                  </a:cubicBezTo>
                  <a:cubicBezTo>
                    <a:pt x="1754029" y="303371"/>
                    <a:pt x="1754029" y="291941"/>
                    <a:pt x="1754029" y="281464"/>
                  </a:cubicBezTo>
                  <a:close/>
                  <a:moveTo>
                    <a:pt x="1687354" y="295751"/>
                  </a:moveTo>
                  <a:cubicBezTo>
                    <a:pt x="1686401" y="302419"/>
                    <a:pt x="1685449" y="309086"/>
                    <a:pt x="1685449" y="314801"/>
                  </a:cubicBezTo>
                  <a:cubicBezTo>
                    <a:pt x="1685449" y="318611"/>
                    <a:pt x="1684496" y="321469"/>
                    <a:pt x="1684496" y="325279"/>
                  </a:cubicBezTo>
                  <a:cubicBezTo>
                    <a:pt x="1683544" y="320516"/>
                    <a:pt x="1682591" y="316706"/>
                    <a:pt x="1681639" y="311944"/>
                  </a:cubicBezTo>
                  <a:cubicBezTo>
                    <a:pt x="1681639" y="310039"/>
                    <a:pt x="1681639" y="309086"/>
                    <a:pt x="1681639" y="309086"/>
                  </a:cubicBezTo>
                  <a:cubicBezTo>
                    <a:pt x="1681639" y="309086"/>
                    <a:pt x="1681639" y="309086"/>
                    <a:pt x="1681639" y="310039"/>
                  </a:cubicBezTo>
                  <a:cubicBezTo>
                    <a:pt x="1681639" y="309086"/>
                    <a:pt x="1680686" y="307181"/>
                    <a:pt x="1680686" y="306229"/>
                  </a:cubicBezTo>
                  <a:cubicBezTo>
                    <a:pt x="1680686" y="305276"/>
                    <a:pt x="1680686" y="304324"/>
                    <a:pt x="1681639" y="303371"/>
                  </a:cubicBezTo>
                  <a:cubicBezTo>
                    <a:pt x="1682591" y="300514"/>
                    <a:pt x="1683544" y="297656"/>
                    <a:pt x="1684496" y="295751"/>
                  </a:cubicBezTo>
                  <a:cubicBezTo>
                    <a:pt x="1686401" y="290989"/>
                    <a:pt x="1687354" y="287179"/>
                    <a:pt x="1689259" y="282416"/>
                  </a:cubicBezTo>
                  <a:cubicBezTo>
                    <a:pt x="1687354" y="287179"/>
                    <a:pt x="1687354" y="291941"/>
                    <a:pt x="1687354" y="295751"/>
                  </a:cubicBezTo>
                  <a:close/>
                  <a:moveTo>
                    <a:pt x="1678781" y="276701"/>
                  </a:moveTo>
                  <a:cubicBezTo>
                    <a:pt x="1680686" y="266224"/>
                    <a:pt x="1682591" y="255746"/>
                    <a:pt x="1684496" y="245269"/>
                  </a:cubicBezTo>
                  <a:cubicBezTo>
                    <a:pt x="1685449" y="250031"/>
                    <a:pt x="1686401" y="254794"/>
                    <a:pt x="1686401" y="259556"/>
                  </a:cubicBezTo>
                  <a:cubicBezTo>
                    <a:pt x="1686401" y="262414"/>
                    <a:pt x="1686401" y="265271"/>
                    <a:pt x="1686401" y="268129"/>
                  </a:cubicBezTo>
                  <a:cubicBezTo>
                    <a:pt x="1686401" y="269081"/>
                    <a:pt x="1686401" y="270034"/>
                    <a:pt x="1686401" y="270986"/>
                  </a:cubicBezTo>
                  <a:cubicBezTo>
                    <a:pt x="1682591" y="276701"/>
                    <a:pt x="1679734" y="284321"/>
                    <a:pt x="1675924" y="292894"/>
                  </a:cubicBezTo>
                  <a:cubicBezTo>
                    <a:pt x="1675924" y="292894"/>
                    <a:pt x="1675924" y="291941"/>
                    <a:pt x="1675924" y="291941"/>
                  </a:cubicBezTo>
                  <a:cubicBezTo>
                    <a:pt x="1676876" y="287179"/>
                    <a:pt x="1677829" y="283369"/>
                    <a:pt x="1678781" y="278606"/>
                  </a:cubicBezTo>
                  <a:cubicBezTo>
                    <a:pt x="1679734" y="276701"/>
                    <a:pt x="1679734" y="275749"/>
                    <a:pt x="1679734" y="275749"/>
                  </a:cubicBezTo>
                  <a:cubicBezTo>
                    <a:pt x="1679734" y="275749"/>
                    <a:pt x="1679734" y="275749"/>
                    <a:pt x="1678781" y="276701"/>
                  </a:cubicBezTo>
                  <a:close/>
                  <a:moveTo>
                    <a:pt x="1677829" y="199549"/>
                  </a:moveTo>
                  <a:cubicBezTo>
                    <a:pt x="1677829" y="201454"/>
                    <a:pt x="1677829" y="202406"/>
                    <a:pt x="1678781" y="204311"/>
                  </a:cubicBezTo>
                  <a:cubicBezTo>
                    <a:pt x="1677829" y="207169"/>
                    <a:pt x="1676876" y="210979"/>
                    <a:pt x="1676876" y="213836"/>
                  </a:cubicBezTo>
                  <a:cubicBezTo>
                    <a:pt x="1676876" y="209074"/>
                    <a:pt x="1676876" y="204311"/>
                    <a:pt x="1677829" y="199549"/>
                  </a:cubicBezTo>
                  <a:close/>
                  <a:moveTo>
                    <a:pt x="1640681" y="226219"/>
                  </a:moveTo>
                  <a:cubicBezTo>
                    <a:pt x="1643539" y="233839"/>
                    <a:pt x="1646396" y="244316"/>
                    <a:pt x="1649254" y="254794"/>
                  </a:cubicBezTo>
                  <a:cubicBezTo>
                    <a:pt x="1651159" y="260509"/>
                    <a:pt x="1652111" y="267176"/>
                    <a:pt x="1654016" y="274796"/>
                  </a:cubicBezTo>
                  <a:cubicBezTo>
                    <a:pt x="1654016" y="276701"/>
                    <a:pt x="1653064" y="279559"/>
                    <a:pt x="1653064" y="281464"/>
                  </a:cubicBezTo>
                  <a:cubicBezTo>
                    <a:pt x="1653064" y="280511"/>
                    <a:pt x="1652111" y="279559"/>
                    <a:pt x="1652111" y="279559"/>
                  </a:cubicBezTo>
                  <a:cubicBezTo>
                    <a:pt x="1652111" y="279559"/>
                    <a:pt x="1652111" y="280511"/>
                    <a:pt x="1652111" y="282416"/>
                  </a:cubicBezTo>
                  <a:cubicBezTo>
                    <a:pt x="1651159" y="288131"/>
                    <a:pt x="1650206" y="293846"/>
                    <a:pt x="1649254" y="300514"/>
                  </a:cubicBezTo>
                  <a:cubicBezTo>
                    <a:pt x="1646396" y="293846"/>
                    <a:pt x="1644491" y="288131"/>
                    <a:pt x="1641634" y="281464"/>
                  </a:cubicBezTo>
                  <a:cubicBezTo>
                    <a:pt x="1642586" y="280511"/>
                    <a:pt x="1642586" y="280511"/>
                    <a:pt x="1643539" y="279559"/>
                  </a:cubicBezTo>
                  <a:cubicBezTo>
                    <a:pt x="1644491" y="278606"/>
                    <a:pt x="1646396" y="277654"/>
                    <a:pt x="1647349" y="277654"/>
                  </a:cubicBezTo>
                  <a:cubicBezTo>
                    <a:pt x="1651159" y="274796"/>
                    <a:pt x="1654016" y="273844"/>
                    <a:pt x="1654016" y="273844"/>
                  </a:cubicBezTo>
                  <a:cubicBezTo>
                    <a:pt x="1654016" y="273844"/>
                    <a:pt x="1652111" y="274796"/>
                    <a:pt x="1647349" y="276701"/>
                  </a:cubicBezTo>
                  <a:cubicBezTo>
                    <a:pt x="1646396" y="277654"/>
                    <a:pt x="1645444" y="277654"/>
                    <a:pt x="1643539" y="278606"/>
                  </a:cubicBezTo>
                  <a:cubicBezTo>
                    <a:pt x="1643539" y="278606"/>
                    <a:pt x="1642586" y="279559"/>
                    <a:pt x="1642586" y="279559"/>
                  </a:cubicBezTo>
                  <a:cubicBezTo>
                    <a:pt x="1642586" y="271939"/>
                    <a:pt x="1642586" y="263366"/>
                    <a:pt x="1642586" y="255746"/>
                  </a:cubicBezTo>
                  <a:cubicBezTo>
                    <a:pt x="1640681" y="246221"/>
                    <a:pt x="1640681" y="235744"/>
                    <a:pt x="1640681" y="226219"/>
                  </a:cubicBezTo>
                  <a:cubicBezTo>
                    <a:pt x="1639729" y="226219"/>
                    <a:pt x="1639729" y="226219"/>
                    <a:pt x="1640681" y="226219"/>
                  </a:cubicBezTo>
                  <a:close/>
                  <a:moveTo>
                    <a:pt x="1620679" y="348139"/>
                  </a:moveTo>
                  <a:cubicBezTo>
                    <a:pt x="1620679" y="349091"/>
                    <a:pt x="1620679" y="350044"/>
                    <a:pt x="1620679" y="351949"/>
                  </a:cubicBezTo>
                  <a:cubicBezTo>
                    <a:pt x="1620679" y="352901"/>
                    <a:pt x="1620679" y="353854"/>
                    <a:pt x="1620679" y="353854"/>
                  </a:cubicBezTo>
                  <a:cubicBezTo>
                    <a:pt x="1619726" y="354806"/>
                    <a:pt x="1619726" y="355759"/>
                    <a:pt x="1618774" y="356711"/>
                  </a:cubicBezTo>
                  <a:cubicBezTo>
                    <a:pt x="1619726" y="353854"/>
                    <a:pt x="1620679" y="350044"/>
                    <a:pt x="1620679" y="348139"/>
                  </a:cubicBezTo>
                  <a:close/>
                  <a:moveTo>
                    <a:pt x="1618774" y="311944"/>
                  </a:moveTo>
                  <a:cubicBezTo>
                    <a:pt x="1617821" y="312896"/>
                    <a:pt x="1617821" y="313849"/>
                    <a:pt x="1616869" y="315754"/>
                  </a:cubicBezTo>
                  <a:cubicBezTo>
                    <a:pt x="1613059" y="323374"/>
                    <a:pt x="1609249" y="332899"/>
                    <a:pt x="1605439" y="343376"/>
                  </a:cubicBezTo>
                  <a:cubicBezTo>
                    <a:pt x="1604486" y="345281"/>
                    <a:pt x="1603534" y="348139"/>
                    <a:pt x="1602581" y="350996"/>
                  </a:cubicBezTo>
                  <a:cubicBezTo>
                    <a:pt x="1602581" y="348139"/>
                    <a:pt x="1602581" y="345281"/>
                    <a:pt x="1602581" y="342424"/>
                  </a:cubicBezTo>
                  <a:cubicBezTo>
                    <a:pt x="1605439" y="334804"/>
                    <a:pt x="1609249" y="328136"/>
                    <a:pt x="1613059" y="321469"/>
                  </a:cubicBezTo>
                  <a:cubicBezTo>
                    <a:pt x="1614964" y="317659"/>
                    <a:pt x="1617821" y="313849"/>
                    <a:pt x="1619726" y="310039"/>
                  </a:cubicBezTo>
                  <a:cubicBezTo>
                    <a:pt x="1618774" y="310991"/>
                    <a:pt x="1618774" y="310991"/>
                    <a:pt x="1618774" y="311944"/>
                  </a:cubicBezTo>
                  <a:close/>
                  <a:moveTo>
                    <a:pt x="1610201" y="269081"/>
                  </a:moveTo>
                  <a:cubicBezTo>
                    <a:pt x="1612106" y="265271"/>
                    <a:pt x="1613059" y="261461"/>
                    <a:pt x="1614011" y="258604"/>
                  </a:cubicBezTo>
                  <a:cubicBezTo>
                    <a:pt x="1614964" y="256699"/>
                    <a:pt x="1615916" y="254794"/>
                    <a:pt x="1616869" y="252889"/>
                  </a:cubicBezTo>
                  <a:cubicBezTo>
                    <a:pt x="1616869" y="264319"/>
                    <a:pt x="1617821" y="277654"/>
                    <a:pt x="1617821" y="292894"/>
                  </a:cubicBezTo>
                  <a:cubicBezTo>
                    <a:pt x="1617821" y="292894"/>
                    <a:pt x="1617821" y="293846"/>
                    <a:pt x="1617821" y="293846"/>
                  </a:cubicBezTo>
                  <a:cubicBezTo>
                    <a:pt x="1616869" y="291941"/>
                    <a:pt x="1615916" y="290036"/>
                    <a:pt x="1614011" y="289084"/>
                  </a:cubicBezTo>
                  <a:cubicBezTo>
                    <a:pt x="1611154" y="284321"/>
                    <a:pt x="1608296" y="280511"/>
                    <a:pt x="1606391" y="277654"/>
                  </a:cubicBezTo>
                  <a:cubicBezTo>
                    <a:pt x="1608296" y="274796"/>
                    <a:pt x="1609249" y="271939"/>
                    <a:pt x="1610201" y="269081"/>
                  </a:cubicBezTo>
                  <a:close/>
                  <a:moveTo>
                    <a:pt x="1600676" y="297656"/>
                  </a:moveTo>
                  <a:cubicBezTo>
                    <a:pt x="1602581" y="290989"/>
                    <a:pt x="1604486" y="285274"/>
                    <a:pt x="1606391" y="279559"/>
                  </a:cubicBezTo>
                  <a:cubicBezTo>
                    <a:pt x="1607344" y="282416"/>
                    <a:pt x="1609249" y="286226"/>
                    <a:pt x="1611154" y="290989"/>
                  </a:cubicBezTo>
                  <a:cubicBezTo>
                    <a:pt x="1613059" y="294799"/>
                    <a:pt x="1614964" y="298609"/>
                    <a:pt x="1616869" y="303371"/>
                  </a:cubicBezTo>
                  <a:cubicBezTo>
                    <a:pt x="1613059" y="307181"/>
                    <a:pt x="1610201" y="312896"/>
                    <a:pt x="1606391" y="317659"/>
                  </a:cubicBezTo>
                  <a:cubicBezTo>
                    <a:pt x="1604486" y="320516"/>
                    <a:pt x="1602581" y="322421"/>
                    <a:pt x="1601629" y="325279"/>
                  </a:cubicBezTo>
                  <a:cubicBezTo>
                    <a:pt x="1601629" y="323374"/>
                    <a:pt x="1601629" y="321469"/>
                    <a:pt x="1600676" y="319564"/>
                  </a:cubicBezTo>
                  <a:cubicBezTo>
                    <a:pt x="1600676" y="314801"/>
                    <a:pt x="1599724" y="310039"/>
                    <a:pt x="1599724" y="305276"/>
                  </a:cubicBezTo>
                  <a:cubicBezTo>
                    <a:pt x="1599724" y="302419"/>
                    <a:pt x="1600676" y="300514"/>
                    <a:pt x="1600676" y="297656"/>
                  </a:cubicBezTo>
                  <a:close/>
                  <a:moveTo>
                    <a:pt x="1567339" y="315754"/>
                  </a:moveTo>
                  <a:cubicBezTo>
                    <a:pt x="1567339" y="320516"/>
                    <a:pt x="1568291" y="325279"/>
                    <a:pt x="1568291" y="330041"/>
                  </a:cubicBezTo>
                  <a:cubicBezTo>
                    <a:pt x="1567339" y="326231"/>
                    <a:pt x="1567339" y="323374"/>
                    <a:pt x="1566386" y="320516"/>
                  </a:cubicBezTo>
                  <a:cubicBezTo>
                    <a:pt x="1567339" y="319564"/>
                    <a:pt x="1567339" y="317659"/>
                    <a:pt x="1567339" y="315754"/>
                  </a:cubicBezTo>
                  <a:close/>
                  <a:moveTo>
                    <a:pt x="1547336" y="265271"/>
                  </a:moveTo>
                  <a:cubicBezTo>
                    <a:pt x="1547336" y="269081"/>
                    <a:pt x="1546384" y="271939"/>
                    <a:pt x="1546384" y="275749"/>
                  </a:cubicBezTo>
                  <a:cubicBezTo>
                    <a:pt x="1546384" y="274796"/>
                    <a:pt x="1545431" y="273844"/>
                    <a:pt x="1545431" y="272891"/>
                  </a:cubicBezTo>
                  <a:cubicBezTo>
                    <a:pt x="1546384" y="270986"/>
                    <a:pt x="1546384" y="268129"/>
                    <a:pt x="1547336" y="265271"/>
                  </a:cubicBezTo>
                  <a:close/>
                  <a:moveTo>
                    <a:pt x="1541621" y="286226"/>
                  </a:moveTo>
                  <a:cubicBezTo>
                    <a:pt x="1542574" y="289084"/>
                    <a:pt x="1543526" y="290989"/>
                    <a:pt x="1543526" y="293846"/>
                  </a:cubicBezTo>
                  <a:cubicBezTo>
                    <a:pt x="1543526" y="295751"/>
                    <a:pt x="1542574" y="298609"/>
                    <a:pt x="1542574" y="301466"/>
                  </a:cubicBezTo>
                  <a:cubicBezTo>
                    <a:pt x="1541621" y="298609"/>
                    <a:pt x="1540669" y="294799"/>
                    <a:pt x="1539716" y="291941"/>
                  </a:cubicBezTo>
                  <a:cubicBezTo>
                    <a:pt x="1540669" y="289084"/>
                    <a:pt x="1541621" y="288131"/>
                    <a:pt x="1541621" y="286226"/>
                  </a:cubicBezTo>
                  <a:close/>
                  <a:moveTo>
                    <a:pt x="1537811" y="271939"/>
                  </a:moveTo>
                  <a:cubicBezTo>
                    <a:pt x="1537811" y="273844"/>
                    <a:pt x="1538764" y="274796"/>
                    <a:pt x="1538764" y="276701"/>
                  </a:cubicBezTo>
                  <a:cubicBezTo>
                    <a:pt x="1537811" y="277654"/>
                    <a:pt x="1537811" y="278606"/>
                    <a:pt x="1536859" y="280511"/>
                  </a:cubicBezTo>
                  <a:cubicBezTo>
                    <a:pt x="1537811" y="276701"/>
                    <a:pt x="1537811" y="273844"/>
                    <a:pt x="1537811" y="271939"/>
                  </a:cubicBezTo>
                  <a:close/>
                  <a:moveTo>
                    <a:pt x="1533049" y="338614"/>
                  </a:moveTo>
                  <a:cubicBezTo>
                    <a:pt x="1533049" y="337661"/>
                    <a:pt x="1533049" y="336709"/>
                    <a:pt x="1533049" y="335756"/>
                  </a:cubicBezTo>
                  <a:cubicBezTo>
                    <a:pt x="1534001" y="340519"/>
                    <a:pt x="1534954" y="345281"/>
                    <a:pt x="1535906" y="350044"/>
                  </a:cubicBezTo>
                  <a:cubicBezTo>
                    <a:pt x="1536859" y="352901"/>
                    <a:pt x="1536859" y="354806"/>
                    <a:pt x="1536859" y="357664"/>
                  </a:cubicBezTo>
                  <a:cubicBezTo>
                    <a:pt x="1536859" y="359569"/>
                    <a:pt x="1536859" y="360521"/>
                    <a:pt x="1536859" y="362426"/>
                  </a:cubicBezTo>
                  <a:cubicBezTo>
                    <a:pt x="1536859" y="362426"/>
                    <a:pt x="1536859" y="362426"/>
                    <a:pt x="1536859" y="362426"/>
                  </a:cubicBezTo>
                  <a:cubicBezTo>
                    <a:pt x="1534954" y="356711"/>
                    <a:pt x="1533049" y="351949"/>
                    <a:pt x="1532096" y="346234"/>
                  </a:cubicBezTo>
                  <a:cubicBezTo>
                    <a:pt x="1533049" y="343376"/>
                    <a:pt x="1533049" y="341471"/>
                    <a:pt x="1533049" y="338614"/>
                  </a:cubicBezTo>
                  <a:close/>
                  <a:moveTo>
                    <a:pt x="1519714" y="270986"/>
                  </a:moveTo>
                  <a:cubicBezTo>
                    <a:pt x="1521619" y="279559"/>
                    <a:pt x="1523524" y="288131"/>
                    <a:pt x="1525429" y="297656"/>
                  </a:cubicBezTo>
                  <a:cubicBezTo>
                    <a:pt x="1525429" y="298609"/>
                    <a:pt x="1525429" y="299561"/>
                    <a:pt x="1524476" y="301466"/>
                  </a:cubicBezTo>
                  <a:cubicBezTo>
                    <a:pt x="1523524" y="306229"/>
                    <a:pt x="1522571" y="310991"/>
                    <a:pt x="1521619" y="315754"/>
                  </a:cubicBezTo>
                  <a:cubicBezTo>
                    <a:pt x="1520666" y="313849"/>
                    <a:pt x="1520666" y="311944"/>
                    <a:pt x="1519714" y="310991"/>
                  </a:cubicBezTo>
                  <a:cubicBezTo>
                    <a:pt x="1519714" y="295751"/>
                    <a:pt x="1518761" y="281464"/>
                    <a:pt x="1517809" y="268129"/>
                  </a:cubicBezTo>
                  <a:cubicBezTo>
                    <a:pt x="1519714" y="268129"/>
                    <a:pt x="1519714" y="269081"/>
                    <a:pt x="1519714" y="270986"/>
                  </a:cubicBezTo>
                  <a:close/>
                  <a:moveTo>
                    <a:pt x="1503521" y="302419"/>
                  </a:moveTo>
                  <a:cubicBezTo>
                    <a:pt x="1503521" y="306229"/>
                    <a:pt x="1503521" y="310039"/>
                    <a:pt x="1502569" y="313849"/>
                  </a:cubicBezTo>
                  <a:cubicBezTo>
                    <a:pt x="1502569" y="318611"/>
                    <a:pt x="1502569" y="324326"/>
                    <a:pt x="1502569" y="330041"/>
                  </a:cubicBezTo>
                  <a:cubicBezTo>
                    <a:pt x="1502569" y="330041"/>
                    <a:pt x="1502569" y="330041"/>
                    <a:pt x="1501616" y="329089"/>
                  </a:cubicBezTo>
                  <a:cubicBezTo>
                    <a:pt x="1500664" y="323374"/>
                    <a:pt x="1498759" y="317659"/>
                    <a:pt x="1497806" y="311944"/>
                  </a:cubicBezTo>
                  <a:cubicBezTo>
                    <a:pt x="1500664" y="309086"/>
                    <a:pt x="1502569" y="306229"/>
                    <a:pt x="1503521" y="302419"/>
                  </a:cubicBezTo>
                  <a:close/>
                  <a:moveTo>
                    <a:pt x="1477804" y="272891"/>
                  </a:moveTo>
                  <a:cubicBezTo>
                    <a:pt x="1477804" y="273844"/>
                    <a:pt x="1477804" y="273844"/>
                    <a:pt x="1477804" y="272891"/>
                  </a:cubicBezTo>
                  <a:cubicBezTo>
                    <a:pt x="1477804" y="275749"/>
                    <a:pt x="1477804" y="278606"/>
                    <a:pt x="1477804" y="282416"/>
                  </a:cubicBezTo>
                  <a:cubicBezTo>
                    <a:pt x="1477804" y="286226"/>
                    <a:pt x="1476851" y="290989"/>
                    <a:pt x="1476851" y="294799"/>
                  </a:cubicBezTo>
                  <a:cubicBezTo>
                    <a:pt x="1476851" y="294799"/>
                    <a:pt x="1476851" y="295751"/>
                    <a:pt x="1475899" y="295751"/>
                  </a:cubicBezTo>
                  <a:cubicBezTo>
                    <a:pt x="1475899" y="290989"/>
                    <a:pt x="1474946" y="286226"/>
                    <a:pt x="1474946" y="282416"/>
                  </a:cubicBezTo>
                  <a:cubicBezTo>
                    <a:pt x="1475899" y="279559"/>
                    <a:pt x="1476851" y="276701"/>
                    <a:pt x="1477804" y="272891"/>
                  </a:cubicBezTo>
                  <a:close/>
                  <a:moveTo>
                    <a:pt x="1461611" y="326231"/>
                  </a:moveTo>
                  <a:cubicBezTo>
                    <a:pt x="1461611" y="327184"/>
                    <a:pt x="1461611" y="327184"/>
                    <a:pt x="1461611" y="328136"/>
                  </a:cubicBezTo>
                  <a:cubicBezTo>
                    <a:pt x="1461611" y="329089"/>
                    <a:pt x="1460659" y="329089"/>
                    <a:pt x="1460659" y="330041"/>
                  </a:cubicBezTo>
                  <a:cubicBezTo>
                    <a:pt x="1460659" y="330041"/>
                    <a:pt x="1460659" y="330041"/>
                    <a:pt x="1460659" y="329089"/>
                  </a:cubicBezTo>
                  <a:cubicBezTo>
                    <a:pt x="1460659" y="328136"/>
                    <a:pt x="1460659" y="327184"/>
                    <a:pt x="1461611" y="326231"/>
                  </a:cubicBezTo>
                  <a:close/>
                  <a:moveTo>
                    <a:pt x="1457801" y="309086"/>
                  </a:moveTo>
                  <a:cubicBezTo>
                    <a:pt x="1456849" y="310039"/>
                    <a:pt x="1456849" y="310039"/>
                    <a:pt x="1457801" y="309086"/>
                  </a:cubicBezTo>
                  <a:cubicBezTo>
                    <a:pt x="1456849" y="307181"/>
                    <a:pt x="1456849" y="305276"/>
                    <a:pt x="1455896" y="302419"/>
                  </a:cubicBezTo>
                  <a:cubicBezTo>
                    <a:pt x="1455896" y="305276"/>
                    <a:pt x="1456849" y="307181"/>
                    <a:pt x="1457801" y="309086"/>
                  </a:cubicBezTo>
                  <a:close/>
                  <a:moveTo>
                    <a:pt x="1442561" y="328136"/>
                  </a:moveTo>
                  <a:cubicBezTo>
                    <a:pt x="1442561" y="324326"/>
                    <a:pt x="1442561" y="321469"/>
                    <a:pt x="1442561" y="318611"/>
                  </a:cubicBezTo>
                  <a:cubicBezTo>
                    <a:pt x="1443514" y="323374"/>
                    <a:pt x="1443514" y="329089"/>
                    <a:pt x="1444466" y="333851"/>
                  </a:cubicBezTo>
                  <a:cubicBezTo>
                    <a:pt x="1443514" y="332899"/>
                    <a:pt x="1443514" y="330994"/>
                    <a:pt x="1442561" y="330041"/>
                  </a:cubicBezTo>
                  <a:cubicBezTo>
                    <a:pt x="1442561" y="330041"/>
                    <a:pt x="1442561" y="329089"/>
                    <a:pt x="1442561" y="328136"/>
                  </a:cubicBezTo>
                  <a:close/>
                  <a:moveTo>
                    <a:pt x="1415891" y="281464"/>
                  </a:moveTo>
                  <a:cubicBezTo>
                    <a:pt x="1415891" y="284321"/>
                    <a:pt x="1415891" y="286226"/>
                    <a:pt x="1415891" y="289084"/>
                  </a:cubicBezTo>
                  <a:cubicBezTo>
                    <a:pt x="1415891" y="289084"/>
                    <a:pt x="1415891" y="289084"/>
                    <a:pt x="1415891" y="289084"/>
                  </a:cubicBezTo>
                  <a:cubicBezTo>
                    <a:pt x="1414939" y="288131"/>
                    <a:pt x="1413986" y="287179"/>
                    <a:pt x="1413034" y="286226"/>
                  </a:cubicBezTo>
                  <a:cubicBezTo>
                    <a:pt x="1414939" y="284321"/>
                    <a:pt x="1415891" y="282416"/>
                    <a:pt x="1415891" y="281464"/>
                  </a:cubicBezTo>
                  <a:close/>
                  <a:moveTo>
                    <a:pt x="1412081" y="290036"/>
                  </a:moveTo>
                  <a:cubicBezTo>
                    <a:pt x="1413034" y="290989"/>
                    <a:pt x="1413034" y="291941"/>
                    <a:pt x="1413986" y="292894"/>
                  </a:cubicBezTo>
                  <a:cubicBezTo>
                    <a:pt x="1414939" y="293846"/>
                    <a:pt x="1414939" y="294799"/>
                    <a:pt x="1415891" y="295751"/>
                  </a:cubicBezTo>
                  <a:cubicBezTo>
                    <a:pt x="1415891" y="297656"/>
                    <a:pt x="1415891" y="299561"/>
                    <a:pt x="1415891" y="300514"/>
                  </a:cubicBezTo>
                  <a:cubicBezTo>
                    <a:pt x="1413986" y="296704"/>
                    <a:pt x="1413034" y="293846"/>
                    <a:pt x="1412081" y="290036"/>
                  </a:cubicBezTo>
                  <a:cubicBezTo>
                    <a:pt x="1412081" y="290036"/>
                    <a:pt x="1412081" y="290036"/>
                    <a:pt x="1412081" y="290036"/>
                  </a:cubicBezTo>
                  <a:close/>
                  <a:moveTo>
                    <a:pt x="1383506" y="364331"/>
                  </a:moveTo>
                  <a:cubicBezTo>
                    <a:pt x="1383506" y="362426"/>
                    <a:pt x="1383506" y="360521"/>
                    <a:pt x="1382554" y="358616"/>
                  </a:cubicBezTo>
                  <a:cubicBezTo>
                    <a:pt x="1382554" y="358616"/>
                    <a:pt x="1382554" y="357664"/>
                    <a:pt x="1382554" y="357664"/>
                  </a:cubicBezTo>
                  <a:cubicBezTo>
                    <a:pt x="1382554" y="358616"/>
                    <a:pt x="1383506" y="360521"/>
                    <a:pt x="1383506" y="362426"/>
                  </a:cubicBezTo>
                  <a:cubicBezTo>
                    <a:pt x="1384459" y="363379"/>
                    <a:pt x="1384459" y="363379"/>
                    <a:pt x="1383506" y="364331"/>
                  </a:cubicBezTo>
                  <a:close/>
                  <a:moveTo>
                    <a:pt x="1386364" y="298609"/>
                  </a:moveTo>
                  <a:cubicBezTo>
                    <a:pt x="1386364" y="298609"/>
                    <a:pt x="1386364" y="298609"/>
                    <a:pt x="1386364" y="298609"/>
                  </a:cubicBezTo>
                  <a:cubicBezTo>
                    <a:pt x="1385411" y="296704"/>
                    <a:pt x="1385411" y="295751"/>
                    <a:pt x="1384459" y="293846"/>
                  </a:cubicBezTo>
                  <a:cubicBezTo>
                    <a:pt x="1385411" y="292894"/>
                    <a:pt x="1385411" y="291941"/>
                    <a:pt x="1386364" y="290989"/>
                  </a:cubicBezTo>
                  <a:cubicBezTo>
                    <a:pt x="1388269" y="289084"/>
                    <a:pt x="1389221" y="287179"/>
                    <a:pt x="1391126" y="286226"/>
                  </a:cubicBezTo>
                  <a:cubicBezTo>
                    <a:pt x="1389221" y="290036"/>
                    <a:pt x="1387316" y="293846"/>
                    <a:pt x="1386364" y="298609"/>
                  </a:cubicBezTo>
                  <a:close/>
                  <a:moveTo>
                    <a:pt x="1383506" y="287179"/>
                  </a:moveTo>
                  <a:cubicBezTo>
                    <a:pt x="1383506" y="287179"/>
                    <a:pt x="1382554" y="288131"/>
                    <a:pt x="1382554" y="288131"/>
                  </a:cubicBezTo>
                  <a:cubicBezTo>
                    <a:pt x="1380649" y="283369"/>
                    <a:pt x="1378744" y="278606"/>
                    <a:pt x="1376839" y="274796"/>
                  </a:cubicBezTo>
                  <a:cubicBezTo>
                    <a:pt x="1379696" y="262414"/>
                    <a:pt x="1382554" y="251936"/>
                    <a:pt x="1384459" y="242411"/>
                  </a:cubicBezTo>
                  <a:cubicBezTo>
                    <a:pt x="1385411" y="250031"/>
                    <a:pt x="1387316" y="263366"/>
                    <a:pt x="1390174" y="281464"/>
                  </a:cubicBezTo>
                  <a:cubicBezTo>
                    <a:pt x="1388269" y="283369"/>
                    <a:pt x="1386364" y="285274"/>
                    <a:pt x="1383506" y="287179"/>
                  </a:cubicBezTo>
                  <a:close/>
                  <a:moveTo>
                    <a:pt x="1391126" y="310991"/>
                  </a:moveTo>
                  <a:cubicBezTo>
                    <a:pt x="1392079" y="307181"/>
                    <a:pt x="1392079" y="303371"/>
                    <a:pt x="1393031" y="299561"/>
                  </a:cubicBezTo>
                  <a:cubicBezTo>
                    <a:pt x="1393031" y="299561"/>
                    <a:pt x="1393031" y="298609"/>
                    <a:pt x="1393031" y="298609"/>
                  </a:cubicBezTo>
                  <a:cubicBezTo>
                    <a:pt x="1393031" y="300514"/>
                    <a:pt x="1393984" y="303371"/>
                    <a:pt x="1393984" y="305276"/>
                  </a:cubicBezTo>
                  <a:cubicBezTo>
                    <a:pt x="1393984" y="308134"/>
                    <a:pt x="1392079" y="309086"/>
                    <a:pt x="1391126" y="310991"/>
                  </a:cubicBezTo>
                  <a:close/>
                  <a:moveTo>
                    <a:pt x="1397794" y="278606"/>
                  </a:moveTo>
                  <a:cubicBezTo>
                    <a:pt x="1397794" y="278606"/>
                    <a:pt x="1397794" y="278606"/>
                    <a:pt x="1397794" y="278606"/>
                  </a:cubicBezTo>
                  <a:cubicBezTo>
                    <a:pt x="1397794" y="278606"/>
                    <a:pt x="1397794" y="279559"/>
                    <a:pt x="1397794" y="279559"/>
                  </a:cubicBezTo>
                  <a:cubicBezTo>
                    <a:pt x="1397794" y="279559"/>
                    <a:pt x="1397794" y="279559"/>
                    <a:pt x="1397794" y="278606"/>
                  </a:cubicBezTo>
                  <a:cubicBezTo>
                    <a:pt x="1397794" y="278606"/>
                    <a:pt x="1397794" y="278606"/>
                    <a:pt x="1397794" y="278606"/>
                  </a:cubicBezTo>
                  <a:close/>
                  <a:moveTo>
                    <a:pt x="1397794" y="322421"/>
                  </a:moveTo>
                  <a:cubicBezTo>
                    <a:pt x="1398746" y="325279"/>
                    <a:pt x="1398746" y="328136"/>
                    <a:pt x="1399699" y="331946"/>
                  </a:cubicBezTo>
                  <a:cubicBezTo>
                    <a:pt x="1399699" y="332899"/>
                    <a:pt x="1399699" y="332899"/>
                    <a:pt x="1399699" y="333851"/>
                  </a:cubicBezTo>
                  <a:cubicBezTo>
                    <a:pt x="1398746" y="330994"/>
                    <a:pt x="1397794" y="328136"/>
                    <a:pt x="1396841" y="326231"/>
                  </a:cubicBezTo>
                  <a:cubicBezTo>
                    <a:pt x="1396841" y="324326"/>
                    <a:pt x="1396841" y="323374"/>
                    <a:pt x="1397794" y="322421"/>
                  </a:cubicBezTo>
                  <a:close/>
                  <a:moveTo>
                    <a:pt x="1387316" y="231934"/>
                  </a:moveTo>
                  <a:cubicBezTo>
                    <a:pt x="1389221" y="242411"/>
                    <a:pt x="1392079" y="255746"/>
                    <a:pt x="1395889" y="270986"/>
                  </a:cubicBezTo>
                  <a:cubicBezTo>
                    <a:pt x="1395889" y="271939"/>
                    <a:pt x="1395889" y="271939"/>
                    <a:pt x="1394936" y="272891"/>
                  </a:cubicBezTo>
                  <a:cubicBezTo>
                    <a:pt x="1390174" y="257651"/>
                    <a:pt x="1386364" y="246221"/>
                    <a:pt x="1384459" y="240506"/>
                  </a:cubicBezTo>
                  <a:cubicBezTo>
                    <a:pt x="1386364" y="237649"/>
                    <a:pt x="1387316" y="234791"/>
                    <a:pt x="1387316" y="231934"/>
                  </a:cubicBezTo>
                  <a:close/>
                  <a:moveTo>
                    <a:pt x="1380649" y="232886"/>
                  </a:moveTo>
                  <a:cubicBezTo>
                    <a:pt x="1382554" y="230029"/>
                    <a:pt x="1384459" y="227171"/>
                    <a:pt x="1386364" y="225266"/>
                  </a:cubicBezTo>
                  <a:cubicBezTo>
                    <a:pt x="1386364" y="225266"/>
                    <a:pt x="1386364" y="225266"/>
                    <a:pt x="1386364" y="225266"/>
                  </a:cubicBezTo>
                  <a:cubicBezTo>
                    <a:pt x="1382554" y="234791"/>
                    <a:pt x="1377791" y="247174"/>
                    <a:pt x="1372076" y="262414"/>
                  </a:cubicBezTo>
                  <a:cubicBezTo>
                    <a:pt x="1371124" y="260509"/>
                    <a:pt x="1371124" y="259556"/>
                    <a:pt x="1370171" y="257651"/>
                  </a:cubicBezTo>
                  <a:cubicBezTo>
                    <a:pt x="1369219" y="256699"/>
                    <a:pt x="1369219" y="255746"/>
                    <a:pt x="1369219" y="253841"/>
                  </a:cubicBezTo>
                  <a:cubicBezTo>
                    <a:pt x="1373029" y="245269"/>
                    <a:pt x="1376839" y="238601"/>
                    <a:pt x="1380649" y="232886"/>
                  </a:cubicBezTo>
                  <a:close/>
                  <a:moveTo>
                    <a:pt x="1356836" y="300514"/>
                  </a:moveTo>
                  <a:cubicBezTo>
                    <a:pt x="1356836" y="301466"/>
                    <a:pt x="1356836" y="301466"/>
                    <a:pt x="1356836" y="302419"/>
                  </a:cubicBezTo>
                  <a:cubicBezTo>
                    <a:pt x="1356836" y="303371"/>
                    <a:pt x="1356836" y="303371"/>
                    <a:pt x="1355884" y="304324"/>
                  </a:cubicBezTo>
                  <a:cubicBezTo>
                    <a:pt x="1355884" y="302419"/>
                    <a:pt x="1355884" y="301466"/>
                    <a:pt x="1355884" y="299561"/>
                  </a:cubicBezTo>
                  <a:cubicBezTo>
                    <a:pt x="1355884" y="299561"/>
                    <a:pt x="1356836" y="299561"/>
                    <a:pt x="1356836" y="300514"/>
                  </a:cubicBezTo>
                  <a:close/>
                  <a:moveTo>
                    <a:pt x="1339691" y="325279"/>
                  </a:moveTo>
                  <a:cubicBezTo>
                    <a:pt x="1339691" y="325279"/>
                    <a:pt x="1339691" y="324326"/>
                    <a:pt x="1339691" y="324326"/>
                  </a:cubicBezTo>
                  <a:cubicBezTo>
                    <a:pt x="1340644" y="322421"/>
                    <a:pt x="1341596" y="319564"/>
                    <a:pt x="1341596" y="317659"/>
                  </a:cubicBezTo>
                  <a:cubicBezTo>
                    <a:pt x="1341596" y="317659"/>
                    <a:pt x="1341596" y="317659"/>
                    <a:pt x="1341596" y="317659"/>
                  </a:cubicBezTo>
                  <a:cubicBezTo>
                    <a:pt x="1341596" y="322421"/>
                    <a:pt x="1341596" y="326231"/>
                    <a:pt x="1341596" y="330994"/>
                  </a:cubicBezTo>
                  <a:cubicBezTo>
                    <a:pt x="1341596" y="328136"/>
                    <a:pt x="1340644" y="326231"/>
                    <a:pt x="1339691" y="325279"/>
                  </a:cubicBezTo>
                  <a:close/>
                  <a:moveTo>
                    <a:pt x="1340644" y="226219"/>
                  </a:moveTo>
                  <a:cubicBezTo>
                    <a:pt x="1340644" y="225266"/>
                    <a:pt x="1340644" y="225266"/>
                    <a:pt x="1340644" y="226219"/>
                  </a:cubicBezTo>
                  <a:cubicBezTo>
                    <a:pt x="1341596" y="229076"/>
                    <a:pt x="1343501" y="232886"/>
                    <a:pt x="1344454" y="237649"/>
                  </a:cubicBezTo>
                  <a:cubicBezTo>
                    <a:pt x="1344454" y="239554"/>
                    <a:pt x="1344454" y="240506"/>
                    <a:pt x="1344454" y="242411"/>
                  </a:cubicBezTo>
                  <a:cubicBezTo>
                    <a:pt x="1344454" y="249079"/>
                    <a:pt x="1343501" y="256699"/>
                    <a:pt x="1343501" y="264319"/>
                  </a:cubicBezTo>
                  <a:cubicBezTo>
                    <a:pt x="1343501" y="267176"/>
                    <a:pt x="1343501" y="270034"/>
                    <a:pt x="1343501" y="272891"/>
                  </a:cubicBezTo>
                  <a:cubicBezTo>
                    <a:pt x="1341596" y="271939"/>
                    <a:pt x="1340644" y="270034"/>
                    <a:pt x="1339691" y="269081"/>
                  </a:cubicBezTo>
                  <a:cubicBezTo>
                    <a:pt x="1338739" y="252889"/>
                    <a:pt x="1339691" y="238601"/>
                    <a:pt x="1340644" y="226219"/>
                  </a:cubicBezTo>
                  <a:close/>
                  <a:moveTo>
                    <a:pt x="1337786" y="295751"/>
                  </a:moveTo>
                  <a:cubicBezTo>
                    <a:pt x="1337786" y="288131"/>
                    <a:pt x="1338739" y="279559"/>
                    <a:pt x="1338739" y="271939"/>
                  </a:cubicBezTo>
                  <a:cubicBezTo>
                    <a:pt x="1339691" y="272891"/>
                    <a:pt x="1341596" y="274796"/>
                    <a:pt x="1342549" y="276701"/>
                  </a:cubicBezTo>
                  <a:cubicBezTo>
                    <a:pt x="1342549" y="276701"/>
                    <a:pt x="1342549" y="276701"/>
                    <a:pt x="1342549" y="276701"/>
                  </a:cubicBezTo>
                  <a:cubicBezTo>
                    <a:pt x="1342549" y="279559"/>
                    <a:pt x="1342549" y="283369"/>
                    <a:pt x="1342549" y="286226"/>
                  </a:cubicBezTo>
                  <a:cubicBezTo>
                    <a:pt x="1340644" y="290036"/>
                    <a:pt x="1338739" y="292894"/>
                    <a:pt x="1337786" y="295751"/>
                  </a:cubicBezTo>
                  <a:cubicBezTo>
                    <a:pt x="1337786" y="296704"/>
                    <a:pt x="1337786" y="296704"/>
                    <a:pt x="1337786" y="296704"/>
                  </a:cubicBezTo>
                  <a:cubicBezTo>
                    <a:pt x="1337786" y="296704"/>
                    <a:pt x="1337786" y="295751"/>
                    <a:pt x="1337786" y="295751"/>
                  </a:cubicBezTo>
                  <a:close/>
                  <a:moveTo>
                    <a:pt x="1314926" y="320516"/>
                  </a:moveTo>
                  <a:cubicBezTo>
                    <a:pt x="1314926" y="320516"/>
                    <a:pt x="1314926" y="320516"/>
                    <a:pt x="1314926" y="320516"/>
                  </a:cubicBezTo>
                  <a:cubicBezTo>
                    <a:pt x="1314926" y="320516"/>
                    <a:pt x="1314926" y="320516"/>
                    <a:pt x="1314926" y="320516"/>
                  </a:cubicBezTo>
                  <a:cubicBezTo>
                    <a:pt x="1314926" y="320516"/>
                    <a:pt x="1314926" y="320516"/>
                    <a:pt x="1314926" y="320516"/>
                  </a:cubicBezTo>
                  <a:close/>
                  <a:moveTo>
                    <a:pt x="1311116" y="312896"/>
                  </a:moveTo>
                  <a:cubicBezTo>
                    <a:pt x="1311116" y="312896"/>
                    <a:pt x="1312069" y="313849"/>
                    <a:pt x="1311116" y="312896"/>
                  </a:cubicBezTo>
                  <a:cubicBezTo>
                    <a:pt x="1311116" y="313849"/>
                    <a:pt x="1311116" y="313849"/>
                    <a:pt x="1311116" y="314801"/>
                  </a:cubicBezTo>
                  <a:cubicBezTo>
                    <a:pt x="1311116" y="314801"/>
                    <a:pt x="1311116" y="314801"/>
                    <a:pt x="1311116" y="314801"/>
                  </a:cubicBezTo>
                  <a:cubicBezTo>
                    <a:pt x="1311116" y="313849"/>
                    <a:pt x="1311116" y="313849"/>
                    <a:pt x="1311116" y="312896"/>
                  </a:cubicBezTo>
                  <a:close/>
                  <a:moveTo>
                    <a:pt x="1242536" y="344329"/>
                  </a:moveTo>
                  <a:cubicBezTo>
                    <a:pt x="1241584" y="341471"/>
                    <a:pt x="1239679" y="339566"/>
                    <a:pt x="1238726" y="336709"/>
                  </a:cubicBezTo>
                  <a:cubicBezTo>
                    <a:pt x="1238726" y="328136"/>
                    <a:pt x="1238726" y="318611"/>
                    <a:pt x="1238726" y="310991"/>
                  </a:cubicBezTo>
                  <a:cubicBezTo>
                    <a:pt x="1238726" y="309086"/>
                    <a:pt x="1238726" y="308134"/>
                    <a:pt x="1238726" y="307181"/>
                  </a:cubicBezTo>
                  <a:cubicBezTo>
                    <a:pt x="1240631" y="317659"/>
                    <a:pt x="1241584" y="328136"/>
                    <a:pt x="1244441" y="339566"/>
                  </a:cubicBezTo>
                  <a:cubicBezTo>
                    <a:pt x="1244441" y="339566"/>
                    <a:pt x="1244441" y="340519"/>
                    <a:pt x="1244441" y="340519"/>
                  </a:cubicBezTo>
                  <a:cubicBezTo>
                    <a:pt x="1243489" y="341471"/>
                    <a:pt x="1242536" y="343376"/>
                    <a:pt x="1242536" y="344329"/>
                  </a:cubicBezTo>
                  <a:close/>
                  <a:moveTo>
                    <a:pt x="1279684" y="290989"/>
                  </a:moveTo>
                  <a:cubicBezTo>
                    <a:pt x="1279684" y="289084"/>
                    <a:pt x="1279684" y="286226"/>
                    <a:pt x="1279684" y="284321"/>
                  </a:cubicBezTo>
                  <a:cubicBezTo>
                    <a:pt x="1280636" y="285274"/>
                    <a:pt x="1280636" y="286226"/>
                    <a:pt x="1281589" y="287179"/>
                  </a:cubicBezTo>
                  <a:cubicBezTo>
                    <a:pt x="1280636" y="289084"/>
                    <a:pt x="1279684" y="290036"/>
                    <a:pt x="1279684" y="290989"/>
                  </a:cubicBezTo>
                  <a:close/>
                  <a:moveTo>
                    <a:pt x="1298734" y="332899"/>
                  </a:moveTo>
                  <a:cubicBezTo>
                    <a:pt x="1298734" y="332899"/>
                    <a:pt x="1298734" y="332899"/>
                    <a:pt x="1298734" y="332899"/>
                  </a:cubicBezTo>
                  <a:cubicBezTo>
                    <a:pt x="1298734" y="331946"/>
                    <a:pt x="1298734" y="331946"/>
                    <a:pt x="1298734" y="330994"/>
                  </a:cubicBezTo>
                  <a:cubicBezTo>
                    <a:pt x="1298734" y="331946"/>
                    <a:pt x="1298734" y="332899"/>
                    <a:pt x="1298734" y="332899"/>
                  </a:cubicBezTo>
                  <a:close/>
                  <a:moveTo>
                    <a:pt x="1295876" y="278606"/>
                  </a:moveTo>
                  <a:cubicBezTo>
                    <a:pt x="1298734" y="285274"/>
                    <a:pt x="1301591" y="291941"/>
                    <a:pt x="1305401" y="299561"/>
                  </a:cubicBezTo>
                  <a:cubicBezTo>
                    <a:pt x="1305401" y="299561"/>
                    <a:pt x="1305401" y="299561"/>
                    <a:pt x="1305401" y="300514"/>
                  </a:cubicBezTo>
                  <a:cubicBezTo>
                    <a:pt x="1305401" y="301466"/>
                    <a:pt x="1305401" y="302419"/>
                    <a:pt x="1304449" y="303371"/>
                  </a:cubicBezTo>
                  <a:cubicBezTo>
                    <a:pt x="1303496" y="300514"/>
                    <a:pt x="1301591" y="298609"/>
                    <a:pt x="1300639" y="295751"/>
                  </a:cubicBezTo>
                  <a:cubicBezTo>
                    <a:pt x="1298734" y="291941"/>
                    <a:pt x="1296829" y="288131"/>
                    <a:pt x="1293971" y="284321"/>
                  </a:cubicBezTo>
                  <a:cubicBezTo>
                    <a:pt x="1294924" y="282416"/>
                    <a:pt x="1295876" y="280511"/>
                    <a:pt x="1295876" y="278606"/>
                  </a:cubicBezTo>
                  <a:close/>
                  <a:moveTo>
                    <a:pt x="1299686" y="328136"/>
                  </a:moveTo>
                  <a:cubicBezTo>
                    <a:pt x="1299686" y="329089"/>
                    <a:pt x="1299686" y="329089"/>
                    <a:pt x="1299686" y="330041"/>
                  </a:cubicBezTo>
                  <a:cubicBezTo>
                    <a:pt x="1299686" y="330041"/>
                    <a:pt x="1298734" y="330994"/>
                    <a:pt x="1298734" y="331946"/>
                  </a:cubicBezTo>
                  <a:cubicBezTo>
                    <a:pt x="1296829" y="329089"/>
                    <a:pt x="1294924" y="326231"/>
                    <a:pt x="1293019" y="324326"/>
                  </a:cubicBezTo>
                  <a:cubicBezTo>
                    <a:pt x="1292066" y="322421"/>
                    <a:pt x="1290161" y="320516"/>
                    <a:pt x="1289209" y="318611"/>
                  </a:cubicBezTo>
                  <a:cubicBezTo>
                    <a:pt x="1289209" y="318611"/>
                    <a:pt x="1289209" y="318611"/>
                    <a:pt x="1289209" y="318611"/>
                  </a:cubicBezTo>
                  <a:cubicBezTo>
                    <a:pt x="1289209" y="314801"/>
                    <a:pt x="1289209" y="311944"/>
                    <a:pt x="1289209" y="309086"/>
                  </a:cubicBezTo>
                  <a:cubicBezTo>
                    <a:pt x="1289209" y="308134"/>
                    <a:pt x="1290161" y="306229"/>
                    <a:pt x="1290161" y="305276"/>
                  </a:cubicBezTo>
                  <a:cubicBezTo>
                    <a:pt x="1293019" y="311944"/>
                    <a:pt x="1296829" y="319564"/>
                    <a:pt x="1299686" y="328136"/>
                  </a:cubicBezTo>
                  <a:close/>
                  <a:moveTo>
                    <a:pt x="1289209" y="263366"/>
                  </a:moveTo>
                  <a:cubicBezTo>
                    <a:pt x="1288256" y="265271"/>
                    <a:pt x="1288256" y="266224"/>
                    <a:pt x="1287304" y="268129"/>
                  </a:cubicBezTo>
                  <a:cubicBezTo>
                    <a:pt x="1287304" y="265271"/>
                    <a:pt x="1287304" y="262414"/>
                    <a:pt x="1287304" y="259556"/>
                  </a:cubicBezTo>
                  <a:cubicBezTo>
                    <a:pt x="1287304" y="260509"/>
                    <a:pt x="1288256" y="262414"/>
                    <a:pt x="1289209" y="263366"/>
                  </a:cubicBezTo>
                  <a:close/>
                  <a:moveTo>
                    <a:pt x="1276826" y="238601"/>
                  </a:moveTo>
                  <a:cubicBezTo>
                    <a:pt x="1277779" y="239554"/>
                    <a:pt x="1277779" y="240506"/>
                    <a:pt x="1278731" y="242411"/>
                  </a:cubicBezTo>
                  <a:cubicBezTo>
                    <a:pt x="1280636" y="246221"/>
                    <a:pt x="1283494" y="251936"/>
                    <a:pt x="1286351" y="257651"/>
                  </a:cubicBezTo>
                  <a:cubicBezTo>
                    <a:pt x="1286351" y="260509"/>
                    <a:pt x="1285399" y="263366"/>
                    <a:pt x="1285399" y="267176"/>
                  </a:cubicBezTo>
                  <a:cubicBezTo>
                    <a:pt x="1282541" y="263366"/>
                    <a:pt x="1280636" y="259556"/>
                    <a:pt x="1277779" y="255746"/>
                  </a:cubicBezTo>
                  <a:cubicBezTo>
                    <a:pt x="1277779" y="250031"/>
                    <a:pt x="1276826" y="245269"/>
                    <a:pt x="1276826" y="242411"/>
                  </a:cubicBezTo>
                  <a:cubicBezTo>
                    <a:pt x="1276826" y="241459"/>
                    <a:pt x="1276826" y="239554"/>
                    <a:pt x="1276826" y="238601"/>
                  </a:cubicBezTo>
                  <a:close/>
                  <a:moveTo>
                    <a:pt x="1273016" y="271939"/>
                  </a:moveTo>
                  <a:cubicBezTo>
                    <a:pt x="1273016" y="271939"/>
                    <a:pt x="1273969" y="272891"/>
                    <a:pt x="1273969" y="272891"/>
                  </a:cubicBezTo>
                  <a:cubicBezTo>
                    <a:pt x="1273969" y="278606"/>
                    <a:pt x="1273016" y="284321"/>
                    <a:pt x="1273016" y="291941"/>
                  </a:cubicBezTo>
                  <a:cubicBezTo>
                    <a:pt x="1272064" y="290989"/>
                    <a:pt x="1272064" y="289084"/>
                    <a:pt x="1271111" y="288131"/>
                  </a:cubicBezTo>
                  <a:cubicBezTo>
                    <a:pt x="1271111" y="282416"/>
                    <a:pt x="1272064" y="276701"/>
                    <a:pt x="1273016" y="271939"/>
                  </a:cubicBezTo>
                  <a:close/>
                  <a:moveTo>
                    <a:pt x="1240631" y="229076"/>
                  </a:moveTo>
                  <a:cubicBezTo>
                    <a:pt x="1241584" y="226219"/>
                    <a:pt x="1243489" y="223361"/>
                    <a:pt x="1244441" y="220504"/>
                  </a:cubicBezTo>
                  <a:cubicBezTo>
                    <a:pt x="1247299" y="226219"/>
                    <a:pt x="1251109" y="230981"/>
                    <a:pt x="1253966" y="237649"/>
                  </a:cubicBezTo>
                  <a:cubicBezTo>
                    <a:pt x="1257776" y="244316"/>
                    <a:pt x="1260634" y="250031"/>
                    <a:pt x="1264444" y="257651"/>
                  </a:cubicBezTo>
                  <a:cubicBezTo>
                    <a:pt x="1265396" y="259556"/>
                    <a:pt x="1267301" y="262414"/>
                    <a:pt x="1268254" y="264319"/>
                  </a:cubicBezTo>
                  <a:cubicBezTo>
                    <a:pt x="1266349" y="270986"/>
                    <a:pt x="1264444" y="277654"/>
                    <a:pt x="1262539" y="286226"/>
                  </a:cubicBezTo>
                  <a:cubicBezTo>
                    <a:pt x="1259681" y="283369"/>
                    <a:pt x="1257776" y="280511"/>
                    <a:pt x="1254919" y="277654"/>
                  </a:cubicBezTo>
                  <a:cubicBezTo>
                    <a:pt x="1250156" y="268129"/>
                    <a:pt x="1246346" y="259556"/>
                    <a:pt x="1241584" y="251936"/>
                  </a:cubicBezTo>
                  <a:cubicBezTo>
                    <a:pt x="1239679" y="249079"/>
                    <a:pt x="1237774" y="246221"/>
                    <a:pt x="1235869" y="243364"/>
                  </a:cubicBezTo>
                  <a:cubicBezTo>
                    <a:pt x="1235869" y="243364"/>
                    <a:pt x="1235869" y="242411"/>
                    <a:pt x="1235869" y="242411"/>
                  </a:cubicBezTo>
                  <a:cubicBezTo>
                    <a:pt x="1237774" y="236696"/>
                    <a:pt x="1239679" y="232886"/>
                    <a:pt x="1240631" y="229076"/>
                  </a:cubicBezTo>
                  <a:close/>
                  <a:moveTo>
                    <a:pt x="1228249" y="304324"/>
                  </a:moveTo>
                  <a:cubicBezTo>
                    <a:pt x="1228249" y="298609"/>
                    <a:pt x="1227296" y="292894"/>
                    <a:pt x="1227296" y="288131"/>
                  </a:cubicBezTo>
                  <a:lnTo>
                    <a:pt x="1227296" y="281464"/>
                  </a:lnTo>
                  <a:cubicBezTo>
                    <a:pt x="1227296" y="280511"/>
                    <a:pt x="1228249" y="280511"/>
                    <a:pt x="1228249" y="279559"/>
                  </a:cubicBezTo>
                  <a:cubicBezTo>
                    <a:pt x="1228249" y="279559"/>
                    <a:pt x="1228249" y="278606"/>
                    <a:pt x="1228249" y="278606"/>
                  </a:cubicBezTo>
                  <a:cubicBezTo>
                    <a:pt x="1228249" y="278606"/>
                    <a:pt x="1229201" y="279559"/>
                    <a:pt x="1229201" y="279559"/>
                  </a:cubicBezTo>
                  <a:cubicBezTo>
                    <a:pt x="1230154" y="280511"/>
                    <a:pt x="1230154" y="282416"/>
                    <a:pt x="1231106" y="284321"/>
                  </a:cubicBezTo>
                  <a:cubicBezTo>
                    <a:pt x="1230154" y="290036"/>
                    <a:pt x="1229201" y="296704"/>
                    <a:pt x="1228249" y="304324"/>
                  </a:cubicBezTo>
                  <a:close/>
                  <a:moveTo>
                    <a:pt x="1232059" y="280511"/>
                  </a:moveTo>
                  <a:cubicBezTo>
                    <a:pt x="1232059" y="279559"/>
                    <a:pt x="1232059" y="279559"/>
                    <a:pt x="1232059" y="278606"/>
                  </a:cubicBezTo>
                  <a:cubicBezTo>
                    <a:pt x="1232059" y="277654"/>
                    <a:pt x="1231106" y="276701"/>
                    <a:pt x="1230154" y="275749"/>
                  </a:cubicBezTo>
                  <a:cubicBezTo>
                    <a:pt x="1229201" y="275749"/>
                    <a:pt x="1228249" y="274796"/>
                    <a:pt x="1227296" y="275749"/>
                  </a:cubicBezTo>
                  <a:cubicBezTo>
                    <a:pt x="1227296" y="275749"/>
                    <a:pt x="1227296" y="275749"/>
                    <a:pt x="1226344" y="275749"/>
                  </a:cubicBezTo>
                  <a:lnTo>
                    <a:pt x="1226344" y="269081"/>
                  </a:lnTo>
                  <a:cubicBezTo>
                    <a:pt x="1227296" y="270034"/>
                    <a:pt x="1228249" y="270986"/>
                    <a:pt x="1230154" y="272891"/>
                  </a:cubicBezTo>
                  <a:cubicBezTo>
                    <a:pt x="1231106" y="273844"/>
                    <a:pt x="1232059" y="274796"/>
                    <a:pt x="1233011" y="276701"/>
                  </a:cubicBezTo>
                  <a:cubicBezTo>
                    <a:pt x="1232059" y="278606"/>
                    <a:pt x="1232059" y="279559"/>
                    <a:pt x="1232059" y="280511"/>
                  </a:cubicBezTo>
                  <a:close/>
                  <a:moveTo>
                    <a:pt x="1230154" y="221456"/>
                  </a:moveTo>
                  <a:cubicBezTo>
                    <a:pt x="1232059" y="225266"/>
                    <a:pt x="1233011" y="229076"/>
                    <a:pt x="1233964" y="233839"/>
                  </a:cubicBezTo>
                  <a:cubicBezTo>
                    <a:pt x="1233964" y="233839"/>
                    <a:pt x="1233964" y="233839"/>
                    <a:pt x="1233964" y="233839"/>
                  </a:cubicBezTo>
                  <a:cubicBezTo>
                    <a:pt x="1233964" y="232886"/>
                    <a:pt x="1233011" y="230981"/>
                    <a:pt x="1233011" y="230029"/>
                  </a:cubicBezTo>
                  <a:cubicBezTo>
                    <a:pt x="1231106" y="226219"/>
                    <a:pt x="1230154" y="223361"/>
                    <a:pt x="1230154" y="221456"/>
                  </a:cubicBezTo>
                  <a:cubicBezTo>
                    <a:pt x="1229201" y="220504"/>
                    <a:pt x="1229201" y="220504"/>
                    <a:pt x="1230154" y="221456"/>
                  </a:cubicBezTo>
                  <a:close/>
                  <a:moveTo>
                    <a:pt x="1229201" y="257651"/>
                  </a:moveTo>
                  <a:cubicBezTo>
                    <a:pt x="1229201" y="257651"/>
                    <a:pt x="1229201" y="257651"/>
                    <a:pt x="1229201" y="257651"/>
                  </a:cubicBezTo>
                  <a:cubicBezTo>
                    <a:pt x="1229201" y="258604"/>
                    <a:pt x="1230154" y="258604"/>
                    <a:pt x="1230154" y="259556"/>
                  </a:cubicBezTo>
                  <a:cubicBezTo>
                    <a:pt x="1230154" y="260509"/>
                    <a:pt x="1230154" y="261461"/>
                    <a:pt x="1230154" y="262414"/>
                  </a:cubicBezTo>
                  <a:cubicBezTo>
                    <a:pt x="1231106" y="266224"/>
                    <a:pt x="1231106" y="270986"/>
                    <a:pt x="1232059" y="274796"/>
                  </a:cubicBezTo>
                  <a:cubicBezTo>
                    <a:pt x="1232059" y="274796"/>
                    <a:pt x="1232059" y="274796"/>
                    <a:pt x="1232059" y="274796"/>
                  </a:cubicBezTo>
                  <a:cubicBezTo>
                    <a:pt x="1231106" y="273844"/>
                    <a:pt x="1230154" y="272891"/>
                    <a:pt x="1229201" y="272891"/>
                  </a:cubicBezTo>
                  <a:cubicBezTo>
                    <a:pt x="1227296" y="270986"/>
                    <a:pt x="1225391" y="270034"/>
                    <a:pt x="1225391" y="269081"/>
                  </a:cubicBezTo>
                  <a:lnTo>
                    <a:pt x="1225391" y="265271"/>
                  </a:lnTo>
                  <a:cubicBezTo>
                    <a:pt x="1227296" y="263366"/>
                    <a:pt x="1228249" y="260509"/>
                    <a:pt x="1229201" y="257651"/>
                  </a:cubicBezTo>
                  <a:close/>
                  <a:moveTo>
                    <a:pt x="1226344" y="235744"/>
                  </a:moveTo>
                  <a:cubicBezTo>
                    <a:pt x="1227296" y="238601"/>
                    <a:pt x="1227296" y="241459"/>
                    <a:pt x="1228249" y="244316"/>
                  </a:cubicBezTo>
                  <a:cubicBezTo>
                    <a:pt x="1228249" y="245269"/>
                    <a:pt x="1227296" y="246221"/>
                    <a:pt x="1227296" y="246221"/>
                  </a:cubicBezTo>
                  <a:cubicBezTo>
                    <a:pt x="1226344" y="245269"/>
                    <a:pt x="1226344" y="245269"/>
                    <a:pt x="1225391" y="244316"/>
                  </a:cubicBezTo>
                  <a:lnTo>
                    <a:pt x="1225391" y="231934"/>
                  </a:lnTo>
                  <a:cubicBezTo>
                    <a:pt x="1225391" y="233839"/>
                    <a:pt x="1225391" y="234791"/>
                    <a:pt x="1226344" y="235744"/>
                  </a:cubicBezTo>
                  <a:close/>
                  <a:moveTo>
                    <a:pt x="1197769" y="293846"/>
                  </a:moveTo>
                  <a:cubicBezTo>
                    <a:pt x="1197769" y="292894"/>
                    <a:pt x="1198721" y="290989"/>
                    <a:pt x="1198721" y="290036"/>
                  </a:cubicBezTo>
                  <a:cubicBezTo>
                    <a:pt x="1198721" y="290989"/>
                    <a:pt x="1198721" y="290989"/>
                    <a:pt x="1198721" y="291941"/>
                  </a:cubicBezTo>
                  <a:cubicBezTo>
                    <a:pt x="1198721" y="293846"/>
                    <a:pt x="1199674" y="296704"/>
                    <a:pt x="1199674" y="299561"/>
                  </a:cubicBezTo>
                  <a:cubicBezTo>
                    <a:pt x="1198721" y="301466"/>
                    <a:pt x="1197769" y="304324"/>
                    <a:pt x="1196816" y="307181"/>
                  </a:cubicBezTo>
                  <a:cubicBezTo>
                    <a:pt x="1195864" y="304324"/>
                    <a:pt x="1195864" y="301466"/>
                    <a:pt x="1194911" y="299561"/>
                  </a:cubicBezTo>
                  <a:cubicBezTo>
                    <a:pt x="1195864" y="297656"/>
                    <a:pt x="1196816" y="295751"/>
                    <a:pt x="1197769" y="293846"/>
                  </a:cubicBezTo>
                  <a:close/>
                  <a:moveTo>
                    <a:pt x="1196816" y="459581"/>
                  </a:moveTo>
                  <a:lnTo>
                    <a:pt x="1196816" y="459581"/>
                  </a:lnTo>
                  <a:cubicBezTo>
                    <a:pt x="1195864" y="458629"/>
                    <a:pt x="1195864" y="457676"/>
                    <a:pt x="1195864" y="455771"/>
                  </a:cubicBezTo>
                  <a:cubicBezTo>
                    <a:pt x="1195864" y="456724"/>
                    <a:pt x="1195864" y="457676"/>
                    <a:pt x="1196816" y="459581"/>
                  </a:cubicBezTo>
                  <a:close/>
                  <a:moveTo>
                    <a:pt x="1190149" y="324326"/>
                  </a:moveTo>
                  <a:cubicBezTo>
                    <a:pt x="1190149" y="325279"/>
                    <a:pt x="1190149" y="325279"/>
                    <a:pt x="1190149" y="324326"/>
                  </a:cubicBezTo>
                  <a:cubicBezTo>
                    <a:pt x="1190149" y="323374"/>
                    <a:pt x="1190149" y="321469"/>
                    <a:pt x="1189196" y="320516"/>
                  </a:cubicBezTo>
                  <a:cubicBezTo>
                    <a:pt x="1190149" y="322421"/>
                    <a:pt x="1190149" y="323374"/>
                    <a:pt x="1190149" y="324326"/>
                  </a:cubicBezTo>
                  <a:close/>
                  <a:moveTo>
                    <a:pt x="1170146" y="270986"/>
                  </a:moveTo>
                  <a:cubicBezTo>
                    <a:pt x="1170146" y="270034"/>
                    <a:pt x="1170146" y="269081"/>
                    <a:pt x="1170146" y="268129"/>
                  </a:cubicBezTo>
                  <a:cubicBezTo>
                    <a:pt x="1170146" y="267176"/>
                    <a:pt x="1170146" y="265271"/>
                    <a:pt x="1170146" y="264319"/>
                  </a:cubicBezTo>
                  <a:cubicBezTo>
                    <a:pt x="1171099" y="253841"/>
                    <a:pt x="1172051" y="244316"/>
                    <a:pt x="1172051" y="235744"/>
                  </a:cubicBezTo>
                  <a:cubicBezTo>
                    <a:pt x="1173004" y="238601"/>
                    <a:pt x="1173956" y="241459"/>
                    <a:pt x="1174909" y="245269"/>
                  </a:cubicBezTo>
                  <a:cubicBezTo>
                    <a:pt x="1174909" y="249079"/>
                    <a:pt x="1175861" y="253841"/>
                    <a:pt x="1176814" y="260509"/>
                  </a:cubicBezTo>
                  <a:cubicBezTo>
                    <a:pt x="1177766" y="267176"/>
                    <a:pt x="1177766" y="275749"/>
                    <a:pt x="1177766" y="285274"/>
                  </a:cubicBezTo>
                  <a:cubicBezTo>
                    <a:pt x="1178719" y="291941"/>
                    <a:pt x="1177766" y="300514"/>
                    <a:pt x="1177766" y="308134"/>
                  </a:cubicBezTo>
                  <a:cubicBezTo>
                    <a:pt x="1177766" y="307181"/>
                    <a:pt x="1176814" y="306229"/>
                    <a:pt x="1176814" y="305276"/>
                  </a:cubicBezTo>
                  <a:cubicBezTo>
                    <a:pt x="1173956" y="298609"/>
                    <a:pt x="1171099" y="292894"/>
                    <a:pt x="1168241" y="287179"/>
                  </a:cubicBezTo>
                  <a:cubicBezTo>
                    <a:pt x="1169194" y="282416"/>
                    <a:pt x="1170146" y="275749"/>
                    <a:pt x="1170146" y="270986"/>
                  </a:cubicBezTo>
                  <a:close/>
                  <a:moveTo>
                    <a:pt x="1170146" y="309086"/>
                  </a:moveTo>
                  <a:cubicBezTo>
                    <a:pt x="1171099" y="312896"/>
                    <a:pt x="1173004" y="317659"/>
                    <a:pt x="1173956" y="321469"/>
                  </a:cubicBezTo>
                  <a:cubicBezTo>
                    <a:pt x="1173004" y="323374"/>
                    <a:pt x="1173004" y="325279"/>
                    <a:pt x="1172051" y="327184"/>
                  </a:cubicBezTo>
                  <a:cubicBezTo>
                    <a:pt x="1171099" y="325279"/>
                    <a:pt x="1171099" y="324326"/>
                    <a:pt x="1170146" y="322421"/>
                  </a:cubicBezTo>
                  <a:cubicBezTo>
                    <a:pt x="1170146" y="321469"/>
                    <a:pt x="1170146" y="319564"/>
                    <a:pt x="1170146" y="318611"/>
                  </a:cubicBezTo>
                  <a:cubicBezTo>
                    <a:pt x="1169194" y="313849"/>
                    <a:pt x="1169194" y="308134"/>
                    <a:pt x="1168241" y="303371"/>
                  </a:cubicBezTo>
                  <a:cubicBezTo>
                    <a:pt x="1168241" y="305276"/>
                    <a:pt x="1169194" y="307181"/>
                    <a:pt x="1170146" y="309086"/>
                  </a:cubicBezTo>
                  <a:close/>
                  <a:moveTo>
                    <a:pt x="1164431" y="236696"/>
                  </a:moveTo>
                  <a:cubicBezTo>
                    <a:pt x="1163479" y="242411"/>
                    <a:pt x="1162526" y="248126"/>
                    <a:pt x="1161574" y="253841"/>
                  </a:cubicBezTo>
                  <a:cubicBezTo>
                    <a:pt x="1161574" y="252889"/>
                    <a:pt x="1161574" y="252889"/>
                    <a:pt x="1161574" y="251936"/>
                  </a:cubicBezTo>
                  <a:cubicBezTo>
                    <a:pt x="1161574" y="251936"/>
                    <a:pt x="1161574" y="250984"/>
                    <a:pt x="1161574" y="250984"/>
                  </a:cubicBezTo>
                  <a:cubicBezTo>
                    <a:pt x="1162526" y="245269"/>
                    <a:pt x="1163479" y="240506"/>
                    <a:pt x="1164431" y="236696"/>
                  </a:cubicBezTo>
                  <a:close/>
                  <a:moveTo>
                    <a:pt x="1140619" y="290036"/>
                  </a:moveTo>
                  <a:cubicBezTo>
                    <a:pt x="1140619" y="290989"/>
                    <a:pt x="1139666" y="290989"/>
                    <a:pt x="1139666" y="291941"/>
                  </a:cubicBezTo>
                  <a:cubicBezTo>
                    <a:pt x="1138714" y="289084"/>
                    <a:pt x="1138714" y="286226"/>
                    <a:pt x="1137761" y="283369"/>
                  </a:cubicBezTo>
                  <a:cubicBezTo>
                    <a:pt x="1138714" y="286226"/>
                    <a:pt x="1139666" y="288131"/>
                    <a:pt x="1140619" y="290036"/>
                  </a:cubicBezTo>
                  <a:close/>
                  <a:moveTo>
                    <a:pt x="1114901" y="339566"/>
                  </a:moveTo>
                  <a:cubicBezTo>
                    <a:pt x="1115854" y="331946"/>
                    <a:pt x="1116806" y="323374"/>
                    <a:pt x="1117759" y="315754"/>
                  </a:cubicBezTo>
                  <a:cubicBezTo>
                    <a:pt x="1118711" y="318611"/>
                    <a:pt x="1118711" y="321469"/>
                    <a:pt x="1119664" y="325279"/>
                  </a:cubicBezTo>
                  <a:cubicBezTo>
                    <a:pt x="1120616" y="328136"/>
                    <a:pt x="1120616" y="331946"/>
                    <a:pt x="1121569" y="334804"/>
                  </a:cubicBezTo>
                  <a:cubicBezTo>
                    <a:pt x="1121569" y="336709"/>
                    <a:pt x="1120616" y="338614"/>
                    <a:pt x="1120616" y="341471"/>
                  </a:cubicBezTo>
                  <a:cubicBezTo>
                    <a:pt x="1120616" y="341471"/>
                    <a:pt x="1120616" y="341471"/>
                    <a:pt x="1120616" y="342424"/>
                  </a:cubicBezTo>
                  <a:cubicBezTo>
                    <a:pt x="1119664" y="344329"/>
                    <a:pt x="1118711" y="346234"/>
                    <a:pt x="1118711" y="348139"/>
                  </a:cubicBezTo>
                  <a:cubicBezTo>
                    <a:pt x="1117759" y="345281"/>
                    <a:pt x="1115854" y="343376"/>
                    <a:pt x="1114901" y="341471"/>
                  </a:cubicBezTo>
                  <a:cubicBezTo>
                    <a:pt x="1114901" y="340519"/>
                    <a:pt x="1114901" y="339566"/>
                    <a:pt x="1114901" y="339566"/>
                  </a:cubicBezTo>
                  <a:close/>
                  <a:moveTo>
                    <a:pt x="1111091" y="219551"/>
                  </a:moveTo>
                  <a:cubicBezTo>
                    <a:pt x="1111091" y="220504"/>
                    <a:pt x="1112044" y="221456"/>
                    <a:pt x="1112044" y="222409"/>
                  </a:cubicBezTo>
                  <a:cubicBezTo>
                    <a:pt x="1112044" y="225266"/>
                    <a:pt x="1112996" y="228124"/>
                    <a:pt x="1112996" y="230029"/>
                  </a:cubicBezTo>
                  <a:cubicBezTo>
                    <a:pt x="1112996" y="230029"/>
                    <a:pt x="1112996" y="230029"/>
                    <a:pt x="1112996" y="230029"/>
                  </a:cubicBezTo>
                  <a:cubicBezTo>
                    <a:pt x="1112996" y="226219"/>
                    <a:pt x="1112044" y="223361"/>
                    <a:pt x="1111091" y="219551"/>
                  </a:cubicBezTo>
                  <a:cubicBezTo>
                    <a:pt x="1111091" y="220504"/>
                    <a:pt x="1111091" y="219551"/>
                    <a:pt x="1111091" y="219551"/>
                  </a:cubicBezTo>
                  <a:close/>
                  <a:moveTo>
                    <a:pt x="1110139" y="217646"/>
                  </a:moveTo>
                  <a:cubicBezTo>
                    <a:pt x="1110139" y="217646"/>
                    <a:pt x="1110139" y="217646"/>
                    <a:pt x="1110139" y="217646"/>
                  </a:cubicBezTo>
                  <a:cubicBezTo>
                    <a:pt x="1110139" y="217646"/>
                    <a:pt x="1109186" y="216694"/>
                    <a:pt x="1109186" y="215741"/>
                  </a:cubicBezTo>
                  <a:cubicBezTo>
                    <a:pt x="1110139" y="216694"/>
                    <a:pt x="1110139" y="216694"/>
                    <a:pt x="1110139" y="217646"/>
                  </a:cubicBezTo>
                  <a:close/>
                  <a:moveTo>
                    <a:pt x="1101566" y="236696"/>
                  </a:moveTo>
                  <a:cubicBezTo>
                    <a:pt x="1104424" y="248126"/>
                    <a:pt x="1107281" y="262414"/>
                    <a:pt x="1111091" y="278606"/>
                  </a:cubicBezTo>
                  <a:cubicBezTo>
                    <a:pt x="1110139" y="283369"/>
                    <a:pt x="1109186" y="289084"/>
                    <a:pt x="1109186" y="293846"/>
                  </a:cubicBezTo>
                  <a:cubicBezTo>
                    <a:pt x="1108234" y="298609"/>
                    <a:pt x="1107281" y="304324"/>
                    <a:pt x="1106329" y="309086"/>
                  </a:cubicBezTo>
                  <a:cubicBezTo>
                    <a:pt x="1106329" y="309086"/>
                    <a:pt x="1106329" y="309086"/>
                    <a:pt x="1106329" y="308134"/>
                  </a:cubicBezTo>
                  <a:cubicBezTo>
                    <a:pt x="1105376" y="300514"/>
                    <a:pt x="1105376" y="295751"/>
                    <a:pt x="1105376" y="295751"/>
                  </a:cubicBezTo>
                  <a:cubicBezTo>
                    <a:pt x="1105376" y="295751"/>
                    <a:pt x="1105376" y="297656"/>
                    <a:pt x="1105376" y="300514"/>
                  </a:cubicBezTo>
                  <a:cubicBezTo>
                    <a:pt x="1103471" y="290989"/>
                    <a:pt x="1101566" y="282416"/>
                    <a:pt x="1099661" y="272891"/>
                  </a:cubicBezTo>
                  <a:cubicBezTo>
                    <a:pt x="1097756" y="265271"/>
                    <a:pt x="1096804" y="256699"/>
                    <a:pt x="1094899" y="249079"/>
                  </a:cubicBezTo>
                  <a:cubicBezTo>
                    <a:pt x="1096804" y="244316"/>
                    <a:pt x="1098709" y="240506"/>
                    <a:pt x="1101566" y="236696"/>
                  </a:cubicBezTo>
                  <a:close/>
                  <a:moveTo>
                    <a:pt x="1027271" y="325279"/>
                  </a:moveTo>
                  <a:cubicBezTo>
                    <a:pt x="1028224" y="319564"/>
                    <a:pt x="1029176" y="314801"/>
                    <a:pt x="1030129" y="310991"/>
                  </a:cubicBezTo>
                  <a:cubicBezTo>
                    <a:pt x="1031081" y="306229"/>
                    <a:pt x="1032986" y="301466"/>
                    <a:pt x="1034891" y="297656"/>
                  </a:cubicBezTo>
                  <a:cubicBezTo>
                    <a:pt x="1035844" y="293846"/>
                    <a:pt x="1037749" y="290989"/>
                    <a:pt x="1039654" y="288131"/>
                  </a:cubicBezTo>
                  <a:cubicBezTo>
                    <a:pt x="1040606" y="291941"/>
                    <a:pt x="1041559" y="295751"/>
                    <a:pt x="1042511" y="299561"/>
                  </a:cubicBezTo>
                  <a:cubicBezTo>
                    <a:pt x="1041559" y="301466"/>
                    <a:pt x="1040606" y="303371"/>
                    <a:pt x="1039654" y="305276"/>
                  </a:cubicBezTo>
                  <a:cubicBezTo>
                    <a:pt x="1034891" y="313849"/>
                    <a:pt x="1031081" y="322421"/>
                    <a:pt x="1028224" y="330994"/>
                  </a:cubicBezTo>
                  <a:cubicBezTo>
                    <a:pt x="1028224" y="329089"/>
                    <a:pt x="1028224" y="327184"/>
                    <a:pt x="1027271" y="325279"/>
                  </a:cubicBezTo>
                  <a:close/>
                  <a:moveTo>
                    <a:pt x="1040606" y="374809"/>
                  </a:moveTo>
                  <a:cubicBezTo>
                    <a:pt x="1040606" y="373856"/>
                    <a:pt x="1039654" y="371951"/>
                    <a:pt x="1039654" y="370999"/>
                  </a:cubicBezTo>
                  <a:cubicBezTo>
                    <a:pt x="1041559" y="366236"/>
                    <a:pt x="1043464" y="360521"/>
                    <a:pt x="1045369" y="355759"/>
                  </a:cubicBezTo>
                  <a:cubicBezTo>
                    <a:pt x="1046321" y="358616"/>
                    <a:pt x="1047274" y="361474"/>
                    <a:pt x="1047274" y="364331"/>
                  </a:cubicBezTo>
                  <a:cubicBezTo>
                    <a:pt x="1047274" y="371951"/>
                    <a:pt x="1047274" y="378619"/>
                    <a:pt x="1048226" y="386239"/>
                  </a:cubicBezTo>
                  <a:cubicBezTo>
                    <a:pt x="1046321" y="385286"/>
                    <a:pt x="1045369" y="384334"/>
                    <a:pt x="1044416" y="384334"/>
                  </a:cubicBezTo>
                  <a:cubicBezTo>
                    <a:pt x="1042511" y="381476"/>
                    <a:pt x="1041559" y="377666"/>
                    <a:pt x="1040606" y="374809"/>
                  </a:cubicBezTo>
                  <a:close/>
                  <a:moveTo>
                    <a:pt x="1046321" y="389096"/>
                  </a:moveTo>
                  <a:cubicBezTo>
                    <a:pt x="1047274" y="390049"/>
                    <a:pt x="1047274" y="390049"/>
                    <a:pt x="1048226" y="391001"/>
                  </a:cubicBezTo>
                  <a:cubicBezTo>
                    <a:pt x="1048226" y="391954"/>
                    <a:pt x="1048226" y="391954"/>
                    <a:pt x="1048226" y="392906"/>
                  </a:cubicBezTo>
                  <a:cubicBezTo>
                    <a:pt x="1047274" y="391954"/>
                    <a:pt x="1046321" y="390049"/>
                    <a:pt x="1046321" y="389096"/>
                  </a:cubicBezTo>
                  <a:close/>
                  <a:moveTo>
                    <a:pt x="1056799" y="292894"/>
                  </a:moveTo>
                  <a:cubicBezTo>
                    <a:pt x="1057751" y="289084"/>
                    <a:pt x="1059656" y="286226"/>
                    <a:pt x="1061561" y="282416"/>
                  </a:cubicBezTo>
                  <a:cubicBezTo>
                    <a:pt x="1063466" y="278606"/>
                    <a:pt x="1064419" y="274796"/>
                    <a:pt x="1066324" y="271939"/>
                  </a:cubicBezTo>
                  <a:cubicBezTo>
                    <a:pt x="1066324" y="272891"/>
                    <a:pt x="1066324" y="272891"/>
                    <a:pt x="1066324" y="273844"/>
                  </a:cubicBezTo>
                  <a:cubicBezTo>
                    <a:pt x="1066324" y="275749"/>
                    <a:pt x="1067276" y="276701"/>
                    <a:pt x="1067276" y="278606"/>
                  </a:cubicBezTo>
                  <a:cubicBezTo>
                    <a:pt x="1066324" y="280511"/>
                    <a:pt x="1064419" y="282416"/>
                    <a:pt x="1063466" y="285274"/>
                  </a:cubicBezTo>
                  <a:cubicBezTo>
                    <a:pt x="1061561" y="288131"/>
                    <a:pt x="1059656" y="291941"/>
                    <a:pt x="1057751" y="295751"/>
                  </a:cubicBezTo>
                  <a:cubicBezTo>
                    <a:pt x="1057751" y="294799"/>
                    <a:pt x="1056799" y="293846"/>
                    <a:pt x="1056799" y="292894"/>
                  </a:cubicBezTo>
                  <a:close/>
                  <a:moveTo>
                    <a:pt x="1059656" y="360521"/>
                  </a:moveTo>
                  <a:cubicBezTo>
                    <a:pt x="1059656" y="360521"/>
                    <a:pt x="1059656" y="359569"/>
                    <a:pt x="1059656" y="360521"/>
                  </a:cubicBezTo>
                  <a:cubicBezTo>
                    <a:pt x="1059656" y="359569"/>
                    <a:pt x="1059656" y="360521"/>
                    <a:pt x="1059656" y="360521"/>
                  </a:cubicBezTo>
                  <a:cubicBezTo>
                    <a:pt x="1059656" y="360521"/>
                    <a:pt x="1059656" y="360521"/>
                    <a:pt x="1059656" y="360521"/>
                  </a:cubicBezTo>
                  <a:close/>
                  <a:moveTo>
                    <a:pt x="1064419" y="383381"/>
                  </a:moveTo>
                  <a:cubicBezTo>
                    <a:pt x="1063466" y="381476"/>
                    <a:pt x="1063466" y="380524"/>
                    <a:pt x="1062514" y="379571"/>
                  </a:cubicBezTo>
                  <a:cubicBezTo>
                    <a:pt x="1062514" y="377666"/>
                    <a:pt x="1062514" y="376714"/>
                    <a:pt x="1063466" y="374809"/>
                  </a:cubicBezTo>
                  <a:cubicBezTo>
                    <a:pt x="1063466" y="375761"/>
                    <a:pt x="1064419" y="377666"/>
                    <a:pt x="1064419" y="378619"/>
                  </a:cubicBezTo>
                  <a:cubicBezTo>
                    <a:pt x="1064419" y="379571"/>
                    <a:pt x="1064419" y="379571"/>
                    <a:pt x="1064419" y="380524"/>
                  </a:cubicBezTo>
                  <a:cubicBezTo>
                    <a:pt x="1064419" y="382429"/>
                    <a:pt x="1065371" y="384334"/>
                    <a:pt x="1065371" y="386239"/>
                  </a:cubicBezTo>
                  <a:cubicBezTo>
                    <a:pt x="1065371" y="385286"/>
                    <a:pt x="1065371" y="384334"/>
                    <a:pt x="1064419" y="383381"/>
                  </a:cubicBezTo>
                  <a:close/>
                  <a:moveTo>
                    <a:pt x="1069181" y="330994"/>
                  </a:moveTo>
                  <a:cubicBezTo>
                    <a:pt x="1067276" y="325279"/>
                    <a:pt x="1065371" y="318611"/>
                    <a:pt x="1063466" y="312896"/>
                  </a:cubicBezTo>
                  <a:cubicBezTo>
                    <a:pt x="1065371" y="309086"/>
                    <a:pt x="1067276" y="304324"/>
                    <a:pt x="1069181" y="300514"/>
                  </a:cubicBezTo>
                  <a:cubicBezTo>
                    <a:pt x="1070134" y="308134"/>
                    <a:pt x="1069181" y="316706"/>
                    <a:pt x="1070134" y="326231"/>
                  </a:cubicBezTo>
                  <a:cubicBezTo>
                    <a:pt x="1069181" y="328136"/>
                    <a:pt x="1069181" y="329089"/>
                    <a:pt x="1069181" y="330994"/>
                  </a:cubicBezTo>
                  <a:close/>
                  <a:moveTo>
                    <a:pt x="1077754" y="262414"/>
                  </a:moveTo>
                  <a:cubicBezTo>
                    <a:pt x="1076801" y="263366"/>
                    <a:pt x="1076801" y="264319"/>
                    <a:pt x="1075849" y="264319"/>
                  </a:cubicBezTo>
                  <a:cubicBezTo>
                    <a:pt x="1074896" y="261461"/>
                    <a:pt x="1074896" y="259556"/>
                    <a:pt x="1073944" y="256699"/>
                  </a:cubicBezTo>
                  <a:lnTo>
                    <a:pt x="1074896" y="256699"/>
                  </a:lnTo>
                  <a:lnTo>
                    <a:pt x="1075849" y="256699"/>
                  </a:lnTo>
                  <a:cubicBezTo>
                    <a:pt x="1076801" y="259556"/>
                    <a:pt x="1077754" y="260509"/>
                    <a:pt x="1077754" y="262414"/>
                  </a:cubicBezTo>
                  <a:close/>
                  <a:moveTo>
                    <a:pt x="1045369" y="175736"/>
                  </a:moveTo>
                  <a:cubicBezTo>
                    <a:pt x="1048226" y="168116"/>
                    <a:pt x="1052036" y="160496"/>
                    <a:pt x="1054894" y="153829"/>
                  </a:cubicBezTo>
                  <a:cubicBezTo>
                    <a:pt x="1054894" y="154781"/>
                    <a:pt x="1054894" y="154781"/>
                    <a:pt x="1055846" y="155734"/>
                  </a:cubicBezTo>
                  <a:cubicBezTo>
                    <a:pt x="1056799" y="160496"/>
                    <a:pt x="1058704" y="166211"/>
                    <a:pt x="1059656" y="171926"/>
                  </a:cubicBezTo>
                  <a:cubicBezTo>
                    <a:pt x="1061561" y="178594"/>
                    <a:pt x="1063466" y="186214"/>
                    <a:pt x="1064419" y="193834"/>
                  </a:cubicBezTo>
                  <a:cubicBezTo>
                    <a:pt x="1066324" y="201454"/>
                    <a:pt x="1067276" y="208121"/>
                    <a:pt x="1069181" y="215741"/>
                  </a:cubicBezTo>
                  <a:cubicBezTo>
                    <a:pt x="1072039" y="228124"/>
                    <a:pt x="1073944" y="241459"/>
                    <a:pt x="1076801" y="253841"/>
                  </a:cubicBezTo>
                  <a:cubicBezTo>
                    <a:pt x="1075849" y="253841"/>
                    <a:pt x="1074896" y="252889"/>
                    <a:pt x="1074896" y="252889"/>
                  </a:cubicBezTo>
                  <a:cubicBezTo>
                    <a:pt x="1070134" y="230981"/>
                    <a:pt x="1067276" y="216694"/>
                    <a:pt x="1067276" y="216694"/>
                  </a:cubicBezTo>
                  <a:cubicBezTo>
                    <a:pt x="1067276" y="216694"/>
                    <a:pt x="1067276" y="232886"/>
                    <a:pt x="1068229" y="257651"/>
                  </a:cubicBezTo>
                  <a:cubicBezTo>
                    <a:pt x="1068229" y="258604"/>
                    <a:pt x="1067276" y="258604"/>
                    <a:pt x="1067276" y="259556"/>
                  </a:cubicBezTo>
                  <a:cubicBezTo>
                    <a:pt x="1065371" y="255746"/>
                    <a:pt x="1065371" y="252889"/>
                    <a:pt x="1065371" y="252889"/>
                  </a:cubicBezTo>
                  <a:cubicBezTo>
                    <a:pt x="1065371" y="252889"/>
                    <a:pt x="1065371" y="255746"/>
                    <a:pt x="1066324" y="261461"/>
                  </a:cubicBezTo>
                  <a:cubicBezTo>
                    <a:pt x="1062514" y="267176"/>
                    <a:pt x="1058704" y="272891"/>
                    <a:pt x="1055846" y="278606"/>
                  </a:cubicBezTo>
                  <a:cubicBezTo>
                    <a:pt x="1055846" y="279559"/>
                    <a:pt x="1054894" y="279559"/>
                    <a:pt x="1054894" y="280511"/>
                  </a:cubicBezTo>
                  <a:cubicBezTo>
                    <a:pt x="1054894" y="279559"/>
                    <a:pt x="1053941" y="278606"/>
                    <a:pt x="1053941" y="277654"/>
                  </a:cubicBezTo>
                  <a:cubicBezTo>
                    <a:pt x="1050131" y="266224"/>
                    <a:pt x="1046321" y="254794"/>
                    <a:pt x="1043464" y="245269"/>
                  </a:cubicBezTo>
                  <a:cubicBezTo>
                    <a:pt x="1040606" y="235744"/>
                    <a:pt x="1037749" y="227171"/>
                    <a:pt x="1035844" y="220504"/>
                  </a:cubicBezTo>
                  <a:cubicBezTo>
                    <a:pt x="1033939" y="215741"/>
                    <a:pt x="1032986" y="211931"/>
                    <a:pt x="1032034" y="209074"/>
                  </a:cubicBezTo>
                  <a:cubicBezTo>
                    <a:pt x="1034891" y="196691"/>
                    <a:pt x="1040606" y="186214"/>
                    <a:pt x="1045369" y="175736"/>
                  </a:cubicBezTo>
                  <a:close/>
                  <a:moveTo>
                    <a:pt x="1019651" y="267176"/>
                  </a:moveTo>
                  <a:cubicBezTo>
                    <a:pt x="1020604" y="251936"/>
                    <a:pt x="1022509" y="236696"/>
                    <a:pt x="1023461" y="221456"/>
                  </a:cubicBezTo>
                  <a:cubicBezTo>
                    <a:pt x="1023461" y="220504"/>
                    <a:pt x="1024414" y="219551"/>
                    <a:pt x="1024414" y="218599"/>
                  </a:cubicBezTo>
                  <a:cubicBezTo>
                    <a:pt x="1026319" y="229076"/>
                    <a:pt x="1028224" y="241459"/>
                    <a:pt x="1032034" y="253841"/>
                  </a:cubicBezTo>
                  <a:cubicBezTo>
                    <a:pt x="1033939" y="263366"/>
                    <a:pt x="1036796" y="272891"/>
                    <a:pt x="1038701" y="283369"/>
                  </a:cubicBezTo>
                  <a:cubicBezTo>
                    <a:pt x="1038701" y="283369"/>
                    <a:pt x="1038701" y="284321"/>
                    <a:pt x="1037749" y="284321"/>
                  </a:cubicBezTo>
                  <a:cubicBezTo>
                    <a:pt x="1035844" y="287179"/>
                    <a:pt x="1032986" y="290036"/>
                    <a:pt x="1031081" y="294799"/>
                  </a:cubicBezTo>
                  <a:cubicBezTo>
                    <a:pt x="1029176" y="298609"/>
                    <a:pt x="1027271" y="302419"/>
                    <a:pt x="1025366" y="306229"/>
                  </a:cubicBezTo>
                  <a:cubicBezTo>
                    <a:pt x="1024414" y="297656"/>
                    <a:pt x="1024414" y="290036"/>
                    <a:pt x="1023461" y="284321"/>
                  </a:cubicBezTo>
                  <a:cubicBezTo>
                    <a:pt x="1022509" y="274796"/>
                    <a:pt x="1022509" y="269081"/>
                    <a:pt x="1022509" y="269081"/>
                  </a:cubicBezTo>
                  <a:cubicBezTo>
                    <a:pt x="1022509" y="269081"/>
                    <a:pt x="1021556" y="274796"/>
                    <a:pt x="1019651" y="284321"/>
                  </a:cubicBezTo>
                  <a:cubicBezTo>
                    <a:pt x="1018699" y="291941"/>
                    <a:pt x="1016794" y="302419"/>
                    <a:pt x="1015841" y="314801"/>
                  </a:cubicBezTo>
                  <a:cubicBezTo>
                    <a:pt x="1015841" y="314801"/>
                    <a:pt x="1015841" y="315754"/>
                    <a:pt x="1015841" y="315754"/>
                  </a:cubicBezTo>
                  <a:cubicBezTo>
                    <a:pt x="1015841" y="315754"/>
                    <a:pt x="1015841" y="315754"/>
                    <a:pt x="1015841" y="315754"/>
                  </a:cubicBezTo>
                  <a:cubicBezTo>
                    <a:pt x="1020604" y="276701"/>
                    <a:pt x="1022509" y="251936"/>
                    <a:pt x="1022509" y="251936"/>
                  </a:cubicBezTo>
                  <a:cubicBezTo>
                    <a:pt x="1022509" y="251936"/>
                    <a:pt x="1021556" y="257651"/>
                    <a:pt x="1019651" y="267176"/>
                  </a:cubicBezTo>
                  <a:close/>
                  <a:moveTo>
                    <a:pt x="1011079" y="364331"/>
                  </a:moveTo>
                  <a:cubicBezTo>
                    <a:pt x="1011079" y="361474"/>
                    <a:pt x="1012031" y="358616"/>
                    <a:pt x="1012031" y="355759"/>
                  </a:cubicBezTo>
                  <a:cubicBezTo>
                    <a:pt x="1012984" y="350996"/>
                    <a:pt x="1012984" y="347186"/>
                    <a:pt x="1013936" y="342424"/>
                  </a:cubicBezTo>
                  <a:cubicBezTo>
                    <a:pt x="1013936" y="342424"/>
                    <a:pt x="1013936" y="342424"/>
                    <a:pt x="1013936" y="342424"/>
                  </a:cubicBezTo>
                  <a:cubicBezTo>
                    <a:pt x="1012984" y="349091"/>
                    <a:pt x="1012984" y="356711"/>
                    <a:pt x="1012031" y="364331"/>
                  </a:cubicBezTo>
                  <a:cubicBezTo>
                    <a:pt x="1012031" y="365284"/>
                    <a:pt x="1011079" y="365284"/>
                    <a:pt x="1011079" y="366236"/>
                  </a:cubicBezTo>
                  <a:cubicBezTo>
                    <a:pt x="1011079" y="366236"/>
                    <a:pt x="1011079" y="366236"/>
                    <a:pt x="1011079" y="366236"/>
                  </a:cubicBezTo>
                  <a:cubicBezTo>
                    <a:pt x="1011079" y="366236"/>
                    <a:pt x="1011079" y="365284"/>
                    <a:pt x="1011079" y="364331"/>
                  </a:cubicBezTo>
                  <a:close/>
                  <a:moveTo>
                    <a:pt x="1004411" y="257651"/>
                  </a:moveTo>
                  <a:cubicBezTo>
                    <a:pt x="1003459" y="265271"/>
                    <a:pt x="1002506" y="273844"/>
                    <a:pt x="1001554" y="281464"/>
                  </a:cubicBezTo>
                  <a:cubicBezTo>
                    <a:pt x="999649" y="277654"/>
                    <a:pt x="997744" y="273844"/>
                    <a:pt x="996791" y="271939"/>
                  </a:cubicBezTo>
                  <a:cubicBezTo>
                    <a:pt x="999649" y="268129"/>
                    <a:pt x="1001554" y="262414"/>
                    <a:pt x="1004411" y="257651"/>
                  </a:cubicBezTo>
                  <a:close/>
                  <a:moveTo>
                    <a:pt x="991076" y="283369"/>
                  </a:moveTo>
                  <a:cubicBezTo>
                    <a:pt x="992981" y="280511"/>
                    <a:pt x="994886" y="276701"/>
                    <a:pt x="995839" y="273844"/>
                  </a:cubicBezTo>
                  <a:cubicBezTo>
                    <a:pt x="996791" y="277654"/>
                    <a:pt x="997744" y="283369"/>
                    <a:pt x="999649" y="291941"/>
                  </a:cubicBezTo>
                  <a:cubicBezTo>
                    <a:pt x="998696" y="303371"/>
                    <a:pt x="996791" y="314801"/>
                    <a:pt x="995839" y="326231"/>
                  </a:cubicBezTo>
                  <a:cubicBezTo>
                    <a:pt x="994886" y="328136"/>
                    <a:pt x="994886" y="329089"/>
                    <a:pt x="993934" y="330994"/>
                  </a:cubicBezTo>
                  <a:cubicBezTo>
                    <a:pt x="992981" y="324326"/>
                    <a:pt x="992981" y="320516"/>
                    <a:pt x="992981" y="320516"/>
                  </a:cubicBezTo>
                  <a:cubicBezTo>
                    <a:pt x="992981" y="320516"/>
                    <a:pt x="992029" y="327184"/>
                    <a:pt x="991076" y="338614"/>
                  </a:cubicBezTo>
                  <a:cubicBezTo>
                    <a:pt x="991076" y="339566"/>
                    <a:pt x="990124" y="340519"/>
                    <a:pt x="990124" y="341471"/>
                  </a:cubicBezTo>
                  <a:cubicBezTo>
                    <a:pt x="987266" y="349091"/>
                    <a:pt x="984409" y="356711"/>
                    <a:pt x="981551" y="365284"/>
                  </a:cubicBezTo>
                  <a:cubicBezTo>
                    <a:pt x="981551" y="364331"/>
                    <a:pt x="981551" y="363379"/>
                    <a:pt x="980599" y="363379"/>
                  </a:cubicBezTo>
                  <a:cubicBezTo>
                    <a:pt x="979646" y="351949"/>
                    <a:pt x="978694" y="341471"/>
                    <a:pt x="977741" y="331946"/>
                  </a:cubicBezTo>
                  <a:cubicBezTo>
                    <a:pt x="976789" y="325279"/>
                    <a:pt x="976789" y="318611"/>
                    <a:pt x="975836" y="311944"/>
                  </a:cubicBezTo>
                  <a:cubicBezTo>
                    <a:pt x="980599" y="301466"/>
                    <a:pt x="986314" y="291941"/>
                    <a:pt x="991076" y="283369"/>
                  </a:cubicBezTo>
                  <a:close/>
                  <a:moveTo>
                    <a:pt x="960596" y="298609"/>
                  </a:moveTo>
                  <a:cubicBezTo>
                    <a:pt x="963454" y="291941"/>
                    <a:pt x="965359" y="286226"/>
                    <a:pt x="968216" y="280511"/>
                  </a:cubicBezTo>
                  <a:cubicBezTo>
                    <a:pt x="968216" y="284321"/>
                    <a:pt x="967264" y="289084"/>
                    <a:pt x="967264" y="294799"/>
                  </a:cubicBezTo>
                  <a:cubicBezTo>
                    <a:pt x="965359" y="297656"/>
                    <a:pt x="963454" y="301466"/>
                    <a:pt x="961549" y="304324"/>
                  </a:cubicBezTo>
                  <a:cubicBezTo>
                    <a:pt x="961549" y="304324"/>
                    <a:pt x="961549" y="304324"/>
                    <a:pt x="961549" y="303371"/>
                  </a:cubicBezTo>
                  <a:cubicBezTo>
                    <a:pt x="961549" y="302419"/>
                    <a:pt x="960596" y="302419"/>
                    <a:pt x="960596" y="301466"/>
                  </a:cubicBezTo>
                  <a:cubicBezTo>
                    <a:pt x="960596" y="299561"/>
                    <a:pt x="960596" y="299561"/>
                    <a:pt x="960596" y="298609"/>
                  </a:cubicBezTo>
                  <a:close/>
                  <a:moveTo>
                    <a:pt x="939641" y="258604"/>
                  </a:moveTo>
                  <a:cubicBezTo>
                    <a:pt x="939641" y="258604"/>
                    <a:pt x="939641" y="258604"/>
                    <a:pt x="939641" y="258604"/>
                  </a:cubicBezTo>
                  <a:cubicBezTo>
                    <a:pt x="941546" y="253841"/>
                    <a:pt x="942499" y="250031"/>
                    <a:pt x="943451" y="246221"/>
                  </a:cubicBezTo>
                  <a:cubicBezTo>
                    <a:pt x="943451" y="248126"/>
                    <a:pt x="943451" y="250031"/>
                    <a:pt x="943451" y="251936"/>
                  </a:cubicBezTo>
                  <a:cubicBezTo>
                    <a:pt x="942499" y="253841"/>
                    <a:pt x="941546" y="256699"/>
                    <a:pt x="939641" y="258604"/>
                  </a:cubicBezTo>
                  <a:lnTo>
                    <a:pt x="939641" y="258604"/>
                  </a:lnTo>
                  <a:close/>
                  <a:moveTo>
                    <a:pt x="944404" y="280511"/>
                  </a:moveTo>
                  <a:lnTo>
                    <a:pt x="943451" y="273844"/>
                  </a:lnTo>
                  <a:cubicBezTo>
                    <a:pt x="943451" y="272891"/>
                    <a:pt x="944404" y="271939"/>
                    <a:pt x="944404" y="270986"/>
                  </a:cubicBezTo>
                  <a:cubicBezTo>
                    <a:pt x="944404" y="270986"/>
                    <a:pt x="944404" y="271939"/>
                    <a:pt x="944404" y="271939"/>
                  </a:cubicBezTo>
                  <a:cubicBezTo>
                    <a:pt x="944404" y="272891"/>
                    <a:pt x="944404" y="274796"/>
                    <a:pt x="944404" y="275749"/>
                  </a:cubicBezTo>
                  <a:cubicBezTo>
                    <a:pt x="945356" y="277654"/>
                    <a:pt x="945356" y="279559"/>
                    <a:pt x="944404" y="280511"/>
                  </a:cubicBezTo>
                  <a:close/>
                  <a:moveTo>
                    <a:pt x="944404" y="270986"/>
                  </a:moveTo>
                  <a:cubicBezTo>
                    <a:pt x="944404" y="270986"/>
                    <a:pt x="944404" y="270986"/>
                    <a:pt x="944404" y="270986"/>
                  </a:cubicBezTo>
                  <a:cubicBezTo>
                    <a:pt x="945356" y="270986"/>
                    <a:pt x="945356" y="270986"/>
                    <a:pt x="944404" y="270986"/>
                  </a:cubicBezTo>
                  <a:cubicBezTo>
                    <a:pt x="945356" y="270986"/>
                    <a:pt x="944404" y="270986"/>
                    <a:pt x="944404" y="270986"/>
                  </a:cubicBezTo>
                  <a:close/>
                  <a:moveTo>
                    <a:pt x="933926" y="227171"/>
                  </a:moveTo>
                  <a:cubicBezTo>
                    <a:pt x="946309" y="185261"/>
                    <a:pt x="954881" y="153829"/>
                    <a:pt x="958691" y="138589"/>
                  </a:cubicBezTo>
                  <a:cubicBezTo>
                    <a:pt x="958691" y="141446"/>
                    <a:pt x="958691" y="143351"/>
                    <a:pt x="958691" y="146209"/>
                  </a:cubicBezTo>
                  <a:cubicBezTo>
                    <a:pt x="957739" y="159544"/>
                    <a:pt x="956786" y="179546"/>
                    <a:pt x="953929" y="203359"/>
                  </a:cubicBezTo>
                  <a:cubicBezTo>
                    <a:pt x="952976" y="215741"/>
                    <a:pt x="951071" y="228124"/>
                    <a:pt x="950119" y="242411"/>
                  </a:cubicBezTo>
                  <a:cubicBezTo>
                    <a:pt x="949166" y="243364"/>
                    <a:pt x="948214" y="245269"/>
                    <a:pt x="948214" y="246221"/>
                  </a:cubicBezTo>
                  <a:cubicBezTo>
                    <a:pt x="947261" y="244316"/>
                    <a:pt x="947261" y="241459"/>
                    <a:pt x="947261" y="240506"/>
                  </a:cubicBezTo>
                  <a:cubicBezTo>
                    <a:pt x="948214" y="235744"/>
                    <a:pt x="949166" y="233839"/>
                    <a:pt x="949166" y="233839"/>
                  </a:cubicBezTo>
                  <a:cubicBezTo>
                    <a:pt x="949166" y="233839"/>
                    <a:pt x="948214" y="235744"/>
                    <a:pt x="946309" y="238601"/>
                  </a:cubicBezTo>
                  <a:cubicBezTo>
                    <a:pt x="945356" y="232886"/>
                    <a:pt x="944404" y="230029"/>
                    <a:pt x="944404" y="230029"/>
                  </a:cubicBezTo>
                  <a:cubicBezTo>
                    <a:pt x="944404" y="230029"/>
                    <a:pt x="944404" y="233839"/>
                    <a:pt x="944404" y="241459"/>
                  </a:cubicBezTo>
                  <a:cubicBezTo>
                    <a:pt x="943451" y="244316"/>
                    <a:pt x="941546" y="248126"/>
                    <a:pt x="939641" y="251936"/>
                  </a:cubicBezTo>
                  <a:lnTo>
                    <a:pt x="938689" y="248126"/>
                  </a:lnTo>
                  <a:lnTo>
                    <a:pt x="936784" y="241459"/>
                  </a:lnTo>
                  <a:cubicBezTo>
                    <a:pt x="941546" y="226219"/>
                    <a:pt x="943451" y="217646"/>
                    <a:pt x="943451" y="217646"/>
                  </a:cubicBezTo>
                  <a:cubicBezTo>
                    <a:pt x="943451" y="217646"/>
                    <a:pt x="940594" y="224314"/>
                    <a:pt x="934879" y="235744"/>
                  </a:cubicBezTo>
                  <a:lnTo>
                    <a:pt x="932974" y="230029"/>
                  </a:lnTo>
                  <a:cubicBezTo>
                    <a:pt x="932974" y="230029"/>
                    <a:pt x="932974" y="228124"/>
                    <a:pt x="933926" y="227171"/>
                  </a:cubicBezTo>
                  <a:close/>
                  <a:moveTo>
                    <a:pt x="921544" y="452914"/>
                  </a:moveTo>
                  <a:cubicBezTo>
                    <a:pt x="921544" y="452914"/>
                    <a:pt x="920591" y="451961"/>
                    <a:pt x="920591" y="451961"/>
                  </a:cubicBezTo>
                  <a:cubicBezTo>
                    <a:pt x="920591" y="447199"/>
                    <a:pt x="920591" y="443389"/>
                    <a:pt x="919639" y="438626"/>
                  </a:cubicBezTo>
                  <a:cubicBezTo>
                    <a:pt x="920591" y="443389"/>
                    <a:pt x="921544" y="448151"/>
                    <a:pt x="921544" y="452914"/>
                  </a:cubicBezTo>
                  <a:close/>
                  <a:moveTo>
                    <a:pt x="912019" y="210979"/>
                  </a:moveTo>
                  <a:lnTo>
                    <a:pt x="915829" y="227171"/>
                  </a:lnTo>
                  <a:cubicBezTo>
                    <a:pt x="915829" y="228124"/>
                    <a:pt x="915829" y="229076"/>
                    <a:pt x="914876" y="230029"/>
                  </a:cubicBezTo>
                  <a:cubicBezTo>
                    <a:pt x="913924" y="231934"/>
                    <a:pt x="913924" y="234791"/>
                    <a:pt x="912971" y="236696"/>
                  </a:cubicBezTo>
                  <a:cubicBezTo>
                    <a:pt x="912971" y="235744"/>
                    <a:pt x="912019" y="233839"/>
                    <a:pt x="912019" y="232886"/>
                  </a:cubicBezTo>
                  <a:cubicBezTo>
                    <a:pt x="912019" y="231934"/>
                    <a:pt x="912019" y="230029"/>
                    <a:pt x="912019" y="228124"/>
                  </a:cubicBezTo>
                  <a:cubicBezTo>
                    <a:pt x="912019" y="222409"/>
                    <a:pt x="911066" y="216694"/>
                    <a:pt x="911066" y="210979"/>
                  </a:cubicBezTo>
                  <a:cubicBezTo>
                    <a:pt x="911066" y="209074"/>
                    <a:pt x="911066" y="206216"/>
                    <a:pt x="911066" y="204311"/>
                  </a:cubicBezTo>
                  <a:lnTo>
                    <a:pt x="912019" y="210979"/>
                  </a:lnTo>
                  <a:close/>
                  <a:moveTo>
                    <a:pt x="833914" y="333851"/>
                  </a:moveTo>
                  <a:cubicBezTo>
                    <a:pt x="833914" y="332899"/>
                    <a:pt x="833914" y="332899"/>
                    <a:pt x="834866" y="331946"/>
                  </a:cubicBezTo>
                  <a:cubicBezTo>
                    <a:pt x="834866" y="333851"/>
                    <a:pt x="834866" y="335756"/>
                    <a:pt x="834866" y="337661"/>
                  </a:cubicBezTo>
                  <a:cubicBezTo>
                    <a:pt x="834866" y="336709"/>
                    <a:pt x="833914" y="334804"/>
                    <a:pt x="833914" y="333851"/>
                  </a:cubicBezTo>
                  <a:close/>
                  <a:moveTo>
                    <a:pt x="847249" y="304324"/>
                  </a:moveTo>
                  <a:cubicBezTo>
                    <a:pt x="847249" y="303371"/>
                    <a:pt x="847249" y="302419"/>
                    <a:pt x="846296" y="301466"/>
                  </a:cubicBezTo>
                  <a:cubicBezTo>
                    <a:pt x="846296" y="300514"/>
                    <a:pt x="846296" y="300514"/>
                    <a:pt x="846296" y="299561"/>
                  </a:cubicBezTo>
                  <a:cubicBezTo>
                    <a:pt x="848201" y="294799"/>
                    <a:pt x="849154" y="290989"/>
                    <a:pt x="851059" y="286226"/>
                  </a:cubicBezTo>
                  <a:cubicBezTo>
                    <a:pt x="850106" y="292894"/>
                    <a:pt x="848201" y="298609"/>
                    <a:pt x="847249" y="304324"/>
                  </a:cubicBezTo>
                  <a:close/>
                  <a:moveTo>
                    <a:pt x="880586" y="300514"/>
                  </a:moveTo>
                  <a:cubicBezTo>
                    <a:pt x="878681" y="306229"/>
                    <a:pt x="877729" y="312896"/>
                    <a:pt x="876776" y="319564"/>
                  </a:cubicBezTo>
                  <a:cubicBezTo>
                    <a:pt x="874871" y="326231"/>
                    <a:pt x="873919" y="334804"/>
                    <a:pt x="872966" y="343376"/>
                  </a:cubicBezTo>
                  <a:cubicBezTo>
                    <a:pt x="872014" y="346234"/>
                    <a:pt x="870109" y="348139"/>
                    <a:pt x="869156" y="350996"/>
                  </a:cubicBezTo>
                  <a:cubicBezTo>
                    <a:pt x="869156" y="350996"/>
                    <a:pt x="868204" y="350044"/>
                    <a:pt x="868204" y="349091"/>
                  </a:cubicBezTo>
                  <a:cubicBezTo>
                    <a:pt x="868204" y="349091"/>
                    <a:pt x="868204" y="348139"/>
                    <a:pt x="867251" y="348139"/>
                  </a:cubicBezTo>
                  <a:cubicBezTo>
                    <a:pt x="867251" y="344329"/>
                    <a:pt x="867251" y="339566"/>
                    <a:pt x="867251" y="335756"/>
                  </a:cubicBezTo>
                  <a:cubicBezTo>
                    <a:pt x="867251" y="323374"/>
                    <a:pt x="867251" y="311944"/>
                    <a:pt x="866299" y="301466"/>
                  </a:cubicBezTo>
                  <a:cubicBezTo>
                    <a:pt x="866299" y="290989"/>
                    <a:pt x="864394" y="281464"/>
                    <a:pt x="863441" y="272891"/>
                  </a:cubicBezTo>
                  <a:cubicBezTo>
                    <a:pt x="862489" y="267176"/>
                    <a:pt x="862489" y="262414"/>
                    <a:pt x="861536" y="257651"/>
                  </a:cubicBezTo>
                  <a:cubicBezTo>
                    <a:pt x="861536" y="256699"/>
                    <a:pt x="861536" y="256699"/>
                    <a:pt x="862489" y="255746"/>
                  </a:cubicBezTo>
                  <a:cubicBezTo>
                    <a:pt x="862489" y="255746"/>
                    <a:pt x="862489" y="255746"/>
                    <a:pt x="862489" y="255746"/>
                  </a:cubicBezTo>
                  <a:cubicBezTo>
                    <a:pt x="867251" y="265271"/>
                    <a:pt x="871061" y="274796"/>
                    <a:pt x="876776" y="286226"/>
                  </a:cubicBezTo>
                  <a:cubicBezTo>
                    <a:pt x="878681" y="290036"/>
                    <a:pt x="880586" y="293846"/>
                    <a:pt x="881539" y="296704"/>
                  </a:cubicBezTo>
                  <a:cubicBezTo>
                    <a:pt x="881539" y="298609"/>
                    <a:pt x="881539" y="299561"/>
                    <a:pt x="880586" y="300514"/>
                  </a:cubicBezTo>
                  <a:close/>
                  <a:moveTo>
                    <a:pt x="885349" y="318611"/>
                  </a:moveTo>
                  <a:cubicBezTo>
                    <a:pt x="885349" y="318611"/>
                    <a:pt x="885349" y="319564"/>
                    <a:pt x="884396" y="319564"/>
                  </a:cubicBezTo>
                  <a:cubicBezTo>
                    <a:pt x="884396" y="319564"/>
                    <a:pt x="884396" y="320516"/>
                    <a:pt x="883444" y="320516"/>
                  </a:cubicBezTo>
                  <a:cubicBezTo>
                    <a:pt x="883444" y="313849"/>
                    <a:pt x="883444" y="308134"/>
                    <a:pt x="884396" y="303371"/>
                  </a:cubicBezTo>
                  <a:cubicBezTo>
                    <a:pt x="885349" y="305276"/>
                    <a:pt x="886301" y="308134"/>
                    <a:pt x="887254" y="310039"/>
                  </a:cubicBezTo>
                  <a:cubicBezTo>
                    <a:pt x="887254" y="312896"/>
                    <a:pt x="886301" y="315754"/>
                    <a:pt x="885349" y="318611"/>
                  </a:cubicBezTo>
                  <a:close/>
                  <a:moveTo>
                    <a:pt x="900589" y="246221"/>
                  </a:moveTo>
                  <a:cubicBezTo>
                    <a:pt x="900589" y="247174"/>
                    <a:pt x="899636" y="247174"/>
                    <a:pt x="900589" y="246221"/>
                  </a:cubicBezTo>
                  <a:cubicBezTo>
                    <a:pt x="899636" y="239554"/>
                    <a:pt x="898684" y="234791"/>
                    <a:pt x="898684" y="234791"/>
                  </a:cubicBezTo>
                  <a:cubicBezTo>
                    <a:pt x="898684" y="234791"/>
                    <a:pt x="898684" y="241459"/>
                    <a:pt x="897731" y="252889"/>
                  </a:cubicBezTo>
                  <a:cubicBezTo>
                    <a:pt x="897731" y="252889"/>
                    <a:pt x="897731" y="252889"/>
                    <a:pt x="897731" y="253841"/>
                  </a:cubicBezTo>
                  <a:cubicBezTo>
                    <a:pt x="895826" y="251936"/>
                    <a:pt x="894874" y="250031"/>
                    <a:pt x="894874" y="250031"/>
                  </a:cubicBezTo>
                  <a:cubicBezTo>
                    <a:pt x="894874" y="250031"/>
                    <a:pt x="895826" y="251936"/>
                    <a:pt x="897731" y="254794"/>
                  </a:cubicBezTo>
                  <a:cubicBezTo>
                    <a:pt x="897731" y="255746"/>
                    <a:pt x="897731" y="256699"/>
                    <a:pt x="897731" y="257651"/>
                  </a:cubicBezTo>
                  <a:cubicBezTo>
                    <a:pt x="897731" y="259556"/>
                    <a:pt x="897731" y="262414"/>
                    <a:pt x="896779" y="264319"/>
                  </a:cubicBezTo>
                  <a:cubicBezTo>
                    <a:pt x="896779" y="264319"/>
                    <a:pt x="896779" y="264319"/>
                    <a:pt x="896779" y="264319"/>
                  </a:cubicBezTo>
                  <a:cubicBezTo>
                    <a:pt x="896779" y="264319"/>
                    <a:pt x="896779" y="264319"/>
                    <a:pt x="896779" y="264319"/>
                  </a:cubicBezTo>
                  <a:cubicBezTo>
                    <a:pt x="896779" y="264319"/>
                    <a:pt x="896779" y="265271"/>
                    <a:pt x="896779" y="265271"/>
                  </a:cubicBezTo>
                  <a:cubicBezTo>
                    <a:pt x="896779" y="267176"/>
                    <a:pt x="896779" y="269081"/>
                    <a:pt x="896779" y="270986"/>
                  </a:cubicBezTo>
                  <a:cubicBezTo>
                    <a:pt x="896779" y="271939"/>
                    <a:pt x="896779" y="271939"/>
                    <a:pt x="896779" y="272891"/>
                  </a:cubicBezTo>
                  <a:cubicBezTo>
                    <a:pt x="896779" y="276701"/>
                    <a:pt x="895826" y="280511"/>
                    <a:pt x="895826" y="285274"/>
                  </a:cubicBezTo>
                  <a:cubicBezTo>
                    <a:pt x="895826" y="286226"/>
                    <a:pt x="895826" y="286226"/>
                    <a:pt x="895826" y="287179"/>
                  </a:cubicBezTo>
                  <a:cubicBezTo>
                    <a:pt x="893921" y="284321"/>
                    <a:pt x="892969" y="281464"/>
                    <a:pt x="891064" y="279559"/>
                  </a:cubicBezTo>
                  <a:cubicBezTo>
                    <a:pt x="885349" y="269081"/>
                    <a:pt x="879634" y="259556"/>
                    <a:pt x="873919" y="250984"/>
                  </a:cubicBezTo>
                  <a:cubicBezTo>
                    <a:pt x="872014" y="248126"/>
                    <a:pt x="871061" y="245269"/>
                    <a:pt x="869156" y="243364"/>
                  </a:cubicBezTo>
                  <a:cubicBezTo>
                    <a:pt x="869156" y="243364"/>
                    <a:pt x="869156" y="243364"/>
                    <a:pt x="869156" y="242411"/>
                  </a:cubicBezTo>
                  <a:cubicBezTo>
                    <a:pt x="872966" y="232886"/>
                    <a:pt x="875824" y="223361"/>
                    <a:pt x="878681" y="215741"/>
                  </a:cubicBezTo>
                  <a:cubicBezTo>
                    <a:pt x="881539" y="210979"/>
                    <a:pt x="884396" y="205264"/>
                    <a:pt x="887254" y="200501"/>
                  </a:cubicBezTo>
                  <a:lnTo>
                    <a:pt x="895826" y="223361"/>
                  </a:lnTo>
                  <a:lnTo>
                    <a:pt x="901541" y="240506"/>
                  </a:lnTo>
                  <a:cubicBezTo>
                    <a:pt x="900589" y="242411"/>
                    <a:pt x="900589" y="244316"/>
                    <a:pt x="900589" y="246221"/>
                  </a:cubicBezTo>
                  <a:close/>
                  <a:moveTo>
                    <a:pt x="891064" y="190976"/>
                  </a:moveTo>
                  <a:cubicBezTo>
                    <a:pt x="892016" y="190024"/>
                    <a:pt x="892969" y="188119"/>
                    <a:pt x="892969" y="187166"/>
                  </a:cubicBezTo>
                  <a:cubicBezTo>
                    <a:pt x="892969" y="189071"/>
                    <a:pt x="894874" y="194786"/>
                    <a:pt x="896779" y="202406"/>
                  </a:cubicBezTo>
                  <a:cubicBezTo>
                    <a:pt x="895826" y="199549"/>
                    <a:pt x="893921" y="195739"/>
                    <a:pt x="891064" y="190976"/>
                  </a:cubicBezTo>
                  <a:close/>
                  <a:moveTo>
                    <a:pt x="904399" y="181451"/>
                  </a:moveTo>
                  <a:cubicBezTo>
                    <a:pt x="904399" y="182404"/>
                    <a:pt x="904399" y="182404"/>
                    <a:pt x="904399" y="183356"/>
                  </a:cubicBezTo>
                  <a:cubicBezTo>
                    <a:pt x="904399" y="190976"/>
                    <a:pt x="903446" y="200501"/>
                    <a:pt x="903446" y="210979"/>
                  </a:cubicBezTo>
                  <a:cubicBezTo>
                    <a:pt x="903446" y="210979"/>
                    <a:pt x="903446" y="210026"/>
                    <a:pt x="903446" y="210026"/>
                  </a:cubicBezTo>
                  <a:cubicBezTo>
                    <a:pt x="898684" y="197644"/>
                    <a:pt x="894874" y="190024"/>
                    <a:pt x="894874" y="188119"/>
                  </a:cubicBezTo>
                  <a:cubicBezTo>
                    <a:pt x="897731" y="183356"/>
                    <a:pt x="900589" y="178594"/>
                    <a:pt x="903446" y="173831"/>
                  </a:cubicBezTo>
                  <a:lnTo>
                    <a:pt x="904399" y="181451"/>
                  </a:lnTo>
                  <a:close/>
                  <a:moveTo>
                    <a:pt x="888206" y="137636"/>
                  </a:moveTo>
                  <a:cubicBezTo>
                    <a:pt x="889159" y="135731"/>
                    <a:pt x="890111" y="134779"/>
                    <a:pt x="890111" y="132874"/>
                  </a:cubicBezTo>
                  <a:lnTo>
                    <a:pt x="898684" y="161449"/>
                  </a:lnTo>
                  <a:cubicBezTo>
                    <a:pt x="896779" y="163354"/>
                    <a:pt x="894874" y="166211"/>
                    <a:pt x="893921" y="168116"/>
                  </a:cubicBezTo>
                  <a:cubicBezTo>
                    <a:pt x="891064" y="171926"/>
                    <a:pt x="888206" y="175736"/>
                    <a:pt x="885349" y="180499"/>
                  </a:cubicBezTo>
                  <a:cubicBezTo>
                    <a:pt x="881539" y="174784"/>
                    <a:pt x="878681" y="169069"/>
                    <a:pt x="874871" y="163354"/>
                  </a:cubicBezTo>
                  <a:cubicBezTo>
                    <a:pt x="879634" y="154781"/>
                    <a:pt x="883444" y="146209"/>
                    <a:pt x="888206" y="137636"/>
                  </a:cubicBezTo>
                  <a:close/>
                  <a:moveTo>
                    <a:pt x="872966" y="169069"/>
                  </a:moveTo>
                  <a:lnTo>
                    <a:pt x="881539" y="188119"/>
                  </a:lnTo>
                  <a:cubicBezTo>
                    <a:pt x="880586" y="189071"/>
                    <a:pt x="879634" y="190976"/>
                    <a:pt x="878681" y="191929"/>
                  </a:cubicBezTo>
                  <a:cubicBezTo>
                    <a:pt x="871061" y="202406"/>
                    <a:pt x="864394" y="213836"/>
                    <a:pt x="856774" y="226219"/>
                  </a:cubicBezTo>
                  <a:cubicBezTo>
                    <a:pt x="854869" y="223361"/>
                    <a:pt x="852964" y="220504"/>
                    <a:pt x="851059" y="217646"/>
                  </a:cubicBezTo>
                  <a:cubicBezTo>
                    <a:pt x="858679" y="199549"/>
                    <a:pt x="865346" y="183356"/>
                    <a:pt x="872966" y="169069"/>
                  </a:cubicBezTo>
                  <a:close/>
                  <a:moveTo>
                    <a:pt x="847249" y="225266"/>
                  </a:moveTo>
                  <a:cubicBezTo>
                    <a:pt x="847249" y="224314"/>
                    <a:pt x="848201" y="223361"/>
                    <a:pt x="848201" y="223361"/>
                  </a:cubicBezTo>
                  <a:cubicBezTo>
                    <a:pt x="849154" y="226219"/>
                    <a:pt x="851059" y="229076"/>
                    <a:pt x="852011" y="232886"/>
                  </a:cubicBezTo>
                  <a:cubicBezTo>
                    <a:pt x="850106" y="236696"/>
                    <a:pt x="848201" y="239554"/>
                    <a:pt x="845344" y="243364"/>
                  </a:cubicBezTo>
                  <a:cubicBezTo>
                    <a:pt x="842486" y="248126"/>
                    <a:pt x="839629" y="252889"/>
                    <a:pt x="837724" y="256699"/>
                  </a:cubicBezTo>
                  <a:cubicBezTo>
                    <a:pt x="837724" y="254794"/>
                    <a:pt x="836771" y="252889"/>
                    <a:pt x="836771" y="250984"/>
                  </a:cubicBezTo>
                  <a:cubicBezTo>
                    <a:pt x="839629" y="242411"/>
                    <a:pt x="843439" y="233839"/>
                    <a:pt x="847249" y="225266"/>
                  </a:cubicBezTo>
                  <a:close/>
                  <a:moveTo>
                    <a:pt x="835819" y="195739"/>
                  </a:moveTo>
                  <a:cubicBezTo>
                    <a:pt x="835819" y="194786"/>
                    <a:pt x="835819" y="194786"/>
                    <a:pt x="835819" y="195739"/>
                  </a:cubicBezTo>
                  <a:cubicBezTo>
                    <a:pt x="836771" y="196691"/>
                    <a:pt x="838676" y="200501"/>
                    <a:pt x="840581" y="206216"/>
                  </a:cubicBezTo>
                  <a:cubicBezTo>
                    <a:pt x="838676" y="210979"/>
                    <a:pt x="835819" y="214789"/>
                    <a:pt x="833914" y="219551"/>
                  </a:cubicBezTo>
                  <a:cubicBezTo>
                    <a:pt x="833914" y="220504"/>
                    <a:pt x="832961" y="220504"/>
                    <a:pt x="832961" y="221456"/>
                  </a:cubicBezTo>
                  <a:cubicBezTo>
                    <a:pt x="833914" y="211931"/>
                    <a:pt x="834866" y="203359"/>
                    <a:pt x="835819" y="195739"/>
                  </a:cubicBezTo>
                  <a:close/>
                  <a:moveTo>
                    <a:pt x="826294" y="274796"/>
                  </a:moveTo>
                  <a:cubicBezTo>
                    <a:pt x="827246" y="273844"/>
                    <a:pt x="827246" y="271939"/>
                    <a:pt x="828199" y="270986"/>
                  </a:cubicBezTo>
                  <a:cubicBezTo>
                    <a:pt x="828199" y="271939"/>
                    <a:pt x="828199" y="272891"/>
                    <a:pt x="828199" y="272891"/>
                  </a:cubicBezTo>
                  <a:cubicBezTo>
                    <a:pt x="827246" y="273844"/>
                    <a:pt x="826294" y="275749"/>
                    <a:pt x="826294" y="276701"/>
                  </a:cubicBezTo>
                  <a:cubicBezTo>
                    <a:pt x="826294" y="275749"/>
                    <a:pt x="826294" y="274796"/>
                    <a:pt x="826294" y="274796"/>
                  </a:cubicBezTo>
                  <a:close/>
                  <a:moveTo>
                    <a:pt x="812006" y="448151"/>
                  </a:moveTo>
                  <a:cubicBezTo>
                    <a:pt x="812006" y="448151"/>
                    <a:pt x="812006" y="448151"/>
                    <a:pt x="812006" y="448151"/>
                  </a:cubicBezTo>
                  <a:cubicBezTo>
                    <a:pt x="812006" y="448151"/>
                    <a:pt x="812006" y="448151"/>
                    <a:pt x="812006" y="448151"/>
                  </a:cubicBezTo>
                  <a:cubicBezTo>
                    <a:pt x="812006" y="448151"/>
                    <a:pt x="812006" y="448151"/>
                    <a:pt x="812006" y="448151"/>
                  </a:cubicBezTo>
                  <a:close/>
                  <a:moveTo>
                    <a:pt x="785336" y="330041"/>
                  </a:moveTo>
                  <a:cubicBezTo>
                    <a:pt x="784384" y="329089"/>
                    <a:pt x="783431" y="327184"/>
                    <a:pt x="782479" y="325279"/>
                  </a:cubicBezTo>
                  <a:cubicBezTo>
                    <a:pt x="782479" y="321469"/>
                    <a:pt x="782479" y="318611"/>
                    <a:pt x="782479" y="315754"/>
                  </a:cubicBezTo>
                  <a:cubicBezTo>
                    <a:pt x="783431" y="319564"/>
                    <a:pt x="785336" y="322421"/>
                    <a:pt x="786289" y="326231"/>
                  </a:cubicBezTo>
                  <a:cubicBezTo>
                    <a:pt x="786289" y="328136"/>
                    <a:pt x="785336" y="329089"/>
                    <a:pt x="785336" y="330041"/>
                  </a:cubicBezTo>
                  <a:close/>
                  <a:moveTo>
                    <a:pt x="797719" y="271939"/>
                  </a:moveTo>
                  <a:cubicBezTo>
                    <a:pt x="799624" y="276701"/>
                    <a:pt x="801529" y="281464"/>
                    <a:pt x="803434" y="286226"/>
                  </a:cubicBezTo>
                  <a:cubicBezTo>
                    <a:pt x="803434" y="287179"/>
                    <a:pt x="802481" y="288131"/>
                    <a:pt x="802481" y="288131"/>
                  </a:cubicBezTo>
                  <a:cubicBezTo>
                    <a:pt x="799624" y="295751"/>
                    <a:pt x="796766" y="302419"/>
                    <a:pt x="792956" y="310039"/>
                  </a:cubicBezTo>
                  <a:cubicBezTo>
                    <a:pt x="792956" y="310039"/>
                    <a:pt x="792956" y="310039"/>
                    <a:pt x="792956" y="309086"/>
                  </a:cubicBezTo>
                  <a:cubicBezTo>
                    <a:pt x="791051" y="305276"/>
                    <a:pt x="789146" y="300514"/>
                    <a:pt x="787241" y="296704"/>
                  </a:cubicBezTo>
                  <a:cubicBezTo>
                    <a:pt x="790099" y="285274"/>
                    <a:pt x="792956" y="274796"/>
                    <a:pt x="795814" y="266224"/>
                  </a:cubicBezTo>
                  <a:cubicBezTo>
                    <a:pt x="796766" y="269081"/>
                    <a:pt x="796766" y="270034"/>
                    <a:pt x="797719" y="271939"/>
                  </a:cubicBezTo>
                  <a:close/>
                  <a:moveTo>
                    <a:pt x="790099" y="253841"/>
                  </a:moveTo>
                  <a:cubicBezTo>
                    <a:pt x="791051" y="255746"/>
                    <a:pt x="792004" y="258604"/>
                    <a:pt x="793909" y="261461"/>
                  </a:cubicBezTo>
                  <a:cubicBezTo>
                    <a:pt x="793909" y="261461"/>
                    <a:pt x="793909" y="261461"/>
                    <a:pt x="793909" y="262414"/>
                  </a:cubicBezTo>
                  <a:cubicBezTo>
                    <a:pt x="791051" y="269081"/>
                    <a:pt x="788194" y="276701"/>
                    <a:pt x="784384" y="286226"/>
                  </a:cubicBezTo>
                  <a:cubicBezTo>
                    <a:pt x="784384" y="282416"/>
                    <a:pt x="784384" y="277654"/>
                    <a:pt x="785336" y="273844"/>
                  </a:cubicBezTo>
                  <a:cubicBezTo>
                    <a:pt x="786289" y="267176"/>
                    <a:pt x="788194" y="260509"/>
                    <a:pt x="790099" y="253841"/>
                  </a:cubicBezTo>
                  <a:close/>
                  <a:moveTo>
                    <a:pt x="773906" y="236696"/>
                  </a:moveTo>
                  <a:cubicBezTo>
                    <a:pt x="774859" y="229076"/>
                    <a:pt x="775811" y="221456"/>
                    <a:pt x="776764" y="213836"/>
                  </a:cubicBezTo>
                  <a:cubicBezTo>
                    <a:pt x="778669" y="218599"/>
                    <a:pt x="781526" y="223361"/>
                    <a:pt x="783431" y="229076"/>
                  </a:cubicBezTo>
                  <a:cubicBezTo>
                    <a:pt x="782479" y="230981"/>
                    <a:pt x="781526" y="233839"/>
                    <a:pt x="780574" y="235744"/>
                  </a:cubicBezTo>
                  <a:cubicBezTo>
                    <a:pt x="778669" y="233839"/>
                    <a:pt x="777716" y="231934"/>
                    <a:pt x="777716" y="231934"/>
                  </a:cubicBezTo>
                  <a:cubicBezTo>
                    <a:pt x="777716" y="231934"/>
                    <a:pt x="778669" y="233839"/>
                    <a:pt x="780574" y="236696"/>
                  </a:cubicBezTo>
                  <a:cubicBezTo>
                    <a:pt x="778669" y="242411"/>
                    <a:pt x="775811" y="249079"/>
                    <a:pt x="773906" y="255746"/>
                  </a:cubicBezTo>
                  <a:cubicBezTo>
                    <a:pt x="773906" y="249079"/>
                    <a:pt x="773906" y="242411"/>
                    <a:pt x="773906" y="236696"/>
                  </a:cubicBezTo>
                  <a:close/>
                  <a:moveTo>
                    <a:pt x="724376" y="219551"/>
                  </a:moveTo>
                  <a:cubicBezTo>
                    <a:pt x="725329" y="212884"/>
                    <a:pt x="726281" y="207169"/>
                    <a:pt x="726281" y="203359"/>
                  </a:cubicBezTo>
                  <a:cubicBezTo>
                    <a:pt x="726281" y="210026"/>
                    <a:pt x="726281" y="218599"/>
                    <a:pt x="726281" y="229076"/>
                  </a:cubicBezTo>
                  <a:cubicBezTo>
                    <a:pt x="725329" y="226219"/>
                    <a:pt x="724376" y="224314"/>
                    <a:pt x="723424" y="223361"/>
                  </a:cubicBezTo>
                  <a:cubicBezTo>
                    <a:pt x="723424" y="222409"/>
                    <a:pt x="723424" y="220504"/>
                    <a:pt x="724376" y="219551"/>
                  </a:cubicBezTo>
                  <a:close/>
                  <a:moveTo>
                    <a:pt x="723424" y="224314"/>
                  </a:moveTo>
                  <a:cubicBezTo>
                    <a:pt x="723424" y="226219"/>
                    <a:pt x="724376" y="230029"/>
                    <a:pt x="724376" y="235744"/>
                  </a:cubicBezTo>
                  <a:cubicBezTo>
                    <a:pt x="725329" y="239554"/>
                    <a:pt x="725329" y="245269"/>
                    <a:pt x="726281" y="250984"/>
                  </a:cubicBezTo>
                  <a:cubicBezTo>
                    <a:pt x="726281" y="250984"/>
                    <a:pt x="726281" y="250984"/>
                    <a:pt x="726281" y="251936"/>
                  </a:cubicBezTo>
                  <a:cubicBezTo>
                    <a:pt x="726281" y="259556"/>
                    <a:pt x="726281" y="268129"/>
                    <a:pt x="727234" y="276701"/>
                  </a:cubicBezTo>
                  <a:cubicBezTo>
                    <a:pt x="727234" y="280511"/>
                    <a:pt x="727234" y="284321"/>
                    <a:pt x="727234" y="288131"/>
                  </a:cubicBezTo>
                  <a:cubicBezTo>
                    <a:pt x="726281" y="286226"/>
                    <a:pt x="726281" y="285274"/>
                    <a:pt x="725329" y="284321"/>
                  </a:cubicBezTo>
                  <a:cubicBezTo>
                    <a:pt x="722471" y="275749"/>
                    <a:pt x="720566" y="268129"/>
                    <a:pt x="717709" y="260509"/>
                  </a:cubicBezTo>
                  <a:cubicBezTo>
                    <a:pt x="719614" y="246221"/>
                    <a:pt x="721519" y="233839"/>
                    <a:pt x="723424" y="224314"/>
                  </a:cubicBezTo>
                  <a:close/>
                  <a:moveTo>
                    <a:pt x="710089" y="308134"/>
                  </a:moveTo>
                  <a:cubicBezTo>
                    <a:pt x="710089" y="311944"/>
                    <a:pt x="711041" y="315754"/>
                    <a:pt x="711041" y="320516"/>
                  </a:cubicBezTo>
                  <a:cubicBezTo>
                    <a:pt x="712946" y="336709"/>
                    <a:pt x="714851" y="354806"/>
                    <a:pt x="717709" y="373856"/>
                  </a:cubicBezTo>
                  <a:cubicBezTo>
                    <a:pt x="715804" y="378619"/>
                    <a:pt x="712946" y="384334"/>
                    <a:pt x="711041" y="389096"/>
                  </a:cubicBezTo>
                  <a:cubicBezTo>
                    <a:pt x="710089" y="387191"/>
                    <a:pt x="710089" y="385286"/>
                    <a:pt x="709136" y="383381"/>
                  </a:cubicBezTo>
                  <a:cubicBezTo>
                    <a:pt x="710089" y="379571"/>
                    <a:pt x="710089" y="375761"/>
                    <a:pt x="711041" y="372904"/>
                  </a:cubicBezTo>
                  <a:cubicBezTo>
                    <a:pt x="712946" y="359569"/>
                    <a:pt x="713899" y="352901"/>
                    <a:pt x="713899" y="352901"/>
                  </a:cubicBezTo>
                  <a:cubicBezTo>
                    <a:pt x="713899" y="352901"/>
                    <a:pt x="711994" y="360521"/>
                    <a:pt x="707231" y="372904"/>
                  </a:cubicBezTo>
                  <a:cubicBezTo>
                    <a:pt x="707231" y="373856"/>
                    <a:pt x="706279" y="374809"/>
                    <a:pt x="706279" y="374809"/>
                  </a:cubicBezTo>
                  <a:cubicBezTo>
                    <a:pt x="704374" y="369094"/>
                    <a:pt x="702469" y="363379"/>
                    <a:pt x="701516" y="357664"/>
                  </a:cubicBezTo>
                  <a:cubicBezTo>
                    <a:pt x="701516" y="357664"/>
                    <a:pt x="701516" y="357664"/>
                    <a:pt x="701516" y="357664"/>
                  </a:cubicBezTo>
                  <a:cubicBezTo>
                    <a:pt x="704374" y="339566"/>
                    <a:pt x="707231" y="323374"/>
                    <a:pt x="710089" y="308134"/>
                  </a:cubicBezTo>
                  <a:close/>
                  <a:moveTo>
                    <a:pt x="676751" y="253841"/>
                  </a:moveTo>
                  <a:cubicBezTo>
                    <a:pt x="676751" y="250984"/>
                    <a:pt x="676751" y="249079"/>
                    <a:pt x="676751" y="246221"/>
                  </a:cubicBezTo>
                  <a:cubicBezTo>
                    <a:pt x="677704" y="237649"/>
                    <a:pt x="678656" y="229076"/>
                    <a:pt x="679609" y="220504"/>
                  </a:cubicBezTo>
                  <a:cubicBezTo>
                    <a:pt x="680561" y="206216"/>
                    <a:pt x="681514" y="192881"/>
                    <a:pt x="682466" y="181451"/>
                  </a:cubicBezTo>
                  <a:cubicBezTo>
                    <a:pt x="682466" y="180499"/>
                    <a:pt x="682466" y="179546"/>
                    <a:pt x="682466" y="178594"/>
                  </a:cubicBezTo>
                  <a:cubicBezTo>
                    <a:pt x="687229" y="193834"/>
                    <a:pt x="691039" y="211931"/>
                    <a:pt x="696754" y="231934"/>
                  </a:cubicBezTo>
                  <a:cubicBezTo>
                    <a:pt x="699611" y="243364"/>
                    <a:pt x="702469" y="254794"/>
                    <a:pt x="705326" y="267176"/>
                  </a:cubicBezTo>
                  <a:cubicBezTo>
                    <a:pt x="704374" y="269081"/>
                    <a:pt x="704374" y="271939"/>
                    <a:pt x="703421" y="273844"/>
                  </a:cubicBezTo>
                  <a:cubicBezTo>
                    <a:pt x="700564" y="284321"/>
                    <a:pt x="697706" y="295751"/>
                    <a:pt x="694849" y="307181"/>
                  </a:cubicBezTo>
                  <a:cubicBezTo>
                    <a:pt x="693896" y="309086"/>
                    <a:pt x="693896" y="311944"/>
                    <a:pt x="692944" y="313849"/>
                  </a:cubicBezTo>
                  <a:cubicBezTo>
                    <a:pt x="691991" y="316706"/>
                    <a:pt x="691039" y="319564"/>
                    <a:pt x="690086" y="322421"/>
                  </a:cubicBezTo>
                  <a:cubicBezTo>
                    <a:pt x="684371" y="305276"/>
                    <a:pt x="679609" y="290036"/>
                    <a:pt x="673894" y="274796"/>
                  </a:cubicBezTo>
                  <a:cubicBezTo>
                    <a:pt x="675799" y="268129"/>
                    <a:pt x="676751" y="260509"/>
                    <a:pt x="676751" y="253841"/>
                  </a:cubicBezTo>
                  <a:close/>
                  <a:moveTo>
                    <a:pt x="668179" y="331946"/>
                  </a:moveTo>
                  <a:cubicBezTo>
                    <a:pt x="668179" y="330994"/>
                    <a:pt x="668179" y="330994"/>
                    <a:pt x="668179" y="330041"/>
                  </a:cubicBezTo>
                  <a:cubicBezTo>
                    <a:pt x="668179" y="331946"/>
                    <a:pt x="669131" y="332899"/>
                    <a:pt x="669131" y="334804"/>
                  </a:cubicBezTo>
                  <a:cubicBezTo>
                    <a:pt x="670084" y="338614"/>
                    <a:pt x="671036" y="342424"/>
                    <a:pt x="671989" y="346234"/>
                  </a:cubicBezTo>
                  <a:cubicBezTo>
                    <a:pt x="672941" y="350044"/>
                    <a:pt x="673894" y="354806"/>
                    <a:pt x="674846" y="359569"/>
                  </a:cubicBezTo>
                  <a:cubicBezTo>
                    <a:pt x="675799" y="363379"/>
                    <a:pt x="676751" y="367189"/>
                    <a:pt x="676751" y="370999"/>
                  </a:cubicBezTo>
                  <a:cubicBezTo>
                    <a:pt x="676751" y="371951"/>
                    <a:pt x="675799" y="372904"/>
                    <a:pt x="675799" y="373856"/>
                  </a:cubicBezTo>
                  <a:cubicBezTo>
                    <a:pt x="675799" y="374809"/>
                    <a:pt x="674846" y="375761"/>
                    <a:pt x="674846" y="377666"/>
                  </a:cubicBezTo>
                  <a:cubicBezTo>
                    <a:pt x="672941" y="374809"/>
                    <a:pt x="671989" y="370999"/>
                    <a:pt x="670084" y="368141"/>
                  </a:cubicBezTo>
                  <a:cubicBezTo>
                    <a:pt x="668179" y="364331"/>
                    <a:pt x="666274" y="361474"/>
                    <a:pt x="664369" y="358616"/>
                  </a:cubicBezTo>
                  <a:cubicBezTo>
                    <a:pt x="665321" y="349091"/>
                    <a:pt x="667226" y="340519"/>
                    <a:pt x="668179" y="331946"/>
                  </a:cubicBezTo>
                  <a:close/>
                  <a:moveTo>
                    <a:pt x="656749" y="266224"/>
                  </a:moveTo>
                  <a:cubicBezTo>
                    <a:pt x="656749" y="266224"/>
                    <a:pt x="656749" y="267176"/>
                    <a:pt x="656749" y="267176"/>
                  </a:cubicBezTo>
                  <a:cubicBezTo>
                    <a:pt x="656749" y="268129"/>
                    <a:pt x="656749" y="269081"/>
                    <a:pt x="656749" y="269081"/>
                  </a:cubicBezTo>
                  <a:cubicBezTo>
                    <a:pt x="656749" y="268129"/>
                    <a:pt x="656749" y="267176"/>
                    <a:pt x="656749" y="266224"/>
                  </a:cubicBezTo>
                  <a:close/>
                  <a:moveTo>
                    <a:pt x="608171" y="318611"/>
                  </a:moveTo>
                  <a:cubicBezTo>
                    <a:pt x="609124" y="305276"/>
                    <a:pt x="611029" y="291941"/>
                    <a:pt x="611981" y="279559"/>
                  </a:cubicBezTo>
                  <a:cubicBezTo>
                    <a:pt x="612934" y="282416"/>
                    <a:pt x="612934" y="285274"/>
                    <a:pt x="613886" y="288131"/>
                  </a:cubicBezTo>
                  <a:cubicBezTo>
                    <a:pt x="614839" y="301466"/>
                    <a:pt x="615791" y="314801"/>
                    <a:pt x="615791" y="327184"/>
                  </a:cubicBezTo>
                  <a:cubicBezTo>
                    <a:pt x="615791" y="329089"/>
                    <a:pt x="615791" y="330041"/>
                    <a:pt x="615791" y="331946"/>
                  </a:cubicBezTo>
                  <a:cubicBezTo>
                    <a:pt x="615791" y="333851"/>
                    <a:pt x="615791" y="335756"/>
                    <a:pt x="615791" y="337661"/>
                  </a:cubicBezTo>
                  <a:cubicBezTo>
                    <a:pt x="614839" y="336709"/>
                    <a:pt x="613886" y="334804"/>
                    <a:pt x="613886" y="333851"/>
                  </a:cubicBezTo>
                  <a:cubicBezTo>
                    <a:pt x="611981" y="330041"/>
                    <a:pt x="609124" y="325279"/>
                    <a:pt x="607219" y="321469"/>
                  </a:cubicBezTo>
                  <a:cubicBezTo>
                    <a:pt x="608171" y="320516"/>
                    <a:pt x="608171" y="319564"/>
                    <a:pt x="608171" y="318611"/>
                  </a:cubicBezTo>
                  <a:close/>
                  <a:moveTo>
                    <a:pt x="606266" y="341471"/>
                  </a:moveTo>
                  <a:cubicBezTo>
                    <a:pt x="609124" y="349091"/>
                    <a:pt x="612934" y="356711"/>
                    <a:pt x="615791" y="364331"/>
                  </a:cubicBezTo>
                  <a:cubicBezTo>
                    <a:pt x="615791" y="364331"/>
                    <a:pt x="615791" y="365284"/>
                    <a:pt x="615791" y="365284"/>
                  </a:cubicBezTo>
                  <a:cubicBezTo>
                    <a:pt x="614839" y="368141"/>
                    <a:pt x="612934" y="371951"/>
                    <a:pt x="611029" y="375761"/>
                  </a:cubicBezTo>
                  <a:cubicBezTo>
                    <a:pt x="610076" y="371951"/>
                    <a:pt x="609124" y="367189"/>
                    <a:pt x="608171" y="363379"/>
                  </a:cubicBezTo>
                  <a:cubicBezTo>
                    <a:pt x="607219" y="358616"/>
                    <a:pt x="606266" y="354806"/>
                    <a:pt x="605314" y="350996"/>
                  </a:cubicBezTo>
                  <a:cubicBezTo>
                    <a:pt x="605314" y="348139"/>
                    <a:pt x="605314" y="344329"/>
                    <a:pt x="606266" y="341471"/>
                  </a:cubicBezTo>
                  <a:close/>
                  <a:moveTo>
                    <a:pt x="606266" y="424339"/>
                  </a:moveTo>
                  <a:cubicBezTo>
                    <a:pt x="607219" y="427196"/>
                    <a:pt x="608171" y="430054"/>
                    <a:pt x="609124" y="433864"/>
                  </a:cubicBezTo>
                  <a:cubicBezTo>
                    <a:pt x="608171" y="434816"/>
                    <a:pt x="608171" y="435769"/>
                    <a:pt x="607219" y="436721"/>
                  </a:cubicBezTo>
                  <a:lnTo>
                    <a:pt x="601504" y="435769"/>
                  </a:lnTo>
                  <a:cubicBezTo>
                    <a:pt x="604361" y="432911"/>
                    <a:pt x="605314" y="428149"/>
                    <a:pt x="606266" y="424339"/>
                  </a:cubicBezTo>
                  <a:close/>
                  <a:moveTo>
                    <a:pt x="599599" y="401479"/>
                  </a:moveTo>
                  <a:cubicBezTo>
                    <a:pt x="599599" y="402431"/>
                    <a:pt x="599599" y="402431"/>
                    <a:pt x="599599" y="401479"/>
                  </a:cubicBezTo>
                  <a:cubicBezTo>
                    <a:pt x="599599" y="402431"/>
                    <a:pt x="599599" y="403384"/>
                    <a:pt x="599599" y="403384"/>
                  </a:cubicBezTo>
                  <a:cubicBezTo>
                    <a:pt x="599599" y="403384"/>
                    <a:pt x="599599" y="402431"/>
                    <a:pt x="599599" y="401479"/>
                  </a:cubicBezTo>
                  <a:close/>
                  <a:moveTo>
                    <a:pt x="587216" y="300514"/>
                  </a:moveTo>
                  <a:cubicBezTo>
                    <a:pt x="588169" y="303371"/>
                    <a:pt x="590074" y="307181"/>
                    <a:pt x="591979" y="310039"/>
                  </a:cubicBezTo>
                  <a:cubicBezTo>
                    <a:pt x="591979" y="311944"/>
                    <a:pt x="591026" y="314801"/>
                    <a:pt x="591026" y="316706"/>
                  </a:cubicBezTo>
                  <a:cubicBezTo>
                    <a:pt x="591026" y="316706"/>
                    <a:pt x="591026" y="316706"/>
                    <a:pt x="591026" y="316706"/>
                  </a:cubicBezTo>
                  <a:cubicBezTo>
                    <a:pt x="591026" y="317659"/>
                    <a:pt x="590074" y="318611"/>
                    <a:pt x="590074" y="319564"/>
                  </a:cubicBezTo>
                  <a:cubicBezTo>
                    <a:pt x="589121" y="316706"/>
                    <a:pt x="588169" y="313849"/>
                    <a:pt x="587216" y="311944"/>
                  </a:cubicBezTo>
                  <a:cubicBezTo>
                    <a:pt x="587216" y="308134"/>
                    <a:pt x="587216" y="303371"/>
                    <a:pt x="586264" y="299561"/>
                  </a:cubicBezTo>
                  <a:cubicBezTo>
                    <a:pt x="586264" y="299561"/>
                    <a:pt x="586264" y="299561"/>
                    <a:pt x="587216" y="300514"/>
                  </a:cubicBezTo>
                  <a:close/>
                  <a:moveTo>
                    <a:pt x="553879" y="257651"/>
                  </a:moveTo>
                  <a:cubicBezTo>
                    <a:pt x="554831" y="249079"/>
                    <a:pt x="554831" y="241459"/>
                    <a:pt x="555784" y="233839"/>
                  </a:cubicBezTo>
                  <a:cubicBezTo>
                    <a:pt x="556736" y="238601"/>
                    <a:pt x="557689" y="243364"/>
                    <a:pt x="558641" y="249079"/>
                  </a:cubicBezTo>
                  <a:cubicBezTo>
                    <a:pt x="557689" y="247174"/>
                    <a:pt x="556736" y="247174"/>
                    <a:pt x="556736" y="247174"/>
                  </a:cubicBezTo>
                  <a:cubicBezTo>
                    <a:pt x="556736" y="247174"/>
                    <a:pt x="557689" y="248126"/>
                    <a:pt x="558641" y="250984"/>
                  </a:cubicBezTo>
                  <a:cubicBezTo>
                    <a:pt x="561499" y="264319"/>
                    <a:pt x="565309" y="280511"/>
                    <a:pt x="570071" y="297656"/>
                  </a:cubicBezTo>
                  <a:cubicBezTo>
                    <a:pt x="570071" y="299561"/>
                    <a:pt x="571024" y="301466"/>
                    <a:pt x="571976" y="303371"/>
                  </a:cubicBezTo>
                  <a:cubicBezTo>
                    <a:pt x="571024" y="306229"/>
                    <a:pt x="570071" y="310039"/>
                    <a:pt x="569119" y="312896"/>
                  </a:cubicBezTo>
                  <a:cubicBezTo>
                    <a:pt x="567214" y="307181"/>
                    <a:pt x="566261" y="301466"/>
                    <a:pt x="564356" y="295751"/>
                  </a:cubicBezTo>
                  <a:cubicBezTo>
                    <a:pt x="560546" y="285274"/>
                    <a:pt x="557689" y="274796"/>
                    <a:pt x="553879" y="266224"/>
                  </a:cubicBezTo>
                  <a:cubicBezTo>
                    <a:pt x="553879" y="263366"/>
                    <a:pt x="553879" y="260509"/>
                    <a:pt x="553879" y="257651"/>
                  </a:cubicBezTo>
                  <a:close/>
                  <a:moveTo>
                    <a:pt x="551974" y="295751"/>
                  </a:moveTo>
                  <a:cubicBezTo>
                    <a:pt x="551974" y="294799"/>
                    <a:pt x="551974" y="294799"/>
                    <a:pt x="551974" y="295751"/>
                  </a:cubicBezTo>
                  <a:cubicBezTo>
                    <a:pt x="551974" y="295751"/>
                    <a:pt x="552926" y="297656"/>
                    <a:pt x="552926" y="298609"/>
                  </a:cubicBezTo>
                  <a:cubicBezTo>
                    <a:pt x="554831" y="304324"/>
                    <a:pt x="555784" y="310991"/>
                    <a:pt x="556736" y="317659"/>
                  </a:cubicBezTo>
                  <a:cubicBezTo>
                    <a:pt x="556736" y="318611"/>
                    <a:pt x="556736" y="319564"/>
                    <a:pt x="557689" y="321469"/>
                  </a:cubicBezTo>
                  <a:cubicBezTo>
                    <a:pt x="557689" y="321469"/>
                    <a:pt x="557689" y="321469"/>
                    <a:pt x="557689" y="322421"/>
                  </a:cubicBezTo>
                  <a:cubicBezTo>
                    <a:pt x="557689" y="323374"/>
                    <a:pt x="557689" y="324326"/>
                    <a:pt x="557689" y="326231"/>
                  </a:cubicBezTo>
                  <a:cubicBezTo>
                    <a:pt x="555784" y="319564"/>
                    <a:pt x="553879" y="312896"/>
                    <a:pt x="552926" y="306229"/>
                  </a:cubicBezTo>
                  <a:cubicBezTo>
                    <a:pt x="551974" y="301466"/>
                    <a:pt x="551974" y="298609"/>
                    <a:pt x="551974" y="295751"/>
                  </a:cubicBezTo>
                  <a:close/>
                  <a:moveTo>
                    <a:pt x="529114" y="290036"/>
                  </a:moveTo>
                  <a:cubicBezTo>
                    <a:pt x="529114" y="290036"/>
                    <a:pt x="529114" y="290989"/>
                    <a:pt x="529114" y="290036"/>
                  </a:cubicBezTo>
                  <a:cubicBezTo>
                    <a:pt x="529114" y="290989"/>
                    <a:pt x="529114" y="290989"/>
                    <a:pt x="529114" y="290036"/>
                  </a:cubicBezTo>
                  <a:cubicBezTo>
                    <a:pt x="529114" y="290989"/>
                    <a:pt x="529114" y="290036"/>
                    <a:pt x="529114" y="290036"/>
                  </a:cubicBezTo>
                  <a:close/>
                  <a:moveTo>
                    <a:pt x="522446" y="336709"/>
                  </a:moveTo>
                  <a:cubicBezTo>
                    <a:pt x="522446" y="333851"/>
                    <a:pt x="523399" y="331946"/>
                    <a:pt x="523399" y="329089"/>
                  </a:cubicBezTo>
                  <a:cubicBezTo>
                    <a:pt x="524351" y="331946"/>
                    <a:pt x="525304" y="333851"/>
                    <a:pt x="526256" y="336709"/>
                  </a:cubicBezTo>
                  <a:cubicBezTo>
                    <a:pt x="528161" y="341471"/>
                    <a:pt x="530066" y="346234"/>
                    <a:pt x="531019" y="350996"/>
                  </a:cubicBezTo>
                  <a:cubicBezTo>
                    <a:pt x="531019" y="358616"/>
                    <a:pt x="531019" y="366236"/>
                    <a:pt x="531971" y="374809"/>
                  </a:cubicBezTo>
                  <a:cubicBezTo>
                    <a:pt x="531971" y="384334"/>
                    <a:pt x="532924" y="393859"/>
                    <a:pt x="533876" y="403384"/>
                  </a:cubicBezTo>
                  <a:cubicBezTo>
                    <a:pt x="530066" y="397669"/>
                    <a:pt x="528161" y="394811"/>
                    <a:pt x="528161" y="394811"/>
                  </a:cubicBezTo>
                  <a:cubicBezTo>
                    <a:pt x="528161" y="394811"/>
                    <a:pt x="530066" y="400526"/>
                    <a:pt x="532924" y="410051"/>
                  </a:cubicBezTo>
                  <a:cubicBezTo>
                    <a:pt x="533876" y="411956"/>
                    <a:pt x="534829" y="414814"/>
                    <a:pt x="534829" y="417671"/>
                  </a:cubicBezTo>
                  <a:cubicBezTo>
                    <a:pt x="534829" y="421481"/>
                    <a:pt x="535781" y="426244"/>
                    <a:pt x="535781" y="430054"/>
                  </a:cubicBezTo>
                  <a:lnTo>
                    <a:pt x="523399" y="428149"/>
                  </a:lnTo>
                  <a:cubicBezTo>
                    <a:pt x="523399" y="428149"/>
                    <a:pt x="522446" y="427196"/>
                    <a:pt x="522446" y="427196"/>
                  </a:cubicBezTo>
                  <a:cubicBezTo>
                    <a:pt x="522446" y="426244"/>
                    <a:pt x="522446" y="424339"/>
                    <a:pt x="522446" y="423386"/>
                  </a:cubicBezTo>
                  <a:cubicBezTo>
                    <a:pt x="525304" y="414814"/>
                    <a:pt x="527209" y="410051"/>
                    <a:pt x="527209" y="410051"/>
                  </a:cubicBezTo>
                  <a:cubicBezTo>
                    <a:pt x="527209" y="410051"/>
                    <a:pt x="525304" y="412909"/>
                    <a:pt x="522446" y="418624"/>
                  </a:cubicBezTo>
                  <a:cubicBezTo>
                    <a:pt x="522446" y="413861"/>
                    <a:pt x="521494" y="409099"/>
                    <a:pt x="521494" y="405289"/>
                  </a:cubicBezTo>
                  <a:cubicBezTo>
                    <a:pt x="520541" y="392906"/>
                    <a:pt x="518636" y="380524"/>
                    <a:pt x="517684" y="369094"/>
                  </a:cubicBezTo>
                  <a:cubicBezTo>
                    <a:pt x="519589" y="356711"/>
                    <a:pt x="520541" y="347186"/>
                    <a:pt x="522446" y="336709"/>
                  </a:cubicBezTo>
                  <a:close/>
                  <a:moveTo>
                    <a:pt x="512921" y="271939"/>
                  </a:moveTo>
                  <a:cubicBezTo>
                    <a:pt x="511969" y="276701"/>
                    <a:pt x="511016" y="281464"/>
                    <a:pt x="509111" y="287179"/>
                  </a:cubicBezTo>
                  <a:cubicBezTo>
                    <a:pt x="509111" y="287179"/>
                    <a:pt x="509111" y="287179"/>
                    <a:pt x="509111" y="288131"/>
                  </a:cubicBezTo>
                  <a:cubicBezTo>
                    <a:pt x="508159" y="284321"/>
                    <a:pt x="508159" y="279559"/>
                    <a:pt x="507206" y="275749"/>
                  </a:cubicBezTo>
                  <a:cubicBezTo>
                    <a:pt x="507206" y="270986"/>
                    <a:pt x="508159" y="267176"/>
                    <a:pt x="508159" y="262414"/>
                  </a:cubicBezTo>
                  <a:lnTo>
                    <a:pt x="509111" y="262414"/>
                  </a:lnTo>
                  <a:cubicBezTo>
                    <a:pt x="511016" y="265271"/>
                    <a:pt x="511969" y="268129"/>
                    <a:pt x="512921" y="271939"/>
                  </a:cubicBezTo>
                  <a:close/>
                  <a:moveTo>
                    <a:pt x="497681" y="207169"/>
                  </a:moveTo>
                  <a:cubicBezTo>
                    <a:pt x="500539" y="217646"/>
                    <a:pt x="503396" y="230981"/>
                    <a:pt x="506254" y="245269"/>
                  </a:cubicBezTo>
                  <a:cubicBezTo>
                    <a:pt x="507206" y="249079"/>
                    <a:pt x="508159" y="252889"/>
                    <a:pt x="509111" y="256699"/>
                  </a:cubicBezTo>
                  <a:cubicBezTo>
                    <a:pt x="508159" y="256699"/>
                    <a:pt x="507206" y="256699"/>
                    <a:pt x="506254" y="256699"/>
                  </a:cubicBezTo>
                  <a:lnTo>
                    <a:pt x="505301" y="256699"/>
                  </a:lnTo>
                  <a:cubicBezTo>
                    <a:pt x="505301" y="256699"/>
                    <a:pt x="505301" y="256699"/>
                    <a:pt x="505301" y="256699"/>
                  </a:cubicBezTo>
                  <a:cubicBezTo>
                    <a:pt x="502444" y="238601"/>
                    <a:pt x="499586" y="220504"/>
                    <a:pt x="497681" y="207169"/>
                  </a:cubicBezTo>
                  <a:cubicBezTo>
                    <a:pt x="496729" y="207169"/>
                    <a:pt x="496729" y="207169"/>
                    <a:pt x="497681" y="207169"/>
                  </a:cubicBezTo>
                  <a:close/>
                  <a:moveTo>
                    <a:pt x="487204" y="419576"/>
                  </a:moveTo>
                  <a:cubicBezTo>
                    <a:pt x="487204" y="420529"/>
                    <a:pt x="486251" y="421481"/>
                    <a:pt x="486251" y="422434"/>
                  </a:cubicBezTo>
                  <a:lnTo>
                    <a:pt x="483394" y="422434"/>
                  </a:lnTo>
                  <a:cubicBezTo>
                    <a:pt x="483394" y="421481"/>
                    <a:pt x="483394" y="419576"/>
                    <a:pt x="483394" y="418624"/>
                  </a:cubicBezTo>
                  <a:cubicBezTo>
                    <a:pt x="483394" y="412909"/>
                    <a:pt x="482441" y="407194"/>
                    <a:pt x="481489" y="401479"/>
                  </a:cubicBezTo>
                  <a:cubicBezTo>
                    <a:pt x="483394" y="407194"/>
                    <a:pt x="485299" y="413861"/>
                    <a:pt x="487204" y="419576"/>
                  </a:cubicBezTo>
                  <a:close/>
                  <a:moveTo>
                    <a:pt x="437674" y="390049"/>
                  </a:moveTo>
                  <a:cubicBezTo>
                    <a:pt x="437674" y="390049"/>
                    <a:pt x="437674" y="390049"/>
                    <a:pt x="437674" y="390049"/>
                  </a:cubicBezTo>
                  <a:cubicBezTo>
                    <a:pt x="437674" y="389096"/>
                    <a:pt x="437674" y="389096"/>
                    <a:pt x="437674" y="388144"/>
                  </a:cubicBezTo>
                  <a:cubicBezTo>
                    <a:pt x="437674" y="388144"/>
                    <a:pt x="437674" y="388144"/>
                    <a:pt x="437674" y="388144"/>
                  </a:cubicBezTo>
                  <a:cubicBezTo>
                    <a:pt x="437674" y="389096"/>
                    <a:pt x="437674" y="390049"/>
                    <a:pt x="437674" y="390049"/>
                  </a:cubicBezTo>
                  <a:cubicBezTo>
                    <a:pt x="437674" y="391001"/>
                    <a:pt x="437674" y="390049"/>
                    <a:pt x="437674" y="390049"/>
                  </a:cubicBezTo>
                  <a:close/>
                  <a:moveTo>
                    <a:pt x="448151" y="362426"/>
                  </a:moveTo>
                  <a:cubicBezTo>
                    <a:pt x="447199" y="360521"/>
                    <a:pt x="446246" y="358616"/>
                    <a:pt x="446246" y="356711"/>
                  </a:cubicBezTo>
                  <a:cubicBezTo>
                    <a:pt x="447199" y="353854"/>
                    <a:pt x="448151" y="350044"/>
                    <a:pt x="449104" y="347186"/>
                  </a:cubicBezTo>
                  <a:cubicBezTo>
                    <a:pt x="448151" y="351949"/>
                    <a:pt x="448151" y="357664"/>
                    <a:pt x="448151" y="362426"/>
                  </a:cubicBezTo>
                  <a:close/>
                  <a:moveTo>
                    <a:pt x="436721" y="227171"/>
                  </a:moveTo>
                  <a:cubicBezTo>
                    <a:pt x="437674" y="233839"/>
                    <a:pt x="439579" y="239554"/>
                    <a:pt x="440531" y="246221"/>
                  </a:cubicBezTo>
                  <a:cubicBezTo>
                    <a:pt x="438626" y="242411"/>
                    <a:pt x="436721" y="238601"/>
                    <a:pt x="434816" y="234791"/>
                  </a:cubicBezTo>
                  <a:cubicBezTo>
                    <a:pt x="435769" y="231934"/>
                    <a:pt x="435769" y="230029"/>
                    <a:pt x="436721" y="227171"/>
                  </a:cubicBezTo>
                  <a:close/>
                  <a:moveTo>
                    <a:pt x="428149" y="280511"/>
                  </a:moveTo>
                  <a:cubicBezTo>
                    <a:pt x="430054" y="270986"/>
                    <a:pt x="431006" y="262414"/>
                    <a:pt x="431959" y="253841"/>
                  </a:cubicBezTo>
                  <a:cubicBezTo>
                    <a:pt x="431959" y="255746"/>
                    <a:pt x="432911" y="256699"/>
                    <a:pt x="432911" y="258604"/>
                  </a:cubicBezTo>
                  <a:cubicBezTo>
                    <a:pt x="434816" y="266224"/>
                    <a:pt x="436721" y="274796"/>
                    <a:pt x="438626" y="284321"/>
                  </a:cubicBezTo>
                  <a:cubicBezTo>
                    <a:pt x="438626" y="286226"/>
                    <a:pt x="439579" y="288131"/>
                    <a:pt x="439579" y="290036"/>
                  </a:cubicBezTo>
                  <a:cubicBezTo>
                    <a:pt x="434816" y="284321"/>
                    <a:pt x="432911" y="281464"/>
                    <a:pt x="432911" y="281464"/>
                  </a:cubicBezTo>
                  <a:cubicBezTo>
                    <a:pt x="432911" y="281464"/>
                    <a:pt x="435769" y="287179"/>
                    <a:pt x="439579" y="295751"/>
                  </a:cubicBezTo>
                  <a:cubicBezTo>
                    <a:pt x="440531" y="296704"/>
                    <a:pt x="440531" y="298609"/>
                    <a:pt x="441484" y="299561"/>
                  </a:cubicBezTo>
                  <a:cubicBezTo>
                    <a:pt x="442436" y="303371"/>
                    <a:pt x="443389" y="308134"/>
                    <a:pt x="443389" y="312896"/>
                  </a:cubicBezTo>
                  <a:cubicBezTo>
                    <a:pt x="444341" y="317659"/>
                    <a:pt x="445294" y="323374"/>
                    <a:pt x="446246" y="328136"/>
                  </a:cubicBezTo>
                  <a:cubicBezTo>
                    <a:pt x="446246" y="330994"/>
                    <a:pt x="447199" y="332899"/>
                    <a:pt x="447199" y="335756"/>
                  </a:cubicBezTo>
                  <a:cubicBezTo>
                    <a:pt x="446246" y="337661"/>
                    <a:pt x="445294" y="339566"/>
                    <a:pt x="445294" y="341471"/>
                  </a:cubicBezTo>
                  <a:cubicBezTo>
                    <a:pt x="444341" y="344329"/>
                    <a:pt x="443389" y="346234"/>
                    <a:pt x="442436" y="349091"/>
                  </a:cubicBezTo>
                  <a:cubicBezTo>
                    <a:pt x="439579" y="342424"/>
                    <a:pt x="437674" y="336709"/>
                    <a:pt x="434816" y="331946"/>
                  </a:cubicBezTo>
                  <a:cubicBezTo>
                    <a:pt x="434816" y="322421"/>
                    <a:pt x="434816" y="317659"/>
                    <a:pt x="434816" y="317659"/>
                  </a:cubicBezTo>
                  <a:cubicBezTo>
                    <a:pt x="434816" y="317659"/>
                    <a:pt x="433864" y="321469"/>
                    <a:pt x="432911" y="328136"/>
                  </a:cubicBezTo>
                  <a:cubicBezTo>
                    <a:pt x="430054" y="319564"/>
                    <a:pt x="426244" y="310991"/>
                    <a:pt x="423386" y="303371"/>
                  </a:cubicBezTo>
                  <a:cubicBezTo>
                    <a:pt x="426244" y="295751"/>
                    <a:pt x="427196" y="288131"/>
                    <a:pt x="428149" y="280511"/>
                  </a:cubicBezTo>
                  <a:close/>
                  <a:moveTo>
                    <a:pt x="418624" y="345281"/>
                  </a:moveTo>
                  <a:cubicBezTo>
                    <a:pt x="419576" y="337661"/>
                    <a:pt x="420529" y="330041"/>
                    <a:pt x="422434" y="322421"/>
                  </a:cubicBezTo>
                  <a:cubicBezTo>
                    <a:pt x="424339" y="328136"/>
                    <a:pt x="425291" y="333851"/>
                    <a:pt x="427196" y="339566"/>
                  </a:cubicBezTo>
                  <a:cubicBezTo>
                    <a:pt x="428149" y="343376"/>
                    <a:pt x="429101" y="347186"/>
                    <a:pt x="430054" y="350996"/>
                  </a:cubicBezTo>
                  <a:cubicBezTo>
                    <a:pt x="429101" y="354806"/>
                    <a:pt x="429101" y="358616"/>
                    <a:pt x="428149" y="362426"/>
                  </a:cubicBezTo>
                  <a:cubicBezTo>
                    <a:pt x="427196" y="360521"/>
                    <a:pt x="426244" y="358616"/>
                    <a:pt x="426244" y="356711"/>
                  </a:cubicBezTo>
                  <a:cubicBezTo>
                    <a:pt x="423386" y="349091"/>
                    <a:pt x="420529" y="344329"/>
                    <a:pt x="420529" y="344329"/>
                  </a:cubicBezTo>
                  <a:cubicBezTo>
                    <a:pt x="420529" y="344329"/>
                    <a:pt x="420529" y="349091"/>
                    <a:pt x="422434" y="357664"/>
                  </a:cubicBezTo>
                  <a:cubicBezTo>
                    <a:pt x="423386" y="361474"/>
                    <a:pt x="423386" y="367189"/>
                    <a:pt x="424339" y="372904"/>
                  </a:cubicBezTo>
                  <a:cubicBezTo>
                    <a:pt x="424339" y="374809"/>
                    <a:pt x="425291" y="375761"/>
                    <a:pt x="425291" y="377666"/>
                  </a:cubicBezTo>
                  <a:cubicBezTo>
                    <a:pt x="425291" y="376714"/>
                    <a:pt x="424339" y="375761"/>
                    <a:pt x="424339" y="375761"/>
                  </a:cubicBezTo>
                  <a:cubicBezTo>
                    <a:pt x="424339" y="375761"/>
                    <a:pt x="424339" y="374809"/>
                    <a:pt x="424339" y="374809"/>
                  </a:cubicBezTo>
                  <a:cubicBezTo>
                    <a:pt x="422434" y="367189"/>
                    <a:pt x="420529" y="359569"/>
                    <a:pt x="418624" y="351949"/>
                  </a:cubicBezTo>
                  <a:cubicBezTo>
                    <a:pt x="417671" y="349091"/>
                    <a:pt x="418624" y="347186"/>
                    <a:pt x="418624" y="345281"/>
                  </a:cubicBezTo>
                  <a:close/>
                  <a:moveTo>
                    <a:pt x="406241" y="261461"/>
                  </a:moveTo>
                  <a:cubicBezTo>
                    <a:pt x="408146" y="267176"/>
                    <a:pt x="410051" y="275749"/>
                    <a:pt x="411956" y="285274"/>
                  </a:cubicBezTo>
                  <a:cubicBezTo>
                    <a:pt x="410051" y="292894"/>
                    <a:pt x="409099" y="301466"/>
                    <a:pt x="407194" y="310039"/>
                  </a:cubicBezTo>
                  <a:cubicBezTo>
                    <a:pt x="406241" y="307181"/>
                    <a:pt x="406241" y="304324"/>
                    <a:pt x="405289" y="302419"/>
                  </a:cubicBezTo>
                  <a:cubicBezTo>
                    <a:pt x="406241" y="288131"/>
                    <a:pt x="406241" y="273844"/>
                    <a:pt x="406241" y="261461"/>
                  </a:cubicBezTo>
                  <a:close/>
                  <a:moveTo>
                    <a:pt x="382429" y="290036"/>
                  </a:moveTo>
                  <a:cubicBezTo>
                    <a:pt x="382429" y="290989"/>
                    <a:pt x="382429" y="292894"/>
                    <a:pt x="381476" y="293846"/>
                  </a:cubicBezTo>
                  <a:cubicBezTo>
                    <a:pt x="381476" y="290989"/>
                    <a:pt x="381476" y="288131"/>
                    <a:pt x="381476" y="285274"/>
                  </a:cubicBezTo>
                  <a:cubicBezTo>
                    <a:pt x="381476" y="287179"/>
                    <a:pt x="382429" y="288131"/>
                    <a:pt x="382429" y="290036"/>
                  </a:cubicBezTo>
                  <a:close/>
                  <a:moveTo>
                    <a:pt x="361474" y="394811"/>
                  </a:moveTo>
                  <a:cubicBezTo>
                    <a:pt x="361474" y="397669"/>
                    <a:pt x="361474" y="401479"/>
                    <a:pt x="361474" y="404336"/>
                  </a:cubicBezTo>
                  <a:cubicBezTo>
                    <a:pt x="361474" y="405289"/>
                    <a:pt x="361474" y="406241"/>
                    <a:pt x="361474" y="407194"/>
                  </a:cubicBezTo>
                  <a:cubicBezTo>
                    <a:pt x="359569" y="399574"/>
                    <a:pt x="357664" y="391001"/>
                    <a:pt x="354806" y="383381"/>
                  </a:cubicBezTo>
                  <a:cubicBezTo>
                    <a:pt x="354806" y="383381"/>
                    <a:pt x="354806" y="383381"/>
                    <a:pt x="354806" y="382429"/>
                  </a:cubicBezTo>
                  <a:cubicBezTo>
                    <a:pt x="353854" y="379571"/>
                    <a:pt x="353854" y="376714"/>
                    <a:pt x="352901" y="373856"/>
                  </a:cubicBezTo>
                  <a:cubicBezTo>
                    <a:pt x="355759" y="381476"/>
                    <a:pt x="358616" y="388144"/>
                    <a:pt x="361474" y="394811"/>
                  </a:cubicBezTo>
                  <a:close/>
                  <a:moveTo>
                    <a:pt x="347186" y="307181"/>
                  </a:moveTo>
                  <a:cubicBezTo>
                    <a:pt x="348139" y="309086"/>
                    <a:pt x="348139" y="310039"/>
                    <a:pt x="349091" y="311944"/>
                  </a:cubicBezTo>
                  <a:cubicBezTo>
                    <a:pt x="348139" y="310991"/>
                    <a:pt x="348139" y="310039"/>
                    <a:pt x="347186" y="309086"/>
                  </a:cubicBezTo>
                  <a:cubicBezTo>
                    <a:pt x="346234" y="309086"/>
                    <a:pt x="346234" y="308134"/>
                    <a:pt x="347186" y="307181"/>
                  </a:cubicBezTo>
                  <a:close/>
                  <a:moveTo>
                    <a:pt x="347186" y="429101"/>
                  </a:moveTo>
                  <a:cubicBezTo>
                    <a:pt x="347186" y="430054"/>
                    <a:pt x="348139" y="431959"/>
                    <a:pt x="348139" y="432911"/>
                  </a:cubicBezTo>
                  <a:lnTo>
                    <a:pt x="346234" y="432911"/>
                  </a:lnTo>
                  <a:cubicBezTo>
                    <a:pt x="346234" y="431006"/>
                    <a:pt x="346234" y="430054"/>
                    <a:pt x="347186" y="429101"/>
                  </a:cubicBezTo>
                  <a:close/>
                  <a:moveTo>
                    <a:pt x="310991" y="439579"/>
                  </a:moveTo>
                  <a:cubicBezTo>
                    <a:pt x="310991" y="434816"/>
                    <a:pt x="310991" y="429101"/>
                    <a:pt x="311944" y="424339"/>
                  </a:cubicBezTo>
                  <a:cubicBezTo>
                    <a:pt x="313849" y="429101"/>
                    <a:pt x="315754" y="433864"/>
                    <a:pt x="317659" y="438626"/>
                  </a:cubicBezTo>
                  <a:lnTo>
                    <a:pt x="310991" y="439579"/>
                  </a:lnTo>
                  <a:close/>
                  <a:moveTo>
                    <a:pt x="302419" y="230981"/>
                  </a:moveTo>
                  <a:cubicBezTo>
                    <a:pt x="303371" y="232886"/>
                    <a:pt x="303371" y="235744"/>
                    <a:pt x="304324" y="237649"/>
                  </a:cubicBezTo>
                  <a:cubicBezTo>
                    <a:pt x="305276" y="242411"/>
                    <a:pt x="306229" y="247174"/>
                    <a:pt x="307181" y="252889"/>
                  </a:cubicBezTo>
                  <a:cubicBezTo>
                    <a:pt x="303371" y="247174"/>
                    <a:pt x="300514" y="244316"/>
                    <a:pt x="300514" y="244316"/>
                  </a:cubicBezTo>
                  <a:cubicBezTo>
                    <a:pt x="300514" y="238601"/>
                    <a:pt x="301466" y="234791"/>
                    <a:pt x="302419" y="230981"/>
                  </a:cubicBezTo>
                  <a:close/>
                  <a:moveTo>
                    <a:pt x="295751" y="269081"/>
                  </a:moveTo>
                  <a:cubicBezTo>
                    <a:pt x="296704" y="264319"/>
                    <a:pt x="297656" y="262414"/>
                    <a:pt x="297656" y="262414"/>
                  </a:cubicBezTo>
                  <a:cubicBezTo>
                    <a:pt x="297656" y="262414"/>
                    <a:pt x="296704" y="263366"/>
                    <a:pt x="295751" y="265271"/>
                  </a:cubicBezTo>
                  <a:cubicBezTo>
                    <a:pt x="296704" y="260509"/>
                    <a:pt x="296704" y="256699"/>
                    <a:pt x="297656" y="251936"/>
                  </a:cubicBezTo>
                  <a:cubicBezTo>
                    <a:pt x="298609" y="249079"/>
                    <a:pt x="298609" y="246221"/>
                    <a:pt x="299561" y="243364"/>
                  </a:cubicBezTo>
                  <a:cubicBezTo>
                    <a:pt x="299561" y="244316"/>
                    <a:pt x="300514" y="245269"/>
                    <a:pt x="301466" y="247174"/>
                  </a:cubicBezTo>
                  <a:cubicBezTo>
                    <a:pt x="304324" y="254794"/>
                    <a:pt x="307181" y="262414"/>
                    <a:pt x="310039" y="270986"/>
                  </a:cubicBezTo>
                  <a:cubicBezTo>
                    <a:pt x="312896" y="285274"/>
                    <a:pt x="315754" y="298609"/>
                    <a:pt x="319564" y="312896"/>
                  </a:cubicBezTo>
                  <a:cubicBezTo>
                    <a:pt x="322421" y="328136"/>
                    <a:pt x="326231" y="343376"/>
                    <a:pt x="330041" y="358616"/>
                  </a:cubicBezTo>
                  <a:cubicBezTo>
                    <a:pt x="330041" y="359569"/>
                    <a:pt x="330041" y="360521"/>
                    <a:pt x="330041" y="362426"/>
                  </a:cubicBezTo>
                  <a:cubicBezTo>
                    <a:pt x="329089" y="375761"/>
                    <a:pt x="328136" y="390049"/>
                    <a:pt x="327184" y="404336"/>
                  </a:cubicBezTo>
                  <a:cubicBezTo>
                    <a:pt x="327184" y="404336"/>
                    <a:pt x="327184" y="404336"/>
                    <a:pt x="327184" y="404336"/>
                  </a:cubicBezTo>
                  <a:cubicBezTo>
                    <a:pt x="325279" y="400526"/>
                    <a:pt x="323374" y="396716"/>
                    <a:pt x="321469" y="392906"/>
                  </a:cubicBezTo>
                  <a:cubicBezTo>
                    <a:pt x="317659" y="382429"/>
                    <a:pt x="313849" y="371951"/>
                    <a:pt x="310991" y="362426"/>
                  </a:cubicBezTo>
                  <a:cubicBezTo>
                    <a:pt x="306229" y="347186"/>
                    <a:pt x="301466" y="332899"/>
                    <a:pt x="296704" y="318611"/>
                  </a:cubicBezTo>
                  <a:cubicBezTo>
                    <a:pt x="294799" y="312896"/>
                    <a:pt x="293846" y="308134"/>
                    <a:pt x="291941" y="302419"/>
                  </a:cubicBezTo>
                  <a:cubicBezTo>
                    <a:pt x="292894" y="290989"/>
                    <a:pt x="294799" y="279559"/>
                    <a:pt x="295751" y="269081"/>
                  </a:cubicBezTo>
                  <a:close/>
                  <a:moveTo>
                    <a:pt x="283369" y="378619"/>
                  </a:moveTo>
                  <a:cubicBezTo>
                    <a:pt x="283369" y="373856"/>
                    <a:pt x="284321" y="369094"/>
                    <a:pt x="284321" y="365284"/>
                  </a:cubicBezTo>
                  <a:cubicBezTo>
                    <a:pt x="284321" y="364331"/>
                    <a:pt x="284321" y="363379"/>
                    <a:pt x="285274" y="363379"/>
                  </a:cubicBezTo>
                  <a:cubicBezTo>
                    <a:pt x="289084" y="370999"/>
                    <a:pt x="291941" y="378619"/>
                    <a:pt x="295751" y="387191"/>
                  </a:cubicBezTo>
                  <a:cubicBezTo>
                    <a:pt x="297656" y="391954"/>
                    <a:pt x="300514" y="395764"/>
                    <a:pt x="302419" y="400526"/>
                  </a:cubicBezTo>
                  <a:cubicBezTo>
                    <a:pt x="302419" y="401479"/>
                    <a:pt x="303371" y="403384"/>
                    <a:pt x="303371" y="404336"/>
                  </a:cubicBezTo>
                  <a:cubicBezTo>
                    <a:pt x="302419" y="407194"/>
                    <a:pt x="302419" y="410051"/>
                    <a:pt x="301466" y="412909"/>
                  </a:cubicBezTo>
                  <a:cubicBezTo>
                    <a:pt x="299561" y="422434"/>
                    <a:pt x="297656" y="432911"/>
                    <a:pt x="295751" y="442436"/>
                  </a:cubicBezTo>
                  <a:lnTo>
                    <a:pt x="283369" y="444341"/>
                  </a:lnTo>
                  <a:cubicBezTo>
                    <a:pt x="282416" y="441484"/>
                    <a:pt x="282416" y="438626"/>
                    <a:pt x="281464" y="435769"/>
                  </a:cubicBezTo>
                  <a:cubicBezTo>
                    <a:pt x="281464" y="425291"/>
                    <a:pt x="281464" y="415766"/>
                    <a:pt x="281464" y="407194"/>
                  </a:cubicBezTo>
                  <a:cubicBezTo>
                    <a:pt x="281464" y="397669"/>
                    <a:pt x="282416" y="388144"/>
                    <a:pt x="283369" y="378619"/>
                  </a:cubicBezTo>
                  <a:close/>
                  <a:moveTo>
                    <a:pt x="237649" y="415766"/>
                  </a:moveTo>
                  <a:cubicBezTo>
                    <a:pt x="234791" y="409099"/>
                    <a:pt x="230981" y="402431"/>
                    <a:pt x="228124" y="395764"/>
                  </a:cubicBezTo>
                  <a:cubicBezTo>
                    <a:pt x="228124" y="391954"/>
                    <a:pt x="229076" y="387191"/>
                    <a:pt x="229076" y="383381"/>
                  </a:cubicBezTo>
                  <a:cubicBezTo>
                    <a:pt x="232886" y="391001"/>
                    <a:pt x="235744" y="398621"/>
                    <a:pt x="239554" y="406241"/>
                  </a:cubicBezTo>
                  <a:cubicBezTo>
                    <a:pt x="239554" y="410051"/>
                    <a:pt x="238601" y="412909"/>
                    <a:pt x="237649" y="415766"/>
                  </a:cubicBezTo>
                  <a:close/>
                  <a:moveTo>
                    <a:pt x="247174" y="431006"/>
                  </a:moveTo>
                  <a:cubicBezTo>
                    <a:pt x="247174" y="429101"/>
                    <a:pt x="247174" y="427196"/>
                    <a:pt x="248126" y="425291"/>
                  </a:cubicBezTo>
                  <a:cubicBezTo>
                    <a:pt x="248126" y="425291"/>
                    <a:pt x="248126" y="425291"/>
                    <a:pt x="248126" y="425291"/>
                  </a:cubicBezTo>
                  <a:cubicBezTo>
                    <a:pt x="248126" y="427196"/>
                    <a:pt x="247174" y="429101"/>
                    <a:pt x="247174" y="431006"/>
                  </a:cubicBezTo>
                  <a:close/>
                  <a:moveTo>
                    <a:pt x="264319" y="204311"/>
                  </a:moveTo>
                  <a:cubicBezTo>
                    <a:pt x="267176" y="195739"/>
                    <a:pt x="269081" y="189071"/>
                    <a:pt x="270986" y="185261"/>
                  </a:cubicBezTo>
                  <a:cubicBezTo>
                    <a:pt x="269081" y="194786"/>
                    <a:pt x="268129" y="204311"/>
                    <a:pt x="267176" y="214789"/>
                  </a:cubicBezTo>
                  <a:cubicBezTo>
                    <a:pt x="267176" y="212884"/>
                    <a:pt x="266224" y="211931"/>
                    <a:pt x="266224" y="210026"/>
                  </a:cubicBezTo>
                  <a:cubicBezTo>
                    <a:pt x="264319" y="207169"/>
                    <a:pt x="264319" y="206216"/>
                    <a:pt x="264319" y="204311"/>
                  </a:cubicBezTo>
                  <a:cubicBezTo>
                    <a:pt x="264319" y="204311"/>
                    <a:pt x="264319" y="204311"/>
                    <a:pt x="264319" y="204311"/>
                  </a:cubicBezTo>
                  <a:close/>
                  <a:moveTo>
                    <a:pt x="254794" y="235744"/>
                  </a:moveTo>
                  <a:cubicBezTo>
                    <a:pt x="256699" y="230029"/>
                    <a:pt x="257651" y="225266"/>
                    <a:pt x="258604" y="220504"/>
                  </a:cubicBezTo>
                  <a:cubicBezTo>
                    <a:pt x="259556" y="227171"/>
                    <a:pt x="260509" y="234791"/>
                    <a:pt x="261461" y="242411"/>
                  </a:cubicBezTo>
                  <a:cubicBezTo>
                    <a:pt x="261461" y="243364"/>
                    <a:pt x="261461" y="244316"/>
                    <a:pt x="262414" y="245269"/>
                  </a:cubicBezTo>
                  <a:cubicBezTo>
                    <a:pt x="261461" y="253841"/>
                    <a:pt x="260509" y="261461"/>
                    <a:pt x="260509" y="270034"/>
                  </a:cubicBezTo>
                  <a:cubicBezTo>
                    <a:pt x="259556" y="268129"/>
                    <a:pt x="258604" y="266224"/>
                    <a:pt x="257651" y="264319"/>
                  </a:cubicBezTo>
                  <a:cubicBezTo>
                    <a:pt x="254794" y="258604"/>
                    <a:pt x="252889" y="253841"/>
                    <a:pt x="250984" y="249079"/>
                  </a:cubicBezTo>
                  <a:cubicBezTo>
                    <a:pt x="252889" y="245269"/>
                    <a:pt x="253841" y="239554"/>
                    <a:pt x="254794" y="235744"/>
                  </a:cubicBezTo>
                  <a:close/>
                  <a:moveTo>
                    <a:pt x="245269" y="276701"/>
                  </a:moveTo>
                  <a:cubicBezTo>
                    <a:pt x="246221" y="270986"/>
                    <a:pt x="248126" y="265271"/>
                    <a:pt x="249079" y="260509"/>
                  </a:cubicBezTo>
                  <a:cubicBezTo>
                    <a:pt x="250031" y="262414"/>
                    <a:pt x="250031" y="265271"/>
                    <a:pt x="250984" y="268129"/>
                  </a:cubicBezTo>
                  <a:cubicBezTo>
                    <a:pt x="252889" y="275749"/>
                    <a:pt x="255746" y="284321"/>
                    <a:pt x="258604" y="292894"/>
                  </a:cubicBezTo>
                  <a:cubicBezTo>
                    <a:pt x="258604" y="293846"/>
                    <a:pt x="259556" y="294799"/>
                    <a:pt x="259556" y="294799"/>
                  </a:cubicBezTo>
                  <a:cubicBezTo>
                    <a:pt x="259556" y="295751"/>
                    <a:pt x="259556" y="296704"/>
                    <a:pt x="259556" y="297656"/>
                  </a:cubicBezTo>
                  <a:cubicBezTo>
                    <a:pt x="258604" y="310039"/>
                    <a:pt x="258604" y="321469"/>
                    <a:pt x="257651" y="333851"/>
                  </a:cubicBezTo>
                  <a:cubicBezTo>
                    <a:pt x="255746" y="325279"/>
                    <a:pt x="253841" y="317659"/>
                    <a:pt x="250984" y="309086"/>
                  </a:cubicBezTo>
                  <a:cubicBezTo>
                    <a:pt x="252889" y="304324"/>
                    <a:pt x="253841" y="301466"/>
                    <a:pt x="253841" y="301466"/>
                  </a:cubicBezTo>
                  <a:cubicBezTo>
                    <a:pt x="253841" y="301466"/>
                    <a:pt x="252889" y="303371"/>
                    <a:pt x="250984" y="307181"/>
                  </a:cubicBezTo>
                  <a:cubicBezTo>
                    <a:pt x="249079" y="299561"/>
                    <a:pt x="247174" y="291941"/>
                    <a:pt x="244316" y="284321"/>
                  </a:cubicBezTo>
                  <a:cubicBezTo>
                    <a:pt x="244316" y="281464"/>
                    <a:pt x="245269" y="279559"/>
                    <a:pt x="245269" y="276701"/>
                  </a:cubicBezTo>
                  <a:close/>
                  <a:moveTo>
                    <a:pt x="236696" y="325279"/>
                  </a:moveTo>
                  <a:cubicBezTo>
                    <a:pt x="236696" y="324326"/>
                    <a:pt x="236696" y="323374"/>
                    <a:pt x="237649" y="322421"/>
                  </a:cubicBezTo>
                  <a:cubicBezTo>
                    <a:pt x="237649" y="324326"/>
                    <a:pt x="238601" y="327184"/>
                    <a:pt x="238601" y="329089"/>
                  </a:cubicBezTo>
                  <a:cubicBezTo>
                    <a:pt x="237649" y="330994"/>
                    <a:pt x="236696" y="332899"/>
                    <a:pt x="235744" y="335756"/>
                  </a:cubicBezTo>
                  <a:cubicBezTo>
                    <a:pt x="235744" y="332899"/>
                    <a:pt x="235744" y="329089"/>
                    <a:pt x="236696" y="325279"/>
                  </a:cubicBezTo>
                  <a:close/>
                  <a:moveTo>
                    <a:pt x="234791" y="353854"/>
                  </a:moveTo>
                  <a:cubicBezTo>
                    <a:pt x="236696" y="348139"/>
                    <a:pt x="238601" y="342424"/>
                    <a:pt x="240506" y="337661"/>
                  </a:cubicBezTo>
                  <a:cubicBezTo>
                    <a:pt x="240506" y="339566"/>
                    <a:pt x="241459" y="340519"/>
                    <a:pt x="241459" y="342424"/>
                  </a:cubicBezTo>
                  <a:cubicBezTo>
                    <a:pt x="243364" y="352901"/>
                    <a:pt x="246221" y="362426"/>
                    <a:pt x="248126" y="372904"/>
                  </a:cubicBezTo>
                  <a:cubicBezTo>
                    <a:pt x="248126" y="374809"/>
                    <a:pt x="247174" y="376714"/>
                    <a:pt x="247174" y="378619"/>
                  </a:cubicBezTo>
                  <a:cubicBezTo>
                    <a:pt x="245269" y="375761"/>
                    <a:pt x="243364" y="371951"/>
                    <a:pt x="242411" y="369094"/>
                  </a:cubicBezTo>
                  <a:cubicBezTo>
                    <a:pt x="239554" y="364331"/>
                    <a:pt x="236696" y="359569"/>
                    <a:pt x="234791" y="353854"/>
                  </a:cubicBezTo>
                  <a:cubicBezTo>
                    <a:pt x="234791" y="354806"/>
                    <a:pt x="234791" y="353854"/>
                    <a:pt x="234791" y="353854"/>
                  </a:cubicBezTo>
                  <a:close/>
                  <a:moveTo>
                    <a:pt x="222409" y="297656"/>
                  </a:moveTo>
                  <a:cubicBezTo>
                    <a:pt x="224314" y="290036"/>
                    <a:pt x="226219" y="283369"/>
                    <a:pt x="227171" y="278606"/>
                  </a:cubicBezTo>
                  <a:cubicBezTo>
                    <a:pt x="227171" y="280511"/>
                    <a:pt x="228124" y="282416"/>
                    <a:pt x="228124" y="284321"/>
                  </a:cubicBezTo>
                  <a:cubicBezTo>
                    <a:pt x="229076" y="286226"/>
                    <a:pt x="229076" y="288131"/>
                    <a:pt x="230029" y="290989"/>
                  </a:cubicBezTo>
                  <a:cubicBezTo>
                    <a:pt x="227171" y="301466"/>
                    <a:pt x="225266" y="312896"/>
                    <a:pt x="222409" y="324326"/>
                  </a:cubicBezTo>
                  <a:cubicBezTo>
                    <a:pt x="222409" y="326231"/>
                    <a:pt x="221456" y="328136"/>
                    <a:pt x="221456" y="330041"/>
                  </a:cubicBezTo>
                  <a:cubicBezTo>
                    <a:pt x="221456" y="330041"/>
                    <a:pt x="221456" y="329089"/>
                    <a:pt x="220504" y="329089"/>
                  </a:cubicBezTo>
                  <a:cubicBezTo>
                    <a:pt x="219551" y="323374"/>
                    <a:pt x="219551" y="317659"/>
                    <a:pt x="218599" y="312896"/>
                  </a:cubicBezTo>
                  <a:cubicBezTo>
                    <a:pt x="220504" y="306229"/>
                    <a:pt x="221456" y="301466"/>
                    <a:pt x="222409" y="297656"/>
                  </a:cubicBezTo>
                  <a:close/>
                  <a:moveTo>
                    <a:pt x="169069" y="411956"/>
                  </a:moveTo>
                  <a:cubicBezTo>
                    <a:pt x="169069" y="411956"/>
                    <a:pt x="169069" y="412909"/>
                    <a:pt x="169069" y="412909"/>
                  </a:cubicBezTo>
                  <a:cubicBezTo>
                    <a:pt x="168116" y="407194"/>
                    <a:pt x="167164" y="401479"/>
                    <a:pt x="165259" y="396716"/>
                  </a:cubicBezTo>
                  <a:cubicBezTo>
                    <a:pt x="165259" y="389096"/>
                    <a:pt x="164306" y="382429"/>
                    <a:pt x="164306" y="375761"/>
                  </a:cubicBezTo>
                  <a:cubicBezTo>
                    <a:pt x="163354" y="365284"/>
                    <a:pt x="162401" y="354806"/>
                    <a:pt x="161449" y="345281"/>
                  </a:cubicBezTo>
                  <a:cubicBezTo>
                    <a:pt x="160496" y="336709"/>
                    <a:pt x="159544" y="329089"/>
                    <a:pt x="158591" y="321469"/>
                  </a:cubicBezTo>
                  <a:cubicBezTo>
                    <a:pt x="158591" y="322421"/>
                    <a:pt x="159544" y="322421"/>
                    <a:pt x="159544" y="323374"/>
                  </a:cubicBezTo>
                  <a:cubicBezTo>
                    <a:pt x="160496" y="325279"/>
                    <a:pt x="161449" y="326231"/>
                    <a:pt x="162401" y="328136"/>
                  </a:cubicBezTo>
                  <a:cubicBezTo>
                    <a:pt x="163354" y="342424"/>
                    <a:pt x="165259" y="359569"/>
                    <a:pt x="167164" y="376714"/>
                  </a:cubicBezTo>
                  <a:cubicBezTo>
                    <a:pt x="168116" y="385286"/>
                    <a:pt x="169069" y="393859"/>
                    <a:pt x="170021" y="402431"/>
                  </a:cubicBezTo>
                  <a:cubicBezTo>
                    <a:pt x="170021" y="405289"/>
                    <a:pt x="169069" y="408146"/>
                    <a:pt x="169069" y="411956"/>
                  </a:cubicBezTo>
                  <a:close/>
                  <a:moveTo>
                    <a:pt x="209074" y="350044"/>
                  </a:moveTo>
                  <a:cubicBezTo>
                    <a:pt x="209074" y="352901"/>
                    <a:pt x="209074" y="356711"/>
                    <a:pt x="209074" y="359569"/>
                  </a:cubicBezTo>
                  <a:cubicBezTo>
                    <a:pt x="208121" y="358616"/>
                    <a:pt x="208121" y="357664"/>
                    <a:pt x="207169" y="356711"/>
                  </a:cubicBezTo>
                  <a:cubicBezTo>
                    <a:pt x="208121" y="354806"/>
                    <a:pt x="209074" y="351949"/>
                    <a:pt x="209074" y="350044"/>
                  </a:cubicBezTo>
                  <a:close/>
                  <a:moveTo>
                    <a:pt x="170974" y="259556"/>
                  </a:moveTo>
                  <a:cubicBezTo>
                    <a:pt x="173831" y="264319"/>
                    <a:pt x="175736" y="270034"/>
                    <a:pt x="178594" y="274796"/>
                  </a:cubicBezTo>
                  <a:cubicBezTo>
                    <a:pt x="181451" y="280511"/>
                    <a:pt x="184309" y="286226"/>
                    <a:pt x="187166" y="291941"/>
                  </a:cubicBezTo>
                  <a:cubicBezTo>
                    <a:pt x="192881" y="304324"/>
                    <a:pt x="198596" y="316706"/>
                    <a:pt x="205264" y="330041"/>
                  </a:cubicBezTo>
                  <a:cubicBezTo>
                    <a:pt x="203359" y="333851"/>
                    <a:pt x="202406" y="338614"/>
                    <a:pt x="200501" y="343376"/>
                  </a:cubicBezTo>
                  <a:cubicBezTo>
                    <a:pt x="200501" y="343376"/>
                    <a:pt x="200501" y="342424"/>
                    <a:pt x="199549" y="342424"/>
                  </a:cubicBezTo>
                  <a:cubicBezTo>
                    <a:pt x="193834" y="330994"/>
                    <a:pt x="187166" y="320516"/>
                    <a:pt x="180499" y="310039"/>
                  </a:cubicBezTo>
                  <a:cubicBezTo>
                    <a:pt x="178594" y="301466"/>
                    <a:pt x="176689" y="296704"/>
                    <a:pt x="176689" y="296704"/>
                  </a:cubicBezTo>
                  <a:cubicBezTo>
                    <a:pt x="176689" y="296704"/>
                    <a:pt x="176689" y="299561"/>
                    <a:pt x="176689" y="305276"/>
                  </a:cubicBezTo>
                  <a:cubicBezTo>
                    <a:pt x="175736" y="303371"/>
                    <a:pt x="174784" y="301466"/>
                    <a:pt x="172879" y="299561"/>
                  </a:cubicBezTo>
                  <a:cubicBezTo>
                    <a:pt x="172879" y="299561"/>
                    <a:pt x="171926" y="298609"/>
                    <a:pt x="171926" y="298609"/>
                  </a:cubicBezTo>
                  <a:cubicBezTo>
                    <a:pt x="170974" y="291941"/>
                    <a:pt x="169069" y="285274"/>
                    <a:pt x="168116" y="279559"/>
                  </a:cubicBezTo>
                  <a:cubicBezTo>
                    <a:pt x="164306" y="262414"/>
                    <a:pt x="161449" y="247174"/>
                    <a:pt x="158591" y="235744"/>
                  </a:cubicBezTo>
                  <a:cubicBezTo>
                    <a:pt x="163354" y="243364"/>
                    <a:pt x="167164" y="250984"/>
                    <a:pt x="170974" y="259556"/>
                  </a:cubicBezTo>
                  <a:close/>
                  <a:moveTo>
                    <a:pt x="161449" y="307181"/>
                  </a:moveTo>
                  <a:cubicBezTo>
                    <a:pt x="159544" y="305276"/>
                    <a:pt x="157639" y="303371"/>
                    <a:pt x="156686" y="301466"/>
                  </a:cubicBezTo>
                  <a:cubicBezTo>
                    <a:pt x="156686" y="300514"/>
                    <a:pt x="156686" y="298609"/>
                    <a:pt x="155734" y="297656"/>
                  </a:cubicBezTo>
                  <a:cubicBezTo>
                    <a:pt x="156686" y="300514"/>
                    <a:pt x="158591" y="304324"/>
                    <a:pt x="161449" y="307181"/>
                  </a:cubicBezTo>
                  <a:close/>
                  <a:moveTo>
                    <a:pt x="130969" y="280511"/>
                  </a:moveTo>
                  <a:cubicBezTo>
                    <a:pt x="131921" y="281464"/>
                    <a:pt x="132874" y="282416"/>
                    <a:pt x="133826" y="284321"/>
                  </a:cubicBezTo>
                  <a:cubicBezTo>
                    <a:pt x="137636" y="289084"/>
                    <a:pt x="141446" y="294799"/>
                    <a:pt x="145256" y="301466"/>
                  </a:cubicBezTo>
                  <a:cubicBezTo>
                    <a:pt x="147161" y="304324"/>
                    <a:pt x="149066" y="307181"/>
                    <a:pt x="150971" y="310039"/>
                  </a:cubicBezTo>
                  <a:cubicBezTo>
                    <a:pt x="150971" y="318611"/>
                    <a:pt x="150019" y="329089"/>
                    <a:pt x="150019" y="341471"/>
                  </a:cubicBezTo>
                  <a:cubicBezTo>
                    <a:pt x="150019" y="341471"/>
                    <a:pt x="150019" y="340519"/>
                    <a:pt x="149066" y="339566"/>
                  </a:cubicBezTo>
                  <a:cubicBezTo>
                    <a:pt x="148114" y="335756"/>
                    <a:pt x="146209" y="331946"/>
                    <a:pt x="145256" y="328136"/>
                  </a:cubicBezTo>
                  <a:cubicBezTo>
                    <a:pt x="144304" y="324326"/>
                    <a:pt x="142399" y="321469"/>
                    <a:pt x="140494" y="317659"/>
                  </a:cubicBezTo>
                  <a:cubicBezTo>
                    <a:pt x="137636" y="310991"/>
                    <a:pt x="134779" y="306229"/>
                    <a:pt x="132874" y="301466"/>
                  </a:cubicBezTo>
                  <a:cubicBezTo>
                    <a:pt x="130969" y="296704"/>
                    <a:pt x="129064" y="292894"/>
                    <a:pt x="127159" y="290989"/>
                  </a:cubicBezTo>
                  <a:cubicBezTo>
                    <a:pt x="129064" y="287179"/>
                    <a:pt x="130016" y="283369"/>
                    <a:pt x="130969" y="280511"/>
                  </a:cubicBezTo>
                  <a:close/>
                  <a:moveTo>
                    <a:pt x="121444" y="318611"/>
                  </a:moveTo>
                  <a:cubicBezTo>
                    <a:pt x="123349" y="309086"/>
                    <a:pt x="124301" y="301466"/>
                    <a:pt x="127159" y="294799"/>
                  </a:cubicBezTo>
                  <a:cubicBezTo>
                    <a:pt x="127159" y="294799"/>
                    <a:pt x="127159" y="294799"/>
                    <a:pt x="127159" y="293846"/>
                  </a:cubicBezTo>
                  <a:cubicBezTo>
                    <a:pt x="128111" y="296704"/>
                    <a:pt x="128111" y="299561"/>
                    <a:pt x="129064" y="303371"/>
                  </a:cubicBezTo>
                  <a:cubicBezTo>
                    <a:pt x="130016" y="308134"/>
                    <a:pt x="131921" y="313849"/>
                    <a:pt x="133826" y="320516"/>
                  </a:cubicBezTo>
                  <a:cubicBezTo>
                    <a:pt x="135731" y="327184"/>
                    <a:pt x="137636" y="334804"/>
                    <a:pt x="138589" y="342424"/>
                  </a:cubicBezTo>
                  <a:cubicBezTo>
                    <a:pt x="140494" y="350996"/>
                    <a:pt x="141446" y="359569"/>
                    <a:pt x="143351" y="369094"/>
                  </a:cubicBezTo>
                  <a:cubicBezTo>
                    <a:pt x="145256" y="378619"/>
                    <a:pt x="146209" y="388144"/>
                    <a:pt x="148114" y="398621"/>
                  </a:cubicBezTo>
                  <a:cubicBezTo>
                    <a:pt x="148114" y="399574"/>
                    <a:pt x="148114" y="401479"/>
                    <a:pt x="149066" y="403384"/>
                  </a:cubicBezTo>
                  <a:cubicBezTo>
                    <a:pt x="149066" y="406241"/>
                    <a:pt x="149066" y="408146"/>
                    <a:pt x="149066" y="411004"/>
                  </a:cubicBezTo>
                  <a:cubicBezTo>
                    <a:pt x="149066" y="412909"/>
                    <a:pt x="149066" y="414814"/>
                    <a:pt x="149066" y="416719"/>
                  </a:cubicBezTo>
                  <a:cubicBezTo>
                    <a:pt x="145256" y="407194"/>
                    <a:pt x="142399" y="397669"/>
                    <a:pt x="138589" y="388144"/>
                  </a:cubicBezTo>
                  <a:cubicBezTo>
                    <a:pt x="135731" y="379571"/>
                    <a:pt x="132874" y="371951"/>
                    <a:pt x="129064" y="363379"/>
                  </a:cubicBezTo>
                  <a:cubicBezTo>
                    <a:pt x="130969" y="360521"/>
                    <a:pt x="131921" y="358616"/>
                    <a:pt x="131921" y="358616"/>
                  </a:cubicBezTo>
                  <a:cubicBezTo>
                    <a:pt x="131921" y="358616"/>
                    <a:pt x="130969" y="359569"/>
                    <a:pt x="129064" y="361474"/>
                  </a:cubicBezTo>
                  <a:cubicBezTo>
                    <a:pt x="127159" y="357664"/>
                    <a:pt x="126206" y="353854"/>
                    <a:pt x="124301" y="350044"/>
                  </a:cubicBezTo>
                  <a:cubicBezTo>
                    <a:pt x="124301" y="348139"/>
                    <a:pt x="125254" y="346234"/>
                    <a:pt x="125254" y="344329"/>
                  </a:cubicBezTo>
                  <a:cubicBezTo>
                    <a:pt x="128111" y="333851"/>
                    <a:pt x="129064" y="328136"/>
                    <a:pt x="129064" y="328136"/>
                  </a:cubicBezTo>
                  <a:cubicBezTo>
                    <a:pt x="129064" y="328136"/>
                    <a:pt x="126206" y="333851"/>
                    <a:pt x="121444" y="343376"/>
                  </a:cubicBezTo>
                  <a:cubicBezTo>
                    <a:pt x="121444" y="343376"/>
                    <a:pt x="121444" y="343376"/>
                    <a:pt x="121444" y="343376"/>
                  </a:cubicBezTo>
                  <a:cubicBezTo>
                    <a:pt x="121444" y="342424"/>
                    <a:pt x="121444" y="342424"/>
                    <a:pt x="120491" y="341471"/>
                  </a:cubicBezTo>
                  <a:cubicBezTo>
                    <a:pt x="119539" y="339566"/>
                    <a:pt x="118586" y="337661"/>
                    <a:pt x="117634" y="334804"/>
                  </a:cubicBezTo>
                  <a:cubicBezTo>
                    <a:pt x="119539" y="329089"/>
                    <a:pt x="120491" y="323374"/>
                    <a:pt x="121444" y="318611"/>
                  </a:cubicBezTo>
                  <a:close/>
                  <a:moveTo>
                    <a:pt x="116681" y="393859"/>
                  </a:moveTo>
                  <a:cubicBezTo>
                    <a:pt x="120491" y="402431"/>
                    <a:pt x="123349" y="411004"/>
                    <a:pt x="127159" y="419576"/>
                  </a:cubicBezTo>
                  <a:lnTo>
                    <a:pt x="113824" y="414814"/>
                  </a:lnTo>
                  <a:cubicBezTo>
                    <a:pt x="115729" y="408146"/>
                    <a:pt x="115729" y="400526"/>
                    <a:pt x="116681" y="393859"/>
                  </a:cubicBezTo>
                  <a:close/>
                  <a:moveTo>
                    <a:pt x="91916" y="341471"/>
                  </a:moveTo>
                  <a:cubicBezTo>
                    <a:pt x="91916" y="339566"/>
                    <a:pt x="92869" y="337661"/>
                    <a:pt x="92869" y="335756"/>
                  </a:cubicBezTo>
                  <a:cubicBezTo>
                    <a:pt x="93821" y="337661"/>
                    <a:pt x="93821" y="338614"/>
                    <a:pt x="94774" y="340519"/>
                  </a:cubicBezTo>
                  <a:cubicBezTo>
                    <a:pt x="97631" y="346234"/>
                    <a:pt x="99536" y="351949"/>
                    <a:pt x="102394" y="358616"/>
                  </a:cubicBezTo>
                  <a:cubicBezTo>
                    <a:pt x="100489" y="367189"/>
                    <a:pt x="98584" y="374809"/>
                    <a:pt x="96679" y="384334"/>
                  </a:cubicBezTo>
                  <a:cubicBezTo>
                    <a:pt x="95726" y="389096"/>
                    <a:pt x="94774" y="393859"/>
                    <a:pt x="94774" y="399574"/>
                  </a:cubicBezTo>
                  <a:cubicBezTo>
                    <a:pt x="94774" y="399574"/>
                    <a:pt x="93821" y="400526"/>
                    <a:pt x="93821" y="400526"/>
                  </a:cubicBezTo>
                  <a:cubicBezTo>
                    <a:pt x="92869" y="401479"/>
                    <a:pt x="91916" y="403384"/>
                    <a:pt x="90964" y="404336"/>
                  </a:cubicBezTo>
                  <a:cubicBezTo>
                    <a:pt x="90011" y="396716"/>
                    <a:pt x="89059" y="390049"/>
                    <a:pt x="88106" y="382429"/>
                  </a:cubicBezTo>
                  <a:cubicBezTo>
                    <a:pt x="87154" y="376714"/>
                    <a:pt x="86201" y="370999"/>
                    <a:pt x="85249" y="365284"/>
                  </a:cubicBezTo>
                  <a:cubicBezTo>
                    <a:pt x="87154" y="356711"/>
                    <a:pt x="89059" y="348139"/>
                    <a:pt x="91916" y="341471"/>
                  </a:cubicBezTo>
                  <a:close/>
                  <a:moveTo>
                    <a:pt x="72866" y="407194"/>
                  </a:moveTo>
                  <a:cubicBezTo>
                    <a:pt x="72866" y="408146"/>
                    <a:pt x="72866" y="408146"/>
                    <a:pt x="72866" y="409099"/>
                  </a:cubicBezTo>
                  <a:cubicBezTo>
                    <a:pt x="72866" y="409099"/>
                    <a:pt x="72866" y="409099"/>
                    <a:pt x="71914" y="409099"/>
                  </a:cubicBezTo>
                  <a:cubicBezTo>
                    <a:pt x="71914" y="408146"/>
                    <a:pt x="72866" y="408146"/>
                    <a:pt x="72866" y="407194"/>
                  </a:cubicBezTo>
                  <a:close/>
                </a:path>
              </a:pathLst>
            </a:custGeom>
            <a:solidFill>
              <a:schemeClr val="accent1"/>
            </a:solidFill>
            <a:ln w="9525" cap="flat">
              <a:noFill/>
              <a:prstDash val="solid"/>
              <a:miter/>
            </a:ln>
          </p:spPr>
          <p:txBody>
            <a:bodyPr rtlCol="0" anchor="ctr"/>
            <a:lstStyle/>
            <a:p>
              <a:pPr marL="0" marR="0" lvl="0" indent="0" algn="l" defTabSz="91378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Arial Unicode MS"/>
                <a:cs typeface="+mn-cs"/>
              </a:endParaRPr>
            </a:p>
          </p:txBody>
        </p:sp>
        <p:sp>
          <p:nvSpPr>
            <p:cNvPr id="8" name="Graphic 41">
              <a:extLst>
                <a:ext uri="{FF2B5EF4-FFF2-40B4-BE49-F238E27FC236}">
                  <a16:creationId xmlns:a16="http://schemas.microsoft.com/office/drawing/2014/main" id="{D99DEF50-1B12-45D7-8822-C1AF050634CB}"/>
                </a:ext>
              </a:extLst>
            </p:cNvPr>
            <p:cNvSpPr/>
            <p:nvPr userDrawn="1"/>
          </p:nvSpPr>
          <p:spPr>
            <a:xfrm>
              <a:off x="5489944" y="6411432"/>
              <a:ext cx="5608465" cy="446567"/>
            </a:xfrm>
            <a:custGeom>
              <a:avLst/>
              <a:gdLst>
                <a:gd name="connsiteX0" fmla="*/ 7144 w 6400800"/>
                <a:gd name="connsiteY0" fmla="*/ 511016 h 514350"/>
                <a:gd name="connsiteX1" fmla="*/ 6354604 w 6400800"/>
                <a:gd name="connsiteY1" fmla="*/ 511016 h 514350"/>
                <a:gd name="connsiteX2" fmla="*/ 6354604 w 6400800"/>
                <a:gd name="connsiteY2" fmla="*/ 409099 h 514350"/>
                <a:gd name="connsiteX3" fmla="*/ 6327934 w 6400800"/>
                <a:gd name="connsiteY3" fmla="*/ 415766 h 514350"/>
                <a:gd name="connsiteX4" fmla="*/ 6327934 w 6400800"/>
                <a:gd name="connsiteY4" fmla="*/ 404336 h 514350"/>
                <a:gd name="connsiteX5" fmla="*/ 6328887 w 6400800"/>
                <a:gd name="connsiteY5" fmla="*/ 383381 h 514350"/>
                <a:gd name="connsiteX6" fmla="*/ 6329839 w 6400800"/>
                <a:gd name="connsiteY6" fmla="*/ 365284 h 514350"/>
                <a:gd name="connsiteX7" fmla="*/ 6324124 w 6400800"/>
                <a:gd name="connsiteY7" fmla="*/ 383381 h 514350"/>
                <a:gd name="connsiteX8" fmla="*/ 6319362 w 6400800"/>
                <a:gd name="connsiteY8" fmla="*/ 404336 h 514350"/>
                <a:gd name="connsiteX9" fmla="*/ 6316504 w 6400800"/>
                <a:gd name="connsiteY9" fmla="*/ 419576 h 514350"/>
                <a:gd name="connsiteX10" fmla="*/ 6303169 w 6400800"/>
                <a:gd name="connsiteY10" fmla="*/ 423386 h 514350"/>
                <a:gd name="connsiteX11" fmla="*/ 6304121 w 6400800"/>
                <a:gd name="connsiteY11" fmla="*/ 405289 h 514350"/>
                <a:gd name="connsiteX12" fmla="*/ 6319362 w 6400800"/>
                <a:gd name="connsiteY12" fmla="*/ 358616 h 514350"/>
                <a:gd name="connsiteX13" fmla="*/ 6322219 w 6400800"/>
                <a:gd name="connsiteY13" fmla="*/ 349091 h 514350"/>
                <a:gd name="connsiteX14" fmla="*/ 6334601 w 6400800"/>
                <a:gd name="connsiteY14" fmla="*/ 312896 h 514350"/>
                <a:gd name="connsiteX15" fmla="*/ 6349842 w 6400800"/>
                <a:gd name="connsiteY15" fmla="*/ 269081 h 514350"/>
                <a:gd name="connsiteX16" fmla="*/ 6363176 w 6400800"/>
                <a:gd name="connsiteY16" fmla="*/ 228124 h 514350"/>
                <a:gd name="connsiteX17" fmla="*/ 6375559 w 6400800"/>
                <a:gd name="connsiteY17" fmla="*/ 190976 h 514350"/>
                <a:gd name="connsiteX18" fmla="*/ 6393656 w 6400800"/>
                <a:gd name="connsiteY18" fmla="*/ 134779 h 514350"/>
                <a:gd name="connsiteX19" fmla="*/ 6400324 w 6400800"/>
                <a:gd name="connsiteY19" fmla="*/ 113824 h 514350"/>
                <a:gd name="connsiteX20" fmla="*/ 6389846 w 6400800"/>
                <a:gd name="connsiteY20" fmla="*/ 133826 h 514350"/>
                <a:gd name="connsiteX21" fmla="*/ 6380321 w 6400800"/>
                <a:gd name="connsiteY21" fmla="*/ 153829 h 514350"/>
                <a:gd name="connsiteX22" fmla="*/ 6392704 w 6400800"/>
                <a:gd name="connsiteY22" fmla="*/ 110966 h 514350"/>
                <a:gd name="connsiteX23" fmla="*/ 6399371 w 6400800"/>
                <a:gd name="connsiteY23" fmla="*/ 87154 h 514350"/>
                <a:gd name="connsiteX24" fmla="*/ 6388894 w 6400800"/>
                <a:gd name="connsiteY24" fmla="*/ 109061 h 514350"/>
                <a:gd name="connsiteX25" fmla="*/ 6377464 w 6400800"/>
                <a:gd name="connsiteY25" fmla="*/ 134779 h 514350"/>
                <a:gd name="connsiteX26" fmla="*/ 6364129 w 6400800"/>
                <a:gd name="connsiteY26" fmla="*/ 168116 h 514350"/>
                <a:gd name="connsiteX27" fmla="*/ 6332696 w 6400800"/>
                <a:gd name="connsiteY27" fmla="*/ 253841 h 514350"/>
                <a:gd name="connsiteX28" fmla="*/ 6316504 w 6400800"/>
                <a:gd name="connsiteY28" fmla="*/ 302419 h 514350"/>
                <a:gd name="connsiteX29" fmla="*/ 6314599 w 6400800"/>
                <a:gd name="connsiteY29" fmla="*/ 308134 h 514350"/>
                <a:gd name="connsiteX30" fmla="*/ 6317456 w 6400800"/>
                <a:gd name="connsiteY30" fmla="*/ 287179 h 514350"/>
                <a:gd name="connsiteX31" fmla="*/ 6319362 w 6400800"/>
                <a:gd name="connsiteY31" fmla="*/ 267176 h 514350"/>
                <a:gd name="connsiteX32" fmla="*/ 6320314 w 6400800"/>
                <a:gd name="connsiteY32" fmla="*/ 250031 h 514350"/>
                <a:gd name="connsiteX33" fmla="*/ 6314599 w 6400800"/>
                <a:gd name="connsiteY33" fmla="*/ 266224 h 514350"/>
                <a:gd name="connsiteX34" fmla="*/ 6302217 w 6400800"/>
                <a:gd name="connsiteY34" fmla="*/ 310039 h 514350"/>
                <a:gd name="connsiteX35" fmla="*/ 6293644 w 6400800"/>
                <a:gd name="connsiteY35" fmla="*/ 339566 h 514350"/>
                <a:gd name="connsiteX36" fmla="*/ 6286976 w 6400800"/>
                <a:gd name="connsiteY36" fmla="*/ 362426 h 514350"/>
                <a:gd name="connsiteX37" fmla="*/ 6284119 w 6400800"/>
                <a:gd name="connsiteY37" fmla="*/ 335756 h 514350"/>
                <a:gd name="connsiteX38" fmla="*/ 6288881 w 6400800"/>
                <a:gd name="connsiteY38" fmla="*/ 318611 h 514350"/>
                <a:gd name="connsiteX39" fmla="*/ 6302217 w 6400800"/>
                <a:gd name="connsiteY39" fmla="*/ 274796 h 514350"/>
                <a:gd name="connsiteX40" fmla="*/ 6307931 w 6400800"/>
                <a:gd name="connsiteY40" fmla="*/ 255746 h 514350"/>
                <a:gd name="connsiteX41" fmla="*/ 6313646 w 6400800"/>
                <a:gd name="connsiteY41" fmla="*/ 238601 h 514350"/>
                <a:gd name="connsiteX42" fmla="*/ 6323171 w 6400800"/>
                <a:gd name="connsiteY42" fmla="*/ 210026 h 514350"/>
                <a:gd name="connsiteX43" fmla="*/ 6330792 w 6400800"/>
                <a:gd name="connsiteY43" fmla="*/ 185261 h 514350"/>
                <a:gd name="connsiteX44" fmla="*/ 6319362 w 6400800"/>
                <a:gd name="connsiteY44" fmla="*/ 208121 h 514350"/>
                <a:gd name="connsiteX45" fmla="*/ 6306026 w 6400800"/>
                <a:gd name="connsiteY45" fmla="*/ 234791 h 514350"/>
                <a:gd name="connsiteX46" fmla="*/ 6298406 w 6400800"/>
                <a:gd name="connsiteY46" fmla="*/ 250984 h 514350"/>
                <a:gd name="connsiteX47" fmla="*/ 6290787 w 6400800"/>
                <a:gd name="connsiteY47" fmla="*/ 270034 h 514350"/>
                <a:gd name="connsiteX48" fmla="*/ 6278404 w 6400800"/>
                <a:gd name="connsiteY48" fmla="*/ 301466 h 514350"/>
                <a:gd name="connsiteX49" fmla="*/ 6277451 w 6400800"/>
                <a:gd name="connsiteY49" fmla="*/ 292894 h 514350"/>
                <a:gd name="connsiteX50" fmla="*/ 6276499 w 6400800"/>
                <a:gd name="connsiteY50" fmla="*/ 306229 h 514350"/>
                <a:gd name="connsiteX51" fmla="*/ 6273642 w 6400800"/>
                <a:gd name="connsiteY51" fmla="*/ 312896 h 514350"/>
                <a:gd name="connsiteX52" fmla="*/ 6269831 w 6400800"/>
                <a:gd name="connsiteY52" fmla="*/ 322421 h 514350"/>
                <a:gd name="connsiteX53" fmla="*/ 6273642 w 6400800"/>
                <a:gd name="connsiteY53" fmla="*/ 300514 h 514350"/>
                <a:gd name="connsiteX54" fmla="*/ 6283167 w 6400800"/>
                <a:gd name="connsiteY54" fmla="*/ 252889 h 514350"/>
                <a:gd name="connsiteX55" fmla="*/ 6287929 w 6400800"/>
                <a:gd name="connsiteY55" fmla="*/ 231934 h 514350"/>
                <a:gd name="connsiteX56" fmla="*/ 6292692 w 6400800"/>
                <a:gd name="connsiteY56" fmla="*/ 212884 h 514350"/>
                <a:gd name="connsiteX57" fmla="*/ 6300312 w 6400800"/>
                <a:gd name="connsiteY57" fmla="*/ 181451 h 514350"/>
                <a:gd name="connsiteX58" fmla="*/ 6306026 w 6400800"/>
                <a:gd name="connsiteY58" fmla="*/ 153829 h 514350"/>
                <a:gd name="connsiteX59" fmla="*/ 6296501 w 6400800"/>
                <a:gd name="connsiteY59" fmla="*/ 180499 h 514350"/>
                <a:gd name="connsiteX60" fmla="*/ 6286024 w 6400800"/>
                <a:gd name="connsiteY60" fmla="*/ 210979 h 514350"/>
                <a:gd name="connsiteX61" fmla="*/ 6279356 w 6400800"/>
                <a:gd name="connsiteY61" fmla="*/ 230029 h 514350"/>
                <a:gd name="connsiteX62" fmla="*/ 6273642 w 6400800"/>
                <a:gd name="connsiteY62" fmla="*/ 250984 h 514350"/>
                <a:gd name="connsiteX63" fmla="*/ 6260306 w 6400800"/>
                <a:gd name="connsiteY63" fmla="*/ 298609 h 514350"/>
                <a:gd name="connsiteX64" fmla="*/ 6246971 w 6400800"/>
                <a:gd name="connsiteY64" fmla="*/ 351949 h 514350"/>
                <a:gd name="connsiteX65" fmla="*/ 6236494 w 6400800"/>
                <a:gd name="connsiteY65" fmla="*/ 396716 h 514350"/>
                <a:gd name="connsiteX66" fmla="*/ 6235542 w 6400800"/>
                <a:gd name="connsiteY66" fmla="*/ 394811 h 514350"/>
                <a:gd name="connsiteX67" fmla="*/ 6234589 w 6400800"/>
                <a:gd name="connsiteY67" fmla="*/ 370046 h 514350"/>
                <a:gd name="connsiteX68" fmla="*/ 6230779 w 6400800"/>
                <a:gd name="connsiteY68" fmla="*/ 389096 h 514350"/>
                <a:gd name="connsiteX69" fmla="*/ 6227921 w 6400800"/>
                <a:gd name="connsiteY69" fmla="*/ 384334 h 514350"/>
                <a:gd name="connsiteX70" fmla="*/ 6216492 w 6400800"/>
                <a:gd name="connsiteY70" fmla="*/ 367189 h 514350"/>
                <a:gd name="connsiteX71" fmla="*/ 6223159 w 6400800"/>
                <a:gd name="connsiteY71" fmla="*/ 348139 h 514350"/>
                <a:gd name="connsiteX72" fmla="*/ 6236494 w 6400800"/>
                <a:gd name="connsiteY72" fmla="*/ 310991 h 514350"/>
                <a:gd name="connsiteX73" fmla="*/ 6247924 w 6400800"/>
                <a:gd name="connsiteY73" fmla="*/ 279559 h 514350"/>
                <a:gd name="connsiteX74" fmla="*/ 6256496 w 6400800"/>
                <a:gd name="connsiteY74" fmla="*/ 254794 h 514350"/>
                <a:gd name="connsiteX75" fmla="*/ 6264117 w 6400800"/>
                <a:gd name="connsiteY75" fmla="*/ 233839 h 514350"/>
                <a:gd name="connsiteX76" fmla="*/ 6252687 w 6400800"/>
                <a:gd name="connsiteY76" fmla="*/ 253841 h 514350"/>
                <a:gd name="connsiteX77" fmla="*/ 6240304 w 6400800"/>
                <a:gd name="connsiteY77" fmla="*/ 276701 h 514350"/>
                <a:gd name="connsiteX78" fmla="*/ 6225064 w 6400800"/>
                <a:gd name="connsiteY78" fmla="*/ 307181 h 514350"/>
                <a:gd name="connsiteX79" fmla="*/ 6208871 w 6400800"/>
                <a:gd name="connsiteY79" fmla="*/ 343376 h 514350"/>
                <a:gd name="connsiteX80" fmla="*/ 6205062 w 6400800"/>
                <a:gd name="connsiteY80" fmla="*/ 351949 h 514350"/>
                <a:gd name="connsiteX81" fmla="*/ 6204109 w 6400800"/>
                <a:gd name="connsiteY81" fmla="*/ 350996 h 514350"/>
                <a:gd name="connsiteX82" fmla="*/ 6210776 w 6400800"/>
                <a:gd name="connsiteY82" fmla="*/ 320516 h 514350"/>
                <a:gd name="connsiteX83" fmla="*/ 6222206 w 6400800"/>
                <a:gd name="connsiteY83" fmla="*/ 268129 h 514350"/>
                <a:gd name="connsiteX84" fmla="*/ 6226017 w 6400800"/>
                <a:gd name="connsiteY84" fmla="*/ 248126 h 514350"/>
                <a:gd name="connsiteX85" fmla="*/ 6218396 w 6400800"/>
                <a:gd name="connsiteY85" fmla="*/ 267176 h 514350"/>
                <a:gd name="connsiteX86" fmla="*/ 6209824 w 6400800"/>
                <a:gd name="connsiteY86" fmla="*/ 289084 h 514350"/>
                <a:gd name="connsiteX87" fmla="*/ 6199346 w 6400800"/>
                <a:gd name="connsiteY87" fmla="*/ 317659 h 514350"/>
                <a:gd name="connsiteX88" fmla="*/ 6193631 w 6400800"/>
                <a:gd name="connsiteY88" fmla="*/ 335756 h 514350"/>
                <a:gd name="connsiteX89" fmla="*/ 6184106 w 6400800"/>
                <a:gd name="connsiteY89" fmla="*/ 322421 h 514350"/>
                <a:gd name="connsiteX90" fmla="*/ 6181249 w 6400800"/>
                <a:gd name="connsiteY90" fmla="*/ 318611 h 514350"/>
                <a:gd name="connsiteX91" fmla="*/ 6184106 w 6400800"/>
                <a:gd name="connsiteY91" fmla="*/ 302419 h 514350"/>
                <a:gd name="connsiteX92" fmla="*/ 6189821 w 6400800"/>
                <a:gd name="connsiteY92" fmla="*/ 274796 h 514350"/>
                <a:gd name="connsiteX93" fmla="*/ 6195537 w 6400800"/>
                <a:gd name="connsiteY93" fmla="*/ 250984 h 514350"/>
                <a:gd name="connsiteX94" fmla="*/ 6186012 w 6400800"/>
                <a:gd name="connsiteY94" fmla="*/ 273844 h 514350"/>
                <a:gd name="connsiteX95" fmla="*/ 6176487 w 6400800"/>
                <a:gd name="connsiteY95" fmla="*/ 300514 h 514350"/>
                <a:gd name="connsiteX96" fmla="*/ 6173629 w 6400800"/>
                <a:gd name="connsiteY96" fmla="*/ 309086 h 514350"/>
                <a:gd name="connsiteX97" fmla="*/ 6172676 w 6400800"/>
                <a:gd name="connsiteY97" fmla="*/ 308134 h 514350"/>
                <a:gd name="connsiteX98" fmla="*/ 6174581 w 6400800"/>
                <a:gd name="connsiteY98" fmla="*/ 294799 h 514350"/>
                <a:gd name="connsiteX99" fmla="*/ 6180296 w 6400800"/>
                <a:gd name="connsiteY99" fmla="*/ 263366 h 514350"/>
                <a:gd name="connsiteX100" fmla="*/ 6185059 w 6400800"/>
                <a:gd name="connsiteY100" fmla="*/ 236696 h 514350"/>
                <a:gd name="connsiteX101" fmla="*/ 6188869 w 6400800"/>
                <a:gd name="connsiteY101" fmla="*/ 215741 h 514350"/>
                <a:gd name="connsiteX102" fmla="*/ 6192679 w 6400800"/>
                <a:gd name="connsiteY102" fmla="*/ 197644 h 514350"/>
                <a:gd name="connsiteX103" fmla="*/ 6185059 w 6400800"/>
                <a:gd name="connsiteY103" fmla="*/ 214789 h 514350"/>
                <a:gd name="connsiteX104" fmla="*/ 6168867 w 6400800"/>
                <a:gd name="connsiteY104" fmla="*/ 260509 h 514350"/>
                <a:gd name="connsiteX105" fmla="*/ 6163151 w 6400800"/>
                <a:gd name="connsiteY105" fmla="*/ 280511 h 514350"/>
                <a:gd name="connsiteX106" fmla="*/ 6159342 w 6400800"/>
                <a:gd name="connsiteY106" fmla="*/ 253841 h 514350"/>
                <a:gd name="connsiteX107" fmla="*/ 6154579 w 6400800"/>
                <a:gd name="connsiteY107" fmla="*/ 225266 h 514350"/>
                <a:gd name="connsiteX108" fmla="*/ 6156484 w 6400800"/>
                <a:gd name="connsiteY108" fmla="*/ 285274 h 514350"/>
                <a:gd name="connsiteX109" fmla="*/ 6143149 w 6400800"/>
                <a:gd name="connsiteY109" fmla="*/ 268129 h 514350"/>
                <a:gd name="connsiteX110" fmla="*/ 6143149 w 6400800"/>
                <a:gd name="connsiteY110" fmla="*/ 267176 h 514350"/>
                <a:gd name="connsiteX111" fmla="*/ 6146006 w 6400800"/>
                <a:gd name="connsiteY111" fmla="*/ 256699 h 514350"/>
                <a:gd name="connsiteX112" fmla="*/ 6161246 w 6400800"/>
                <a:gd name="connsiteY112" fmla="*/ 178594 h 514350"/>
                <a:gd name="connsiteX113" fmla="*/ 6152674 w 6400800"/>
                <a:gd name="connsiteY113" fmla="*/ 200501 h 514350"/>
                <a:gd name="connsiteX114" fmla="*/ 6152674 w 6400800"/>
                <a:gd name="connsiteY114" fmla="*/ 197644 h 514350"/>
                <a:gd name="connsiteX115" fmla="*/ 6156484 w 6400800"/>
                <a:gd name="connsiteY115" fmla="*/ 172879 h 514350"/>
                <a:gd name="connsiteX116" fmla="*/ 6160294 w 6400800"/>
                <a:gd name="connsiteY116" fmla="*/ 150971 h 514350"/>
                <a:gd name="connsiteX117" fmla="*/ 6152674 w 6400800"/>
                <a:gd name="connsiteY117" fmla="*/ 171926 h 514350"/>
                <a:gd name="connsiteX118" fmla="*/ 6145054 w 6400800"/>
                <a:gd name="connsiteY118" fmla="*/ 196691 h 514350"/>
                <a:gd name="connsiteX119" fmla="*/ 6138387 w 6400800"/>
                <a:gd name="connsiteY119" fmla="*/ 220504 h 514350"/>
                <a:gd name="connsiteX120" fmla="*/ 6135529 w 6400800"/>
                <a:gd name="connsiteY120" fmla="*/ 202406 h 514350"/>
                <a:gd name="connsiteX121" fmla="*/ 6134576 w 6400800"/>
                <a:gd name="connsiteY121" fmla="*/ 221456 h 514350"/>
                <a:gd name="connsiteX122" fmla="*/ 6132671 w 6400800"/>
                <a:gd name="connsiteY122" fmla="*/ 242411 h 514350"/>
                <a:gd name="connsiteX123" fmla="*/ 6131719 w 6400800"/>
                <a:gd name="connsiteY123" fmla="*/ 249079 h 514350"/>
                <a:gd name="connsiteX124" fmla="*/ 6130767 w 6400800"/>
                <a:gd name="connsiteY124" fmla="*/ 253841 h 514350"/>
                <a:gd name="connsiteX125" fmla="*/ 6129814 w 6400800"/>
                <a:gd name="connsiteY125" fmla="*/ 251936 h 514350"/>
                <a:gd name="connsiteX126" fmla="*/ 6130767 w 6400800"/>
                <a:gd name="connsiteY126" fmla="*/ 254794 h 514350"/>
                <a:gd name="connsiteX127" fmla="*/ 6129814 w 6400800"/>
                <a:gd name="connsiteY127" fmla="*/ 261461 h 514350"/>
                <a:gd name="connsiteX128" fmla="*/ 6129814 w 6400800"/>
                <a:gd name="connsiteY128" fmla="*/ 243364 h 514350"/>
                <a:gd name="connsiteX129" fmla="*/ 6126004 w 6400800"/>
                <a:gd name="connsiteY129" fmla="*/ 274796 h 514350"/>
                <a:gd name="connsiteX130" fmla="*/ 6125051 w 6400800"/>
                <a:gd name="connsiteY130" fmla="*/ 281464 h 514350"/>
                <a:gd name="connsiteX131" fmla="*/ 6122194 w 6400800"/>
                <a:gd name="connsiteY131" fmla="*/ 267176 h 514350"/>
                <a:gd name="connsiteX132" fmla="*/ 6117431 w 6400800"/>
                <a:gd name="connsiteY132" fmla="*/ 243364 h 514350"/>
                <a:gd name="connsiteX133" fmla="*/ 6118384 w 6400800"/>
                <a:gd name="connsiteY133" fmla="*/ 267176 h 514350"/>
                <a:gd name="connsiteX134" fmla="*/ 6119337 w 6400800"/>
                <a:gd name="connsiteY134" fmla="*/ 300514 h 514350"/>
                <a:gd name="connsiteX135" fmla="*/ 6114574 w 6400800"/>
                <a:gd name="connsiteY135" fmla="*/ 317659 h 514350"/>
                <a:gd name="connsiteX136" fmla="*/ 6114574 w 6400800"/>
                <a:gd name="connsiteY136" fmla="*/ 307181 h 514350"/>
                <a:gd name="connsiteX137" fmla="*/ 6112669 w 6400800"/>
                <a:gd name="connsiteY137" fmla="*/ 286226 h 514350"/>
                <a:gd name="connsiteX138" fmla="*/ 6109812 w 6400800"/>
                <a:gd name="connsiteY138" fmla="*/ 270986 h 514350"/>
                <a:gd name="connsiteX139" fmla="*/ 6105049 w 6400800"/>
                <a:gd name="connsiteY139" fmla="*/ 258604 h 514350"/>
                <a:gd name="connsiteX140" fmla="*/ 6106001 w 6400800"/>
                <a:gd name="connsiteY140" fmla="*/ 272891 h 514350"/>
                <a:gd name="connsiteX141" fmla="*/ 6106001 w 6400800"/>
                <a:gd name="connsiteY141" fmla="*/ 282416 h 514350"/>
                <a:gd name="connsiteX142" fmla="*/ 6104096 w 6400800"/>
                <a:gd name="connsiteY142" fmla="*/ 273844 h 514350"/>
                <a:gd name="connsiteX143" fmla="*/ 6102192 w 6400800"/>
                <a:gd name="connsiteY143" fmla="*/ 268129 h 514350"/>
                <a:gd name="connsiteX144" fmla="*/ 6101239 w 6400800"/>
                <a:gd name="connsiteY144" fmla="*/ 253841 h 514350"/>
                <a:gd name="connsiteX145" fmla="*/ 6103144 w 6400800"/>
                <a:gd name="connsiteY145" fmla="*/ 247174 h 514350"/>
                <a:gd name="connsiteX146" fmla="*/ 6107906 w 6400800"/>
                <a:gd name="connsiteY146" fmla="*/ 225266 h 514350"/>
                <a:gd name="connsiteX147" fmla="*/ 6111717 w 6400800"/>
                <a:gd name="connsiteY147" fmla="*/ 205264 h 514350"/>
                <a:gd name="connsiteX148" fmla="*/ 6104096 w 6400800"/>
                <a:gd name="connsiteY148" fmla="*/ 223361 h 514350"/>
                <a:gd name="connsiteX149" fmla="*/ 6099334 w 6400800"/>
                <a:gd name="connsiteY149" fmla="*/ 234791 h 514350"/>
                <a:gd name="connsiteX150" fmla="*/ 6096476 w 6400800"/>
                <a:gd name="connsiteY150" fmla="*/ 206216 h 514350"/>
                <a:gd name="connsiteX151" fmla="*/ 6097429 w 6400800"/>
                <a:gd name="connsiteY151" fmla="*/ 199549 h 514350"/>
                <a:gd name="connsiteX152" fmla="*/ 6101239 w 6400800"/>
                <a:gd name="connsiteY152" fmla="*/ 177641 h 514350"/>
                <a:gd name="connsiteX153" fmla="*/ 6104096 w 6400800"/>
                <a:gd name="connsiteY153" fmla="*/ 157639 h 514350"/>
                <a:gd name="connsiteX154" fmla="*/ 6107906 w 6400800"/>
                <a:gd name="connsiteY154" fmla="*/ 124301 h 514350"/>
                <a:gd name="connsiteX155" fmla="*/ 6110764 w 6400800"/>
                <a:gd name="connsiteY155" fmla="*/ 95726 h 514350"/>
                <a:gd name="connsiteX156" fmla="*/ 6104096 w 6400800"/>
                <a:gd name="connsiteY156" fmla="*/ 124301 h 514350"/>
                <a:gd name="connsiteX157" fmla="*/ 6096476 w 6400800"/>
                <a:gd name="connsiteY157" fmla="*/ 156686 h 514350"/>
                <a:gd name="connsiteX158" fmla="*/ 6091714 w 6400800"/>
                <a:gd name="connsiteY158" fmla="*/ 176689 h 514350"/>
                <a:gd name="connsiteX159" fmla="*/ 6085999 w 6400800"/>
                <a:gd name="connsiteY159" fmla="*/ 198596 h 514350"/>
                <a:gd name="connsiteX160" fmla="*/ 6081237 w 6400800"/>
                <a:gd name="connsiteY160" fmla="*/ 214789 h 514350"/>
                <a:gd name="connsiteX161" fmla="*/ 6074569 w 6400800"/>
                <a:gd name="connsiteY161" fmla="*/ 201454 h 514350"/>
                <a:gd name="connsiteX162" fmla="*/ 6079331 w 6400800"/>
                <a:gd name="connsiteY162" fmla="*/ 219551 h 514350"/>
                <a:gd name="connsiteX163" fmla="*/ 6073617 w 6400800"/>
                <a:gd name="connsiteY163" fmla="*/ 230029 h 514350"/>
                <a:gd name="connsiteX164" fmla="*/ 6069806 w 6400800"/>
                <a:gd name="connsiteY164" fmla="*/ 237649 h 514350"/>
                <a:gd name="connsiteX165" fmla="*/ 6069806 w 6400800"/>
                <a:gd name="connsiteY165" fmla="*/ 228124 h 514350"/>
                <a:gd name="connsiteX166" fmla="*/ 6069806 w 6400800"/>
                <a:gd name="connsiteY166" fmla="*/ 205264 h 514350"/>
                <a:gd name="connsiteX167" fmla="*/ 6065996 w 6400800"/>
                <a:gd name="connsiteY167" fmla="*/ 228124 h 514350"/>
                <a:gd name="connsiteX168" fmla="*/ 6061234 w 6400800"/>
                <a:gd name="connsiteY168" fmla="*/ 253841 h 514350"/>
                <a:gd name="connsiteX169" fmla="*/ 6059329 w 6400800"/>
                <a:gd name="connsiteY169" fmla="*/ 263366 h 514350"/>
                <a:gd name="connsiteX170" fmla="*/ 6057424 w 6400800"/>
                <a:gd name="connsiteY170" fmla="*/ 268129 h 514350"/>
                <a:gd name="connsiteX171" fmla="*/ 6048851 w 6400800"/>
                <a:gd name="connsiteY171" fmla="*/ 294799 h 514350"/>
                <a:gd name="connsiteX172" fmla="*/ 6041231 w 6400800"/>
                <a:gd name="connsiteY172" fmla="*/ 324326 h 514350"/>
                <a:gd name="connsiteX173" fmla="*/ 6041231 w 6400800"/>
                <a:gd name="connsiteY173" fmla="*/ 325279 h 514350"/>
                <a:gd name="connsiteX174" fmla="*/ 6033612 w 6400800"/>
                <a:gd name="connsiteY174" fmla="*/ 306229 h 514350"/>
                <a:gd name="connsiteX175" fmla="*/ 6029801 w 6400800"/>
                <a:gd name="connsiteY175" fmla="*/ 296704 h 514350"/>
                <a:gd name="connsiteX176" fmla="*/ 6029801 w 6400800"/>
                <a:gd name="connsiteY176" fmla="*/ 295751 h 514350"/>
                <a:gd name="connsiteX177" fmla="*/ 6031706 w 6400800"/>
                <a:gd name="connsiteY177" fmla="*/ 281464 h 514350"/>
                <a:gd name="connsiteX178" fmla="*/ 6033612 w 6400800"/>
                <a:gd name="connsiteY178" fmla="*/ 269081 h 514350"/>
                <a:gd name="connsiteX179" fmla="*/ 6027896 w 6400800"/>
                <a:gd name="connsiteY179" fmla="*/ 280511 h 514350"/>
                <a:gd name="connsiteX180" fmla="*/ 6025039 w 6400800"/>
                <a:gd name="connsiteY180" fmla="*/ 286226 h 514350"/>
                <a:gd name="connsiteX181" fmla="*/ 6020276 w 6400800"/>
                <a:gd name="connsiteY181" fmla="*/ 272891 h 514350"/>
                <a:gd name="connsiteX182" fmla="*/ 6008846 w 6400800"/>
                <a:gd name="connsiteY182" fmla="*/ 244316 h 514350"/>
                <a:gd name="connsiteX183" fmla="*/ 6016467 w 6400800"/>
                <a:gd name="connsiteY183" fmla="*/ 273844 h 514350"/>
                <a:gd name="connsiteX184" fmla="*/ 6022181 w 6400800"/>
                <a:gd name="connsiteY184" fmla="*/ 293846 h 514350"/>
                <a:gd name="connsiteX185" fmla="*/ 6019324 w 6400800"/>
                <a:gd name="connsiteY185" fmla="*/ 302419 h 514350"/>
                <a:gd name="connsiteX186" fmla="*/ 6016467 w 6400800"/>
                <a:gd name="connsiteY186" fmla="*/ 311944 h 514350"/>
                <a:gd name="connsiteX187" fmla="*/ 6010751 w 6400800"/>
                <a:gd name="connsiteY187" fmla="*/ 333851 h 514350"/>
                <a:gd name="connsiteX188" fmla="*/ 6010751 w 6400800"/>
                <a:gd name="connsiteY188" fmla="*/ 334804 h 514350"/>
                <a:gd name="connsiteX189" fmla="*/ 6003131 w 6400800"/>
                <a:gd name="connsiteY189" fmla="*/ 320516 h 514350"/>
                <a:gd name="connsiteX190" fmla="*/ 5996464 w 6400800"/>
                <a:gd name="connsiteY190" fmla="*/ 308134 h 514350"/>
                <a:gd name="connsiteX191" fmla="*/ 5999321 w 6400800"/>
                <a:gd name="connsiteY191" fmla="*/ 302419 h 514350"/>
                <a:gd name="connsiteX192" fmla="*/ 6007894 w 6400800"/>
                <a:gd name="connsiteY192" fmla="*/ 283369 h 514350"/>
                <a:gd name="connsiteX193" fmla="*/ 6014562 w 6400800"/>
                <a:gd name="connsiteY193" fmla="*/ 267176 h 514350"/>
                <a:gd name="connsiteX194" fmla="*/ 6004084 w 6400800"/>
                <a:gd name="connsiteY194" fmla="*/ 281464 h 514350"/>
                <a:gd name="connsiteX195" fmla="*/ 5993606 w 6400800"/>
                <a:gd name="connsiteY195" fmla="*/ 297656 h 514350"/>
                <a:gd name="connsiteX196" fmla="*/ 5989796 w 6400800"/>
                <a:gd name="connsiteY196" fmla="*/ 273844 h 514350"/>
                <a:gd name="connsiteX197" fmla="*/ 5991701 w 6400800"/>
                <a:gd name="connsiteY197" fmla="*/ 250984 h 514350"/>
                <a:gd name="connsiteX198" fmla="*/ 5997417 w 6400800"/>
                <a:gd name="connsiteY198" fmla="*/ 212884 h 514350"/>
                <a:gd name="connsiteX199" fmla="*/ 6003131 w 6400800"/>
                <a:gd name="connsiteY199" fmla="*/ 179546 h 514350"/>
                <a:gd name="connsiteX200" fmla="*/ 5993606 w 6400800"/>
                <a:gd name="connsiteY200" fmla="*/ 211931 h 514350"/>
                <a:gd name="connsiteX201" fmla="*/ 5985034 w 6400800"/>
                <a:gd name="connsiteY201" fmla="*/ 248126 h 514350"/>
                <a:gd name="connsiteX202" fmla="*/ 5974556 w 6400800"/>
                <a:gd name="connsiteY202" fmla="*/ 206216 h 514350"/>
                <a:gd name="connsiteX203" fmla="*/ 5974556 w 6400800"/>
                <a:gd name="connsiteY203" fmla="*/ 206216 h 514350"/>
                <a:gd name="connsiteX204" fmla="*/ 5977414 w 6400800"/>
                <a:gd name="connsiteY204" fmla="*/ 178594 h 514350"/>
                <a:gd name="connsiteX205" fmla="*/ 5979319 w 6400800"/>
                <a:gd name="connsiteY205" fmla="*/ 153829 h 514350"/>
                <a:gd name="connsiteX206" fmla="*/ 5973604 w 6400800"/>
                <a:gd name="connsiteY206" fmla="*/ 177641 h 514350"/>
                <a:gd name="connsiteX207" fmla="*/ 5969794 w 6400800"/>
                <a:gd name="connsiteY207" fmla="*/ 191929 h 514350"/>
                <a:gd name="connsiteX208" fmla="*/ 5959317 w 6400800"/>
                <a:gd name="connsiteY208" fmla="*/ 160496 h 514350"/>
                <a:gd name="connsiteX209" fmla="*/ 5946934 w 6400800"/>
                <a:gd name="connsiteY209" fmla="*/ 130016 h 514350"/>
                <a:gd name="connsiteX210" fmla="*/ 5934551 w 6400800"/>
                <a:gd name="connsiteY210" fmla="*/ 104299 h 514350"/>
                <a:gd name="connsiteX211" fmla="*/ 5943124 w 6400800"/>
                <a:gd name="connsiteY211" fmla="*/ 131921 h 514350"/>
                <a:gd name="connsiteX212" fmla="*/ 5951696 w 6400800"/>
                <a:gd name="connsiteY212" fmla="*/ 163354 h 514350"/>
                <a:gd name="connsiteX213" fmla="*/ 5961221 w 6400800"/>
                <a:gd name="connsiteY213" fmla="*/ 204311 h 514350"/>
                <a:gd name="connsiteX214" fmla="*/ 5964079 w 6400800"/>
                <a:gd name="connsiteY214" fmla="*/ 216694 h 514350"/>
                <a:gd name="connsiteX215" fmla="*/ 5962174 w 6400800"/>
                <a:gd name="connsiteY215" fmla="*/ 222409 h 514350"/>
                <a:gd name="connsiteX216" fmla="*/ 5958364 w 6400800"/>
                <a:gd name="connsiteY216" fmla="*/ 235744 h 514350"/>
                <a:gd name="connsiteX217" fmla="*/ 5956459 w 6400800"/>
                <a:gd name="connsiteY217" fmla="*/ 232886 h 514350"/>
                <a:gd name="connsiteX218" fmla="*/ 5956459 w 6400800"/>
                <a:gd name="connsiteY218" fmla="*/ 231934 h 514350"/>
                <a:gd name="connsiteX219" fmla="*/ 5956459 w 6400800"/>
                <a:gd name="connsiteY219" fmla="*/ 232886 h 514350"/>
                <a:gd name="connsiteX220" fmla="*/ 5938362 w 6400800"/>
                <a:gd name="connsiteY220" fmla="*/ 199549 h 514350"/>
                <a:gd name="connsiteX221" fmla="*/ 5927884 w 6400800"/>
                <a:gd name="connsiteY221" fmla="*/ 180499 h 514350"/>
                <a:gd name="connsiteX222" fmla="*/ 5953601 w 6400800"/>
                <a:gd name="connsiteY222" fmla="*/ 250984 h 514350"/>
                <a:gd name="connsiteX223" fmla="*/ 5952649 w 6400800"/>
                <a:gd name="connsiteY223" fmla="*/ 255746 h 514350"/>
                <a:gd name="connsiteX224" fmla="*/ 5945029 w 6400800"/>
                <a:gd name="connsiteY224" fmla="*/ 282416 h 514350"/>
                <a:gd name="connsiteX225" fmla="*/ 5944076 w 6400800"/>
                <a:gd name="connsiteY225" fmla="*/ 285274 h 514350"/>
                <a:gd name="connsiteX226" fmla="*/ 5940267 w 6400800"/>
                <a:gd name="connsiteY226" fmla="*/ 271939 h 514350"/>
                <a:gd name="connsiteX227" fmla="*/ 5928837 w 6400800"/>
                <a:gd name="connsiteY227" fmla="*/ 237649 h 514350"/>
                <a:gd name="connsiteX228" fmla="*/ 5922169 w 6400800"/>
                <a:gd name="connsiteY228" fmla="*/ 220504 h 514350"/>
                <a:gd name="connsiteX229" fmla="*/ 5923121 w 6400800"/>
                <a:gd name="connsiteY229" fmla="*/ 216694 h 514350"/>
                <a:gd name="connsiteX230" fmla="*/ 5921217 w 6400800"/>
                <a:gd name="connsiteY230" fmla="*/ 219551 h 514350"/>
                <a:gd name="connsiteX231" fmla="*/ 5917406 w 6400800"/>
                <a:gd name="connsiteY231" fmla="*/ 211931 h 514350"/>
                <a:gd name="connsiteX232" fmla="*/ 5908834 w 6400800"/>
                <a:gd name="connsiteY232" fmla="*/ 194786 h 514350"/>
                <a:gd name="connsiteX233" fmla="*/ 5907881 w 6400800"/>
                <a:gd name="connsiteY233" fmla="*/ 183356 h 514350"/>
                <a:gd name="connsiteX234" fmla="*/ 5905024 w 6400800"/>
                <a:gd name="connsiteY234" fmla="*/ 159544 h 514350"/>
                <a:gd name="connsiteX235" fmla="*/ 5904071 w 6400800"/>
                <a:gd name="connsiteY235" fmla="*/ 184309 h 514350"/>
                <a:gd name="connsiteX236" fmla="*/ 5903119 w 6400800"/>
                <a:gd name="connsiteY236" fmla="*/ 211931 h 514350"/>
                <a:gd name="connsiteX237" fmla="*/ 5902167 w 6400800"/>
                <a:gd name="connsiteY237" fmla="*/ 229076 h 514350"/>
                <a:gd name="connsiteX238" fmla="*/ 5902167 w 6400800"/>
                <a:gd name="connsiteY238" fmla="*/ 248126 h 514350"/>
                <a:gd name="connsiteX239" fmla="*/ 5903119 w 6400800"/>
                <a:gd name="connsiteY239" fmla="*/ 270034 h 514350"/>
                <a:gd name="connsiteX240" fmla="*/ 5900262 w 6400800"/>
                <a:gd name="connsiteY240" fmla="*/ 285274 h 514350"/>
                <a:gd name="connsiteX241" fmla="*/ 5899309 w 6400800"/>
                <a:gd name="connsiteY241" fmla="*/ 282416 h 514350"/>
                <a:gd name="connsiteX242" fmla="*/ 5895499 w 6400800"/>
                <a:gd name="connsiteY242" fmla="*/ 263366 h 514350"/>
                <a:gd name="connsiteX243" fmla="*/ 5891689 w 6400800"/>
                <a:gd name="connsiteY243" fmla="*/ 248126 h 514350"/>
                <a:gd name="connsiteX244" fmla="*/ 5891689 w 6400800"/>
                <a:gd name="connsiteY244" fmla="*/ 245269 h 514350"/>
                <a:gd name="connsiteX245" fmla="*/ 5890737 w 6400800"/>
                <a:gd name="connsiteY245" fmla="*/ 247174 h 514350"/>
                <a:gd name="connsiteX246" fmla="*/ 5890737 w 6400800"/>
                <a:gd name="connsiteY246" fmla="*/ 247174 h 514350"/>
                <a:gd name="connsiteX247" fmla="*/ 5890737 w 6400800"/>
                <a:gd name="connsiteY247" fmla="*/ 248126 h 514350"/>
                <a:gd name="connsiteX248" fmla="*/ 5881212 w 6400800"/>
                <a:gd name="connsiteY248" fmla="*/ 275749 h 514350"/>
                <a:gd name="connsiteX249" fmla="*/ 5878354 w 6400800"/>
                <a:gd name="connsiteY249" fmla="*/ 262414 h 514350"/>
                <a:gd name="connsiteX250" fmla="*/ 5874544 w 6400800"/>
                <a:gd name="connsiteY250" fmla="*/ 240506 h 514350"/>
                <a:gd name="connsiteX251" fmla="*/ 5874544 w 6400800"/>
                <a:gd name="connsiteY251" fmla="*/ 262414 h 514350"/>
                <a:gd name="connsiteX252" fmla="*/ 5875496 w 6400800"/>
                <a:gd name="connsiteY252" fmla="*/ 290989 h 514350"/>
                <a:gd name="connsiteX253" fmla="*/ 5873592 w 6400800"/>
                <a:gd name="connsiteY253" fmla="*/ 298609 h 514350"/>
                <a:gd name="connsiteX254" fmla="*/ 5870734 w 6400800"/>
                <a:gd name="connsiteY254" fmla="*/ 271939 h 514350"/>
                <a:gd name="connsiteX255" fmla="*/ 5867876 w 6400800"/>
                <a:gd name="connsiteY255" fmla="*/ 292894 h 514350"/>
                <a:gd name="connsiteX256" fmla="*/ 5866924 w 6400800"/>
                <a:gd name="connsiteY256" fmla="*/ 269081 h 514350"/>
                <a:gd name="connsiteX257" fmla="*/ 5865971 w 6400800"/>
                <a:gd name="connsiteY257" fmla="*/ 243364 h 514350"/>
                <a:gd name="connsiteX258" fmla="*/ 5873592 w 6400800"/>
                <a:gd name="connsiteY258" fmla="*/ 225266 h 514350"/>
                <a:gd name="connsiteX259" fmla="*/ 5865971 w 6400800"/>
                <a:gd name="connsiteY259" fmla="*/ 237649 h 514350"/>
                <a:gd name="connsiteX260" fmla="*/ 5865971 w 6400800"/>
                <a:gd name="connsiteY260" fmla="*/ 230029 h 514350"/>
                <a:gd name="connsiteX261" fmla="*/ 5865019 w 6400800"/>
                <a:gd name="connsiteY261" fmla="*/ 194786 h 514350"/>
                <a:gd name="connsiteX262" fmla="*/ 5863114 w 6400800"/>
                <a:gd name="connsiteY262" fmla="*/ 141446 h 514350"/>
                <a:gd name="connsiteX263" fmla="*/ 5862162 w 6400800"/>
                <a:gd name="connsiteY263" fmla="*/ 121444 h 514350"/>
                <a:gd name="connsiteX264" fmla="*/ 5859304 w 6400800"/>
                <a:gd name="connsiteY264" fmla="*/ 141446 h 514350"/>
                <a:gd name="connsiteX265" fmla="*/ 5856446 w 6400800"/>
                <a:gd name="connsiteY265" fmla="*/ 161449 h 514350"/>
                <a:gd name="connsiteX266" fmla="*/ 5853589 w 6400800"/>
                <a:gd name="connsiteY266" fmla="*/ 120491 h 514350"/>
                <a:gd name="connsiteX267" fmla="*/ 5851684 w 6400800"/>
                <a:gd name="connsiteY267" fmla="*/ 98584 h 514350"/>
                <a:gd name="connsiteX268" fmla="*/ 5849779 w 6400800"/>
                <a:gd name="connsiteY268" fmla="*/ 120491 h 514350"/>
                <a:gd name="connsiteX269" fmla="*/ 5847874 w 6400800"/>
                <a:gd name="connsiteY269" fmla="*/ 146209 h 514350"/>
                <a:gd name="connsiteX270" fmla="*/ 5846921 w 6400800"/>
                <a:gd name="connsiteY270" fmla="*/ 179546 h 514350"/>
                <a:gd name="connsiteX271" fmla="*/ 5846921 w 6400800"/>
                <a:gd name="connsiteY271" fmla="*/ 262414 h 514350"/>
                <a:gd name="connsiteX272" fmla="*/ 5846921 w 6400800"/>
                <a:gd name="connsiteY272" fmla="*/ 269081 h 514350"/>
                <a:gd name="connsiteX273" fmla="*/ 5843112 w 6400800"/>
                <a:gd name="connsiteY273" fmla="*/ 274796 h 514350"/>
                <a:gd name="connsiteX274" fmla="*/ 5840254 w 6400800"/>
                <a:gd name="connsiteY274" fmla="*/ 261461 h 514350"/>
                <a:gd name="connsiteX275" fmla="*/ 5841206 w 6400800"/>
                <a:gd name="connsiteY275" fmla="*/ 242411 h 514350"/>
                <a:gd name="connsiteX276" fmla="*/ 5841206 w 6400800"/>
                <a:gd name="connsiteY276" fmla="*/ 223361 h 514350"/>
                <a:gd name="connsiteX277" fmla="*/ 5837396 w 6400800"/>
                <a:gd name="connsiteY277" fmla="*/ 242411 h 514350"/>
                <a:gd name="connsiteX278" fmla="*/ 5836444 w 6400800"/>
                <a:gd name="connsiteY278" fmla="*/ 245269 h 514350"/>
                <a:gd name="connsiteX279" fmla="*/ 5829776 w 6400800"/>
                <a:gd name="connsiteY279" fmla="*/ 215741 h 514350"/>
                <a:gd name="connsiteX280" fmla="*/ 5824062 w 6400800"/>
                <a:gd name="connsiteY280" fmla="*/ 189071 h 514350"/>
                <a:gd name="connsiteX281" fmla="*/ 5825967 w 6400800"/>
                <a:gd name="connsiteY281" fmla="*/ 215741 h 514350"/>
                <a:gd name="connsiteX282" fmla="*/ 5828824 w 6400800"/>
                <a:gd name="connsiteY282" fmla="*/ 246221 h 514350"/>
                <a:gd name="connsiteX283" fmla="*/ 5831681 w 6400800"/>
                <a:gd name="connsiteY283" fmla="*/ 268129 h 514350"/>
                <a:gd name="connsiteX284" fmla="*/ 5826919 w 6400800"/>
                <a:gd name="connsiteY284" fmla="*/ 276701 h 514350"/>
                <a:gd name="connsiteX285" fmla="*/ 5825967 w 6400800"/>
                <a:gd name="connsiteY285" fmla="*/ 270986 h 514350"/>
                <a:gd name="connsiteX286" fmla="*/ 5822156 w 6400800"/>
                <a:gd name="connsiteY286" fmla="*/ 250031 h 514350"/>
                <a:gd name="connsiteX287" fmla="*/ 5818346 w 6400800"/>
                <a:gd name="connsiteY287" fmla="*/ 231934 h 514350"/>
                <a:gd name="connsiteX288" fmla="*/ 5818346 w 6400800"/>
                <a:gd name="connsiteY288" fmla="*/ 250031 h 514350"/>
                <a:gd name="connsiteX289" fmla="*/ 5818346 w 6400800"/>
                <a:gd name="connsiteY289" fmla="*/ 270986 h 514350"/>
                <a:gd name="connsiteX290" fmla="*/ 5812631 w 6400800"/>
                <a:gd name="connsiteY290" fmla="*/ 262414 h 514350"/>
                <a:gd name="connsiteX291" fmla="*/ 5812631 w 6400800"/>
                <a:gd name="connsiteY291" fmla="*/ 246221 h 514350"/>
                <a:gd name="connsiteX292" fmla="*/ 5814537 w 6400800"/>
                <a:gd name="connsiteY292" fmla="*/ 220504 h 514350"/>
                <a:gd name="connsiteX293" fmla="*/ 5816442 w 6400800"/>
                <a:gd name="connsiteY293" fmla="*/ 221456 h 514350"/>
                <a:gd name="connsiteX294" fmla="*/ 5819299 w 6400800"/>
                <a:gd name="connsiteY294" fmla="*/ 224314 h 514350"/>
                <a:gd name="connsiteX295" fmla="*/ 5822156 w 6400800"/>
                <a:gd name="connsiteY295" fmla="*/ 231934 h 514350"/>
                <a:gd name="connsiteX296" fmla="*/ 5821204 w 6400800"/>
                <a:gd name="connsiteY296" fmla="*/ 223361 h 514350"/>
                <a:gd name="connsiteX297" fmla="*/ 5818346 w 6400800"/>
                <a:gd name="connsiteY297" fmla="*/ 219551 h 514350"/>
                <a:gd name="connsiteX298" fmla="*/ 5813584 w 6400800"/>
                <a:gd name="connsiteY298" fmla="*/ 217646 h 514350"/>
                <a:gd name="connsiteX299" fmla="*/ 5811679 w 6400800"/>
                <a:gd name="connsiteY299" fmla="*/ 217646 h 514350"/>
                <a:gd name="connsiteX300" fmla="*/ 5811679 w 6400800"/>
                <a:gd name="connsiteY300" fmla="*/ 219551 h 514350"/>
                <a:gd name="connsiteX301" fmla="*/ 5805012 w 6400800"/>
                <a:gd name="connsiteY301" fmla="*/ 246221 h 514350"/>
                <a:gd name="connsiteX302" fmla="*/ 5803106 w 6400800"/>
                <a:gd name="connsiteY302" fmla="*/ 256699 h 514350"/>
                <a:gd name="connsiteX303" fmla="*/ 5796439 w 6400800"/>
                <a:gd name="connsiteY303" fmla="*/ 264319 h 514350"/>
                <a:gd name="connsiteX304" fmla="*/ 5795487 w 6400800"/>
                <a:gd name="connsiteY304" fmla="*/ 253841 h 514350"/>
                <a:gd name="connsiteX305" fmla="*/ 5794534 w 6400800"/>
                <a:gd name="connsiteY305" fmla="*/ 248126 h 514350"/>
                <a:gd name="connsiteX306" fmla="*/ 5794534 w 6400800"/>
                <a:gd name="connsiteY306" fmla="*/ 253841 h 514350"/>
                <a:gd name="connsiteX307" fmla="*/ 5793581 w 6400800"/>
                <a:gd name="connsiteY307" fmla="*/ 268129 h 514350"/>
                <a:gd name="connsiteX308" fmla="*/ 5791676 w 6400800"/>
                <a:gd name="connsiteY308" fmla="*/ 270034 h 514350"/>
                <a:gd name="connsiteX309" fmla="*/ 5791676 w 6400800"/>
                <a:gd name="connsiteY309" fmla="*/ 270034 h 514350"/>
                <a:gd name="connsiteX310" fmla="*/ 5787867 w 6400800"/>
                <a:gd name="connsiteY310" fmla="*/ 239554 h 514350"/>
                <a:gd name="connsiteX311" fmla="*/ 5793581 w 6400800"/>
                <a:gd name="connsiteY311" fmla="*/ 224314 h 514350"/>
                <a:gd name="connsiteX312" fmla="*/ 5786914 w 6400800"/>
                <a:gd name="connsiteY312" fmla="*/ 234791 h 514350"/>
                <a:gd name="connsiteX313" fmla="*/ 5785009 w 6400800"/>
                <a:gd name="connsiteY313" fmla="*/ 205264 h 514350"/>
                <a:gd name="connsiteX314" fmla="*/ 5795487 w 6400800"/>
                <a:gd name="connsiteY314" fmla="*/ 183356 h 514350"/>
                <a:gd name="connsiteX315" fmla="*/ 5795487 w 6400800"/>
                <a:gd name="connsiteY315" fmla="*/ 184309 h 514350"/>
                <a:gd name="connsiteX316" fmla="*/ 5795487 w 6400800"/>
                <a:gd name="connsiteY316" fmla="*/ 183356 h 514350"/>
                <a:gd name="connsiteX317" fmla="*/ 5797392 w 6400800"/>
                <a:gd name="connsiteY317" fmla="*/ 178594 h 514350"/>
                <a:gd name="connsiteX318" fmla="*/ 5812631 w 6400800"/>
                <a:gd name="connsiteY318" fmla="*/ 145256 h 514350"/>
                <a:gd name="connsiteX319" fmla="*/ 5825967 w 6400800"/>
                <a:gd name="connsiteY319" fmla="*/ 115729 h 514350"/>
                <a:gd name="connsiteX320" fmla="*/ 5809774 w 6400800"/>
                <a:gd name="connsiteY320" fmla="*/ 143351 h 514350"/>
                <a:gd name="connsiteX321" fmla="*/ 5791676 w 6400800"/>
                <a:gd name="connsiteY321" fmla="*/ 173831 h 514350"/>
                <a:gd name="connsiteX322" fmla="*/ 5788819 w 6400800"/>
                <a:gd name="connsiteY322" fmla="*/ 170974 h 514350"/>
                <a:gd name="connsiteX323" fmla="*/ 5783104 w 6400800"/>
                <a:gd name="connsiteY323" fmla="*/ 169069 h 514350"/>
                <a:gd name="connsiteX324" fmla="*/ 5781199 w 6400800"/>
                <a:gd name="connsiteY324" fmla="*/ 169069 h 514350"/>
                <a:gd name="connsiteX325" fmla="*/ 5781199 w 6400800"/>
                <a:gd name="connsiteY325" fmla="*/ 170974 h 514350"/>
                <a:gd name="connsiteX326" fmla="*/ 5777389 w 6400800"/>
                <a:gd name="connsiteY326" fmla="*/ 197644 h 514350"/>
                <a:gd name="connsiteX327" fmla="*/ 5766912 w 6400800"/>
                <a:gd name="connsiteY327" fmla="*/ 217646 h 514350"/>
                <a:gd name="connsiteX328" fmla="*/ 5752624 w 6400800"/>
                <a:gd name="connsiteY328" fmla="*/ 244316 h 514350"/>
                <a:gd name="connsiteX329" fmla="*/ 5751671 w 6400800"/>
                <a:gd name="connsiteY329" fmla="*/ 233839 h 514350"/>
                <a:gd name="connsiteX330" fmla="*/ 5749767 w 6400800"/>
                <a:gd name="connsiteY330" fmla="*/ 216694 h 514350"/>
                <a:gd name="connsiteX331" fmla="*/ 5757387 w 6400800"/>
                <a:gd name="connsiteY331" fmla="*/ 190024 h 514350"/>
                <a:gd name="connsiteX332" fmla="*/ 5749767 w 6400800"/>
                <a:gd name="connsiteY332" fmla="*/ 210979 h 514350"/>
                <a:gd name="connsiteX333" fmla="*/ 5748814 w 6400800"/>
                <a:gd name="connsiteY333" fmla="*/ 204311 h 514350"/>
                <a:gd name="connsiteX334" fmla="*/ 5745004 w 6400800"/>
                <a:gd name="connsiteY334" fmla="*/ 178594 h 514350"/>
                <a:gd name="connsiteX335" fmla="*/ 5745004 w 6400800"/>
                <a:gd name="connsiteY335" fmla="*/ 204311 h 514350"/>
                <a:gd name="connsiteX336" fmla="*/ 5745004 w 6400800"/>
                <a:gd name="connsiteY336" fmla="*/ 222409 h 514350"/>
                <a:gd name="connsiteX337" fmla="*/ 5744051 w 6400800"/>
                <a:gd name="connsiteY337" fmla="*/ 225266 h 514350"/>
                <a:gd name="connsiteX338" fmla="*/ 5731669 w 6400800"/>
                <a:gd name="connsiteY338" fmla="*/ 259556 h 514350"/>
                <a:gd name="connsiteX339" fmla="*/ 5731669 w 6400800"/>
                <a:gd name="connsiteY339" fmla="*/ 258604 h 514350"/>
                <a:gd name="connsiteX340" fmla="*/ 5734526 w 6400800"/>
                <a:gd name="connsiteY340" fmla="*/ 238601 h 514350"/>
                <a:gd name="connsiteX341" fmla="*/ 5727859 w 6400800"/>
                <a:gd name="connsiteY341" fmla="*/ 258604 h 514350"/>
                <a:gd name="connsiteX342" fmla="*/ 5725954 w 6400800"/>
                <a:gd name="connsiteY342" fmla="*/ 264319 h 514350"/>
                <a:gd name="connsiteX343" fmla="*/ 5725954 w 6400800"/>
                <a:gd name="connsiteY343" fmla="*/ 263366 h 514350"/>
                <a:gd name="connsiteX344" fmla="*/ 5725954 w 6400800"/>
                <a:gd name="connsiteY344" fmla="*/ 262414 h 514350"/>
                <a:gd name="connsiteX345" fmla="*/ 5726906 w 6400800"/>
                <a:gd name="connsiteY345" fmla="*/ 256699 h 514350"/>
                <a:gd name="connsiteX346" fmla="*/ 5729764 w 6400800"/>
                <a:gd name="connsiteY346" fmla="*/ 242411 h 514350"/>
                <a:gd name="connsiteX347" fmla="*/ 5732621 w 6400800"/>
                <a:gd name="connsiteY347" fmla="*/ 230029 h 514350"/>
                <a:gd name="connsiteX348" fmla="*/ 5737384 w 6400800"/>
                <a:gd name="connsiteY348" fmla="*/ 210026 h 514350"/>
                <a:gd name="connsiteX349" fmla="*/ 5741194 w 6400800"/>
                <a:gd name="connsiteY349" fmla="*/ 191929 h 514350"/>
                <a:gd name="connsiteX350" fmla="*/ 5739289 w 6400800"/>
                <a:gd name="connsiteY350" fmla="*/ 196691 h 514350"/>
                <a:gd name="connsiteX351" fmla="*/ 5740242 w 6400800"/>
                <a:gd name="connsiteY351" fmla="*/ 190024 h 514350"/>
                <a:gd name="connsiteX352" fmla="*/ 5731669 w 6400800"/>
                <a:gd name="connsiteY352" fmla="*/ 211931 h 514350"/>
                <a:gd name="connsiteX353" fmla="*/ 5726906 w 6400800"/>
                <a:gd name="connsiteY353" fmla="*/ 224314 h 514350"/>
                <a:gd name="connsiteX354" fmla="*/ 5725001 w 6400800"/>
                <a:gd name="connsiteY354" fmla="*/ 228124 h 514350"/>
                <a:gd name="connsiteX355" fmla="*/ 5720239 w 6400800"/>
                <a:gd name="connsiteY355" fmla="*/ 240506 h 514350"/>
                <a:gd name="connsiteX356" fmla="*/ 5717381 w 6400800"/>
                <a:gd name="connsiteY356" fmla="*/ 250031 h 514350"/>
                <a:gd name="connsiteX357" fmla="*/ 5715476 w 6400800"/>
                <a:gd name="connsiteY357" fmla="*/ 254794 h 514350"/>
                <a:gd name="connsiteX358" fmla="*/ 5709762 w 6400800"/>
                <a:gd name="connsiteY358" fmla="*/ 272891 h 514350"/>
                <a:gd name="connsiteX359" fmla="*/ 5704046 w 6400800"/>
                <a:gd name="connsiteY359" fmla="*/ 290989 h 514350"/>
                <a:gd name="connsiteX360" fmla="*/ 5696426 w 6400800"/>
                <a:gd name="connsiteY360" fmla="*/ 275749 h 514350"/>
                <a:gd name="connsiteX361" fmla="*/ 5695474 w 6400800"/>
                <a:gd name="connsiteY361" fmla="*/ 269081 h 514350"/>
                <a:gd name="connsiteX362" fmla="*/ 5695474 w 6400800"/>
                <a:gd name="connsiteY362" fmla="*/ 272891 h 514350"/>
                <a:gd name="connsiteX363" fmla="*/ 5688806 w 6400800"/>
                <a:gd name="connsiteY363" fmla="*/ 259556 h 514350"/>
                <a:gd name="connsiteX364" fmla="*/ 5680234 w 6400800"/>
                <a:gd name="connsiteY364" fmla="*/ 243364 h 514350"/>
                <a:gd name="connsiteX365" fmla="*/ 5684996 w 6400800"/>
                <a:gd name="connsiteY365" fmla="*/ 260509 h 514350"/>
                <a:gd name="connsiteX366" fmla="*/ 5694521 w 6400800"/>
                <a:gd name="connsiteY366" fmla="*/ 292894 h 514350"/>
                <a:gd name="connsiteX367" fmla="*/ 5694521 w 6400800"/>
                <a:gd name="connsiteY367" fmla="*/ 309086 h 514350"/>
                <a:gd name="connsiteX368" fmla="*/ 5694521 w 6400800"/>
                <a:gd name="connsiteY368" fmla="*/ 323374 h 514350"/>
                <a:gd name="connsiteX369" fmla="*/ 5691664 w 6400800"/>
                <a:gd name="connsiteY369" fmla="*/ 331946 h 514350"/>
                <a:gd name="connsiteX370" fmla="*/ 5689759 w 6400800"/>
                <a:gd name="connsiteY370" fmla="*/ 329089 h 514350"/>
                <a:gd name="connsiteX371" fmla="*/ 5689759 w 6400800"/>
                <a:gd name="connsiteY371" fmla="*/ 320516 h 514350"/>
                <a:gd name="connsiteX372" fmla="*/ 5687854 w 6400800"/>
                <a:gd name="connsiteY372" fmla="*/ 286226 h 514350"/>
                <a:gd name="connsiteX373" fmla="*/ 5684996 w 6400800"/>
                <a:gd name="connsiteY373" fmla="*/ 319564 h 514350"/>
                <a:gd name="connsiteX374" fmla="*/ 5681187 w 6400800"/>
                <a:gd name="connsiteY374" fmla="*/ 312896 h 514350"/>
                <a:gd name="connsiteX375" fmla="*/ 5675471 w 6400800"/>
                <a:gd name="connsiteY375" fmla="*/ 273844 h 514350"/>
                <a:gd name="connsiteX376" fmla="*/ 5672614 w 6400800"/>
                <a:gd name="connsiteY376" fmla="*/ 253841 h 514350"/>
                <a:gd name="connsiteX377" fmla="*/ 5670709 w 6400800"/>
                <a:gd name="connsiteY377" fmla="*/ 235744 h 514350"/>
                <a:gd name="connsiteX378" fmla="*/ 5667851 w 6400800"/>
                <a:gd name="connsiteY378" fmla="*/ 207169 h 514350"/>
                <a:gd name="connsiteX379" fmla="*/ 5665946 w 6400800"/>
                <a:gd name="connsiteY379" fmla="*/ 188119 h 514350"/>
                <a:gd name="connsiteX380" fmla="*/ 5666899 w 6400800"/>
                <a:gd name="connsiteY380" fmla="*/ 183356 h 514350"/>
                <a:gd name="connsiteX381" fmla="*/ 5665946 w 6400800"/>
                <a:gd name="connsiteY381" fmla="*/ 186214 h 514350"/>
                <a:gd name="connsiteX382" fmla="*/ 5664994 w 6400800"/>
                <a:gd name="connsiteY382" fmla="*/ 181451 h 514350"/>
                <a:gd name="connsiteX383" fmla="*/ 5664994 w 6400800"/>
                <a:gd name="connsiteY383" fmla="*/ 188119 h 514350"/>
                <a:gd name="connsiteX384" fmla="*/ 5654517 w 6400800"/>
                <a:gd name="connsiteY384" fmla="*/ 211931 h 514350"/>
                <a:gd name="connsiteX385" fmla="*/ 5653564 w 6400800"/>
                <a:gd name="connsiteY385" fmla="*/ 205264 h 514350"/>
                <a:gd name="connsiteX386" fmla="*/ 5652612 w 6400800"/>
                <a:gd name="connsiteY386" fmla="*/ 189071 h 514350"/>
                <a:gd name="connsiteX387" fmla="*/ 5657374 w 6400800"/>
                <a:gd name="connsiteY387" fmla="*/ 179546 h 514350"/>
                <a:gd name="connsiteX388" fmla="*/ 5652612 w 6400800"/>
                <a:gd name="connsiteY388" fmla="*/ 187166 h 514350"/>
                <a:gd name="connsiteX389" fmla="*/ 5652612 w 6400800"/>
                <a:gd name="connsiteY389" fmla="*/ 185261 h 514350"/>
                <a:gd name="connsiteX390" fmla="*/ 5651659 w 6400800"/>
                <a:gd name="connsiteY390" fmla="*/ 167164 h 514350"/>
                <a:gd name="connsiteX391" fmla="*/ 5649754 w 6400800"/>
                <a:gd name="connsiteY391" fmla="*/ 179546 h 514350"/>
                <a:gd name="connsiteX392" fmla="*/ 5649754 w 6400800"/>
                <a:gd name="connsiteY392" fmla="*/ 178594 h 514350"/>
                <a:gd name="connsiteX393" fmla="*/ 5647849 w 6400800"/>
                <a:gd name="connsiteY393" fmla="*/ 159544 h 514350"/>
                <a:gd name="connsiteX394" fmla="*/ 5646896 w 6400800"/>
                <a:gd name="connsiteY394" fmla="*/ 142399 h 514350"/>
                <a:gd name="connsiteX395" fmla="*/ 5645944 w 6400800"/>
                <a:gd name="connsiteY395" fmla="*/ 114776 h 514350"/>
                <a:gd name="connsiteX396" fmla="*/ 5644992 w 6400800"/>
                <a:gd name="connsiteY396" fmla="*/ 90011 h 514350"/>
                <a:gd name="connsiteX397" fmla="*/ 5641181 w 6400800"/>
                <a:gd name="connsiteY397" fmla="*/ 113824 h 514350"/>
                <a:gd name="connsiteX398" fmla="*/ 5639276 w 6400800"/>
                <a:gd name="connsiteY398" fmla="*/ 141446 h 514350"/>
                <a:gd name="connsiteX399" fmla="*/ 5638324 w 6400800"/>
                <a:gd name="connsiteY399" fmla="*/ 158591 h 514350"/>
                <a:gd name="connsiteX400" fmla="*/ 5638324 w 6400800"/>
                <a:gd name="connsiteY400" fmla="*/ 177641 h 514350"/>
                <a:gd name="connsiteX401" fmla="*/ 5639276 w 6400800"/>
                <a:gd name="connsiteY401" fmla="*/ 205264 h 514350"/>
                <a:gd name="connsiteX402" fmla="*/ 5637371 w 6400800"/>
                <a:gd name="connsiteY402" fmla="*/ 208121 h 514350"/>
                <a:gd name="connsiteX403" fmla="*/ 5636419 w 6400800"/>
                <a:gd name="connsiteY403" fmla="*/ 209074 h 514350"/>
                <a:gd name="connsiteX404" fmla="*/ 5636419 w 6400800"/>
                <a:gd name="connsiteY404" fmla="*/ 208121 h 514350"/>
                <a:gd name="connsiteX405" fmla="*/ 5636419 w 6400800"/>
                <a:gd name="connsiteY405" fmla="*/ 209074 h 514350"/>
                <a:gd name="connsiteX406" fmla="*/ 5631656 w 6400800"/>
                <a:gd name="connsiteY406" fmla="*/ 215741 h 514350"/>
                <a:gd name="connsiteX407" fmla="*/ 5626894 w 6400800"/>
                <a:gd name="connsiteY407" fmla="*/ 192881 h 514350"/>
                <a:gd name="connsiteX408" fmla="*/ 5626894 w 6400800"/>
                <a:gd name="connsiteY408" fmla="*/ 222409 h 514350"/>
                <a:gd name="connsiteX409" fmla="*/ 5626894 w 6400800"/>
                <a:gd name="connsiteY409" fmla="*/ 223361 h 514350"/>
                <a:gd name="connsiteX410" fmla="*/ 5618321 w 6400800"/>
                <a:gd name="connsiteY410" fmla="*/ 211931 h 514350"/>
                <a:gd name="connsiteX411" fmla="*/ 5593556 w 6400800"/>
                <a:gd name="connsiteY411" fmla="*/ 181451 h 514350"/>
                <a:gd name="connsiteX412" fmla="*/ 5570696 w 6400800"/>
                <a:gd name="connsiteY412" fmla="*/ 155734 h 514350"/>
                <a:gd name="connsiteX413" fmla="*/ 5590699 w 6400800"/>
                <a:gd name="connsiteY413" fmla="*/ 184309 h 514350"/>
                <a:gd name="connsiteX414" fmla="*/ 5612606 w 6400800"/>
                <a:gd name="connsiteY414" fmla="*/ 217646 h 514350"/>
                <a:gd name="connsiteX415" fmla="*/ 5616417 w 6400800"/>
                <a:gd name="connsiteY415" fmla="*/ 223361 h 514350"/>
                <a:gd name="connsiteX416" fmla="*/ 5620226 w 6400800"/>
                <a:gd name="connsiteY416" fmla="*/ 233839 h 514350"/>
                <a:gd name="connsiteX417" fmla="*/ 5620226 w 6400800"/>
                <a:gd name="connsiteY417" fmla="*/ 234791 h 514350"/>
                <a:gd name="connsiteX418" fmla="*/ 5616417 w 6400800"/>
                <a:gd name="connsiteY418" fmla="*/ 241459 h 514350"/>
                <a:gd name="connsiteX419" fmla="*/ 5616417 w 6400800"/>
                <a:gd name="connsiteY419" fmla="*/ 240506 h 514350"/>
                <a:gd name="connsiteX420" fmla="*/ 5616417 w 6400800"/>
                <a:gd name="connsiteY420" fmla="*/ 241459 h 514350"/>
                <a:gd name="connsiteX421" fmla="*/ 5614512 w 6400800"/>
                <a:gd name="connsiteY421" fmla="*/ 245269 h 514350"/>
                <a:gd name="connsiteX422" fmla="*/ 5594509 w 6400800"/>
                <a:gd name="connsiteY422" fmla="*/ 280511 h 514350"/>
                <a:gd name="connsiteX423" fmla="*/ 5594509 w 6400800"/>
                <a:gd name="connsiteY423" fmla="*/ 275749 h 514350"/>
                <a:gd name="connsiteX424" fmla="*/ 5594509 w 6400800"/>
                <a:gd name="connsiteY424" fmla="*/ 268129 h 514350"/>
                <a:gd name="connsiteX425" fmla="*/ 5596414 w 6400800"/>
                <a:gd name="connsiteY425" fmla="*/ 256699 h 514350"/>
                <a:gd name="connsiteX426" fmla="*/ 5594509 w 6400800"/>
                <a:gd name="connsiteY426" fmla="*/ 263366 h 514350"/>
                <a:gd name="connsiteX427" fmla="*/ 5594509 w 6400800"/>
                <a:gd name="connsiteY427" fmla="*/ 262414 h 514350"/>
                <a:gd name="connsiteX428" fmla="*/ 5592604 w 6400800"/>
                <a:gd name="connsiteY428" fmla="*/ 250031 h 514350"/>
                <a:gd name="connsiteX429" fmla="*/ 5590699 w 6400800"/>
                <a:gd name="connsiteY429" fmla="*/ 232886 h 514350"/>
                <a:gd name="connsiteX430" fmla="*/ 5596414 w 6400800"/>
                <a:gd name="connsiteY430" fmla="*/ 217646 h 514350"/>
                <a:gd name="connsiteX431" fmla="*/ 5589746 w 6400800"/>
                <a:gd name="connsiteY431" fmla="*/ 230029 h 514350"/>
                <a:gd name="connsiteX432" fmla="*/ 5589746 w 6400800"/>
                <a:gd name="connsiteY432" fmla="*/ 230029 h 514350"/>
                <a:gd name="connsiteX433" fmla="*/ 5586889 w 6400800"/>
                <a:gd name="connsiteY433" fmla="*/ 211931 h 514350"/>
                <a:gd name="connsiteX434" fmla="*/ 5585937 w 6400800"/>
                <a:gd name="connsiteY434" fmla="*/ 230029 h 514350"/>
                <a:gd name="connsiteX435" fmla="*/ 5585937 w 6400800"/>
                <a:gd name="connsiteY435" fmla="*/ 230981 h 514350"/>
                <a:gd name="connsiteX436" fmla="*/ 5583079 w 6400800"/>
                <a:gd name="connsiteY436" fmla="*/ 213836 h 514350"/>
                <a:gd name="connsiteX437" fmla="*/ 5583079 w 6400800"/>
                <a:gd name="connsiteY437" fmla="*/ 242411 h 514350"/>
                <a:gd name="connsiteX438" fmla="*/ 5581174 w 6400800"/>
                <a:gd name="connsiteY438" fmla="*/ 246221 h 514350"/>
                <a:gd name="connsiteX439" fmla="*/ 5579269 w 6400800"/>
                <a:gd name="connsiteY439" fmla="*/ 250031 h 514350"/>
                <a:gd name="connsiteX440" fmla="*/ 5571649 w 6400800"/>
                <a:gd name="connsiteY440" fmla="*/ 209074 h 514350"/>
                <a:gd name="connsiteX441" fmla="*/ 5567839 w 6400800"/>
                <a:gd name="connsiteY441" fmla="*/ 189071 h 514350"/>
                <a:gd name="connsiteX442" fmla="*/ 5563076 w 6400800"/>
                <a:gd name="connsiteY442" fmla="*/ 170974 h 514350"/>
                <a:gd name="connsiteX443" fmla="*/ 5555456 w 6400800"/>
                <a:gd name="connsiteY443" fmla="*/ 141446 h 514350"/>
                <a:gd name="connsiteX444" fmla="*/ 5548789 w 6400800"/>
                <a:gd name="connsiteY444" fmla="*/ 115729 h 514350"/>
                <a:gd name="connsiteX445" fmla="*/ 5551646 w 6400800"/>
                <a:gd name="connsiteY445" fmla="*/ 142399 h 514350"/>
                <a:gd name="connsiteX446" fmla="*/ 5555456 w 6400800"/>
                <a:gd name="connsiteY446" fmla="*/ 172879 h 514350"/>
                <a:gd name="connsiteX447" fmla="*/ 5558314 w 6400800"/>
                <a:gd name="connsiteY447" fmla="*/ 190976 h 514350"/>
                <a:gd name="connsiteX448" fmla="*/ 5560219 w 6400800"/>
                <a:gd name="connsiteY448" fmla="*/ 211931 h 514350"/>
                <a:gd name="connsiteX449" fmla="*/ 5564981 w 6400800"/>
                <a:gd name="connsiteY449" fmla="*/ 257651 h 514350"/>
                <a:gd name="connsiteX450" fmla="*/ 5565934 w 6400800"/>
                <a:gd name="connsiteY450" fmla="*/ 274796 h 514350"/>
                <a:gd name="connsiteX451" fmla="*/ 5564029 w 6400800"/>
                <a:gd name="connsiteY451" fmla="*/ 278606 h 514350"/>
                <a:gd name="connsiteX452" fmla="*/ 5561171 w 6400800"/>
                <a:gd name="connsiteY452" fmla="*/ 284321 h 514350"/>
                <a:gd name="connsiteX453" fmla="*/ 5549742 w 6400800"/>
                <a:gd name="connsiteY453" fmla="*/ 264319 h 514350"/>
                <a:gd name="connsiteX454" fmla="*/ 5548789 w 6400800"/>
                <a:gd name="connsiteY454" fmla="*/ 261461 h 514350"/>
                <a:gd name="connsiteX455" fmla="*/ 5544026 w 6400800"/>
                <a:gd name="connsiteY455" fmla="*/ 247174 h 514350"/>
                <a:gd name="connsiteX456" fmla="*/ 5547837 w 6400800"/>
                <a:gd name="connsiteY456" fmla="*/ 228124 h 514350"/>
                <a:gd name="connsiteX457" fmla="*/ 5542121 w 6400800"/>
                <a:gd name="connsiteY457" fmla="*/ 241459 h 514350"/>
                <a:gd name="connsiteX458" fmla="*/ 5541169 w 6400800"/>
                <a:gd name="connsiteY458" fmla="*/ 238601 h 514350"/>
                <a:gd name="connsiteX459" fmla="*/ 5538312 w 6400800"/>
                <a:gd name="connsiteY459" fmla="*/ 230029 h 514350"/>
                <a:gd name="connsiteX460" fmla="*/ 5551646 w 6400800"/>
                <a:gd name="connsiteY460" fmla="*/ 167164 h 514350"/>
                <a:gd name="connsiteX461" fmla="*/ 5528787 w 6400800"/>
                <a:gd name="connsiteY461" fmla="*/ 225266 h 514350"/>
                <a:gd name="connsiteX462" fmla="*/ 5524976 w 6400800"/>
                <a:gd name="connsiteY462" fmla="*/ 217646 h 514350"/>
                <a:gd name="connsiteX463" fmla="*/ 5524024 w 6400800"/>
                <a:gd name="connsiteY463" fmla="*/ 207169 h 514350"/>
                <a:gd name="connsiteX464" fmla="*/ 5521167 w 6400800"/>
                <a:gd name="connsiteY464" fmla="*/ 185261 h 514350"/>
                <a:gd name="connsiteX465" fmla="*/ 5520214 w 6400800"/>
                <a:gd name="connsiteY465" fmla="*/ 207169 h 514350"/>
                <a:gd name="connsiteX466" fmla="*/ 5520214 w 6400800"/>
                <a:gd name="connsiteY466" fmla="*/ 232886 h 514350"/>
                <a:gd name="connsiteX467" fmla="*/ 5520214 w 6400800"/>
                <a:gd name="connsiteY467" fmla="*/ 248126 h 514350"/>
                <a:gd name="connsiteX468" fmla="*/ 5520214 w 6400800"/>
                <a:gd name="connsiteY468" fmla="*/ 250984 h 514350"/>
                <a:gd name="connsiteX469" fmla="*/ 5505926 w 6400800"/>
                <a:gd name="connsiteY469" fmla="*/ 291941 h 514350"/>
                <a:gd name="connsiteX470" fmla="*/ 5503069 w 6400800"/>
                <a:gd name="connsiteY470" fmla="*/ 300514 h 514350"/>
                <a:gd name="connsiteX471" fmla="*/ 5498306 w 6400800"/>
                <a:gd name="connsiteY471" fmla="*/ 290989 h 514350"/>
                <a:gd name="connsiteX472" fmla="*/ 5498306 w 6400800"/>
                <a:gd name="connsiteY472" fmla="*/ 285274 h 514350"/>
                <a:gd name="connsiteX473" fmla="*/ 5499259 w 6400800"/>
                <a:gd name="connsiteY473" fmla="*/ 269081 h 514350"/>
                <a:gd name="connsiteX474" fmla="*/ 5494496 w 6400800"/>
                <a:gd name="connsiteY474" fmla="*/ 284321 h 514350"/>
                <a:gd name="connsiteX475" fmla="*/ 5481162 w 6400800"/>
                <a:gd name="connsiteY475" fmla="*/ 257651 h 514350"/>
                <a:gd name="connsiteX476" fmla="*/ 5483067 w 6400800"/>
                <a:gd name="connsiteY476" fmla="*/ 251936 h 514350"/>
                <a:gd name="connsiteX477" fmla="*/ 5492592 w 6400800"/>
                <a:gd name="connsiteY477" fmla="*/ 224314 h 514350"/>
                <a:gd name="connsiteX478" fmla="*/ 5500212 w 6400800"/>
                <a:gd name="connsiteY478" fmla="*/ 200501 h 514350"/>
                <a:gd name="connsiteX479" fmla="*/ 5493544 w 6400800"/>
                <a:gd name="connsiteY479" fmla="*/ 212884 h 514350"/>
                <a:gd name="connsiteX480" fmla="*/ 5502117 w 6400800"/>
                <a:gd name="connsiteY480" fmla="*/ 188119 h 514350"/>
                <a:gd name="connsiteX481" fmla="*/ 5511642 w 6400800"/>
                <a:gd name="connsiteY481" fmla="*/ 160496 h 514350"/>
                <a:gd name="connsiteX482" fmla="*/ 5498306 w 6400800"/>
                <a:gd name="connsiteY482" fmla="*/ 186214 h 514350"/>
                <a:gd name="connsiteX483" fmla="*/ 5484019 w 6400800"/>
                <a:gd name="connsiteY483" fmla="*/ 215741 h 514350"/>
                <a:gd name="connsiteX484" fmla="*/ 5475446 w 6400800"/>
                <a:gd name="connsiteY484" fmla="*/ 233839 h 514350"/>
                <a:gd name="connsiteX485" fmla="*/ 5472589 w 6400800"/>
                <a:gd name="connsiteY485" fmla="*/ 241459 h 514350"/>
                <a:gd name="connsiteX486" fmla="*/ 5461159 w 6400800"/>
                <a:gd name="connsiteY486" fmla="*/ 221456 h 514350"/>
                <a:gd name="connsiteX487" fmla="*/ 5469731 w 6400800"/>
                <a:gd name="connsiteY487" fmla="*/ 248126 h 514350"/>
                <a:gd name="connsiteX488" fmla="*/ 5466874 w 6400800"/>
                <a:gd name="connsiteY488" fmla="*/ 254794 h 514350"/>
                <a:gd name="connsiteX489" fmla="*/ 5465921 w 6400800"/>
                <a:gd name="connsiteY489" fmla="*/ 257651 h 514350"/>
                <a:gd name="connsiteX490" fmla="*/ 5464969 w 6400800"/>
                <a:gd name="connsiteY490" fmla="*/ 256699 h 514350"/>
                <a:gd name="connsiteX491" fmla="*/ 5455444 w 6400800"/>
                <a:gd name="connsiteY491" fmla="*/ 246221 h 514350"/>
                <a:gd name="connsiteX492" fmla="*/ 5452587 w 6400800"/>
                <a:gd name="connsiteY492" fmla="*/ 230029 h 514350"/>
                <a:gd name="connsiteX493" fmla="*/ 5448776 w 6400800"/>
                <a:gd name="connsiteY493" fmla="*/ 214789 h 514350"/>
                <a:gd name="connsiteX494" fmla="*/ 5442109 w 6400800"/>
                <a:gd name="connsiteY494" fmla="*/ 190024 h 514350"/>
                <a:gd name="connsiteX495" fmla="*/ 5442109 w 6400800"/>
                <a:gd name="connsiteY495" fmla="*/ 190024 h 514350"/>
                <a:gd name="connsiteX496" fmla="*/ 5442109 w 6400800"/>
                <a:gd name="connsiteY496" fmla="*/ 180499 h 514350"/>
                <a:gd name="connsiteX497" fmla="*/ 5441156 w 6400800"/>
                <a:gd name="connsiteY497" fmla="*/ 186214 h 514350"/>
                <a:gd name="connsiteX498" fmla="*/ 5436394 w 6400800"/>
                <a:gd name="connsiteY498" fmla="*/ 169069 h 514350"/>
                <a:gd name="connsiteX499" fmla="*/ 5438299 w 6400800"/>
                <a:gd name="connsiteY499" fmla="*/ 190976 h 514350"/>
                <a:gd name="connsiteX500" fmla="*/ 5439251 w 6400800"/>
                <a:gd name="connsiteY500" fmla="*/ 195739 h 514350"/>
                <a:gd name="connsiteX501" fmla="*/ 5433537 w 6400800"/>
                <a:gd name="connsiteY501" fmla="*/ 225266 h 514350"/>
                <a:gd name="connsiteX502" fmla="*/ 5429726 w 6400800"/>
                <a:gd name="connsiteY502" fmla="*/ 221456 h 514350"/>
                <a:gd name="connsiteX503" fmla="*/ 5433537 w 6400800"/>
                <a:gd name="connsiteY503" fmla="*/ 225266 h 514350"/>
                <a:gd name="connsiteX504" fmla="*/ 5430679 w 6400800"/>
                <a:gd name="connsiteY504" fmla="*/ 240506 h 514350"/>
                <a:gd name="connsiteX505" fmla="*/ 5428774 w 6400800"/>
                <a:gd name="connsiteY505" fmla="*/ 228124 h 514350"/>
                <a:gd name="connsiteX506" fmla="*/ 5428774 w 6400800"/>
                <a:gd name="connsiteY506" fmla="*/ 242411 h 514350"/>
                <a:gd name="connsiteX507" fmla="*/ 5424012 w 6400800"/>
                <a:gd name="connsiteY507" fmla="*/ 222409 h 514350"/>
                <a:gd name="connsiteX508" fmla="*/ 5419249 w 6400800"/>
                <a:gd name="connsiteY508" fmla="*/ 200501 h 514350"/>
                <a:gd name="connsiteX509" fmla="*/ 5420201 w 6400800"/>
                <a:gd name="connsiteY509" fmla="*/ 223361 h 514350"/>
                <a:gd name="connsiteX510" fmla="*/ 5424964 w 6400800"/>
                <a:gd name="connsiteY510" fmla="*/ 274796 h 514350"/>
                <a:gd name="connsiteX511" fmla="*/ 5420201 w 6400800"/>
                <a:gd name="connsiteY511" fmla="*/ 299561 h 514350"/>
                <a:gd name="connsiteX512" fmla="*/ 5418296 w 6400800"/>
                <a:gd name="connsiteY512" fmla="*/ 305276 h 514350"/>
                <a:gd name="connsiteX513" fmla="*/ 5415439 w 6400800"/>
                <a:gd name="connsiteY513" fmla="*/ 298609 h 514350"/>
                <a:gd name="connsiteX514" fmla="*/ 5417344 w 6400800"/>
                <a:gd name="connsiteY514" fmla="*/ 291941 h 514350"/>
                <a:gd name="connsiteX515" fmla="*/ 5414487 w 6400800"/>
                <a:gd name="connsiteY515" fmla="*/ 296704 h 514350"/>
                <a:gd name="connsiteX516" fmla="*/ 5414487 w 6400800"/>
                <a:gd name="connsiteY516" fmla="*/ 295751 h 514350"/>
                <a:gd name="connsiteX517" fmla="*/ 5411629 w 6400800"/>
                <a:gd name="connsiteY517" fmla="*/ 287179 h 514350"/>
                <a:gd name="connsiteX518" fmla="*/ 5414487 w 6400800"/>
                <a:gd name="connsiteY518" fmla="*/ 268129 h 514350"/>
                <a:gd name="connsiteX519" fmla="*/ 5409724 w 6400800"/>
                <a:gd name="connsiteY519" fmla="*/ 282416 h 514350"/>
                <a:gd name="connsiteX520" fmla="*/ 5404009 w 6400800"/>
                <a:gd name="connsiteY520" fmla="*/ 267176 h 514350"/>
                <a:gd name="connsiteX521" fmla="*/ 5399246 w 6400800"/>
                <a:gd name="connsiteY521" fmla="*/ 253841 h 514350"/>
                <a:gd name="connsiteX522" fmla="*/ 5400199 w 6400800"/>
                <a:gd name="connsiteY522" fmla="*/ 232886 h 514350"/>
                <a:gd name="connsiteX523" fmla="*/ 5396389 w 6400800"/>
                <a:gd name="connsiteY523" fmla="*/ 247174 h 514350"/>
                <a:gd name="connsiteX524" fmla="*/ 5395437 w 6400800"/>
                <a:gd name="connsiteY524" fmla="*/ 244316 h 514350"/>
                <a:gd name="connsiteX525" fmla="*/ 5387817 w 6400800"/>
                <a:gd name="connsiteY525" fmla="*/ 224314 h 514350"/>
                <a:gd name="connsiteX526" fmla="*/ 5391626 w 6400800"/>
                <a:gd name="connsiteY526" fmla="*/ 245269 h 514350"/>
                <a:gd name="connsiteX527" fmla="*/ 5394484 w 6400800"/>
                <a:gd name="connsiteY527" fmla="*/ 257651 h 514350"/>
                <a:gd name="connsiteX528" fmla="*/ 5384959 w 6400800"/>
                <a:gd name="connsiteY528" fmla="*/ 300514 h 514350"/>
                <a:gd name="connsiteX529" fmla="*/ 5384006 w 6400800"/>
                <a:gd name="connsiteY529" fmla="*/ 297656 h 514350"/>
                <a:gd name="connsiteX530" fmla="*/ 5382101 w 6400800"/>
                <a:gd name="connsiteY530" fmla="*/ 283369 h 514350"/>
                <a:gd name="connsiteX531" fmla="*/ 5382101 w 6400800"/>
                <a:gd name="connsiteY531" fmla="*/ 287179 h 514350"/>
                <a:gd name="connsiteX532" fmla="*/ 5380196 w 6400800"/>
                <a:gd name="connsiteY532" fmla="*/ 276701 h 514350"/>
                <a:gd name="connsiteX533" fmla="*/ 5379244 w 6400800"/>
                <a:gd name="connsiteY533" fmla="*/ 272891 h 514350"/>
                <a:gd name="connsiteX534" fmla="*/ 5380196 w 6400800"/>
                <a:gd name="connsiteY534" fmla="*/ 269081 h 514350"/>
                <a:gd name="connsiteX535" fmla="*/ 5379244 w 6400800"/>
                <a:gd name="connsiteY535" fmla="*/ 271939 h 514350"/>
                <a:gd name="connsiteX536" fmla="*/ 5372576 w 6400800"/>
                <a:gd name="connsiteY536" fmla="*/ 241459 h 514350"/>
                <a:gd name="connsiteX537" fmla="*/ 5373529 w 6400800"/>
                <a:gd name="connsiteY537" fmla="*/ 232886 h 514350"/>
                <a:gd name="connsiteX538" fmla="*/ 5378292 w 6400800"/>
                <a:gd name="connsiteY538" fmla="*/ 190024 h 514350"/>
                <a:gd name="connsiteX539" fmla="*/ 5384006 w 6400800"/>
                <a:gd name="connsiteY539" fmla="*/ 153829 h 514350"/>
                <a:gd name="connsiteX540" fmla="*/ 5386864 w 6400800"/>
                <a:gd name="connsiteY540" fmla="*/ 138589 h 514350"/>
                <a:gd name="connsiteX541" fmla="*/ 5389721 w 6400800"/>
                <a:gd name="connsiteY541" fmla="*/ 126206 h 514350"/>
                <a:gd name="connsiteX542" fmla="*/ 5394484 w 6400800"/>
                <a:gd name="connsiteY542" fmla="*/ 102394 h 514350"/>
                <a:gd name="connsiteX543" fmla="*/ 5385912 w 6400800"/>
                <a:gd name="connsiteY543" fmla="*/ 125254 h 514350"/>
                <a:gd name="connsiteX544" fmla="*/ 5381149 w 6400800"/>
                <a:gd name="connsiteY544" fmla="*/ 137636 h 514350"/>
                <a:gd name="connsiteX545" fmla="*/ 5376387 w 6400800"/>
                <a:gd name="connsiteY545" fmla="*/ 151924 h 514350"/>
                <a:gd name="connsiteX546" fmla="*/ 5366862 w 6400800"/>
                <a:gd name="connsiteY546" fmla="*/ 188119 h 514350"/>
                <a:gd name="connsiteX547" fmla="*/ 5363051 w 6400800"/>
                <a:gd name="connsiteY547" fmla="*/ 205264 h 514350"/>
                <a:gd name="connsiteX548" fmla="*/ 5360194 w 6400800"/>
                <a:gd name="connsiteY548" fmla="*/ 196691 h 514350"/>
                <a:gd name="connsiteX549" fmla="*/ 5361146 w 6400800"/>
                <a:gd name="connsiteY549" fmla="*/ 210979 h 514350"/>
                <a:gd name="connsiteX550" fmla="*/ 5357337 w 6400800"/>
                <a:gd name="connsiteY550" fmla="*/ 230981 h 514350"/>
                <a:gd name="connsiteX551" fmla="*/ 5355431 w 6400800"/>
                <a:gd name="connsiteY551" fmla="*/ 245269 h 514350"/>
                <a:gd name="connsiteX552" fmla="*/ 5354479 w 6400800"/>
                <a:gd name="connsiteY552" fmla="*/ 235744 h 514350"/>
                <a:gd name="connsiteX553" fmla="*/ 5354479 w 6400800"/>
                <a:gd name="connsiteY553" fmla="*/ 230029 h 514350"/>
                <a:gd name="connsiteX554" fmla="*/ 5355431 w 6400800"/>
                <a:gd name="connsiteY554" fmla="*/ 210979 h 514350"/>
                <a:gd name="connsiteX555" fmla="*/ 5352574 w 6400800"/>
                <a:gd name="connsiteY555" fmla="*/ 222409 h 514350"/>
                <a:gd name="connsiteX556" fmla="*/ 5347812 w 6400800"/>
                <a:gd name="connsiteY556" fmla="*/ 190024 h 514350"/>
                <a:gd name="connsiteX557" fmla="*/ 5347812 w 6400800"/>
                <a:gd name="connsiteY557" fmla="*/ 179546 h 514350"/>
                <a:gd name="connsiteX558" fmla="*/ 5347812 w 6400800"/>
                <a:gd name="connsiteY558" fmla="*/ 160496 h 514350"/>
                <a:gd name="connsiteX559" fmla="*/ 5344954 w 6400800"/>
                <a:gd name="connsiteY559" fmla="*/ 173831 h 514350"/>
                <a:gd name="connsiteX560" fmla="*/ 5341144 w 6400800"/>
                <a:gd name="connsiteY560" fmla="*/ 150019 h 514350"/>
                <a:gd name="connsiteX561" fmla="*/ 5342096 w 6400800"/>
                <a:gd name="connsiteY561" fmla="*/ 177641 h 514350"/>
                <a:gd name="connsiteX562" fmla="*/ 5342096 w 6400800"/>
                <a:gd name="connsiteY562" fmla="*/ 187166 h 514350"/>
                <a:gd name="connsiteX563" fmla="*/ 5340192 w 6400800"/>
                <a:gd name="connsiteY563" fmla="*/ 200501 h 514350"/>
                <a:gd name="connsiteX564" fmla="*/ 5337334 w 6400800"/>
                <a:gd name="connsiteY564" fmla="*/ 229076 h 514350"/>
                <a:gd name="connsiteX565" fmla="*/ 5336381 w 6400800"/>
                <a:gd name="connsiteY565" fmla="*/ 263366 h 514350"/>
                <a:gd name="connsiteX566" fmla="*/ 5336381 w 6400800"/>
                <a:gd name="connsiteY566" fmla="*/ 282416 h 514350"/>
                <a:gd name="connsiteX567" fmla="*/ 5336381 w 6400800"/>
                <a:gd name="connsiteY567" fmla="*/ 282416 h 514350"/>
                <a:gd name="connsiteX568" fmla="*/ 5333524 w 6400800"/>
                <a:gd name="connsiteY568" fmla="*/ 293846 h 514350"/>
                <a:gd name="connsiteX569" fmla="*/ 5332571 w 6400800"/>
                <a:gd name="connsiteY569" fmla="*/ 291941 h 514350"/>
                <a:gd name="connsiteX570" fmla="*/ 5327809 w 6400800"/>
                <a:gd name="connsiteY570" fmla="*/ 278606 h 514350"/>
                <a:gd name="connsiteX571" fmla="*/ 5319237 w 6400800"/>
                <a:gd name="connsiteY571" fmla="*/ 252889 h 514350"/>
                <a:gd name="connsiteX572" fmla="*/ 5310664 w 6400800"/>
                <a:gd name="connsiteY572" fmla="*/ 230029 h 514350"/>
                <a:gd name="connsiteX573" fmla="*/ 5315426 w 6400800"/>
                <a:gd name="connsiteY573" fmla="*/ 253841 h 514350"/>
                <a:gd name="connsiteX574" fmla="*/ 5318284 w 6400800"/>
                <a:gd name="connsiteY574" fmla="*/ 267176 h 514350"/>
                <a:gd name="connsiteX575" fmla="*/ 5315426 w 6400800"/>
                <a:gd name="connsiteY575" fmla="*/ 263366 h 514350"/>
                <a:gd name="connsiteX576" fmla="*/ 5320189 w 6400800"/>
                <a:gd name="connsiteY576" fmla="*/ 276701 h 514350"/>
                <a:gd name="connsiteX577" fmla="*/ 5321142 w 6400800"/>
                <a:gd name="connsiteY577" fmla="*/ 281464 h 514350"/>
                <a:gd name="connsiteX578" fmla="*/ 5324951 w 6400800"/>
                <a:gd name="connsiteY578" fmla="*/ 297656 h 514350"/>
                <a:gd name="connsiteX579" fmla="*/ 5326856 w 6400800"/>
                <a:gd name="connsiteY579" fmla="*/ 306229 h 514350"/>
                <a:gd name="connsiteX580" fmla="*/ 5316379 w 6400800"/>
                <a:gd name="connsiteY580" fmla="*/ 322421 h 514350"/>
                <a:gd name="connsiteX581" fmla="*/ 5306854 w 6400800"/>
                <a:gd name="connsiteY581" fmla="*/ 338614 h 514350"/>
                <a:gd name="connsiteX582" fmla="*/ 5298281 w 6400800"/>
                <a:gd name="connsiteY582" fmla="*/ 354806 h 514350"/>
                <a:gd name="connsiteX583" fmla="*/ 5298281 w 6400800"/>
                <a:gd name="connsiteY583" fmla="*/ 344329 h 514350"/>
                <a:gd name="connsiteX584" fmla="*/ 5301139 w 6400800"/>
                <a:gd name="connsiteY584" fmla="*/ 318611 h 514350"/>
                <a:gd name="connsiteX585" fmla="*/ 5305901 w 6400800"/>
                <a:gd name="connsiteY585" fmla="*/ 291941 h 514350"/>
                <a:gd name="connsiteX586" fmla="*/ 5311617 w 6400800"/>
                <a:gd name="connsiteY586" fmla="*/ 269081 h 514350"/>
                <a:gd name="connsiteX587" fmla="*/ 5302092 w 6400800"/>
                <a:gd name="connsiteY587" fmla="*/ 290989 h 514350"/>
                <a:gd name="connsiteX588" fmla="*/ 5299234 w 6400800"/>
                <a:gd name="connsiteY588" fmla="*/ 298609 h 514350"/>
                <a:gd name="connsiteX589" fmla="*/ 5299234 w 6400800"/>
                <a:gd name="connsiteY589" fmla="*/ 263366 h 514350"/>
                <a:gd name="connsiteX590" fmla="*/ 5290662 w 6400800"/>
                <a:gd name="connsiteY590" fmla="*/ 317659 h 514350"/>
                <a:gd name="connsiteX591" fmla="*/ 5289709 w 6400800"/>
                <a:gd name="connsiteY591" fmla="*/ 312896 h 514350"/>
                <a:gd name="connsiteX592" fmla="*/ 5284946 w 6400800"/>
                <a:gd name="connsiteY592" fmla="*/ 295751 h 514350"/>
                <a:gd name="connsiteX593" fmla="*/ 5284946 w 6400800"/>
                <a:gd name="connsiteY593" fmla="*/ 295751 h 514350"/>
                <a:gd name="connsiteX594" fmla="*/ 5284946 w 6400800"/>
                <a:gd name="connsiteY594" fmla="*/ 295751 h 514350"/>
                <a:gd name="connsiteX595" fmla="*/ 5282089 w 6400800"/>
                <a:gd name="connsiteY595" fmla="*/ 284321 h 514350"/>
                <a:gd name="connsiteX596" fmla="*/ 5281137 w 6400800"/>
                <a:gd name="connsiteY596" fmla="*/ 282416 h 514350"/>
                <a:gd name="connsiteX597" fmla="*/ 5288756 w 6400800"/>
                <a:gd name="connsiteY597" fmla="*/ 252889 h 514350"/>
                <a:gd name="connsiteX598" fmla="*/ 5279231 w 6400800"/>
                <a:gd name="connsiteY598" fmla="*/ 273844 h 514350"/>
                <a:gd name="connsiteX599" fmla="*/ 5275421 w 6400800"/>
                <a:gd name="connsiteY599" fmla="*/ 262414 h 514350"/>
                <a:gd name="connsiteX600" fmla="*/ 5268754 w 6400800"/>
                <a:gd name="connsiteY600" fmla="*/ 243364 h 514350"/>
                <a:gd name="connsiteX601" fmla="*/ 5271612 w 6400800"/>
                <a:gd name="connsiteY601" fmla="*/ 262414 h 514350"/>
                <a:gd name="connsiteX602" fmla="*/ 5274469 w 6400800"/>
                <a:gd name="connsiteY602" fmla="*/ 283369 h 514350"/>
                <a:gd name="connsiteX603" fmla="*/ 5263039 w 6400800"/>
                <a:gd name="connsiteY603" fmla="*/ 310039 h 514350"/>
                <a:gd name="connsiteX604" fmla="*/ 5263039 w 6400800"/>
                <a:gd name="connsiteY604" fmla="*/ 302419 h 514350"/>
                <a:gd name="connsiteX605" fmla="*/ 5260181 w 6400800"/>
                <a:gd name="connsiteY605" fmla="*/ 310039 h 514350"/>
                <a:gd name="connsiteX606" fmla="*/ 5260181 w 6400800"/>
                <a:gd name="connsiteY606" fmla="*/ 309086 h 514350"/>
                <a:gd name="connsiteX607" fmla="*/ 5261134 w 6400800"/>
                <a:gd name="connsiteY607" fmla="*/ 301466 h 514350"/>
                <a:gd name="connsiteX608" fmla="*/ 5262087 w 6400800"/>
                <a:gd name="connsiteY608" fmla="*/ 284321 h 514350"/>
                <a:gd name="connsiteX609" fmla="*/ 5263039 w 6400800"/>
                <a:gd name="connsiteY609" fmla="*/ 269081 h 514350"/>
                <a:gd name="connsiteX610" fmla="*/ 5258276 w 6400800"/>
                <a:gd name="connsiteY610" fmla="*/ 283369 h 514350"/>
                <a:gd name="connsiteX611" fmla="*/ 5257324 w 6400800"/>
                <a:gd name="connsiteY611" fmla="*/ 287179 h 514350"/>
                <a:gd name="connsiteX612" fmla="*/ 5255419 w 6400800"/>
                <a:gd name="connsiteY612" fmla="*/ 273844 h 514350"/>
                <a:gd name="connsiteX613" fmla="*/ 5255419 w 6400800"/>
                <a:gd name="connsiteY613" fmla="*/ 271939 h 514350"/>
                <a:gd name="connsiteX614" fmla="*/ 5255419 w 6400800"/>
                <a:gd name="connsiteY614" fmla="*/ 270986 h 514350"/>
                <a:gd name="connsiteX615" fmla="*/ 5256371 w 6400800"/>
                <a:gd name="connsiteY615" fmla="*/ 266224 h 514350"/>
                <a:gd name="connsiteX616" fmla="*/ 5255419 w 6400800"/>
                <a:gd name="connsiteY616" fmla="*/ 268129 h 514350"/>
                <a:gd name="connsiteX617" fmla="*/ 5258276 w 6400800"/>
                <a:gd name="connsiteY617" fmla="*/ 232886 h 514350"/>
                <a:gd name="connsiteX618" fmla="*/ 5263039 w 6400800"/>
                <a:gd name="connsiteY618" fmla="*/ 158591 h 514350"/>
                <a:gd name="connsiteX619" fmla="*/ 5252562 w 6400800"/>
                <a:gd name="connsiteY619" fmla="*/ 204311 h 514350"/>
                <a:gd name="connsiteX620" fmla="*/ 5255419 w 6400800"/>
                <a:gd name="connsiteY620" fmla="*/ 173831 h 514350"/>
                <a:gd name="connsiteX621" fmla="*/ 5258276 w 6400800"/>
                <a:gd name="connsiteY621" fmla="*/ 140494 h 514350"/>
                <a:gd name="connsiteX622" fmla="*/ 5260181 w 6400800"/>
                <a:gd name="connsiteY622" fmla="*/ 110966 h 514350"/>
                <a:gd name="connsiteX623" fmla="*/ 5254467 w 6400800"/>
                <a:gd name="connsiteY623" fmla="*/ 139541 h 514350"/>
                <a:gd name="connsiteX624" fmla="*/ 5247799 w 6400800"/>
                <a:gd name="connsiteY624" fmla="*/ 172879 h 514350"/>
                <a:gd name="connsiteX625" fmla="*/ 5243989 w 6400800"/>
                <a:gd name="connsiteY625" fmla="*/ 192881 h 514350"/>
                <a:gd name="connsiteX626" fmla="*/ 5243037 w 6400800"/>
                <a:gd name="connsiteY626" fmla="*/ 201454 h 514350"/>
                <a:gd name="connsiteX627" fmla="*/ 5241131 w 6400800"/>
                <a:gd name="connsiteY627" fmla="*/ 194786 h 514350"/>
                <a:gd name="connsiteX628" fmla="*/ 5241131 w 6400800"/>
                <a:gd name="connsiteY628" fmla="*/ 209074 h 514350"/>
                <a:gd name="connsiteX629" fmla="*/ 5240179 w 6400800"/>
                <a:gd name="connsiteY629" fmla="*/ 215741 h 514350"/>
                <a:gd name="connsiteX630" fmla="*/ 5235417 w 6400800"/>
                <a:gd name="connsiteY630" fmla="*/ 246221 h 514350"/>
                <a:gd name="connsiteX631" fmla="*/ 5230654 w 6400800"/>
                <a:gd name="connsiteY631" fmla="*/ 252889 h 514350"/>
                <a:gd name="connsiteX632" fmla="*/ 5222081 w 6400800"/>
                <a:gd name="connsiteY632" fmla="*/ 266224 h 514350"/>
                <a:gd name="connsiteX633" fmla="*/ 5215414 w 6400800"/>
                <a:gd name="connsiteY633" fmla="*/ 279559 h 514350"/>
                <a:gd name="connsiteX634" fmla="*/ 5215414 w 6400800"/>
                <a:gd name="connsiteY634" fmla="*/ 278606 h 514350"/>
                <a:gd name="connsiteX635" fmla="*/ 5216367 w 6400800"/>
                <a:gd name="connsiteY635" fmla="*/ 275749 h 514350"/>
                <a:gd name="connsiteX636" fmla="*/ 5215414 w 6400800"/>
                <a:gd name="connsiteY636" fmla="*/ 277654 h 514350"/>
                <a:gd name="connsiteX637" fmla="*/ 5211604 w 6400800"/>
                <a:gd name="connsiteY637" fmla="*/ 249079 h 514350"/>
                <a:gd name="connsiteX638" fmla="*/ 5208746 w 6400800"/>
                <a:gd name="connsiteY638" fmla="*/ 224314 h 514350"/>
                <a:gd name="connsiteX639" fmla="*/ 5205889 w 6400800"/>
                <a:gd name="connsiteY639" fmla="*/ 202406 h 514350"/>
                <a:gd name="connsiteX640" fmla="*/ 5204937 w 6400800"/>
                <a:gd name="connsiteY640" fmla="*/ 224314 h 514350"/>
                <a:gd name="connsiteX641" fmla="*/ 5204937 w 6400800"/>
                <a:gd name="connsiteY641" fmla="*/ 249079 h 514350"/>
                <a:gd name="connsiteX642" fmla="*/ 5204937 w 6400800"/>
                <a:gd name="connsiteY642" fmla="*/ 264319 h 514350"/>
                <a:gd name="connsiteX643" fmla="*/ 5205889 w 6400800"/>
                <a:gd name="connsiteY643" fmla="*/ 281464 h 514350"/>
                <a:gd name="connsiteX644" fmla="*/ 5205889 w 6400800"/>
                <a:gd name="connsiteY644" fmla="*/ 289084 h 514350"/>
                <a:gd name="connsiteX645" fmla="*/ 5203984 w 6400800"/>
                <a:gd name="connsiteY645" fmla="*/ 286226 h 514350"/>
                <a:gd name="connsiteX646" fmla="*/ 5205889 w 6400800"/>
                <a:gd name="connsiteY646" fmla="*/ 290989 h 514350"/>
                <a:gd name="connsiteX647" fmla="*/ 5205889 w 6400800"/>
                <a:gd name="connsiteY647" fmla="*/ 291941 h 514350"/>
                <a:gd name="connsiteX648" fmla="*/ 5203984 w 6400800"/>
                <a:gd name="connsiteY648" fmla="*/ 287179 h 514350"/>
                <a:gd name="connsiteX649" fmla="*/ 5203984 w 6400800"/>
                <a:gd name="connsiteY649" fmla="*/ 287179 h 514350"/>
                <a:gd name="connsiteX650" fmla="*/ 5203984 w 6400800"/>
                <a:gd name="connsiteY650" fmla="*/ 287179 h 514350"/>
                <a:gd name="connsiteX651" fmla="*/ 5199221 w 6400800"/>
                <a:gd name="connsiteY651" fmla="*/ 278606 h 514350"/>
                <a:gd name="connsiteX652" fmla="*/ 5202079 w 6400800"/>
                <a:gd name="connsiteY652" fmla="*/ 290989 h 514350"/>
                <a:gd name="connsiteX653" fmla="*/ 5198269 w 6400800"/>
                <a:gd name="connsiteY653" fmla="*/ 300514 h 514350"/>
                <a:gd name="connsiteX654" fmla="*/ 5195412 w 6400800"/>
                <a:gd name="connsiteY654" fmla="*/ 295751 h 514350"/>
                <a:gd name="connsiteX655" fmla="*/ 5191601 w 6400800"/>
                <a:gd name="connsiteY655" fmla="*/ 263366 h 514350"/>
                <a:gd name="connsiteX656" fmla="*/ 5184934 w 6400800"/>
                <a:gd name="connsiteY656" fmla="*/ 190024 h 514350"/>
                <a:gd name="connsiteX657" fmla="*/ 5183981 w 6400800"/>
                <a:gd name="connsiteY657" fmla="*/ 169069 h 514350"/>
                <a:gd name="connsiteX658" fmla="*/ 5183981 w 6400800"/>
                <a:gd name="connsiteY658" fmla="*/ 161449 h 514350"/>
                <a:gd name="connsiteX659" fmla="*/ 5183029 w 6400800"/>
                <a:gd name="connsiteY659" fmla="*/ 169069 h 514350"/>
                <a:gd name="connsiteX660" fmla="*/ 5181124 w 6400800"/>
                <a:gd name="connsiteY660" fmla="*/ 190024 h 514350"/>
                <a:gd name="connsiteX661" fmla="*/ 5180171 w 6400800"/>
                <a:gd name="connsiteY661" fmla="*/ 211931 h 514350"/>
                <a:gd name="connsiteX662" fmla="*/ 5177314 w 6400800"/>
                <a:gd name="connsiteY662" fmla="*/ 215741 h 514350"/>
                <a:gd name="connsiteX663" fmla="*/ 5165884 w 6400800"/>
                <a:gd name="connsiteY663" fmla="*/ 231934 h 514350"/>
                <a:gd name="connsiteX664" fmla="*/ 5163979 w 6400800"/>
                <a:gd name="connsiteY664" fmla="*/ 235744 h 514350"/>
                <a:gd name="connsiteX665" fmla="*/ 5161121 w 6400800"/>
                <a:gd name="connsiteY665" fmla="*/ 230029 h 514350"/>
                <a:gd name="connsiteX666" fmla="*/ 5161121 w 6400800"/>
                <a:gd name="connsiteY666" fmla="*/ 229076 h 514350"/>
                <a:gd name="connsiteX667" fmla="*/ 5163026 w 6400800"/>
                <a:gd name="connsiteY667" fmla="*/ 213836 h 514350"/>
                <a:gd name="connsiteX668" fmla="*/ 5163979 w 6400800"/>
                <a:gd name="connsiteY668" fmla="*/ 208121 h 514350"/>
                <a:gd name="connsiteX669" fmla="*/ 5158264 w 6400800"/>
                <a:gd name="connsiteY669" fmla="*/ 224314 h 514350"/>
                <a:gd name="connsiteX670" fmla="*/ 5156359 w 6400800"/>
                <a:gd name="connsiteY670" fmla="*/ 220504 h 514350"/>
                <a:gd name="connsiteX671" fmla="*/ 5147787 w 6400800"/>
                <a:gd name="connsiteY671" fmla="*/ 205264 h 514350"/>
                <a:gd name="connsiteX672" fmla="*/ 5144929 w 6400800"/>
                <a:gd name="connsiteY672" fmla="*/ 178594 h 514350"/>
                <a:gd name="connsiteX673" fmla="*/ 5141119 w 6400800"/>
                <a:gd name="connsiteY673" fmla="*/ 149066 h 514350"/>
                <a:gd name="connsiteX674" fmla="*/ 5141119 w 6400800"/>
                <a:gd name="connsiteY674" fmla="*/ 178594 h 514350"/>
                <a:gd name="connsiteX675" fmla="*/ 5141119 w 6400800"/>
                <a:gd name="connsiteY675" fmla="*/ 255746 h 514350"/>
                <a:gd name="connsiteX676" fmla="*/ 5141119 w 6400800"/>
                <a:gd name="connsiteY676" fmla="*/ 258604 h 514350"/>
                <a:gd name="connsiteX677" fmla="*/ 5139214 w 6400800"/>
                <a:gd name="connsiteY677" fmla="*/ 260509 h 514350"/>
                <a:gd name="connsiteX678" fmla="*/ 5134451 w 6400800"/>
                <a:gd name="connsiteY678" fmla="*/ 265271 h 514350"/>
                <a:gd name="connsiteX679" fmla="*/ 5128737 w 6400800"/>
                <a:gd name="connsiteY679" fmla="*/ 184309 h 514350"/>
                <a:gd name="connsiteX680" fmla="*/ 5124926 w 6400800"/>
                <a:gd name="connsiteY680" fmla="*/ 236696 h 514350"/>
                <a:gd name="connsiteX681" fmla="*/ 5119212 w 6400800"/>
                <a:gd name="connsiteY681" fmla="*/ 219551 h 514350"/>
                <a:gd name="connsiteX682" fmla="*/ 5123974 w 6400800"/>
                <a:gd name="connsiteY682" fmla="*/ 249079 h 514350"/>
                <a:gd name="connsiteX683" fmla="*/ 5123021 w 6400800"/>
                <a:gd name="connsiteY683" fmla="*/ 258604 h 514350"/>
                <a:gd name="connsiteX684" fmla="*/ 5120164 w 6400800"/>
                <a:gd name="connsiteY684" fmla="*/ 279559 h 514350"/>
                <a:gd name="connsiteX685" fmla="*/ 5116354 w 6400800"/>
                <a:gd name="connsiteY685" fmla="*/ 285274 h 514350"/>
                <a:gd name="connsiteX686" fmla="*/ 5106829 w 6400800"/>
                <a:gd name="connsiteY686" fmla="*/ 298609 h 514350"/>
                <a:gd name="connsiteX687" fmla="*/ 5103971 w 6400800"/>
                <a:gd name="connsiteY687" fmla="*/ 303371 h 514350"/>
                <a:gd name="connsiteX688" fmla="*/ 5085874 w 6400800"/>
                <a:gd name="connsiteY688" fmla="*/ 261461 h 514350"/>
                <a:gd name="connsiteX689" fmla="*/ 5086826 w 6400800"/>
                <a:gd name="connsiteY689" fmla="*/ 261461 h 514350"/>
                <a:gd name="connsiteX690" fmla="*/ 5091589 w 6400800"/>
                <a:gd name="connsiteY690" fmla="*/ 260509 h 514350"/>
                <a:gd name="connsiteX691" fmla="*/ 5086826 w 6400800"/>
                <a:gd name="connsiteY691" fmla="*/ 260509 h 514350"/>
                <a:gd name="connsiteX692" fmla="*/ 5085874 w 6400800"/>
                <a:gd name="connsiteY692" fmla="*/ 260509 h 514350"/>
                <a:gd name="connsiteX693" fmla="*/ 5071587 w 6400800"/>
                <a:gd name="connsiteY693" fmla="*/ 230029 h 514350"/>
                <a:gd name="connsiteX694" fmla="*/ 5071587 w 6400800"/>
                <a:gd name="connsiteY694" fmla="*/ 222409 h 514350"/>
                <a:gd name="connsiteX695" fmla="*/ 5069681 w 6400800"/>
                <a:gd name="connsiteY695" fmla="*/ 227171 h 514350"/>
                <a:gd name="connsiteX696" fmla="*/ 5062062 w 6400800"/>
                <a:gd name="connsiteY696" fmla="*/ 192881 h 514350"/>
                <a:gd name="connsiteX697" fmla="*/ 5058251 w 6400800"/>
                <a:gd name="connsiteY697" fmla="*/ 174784 h 514350"/>
                <a:gd name="connsiteX698" fmla="*/ 5055394 w 6400800"/>
                <a:gd name="connsiteY698" fmla="*/ 159544 h 514350"/>
                <a:gd name="connsiteX699" fmla="*/ 5049679 w 6400800"/>
                <a:gd name="connsiteY699" fmla="*/ 130016 h 514350"/>
                <a:gd name="connsiteX700" fmla="*/ 5050631 w 6400800"/>
                <a:gd name="connsiteY700" fmla="*/ 159544 h 514350"/>
                <a:gd name="connsiteX701" fmla="*/ 5051584 w 6400800"/>
                <a:gd name="connsiteY701" fmla="*/ 174784 h 514350"/>
                <a:gd name="connsiteX702" fmla="*/ 5053489 w 6400800"/>
                <a:gd name="connsiteY702" fmla="*/ 192881 h 514350"/>
                <a:gd name="connsiteX703" fmla="*/ 5059204 w 6400800"/>
                <a:gd name="connsiteY703" fmla="*/ 236696 h 514350"/>
                <a:gd name="connsiteX704" fmla="*/ 5061109 w 6400800"/>
                <a:gd name="connsiteY704" fmla="*/ 249079 h 514350"/>
                <a:gd name="connsiteX705" fmla="*/ 5055394 w 6400800"/>
                <a:gd name="connsiteY705" fmla="*/ 270034 h 514350"/>
                <a:gd name="connsiteX706" fmla="*/ 5052537 w 6400800"/>
                <a:gd name="connsiteY706" fmla="*/ 271939 h 514350"/>
                <a:gd name="connsiteX707" fmla="*/ 5052537 w 6400800"/>
                <a:gd name="connsiteY707" fmla="*/ 271939 h 514350"/>
                <a:gd name="connsiteX708" fmla="*/ 5051584 w 6400800"/>
                <a:gd name="connsiteY708" fmla="*/ 267176 h 514350"/>
                <a:gd name="connsiteX709" fmla="*/ 5051584 w 6400800"/>
                <a:gd name="connsiteY709" fmla="*/ 269081 h 514350"/>
                <a:gd name="connsiteX710" fmla="*/ 5048726 w 6400800"/>
                <a:gd name="connsiteY710" fmla="*/ 261461 h 514350"/>
                <a:gd name="connsiteX711" fmla="*/ 5048726 w 6400800"/>
                <a:gd name="connsiteY711" fmla="*/ 261461 h 514350"/>
                <a:gd name="connsiteX712" fmla="*/ 5050631 w 6400800"/>
                <a:gd name="connsiteY712" fmla="*/ 252889 h 514350"/>
                <a:gd name="connsiteX713" fmla="*/ 5047774 w 6400800"/>
                <a:gd name="connsiteY713" fmla="*/ 259556 h 514350"/>
                <a:gd name="connsiteX714" fmla="*/ 5039201 w 6400800"/>
                <a:gd name="connsiteY714" fmla="*/ 236696 h 514350"/>
                <a:gd name="connsiteX715" fmla="*/ 5031581 w 6400800"/>
                <a:gd name="connsiteY715" fmla="*/ 214789 h 514350"/>
                <a:gd name="connsiteX716" fmla="*/ 5035392 w 6400800"/>
                <a:gd name="connsiteY716" fmla="*/ 237649 h 514350"/>
                <a:gd name="connsiteX717" fmla="*/ 5039201 w 6400800"/>
                <a:gd name="connsiteY717" fmla="*/ 256699 h 514350"/>
                <a:gd name="connsiteX718" fmla="*/ 5034439 w 6400800"/>
                <a:gd name="connsiteY718" fmla="*/ 265271 h 514350"/>
                <a:gd name="connsiteX719" fmla="*/ 5034439 w 6400800"/>
                <a:gd name="connsiteY719" fmla="*/ 262414 h 514350"/>
                <a:gd name="connsiteX720" fmla="*/ 5030629 w 6400800"/>
                <a:gd name="connsiteY720" fmla="*/ 241459 h 514350"/>
                <a:gd name="connsiteX721" fmla="*/ 5026819 w 6400800"/>
                <a:gd name="connsiteY721" fmla="*/ 223361 h 514350"/>
                <a:gd name="connsiteX722" fmla="*/ 5025867 w 6400800"/>
                <a:gd name="connsiteY722" fmla="*/ 242411 h 514350"/>
                <a:gd name="connsiteX723" fmla="*/ 5025867 w 6400800"/>
                <a:gd name="connsiteY723" fmla="*/ 263366 h 514350"/>
                <a:gd name="connsiteX724" fmla="*/ 5025867 w 6400800"/>
                <a:gd name="connsiteY724" fmla="*/ 276701 h 514350"/>
                <a:gd name="connsiteX725" fmla="*/ 5025867 w 6400800"/>
                <a:gd name="connsiteY725" fmla="*/ 281464 h 514350"/>
                <a:gd name="connsiteX726" fmla="*/ 5010626 w 6400800"/>
                <a:gd name="connsiteY726" fmla="*/ 263366 h 514350"/>
                <a:gd name="connsiteX727" fmla="*/ 4995387 w 6400800"/>
                <a:gd name="connsiteY727" fmla="*/ 248126 h 514350"/>
                <a:gd name="connsiteX728" fmla="*/ 4997292 w 6400800"/>
                <a:gd name="connsiteY728" fmla="*/ 243364 h 514350"/>
                <a:gd name="connsiteX729" fmla="*/ 4994434 w 6400800"/>
                <a:gd name="connsiteY729" fmla="*/ 248126 h 514350"/>
                <a:gd name="connsiteX730" fmla="*/ 4992529 w 6400800"/>
                <a:gd name="connsiteY730" fmla="*/ 246221 h 514350"/>
                <a:gd name="connsiteX731" fmla="*/ 4994434 w 6400800"/>
                <a:gd name="connsiteY731" fmla="*/ 190024 h 514350"/>
                <a:gd name="connsiteX732" fmla="*/ 4983004 w 6400800"/>
                <a:gd name="connsiteY732" fmla="*/ 240506 h 514350"/>
                <a:gd name="connsiteX733" fmla="*/ 4981099 w 6400800"/>
                <a:gd name="connsiteY733" fmla="*/ 238601 h 514350"/>
                <a:gd name="connsiteX734" fmla="*/ 4959192 w 6400800"/>
                <a:gd name="connsiteY734" fmla="*/ 219551 h 514350"/>
                <a:gd name="connsiteX735" fmla="*/ 4978242 w 6400800"/>
                <a:gd name="connsiteY735" fmla="*/ 241459 h 514350"/>
                <a:gd name="connsiteX736" fmla="*/ 4982051 w 6400800"/>
                <a:gd name="connsiteY736" fmla="*/ 246221 h 514350"/>
                <a:gd name="connsiteX737" fmla="*/ 4982051 w 6400800"/>
                <a:gd name="connsiteY737" fmla="*/ 248126 h 514350"/>
                <a:gd name="connsiteX738" fmla="*/ 4976337 w 6400800"/>
                <a:gd name="connsiteY738" fmla="*/ 279559 h 514350"/>
                <a:gd name="connsiteX739" fmla="*/ 4969669 w 6400800"/>
                <a:gd name="connsiteY739" fmla="*/ 290989 h 514350"/>
                <a:gd name="connsiteX740" fmla="*/ 4960144 w 6400800"/>
                <a:gd name="connsiteY740" fmla="*/ 265271 h 514350"/>
                <a:gd name="connsiteX741" fmla="*/ 4960144 w 6400800"/>
                <a:gd name="connsiteY741" fmla="*/ 264319 h 514350"/>
                <a:gd name="connsiteX742" fmla="*/ 4959192 w 6400800"/>
                <a:gd name="connsiteY742" fmla="*/ 237649 h 514350"/>
                <a:gd name="connsiteX743" fmla="*/ 4958239 w 6400800"/>
                <a:gd name="connsiteY743" fmla="*/ 214789 h 514350"/>
                <a:gd name="connsiteX744" fmla="*/ 4968717 w 6400800"/>
                <a:gd name="connsiteY744" fmla="*/ 164306 h 514350"/>
                <a:gd name="connsiteX745" fmla="*/ 4974431 w 6400800"/>
                <a:gd name="connsiteY745" fmla="*/ 134779 h 514350"/>
                <a:gd name="connsiteX746" fmla="*/ 4964906 w 6400800"/>
                <a:gd name="connsiteY746" fmla="*/ 163354 h 514350"/>
                <a:gd name="connsiteX747" fmla="*/ 4955381 w 6400800"/>
                <a:gd name="connsiteY747" fmla="*/ 191929 h 514350"/>
                <a:gd name="connsiteX748" fmla="*/ 4955381 w 6400800"/>
                <a:gd name="connsiteY748" fmla="*/ 176689 h 514350"/>
                <a:gd name="connsiteX749" fmla="*/ 4952524 w 6400800"/>
                <a:gd name="connsiteY749" fmla="*/ 202406 h 514350"/>
                <a:gd name="connsiteX750" fmla="*/ 4952524 w 6400800"/>
                <a:gd name="connsiteY750" fmla="*/ 203359 h 514350"/>
                <a:gd name="connsiteX751" fmla="*/ 4944904 w 6400800"/>
                <a:gd name="connsiteY751" fmla="*/ 227171 h 514350"/>
                <a:gd name="connsiteX752" fmla="*/ 4944904 w 6400800"/>
                <a:gd name="connsiteY752" fmla="*/ 226219 h 514350"/>
                <a:gd name="connsiteX753" fmla="*/ 4936331 w 6400800"/>
                <a:gd name="connsiteY753" fmla="*/ 199549 h 514350"/>
                <a:gd name="connsiteX754" fmla="*/ 4942046 w 6400800"/>
                <a:gd name="connsiteY754" fmla="*/ 236696 h 514350"/>
                <a:gd name="connsiteX755" fmla="*/ 4941094 w 6400800"/>
                <a:gd name="connsiteY755" fmla="*/ 239554 h 514350"/>
                <a:gd name="connsiteX756" fmla="*/ 4922996 w 6400800"/>
                <a:gd name="connsiteY756" fmla="*/ 292894 h 514350"/>
                <a:gd name="connsiteX757" fmla="*/ 4922996 w 6400800"/>
                <a:gd name="connsiteY757" fmla="*/ 289084 h 514350"/>
                <a:gd name="connsiteX758" fmla="*/ 4920139 w 6400800"/>
                <a:gd name="connsiteY758" fmla="*/ 269081 h 514350"/>
                <a:gd name="connsiteX759" fmla="*/ 4919187 w 6400800"/>
                <a:gd name="connsiteY759" fmla="*/ 290036 h 514350"/>
                <a:gd name="connsiteX760" fmla="*/ 4919187 w 6400800"/>
                <a:gd name="connsiteY760" fmla="*/ 296704 h 514350"/>
                <a:gd name="connsiteX761" fmla="*/ 4917281 w 6400800"/>
                <a:gd name="connsiteY761" fmla="*/ 289084 h 514350"/>
                <a:gd name="connsiteX762" fmla="*/ 4911567 w 6400800"/>
                <a:gd name="connsiteY762" fmla="*/ 266224 h 514350"/>
                <a:gd name="connsiteX763" fmla="*/ 4904899 w 6400800"/>
                <a:gd name="connsiteY763" fmla="*/ 246221 h 514350"/>
                <a:gd name="connsiteX764" fmla="*/ 4907756 w 6400800"/>
                <a:gd name="connsiteY764" fmla="*/ 267176 h 514350"/>
                <a:gd name="connsiteX765" fmla="*/ 4909662 w 6400800"/>
                <a:gd name="connsiteY765" fmla="*/ 290989 h 514350"/>
                <a:gd name="connsiteX766" fmla="*/ 4911567 w 6400800"/>
                <a:gd name="connsiteY766" fmla="*/ 321469 h 514350"/>
                <a:gd name="connsiteX767" fmla="*/ 4908709 w 6400800"/>
                <a:gd name="connsiteY767" fmla="*/ 327184 h 514350"/>
                <a:gd name="connsiteX768" fmla="*/ 4902042 w 6400800"/>
                <a:gd name="connsiteY768" fmla="*/ 313849 h 514350"/>
                <a:gd name="connsiteX769" fmla="*/ 4894421 w 6400800"/>
                <a:gd name="connsiteY769" fmla="*/ 298609 h 514350"/>
                <a:gd name="connsiteX770" fmla="*/ 4892517 w 6400800"/>
                <a:gd name="connsiteY770" fmla="*/ 285274 h 514350"/>
                <a:gd name="connsiteX771" fmla="*/ 4891564 w 6400800"/>
                <a:gd name="connsiteY771" fmla="*/ 293846 h 514350"/>
                <a:gd name="connsiteX772" fmla="*/ 4888706 w 6400800"/>
                <a:gd name="connsiteY772" fmla="*/ 289084 h 514350"/>
                <a:gd name="connsiteX773" fmla="*/ 4891564 w 6400800"/>
                <a:gd name="connsiteY773" fmla="*/ 295751 h 514350"/>
                <a:gd name="connsiteX774" fmla="*/ 4887754 w 6400800"/>
                <a:gd name="connsiteY774" fmla="*/ 348139 h 514350"/>
                <a:gd name="connsiteX775" fmla="*/ 4887754 w 6400800"/>
                <a:gd name="connsiteY775" fmla="*/ 357664 h 514350"/>
                <a:gd name="connsiteX776" fmla="*/ 4882991 w 6400800"/>
                <a:gd name="connsiteY776" fmla="*/ 350996 h 514350"/>
                <a:gd name="connsiteX777" fmla="*/ 4882039 w 6400800"/>
                <a:gd name="connsiteY777" fmla="*/ 338614 h 514350"/>
                <a:gd name="connsiteX778" fmla="*/ 4882039 w 6400800"/>
                <a:gd name="connsiteY778" fmla="*/ 337661 h 514350"/>
                <a:gd name="connsiteX779" fmla="*/ 4883944 w 6400800"/>
                <a:gd name="connsiteY779" fmla="*/ 327184 h 514350"/>
                <a:gd name="connsiteX780" fmla="*/ 4885849 w 6400800"/>
                <a:gd name="connsiteY780" fmla="*/ 319564 h 514350"/>
                <a:gd name="connsiteX781" fmla="*/ 4887754 w 6400800"/>
                <a:gd name="connsiteY781" fmla="*/ 312896 h 514350"/>
                <a:gd name="connsiteX782" fmla="*/ 4884896 w 6400800"/>
                <a:gd name="connsiteY782" fmla="*/ 318611 h 514350"/>
                <a:gd name="connsiteX783" fmla="*/ 4882039 w 6400800"/>
                <a:gd name="connsiteY783" fmla="*/ 326231 h 514350"/>
                <a:gd name="connsiteX784" fmla="*/ 4882039 w 6400800"/>
                <a:gd name="connsiteY784" fmla="*/ 328136 h 514350"/>
                <a:gd name="connsiteX785" fmla="*/ 4882039 w 6400800"/>
                <a:gd name="connsiteY785" fmla="*/ 326231 h 514350"/>
                <a:gd name="connsiteX786" fmla="*/ 4877276 w 6400800"/>
                <a:gd name="connsiteY786" fmla="*/ 288131 h 514350"/>
                <a:gd name="connsiteX787" fmla="*/ 4873466 w 6400800"/>
                <a:gd name="connsiteY787" fmla="*/ 263366 h 514350"/>
                <a:gd name="connsiteX788" fmla="*/ 4878229 w 6400800"/>
                <a:gd name="connsiteY788" fmla="*/ 238601 h 514350"/>
                <a:gd name="connsiteX789" fmla="*/ 4882039 w 6400800"/>
                <a:gd name="connsiteY789" fmla="*/ 211931 h 514350"/>
                <a:gd name="connsiteX790" fmla="*/ 4874419 w 6400800"/>
                <a:gd name="connsiteY790" fmla="*/ 237649 h 514350"/>
                <a:gd name="connsiteX791" fmla="*/ 4870609 w 6400800"/>
                <a:gd name="connsiteY791" fmla="*/ 249079 h 514350"/>
                <a:gd name="connsiteX792" fmla="*/ 4866799 w 6400800"/>
                <a:gd name="connsiteY792" fmla="*/ 231934 h 514350"/>
                <a:gd name="connsiteX793" fmla="*/ 4862037 w 6400800"/>
                <a:gd name="connsiteY793" fmla="*/ 210979 h 514350"/>
                <a:gd name="connsiteX794" fmla="*/ 4862989 w 6400800"/>
                <a:gd name="connsiteY794" fmla="*/ 232886 h 514350"/>
                <a:gd name="connsiteX795" fmla="*/ 4863941 w 6400800"/>
                <a:gd name="connsiteY795" fmla="*/ 248126 h 514350"/>
                <a:gd name="connsiteX796" fmla="*/ 4863941 w 6400800"/>
                <a:gd name="connsiteY796" fmla="*/ 261461 h 514350"/>
                <a:gd name="connsiteX797" fmla="*/ 4860131 w 6400800"/>
                <a:gd name="connsiteY797" fmla="*/ 264319 h 514350"/>
                <a:gd name="connsiteX798" fmla="*/ 4843939 w 6400800"/>
                <a:gd name="connsiteY798" fmla="*/ 281464 h 514350"/>
                <a:gd name="connsiteX799" fmla="*/ 4841081 w 6400800"/>
                <a:gd name="connsiteY799" fmla="*/ 270986 h 514350"/>
                <a:gd name="connsiteX800" fmla="*/ 4842987 w 6400800"/>
                <a:gd name="connsiteY800" fmla="*/ 266224 h 514350"/>
                <a:gd name="connsiteX801" fmla="*/ 4841081 w 6400800"/>
                <a:gd name="connsiteY801" fmla="*/ 269081 h 514350"/>
                <a:gd name="connsiteX802" fmla="*/ 4840129 w 6400800"/>
                <a:gd name="connsiteY802" fmla="*/ 262414 h 514350"/>
                <a:gd name="connsiteX803" fmla="*/ 4840129 w 6400800"/>
                <a:gd name="connsiteY803" fmla="*/ 270034 h 514350"/>
                <a:gd name="connsiteX804" fmla="*/ 4833462 w 6400800"/>
                <a:gd name="connsiteY804" fmla="*/ 278606 h 514350"/>
                <a:gd name="connsiteX805" fmla="*/ 4822984 w 6400800"/>
                <a:gd name="connsiteY805" fmla="*/ 294799 h 514350"/>
                <a:gd name="connsiteX806" fmla="*/ 4816316 w 6400800"/>
                <a:gd name="connsiteY806" fmla="*/ 304324 h 514350"/>
                <a:gd name="connsiteX807" fmla="*/ 4809649 w 6400800"/>
                <a:gd name="connsiteY807" fmla="*/ 315754 h 514350"/>
                <a:gd name="connsiteX808" fmla="*/ 4807744 w 6400800"/>
                <a:gd name="connsiteY808" fmla="*/ 318611 h 514350"/>
                <a:gd name="connsiteX809" fmla="*/ 4807744 w 6400800"/>
                <a:gd name="connsiteY809" fmla="*/ 304324 h 514350"/>
                <a:gd name="connsiteX810" fmla="*/ 4803934 w 6400800"/>
                <a:gd name="connsiteY810" fmla="*/ 327184 h 514350"/>
                <a:gd name="connsiteX811" fmla="*/ 4795362 w 6400800"/>
                <a:gd name="connsiteY811" fmla="*/ 342424 h 514350"/>
                <a:gd name="connsiteX812" fmla="*/ 4795362 w 6400800"/>
                <a:gd name="connsiteY812" fmla="*/ 324326 h 514350"/>
                <a:gd name="connsiteX813" fmla="*/ 4795362 w 6400800"/>
                <a:gd name="connsiteY813" fmla="*/ 311944 h 514350"/>
                <a:gd name="connsiteX814" fmla="*/ 4796314 w 6400800"/>
                <a:gd name="connsiteY814" fmla="*/ 302419 h 514350"/>
                <a:gd name="connsiteX815" fmla="*/ 4797266 w 6400800"/>
                <a:gd name="connsiteY815" fmla="*/ 297656 h 514350"/>
                <a:gd name="connsiteX816" fmla="*/ 4803934 w 6400800"/>
                <a:gd name="connsiteY816" fmla="*/ 264319 h 514350"/>
                <a:gd name="connsiteX817" fmla="*/ 4815364 w 6400800"/>
                <a:gd name="connsiteY817" fmla="*/ 192881 h 514350"/>
                <a:gd name="connsiteX818" fmla="*/ 4792504 w 6400800"/>
                <a:gd name="connsiteY818" fmla="*/ 262414 h 514350"/>
                <a:gd name="connsiteX819" fmla="*/ 4790599 w 6400800"/>
                <a:gd name="connsiteY819" fmla="*/ 268129 h 514350"/>
                <a:gd name="connsiteX820" fmla="*/ 4788694 w 6400800"/>
                <a:gd name="connsiteY820" fmla="*/ 250031 h 514350"/>
                <a:gd name="connsiteX821" fmla="*/ 4787741 w 6400800"/>
                <a:gd name="connsiteY821" fmla="*/ 270986 h 514350"/>
                <a:gd name="connsiteX822" fmla="*/ 4787741 w 6400800"/>
                <a:gd name="connsiteY822" fmla="*/ 281464 h 514350"/>
                <a:gd name="connsiteX823" fmla="*/ 4782979 w 6400800"/>
                <a:gd name="connsiteY823" fmla="*/ 299561 h 514350"/>
                <a:gd name="connsiteX824" fmla="*/ 4782979 w 6400800"/>
                <a:gd name="connsiteY824" fmla="*/ 293846 h 514350"/>
                <a:gd name="connsiteX825" fmla="*/ 4784884 w 6400800"/>
                <a:gd name="connsiteY825" fmla="*/ 263366 h 514350"/>
                <a:gd name="connsiteX826" fmla="*/ 4786789 w 6400800"/>
                <a:gd name="connsiteY826" fmla="*/ 239554 h 514350"/>
                <a:gd name="connsiteX827" fmla="*/ 4789647 w 6400800"/>
                <a:gd name="connsiteY827" fmla="*/ 218599 h 514350"/>
                <a:gd name="connsiteX828" fmla="*/ 4782979 w 6400800"/>
                <a:gd name="connsiteY828" fmla="*/ 238601 h 514350"/>
                <a:gd name="connsiteX829" fmla="*/ 4777264 w 6400800"/>
                <a:gd name="connsiteY829" fmla="*/ 262414 h 514350"/>
                <a:gd name="connsiteX830" fmla="*/ 4776312 w 6400800"/>
                <a:gd name="connsiteY830" fmla="*/ 269081 h 514350"/>
                <a:gd name="connsiteX831" fmla="*/ 4773454 w 6400800"/>
                <a:gd name="connsiteY831" fmla="*/ 251936 h 514350"/>
                <a:gd name="connsiteX832" fmla="*/ 4773454 w 6400800"/>
                <a:gd name="connsiteY832" fmla="*/ 284321 h 514350"/>
                <a:gd name="connsiteX833" fmla="*/ 4771549 w 6400800"/>
                <a:gd name="connsiteY833" fmla="*/ 293846 h 514350"/>
                <a:gd name="connsiteX834" fmla="*/ 4771549 w 6400800"/>
                <a:gd name="connsiteY834" fmla="*/ 295751 h 514350"/>
                <a:gd name="connsiteX835" fmla="*/ 4767739 w 6400800"/>
                <a:gd name="connsiteY835" fmla="*/ 260509 h 514350"/>
                <a:gd name="connsiteX836" fmla="*/ 4764881 w 6400800"/>
                <a:gd name="connsiteY836" fmla="*/ 297656 h 514350"/>
                <a:gd name="connsiteX837" fmla="*/ 4755356 w 6400800"/>
                <a:gd name="connsiteY837" fmla="*/ 276701 h 514350"/>
                <a:gd name="connsiteX838" fmla="*/ 4750594 w 6400800"/>
                <a:gd name="connsiteY838" fmla="*/ 270034 h 514350"/>
                <a:gd name="connsiteX839" fmla="*/ 4758214 w 6400800"/>
                <a:gd name="connsiteY839" fmla="*/ 243364 h 514350"/>
                <a:gd name="connsiteX840" fmla="*/ 4780122 w 6400800"/>
                <a:gd name="connsiteY840" fmla="*/ 161449 h 514350"/>
                <a:gd name="connsiteX841" fmla="*/ 4787741 w 6400800"/>
                <a:gd name="connsiteY841" fmla="*/ 130016 h 514350"/>
                <a:gd name="connsiteX842" fmla="*/ 4776312 w 6400800"/>
                <a:gd name="connsiteY842" fmla="*/ 160496 h 514350"/>
                <a:gd name="connsiteX843" fmla="*/ 4747737 w 6400800"/>
                <a:gd name="connsiteY843" fmla="*/ 240506 h 514350"/>
                <a:gd name="connsiteX844" fmla="*/ 4742022 w 6400800"/>
                <a:gd name="connsiteY844" fmla="*/ 257651 h 514350"/>
                <a:gd name="connsiteX845" fmla="*/ 4742022 w 6400800"/>
                <a:gd name="connsiteY845" fmla="*/ 257651 h 514350"/>
                <a:gd name="connsiteX846" fmla="*/ 4727734 w 6400800"/>
                <a:gd name="connsiteY846" fmla="*/ 244316 h 514350"/>
                <a:gd name="connsiteX847" fmla="*/ 4721066 w 6400800"/>
                <a:gd name="connsiteY847" fmla="*/ 240506 h 514350"/>
                <a:gd name="connsiteX848" fmla="*/ 4716304 w 6400800"/>
                <a:gd name="connsiteY848" fmla="*/ 238601 h 514350"/>
                <a:gd name="connsiteX849" fmla="*/ 4712494 w 6400800"/>
                <a:gd name="connsiteY849" fmla="*/ 237649 h 514350"/>
                <a:gd name="connsiteX850" fmla="*/ 4716304 w 6400800"/>
                <a:gd name="connsiteY850" fmla="*/ 239554 h 514350"/>
                <a:gd name="connsiteX851" fmla="*/ 4725829 w 6400800"/>
                <a:gd name="connsiteY851" fmla="*/ 246221 h 514350"/>
                <a:gd name="connsiteX852" fmla="*/ 4736306 w 6400800"/>
                <a:gd name="connsiteY852" fmla="*/ 260509 h 514350"/>
                <a:gd name="connsiteX853" fmla="*/ 4739164 w 6400800"/>
                <a:gd name="connsiteY853" fmla="*/ 266224 h 514350"/>
                <a:gd name="connsiteX854" fmla="*/ 4729639 w 6400800"/>
                <a:gd name="connsiteY854" fmla="*/ 293846 h 514350"/>
                <a:gd name="connsiteX855" fmla="*/ 4728687 w 6400800"/>
                <a:gd name="connsiteY855" fmla="*/ 295751 h 514350"/>
                <a:gd name="connsiteX856" fmla="*/ 4728687 w 6400800"/>
                <a:gd name="connsiteY856" fmla="*/ 294799 h 514350"/>
                <a:gd name="connsiteX857" fmla="*/ 4728687 w 6400800"/>
                <a:gd name="connsiteY857" fmla="*/ 290989 h 514350"/>
                <a:gd name="connsiteX858" fmla="*/ 4727734 w 6400800"/>
                <a:gd name="connsiteY858" fmla="*/ 293846 h 514350"/>
                <a:gd name="connsiteX859" fmla="*/ 4717256 w 6400800"/>
                <a:gd name="connsiteY859" fmla="*/ 270986 h 514350"/>
                <a:gd name="connsiteX860" fmla="*/ 4714399 w 6400800"/>
                <a:gd name="connsiteY860" fmla="*/ 265271 h 514350"/>
                <a:gd name="connsiteX861" fmla="*/ 4716304 w 6400800"/>
                <a:gd name="connsiteY861" fmla="*/ 252889 h 514350"/>
                <a:gd name="connsiteX862" fmla="*/ 4713447 w 6400800"/>
                <a:gd name="connsiteY862" fmla="*/ 262414 h 514350"/>
                <a:gd name="connsiteX863" fmla="*/ 4706779 w 6400800"/>
                <a:gd name="connsiteY863" fmla="*/ 248126 h 514350"/>
                <a:gd name="connsiteX864" fmla="*/ 4712494 w 6400800"/>
                <a:gd name="connsiteY864" fmla="*/ 267176 h 514350"/>
                <a:gd name="connsiteX865" fmla="*/ 4708684 w 6400800"/>
                <a:gd name="connsiteY865" fmla="*/ 277654 h 514350"/>
                <a:gd name="connsiteX866" fmla="*/ 4694397 w 6400800"/>
                <a:gd name="connsiteY866" fmla="*/ 236696 h 514350"/>
                <a:gd name="connsiteX867" fmla="*/ 4702969 w 6400800"/>
                <a:gd name="connsiteY867" fmla="*/ 293846 h 514350"/>
                <a:gd name="connsiteX868" fmla="*/ 4691539 w 6400800"/>
                <a:gd name="connsiteY868" fmla="*/ 331946 h 514350"/>
                <a:gd name="connsiteX869" fmla="*/ 4690587 w 6400800"/>
                <a:gd name="connsiteY869" fmla="*/ 329089 h 514350"/>
                <a:gd name="connsiteX870" fmla="*/ 4682966 w 6400800"/>
                <a:gd name="connsiteY870" fmla="*/ 313849 h 514350"/>
                <a:gd name="connsiteX871" fmla="*/ 4684872 w 6400800"/>
                <a:gd name="connsiteY871" fmla="*/ 322421 h 514350"/>
                <a:gd name="connsiteX872" fmla="*/ 4684872 w 6400800"/>
                <a:gd name="connsiteY872" fmla="*/ 322421 h 514350"/>
                <a:gd name="connsiteX873" fmla="*/ 4671537 w 6400800"/>
                <a:gd name="connsiteY873" fmla="*/ 304324 h 514350"/>
                <a:gd name="connsiteX874" fmla="*/ 4682014 w 6400800"/>
                <a:gd name="connsiteY874" fmla="*/ 324326 h 514350"/>
                <a:gd name="connsiteX875" fmla="*/ 4688681 w 6400800"/>
                <a:gd name="connsiteY875" fmla="*/ 337661 h 514350"/>
                <a:gd name="connsiteX876" fmla="*/ 4689634 w 6400800"/>
                <a:gd name="connsiteY876" fmla="*/ 340519 h 514350"/>
                <a:gd name="connsiteX877" fmla="*/ 4682966 w 6400800"/>
                <a:gd name="connsiteY877" fmla="*/ 366236 h 514350"/>
                <a:gd name="connsiteX878" fmla="*/ 4678204 w 6400800"/>
                <a:gd name="connsiteY878" fmla="*/ 359569 h 514350"/>
                <a:gd name="connsiteX879" fmla="*/ 4669631 w 6400800"/>
                <a:gd name="connsiteY879" fmla="*/ 349091 h 514350"/>
                <a:gd name="connsiteX880" fmla="*/ 4668679 w 6400800"/>
                <a:gd name="connsiteY880" fmla="*/ 348139 h 514350"/>
                <a:gd name="connsiteX881" fmla="*/ 4669631 w 6400800"/>
                <a:gd name="connsiteY881" fmla="*/ 330994 h 514350"/>
                <a:gd name="connsiteX882" fmla="*/ 4669631 w 6400800"/>
                <a:gd name="connsiteY882" fmla="*/ 310991 h 514350"/>
                <a:gd name="connsiteX883" fmla="*/ 4669631 w 6400800"/>
                <a:gd name="connsiteY883" fmla="*/ 313849 h 514350"/>
                <a:gd name="connsiteX884" fmla="*/ 4670584 w 6400800"/>
                <a:gd name="connsiteY884" fmla="*/ 301466 h 514350"/>
                <a:gd name="connsiteX885" fmla="*/ 4670584 w 6400800"/>
                <a:gd name="connsiteY885" fmla="*/ 287179 h 514350"/>
                <a:gd name="connsiteX886" fmla="*/ 4675347 w 6400800"/>
                <a:gd name="connsiteY886" fmla="*/ 274796 h 514350"/>
                <a:gd name="connsiteX887" fmla="*/ 4689634 w 6400800"/>
                <a:gd name="connsiteY887" fmla="*/ 250984 h 514350"/>
                <a:gd name="connsiteX888" fmla="*/ 4681062 w 6400800"/>
                <a:gd name="connsiteY888" fmla="*/ 262414 h 514350"/>
                <a:gd name="connsiteX889" fmla="*/ 4686776 w 6400800"/>
                <a:gd name="connsiteY889" fmla="*/ 248126 h 514350"/>
                <a:gd name="connsiteX890" fmla="*/ 4675347 w 6400800"/>
                <a:gd name="connsiteY890" fmla="*/ 265271 h 514350"/>
                <a:gd name="connsiteX891" fmla="*/ 4670584 w 6400800"/>
                <a:gd name="connsiteY891" fmla="*/ 272891 h 514350"/>
                <a:gd name="connsiteX892" fmla="*/ 4670584 w 6400800"/>
                <a:gd name="connsiteY892" fmla="*/ 268129 h 514350"/>
                <a:gd name="connsiteX893" fmla="*/ 4668679 w 6400800"/>
                <a:gd name="connsiteY893" fmla="*/ 250984 h 514350"/>
                <a:gd name="connsiteX894" fmla="*/ 4669631 w 6400800"/>
                <a:gd name="connsiteY894" fmla="*/ 247174 h 514350"/>
                <a:gd name="connsiteX895" fmla="*/ 4671537 w 6400800"/>
                <a:gd name="connsiteY895" fmla="*/ 222409 h 514350"/>
                <a:gd name="connsiteX896" fmla="*/ 4670584 w 6400800"/>
                <a:gd name="connsiteY896" fmla="*/ 229076 h 514350"/>
                <a:gd name="connsiteX897" fmla="*/ 4666774 w 6400800"/>
                <a:gd name="connsiteY897" fmla="*/ 242411 h 514350"/>
                <a:gd name="connsiteX898" fmla="*/ 4666774 w 6400800"/>
                <a:gd name="connsiteY898" fmla="*/ 241459 h 514350"/>
                <a:gd name="connsiteX899" fmla="*/ 4666774 w 6400800"/>
                <a:gd name="connsiteY899" fmla="*/ 241459 h 514350"/>
                <a:gd name="connsiteX900" fmla="*/ 4666774 w 6400800"/>
                <a:gd name="connsiteY900" fmla="*/ 241459 h 514350"/>
                <a:gd name="connsiteX901" fmla="*/ 4662012 w 6400800"/>
                <a:gd name="connsiteY901" fmla="*/ 228124 h 514350"/>
                <a:gd name="connsiteX902" fmla="*/ 4660106 w 6400800"/>
                <a:gd name="connsiteY902" fmla="*/ 222409 h 514350"/>
                <a:gd name="connsiteX903" fmla="*/ 4661059 w 6400800"/>
                <a:gd name="connsiteY903" fmla="*/ 228124 h 514350"/>
                <a:gd name="connsiteX904" fmla="*/ 4662964 w 6400800"/>
                <a:gd name="connsiteY904" fmla="*/ 244316 h 514350"/>
                <a:gd name="connsiteX905" fmla="*/ 4662964 w 6400800"/>
                <a:gd name="connsiteY905" fmla="*/ 246221 h 514350"/>
                <a:gd name="connsiteX906" fmla="*/ 4662964 w 6400800"/>
                <a:gd name="connsiteY906" fmla="*/ 246221 h 514350"/>
                <a:gd name="connsiteX907" fmla="*/ 4654391 w 6400800"/>
                <a:gd name="connsiteY907" fmla="*/ 262414 h 514350"/>
                <a:gd name="connsiteX908" fmla="*/ 4650581 w 6400800"/>
                <a:gd name="connsiteY908" fmla="*/ 271939 h 514350"/>
                <a:gd name="connsiteX909" fmla="*/ 4646772 w 6400800"/>
                <a:gd name="connsiteY909" fmla="*/ 261461 h 514350"/>
                <a:gd name="connsiteX910" fmla="*/ 4645819 w 6400800"/>
                <a:gd name="connsiteY910" fmla="*/ 259556 h 514350"/>
                <a:gd name="connsiteX911" fmla="*/ 4646772 w 6400800"/>
                <a:gd name="connsiteY911" fmla="*/ 253841 h 514350"/>
                <a:gd name="connsiteX912" fmla="*/ 4653439 w 6400800"/>
                <a:gd name="connsiteY912" fmla="*/ 227171 h 514350"/>
                <a:gd name="connsiteX913" fmla="*/ 4660106 w 6400800"/>
                <a:gd name="connsiteY913" fmla="*/ 204311 h 514350"/>
                <a:gd name="connsiteX914" fmla="*/ 4650581 w 6400800"/>
                <a:gd name="connsiteY914" fmla="*/ 226219 h 514350"/>
                <a:gd name="connsiteX915" fmla="*/ 4641056 w 6400800"/>
                <a:gd name="connsiteY915" fmla="*/ 251936 h 514350"/>
                <a:gd name="connsiteX916" fmla="*/ 4636294 w 6400800"/>
                <a:gd name="connsiteY916" fmla="*/ 267176 h 514350"/>
                <a:gd name="connsiteX917" fmla="*/ 4636294 w 6400800"/>
                <a:gd name="connsiteY917" fmla="*/ 259556 h 514350"/>
                <a:gd name="connsiteX918" fmla="*/ 4638199 w 6400800"/>
                <a:gd name="connsiteY918" fmla="*/ 242411 h 514350"/>
                <a:gd name="connsiteX919" fmla="*/ 4639151 w 6400800"/>
                <a:gd name="connsiteY919" fmla="*/ 235744 h 514350"/>
                <a:gd name="connsiteX920" fmla="*/ 4637247 w 6400800"/>
                <a:gd name="connsiteY920" fmla="*/ 241459 h 514350"/>
                <a:gd name="connsiteX921" fmla="*/ 4632484 w 6400800"/>
                <a:gd name="connsiteY921" fmla="*/ 258604 h 514350"/>
                <a:gd name="connsiteX922" fmla="*/ 4632484 w 6400800"/>
                <a:gd name="connsiteY922" fmla="*/ 258604 h 514350"/>
                <a:gd name="connsiteX923" fmla="*/ 4631531 w 6400800"/>
                <a:gd name="connsiteY923" fmla="*/ 254794 h 514350"/>
                <a:gd name="connsiteX924" fmla="*/ 4632484 w 6400800"/>
                <a:gd name="connsiteY924" fmla="*/ 259556 h 514350"/>
                <a:gd name="connsiteX925" fmla="*/ 4628674 w 6400800"/>
                <a:gd name="connsiteY925" fmla="*/ 285274 h 514350"/>
                <a:gd name="connsiteX926" fmla="*/ 4628674 w 6400800"/>
                <a:gd name="connsiteY926" fmla="*/ 293846 h 514350"/>
                <a:gd name="connsiteX927" fmla="*/ 4625816 w 6400800"/>
                <a:gd name="connsiteY927" fmla="*/ 303371 h 514350"/>
                <a:gd name="connsiteX928" fmla="*/ 4610576 w 6400800"/>
                <a:gd name="connsiteY928" fmla="*/ 293846 h 514350"/>
                <a:gd name="connsiteX929" fmla="*/ 4604862 w 6400800"/>
                <a:gd name="connsiteY929" fmla="*/ 290989 h 514350"/>
                <a:gd name="connsiteX930" fmla="*/ 4610576 w 6400800"/>
                <a:gd name="connsiteY930" fmla="*/ 294799 h 514350"/>
                <a:gd name="connsiteX931" fmla="*/ 4624864 w 6400800"/>
                <a:gd name="connsiteY931" fmla="*/ 307181 h 514350"/>
                <a:gd name="connsiteX932" fmla="*/ 4625816 w 6400800"/>
                <a:gd name="connsiteY932" fmla="*/ 308134 h 514350"/>
                <a:gd name="connsiteX933" fmla="*/ 4622006 w 6400800"/>
                <a:gd name="connsiteY933" fmla="*/ 325279 h 514350"/>
                <a:gd name="connsiteX934" fmla="*/ 4619149 w 6400800"/>
                <a:gd name="connsiteY934" fmla="*/ 343376 h 514350"/>
                <a:gd name="connsiteX935" fmla="*/ 4607719 w 6400800"/>
                <a:gd name="connsiteY935" fmla="*/ 306229 h 514350"/>
                <a:gd name="connsiteX936" fmla="*/ 4602956 w 6400800"/>
                <a:gd name="connsiteY936" fmla="*/ 290989 h 514350"/>
                <a:gd name="connsiteX937" fmla="*/ 4601051 w 6400800"/>
                <a:gd name="connsiteY937" fmla="*/ 269081 h 514350"/>
                <a:gd name="connsiteX938" fmla="*/ 4599147 w 6400800"/>
                <a:gd name="connsiteY938" fmla="*/ 248126 h 514350"/>
                <a:gd name="connsiteX939" fmla="*/ 4597241 w 6400800"/>
                <a:gd name="connsiteY939" fmla="*/ 269081 h 514350"/>
                <a:gd name="connsiteX940" fmla="*/ 4597241 w 6400800"/>
                <a:gd name="connsiteY940" fmla="*/ 271939 h 514350"/>
                <a:gd name="connsiteX941" fmla="*/ 4589622 w 6400800"/>
                <a:gd name="connsiteY941" fmla="*/ 250031 h 514350"/>
                <a:gd name="connsiteX942" fmla="*/ 4589622 w 6400800"/>
                <a:gd name="connsiteY942" fmla="*/ 240506 h 514350"/>
                <a:gd name="connsiteX943" fmla="*/ 4590574 w 6400800"/>
                <a:gd name="connsiteY943" fmla="*/ 197644 h 514350"/>
                <a:gd name="connsiteX944" fmla="*/ 4590574 w 6400800"/>
                <a:gd name="connsiteY944" fmla="*/ 109061 h 514350"/>
                <a:gd name="connsiteX945" fmla="*/ 4579144 w 6400800"/>
                <a:gd name="connsiteY945" fmla="*/ 197644 h 514350"/>
                <a:gd name="connsiteX946" fmla="*/ 4574381 w 6400800"/>
                <a:gd name="connsiteY946" fmla="*/ 240506 h 514350"/>
                <a:gd name="connsiteX947" fmla="*/ 4573429 w 6400800"/>
                <a:gd name="connsiteY947" fmla="*/ 256699 h 514350"/>
                <a:gd name="connsiteX948" fmla="*/ 4572476 w 6400800"/>
                <a:gd name="connsiteY948" fmla="*/ 257651 h 514350"/>
                <a:gd name="connsiteX949" fmla="*/ 4563904 w 6400800"/>
                <a:gd name="connsiteY949" fmla="*/ 265271 h 514350"/>
                <a:gd name="connsiteX950" fmla="*/ 4563904 w 6400800"/>
                <a:gd name="connsiteY950" fmla="*/ 264319 h 514350"/>
                <a:gd name="connsiteX951" fmla="*/ 4559141 w 6400800"/>
                <a:gd name="connsiteY951" fmla="*/ 255746 h 514350"/>
                <a:gd name="connsiteX952" fmla="*/ 4560094 w 6400800"/>
                <a:gd name="connsiteY952" fmla="*/ 249079 h 514350"/>
                <a:gd name="connsiteX953" fmla="*/ 4576287 w 6400800"/>
                <a:gd name="connsiteY953" fmla="*/ 159544 h 514350"/>
                <a:gd name="connsiteX954" fmla="*/ 4550569 w 6400800"/>
                <a:gd name="connsiteY954" fmla="*/ 243364 h 514350"/>
                <a:gd name="connsiteX955" fmla="*/ 4550569 w 6400800"/>
                <a:gd name="connsiteY955" fmla="*/ 243364 h 514350"/>
                <a:gd name="connsiteX956" fmla="*/ 4550569 w 6400800"/>
                <a:gd name="connsiteY956" fmla="*/ 243364 h 514350"/>
                <a:gd name="connsiteX957" fmla="*/ 4549616 w 6400800"/>
                <a:gd name="connsiteY957" fmla="*/ 246221 h 514350"/>
                <a:gd name="connsiteX958" fmla="*/ 4548664 w 6400800"/>
                <a:gd name="connsiteY958" fmla="*/ 248126 h 514350"/>
                <a:gd name="connsiteX959" fmla="*/ 4548664 w 6400800"/>
                <a:gd name="connsiteY959" fmla="*/ 248126 h 514350"/>
                <a:gd name="connsiteX960" fmla="*/ 4548664 w 6400800"/>
                <a:gd name="connsiteY960" fmla="*/ 248126 h 514350"/>
                <a:gd name="connsiteX961" fmla="*/ 4536281 w 6400800"/>
                <a:gd name="connsiteY961" fmla="*/ 292894 h 514350"/>
                <a:gd name="connsiteX962" fmla="*/ 4531519 w 6400800"/>
                <a:gd name="connsiteY962" fmla="*/ 241459 h 514350"/>
                <a:gd name="connsiteX963" fmla="*/ 4525804 w 6400800"/>
                <a:gd name="connsiteY963" fmla="*/ 303371 h 514350"/>
                <a:gd name="connsiteX964" fmla="*/ 4525804 w 6400800"/>
                <a:gd name="connsiteY964" fmla="*/ 309086 h 514350"/>
                <a:gd name="connsiteX965" fmla="*/ 4524851 w 6400800"/>
                <a:gd name="connsiteY965" fmla="*/ 308134 h 514350"/>
                <a:gd name="connsiteX966" fmla="*/ 4525804 w 6400800"/>
                <a:gd name="connsiteY966" fmla="*/ 310039 h 514350"/>
                <a:gd name="connsiteX967" fmla="*/ 4523899 w 6400800"/>
                <a:gd name="connsiteY967" fmla="*/ 333851 h 514350"/>
                <a:gd name="connsiteX968" fmla="*/ 4523899 w 6400800"/>
                <a:gd name="connsiteY968" fmla="*/ 337661 h 514350"/>
                <a:gd name="connsiteX969" fmla="*/ 4522947 w 6400800"/>
                <a:gd name="connsiteY969" fmla="*/ 339566 h 514350"/>
                <a:gd name="connsiteX970" fmla="*/ 4517231 w 6400800"/>
                <a:gd name="connsiteY970" fmla="*/ 322421 h 514350"/>
                <a:gd name="connsiteX971" fmla="*/ 4514374 w 6400800"/>
                <a:gd name="connsiteY971" fmla="*/ 301466 h 514350"/>
                <a:gd name="connsiteX972" fmla="*/ 4517231 w 6400800"/>
                <a:gd name="connsiteY972" fmla="*/ 297656 h 514350"/>
                <a:gd name="connsiteX973" fmla="*/ 4521041 w 6400800"/>
                <a:gd name="connsiteY973" fmla="*/ 291941 h 514350"/>
                <a:gd name="connsiteX974" fmla="*/ 4516279 w 6400800"/>
                <a:gd name="connsiteY974" fmla="*/ 297656 h 514350"/>
                <a:gd name="connsiteX975" fmla="*/ 4514374 w 6400800"/>
                <a:gd name="connsiteY975" fmla="*/ 300514 h 514350"/>
                <a:gd name="connsiteX976" fmla="*/ 4514374 w 6400800"/>
                <a:gd name="connsiteY976" fmla="*/ 298609 h 514350"/>
                <a:gd name="connsiteX977" fmla="*/ 4517231 w 6400800"/>
                <a:gd name="connsiteY977" fmla="*/ 293846 h 514350"/>
                <a:gd name="connsiteX978" fmla="*/ 4520089 w 6400800"/>
                <a:gd name="connsiteY978" fmla="*/ 288131 h 514350"/>
                <a:gd name="connsiteX979" fmla="*/ 4516279 w 6400800"/>
                <a:gd name="connsiteY979" fmla="*/ 292894 h 514350"/>
                <a:gd name="connsiteX980" fmla="*/ 4514374 w 6400800"/>
                <a:gd name="connsiteY980" fmla="*/ 295751 h 514350"/>
                <a:gd name="connsiteX981" fmla="*/ 4512469 w 6400800"/>
                <a:gd name="connsiteY981" fmla="*/ 281464 h 514350"/>
                <a:gd name="connsiteX982" fmla="*/ 4511516 w 6400800"/>
                <a:gd name="connsiteY982" fmla="*/ 268129 h 514350"/>
                <a:gd name="connsiteX983" fmla="*/ 4510564 w 6400800"/>
                <a:gd name="connsiteY983" fmla="*/ 272891 h 514350"/>
                <a:gd name="connsiteX984" fmla="*/ 4506754 w 6400800"/>
                <a:gd name="connsiteY984" fmla="*/ 250984 h 514350"/>
                <a:gd name="connsiteX985" fmla="*/ 4506754 w 6400800"/>
                <a:gd name="connsiteY985" fmla="*/ 292894 h 514350"/>
                <a:gd name="connsiteX986" fmla="*/ 4501991 w 6400800"/>
                <a:gd name="connsiteY986" fmla="*/ 282416 h 514350"/>
                <a:gd name="connsiteX987" fmla="*/ 4494372 w 6400800"/>
                <a:gd name="connsiteY987" fmla="*/ 267176 h 514350"/>
                <a:gd name="connsiteX988" fmla="*/ 4486751 w 6400800"/>
                <a:gd name="connsiteY988" fmla="*/ 254794 h 514350"/>
                <a:gd name="connsiteX989" fmla="*/ 4480084 w 6400800"/>
                <a:gd name="connsiteY989" fmla="*/ 245269 h 514350"/>
                <a:gd name="connsiteX990" fmla="*/ 4474369 w 6400800"/>
                <a:gd name="connsiteY990" fmla="*/ 238601 h 514350"/>
                <a:gd name="connsiteX991" fmla="*/ 4469606 w 6400800"/>
                <a:gd name="connsiteY991" fmla="*/ 233839 h 514350"/>
                <a:gd name="connsiteX992" fmla="*/ 4471512 w 6400800"/>
                <a:gd name="connsiteY992" fmla="*/ 225266 h 514350"/>
                <a:gd name="connsiteX993" fmla="*/ 4477226 w 6400800"/>
                <a:gd name="connsiteY993" fmla="*/ 198596 h 514350"/>
                <a:gd name="connsiteX994" fmla="*/ 4481037 w 6400800"/>
                <a:gd name="connsiteY994" fmla="*/ 175736 h 514350"/>
                <a:gd name="connsiteX995" fmla="*/ 4473416 w 6400800"/>
                <a:gd name="connsiteY995" fmla="*/ 197644 h 514350"/>
                <a:gd name="connsiteX996" fmla="*/ 4463891 w 6400800"/>
                <a:gd name="connsiteY996" fmla="*/ 222409 h 514350"/>
                <a:gd name="connsiteX997" fmla="*/ 4455319 w 6400800"/>
                <a:gd name="connsiteY997" fmla="*/ 244316 h 514350"/>
                <a:gd name="connsiteX998" fmla="*/ 4453414 w 6400800"/>
                <a:gd name="connsiteY998" fmla="*/ 237649 h 514350"/>
                <a:gd name="connsiteX999" fmla="*/ 4454366 w 6400800"/>
                <a:gd name="connsiteY999" fmla="*/ 247174 h 514350"/>
                <a:gd name="connsiteX1000" fmla="*/ 4451509 w 6400800"/>
                <a:gd name="connsiteY1000" fmla="*/ 253841 h 514350"/>
                <a:gd name="connsiteX1001" fmla="*/ 4436269 w 6400800"/>
                <a:gd name="connsiteY1001" fmla="*/ 289084 h 514350"/>
                <a:gd name="connsiteX1002" fmla="*/ 4435316 w 6400800"/>
                <a:gd name="connsiteY1002" fmla="*/ 287179 h 514350"/>
                <a:gd name="connsiteX1003" fmla="*/ 4438174 w 6400800"/>
                <a:gd name="connsiteY1003" fmla="*/ 274796 h 514350"/>
                <a:gd name="connsiteX1004" fmla="*/ 4444841 w 6400800"/>
                <a:gd name="connsiteY1004" fmla="*/ 247174 h 514350"/>
                <a:gd name="connsiteX1005" fmla="*/ 4454366 w 6400800"/>
                <a:gd name="connsiteY1005" fmla="*/ 195739 h 514350"/>
                <a:gd name="connsiteX1006" fmla="*/ 4460081 w 6400800"/>
                <a:gd name="connsiteY1006" fmla="*/ 151924 h 514350"/>
                <a:gd name="connsiteX1007" fmla="*/ 4461987 w 6400800"/>
                <a:gd name="connsiteY1007" fmla="*/ 133826 h 514350"/>
                <a:gd name="connsiteX1008" fmla="*/ 4462939 w 6400800"/>
                <a:gd name="connsiteY1008" fmla="*/ 118586 h 514350"/>
                <a:gd name="connsiteX1009" fmla="*/ 4463891 w 6400800"/>
                <a:gd name="connsiteY1009" fmla="*/ 89059 h 514350"/>
                <a:gd name="connsiteX1010" fmla="*/ 4458176 w 6400800"/>
                <a:gd name="connsiteY1010" fmla="*/ 118586 h 514350"/>
                <a:gd name="connsiteX1011" fmla="*/ 4455319 w 6400800"/>
                <a:gd name="connsiteY1011" fmla="*/ 133826 h 514350"/>
                <a:gd name="connsiteX1012" fmla="*/ 4451509 w 6400800"/>
                <a:gd name="connsiteY1012" fmla="*/ 151924 h 514350"/>
                <a:gd name="connsiteX1013" fmla="*/ 4441984 w 6400800"/>
                <a:gd name="connsiteY1013" fmla="*/ 194786 h 514350"/>
                <a:gd name="connsiteX1014" fmla="*/ 4428649 w 6400800"/>
                <a:gd name="connsiteY1014" fmla="*/ 245269 h 514350"/>
                <a:gd name="connsiteX1015" fmla="*/ 4421981 w 6400800"/>
                <a:gd name="connsiteY1015" fmla="*/ 269081 h 514350"/>
                <a:gd name="connsiteX1016" fmla="*/ 4414362 w 6400800"/>
                <a:gd name="connsiteY1016" fmla="*/ 258604 h 514350"/>
                <a:gd name="connsiteX1017" fmla="*/ 4394359 w 6400800"/>
                <a:gd name="connsiteY1017" fmla="*/ 230029 h 514350"/>
                <a:gd name="connsiteX1018" fmla="*/ 4387691 w 6400800"/>
                <a:gd name="connsiteY1018" fmla="*/ 221456 h 514350"/>
                <a:gd name="connsiteX1019" fmla="*/ 4395312 w 6400800"/>
                <a:gd name="connsiteY1019" fmla="*/ 180499 h 514350"/>
                <a:gd name="connsiteX1020" fmla="*/ 4382929 w 6400800"/>
                <a:gd name="connsiteY1020" fmla="*/ 215741 h 514350"/>
                <a:gd name="connsiteX1021" fmla="*/ 4375309 w 6400800"/>
                <a:gd name="connsiteY1021" fmla="*/ 206216 h 514350"/>
                <a:gd name="connsiteX1022" fmla="*/ 4381976 w 6400800"/>
                <a:gd name="connsiteY1022" fmla="*/ 218599 h 514350"/>
                <a:gd name="connsiteX1023" fmla="*/ 4369594 w 6400800"/>
                <a:gd name="connsiteY1023" fmla="*/ 259556 h 514350"/>
                <a:gd name="connsiteX1024" fmla="*/ 4368641 w 6400800"/>
                <a:gd name="connsiteY1024" fmla="*/ 241459 h 514350"/>
                <a:gd name="connsiteX1025" fmla="*/ 4366737 w 6400800"/>
                <a:gd name="connsiteY1025" fmla="*/ 263366 h 514350"/>
                <a:gd name="connsiteX1026" fmla="*/ 4365784 w 6400800"/>
                <a:gd name="connsiteY1026" fmla="*/ 274796 h 514350"/>
                <a:gd name="connsiteX1027" fmla="*/ 4362926 w 6400800"/>
                <a:gd name="connsiteY1027" fmla="*/ 285274 h 514350"/>
                <a:gd name="connsiteX1028" fmla="*/ 4362926 w 6400800"/>
                <a:gd name="connsiteY1028" fmla="*/ 282416 h 514350"/>
                <a:gd name="connsiteX1029" fmla="*/ 4361022 w 6400800"/>
                <a:gd name="connsiteY1029" fmla="*/ 261461 h 514350"/>
                <a:gd name="connsiteX1030" fmla="*/ 4359116 w 6400800"/>
                <a:gd name="connsiteY1030" fmla="*/ 283369 h 514350"/>
                <a:gd name="connsiteX1031" fmla="*/ 4359116 w 6400800"/>
                <a:gd name="connsiteY1031" fmla="*/ 290989 h 514350"/>
                <a:gd name="connsiteX1032" fmla="*/ 4357212 w 6400800"/>
                <a:gd name="connsiteY1032" fmla="*/ 295751 h 514350"/>
                <a:gd name="connsiteX1033" fmla="*/ 4351497 w 6400800"/>
                <a:gd name="connsiteY1033" fmla="*/ 284321 h 514350"/>
                <a:gd name="connsiteX1034" fmla="*/ 4351497 w 6400800"/>
                <a:gd name="connsiteY1034" fmla="*/ 257651 h 514350"/>
                <a:gd name="connsiteX1035" fmla="*/ 4351497 w 6400800"/>
                <a:gd name="connsiteY1035" fmla="*/ 238601 h 514350"/>
                <a:gd name="connsiteX1036" fmla="*/ 4349591 w 6400800"/>
                <a:gd name="connsiteY1036" fmla="*/ 221456 h 514350"/>
                <a:gd name="connsiteX1037" fmla="*/ 4345781 w 6400800"/>
                <a:gd name="connsiteY1037" fmla="*/ 194786 h 514350"/>
                <a:gd name="connsiteX1038" fmla="*/ 4342924 w 6400800"/>
                <a:gd name="connsiteY1038" fmla="*/ 170974 h 514350"/>
                <a:gd name="connsiteX1039" fmla="*/ 4341972 w 6400800"/>
                <a:gd name="connsiteY1039" fmla="*/ 194786 h 514350"/>
                <a:gd name="connsiteX1040" fmla="*/ 4341972 w 6400800"/>
                <a:gd name="connsiteY1040" fmla="*/ 217646 h 514350"/>
                <a:gd name="connsiteX1041" fmla="*/ 4340066 w 6400800"/>
                <a:gd name="connsiteY1041" fmla="*/ 205264 h 514350"/>
                <a:gd name="connsiteX1042" fmla="*/ 4339114 w 6400800"/>
                <a:gd name="connsiteY1042" fmla="*/ 226219 h 514350"/>
                <a:gd name="connsiteX1043" fmla="*/ 4338162 w 6400800"/>
                <a:gd name="connsiteY1043" fmla="*/ 250031 h 514350"/>
                <a:gd name="connsiteX1044" fmla="*/ 4338162 w 6400800"/>
                <a:gd name="connsiteY1044" fmla="*/ 252889 h 514350"/>
                <a:gd name="connsiteX1045" fmla="*/ 4337209 w 6400800"/>
                <a:gd name="connsiteY1045" fmla="*/ 250984 h 514350"/>
                <a:gd name="connsiteX1046" fmla="*/ 4318159 w 6400800"/>
                <a:gd name="connsiteY1046" fmla="*/ 196691 h 514350"/>
                <a:gd name="connsiteX1047" fmla="*/ 4289584 w 6400800"/>
                <a:gd name="connsiteY1047" fmla="*/ 116681 h 514350"/>
                <a:gd name="connsiteX1048" fmla="*/ 4278154 w 6400800"/>
                <a:gd name="connsiteY1048" fmla="*/ 86201 h 514350"/>
                <a:gd name="connsiteX1049" fmla="*/ 4285774 w 6400800"/>
                <a:gd name="connsiteY1049" fmla="*/ 117634 h 514350"/>
                <a:gd name="connsiteX1050" fmla="*/ 4307681 w 6400800"/>
                <a:gd name="connsiteY1050" fmla="*/ 199549 h 514350"/>
                <a:gd name="connsiteX1051" fmla="*/ 4334351 w 6400800"/>
                <a:gd name="connsiteY1051" fmla="*/ 295751 h 514350"/>
                <a:gd name="connsiteX1052" fmla="*/ 4334351 w 6400800"/>
                <a:gd name="connsiteY1052" fmla="*/ 296704 h 514350"/>
                <a:gd name="connsiteX1053" fmla="*/ 4334351 w 6400800"/>
                <a:gd name="connsiteY1053" fmla="*/ 294799 h 514350"/>
                <a:gd name="connsiteX1054" fmla="*/ 4334351 w 6400800"/>
                <a:gd name="connsiteY1054" fmla="*/ 301466 h 514350"/>
                <a:gd name="connsiteX1055" fmla="*/ 4333399 w 6400800"/>
                <a:gd name="connsiteY1055" fmla="*/ 315754 h 514350"/>
                <a:gd name="connsiteX1056" fmla="*/ 4329589 w 6400800"/>
                <a:gd name="connsiteY1056" fmla="*/ 344329 h 514350"/>
                <a:gd name="connsiteX1057" fmla="*/ 4328637 w 6400800"/>
                <a:gd name="connsiteY1057" fmla="*/ 343376 h 514350"/>
                <a:gd name="connsiteX1058" fmla="*/ 4326731 w 6400800"/>
                <a:gd name="connsiteY1058" fmla="*/ 340519 h 514350"/>
                <a:gd name="connsiteX1059" fmla="*/ 4325779 w 6400800"/>
                <a:gd name="connsiteY1059" fmla="*/ 333851 h 514350"/>
                <a:gd name="connsiteX1060" fmla="*/ 4315301 w 6400800"/>
                <a:gd name="connsiteY1060" fmla="*/ 267176 h 514350"/>
                <a:gd name="connsiteX1061" fmla="*/ 4301966 w 6400800"/>
                <a:gd name="connsiteY1061" fmla="*/ 202406 h 514350"/>
                <a:gd name="connsiteX1062" fmla="*/ 4303872 w 6400800"/>
                <a:gd name="connsiteY1062" fmla="*/ 268129 h 514350"/>
                <a:gd name="connsiteX1063" fmla="*/ 4303872 w 6400800"/>
                <a:gd name="connsiteY1063" fmla="*/ 274796 h 514350"/>
                <a:gd name="connsiteX1064" fmla="*/ 4301966 w 6400800"/>
                <a:gd name="connsiteY1064" fmla="*/ 290036 h 514350"/>
                <a:gd name="connsiteX1065" fmla="*/ 4300062 w 6400800"/>
                <a:gd name="connsiteY1065" fmla="*/ 300514 h 514350"/>
                <a:gd name="connsiteX1066" fmla="*/ 4288631 w 6400800"/>
                <a:gd name="connsiteY1066" fmla="*/ 286226 h 514350"/>
                <a:gd name="connsiteX1067" fmla="*/ 4299109 w 6400800"/>
                <a:gd name="connsiteY1067" fmla="*/ 305276 h 514350"/>
                <a:gd name="connsiteX1068" fmla="*/ 4296251 w 6400800"/>
                <a:gd name="connsiteY1068" fmla="*/ 323374 h 514350"/>
                <a:gd name="connsiteX1069" fmla="*/ 4292441 w 6400800"/>
                <a:gd name="connsiteY1069" fmla="*/ 346234 h 514350"/>
                <a:gd name="connsiteX1070" fmla="*/ 4290537 w 6400800"/>
                <a:gd name="connsiteY1070" fmla="*/ 343376 h 514350"/>
                <a:gd name="connsiteX1071" fmla="*/ 4288631 w 6400800"/>
                <a:gd name="connsiteY1071" fmla="*/ 308134 h 514350"/>
                <a:gd name="connsiteX1072" fmla="*/ 4281964 w 6400800"/>
                <a:gd name="connsiteY1072" fmla="*/ 231934 h 514350"/>
                <a:gd name="connsiteX1073" fmla="*/ 4277201 w 6400800"/>
                <a:gd name="connsiteY1073" fmla="*/ 309086 h 514350"/>
                <a:gd name="connsiteX1074" fmla="*/ 4277201 w 6400800"/>
                <a:gd name="connsiteY1074" fmla="*/ 318611 h 514350"/>
                <a:gd name="connsiteX1075" fmla="*/ 4273391 w 6400800"/>
                <a:gd name="connsiteY1075" fmla="*/ 310039 h 514350"/>
                <a:gd name="connsiteX1076" fmla="*/ 4272439 w 6400800"/>
                <a:gd name="connsiteY1076" fmla="*/ 303371 h 514350"/>
                <a:gd name="connsiteX1077" fmla="*/ 4270534 w 6400800"/>
                <a:gd name="connsiteY1077" fmla="*/ 273844 h 514350"/>
                <a:gd name="connsiteX1078" fmla="*/ 4269581 w 6400800"/>
                <a:gd name="connsiteY1078" fmla="*/ 260509 h 514350"/>
                <a:gd name="connsiteX1079" fmla="*/ 4269581 w 6400800"/>
                <a:gd name="connsiteY1079" fmla="*/ 255746 h 514350"/>
                <a:gd name="connsiteX1080" fmla="*/ 4270534 w 6400800"/>
                <a:gd name="connsiteY1080" fmla="*/ 234791 h 514350"/>
                <a:gd name="connsiteX1081" fmla="*/ 4273391 w 6400800"/>
                <a:gd name="connsiteY1081" fmla="*/ 155734 h 514350"/>
                <a:gd name="connsiteX1082" fmla="*/ 4259104 w 6400800"/>
                <a:gd name="connsiteY1082" fmla="*/ 233839 h 514350"/>
                <a:gd name="connsiteX1083" fmla="*/ 4253389 w 6400800"/>
                <a:gd name="connsiteY1083" fmla="*/ 271939 h 514350"/>
                <a:gd name="connsiteX1084" fmla="*/ 4252437 w 6400800"/>
                <a:gd name="connsiteY1084" fmla="*/ 270034 h 514350"/>
                <a:gd name="connsiteX1085" fmla="*/ 4253389 w 6400800"/>
                <a:gd name="connsiteY1085" fmla="*/ 262414 h 514350"/>
                <a:gd name="connsiteX1086" fmla="*/ 4255294 w 6400800"/>
                <a:gd name="connsiteY1086" fmla="*/ 240506 h 514350"/>
                <a:gd name="connsiteX1087" fmla="*/ 4249579 w 6400800"/>
                <a:gd name="connsiteY1087" fmla="*/ 262414 h 514350"/>
                <a:gd name="connsiteX1088" fmla="*/ 4248626 w 6400800"/>
                <a:gd name="connsiteY1088" fmla="*/ 264319 h 514350"/>
                <a:gd name="connsiteX1089" fmla="*/ 4246722 w 6400800"/>
                <a:gd name="connsiteY1089" fmla="*/ 261461 h 514350"/>
                <a:gd name="connsiteX1090" fmla="*/ 4244816 w 6400800"/>
                <a:gd name="connsiteY1090" fmla="*/ 257651 h 514350"/>
                <a:gd name="connsiteX1091" fmla="*/ 4244816 w 6400800"/>
                <a:gd name="connsiteY1091" fmla="*/ 251936 h 514350"/>
                <a:gd name="connsiteX1092" fmla="*/ 4243864 w 6400800"/>
                <a:gd name="connsiteY1092" fmla="*/ 256699 h 514350"/>
                <a:gd name="connsiteX1093" fmla="*/ 4240054 w 6400800"/>
                <a:gd name="connsiteY1093" fmla="*/ 251936 h 514350"/>
                <a:gd name="connsiteX1094" fmla="*/ 4229576 w 6400800"/>
                <a:gd name="connsiteY1094" fmla="*/ 235744 h 514350"/>
                <a:gd name="connsiteX1095" fmla="*/ 4220051 w 6400800"/>
                <a:gd name="connsiteY1095" fmla="*/ 222409 h 514350"/>
                <a:gd name="connsiteX1096" fmla="*/ 4226719 w 6400800"/>
                <a:gd name="connsiteY1096" fmla="*/ 237649 h 514350"/>
                <a:gd name="connsiteX1097" fmla="*/ 4234339 w 6400800"/>
                <a:gd name="connsiteY1097" fmla="*/ 254794 h 514350"/>
                <a:gd name="connsiteX1098" fmla="*/ 4236244 w 6400800"/>
                <a:gd name="connsiteY1098" fmla="*/ 258604 h 514350"/>
                <a:gd name="connsiteX1099" fmla="*/ 4231481 w 6400800"/>
                <a:gd name="connsiteY1099" fmla="*/ 251936 h 514350"/>
                <a:gd name="connsiteX1100" fmla="*/ 4220051 w 6400800"/>
                <a:gd name="connsiteY1100" fmla="*/ 237649 h 514350"/>
                <a:gd name="connsiteX1101" fmla="*/ 4202906 w 6400800"/>
                <a:gd name="connsiteY1101" fmla="*/ 219551 h 514350"/>
                <a:gd name="connsiteX1102" fmla="*/ 4196239 w 6400800"/>
                <a:gd name="connsiteY1102" fmla="*/ 213836 h 514350"/>
                <a:gd name="connsiteX1103" fmla="*/ 4201954 w 6400800"/>
                <a:gd name="connsiteY1103" fmla="*/ 220504 h 514350"/>
                <a:gd name="connsiteX1104" fmla="*/ 4216241 w 6400800"/>
                <a:gd name="connsiteY1104" fmla="*/ 240506 h 514350"/>
                <a:gd name="connsiteX1105" fmla="*/ 4225766 w 6400800"/>
                <a:gd name="connsiteY1105" fmla="*/ 255746 h 514350"/>
                <a:gd name="connsiteX1106" fmla="*/ 4235291 w 6400800"/>
                <a:gd name="connsiteY1106" fmla="*/ 273844 h 514350"/>
                <a:gd name="connsiteX1107" fmla="*/ 4235291 w 6400800"/>
                <a:gd name="connsiteY1107" fmla="*/ 274796 h 514350"/>
                <a:gd name="connsiteX1108" fmla="*/ 4235291 w 6400800"/>
                <a:gd name="connsiteY1108" fmla="*/ 282416 h 514350"/>
                <a:gd name="connsiteX1109" fmla="*/ 4234339 w 6400800"/>
                <a:gd name="connsiteY1109" fmla="*/ 281464 h 514350"/>
                <a:gd name="connsiteX1110" fmla="*/ 4229576 w 6400800"/>
                <a:gd name="connsiteY1110" fmla="*/ 276701 h 514350"/>
                <a:gd name="connsiteX1111" fmla="*/ 4233387 w 6400800"/>
                <a:gd name="connsiteY1111" fmla="*/ 282416 h 514350"/>
                <a:gd name="connsiteX1112" fmla="*/ 4235291 w 6400800"/>
                <a:gd name="connsiteY1112" fmla="*/ 284321 h 514350"/>
                <a:gd name="connsiteX1113" fmla="*/ 4235291 w 6400800"/>
                <a:gd name="connsiteY1113" fmla="*/ 285274 h 514350"/>
                <a:gd name="connsiteX1114" fmla="*/ 4229576 w 6400800"/>
                <a:gd name="connsiteY1114" fmla="*/ 310039 h 514350"/>
                <a:gd name="connsiteX1115" fmla="*/ 4222909 w 6400800"/>
                <a:gd name="connsiteY1115" fmla="*/ 295751 h 514350"/>
                <a:gd name="connsiteX1116" fmla="*/ 4228624 w 6400800"/>
                <a:gd name="connsiteY1116" fmla="*/ 316706 h 514350"/>
                <a:gd name="connsiteX1117" fmla="*/ 4226719 w 6400800"/>
                <a:gd name="connsiteY1117" fmla="*/ 327184 h 514350"/>
                <a:gd name="connsiteX1118" fmla="*/ 4223862 w 6400800"/>
                <a:gd name="connsiteY1118" fmla="*/ 341471 h 514350"/>
                <a:gd name="connsiteX1119" fmla="*/ 4222909 w 6400800"/>
                <a:gd name="connsiteY1119" fmla="*/ 334804 h 514350"/>
                <a:gd name="connsiteX1120" fmla="*/ 4219099 w 6400800"/>
                <a:gd name="connsiteY1120" fmla="*/ 311944 h 514350"/>
                <a:gd name="connsiteX1121" fmla="*/ 4219099 w 6400800"/>
                <a:gd name="connsiteY1121" fmla="*/ 331946 h 514350"/>
                <a:gd name="connsiteX1122" fmla="*/ 4217194 w 6400800"/>
                <a:gd name="connsiteY1122" fmla="*/ 322421 h 514350"/>
                <a:gd name="connsiteX1123" fmla="*/ 4198144 w 6400800"/>
                <a:gd name="connsiteY1123" fmla="*/ 240506 h 514350"/>
                <a:gd name="connsiteX1124" fmla="*/ 4205764 w 6400800"/>
                <a:gd name="connsiteY1124" fmla="*/ 323374 h 514350"/>
                <a:gd name="connsiteX1125" fmla="*/ 4210526 w 6400800"/>
                <a:gd name="connsiteY1125" fmla="*/ 364331 h 514350"/>
                <a:gd name="connsiteX1126" fmla="*/ 4210526 w 6400800"/>
                <a:gd name="connsiteY1126" fmla="*/ 363379 h 514350"/>
                <a:gd name="connsiteX1127" fmla="*/ 4206716 w 6400800"/>
                <a:gd name="connsiteY1127" fmla="*/ 350044 h 514350"/>
                <a:gd name="connsiteX1128" fmla="*/ 4202906 w 6400800"/>
                <a:gd name="connsiteY1128" fmla="*/ 338614 h 514350"/>
                <a:gd name="connsiteX1129" fmla="*/ 4202906 w 6400800"/>
                <a:gd name="connsiteY1129" fmla="*/ 350996 h 514350"/>
                <a:gd name="connsiteX1130" fmla="*/ 4202906 w 6400800"/>
                <a:gd name="connsiteY1130" fmla="*/ 365284 h 514350"/>
                <a:gd name="connsiteX1131" fmla="*/ 4202906 w 6400800"/>
                <a:gd name="connsiteY1131" fmla="*/ 373856 h 514350"/>
                <a:gd name="connsiteX1132" fmla="*/ 4202906 w 6400800"/>
                <a:gd name="connsiteY1132" fmla="*/ 380524 h 514350"/>
                <a:gd name="connsiteX1133" fmla="*/ 4201954 w 6400800"/>
                <a:gd name="connsiteY1133" fmla="*/ 378619 h 514350"/>
                <a:gd name="connsiteX1134" fmla="*/ 4201001 w 6400800"/>
                <a:gd name="connsiteY1134" fmla="*/ 361474 h 514350"/>
                <a:gd name="connsiteX1135" fmla="*/ 4196239 w 6400800"/>
                <a:gd name="connsiteY1135" fmla="*/ 290989 h 514350"/>
                <a:gd name="connsiteX1136" fmla="*/ 4191476 w 6400800"/>
                <a:gd name="connsiteY1136" fmla="*/ 343376 h 514350"/>
                <a:gd name="connsiteX1137" fmla="*/ 4188619 w 6400800"/>
                <a:gd name="connsiteY1137" fmla="*/ 335756 h 514350"/>
                <a:gd name="connsiteX1138" fmla="*/ 4181951 w 6400800"/>
                <a:gd name="connsiteY1138" fmla="*/ 319564 h 514350"/>
                <a:gd name="connsiteX1139" fmla="*/ 4180999 w 6400800"/>
                <a:gd name="connsiteY1139" fmla="*/ 316706 h 514350"/>
                <a:gd name="connsiteX1140" fmla="*/ 4180999 w 6400800"/>
                <a:gd name="connsiteY1140" fmla="*/ 256699 h 514350"/>
                <a:gd name="connsiteX1141" fmla="*/ 4180999 w 6400800"/>
                <a:gd name="connsiteY1141" fmla="*/ 230029 h 514350"/>
                <a:gd name="connsiteX1142" fmla="*/ 4177189 w 6400800"/>
                <a:gd name="connsiteY1142" fmla="*/ 256699 h 514350"/>
                <a:gd name="connsiteX1143" fmla="*/ 4175284 w 6400800"/>
                <a:gd name="connsiteY1143" fmla="*/ 270034 h 514350"/>
                <a:gd name="connsiteX1144" fmla="*/ 4174331 w 6400800"/>
                <a:gd name="connsiteY1144" fmla="*/ 251936 h 514350"/>
                <a:gd name="connsiteX1145" fmla="*/ 4168616 w 6400800"/>
                <a:gd name="connsiteY1145" fmla="*/ 176689 h 514350"/>
                <a:gd name="connsiteX1146" fmla="*/ 4162901 w 6400800"/>
                <a:gd name="connsiteY1146" fmla="*/ 251936 h 514350"/>
                <a:gd name="connsiteX1147" fmla="*/ 4160996 w 6400800"/>
                <a:gd name="connsiteY1147" fmla="*/ 287179 h 514350"/>
                <a:gd name="connsiteX1148" fmla="*/ 4154329 w 6400800"/>
                <a:gd name="connsiteY1148" fmla="*/ 303371 h 514350"/>
                <a:gd name="connsiteX1149" fmla="*/ 4146709 w 6400800"/>
                <a:gd name="connsiteY1149" fmla="*/ 280511 h 514350"/>
                <a:gd name="connsiteX1150" fmla="*/ 4140041 w 6400800"/>
                <a:gd name="connsiteY1150" fmla="*/ 246221 h 514350"/>
                <a:gd name="connsiteX1151" fmla="*/ 4133374 w 6400800"/>
                <a:gd name="connsiteY1151" fmla="*/ 224314 h 514350"/>
                <a:gd name="connsiteX1152" fmla="*/ 4134326 w 6400800"/>
                <a:gd name="connsiteY1152" fmla="*/ 230029 h 514350"/>
                <a:gd name="connsiteX1153" fmla="*/ 4136231 w 6400800"/>
                <a:gd name="connsiteY1153" fmla="*/ 247174 h 514350"/>
                <a:gd name="connsiteX1154" fmla="*/ 4136231 w 6400800"/>
                <a:gd name="connsiteY1154" fmla="*/ 250031 h 514350"/>
                <a:gd name="connsiteX1155" fmla="*/ 4118134 w 6400800"/>
                <a:gd name="connsiteY1155" fmla="*/ 197644 h 514350"/>
                <a:gd name="connsiteX1156" fmla="*/ 4093369 w 6400800"/>
                <a:gd name="connsiteY1156" fmla="*/ 121444 h 514350"/>
                <a:gd name="connsiteX1157" fmla="*/ 4083844 w 6400800"/>
                <a:gd name="connsiteY1157" fmla="*/ 92869 h 514350"/>
                <a:gd name="connsiteX1158" fmla="*/ 4089559 w 6400800"/>
                <a:gd name="connsiteY1158" fmla="*/ 122396 h 514350"/>
                <a:gd name="connsiteX1159" fmla="*/ 4106704 w 6400800"/>
                <a:gd name="connsiteY1159" fmla="*/ 200501 h 514350"/>
                <a:gd name="connsiteX1160" fmla="*/ 4119086 w 6400800"/>
                <a:gd name="connsiteY1160" fmla="*/ 248126 h 514350"/>
                <a:gd name="connsiteX1161" fmla="*/ 4117181 w 6400800"/>
                <a:gd name="connsiteY1161" fmla="*/ 262414 h 514350"/>
                <a:gd name="connsiteX1162" fmla="*/ 4114324 w 6400800"/>
                <a:gd name="connsiteY1162" fmla="*/ 290036 h 514350"/>
                <a:gd name="connsiteX1163" fmla="*/ 4110514 w 6400800"/>
                <a:gd name="connsiteY1163" fmla="*/ 284321 h 514350"/>
                <a:gd name="connsiteX1164" fmla="*/ 4114324 w 6400800"/>
                <a:gd name="connsiteY1164" fmla="*/ 269081 h 514350"/>
                <a:gd name="connsiteX1165" fmla="*/ 4108609 w 6400800"/>
                <a:gd name="connsiteY1165" fmla="*/ 282416 h 514350"/>
                <a:gd name="connsiteX1166" fmla="*/ 4102894 w 6400800"/>
                <a:gd name="connsiteY1166" fmla="*/ 273844 h 514350"/>
                <a:gd name="connsiteX1167" fmla="*/ 4096226 w 6400800"/>
                <a:gd name="connsiteY1167" fmla="*/ 263366 h 514350"/>
                <a:gd name="connsiteX1168" fmla="*/ 4097179 w 6400800"/>
                <a:gd name="connsiteY1168" fmla="*/ 262414 h 514350"/>
                <a:gd name="connsiteX1169" fmla="*/ 4096226 w 6400800"/>
                <a:gd name="connsiteY1169" fmla="*/ 263366 h 514350"/>
                <a:gd name="connsiteX1170" fmla="*/ 4090511 w 6400800"/>
                <a:gd name="connsiteY1170" fmla="*/ 253841 h 514350"/>
                <a:gd name="connsiteX1171" fmla="*/ 4090511 w 6400800"/>
                <a:gd name="connsiteY1171" fmla="*/ 252889 h 514350"/>
                <a:gd name="connsiteX1172" fmla="*/ 4090511 w 6400800"/>
                <a:gd name="connsiteY1172" fmla="*/ 238601 h 514350"/>
                <a:gd name="connsiteX1173" fmla="*/ 4090511 w 6400800"/>
                <a:gd name="connsiteY1173" fmla="*/ 215741 h 514350"/>
                <a:gd name="connsiteX1174" fmla="*/ 4089559 w 6400800"/>
                <a:gd name="connsiteY1174" fmla="*/ 195739 h 514350"/>
                <a:gd name="connsiteX1175" fmla="*/ 4086701 w 6400800"/>
                <a:gd name="connsiteY1175" fmla="*/ 214789 h 514350"/>
                <a:gd name="connsiteX1176" fmla="*/ 4083844 w 6400800"/>
                <a:gd name="connsiteY1176" fmla="*/ 236696 h 514350"/>
                <a:gd name="connsiteX1177" fmla="*/ 4083844 w 6400800"/>
                <a:gd name="connsiteY1177" fmla="*/ 239554 h 514350"/>
                <a:gd name="connsiteX1178" fmla="*/ 4081939 w 6400800"/>
                <a:gd name="connsiteY1178" fmla="*/ 236696 h 514350"/>
                <a:gd name="connsiteX1179" fmla="*/ 4081939 w 6400800"/>
                <a:gd name="connsiteY1179" fmla="*/ 234791 h 514350"/>
                <a:gd name="connsiteX1180" fmla="*/ 4081939 w 6400800"/>
                <a:gd name="connsiteY1180" fmla="*/ 210026 h 514350"/>
                <a:gd name="connsiteX1181" fmla="*/ 4081939 w 6400800"/>
                <a:gd name="connsiteY1181" fmla="*/ 188119 h 514350"/>
                <a:gd name="connsiteX1182" fmla="*/ 4078129 w 6400800"/>
                <a:gd name="connsiteY1182" fmla="*/ 210026 h 514350"/>
                <a:gd name="connsiteX1183" fmla="*/ 4075271 w 6400800"/>
                <a:gd name="connsiteY1183" fmla="*/ 227171 h 514350"/>
                <a:gd name="connsiteX1184" fmla="*/ 4059079 w 6400800"/>
                <a:gd name="connsiteY1184" fmla="*/ 202406 h 514350"/>
                <a:gd name="connsiteX1185" fmla="*/ 4073366 w 6400800"/>
                <a:gd name="connsiteY1185" fmla="*/ 236696 h 514350"/>
                <a:gd name="connsiteX1186" fmla="*/ 4071461 w 6400800"/>
                <a:gd name="connsiteY1186" fmla="*/ 250984 h 514350"/>
                <a:gd name="connsiteX1187" fmla="*/ 4067651 w 6400800"/>
                <a:gd name="connsiteY1187" fmla="*/ 268129 h 514350"/>
                <a:gd name="connsiteX1188" fmla="*/ 4064794 w 6400800"/>
                <a:gd name="connsiteY1188" fmla="*/ 279559 h 514350"/>
                <a:gd name="connsiteX1189" fmla="*/ 4061936 w 6400800"/>
                <a:gd name="connsiteY1189" fmla="*/ 253841 h 514350"/>
                <a:gd name="connsiteX1190" fmla="*/ 4054316 w 6400800"/>
                <a:gd name="connsiteY1190" fmla="*/ 207169 h 514350"/>
                <a:gd name="connsiteX1191" fmla="*/ 4050506 w 6400800"/>
                <a:gd name="connsiteY1191" fmla="*/ 186214 h 514350"/>
                <a:gd name="connsiteX1192" fmla="*/ 4046696 w 6400800"/>
                <a:gd name="connsiteY1192" fmla="*/ 168116 h 514350"/>
                <a:gd name="connsiteX1193" fmla="*/ 4040029 w 6400800"/>
                <a:gd name="connsiteY1193" fmla="*/ 137636 h 514350"/>
                <a:gd name="connsiteX1194" fmla="*/ 4034314 w 6400800"/>
                <a:gd name="connsiteY1194" fmla="*/ 111919 h 514350"/>
                <a:gd name="connsiteX1195" fmla="*/ 4036219 w 6400800"/>
                <a:gd name="connsiteY1195" fmla="*/ 138589 h 514350"/>
                <a:gd name="connsiteX1196" fmla="*/ 4039076 w 6400800"/>
                <a:gd name="connsiteY1196" fmla="*/ 169069 h 514350"/>
                <a:gd name="connsiteX1197" fmla="*/ 4042886 w 6400800"/>
                <a:gd name="connsiteY1197" fmla="*/ 208121 h 514350"/>
                <a:gd name="connsiteX1198" fmla="*/ 4044791 w 6400800"/>
                <a:gd name="connsiteY1198" fmla="*/ 238601 h 514350"/>
                <a:gd name="connsiteX1199" fmla="*/ 4031456 w 6400800"/>
                <a:gd name="connsiteY1199" fmla="*/ 170021 h 514350"/>
                <a:gd name="connsiteX1200" fmla="*/ 4036219 w 6400800"/>
                <a:gd name="connsiteY1200" fmla="*/ 252889 h 514350"/>
                <a:gd name="connsiteX1201" fmla="*/ 4037171 w 6400800"/>
                <a:gd name="connsiteY1201" fmla="*/ 264319 h 514350"/>
                <a:gd name="connsiteX1202" fmla="*/ 4035266 w 6400800"/>
                <a:gd name="connsiteY1202" fmla="*/ 271939 h 514350"/>
                <a:gd name="connsiteX1203" fmla="*/ 4030504 w 6400800"/>
                <a:gd name="connsiteY1203" fmla="*/ 266224 h 514350"/>
                <a:gd name="connsiteX1204" fmla="*/ 4023836 w 6400800"/>
                <a:gd name="connsiteY1204" fmla="*/ 258604 h 514350"/>
                <a:gd name="connsiteX1205" fmla="*/ 4009549 w 6400800"/>
                <a:gd name="connsiteY1205" fmla="*/ 229076 h 514350"/>
                <a:gd name="connsiteX1206" fmla="*/ 3996214 w 6400800"/>
                <a:gd name="connsiteY1206" fmla="*/ 203359 h 514350"/>
                <a:gd name="connsiteX1207" fmla="*/ 4005739 w 6400800"/>
                <a:gd name="connsiteY1207" fmla="*/ 230981 h 514350"/>
                <a:gd name="connsiteX1208" fmla="*/ 4014311 w 6400800"/>
                <a:gd name="connsiteY1208" fmla="*/ 255746 h 514350"/>
                <a:gd name="connsiteX1209" fmla="*/ 4007644 w 6400800"/>
                <a:gd name="connsiteY1209" fmla="*/ 243364 h 514350"/>
                <a:gd name="connsiteX1210" fmla="*/ 4015264 w 6400800"/>
                <a:gd name="connsiteY1210" fmla="*/ 267176 h 514350"/>
                <a:gd name="connsiteX1211" fmla="*/ 4024789 w 6400800"/>
                <a:gd name="connsiteY1211" fmla="*/ 294799 h 514350"/>
                <a:gd name="connsiteX1212" fmla="*/ 4026694 w 6400800"/>
                <a:gd name="connsiteY1212" fmla="*/ 301466 h 514350"/>
                <a:gd name="connsiteX1213" fmla="*/ 4017169 w 6400800"/>
                <a:gd name="connsiteY1213" fmla="*/ 329089 h 514350"/>
                <a:gd name="connsiteX1214" fmla="*/ 4016216 w 6400800"/>
                <a:gd name="connsiteY1214" fmla="*/ 328136 h 514350"/>
                <a:gd name="connsiteX1215" fmla="*/ 4005739 w 6400800"/>
                <a:gd name="connsiteY1215" fmla="*/ 320516 h 514350"/>
                <a:gd name="connsiteX1216" fmla="*/ 4005739 w 6400800"/>
                <a:gd name="connsiteY1216" fmla="*/ 318611 h 514350"/>
                <a:gd name="connsiteX1217" fmla="*/ 4004786 w 6400800"/>
                <a:gd name="connsiteY1217" fmla="*/ 310991 h 514350"/>
                <a:gd name="connsiteX1218" fmla="*/ 4002881 w 6400800"/>
                <a:gd name="connsiteY1218" fmla="*/ 269081 h 514350"/>
                <a:gd name="connsiteX1219" fmla="*/ 4000024 w 6400800"/>
                <a:gd name="connsiteY1219" fmla="*/ 284321 h 514350"/>
                <a:gd name="connsiteX1220" fmla="*/ 3993356 w 6400800"/>
                <a:gd name="connsiteY1220" fmla="*/ 248126 h 514350"/>
                <a:gd name="connsiteX1221" fmla="*/ 3993356 w 6400800"/>
                <a:gd name="connsiteY1221" fmla="*/ 286226 h 514350"/>
                <a:gd name="connsiteX1222" fmla="*/ 3992404 w 6400800"/>
                <a:gd name="connsiteY1222" fmla="*/ 286226 h 514350"/>
                <a:gd name="connsiteX1223" fmla="*/ 3990499 w 6400800"/>
                <a:gd name="connsiteY1223" fmla="*/ 287179 h 514350"/>
                <a:gd name="connsiteX1224" fmla="*/ 3985736 w 6400800"/>
                <a:gd name="connsiteY1224" fmla="*/ 292894 h 514350"/>
                <a:gd name="connsiteX1225" fmla="*/ 3985736 w 6400800"/>
                <a:gd name="connsiteY1225" fmla="*/ 292894 h 514350"/>
                <a:gd name="connsiteX1226" fmla="*/ 3985736 w 6400800"/>
                <a:gd name="connsiteY1226" fmla="*/ 293846 h 514350"/>
                <a:gd name="connsiteX1227" fmla="*/ 3983831 w 6400800"/>
                <a:gd name="connsiteY1227" fmla="*/ 313849 h 514350"/>
                <a:gd name="connsiteX1228" fmla="*/ 3978116 w 6400800"/>
                <a:gd name="connsiteY1228" fmla="*/ 303371 h 514350"/>
                <a:gd name="connsiteX1229" fmla="*/ 3987641 w 6400800"/>
                <a:gd name="connsiteY1229" fmla="*/ 272891 h 514350"/>
                <a:gd name="connsiteX1230" fmla="*/ 3976211 w 6400800"/>
                <a:gd name="connsiteY1230" fmla="*/ 298609 h 514350"/>
                <a:gd name="connsiteX1231" fmla="*/ 3973354 w 6400800"/>
                <a:gd name="connsiteY1231" fmla="*/ 293846 h 514350"/>
                <a:gd name="connsiteX1232" fmla="*/ 3973354 w 6400800"/>
                <a:gd name="connsiteY1232" fmla="*/ 288131 h 514350"/>
                <a:gd name="connsiteX1233" fmla="*/ 3973354 w 6400800"/>
                <a:gd name="connsiteY1233" fmla="*/ 287179 h 514350"/>
                <a:gd name="connsiteX1234" fmla="*/ 3977164 w 6400800"/>
                <a:gd name="connsiteY1234" fmla="*/ 278606 h 514350"/>
                <a:gd name="connsiteX1235" fmla="*/ 3980974 w 6400800"/>
                <a:gd name="connsiteY1235" fmla="*/ 270986 h 514350"/>
                <a:gd name="connsiteX1236" fmla="*/ 3976211 w 6400800"/>
                <a:gd name="connsiteY1236" fmla="*/ 277654 h 514350"/>
                <a:gd name="connsiteX1237" fmla="*/ 3973354 w 6400800"/>
                <a:gd name="connsiteY1237" fmla="*/ 282416 h 514350"/>
                <a:gd name="connsiteX1238" fmla="*/ 3974306 w 6400800"/>
                <a:gd name="connsiteY1238" fmla="*/ 254794 h 514350"/>
                <a:gd name="connsiteX1239" fmla="*/ 3975259 w 6400800"/>
                <a:gd name="connsiteY1239" fmla="*/ 230029 h 514350"/>
                <a:gd name="connsiteX1240" fmla="*/ 3970496 w 6400800"/>
                <a:gd name="connsiteY1240" fmla="*/ 254794 h 514350"/>
                <a:gd name="connsiteX1241" fmla="*/ 3965734 w 6400800"/>
                <a:gd name="connsiteY1241" fmla="*/ 281464 h 514350"/>
                <a:gd name="connsiteX1242" fmla="*/ 3961924 w 6400800"/>
                <a:gd name="connsiteY1242" fmla="*/ 274796 h 514350"/>
                <a:gd name="connsiteX1243" fmla="*/ 3962876 w 6400800"/>
                <a:gd name="connsiteY1243" fmla="*/ 269081 h 514350"/>
                <a:gd name="connsiteX1244" fmla="*/ 3966686 w 6400800"/>
                <a:gd name="connsiteY1244" fmla="*/ 245269 h 514350"/>
                <a:gd name="connsiteX1245" fmla="*/ 3959066 w 6400800"/>
                <a:gd name="connsiteY1245" fmla="*/ 268129 h 514350"/>
                <a:gd name="connsiteX1246" fmla="*/ 3959066 w 6400800"/>
                <a:gd name="connsiteY1246" fmla="*/ 269081 h 514350"/>
                <a:gd name="connsiteX1247" fmla="*/ 3958114 w 6400800"/>
                <a:gd name="connsiteY1247" fmla="*/ 267176 h 514350"/>
                <a:gd name="connsiteX1248" fmla="*/ 3958114 w 6400800"/>
                <a:gd name="connsiteY1248" fmla="*/ 269081 h 514350"/>
                <a:gd name="connsiteX1249" fmla="*/ 3955256 w 6400800"/>
                <a:gd name="connsiteY1249" fmla="*/ 264319 h 514350"/>
                <a:gd name="connsiteX1250" fmla="*/ 3954304 w 6400800"/>
                <a:gd name="connsiteY1250" fmla="*/ 247174 h 514350"/>
                <a:gd name="connsiteX1251" fmla="*/ 3951446 w 6400800"/>
                <a:gd name="connsiteY1251" fmla="*/ 214789 h 514350"/>
                <a:gd name="connsiteX1252" fmla="*/ 3947636 w 6400800"/>
                <a:gd name="connsiteY1252" fmla="*/ 190024 h 514350"/>
                <a:gd name="connsiteX1253" fmla="*/ 3943826 w 6400800"/>
                <a:gd name="connsiteY1253" fmla="*/ 169069 h 514350"/>
                <a:gd name="connsiteX1254" fmla="*/ 3943826 w 6400800"/>
                <a:gd name="connsiteY1254" fmla="*/ 190024 h 514350"/>
                <a:gd name="connsiteX1255" fmla="*/ 3943826 w 6400800"/>
                <a:gd name="connsiteY1255" fmla="*/ 214789 h 514350"/>
                <a:gd name="connsiteX1256" fmla="*/ 3943826 w 6400800"/>
                <a:gd name="connsiteY1256" fmla="*/ 225266 h 514350"/>
                <a:gd name="connsiteX1257" fmla="*/ 3940969 w 6400800"/>
                <a:gd name="connsiteY1257" fmla="*/ 215741 h 514350"/>
                <a:gd name="connsiteX1258" fmla="*/ 3939064 w 6400800"/>
                <a:gd name="connsiteY1258" fmla="*/ 207169 h 514350"/>
                <a:gd name="connsiteX1259" fmla="*/ 3940016 w 6400800"/>
                <a:gd name="connsiteY1259" fmla="*/ 205264 h 514350"/>
                <a:gd name="connsiteX1260" fmla="*/ 3939064 w 6400800"/>
                <a:gd name="connsiteY1260" fmla="*/ 206216 h 514350"/>
                <a:gd name="connsiteX1261" fmla="*/ 3936206 w 6400800"/>
                <a:gd name="connsiteY1261" fmla="*/ 197644 h 514350"/>
                <a:gd name="connsiteX1262" fmla="*/ 3937159 w 6400800"/>
                <a:gd name="connsiteY1262" fmla="*/ 208121 h 514350"/>
                <a:gd name="connsiteX1263" fmla="*/ 3929539 w 6400800"/>
                <a:gd name="connsiteY1263" fmla="*/ 216694 h 514350"/>
                <a:gd name="connsiteX1264" fmla="*/ 3925729 w 6400800"/>
                <a:gd name="connsiteY1264" fmla="*/ 197644 h 514350"/>
                <a:gd name="connsiteX1265" fmla="*/ 3916204 w 6400800"/>
                <a:gd name="connsiteY1265" fmla="*/ 158591 h 514350"/>
                <a:gd name="connsiteX1266" fmla="*/ 3912394 w 6400800"/>
                <a:gd name="connsiteY1266" fmla="*/ 144304 h 514350"/>
                <a:gd name="connsiteX1267" fmla="*/ 3915251 w 6400800"/>
                <a:gd name="connsiteY1267" fmla="*/ 139541 h 514350"/>
                <a:gd name="connsiteX1268" fmla="*/ 3935254 w 6400800"/>
                <a:gd name="connsiteY1268" fmla="*/ 110966 h 514350"/>
                <a:gd name="connsiteX1269" fmla="*/ 3912394 w 6400800"/>
                <a:gd name="connsiteY1269" fmla="*/ 136684 h 514350"/>
                <a:gd name="connsiteX1270" fmla="*/ 3910489 w 6400800"/>
                <a:gd name="connsiteY1270" fmla="*/ 138589 h 514350"/>
                <a:gd name="connsiteX1271" fmla="*/ 3906679 w 6400800"/>
                <a:gd name="connsiteY1271" fmla="*/ 128111 h 514350"/>
                <a:gd name="connsiteX1272" fmla="*/ 3898106 w 6400800"/>
                <a:gd name="connsiteY1272" fmla="*/ 102394 h 514350"/>
                <a:gd name="connsiteX1273" fmla="*/ 3902869 w 6400800"/>
                <a:gd name="connsiteY1273" fmla="*/ 129064 h 514350"/>
                <a:gd name="connsiteX1274" fmla="*/ 3905726 w 6400800"/>
                <a:gd name="connsiteY1274" fmla="*/ 143351 h 514350"/>
                <a:gd name="connsiteX1275" fmla="*/ 3905726 w 6400800"/>
                <a:gd name="connsiteY1275" fmla="*/ 143351 h 514350"/>
                <a:gd name="connsiteX1276" fmla="*/ 3887629 w 6400800"/>
                <a:gd name="connsiteY1276" fmla="*/ 167164 h 514350"/>
                <a:gd name="connsiteX1277" fmla="*/ 3866674 w 6400800"/>
                <a:gd name="connsiteY1277" fmla="*/ 195739 h 514350"/>
                <a:gd name="connsiteX1278" fmla="*/ 3862864 w 6400800"/>
                <a:gd name="connsiteY1278" fmla="*/ 182404 h 514350"/>
                <a:gd name="connsiteX1279" fmla="*/ 3854291 w 6400800"/>
                <a:gd name="connsiteY1279" fmla="*/ 155734 h 514350"/>
                <a:gd name="connsiteX1280" fmla="*/ 3859054 w 6400800"/>
                <a:gd name="connsiteY1280" fmla="*/ 183356 h 514350"/>
                <a:gd name="connsiteX1281" fmla="*/ 3862864 w 6400800"/>
                <a:gd name="connsiteY1281" fmla="*/ 202406 h 514350"/>
                <a:gd name="connsiteX1282" fmla="*/ 3858101 w 6400800"/>
                <a:gd name="connsiteY1282" fmla="*/ 209074 h 514350"/>
                <a:gd name="connsiteX1283" fmla="*/ 3853339 w 6400800"/>
                <a:gd name="connsiteY1283" fmla="*/ 216694 h 514350"/>
                <a:gd name="connsiteX1284" fmla="*/ 3849529 w 6400800"/>
                <a:gd name="connsiteY1284" fmla="*/ 195739 h 514350"/>
                <a:gd name="connsiteX1285" fmla="*/ 3852386 w 6400800"/>
                <a:gd name="connsiteY1285" fmla="*/ 178594 h 514350"/>
                <a:gd name="connsiteX1286" fmla="*/ 3855244 w 6400800"/>
                <a:gd name="connsiteY1286" fmla="*/ 158591 h 514350"/>
                <a:gd name="connsiteX1287" fmla="*/ 3848576 w 6400800"/>
                <a:gd name="connsiteY1287" fmla="*/ 177641 h 514350"/>
                <a:gd name="connsiteX1288" fmla="*/ 3841909 w 6400800"/>
                <a:gd name="connsiteY1288" fmla="*/ 199549 h 514350"/>
                <a:gd name="connsiteX1289" fmla="*/ 3838099 w 6400800"/>
                <a:gd name="connsiteY1289" fmla="*/ 212884 h 514350"/>
                <a:gd name="connsiteX1290" fmla="*/ 3835241 w 6400800"/>
                <a:gd name="connsiteY1290" fmla="*/ 225266 h 514350"/>
                <a:gd name="connsiteX1291" fmla="*/ 3834289 w 6400800"/>
                <a:gd name="connsiteY1291" fmla="*/ 222409 h 514350"/>
                <a:gd name="connsiteX1292" fmla="*/ 3825716 w 6400800"/>
                <a:gd name="connsiteY1292" fmla="*/ 209074 h 514350"/>
                <a:gd name="connsiteX1293" fmla="*/ 3809524 w 6400800"/>
                <a:gd name="connsiteY1293" fmla="*/ 184309 h 514350"/>
                <a:gd name="connsiteX1294" fmla="*/ 3821906 w 6400800"/>
                <a:gd name="connsiteY1294" fmla="*/ 210979 h 514350"/>
                <a:gd name="connsiteX1295" fmla="*/ 3828574 w 6400800"/>
                <a:gd name="connsiteY1295" fmla="*/ 224314 h 514350"/>
                <a:gd name="connsiteX1296" fmla="*/ 3832384 w 6400800"/>
                <a:gd name="connsiteY1296" fmla="*/ 234791 h 514350"/>
                <a:gd name="connsiteX1297" fmla="*/ 3828574 w 6400800"/>
                <a:gd name="connsiteY1297" fmla="*/ 254794 h 514350"/>
                <a:gd name="connsiteX1298" fmla="*/ 3825716 w 6400800"/>
                <a:gd name="connsiteY1298" fmla="*/ 259556 h 514350"/>
                <a:gd name="connsiteX1299" fmla="*/ 3820954 w 6400800"/>
                <a:gd name="connsiteY1299" fmla="*/ 269081 h 514350"/>
                <a:gd name="connsiteX1300" fmla="*/ 3820001 w 6400800"/>
                <a:gd name="connsiteY1300" fmla="*/ 267176 h 514350"/>
                <a:gd name="connsiteX1301" fmla="*/ 3804761 w 6400800"/>
                <a:gd name="connsiteY1301" fmla="*/ 249079 h 514350"/>
                <a:gd name="connsiteX1302" fmla="*/ 3817144 w 6400800"/>
                <a:gd name="connsiteY1302" fmla="*/ 270034 h 514350"/>
                <a:gd name="connsiteX1303" fmla="*/ 3819049 w 6400800"/>
                <a:gd name="connsiteY1303" fmla="*/ 272891 h 514350"/>
                <a:gd name="connsiteX1304" fmla="*/ 3806666 w 6400800"/>
                <a:gd name="connsiteY1304" fmla="*/ 294799 h 514350"/>
                <a:gd name="connsiteX1305" fmla="*/ 3806666 w 6400800"/>
                <a:gd name="connsiteY1305" fmla="*/ 294799 h 514350"/>
                <a:gd name="connsiteX1306" fmla="*/ 3803809 w 6400800"/>
                <a:gd name="connsiteY1306" fmla="*/ 290989 h 514350"/>
                <a:gd name="connsiteX1307" fmla="*/ 3802856 w 6400800"/>
                <a:gd name="connsiteY1307" fmla="*/ 287179 h 514350"/>
                <a:gd name="connsiteX1308" fmla="*/ 3799999 w 6400800"/>
                <a:gd name="connsiteY1308" fmla="*/ 276701 h 514350"/>
                <a:gd name="connsiteX1309" fmla="*/ 3795236 w 6400800"/>
                <a:gd name="connsiteY1309" fmla="*/ 260509 h 514350"/>
                <a:gd name="connsiteX1310" fmla="*/ 3790474 w 6400800"/>
                <a:gd name="connsiteY1310" fmla="*/ 246221 h 514350"/>
                <a:gd name="connsiteX1311" fmla="*/ 3791426 w 6400800"/>
                <a:gd name="connsiteY1311" fmla="*/ 260509 h 514350"/>
                <a:gd name="connsiteX1312" fmla="*/ 3792379 w 6400800"/>
                <a:gd name="connsiteY1312" fmla="*/ 273844 h 514350"/>
                <a:gd name="connsiteX1313" fmla="*/ 3787616 w 6400800"/>
                <a:gd name="connsiteY1313" fmla="*/ 268129 h 514350"/>
                <a:gd name="connsiteX1314" fmla="*/ 3777139 w 6400800"/>
                <a:gd name="connsiteY1314" fmla="*/ 255746 h 514350"/>
                <a:gd name="connsiteX1315" fmla="*/ 3773329 w 6400800"/>
                <a:gd name="connsiteY1315" fmla="*/ 246221 h 514350"/>
                <a:gd name="connsiteX1316" fmla="*/ 3764756 w 6400800"/>
                <a:gd name="connsiteY1316" fmla="*/ 224314 h 514350"/>
                <a:gd name="connsiteX1317" fmla="*/ 3769519 w 6400800"/>
                <a:gd name="connsiteY1317" fmla="*/ 247174 h 514350"/>
                <a:gd name="connsiteX1318" fmla="*/ 3776186 w 6400800"/>
                <a:gd name="connsiteY1318" fmla="*/ 273844 h 514350"/>
                <a:gd name="connsiteX1319" fmla="*/ 3781901 w 6400800"/>
                <a:gd name="connsiteY1319" fmla="*/ 299561 h 514350"/>
                <a:gd name="connsiteX1320" fmla="*/ 3760946 w 6400800"/>
                <a:gd name="connsiteY1320" fmla="*/ 234791 h 514350"/>
                <a:gd name="connsiteX1321" fmla="*/ 3755231 w 6400800"/>
                <a:gd name="connsiteY1321" fmla="*/ 218599 h 514350"/>
                <a:gd name="connsiteX1322" fmla="*/ 3759041 w 6400800"/>
                <a:gd name="connsiteY1322" fmla="*/ 211931 h 514350"/>
                <a:gd name="connsiteX1323" fmla="*/ 3754279 w 6400800"/>
                <a:gd name="connsiteY1323" fmla="*/ 217646 h 514350"/>
                <a:gd name="connsiteX1324" fmla="*/ 3750469 w 6400800"/>
                <a:gd name="connsiteY1324" fmla="*/ 208121 h 514350"/>
                <a:gd name="connsiteX1325" fmla="*/ 3752374 w 6400800"/>
                <a:gd name="connsiteY1325" fmla="*/ 197644 h 514350"/>
                <a:gd name="connsiteX1326" fmla="*/ 3748564 w 6400800"/>
                <a:gd name="connsiteY1326" fmla="*/ 205264 h 514350"/>
                <a:gd name="connsiteX1327" fmla="*/ 3734276 w 6400800"/>
                <a:gd name="connsiteY1327" fmla="*/ 167164 h 514350"/>
                <a:gd name="connsiteX1328" fmla="*/ 3742849 w 6400800"/>
                <a:gd name="connsiteY1328" fmla="*/ 217646 h 514350"/>
                <a:gd name="connsiteX1329" fmla="*/ 3736181 w 6400800"/>
                <a:gd name="connsiteY1329" fmla="*/ 236696 h 514350"/>
                <a:gd name="connsiteX1330" fmla="*/ 3735229 w 6400800"/>
                <a:gd name="connsiteY1330" fmla="*/ 238601 h 514350"/>
                <a:gd name="connsiteX1331" fmla="*/ 3730466 w 6400800"/>
                <a:gd name="connsiteY1331" fmla="*/ 245269 h 514350"/>
                <a:gd name="connsiteX1332" fmla="*/ 3726656 w 6400800"/>
                <a:gd name="connsiteY1332" fmla="*/ 236696 h 514350"/>
                <a:gd name="connsiteX1333" fmla="*/ 3726656 w 6400800"/>
                <a:gd name="connsiteY1333" fmla="*/ 232886 h 514350"/>
                <a:gd name="connsiteX1334" fmla="*/ 3725704 w 6400800"/>
                <a:gd name="connsiteY1334" fmla="*/ 214789 h 514350"/>
                <a:gd name="connsiteX1335" fmla="*/ 3722846 w 6400800"/>
                <a:gd name="connsiteY1335" fmla="*/ 230029 h 514350"/>
                <a:gd name="connsiteX1336" fmla="*/ 3721894 w 6400800"/>
                <a:gd name="connsiteY1336" fmla="*/ 229076 h 514350"/>
                <a:gd name="connsiteX1337" fmla="*/ 3721894 w 6400800"/>
                <a:gd name="connsiteY1337" fmla="*/ 229076 h 514350"/>
                <a:gd name="connsiteX1338" fmla="*/ 3725704 w 6400800"/>
                <a:gd name="connsiteY1338" fmla="*/ 190976 h 514350"/>
                <a:gd name="connsiteX1339" fmla="*/ 3727609 w 6400800"/>
                <a:gd name="connsiteY1339" fmla="*/ 172879 h 514350"/>
                <a:gd name="connsiteX1340" fmla="*/ 3730466 w 6400800"/>
                <a:gd name="connsiteY1340" fmla="*/ 155734 h 514350"/>
                <a:gd name="connsiteX1341" fmla="*/ 3734276 w 6400800"/>
                <a:gd name="connsiteY1341" fmla="*/ 128111 h 514350"/>
                <a:gd name="connsiteX1342" fmla="*/ 3737134 w 6400800"/>
                <a:gd name="connsiteY1342" fmla="*/ 104299 h 514350"/>
                <a:gd name="connsiteX1343" fmla="*/ 3730466 w 6400800"/>
                <a:gd name="connsiteY1343" fmla="*/ 127159 h 514350"/>
                <a:gd name="connsiteX1344" fmla="*/ 3722846 w 6400800"/>
                <a:gd name="connsiteY1344" fmla="*/ 153829 h 514350"/>
                <a:gd name="connsiteX1345" fmla="*/ 3718084 w 6400800"/>
                <a:gd name="connsiteY1345" fmla="*/ 170021 h 514350"/>
                <a:gd name="connsiteX1346" fmla="*/ 3714274 w 6400800"/>
                <a:gd name="connsiteY1346" fmla="*/ 188119 h 514350"/>
                <a:gd name="connsiteX1347" fmla="*/ 3710464 w 6400800"/>
                <a:gd name="connsiteY1347" fmla="*/ 208121 h 514350"/>
                <a:gd name="connsiteX1348" fmla="*/ 3710464 w 6400800"/>
                <a:gd name="connsiteY1348" fmla="*/ 207169 h 514350"/>
                <a:gd name="connsiteX1349" fmla="*/ 3691414 w 6400800"/>
                <a:gd name="connsiteY1349" fmla="*/ 174784 h 514350"/>
                <a:gd name="connsiteX1350" fmla="*/ 3677126 w 6400800"/>
                <a:gd name="connsiteY1350" fmla="*/ 150971 h 514350"/>
                <a:gd name="connsiteX1351" fmla="*/ 3678079 w 6400800"/>
                <a:gd name="connsiteY1351" fmla="*/ 137636 h 514350"/>
                <a:gd name="connsiteX1352" fmla="*/ 3675221 w 6400800"/>
                <a:gd name="connsiteY1352" fmla="*/ 149066 h 514350"/>
                <a:gd name="connsiteX1353" fmla="*/ 3674269 w 6400800"/>
                <a:gd name="connsiteY1353" fmla="*/ 147161 h 514350"/>
                <a:gd name="connsiteX1354" fmla="*/ 3675221 w 6400800"/>
                <a:gd name="connsiteY1354" fmla="*/ 150019 h 514350"/>
                <a:gd name="connsiteX1355" fmla="*/ 3672364 w 6400800"/>
                <a:gd name="connsiteY1355" fmla="*/ 164306 h 514350"/>
                <a:gd name="connsiteX1356" fmla="*/ 3665696 w 6400800"/>
                <a:gd name="connsiteY1356" fmla="*/ 194786 h 514350"/>
                <a:gd name="connsiteX1357" fmla="*/ 3662839 w 6400800"/>
                <a:gd name="connsiteY1357" fmla="*/ 209074 h 514350"/>
                <a:gd name="connsiteX1358" fmla="*/ 3661886 w 6400800"/>
                <a:gd name="connsiteY1358" fmla="*/ 210026 h 514350"/>
                <a:gd name="connsiteX1359" fmla="*/ 3658076 w 6400800"/>
                <a:gd name="connsiteY1359" fmla="*/ 216694 h 514350"/>
                <a:gd name="connsiteX1360" fmla="*/ 3658076 w 6400800"/>
                <a:gd name="connsiteY1360" fmla="*/ 174784 h 514350"/>
                <a:gd name="connsiteX1361" fmla="*/ 3645694 w 6400800"/>
                <a:gd name="connsiteY1361" fmla="*/ 239554 h 514350"/>
                <a:gd name="connsiteX1362" fmla="*/ 3644741 w 6400800"/>
                <a:gd name="connsiteY1362" fmla="*/ 246221 h 514350"/>
                <a:gd name="connsiteX1363" fmla="*/ 3643789 w 6400800"/>
                <a:gd name="connsiteY1363" fmla="*/ 249079 h 514350"/>
                <a:gd name="connsiteX1364" fmla="*/ 3640931 w 6400800"/>
                <a:gd name="connsiteY1364" fmla="*/ 259556 h 514350"/>
                <a:gd name="connsiteX1365" fmla="*/ 3633311 w 6400800"/>
                <a:gd name="connsiteY1365" fmla="*/ 243364 h 514350"/>
                <a:gd name="connsiteX1366" fmla="*/ 3639979 w 6400800"/>
                <a:gd name="connsiteY1366" fmla="*/ 265271 h 514350"/>
                <a:gd name="connsiteX1367" fmla="*/ 3637121 w 6400800"/>
                <a:gd name="connsiteY1367" fmla="*/ 275749 h 514350"/>
                <a:gd name="connsiteX1368" fmla="*/ 3627596 w 6400800"/>
                <a:gd name="connsiteY1368" fmla="*/ 261461 h 514350"/>
                <a:gd name="connsiteX1369" fmla="*/ 3635216 w 6400800"/>
                <a:gd name="connsiteY1369" fmla="*/ 280511 h 514350"/>
                <a:gd name="connsiteX1370" fmla="*/ 3635216 w 6400800"/>
                <a:gd name="connsiteY1370" fmla="*/ 281464 h 514350"/>
                <a:gd name="connsiteX1371" fmla="*/ 3630454 w 6400800"/>
                <a:gd name="connsiteY1371" fmla="*/ 309086 h 514350"/>
                <a:gd name="connsiteX1372" fmla="*/ 3627596 w 6400800"/>
                <a:gd name="connsiteY1372" fmla="*/ 332899 h 514350"/>
                <a:gd name="connsiteX1373" fmla="*/ 3620929 w 6400800"/>
                <a:gd name="connsiteY1373" fmla="*/ 312896 h 514350"/>
                <a:gd name="connsiteX1374" fmla="*/ 3620929 w 6400800"/>
                <a:gd name="connsiteY1374" fmla="*/ 309086 h 514350"/>
                <a:gd name="connsiteX1375" fmla="*/ 3619976 w 6400800"/>
                <a:gd name="connsiteY1375" fmla="*/ 310991 h 514350"/>
                <a:gd name="connsiteX1376" fmla="*/ 3619024 w 6400800"/>
                <a:gd name="connsiteY1376" fmla="*/ 308134 h 514350"/>
                <a:gd name="connsiteX1377" fmla="*/ 3622834 w 6400800"/>
                <a:gd name="connsiteY1377" fmla="*/ 272891 h 514350"/>
                <a:gd name="connsiteX1378" fmla="*/ 3626644 w 6400800"/>
                <a:gd name="connsiteY1378" fmla="*/ 221456 h 514350"/>
                <a:gd name="connsiteX1379" fmla="*/ 3630454 w 6400800"/>
                <a:gd name="connsiteY1379" fmla="*/ 211931 h 514350"/>
                <a:gd name="connsiteX1380" fmla="*/ 3626644 w 6400800"/>
                <a:gd name="connsiteY1380" fmla="*/ 216694 h 514350"/>
                <a:gd name="connsiteX1381" fmla="*/ 3626644 w 6400800"/>
                <a:gd name="connsiteY1381" fmla="*/ 214789 h 514350"/>
                <a:gd name="connsiteX1382" fmla="*/ 3626644 w 6400800"/>
                <a:gd name="connsiteY1382" fmla="*/ 192881 h 514350"/>
                <a:gd name="connsiteX1383" fmla="*/ 3622834 w 6400800"/>
                <a:gd name="connsiteY1383" fmla="*/ 214789 h 514350"/>
                <a:gd name="connsiteX1384" fmla="*/ 3620929 w 6400800"/>
                <a:gd name="connsiteY1384" fmla="*/ 226219 h 514350"/>
                <a:gd name="connsiteX1385" fmla="*/ 3620929 w 6400800"/>
                <a:gd name="connsiteY1385" fmla="*/ 227171 h 514350"/>
                <a:gd name="connsiteX1386" fmla="*/ 3609499 w 6400800"/>
                <a:gd name="connsiteY1386" fmla="*/ 243364 h 514350"/>
                <a:gd name="connsiteX1387" fmla="*/ 3603784 w 6400800"/>
                <a:gd name="connsiteY1387" fmla="*/ 251936 h 514350"/>
                <a:gd name="connsiteX1388" fmla="*/ 3613309 w 6400800"/>
                <a:gd name="connsiteY1388" fmla="*/ 225266 h 514350"/>
                <a:gd name="connsiteX1389" fmla="*/ 3619024 w 6400800"/>
                <a:gd name="connsiteY1389" fmla="*/ 208121 h 514350"/>
                <a:gd name="connsiteX1390" fmla="*/ 3624739 w 6400800"/>
                <a:gd name="connsiteY1390" fmla="*/ 192881 h 514350"/>
                <a:gd name="connsiteX1391" fmla="*/ 3634264 w 6400800"/>
                <a:gd name="connsiteY1391" fmla="*/ 168116 h 514350"/>
                <a:gd name="connsiteX1392" fmla="*/ 3642836 w 6400800"/>
                <a:gd name="connsiteY1392" fmla="*/ 146209 h 514350"/>
                <a:gd name="connsiteX1393" fmla="*/ 3631406 w 6400800"/>
                <a:gd name="connsiteY1393" fmla="*/ 166211 h 514350"/>
                <a:gd name="connsiteX1394" fmla="*/ 3618071 w 6400800"/>
                <a:gd name="connsiteY1394" fmla="*/ 189071 h 514350"/>
                <a:gd name="connsiteX1395" fmla="*/ 3610451 w 6400800"/>
                <a:gd name="connsiteY1395" fmla="*/ 203359 h 514350"/>
                <a:gd name="connsiteX1396" fmla="*/ 3602831 w 6400800"/>
                <a:gd name="connsiteY1396" fmla="*/ 219551 h 514350"/>
                <a:gd name="connsiteX1397" fmla="*/ 3588544 w 6400800"/>
                <a:gd name="connsiteY1397" fmla="*/ 250031 h 514350"/>
                <a:gd name="connsiteX1398" fmla="*/ 3588544 w 6400800"/>
                <a:gd name="connsiteY1398" fmla="*/ 242411 h 514350"/>
                <a:gd name="connsiteX1399" fmla="*/ 3585686 w 6400800"/>
                <a:gd name="connsiteY1399" fmla="*/ 256699 h 514350"/>
                <a:gd name="connsiteX1400" fmla="*/ 3585686 w 6400800"/>
                <a:gd name="connsiteY1400" fmla="*/ 257651 h 514350"/>
                <a:gd name="connsiteX1401" fmla="*/ 3579971 w 6400800"/>
                <a:gd name="connsiteY1401" fmla="*/ 270986 h 514350"/>
                <a:gd name="connsiteX1402" fmla="*/ 3573304 w 6400800"/>
                <a:gd name="connsiteY1402" fmla="*/ 282416 h 514350"/>
                <a:gd name="connsiteX1403" fmla="*/ 3568541 w 6400800"/>
                <a:gd name="connsiteY1403" fmla="*/ 263366 h 514350"/>
                <a:gd name="connsiteX1404" fmla="*/ 3564731 w 6400800"/>
                <a:gd name="connsiteY1404" fmla="*/ 248126 h 514350"/>
                <a:gd name="connsiteX1405" fmla="*/ 3564731 w 6400800"/>
                <a:gd name="connsiteY1405" fmla="*/ 248126 h 514350"/>
                <a:gd name="connsiteX1406" fmla="*/ 3562826 w 6400800"/>
                <a:gd name="connsiteY1406" fmla="*/ 237649 h 514350"/>
                <a:gd name="connsiteX1407" fmla="*/ 3561874 w 6400800"/>
                <a:gd name="connsiteY1407" fmla="*/ 233839 h 514350"/>
                <a:gd name="connsiteX1408" fmla="*/ 3566636 w 6400800"/>
                <a:gd name="connsiteY1408" fmla="*/ 227171 h 514350"/>
                <a:gd name="connsiteX1409" fmla="*/ 3561874 w 6400800"/>
                <a:gd name="connsiteY1409" fmla="*/ 230981 h 514350"/>
                <a:gd name="connsiteX1410" fmla="*/ 3559016 w 6400800"/>
                <a:gd name="connsiteY1410" fmla="*/ 218599 h 514350"/>
                <a:gd name="connsiteX1411" fmla="*/ 3559016 w 6400800"/>
                <a:gd name="connsiteY1411" fmla="*/ 231934 h 514350"/>
                <a:gd name="connsiteX1412" fmla="*/ 3554254 w 6400800"/>
                <a:gd name="connsiteY1412" fmla="*/ 220504 h 514350"/>
                <a:gd name="connsiteX1413" fmla="*/ 3569494 w 6400800"/>
                <a:gd name="connsiteY1413" fmla="*/ 197644 h 514350"/>
                <a:gd name="connsiteX1414" fmla="*/ 3585686 w 6400800"/>
                <a:gd name="connsiteY1414" fmla="*/ 174784 h 514350"/>
                <a:gd name="connsiteX1415" fmla="*/ 3600926 w 6400800"/>
                <a:gd name="connsiteY1415" fmla="*/ 154781 h 514350"/>
                <a:gd name="connsiteX1416" fmla="*/ 3582829 w 6400800"/>
                <a:gd name="connsiteY1416" fmla="*/ 171926 h 514350"/>
                <a:gd name="connsiteX1417" fmla="*/ 3562826 w 6400800"/>
                <a:gd name="connsiteY1417" fmla="*/ 192881 h 514350"/>
                <a:gd name="connsiteX1418" fmla="*/ 3549491 w 6400800"/>
                <a:gd name="connsiteY1418" fmla="*/ 209074 h 514350"/>
                <a:gd name="connsiteX1419" fmla="*/ 3542824 w 6400800"/>
                <a:gd name="connsiteY1419" fmla="*/ 193834 h 514350"/>
                <a:gd name="connsiteX1420" fmla="*/ 3546634 w 6400800"/>
                <a:gd name="connsiteY1420" fmla="*/ 212884 h 514350"/>
                <a:gd name="connsiteX1421" fmla="*/ 3539966 w 6400800"/>
                <a:gd name="connsiteY1421" fmla="*/ 222409 h 514350"/>
                <a:gd name="connsiteX1422" fmla="*/ 3539014 w 6400800"/>
                <a:gd name="connsiteY1422" fmla="*/ 223361 h 514350"/>
                <a:gd name="connsiteX1423" fmla="*/ 3539014 w 6400800"/>
                <a:gd name="connsiteY1423" fmla="*/ 210979 h 514350"/>
                <a:gd name="connsiteX1424" fmla="*/ 3539014 w 6400800"/>
                <a:gd name="connsiteY1424" fmla="*/ 184309 h 514350"/>
                <a:gd name="connsiteX1425" fmla="*/ 3539014 w 6400800"/>
                <a:gd name="connsiteY1425" fmla="*/ 173831 h 514350"/>
                <a:gd name="connsiteX1426" fmla="*/ 3540919 w 6400800"/>
                <a:gd name="connsiteY1426" fmla="*/ 170021 h 514350"/>
                <a:gd name="connsiteX1427" fmla="*/ 3539014 w 6400800"/>
                <a:gd name="connsiteY1427" fmla="*/ 172879 h 514350"/>
                <a:gd name="connsiteX1428" fmla="*/ 3539014 w 6400800"/>
                <a:gd name="connsiteY1428" fmla="*/ 162401 h 514350"/>
                <a:gd name="connsiteX1429" fmla="*/ 3537109 w 6400800"/>
                <a:gd name="connsiteY1429" fmla="*/ 176689 h 514350"/>
                <a:gd name="connsiteX1430" fmla="*/ 3527584 w 6400800"/>
                <a:gd name="connsiteY1430" fmla="*/ 190976 h 514350"/>
                <a:gd name="connsiteX1431" fmla="*/ 3511391 w 6400800"/>
                <a:gd name="connsiteY1431" fmla="*/ 214789 h 514350"/>
                <a:gd name="connsiteX1432" fmla="*/ 3510439 w 6400800"/>
                <a:gd name="connsiteY1432" fmla="*/ 215741 h 514350"/>
                <a:gd name="connsiteX1433" fmla="*/ 3508534 w 6400800"/>
                <a:gd name="connsiteY1433" fmla="*/ 201454 h 514350"/>
                <a:gd name="connsiteX1434" fmla="*/ 3505676 w 6400800"/>
                <a:gd name="connsiteY1434" fmla="*/ 180499 h 514350"/>
                <a:gd name="connsiteX1435" fmla="*/ 3504724 w 6400800"/>
                <a:gd name="connsiteY1435" fmla="*/ 202406 h 514350"/>
                <a:gd name="connsiteX1436" fmla="*/ 3503771 w 6400800"/>
                <a:gd name="connsiteY1436" fmla="*/ 226219 h 514350"/>
                <a:gd name="connsiteX1437" fmla="*/ 3500914 w 6400800"/>
                <a:gd name="connsiteY1437" fmla="*/ 230981 h 514350"/>
                <a:gd name="connsiteX1438" fmla="*/ 3491389 w 6400800"/>
                <a:gd name="connsiteY1438" fmla="*/ 247174 h 514350"/>
                <a:gd name="connsiteX1439" fmla="*/ 3483769 w 6400800"/>
                <a:gd name="connsiteY1439" fmla="*/ 230029 h 514350"/>
                <a:gd name="connsiteX1440" fmla="*/ 3469481 w 6400800"/>
                <a:gd name="connsiteY1440" fmla="*/ 200501 h 514350"/>
                <a:gd name="connsiteX1441" fmla="*/ 3471386 w 6400800"/>
                <a:gd name="connsiteY1441" fmla="*/ 190976 h 514350"/>
                <a:gd name="connsiteX1442" fmla="*/ 3477101 w 6400800"/>
                <a:gd name="connsiteY1442" fmla="*/ 167164 h 514350"/>
                <a:gd name="connsiteX1443" fmla="*/ 3482816 w 6400800"/>
                <a:gd name="connsiteY1443" fmla="*/ 146209 h 514350"/>
                <a:gd name="connsiteX1444" fmla="*/ 3492341 w 6400800"/>
                <a:gd name="connsiteY1444" fmla="*/ 111919 h 514350"/>
                <a:gd name="connsiteX1445" fmla="*/ 3499961 w 6400800"/>
                <a:gd name="connsiteY1445" fmla="*/ 82391 h 514350"/>
                <a:gd name="connsiteX1446" fmla="*/ 3488531 w 6400800"/>
                <a:gd name="connsiteY1446" fmla="*/ 110966 h 514350"/>
                <a:gd name="connsiteX1447" fmla="*/ 3476149 w 6400800"/>
                <a:gd name="connsiteY1447" fmla="*/ 144304 h 514350"/>
                <a:gd name="connsiteX1448" fmla="*/ 3468529 w 6400800"/>
                <a:gd name="connsiteY1448" fmla="*/ 164306 h 514350"/>
                <a:gd name="connsiteX1449" fmla="*/ 3461861 w 6400800"/>
                <a:gd name="connsiteY1449" fmla="*/ 185261 h 514350"/>
                <a:gd name="connsiteX1450" fmla="*/ 3452336 w 6400800"/>
                <a:gd name="connsiteY1450" fmla="*/ 168116 h 514350"/>
                <a:gd name="connsiteX1451" fmla="*/ 3460909 w 6400800"/>
                <a:gd name="connsiteY1451" fmla="*/ 189071 h 514350"/>
                <a:gd name="connsiteX1452" fmla="*/ 3450431 w 6400800"/>
                <a:gd name="connsiteY1452" fmla="*/ 225266 h 514350"/>
                <a:gd name="connsiteX1453" fmla="*/ 3441859 w 6400800"/>
                <a:gd name="connsiteY1453" fmla="*/ 210026 h 514350"/>
                <a:gd name="connsiteX1454" fmla="*/ 3442811 w 6400800"/>
                <a:gd name="connsiteY1454" fmla="*/ 208121 h 514350"/>
                <a:gd name="connsiteX1455" fmla="*/ 3445669 w 6400800"/>
                <a:gd name="connsiteY1455" fmla="*/ 190976 h 514350"/>
                <a:gd name="connsiteX1456" fmla="*/ 3439001 w 6400800"/>
                <a:gd name="connsiteY1456" fmla="*/ 205264 h 514350"/>
                <a:gd name="connsiteX1457" fmla="*/ 3439001 w 6400800"/>
                <a:gd name="connsiteY1457" fmla="*/ 205264 h 514350"/>
                <a:gd name="connsiteX1458" fmla="*/ 3438049 w 6400800"/>
                <a:gd name="connsiteY1458" fmla="*/ 165259 h 514350"/>
                <a:gd name="connsiteX1459" fmla="*/ 3437096 w 6400800"/>
                <a:gd name="connsiteY1459" fmla="*/ 135731 h 514350"/>
                <a:gd name="connsiteX1460" fmla="*/ 3435191 w 6400800"/>
                <a:gd name="connsiteY1460" fmla="*/ 112871 h 514350"/>
                <a:gd name="connsiteX1461" fmla="*/ 3433286 w 6400800"/>
                <a:gd name="connsiteY1461" fmla="*/ 92869 h 514350"/>
                <a:gd name="connsiteX1462" fmla="*/ 3431381 w 6400800"/>
                <a:gd name="connsiteY1462" fmla="*/ 112871 h 514350"/>
                <a:gd name="connsiteX1463" fmla="*/ 3428524 w 6400800"/>
                <a:gd name="connsiteY1463" fmla="*/ 149066 h 514350"/>
                <a:gd name="connsiteX1464" fmla="*/ 3428524 w 6400800"/>
                <a:gd name="connsiteY1464" fmla="*/ 150019 h 514350"/>
                <a:gd name="connsiteX1465" fmla="*/ 3426619 w 6400800"/>
                <a:gd name="connsiteY1465" fmla="*/ 131921 h 514350"/>
                <a:gd name="connsiteX1466" fmla="*/ 3423761 w 6400800"/>
                <a:gd name="connsiteY1466" fmla="*/ 113824 h 514350"/>
                <a:gd name="connsiteX1467" fmla="*/ 3422809 w 6400800"/>
                <a:gd name="connsiteY1467" fmla="*/ 131921 h 514350"/>
                <a:gd name="connsiteX1468" fmla="*/ 3420904 w 6400800"/>
                <a:gd name="connsiteY1468" fmla="*/ 174784 h 514350"/>
                <a:gd name="connsiteX1469" fmla="*/ 3412331 w 6400800"/>
                <a:gd name="connsiteY1469" fmla="*/ 162401 h 514350"/>
                <a:gd name="connsiteX1470" fmla="*/ 3398044 w 6400800"/>
                <a:gd name="connsiteY1470" fmla="*/ 141446 h 514350"/>
                <a:gd name="connsiteX1471" fmla="*/ 3401854 w 6400800"/>
                <a:gd name="connsiteY1471" fmla="*/ 123349 h 514350"/>
                <a:gd name="connsiteX1472" fmla="*/ 3396139 w 6400800"/>
                <a:gd name="connsiteY1472" fmla="*/ 139541 h 514350"/>
                <a:gd name="connsiteX1473" fmla="*/ 3391376 w 6400800"/>
                <a:gd name="connsiteY1473" fmla="*/ 132874 h 514350"/>
                <a:gd name="connsiteX1474" fmla="*/ 3395186 w 6400800"/>
                <a:gd name="connsiteY1474" fmla="*/ 139541 h 514350"/>
                <a:gd name="connsiteX1475" fmla="*/ 3395186 w 6400800"/>
                <a:gd name="connsiteY1475" fmla="*/ 141446 h 514350"/>
                <a:gd name="connsiteX1476" fmla="*/ 3382804 w 6400800"/>
                <a:gd name="connsiteY1476" fmla="*/ 177641 h 514350"/>
                <a:gd name="connsiteX1477" fmla="*/ 3382804 w 6400800"/>
                <a:gd name="connsiteY1477" fmla="*/ 172879 h 514350"/>
                <a:gd name="connsiteX1478" fmla="*/ 3381851 w 6400800"/>
                <a:gd name="connsiteY1478" fmla="*/ 150971 h 514350"/>
                <a:gd name="connsiteX1479" fmla="*/ 3378994 w 6400800"/>
                <a:gd name="connsiteY1479" fmla="*/ 172879 h 514350"/>
                <a:gd name="connsiteX1480" fmla="*/ 3376136 w 6400800"/>
                <a:gd name="connsiteY1480" fmla="*/ 197644 h 514350"/>
                <a:gd name="connsiteX1481" fmla="*/ 3365659 w 6400800"/>
                <a:gd name="connsiteY1481" fmla="*/ 234791 h 514350"/>
                <a:gd name="connsiteX1482" fmla="*/ 3358991 w 6400800"/>
                <a:gd name="connsiteY1482" fmla="*/ 253841 h 514350"/>
                <a:gd name="connsiteX1483" fmla="*/ 3358039 w 6400800"/>
                <a:gd name="connsiteY1483" fmla="*/ 257651 h 514350"/>
                <a:gd name="connsiteX1484" fmla="*/ 3351371 w 6400800"/>
                <a:gd name="connsiteY1484" fmla="*/ 239554 h 514350"/>
                <a:gd name="connsiteX1485" fmla="*/ 3351371 w 6400800"/>
                <a:gd name="connsiteY1485" fmla="*/ 237649 h 514350"/>
                <a:gd name="connsiteX1486" fmla="*/ 3351371 w 6400800"/>
                <a:gd name="connsiteY1486" fmla="*/ 238601 h 514350"/>
                <a:gd name="connsiteX1487" fmla="*/ 3344704 w 6400800"/>
                <a:gd name="connsiteY1487" fmla="*/ 221456 h 514350"/>
                <a:gd name="connsiteX1488" fmla="*/ 3349466 w 6400800"/>
                <a:gd name="connsiteY1488" fmla="*/ 248126 h 514350"/>
                <a:gd name="connsiteX1489" fmla="*/ 3347561 w 6400800"/>
                <a:gd name="connsiteY1489" fmla="*/ 265271 h 514350"/>
                <a:gd name="connsiteX1490" fmla="*/ 3345656 w 6400800"/>
                <a:gd name="connsiteY1490" fmla="*/ 283369 h 514350"/>
                <a:gd name="connsiteX1491" fmla="*/ 3343751 w 6400800"/>
                <a:gd name="connsiteY1491" fmla="*/ 287179 h 514350"/>
                <a:gd name="connsiteX1492" fmla="*/ 3339941 w 6400800"/>
                <a:gd name="connsiteY1492" fmla="*/ 274796 h 514350"/>
                <a:gd name="connsiteX1493" fmla="*/ 3325654 w 6400800"/>
                <a:gd name="connsiteY1493" fmla="*/ 231934 h 514350"/>
                <a:gd name="connsiteX1494" fmla="*/ 3328511 w 6400800"/>
                <a:gd name="connsiteY1494" fmla="*/ 216694 h 514350"/>
                <a:gd name="connsiteX1495" fmla="*/ 3338036 w 6400800"/>
                <a:gd name="connsiteY1495" fmla="*/ 170974 h 514350"/>
                <a:gd name="connsiteX1496" fmla="*/ 3346609 w 6400800"/>
                <a:gd name="connsiteY1496" fmla="*/ 136684 h 514350"/>
                <a:gd name="connsiteX1497" fmla="*/ 3355181 w 6400800"/>
                <a:gd name="connsiteY1497" fmla="*/ 106204 h 514350"/>
                <a:gd name="connsiteX1498" fmla="*/ 3342799 w 6400800"/>
                <a:gd name="connsiteY1498" fmla="*/ 134779 h 514350"/>
                <a:gd name="connsiteX1499" fmla="*/ 3330416 w 6400800"/>
                <a:gd name="connsiteY1499" fmla="*/ 169069 h 514350"/>
                <a:gd name="connsiteX1500" fmla="*/ 3318986 w 6400800"/>
                <a:gd name="connsiteY1500" fmla="*/ 208121 h 514350"/>
                <a:gd name="connsiteX1501" fmla="*/ 3318986 w 6400800"/>
                <a:gd name="connsiteY1501" fmla="*/ 203359 h 514350"/>
                <a:gd name="connsiteX1502" fmla="*/ 3320891 w 6400800"/>
                <a:gd name="connsiteY1502" fmla="*/ 195739 h 514350"/>
                <a:gd name="connsiteX1503" fmla="*/ 3327559 w 6400800"/>
                <a:gd name="connsiteY1503" fmla="*/ 170021 h 514350"/>
                <a:gd name="connsiteX1504" fmla="*/ 3332321 w 6400800"/>
                <a:gd name="connsiteY1504" fmla="*/ 147161 h 514350"/>
                <a:gd name="connsiteX1505" fmla="*/ 3323749 w 6400800"/>
                <a:gd name="connsiteY1505" fmla="*/ 169069 h 514350"/>
                <a:gd name="connsiteX1506" fmla="*/ 3322796 w 6400800"/>
                <a:gd name="connsiteY1506" fmla="*/ 171926 h 514350"/>
                <a:gd name="connsiteX1507" fmla="*/ 3323749 w 6400800"/>
                <a:gd name="connsiteY1507" fmla="*/ 165259 h 514350"/>
                <a:gd name="connsiteX1508" fmla="*/ 3328511 w 6400800"/>
                <a:gd name="connsiteY1508" fmla="*/ 147161 h 514350"/>
                <a:gd name="connsiteX1509" fmla="*/ 3336131 w 6400800"/>
                <a:gd name="connsiteY1509" fmla="*/ 116681 h 514350"/>
                <a:gd name="connsiteX1510" fmla="*/ 3341846 w 6400800"/>
                <a:gd name="connsiteY1510" fmla="*/ 90011 h 514350"/>
                <a:gd name="connsiteX1511" fmla="*/ 3332321 w 6400800"/>
                <a:gd name="connsiteY1511" fmla="*/ 114776 h 514350"/>
                <a:gd name="connsiteX1512" fmla="*/ 3321844 w 6400800"/>
                <a:gd name="connsiteY1512" fmla="*/ 143351 h 514350"/>
                <a:gd name="connsiteX1513" fmla="*/ 3315176 w 6400800"/>
                <a:gd name="connsiteY1513" fmla="*/ 161449 h 514350"/>
                <a:gd name="connsiteX1514" fmla="*/ 3308509 w 6400800"/>
                <a:gd name="connsiteY1514" fmla="*/ 181451 h 514350"/>
                <a:gd name="connsiteX1515" fmla="*/ 3308509 w 6400800"/>
                <a:gd name="connsiteY1515" fmla="*/ 181451 h 514350"/>
                <a:gd name="connsiteX1516" fmla="*/ 3306604 w 6400800"/>
                <a:gd name="connsiteY1516" fmla="*/ 176689 h 514350"/>
                <a:gd name="connsiteX1517" fmla="*/ 3292316 w 6400800"/>
                <a:gd name="connsiteY1517" fmla="*/ 140494 h 514350"/>
                <a:gd name="connsiteX1518" fmla="*/ 3305651 w 6400800"/>
                <a:gd name="connsiteY1518" fmla="*/ 189071 h 514350"/>
                <a:gd name="connsiteX1519" fmla="*/ 3294221 w 6400800"/>
                <a:gd name="connsiteY1519" fmla="*/ 227171 h 514350"/>
                <a:gd name="connsiteX1520" fmla="*/ 3293269 w 6400800"/>
                <a:gd name="connsiteY1520" fmla="*/ 230981 h 514350"/>
                <a:gd name="connsiteX1521" fmla="*/ 3292316 w 6400800"/>
                <a:gd name="connsiteY1521" fmla="*/ 229076 h 514350"/>
                <a:gd name="connsiteX1522" fmla="*/ 3277076 w 6400800"/>
                <a:gd name="connsiteY1522" fmla="*/ 197644 h 514350"/>
                <a:gd name="connsiteX1523" fmla="*/ 3291364 w 6400800"/>
                <a:gd name="connsiteY1523" fmla="*/ 237649 h 514350"/>
                <a:gd name="connsiteX1524" fmla="*/ 3285649 w 6400800"/>
                <a:gd name="connsiteY1524" fmla="*/ 257651 h 514350"/>
                <a:gd name="connsiteX1525" fmla="*/ 3277076 w 6400800"/>
                <a:gd name="connsiteY1525" fmla="*/ 246221 h 514350"/>
                <a:gd name="connsiteX1526" fmla="*/ 3274219 w 6400800"/>
                <a:gd name="connsiteY1526" fmla="*/ 242411 h 514350"/>
                <a:gd name="connsiteX1527" fmla="*/ 3277076 w 6400800"/>
                <a:gd name="connsiteY1527" fmla="*/ 199549 h 514350"/>
                <a:gd name="connsiteX1528" fmla="*/ 3272314 w 6400800"/>
                <a:gd name="connsiteY1528" fmla="*/ 217646 h 514350"/>
                <a:gd name="connsiteX1529" fmla="*/ 3268504 w 6400800"/>
                <a:gd name="connsiteY1529" fmla="*/ 234791 h 514350"/>
                <a:gd name="connsiteX1530" fmla="*/ 3258979 w 6400800"/>
                <a:gd name="connsiteY1530" fmla="*/ 223361 h 514350"/>
                <a:gd name="connsiteX1531" fmla="*/ 3241834 w 6400800"/>
                <a:gd name="connsiteY1531" fmla="*/ 203359 h 514350"/>
                <a:gd name="connsiteX1532" fmla="*/ 3256121 w 6400800"/>
                <a:gd name="connsiteY1532" fmla="*/ 226219 h 514350"/>
                <a:gd name="connsiteX1533" fmla="*/ 3266599 w 6400800"/>
                <a:gd name="connsiteY1533" fmla="*/ 243364 h 514350"/>
                <a:gd name="connsiteX1534" fmla="*/ 3260884 w 6400800"/>
                <a:gd name="connsiteY1534" fmla="*/ 265271 h 514350"/>
                <a:gd name="connsiteX1535" fmla="*/ 3256121 w 6400800"/>
                <a:gd name="connsiteY1535" fmla="*/ 288131 h 514350"/>
                <a:gd name="connsiteX1536" fmla="*/ 3256121 w 6400800"/>
                <a:gd name="connsiteY1536" fmla="*/ 287179 h 514350"/>
                <a:gd name="connsiteX1537" fmla="*/ 3256121 w 6400800"/>
                <a:gd name="connsiteY1537" fmla="*/ 289084 h 514350"/>
                <a:gd name="connsiteX1538" fmla="*/ 3255169 w 6400800"/>
                <a:gd name="connsiteY1538" fmla="*/ 293846 h 514350"/>
                <a:gd name="connsiteX1539" fmla="*/ 3253264 w 6400800"/>
                <a:gd name="connsiteY1539" fmla="*/ 290036 h 514350"/>
                <a:gd name="connsiteX1540" fmla="*/ 3254216 w 6400800"/>
                <a:gd name="connsiteY1540" fmla="*/ 280511 h 514350"/>
                <a:gd name="connsiteX1541" fmla="*/ 3252311 w 6400800"/>
                <a:gd name="connsiteY1541" fmla="*/ 287179 h 514350"/>
                <a:gd name="connsiteX1542" fmla="*/ 3246596 w 6400800"/>
                <a:gd name="connsiteY1542" fmla="*/ 276701 h 514350"/>
                <a:gd name="connsiteX1543" fmla="*/ 3251359 w 6400800"/>
                <a:gd name="connsiteY1543" fmla="*/ 290989 h 514350"/>
                <a:gd name="connsiteX1544" fmla="*/ 3249454 w 6400800"/>
                <a:gd name="connsiteY1544" fmla="*/ 298609 h 514350"/>
                <a:gd name="connsiteX1545" fmla="*/ 3247549 w 6400800"/>
                <a:gd name="connsiteY1545" fmla="*/ 304324 h 514350"/>
                <a:gd name="connsiteX1546" fmla="*/ 3246596 w 6400800"/>
                <a:gd name="connsiteY1546" fmla="*/ 301466 h 514350"/>
                <a:gd name="connsiteX1547" fmla="*/ 3246596 w 6400800"/>
                <a:gd name="connsiteY1547" fmla="*/ 306229 h 514350"/>
                <a:gd name="connsiteX1548" fmla="*/ 3243739 w 6400800"/>
                <a:gd name="connsiteY1548" fmla="*/ 317659 h 514350"/>
                <a:gd name="connsiteX1549" fmla="*/ 3239929 w 6400800"/>
                <a:gd name="connsiteY1549" fmla="*/ 304324 h 514350"/>
                <a:gd name="connsiteX1550" fmla="*/ 3242786 w 6400800"/>
                <a:gd name="connsiteY1550" fmla="*/ 296704 h 514350"/>
                <a:gd name="connsiteX1551" fmla="*/ 3238976 w 6400800"/>
                <a:gd name="connsiteY1551" fmla="*/ 302419 h 514350"/>
                <a:gd name="connsiteX1552" fmla="*/ 3236119 w 6400800"/>
                <a:gd name="connsiteY1552" fmla="*/ 293846 h 514350"/>
                <a:gd name="connsiteX1553" fmla="*/ 3235166 w 6400800"/>
                <a:gd name="connsiteY1553" fmla="*/ 290036 h 514350"/>
                <a:gd name="connsiteX1554" fmla="*/ 3241834 w 6400800"/>
                <a:gd name="connsiteY1554" fmla="*/ 273844 h 514350"/>
                <a:gd name="connsiteX1555" fmla="*/ 3249454 w 6400800"/>
                <a:gd name="connsiteY1555" fmla="*/ 256699 h 514350"/>
                <a:gd name="connsiteX1556" fmla="*/ 3256121 w 6400800"/>
                <a:gd name="connsiteY1556" fmla="*/ 242411 h 514350"/>
                <a:gd name="connsiteX1557" fmla="*/ 3245644 w 6400800"/>
                <a:gd name="connsiteY1557" fmla="*/ 254794 h 514350"/>
                <a:gd name="connsiteX1558" fmla="*/ 3235166 w 6400800"/>
                <a:gd name="connsiteY1558" fmla="*/ 270034 h 514350"/>
                <a:gd name="connsiteX1559" fmla="*/ 3230404 w 6400800"/>
                <a:gd name="connsiteY1559" fmla="*/ 276701 h 514350"/>
                <a:gd name="connsiteX1560" fmla="*/ 3229451 w 6400800"/>
                <a:gd name="connsiteY1560" fmla="*/ 272891 h 514350"/>
                <a:gd name="connsiteX1561" fmla="*/ 3222784 w 6400800"/>
                <a:gd name="connsiteY1561" fmla="*/ 253841 h 514350"/>
                <a:gd name="connsiteX1562" fmla="*/ 3218021 w 6400800"/>
                <a:gd name="connsiteY1562" fmla="*/ 241459 h 514350"/>
                <a:gd name="connsiteX1563" fmla="*/ 3218021 w 6400800"/>
                <a:gd name="connsiteY1563" fmla="*/ 236696 h 514350"/>
                <a:gd name="connsiteX1564" fmla="*/ 3222784 w 6400800"/>
                <a:gd name="connsiteY1564" fmla="*/ 206216 h 514350"/>
                <a:gd name="connsiteX1565" fmla="*/ 3229451 w 6400800"/>
                <a:gd name="connsiteY1565" fmla="*/ 166211 h 514350"/>
                <a:gd name="connsiteX1566" fmla="*/ 3235166 w 6400800"/>
                <a:gd name="connsiteY1566" fmla="*/ 135731 h 514350"/>
                <a:gd name="connsiteX1567" fmla="*/ 3239929 w 6400800"/>
                <a:gd name="connsiteY1567" fmla="*/ 109061 h 514350"/>
                <a:gd name="connsiteX1568" fmla="*/ 3231356 w 6400800"/>
                <a:gd name="connsiteY1568" fmla="*/ 134779 h 514350"/>
                <a:gd name="connsiteX1569" fmla="*/ 3212306 w 6400800"/>
                <a:gd name="connsiteY1569" fmla="*/ 204311 h 514350"/>
                <a:gd name="connsiteX1570" fmla="*/ 3209449 w 6400800"/>
                <a:gd name="connsiteY1570" fmla="*/ 215741 h 514350"/>
                <a:gd name="connsiteX1571" fmla="*/ 3204686 w 6400800"/>
                <a:gd name="connsiteY1571" fmla="*/ 204311 h 514350"/>
                <a:gd name="connsiteX1572" fmla="*/ 3203734 w 6400800"/>
                <a:gd name="connsiteY1572" fmla="*/ 175736 h 514350"/>
                <a:gd name="connsiteX1573" fmla="*/ 3200876 w 6400800"/>
                <a:gd name="connsiteY1573" fmla="*/ 206216 h 514350"/>
                <a:gd name="connsiteX1574" fmla="*/ 3196114 w 6400800"/>
                <a:gd name="connsiteY1574" fmla="*/ 240506 h 514350"/>
                <a:gd name="connsiteX1575" fmla="*/ 3195161 w 6400800"/>
                <a:gd name="connsiteY1575" fmla="*/ 243364 h 514350"/>
                <a:gd name="connsiteX1576" fmla="*/ 3196114 w 6400800"/>
                <a:gd name="connsiteY1576" fmla="*/ 217646 h 514350"/>
                <a:gd name="connsiteX1577" fmla="*/ 3198019 w 6400800"/>
                <a:gd name="connsiteY1577" fmla="*/ 180499 h 514350"/>
                <a:gd name="connsiteX1578" fmla="*/ 3199924 w 6400800"/>
                <a:gd name="connsiteY1578" fmla="*/ 151924 h 514350"/>
                <a:gd name="connsiteX1579" fmla="*/ 3200876 w 6400800"/>
                <a:gd name="connsiteY1579" fmla="*/ 127159 h 514350"/>
                <a:gd name="connsiteX1580" fmla="*/ 3195161 w 6400800"/>
                <a:gd name="connsiteY1580" fmla="*/ 151924 h 514350"/>
                <a:gd name="connsiteX1581" fmla="*/ 3184684 w 6400800"/>
                <a:gd name="connsiteY1581" fmla="*/ 217646 h 514350"/>
                <a:gd name="connsiteX1582" fmla="*/ 3181826 w 6400800"/>
                <a:gd name="connsiteY1582" fmla="*/ 235744 h 514350"/>
                <a:gd name="connsiteX1583" fmla="*/ 3179921 w 6400800"/>
                <a:gd name="connsiteY1583" fmla="*/ 231934 h 514350"/>
                <a:gd name="connsiteX1584" fmla="*/ 3179921 w 6400800"/>
                <a:gd name="connsiteY1584" fmla="*/ 224314 h 514350"/>
                <a:gd name="connsiteX1585" fmla="*/ 3178969 w 6400800"/>
                <a:gd name="connsiteY1585" fmla="*/ 230029 h 514350"/>
                <a:gd name="connsiteX1586" fmla="*/ 3177064 w 6400800"/>
                <a:gd name="connsiteY1586" fmla="*/ 227171 h 514350"/>
                <a:gd name="connsiteX1587" fmla="*/ 3178016 w 6400800"/>
                <a:gd name="connsiteY1587" fmla="*/ 231934 h 514350"/>
                <a:gd name="connsiteX1588" fmla="*/ 3174206 w 6400800"/>
                <a:gd name="connsiteY1588" fmla="*/ 250984 h 514350"/>
                <a:gd name="connsiteX1589" fmla="*/ 3170396 w 6400800"/>
                <a:gd name="connsiteY1589" fmla="*/ 277654 h 514350"/>
                <a:gd name="connsiteX1590" fmla="*/ 3169444 w 6400800"/>
                <a:gd name="connsiteY1590" fmla="*/ 275749 h 514350"/>
                <a:gd name="connsiteX1591" fmla="*/ 3163729 w 6400800"/>
                <a:gd name="connsiteY1591" fmla="*/ 215741 h 514350"/>
                <a:gd name="connsiteX1592" fmla="*/ 3162776 w 6400800"/>
                <a:gd name="connsiteY1592" fmla="*/ 207169 h 514350"/>
                <a:gd name="connsiteX1593" fmla="*/ 3163729 w 6400800"/>
                <a:gd name="connsiteY1593" fmla="*/ 203359 h 514350"/>
                <a:gd name="connsiteX1594" fmla="*/ 3174206 w 6400800"/>
                <a:gd name="connsiteY1594" fmla="*/ 132874 h 514350"/>
                <a:gd name="connsiteX1595" fmla="*/ 3178016 w 6400800"/>
                <a:gd name="connsiteY1595" fmla="*/ 106204 h 514350"/>
                <a:gd name="connsiteX1596" fmla="*/ 3170396 w 6400800"/>
                <a:gd name="connsiteY1596" fmla="*/ 131921 h 514350"/>
                <a:gd name="connsiteX1597" fmla="*/ 3158014 w 6400800"/>
                <a:gd name="connsiteY1597" fmla="*/ 177641 h 514350"/>
                <a:gd name="connsiteX1598" fmla="*/ 3154204 w 6400800"/>
                <a:gd name="connsiteY1598" fmla="*/ 159544 h 514350"/>
                <a:gd name="connsiteX1599" fmla="*/ 3149441 w 6400800"/>
                <a:gd name="connsiteY1599" fmla="*/ 134779 h 514350"/>
                <a:gd name="connsiteX1600" fmla="*/ 3143726 w 6400800"/>
                <a:gd name="connsiteY1600" fmla="*/ 112871 h 514350"/>
                <a:gd name="connsiteX1601" fmla="*/ 3133249 w 6400800"/>
                <a:gd name="connsiteY1601" fmla="*/ 77629 h 514350"/>
                <a:gd name="connsiteX1602" fmla="*/ 3122771 w 6400800"/>
                <a:gd name="connsiteY1602" fmla="*/ 47149 h 514350"/>
                <a:gd name="connsiteX1603" fmla="*/ 3129439 w 6400800"/>
                <a:gd name="connsiteY1603" fmla="*/ 78581 h 514350"/>
                <a:gd name="connsiteX1604" fmla="*/ 3136106 w 6400800"/>
                <a:gd name="connsiteY1604" fmla="*/ 114776 h 514350"/>
                <a:gd name="connsiteX1605" fmla="*/ 3139916 w 6400800"/>
                <a:gd name="connsiteY1605" fmla="*/ 136684 h 514350"/>
                <a:gd name="connsiteX1606" fmla="*/ 3142774 w 6400800"/>
                <a:gd name="connsiteY1606" fmla="*/ 161449 h 514350"/>
                <a:gd name="connsiteX1607" fmla="*/ 3147536 w 6400800"/>
                <a:gd name="connsiteY1607" fmla="*/ 213836 h 514350"/>
                <a:gd name="connsiteX1608" fmla="*/ 3146584 w 6400800"/>
                <a:gd name="connsiteY1608" fmla="*/ 217646 h 514350"/>
                <a:gd name="connsiteX1609" fmla="*/ 3143726 w 6400800"/>
                <a:gd name="connsiteY1609" fmla="*/ 210026 h 514350"/>
                <a:gd name="connsiteX1610" fmla="*/ 3138964 w 6400800"/>
                <a:gd name="connsiteY1610" fmla="*/ 196691 h 514350"/>
                <a:gd name="connsiteX1611" fmla="*/ 3134201 w 6400800"/>
                <a:gd name="connsiteY1611" fmla="*/ 179546 h 514350"/>
                <a:gd name="connsiteX1612" fmla="*/ 3126581 w 6400800"/>
                <a:gd name="connsiteY1612" fmla="*/ 155734 h 514350"/>
                <a:gd name="connsiteX1613" fmla="*/ 3129439 w 6400800"/>
                <a:gd name="connsiteY1613" fmla="*/ 172879 h 514350"/>
                <a:gd name="connsiteX1614" fmla="*/ 3118961 w 6400800"/>
                <a:gd name="connsiteY1614" fmla="*/ 150019 h 514350"/>
                <a:gd name="connsiteX1615" fmla="*/ 3112294 w 6400800"/>
                <a:gd name="connsiteY1615" fmla="*/ 136684 h 514350"/>
                <a:gd name="connsiteX1616" fmla="*/ 3102769 w 6400800"/>
                <a:gd name="connsiteY1616" fmla="*/ 113824 h 514350"/>
                <a:gd name="connsiteX1617" fmla="*/ 3090386 w 6400800"/>
                <a:gd name="connsiteY1617" fmla="*/ 87154 h 514350"/>
                <a:gd name="connsiteX1618" fmla="*/ 3099911 w 6400800"/>
                <a:gd name="connsiteY1618" fmla="*/ 114776 h 514350"/>
                <a:gd name="connsiteX1619" fmla="*/ 3109436 w 6400800"/>
                <a:gd name="connsiteY1619" fmla="*/ 146209 h 514350"/>
                <a:gd name="connsiteX1620" fmla="*/ 3115151 w 6400800"/>
                <a:gd name="connsiteY1620" fmla="*/ 167164 h 514350"/>
                <a:gd name="connsiteX1621" fmla="*/ 3109436 w 6400800"/>
                <a:gd name="connsiteY1621" fmla="*/ 155734 h 514350"/>
                <a:gd name="connsiteX1622" fmla="*/ 3116104 w 6400800"/>
                <a:gd name="connsiteY1622" fmla="*/ 176689 h 514350"/>
                <a:gd name="connsiteX1623" fmla="*/ 3121819 w 6400800"/>
                <a:gd name="connsiteY1623" fmla="*/ 194786 h 514350"/>
                <a:gd name="connsiteX1624" fmla="*/ 3125629 w 6400800"/>
                <a:gd name="connsiteY1624" fmla="*/ 213836 h 514350"/>
                <a:gd name="connsiteX1625" fmla="*/ 3123724 w 6400800"/>
                <a:gd name="connsiteY1625" fmla="*/ 215741 h 514350"/>
                <a:gd name="connsiteX1626" fmla="*/ 3122771 w 6400800"/>
                <a:gd name="connsiteY1626" fmla="*/ 210979 h 514350"/>
                <a:gd name="connsiteX1627" fmla="*/ 3122771 w 6400800"/>
                <a:gd name="connsiteY1627" fmla="*/ 216694 h 514350"/>
                <a:gd name="connsiteX1628" fmla="*/ 3113246 w 6400800"/>
                <a:gd name="connsiteY1628" fmla="*/ 228124 h 514350"/>
                <a:gd name="connsiteX1629" fmla="*/ 3113246 w 6400800"/>
                <a:gd name="connsiteY1629" fmla="*/ 228124 h 514350"/>
                <a:gd name="connsiteX1630" fmla="*/ 3110389 w 6400800"/>
                <a:gd name="connsiteY1630" fmla="*/ 191929 h 514350"/>
                <a:gd name="connsiteX1631" fmla="*/ 3108484 w 6400800"/>
                <a:gd name="connsiteY1631" fmla="*/ 171926 h 514350"/>
                <a:gd name="connsiteX1632" fmla="*/ 3106579 w 6400800"/>
                <a:gd name="connsiteY1632" fmla="*/ 192881 h 514350"/>
                <a:gd name="connsiteX1633" fmla="*/ 3104674 w 6400800"/>
                <a:gd name="connsiteY1633" fmla="*/ 228124 h 514350"/>
                <a:gd name="connsiteX1634" fmla="*/ 3104674 w 6400800"/>
                <a:gd name="connsiteY1634" fmla="*/ 227171 h 514350"/>
                <a:gd name="connsiteX1635" fmla="*/ 3097054 w 6400800"/>
                <a:gd name="connsiteY1635" fmla="*/ 208121 h 514350"/>
                <a:gd name="connsiteX1636" fmla="*/ 3100864 w 6400800"/>
                <a:gd name="connsiteY1636" fmla="*/ 228124 h 514350"/>
                <a:gd name="connsiteX1637" fmla="*/ 3103721 w 6400800"/>
                <a:gd name="connsiteY1637" fmla="*/ 244316 h 514350"/>
                <a:gd name="connsiteX1638" fmla="*/ 3096101 w 6400800"/>
                <a:gd name="connsiteY1638" fmla="*/ 255746 h 514350"/>
                <a:gd name="connsiteX1639" fmla="*/ 3087529 w 6400800"/>
                <a:gd name="connsiteY1639" fmla="*/ 270034 h 514350"/>
                <a:gd name="connsiteX1640" fmla="*/ 3082766 w 6400800"/>
                <a:gd name="connsiteY1640" fmla="*/ 252889 h 514350"/>
                <a:gd name="connsiteX1641" fmla="*/ 3077051 w 6400800"/>
                <a:gd name="connsiteY1641" fmla="*/ 233839 h 514350"/>
                <a:gd name="connsiteX1642" fmla="*/ 3078956 w 6400800"/>
                <a:gd name="connsiteY1642" fmla="*/ 252889 h 514350"/>
                <a:gd name="connsiteX1643" fmla="*/ 3079909 w 6400800"/>
                <a:gd name="connsiteY1643" fmla="*/ 264319 h 514350"/>
                <a:gd name="connsiteX1644" fmla="*/ 3077051 w 6400800"/>
                <a:gd name="connsiteY1644" fmla="*/ 255746 h 514350"/>
                <a:gd name="connsiteX1645" fmla="*/ 3074194 w 6400800"/>
                <a:gd name="connsiteY1645" fmla="*/ 248126 h 514350"/>
                <a:gd name="connsiteX1646" fmla="*/ 3074194 w 6400800"/>
                <a:gd name="connsiteY1646" fmla="*/ 242411 h 514350"/>
                <a:gd name="connsiteX1647" fmla="*/ 3075146 w 6400800"/>
                <a:gd name="connsiteY1647" fmla="*/ 229076 h 514350"/>
                <a:gd name="connsiteX1648" fmla="*/ 3077051 w 6400800"/>
                <a:gd name="connsiteY1648" fmla="*/ 220504 h 514350"/>
                <a:gd name="connsiteX1649" fmla="*/ 3086576 w 6400800"/>
                <a:gd name="connsiteY1649" fmla="*/ 189071 h 514350"/>
                <a:gd name="connsiteX1650" fmla="*/ 3096101 w 6400800"/>
                <a:gd name="connsiteY1650" fmla="*/ 161449 h 514350"/>
                <a:gd name="connsiteX1651" fmla="*/ 3083719 w 6400800"/>
                <a:gd name="connsiteY1651" fmla="*/ 188119 h 514350"/>
                <a:gd name="connsiteX1652" fmla="*/ 3071336 w 6400800"/>
                <a:gd name="connsiteY1652" fmla="*/ 218599 h 514350"/>
                <a:gd name="connsiteX1653" fmla="*/ 3068479 w 6400800"/>
                <a:gd name="connsiteY1653" fmla="*/ 224314 h 514350"/>
                <a:gd name="connsiteX1654" fmla="*/ 3068479 w 6400800"/>
                <a:gd name="connsiteY1654" fmla="*/ 216694 h 514350"/>
                <a:gd name="connsiteX1655" fmla="*/ 3069431 w 6400800"/>
                <a:gd name="connsiteY1655" fmla="*/ 209074 h 514350"/>
                <a:gd name="connsiteX1656" fmla="*/ 3072289 w 6400800"/>
                <a:gd name="connsiteY1656" fmla="*/ 181451 h 514350"/>
                <a:gd name="connsiteX1657" fmla="*/ 3073241 w 6400800"/>
                <a:gd name="connsiteY1657" fmla="*/ 157639 h 514350"/>
                <a:gd name="connsiteX1658" fmla="*/ 3067526 w 6400800"/>
                <a:gd name="connsiteY1658" fmla="*/ 180499 h 514350"/>
                <a:gd name="connsiteX1659" fmla="*/ 3066574 w 6400800"/>
                <a:gd name="connsiteY1659" fmla="*/ 183356 h 514350"/>
                <a:gd name="connsiteX1660" fmla="*/ 3064669 w 6400800"/>
                <a:gd name="connsiteY1660" fmla="*/ 148114 h 514350"/>
                <a:gd name="connsiteX1661" fmla="*/ 3064669 w 6400800"/>
                <a:gd name="connsiteY1661" fmla="*/ 145256 h 514350"/>
                <a:gd name="connsiteX1662" fmla="*/ 3064669 w 6400800"/>
                <a:gd name="connsiteY1662" fmla="*/ 146209 h 514350"/>
                <a:gd name="connsiteX1663" fmla="*/ 3063716 w 6400800"/>
                <a:gd name="connsiteY1663" fmla="*/ 131921 h 514350"/>
                <a:gd name="connsiteX1664" fmla="*/ 3058954 w 6400800"/>
                <a:gd name="connsiteY1664" fmla="*/ 174784 h 514350"/>
                <a:gd name="connsiteX1665" fmla="*/ 3056096 w 6400800"/>
                <a:gd name="connsiteY1665" fmla="*/ 190976 h 514350"/>
                <a:gd name="connsiteX1666" fmla="*/ 3054191 w 6400800"/>
                <a:gd name="connsiteY1666" fmla="*/ 201454 h 514350"/>
                <a:gd name="connsiteX1667" fmla="*/ 3049429 w 6400800"/>
                <a:gd name="connsiteY1667" fmla="*/ 189071 h 514350"/>
                <a:gd name="connsiteX1668" fmla="*/ 3049429 w 6400800"/>
                <a:gd name="connsiteY1668" fmla="*/ 188119 h 514350"/>
                <a:gd name="connsiteX1669" fmla="*/ 3056096 w 6400800"/>
                <a:gd name="connsiteY1669" fmla="*/ 151924 h 514350"/>
                <a:gd name="connsiteX1670" fmla="*/ 3062764 w 6400800"/>
                <a:gd name="connsiteY1670" fmla="*/ 120491 h 514350"/>
                <a:gd name="connsiteX1671" fmla="*/ 3052286 w 6400800"/>
                <a:gd name="connsiteY1671" fmla="*/ 150971 h 514350"/>
                <a:gd name="connsiteX1672" fmla="*/ 3041809 w 6400800"/>
                <a:gd name="connsiteY1672" fmla="*/ 186214 h 514350"/>
                <a:gd name="connsiteX1673" fmla="*/ 3036094 w 6400800"/>
                <a:gd name="connsiteY1673" fmla="*/ 208121 h 514350"/>
                <a:gd name="connsiteX1674" fmla="*/ 3034189 w 6400800"/>
                <a:gd name="connsiteY1674" fmla="*/ 215741 h 514350"/>
                <a:gd name="connsiteX1675" fmla="*/ 3032284 w 6400800"/>
                <a:gd name="connsiteY1675" fmla="*/ 205264 h 514350"/>
                <a:gd name="connsiteX1676" fmla="*/ 3048476 w 6400800"/>
                <a:gd name="connsiteY1676" fmla="*/ 148114 h 514350"/>
                <a:gd name="connsiteX1677" fmla="*/ 3057049 w 6400800"/>
                <a:gd name="connsiteY1677" fmla="*/ 123349 h 514350"/>
                <a:gd name="connsiteX1678" fmla="*/ 3054191 w 6400800"/>
                <a:gd name="connsiteY1678" fmla="*/ 129064 h 514350"/>
                <a:gd name="connsiteX1679" fmla="*/ 3045619 w 6400800"/>
                <a:gd name="connsiteY1679" fmla="*/ 146209 h 514350"/>
                <a:gd name="connsiteX1680" fmla="*/ 3029426 w 6400800"/>
                <a:gd name="connsiteY1680" fmla="*/ 184309 h 514350"/>
                <a:gd name="connsiteX1681" fmla="*/ 3029426 w 6400800"/>
                <a:gd name="connsiteY1681" fmla="*/ 167164 h 514350"/>
                <a:gd name="connsiteX1682" fmla="*/ 3030379 w 6400800"/>
                <a:gd name="connsiteY1682" fmla="*/ 140494 h 514350"/>
                <a:gd name="connsiteX1683" fmla="*/ 3025616 w 6400800"/>
                <a:gd name="connsiteY1683" fmla="*/ 166211 h 514350"/>
                <a:gd name="connsiteX1684" fmla="*/ 3022759 w 6400800"/>
                <a:gd name="connsiteY1684" fmla="*/ 196691 h 514350"/>
                <a:gd name="connsiteX1685" fmla="*/ 3022759 w 6400800"/>
                <a:gd name="connsiteY1685" fmla="*/ 202406 h 514350"/>
                <a:gd name="connsiteX1686" fmla="*/ 3019901 w 6400800"/>
                <a:gd name="connsiteY1686" fmla="*/ 210979 h 514350"/>
                <a:gd name="connsiteX1687" fmla="*/ 3011329 w 6400800"/>
                <a:gd name="connsiteY1687" fmla="*/ 234791 h 514350"/>
                <a:gd name="connsiteX1688" fmla="*/ 3007519 w 6400800"/>
                <a:gd name="connsiteY1688" fmla="*/ 226219 h 514350"/>
                <a:gd name="connsiteX1689" fmla="*/ 3011329 w 6400800"/>
                <a:gd name="connsiteY1689" fmla="*/ 215741 h 514350"/>
                <a:gd name="connsiteX1690" fmla="*/ 3006566 w 6400800"/>
                <a:gd name="connsiteY1690" fmla="*/ 222409 h 514350"/>
                <a:gd name="connsiteX1691" fmla="*/ 3001804 w 6400800"/>
                <a:gd name="connsiteY1691" fmla="*/ 202406 h 514350"/>
                <a:gd name="connsiteX1692" fmla="*/ 3000851 w 6400800"/>
                <a:gd name="connsiteY1692" fmla="*/ 197644 h 514350"/>
                <a:gd name="connsiteX1693" fmla="*/ 3003709 w 6400800"/>
                <a:gd name="connsiteY1693" fmla="*/ 189071 h 514350"/>
                <a:gd name="connsiteX1694" fmla="*/ 3011329 w 6400800"/>
                <a:gd name="connsiteY1694" fmla="*/ 164306 h 514350"/>
                <a:gd name="connsiteX1695" fmla="*/ 3018949 w 6400800"/>
                <a:gd name="connsiteY1695" fmla="*/ 142399 h 514350"/>
                <a:gd name="connsiteX1696" fmla="*/ 3007519 w 6400800"/>
                <a:gd name="connsiteY1696" fmla="*/ 162401 h 514350"/>
                <a:gd name="connsiteX1697" fmla="*/ 2997994 w 6400800"/>
                <a:gd name="connsiteY1697" fmla="*/ 182404 h 514350"/>
                <a:gd name="connsiteX1698" fmla="*/ 2995136 w 6400800"/>
                <a:gd name="connsiteY1698" fmla="*/ 169069 h 514350"/>
                <a:gd name="connsiteX1699" fmla="*/ 3014186 w 6400800"/>
                <a:gd name="connsiteY1699" fmla="*/ 100489 h 514350"/>
                <a:gd name="connsiteX1700" fmla="*/ 3021806 w 6400800"/>
                <a:gd name="connsiteY1700" fmla="*/ 76676 h 514350"/>
                <a:gd name="connsiteX1701" fmla="*/ 3024664 w 6400800"/>
                <a:gd name="connsiteY1701" fmla="*/ 68104 h 514350"/>
                <a:gd name="connsiteX1702" fmla="*/ 3020854 w 6400800"/>
                <a:gd name="connsiteY1702" fmla="*/ 75724 h 514350"/>
                <a:gd name="connsiteX1703" fmla="*/ 3010376 w 6400800"/>
                <a:gd name="connsiteY1703" fmla="*/ 98584 h 514350"/>
                <a:gd name="connsiteX1704" fmla="*/ 2996089 w 6400800"/>
                <a:gd name="connsiteY1704" fmla="*/ 134779 h 514350"/>
                <a:gd name="connsiteX1705" fmla="*/ 2991326 w 6400800"/>
                <a:gd name="connsiteY1705" fmla="*/ 148114 h 514350"/>
                <a:gd name="connsiteX1706" fmla="*/ 2987516 w 6400800"/>
                <a:gd name="connsiteY1706" fmla="*/ 122396 h 514350"/>
                <a:gd name="connsiteX1707" fmla="*/ 2984659 w 6400800"/>
                <a:gd name="connsiteY1707" fmla="*/ 91916 h 514350"/>
                <a:gd name="connsiteX1708" fmla="*/ 2983706 w 6400800"/>
                <a:gd name="connsiteY1708" fmla="*/ 122396 h 514350"/>
                <a:gd name="connsiteX1709" fmla="*/ 2985611 w 6400800"/>
                <a:gd name="connsiteY1709" fmla="*/ 157639 h 514350"/>
                <a:gd name="connsiteX1710" fmla="*/ 2985611 w 6400800"/>
                <a:gd name="connsiteY1710" fmla="*/ 163354 h 514350"/>
                <a:gd name="connsiteX1711" fmla="*/ 2978944 w 6400800"/>
                <a:gd name="connsiteY1711" fmla="*/ 182404 h 514350"/>
                <a:gd name="connsiteX1712" fmla="*/ 2960846 w 6400800"/>
                <a:gd name="connsiteY1712" fmla="*/ 238601 h 514350"/>
                <a:gd name="connsiteX1713" fmla="*/ 2959894 w 6400800"/>
                <a:gd name="connsiteY1713" fmla="*/ 234791 h 514350"/>
                <a:gd name="connsiteX1714" fmla="*/ 2960846 w 6400800"/>
                <a:gd name="connsiteY1714" fmla="*/ 239554 h 514350"/>
                <a:gd name="connsiteX1715" fmla="*/ 2950369 w 6400800"/>
                <a:gd name="connsiteY1715" fmla="*/ 274796 h 514350"/>
                <a:gd name="connsiteX1716" fmla="*/ 2952274 w 6400800"/>
                <a:gd name="connsiteY1716" fmla="*/ 264319 h 514350"/>
                <a:gd name="connsiteX1717" fmla="*/ 2944654 w 6400800"/>
                <a:gd name="connsiteY1717" fmla="*/ 284321 h 514350"/>
                <a:gd name="connsiteX1718" fmla="*/ 2944654 w 6400800"/>
                <a:gd name="connsiteY1718" fmla="*/ 283369 h 514350"/>
                <a:gd name="connsiteX1719" fmla="*/ 2945606 w 6400800"/>
                <a:gd name="connsiteY1719" fmla="*/ 277654 h 514350"/>
                <a:gd name="connsiteX1720" fmla="*/ 2949416 w 6400800"/>
                <a:gd name="connsiteY1720" fmla="*/ 238601 h 514350"/>
                <a:gd name="connsiteX1721" fmla="*/ 2951321 w 6400800"/>
                <a:gd name="connsiteY1721" fmla="*/ 221456 h 514350"/>
                <a:gd name="connsiteX1722" fmla="*/ 2953226 w 6400800"/>
                <a:gd name="connsiteY1722" fmla="*/ 205264 h 514350"/>
                <a:gd name="connsiteX1723" fmla="*/ 2956084 w 6400800"/>
                <a:gd name="connsiteY1723" fmla="*/ 179546 h 514350"/>
                <a:gd name="connsiteX1724" fmla="*/ 2958941 w 6400800"/>
                <a:gd name="connsiteY1724" fmla="*/ 156686 h 514350"/>
                <a:gd name="connsiteX1725" fmla="*/ 2952274 w 6400800"/>
                <a:gd name="connsiteY1725" fmla="*/ 178594 h 514350"/>
                <a:gd name="connsiteX1726" fmla="*/ 2945606 w 6400800"/>
                <a:gd name="connsiteY1726" fmla="*/ 203359 h 514350"/>
                <a:gd name="connsiteX1727" fmla="*/ 2941796 w 6400800"/>
                <a:gd name="connsiteY1727" fmla="*/ 218599 h 514350"/>
                <a:gd name="connsiteX1728" fmla="*/ 2937986 w 6400800"/>
                <a:gd name="connsiteY1728" fmla="*/ 235744 h 514350"/>
                <a:gd name="connsiteX1729" fmla="*/ 2931319 w 6400800"/>
                <a:gd name="connsiteY1729" fmla="*/ 270034 h 514350"/>
                <a:gd name="connsiteX1730" fmla="*/ 2929414 w 6400800"/>
                <a:gd name="connsiteY1730" fmla="*/ 260509 h 514350"/>
                <a:gd name="connsiteX1731" fmla="*/ 2928461 w 6400800"/>
                <a:gd name="connsiteY1731" fmla="*/ 256699 h 514350"/>
                <a:gd name="connsiteX1732" fmla="*/ 2931319 w 6400800"/>
                <a:gd name="connsiteY1732" fmla="*/ 251936 h 514350"/>
                <a:gd name="connsiteX1733" fmla="*/ 2927509 w 6400800"/>
                <a:gd name="connsiteY1733" fmla="*/ 254794 h 514350"/>
                <a:gd name="connsiteX1734" fmla="*/ 2925604 w 6400800"/>
                <a:gd name="connsiteY1734" fmla="*/ 247174 h 514350"/>
                <a:gd name="connsiteX1735" fmla="*/ 2931319 w 6400800"/>
                <a:gd name="connsiteY1735" fmla="*/ 231934 h 514350"/>
                <a:gd name="connsiteX1736" fmla="*/ 2924651 w 6400800"/>
                <a:gd name="connsiteY1736" fmla="*/ 243364 h 514350"/>
                <a:gd name="connsiteX1737" fmla="*/ 2922746 w 6400800"/>
                <a:gd name="connsiteY1737" fmla="*/ 237649 h 514350"/>
                <a:gd name="connsiteX1738" fmla="*/ 2922746 w 6400800"/>
                <a:gd name="connsiteY1738" fmla="*/ 236696 h 514350"/>
                <a:gd name="connsiteX1739" fmla="*/ 2921794 w 6400800"/>
                <a:gd name="connsiteY1739" fmla="*/ 236696 h 514350"/>
                <a:gd name="connsiteX1740" fmla="*/ 2916079 w 6400800"/>
                <a:gd name="connsiteY1740" fmla="*/ 236696 h 514350"/>
                <a:gd name="connsiteX1741" fmla="*/ 2916079 w 6400800"/>
                <a:gd name="connsiteY1741" fmla="*/ 236696 h 514350"/>
                <a:gd name="connsiteX1742" fmla="*/ 2935129 w 6400800"/>
                <a:gd name="connsiteY1742" fmla="*/ 176689 h 514350"/>
                <a:gd name="connsiteX1743" fmla="*/ 2909411 w 6400800"/>
                <a:gd name="connsiteY1743" fmla="*/ 230029 h 514350"/>
                <a:gd name="connsiteX1744" fmla="*/ 2902744 w 6400800"/>
                <a:gd name="connsiteY1744" fmla="*/ 211931 h 514350"/>
                <a:gd name="connsiteX1745" fmla="*/ 2900839 w 6400800"/>
                <a:gd name="connsiteY1745" fmla="*/ 195739 h 514350"/>
                <a:gd name="connsiteX1746" fmla="*/ 2897981 w 6400800"/>
                <a:gd name="connsiteY1746" fmla="*/ 173831 h 514350"/>
                <a:gd name="connsiteX1747" fmla="*/ 2896076 w 6400800"/>
                <a:gd name="connsiteY1747" fmla="*/ 153829 h 514350"/>
                <a:gd name="connsiteX1748" fmla="*/ 2893219 w 6400800"/>
                <a:gd name="connsiteY1748" fmla="*/ 121444 h 514350"/>
                <a:gd name="connsiteX1749" fmla="*/ 2890361 w 6400800"/>
                <a:gd name="connsiteY1749" fmla="*/ 93821 h 514350"/>
                <a:gd name="connsiteX1750" fmla="*/ 2889409 w 6400800"/>
                <a:gd name="connsiteY1750" fmla="*/ 121444 h 514350"/>
                <a:gd name="connsiteX1751" fmla="*/ 2889409 w 6400800"/>
                <a:gd name="connsiteY1751" fmla="*/ 153829 h 514350"/>
                <a:gd name="connsiteX1752" fmla="*/ 2889409 w 6400800"/>
                <a:gd name="connsiteY1752" fmla="*/ 173831 h 514350"/>
                <a:gd name="connsiteX1753" fmla="*/ 2890361 w 6400800"/>
                <a:gd name="connsiteY1753" fmla="*/ 195739 h 514350"/>
                <a:gd name="connsiteX1754" fmla="*/ 2891314 w 6400800"/>
                <a:gd name="connsiteY1754" fmla="*/ 211931 h 514350"/>
                <a:gd name="connsiteX1755" fmla="*/ 2887504 w 6400800"/>
                <a:gd name="connsiteY1755" fmla="*/ 217646 h 514350"/>
                <a:gd name="connsiteX1756" fmla="*/ 2885599 w 6400800"/>
                <a:gd name="connsiteY1756" fmla="*/ 221456 h 514350"/>
                <a:gd name="connsiteX1757" fmla="*/ 2880836 w 6400800"/>
                <a:gd name="connsiteY1757" fmla="*/ 195739 h 514350"/>
                <a:gd name="connsiteX1758" fmla="*/ 2874169 w 6400800"/>
                <a:gd name="connsiteY1758" fmla="*/ 166211 h 514350"/>
                <a:gd name="connsiteX1759" fmla="*/ 2867501 w 6400800"/>
                <a:gd name="connsiteY1759" fmla="*/ 144304 h 514350"/>
                <a:gd name="connsiteX1760" fmla="*/ 2860834 w 6400800"/>
                <a:gd name="connsiteY1760" fmla="*/ 125254 h 514350"/>
                <a:gd name="connsiteX1761" fmla="*/ 2863691 w 6400800"/>
                <a:gd name="connsiteY1761" fmla="*/ 145256 h 514350"/>
                <a:gd name="connsiteX1762" fmla="*/ 2866549 w 6400800"/>
                <a:gd name="connsiteY1762" fmla="*/ 168116 h 514350"/>
                <a:gd name="connsiteX1763" fmla="*/ 2869406 w 6400800"/>
                <a:gd name="connsiteY1763" fmla="*/ 197644 h 514350"/>
                <a:gd name="connsiteX1764" fmla="*/ 2872264 w 6400800"/>
                <a:gd name="connsiteY1764" fmla="*/ 232886 h 514350"/>
                <a:gd name="connsiteX1765" fmla="*/ 2873216 w 6400800"/>
                <a:gd name="connsiteY1765" fmla="*/ 247174 h 514350"/>
                <a:gd name="connsiteX1766" fmla="*/ 2864644 w 6400800"/>
                <a:gd name="connsiteY1766" fmla="*/ 270034 h 514350"/>
                <a:gd name="connsiteX1767" fmla="*/ 2863691 w 6400800"/>
                <a:gd name="connsiteY1767" fmla="*/ 274796 h 514350"/>
                <a:gd name="connsiteX1768" fmla="*/ 2855119 w 6400800"/>
                <a:gd name="connsiteY1768" fmla="*/ 257651 h 514350"/>
                <a:gd name="connsiteX1769" fmla="*/ 2841784 w 6400800"/>
                <a:gd name="connsiteY1769" fmla="*/ 230029 h 514350"/>
                <a:gd name="connsiteX1770" fmla="*/ 2855119 w 6400800"/>
                <a:gd name="connsiteY1770" fmla="*/ 226219 h 514350"/>
                <a:gd name="connsiteX1771" fmla="*/ 2853214 w 6400800"/>
                <a:gd name="connsiteY1771" fmla="*/ 231934 h 514350"/>
                <a:gd name="connsiteX1772" fmla="*/ 2840831 w 6400800"/>
                <a:gd name="connsiteY1772" fmla="*/ 209074 h 514350"/>
                <a:gd name="connsiteX1773" fmla="*/ 2866549 w 6400800"/>
                <a:gd name="connsiteY1773" fmla="*/ 150971 h 514350"/>
                <a:gd name="connsiteX1774" fmla="*/ 2835116 w 6400800"/>
                <a:gd name="connsiteY1774" fmla="*/ 198596 h 514350"/>
                <a:gd name="connsiteX1775" fmla="*/ 2829401 w 6400800"/>
                <a:gd name="connsiteY1775" fmla="*/ 188119 h 514350"/>
                <a:gd name="connsiteX1776" fmla="*/ 2820829 w 6400800"/>
                <a:gd name="connsiteY1776" fmla="*/ 132874 h 514350"/>
                <a:gd name="connsiteX1777" fmla="*/ 2821781 w 6400800"/>
                <a:gd name="connsiteY1777" fmla="*/ 173831 h 514350"/>
                <a:gd name="connsiteX1778" fmla="*/ 2807494 w 6400800"/>
                <a:gd name="connsiteY1778" fmla="*/ 151924 h 514350"/>
                <a:gd name="connsiteX1779" fmla="*/ 2782729 w 6400800"/>
                <a:gd name="connsiteY1779" fmla="*/ 115729 h 514350"/>
                <a:gd name="connsiteX1780" fmla="*/ 2759869 w 6400800"/>
                <a:gd name="connsiteY1780" fmla="*/ 85249 h 514350"/>
                <a:gd name="connsiteX1781" fmla="*/ 2778919 w 6400800"/>
                <a:gd name="connsiteY1781" fmla="*/ 118586 h 514350"/>
                <a:gd name="connsiteX1782" fmla="*/ 2799874 w 6400800"/>
                <a:gd name="connsiteY1782" fmla="*/ 156686 h 514350"/>
                <a:gd name="connsiteX1783" fmla="*/ 2812256 w 6400800"/>
                <a:gd name="connsiteY1783" fmla="*/ 180499 h 514350"/>
                <a:gd name="connsiteX1784" fmla="*/ 2820829 w 6400800"/>
                <a:gd name="connsiteY1784" fmla="*/ 197644 h 514350"/>
                <a:gd name="connsiteX1785" fmla="*/ 2820829 w 6400800"/>
                <a:gd name="connsiteY1785" fmla="*/ 204311 h 514350"/>
                <a:gd name="connsiteX1786" fmla="*/ 2821781 w 6400800"/>
                <a:gd name="connsiteY1786" fmla="*/ 218599 h 514350"/>
                <a:gd name="connsiteX1787" fmla="*/ 2817019 w 6400800"/>
                <a:gd name="connsiteY1787" fmla="*/ 227171 h 514350"/>
                <a:gd name="connsiteX1788" fmla="*/ 2806541 w 6400800"/>
                <a:gd name="connsiteY1788" fmla="*/ 211931 h 514350"/>
                <a:gd name="connsiteX1789" fmla="*/ 2805589 w 6400800"/>
                <a:gd name="connsiteY1789" fmla="*/ 210026 h 514350"/>
                <a:gd name="connsiteX1790" fmla="*/ 2806541 w 6400800"/>
                <a:gd name="connsiteY1790" fmla="*/ 208121 h 514350"/>
                <a:gd name="connsiteX1791" fmla="*/ 2805589 w 6400800"/>
                <a:gd name="connsiteY1791" fmla="*/ 209074 h 514350"/>
                <a:gd name="connsiteX1792" fmla="*/ 2792254 w 6400800"/>
                <a:gd name="connsiteY1792" fmla="*/ 191929 h 514350"/>
                <a:gd name="connsiteX1793" fmla="*/ 2767489 w 6400800"/>
                <a:gd name="connsiteY1793" fmla="*/ 161449 h 514350"/>
                <a:gd name="connsiteX1794" fmla="*/ 2765584 w 6400800"/>
                <a:gd name="connsiteY1794" fmla="*/ 158591 h 514350"/>
                <a:gd name="connsiteX1795" fmla="*/ 2765584 w 6400800"/>
                <a:gd name="connsiteY1795" fmla="*/ 155734 h 514350"/>
                <a:gd name="connsiteX1796" fmla="*/ 2762726 w 6400800"/>
                <a:gd name="connsiteY1796" fmla="*/ 128111 h 514350"/>
                <a:gd name="connsiteX1797" fmla="*/ 2759869 w 6400800"/>
                <a:gd name="connsiteY1797" fmla="*/ 103346 h 514350"/>
                <a:gd name="connsiteX1798" fmla="*/ 2758916 w 6400800"/>
                <a:gd name="connsiteY1798" fmla="*/ 128111 h 514350"/>
                <a:gd name="connsiteX1799" fmla="*/ 2758916 w 6400800"/>
                <a:gd name="connsiteY1799" fmla="*/ 150019 h 514350"/>
                <a:gd name="connsiteX1800" fmla="*/ 2745581 w 6400800"/>
                <a:gd name="connsiteY1800" fmla="*/ 135731 h 514350"/>
                <a:gd name="connsiteX1801" fmla="*/ 2758916 w 6400800"/>
                <a:gd name="connsiteY1801" fmla="*/ 153829 h 514350"/>
                <a:gd name="connsiteX1802" fmla="*/ 2758916 w 6400800"/>
                <a:gd name="connsiteY1802" fmla="*/ 155734 h 514350"/>
                <a:gd name="connsiteX1803" fmla="*/ 2758916 w 6400800"/>
                <a:gd name="connsiteY1803" fmla="*/ 172879 h 514350"/>
                <a:gd name="connsiteX1804" fmla="*/ 2759869 w 6400800"/>
                <a:gd name="connsiteY1804" fmla="*/ 191929 h 514350"/>
                <a:gd name="connsiteX1805" fmla="*/ 2761774 w 6400800"/>
                <a:gd name="connsiteY1805" fmla="*/ 219551 h 514350"/>
                <a:gd name="connsiteX1806" fmla="*/ 2760821 w 6400800"/>
                <a:gd name="connsiteY1806" fmla="*/ 217646 h 514350"/>
                <a:gd name="connsiteX1807" fmla="*/ 2760821 w 6400800"/>
                <a:gd name="connsiteY1807" fmla="*/ 216694 h 514350"/>
                <a:gd name="connsiteX1808" fmla="*/ 2760821 w 6400800"/>
                <a:gd name="connsiteY1808" fmla="*/ 217646 h 514350"/>
                <a:gd name="connsiteX1809" fmla="*/ 2741771 w 6400800"/>
                <a:gd name="connsiteY1809" fmla="*/ 172879 h 514350"/>
                <a:gd name="connsiteX1810" fmla="*/ 2757011 w 6400800"/>
                <a:gd name="connsiteY1810" fmla="*/ 228124 h 514350"/>
                <a:gd name="connsiteX1811" fmla="*/ 2743676 w 6400800"/>
                <a:gd name="connsiteY1811" fmla="*/ 268129 h 514350"/>
                <a:gd name="connsiteX1812" fmla="*/ 2736056 w 6400800"/>
                <a:gd name="connsiteY1812" fmla="*/ 254794 h 514350"/>
                <a:gd name="connsiteX1813" fmla="*/ 2737009 w 6400800"/>
                <a:gd name="connsiteY1813" fmla="*/ 232886 h 514350"/>
                <a:gd name="connsiteX1814" fmla="*/ 2732246 w 6400800"/>
                <a:gd name="connsiteY1814" fmla="*/ 249079 h 514350"/>
                <a:gd name="connsiteX1815" fmla="*/ 2730341 w 6400800"/>
                <a:gd name="connsiteY1815" fmla="*/ 246221 h 514350"/>
                <a:gd name="connsiteX1816" fmla="*/ 2731294 w 6400800"/>
                <a:gd name="connsiteY1816" fmla="*/ 250031 h 514350"/>
                <a:gd name="connsiteX1817" fmla="*/ 2729389 w 6400800"/>
                <a:gd name="connsiteY1817" fmla="*/ 258604 h 514350"/>
                <a:gd name="connsiteX1818" fmla="*/ 2729389 w 6400800"/>
                <a:gd name="connsiteY1818" fmla="*/ 247174 h 514350"/>
                <a:gd name="connsiteX1819" fmla="*/ 2731294 w 6400800"/>
                <a:gd name="connsiteY1819" fmla="*/ 218599 h 514350"/>
                <a:gd name="connsiteX1820" fmla="*/ 2733199 w 6400800"/>
                <a:gd name="connsiteY1820" fmla="*/ 219551 h 514350"/>
                <a:gd name="connsiteX1821" fmla="*/ 2736056 w 6400800"/>
                <a:gd name="connsiteY1821" fmla="*/ 222409 h 514350"/>
                <a:gd name="connsiteX1822" fmla="*/ 2738914 w 6400800"/>
                <a:gd name="connsiteY1822" fmla="*/ 230981 h 514350"/>
                <a:gd name="connsiteX1823" fmla="*/ 2737961 w 6400800"/>
                <a:gd name="connsiteY1823" fmla="*/ 222409 h 514350"/>
                <a:gd name="connsiteX1824" fmla="*/ 2735104 w 6400800"/>
                <a:gd name="connsiteY1824" fmla="*/ 218599 h 514350"/>
                <a:gd name="connsiteX1825" fmla="*/ 2730341 w 6400800"/>
                <a:gd name="connsiteY1825" fmla="*/ 216694 h 514350"/>
                <a:gd name="connsiteX1826" fmla="*/ 2728436 w 6400800"/>
                <a:gd name="connsiteY1826" fmla="*/ 216694 h 514350"/>
                <a:gd name="connsiteX1827" fmla="*/ 2728436 w 6400800"/>
                <a:gd name="connsiteY1827" fmla="*/ 218599 h 514350"/>
                <a:gd name="connsiteX1828" fmla="*/ 2721769 w 6400800"/>
                <a:gd name="connsiteY1828" fmla="*/ 248126 h 514350"/>
                <a:gd name="connsiteX1829" fmla="*/ 2719864 w 6400800"/>
                <a:gd name="connsiteY1829" fmla="*/ 260509 h 514350"/>
                <a:gd name="connsiteX1830" fmla="*/ 2717006 w 6400800"/>
                <a:gd name="connsiteY1830" fmla="*/ 254794 h 514350"/>
                <a:gd name="connsiteX1831" fmla="*/ 2717006 w 6400800"/>
                <a:gd name="connsiteY1831" fmla="*/ 253841 h 514350"/>
                <a:gd name="connsiteX1832" fmla="*/ 2718911 w 6400800"/>
                <a:gd name="connsiteY1832" fmla="*/ 238601 h 514350"/>
                <a:gd name="connsiteX1833" fmla="*/ 2716054 w 6400800"/>
                <a:gd name="connsiteY1833" fmla="*/ 247174 h 514350"/>
                <a:gd name="connsiteX1834" fmla="*/ 2716054 w 6400800"/>
                <a:gd name="connsiteY1834" fmla="*/ 176689 h 514350"/>
                <a:gd name="connsiteX1835" fmla="*/ 2713196 w 6400800"/>
                <a:gd name="connsiteY1835" fmla="*/ 198596 h 514350"/>
                <a:gd name="connsiteX1836" fmla="*/ 2709386 w 6400800"/>
                <a:gd name="connsiteY1836" fmla="*/ 230029 h 514350"/>
                <a:gd name="connsiteX1837" fmla="*/ 2704624 w 6400800"/>
                <a:gd name="connsiteY1837" fmla="*/ 218599 h 514350"/>
                <a:gd name="connsiteX1838" fmla="*/ 2703671 w 6400800"/>
                <a:gd name="connsiteY1838" fmla="*/ 199549 h 514350"/>
                <a:gd name="connsiteX1839" fmla="*/ 2703671 w 6400800"/>
                <a:gd name="connsiteY1839" fmla="*/ 163354 h 514350"/>
                <a:gd name="connsiteX1840" fmla="*/ 2706529 w 6400800"/>
                <a:gd name="connsiteY1840" fmla="*/ 164306 h 514350"/>
                <a:gd name="connsiteX1841" fmla="*/ 2710339 w 6400800"/>
                <a:gd name="connsiteY1841" fmla="*/ 167164 h 514350"/>
                <a:gd name="connsiteX1842" fmla="*/ 2714149 w 6400800"/>
                <a:gd name="connsiteY1842" fmla="*/ 176689 h 514350"/>
                <a:gd name="connsiteX1843" fmla="*/ 2712244 w 6400800"/>
                <a:gd name="connsiteY1843" fmla="*/ 166211 h 514350"/>
                <a:gd name="connsiteX1844" fmla="*/ 2708434 w 6400800"/>
                <a:gd name="connsiteY1844" fmla="*/ 161449 h 514350"/>
                <a:gd name="connsiteX1845" fmla="*/ 2702719 w 6400800"/>
                <a:gd name="connsiteY1845" fmla="*/ 159544 h 514350"/>
                <a:gd name="connsiteX1846" fmla="*/ 2700814 w 6400800"/>
                <a:gd name="connsiteY1846" fmla="*/ 159544 h 514350"/>
                <a:gd name="connsiteX1847" fmla="*/ 2700814 w 6400800"/>
                <a:gd name="connsiteY1847" fmla="*/ 161449 h 514350"/>
                <a:gd name="connsiteX1848" fmla="*/ 2697004 w 6400800"/>
                <a:gd name="connsiteY1848" fmla="*/ 193834 h 514350"/>
                <a:gd name="connsiteX1849" fmla="*/ 2693194 w 6400800"/>
                <a:gd name="connsiteY1849" fmla="*/ 181451 h 514350"/>
                <a:gd name="connsiteX1850" fmla="*/ 2697004 w 6400800"/>
                <a:gd name="connsiteY1850" fmla="*/ 198596 h 514350"/>
                <a:gd name="connsiteX1851" fmla="*/ 2697004 w 6400800"/>
                <a:gd name="connsiteY1851" fmla="*/ 198596 h 514350"/>
                <a:gd name="connsiteX1852" fmla="*/ 2696051 w 6400800"/>
                <a:gd name="connsiteY1852" fmla="*/ 236696 h 514350"/>
                <a:gd name="connsiteX1853" fmla="*/ 2697004 w 6400800"/>
                <a:gd name="connsiteY1853" fmla="*/ 262414 h 514350"/>
                <a:gd name="connsiteX1854" fmla="*/ 2697004 w 6400800"/>
                <a:gd name="connsiteY1854" fmla="*/ 263366 h 514350"/>
                <a:gd name="connsiteX1855" fmla="*/ 2696051 w 6400800"/>
                <a:gd name="connsiteY1855" fmla="*/ 265271 h 514350"/>
                <a:gd name="connsiteX1856" fmla="*/ 2694146 w 6400800"/>
                <a:gd name="connsiteY1856" fmla="*/ 261461 h 514350"/>
                <a:gd name="connsiteX1857" fmla="*/ 2685574 w 6400800"/>
                <a:gd name="connsiteY1857" fmla="*/ 246221 h 514350"/>
                <a:gd name="connsiteX1858" fmla="*/ 2677954 w 6400800"/>
                <a:gd name="connsiteY1858" fmla="*/ 210979 h 514350"/>
                <a:gd name="connsiteX1859" fmla="*/ 2676049 w 6400800"/>
                <a:gd name="connsiteY1859" fmla="*/ 200501 h 514350"/>
                <a:gd name="connsiteX1860" fmla="*/ 2681764 w 6400800"/>
                <a:gd name="connsiteY1860" fmla="*/ 173831 h 514350"/>
                <a:gd name="connsiteX1861" fmla="*/ 2687479 w 6400800"/>
                <a:gd name="connsiteY1861" fmla="*/ 144304 h 514350"/>
                <a:gd name="connsiteX1862" fmla="*/ 2691289 w 6400800"/>
                <a:gd name="connsiteY1862" fmla="*/ 118586 h 514350"/>
                <a:gd name="connsiteX1863" fmla="*/ 2683669 w 6400800"/>
                <a:gd name="connsiteY1863" fmla="*/ 143351 h 514350"/>
                <a:gd name="connsiteX1864" fmla="*/ 2677954 w 6400800"/>
                <a:gd name="connsiteY1864" fmla="*/ 162401 h 514350"/>
                <a:gd name="connsiteX1865" fmla="*/ 2673191 w 6400800"/>
                <a:gd name="connsiteY1865" fmla="*/ 176689 h 514350"/>
                <a:gd name="connsiteX1866" fmla="*/ 2673191 w 6400800"/>
                <a:gd name="connsiteY1866" fmla="*/ 177641 h 514350"/>
                <a:gd name="connsiteX1867" fmla="*/ 2672239 w 6400800"/>
                <a:gd name="connsiteY1867" fmla="*/ 173831 h 514350"/>
                <a:gd name="connsiteX1868" fmla="*/ 2666524 w 6400800"/>
                <a:gd name="connsiteY1868" fmla="*/ 146209 h 514350"/>
                <a:gd name="connsiteX1869" fmla="*/ 2661761 w 6400800"/>
                <a:gd name="connsiteY1869" fmla="*/ 121444 h 514350"/>
                <a:gd name="connsiteX1870" fmla="*/ 2662714 w 6400800"/>
                <a:gd name="connsiteY1870" fmla="*/ 146209 h 514350"/>
                <a:gd name="connsiteX1871" fmla="*/ 2666524 w 6400800"/>
                <a:gd name="connsiteY1871" fmla="*/ 196691 h 514350"/>
                <a:gd name="connsiteX1872" fmla="*/ 2665571 w 6400800"/>
                <a:gd name="connsiteY1872" fmla="*/ 200501 h 514350"/>
                <a:gd name="connsiteX1873" fmla="*/ 2664619 w 6400800"/>
                <a:gd name="connsiteY1873" fmla="*/ 204311 h 514350"/>
                <a:gd name="connsiteX1874" fmla="*/ 2649379 w 6400800"/>
                <a:gd name="connsiteY1874" fmla="*/ 174784 h 514350"/>
                <a:gd name="connsiteX1875" fmla="*/ 2634139 w 6400800"/>
                <a:gd name="connsiteY1875" fmla="*/ 141446 h 514350"/>
                <a:gd name="connsiteX1876" fmla="*/ 2646521 w 6400800"/>
                <a:gd name="connsiteY1876" fmla="*/ 176689 h 514350"/>
                <a:gd name="connsiteX1877" fmla="*/ 2661761 w 6400800"/>
                <a:gd name="connsiteY1877" fmla="*/ 214789 h 514350"/>
                <a:gd name="connsiteX1878" fmla="*/ 2660809 w 6400800"/>
                <a:gd name="connsiteY1878" fmla="*/ 216694 h 514350"/>
                <a:gd name="connsiteX1879" fmla="*/ 2652236 w 6400800"/>
                <a:gd name="connsiteY1879" fmla="*/ 201454 h 514350"/>
                <a:gd name="connsiteX1880" fmla="*/ 2648426 w 6400800"/>
                <a:gd name="connsiteY1880" fmla="*/ 196691 h 514350"/>
                <a:gd name="connsiteX1881" fmla="*/ 2651284 w 6400800"/>
                <a:gd name="connsiteY1881" fmla="*/ 202406 h 514350"/>
                <a:gd name="connsiteX1882" fmla="*/ 2657951 w 6400800"/>
                <a:gd name="connsiteY1882" fmla="*/ 218599 h 514350"/>
                <a:gd name="connsiteX1883" fmla="*/ 2658904 w 6400800"/>
                <a:gd name="connsiteY1883" fmla="*/ 223361 h 514350"/>
                <a:gd name="connsiteX1884" fmla="*/ 2657951 w 6400800"/>
                <a:gd name="connsiteY1884" fmla="*/ 226219 h 514350"/>
                <a:gd name="connsiteX1885" fmla="*/ 2647474 w 6400800"/>
                <a:gd name="connsiteY1885" fmla="*/ 193834 h 514350"/>
                <a:gd name="connsiteX1886" fmla="*/ 2638901 w 6400800"/>
                <a:gd name="connsiteY1886" fmla="*/ 169069 h 514350"/>
                <a:gd name="connsiteX1887" fmla="*/ 2631281 w 6400800"/>
                <a:gd name="connsiteY1887" fmla="*/ 147161 h 514350"/>
                <a:gd name="connsiteX1888" fmla="*/ 2635091 w 6400800"/>
                <a:gd name="connsiteY1888" fmla="*/ 170021 h 514350"/>
                <a:gd name="connsiteX1889" fmla="*/ 2647474 w 6400800"/>
                <a:gd name="connsiteY1889" fmla="*/ 230029 h 514350"/>
                <a:gd name="connsiteX1890" fmla="*/ 2651284 w 6400800"/>
                <a:gd name="connsiteY1890" fmla="*/ 247174 h 514350"/>
                <a:gd name="connsiteX1891" fmla="*/ 2642711 w 6400800"/>
                <a:gd name="connsiteY1891" fmla="*/ 273844 h 514350"/>
                <a:gd name="connsiteX1892" fmla="*/ 2640806 w 6400800"/>
                <a:gd name="connsiteY1892" fmla="*/ 270034 h 514350"/>
                <a:gd name="connsiteX1893" fmla="*/ 2639854 w 6400800"/>
                <a:gd name="connsiteY1893" fmla="*/ 268129 h 514350"/>
                <a:gd name="connsiteX1894" fmla="*/ 2643664 w 6400800"/>
                <a:gd name="connsiteY1894" fmla="*/ 220504 h 514350"/>
                <a:gd name="connsiteX1895" fmla="*/ 2636996 w 6400800"/>
                <a:gd name="connsiteY1895" fmla="*/ 247174 h 514350"/>
                <a:gd name="connsiteX1896" fmla="*/ 2636044 w 6400800"/>
                <a:gd name="connsiteY1896" fmla="*/ 204311 h 514350"/>
                <a:gd name="connsiteX1897" fmla="*/ 2630329 w 6400800"/>
                <a:gd name="connsiteY1897" fmla="*/ 240506 h 514350"/>
                <a:gd name="connsiteX1898" fmla="*/ 2623661 w 6400800"/>
                <a:gd name="connsiteY1898" fmla="*/ 206216 h 514350"/>
                <a:gd name="connsiteX1899" fmla="*/ 2610326 w 6400800"/>
                <a:gd name="connsiteY1899" fmla="*/ 147161 h 514350"/>
                <a:gd name="connsiteX1900" fmla="*/ 2615089 w 6400800"/>
                <a:gd name="connsiteY1900" fmla="*/ 137636 h 514350"/>
                <a:gd name="connsiteX1901" fmla="*/ 2610326 w 6400800"/>
                <a:gd name="connsiteY1901" fmla="*/ 145256 h 514350"/>
                <a:gd name="connsiteX1902" fmla="*/ 2609374 w 6400800"/>
                <a:gd name="connsiteY1902" fmla="*/ 143351 h 514350"/>
                <a:gd name="connsiteX1903" fmla="*/ 2603659 w 6400800"/>
                <a:gd name="connsiteY1903" fmla="*/ 119539 h 514350"/>
                <a:gd name="connsiteX1904" fmla="*/ 2605564 w 6400800"/>
                <a:gd name="connsiteY1904" fmla="*/ 144304 h 514350"/>
                <a:gd name="connsiteX1905" fmla="*/ 2606516 w 6400800"/>
                <a:gd name="connsiteY1905" fmla="*/ 150971 h 514350"/>
                <a:gd name="connsiteX1906" fmla="*/ 2600801 w 6400800"/>
                <a:gd name="connsiteY1906" fmla="*/ 158591 h 514350"/>
                <a:gd name="connsiteX1907" fmla="*/ 2589371 w 6400800"/>
                <a:gd name="connsiteY1907" fmla="*/ 175736 h 514350"/>
                <a:gd name="connsiteX1908" fmla="*/ 2588419 w 6400800"/>
                <a:gd name="connsiteY1908" fmla="*/ 171926 h 514350"/>
                <a:gd name="connsiteX1909" fmla="*/ 2583656 w 6400800"/>
                <a:gd name="connsiteY1909" fmla="*/ 147161 h 514350"/>
                <a:gd name="connsiteX1910" fmla="*/ 2584609 w 6400800"/>
                <a:gd name="connsiteY1910" fmla="*/ 171926 h 514350"/>
                <a:gd name="connsiteX1911" fmla="*/ 2585561 w 6400800"/>
                <a:gd name="connsiteY1911" fmla="*/ 182404 h 514350"/>
                <a:gd name="connsiteX1912" fmla="*/ 2585561 w 6400800"/>
                <a:gd name="connsiteY1912" fmla="*/ 182404 h 514350"/>
                <a:gd name="connsiteX1913" fmla="*/ 2576036 w 6400800"/>
                <a:gd name="connsiteY1913" fmla="*/ 198596 h 514350"/>
                <a:gd name="connsiteX1914" fmla="*/ 2574131 w 6400800"/>
                <a:gd name="connsiteY1914" fmla="*/ 177641 h 514350"/>
                <a:gd name="connsiteX1915" fmla="*/ 2573179 w 6400800"/>
                <a:gd name="connsiteY1915" fmla="*/ 157639 h 514350"/>
                <a:gd name="connsiteX1916" fmla="*/ 2571274 w 6400800"/>
                <a:gd name="connsiteY1916" fmla="*/ 170974 h 514350"/>
                <a:gd name="connsiteX1917" fmla="*/ 2571274 w 6400800"/>
                <a:gd name="connsiteY1917" fmla="*/ 170021 h 514350"/>
                <a:gd name="connsiteX1918" fmla="*/ 2569369 w 6400800"/>
                <a:gd name="connsiteY1918" fmla="*/ 149066 h 514350"/>
                <a:gd name="connsiteX1919" fmla="*/ 2568416 w 6400800"/>
                <a:gd name="connsiteY1919" fmla="*/ 130016 h 514350"/>
                <a:gd name="connsiteX1920" fmla="*/ 2567464 w 6400800"/>
                <a:gd name="connsiteY1920" fmla="*/ 99536 h 514350"/>
                <a:gd name="connsiteX1921" fmla="*/ 2566511 w 6400800"/>
                <a:gd name="connsiteY1921" fmla="*/ 72866 h 514350"/>
                <a:gd name="connsiteX1922" fmla="*/ 2562701 w 6400800"/>
                <a:gd name="connsiteY1922" fmla="*/ 99536 h 514350"/>
                <a:gd name="connsiteX1923" fmla="*/ 2560796 w 6400800"/>
                <a:gd name="connsiteY1923" fmla="*/ 130016 h 514350"/>
                <a:gd name="connsiteX1924" fmla="*/ 2559844 w 6400800"/>
                <a:gd name="connsiteY1924" fmla="*/ 149066 h 514350"/>
                <a:gd name="connsiteX1925" fmla="*/ 2559844 w 6400800"/>
                <a:gd name="connsiteY1925" fmla="*/ 170021 h 514350"/>
                <a:gd name="connsiteX1926" fmla="*/ 2560796 w 6400800"/>
                <a:gd name="connsiteY1926" fmla="*/ 195739 h 514350"/>
                <a:gd name="connsiteX1927" fmla="*/ 2558891 w 6400800"/>
                <a:gd name="connsiteY1927" fmla="*/ 191929 h 514350"/>
                <a:gd name="connsiteX1928" fmla="*/ 2561749 w 6400800"/>
                <a:gd name="connsiteY1928" fmla="*/ 200501 h 514350"/>
                <a:gd name="connsiteX1929" fmla="*/ 2562701 w 6400800"/>
                <a:gd name="connsiteY1929" fmla="*/ 217646 h 514350"/>
                <a:gd name="connsiteX1930" fmla="*/ 2562701 w 6400800"/>
                <a:gd name="connsiteY1930" fmla="*/ 223361 h 514350"/>
                <a:gd name="connsiteX1931" fmla="*/ 2551271 w 6400800"/>
                <a:gd name="connsiteY1931" fmla="*/ 247174 h 514350"/>
                <a:gd name="connsiteX1932" fmla="*/ 2549366 w 6400800"/>
                <a:gd name="connsiteY1932" fmla="*/ 230029 h 514350"/>
                <a:gd name="connsiteX1933" fmla="*/ 2555081 w 6400800"/>
                <a:gd name="connsiteY1933" fmla="*/ 212884 h 514350"/>
                <a:gd name="connsiteX1934" fmla="*/ 2546509 w 6400800"/>
                <a:gd name="connsiteY1934" fmla="*/ 228124 h 514350"/>
                <a:gd name="connsiteX1935" fmla="*/ 2547461 w 6400800"/>
                <a:gd name="connsiteY1935" fmla="*/ 222409 h 514350"/>
                <a:gd name="connsiteX1936" fmla="*/ 2553176 w 6400800"/>
                <a:gd name="connsiteY1936" fmla="*/ 196691 h 514350"/>
                <a:gd name="connsiteX1937" fmla="*/ 2543651 w 6400800"/>
                <a:gd name="connsiteY1937" fmla="*/ 221456 h 514350"/>
                <a:gd name="connsiteX1938" fmla="*/ 2536984 w 6400800"/>
                <a:gd name="connsiteY1938" fmla="*/ 246221 h 514350"/>
                <a:gd name="connsiteX1939" fmla="*/ 2536984 w 6400800"/>
                <a:gd name="connsiteY1939" fmla="*/ 244316 h 514350"/>
                <a:gd name="connsiteX1940" fmla="*/ 2534126 w 6400800"/>
                <a:gd name="connsiteY1940" fmla="*/ 221456 h 514350"/>
                <a:gd name="connsiteX1941" fmla="*/ 2533174 w 6400800"/>
                <a:gd name="connsiteY1941" fmla="*/ 244316 h 514350"/>
                <a:gd name="connsiteX1942" fmla="*/ 2533174 w 6400800"/>
                <a:gd name="connsiteY1942" fmla="*/ 250984 h 514350"/>
                <a:gd name="connsiteX1943" fmla="*/ 2532221 w 6400800"/>
                <a:gd name="connsiteY1943" fmla="*/ 245269 h 514350"/>
                <a:gd name="connsiteX1944" fmla="*/ 2524601 w 6400800"/>
                <a:gd name="connsiteY1944" fmla="*/ 213836 h 514350"/>
                <a:gd name="connsiteX1945" fmla="*/ 2517934 w 6400800"/>
                <a:gd name="connsiteY1945" fmla="*/ 190024 h 514350"/>
                <a:gd name="connsiteX1946" fmla="*/ 2511266 w 6400800"/>
                <a:gd name="connsiteY1946" fmla="*/ 169069 h 514350"/>
                <a:gd name="connsiteX1947" fmla="*/ 2514124 w 6400800"/>
                <a:gd name="connsiteY1947" fmla="*/ 190976 h 514350"/>
                <a:gd name="connsiteX1948" fmla="*/ 2516981 w 6400800"/>
                <a:gd name="connsiteY1948" fmla="*/ 215741 h 514350"/>
                <a:gd name="connsiteX1949" fmla="*/ 2520791 w 6400800"/>
                <a:gd name="connsiteY1949" fmla="*/ 248126 h 514350"/>
                <a:gd name="connsiteX1950" fmla="*/ 2523649 w 6400800"/>
                <a:gd name="connsiteY1950" fmla="*/ 277654 h 514350"/>
                <a:gd name="connsiteX1951" fmla="*/ 2521744 w 6400800"/>
                <a:gd name="connsiteY1951" fmla="*/ 282416 h 514350"/>
                <a:gd name="connsiteX1952" fmla="*/ 2516981 w 6400800"/>
                <a:gd name="connsiteY1952" fmla="*/ 263366 h 514350"/>
                <a:gd name="connsiteX1953" fmla="*/ 2511266 w 6400800"/>
                <a:gd name="connsiteY1953" fmla="*/ 243364 h 514350"/>
                <a:gd name="connsiteX1954" fmla="*/ 2513171 w 6400800"/>
                <a:gd name="connsiteY1954" fmla="*/ 264319 h 514350"/>
                <a:gd name="connsiteX1955" fmla="*/ 2514124 w 6400800"/>
                <a:gd name="connsiteY1955" fmla="*/ 277654 h 514350"/>
                <a:gd name="connsiteX1956" fmla="*/ 2504599 w 6400800"/>
                <a:gd name="connsiteY1956" fmla="*/ 256699 h 514350"/>
                <a:gd name="connsiteX1957" fmla="*/ 2504599 w 6400800"/>
                <a:gd name="connsiteY1957" fmla="*/ 253841 h 514350"/>
                <a:gd name="connsiteX1958" fmla="*/ 2503646 w 6400800"/>
                <a:gd name="connsiteY1958" fmla="*/ 255746 h 514350"/>
                <a:gd name="connsiteX1959" fmla="*/ 2497931 w 6400800"/>
                <a:gd name="connsiteY1959" fmla="*/ 243364 h 514350"/>
                <a:gd name="connsiteX1960" fmla="*/ 2502694 w 6400800"/>
                <a:gd name="connsiteY1960" fmla="*/ 259556 h 514350"/>
                <a:gd name="connsiteX1961" fmla="*/ 2499836 w 6400800"/>
                <a:gd name="connsiteY1961" fmla="*/ 267176 h 514350"/>
                <a:gd name="connsiteX1962" fmla="*/ 2498884 w 6400800"/>
                <a:gd name="connsiteY1962" fmla="*/ 270034 h 514350"/>
                <a:gd name="connsiteX1963" fmla="*/ 2494121 w 6400800"/>
                <a:gd name="connsiteY1963" fmla="*/ 223361 h 514350"/>
                <a:gd name="connsiteX1964" fmla="*/ 2496026 w 6400800"/>
                <a:gd name="connsiteY1964" fmla="*/ 220504 h 514350"/>
                <a:gd name="connsiteX1965" fmla="*/ 2506504 w 6400800"/>
                <a:gd name="connsiteY1965" fmla="*/ 203359 h 514350"/>
                <a:gd name="connsiteX1966" fmla="*/ 2510314 w 6400800"/>
                <a:gd name="connsiteY1966" fmla="*/ 197644 h 514350"/>
                <a:gd name="connsiteX1967" fmla="*/ 2505551 w 6400800"/>
                <a:gd name="connsiteY1967" fmla="*/ 203359 h 514350"/>
                <a:gd name="connsiteX1968" fmla="*/ 2493169 w 6400800"/>
                <a:gd name="connsiteY1968" fmla="*/ 217646 h 514350"/>
                <a:gd name="connsiteX1969" fmla="*/ 2493169 w 6400800"/>
                <a:gd name="connsiteY1969" fmla="*/ 216694 h 514350"/>
                <a:gd name="connsiteX1970" fmla="*/ 2491264 w 6400800"/>
                <a:gd name="connsiteY1970" fmla="*/ 196691 h 514350"/>
                <a:gd name="connsiteX1971" fmla="*/ 2501741 w 6400800"/>
                <a:gd name="connsiteY1971" fmla="*/ 183356 h 514350"/>
                <a:gd name="connsiteX1972" fmla="*/ 2490311 w 6400800"/>
                <a:gd name="connsiteY1972" fmla="*/ 192881 h 514350"/>
                <a:gd name="connsiteX1973" fmla="*/ 2489359 w 6400800"/>
                <a:gd name="connsiteY1973" fmla="*/ 176689 h 514350"/>
                <a:gd name="connsiteX1974" fmla="*/ 2497931 w 6400800"/>
                <a:gd name="connsiteY1974" fmla="*/ 165259 h 514350"/>
                <a:gd name="connsiteX1975" fmla="*/ 2502694 w 6400800"/>
                <a:gd name="connsiteY1975" fmla="*/ 159544 h 514350"/>
                <a:gd name="connsiteX1976" fmla="*/ 2496979 w 6400800"/>
                <a:gd name="connsiteY1976" fmla="*/ 164306 h 514350"/>
                <a:gd name="connsiteX1977" fmla="*/ 2489359 w 6400800"/>
                <a:gd name="connsiteY1977" fmla="*/ 171926 h 514350"/>
                <a:gd name="connsiteX1978" fmla="*/ 2488406 w 6400800"/>
                <a:gd name="connsiteY1978" fmla="*/ 153829 h 514350"/>
                <a:gd name="connsiteX1979" fmla="*/ 2487454 w 6400800"/>
                <a:gd name="connsiteY1979" fmla="*/ 135731 h 514350"/>
                <a:gd name="connsiteX1980" fmla="*/ 2494121 w 6400800"/>
                <a:gd name="connsiteY1980" fmla="*/ 125254 h 514350"/>
                <a:gd name="connsiteX1981" fmla="*/ 2487454 w 6400800"/>
                <a:gd name="connsiteY1981" fmla="*/ 132874 h 514350"/>
                <a:gd name="connsiteX1982" fmla="*/ 2487454 w 6400800"/>
                <a:gd name="connsiteY1982" fmla="*/ 129064 h 514350"/>
                <a:gd name="connsiteX1983" fmla="*/ 2486501 w 6400800"/>
                <a:gd name="connsiteY1983" fmla="*/ 132874 h 514350"/>
                <a:gd name="connsiteX1984" fmla="*/ 2475071 w 6400800"/>
                <a:gd name="connsiteY1984" fmla="*/ 146209 h 514350"/>
                <a:gd name="connsiteX1985" fmla="*/ 2455069 w 6400800"/>
                <a:gd name="connsiteY1985" fmla="*/ 171926 h 514350"/>
                <a:gd name="connsiteX1986" fmla="*/ 2442686 w 6400800"/>
                <a:gd name="connsiteY1986" fmla="*/ 188119 h 514350"/>
                <a:gd name="connsiteX1987" fmla="*/ 2433161 w 6400800"/>
                <a:gd name="connsiteY1987" fmla="*/ 203359 h 514350"/>
                <a:gd name="connsiteX1988" fmla="*/ 2432209 w 6400800"/>
                <a:gd name="connsiteY1988" fmla="*/ 191929 h 514350"/>
                <a:gd name="connsiteX1989" fmla="*/ 2425541 w 6400800"/>
                <a:gd name="connsiteY1989" fmla="*/ 110966 h 514350"/>
                <a:gd name="connsiteX1990" fmla="*/ 2424589 w 6400800"/>
                <a:gd name="connsiteY1990" fmla="*/ 88106 h 514350"/>
                <a:gd name="connsiteX1991" fmla="*/ 2424589 w 6400800"/>
                <a:gd name="connsiteY1991" fmla="*/ 80486 h 514350"/>
                <a:gd name="connsiteX1992" fmla="*/ 2423636 w 6400800"/>
                <a:gd name="connsiteY1992" fmla="*/ 88106 h 514350"/>
                <a:gd name="connsiteX1993" fmla="*/ 2421731 w 6400800"/>
                <a:gd name="connsiteY1993" fmla="*/ 110966 h 514350"/>
                <a:gd name="connsiteX1994" fmla="*/ 2420779 w 6400800"/>
                <a:gd name="connsiteY1994" fmla="*/ 146209 h 514350"/>
                <a:gd name="connsiteX1995" fmla="*/ 2421731 w 6400800"/>
                <a:gd name="connsiteY1995" fmla="*/ 191929 h 514350"/>
                <a:gd name="connsiteX1996" fmla="*/ 2422684 w 6400800"/>
                <a:gd name="connsiteY1996" fmla="*/ 220504 h 514350"/>
                <a:gd name="connsiteX1997" fmla="*/ 2405539 w 6400800"/>
                <a:gd name="connsiteY1997" fmla="*/ 250031 h 514350"/>
                <a:gd name="connsiteX1998" fmla="*/ 2401729 w 6400800"/>
                <a:gd name="connsiteY1998" fmla="*/ 256699 h 514350"/>
                <a:gd name="connsiteX1999" fmla="*/ 2400776 w 6400800"/>
                <a:gd name="connsiteY1999" fmla="*/ 255746 h 514350"/>
                <a:gd name="connsiteX2000" fmla="*/ 2392204 w 6400800"/>
                <a:gd name="connsiteY2000" fmla="*/ 233839 h 514350"/>
                <a:gd name="connsiteX2001" fmla="*/ 2385536 w 6400800"/>
                <a:gd name="connsiteY2001" fmla="*/ 170974 h 514350"/>
                <a:gd name="connsiteX2002" fmla="*/ 2382679 w 6400800"/>
                <a:gd name="connsiteY2002" fmla="*/ 150971 h 514350"/>
                <a:gd name="connsiteX2003" fmla="*/ 2384584 w 6400800"/>
                <a:gd name="connsiteY2003" fmla="*/ 140494 h 514350"/>
                <a:gd name="connsiteX2004" fmla="*/ 2382679 w 6400800"/>
                <a:gd name="connsiteY2004" fmla="*/ 135731 h 514350"/>
                <a:gd name="connsiteX2005" fmla="*/ 2390299 w 6400800"/>
                <a:gd name="connsiteY2005" fmla="*/ 114776 h 514350"/>
                <a:gd name="connsiteX2006" fmla="*/ 2427446 w 6400800"/>
                <a:gd name="connsiteY2006" fmla="*/ 12859 h 514350"/>
                <a:gd name="connsiteX2007" fmla="*/ 2380774 w 6400800"/>
                <a:gd name="connsiteY2007" fmla="*/ 110014 h 514350"/>
                <a:gd name="connsiteX2008" fmla="*/ 2358866 w 6400800"/>
                <a:gd name="connsiteY2008" fmla="*/ 157639 h 514350"/>
                <a:gd name="connsiteX2009" fmla="*/ 2355056 w 6400800"/>
                <a:gd name="connsiteY2009" fmla="*/ 166211 h 514350"/>
                <a:gd name="connsiteX2010" fmla="*/ 2357914 w 6400800"/>
                <a:gd name="connsiteY2010" fmla="*/ 155734 h 514350"/>
                <a:gd name="connsiteX2011" fmla="*/ 2362676 w 6400800"/>
                <a:gd name="connsiteY2011" fmla="*/ 132874 h 514350"/>
                <a:gd name="connsiteX2012" fmla="*/ 2354104 w 6400800"/>
                <a:gd name="connsiteY2012" fmla="*/ 154781 h 514350"/>
                <a:gd name="connsiteX2013" fmla="*/ 2344579 w 6400800"/>
                <a:gd name="connsiteY2013" fmla="*/ 179546 h 514350"/>
                <a:gd name="connsiteX2014" fmla="*/ 2334101 w 6400800"/>
                <a:gd name="connsiteY2014" fmla="*/ 211931 h 514350"/>
                <a:gd name="connsiteX2015" fmla="*/ 2334101 w 6400800"/>
                <a:gd name="connsiteY2015" fmla="*/ 211931 h 514350"/>
                <a:gd name="connsiteX2016" fmla="*/ 2340769 w 6400800"/>
                <a:gd name="connsiteY2016" fmla="*/ 171926 h 514350"/>
                <a:gd name="connsiteX2017" fmla="*/ 2347436 w 6400800"/>
                <a:gd name="connsiteY2017" fmla="*/ 130969 h 514350"/>
                <a:gd name="connsiteX2018" fmla="*/ 2354104 w 6400800"/>
                <a:gd name="connsiteY2018" fmla="*/ 99536 h 514350"/>
                <a:gd name="connsiteX2019" fmla="*/ 2358866 w 6400800"/>
                <a:gd name="connsiteY2019" fmla="*/ 71914 h 514350"/>
                <a:gd name="connsiteX2020" fmla="*/ 2350294 w 6400800"/>
                <a:gd name="connsiteY2020" fmla="*/ 98584 h 514350"/>
                <a:gd name="connsiteX2021" fmla="*/ 2340769 w 6400800"/>
                <a:gd name="connsiteY2021" fmla="*/ 129064 h 514350"/>
                <a:gd name="connsiteX2022" fmla="*/ 2330291 w 6400800"/>
                <a:gd name="connsiteY2022" fmla="*/ 170021 h 514350"/>
                <a:gd name="connsiteX2023" fmla="*/ 2324576 w 6400800"/>
                <a:gd name="connsiteY2023" fmla="*/ 193834 h 514350"/>
                <a:gd name="connsiteX2024" fmla="*/ 2320766 w 6400800"/>
                <a:gd name="connsiteY2024" fmla="*/ 185261 h 514350"/>
                <a:gd name="connsiteX2025" fmla="*/ 2326481 w 6400800"/>
                <a:gd name="connsiteY2025" fmla="*/ 157639 h 514350"/>
                <a:gd name="connsiteX2026" fmla="*/ 2318861 w 6400800"/>
                <a:gd name="connsiteY2026" fmla="*/ 179546 h 514350"/>
                <a:gd name="connsiteX2027" fmla="*/ 2315051 w 6400800"/>
                <a:gd name="connsiteY2027" fmla="*/ 170974 h 514350"/>
                <a:gd name="connsiteX2028" fmla="*/ 2317909 w 6400800"/>
                <a:gd name="connsiteY2028" fmla="*/ 181451 h 514350"/>
                <a:gd name="connsiteX2029" fmla="*/ 2313146 w 6400800"/>
                <a:gd name="connsiteY2029" fmla="*/ 193834 h 514350"/>
                <a:gd name="connsiteX2030" fmla="*/ 2311241 w 6400800"/>
                <a:gd name="connsiteY2030" fmla="*/ 190976 h 514350"/>
                <a:gd name="connsiteX2031" fmla="*/ 2314099 w 6400800"/>
                <a:gd name="connsiteY2031" fmla="*/ 141446 h 514350"/>
                <a:gd name="connsiteX2032" fmla="*/ 2298859 w 6400800"/>
                <a:gd name="connsiteY2032" fmla="*/ 202406 h 514350"/>
                <a:gd name="connsiteX2033" fmla="*/ 2292191 w 6400800"/>
                <a:gd name="connsiteY2033" fmla="*/ 231934 h 514350"/>
                <a:gd name="connsiteX2034" fmla="*/ 2289334 w 6400800"/>
                <a:gd name="connsiteY2034" fmla="*/ 250031 h 514350"/>
                <a:gd name="connsiteX2035" fmla="*/ 2285524 w 6400800"/>
                <a:gd name="connsiteY2035" fmla="*/ 259556 h 514350"/>
                <a:gd name="connsiteX2036" fmla="*/ 2275999 w 6400800"/>
                <a:gd name="connsiteY2036" fmla="*/ 287179 h 514350"/>
                <a:gd name="connsiteX2037" fmla="*/ 2275999 w 6400800"/>
                <a:gd name="connsiteY2037" fmla="*/ 288131 h 514350"/>
                <a:gd name="connsiteX2038" fmla="*/ 2275999 w 6400800"/>
                <a:gd name="connsiteY2038" fmla="*/ 282416 h 514350"/>
                <a:gd name="connsiteX2039" fmla="*/ 2276951 w 6400800"/>
                <a:gd name="connsiteY2039" fmla="*/ 265271 h 514350"/>
                <a:gd name="connsiteX2040" fmla="*/ 2272189 w 6400800"/>
                <a:gd name="connsiteY2040" fmla="*/ 281464 h 514350"/>
                <a:gd name="connsiteX2041" fmla="*/ 2269331 w 6400800"/>
                <a:gd name="connsiteY2041" fmla="*/ 290989 h 514350"/>
                <a:gd name="connsiteX2042" fmla="*/ 2269331 w 6400800"/>
                <a:gd name="connsiteY2042" fmla="*/ 290989 h 514350"/>
                <a:gd name="connsiteX2043" fmla="*/ 2269331 w 6400800"/>
                <a:gd name="connsiteY2043" fmla="*/ 261461 h 514350"/>
                <a:gd name="connsiteX2044" fmla="*/ 2270284 w 6400800"/>
                <a:gd name="connsiteY2044" fmla="*/ 238601 h 514350"/>
                <a:gd name="connsiteX2045" fmla="*/ 2272189 w 6400800"/>
                <a:gd name="connsiteY2045" fmla="*/ 225266 h 514350"/>
                <a:gd name="connsiteX2046" fmla="*/ 2275999 w 6400800"/>
                <a:gd name="connsiteY2046" fmla="*/ 210979 h 514350"/>
                <a:gd name="connsiteX2047" fmla="*/ 2266474 w 6400800"/>
                <a:gd name="connsiteY2047" fmla="*/ 232886 h 514350"/>
                <a:gd name="connsiteX2048" fmla="*/ 2267426 w 6400800"/>
                <a:gd name="connsiteY2048" fmla="*/ 228124 h 514350"/>
                <a:gd name="connsiteX2049" fmla="*/ 2263616 w 6400800"/>
                <a:gd name="connsiteY2049" fmla="*/ 235744 h 514350"/>
                <a:gd name="connsiteX2050" fmla="*/ 2265521 w 6400800"/>
                <a:gd name="connsiteY2050" fmla="*/ 220504 h 514350"/>
                <a:gd name="connsiteX2051" fmla="*/ 2256949 w 6400800"/>
                <a:gd name="connsiteY2051" fmla="*/ 247174 h 514350"/>
                <a:gd name="connsiteX2052" fmla="*/ 2252186 w 6400800"/>
                <a:gd name="connsiteY2052" fmla="*/ 258604 h 514350"/>
                <a:gd name="connsiteX2053" fmla="*/ 2250281 w 6400800"/>
                <a:gd name="connsiteY2053" fmla="*/ 262414 h 514350"/>
                <a:gd name="connsiteX2054" fmla="*/ 2255044 w 6400800"/>
                <a:gd name="connsiteY2054" fmla="*/ 243364 h 514350"/>
                <a:gd name="connsiteX2055" fmla="*/ 2267426 w 6400800"/>
                <a:gd name="connsiteY2055" fmla="*/ 178594 h 514350"/>
                <a:gd name="connsiteX2056" fmla="*/ 2270284 w 6400800"/>
                <a:gd name="connsiteY2056" fmla="*/ 153829 h 514350"/>
                <a:gd name="connsiteX2057" fmla="*/ 2262664 w 6400800"/>
                <a:gd name="connsiteY2057" fmla="*/ 177641 h 514350"/>
                <a:gd name="connsiteX2058" fmla="*/ 2254091 w 6400800"/>
                <a:gd name="connsiteY2058" fmla="*/ 205264 h 514350"/>
                <a:gd name="connsiteX2059" fmla="*/ 2246471 w 6400800"/>
                <a:gd name="connsiteY2059" fmla="*/ 230981 h 514350"/>
                <a:gd name="connsiteX2060" fmla="*/ 2241709 w 6400800"/>
                <a:gd name="connsiteY2060" fmla="*/ 244316 h 514350"/>
                <a:gd name="connsiteX2061" fmla="*/ 2239804 w 6400800"/>
                <a:gd name="connsiteY2061" fmla="*/ 233839 h 514350"/>
                <a:gd name="connsiteX2062" fmla="*/ 2233136 w 6400800"/>
                <a:gd name="connsiteY2062" fmla="*/ 205264 h 514350"/>
                <a:gd name="connsiteX2063" fmla="*/ 2237899 w 6400800"/>
                <a:gd name="connsiteY2063" fmla="*/ 255746 h 514350"/>
                <a:gd name="connsiteX2064" fmla="*/ 2234089 w 6400800"/>
                <a:gd name="connsiteY2064" fmla="*/ 269081 h 514350"/>
                <a:gd name="connsiteX2065" fmla="*/ 2233136 w 6400800"/>
                <a:gd name="connsiteY2065" fmla="*/ 270034 h 514350"/>
                <a:gd name="connsiteX2066" fmla="*/ 2233136 w 6400800"/>
                <a:gd name="connsiteY2066" fmla="*/ 263366 h 514350"/>
                <a:gd name="connsiteX2067" fmla="*/ 2231231 w 6400800"/>
                <a:gd name="connsiteY2067" fmla="*/ 234791 h 514350"/>
                <a:gd name="connsiteX2068" fmla="*/ 2228374 w 6400800"/>
                <a:gd name="connsiteY2068" fmla="*/ 207169 h 514350"/>
                <a:gd name="connsiteX2069" fmla="*/ 2230279 w 6400800"/>
                <a:gd name="connsiteY2069" fmla="*/ 193834 h 514350"/>
                <a:gd name="connsiteX2070" fmla="*/ 2226469 w 6400800"/>
                <a:gd name="connsiteY2070" fmla="*/ 204311 h 514350"/>
                <a:gd name="connsiteX2071" fmla="*/ 2222659 w 6400800"/>
                <a:gd name="connsiteY2071" fmla="*/ 200501 h 514350"/>
                <a:gd name="connsiteX2072" fmla="*/ 2220754 w 6400800"/>
                <a:gd name="connsiteY2072" fmla="*/ 199549 h 514350"/>
                <a:gd name="connsiteX2073" fmla="*/ 2217896 w 6400800"/>
                <a:gd name="connsiteY2073" fmla="*/ 199549 h 514350"/>
                <a:gd name="connsiteX2074" fmla="*/ 2215039 w 6400800"/>
                <a:gd name="connsiteY2074" fmla="*/ 202406 h 514350"/>
                <a:gd name="connsiteX2075" fmla="*/ 2213134 w 6400800"/>
                <a:gd name="connsiteY2075" fmla="*/ 214789 h 514350"/>
                <a:gd name="connsiteX2076" fmla="*/ 2217896 w 6400800"/>
                <a:gd name="connsiteY2076" fmla="*/ 203359 h 514350"/>
                <a:gd name="connsiteX2077" fmla="*/ 2219801 w 6400800"/>
                <a:gd name="connsiteY2077" fmla="*/ 201454 h 514350"/>
                <a:gd name="connsiteX2078" fmla="*/ 2220754 w 6400800"/>
                <a:gd name="connsiteY2078" fmla="*/ 202406 h 514350"/>
                <a:gd name="connsiteX2079" fmla="*/ 2223611 w 6400800"/>
                <a:gd name="connsiteY2079" fmla="*/ 207169 h 514350"/>
                <a:gd name="connsiteX2080" fmla="*/ 2223611 w 6400800"/>
                <a:gd name="connsiteY2080" fmla="*/ 215741 h 514350"/>
                <a:gd name="connsiteX2081" fmla="*/ 2223611 w 6400800"/>
                <a:gd name="connsiteY2081" fmla="*/ 215741 h 514350"/>
                <a:gd name="connsiteX2082" fmla="*/ 2215991 w 6400800"/>
                <a:gd name="connsiteY2082" fmla="*/ 241459 h 514350"/>
                <a:gd name="connsiteX2083" fmla="*/ 2206466 w 6400800"/>
                <a:gd name="connsiteY2083" fmla="*/ 274796 h 514350"/>
                <a:gd name="connsiteX2084" fmla="*/ 2196941 w 6400800"/>
                <a:gd name="connsiteY2084" fmla="*/ 313849 h 514350"/>
                <a:gd name="connsiteX2085" fmla="*/ 2195989 w 6400800"/>
                <a:gd name="connsiteY2085" fmla="*/ 305276 h 514350"/>
                <a:gd name="connsiteX2086" fmla="*/ 2195036 w 6400800"/>
                <a:gd name="connsiteY2086" fmla="*/ 317659 h 514350"/>
                <a:gd name="connsiteX2087" fmla="*/ 2193131 w 6400800"/>
                <a:gd name="connsiteY2087" fmla="*/ 314801 h 514350"/>
                <a:gd name="connsiteX2088" fmla="*/ 2195036 w 6400800"/>
                <a:gd name="connsiteY2088" fmla="*/ 318611 h 514350"/>
                <a:gd name="connsiteX2089" fmla="*/ 2195036 w 6400800"/>
                <a:gd name="connsiteY2089" fmla="*/ 323374 h 514350"/>
                <a:gd name="connsiteX2090" fmla="*/ 2192179 w 6400800"/>
                <a:gd name="connsiteY2090" fmla="*/ 334804 h 514350"/>
                <a:gd name="connsiteX2091" fmla="*/ 2190274 w 6400800"/>
                <a:gd name="connsiteY2091" fmla="*/ 330994 h 514350"/>
                <a:gd name="connsiteX2092" fmla="*/ 2191226 w 6400800"/>
                <a:gd name="connsiteY2092" fmla="*/ 330041 h 514350"/>
                <a:gd name="connsiteX2093" fmla="*/ 2190274 w 6400800"/>
                <a:gd name="connsiteY2093" fmla="*/ 330994 h 514350"/>
                <a:gd name="connsiteX2094" fmla="*/ 2188369 w 6400800"/>
                <a:gd name="connsiteY2094" fmla="*/ 326231 h 514350"/>
                <a:gd name="connsiteX2095" fmla="*/ 2189321 w 6400800"/>
                <a:gd name="connsiteY2095" fmla="*/ 331946 h 514350"/>
                <a:gd name="connsiteX2096" fmla="*/ 2188369 w 6400800"/>
                <a:gd name="connsiteY2096" fmla="*/ 332899 h 514350"/>
                <a:gd name="connsiteX2097" fmla="*/ 2185511 w 6400800"/>
                <a:gd name="connsiteY2097" fmla="*/ 315754 h 514350"/>
                <a:gd name="connsiteX2098" fmla="*/ 2184559 w 6400800"/>
                <a:gd name="connsiteY2098" fmla="*/ 336709 h 514350"/>
                <a:gd name="connsiteX2099" fmla="*/ 2184559 w 6400800"/>
                <a:gd name="connsiteY2099" fmla="*/ 337661 h 514350"/>
                <a:gd name="connsiteX2100" fmla="*/ 2179796 w 6400800"/>
                <a:gd name="connsiteY2100" fmla="*/ 343376 h 514350"/>
                <a:gd name="connsiteX2101" fmla="*/ 2178844 w 6400800"/>
                <a:gd name="connsiteY2101" fmla="*/ 340519 h 514350"/>
                <a:gd name="connsiteX2102" fmla="*/ 2192179 w 6400800"/>
                <a:gd name="connsiteY2102" fmla="*/ 283369 h 514350"/>
                <a:gd name="connsiteX2103" fmla="*/ 2212181 w 6400800"/>
                <a:gd name="connsiteY2103" fmla="*/ 190024 h 514350"/>
                <a:gd name="connsiteX2104" fmla="*/ 2183606 w 6400800"/>
                <a:gd name="connsiteY2104" fmla="*/ 272891 h 514350"/>
                <a:gd name="connsiteX2105" fmla="*/ 2187416 w 6400800"/>
                <a:gd name="connsiteY2105" fmla="*/ 253841 h 514350"/>
                <a:gd name="connsiteX2106" fmla="*/ 2192179 w 6400800"/>
                <a:gd name="connsiteY2106" fmla="*/ 231934 h 514350"/>
                <a:gd name="connsiteX2107" fmla="*/ 2196941 w 6400800"/>
                <a:gd name="connsiteY2107" fmla="*/ 210026 h 514350"/>
                <a:gd name="connsiteX2108" fmla="*/ 2200751 w 6400800"/>
                <a:gd name="connsiteY2108" fmla="*/ 193834 h 514350"/>
                <a:gd name="connsiteX2109" fmla="*/ 2204561 w 6400800"/>
                <a:gd name="connsiteY2109" fmla="*/ 179546 h 514350"/>
                <a:gd name="connsiteX2110" fmla="*/ 2211229 w 6400800"/>
                <a:gd name="connsiteY2110" fmla="*/ 155734 h 514350"/>
                <a:gd name="connsiteX2111" fmla="*/ 2217896 w 6400800"/>
                <a:gd name="connsiteY2111" fmla="*/ 134779 h 514350"/>
                <a:gd name="connsiteX2112" fmla="*/ 2211229 w 6400800"/>
                <a:gd name="connsiteY2112" fmla="*/ 148114 h 514350"/>
                <a:gd name="connsiteX2113" fmla="*/ 2211229 w 6400800"/>
                <a:gd name="connsiteY2113" fmla="*/ 147161 h 514350"/>
                <a:gd name="connsiteX2114" fmla="*/ 2216944 w 6400800"/>
                <a:gd name="connsiteY2114" fmla="*/ 125254 h 514350"/>
                <a:gd name="connsiteX2115" fmla="*/ 2222659 w 6400800"/>
                <a:gd name="connsiteY2115" fmla="*/ 105251 h 514350"/>
                <a:gd name="connsiteX2116" fmla="*/ 2233136 w 6400800"/>
                <a:gd name="connsiteY2116" fmla="*/ 72866 h 514350"/>
                <a:gd name="connsiteX2117" fmla="*/ 2242661 w 6400800"/>
                <a:gd name="connsiteY2117" fmla="*/ 45244 h 514350"/>
                <a:gd name="connsiteX2118" fmla="*/ 2229326 w 6400800"/>
                <a:gd name="connsiteY2118" fmla="*/ 71914 h 514350"/>
                <a:gd name="connsiteX2119" fmla="*/ 2215991 w 6400800"/>
                <a:gd name="connsiteY2119" fmla="*/ 103346 h 514350"/>
                <a:gd name="connsiteX2120" fmla="*/ 2208371 w 6400800"/>
                <a:gd name="connsiteY2120" fmla="*/ 122396 h 514350"/>
                <a:gd name="connsiteX2121" fmla="*/ 2200751 w 6400800"/>
                <a:gd name="connsiteY2121" fmla="*/ 144304 h 514350"/>
                <a:gd name="connsiteX2122" fmla="*/ 2184559 w 6400800"/>
                <a:gd name="connsiteY2122" fmla="*/ 193834 h 514350"/>
                <a:gd name="connsiteX2123" fmla="*/ 2175034 w 6400800"/>
                <a:gd name="connsiteY2123" fmla="*/ 228124 h 514350"/>
                <a:gd name="connsiteX2124" fmla="*/ 2177891 w 6400800"/>
                <a:gd name="connsiteY2124" fmla="*/ 203359 h 514350"/>
                <a:gd name="connsiteX2125" fmla="*/ 2178844 w 6400800"/>
                <a:gd name="connsiteY2125" fmla="*/ 190024 h 514350"/>
                <a:gd name="connsiteX2126" fmla="*/ 2180749 w 6400800"/>
                <a:gd name="connsiteY2126" fmla="*/ 184309 h 514350"/>
                <a:gd name="connsiteX2127" fmla="*/ 2179796 w 6400800"/>
                <a:gd name="connsiteY2127" fmla="*/ 187166 h 514350"/>
                <a:gd name="connsiteX2128" fmla="*/ 2180749 w 6400800"/>
                <a:gd name="connsiteY2128" fmla="*/ 176689 h 514350"/>
                <a:gd name="connsiteX2129" fmla="*/ 2175986 w 6400800"/>
                <a:gd name="connsiteY2129" fmla="*/ 194786 h 514350"/>
                <a:gd name="connsiteX2130" fmla="*/ 2170271 w 6400800"/>
                <a:gd name="connsiteY2130" fmla="*/ 208121 h 514350"/>
                <a:gd name="connsiteX2131" fmla="*/ 2144554 w 6400800"/>
                <a:gd name="connsiteY2131" fmla="*/ 271939 h 514350"/>
                <a:gd name="connsiteX2132" fmla="*/ 2135029 w 6400800"/>
                <a:gd name="connsiteY2132" fmla="*/ 296704 h 514350"/>
                <a:gd name="connsiteX2133" fmla="*/ 2135029 w 6400800"/>
                <a:gd name="connsiteY2133" fmla="*/ 295751 h 514350"/>
                <a:gd name="connsiteX2134" fmla="*/ 2129314 w 6400800"/>
                <a:gd name="connsiteY2134" fmla="*/ 282416 h 514350"/>
                <a:gd name="connsiteX2135" fmla="*/ 2137886 w 6400800"/>
                <a:gd name="connsiteY2135" fmla="*/ 231934 h 514350"/>
                <a:gd name="connsiteX2136" fmla="*/ 2141696 w 6400800"/>
                <a:gd name="connsiteY2136" fmla="*/ 210026 h 514350"/>
                <a:gd name="connsiteX2137" fmla="*/ 2134076 w 6400800"/>
                <a:gd name="connsiteY2137" fmla="*/ 230981 h 514350"/>
                <a:gd name="connsiteX2138" fmla="*/ 2123599 w 6400800"/>
                <a:gd name="connsiteY2138" fmla="*/ 263366 h 514350"/>
                <a:gd name="connsiteX2139" fmla="*/ 2122646 w 6400800"/>
                <a:gd name="connsiteY2139" fmla="*/ 253841 h 514350"/>
                <a:gd name="connsiteX2140" fmla="*/ 2117884 w 6400800"/>
                <a:gd name="connsiteY2140" fmla="*/ 211931 h 514350"/>
                <a:gd name="connsiteX2141" fmla="*/ 2112169 w 6400800"/>
                <a:gd name="connsiteY2141" fmla="*/ 176689 h 514350"/>
                <a:gd name="connsiteX2142" fmla="*/ 2107406 w 6400800"/>
                <a:gd name="connsiteY2142" fmla="*/ 150019 h 514350"/>
                <a:gd name="connsiteX2143" fmla="*/ 2102644 w 6400800"/>
                <a:gd name="connsiteY2143" fmla="*/ 127159 h 514350"/>
                <a:gd name="connsiteX2144" fmla="*/ 2103596 w 6400800"/>
                <a:gd name="connsiteY2144" fmla="*/ 150971 h 514350"/>
                <a:gd name="connsiteX2145" fmla="*/ 2104549 w 6400800"/>
                <a:gd name="connsiteY2145" fmla="*/ 168116 h 514350"/>
                <a:gd name="connsiteX2146" fmla="*/ 2104549 w 6400800"/>
                <a:gd name="connsiteY2146" fmla="*/ 183356 h 514350"/>
                <a:gd name="connsiteX2147" fmla="*/ 2105501 w 6400800"/>
                <a:gd name="connsiteY2147" fmla="*/ 207169 h 514350"/>
                <a:gd name="connsiteX2148" fmla="*/ 2106454 w 6400800"/>
                <a:gd name="connsiteY2148" fmla="*/ 225266 h 514350"/>
                <a:gd name="connsiteX2149" fmla="*/ 2104549 w 6400800"/>
                <a:gd name="connsiteY2149" fmla="*/ 221456 h 514350"/>
                <a:gd name="connsiteX2150" fmla="*/ 2104549 w 6400800"/>
                <a:gd name="connsiteY2150" fmla="*/ 221456 h 514350"/>
                <a:gd name="connsiteX2151" fmla="*/ 2104549 w 6400800"/>
                <a:gd name="connsiteY2151" fmla="*/ 221456 h 514350"/>
                <a:gd name="connsiteX2152" fmla="*/ 2102644 w 6400800"/>
                <a:gd name="connsiteY2152" fmla="*/ 215741 h 514350"/>
                <a:gd name="connsiteX2153" fmla="*/ 2101691 w 6400800"/>
                <a:gd name="connsiteY2153" fmla="*/ 205264 h 514350"/>
                <a:gd name="connsiteX2154" fmla="*/ 2098834 w 6400800"/>
                <a:gd name="connsiteY2154" fmla="*/ 176689 h 514350"/>
                <a:gd name="connsiteX2155" fmla="*/ 2097881 w 6400800"/>
                <a:gd name="connsiteY2155" fmla="*/ 168116 h 514350"/>
                <a:gd name="connsiteX2156" fmla="*/ 2102644 w 6400800"/>
                <a:gd name="connsiteY2156" fmla="*/ 149066 h 514350"/>
                <a:gd name="connsiteX2157" fmla="*/ 2096929 w 6400800"/>
                <a:gd name="connsiteY2157" fmla="*/ 162401 h 514350"/>
                <a:gd name="connsiteX2158" fmla="*/ 2095024 w 6400800"/>
                <a:gd name="connsiteY2158" fmla="*/ 151924 h 514350"/>
                <a:gd name="connsiteX2159" fmla="*/ 2095024 w 6400800"/>
                <a:gd name="connsiteY2159" fmla="*/ 167164 h 514350"/>
                <a:gd name="connsiteX2160" fmla="*/ 2066449 w 6400800"/>
                <a:gd name="connsiteY2160" fmla="*/ 235744 h 514350"/>
                <a:gd name="connsiteX2161" fmla="*/ 2056924 w 6400800"/>
                <a:gd name="connsiteY2161" fmla="*/ 259556 h 514350"/>
                <a:gd name="connsiteX2162" fmla="*/ 2063591 w 6400800"/>
                <a:gd name="connsiteY2162" fmla="*/ 219551 h 514350"/>
                <a:gd name="connsiteX2163" fmla="*/ 2052161 w 6400800"/>
                <a:gd name="connsiteY2163" fmla="*/ 252889 h 514350"/>
                <a:gd name="connsiteX2164" fmla="*/ 2050256 w 6400800"/>
                <a:gd name="connsiteY2164" fmla="*/ 248126 h 514350"/>
                <a:gd name="connsiteX2165" fmla="*/ 2050256 w 6400800"/>
                <a:gd name="connsiteY2165" fmla="*/ 233839 h 514350"/>
                <a:gd name="connsiteX2166" fmla="*/ 2048351 w 6400800"/>
                <a:gd name="connsiteY2166" fmla="*/ 244316 h 514350"/>
                <a:gd name="connsiteX2167" fmla="*/ 2046446 w 6400800"/>
                <a:gd name="connsiteY2167" fmla="*/ 240506 h 514350"/>
                <a:gd name="connsiteX2168" fmla="*/ 2047399 w 6400800"/>
                <a:gd name="connsiteY2168" fmla="*/ 247174 h 514350"/>
                <a:gd name="connsiteX2169" fmla="*/ 2044541 w 6400800"/>
                <a:gd name="connsiteY2169" fmla="*/ 266224 h 514350"/>
                <a:gd name="connsiteX2170" fmla="*/ 2043589 w 6400800"/>
                <a:gd name="connsiteY2170" fmla="*/ 259556 h 514350"/>
                <a:gd name="connsiteX2171" fmla="*/ 2041684 w 6400800"/>
                <a:gd name="connsiteY2171" fmla="*/ 249079 h 514350"/>
                <a:gd name="connsiteX2172" fmla="*/ 2048351 w 6400800"/>
                <a:gd name="connsiteY2172" fmla="*/ 184309 h 514350"/>
                <a:gd name="connsiteX2173" fmla="*/ 2039779 w 6400800"/>
                <a:gd name="connsiteY2173" fmla="*/ 216694 h 514350"/>
                <a:gd name="connsiteX2174" fmla="*/ 2036921 w 6400800"/>
                <a:gd name="connsiteY2174" fmla="*/ 223361 h 514350"/>
                <a:gd name="connsiteX2175" fmla="*/ 2035969 w 6400800"/>
                <a:gd name="connsiteY2175" fmla="*/ 218599 h 514350"/>
                <a:gd name="connsiteX2176" fmla="*/ 2031206 w 6400800"/>
                <a:gd name="connsiteY2176" fmla="*/ 187166 h 514350"/>
                <a:gd name="connsiteX2177" fmla="*/ 2028349 w 6400800"/>
                <a:gd name="connsiteY2177" fmla="*/ 169069 h 514350"/>
                <a:gd name="connsiteX2178" fmla="*/ 2031206 w 6400800"/>
                <a:gd name="connsiteY2178" fmla="*/ 147161 h 514350"/>
                <a:gd name="connsiteX2179" fmla="*/ 2028349 w 6400800"/>
                <a:gd name="connsiteY2179" fmla="*/ 157639 h 514350"/>
                <a:gd name="connsiteX2180" fmla="*/ 2030254 w 6400800"/>
                <a:gd name="connsiteY2180" fmla="*/ 138589 h 514350"/>
                <a:gd name="connsiteX2181" fmla="*/ 2023586 w 6400800"/>
                <a:gd name="connsiteY2181" fmla="*/ 160496 h 514350"/>
                <a:gd name="connsiteX2182" fmla="*/ 2017871 w 6400800"/>
                <a:gd name="connsiteY2182" fmla="*/ 186214 h 514350"/>
                <a:gd name="connsiteX2183" fmla="*/ 2016919 w 6400800"/>
                <a:gd name="connsiteY2183" fmla="*/ 191929 h 514350"/>
                <a:gd name="connsiteX2184" fmla="*/ 2016919 w 6400800"/>
                <a:gd name="connsiteY2184" fmla="*/ 190976 h 514350"/>
                <a:gd name="connsiteX2185" fmla="*/ 2019776 w 6400800"/>
                <a:gd name="connsiteY2185" fmla="*/ 158591 h 514350"/>
                <a:gd name="connsiteX2186" fmla="*/ 2015014 w 6400800"/>
                <a:gd name="connsiteY2186" fmla="*/ 178594 h 514350"/>
                <a:gd name="connsiteX2187" fmla="*/ 2014061 w 6400800"/>
                <a:gd name="connsiteY2187" fmla="*/ 174784 h 514350"/>
                <a:gd name="connsiteX2188" fmla="*/ 2014061 w 6400800"/>
                <a:gd name="connsiteY2188" fmla="*/ 177641 h 514350"/>
                <a:gd name="connsiteX2189" fmla="*/ 2011204 w 6400800"/>
                <a:gd name="connsiteY2189" fmla="*/ 163354 h 514350"/>
                <a:gd name="connsiteX2190" fmla="*/ 2003584 w 6400800"/>
                <a:gd name="connsiteY2190" fmla="*/ 125254 h 514350"/>
                <a:gd name="connsiteX2191" fmla="*/ 1996916 w 6400800"/>
                <a:gd name="connsiteY2191" fmla="*/ 91916 h 514350"/>
                <a:gd name="connsiteX2192" fmla="*/ 1999774 w 6400800"/>
                <a:gd name="connsiteY2192" fmla="*/ 125254 h 514350"/>
                <a:gd name="connsiteX2193" fmla="*/ 2003584 w 6400800"/>
                <a:gd name="connsiteY2193" fmla="*/ 164306 h 514350"/>
                <a:gd name="connsiteX2194" fmla="*/ 2008346 w 6400800"/>
                <a:gd name="connsiteY2194" fmla="*/ 203359 h 514350"/>
                <a:gd name="connsiteX2195" fmla="*/ 1999774 w 6400800"/>
                <a:gd name="connsiteY2195" fmla="*/ 240506 h 514350"/>
                <a:gd name="connsiteX2196" fmla="*/ 1984534 w 6400800"/>
                <a:gd name="connsiteY2196" fmla="*/ 314801 h 514350"/>
                <a:gd name="connsiteX2197" fmla="*/ 1984534 w 6400800"/>
                <a:gd name="connsiteY2197" fmla="*/ 283369 h 514350"/>
                <a:gd name="connsiteX2198" fmla="*/ 1984534 w 6400800"/>
                <a:gd name="connsiteY2198" fmla="*/ 267176 h 514350"/>
                <a:gd name="connsiteX2199" fmla="*/ 1986439 w 6400800"/>
                <a:gd name="connsiteY2199" fmla="*/ 263366 h 514350"/>
                <a:gd name="connsiteX2200" fmla="*/ 1984534 w 6400800"/>
                <a:gd name="connsiteY2200" fmla="*/ 265271 h 514350"/>
                <a:gd name="connsiteX2201" fmla="*/ 1985486 w 6400800"/>
                <a:gd name="connsiteY2201" fmla="*/ 243364 h 514350"/>
                <a:gd name="connsiteX2202" fmla="*/ 1987391 w 6400800"/>
                <a:gd name="connsiteY2202" fmla="*/ 212884 h 514350"/>
                <a:gd name="connsiteX2203" fmla="*/ 1989296 w 6400800"/>
                <a:gd name="connsiteY2203" fmla="*/ 186214 h 514350"/>
                <a:gd name="connsiteX2204" fmla="*/ 1983581 w 6400800"/>
                <a:gd name="connsiteY2204" fmla="*/ 211931 h 514350"/>
                <a:gd name="connsiteX2205" fmla="*/ 1978819 w 6400800"/>
                <a:gd name="connsiteY2205" fmla="*/ 242411 h 514350"/>
                <a:gd name="connsiteX2206" fmla="*/ 1974056 w 6400800"/>
                <a:gd name="connsiteY2206" fmla="*/ 281464 h 514350"/>
                <a:gd name="connsiteX2207" fmla="*/ 1973104 w 6400800"/>
                <a:gd name="connsiteY2207" fmla="*/ 282416 h 514350"/>
                <a:gd name="connsiteX2208" fmla="*/ 1968341 w 6400800"/>
                <a:gd name="connsiteY2208" fmla="*/ 289084 h 514350"/>
                <a:gd name="connsiteX2209" fmla="*/ 1968341 w 6400800"/>
                <a:gd name="connsiteY2209" fmla="*/ 283369 h 514350"/>
                <a:gd name="connsiteX2210" fmla="*/ 1973104 w 6400800"/>
                <a:gd name="connsiteY2210" fmla="*/ 274796 h 514350"/>
                <a:gd name="connsiteX2211" fmla="*/ 1968341 w 6400800"/>
                <a:gd name="connsiteY2211" fmla="*/ 280511 h 514350"/>
                <a:gd name="connsiteX2212" fmla="*/ 1973104 w 6400800"/>
                <a:gd name="connsiteY2212" fmla="*/ 224314 h 514350"/>
                <a:gd name="connsiteX2213" fmla="*/ 1976914 w 6400800"/>
                <a:gd name="connsiteY2213" fmla="*/ 187166 h 514350"/>
                <a:gd name="connsiteX2214" fmla="*/ 1967389 w 6400800"/>
                <a:gd name="connsiteY2214" fmla="*/ 218599 h 514350"/>
                <a:gd name="connsiteX2215" fmla="*/ 1967389 w 6400800"/>
                <a:gd name="connsiteY2215" fmla="*/ 216694 h 514350"/>
                <a:gd name="connsiteX2216" fmla="*/ 1966436 w 6400800"/>
                <a:gd name="connsiteY2216" fmla="*/ 220504 h 514350"/>
                <a:gd name="connsiteX2217" fmla="*/ 1957864 w 6400800"/>
                <a:gd name="connsiteY2217" fmla="*/ 250031 h 514350"/>
                <a:gd name="connsiteX2218" fmla="*/ 1952149 w 6400800"/>
                <a:gd name="connsiteY2218" fmla="*/ 271939 h 514350"/>
                <a:gd name="connsiteX2219" fmla="*/ 1941671 w 6400800"/>
                <a:gd name="connsiteY2219" fmla="*/ 221456 h 514350"/>
                <a:gd name="connsiteX2220" fmla="*/ 1942624 w 6400800"/>
                <a:gd name="connsiteY2220" fmla="*/ 213836 h 514350"/>
                <a:gd name="connsiteX2221" fmla="*/ 1952149 w 6400800"/>
                <a:gd name="connsiteY2221" fmla="*/ 186214 h 514350"/>
                <a:gd name="connsiteX2222" fmla="*/ 1962626 w 6400800"/>
                <a:gd name="connsiteY2222" fmla="*/ 157639 h 514350"/>
                <a:gd name="connsiteX2223" fmla="*/ 1948339 w 6400800"/>
                <a:gd name="connsiteY2223" fmla="*/ 185261 h 514350"/>
                <a:gd name="connsiteX2224" fmla="*/ 1945481 w 6400800"/>
                <a:gd name="connsiteY2224" fmla="*/ 190976 h 514350"/>
                <a:gd name="connsiteX2225" fmla="*/ 1945481 w 6400800"/>
                <a:gd name="connsiteY2225" fmla="*/ 189071 h 514350"/>
                <a:gd name="connsiteX2226" fmla="*/ 1944529 w 6400800"/>
                <a:gd name="connsiteY2226" fmla="*/ 192881 h 514350"/>
                <a:gd name="connsiteX2227" fmla="*/ 1938814 w 6400800"/>
                <a:gd name="connsiteY2227" fmla="*/ 205264 h 514350"/>
                <a:gd name="connsiteX2228" fmla="*/ 1935004 w 6400800"/>
                <a:gd name="connsiteY2228" fmla="*/ 148114 h 514350"/>
                <a:gd name="connsiteX2229" fmla="*/ 1928336 w 6400800"/>
                <a:gd name="connsiteY2229" fmla="*/ 224314 h 514350"/>
                <a:gd name="connsiteX2230" fmla="*/ 1928336 w 6400800"/>
                <a:gd name="connsiteY2230" fmla="*/ 229076 h 514350"/>
                <a:gd name="connsiteX2231" fmla="*/ 1924526 w 6400800"/>
                <a:gd name="connsiteY2231" fmla="*/ 236696 h 514350"/>
                <a:gd name="connsiteX2232" fmla="*/ 1915001 w 6400800"/>
                <a:gd name="connsiteY2232" fmla="*/ 258604 h 514350"/>
                <a:gd name="connsiteX2233" fmla="*/ 1911191 w 6400800"/>
                <a:gd name="connsiteY2233" fmla="*/ 268129 h 514350"/>
                <a:gd name="connsiteX2234" fmla="*/ 1907381 w 6400800"/>
                <a:gd name="connsiteY2234" fmla="*/ 259556 h 514350"/>
                <a:gd name="connsiteX2235" fmla="*/ 1907381 w 6400800"/>
                <a:gd name="connsiteY2235" fmla="*/ 258604 h 514350"/>
                <a:gd name="connsiteX2236" fmla="*/ 1907381 w 6400800"/>
                <a:gd name="connsiteY2236" fmla="*/ 258604 h 514350"/>
                <a:gd name="connsiteX2237" fmla="*/ 1900714 w 6400800"/>
                <a:gd name="connsiteY2237" fmla="*/ 253841 h 514350"/>
                <a:gd name="connsiteX2238" fmla="*/ 1897856 w 6400800"/>
                <a:gd name="connsiteY2238" fmla="*/ 252889 h 514350"/>
                <a:gd name="connsiteX2239" fmla="*/ 1896904 w 6400800"/>
                <a:gd name="connsiteY2239" fmla="*/ 252889 h 514350"/>
                <a:gd name="connsiteX2240" fmla="*/ 1896904 w 6400800"/>
                <a:gd name="connsiteY2240" fmla="*/ 250984 h 514350"/>
                <a:gd name="connsiteX2241" fmla="*/ 1897856 w 6400800"/>
                <a:gd name="connsiteY2241" fmla="*/ 246221 h 514350"/>
                <a:gd name="connsiteX2242" fmla="*/ 1902619 w 6400800"/>
                <a:gd name="connsiteY2242" fmla="*/ 230029 h 514350"/>
                <a:gd name="connsiteX2243" fmla="*/ 1903571 w 6400800"/>
                <a:gd name="connsiteY2243" fmla="*/ 226219 h 514350"/>
                <a:gd name="connsiteX2244" fmla="*/ 1902619 w 6400800"/>
                <a:gd name="connsiteY2244" fmla="*/ 227171 h 514350"/>
                <a:gd name="connsiteX2245" fmla="*/ 1906429 w 6400800"/>
                <a:gd name="connsiteY2245" fmla="*/ 214789 h 514350"/>
                <a:gd name="connsiteX2246" fmla="*/ 1915001 w 6400800"/>
                <a:gd name="connsiteY2246" fmla="*/ 190976 h 514350"/>
                <a:gd name="connsiteX2247" fmla="*/ 1922621 w 6400800"/>
                <a:gd name="connsiteY2247" fmla="*/ 170021 h 514350"/>
                <a:gd name="connsiteX2248" fmla="*/ 1911191 w 6400800"/>
                <a:gd name="connsiteY2248" fmla="*/ 189071 h 514350"/>
                <a:gd name="connsiteX2249" fmla="*/ 1899761 w 6400800"/>
                <a:gd name="connsiteY2249" fmla="*/ 211931 h 514350"/>
                <a:gd name="connsiteX2250" fmla="*/ 1893094 w 6400800"/>
                <a:gd name="connsiteY2250" fmla="*/ 226219 h 514350"/>
                <a:gd name="connsiteX2251" fmla="*/ 1889284 w 6400800"/>
                <a:gd name="connsiteY2251" fmla="*/ 235744 h 514350"/>
                <a:gd name="connsiteX2252" fmla="*/ 1888331 w 6400800"/>
                <a:gd name="connsiteY2252" fmla="*/ 232886 h 514350"/>
                <a:gd name="connsiteX2253" fmla="*/ 1889284 w 6400800"/>
                <a:gd name="connsiteY2253" fmla="*/ 216694 h 514350"/>
                <a:gd name="connsiteX2254" fmla="*/ 1891189 w 6400800"/>
                <a:gd name="connsiteY2254" fmla="*/ 200501 h 514350"/>
                <a:gd name="connsiteX2255" fmla="*/ 1894046 w 6400800"/>
                <a:gd name="connsiteY2255" fmla="*/ 187166 h 514350"/>
                <a:gd name="connsiteX2256" fmla="*/ 1899761 w 6400800"/>
                <a:gd name="connsiteY2256" fmla="*/ 169069 h 514350"/>
                <a:gd name="connsiteX2257" fmla="*/ 1902619 w 6400800"/>
                <a:gd name="connsiteY2257" fmla="*/ 162401 h 514350"/>
                <a:gd name="connsiteX2258" fmla="*/ 1898809 w 6400800"/>
                <a:gd name="connsiteY2258" fmla="*/ 168116 h 514350"/>
                <a:gd name="connsiteX2259" fmla="*/ 1890236 w 6400800"/>
                <a:gd name="connsiteY2259" fmla="*/ 186214 h 514350"/>
                <a:gd name="connsiteX2260" fmla="*/ 1885474 w 6400800"/>
                <a:gd name="connsiteY2260" fmla="*/ 199549 h 514350"/>
                <a:gd name="connsiteX2261" fmla="*/ 1882616 w 6400800"/>
                <a:gd name="connsiteY2261" fmla="*/ 213836 h 514350"/>
                <a:gd name="connsiteX2262" fmla="*/ 1882616 w 6400800"/>
                <a:gd name="connsiteY2262" fmla="*/ 210026 h 514350"/>
                <a:gd name="connsiteX2263" fmla="*/ 1878806 w 6400800"/>
                <a:gd name="connsiteY2263" fmla="*/ 228124 h 514350"/>
                <a:gd name="connsiteX2264" fmla="*/ 1874996 w 6400800"/>
                <a:gd name="connsiteY2264" fmla="*/ 243364 h 514350"/>
                <a:gd name="connsiteX2265" fmla="*/ 1874996 w 6400800"/>
                <a:gd name="connsiteY2265" fmla="*/ 237649 h 514350"/>
                <a:gd name="connsiteX2266" fmla="*/ 1872139 w 6400800"/>
                <a:gd name="connsiteY2266" fmla="*/ 255746 h 514350"/>
                <a:gd name="connsiteX2267" fmla="*/ 1868329 w 6400800"/>
                <a:gd name="connsiteY2267" fmla="*/ 270986 h 514350"/>
                <a:gd name="connsiteX2268" fmla="*/ 1869281 w 6400800"/>
                <a:gd name="connsiteY2268" fmla="*/ 259556 h 514350"/>
                <a:gd name="connsiteX2269" fmla="*/ 1874996 w 6400800"/>
                <a:gd name="connsiteY2269" fmla="*/ 213836 h 514350"/>
                <a:gd name="connsiteX2270" fmla="*/ 1877854 w 6400800"/>
                <a:gd name="connsiteY2270" fmla="*/ 193834 h 514350"/>
                <a:gd name="connsiteX2271" fmla="*/ 1881664 w 6400800"/>
                <a:gd name="connsiteY2271" fmla="*/ 175736 h 514350"/>
                <a:gd name="connsiteX2272" fmla="*/ 1888331 w 6400800"/>
                <a:gd name="connsiteY2272" fmla="*/ 146209 h 514350"/>
                <a:gd name="connsiteX2273" fmla="*/ 1894999 w 6400800"/>
                <a:gd name="connsiteY2273" fmla="*/ 120491 h 514350"/>
                <a:gd name="connsiteX2274" fmla="*/ 1885474 w 6400800"/>
                <a:gd name="connsiteY2274" fmla="*/ 144304 h 514350"/>
                <a:gd name="connsiteX2275" fmla="*/ 1875949 w 6400800"/>
                <a:gd name="connsiteY2275" fmla="*/ 172879 h 514350"/>
                <a:gd name="connsiteX2276" fmla="*/ 1870234 w 6400800"/>
                <a:gd name="connsiteY2276" fmla="*/ 190976 h 514350"/>
                <a:gd name="connsiteX2277" fmla="*/ 1865471 w 6400800"/>
                <a:gd name="connsiteY2277" fmla="*/ 210979 h 514350"/>
                <a:gd name="connsiteX2278" fmla="*/ 1858804 w 6400800"/>
                <a:gd name="connsiteY2278" fmla="*/ 238601 h 514350"/>
                <a:gd name="connsiteX2279" fmla="*/ 1856899 w 6400800"/>
                <a:gd name="connsiteY2279" fmla="*/ 194786 h 514350"/>
                <a:gd name="connsiteX2280" fmla="*/ 1854994 w 6400800"/>
                <a:gd name="connsiteY2280" fmla="*/ 172879 h 514350"/>
                <a:gd name="connsiteX2281" fmla="*/ 1853089 w 6400800"/>
                <a:gd name="connsiteY2281" fmla="*/ 194786 h 514350"/>
                <a:gd name="connsiteX2282" fmla="*/ 1848326 w 6400800"/>
                <a:gd name="connsiteY2282" fmla="*/ 250984 h 514350"/>
                <a:gd name="connsiteX2283" fmla="*/ 1845469 w 6400800"/>
                <a:gd name="connsiteY2283" fmla="*/ 282416 h 514350"/>
                <a:gd name="connsiteX2284" fmla="*/ 1839754 w 6400800"/>
                <a:gd name="connsiteY2284" fmla="*/ 273844 h 514350"/>
                <a:gd name="connsiteX2285" fmla="*/ 1838801 w 6400800"/>
                <a:gd name="connsiteY2285" fmla="*/ 269081 h 514350"/>
                <a:gd name="connsiteX2286" fmla="*/ 1838801 w 6400800"/>
                <a:gd name="connsiteY2286" fmla="*/ 272891 h 514350"/>
                <a:gd name="connsiteX2287" fmla="*/ 1827371 w 6400800"/>
                <a:gd name="connsiteY2287" fmla="*/ 256699 h 514350"/>
                <a:gd name="connsiteX2288" fmla="*/ 1828324 w 6400800"/>
                <a:gd name="connsiteY2288" fmla="*/ 190976 h 514350"/>
                <a:gd name="connsiteX2289" fmla="*/ 1822609 w 6400800"/>
                <a:gd name="connsiteY2289" fmla="*/ 222409 h 514350"/>
                <a:gd name="connsiteX2290" fmla="*/ 1822609 w 6400800"/>
                <a:gd name="connsiteY2290" fmla="*/ 214789 h 514350"/>
                <a:gd name="connsiteX2291" fmla="*/ 1822609 w 6400800"/>
                <a:gd name="connsiteY2291" fmla="*/ 161449 h 514350"/>
                <a:gd name="connsiteX2292" fmla="*/ 1823561 w 6400800"/>
                <a:gd name="connsiteY2292" fmla="*/ 113824 h 514350"/>
                <a:gd name="connsiteX2293" fmla="*/ 1823561 w 6400800"/>
                <a:gd name="connsiteY2293" fmla="*/ 15716 h 514350"/>
                <a:gd name="connsiteX2294" fmla="*/ 1812131 w 6400800"/>
                <a:gd name="connsiteY2294" fmla="*/ 112871 h 514350"/>
                <a:gd name="connsiteX2295" fmla="*/ 1807369 w 6400800"/>
                <a:gd name="connsiteY2295" fmla="*/ 160496 h 514350"/>
                <a:gd name="connsiteX2296" fmla="*/ 1805464 w 6400800"/>
                <a:gd name="connsiteY2296" fmla="*/ 209074 h 514350"/>
                <a:gd name="connsiteX2297" fmla="*/ 1801654 w 6400800"/>
                <a:gd name="connsiteY2297" fmla="*/ 211931 h 514350"/>
                <a:gd name="connsiteX2298" fmla="*/ 1801654 w 6400800"/>
                <a:gd name="connsiteY2298" fmla="*/ 211931 h 514350"/>
                <a:gd name="connsiteX2299" fmla="*/ 1801654 w 6400800"/>
                <a:gd name="connsiteY2299" fmla="*/ 212884 h 514350"/>
                <a:gd name="connsiteX2300" fmla="*/ 1790224 w 6400800"/>
                <a:gd name="connsiteY2300" fmla="*/ 237649 h 514350"/>
                <a:gd name="connsiteX2301" fmla="*/ 1790224 w 6400800"/>
                <a:gd name="connsiteY2301" fmla="*/ 207169 h 514350"/>
                <a:gd name="connsiteX2302" fmla="*/ 1786414 w 6400800"/>
                <a:gd name="connsiteY2302" fmla="*/ 239554 h 514350"/>
                <a:gd name="connsiteX2303" fmla="*/ 1784509 w 6400800"/>
                <a:gd name="connsiteY2303" fmla="*/ 250984 h 514350"/>
                <a:gd name="connsiteX2304" fmla="*/ 1783556 w 6400800"/>
                <a:gd name="connsiteY2304" fmla="*/ 252889 h 514350"/>
                <a:gd name="connsiteX2305" fmla="*/ 1776889 w 6400800"/>
                <a:gd name="connsiteY2305" fmla="*/ 226219 h 514350"/>
                <a:gd name="connsiteX2306" fmla="*/ 1777841 w 6400800"/>
                <a:gd name="connsiteY2306" fmla="*/ 253841 h 514350"/>
                <a:gd name="connsiteX2307" fmla="*/ 1768316 w 6400800"/>
                <a:gd name="connsiteY2307" fmla="*/ 230029 h 514350"/>
                <a:gd name="connsiteX2308" fmla="*/ 1759744 w 6400800"/>
                <a:gd name="connsiteY2308" fmla="*/ 209074 h 514350"/>
                <a:gd name="connsiteX2309" fmla="*/ 1759744 w 6400800"/>
                <a:gd name="connsiteY2309" fmla="*/ 208121 h 514350"/>
                <a:gd name="connsiteX2310" fmla="*/ 1761649 w 6400800"/>
                <a:gd name="connsiteY2310" fmla="*/ 198596 h 514350"/>
                <a:gd name="connsiteX2311" fmla="*/ 1759744 w 6400800"/>
                <a:gd name="connsiteY2311" fmla="*/ 203359 h 514350"/>
                <a:gd name="connsiteX2312" fmla="*/ 1759744 w 6400800"/>
                <a:gd name="connsiteY2312" fmla="*/ 195739 h 514350"/>
                <a:gd name="connsiteX2313" fmla="*/ 1761649 w 6400800"/>
                <a:gd name="connsiteY2313" fmla="*/ 171926 h 514350"/>
                <a:gd name="connsiteX2314" fmla="*/ 1762601 w 6400800"/>
                <a:gd name="connsiteY2314" fmla="*/ 151924 h 514350"/>
                <a:gd name="connsiteX2315" fmla="*/ 1756886 w 6400800"/>
                <a:gd name="connsiteY2315" fmla="*/ 171926 h 514350"/>
                <a:gd name="connsiteX2316" fmla="*/ 1749266 w 6400800"/>
                <a:gd name="connsiteY2316" fmla="*/ 205264 h 514350"/>
                <a:gd name="connsiteX2317" fmla="*/ 1745456 w 6400800"/>
                <a:gd name="connsiteY2317" fmla="*/ 197644 h 514350"/>
                <a:gd name="connsiteX2318" fmla="*/ 1749266 w 6400800"/>
                <a:gd name="connsiteY2318" fmla="*/ 208121 h 514350"/>
                <a:gd name="connsiteX2319" fmla="*/ 1746409 w 6400800"/>
                <a:gd name="connsiteY2319" fmla="*/ 225266 h 514350"/>
                <a:gd name="connsiteX2320" fmla="*/ 1746409 w 6400800"/>
                <a:gd name="connsiteY2320" fmla="*/ 228124 h 514350"/>
                <a:gd name="connsiteX2321" fmla="*/ 1737836 w 6400800"/>
                <a:gd name="connsiteY2321" fmla="*/ 171926 h 514350"/>
                <a:gd name="connsiteX2322" fmla="*/ 1738789 w 6400800"/>
                <a:gd name="connsiteY2322" fmla="*/ 252889 h 514350"/>
                <a:gd name="connsiteX2323" fmla="*/ 1736884 w 6400800"/>
                <a:gd name="connsiteY2323" fmla="*/ 256699 h 514350"/>
                <a:gd name="connsiteX2324" fmla="*/ 1735931 w 6400800"/>
                <a:gd name="connsiteY2324" fmla="*/ 252889 h 514350"/>
                <a:gd name="connsiteX2325" fmla="*/ 1735931 w 6400800"/>
                <a:gd name="connsiteY2325" fmla="*/ 257651 h 514350"/>
                <a:gd name="connsiteX2326" fmla="*/ 1733074 w 6400800"/>
                <a:gd name="connsiteY2326" fmla="*/ 264319 h 514350"/>
                <a:gd name="connsiteX2327" fmla="*/ 1727359 w 6400800"/>
                <a:gd name="connsiteY2327" fmla="*/ 283369 h 514350"/>
                <a:gd name="connsiteX2328" fmla="*/ 1722596 w 6400800"/>
                <a:gd name="connsiteY2328" fmla="*/ 299561 h 514350"/>
                <a:gd name="connsiteX2329" fmla="*/ 1718786 w 6400800"/>
                <a:gd name="connsiteY2329" fmla="*/ 267176 h 514350"/>
                <a:gd name="connsiteX2330" fmla="*/ 1716881 w 6400800"/>
                <a:gd name="connsiteY2330" fmla="*/ 317659 h 514350"/>
                <a:gd name="connsiteX2331" fmla="*/ 1716881 w 6400800"/>
                <a:gd name="connsiteY2331" fmla="*/ 318611 h 514350"/>
                <a:gd name="connsiteX2332" fmla="*/ 1714976 w 6400800"/>
                <a:gd name="connsiteY2332" fmla="*/ 316706 h 514350"/>
                <a:gd name="connsiteX2333" fmla="*/ 1707356 w 6400800"/>
                <a:gd name="connsiteY2333" fmla="*/ 288131 h 514350"/>
                <a:gd name="connsiteX2334" fmla="*/ 1709261 w 6400800"/>
                <a:gd name="connsiteY2334" fmla="*/ 237649 h 514350"/>
                <a:gd name="connsiteX2335" fmla="*/ 1710214 w 6400800"/>
                <a:gd name="connsiteY2335" fmla="*/ 163354 h 514350"/>
                <a:gd name="connsiteX2336" fmla="*/ 1698784 w 6400800"/>
                <a:gd name="connsiteY2336" fmla="*/ 229076 h 514350"/>
                <a:gd name="connsiteX2337" fmla="*/ 1694021 w 6400800"/>
                <a:gd name="connsiteY2337" fmla="*/ 203359 h 514350"/>
                <a:gd name="connsiteX2338" fmla="*/ 1699736 w 6400800"/>
                <a:gd name="connsiteY2338" fmla="*/ 170021 h 514350"/>
                <a:gd name="connsiteX2339" fmla="*/ 1706404 w 6400800"/>
                <a:gd name="connsiteY2339" fmla="*/ 119539 h 514350"/>
                <a:gd name="connsiteX2340" fmla="*/ 1710214 w 6400800"/>
                <a:gd name="connsiteY2340" fmla="*/ 80486 h 514350"/>
                <a:gd name="connsiteX2341" fmla="*/ 1713071 w 6400800"/>
                <a:gd name="connsiteY2341" fmla="*/ 47149 h 514350"/>
                <a:gd name="connsiteX2342" fmla="*/ 1706404 w 6400800"/>
                <a:gd name="connsiteY2342" fmla="*/ 80486 h 514350"/>
                <a:gd name="connsiteX2343" fmla="*/ 1698784 w 6400800"/>
                <a:gd name="connsiteY2343" fmla="*/ 118586 h 514350"/>
                <a:gd name="connsiteX2344" fmla="*/ 1688306 w 6400800"/>
                <a:gd name="connsiteY2344" fmla="*/ 168116 h 514350"/>
                <a:gd name="connsiteX2345" fmla="*/ 1687354 w 6400800"/>
                <a:gd name="connsiteY2345" fmla="*/ 171926 h 514350"/>
                <a:gd name="connsiteX2346" fmla="*/ 1684496 w 6400800"/>
                <a:gd name="connsiteY2346" fmla="*/ 160496 h 514350"/>
                <a:gd name="connsiteX2347" fmla="*/ 1685449 w 6400800"/>
                <a:gd name="connsiteY2347" fmla="*/ 179546 h 514350"/>
                <a:gd name="connsiteX2348" fmla="*/ 1681639 w 6400800"/>
                <a:gd name="connsiteY2348" fmla="*/ 197644 h 514350"/>
                <a:gd name="connsiteX2349" fmla="*/ 1680686 w 6400800"/>
                <a:gd name="connsiteY2349" fmla="*/ 192881 h 514350"/>
                <a:gd name="connsiteX2350" fmla="*/ 1681639 w 6400800"/>
                <a:gd name="connsiteY2350" fmla="*/ 174784 h 514350"/>
                <a:gd name="connsiteX2351" fmla="*/ 1682591 w 6400800"/>
                <a:gd name="connsiteY2351" fmla="*/ 143351 h 514350"/>
                <a:gd name="connsiteX2352" fmla="*/ 1683544 w 6400800"/>
                <a:gd name="connsiteY2352" fmla="*/ 115729 h 514350"/>
                <a:gd name="connsiteX2353" fmla="*/ 1678781 w 6400800"/>
                <a:gd name="connsiteY2353" fmla="*/ 143351 h 514350"/>
                <a:gd name="connsiteX2354" fmla="*/ 1674019 w 6400800"/>
                <a:gd name="connsiteY2354" fmla="*/ 174784 h 514350"/>
                <a:gd name="connsiteX2355" fmla="*/ 1666399 w 6400800"/>
                <a:gd name="connsiteY2355" fmla="*/ 215741 h 514350"/>
                <a:gd name="connsiteX2356" fmla="*/ 1663541 w 6400800"/>
                <a:gd name="connsiteY2356" fmla="*/ 231934 h 514350"/>
                <a:gd name="connsiteX2357" fmla="*/ 1661636 w 6400800"/>
                <a:gd name="connsiteY2357" fmla="*/ 225266 h 514350"/>
                <a:gd name="connsiteX2358" fmla="*/ 1662589 w 6400800"/>
                <a:gd name="connsiteY2358" fmla="*/ 236696 h 514350"/>
                <a:gd name="connsiteX2359" fmla="*/ 1659731 w 6400800"/>
                <a:gd name="connsiteY2359" fmla="*/ 253841 h 514350"/>
                <a:gd name="connsiteX2360" fmla="*/ 1658779 w 6400800"/>
                <a:gd name="connsiteY2360" fmla="*/ 251936 h 514350"/>
                <a:gd name="connsiteX2361" fmla="*/ 1646396 w 6400800"/>
                <a:gd name="connsiteY2361" fmla="*/ 223361 h 514350"/>
                <a:gd name="connsiteX2362" fmla="*/ 1642586 w 6400800"/>
                <a:gd name="connsiteY2362" fmla="*/ 215741 h 514350"/>
                <a:gd name="connsiteX2363" fmla="*/ 1642586 w 6400800"/>
                <a:gd name="connsiteY2363" fmla="*/ 202406 h 514350"/>
                <a:gd name="connsiteX2364" fmla="*/ 1640681 w 6400800"/>
                <a:gd name="connsiteY2364" fmla="*/ 154781 h 514350"/>
                <a:gd name="connsiteX2365" fmla="*/ 1635919 w 6400800"/>
                <a:gd name="connsiteY2365" fmla="*/ 111919 h 514350"/>
                <a:gd name="connsiteX2366" fmla="*/ 1624489 w 6400800"/>
                <a:gd name="connsiteY2366" fmla="*/ 23336 h 514350"/>
                <a:gd name="connsiteX2367" fmla="*/ 1624489 w 6400800"/>
                <a:gd name="connsiteY2367" fmla="*/ 111919 h 514350"/>
                <a:gd name="connsiteX2368" fmla="*/ 1625441 w 6400800"/>
                <a:gd name="connsiteY2368" fmla="*/ 154781 h 514350"/>
                <a:gd name="connsiteX2369" fmla="*/ 1625441 w 6400800"/>
                <a:gd name="connsiteY2369" fmla="*/ 202406 h 514350"/>
                <a:gd name="connsiteX2370" fmla="*/ 1625441 w 6400800"/>
                <a:gd name="connsiteY2370" fmla="*/ 225266 h 514350"/>
                <a:gd name="connsiteX2371" fmla="*/ 1625441 w 6400800"/>
                <a:gd name="connsiteY2371" fmla="*/ 230981 h 514350"/>
                <a:gd name="connsiteX2372" fmla="*/ 1623536 w 6400800"/>
                <a:gd name="connsiteY2372" fmla="*/ 227171 h 514350"/>
                <a:gd name="connsiteX2373" fmla="*/ 1619726 w 6400800"/>
                <a:gd name="connsiteY2373" fmla="*/ 203359 h 514350"/>
                <a:gd name="connsiteX2374" fmla="*/ 1619726 w 6400800"/>
                <a:gd name="connsiteY2374" fmla="*/ 217646 h 514350"/>
                <a:gd name="connsiteX2375" fmla="*/ 1608296 w 6400800"/>
                <a:gd name="connsiteY2375" fmla="*/ 190976 h 514350"/>
                <a:gd name="connsiteX2376" fmla="*/ 1619726 w 6400800"/>
                <a:gd name="connsiteY2376" fmla="*/ 233839 h 514350"/>
                <a:gd name="connsiteX2377" fmla="*/ 1619726 w 6400800"/>
                <a:gd name="connsiteY2377" fmla="*/ 242411 h 514350"/>
                <a:gd name="connsiteX2378" fmla="*/ 1613059 w 6400800"/>
                <a:gd name="connsiteY2378" fmla="*/ 233839 h 514350"/>
                <a:gd name="connsiteX2379" fmla="*/ 1619726 w 6400800"/>
                <a:gd name="connsiteY2379" fmla="*/ 247174 h 514350"/>
                <a:gd name="connsiteX2380" fmla="*/ 1610201 w 6400800"/>
                <a:gd name="connsiteY2380" fmla="*/ 264319 h 514350"/>
                <a:gd name="connsiteX2381" fmla="*/ 1607344 w 6400800"/>
                <a:gd name="connsiteY2381" fmla="*/ 270034 h 514350"/>
                <a:gd name="connsiteX2382" fmla="*/ 1606391 w 6400800"/>
                <a:gd name="connsiteY2382" fmla="*/ 269081 h 514350"/>
                <a:gd name="connsiteX2383" fmla="*/ 1607344 w 6400800"/>
                <a:gd name="connsiteY2383" fmla="*/ 270034 h 514350"/>
                <a:gd name="connsiteX2384" fmla="*/ 1601629 w 6400800"/>
                <a:gd name="connsiteY2384" fmla="*/ 282416 h 514350"/>
                <a:gd name="connsiteX2385" fmla="*/ 1600676 w 6400800"/>
                <a:gd name="connsiteY2385" fmla="*/ 269081 h 514350"/>
                <a:gd name="connsiteX2386" fmla="*/ 1595914 w 6400800"/>
                <a:gd name="connsiteY2386" fmla="*/ 207169 h 514350"/>
                <a:gd name="connsiteX2387" fmla="*/ 1594009 w 6400800"/>
                <a:gd name="connsiteY2387" fmla="*/ 183356 h 514350"/>
                <a:gd name="connsiteX2388" fmla="*/ 1592104 w 6400800"/>
                <a:gd name="connsiteY2388" fmla="*/ 207169 h 514350"/>
                <a:gd name="connsiteX2389" fmla="*/ 1591151 w 6400800"/>
                <a:gd name="connsiteY2389" fmla="*/ 227171 h 514350"/>
                <a:gd name="connsiteX2390" fmla="*/ 1583531 w 6400800"/>
                <a:gd name="connsiteY2390" fmla="*/ 197644 h 514350"/>
                <a:gd name="connsiteX2391" fmla="*/ 1578769 w 6400800"/>
                <a:gd name="connsiteY2391" fmla="*/ 179546 h 514350"/>
                <a:gd name="connsiteX2392" fmla="*/ 1573054 w 6400800"/>
                <a:gd name="connsiteY2392" fmla="*/ 163354 h 514350"/>
                <a:gd name="connsiteX2393" fmla="*/ 1563529 w 6400800"/>
                <a:gd name="connsiteY2393" fmla="*/ 137636 h 514350"/>
                <a:gd name="connsiteX2394" fmla="*/ 1554004 w 6400800"/>
                <a:gd name="connsiteY2394" fmla="*/ 115729 h 514350"/>
                <a:gd name="connsiteX2395" fmla="*/ 1560671 w 6400800"/>
                <a:gd name="connsiteY2395" fmla="*/ 138589 h 514350"/>
                <a:gd name="connsiteX2396" fmla="*/ 1567339 w 6400800"/>
                <a:gd name="connsiteY2396" fmla="*/ 165259 h 514350"/>
                <a:gd name="connsiteX2397" fmla="*/ 1571149 w 6400800"/>
                <a:gd name="connsiteY2397" fmla="*/ 181451 h 514350"/>
                <a:gd name="connsiteX2398" fmla="*/ 1574006 w 6400800"/>
                <a:gd name="connsiteY2398" fmla="*/ 199549 h 514350"/>
                <a:gd name="connsiteX2399" fmla="*/ 1579721 w 6400800"/>
                <a:gd name="connsiteY2399" fmla="*/ 240506 h 514350"/>
                <a:gd name="connsiteX2400" fmla="*/ 1584484 w 6400800"/>
                <a:gd name="connsiteY2400" fmla="*/ 283369 h 514350"/>
                <a:gd name="connsiteX2401" fmla="*/ 1576864 w 6400800"/>
                <a:gd name="connsiteY2401" fmla="*/ 258604 h 514350"/>
                <a:gd name="connsiteX2402" fmla="*/ 1573054 w 6400800"/>
                <a:gd name="connsiteY2402" fmla="*/ 249079 h 514350"/>
                <a:gd name="connsiteX2403" fmla="*/ 1573054 w 6400800"/>
                <a:gd name="connsiteY2403" fmla="*/ 247174 h 514350"/>
                <a:gd name="connsiteX2404" fmla="*/ 1572101 w 6400800"/>
                <a:gd name="connsiteY2404" fmla="*/ 234791 h 514350"/>
                <a:gd name="connsiteX2405" fmla="*/ 1567339 w 6400800"/>
                <a:gd name="connsiteY2405" fmla="*/ 198596 h 514350"/>
                <a:gd name="connsiteX2406" fmla="*/ 1563529 w 6400800"/>
                <a:gd name="connsiteY2406" fmla="*/ 184309 h 514350"/>
                <a:gd name="connsiteX2407" fmla="*/ 1558766 w 6400800"/>
                <a:gd name="connsiteY2407" fmla="*/ 171926 h 514350"/>
                <a:gd name="connsiteX2408" fmla="*/ 1550194 w 6400800"/>
                <a:gd name="connsiteY2408" fmla="*/ 155734 h 514350"/>
                <a:gd name="connsiteX2409" fmla="*/ 1546384 w 6400800"/>
                <a:gd name="connsiteY2409" fmla="*/ 150019 h 514350"/>
                <a:gd name="connsiteX2410" fmla="*/ 1549241 w 6400800"/>
                <a:gd name="connsiteY2410" fmla="*/ 155734 h 514350"/>
                <a:gd name="connsiteX2411" fmla="*/ 1554956 w 6400800"/>
                <a:gd name="connsiteY2411" fmla="*/ 171926 h 514350"/>
                <a:gd name="connsiteX2412" fmla="*/ 1557814 w 6400800"/>
                <a:gd name="connsiteY2412" fmla="*/ 184309 h 514350"/>
                <a:gd name="connsiteX2413" fmla="*/ 1559719 w 6400800"/>
                <a:gd name="connsiteY2413" fmla="*/ 198596 h 514350"/>
                <a:gd name="connsiteX2414" fmla="*/ 1560671 w 6400800"/>
                <a:gd name="connsiteY2414" fmla="*/ 213836 h 514350"/>
                <a:gd name="connsiteX2415" fmla="*/ 1559719 w 6400800"/>
                <a:gd name="connsiteY2415" fmla="*/ 216694 h 514350"/>
                <a:gd name="connsiteX2416" fmla="*/ 1555909 w 6400800"/>
                <a:gd name="connsiteY2416" fmla="*/ 208121 h 514350"/>
                <a:gd name="connsiteX2417" fmla="*/ 1549241 w 6400800"/>
                <a:gd name="connsiteY2417" fmla="*/ 194786 h 514350"/>
                <a:gd name="connsiteX2418" fmla="*/ 1537811 w 6400800"/>
                <a:gd name="connsiteY2418" fmla="*/ 173831 h 514350"/>
                <a:gd name="connsiteX2419" fmla="*/ 1526381 w 6400800"/>
                <a:gd name="connsiteY2419" fmla="*/ 156686 h 514350"/>
                <a:gd name="connsiteX2420" fmla="*/ 1534001 w 6400800"/>
                <a:gd name="connsiteY2420" fmla="*/ 175736 h 514350"/>
                <a:gd name="connsiteX2421" fmla="*/ 1542574 w 6400800"/>
                <a:gd name="connsiteY2421" fmla="*/ 197644 h 514350"/>
                <a:gd name="connsiteX2422" fmla="*/ 1546384 w 6400800"/>
                <a:gd name="connsiteY2422" fmla="*/ 209074 h 514350"/>
                <a:gd name="connsiteX2423" fmla="*/ 1545431 w 6400800"/>
                <a:gd name="connsiteY2423" fmla="*/ 208121 h 514350"/>
                <a:gd name="connsiteX2424" fmla="*/ 1546384 w 6400800"/>
                <a:gd name="connsiteY2424" fmla="*/ 210979 h 514350"/>
                <a:gd name="connsiteX2425" fmla="*/ 1551146 w 6400800"/>
                <a:gd name="connsiteY2425" fmla="*/ 226219 h 514350"/>
                <a:gd name="connsiteX2426" fmla="*/ 1552099 w 6400800"/>
                <a:gd name="connsiteY2426" fmla="*/ 230981 h 514350"/>
                <a:gd name="connsiteX2427" fmla="*/ 1553051 w 6400800"/>
                <a:gd name="connsiteY2427" fmla="*/ 235744 h 514350"/>
                <a:gd name="connsiteX2428" fmla="*/ 1554004 w 6400800"/>
                <a:gd name="connsiteY2428" fmla="*/ 241459 h 514350"/>
                <a:gd name="connsiteX2429" fmla="*/ 1554004 w 6400800"/>
                <a:gd name="connsiteY2429" fmla="*/ 244316 h 514350"/>
                <a:gd name="connsiteX2430" fmla="*/ 1553051 w 6400800"/>
                <a:gd name="connsiteY2430" fmla="*/ 250031 h 514350"/>
                <a:gd name="connsiteX2431" fmla="*/ 1547336 w 6400800"/>
                <a:gd name="connsiteY2431" fmla="*/ 263366 h 514350"/>
                <a:gd name="connsiteX2432" fmla="*/ 1542574 w 6400800"/>
                <a:gd name="connsiteY2432" fmla="*/ 251936 h 514350"/>
                <a:gd name="connsiteX2433" fmla="*/ 1542574 w 6400800"/>
                <a:gd name="connsiteY2433" fmla="*/ 243364 h 514350"/>
                <a:gd name="connsiteX2434" fmla="*/ 1542574 w 6400800"/>
                <a:gd name="connsiteY2434" fmla="*/ 222409 h 514350"/>
                <a:gd name="connsiteX2435" fmla="*/ 1538764 w 6400800"/>
                <a:gd name="connsiteY2435" fmla="*/ 243364 h 514350"/>
                <a:gd name="connsiteX2436" fmla="*/ 1538764 w 6400800"/>
                <a:gd name="connsiteY2436" fmla="*/ 243364 h 514350"/>
                <a:gd name="connsiteX2437" fmla="*/ 1531144 w 6400800"/>
                <a:gd name="connsiteY2437" fmla="*/ 226219 h 514350"/>
                <a:gd name="connsiteX2438" fmla="*/ 1537811 w 6400800"/>
                <a:gd name="connsiteY2438" fmla="*/ 250031 h 514350"/>
                <a:gd name="connsiteX2439" fmla="*/ 1536859 w 6400800"/>
                <a:gd name="connsiteY2439" fmla="*/ 258604 h 514350"/>
                <a:gd name="connsiteX2440" fmla="*/ 1531144 w 6400800"/>
                <a:gd name="connsiteY2440" fmla="*/ 239554 h 514350"/>
                <a:gd name="connsiteX2441" fmla="*/ 1525429 w 6400800"/>
                <a:gd name="connsiteY2441" fmla="*/ 220504 h 514350"/>
                <a:gd name="connsiteX2442" fmla="*/ 1521619 w 6400800"/>
                <a:gd name="connsiteY2442" fmla="*/ 211931 h 514350"/>
                <a:gd name="connsiteX2443" fmla="*/ 1515904 w 6400800"/>
                <a:gd name="connsiteY2443" fmla="*/ 150019 h 514350"/>
                <a:gd name="connsiteX2444" fmla="*/ 1513046 w 6400800"/>
                <a:gd name="connsiteY2444" fmla="*/ 192881 h 514350"/>
                <a:gd name="connsiteX2445" fmla="*/ 1506379 w 6400800"/>
                <a:gd name="connsiteY2445" fmla="*/ 177641 h 514350"/>
                <a:gd name="connsiteX2446" fmla="*/ 1495901 w 6400800"/>
                <a:gd name="connsiteY2446" fmla="*/ 154781 h 514350"/>
                <a:gd name="connsiteX2447" fmla="*/ 1502569 w 6400800"/>
                <a:gd name="connsiteY2447" fmla="*/ 178594 h 514350"/>
                <a:gd name="connsiteX2448" fmla="*/ 1505426 w 6400800"/>
                <a:gd name="connsiteY2448" fmla="*/ 190024 h 514350"/>
                <a:gd name="connsiteX2449" fmla="*/ 1504474 w 6400800"/>
                <a:gd name="connsiteY2449" fmla="*/ 189071 h 514350"/>
                <a:gd name="connsiteX2450" fmla="*/ 1510189 w 6400800"/>
                <a:gd name="connsiteY2450" fmla="*/ 210026 h 514350"/>
                <a:gd name="connsiteX2451" fmla="*/ 1511141 w 6400800"/>
                <a:gd name="connsiteY2451" fmla="*/ 213836 h 514350"/>
                <a:gd name="connsiteX2452" fmla="*/ 1510189 w 6400800"/>
                <a:gd name="connsiteY2452" fmla="*/ 233839 h 514350"/>
                <a:gd name="connsiteX2453" fmla="*/ 1509236 w 6400800"/>
                <a:gd name="connsiteY2453" fmla="*/ 258604 h 514350"/>
                <a:gd name="connsiteX2454" fmla="*/ 1498759 w 6400800"/>
                <a:gd name="connsiteY2454" fmla="*/ 230981 h 514350"/>
                <a:gd name="connsiteX2455" fmla="*/ 1508284 w 6400800"/>
                <a:gd name="connsiteY2455" fmla="*/ 275749 h 514350"/>
                <a:gd name="connsiteX2456" fmla="*/ 1507331 w 6400800"/>
                <a:gd name="connsiteY2456" fmla="*/ 288131 h 514350"/>
                <a:gd name="connsiteX2457" fmla="*/ 1504474 w 6400800"/>
                <a:gd name="connsiteY2457" fmla="*/ 292894 h 514350"/>
                <a:gd name="connsiteX2458" fmla="*/ 1500664 w 6400800"/>
                <a:gd name="connsiteY2458" fmla="*/ 298609 h 514350"/>
                <a:gd name="connsiteX2459" fmla="*/ 1493044 w 6400800"/>
                <a:gd name="connsiteY2459" fmla="*/ 266224 h 514350"/>
                <a:gd name="connsiteX2460" fmla="*/ 1497806 w 6400800"/>
                <a:gd name="connsiteY2460" fmla="*/ 246221 h 514350"/>
                <a:gd name="connsiteX2461" fmla="*/ 1491139 w 6400800"/>
                <a:gd name="connsiteY2461" fmla="*/ 260509 h 514350"/>
                <a:gd name="connsiteX2462" fmla="*/ 1491139 w 6400800"/>
                <a:gd name="connsiteY2462" fmla="*/ 259556 h 514350"/>
                <a:gd name="connsiteX2463" fmla="*/ 1490186 w 6400800"/>
                <a:gd name="connsiteY2463" fmla="*/ 244316 h 514350"/>
                <a:gd name="connsiteX2464" fmla="*/ 1489234 w 6400800"/>
                <a:gd name="connsiteY2464" fmla="*/ 238601 h 514350"/>
                <a:gd name="connsiteX2465" fmla="*/ 1489234 w 6400800"/>
                <a:gd name="connsiteY2465" fmla="*/ 237649 h 514350"/>
                <a:gd name="connsiteX2466" fmla="*/ 1489234 w 6400800"/>
                <a:gd name="connsiteY2466" fmla="*/ 238601 h 514350"/>
                <a:gd name="connsiteX2467" fmla="*/ 1486376 w 6400800"/>
                <a:gd name="connsiteY2467" fmla="*/ 219551 h 514350"/>
                <a:gd name="connsiteX2468" fmla="*/ 1482566 w 6400800"/>
                <a:gd name="connsiteY2468" fmla="*/ 198596 h 514350"/>
                <a:gd name="connsiteX2469" fmla="*/ 1482566 w 6400800"/>
                <a:gd name="connsiteY2469" fmla="*/ 220504 h 514350"/>
                <a:gd name="connsiteX2470" fmla="*/ 1482566 w 6400800"/>
                <a:gd name="connsiteY2470" fmla="*/ 228124 h 514350"/>
                <a:gd name="connsiteX2471" fmla="*/ 1473041 w 6400800"/>
                <a:gd name="connsiteY2471" fmla="*/ 193834 h 514350"/>
                <a:gd name="connsiteX2472" fmla="*/ 1479709 w 6400800"/>
                <a:gd name="connsiteY2472" fmla="*/ 259556 h 514350"/>
                <a:gd name="connsiteX2473" fmla="*/ 1478756 w 6400800"/>
                <a:gd name="connsiteY2473" fmla="*/ 262414 h 514350"/>
                <a:gd name="connsiteX2474" fmla="*/ 1476851 w 6400800"/>
                <a:gd name="connsiteY2474" fmla="*/ 266224 h 514350"/>
                <a:gd name="connsiteX2475" fmla="*/ 1475899 w 6400800"/>
                <a:gd name="connsiteY2475" fmla="*/ 257651 h 514350"/>
                <a:gd name="connsiteX2476" fmla="*/ 1471136 w 6400800"/>
                <a:gd name="connsiteY2476" fmla="*/ 221456 h 514350"/>
                <a:gd name="connsiteX2477" fmla="*/ 1466374 w 6400800"/>
                <a:gd name="connsiteY2477" fmla="*/ 193834 h 514350"/>
                <a:gd name="connsiteX2478" fmla="*/ 1460659 w 6400800"/>
                <a:gd name="connsiteY2478" fmla="*/ 170021 h 514350"/>
                <a:gd name="connsiteX2479" fmla="*/ 1462564 w 6400800"/>
                <a:gd name="connsiteY2479" fmla="*/ 193834 h 514350"/>
                <a:gd name="connsiteX2480" fmla="*/ 1464469 w 6400800"/>
                <a:gd name="connsiteY2480" fmla="*/ 221456 h 514350"/>
                <a:gd name="connsiteX2481" fmla="*/ 1465421 w 6400800"/>
                <a:gd name="connsiteY2481" fmla="*/ 257651 h 514350"/>
                <a:gd name="connsiteX2482" fmla="*/ 1465421 w 6400800"/>
                <a:gd name="connsiteY2482" fmla="*/ 275749 h 514350"/>
                <a:gd name="connsiteX2483" fmla="*/ 1455896 w 6400800"/>
                <a:gd name="connsiteY2483" fmla="*/ 246221 h 514350"/>
                <a:gd name="connsiteX2484" fmla="*/ 1447324 w 6400800"/>
                <a:gd name="connsiteY2484" fmla="*/ 218599 h 514350"/>
                <a:gd name="connsiteX2485" fmla="*/ 1439704 w 6400800"/>
                <a:gd name="connsiteY2485" fmla="*/ 194786 h 514350"/>
                <a:gd name="connsiteX2486" fmla="*/ 1442561 w 6400800"/>
                <a:gd name="connsiteY2486" fmla="*/ 215741 h 514350"/>
                <a:gd name="connsiteX2487" fmla="*/ 1435894 w 6400800"/>
                <a:gd name="connsiteY2487" fmla="*/ 185261 h 514350"/>
                <a:gd name="connsiteX2488" fmla="*/ 1435894 w 6400800"/>
                <a:gd name="connsiteY2488" fmla="*/ 159544 h 514350"/>
                <a:gd name="connsiteX2489" fmla="*/ 1433036 w 6400800"/>
                <a:gd name="connsiteY2489" fmla="*/ 173831 h 514350"/>
                <a:gd name="connsiteX2490" fmla="*/ 1430179 w 6400800"/>
                <a:gd name="connsiteY2490" fmla="*/ 160496 h 514350"/>
                <a:gd name="connsiteX2491" fmla="*/ 1430179 w 6400800"/>
                <a:gd name="connsiteY2491" fmla="*/ 166211 h 514350"/>
                <a:gd name="connsiteX2492" fmla="*/ 1425416 w 6400800"/>
                <a:gd name="connsiteY2492" fmla="*/ 147161 h 514350"/>
                <a:gd name="connsiteX2493" fmla="*/ 1418749 w 6400800"/>
                <a:gd name="connsiteY2493" fmla="*/ 127159 h 514350"/>
                <a:gd name="connsiteX2494" fmla="*/ 1421606 w 6400800"/>
                <a:gd name="connsiteY2494" fmla="*/ 148114 h 514350"/>
                <a:gd name="connsiteX2495" fmla="*/ 1423511 w 6400800"/>
                <a:gd name="connsiteY2495" fmla="*/ 171926 h 514350"/>
                <a:gd name="connsiteX2496" fmla="*/ 1425416 w 6400800"/>
                <a:gd name="connsiteY2496" fmla="*/ 202406 h 514350"/>
                <a:gd name="connsiteX2497" fmla="*/ 1426369 w 6400800"/>
                <a:gd name="connsiteY2497" fmla="*/ 218599 h 514350"/>
                <a:gd name="connsiteX2498" fmla="*/ 1424464 w 6400800"/>
                <a:gd name="connsiteY2498" fmla="*/ 235744 h 514350"/>
                <a:gd name="connsiteX2499" fmla="*/ 1421606 w 6400800"/>
                <a:gd name="connsiteY2499" fmla="*/ 226219 h 514350"/>
                <a:gd name="connsiteX2500" fmla="*/ 1415891 w 6400800"/>
                <a:gd name="connsiteY2500" fmla="*/ 210026 h 514350"/>
                <a:gd name="connsiteX2501" fmla="*/ 1410176 w 6400800"/>
                <a:gd name="connsiteY2501" fmla="*/ 195739 h 514350"/>
                <a:gd name="connsiteX2502" fmla="*/ 1412081 w 6400800"/>
                <a:gd name="connsiteY2502" fmla="*/ 210979 h 514350"/>
                <a:gd name="connsiteX2503" fmla="*/ 1414939 w 6400800"/>
                <a:gd name="connsiteY2503" fmla="*/ 228124 h 514350"/>
                <a:gd name="connsiteX2504" fmla="*/ 1416844 w 6400800"/>
                <a:gd name="connsiteY2504" fmla="*/ 250031 h 514350"/>
                <a:gd name="connsiteX2505" fmla="*/ 1418749 w 6400800"/>
                <a:gd name="connsiteY2505" fmla="*/ 268129 h 514350"/>
                <a:gd name="connsiteX2506" fmla="*/ 1413034 w 6400800"/>
                <a:gd name="connsiteY2506" fmla="*/ 277654 h 514350"/>
                <a:gd name="connsiteX2507" fmla="*/ 1411129 w 6400800"/>
                <a:gd name="connsiteY2507" fmla="*/ 271939 h 514350"/>
                <a:gd name="connsiteX2508" fmla="*/ 1401604 w 6400800"/>
                <a:gd name="connsiteY2508" fmla="*/ 215741 h 514350"/>
                <a:gd name="connsiteX2509" fmla="*/ 1400651 w 6400800"/>
                <a:gd name="connsiteY2509" fmla="*/ 243364 h 514350"/>
                <a:gd name="connsiteX2510" fmla="*/ 1392079 w 6400800"/>
                <a:gd name="connsiteY2510" fmla="*/ 219551 h 514350"/>
                <a:gd name="connsiteX2511" fmla="*/ 1393031 w 6400800"/>
                <a:gd name="connsiteY2511" fmla="*/ 213836 h 514350"/>
                <a:gd name="connsiteX2512" fmla="*/ 1395889 w 6400800"/>
                <a:gd name="connsiteY2512" fmla="*/ 210979 h 514350"/>
                <a:gd name="connsiteX2513" fmla="*/ 1400651 w 6400800"/>
                <a:gd name="connsiteY2513" fmla="*/ 205264 h 514350"/>
                <a:gd name="connsiteX2514" fmla="*/ 1394936 w 6400800"/>
                <a:gd name="connsiteY2514" fmla="*/ 210026 h 514350"/>
                <a:gd name="connsiteX2515" fmla="*/ 1393031 w 6400800"/>
                <a:gd name="connsiteY2515" fmla="*/ 210979 h 514350"/>
                <a:gd name="connsiteX2516" fmla="*/ 1394936 w 6400800"/>
                <a:gd name="connsiteY2516" fmla="*/ 202406 h 514350"/>
                <a:gd name="connsiteX2517" fmla="*/ 1391126 w 6400800"/>
                <a:gd name="connsiteY2517" fmla="*/ 212884 h 514350"/>
                <a:gd name="connsiteX2518" fmla="*/ 1390174 w 6400800"/>
                <a:gd name="connsiteY2518" fmla="*/ 213836 h 514350"/>
                <a:gd name="connsiteX2519" fmla="*/ 1384459 w 6400800"/>
                <a:gd name="connsiteY2519" fmla="*/ 199549 h 514350"/>
                <a:gd name="connsiteX2520" fmla="*/ 1387316 w 6400800"/>
                <a:gd name="connsiteY2520" fmla="*/ 215741 h 514350"/>
                <a:gd name="connsiteX2521" fmla="*/ 1378744 w 6400800"/>
                <a:gd name="connsiteY2521" fmla="*/ 224314 h 514350"/>
                <a:gd name="connsiteX2522" fmla="*/ 1367314 w 6400800"/>
                <a:gd name="connsiteY2522" fmla="*/ 240506 h 514350"/>
                <a:gd name="connsiteX2523" fmla="*/ 1354931 w 6400800"/>
                <a:gd name="connsiteY2523" fmla="*/ 209074 h 514350"/>
                <a:gd name="connsiteX2524" fmla="*/ 1354931 w 6400800"/>
                <a:gd name="connsiteY2524" fmla="*/ 185261 h 514350"/>
                <a:gd name="connsiteX2525" fmla="*/ 1354931 w 6400800"/>
                <a:gd name="connsiteY2525" fmla="*/ 157639 h 514350"/>
                <a:gd name="connsiteX2526" fmla="*/ 1351121 w 6400800"/>
                <a:gd name="connsiteY2526" fmla="*/ 185261 h 514350"/>
                <a:gd name="connsiteX2527" fmla="*/ 1349216 w 6400800"/>
                <a:gd name="connsiteY2527" fmla="*/ 197644 h 514350"/>
                <a:gd name="connsiteX2528" fmla="*/ 1343501 w 6400800"/>
                <a:gd name="connsiteY2528" fmla="*/ 186214 h 514350"/>
                <a:gd name="connsiteX2529" fmla="*/ 1344454 w 6400800"/>
                <a:gd name="connsiteY2529" fmla="*/ 171926 h 514350"/>
                <a:gd name="connsiteX2530" fmla="*/ 1344454 w 6400800"/>
                <a:gd name="connsiteY2530" fmla="*/ 157639 h 514350"/>
                <a:gd name="connsiteX2531" fmla="*/ 1345406 w 6400800"/>
                <a:gd name="connsiteY2531" fmla="*/ 142399 h 514350"/>
                <a:gd name="connsiteX2532" fmla="*/ 1346359 w 6400800"/>
                <a:gd name="connsiteY2532" fmla="*/ 120491 h 514350"/>
                <a:gd name="connsiteX2533" fmla="*/ 1341596 w 6400800"/>
                <a:gd name="connsiteY2533" fmla="*/ 141446 h 514350"/>
                <a:gd name="connsiteX2534" fmla="*/ 1336834 w 6400800"/>
                <a:gd name="connsiteY2534" fmla="*/ 166211 h 514350"/>
                <a:gd name="connsiteX2535" fmla="*/ 1335881 w 6400800"/>
                <a:gd name="connsiteY2535" fmla="*/ 169069 h 514350"/>
                <a:gd name="connsiteX2536" fmla="*/ 1327309 w 6400800"/>
                <a:gd name="connsiteY2536" fmla="*/ 150971 h 514350"/>
                <a:gd name="connsiteX2537" fmla="*/ 1280636 w 6400800"/>
                <a:gd name="connsiteY2537" fmla="*/ 53816 h 514350"/>
                <a:gd name="connsiteX2538" fmla="*/ 1317784 w 6400800"/>
                <a:gd name="connsiteY2538" fmla="*/ 155734 h 514350"/>
                <a:gd name="connsiteX2539" fmla="*/ 1332071 w 6400800"/>
                <a:gd name="connsiteY2539" fmla="*/ 193834 h 514350"/>
                <a:gd name="connsiteX2540" fmla="*/ 1331119 w 6400800"/>
                <a:gd name="connsiteY2540" fmla="*/ 197644 h 514350"/>
                <a:gd name="connsiteX2541" fmla="*/ 1326356 w 6400800"/>
                <a:gd name="connsiteY2541" fmla="*/ 235744 h 514350"/>
                <a:gd name="connsiteX2542" fmla="*/ 1321594 w 6400800"/>
                <a:gd name="connsiteY2542" fmla="*/ 277654 h 514350"/>
                <a:gd name="connsiteX2543" fmla="*/ 1319689 w 6400800"/>
                <a:gd name="connsiteY2543" fmla="*/ 293846 h 514350"/>
                <a:gd name="connsiteX2544" fmla="*/ 1317784 w 6400800"/>
                <a:gd name="connsiteY2544" fmla="*/ 290989 h 514350"/>
                <a:gd name="connsiteX2545" fmla="*/ 1317784 w 6400800"/>
                <a:gd name="connsiteY2545" fmla="*/ 289084 h 514350"/>
                <a:gd name="connsiteX2546" fmla="*/ 1316831 w 6400800"/>
                <a:gd name="connsiteY2546" fmla="*/ 290989 h 514350"/>
                <a:gd name="connsiteX2547" fmla="*/ 1315879 w 6400800"/>
                <a:gd name="connsiteY2547" fmla="*/ 288131 h 514350"/>
                <a:gd name="connsiteX2548" fmla="*/ 1313974 w 6400800"/>
                <a:gd name="connsiteY2548" fmla="*/ 285274 h 514350"/>
                <a:gd name="connsiteX2549" fmla="*/ 1316831 w 6400800"/>
                <a:gd name="connsiteY2549" fmla="*/ 244316 h 514350"/>
                <a:gd name="connsiteX2550" fmla="*/ 1309211 w 6400800"/>
                <a:gd name="connsiteY2550" fmla="*/ 277654 h 514350"/>
                <a:gd name="connsiteX2551" fmla="*/ 1298734 w 6400800"/>
                <a:gd name="connsiteY2551" fmla="*/ 260509 h 514350"/>
                <a:gd name="connsiteX2552" fmla="*/ 1313974 w 6400800"/>
                <a:gd name="connsiteY2552" fmla="*/ 199549 h 514350"/>
                <a:gd name="connsiteX2553" fmla="*/ 1319689 w 6400800"/>
                <a:gd name="connsiteY2553" fmla="*/ 172879 h 514350"/>
                <a:gd name="connsiteX2554" fmla="*/ 1291114 w 6400800"/>
                <a:gd name="connsiteY2554" fmla="*/ 249079 h 514350"/>
                <a:gd name="connsiteX2555" fmla="*/ 1281589 w 6400800"/>
                <a:gd name="connsiteY2555" fmla="*/ 234791 h 514350"/>
                <a:gd name="connsiteX2556" fmla="*/ 1267301 w 6400800"/>
                <a:gd name="connsiteY2556" fmla="*/ 215741 h 514350"/>
                <a:gd name="connsiteX2557" fmla="*/ 1275874 w 6400800"/>
                <a:gd name="connsiteY2557" fmla="*/ 232886 h 514350"/>
                <a:gd name="connsiteX2558" fmla="*/ 1272064 w 6400800"/>
                <a:gd name="connsiteY2558" fmla="*/ 243364 h 514350"/>
                <a:gd name="connsiteX2559" fmla="*/ 1261586 w 6400800"/>
                <a:gd name="connsiteY2559" fmla="*/ 227171 h 514350"/>
                <a:gd name="connsiteX2560" fmla="*/ 1249204 w 6400800"/>
                <a:gd name="connsiteY2560" fmla="*/ 210979 h 514350"/>
                <a:gd name="connsiteX2561" fmla="*/ 1247299 w 6400800"/>
                <a:gd name="connsiteY2561" fmla="*/ 208121 h 514350"/>
                <a:gd name="connsiteX2562" fmla="*/ 1251109 w 6400800"/>
                <a:gd name="connsiteY2562" fmla="*/ 199549 h 514350"/>
                <a:gd name="connsiteX2563" fmla="*/ 1246346 w 6400800"/>
                <a:gd name="connsiteY2563" fmla="*/ 206216 h 514350"/>
                <a:gd name="connsiteX2564" fmla="*/ 1229201 w 6400800"/>
                <a:gd name="connsiteY2564" fmla="*/ 184309 h 514350"/>
                <a:gd name="connsiteX2565" fmla="*/ 1211104 w 6400800"/>
                <a:gd name="connsiteY2565" fmla="*/ 162401 h 514350"/>
                <a:gd name="connsiteX2566" fmla="*/ 1226344 w 6400800"/>
                <a:gd name="connsiteY2566" fmla="*/ 186214 h 514350"/>
                <a:gd name="connsiteX2567" fmla="*/ 1242536 w 6400800"/>
                <a:gd name="connsiteY2567" fmla="*/ 211931 h 514350"/>
                <a:gd name="connsiteX2568" fmla="*/ 1236821 w 6400800"/>
                <a:gd name="connsiteY2568" fmla="*/ 220504 h 514350"/>
                <a:gd name="connsiteX2569" fmla="*/ 1233011 w 6400800"/>
                <a:gd name="connsiteY2569" fmla="*/ 226219 h 514350"/>
                <a:gd name="connsiteX2570" fmla="*/ 1231106 w 6400800"/>
                <a:gd name="connsiteY2570" fmla="*/ 212884 h 514350"/>
                <a:gd name="connsiteX2571" fmla="*/ 1228249 w 6400800"/>
                <a:gd name="connsiteY2571" fmla="*/ 209074 h 514350"/>
                <a:gd name="connsiteX2572" fmla="*/ 1226344 w 6400800"/>
                <a:gd name="connsiteY2572" fmla="*/ 209074 h 514350"/>
                <a:gd name="connsiteX2573" fmla="*/ 1223486 w 6400800"/>
                <a:gd name="connsiteY2573" fmla="*/ 199549 h 514350"/>
                <a:gd name="connsiteX2574" fmla="*/ 1215866 w 6400800"/>
                <a:gd name="connsiteY2574" fmla="*/ 179546 h 514350"/>
                <a:gd name="connsiteX2575" fmla="*/ 1219676 w 6400800"/>
                <a:gd name="connsiteY2575" fmla="*/ 200501 h 514350"/>
                <a:gd name="connsiteX2576" fmla="*/ 1221581 w 6400800"/>
                <a:gd name="connsiteY2576" fmla="*/ 211931 h 514350"/>
                <a:gd name="connsiteX2577" fmla="*/ 1220629 w 6400800"/>
                <a:gd name="connsiteY2577" fmla="*/ 213836 h 514350"/>
                <a:gd name="connsiteX2578" fmla="*/ 1207294 w 6400800"/>
                <a:gd name="connsiteY2578" fmla="*/ 200501 h 514350"/>
                <a:gd name="connsiteX2579" fmla="*/ 1201579 w 6400800"/>
                <a:gd name="connsiteY2579" fmla="*/ 195739 h 514350"/>
                <a:gd name="connsiteX2580" fmla="*/ 1206341 w 6400800"/>
                <a:gd name="connsiteY2580" fmla="*/ 201454 h 514350"/>
                <a:gd name="connsiteX2581" fmla="*/ 1217771 w 6400800"/>
                <a:gd name="connsiteY2581" fmla="*/ 217646 h 514350"/>
                <a:gd name="connsiteX2582" fmla="*/ 1217771 w 6400800"/>
                <a:gd name="connsiteY2582" fmla="*/ 217646 h 514350"/>
                <a:gd name="connsiteX2583" fmla="*/ 1216819 w 6400800"/>
                <a:gd name="connsiteY2583" fmla="*/ 231934 h 514350"/>
                <a:gd name="connsiteX2584" fmla="*/ 1202531 w 6400800"/>
                <a:gd name="connsiteY2584" fmla="*/ 219551 h 514350"/>
                <a:gd name="connsiteX2585" fmla="*/ 1215866 w 6400800"/>
                <a:gd name="connsiteY2585" fmla="*/ 236696 h 514350"/>
                <a:gd name="connsiteX2586" fmla="*/ 1214914 w 6400800"/>
                <a:gd name="connsiteY2586" fmla="*/ 249079 h 514350"/>
                <a:gd name="connsiteX2587" fmla="*/ 1214914 w 6400800"/>
                <a:gd name="connsiteY2587" fmla="*/ 255746 h 514350"/>
                <a:gd name="connsiteX2588" fmla="*/ 1213961 w 6400800"/>
                <a:gd name="connsiteY2588" fmla="*/ 250984 h 514350"/>
                <a:gd name="connsiteX2589" fmla="*/ 1213961 w 6400800"/>
                <a:gd name="connsiteY2589" fmla="*/ 250031 h 514350"/>
                <a:gd name="connsiteX2590" fmla="*/ 1214914 w 6400800"/>
                <a:gd name="connsiteY2590" fmla="*/ 249079 h 514350"/>
                <a:gd name="connsiteX2591" fmla="*/ 1213961 w 6400800"/>
                <a:gd name="connsiteY2591" fmla="*/ 250031 h 514350"/>
                <a:gd name="connsiteX2592" fmla="*/ 1207294 w 6400800"/>
                <a:gd name="connsiteY2592" fmla="*/ 229076 h 514350"/>
                <a:gd name="connsiteX2593" fmla="*/ 1200626 w 6400800"/>
                <a:gd name="connsiteY2593" fmla="*/ 212884 h 514350"/>
                <a:gd name="connsiteX2594" fmla="*/ 1193959 w 6400800"/>
                <a:gd name="connsiteY2594" fmla="*/ 198596 h 514350"/>
                <a:gd name="connsiteX2595" fmla="*/ 1196816 w 6400800"/>
                <a:gd name="connsiteY2595" fmla="*/ 213836 h 514350"/>
                <a:gd name="connsiteX2596" fmla="*/ 1200626 w 6400800"/>
                <a:gd name="connsiteY2596" fmla="*/ 230981 h 514350"/>
                <a:gd name="connsiteX2597" fmla="*/ 1204436 w 6400800"/>
                <a:gd name="connsiteY2597" fmla="*/ 252889 h 514350"/>
                <a:gd name="connsiteX2598" fmla="*/ 1205389 w 6400800"/>
                <a:gd name="connsiteY2598" fmla="*/ 258604 h 514350"/>
                <a:gd name="connsiteX2599" fmla="*/ 1196816 w 6400800"/>
                <a:gd name="connsiteY2599" fmla="*/ 239554 h 514350"/>
                <a:gd name="connsiteX2600" fmla="*/ 1189196 w 6400800"/>
                <a:gd name="connsiteY2600" fmla="*/ 224314 h 514350"/>
                <a:gd name="connsiteX2601" fmla="*/ 1181576 w 6400800"/>
                <a:gd name="connsiteY2601" fmla="*/ 211931 h 514350"/>
                <a:gd name="connsiteX2602" fmla="*/ 1185386 w 6400800"/>
                <a:gd name="connsiteY2602" fmla="*/ 225266 h 514350"/>
                <a:gd name="connsiteX2603" fmla="*/ 1190149 w 6400800"/>
                <a:gd name="connsiteY2603" fmla="*/ 241459 h 514350"/>
                <a:gd name="connsiteX2604" fmla="*/ 1194911 w 6400800"/>
                <a:gd name="connsiteY2604" fmla="*/ 262414 h 514350"/>
                <a:gd name="connsiteX2605" fmla="*/ 1197769 w 6400800"/>
                <a:gd name="connsiteY2605" fmla="*/ 276701 h 514350"/>
                <a:gd name="connsiteX2606" fmla="*/ 1193959 w 6400800"/>
                <a:gd name="connsiteY2606" fmla="*/ 284321 h 514350"/>
                <a:gd name="connsiteX2607" fmla="*/ 1193959 w 6400800"/>
                <a:gd name="connsiteY2607" fmla="*/ 283369 h 514350"/>
                <a:gd name="connsiteX2608" fmla="*/ 1193006 w 6400800"/>
                <a:gd name="connsiteY2608" fmla="*/ 279559 h 514350"/>
                <a:gd name="connsiteX2609" fmla="*/ 1193959 w 6400800"/>
                <a:gd name="connsiteY2609" fmla="*/ 276701 h 514350"/>
                <a:gd name="connsiteX2610" fmla="*/ 1193006 w 6400800"/>
                <a:gd name="connsiteY2610" fmla="*/ 278606 h 514350"/>
                <a:gd name="connsiteX2611" fmla="*/ 1184434 w 6400800"/>
                <a:gd name="connsiteY2611" fmla="*/ 250984 h 514350"/>
                <a:gd name="connsiteX2612" fmla="*/ 1174909 w 6400800"/>
                <a:gd name="connsiteY2612" fmla="*/ 227171 h 514350"/>
                <a:gd name="connsiteX2613" fmla="*/ 1174909 w 6400800"/>
                <a:gd name="connsiteY2613" fmla="*/ 223361 h 514350"/>
                <a:gd name="connsiteX2614" fmla="*/ 1175861 w 6400800"/>
                <a:gd name="connsiteY2614" fmla="*/ 196691 h 514350"/>
                <a:gd name="connsiteX2615" fmla="*/ 1174909 w 6400800"/>
                <a:gd name="connsiteY2615" fmla="*/ 173831 h 514350"/>
                <a:gd name="connsiteX2616" fmla="*/ 1172051 w 6400800"/>
                <a:gd name="connsiteY2616" fmla="*/ 196691 h 514350"/>
                <a:gd name="connsiteX2617" fmla="*/ 1168241 w 6400800"/>
                <a:gd name="connsiteY2617" fmla="*/ 223361 h 514350"/>
                <a:gd name="connsiteX2618" fmla="*/ 1168241 w 6400800"/>
                <a:gd name="connsiteY2618" fmla="*/ 226219 h 514350"/>
                <a:gd name="connsiteX2619" fmla="*/ 1162526 w 6400800"/>
                <a:gd name="connsiteY2619" fmla="*/ 238601 h 514350"/>
                <a:gd name="connsiteX2620" fmla="*/ 1158716 w 6400800"/>
                <a:gd name="connsiteY2620" fmla="*/ 215741 h 514350"/>
                <a:gd name="connsiteX2621" fmla="*/ 1152049 w 6400800"/>
                <a:gd name="connsiteY2621" fmla="*/ 189071 h 514350"/>
                <a:gd name="connsiteX2622" fmla="*/ 1136809 w 6400800"/>
                <a:gd name="connsiteY2622" fmla="*/ 133826 h 514350"/>
                <a:gd name="connsiteX2623" fmla="*/ 1140619 w 6400800"/>
                <a:gd name="connsiteY2623" fmla="*/ 190024 h 514350"/>
                <a:gd name="connsiteX2624" fmla="*/ 1143476 w 6400800"/>
                <a:gd name="connsiteY2624" fmla="*/ 217646 h 514350"/>
                <a:gd name="connsiteX2625" fmla="*/ 1146334 w 6400800"/>
                <a:gd name="connsiteY2625" fmla="*/ 248126 h 514350"/>
                <a:gd name="connsiteX2626" fmla="*/ 1147286 w 6400800"/>
                <a:gd name="connsiteY2626" fmla="*/ 261461 h 514350"/>
                <a:gd name="connsiteX2627" fmla="*/ 1147286 w 6400800"/>
                <a:gd name="connsiteY2627" fmla="*/ 261461 h 514350"/>
                <a:gd name="connsiteX2628" fmla="*/ 1147286 w 6400800"/>
                <a:gd name="connsiteY2628" fmla="*/ 258604 h 514350"/>
                <a:gd name="connsiteX2629" fmla="*/ 1147286 w 6400800"/>
                <a:gd name="connsiteY2629" fmla="*/ 260509 h 514350"/>
                <a:gd name="connsiteX2630" fmla="*/ 1143476 w 6400800"/>
                <a:gd name="connsiteY2630" fmla="*/ 251936 h 514350"/>
                <a:gd name="connsiteX2631" fmla="*/ 1141571 w 6400800"/>
                <a:gd name="connsiteY2631" fmla="*/ 249079 h 514350"/>
                <a:gd name="connsiteX2632" fmla="*/ 1141571 w 6400800"/>
                <a:gd name="connsiteY2632" fmla="*/ 237649 h 514350"/>
                <a:gd name="connsiteX2633" fmla="*/ 1139666 w 6400800"/>
                <a:gd name="connsiteY2633" fmla="*/ 246221 h 514350"/>
                <a:gd name="connsiteX2634" fmla="*/ 1132046 w 6400800"/>
                <a:gd name="connsiteY2634" fmla="*/ 231934 h 514350"/>
                <a:gd name="connsiteX2635" fmla="*/ 1132046 w 6400800"/>
                <a:gd name="connsiteY2635" fmla="*/ 230981 h 514350"/>
                <a:gd name="connsiteX2636" fmla="*/ 1120616 w 6400800"/>
                <a:gd name="connsiteY2636" fmla="*/ 177641 h 514350"/>
                <a:gd name="connsiteX2637" fmla="*/ 1110139 w 6400800"/>
                <a:gd name="connsiteY2637" fmla="*/ 132874 h 514350"/>
                <a:gd name="connsiteX2638" fmla="*/ 1100614 w 6400800"/>
                <a:gd name="connsiteY2638" fmla="*/ 98584 h 514350"/>
                <a:gd name="connsiteX2639" fmla="*/ 1092041 w 6400800"/>
                <a:gd name="connsiteY2639" fmla="*/ 69056 h 514350"/>
                <a:gd name="connsiteX2640" fmla="*/ 1096804 w 6400800"/>
                <a:gd name="connsiteY2640" fmla="*/ 99536 h 514350"/>
                <a:gd name="connsiteX2641" fmla="*/ 1103471 w 6400800"/>
                <a:gd name="connsiteY2641" fmla="*/ 134779 h 514350"/>
                <a:gd name="connsiteX2642" fmla="*/ 1110139 w 6400800"/>
                <a:gd name="connsiteY2642" fmla="*/ 180499 h 514350"/>
                <a:gd name="connsiteX2643" fmla="*/ 1112996 w 6400800"/>
                <a:gd name="connsiteY2643" fmla="*/ 199549 h 514350"/>
                <a:gd name="connsiteX2644" fmla="*/ 1110139 w 6400800"/>
                <a:gd name="connsiteY2644" fmla="*/ 194786 h 514350"/>
                <a:gd name="connsiteX2645" fmla="*/ 1106329 w 6400800"/>
                <a:gd name="connsiteY2645" fmla="*/ 190024 h 514350"/>
                <a:gd name="connsiteX2646" fmla="*/ 1105376 w 6400800"/>
                <a:gd name="connsiteY2646" fmla="*/ 188119 h 514350"/>
                <a:gd name="connsiteX2647" fmla="*/ 1095851 w 6400800"/>
                <a:gd name="connsiteY2647" fmla="*/ 160496 h 514350"/>
                <a:gd name="connsiteX2648" fmla="*/ 1087279 w 6400800"/>
                <a:gd name="connsiteY2648" fmla="*/ 136684 h 514350"/>
                <a:gd name="connsiteX2649" fmla="*/ 1092041 w 6400800"/>
                <a:gd name="connsiteY2649" fmla="*/ 161449 h 514350"/>
                <a:gd name="connsiteX2650" fmla="*/ 1098709 w 6400800"/>
                <a:gd name="connsiteY2650" fmla="*/ 190024 h 514350"/>
                <a:gd name="connsiteX2651" fmla="*/ 1103471 w 6400800"/>
                <a:gd name="connsiteY2651" fmla="*/ 215741 h 514350"/>
                <a:gd name="connsiteX2652" fmla="*/ 1097756 w 6400800"/>
                <a:gd name="connsiteY2652" fmla="*/ 200501 h 514350"/>
                <a:gd name="connsiteX2653" fmla="*/ 1102519 w 6400800"/>
                <a:gd name="connsiteY2653" fmla="*/ 224314 h 514350"/>
                <a:gd name="connsiteX2654" fmla="*/ 1094899 w 6400800"/>
                <a:gd name="connsiteY2654" fmla="*/ 233839 h 514350"/>
                <a:gd name="connsiteX2655" fmla="*/ 1089184 w 6400800"/>
                <a:gd name="connsiteY2655" fmla="*/ 209074 h 514350"/>
                <a:gd name="connsiteX2656" fmla="*/ 1084421 w 6400800"/>
                <a:gd name="connsiteY2656" fmla="*/ 166211 h 514350"/>
                <a:gd name="connsiteX2657" fmla="*/ 1083469 w 6400800"/>
                <a:gd name="connsiteY2657" fmla="*/ 184309 h 514350"/>
                <a:gd name="connsiteX2658" fmla="*/ 1073944 w 6400800"/>
                <a:gd name="connsiteY2658" fmla="*/ 149066 h 514350"/>
                <a:gd name="connsiteX2659" fmla="*/ 1066324 w 6400800"/>
                <a:gd name="connsiteY2659" fmla="*/ 123349 h 514350"/>
                <a:gd name="connsiteX2660" fmla="*/ 1075849 w 6400800"/>
                <a:gd name="connsiteY2660" fmla="*/ 94774 h 514350"/>
                <a:gd name="connsiteX2661" fmla="*/ 1064419 w 6400800"/>
                <a:gd name="connsiteY2661" fmla="*/ 119539 h 514350"/>
                <a:gd name="connsiteX2662" fmla="*/ 1057751 w 6400800"/>
                <a:gd name="connsiteY2662" fmla="*/ 100489 h 514350"/>
                <a:gd name="connsiteX2663" fmla="*/ 1050131 w 6400800"/>
                <a:gd name="connsiteY2663" fmla="*/ 78581 h 514350"/>
                <a:gd name="connsiteX2664" fmla="*/ 1042511 w 6400800"/>
                <a:gd name="connsiteY2664" fmla="*/ 59531 h 514350"/>
                <a:gd name="connsiteX2665" fmla="*/ 1029176 w 6400800"/>
                <a:gd name="connsiteY2665" fmla="*/ 28099 h 514350"/>
                <a:gd name="connsiteX2666" fmla="*/ 1012984 w 6400800"/>
                <a:gd name="connsiteY2666" fmla="*/ 7144 h 514350"/>
                <a:gd name="connsiteX2667" fmla="*/ 1022509 w 6400800"/>
                <a:gd name="connsiteY2667" fmla="*/ 34766 h 514350"/>
                <a:gd name="connsiteX2668" fmla="*/ 1032986 w 6400800"/>
                <a:gd name="connsiteY2668" fmla="*/ 67151 h 514350"/>
                <a:gd name="connsiteX2669" fmla="*/ 1038701 w 6400800"/>
                <a:gd name="connsiteY2669" fmla="*/ 87154 h 514350"/>
                <a:gd name="connsiteX2670" fmla="*/ 1044416 w 6400800"/>
                <a:gd name="connsiteY2670" fmla="*/ 109061 h 514350"/>
                <a:gd name="connsiteX2671" fmla="*/ 1044416 w 6400800"/>
                <a:gd name="connsiteY2671" fmla="*/ 110014 h 514350"/>
                <a:gd name="connsiteX2672" fmla="*/ 1037749 w 6400800"/>
                <a:gd name="connsiteY2672" fmla="*/ 96679 h 514350"/>
                <a:gd name="connsiteX2673" fmla="*/ 1044416 w 6400800"/>
                <a:gd name="connsiteY2673" fmla="*/ 117634 h 514350"/>
                <a:gd name="connsiteX2674" fmla="*/ 1051084 w 6400800"/>
                <a:gd name="connsiteY2674" fmla="*/ 141446 h 514350"/>
                <a:gd name="connsiteX2675" fmla="*/ 1052036 w 6400800"/>
                <a:gd name="connsiteY2675" fmla="*/ 146209 h 514350"/>
                <a:gd name="connsiteX2676" fmla="*/ 1037749 w 6400800"/>
                <a:gd name="connsiteY2676" fmla="*/ 172879 h 514350"/>
                <a:gd name="connsiteX2677" fmla="*/ 1024414 w 6400800"/>
                <a:gd name="connsiteY2677" fmla="*/ 195739 h 514350"/>
                <a:gd name="connsiteX2678" fmla="*/ 1023461 w 6400800"/>
                <a:gd name="connsiteY2678" fmla="*/ 192881 h 514350"/>
                <a:gd name="connsiteX2679" fmla="*/ 1023461 w 6400800"/>
                <a:gd name="connsiteY2679" fmla="*/ 184309 h 514350"/>
                <a:gd name="connsiteX2680" fmla="*/ 1024414 w 6400800"/>
                <a:gd name="connsiteY2680" fmla="*/ 142399 h 514350"/>
                <a:gd name="connsiteX2681" fmla="*/ 1023461 w 6400800"/>
                <a:gd name="connsiteY2681" fmla="*/ 110014 h 514350"/>
                <a:gd name="connsiteX2682" fmla="*/ 1021556 w 6400800"/>
                <a:gd name="connsiteY2682" fmla="*/ 89059 h 514350"/>
                <a:gd name="connsiteX2683" fmla="*/ 1020604 w 6400800"/>
                <a:gd name="connsiteY2683" fmla="*/ 81439 h 514350"/>
                <a:gd name="connsiteX2684" fmla="*/ 1020604 w 6400800"/>
                <a:gd name="connsiteY2684" fmla="*/ 89059 h 514350"/>
                <a:gd name="connsiteX2685" fmla="*/ 1019651 w 6400800"/>
                <a:gd name="connsiteY2685" fmla="*/ 110014 h 514350"/>
                <a:gd name="connsiteX2686" fmla="*/ 1014889 w 6400800"/>
                <a:gd name="connsiteY2686" fmla="*/ 165259 h 514350"/>
                <a:gd name="connsiteX2687" fmla="*/ 1013936 w 6400800"/>
                <a:gd name="connsiteY2687" fmla="*/ 161449 h 514350"/>
                <a:gd name="connsiteX2688" fmla="*/ 1014889 w 6400800"/>
                <a:gd name="connsiteY2688" fmla="*/ 168116 h 514350"/>
                <a:gd name="connsiteX2689" fmla="*/ 1012984 w 6400800"/>
                <a:gd name="connsiteY2689" fmla="*/ 183356 h 514350"/>
                <a:gd name="connsiteX2690" fmla="*/ 1007269 w 6400800"/>
                <a:gd name="connsiteY2690" fmla="*/ 224314 h 514350"/>
                <a:gd name="connsiteX2691" fmla="*/ 972026 w 6400800"/>
                <a:gd name="connsiteY2691" fmla="*/ 283369 h 514350"/>
                <a:gd name="connsiteX2692" fmla="*/ 971074 w 6400800"/>
                <a:gd name="connsiteY2692" fmla="*/ 269081 h 514350"/>
                <a:gd name="connsiteX2693" fmla="*/ 977741 w 6400800"/>
                <a:gd name="connsiteY2693" fmla="*/ 251936 h 514350"/>
                <a:gd name="connsiteX2694" fmla="*/ 992981 w 6400800"/>
                <a:gd name="connsiteY2694" fmla="*/ 206216 h 514350"/>
                <a:gd name="connsiteX2695" fmla="*/ 1002506 w 6400800"/>
                <a:gd name="connsiteY2695" fmla="*/ 170974 h 514350"/>
                <a:gd name="connsiteX2696" fmla="*/ 1009174 w 6400800"/>
                <a:gd name="connsiteY2696" fmla="*/ 139541 h 514350"/>
                <a:gd name="connsiteX2697" fmla="*/ 998696 w 6400800"/>
                <a:gd name="connsiteY2697" fmla="*/ 170021 h 514350"/>
                <a:gd name="connsiteX2698" fmla="*/ 985361 w 6400800"/>
                <a:gd name="connsiteY2698" fmla="*/ 204311 h 514350"/>
                <a:gd name="connsiteX2699" fmla="*/ 966311 w 6400800"/>
                <a:gd name="connsiteY2699" fmla="*/ 248126 h 514350"/>
                <a:gd name="connsiteX2700" fmla="*/ 960596 w 6400800"/>
                <a:gd name="connsiteY2700" fmla="*/ 260509 h 514350"/>
                <a:gd name="connsiteX2701" fmla="*/ 961549 w 6400800"/>
                <a:gd name="connsiteY2701" fmla="*/ 225266 h 514350"/>
                <a:gd name="connsiteX2702" fmla="*/ 969169 w 6400800"/>
                <a:gd name="connsiteY2702" fmla="*/ 206216 h 514350"/>
                <a:gd name="connsiteX2703" fmla="*/ 961549 w 6400800"/>
                <a:gd name="connsiteY2703" fmla="*/ 218599 h 514350"/>
                <a:gd name="connsiteX2704" fmla="*/ 961549 w 6400800"/>
                <a:gd name="connsiteY2704" fmla="*/ 206216 h 514350"/>
                <a:gd name="connsiteX2705" fmla="*/ 958691 w 6400800"/>
                <a:gd name="connsiteY2705" fmla="*/ 149066 h 514350"/>
                <a:gd name="connsiteX2706" fmla="*/ 956786 w 6400800"/>
                <a:gd name="connsiteY2706" fmla="*/ 134779 h 514350"/>
                <a:gd name="connsiteX2707" fmla="*/ 957739 w 6400800"/>
                <a:gd name="connsiteY2707" fmla="*/ 131921 h 514350"/>
                <a:gd name="connsiteX2708" fmla="*/ 956786 w 6400800"/>
                <a:gd name="connsiteY2708" fmla="*/ 133826 h 514350"/>
                <a:gd name="connsiteX2709" fmla="*/ 956786 w 6400800"/>
                <a:gd name="connsiteY2709" fmla="*/ 132874 h 514350"/>
                <a:gd name="connsiteX2710" fmla="*/ 955834 w 6400800"/>
                <a:gd name="connsiteY2710" fmla="*/ 127159 h 514350"/>
                <a:gd name="connsiteX2711" fmla="*/ 955834 w 6400800"/>
                <a:gd name="connsiteY2711" fmla="*/ 136684 h 514350"/>
                <a:gd name="connsiteX2712" fmla="*/ 927259 w 6400800"/>
                <a:gd name="connsiteY2712" fmla="*/ 206216 h 514350"/>
                <a:gd name="connsiteX2713" fmla="*/ 927259 w 6400800"/>
                <a:gd name="connsiteY2713" fmla="*/ 205264 h 514350"/>
                <a:gd name="connsiteX2714" fmla="*/ 930116 w 6400800"/>
                <a:gd name="connsiteY2714" fmla="*/ 183356 h 514350"/>
                <a:gd name="connsiteX2715" fmla="*/ 932974 w 6400800"/>
                <a:gd name="connsiteY2715" fmla="*/ 164306 h 514350"/>
                <a:gd name="connsiteX2716" fmla="*/ 926306 w 6400800"/>
                <a:gd name="connsiteY2716" fmla="*/ 183356 h 514350"/>
                <a:gd name="connsiteX2717" fmla="*/ 920591 w 6400800"/>
                <a:gd name="connsiteY2717" fmla="*/ 203359 h 514350"/>
                <a:gd name="connsiteX2718" fmla="*/ 910114 w 6400800"/>
                <a:gd name="connsiteY2718" fmla="*/ 171926 h 514350"/>
                <a:gd name="connsiteX2719" fmla="*/ 907256 w 6400800"/>
                <a:gd name="connsiteY2719" fmla="*/ 164306 h 514350"/>
                <a:gd name="connsiteX2720" fmla="*/ 912019 w 6400800"/>
                <a:gd name="connsiteY2720" fmla="*/ 157639 h 514350"/>
                <a:gd name="connsiteX2721" fmla="*/ 933926 w 6400800"/>
                <a:gd name="connsiteY2721" fmla="*/ 124301 h 514350"/>
                <a:gd name="connsiteX2722" fmla="*/ 953929 w 6400800"/>
                <a:gd name="connsiteY2722" fmla="*/ 95726 h 514350"/>
                <a:gd name="connsiteX2723" fmla="*/ 931069 w 6400800"/>
                <a:gd name="connsiteY2723" fmla="*/ 121444 h 514350"/>
                <a:gd name="connsiteX2724" fmla="*/ 906304 w 6400800"/>
                <a:gd name="connsiteY2724" fmla="*/ 151924 h 514350"/>
                <a:gd name="connsiteX2725" fmla="*/ 904399 w 6400800"/>
                <a:gd name="connsiteY2725" fmla="*/ 154781 h 514350"/>
                <a:gd name="connsiteX2726" fmla="*/ 894874 w 6400800"/>
                <a:gd name="connsiteY2726" fmla="*/ 131921 h 514350"/>
                <a:gd name="connsiteX2727" fmla="*/ 892016 w 6400800"/>
                <a:gd name="connsiteY2727" fmla="*/ 126206 h 514350"/>
                <a:gd name="connsiteX2728" fmla="*/ 897731 w 6400800"/>
                <a:gd name="connsiteY2728" fmla="*/ 115729 h 514350"/>
                <a:gd name="connsiteX2729" fmla="*/ 918686 w 6400800"/>
                <a:gd name="connsiteY2729" fmla="*/ 77629 h 514350"/>
                <a:gd name="connsiteX2730" fmla="*/ 937736 w 6400800"/>
                <a:gd name="connsiteY2730" fmla="*/ 44291 h 514350"/>
                <a:gd name="connsiteX2731" fmla="*/ 914876 w 6400800"/>
                <a:gd name="connsiteY2731" fmla="*/ 74771 h 514350"/>
                <a:gd name="connsiteX2732" fmla="*/ 890111 w 6400800"/>
                <a:gd name="connsiteY2732" fmla="*/ 110966 h 514350"/>
                <a:gd name="connsiteX2733" fmla="*/ 886301 w 6400800"/>
                <a:gd name="connsiteY2733" fmla="*/ 116681 h 514350"/>
                <a:gd name="connsiteX2734" fmla="*/ 874871 w 6400800"/>
                <a:gd name="connsiteY2734" fmla="*/ 92869 h 514350"/>
                <a:gd name="connsiteX2735" fmla="*/ 873919 w 6400800"/>
                <a:gd name="connsiteY2735" fmla="*/ 90964 h 514350"/>
                <a:gd name="connsiteX2736" fmla="*/ 872966 w 6400800"/>
                <a:gd name="connsiteY2736" fmla="*/ 91916 h 514350"/>
                <a:gd name="connsiteX2737" fmla="*/ 868204 w 6400800"/>
                <a:gd name="connsiteY2737" fmla="*/ 95726 h 514350"/>
                <a:gd name="connsiteX2738" fmla="*/ 866299 w 6400800"/>
                <a:gd name="connsiteY2738" fmla="*/ 101441 h 514350"/>
                <a:gd name="connsiteX2739" fmla="*/ 868204 w 6400800"/>
                <a:gd name="connsiteY2739" fmla="*/ 113824 h 514350"/>
                <a:gd name="connsiteX2740" fmla="*/ 868204 w 6400800"/>
                <a:gd name="connsiteY2740" fmla="*/ 102394 h 514350"/>
                <a:gd name="connsiteX2741" fmla="*/ 870109 w 6400800"/>
                <a:gd name="connsiteY2741" fmla="*/ 97631 h 514350"/>
                <a:gd name="connsiteX2742" fmla="*/ 872966 w 6400800"/>
                <a:gd name="connsiteY2742" fmla="*/ 95726 h 514350"/>
                <a:gd name="connsiteX2743" fmla="*/ 882491 w 6400800"/>
                <a:gd name="connsiteY2743" fmla="*/ 122396 h 514350"/>
                <a:gd name="connsiteX2744" fmla="*/ 875824 w 6400800"/>
                <a:gd name="connsiteY2744" fmla="*/ 132874 h 514350"/>
                <a:gd name="connsiteX2745" fmla="*/ 860584 w 6400800"/>
                <a:gd name="connsiteY2745" fmla="*/ 159544 h 514350"/>
                <a:gd name="connsiteX2746" fmla="*/ 837724 w 6400800"/>
                <a:gd name="connsiteY2746" fmla="*/ 203359 h 514350"/>
                <a:gd name="connsiteX2747" fmla="*/ 832009 w 6400800"/>
                <a:gd name="connsiteY2747" fmla="*/ 194786 h 514350"/>
                <a:gd name="connsiteX2748" fmla="*/ 838676 w 6400800"/>
                <a:gd name="connsiteY2748" fmla="*/ 137636 h 514350"/>
                <a:gd name="connsiteX2749" fmla="*/ 840581 w 6400800"/>
                <a:gd name="connsiteY2749" fmla="*/ 115729 h 514350"/>
                <a:gd name="connsiteX2750" fmla="*/ 834866 w 6400800"/>
                <a:gd name="connsiteY2750" fmla="*/ 137636 h 514350"/>
                <a:gd name="connsiteX2751" fmla="*/ 820579 w 6400800"/>
                <a:gd name="connsiteY2751" fmla="*/ 194786 h 514350"/>
                <a:gd name="connsiteX2752" fmla="*/ 818674 w 6400800"/>
                <a:gd name="connsiteY2752" fmla="*/ 204311 h 514350"/>
                <a:gd name="connsiteX2753" fmla="*/ 815816 w 6400800"/>
                <a:gd name="connsiteY2753" fmla="*/ 197644 h 514350"/>
                <a:gd name="connsiteX2754" fmla="*/ 807244 w 6400800"/>
                <a:gd name="connsiteY2754" fmla="*/ 174784 h 514350"/>
                <a:gd name="connsiteX2755" fmla="*/ 812006 w 6400800"/>
                <a:gd name="connsiteY2755" fmla="*/ 198596 h 514350"/>
                <a:gd name="connsiteX2756" fmla="*/ 814864 w 6400800"/>
                <a:gd name="connsiteY2756" fmla="*/ 210979 h 514350"/>
                <a:gd name="connsiteX2757" fmla="*/ 815816 w 6400800"/>
                <a:gd name="connsiteY2757" fmla="*/ 216694 h 514350"/>
                <a:gd name="connsiteX2758" fmla="*/ 811054 w 6400800"/>
                <a:gd name="connsiteY2758" fmla="*/ 239554 h 514350"/>
                <a:gd name="connsiteX2759" fmla="*/ 808196 w 6400800"/>
                <a:gd name="connsiteY2759" fmla="*/ 219551 h 514350"/>
                <a:gd name="connsiteX2760" fmla="*/ 807244 w 6400800"/>
                <a:gd name="connsiteY2760" fmla="*/ 264319 h 514350"/>
                <a:gd name="connsiteX2761" fmla="*/ 807244 w 6400800"/>
                <a:gd name="connsiteY2761" fmla="*/ 266224 h 514350"/>
                <a:gd name="connsiteX2762" fmla="*/ 798671 w 6400800"/>
                <a:gd name="connsiteY2762" fmla="*/ 246221 h 514350"/>
                <a:gd name="connsiteX2763" fmla="*/ 800576 w 6400800"/>
                <a:gd name="connsiteY2763" fmla="*/ 239554 h 514350"/>
                <a:gd name="connsiteX2764" fmla="*/ 797719 w 6400800"/>
                <a:gd name="connsiteY2764" fmla="*/ 245269 h 514350"/>
                <a:gd name="connsiteX2765" fmla="*/ 796766 w 6400800"/>
                <a:gd name="connsiteY2765" fmla="*/ 242411 h 514350"/>
                <a:gd name="connsiteX2766" fmla="*/ 792956 w 6400800"/>
                <a:gd name="connsiteY2766" fmla="*/ 233839 h 514350"/>
                <a:gd name="connsiteX2767" fmla="*/ 796766 w 6400800"/>
                <a:gd name="connsiteY2767" fmla="*/ 218599 h 514350"/>
                <a:gd name="connsiteX2768" fmla="*/ 809149 w 6400800"/>
                <a:gd name="connsiteY2768" fmla="*/ 164306 h 514350"/>
                <a:gd name="connsiteX2769" fmla="*/ 812959 w 6400800"/>
                <a:gd name="connsiteY2769" fmla="*/ 143351 h 514350"/>
                <a:gd name="connsiteX2770" fmla="*/ 805339 w 6400800"/>
                <a:gd name="connsiteY2770" fmla="*/ 163354 h 514350"/>
                <a:gd name="connsiteX2771" fmla="*/ 796766 w 6400800"/>
                <a:gd name="connsiteY2771" fmla="*/ 186214 h 514350"/>
                <a:gd name="connsiteX2772" fmla="*/ 785336 w 6400800"/>
                <a:gd name="connsiteY2772" fmla="*/ 215741 h 514350"/>
                <a:gd name="connsiteX2773" fmla="*/ 784384 w 6400800"/>
                <a:gd name="connsiteY2773" fmla="*/ 218599 h 514350"/>
                <a:gd name="connsiteX2774" fmla="*/ 776764 w 6400800"/>
                <a:gd name="connsiteY2774" fmla="*/ 205264 h 514350"/>
                <a:gd name="connsiteX2775" fmla="*/ 774859 w 6400800"/>
                <a:gd name="connsiteY2775" fmla="*/ 202406 h 514350"/>
                <a:gd name="connsiteX2776" fmla="*/ 774859 w 6400800"/>
                <a:gd name="connsiteY2776" fmla="*/ 201454 h 514350"/>
                <a:gd name="connsiteX2777" fmla="*/ 780574 w 6400800"/>
                <a:gd name="connsiteY2777" fmla="*/ 142399 h 514350"/>
                <a:gd name="connsiteX2778" fmla="*/ 781526 w 6400800"/>
                <a:gd name="connsiteY2778" fmla="*/ 119539 h 514350"/>
                <a:gd name="connsiteX2779" fmla="*/ 776764 w 6400800"/>
                <a:gd name="connsiteY2779" fmla="*/ 141446 h 514350"/>
                <a:gd name="connsiteX2780" fmla="*/ 771049 w 6400800"/>
                <a:gd name="connsiteY2780" fmla="*/ 167164 h 514350"/>
                <a:gd name="connsiteX2781" fmla="*/ 766286 w 6400800"/>
                <a:gd name="connsiteY2781" fmla="*/ 189071 h 514350"/>
                <a:gd name="connsiteX2782" fmla="*/ 758666 w 6400800"/>
                <a:gd name="connsiteY2782" fmla="*/ 178594 h 514350"/>
                <a:gd name="connsiteX2783" fmla="*/ 745331 w 6400800"/>
                <a:gd name="connsiteY2783" fmla="*/ 163354 h 514350"/>
                <a:gd name="connsiteX2784" fmla="*/ 740569 w 6400800"/>
                <a:gd name="connsiteY2784" fmla="*/ 157639 h 514350"/>
                <a:gd name="connsiteX2785" fmla="*/ 744379 w 6400800"/>
                <a:gd name="connsiteY2785" fmla="*/ 163354 h 514350"/>
                <a:gd name="connsiteX2786" fmla="*/ 754856 w 6400800"/>
                <a:gd name="connsiteY2786" fmla="*/ 180499 h 514350"/>
                <a:gd name="connsiteX2787" fmla="*/ 763429 w 6400800"/>
                <a:gd name="connsiteY2787" fmla="*/ 196691 h 514350"/>
                <a:gd name="connsiteX2788" fmla="*/ 762476 w 6400800"/>
                <a:gd name="connsiteY2788" fmla="*/ 199549 h 514350"/>
                <a:gd name="connsiteX2789" fmla="*/ 753904 w 6400800"/>
                <a:gd name="connsiteY2789" fmla="*/ 238601 h 514350"/>
                <a:gd name="connsiteX2790" fmla="*/ 747236 w 6400800"/>
                <a:gd name="connsiteY2790" fmla="*/ 224314 h 514350"/>
                <a:gd name="connsiteX2791" fmla="*/ 752951 w 6400800"/>
                <a:gd name="connsiteY2791" fmla="*/ 241459 h 514350"/>
                <a:gd name="connsiteX2792" fmla="*/ 751046 w 6400800"/>
                <a:gd name="connsiteY2792" fmla="*/ 243364 h 514350"/>
                <a:gd name="connsiteX2793" fmla="*/ 749141 w 6400800"/>
                <a:gd name="connsiteY2793" fmla="*/ 252889 h 514350"/>
                <a:gd name="connsiteX2794" fmla="*/ 752951 w 6400800"/>
                <a:gd name="connsiteY2794" fmla="*/ 244316 h 514350"/>
                <a:gd name="connsiteX2795" fmla="*/ 752951 w 6400800"/>
                <a:gd name="connsiteY2795" fmla="*/ 244316 h 514350"/>
                <a:gd name="connsiteX2796" fmla="*/ 744379 w 6400800"/>
                <a:gd name="connsiteY2796" fmla="*/ 282416 h 514350"/>
                <a:gd name="connsiteX2797" fmla="*/ 741521 w 6400800"/>
                <a:gd name="connsiteY2797" fmla="*/ 296704 h 514350"/>
                <a:gd name="connsiteX2798" fmla="*/ 738664 w 6400800"/>
                <a:gd name="connsiteY2798" fmla="*/ 306229 h 514350"/>
                <a:gd name="connsiteX2799" fmla="*/ 738664 w 6400800"/>
                <a:gd name="connsiteY2799" fmla="*/ 306229 h 514350"/>
                <a:gd name="connsiteX2800" fmla="*/ 737711 w 6400800"/>
                <a:gd name="connsiteY2800" fmla="*/ 293846 h 514350"/>
                <a:gd name="connsiteX2801" fmla="*/ 733901 w 6400800"/>
                <a:gd name="connsiteY2801" fmla="*/ 270034 h 514350"/>
                <a:gd name="connsiteX2802" fmla="*/ 731996 w 6400800"/>
                <a:gd name="connsiteY2802" fmla="*/ 259556 h 514350"/>
                <a:gd name="connsiteX2803" fmla="*/ 731044 w 6400800"/>
                <a:gd name="connsiteY2803" fmla="*/ 257651 h 514350"/>
                <a:gd name="connsiteX2804" fmla="*/ 725329 w 6400800"/>
                <a:gd name="connsiteY2804" fmla="*/ 210979 h 514350"/>
                <a:gd name="connsiteX2805" fmla="*/ 722471 w 6400800"/>
                <a:gd name="connsiteY2805" fmla="*/ 186214 h 514350"/>
                <a:gd name="connsiteX2806" fmla="*/ 722471 w 6400800"/>
                <a:gd name="connsiteY2806" fmla="*/ 199549 h 514350"/>
                <a:gd name="connsiteX2807" fmla="*/ 709136 w 6400800"/>
                <a:gd name="connsiteY2807" fmla="*/ 243364 h 514350"/>
                <a:gd name="connsiteX2808" fmla="*/ 704374 w 6400800"/>
                <a:gd name="connsiteY2808" fmla="*/ 229076 h 514350"/>
                <a:gd name="connsiteX2809" fmla="*/ 687229 w 6400800"/>
                <a:gd name="connsiteY2809" fmla="*/ 181451 h 514350"/>
                <a:gd name="connsiteX2810" fmla="*/ 679609 w 6400800"/>
                <a:gd name="connsiteY2810" fmla="*/ 161449 h 514350"/>
                <a:gd name="connsiteX2811" fmla="*/ 679609 w 6400800"/>
                <a:gd name="connsiteY2811" fmla="*/ 148114 h 514350"/>
                <a:gd name="connsiteX2812" fmla="*/ 679609 w 6400800"/>
                <a:gd name="connsiteY2812" fmla="*/ 122396 h 514350"/>
                <a:gd name="connsiteX2813" fmla="*/ 678656 w 6400800"/>
                <a:gd name="connsiteY2813" fmla="*/ 100489 h 514350"/>
                <a:gd name="connsiteX2814" fmla="*/ 675799 w 6400800"/>
                <a:gd name="connsiteY2814" fmla="*/ 122396 h 514350"/>
                <a:gd name="connsiteX2815" fmla="*/ 672941 w 6400800"/>
                <a:gd name="connsiteY2815" fmla="*/ 144304 h 514350"/>
                <a:gd name="connsiteX2816" fmla="*/ 663416 w 6400800"/>
                <a:gd name="connsiteY2816" fmla="*/ 122396 h 514350"/>
                <a:gd name="connsiteX2817" fmla="*/ 659606 w 6400800"/>
                <a:gd name="connsiteY2817" fmla="*/ 114776 h 514350"/>
                <a:gd name="connsiteX2818" fmla="*/ 662464 w 6400800"/>
                <a:gd name="connsiteY2818" fmla="*/ 123349 h 514350"/>
                <a:gd name="connsiteX2819" fmla="*/ 670084 w 6400800"/>
                <a:gd name="connsiteY2819" fmla="*/ 147161 h 514350"/>
                <a:gd name="connsiteX2820" fmla="*/ 671989 w 6400800"/>
                <a:gd name="connsiteY2820" fmla="*/ 153829 h 514350"/>
                <a:gd name="connsiteX2821" fmla="*/ 671036 w 6400800"/>
                <a:gd name="connsiteY2821" fmla="*/ 164306 h 514350"/>
                <a:gd name="connsiteX2822" fmla="*/ 668179 w 6400800"/>
                <a:gd name="connsiteY2822" fmla="*/ 181451 h 514350"/>
                <a:gd name="connsiteX2823" fmla="*/ 662464 w 6400800"/>
                <a:gd name="connsiteY2823" fmla="*/ 219551 h 514350"/>
                <a:gd name="connsiteX2824" fmla="*/ 658654 w 6400800"/>
                <a:gd name="connsiteY2824" fmla="*/ 239554 h 514350"/>
                <a:gd name="connsiteX2825" fmla="*/ 655796 w 6400800"/>
                <a:gd name="connsiteY2825" fmla="*/ 231934 h 514350"/>
                <a:gd name="connsiteX2826" fmla="*/ 657701 w 6400800"/>
                <a:gd name="connsiteY2826" fmla="*/ 210026 h 514350"/>
                <a:gd name="connsiteX2827" fmla="*/ 653891 w 6400800"/>
                <a:gd name="connsiteY2827" fmla="*/ 226219 h 514350"/>
                <a:gd name="connsiteX2828" fmla="*/ 638651 w 6400800"/>
                <a:gd name="connsiteY2828" fmla="*/ 191929 h 514350"/>
                <a:gd name="connsiteX2829" fmla="*/ 630079 w 6400800"/>
                <a:gd name="connsiteY2829" fmla="*/ 174784 h 514350"/>
                <a:gd name="connsiteX2830" fmla="*/ 627221 w 6400800"/>
                <a:gd name="connsiteY2830" fmla="*/ 169069 h 514350"/>
                <a:gd name="connsiteX2831" fmla="*/ 635794 w 6400800"/>
                <a:gd name="connsiteY2831" fmla="*/ 193834 h 514350"/>
                <a:gd name="connsiteX2832" fmla="*/ 649129 w 6400800"/>
                <a:gd name="connsiteY2832" fmla="*/ 240506 h 514350"/>
                <a:gd name="connsiteX2833" fmla="*/ 650081 w 6400800"/>
                <a:gd name="connsiteY2833" fmla="*/ 244316 h 514350"/>
                <a:gd name="connsiteX2834" fmla="*/ 647224 w 6400800"/>
                <a:gd name="connsiteY2834" fmla="*/ 262414 h 514350"/>
                <a:gd name="connsiteX2835" fmla="*/ 644366 w 6400800"/>
                <a:gd name="connsiteY2835" fmla="*/ 279559 h 514350"/>
                <a:gd name="connsiteX2836" fmla="*/ 642461 w 6400800"/>
                <a:gd name="connsiteY2836" fmla="*/ 298609 h 514350"/>
                <a:gd name="connsiteX2837" fmla="*/ 642461 w 6400800"/>
                <a:gd name="connsiteY2837" fmla="*/ 298609 h 514350"/>
                <a:gd name="connsiteX2838" fmla="*/ 642461 w 6400800"/>
                <a:gd name="connsiteY2838" fmla="*/ 294799 h 514350"/>
                <a:gd name="connsiteX2839" fmla="*/ 641509 w 6400800"/>
                <a:gd name="connsiteY2839" fmla="*/ 315754 h 514350"/>
                <a:gd name="connsiteX2840" fmla="*/ 641509 w 6400800"/>
                <a:gd name="connsiteY2840" fmla="*/ 317659 h 514350"/>
                <a:gd name="connsiteX2841" fmla="*/ 639604 w 6400800"/>
                <a:gd name="connsiteY2841" fmla="*/ 309086 h 514350"/>
                <a:gd name="connsiteX2842" fmla="*/ 640556 w 6400800"/>
                <a:gd name="connsiteY2842" fmla="*/ 304324 h 514350"/>
                <a:gd name="connsiteX2843" fmla="*/ 638651 w 6400800"/>
                <a:gd name="connsiteY2843" fmla="*/ 307181 h 514350"/>
                <a:gd name="connsiteX2844" fmla="*/ 632936 w 6400800"/>
                <a:gd name="connsiteY2844" fmla="*/ 284321 h 514350"/>
                <a:gd name="connsiteX2845" fmla="*/ 624364 w 6400800"/>
                <a:gd name="connsiteY2845" fmla="*/ 250031 h 514350"/>
                <a:gd name="connsiteX2846" fmla="*/ 617696 w 6400800"/>
                <a:gd name="connsiteY2846" fmla="*/ 223361 h 514350"/>
                <a:gd name="connsiteX2847" fmla="*/ 614839 w 6400800"/>
                <a:gd name="connsiteY2847" fmla="*/ 210979 h 514350"/>
                <a:gd name="connsiteX2848" fmla="*/ 615791 w 6400800"/>
                <a:gd name="connsiteY2848" fmla="*/ 190024 h 514350"/>
                <a:gd name="connsiteX2849" fmla="*/ 617696 w 6400800"/>
                <a:gd name="connsiteY2849" fmla="*/ 126206 h 514350"/>
                <a:gd name="connsiteX2850" fmla="*/ 607219 w 6400800"/>
                <a:gd name="connsiteY2850" fmla="*/ 187166 h 514350"/>
                <a:gd name="connsiteX2851" fmla="*/ 606266 w 6400800"/>
                <a:gd name="connsiteY2851" fmla="*/ 184309 h 514350"/>
                <a:gd name="connsiteX2852" fmla="*/ 606266 w 6400800"/>
                <a:gd name="connsiteY2852" fmla="*/ 189071 h 514350"/>
                <a:gd name="connsiteX2853" fmla="*/ 601504 w 6400800"/>
                <a:gd name="connsiteY2853" fmla="*/ 215741 h 514350"/>
                <a:gd name="connsiteX2854" fmla="*/ 599599 w 6400800"/>
                <a:gd name="connsiteY2854" fmla="*/ 210979 h 514350"/>
                <a:gd name="connsiteX2855" fmla="*/ 591026 w 6400800"/>
                <a:gd name="connsiteY2855" fmla="*/ 191929 h 514350"/>
                <a:gd name="connsiteX2856" fmla="*/ 595789 w 6400800"/>
                <a:gd name="connsiteY2856" fmla="*/ 212884 h 514350"/>
                <a:gd name="connsiteX2857" fmla="*/ 599599 w 6400800"/>
                <a:gd name="connsiteY2857" fmla="*/ 230029 h 514350"/>
                <a:gd name="connsiteX2858" fmla="*/ 595789 w 6400800"/>
                <a:gd name="connsiteY2858" fmla="*/ 251936 h 514350"/>
                <a:gd name="connsiteX2859" fmla="*/ 589121 w 6400800"/>
                <a:gd name="connsiteY2859" fmla="*/ 294799 h 514350"/>
                <a:gd name="connsiteX2860" fmla="*/ 582454 w 6400800"/>
                <a:gd name="connsiteY2860" fmla="*/ 284321 h 514350"/>
                <a:gd name="connsiteX2861" fmla="*/ 585311 w 6400800"/>
                <a:gd name="connsiteY2861" fmla="*/ 265271 h 514350"/>
                <a:gd name="connsiteX2862" fmla="*/ 588169 w 6400800"/>
                <a:gd name="connsiteY2862" fmla="*/ 244316 h 514350"/>
                <a:gd name="connsiteX2863" fmla="*/ 591026 w 6400800"/>
                <a:gd name="connsiteY2863" fmla="*/ 225266 h 514350"/>
                <a:gd name="connsiteX2864" fmla="*/ 584359 w 6400800"/>
                <a:gd name="connsiteY2864" fmla="*/ 243364 h 514350"/>
                <a:gd name="connsiteX2865" fmla="*/ 579596 w 6400800"/>
                <a:gd name="connsiteY2865" fmla="*/ 258604 h 514350"/>
                <a:gd name="connsiteX2866" fmla="*/ 577691 w 6400800"/>
                <a:gd name="connsiteY2866" fmla="*/ 231934 h 514350"/>
                <a:gd name="connsiteX2867" fmla="*/ 575786 w 6400800"/>
                <a:gd name="connsiteY2867" fmla="*/ 210979 h 514350"/>
                <a:gd name="connsiteX2868" fmla="*/ 573881 w 6400800"/>
                <a:gd name="connsiteY2868" fmla="*/ 230981 h 514350"/>
                <a:gd name="connsiteX2869" fmla="*/ 571024 w 6400800"/>
                <a:gd name="connsiteY2869" fmla="*/ 267176 h 514350"/>
                <a:gd name="connsiteX2870" fmla="*/ 571024 w 6400800"/>
                <a:gd name="connsiteY2870" fmla="*/ 267176 h 514350"/>
                <a:gd name="connsiteX2871" fmla="*/ 567214 w 6400800"/>
                <a:gd name="connsiteY2871" fmla="*/ 262414 h 514350"/>
                <a:gd name="connsiteX2872" fmla="*/ 552926 w 6400800"/>
                <a:gd name="connsiteY2872" fmla="*/ 219551 h 514350"/>
                <a:gd name="connsiteX2873" fmla="*/ 552926 w 6400800"/>
                <a:gd name="connsiteY2873" fmla="*/ 218599 h 514350"/>
                <a:gd name="connsiteX2874" fmla="*/ 555784 w 6400800"/>
                <a:gd name="connsiteY2874" fmla="*/ 189071 h 514350"/>
                <a:gd name="connsiteX2875" fmla="*/ 558641 w 6400800"/>
                <a:gd name="connsiteY2875" fmla="*/ 162401 h 514350"/>
                <a:gd name="connsiteX2876" fmla="*/ 561499 w 6400800"/>
                <a:gd name="connsiteY2876" fmla="*/ 141446 h 514350"/>
                <a:gd name="connsiteX2877" fmla="*/ 564356 w 6400800"/>
                <a:gd name="connsiteY2877" fmla="*/ 123349 h 514350"/>
                <a:gd name="connsiteX2878" fmla="*/ 557689 w 6400800"/>
                <a:gd name="connsiteY2878" fmla="*/ 140494 h 514350"/>
                <a:gd name="connsiteX2879" fmla="*/ 551021 w 6400800"/>
                <a:gd name="connsiteY2879" fmla="*/ 160496 h 514350"/>
                <a:gd name="connsiteX2880" fmla="*/ 544354 w 6400800"/>
                <a:gd name="connsiteY2880" fmla="*/ 187166 h 514350"/>
                <a:gd name="connsiteX2881" fmla="*/ 537686 w 6400800"/>
                <a:gd name="connsiteY2881" fmla="*/ 218599 h 514350"/>
                <a:gd name="connsiteX2882" fmla="*/ 535781 w 6400800"/>
                <a:gd name="connsiteY2882" fmla="*/ 231934 h 514350"/>
                <a:gd name="connsiteX2883" fmla="*/ 534829 w 6400800"/>
                <a:gd name="connsiteY2883" fmla="*/ 220504 h 514350"/>
                <a:gd name="connsiteX2884" fmla="*/ 532924 w 6400800"/>
                <a:gd name="connsiteY2884" fmla="*/ 205264 h 514350"/>
                <a:gd name="connsiteX2885" fmla="*/ 533876 w 6400800"/>
                <a:gd name="connsiteY2885" fmla="*/ 186214 h 514350"/>
                <a:gd name="connsiteX2886" fmla="*/ 534829 w 6400800"/>
                <a:gd name="connsiteY2886" fmla="*/ 166211 h 514350"/>
                <a:gd name="connsiteX2887" fmla="*/ 534829 w 6400800"/>
                <a:gd name="connsiteY2887" fmla="*/ 148114 h 514350"/>
                <a:gd name="connsiteX2888" fmla="*/ 534829 w 6400800"/>
                <a:gd name="connsiteY2888" fmla="*/ 118586 h 514350"/>
                <a:gd name="connsiteX2889" fmla="*/ 533876 w 6400800"/>
                <a:gd name="connsiteY2889" fmla="*/ 92869 h 514350"/>
                <a:gd name="connsiteX2890" fmla="*/ 531019 w 6400800"/>
                <a:gd name="connsiteY2890" fmla="*/ 118586 h 514350"/>
                <a:gd name="connsiteX2891" fmla="*/ 528161 w 6400800"/>
                <a:gd name="connsiteY2891" fmla="*/ 147161 h 514350"/>
                <a:gd name="connsiteX2892" fmla="*/ 526256 w 6400800"/>
                <a:gd name="connsiteY2892" fmla="*/ 165259 h 514350"/>
                <a:gd name="connsiteX2893" fmla="*/ 523399 w 6400800"/>
                <a:gd name="connsiteY2893" fmla="*/ 185261 h 514350"/>
                <a:gd name="connsiteX2894" fmla="*/ 521494 w 6400800"/>
                <a:gd name="connsiteY2894" fmla="*/ 197644 h 514350"/>
                <a:gd name="connsiteX2895" fmla="*/ 513874 w 6400800"/>
                <a:gd name="connsiteY2895" fmla="*/ 170021 h 514350"/>
                <a:gd name="connsiteX2896" fmla="*/ 506254 w 6400800"/>
                <a:gd name="connsiteY2896" fmla="*/ 144304 h 514350"/>
                <a:gd name="connsiteX2897" fmla="*/ 510064 w 6400800"/>
                <a:gd name="connsiteY2897" fmla="*/ 170974 h 514350"/>
                <a:gd name="connsiteX2898" fmla="*/ 517684 w 6400800"/>
                <a:gd name="connsiteY2898" fmla="*/ 222409 h 514350"/>
                <a:gd name="connsiteX2899" fmla="*/ 516731 w 6400800"/>
                <a:gd name="connsiteY2899" fmla="*/ 230029 h 514350"/>
                <a:gd name="connsiteX2900" fmla="*/ 512921 w 6400800"/>
                <a:gd name="connsiteY2900" fmla="*/ 251936 h 514350"/>
                <a:gd name="connsiteX2901" fmla="*/ 487204 w 6400800"/>
                <a:gd name="connsiteY2901" fmla="*/ 172879 h 514350"/>
                <a:gd name="connsiteX2902" fmla="*/ 485299 w 6400800"/>
                <a:gd name="connsiteY2902" fmla="*/ 164306 h 514350"/>
                <a:gd name="connsiteX2903" fmla="*/ 486251 w 6400800"/>
                <a:gd name="connsiteY2903" fmla="*/ 189071 h 514350"/>
                <a:gd name="connsiteX2904" fmla="*/ 488156 w 6400800"/>
                <a:gd name="connsiteY2904" fmla="*/ 217646 h 514350"/>
                <a:gd name="connsiteX2905" fmla="*/ 489109 w 6400800"/>
                <a:gd name="connsiteY2905" fmla="*/ 238601 h 514350"/>
                <a:gd name="connsiteX2906" fmla="*/ 486251 w 6400800"/>
                <a:gd name="connsiteY2906" fmla="*/ 223361 h 514350"/>
                <a:gd name="connsiteX2907" fmla="*/ 482441 w 6400800"/>
                <a:gd name="connsiteY2907" fmla="*/ 207169 h 514350"/>
                <a:gd name="connsiteX2908" fmla="*/ 478631 w 6400800"/>
                <a:gd name="connsiteY2908" fmla="*/ 192881 h 514350"/>
                <a:gd name="connsiteX2909" fmla="*/ 471964 w 6400800"/>
                <a:gd name="connsiteY2909" fmla="*/ 170021 h 514350"/>
                <a:gd name="connsiteX2910" fmla="*/ 465296 w 6400800"/>
                <a:gd name="connsiteY2910" fmla="*/ 150019 h 514350"/>
                <a:gd name="connsiteX2911" fmla="*/ 468154 w 6400800"/>
                <a:gd name="connsiteY2911" fmla="*/ 170021 h 514350"/>
                <a:gd name="connsiteX2912" fmla="*/ 471011 w 6400800"/>
                <a:gd name="connsiteY2912" fmla="*/ 193834 h 514350"/>
                <a:gd name="connsiteX2913" fmla="*/ 472916 w 6400800"/>
                <a:gd name="connsiteY2913" fmla="*/ 208121 h 514350"/>
                <a:gd name="connsiteX2914" fmla="*/ 474821 w 6400800"/>
                <a:gd name="connsiteY2914" fmla="*/ 224314 h 514350"/>
                <a:gd name="connsiteX2915" fmla="*/ 478631 w 6400800"/>
                <a:gd name="connsiteY2915" fmla="*/ 255746 h 514350"/>
                <a:gd name="connsiteX2916" fmla="*/ 474821 w 6400800"/>
                <a:gd name="connsiteY2916" fmla="*/ 240506 h 514350"/>
                <a:gd name="connsiteX2917" fmla="*/ 455771 w 6400800"/>
                <a:gd name="connsiteY2917" fmla="*/ 170974 h 514350"/>
                <a:gd name="connsiteX2918" fmla="*/ 447199 w 6400800"/>
                <a:gd name="connsiteY2918" fmla="*/ 145256 h 514350"/>
                <a:gd name="connsiteX2919" fmla="*/ 451961 w 6400800"/>
                <a:gd name="connsiteY2919" fmla="*/ 171926 h 514350"/>
                <a:gd name="connsiteX2920" fmla="*/ 457676 w 6400800"/>
                <a:gd name="connsiteY2920" fmla="*/ 202406 h 514350"/>
                <a:gd name="connsiteX2921" fmla="*/ 464344 w 6400800"/>
                <a:gd name="connsiteY2921" fmla="*/ 242411 h 514350"/>
                <a:gd name="connsiteX2922" fmla="*/ 471011 w 6400800"/>
                <a:gd name="connsiteY2922" fmla="*/ 282416 h 514350"/>
                <a:gd name="connsiteX2923" fmla="*/ 467201 w 6400800"/>
                <a:gd name="connsiteY2923" fmla="*/ 272891 h 514350"/>
                <a:gd name="connsiteX2924" fmla="*/ 459581 w 6400800"/>
                <a:gd name="connsiteY2924" fmla="*/ 255746 h 514350"/>
                <a:gd name="connsiteX2925" fmla="*/ 463391 w 6400800"/>
                <a:gd name="connsiteY2925" fmla="*/ 273844 h 514350"/>
                <a:gd name="connsiteX2926" fmla="*/ 468154 w 6400800"/>
                <a:gd name="connsiteY2926" fmla="*/ 293846 h 514350"/>
                <a:gd name="connsiteX2927" fmla="*/ 471011 w 6400800"/>
                <a:gd name="connsiteY2927" fmla="*/ 306229 h 514350"/>
                <a:gd name="connsiteX2928" fmla="*/ 473869 w 6400800"/>
                <a:gd name="connsiteY2928" fmla="*/ 320516 h 514350"/>
                <a:gd name="connsiteX2929" fmla="*/ 479584 w 6400800"/>
                <a:gd name="connsiteY2929" fmla="*/ 351949 h 514350"/>
                <a:gd name="connsiteX2930" fmla="*/ 479584 w 6400800"/>
                <a:gd name="connsiteY2930" fmla="*/ 353854 h 514350"/>
                <a:gd name="connsiteX2931" fmla="*/ 478631 w 6400800"/>
                <a:gd name="connsiteY2931" fmla="*/ 351949 h 514350"/>
                <a:gd name="connsiteX2932" fmla="*/ 471964 w 6400800"/>
                <a:gd name="connsiteY2932" fmla="*/ 338614 h 514350"/>
                <a:gd name="connsiteX2933" fmla="*/ 470059 w 6400800"/>
                <a:gd name="connsiteY2933" fmla="*/ 324326 h 514350"/>
                <a:gd name="connsiteX2934" fmla="*/ 462439 w 6400800"/>
                <a:gd name="connsiteY2934" fmla="*/ 280511 h 514350"/>
                <a:gd name="connsiteX2935" fmla="*/ 452914 w 6400800"/>
                <a:gd name="connsiteY2935" fmla="*/ 240506 h 514350"/>
                <a:gd name="connsiteX2936" fmla="*/ 441484 w 6400800"/>
                <a:gd name="connsiteY2936" fmla="*/ 205264 h 514350"/>
                <a:gd name="connsiteX2937" fmla="*/ 437674 w 6400800"/>
                <a:gd name="connsiteY2937" fmla="*/ 194786 h 514350"/>
                <a:gd name="connsiteX2938" fmla="*/ 440531 w 6400800"/>
                <a:gd name="connsiteY2938" fmla="*/ 167164 h 514350"/>
                <a:gd name="connsiteX2939" fmla="*/ 442436 w 6400800"/>
                <a:gd name="connsiteY2939" fmla="*/ 128111 h 514350"/>
                <a:gd name="connsiteX2940" fmla="*/ 441484 w 6400800"/>
                <a:gd name="connsiteY2940" fmla="*/ 94774 h 514350"/>
                <a:gd name="connsiteX2941" fmla="*/ 438626 w 6400800"/>
                <a:gd name="connsiteY2941" fmla="*/ 128111 h 514350"/>
                <a:gd name="connsiteX2942" fmla="*/ 433864 w 6400800"/>
                <a:gd name="connsiteY2942" fmla="*/ 166211 h 514350"/>
                <a:gd name="connsiteX2943" fmla="*/ 431959 w 6400800"/>
                <a:gd name="connsiteY2943" fmla="*/ 178594 h 514350"/>
                <a:gd name="connsiteX2944" fmla="*/ 431006 w 6400800"/>
                <a:gd name="connsiteY2944" fmla="*/ 175736 h 514350"/>
                <a:gd name="connsiteX2945" fmla="*/ 419576 w 6400800"/>
                <a:gd name="connsiteY2945" fmla="*/ 153829 h 514350"/>
                <a:gd name="connsiteX2946" fmla="*/ 408146 w 6400800"/>
                <a:gd name="connsiteY2946" fmla="*/ 135731 h 514350"/>
                <a:gd name="connsiteX2947" fmla="*/ 415766 w 6400800"/>
                <a:gd name="connsiteY2947" fmla="*/ 155734 h 514350"/>
                <a:gd name="connsiteX2948" fmla="*/ 423386 w 6400800"/>
                <a:gd name="connsiteY2948" fmla="*/ 178594 h 514350"/>
                <a:gd name="connsiteX2949" fmla="*/ 428149 w 6400800"/>
                <a:gd name="connsiteY2949" fmla="*/ 195739 h 514350"/>
                <a:gd name="connsiteX2950" fmla="*/ 424339 w 6400800"/>
                <a:gd name="connsiteY2950" fmla="*/ 214789 h 514350"/>
                <a:gd name="connsiteX2951" fmla="*/ 424339 w 6400800"/>
                <a:gd name="connsiteY2951" fmla="*/ 214789 h 514350"/>
                <a:gd name="connsiteX2952" fmla="*/ 415766 w 6400800"/>
                <a:gd name="connsiteY2952" fmla="*/ 202406 h 514350"/>
                <a:gd name="connsiteX2953" fmla="*/ 421481 w 6400800"/>
                <a:gd name="connsiteY2953" fmla="*/ 216694 h 514350"/>
                <a:gd name="connsiteX2954" fmla="*/ 423386 w 6400800"/>
                <a:gd name="connsiteY2954" fmla="*/ 223361 h 514350"/>
                <a:gd name="connsiteX2955" fmla="*/ 412909 w 6400800"/>
                <a:gd name="connsiteY2955" fmla="*/ 272891 h 514350"/>
                <a:gd name="connsiteX2956" fmla="*/ 405289 w 6400800"/>
                <a:gd name="connsiteY2956" fmla="*/ 253841 h 514350"/>
                <a:gd name="connsiteX2957" fmla="*/ 405289 w 6400800"/>
                <a:gd name="connsiteY2957" fmla="*/ 253841 h 514350"/>
                <a:gd name="connsiteX2958" fmla="*/ 404336 w 6400800"/>
                <a:gd name="connsiteY2958" fmla="*/ 210026 h 514350"/>
                <a:gd name="connsiteX2959" fmla="*/ 401479 w 6400800"/>
                <a:gd name="connsiteY2959" fmla="*/ 176689 h 514350"/>
                <a:gd name="connsiteX2960" fmla="*/ 396716 w 6400800"/>
                <a:gd name="connsiteY2960" fmla="*/ 148114 h 514350"/>
                <a:gd name="connsiteX2961" fmla="*/ 397669 w 6400800"/>
                <a:gd name="connsiteY2961" fmla="*/ 177641 h 514350"/>
                <a:gd name="connsiteX2962" fmla="*/ 396716 w 6400800"/>
                <a:gd name="connsiteY2962" fmla="*/ 206216 h 514350"/>
                <a:gd name="connsiteX2963" fmla="*/ 389096 w 6400800"/>
                <a:gd name="connsiteY2963" fmla="*/ 244316 h 514350"/>
                <a:gd name="connsiteX2964" fmla="*/ 381476 w 6400800"/>
                <a:gd name="connsiteY2964" fmla="*/ 219551 h 514350"/>
                <a:gd name="connsiteX2965" fmla="*/ 374809 w 6400800"/>
                <a:gd name="connsiteY2965" fmla="*/ 199549 h 514350"/>
                <a:gd name="connsiteX2966" fmla="*/ 372904 w 6400800"/>
                <a:gd name="connsiteY2966" fmla="*/ 194786 h 514350"/>
                <a:gd name="connsiteX2967" fmla="*/ 372904 w 6400800"/>
                <a:gd name="connsiteY2967" fmla="*/ 190976 h 514350"/>
                <a:gd name="connsiteX2968" fmla="*/ 370046 w 6400800"/>
                <a:gd name="connsiteY2968" fmla="*/ 177641 h 514350"/>
                <a:gd name="connsiteX2969" fmla="*/ 366236 w 6400800"/>
                <a:gd name="connsiteY2969" fmla="*/ 155734 h 514350"/>
                <a:gd name="connsiteX2970" fmla="*/ 364331 w 6400800"/>
                <a:gd name="connsiteY2970" fmla="*/ 148114 h 514350"/>
                <a:gd name="connsiteX2971" fmla="*/ 363379 w 6400800"/>
                <a:gd name="connsiteY2971" fmla="*/ 135731 h 514350"/>
                <a:gd name="connsiteX2972" fmla="*/ 363379 w 6400800"/>
                <a:gd name="connsiteY2972" fmla="*/ 140494 h 514350"/>
                <a:gd name="connsiteX2973" fmla="*/ 362426 w 6400800"/>
                <a:gd name="connsiteY2973" fmla="*/ 136684 h 514350"/>
                <a:gd name="connsiteX2974" fmla="*/ 362426 w 6400800"/>
                <a:gd name="connsiteY2974" fmla="*/ 151924 h 514350"/>
                <a:gd name="connsiteX2975" fmla="*/ 361474 w 6400800"/>
                <a:gd name="connsiteY2975" fmla="*/ 163354 h 514350"/>
                <a:gd name="connsiteX2976" fmla="*/ 357664 w 6400800"/>
                <a:gd name="connsiteY2976" fmla="*/ 151924 h 514350"/>
                <a:gd name="connsiteX2977" fmla="*/ 348139 w 6400800"/>
                <a:gd name="connsiteY2977" fmla="*/ 127159 h 514350"/>
                <a:gd name="connsiteX2978" fmla="*/ 353854 w 6400800"/>
                <a:gd name="connsiteY2978" fmla="*/ 153829 h 514350"/>
                <a:gd name="connsiteX2979" fmla="*/ 361474 w 6400800"/>
                <a:gd name="connsiteY2979" fmla="*/ 183356 h 514350"/>
                <a:gd name="connsiteX2980" fmla="*/ 361474 w 6400800"/>
                <a:gd name="connsiteY2980" fmla="*/ 192881 h 514350"/>
                <a:gd name="connsiteX2981" fmla="*/ 357664 w 6400800"/>
                <a:gd name="connsiteY2981" fmla="*/ 184309 h 514350"/>
                <a:gd name="connsiteX2982" fmla="*/ 360521 w 6400800"/>
                <a:gd name="connsiteY2982" fmla="*/ 198596 h 514350"/>
                <a:gd name="connsiteX2983" fmla="*/ 359569 w 6400800"/>
                <a:gd name="connsiteY2983" fmla="*/ 221456 h 514350"/>
                <a:gd name="connsiteX2984" fmla="*/ 355759 w 6400800"/>
                <a:gd name="connsiteY2984" fmla="*/ 208121 h 514350"/>
                <a:gd name="connsiteX2985" fmla="*/ 350996 w 6400800"/>
                <a:gd name="connsiteY2985" fmla="*/ 193834 h 514350"/>
                <a:gd name="connsiteX2986" fmla="*/ 351949 w 6400800"/>
                <a:gd name="connsiteY2986" fmla="*/ 208121 h 514350"/>
                <a:gd name="connsiteX2987" fmla="*/ 352901 w 6400800"/>
                <a:gd name="connsiteY2987" fmla="*/ 224314 h 514350"/>
                <a:gd name="connsiteX2988" fmla="*/ 353854 w 6400800"/>
                <a:gd name="connsiteY2988" fmla="*/ 246221 h 514350"/>
                <a:gd name="connsiteX2989" fmla="*/ 354806 w 6400800"/>
                <a:gd name="connsiteY2989" fmla="*/ 270986 h 514350"/>
                <a:gd name="connsiteX2990" fmla="*/ 355759 w 6400800"/>
                <a:gd name="connsiteY2990" fmla="*/ 299561 h 514350"/>
                <a:gd name="connsiteX2991" fmla="*/ 356711 w 6400800"/>
                <a:gd name="connsiteY2991" fmla="*/ 316706 h 514350"/>
                <a:gd name="connsiteX2992" fmla="*/ 346234 w 6400800"/>
                <a:gd name="connsiteY2992" fmla="*/ 298609 h 514350"/>
                <a:gd name="connsiteX2993" fmla="*/ 345281 w 6400800"/>
                <a:gd name="connsiteY2993" fmla="*/ 296704 h 514350"/>
                <a:gd name="connsiteX2994" fmla="*/ 345281 w 6400800"/>
                <a:gd name="connsiteY2994" fmla="*/ 291941 h 514350"/>
                <a:gd name="connsiteX2995" fmla="*/ 348139 w 6400800"/>
                <a:gd name="connsiteY2995" fmla="*/ 267176 h 514350"/>
                <a:gd name="connsiteX2996" fmla="*/ 350044 w 6400800"/>
                <a:gd name="connsiteY2996" fmla="*/ 246221 h 514350"/>
                <a:gd name="connsiteX2997" fmla="*/ 344329 w 6400800"/>
                <a:gd name="connsiteY2997" fmla="*/ 267176 h 514350"/>
                <a:gd name="connsiteX2998" fmla="*/ 339566 w 6400800"/>
                <a:gd name="connsiteY2998" fmla="*/ 287179 h 514350"/>
                <a:gd name="connsiteX2999" fmla="*/ 339566 w 6400800"/>
                <a:gd name="connsiteY2999" fmla="*/ 287179 h 514350"/>
                <a:gd name="connsiteX3000" fmla="*/ 339566 w 6400800"/>
                <a:gd name="connsiteY3000" fmla="*/ 288131 h 514350"/>
                <a:gd name="connsiteX3001" fmla="*/ 338614 w 6400800"/>
                <a:gd name="connsiteY3001" fmla="*/ 291941 h 514350"/>
                <a:gd name="connsiteX3002" fmla="*/ 337661 w 6400800"/>
                <a:gd name="connsiteY3002" fmla="*/ 297656 h 514350"/>
                <a:gd name="connsiteX3003" fmla="*/ 324326 w 6400800"/>
                <a:gd name="connsiteY3003" fmla="*/ 277654 h 514350"/>
                <a:gd name="connsiteX3004" fmla="*/ 310991 w 6400800"/>
                <a:gd name="connsiteY3004" fmla="*/ 233839 h 514350"/>
                <a:gd name="connsiteX3005" fmla="*/ 303371 w 6400800"/>
                <a:gd name="connsiteY3005" fmla="*/ 211931 h 514350"/>
                <a:gd name="connsiteX3006" fmla="*/ 306229 w 6400800"/>
                <a:gd name="connsiteY3006" fmla="*/ 196691 h 514350"/>
                <a:gd name="connsiteX3007" fmla="*/ 316706 w 6400800"/>
                <a:gd name="connsiteY3007" fmla="*/ 150971 h 514350"/>
                <a:gd name="connsiteX3008" fmla="*/ 326231 w 6400800"/>
                <a:gd name="connsiteY3008" fmla="*/ 115729 h 514350"/>
                <a:gd name="connsiteX3009" fmla="*/ 335756 w 6400800"/>
                <a:gd name="connsiteY3009" fmla="*/ 85249 h 514350"/>
                <a:gd name="connsiteX3010" fmla="*/ 323374 w 6400800"/>
                <a:gd name="connsiteY3010" fmla="*/ 113824 h 514350"/>
                <a:gd name="connsiteX3011" fmla="*/ 310991 w 6400800"/>
                <a:gd name="connsiteY3011" fmla="*/ 148114 h 514350"/>
                <a:gd name="connsiteX3012" fmla="*/ 303371 w 6400800"/>
                <a:gd name="connsiteY3012" fmla="*/ 169069 h 514350"/>
                <a:gd name="connsiteX3013" fmla="*/ 297656 w 6400800"/>
                <a:gd name="connsiteY3013" fmla="*/ 190024 h 514350"/>
                <a:gd name="connsiteX3014" fmla="*/ 287179 w 6400800"/>
                <a:gd name="connsiteY3014" fmla="*/ 159544 h 514350"/>
                <a:gd name="connsiteX3015" fmla="*/ 294799 w 6400800"/>
                <a:gd name="connsiteY3015" fmla="*/ 198596 h 514350"/>
                <a:gd name="connsiteX3016" fmla="*/ 283369 w 6400800"/>
                <a:gd name="connsiteY3016" fmla="*/ 247174 h 514350"/>
                <a:gd name="connsiteX3017" fmla="*/ 279559 w 6400800"/>
                <a:gd name="connsiteY3017" fmla="*/ 264319 h 514350"/>
                <a:gd name="connsiteX3018" fmla="*/ 276701 w 6400800"/>
                <a:gd name="connsiteY3018" fmla="*/ 253841 h 514350"/>
                <a:gd name="connsiteX3019" fmla="*/ 278606 w 6400800"/>
                <a:gd name="connsiteY3019" fmla="*/ 227171 h 514350"/>
                <a:gd name="connsiteX3020" fmla="*/ 284321 w 6400800"/>
                <a:gd name="connsiteY3020" fmla="*/ 166211 h 514350"/>
                <a:gd name="connsiteX3021" fmla="*/ 287179 w 6400800"/>
                <a:gd name="connsiteY3021" fmla="*/ 139541 h 514350"/>
                <a:gd name="connsiteX3022" fmla="*/ 290989 w 6400800"/>
                <a:gd name="connsiteY3022" fmla="*/ 115729 h 514350"/>
                <a:gd name="connsiteX3023" fmla="*/ 297656 w 6400800"/>
                <a:gd name="connsiteY3023" fmla="*/ 76676 h 514350"/>
                <a:gd name="connsiteX3024" fmla="*/ 304324 w 6400800"/>
                <a:gd name="connsiteY3024" fmla="*/ 42386 h 514350"/>
                <a:gd name="connsiteX3025" fmla="*/ 293846 w 6400800"/>
                <a:gd name="connsiteY3025" fmla="*/ 75724 h 514350"/>
                <a:gd name="connsiteX3026" fmla="*/ 283369 w 6400800"/>
                <a:gd name="connsiteY3026" fmla="*/ 114776 h 514350"/>
                <a:gd name="connsiteX3027" fmla="*/ 277654 w 6400800"/>
                <a:gd name="connsiteY3027" fmla="*/ 138589 h 514350"/>
                <a:gd name="connsiteX3028" fmla="*/ 272891 w 6400800"/>
                <a:gd name="connsiteY3028" fmla="*/ 165259 h 514350"/>
                <a:gd name="connsiteX3029" fmla="*/ 270034 w 6400800"/>
                <a:gd name="connsiteY3029" fmla="*/ 178594 h 514350"/>
                <a:gd name="connsiteX3030" fmla="*/ 261461 w 6400800"/>
                <a:gd name="connsiteY3030" fmla="*/ 196691 h 514350"/>
                <a:gd name="connsiteX3031" fmla="*/ 258604 w 6400800"/>
                <a:gd name="connsiteY3031" fmla="*/ 183356 h 514350"/>
                <a:gd name="connsiteX3032" fmla="*/ 253841 w 6400800"/>
                <a:gd name="connsiteY3032" fmla="*/ 161449 h 514350"/>
                <a:gd name="connsiteX3033" fmla="*/ 254794 w 6400800"/>
                <a:gd name="connsiteY3033" fmla="*/ 183356 h 514350"/>
                <a:gd name="connsiteX3034" fmla="*/ 256699 w 6400800"/>
                <a:gd name="connsiteY3034" fmla="*/ 207169 h 514350"/>
                <a:gd name="connsiteX3035" fmla="*/ 247174 w 6400800"/>
                <a:gd name="connsiteY3035" fmla="*/ 231934 h 514350"/>
                <a:gd name="connsiteX3036" fmla="*/ 245269 w 6400800"/>
                <a:gd name="connsiteY3036" fmla="*/ 236696 h 514350"/>
                <a:gd name="connsiteX3037" fmla="*/ 242411 w 6400800"/>
                <a:gd name="connsiteY3037" fmla="*/ 230029 h 514350"/>
                <a:gd name="connsiteX3038" fmla="*/ 244316 w 6400800"/>
                <a:gd name="connsiteY3038" fmla="*/ 240506 h 514350"/>
                <a:gd name="connsiteX3039" fmla="*/ 236696 w 6400800"/>
                <a:gd name="connsiteY3039" fmla="*/ 262414 h 514350"/>
                <a:gd name="connsiteX3040" fmla="*/ 226219 w 6400800"/>
                <a:gd name="connsiteY3040" fmla="*/ 227171 h 514350"/>
                <a:gd name="connsiteX3041" fmla="*/ 218599 w 6400800"/>
                <a:gd name="connsiteY3041" fmla="*/ 204311 h 514350"/>
                <a:gd name="connsiteX3042" fmla="*/ 210979 w 6400800"/>
                <a:gd name="connsiteY3042" fmla="*/ 184309 h 514350"/>
                <a:gd name="connsiteX3043" fmla="*/ 198596 w 6400800"/>
                <a:gd name="connsiteY3043" fmla="*/ 150971 h 514350"/>
                <a:gd name="connsiteX3044" fmla="*/ 187166 w 6400800"/>
                <a:gd name="connsiteY3044" fmla="*/ 122396 h 514350"/>
                <a:gd name="connsiteX3045" fmla="*/ 194786 w 6400800"/>
                <a:gd name="connsiteY3045" fmla="*/ 151924 h 514350"/>
                <a:gd name="connsiteX3046" fmla="*/ 204311 w 6400800"/>
                <a:gd name="connsiteY3046" fmla="*/ 186214 h 514350"/>
                <a:gd name="connsiteX3047" fmla="*/ 210026 w 6400800"/>
                <a:gd name="connsiteY3047" fmla="*/ 207169 h 514350"/>
                <a:gd name="connsiteX3048" fmla="*/ 215741 w 6400800"/>
                <a:gd name="connsiteY3048" fmla="*/ 230981 h 514350"/>
                <a:gd name="connsiteX3049" fmla="*/ 226219 w 6400800"/>
                <a:gd name="connsiteY3049" fmla="*/ 275749 h 514350"/>
                <a:gd name="connsiteX3050" fmla="*/ 218599 w 6400800"/>
                <a:gd name="connsiteY3050" fmla="*/ 295751 h 514350"/>
                <a:gd name="connsiteX3051" fmla="*/ 217646 w 6400800"/>
                <a:gd name="connsiteY3051" fmla="*/ 298609 h 514350"/>
                <a:gd name="connsiteX3052" fmla="*/ 214789 w 6400800"/>
                <a:gd name="connsiteY3052" fmla="*/ 266224 h 514350"/>
                <a:gd name="connsiteX3053" fmla="*/ 212884 w 6400800"/>
                <a:gd name="connsiteY3053" fmla="*/ 241459 h 514350"/>
                <a:gd name="connsiteX3054" fmla="*/ 210979 w 6400800"/>
                <a:gd name="connsiteY3054" fmla="*/ 266224 h 514350"/>
                <a:gd name="connsiteX3055" fmla="*/ 209074 w 6400800"/>
                <a:gd name="connsiteY3055" fmla="*/ 309086 h 514350"/>
                <a:gd name="connsiteX3056" fmla="*/ 196691 w 6400800"/>
                <a:gd name="connsiteY3056" fmla="*/ 287179 h 514350"/>
                <a:gd name="connsiteX3057" fmla="*/ 187166 w 6400800"/>
                <a:gd name="connsiteY3057" fmla="*/ 270034 h 514350"/>
                <a:gd name="connsiteX3058" fmla="*/ 177641 w 6400800"/>
                <a:gd name="connsiteY3058" fmla="*/ 255746 h 514350"/>
                <a:gd name="connsiteX3059" fmla="*/ 161449 w 6400800"/>
                <a:gd name="connsiteY3059" fmla="*/ 231934 h 514350"/>
                <a:gd name="connsiteX3060" fmla="*/ 156686 w 6400800"/>
                <a:gd name="connsiteY3060" fmla="*/ 225266 h 514350"/>
                <a:gd name="connsiteX3061" fmla="*/ 152876 w 6400800"/>
                <a:gd name="connsiteY3061" fmla="*/ 209074 h 514350"/>
                <a:gd name="connsiteX3062" fmla="*/ 152876 w 6400800"/>
                <a:gd name="connsiteY3062" fmla="*/ 219551 h 514350"/>
                <a:gd name="connsiteX3063" fmla="*/ 146209 w 6400800"/>
                <a:gd name="connsiteY3063" fmla="*/ 210979 h 514350"/>
                <a:gd name="connsiteX3064" fmla="*/ 152876 w 6400800"/>
                <a:gd name="connsiteY3064" fmla="*/ 224314 h 514350"/>
                <a:gd name="connsiteX3065" fmla="*/ 156686 w 6400800"/>
                <a:gd name="connsiteY3065" fmla="*/ 275749 h 514350"/>
                <a:gd name="connsiteX3066" fmla="*/ 148114 w 6400800"/>
                <a:gd name="connsiteY3066" fmla="*/ 263366 h 514350"/>
                <a:gd name="connsiteX3067" fmla="*/ 124301 w 6400800"/>
                <a:gd name="connsiteY3067" fmla="*/ 233839 h 514350"/>
                <a:gd name="connsiteX3068" fmla="*/ 104299 w 6400800"/>
                <a:gd name="connsiteY3068" fmla="*/ 212884 h 514350"/>
                <a:gd name="connsiteX3069" fmla="*/ 88106 w 6400800"/>
                <a:gd name="connsiteY3069" fmla="*/ 197644 h 514350"/>
                <a:gd name="connsiteX3070" fmla="*/ 103346 w 6400800"/>
                <a:gd name="connsiteY3070" fmla="*/ 217646 h 514350"/>
                <a:gd name="connsiteX3071" fmla="*/ 119539 w 6400800"/>
                <a:gd name="connsiteY3071" fmla="*/ 240506 h 514350"/>
                <a:gd name="connsiteX3072" fmla="*/ 139541 w 6400800"/>
                <a:gd name="connsiteY3072" fmla="*/ 271939 h 514350"/>
                <a:gd name="connsiteX3073" fmla="*/ 151924 w 6400800"/>
                <a:gd name="connsiteY3073" fmla="*/ 292894 h 514350"/>
                <a:gd name="connsiteX3074" fmla="*/ 151924 w 6400800"/>
                <a:gd name="connsiteY3074" fmla="*/ 297656 h 514350"/>
                <a:gd name="connsiteX3075" fmla="*/ 150971 w 6400800"/>
                <a:gd name="connsiteY3075" fmla="*/ 296704 h 514350"/>
                <a:gd name="connsiteX3076" fmla="*/ 136684 w 6400800"/>
                <a:gd name="connsiteY3076" fmla="*/ 282416 h 514350"/>
                <a:gd name="connsiteX3077" fmla="*/ 131921 w 6400800"/>
                <a:gd name="connsiteY3077" fmla="*/ 278606 h 514350"/>
                <a:gd name="connsiteX3078" fmla="*/ 132874 w 6400800"/>
                <a:gd name="connsiteY3078" fmla="*/ 274796 h 514350"/>
                <a:gd name="connsiteX3079" fmla="*/ 130969 w 6400800"/>
                <a:gd name="connsiteY3079" fmla="*/ 278606 h 514350"/>
                <a:gd name="connsiteX3080" fmla="*/ 122396 w 6400800"/>
                <a:gd name="connsiteY3080" fmla="*/ 270986 h 514350"/>
                <a:gd name="connsiteX3081" fmla="*/ 130016 w 6400800"/>
                <a:gd name="connsiteY3081" fmla="*/ 280511 h 514350"/>
                <a:gd name="connsiteX3082" fmla="*/ 123349 w 6400800"/>
                <a:gd name="connsiteY3082" fmla="*/ 293846 h 514350"/>
                <a:gd name="connsiteX3083" fmla="*/ 114776 w 6400800"/>
                <a:gd name="connsiteY3083" fmla="*/ 316706 h 514350"/>
                <a:gd name="connsiteX3084" fmla="*/ 112871 w 6400800"/>
                <a:gd name="connsiteY3084" fmla="*/ 321469 h 514350"/>
                <a:gd name="connsiteX3085" fmla="*/ 103346 w 6400800"/>
                <a:gd name="connsiteY3085" fmla="*/ 299561 h 514350"/>
                <a:gd name="connsiteX3086" fmla="*/ 86201 w 6400800"/>
                <a:gd name="connsiteY3086" fmla="*/ 262414 h 514350"/>
                <a:gd name="connsiteX3087" fmla="*/ 78581 w 6400800"/>
                <a:gd name="connsiteY3087" fmla="*/ 245269 h 514350"/>
                <a:gd name="connsiteX3088" fmla="*/ 70961 w 6400800"/>
                <a:gd name="connsiteY3088" fmla="*/ 230981 h 514350"/>
                <a:gd name="connsiteX3089" fmla="*/ 57626 w 6400800"/>
                <a:gd name="connsiteY3089" fmla="*/ 208121 h 514350"/>
                <a:gd name="connsiteX3090" fmla="*/ 46196 w 6400800"/>
                <a:gd name="connsiteY3090" fmla="*/ 188119 h 514350"/>
                <a:gd name="connsiteX3091" fmla="*/ 54769 w 6400800"/>
                <a:gd name="connsiteY3091" fmla="*/ 210026 h 514350"/>
                <a:gd name="connsiteX3092" fmla="*/ 64294 w 6400800"/>
                <a:gd name="connsiteY3092" fmla="*/ 234791 h 514350"/>
                <a:gd name="connsiteX3093" fmla="*/ 70009 w 6400800"/>
                <a:gd name="connsiteY3093" fmla="*/ 250031 h 514350"/>
                <a:gd name="connsiteX3094" fmla="*/ 75724 w 6400800"/>
                <a:gd name="connsiteY3094" fmla="*/ 266224 h 514350"/>
                <a:gd name="connsiteX3095" fmla="*/ 85249 w 6400800"/>
                <a:gd name="connsiteY3095" fmla="*/ 292894 h 514350"/>
                <a:gd name="connsiteX3096" fmla="*/ 79534 w 6400800"/>
                <a:gd name="connsiteY3096" fmla="*/ 284321 h 514350"/>
                <a:gd name="connsiteX3097" fmla="*/ 68104 w 6400800"/>
                <a:gd name="connsiteY3097" fmla="*/ 268129 h 514350"/>
                <a:gd name="connsiteX3098" fmla="*/ 57626 w 6400800"/>
                <a:gd name="connsiteY3098" fmla="*/ 253841 h 514350"/>
                <a:gd name="connsiteX3099" fmla="*/ 64294 w 6400800"/>
                <a:gd name="connsiteY3099" fmla="*/ 270034 h 514350"/>
                <a:gd name="connsiteX3100" fmla="*/ 71914 w 6400800"/>
                <a:gd name="connsiteY3100" fmla="*/ 288131 h 514350"/>
                <a:gd name="connsiteX3101" fmla="*/ 83344 w 6400800"/>
                <a:gd name="connsiteY3101" fmla="*/ 311944 h 514350"/>
                <a:gd name="connsiteX3102" fmla="*/ 90964 w 6400800"/>
                <a:gd name="connsiteY3102" fmla="*/ 330994 h 514350"/>
                <a:gd name="connsiteX3103" fmla="*/ 87154 w 6400800"/>
                <a:gd name="connsiteY3103" fmla="*/ 339566 h 514350"/>
                <a:gd name="connsiteX3104" fmla="*/ 81439 w 6400800"/>
                <a:gd name="connsiteY3104" fmla="*/ 352901 h 514350"/>
                <a:gd name="connsiteX3105" fmla="*/ 78581 w 6400800"/>
                <a:gd name="connsiteY3105" fmla="*/ 339566 h 514350"/>
                <a:gd name="connsiteX3106" fmla="*/ 70009 w 6400800"/>
                <a:gd name="connsiteY3106" fmla="*/ 301466 h 514350"/>
                <a:gd name="connsiteX3107" fmla="*/ 61436 w 6400800"/>
                <a:gd name="connsiteY3107" fmla="*/ 269081 h 514350"/>
                <a:gd name="connsiteX3108" fmla="*/ 53816 w 6400800"/>
                <a:gd name="connsiteY3108" fmla="*/ 244316 h 514350"/>
                <a:gd name="connsiteX3109" fmla="*/ 46196 w 6400800"/>
                <a:gd name="connsiteY3109" fmla="*/ 223361 h 514350"/>
                <a:gd name="connsiteX3110" fmla="*/ 50006 w 6400800"/>
                <a:gd name="connsiteY3110" fmla="*/ 245269 h 514350"/>
                <a:gd name="connsiteX3111" fmla="*/ 53816 w 6400800"/>
                <a:gd name="connsiteY3111" fmla="*/ 270034 h 514350"/>
                <a:gd name="connsiteX3112" fmla="*/ 58579 w 6400800"/>
                <a:gd name="connsiteY3112" fmla="*/ 302419 h 514350"/>
                <a:gd name="connsiteX3113" fmla="*/ 64294 w 6400800"/>
                <a:gd name="connsiteY3113" fmla="*/ 340519 h 514350"/>
                <a:gd name="connsiteX3114" fmla="*/ 69056 w 6400800"/>
                <a:gd name="connsiteY3114" fmla="*/ 381476 h 514350"/>
                <a:gd name="connsiteX3115" fmla="*/ 67151 w 6400800"/>
                <a:gd name="connsiteY3115" fmla="*/ 385286 h 514350"/>
                <a:gd name="connsiteX3116" fmla="*/ 60484 w 6400800"/>
                <a:gd name="connsiteY3116" fmla="*/ 405289 h 514350"/>
                <a:gd name="connsiteX3117" fmla="*/ 59531 w 6400800"/>
                <a:gd name="connsiteY3117" fmla="*/ 407194 h 514350"/>
                <a:gd name="connsiteX3118" fmla="*/ 56674 w 6400800"/>
                <a:gd name="connsiteY3118" fmla="*/ 407194 h 514350"/>
                <a:gd name="connsiteX3119" fmla="*/ 54769 w 6400800"/>
                <a:gd name="connsiteY3119" fmla="*/ 399574 h 514350"/>
                <a:gd name="connsiteX3120" fmla="*/ 46196 w 6400800"/>
                <a:gd name="connsiteY3120" fmla="*/ 364331 h 514350"/>
                <a:gd name="connsiteX3121" fmla="*/ 37624 w 6400800"/>
                <a:gd name="connsiteY3121" fmla="*/ 332899 h 514350"/>
                <a:gd name="connsiteX3122" fmla="*/ 21431 w 6400800"/>
                <a:gd name="connsiteY3122" fmla="*/ 287179 h 514350"/>
                <a:gd name="connsiteX3123" fmla="*/ 13811 w 6400800"/>
                <a:gd name="connsiteY3123" fmla="*/ 270034 h 514350"/>
                <a:gd name="connsiteX3124" fmla="*/ 17621 w 6400800"/>
                <a:gd name="connsiteY3124" fmla="*/ 288131 h 514350"/>
                <a:gd name="connsiteX3125" fmla="*/ 21431 w 6400800"/>
                <a:gd name="connsiteY3125" fmla="*/ 309086 h 514350"/>
                <a:gd name="connsiteX3126" fmla="*/ 26194 w 6400800"/>
                <a:gd name="connsiteY3126" fmla="*/ 335756 h 514350"/>
                <a:gd name="connsiteX3127" fmla="*/ 31909 w 6400800"/>
                <a:gd name="connsiteY3127" fmla="*/ 367189 h 514350"/>
                <a:gd name="connsiteX3128" fmla="*/ 39529 w 6400800"/>
                <a:gd name="connsiteY3128" fmla="*/ 402431 h 514350"/>
                <a:gd name="connsiteX3129" fmla="*/ 39529 w 6400800"/>
                <a:gd name="connsiteY3129" fmla="*/ 404336 h 514350"/>
                <a:gd name="connsiteX3130" fmla="*/ 7144 w 6400800"/>
                <a:gd name="connsiteY3130" fmla="*/ 399574 h 514350"/>
                <a:gd name="connsiteX3131" fmla="*/ 7144 w 6400800"/>
                <a:gd name="connsiteY3131" fmla="*/ 511016 h 514350"/>
                <a:gd name="connsiteX3132" fmla="*/ 6277451 w 6400800"/>
                <a:gd name="connsiteY3132" fmla="*/ 364331 h 514350"/>
                <a:gd name="connsiteX3133" fmla="*/ 6279356 w 6400800"/>
                <a:gd name="connsiteY3133" fmla="*/ 357664 h 514350"/>
                <a:gd name="connsiteX3134" fmla="*/ 6279356 w 6400800"/>
                <a:gd name="connsiteY3134" fmla="*/ 361474 h 514350"/>
                <a:gd name="connsiteX3135" fmla="*/ 6277451 w 6400800"/>
                <a:gd name="connsiteY3135" fmla="*/ 399574 h 514350"/>
                <a:gd name="connsiteX3136" fmla="*/ 6267926 w 6400800"/>
                <a:gd name="connsiteY3136" fmla="*/ 430054 h 514350"/>
                <a:gd name="connsiteX3137" fmla="*/ 6266021 w 6400800"/>
                <a:gd name="connsiteY3137" fmla="*/ 430054 h 514350"/>
                <a:gd name="connsiteX3138" fmla="*/ 6260306 w 6400800"/>
                <a:gd name="connsiteY3138" fmla="*/ 421481 h 514350"/>
                <a:gd name="connsiteX3139" fmla="*/ 6277451 w 6400800"/>
                <a:gd name="connsiteY3139" fmla="*/ 364331 h 514350"/>
                <a:gd name="connsiteX3140" fmla="*/ 6211729 w 6400800"/>
                <a:gd name="connsiteY3140" fmla="*/ 425291 h 514350"/>
                <a:gd name="connsiteX3141" fmla="*/ 6212681 w 6400800"/>
                <a:gd name="connsiteY3141" fmla="*/ 398621 h 514350"/>
                <a:gd name="connsiteX3142" fmla="*/ 6213634 w 6400800"/>
                <a:gd name="connsiteY3142" fmla="*/ 390049 h 514350"/>
                <a:gd name="connsiteX3143" fmla="*/ 6216492 w 6400800"/>
                <a:gd name="connsiteY3143" fmla="*/ 393859 h 514350"/>
                <a:gd name="connsiteX3144" fmla="*/ 6227921 w 6400800"/>
                <a:gd name="connsiteY3144" fmla="*/ 408146 h 514350"/>
                <a:gd name="connsiteX3145" fmla="*/ 6225064 w 6400800"/>
                <a:gd name="connsiteY3145" fmla="*/ 412909 h 514350"/>
                <a:gd name="connsiteX3146" fmla="*/ 6221254 w 6400800"/>
                <a:gd name="connsiteY3146" fmla="*/ 420529 h 514350"/>
                <a:gd name="connsiteX3147" fmla="*/ 6218396 w 6400800"/>
                <a:gd name="connsiteY3147" fmla="*/ 429101 h 514350"/>
                <a:gd name="connsiteX3148" fmla="*/ 6217444 w 6400800"/>
                <a:gd name="connsiteY3148" fmla="*/ 431006 h 514350"/>
                <a:gd name="connsiteX3149" fmla="*/ 6217444 w 6400800"/>
                <a:gd name="connsiteY3149" fmla="*/ 429101 h 514350"/>
                <a:gd name="connsiteX3150" fmla="*/ 6215539 w 6400800"/>
                <a:gd name="connsiteY3150" fmla="*/ 413861 h 514350"/>
                <a:gd name="connsiteX3151" fmla="*/ 6213634 w 6400800"/>
                <a:gd name="connsiteY3151" fmla="*/ 429101 h 514350"/>
                <a:gd name="connsiteX3152" fmla="*/ 6211729 w 6400800"/>
                <a:gd name="connsiteY3152" fmla="*/ 441484 h 514350"/>
                <a:gd name="connsiteX3153" fmla="*/ 6211729 w 6400800"/>
                <a:gd name="connsiteY3153" fmla="*/ 425291 h 514350"/>
                <a:gd name="connsiteX3154" fmla="*/ 6183154 w 6400800"/>
                <a:gd name="connsiteY3154" fmla="*/ 343376 h 514350"/>
                <a:gd name="connsiteX3155" fmla="*/ 6187917 w 6400800"/>
                <a:gd name="connsiteY3155" fmla="*/ 350996 h 514350"/>
                <a:gd name="connsiteX3156" fmla="*/ 6191726 w 6400800"/>
                <a:gd name="connsiteY3156" fmla="*/ 356711 h 514350"/>
                <a:gd name="connsiteX3157" fmla="*/ 6183154 w 6400800"/>
                <a:gd name="connsiteY3157" fmla="*/ 388144 h 514350"/>
                <a:gd name="connsiteX3158" fmla="*/ 6182201 w 6400800"/>
                <a:gd name="connsiteY3158" fmla="*/ 391954 h 514350"/>
                <a:gd name="connsiteX3159" fmla="*/ 6181249 w 6400800"/>
                <a:gd name="connsiteY3159" fmla="*/ 375761 h 514350"/>
                <a:gd name="connsiteX3160" fmla="*/ 6181249 w 6400800"/>
                <a:gd name="connsiteY3160" fmla="*/ 372904 h 514350"/>
                <a:gd name="connsiteX3161" fmla="*/ 6183154 w 6400800"/>
                <a:gd name="connsiteY3161" fmla="*/ 343376 h 514350"/>
                <a:gd name="connsiteX3162" fmla="*/ 6144101 w 6400800"/>
                <a:gd name="connsiteY3162" fmla="*/ 308134 h 514350"/>
                <a:gd name="connsiteX3163" fmla="*/ 6147912 w 6400800"/>
                <a:gd name="connsiteY3163" fmla="*/ 276701 h 514350"/>
                <a:gd name="connsiteX3164" fmla="*/ 6153626 w 6400800"/>
                <a:gd name="connsiteY3164" fmla="*/ 289084 h 514350"/>
                <a:gd name="connsiteX3165" fmla="*/ 6161246 w 6400800"/>
                <a:gd name="connsiteY3165" fmla="*/ 305276 h 514350"/>
                <a:gd name="connsiteX3166" fmla="*/ 6157437 w 6400800"/>
                <a:gd name="connsiteY3166" fmla="*/ 319564 h 514350"/>
                <a:gd name="connsiteX3167" fmla="*/ 6152674 w 6400800"/>
                <a:gd name="connsiteY3167" fmla="*/ 342424 h 514350"/>
                <a:gd name="connsiteX3168" fmla="*/ 6150769 w 6400800"/>
                <a:gd name="connsiteY3168" fmla="*/ 356711 h 514350"/>
                <a:gd name="connsiteX3169" fmla="*/ 6149817 w 6400800"/>
                <a:gd name="connsiteY3169" fmla="*/ 360521 h 514350"/>
                <a:gd name="connsiteX3170" fmla="*/ 6148864 w 6400800"/>
                <a:gd name="connsiteY3170" fmla="*/ 365284 h 514350"/>
                <a:gd name="connsiteX3171" fmla="*/ 6146006 w 6400800"/>
                <a:gd name="connsiteY3171" fmla="*/ 360521 h 514350"/>
                <a:gd name="connsiteX3172" fmla="*/ 6147912 w 6400800"/>
                <a:gd name="connsiteY3172" fmla="*/ 368141 h 514350"/>
                <a:gd name="connsiteX3173" fmla="*/ 6145054 w 6400800"/>
                <a:gd name="connsiteY3173" fmla="*/ 389096 h 514350"/>
                <a:gd name="connsiteX3174" fmla="*/ 6144101 w 6400800"/>
                <a:gd name="connsiteY3174" fmla="*/ 386239 h 514350"/>
                <a:gd name="connsiteX3175" fmla="*/ 6143149 w 6400800"/>
                <a:gd name="connsiteY3175" fmla="*/ 384334 h 514350"/>
                <a:gd name="connsiteX3176" fmla="*/ 6142196 w 6400800"/>
                <a:gd name="connsiteY3176" fmla="*/ 369094 h 514350"/>
                <a:gd name="connsiteX3177" fmla="*/ 6139339 w 6400800"/>
                <a:gd name="connsiteY3177" fmla="*/ 343376 h 514350"/>
                <a:gd name="connsiteX3178" fmla="*/ 6144101 w 6400800"/>
                <a:gd name="connsiteY3178" fmla="*/ 308134 h 514350"/>
                <a:gd name="connsiteX3179" fmla="*/ 6095524 w 6400800"/>
                <a:gd name="connsiteY3179" fmla="*/ 384334 h 514350"/>
                <a:gd name="connsiteX3180" fmla="*/ 6088856 w 6400800"/>
                <a:gd name="connsiteY3180" fmla="*/ 412909 h 514350"/>
                <a:gd name="connsiteX3181" fmla="*/ 6083142 w 6400800"/>
                <a:gd name="connsiteY3181" fmla="*/ 435769 h 514350"/>
                <a:gd name="connsiteX3182" fmla="*/ 6076474 w 6400800"/>
                <a:gd name="connsiteY3182" fmla="*/ 411956 h 514350"/>
                <a:gd name="connsiteX3183" fmla="*/ 6079331 w 6400800"/>
                <a:gd name="connsiteY3183" fmla="*/ 391001 h 514350"/>
                <a:gd name="connsiteX3184" fmla="*/ 6084094 w 6400800"/>
                <a:gd name="connsiteY3184" fmla="*/ 368141 h 514350"/>
                <a:gd name="connsiteX3185" fmla="*/ 6088856 w 6400800"/>
                <a:gd name="connsiteY3185" fmla="*/ 347186 h 514350"/>
                <a:gd name="connsiteX3186" fmla="*/ 6091714 w 6400800"/>
                <a:gd name="connsiteY3186" fmla="*/ 348139 h 514350"/>
                <a:gd name="connsiteX3187" fmla="*/ 6095524 w 6400800"/>
                <a:gd name="connsiteY3187" fmla="*/ 350996 h 514350"/>
                <a:gd name="connsiteX3188" fmla="*/ 6100287 w 6400800"/>
                <a:gd name="connsiteY3188" fmla="*/ 359569 h 514350"/>
                <a:gd name="connsiteX3189" fmla="*/ 6095524 w 6400800"/>
                <a:gd name="connsiteY3189" fmla="*/ 384334 h 514350"/>
                <a:gd name="connsiteX3190" fmla="*/ 6102192 w 6400800"/>
                <a:gd name="connsiteY3190" fmla="*/ 206216 h 514350"/>
                <a:gd name="connsiteX3191" fmla="*/ 6101239 w 6400800"/>
                <a:gd name="connsiteY3191" fmla="*/ 235744 h 514350"/>
                <a:gd name="connsiteX3192" fmla="*/ 6101239 w 6400800"/>
                <a:gd name="connsiteY3192" fmla="*/ 241459 h 514350"/>
                <a:gd name="connsiteX3193" fmla="*/ 6101239 w 6400800"/>
                <a:gd name="connsiteY3193" fmla="*/ 242411 h 514350"/>
                <a:gd name="connsiteX3194" fmla="*/ 6101239 w 6400800"/>
                <a:gd name="connsiteY3194" fmla="*/ 242411 h 514350"/>
                <a:gd name="connsiteX3195" fmla="*/ 6100287 w 6400800"/>
                <a:gd name="connsiteY3195" fmla="*/ 239554 h 514350"/>
                <a:gd name="connsiteX3196" fmla="*/ 6097429 w 6400800"/>
                <a:gd name="connsiteY3196" fmla="*/ 230981 h 514350"/>
                <a:gd name="connsiteX3197" fmla="*/ 6102192 w 6400800"/>
                <a:gd name="connsiteY3197" fmla="*/ 206216 h 514350"/>
                <a:gd name="connsiteX3198" fmla="*/ 6100287 w 6400800"/>
                <a:gd name="connsiteY3198" fmla="*/ 284321 h 514350"/>
                <a:gd name="connsiteX3199" fmla="*/ 6098381 w 6400800"/>
                <a:gd name="connsiteY3199" fmla="*/ 279559 h 514350"/>
                <a:gd name="connsiteX3200" fmla="*/ 6099334 w 6400800"/>
                <a:gd name="connsiteY3200" fmla="*/ 277654 h 514350"/>
                <a:gd name="connsiteX3201" fmla="*/ 6100287 w 6400800"/>
                <a:gd name="connsiteY3201" fmla="*/ 284321 h 514350"/>
                <a:gd name="connsiteX3202" fmla="*/ 6093619 w 6400800"/>
                <a:gd name="connsiteY3202" fmla="*/ 247174 h 514350"/>
                <a:gd name="connsiteX3203" fmla="*/ 6095524 w 6400800"/>
                <a:gd name="connsiteY3203" fmla="*/ 255746 h 514350"/>
                <a:gd name="connsiteX3204" fmla="*/ 6091714 w 6400800"/>
                <a:gd name="connsiteY3204" fmla="*/ 264319 h 514350"/>
                <a:gd name="connsiteX3205" fmla="*/ 6090762 w 6400800"/>
                <a:gd name="connsiteY3205" fmla="*/ 262414 h 514350"/>
                <a:gd name="connsiteX3206" fmla="*/ 6093619 w 6400800"/>
                <a:gd name="connsiteY3206" fmla="*/ 247174 h 514350"/>
                <a:gd name="connsiteX3207" fmla="*/ 6088856 w 6400800"/>
                <a:gd name="connsiteY3207" fmla="*/ 269081 h 514350"/>
                <a:gd name="connsiteX3208" fmla="*/ 6088856 w 6400800"/>
                <a:gd name="connsiteY3208" fmla="*/ 270034 h 514350"/>
                <a:gd name="connsiteX3209" fmla="*/ 6088856 w 6400800"/>
                <a:gd name="connsiteY3209" fmla="*/ 270034 h 514350"/>
                <a:gd name="connsiteX3210" fmla="*/ 6087904 w 6400800"/>
                <a:gd name="connsiteY3210" fmla="*/ 272891 h 514350"/>
                <a:gd name="connsiteX3211" fmla="*/ 6088856 w 6400800"/>
                <a:gd name="connsiteY3211" fmla="*/ 269081 h 514350"/>
                <a:gd name="connsiteX3212" fmla="*/ 6067901 w 6400800"/>
                <a:gd name="connsiteY3212" fmla="*/ 369094 h 514350"/>
                <a:gd name="connsiteX3213" fmla="*/ 6080284 w 6400800"/>
                <a:gd name="connsiteY3213" fmla="*/ 339566 h 514350"/>
                <a:gd name="connsiteX3214" fmla="*/ 6085046 w 6400800"/>
                <a:gd name="connsiteY3214" fmla="*/ 326231 h 514350"/>
                <a:gd name="connsiteX3215" fmla="*/ 6088856 w 6400800"/>
                <a:gd name="connsiteY3215" fmla="*/ 313849 h 514350"/>
                <a:gd name="connsiteX3216" fmla="*/ 6093619 w 6400800"/>
                <a:gd name="connsiteY3216" fmla="*/ 293846 h 514350"/>
                <a:gd name="connsiteX3217" fmla="*/ 6093619 w 6400800"/>
                <a:gd name="connsiteY3217" fmla="*/ 293846 h 514350"/>
                <a:gd name="connsiteX3218" fmla="*/ 6096476 w 6400800"/>
                <a:gd name="connsiteY3218" fmla="*/ 310991 h 514350"/>
                <a:gd name="connsiteX3219" fmla="*/ 6100287 w 6400800"/>
                <a:gd name="connsiteY3219" fmla="*/ 339566 h 514350"/>
                <a:gd name="connsiteX3220" fmla="*/ 6101239 w 6400800"/>
                <a:gd name="connsiteY3220" fmla="*/ 355759 h 514350"/>
                <a:gd name="connsiteX3221" fmla="*/ 6101239 w 6400800"/>
                <a:gd name="connsiteY3221" fmla="*/ 355759 h 514350"/>
                <a:gd name="connsiteX3222" fmla="*/ 6100287 w 6400800"/>
                <a:gd name="connsiteY3222" fmla="*/ 359569 h 514350"/>
                <a:gd name="connsiteX3223" fmla="*/ 6097429 w 6400800"/>
                <a:gd name="connsiteY3223" fmla="*/ 350044 h 514350"/>
                <a:gd name="connsiteX3224" fmla="*/ 6093619 w 6400800"/>
                <a:gd name="connsiteY3224" fmla="*/ 345281 h 514350"/>
                <a:gd name="connsiteX3225" fmla="*/ 6087904 w 6400800"/>
                <a:gd name="connsiteY3225" fmla="*/ 342424 h 514350"/>
                <a:gd name="connsiteX3226" fmla="*/ 6085999 w 6400800"/>
                <a:gd name="connsiteY3226" fmla="*/ 341471 h 514350"/>
                <a:gd name="connsiteX3227" fmla="*/ 6085046 w 6400800"/>
                <a:gd name="connsiteY3227" fmla="*/ 343376 h 514350"/>
                <a:gd name="connsiteX3228" fmla="*/ 6076474 w 6400800"/>
                <a:gd name="connsiteY3228" fmla="*/ 365284 h 514350"/>
                <a:gd name="connsiteX3229" fmla="*/ 6069806 w 6400800"/>
                <a:gd name="connsiteY3229" fmla="*/ 384334 h 514350"/>
                <a:gd name="connsiteX3230" fmla="*/ 6065996 w 6400800"/>
                <a:gd name="connsiteY3230" fmla="*/ 372904 h 514350"/>
                <a:gd name="connsiteX3231" fmla="*/ 6067901 w 6400800"/>
                <a:gd name="connsiteY3231" fmla="*/ 369094 h 514350"/>
                <a:gd name="connsiteX3232" fmla="*/ 6035517 w 6400800"/>
                <a:gd name="connsiteY3232" fmla="*/ 310039 h 514350"/>
                <a:gd name="connsiteX3233" fmla="*/ 6035517 w 6400800"/>
                <a:gd name="connsiteY3233" fmla="*/ 308134 h 514350"/>
                <a:gd name="connsiteX3234" fmla="*/ 6040279 w 6400800"/>
                <a:gd name="connsiteY3234" fmla="*/ 324326 h 514350"/>
                <a:gd name="connsiteX3235" fmla="*/ 6044089 w 6400800"/>
                <a:gd name="connsiteY3235" fmla="*/ 338614 h 514350"/>
                <a:gd name="connsiteX3236" fmla="*/ 6038374 w 6400800"/>
                <a:gd name="connsiteY3236" fmla="*/ 355759 h 514350"/>
                <a:gd name="connsiteX3237" fmla="*/ 6033612 w 6400800"/>
                <a:gd name="connsiteY3237" fmla="*/ 330041 h 514350"/>
                <a:gd name="connsiteX3238" fmla="*/ 6035517 w 6400800"/>
                <a:gd name="connsiteY3238" fmla="*/ 310039 h 514350"/>
                <a:gd name="connsiteX3239" fmla="*/ 6012656 w 6400800"/>
                <a:gd name="connsiteY3239" fmla="*/ 361474 h 514350"/>
                <a:gd name="connsiteX3240" fmla="*/ 6012656 w 6400800"/>
                <a:gd name="connsiteY3240" fmla="*/ 363379 h 514350"/>
                <a:gd name="connsiteX3241" fmla="*/ 6012656 w 6400800"/>
                <a:gd name="connsiteY3241" fmla="*/ 359569 h 514350"/>
                <a:gd name="connsiteX3242" fmla="*/ 6012656 w 6400800"/>
                <a:gd name="connsiteY3242" fmla="*/ 361474 h 514350"/>
                <a:gd name="connsiteX3243" fmla="*/ 6007894 w 6400800"/>
                <a:gd name="connsiteY3243" fmla="*/ 351949 h 514350"/>
                <a:gd name="connsiteX3244" fmla="*/ 6007894 w 6400800"/>
                <a:gd name="connsiteY3244" fmla="*/ 352901 h 514350"/>
                <a:gd name="connsiteX3245" fmla="*/ 6007894 w 6400800"/>
                <a:gd name="connsiteY3245" fmla="*/ 351949 h 514350"/>
                <a:gd name="connsiteX3246" fmla="*/ 6007894 w 6400800"/>
                <a:gd name="connsiteY3246" fmla="*/ 351949 h 514350"/>
                <a:gd name="connsiteX3247" fmla="*/ 5976462 w 6400800"/>
                <a:gd name="connsiteY3247" fmla="*/ 410051 h 514350"/>
                <a:gd name="connsiteX3248" fmla="*/ 5973604 w 6400800"/>
                <a:gd name="connsiteY3248" fmla="*/ 402431 h 514350"/>
                <a:gd name="connsiteX3249" fmla="*/ 5972651 w 6400800"/>
                <a:gd name="connsiteY3249" fmla="*/ 398621 h 514350"/>
                <a:gd name="connsiteX3250" fmla="*/ 5971699 w 6400800"/>
                <a:gd name="connsiteY3250" fmla="*/ 391001 h 514350"/>
                <a:gd name="connsiteX3251" fmla="*/ 5973604 w 6400800"/>
                <a:gd name="connsiteY3251" fmla="*/ 386239 h 514350"/>
                <a:gd name="connsiteX3252" fmla="*/ 5977414 w 6400800"/>
                <a:gd name="connsiteY3252" fmla="*/ 374809 h 514350"/>
                <a:gd name="connsiteX3253" fmla="*/ 5976462 w 6400800"/>
                <a:gd name="connsiteY3253" fmla="*/ 410051 h 514350"/>
                <a:gd name="connsiteX3254" fmla="*/ 5976462 w 6400800"/>
                <a:gd name="connsiteY3254" fmla="*/ 239554 h 514350"/>
                <a:gd name="connsiteX3255" fmla="*/ 5978367 w 6400800"/>
                <a:gd name="connsiteY3255" fmla="*/ 250031 h 514350"/>
                <a:gd name="connsiteX3256" fmla="*/ 5979319 w 6400800"/>
                <a:gd name="connsiteY3256" fmla="*/ 256699 h 514350"/>
                <a:gd name="connsiteX3257" fmla="*/ 5974556 w 6400800"/>
                <a:gd name="connsiteY3257" fmla="*/ 248126 h 514350"/>
                <a:gd name="connsiteX3258" fmla="*/ 5976462 w 6400800"/>
                <a:gd name="connsiteY3258" fmla="*/ 239554 h 514350"/>
                <a:gd name="connsiteX3259" fmla="*/ 5965984 w 6400800"/>
                <a:gd name="connsiteY3259" fmla="*/ 291941 h 514350"/>
                <a:gd name="connsiteX3260" fmla="*/ 5966937 w 6400800"/>
                <a:gd name="connsiteY3260" fmla="*/ 286226 h 514350"/>
                <a:gd name="connsiteX3261" fmla="*/ 5967889 w 6400800"/>
                <a:gd name="connsiteY3261" fmla="*/ 282416 h 514350"/>
                <a:gd name="connsiteX3262" fmla="*/ 5970746 w 6400800"/>
                <a:gd name="connsiteY3262" fmla="*/ 269081 h 514350"/>
                <a:gd name="connsiteX3263" fmla="*/ 5983129 w 6400800"/>
                <a:gd name="connsiteY3263" fmla="*/ 298609 h 514350"/>
                <a:gd name="connsiteX3264" fmla="*/ 5980271 w 6400800"/>
                <a:gd name="connsiteY3264" fmla="*/ 330994 h 514350"/>
                <a:gd name="connsiteX3265" fmla="*/ 5979319 w 6400800"/>
                <a:gd name="connsiteY3265" fmla="*/ 331946 h 514350"/>
                <a:gd name="connsiteX3266" fmla="*/ 5976462 w 6400800"/>
                <a:gd name="connsiteY3266" fmla="*/ 328136 h 514350"/>
                <a:gd name="connsiteX3267" fmla="*/ 5979319 w 6400800"/>
                <a:gd name="connsiteY3267" fmla="*/ 332899 h 514350"/>
                <a:gd name="connsiteX3268" fmla="*/ 5972651 w 6400800"/>
                <a:gd name="connsiteY3268" fmla="*/ 346234 h 514350"/>
                <a:gd name="connsiteX3269" fmla="*/ 5967889 w 6400800"/>
                <a:gd name="connsiteY3269" fmla="*/ 355759 h 514350"/>
                <a:gd name="connsiteX3270" fmla="*/ 5967889 w 6400800"/>
                <a:gd name="connsiteY3270" fmla="*/ 355759 h 514350"/>
                <a:gd name="connsiteX3271" fmla="*/ 5966937 w 6400800"/>
                <a:gd name="connsiteY3271" fmla="*/ 351949 h 514350"/>
                <a:gd name="connsiteX3272" fmla="*/ 5965031 w 6400800"/>
                <a:gd name="connsiteY3272" fmla="*/ 333851 h 514350"/>
                <a:gd name="connsiteX3273" fmla="*/ 5963126 w 6400800"/>
                <a:gd name="connsiteY3273" fmla="*/ 299561 h 514350"/>
                <a:gd name="connsiteX3274" fmla="*/ 5965984 w 6400800"/>
                <a:gd name="connsiteY3274" fmla="*/ 291941 h 514350"/>
                <a:gd name="connsiteX3275" fmla="*/ 5952649 w 6400800"/>
                <a:gd name="connsiteY3275" fmla="*/ 385286 h 514350"/>
                <a:gd name="connsiteX3276" fmla="*/ 5952649 w 6400800"/>
                <a:gd name="connsiteY3276" fmla="*/ 385286 h 514350"/>
                <a:gd name="connsiteX3277" fmla="*/ 5952649 w 6400800"/>
                <a:gd name="connsiteY3277" fmla="*/ 385286 h 514350"/>
                <a:gd name="connsiteX3278" fmla="*/ 5952649 w 6400800"/>
                <a:gd name="connsiteY3278" fmla="*/ 385286 h 514350"/>
                <a:gd name="connsiteX3279" fmla="*/ 5934551 w 6400800"/>
                <a:gd name="connsiteY3279" fmla="*/ 339566 h 514350"/>
                <a:gd name="connsiteX3280" fmla="*/ 5933599 w 6400800"/>
                <a:gd name="connsiteY3280" fmla="*/ 332899 h 514350"/>
                <a:gd name="connsiteX3281" fmla="*/ 5933599 w 6400800"/>
                <a:gd name="connsiteY3281" fmla="*/ 330994 h 514350"/>
                <a:gd name="connsiteX3282" fmla="*/ 5935504 w 6400800"/>
                <a:gd name="connsiteY3282" fmla="*/ 336709 h 514350"/>
                <a:gd name="connsiteX3283" fmla="*/ 5934551 w 6400800"/>
                <a:gd name="connsiteY3283" fmla="*/ 339566 h 514350"/>
                <a:gd name="connsiteX3284" fmla="*/ 5948839 w 6400800"/>
                <a:gd name="connsiteY3284" fmla="*/ 371951 h 514350"/>
                <a:gd name="connsiteX3285" fmla="*/ 5945981 w 6400800"/>
                <a:gd name="connsiteY3285" fmla="*/ 382429 h 514350"/>
                <a:gd name="connsiteX3286" fmla="*/ 5943124 w 6400800"/>
                <a:gd name="connsiteY3286" fmla="*/ 392906 h 514350"/>
                <a:gd name="connsiteX3287" fmla="*/ 5943124 w 6400800"/>
                <a:gd name="connsiteY3287" fmla="*/ 378619 h 514350"/>
                <a:gd name="connsiteX3288" fmla="*/ 5943124 w 6400800"/>
                <a:gd name="connsiteY3288" fmla="*/ 378619 h 514350"/>
                <a:gd name="connsiteX3289" fmla="*/ 5946934 w 6400800"/>
                <a:gd name="connsiteY3289" fmla="*/ 365284 h 514350"/>
                <a:gd name="connsiteX3290" fmla="*/ 5948839 w 6400800"/>
                <a:gd name="connsiteY3290" fmla="*/ 371951 h 514350"/>
                <a:gd name="connsiteX3291" fmla="*/ 5930742 w 6400800"/>
                <a:gd name="connsiteY3291" fmla="*/ 234791 h 514350"/>
                <a:gd name="connsiteX3292" fmla="*/ 5938362 w 6400800"/>
                <a:gd name="connsiteY3292" fmla="*/ 269081 h 514350"/>
                <a:gd name="connsiteX3293" fmla="*/ 5945029 w 6400800"/>
                <a:gd name="connsiteY3293" fmla="*/ 307181 h 514350"/>
                <a:gd name="connsiteX3294" fmla="*/ 5940267 w 6400800"/>
                <a:gd name="connsiteY3294" fmla="*/ 323374 h 514350"/>
                <a:gd name="connsiteX3295" fmla="*/ 5940267 w 6400800"/>
                <a:gd name="connsiteY3295" fmla="*/ 324326 h 514350"/>
                <a:gd name="connsiteX3296" fmla="*/ 5931694 w 6400800"/>
                <a:gd name="connsiteY3296" fmla="*/ 307181 h 514350"/>
                <a:gd name="connsiteX3297" fmla="*/ 5928837 w 6400800"/>
                <a:gd name="connsiteY3297" fmla="*/ 284321 h 514350"/>
                <a:gd name="connsiteX3298" fmla="*/ 5926931 w 6400800"/>
                <a:gd name="connsiteY3298" fmla="*/ 266224 h 514350"/>
                <a:gd name="connsiteX3299" fmla="*/ 5929789 w 6400800"/>
                <a:gd name="connsiteY3299" fmla="*/ 259556 h 514350"/>
                <a:gd name="connsiteX3300" fmla="*/ 5926931 w 6400800"/>
                <a:gd name="connsiteY3300" fmla="*/ 264319 h 514350"/>
                <a:gd name="connsiteX3301" fmla="*/ 5925026 w 6400800"/>
                <a:gd name="connsiteY3301" fmla="*/ 245269 h 514350"/>
                <a:gd name="connsiteX3302" fmla="*/ 5926931 w 6400800"/>
                <a:gd name="connsiteY3302" fmla="*/ 233839 h 514350"/>
                <a:gd name="connsiteX3303" fmla="*/ 5928837 w 6400800"/>
                <a:gd name="connsiteY3303" fmla="*/ 226219 h 514350"/>
                <a:gd name="connsiteX3304" fmla="*/ 5930742 w 6400800"/>
                <a:gd name="connsiteY3304" fmla="*/ 234791 h 514350"/>
                <a:gd name="connsiteX3305" fmla="*/ 5923121 w 6400800"/>
                <a:gd name="connsiteY3305" fmla="*/ 209074 h 514350"/>
                <a:gd name="connsiteX3306" fmla="*/ 5926931 w 6400800"/>
                <a:gd name="connsiteY3306" fmla="*/ 222409 h 514350"/>
                <a:gd name="connsiteX3307" fmla="*/ 5922169 w 6400800"/>
                <a:gd name="connsiteY3307" fmla="*/ 232886 h 514350"/>
                <a:gd name="connsiteX3308" fmla="*/ 5919312 w 6400800"/>
                <a:gd name="connsiteY3308" fmla="*/ 206216 h 514350"/>
                <a:gd name="connsiteX3309" fmla="*/ 5918359 w 6400800"/>
                <a:gd name="connsiteY3309" fmla="*/ 193834 h 514350"/>
                <a:gd name="connsiteX3310" fmla="*/ 5923121 w 6400800"/>
                <a:gd name="connsiteY3310" fmla="*/ 209074 h 514350"/>
                <a:gd name="connsiteX3311" fmla="*/ 5901214 w 6400800"/>
                <a:gd name="connsiteY3311" fmla="*/ 244316 h 514350"/>
                <a:gd name="connsiteX3312" fmla="*/ 5901214 w 6400800"/>
                <a:gd name="connsiteY3312" fmla="*/ 258604 h 514350"/>
                <a:gd name="connsiteX3313" fmla="*/ 5902167 w 6400800"/>
                <a:gd name="connsiteY3313" fmla="*/ 278606 h 514350"/>
                <a:gd name="connsiteX3314" fmla="*/ 5904071 w 6400800"/>
                <a:gd name="connsiteY3314" fmla="*/ 302419 h 514350"/>
                <a:gd name="connsiteX3315" fmla="*/ 5900262 w 6400800"/>
                <a:gd name="connsiteY3315" fmla="*/ 310039 h 514350"/>
                <a:gd name="connsiteX3316" fmla="*/ 5895499 w 6400800"/>
                <a:gd name="connsiteY3316" fmla="*/ 284321 h 514350"/>
                <a:gd name="connsiteX3317" fmla="*/ 5901214 w 6400800"/>
                <a:gd name="connsiteY3317" fmla="*/ 244316 h 514350"/>
                <a:gd name="connsiteX3318" fmla="*/ 5903119 w 6400800"/>
                <a:gd name="connsiteY3318" fmla="*/ 324326 h 514350"/>
                <a:gd name="connsiteX3319" fmla="*/ 5903119 w 6400800"/>
                <a:gd name="connsiteY3319" fmla="*/ 328136 h 514350"/>
                <a:gd name="connsiteX3320" fmla="*/ 5902167 w 6400800"/>
                <a:gd name="connsiteY3320" fmla="*/ 325279 h 514350"/>
                <a:gd name="connsiteX3321" fmla="*/ 5903119 w 6400800"/>
                <a:gd name="connsiteY3321" fmla="*/ 324326 h 514350"/>
                <a:gd name="connsiteX3322" fmla="*/ 5892642 w 6400800"/>
                <a:gd name="connsiteY3322" fmla="*/ 348139 h 514350"/>
                <a:gd name="connsiteX3323" fmla="*/ 5893594 w 6400800"/>
                <a:gd name="connsiteY3323" fmla="*/ 352901 h 514350"/>
                <a:gd name="connsiteX3324" fmla="*/ 5893594 w 6400800"/>
                <a:gd name="connsiteY3324" fmla="*/ 355759 h 514350"/>
                <a:gd name="connsiteX3325" fmla="*/ 5891689 w 6400800"/>
                <a:gd name="connsiteY3325" fmla="*/ 350996 h 514350"/>
                <a:gd name="connsiteX3326" fmla="*/ 5892642 w 6400800"/>
                <a:gd name="connsiteY3326" fmla="*/ 348139 h 514350"/>
                <a:gd name="connsiteX3327" fmla="*/ 5893594 w 6400800"/>
                <a:gd name="connsiteY3327" fmla="*/ 373856 h 514350"/>
                <a:gd name="connsiteX3328" fmla="*/ 5898356 w 6400800"/>
                <a:gd name="connsiteY3328" fmla="*/ 391954 h 514350"/>
                <a:gd name="connsiteX3329" fmla="*/ 5902167 w 6400800"/>
                <a:gd name="connsiteY3329" fmla="*/ 408146 h 514350"/>
                <a:gd name="connsiteX3330" fmla="*/ 5904071 w 6400800"/>
                <a:gd name="connsiteY3330" fmla="*/ 417671 h 514350"/>
                <a:gd name="connsiteX3331" fmla="*/ 5904071 w 6400800"/>
                <a:gd name="connsiteY3331" fmla="*/ 417671 h 514350"/>
                <a:gd name="connsiteX3332" fmla="*/ 5890737 w 6400800"/>
                <a:gd name="connsiteY3332" fmla="*/ 387191 h 514350"/>
                <a:gd name="connsiteX3333" fmla="*/ 5888831 w 6400800"/>
                <a:gd name="connsiteY3333" fmla="*/ 383381 h 514350"/>
                <a:gd name="connsiteX3334" fmla="*/ 5887879 w 6400800"/>
                <a:gd name="connsiteY3334" fmla="*/ 357664 h 514350"/>
                <a:gd name="connsiteX3335" fmla="*/ 5888831 w 6400800"/>
                <a:gd name="connsiteY3335" fmla="*/ 356711 h 514350"/>
                <a:gd name="connsiteX3336" fmla="*/ 5893594 w 6400800"/>
                <a:gd name="connsiteY3336" fmla="*/ 373856 h 514350"/>
                <a:gd name="connsiteX3337" fmla="*/ 5886926 w 6400800"/>
                <a:gd name="connsiteY3337" fmla="*/ 321469 h 514350"/>
                <a:gd name="connsiteX3338" fmla="*/ 5888831 w 6400800"/>
                <a:gd name="connsiteY3338" fmla="*/ 311944 h 514350"/>
                <a:gd name="connsiteX3339" fmla="*/ 5888831 w 6400800"/>
                <a:gd name="connsiteY3339" fmla="*/ 314801 h 514350"/>
                <a:gd name="connsiteX3340" fmla="*/ 5889784 w 6400800"/>
                <a:gd name="connsiteY3340" fmla="*/ 326231 h 514350"/>
                <a:gd name="connsiteX3341" fmla="*/ 5885974 w 6400800"/>
                <a:gd name="connsiteY3341" fmla="*/ 332899 h 514350"/>
                <a:gd name="connsiteX3342" fmla="*/ 5885974 w 6400800"/>
                <a:gd name="connsiteY3342" fmla="*/ 325279 h 514350"/>
                <a:gd name="connsiteX3343" fmla="*/ 5886926 w 6400800"/>
                <a:gd name="connsiteY3343" fmla="*/ 321469 h 514350"/>
                <a:gd name="connsiteX3344" fmla="*/ 5858351 w 6400800"/>
                <a:gd name="connsiteY3344" fmla="*/ 279559 h 514350"/>
                <a:gd name="connsiteX3345" fmla="*/ 5858351 w 6400800"/>
                <a:gd name="connsiteY3345" fmla="*/ 284321 h 514350"/>
                <a:gd name="connsiteX3346" fmla="*/ 5858351 w 6400800"/>
                <a:gd name="connsiteY3346" fmla="*/ 285274 h 514350"/>
                <a:gd name="connsiteX3347" fmla="*/ 5857399 w 6400800"/>
                <a:gd name="connsiteY3347" fmla="*/ 281464 h 514350"/>
                <a:gd name="connsiteX3348" fmla="*/ 5858351 w 6400800"/>
                <a:gd name="connsiteY3348" fmla="*/ 279559 h 514350"/>
                <a:gd name="connsiteX3349" fmla="*/ 5841206 w 6400800"/>
                <a:gd name="connsiteY3349" fmla="*/ 264319 h 514350"/>
                <a:gd name="connsiteX3350" fmla="*/ 5840254 w 6400800"/>
                <a:gd name="connsiteY3350" fmla="*/ 270034 h 514350"/>
                <a:gd name="connsiteX3351" fmla="*/ 5839301 w 6400800"/>
                <a:gd name="connsiteY3351" fmla="*/ 277654 h 514350"/>
                <a:gd name="connsiteX3352" fmla="*/ 5838349 w 6400800"/>
                <a:gd name="connsiteY3352" fmla="*/ 271939 h 514350"/>
                <a:gd name="connsiteX3353" fmla="*/ 5841206 w 6400800"/>
                <a:gd name="connsiteY3353" fmla="*/ 264319 h 514350"/>
                <a:gd name="connsiteX3354" fmla="*/ 5828824 w 6400800"/>
                <a:gd name="connsiteY3354" fmla="*/ 305276 h 514350"/>
                <a:gd name="connsiteX3355" fmla="*/ 5826919 w 6400800"/>
                <a:gd name="connsiteY3355" fmla="*/ 308134 h 514350"/>
                <a:gd name="connsiteX3356" fmla="*/ 5826919 w 6400800"/>
                <a:gd name="connsiteY3356" fmla="*/ 306229 h 514350"/>
                <a:gd name="connsiteX3357" fmla="*/ 5829776 w 6400800"/>
                <a:gd name="connsiteY3357" fmla="*/ 299561 h 514350"/>
                <a:gd name="connsiteX3358" fmla="*/ 5828824 w 6400800"/>
                <a:gd name="connsiteY3358" fmla="*/ 305276 h 514350"/>
                <a:gd name="connsiteX3359" fmla="*/ 5823109 w 6400800"/>
                <a:gd name="connsiteY3359" fmla="*/ 259556 h 514350"/>
                <a:gd name="connsiteX3360" fmla="*/ 5827871 w 6400800"/>
                <a:gd name="connsiteY3360" fmla="*/ 270986 h 514350"/>
                <a:gd name="connsiteX3361" fmla="*/ 5828824 w 6400800"/>
                <a:gd name="connsiteY3361" fmla="*/ 273844 h 514350"/>
                <a:gd name="connsiteX3362" fmla="*/ 5828824 w 6400800"/>
                <a:gd name="connsiteY3362" fmla="*/ 286226 h 514350"/>
                <a:gd name="connsiteX3363" fmla="*/ 5824062 w 6400800"/>
                <a:gd name="connsiteY3363" fmla="*/ 295751 h 514350"/>
                <a:gd name="connsiteX3364" fmla="*/ 5824062 w 6400800"/>
                <a:gd name="connsiteY3364" fmla="*/ 294799 h 514350"/>
                <a:gd name="connsiteX3365" fmla="*/ 5823109 w 6400800"/>
                <a:gd name="connsiteY3365" fmla="*/ 267176 h 514350"/>
                <a:gd name="connsiteX3366" fmla="*/ 5823109 w 6400800"/>
                <a:gd name="connsiteY3366" fmla="*/ 259556 h 514350"/>
                <a:gd name="connsiteX3367" fmla="*/ 5813584 w 6400800"/>
                <a:gd name="connsiteY3367" fmla="*/ 252889 h 514350"/>
                <a:gd name="connsiteX3368" fmla="*/ 5812631 w 6400800"/>
                <a:gd name="connsiteY3368" fmla="*/ 258604 h 514350"/>
                <a:gd name="connsiteX3369" fmla="*/ 5811679 w 6400800"/>
                <a:gd name="connsiteY3369" fmla="*/ 255746 h 514350"/>
                <a:gd name="connsiteX3370" fmla="*/ 5811679 w 6400800"/>
                <a:gd name="connsiteY3370" fmla="*/ 262414 h 514350"/>
                <a:gd name="connsiteX3371" fmla="*/ 5810726 w 6400800"/>
                <a:gd name="connsiteY3371" fmla="*/ 267176 h 514350"/>
                <a:gd name="connsiteX3372" fmla="*/ 5808821 w 6400800"/>
                <a:gd name="connsiteY3372" fmla="*/ 294799 h 514350"/>
                <a:gd name="connsiteX3373" fmla="*/ 5808821 w 6400800"/>
                <a:gd name="connsiteY3373" fmla="*/ 304324 h 514350"/>
                <a:gd name="connsiteX3374" fmla="*/ 5807869 w 6400800"/>
                <a:gd name="connsiteY3374" fmla="*/ 300514 h 514350"/>
                <a:gd name="connsiteX3375" fmla="*/ 5806917 w 6400800"/>
                <a:gd name="connsiteY3375" fmla="*/ 264319 h 514350"/>
                <a:gd name="connsiteX3376" fmla="*/ 5806917 w 6400800"/>
                <a:gd name="connsiteY3376" fmla="*/ 262414 h 514350"/>
                <a:gd name="connsiteX3377" fmla="*/ 5813584 w 6400800"/>
                <a:gd name="connsiteY3377" fmla="*/ 252889 h 514350"/>
                <a:gd name="connsiteX3378" fmla="*/ 5804059 w 6400800"/>
                <a:gd name="connsiteY3378" fmla="*/ 268129 h 514350"/>
                <a:gd name="connsiteX3379" fmla="*/ 5804059 w 6400800"/>
                <a:gd name="connsiteY3379" fmla="*/ 269081 h 514350"/>
                <a:gd name="connsiteX3380" fmla="*/ 5804059 w 6400800"/>
                <a:gd name="connsiteY3380" fmla="*/ 268129 h 514350"/>
                <a:gd name="connsiteX3381" fmla="*/ 5804059 w 6400800"/>
                <a:gd name="connsiteY3381" fmla="*/ 268129 h 514350"/>
                <a:gd name="connsiteX3382" fmla="*/ 5799296 w 6400800"/>
                <a:gd name="connsiteY3382" fmla="*/ 164306 h 514350"/>
                <a:gd name="connsiteX3383" fmla="*/ 5802154 w 6400800"/>
                <a:gd name="connsiteY3383" fmla="*/ 166211 h 514350"/>
                <a:gd name="connsiteX3384" fmla="*/ 5796439 w 6400800"/>
                <a:gd name="connsiteY3384" fmla="*/ 176689 h 514350"/>
                <a:gd name="connsiteX3385" fmla="*/ 5796439 w 6400800"/>
                <a:gd name="connsiteY3385" fmla="*/ 163354 h 514350"/>
                <a:gd name="connsiteX3386" fmla="*/ 5799296 w 6400800"/>
                <a:gd name="connsiteY3386" fmla="*/ 164306 h 514350"/>
                <a:gd name="connsiteX3387" fmla="*/ 5770721 w 6400800"/>
                <a:gd name="connsiteY3387" fmla="*/ 386239 h 514350"/>
                <a:gd name="connsiteX3388" fmla="*/ 5770721 w 6400800"/>
                <a:gd name="connsiteY3388" fmla="*/ 383381 h 514350"/>
                <a:gd name="connsiteX3389" fmla="*/ 5770721 w 6400800"/>
                <a:gd name="connsiteY3389" fmla="*/ 382429 h 514350"/>
                <a:gd name="connsiteX3390" fmla="*/ 5771674 w 6400800"/>
                <a:gd name="connsiteY3390" fmla="*/ 387191 h 514350"/>
                <a:gd name="connsiteX3391" fmla="*/ 5770721 w 6400800"/>
                <a:gd name="connsiteY3391" fmla="*/ 386239 h 514350"/>
                <a:gd name="connsiteX3392" fmla="*/ 5782151 w 6400800"/>
                <a:gd name="connsiteY3392" fmla="*/ 253841 h 514350"/>
                <a:gd name="connsiteX3393" fmla="*/ 5780246 w 6400800"/>
                <a:gd name="connsiteY3393" fmla="*/ 258604 h 514350"/>
                <a:gd name="connsiteX3394" fmla="*/ 5777389 w 6400800"/>
                <a:gd name="connsiteY3394" fmla="*/ 267176 h 514350"/>
                <a:gd name="connsiteX3395" fmla="*/ 5773579 w 6400800"/>
                <a:gd name="connsiteY3395" fmla="*/ 275749 h 514350"/>
                <a:gd name="connsiteX3396" fmla="*/ 5772626 w 6400800"/>
                <a:gd name="connsiteY3396" fmla="*/ 273844 h 514350"/>
                <a:gd name="connsiteX3397" fmla="*/ 5771674 w 6400800"/>
                <a:gd name="connsiteY3397" fmla="*/ 272891 h 514350"/>
                <a:gd name="connsiteX3398" fmla="*/ 5783104 w 6400800"/>
                <a:gd name="connsiteY3398" fmla="*/ 241459 h 514350"/>
                <a:gd name="connsiteX3399" fmla="*/ 5782151 w 6400800"/>
                <a:gd name="connsiteY3399" fmla="*/ 253841 h 514350"/>
                <a:gd name="connsiteX3400" fmla="*/ 5785962 w 6400800"/>
                <a:gd name="connsiteY3400" fmla="*/ 221456 h 514350"/>
                <a:gd name="connsiteX3401" fmla="*/ 5784056 w 6400800"/>
                <a:gd name="connsiteY3401" fmla="*/ 239554 h 514350"/>
                <a:gd name="connsiteX3402" fmla="*/ 5784056 w 6400800"/>
                <a:gd name="connsiteY3402" fmla="*/ 240506 h 514350"/>
                <a:gd name="connsiteX3403" fmla="*/ 5770721 w 6400800"/>
                <a:gd name="connsiteY3403" fmla="*/ 267176 h 514350"/>
                <a:gd name="connsiteX3404" fmla="*/ 5769769 w 6400800"/>
                <a:gd name="connsiteY3404" fmla="*/ 261461 h 514350"/>
                <a:gd name="connsiteX3405" fmla="*/ 5769769 w 6400800"/>
                <a:gd name="connsiteY3405" fmla="*/ 258604 h 514350"/>
                <a:gd name="connsiteX3406" fmla="*/ 5785962 w 6400800"/>
                <a:gd name="connsiteY3406" fmla="*/ 221456 h 514350"/>
                <a:gd name="connsiteX3407" fmla="*/ 5754529 w 6400800"/>
                <a:gd name="connsiteY3407" fmla="*/ 333851 h 514350"/>
                <a:gd name="connsiteX3408" fmla="*/ 5746909 w 6400800"/>
                <a:gd name="connsiteY3408" fmla="*/ 348139 h 514350"/>
                <a:gd name="connsiteX3409" fmla="*/ 5745956 w 6400800"/>
                <a:gd name="connsiteY3409" fmla="*/ 346234 h 514350"/>
                <a:gd name="connsiteX3410" fmla="*/ 5754529 w 6400800"/>
                <a:gd name="connsiteY3410" fmla="*/ 322421 h 514350"/>
                <a:gd name="connsiteX3411" fmla="*/ 5754529 w 6400800"/>
                <a:gd name="connsiteY3411" fmla="*/ 333851 h 514350"/>
                <a:gd name="connsiteX3412" fmla="*/ 5754529 w 6400800"/>
                <a:gd name="connsiteY3412" fmla="*/ 333851 h 514350"/>
                <a:gd name="connsiteX3413" fmla="*/ 5762149 w 6400800"/>
                <a:gd name="connsiteY3413" fmla="*/ 302419 h 514350"/>
                <a:gd name="connsiteX3414" fmla="*/ 5762149 w 6400800"/>
                <a:gd name="connsiteY3414" fmla="*/ 302419 h 514350"/>
                <a:gd name="connsiteX3415" fmla="*/ 5762149 w 6400800"/>
                <a:gd name="connsiteY3415" fmla="*/ 302419 h 514350"/>
                <a:gd name="connsiteX3416" fmla="*/ 5762149 w 6400800"/>
                <a:gd name="connsiteY3416" fmla="*/ 302419 h 514350"/>
                <a:gd name="connsiteX3417" fmla="*/ 5761196 w 6400800"/>
                <a:gd name="connsiteY3417" fmla="*/ 304324 h 514350"/>
                <a:gd name="connsiteX3418" fmla="*/ 5762149 w 6400800"/>
                <a:gd name="connsiteY3418" fmla="*/ 305276 h 514350"/>
                <a:gd name="connsiteX3419" fmla="*/ 5762149 w 6400800"/>
                <a:gd name="connsiteY3419" fmla="*/ 308134 h 514350"/>
                <a:gd name="connsiteX3420" fmla="*/ 5762149 w 6400800"/>
                <a:gd name="connsiteY3420" fmla="*/ 310039 h 514350"/>
                <a:gd name="connsiteX3421" fmla="*/ 5759292 w 6400800"/>
                <a:gd name="connsiteY3421" fmla="*/ 320516 h 514350"/>
                <a:gd name="connsiteX3422" fmla="*/ 5757387 w 6400800"/>
                <a:gd name="connsiteY3422" fmla="*/ 328136 h 514350"/>
                <a:gd name="connsiteX3423" fmla="*/ 5755481 w 6400800"/>
                <a:gd name="connsiteY3423" fmla="*/ 320516 h 514350"/>
                <a:gd name="connsiteX3424" fmla="*/ 5761196 w 6400800"/>
                <a:gd name="connsiteY3424" fmla="*/ 304324 h 514350"/>
                <a:gd name="connsiteX3425" fmla="*/ 5760244 w 6400800"/>
                <a:gd name="connsiteY3425" fmla="*/ 289084 h 514350"/>
                <a:gd name="connsiteX3426" fmla="*/ 5759292 w 6400800"/>
                <a:gd name="connsiteY3426" fmla="*/ 290989 h 514350"/>
                <a:gd name="connsiteX3427" fmla="*/ 5751671 w 6400800"/>
                <a:gd name="connsiteY3427" fmla="*/ 301466 h 514350"/>
                <a:gd name="connsiteX3428" fmla="*/ 5748814 w 6400800"/>
                <a:gd name="connsiteY3428" fmla="*/ 305276 h 514350"/>
                <a:gd name="connsiteX3429" fmla="*/ 5759292 w 6400800"/>
                <a:gd name="connsiteY3429" fmla="*/ 280511 h 514350"/>
                <a:gd name="connsiteX3430" fmla="*/ 5760244 w 6400800"/>
                <a:gd name="connsiteY3430" fmla="*/ 289084 h 514350"/>
                <a:gd name="connsiteX3431" fmla="*/ 5756434 w 6400800"/>
                <a:gd name="connsiteY3431" fmla="*/ 227171 h 514350"/>
                <a:gd name="connsiteX3432" fmla="*/ 5756434 w 6400800"/>
                <a:gd name="connsiteY3432" fmla="*/ 243364 h 514350"/>
                <a:gd name="connsiteX3433" fmla="*/ 5757387 w 6400800"/>
                <a:gd name="connsiteY3433" fmla="*/ 250984 h 514350"/>
                <a:gd name="connsiteX3434" fmla="*/ 5753576 w 6400800"/>
                <a:gd name="connsiteY3434" fmla="*/ 259556 h 514350"/>
                <a:gd name="connsiteX3435" fmla="*/ 5741194 w 6400800"/>
                <a:gd name="connsiteY3435" fmla="*/ 285274 h 514350"/>
                <a:gd name="connsiteX3436" fmla="*/ 5756434 w 6400800"/>
                <a:gd name="connsiteY3436" fmla="*/ 227171 h 514350"/>
                <a:gd name="connsiteX3437" fmla="*/ 5676424 w 6400800"/>
                <a:gd name="connsiteY3437" fmla="*/ 184309 h 514350"/>
                <a:gd name="connsiteX3438" fmla="*/ 5676424 w 6400800"/>
                <a:gd name="connsiteY3438" fmla="*/ 198596 h 514350"/>
                <a:gd name="connsiteX3439" fmla="*/ 5676424 w 6400800"/>
                <a:gd name="connsiteY3439" fmla="*/ 228124 h 514350"/>
                <a:gd name="connsiteX3440" fmla="*/ 5676424 w 6400800"/>
                <a:gd name="connsiteY3440" fmla="*/ 246221 h 514350"/>
                <a:gd name="connsiteX3441" fmla="*/ 5677376 w 6400800"/>
                <a:gd name="connsiteY3441" fmla="*/ 266224 h 514350"/>
                <a:gd name="connsiteX3442" fmla="*/ 5678329 w 6400800"/>
                <a:gd name="connsiteY3442" fmla="*/ 276701 h 514350"/>
                <a:gd name="connsiteX3443" fmla="*/ 5678329 w 6400800"/>
                <a:gd name="connsiteY3443" fmla="*/ 276701 h 514350"/>
                <a:gd name="connsiteX3444" fmla="*/ 5675471 w 6400800"/>
                <a:gd name="connsiteY3444" fmla="*/ 259556 h 514350"/>
                <a:gd name="connsiteX3445" fmla="*/ 5672614 w 6400800"/>
                <a:gd name="connsiteY3445" fmla="*/ 242411 h 514350"/>
                <a:gd name="connsiteX3446" fmla="*/ 5669756 w 6400800"/>
                <a:gd name="connsiteY3446" fmla="*/ 223361 h 514350"/>
                <a:gd name="connsiteX3447" fmla="*/ 5668804 w 6400800"/>
                <a:gd name="connsiteY3447" fmla="*/ 216694 h 514350"/>
                <a:gd name="connsiteX3448" fmla="*/ 5676424 w 6400800"/>
                <a:gd name="connsiteY3448" fmla="*/ 184309 h 514350"/>
                <a:gd name="connsiteX3449" fmla="*/ 5652612 w 6400800"/>
                <a:gd name="connsiteY3449" fmla="*/ 263366 h 514350"/>
                <a:gd name="connsiteX3450" fmla="*/ 5653564 w 6400800"/>
                <a:gd name="connsiteY3450" fmla="*/ 261461 h 514350"/>
                <a:gd name="connsiteX3451" fmla="*/ 5655469 w 6400800"/>
                <a:gd name="connsiteY3451" fmla="*/ 264319 h 514350"/>
                <a:gd name="connsiteX3452" fmla="*/ 5655469 w 6400800"/>
                <a:gd name="connsiteY3452" fmla="*/ 268129 h 514350"/>
                <a:gd name="connsiteX3453" fmla="*/ 5657374 w 6400800"/>
                <a:gd name="connsiteY3453" fmla="*/ 286226 h 514350"/>
                <a:gd name="connsiteX3454" fmla="*/ 5652612 w 6400800"/>
                <a:gd name="connsiteY3454" fmla="*/ 269081 h 514350"/>
                <a:gd name="connsiteX3455" fmla="*/ 5651659 w 6400800"/>
                <a:gd name="connsiteY3455" fmla="*/ 267176 h 514350"/>
                <a:gd name="connsiteX3456" fmla="*/ 5652612 w 6400800"/>
                <a:gd name="connsiteY3456" fmla="*/ 263366 h 514350"/>
                <a:gd name="connsiteX3457" fmla="*/ 5650706 w 6400800"/>
                <a:gd name="connsiteY3457" fmla="*/ 205264 h 514350"/>
                <a:gd name="connsiteX3458" fmla="*/ 5651659 w 6400800"/>
                <a:gd name="connsiteY3458" fmla="*/ 212884 h 514350"/>
                <a:gd name="connsiteX3459" fmla="*/ 5649754 w 6400800"/>
                <a:gd name="connsiteY3459" fmla="*/ 207169 h 514350"/>
                <a:gd name="connsiteX3460" fmla="*/ 5650706 w 6400800"/>
                <a:gd name="connsiteY3460" fmla="*/ 205264 h 514350"/>
                <a:gd name="connsiteX3461" fmla="*/ 5647849 w 6400800"/>
                <a:gd name="connsiteY3461" fmla="*/ 209074 h 514350"/>
                <a:gd name="connsiteX3462" fmla="*/ 5649754 w 6400800"/>
                <a:gd name="connsiteY3462" fmla="*/ 219551 h 514350"/>
                <a:gd name="connsiteX3463" fmla="*/ 5651659 w 6400800"/>
                <a:gd name="connsiteY3463" fmla="*/ 235744 h 514350"/>
                <a:gd name="connsiteX3464" fmla="*/ 5651659 w 6400800"/>
                <a:gd name="connsiteY3464" fmla="*/ 236696 h 514350"/>
                <a:gd name="connsiteX3465" fmla="*/ 5645944 w 6400800"/>
                <a:gd name="connsiteY3465" fmla="*/ 228124 h 514350"/>
                <a:gd name="connsiteX3466" fmla="*/ 5644039 w 6400800"/>
                <a:gd name="connsiteY3466" fmla="*/ 216694 h 514350"/>
                <a:gd name="connsiteX3467" fmla="*/ 5647849 w 6400800"/>
                <a:gd name="connsiteY3467" fmla="*/ 209074 h 514350"/>
                <a:gd name="connsiteX3468" fmla="*/ 5642134 w 6400800"/>
                <a:gd name="connsiteY3468" fmla="*/ 370046 h 514350"/>
                <a:gd name="connsiteX3469" fmla="*/ 5643087 w 6400800"/>
                <a:gd name="connsiteY3469" fmla="*/ 377666 h 514350"/>
                <a:gd name="connsiteX3470" fmla="*/ 5641181 w 6400800"/>
                <a:gd name="connsiteY3470" fmla="*/ 385286 h 514350"/>
                <a:gd name="connsiteX3471" fmla="*/ 5642134 w 6400800"/>
                <a:gd name="connsiteY3471" fmla="*/ 370046 h 514350"/>
                <a:gd name="connsiteX3472" fmla="*/ 5624037 w 6400800"/>
                <a:gd name="connsiteY3472" fmla="*/ 272891 h 514350"/>
                <a:gd name="connsiteX3473" fmla="*/ 5625942 w 6400800"/>
                <a:gd name="connsiteY3473" fmla="*/ 258604 h 514350"/>
                <a:gd name="connsiteX3474" fmla="*/ 5625942 w 6400800"/>
                <a:gd name="connsiteY3474" fmla="*/ 254794 h 514350"/>
                <a:gd name="connsiteX3475" fmla="*/ 5632609 w 6400800"/>
                <a:gd name="connsiteY3475" fmla="*/ 241459 h 514350"/>
                <a:gd name="connsiteX3476" fmla="*/ 5634514 w 6400800"/>
                <a:gd name="connsiteY3476" fmla="*/ 236696 h 514350"/>
                <a:gd name="connsiteX3477" fmla="*/ 5637371 w 6400800"/>
                <a:gd name="connsiteY3477" fmla="*/ 245269 h 514350"/>
                <a:gd name="connsiteX3478" fmla="*/ 5640229 w 6400800"/>
                <a:gd name="connsiteY3478" fmla="*/ 259556 h 514350"/>
                <a:gd name="connsiteX3479" fmla="*/ 5640229 w 6400800"/>
                <a:gd name="connsiteY3479" fmla="*/ 266224 h 514350"/>
                <a:gd name="connsiteX3480" fmla="*/ 5631656 w 6400800"/>
                <a:gd name="connsiteY3480" fmla="*/ 288131 h 514350"/>
                <a:gd name="connsiteX3481" fmla="*/ 5624037 w 6400800"/>
                <a:gd name="connsiteY3481" fmla="*/ 277654 h 514350"/>
                <a:gd name="connsiteX3482" fmla="*/ 5624037 w 6400800"/>
                <a:gd name="connsiteY3482" fmla="*/ 272891 h 514350"/>
                <a:gd name="connsiteX3483" fmla="*/ 5623084 w 6400800"/>
                <a:gd name="connsiteY3483" fmla="*/ 289084 h 514350"/>
                <a:gd name="connsiteX3484" fmla="*/ 5623084 w 6400800"/>
                <a:gd name="connsiteY3484" fmla="*/ 287179 h 514350"/>
                <a:gd name="connsiteX3485" fmla="*/ 5624989 w 6400800"/>
                <a:gd name="connsiteY3485" fmla="*/ 290989 h 514350"/>
                <a:gd name="connsiteX3486" fmla="*/ 5626894 w 6400800"/>
                <a:gd name="connsiteY3486" fmla="*/ 298609 h 514350"/>
                <a:gd name="connsiteX3487" fmla="*/ 5625942 w 6400800"/>
                <a:gd name="connsiteY3487" fmla="*/ 300514 h 514350"/>
                <a:gd name="connsiteX3488" fmla="*/ 5625942 w 6400800"/>
                <a:gd name="connsiteY3488" fmla="*/ 300514 h 514350"/>
                <a:gd name="connsiteX3489" fmla="*/ 5622131 w 6400800"/>
                <a:gd name="connsiteY3489" fmla="*/ 295751 h 514350"/>
                <a:gd name="connsiteX3490" fmla="*/ 5623084 w 6400800"/>
                <a:gd name="connsiteY3490" fmla="*/ 289084 h 514350"/>
                <a:gd name="connsiteX3491" fmla="*/ 5621179 w 6400800"/>
                <a:gd name="connsiteY3491" fmla="*/ 310991 h 514350"/>
                <a:gd name="connsiteX3492" fmla="*/ 5621179 w 6400800"/>
                <a:gd name="connsiteY3492" fmla="*/ 310991 h 514350"/>
                <a:gd name="connsiteX3493" fmla="*/ 5621179 w 6400800"/>
                <a:gd name="connsiteY3493" fmla="*/ 310991 h 514350"/>
                <a:gd name="connsiteX3494" fmla="*/ 5621179 w 6400800"/>
                <a:gd name="connsiteY3494" fmla="*/ 310991 h 514350"/>
                <a:gd name="connsiteX3495" fmla="*/ 5618321 w 6400800"/>
                <a:gd name="connsiteY3495" fmla="*/ 270034 h 514350"/>
                <a:gd name="connsiteX3496" fmla="*/ 5618321 w 6400800"/>
                <a:gd name="connsiteY3496" fmla="*/ 270034 h 514350"/>
                <a:gd name="connsiteX3497" fmla="*/ 5618321 w 6400800"/>
                <a:gd name="connsiteY3497" fmla="*/ 270034 h 514350"/>
                <a:gd name="connsiteX3498" fmla="*/ 5618321 w 6400800"/>
                <a:gd name="connsiteY3498" fmla="*/ 270034 h 514350"/>
                <a:gd name="connsiteX3499" fmla="*/ 5617369 w 6400800"/>
                <a:gd name="connsiteY3499" fmla="*/ 272891 h 514350"/>
                <a:gd name="connsiteX3500" fmla="*/ 5618321 w 6400800"/>
                <a:gd name="connsiteY3500" fmla="*/ 273844 h 514350"/>
                <a:gd name="connsiteX3501" fmla="*/ 5616417 w 6400800"/>
                <a:gd name="connsiteY3501" fmla="*/ 286226 h 514350"/>
                <a:gd name="connsiteX3502" fmla="*/ 5613559 w 6400800"/>
                <a:gd name="connsiteY3502" fmla="*/ 282416 h 514350"/>
                <a:gd name="connsiteX3503" fmla="*/ 5617369 w 6400800"/>
                <a:gd name="connsiteY3503" fmla="*/ 272891 h 514350"/>
                <a:gd name="connsiteX3504" fmla="*/ 5608796 w 6400800"/>
                <a:gd name="connsiteY3504" fmla="*/ 290989 h 514350"/>
                <a:gd name="connsiteX3505" fmla="*/ 5608796 w 6400800"/>
                <a:gd name="connsiteY3505" fmla="*/ 290989 h 514350"/>
                <a:gd name="connsiteX3506" fmla="*/ 5611654 w 6400800"/>
                <a:gd name="connsiteY3506" fmla="*/ 294799 h 514350"/>
                <a:gd name="connsiteX3507" fmla="*/ 5613559 w 6400800"/>
                <a:gd name="connsiteY3507" fmla="*/ 297656 h 514350"/>
                <a:gd name="connsiteX3508" fmla="*/ 5611654 w 6400800"/>
                <a:gd name="connsiteY3508" fmla="*/ 310991 h 514350"/>
                <a:gd name="connsiteX3509" fmla="*/ 5608796 w 6400800"/>
                <a:gd name="connsiteY3509" fmla="*/ 292894 h 514350"/>
                <a:gd name="connsiteX3510" fmla="*/ 5608796 w 6400800"/>
                <a:gd name="connsiteY3510" fmla="*/ 290989 h 514350"/>
                <a:gd name="connsiteX3511" fmla="*/ 5594509 w 6400800"/>
                <a:gd name="connsiteY3511" fmla="*/ 241459 h 514350"/>
                <a:gd name="connsiteX3512" fmla="*/ 5595462 w 6400800"/>
                <a:gd name="connsiteY3512" fmla="*/ 258604 h 514350"/>
                <a:gd name="connsiteX3513" fmla="*/ 5595462 w 6400800"/>
                <a:gd name="connsiteY3513" fmla="*/ 259556 h 514350"/>
                <a:gd name="connsiteX3514" fmla="*/ 5595462 w 6400800"/>
                <a:gd name="connsiteY3514" fmla="*/ 261461 h 514350"/>
                <a:gd name="connsiteX3515" fmla="*/ 5593556 w 6400800"/>
                <a:gd name="connsiteY3515" fmla="*/ 259556 h 514350"/>
                <a:gd name="connsiteX3516" fmla="*/ 5592604 w 6400800"/>
                <a:gd name="connsiteY3516" fmla="*/ 250031 h 514350"/>
                <a:gd name="connsiteX3517" fmla="*/ 5594509 w 6400800"/>
                <a:gd name="connsiteY3517" fmla="*/ 241459 h 514350"/>
                <a:gd name="connsiteX3518" fmla="*/ 5578317 w 6400800"/>
                <a:gd name="connsiteY3518" fmla="*/ 284321 h 514350"/>
                <a:gd name="connsiteX3519" fmla="*/ 5578317 w 6400800"/>
                <a:gd name="connsiteY3519" fmla="*/ 286226 h 514350"/>
                <a:gd name="connsiteX3520" fmla="*/ 5577364 w 6400800"/>
                <a:gd name="connsiteY3520" fmla="*/ 285274 h 514350"/>
                <a:gd name="connsiteX3521" fmla="*/ 5578317 w 6400800"/>
                <a:gd name="connsiteY3521" fmla="*/ 284321 h 514350"/>
                <a:gd name="connsiteX3522" fmla="*/ 5573554 w 6400800"/>
                <a:gd name="connsiteY3522" fmla="*/ 299561 h 514350"/>
                <a:gd name="connsiteX3523" fmla="*/ 5576412 w 6400800"/>
                <a:gd name="connsiteY3523" fmla="*/ 305276 h 514350"/>
                <a:gd name="connsiteX3524" fmla="*/ 5577364 w 6400800"/>
                <a:gd name="connsiteY3524" fmla="*/ 307181 h 514350"/>
                <a:gd name="connsiteX3525" fmla="*/ 5576412 w 6400800"/>
                <a:gd name="connsiteY3525" fmla="*/ 325279 h 514350"/>
                <a:gd name="connsiteX3526" fmla="*/ 5576412 w 6400800"/>
                <a:gd name="connsiteY3526" fmla="*/ 328136 h 514350"/>
                <a:gd name="connsiteX3527" fmla="*/ 5575459 w 6400800"/>
                <a:gd name="connsiteY3527" fmla="*/ 319564 h 514350"/>
                <a:gd name="connsiteX3528" fmla="*/ 5573554 w 6400800"/>
                <a:gd name="connsiteY3528" fmla="*/ 303371 h 514350"/>
                <a:gd name="connsiteX3529" fmla="*/ 5573554 w 6400800"/>
                <a:gd name="connsiteY3529" fmla="*/ 299561 h 514350"/>
                <a:gd name="connsiteX3530" fmla="*/ 5550694 w 6400800"/>
                <a:gd name="connsiteY3530" fmla="*/ 308134 h 514350"/>
                <a:gd name="connsiteX3531" fmla="*/ 5549742 w 6400800"/>
                <a:gd name="connsiteY3531" fmla="*/ 301466 h 514350"/>
                <a:gd name="connsiteX3532" fmla="*/ 5551646 w 6400800"/>
                <a:gd name="connsiteY3532" fmla="*/ 294799 h 514350"/>
                <a:gd name="connsiteX3533" fmla="*/ 5552599 w 6400800"/>
                <a:gd name="connsiteY3533" fmla="*/ 291941 h 514350"/>
                <a:gd name="connsiteX3534" fmla="*/ 5554504 w 6400800"/>
                <a:gd name="connsiteY3534" fmla="*/ 302419 h 514350"/>
                <a:gd name="connsiteX3535" fmla="*/ 5552599 w 6400800"/>
                <a:gd name="connsiteY3535" fmla="*/ 306229 h 514350"/>
                <a:gd name="connsiteX3536" fmla="*/ 5550694 w 6400800"/>
                <a:gd name="connsiteY3536" fmla="*/ 308134 h 514350"/>
                <a:gd name="connsiteX3537" fmla="*/ 5557362 w 6400800"/>
                <a:gd name="connsiteY3537" fmla="*/ 313849 h 514350"/>
                <a:gd name="connsiteX3538" fmla="*/ 5557362 w 6400800"/>
                <a:gd name="connsiteY3538" fmla="*/ 313849 h 514350"/>
                <a:gd name="connsiteX3539" fmla="*/ 5553551 w 6400800"/>
                <a:gd name="connsiteY3539" fmla="*/ 318611 h 514350"/>
                <a:gd name="connsiteX3540" fmla="*/ 5556409 w 6400800"/>
                <a:gd name="connsiteY3540" fmla="*/ 310039 h 514350"/>
                <a:gd name="connsiteX3541" fmla="*/ 5557362 w 6400800"/>
                <a:gd name="connsiteY3541" fmla="*/ 313849 h 514350"/>
                <a:gd name="connsiteX3542" fmla="*/ 5557362 w 6400800"/>
                <a:gd name="connsiteY3542" fmla="*/ 313849 h 514350"/>
                <a:gd name="connsiteX3543" fmla="*/ 5561171 w 6400800"/>
                <a:gd name="connsiteY3543" fmla="*/ 359569 h 514350"/>
                <a:gd name="connsiteX3544" fmla="*/ 5561171 w 6400800"/>
                <a:gd name="connsiteY3544" fmla="*/ 361474 h 514350"/>
                <a:gd name="connsiteX3545" fmla="*/ 5560219 w 6400800"/>
                <a:gd name="connsiteY3545" fmla="*/ 360521 h 514350"/>
                <a:gd name="connsiteX3546" fmla="*/ 5558314 w 6400800"/>
                <a:gd name="connsiteY3546" fmla="*/ 350996 h 514350"/>
                <a:gd name="connsiteX3547" fmla="*/ 5560219 w 6400800"/>
                <a:gd name="connsiteY3547" fmla="*/ 342424 h 514350"/>
                <a:gd name="connsiteX3548" fmla="*/ 5561171 w 6400800"/>
                <a:gd name="connsiteY3548" fmla="*/ 359569 h 514350"/>
                <a:gd name="connsiteX3549" fmla="*/ 5559267 w 6400800"/>
                <a:gd name="connsiteY3549" fmla="*/ 303371 h 514350"/>
                <a:gd name="connsiteX3550" fmla="*/ 5559267 w 6400800"/>
                <a:gd name="connsiteY3550" fmla="*/ 303371 h 514350"/>
                <a:gd name="connsiteX3551" fmla="*/ 5559267 w 6400800"/>
                <a:gd name="connsiteY3551" fmla="*/ 303371 h 514350"/>
                <a:gd name="connsiteX3552" fmla="*/ 5559267 w 6400800"/>
                <a:gd name="connsiteY3552" fmla="*/ 303371 h 514350"/>
                <a:gd name="connsiteX3553" fmla="*/ 5557362 w 6400800"/>
                <a:gd name="connsiteY3553" fmla="*/ 277654 h 514350"/>
                <a:gd name="connsiteX3554" fmla="*/ 5558314 w 6400800"/>
                <a:gd name="connsiteY3554" fmla="*/ 283369 h 514350"/>
                <a:gd name="connsiteX3555" fmla="*/ 5559267 w 6400800"/>
                <a:gd name="connsiteY3555" fmla="*/ 293846 h 514350"/>
                <a:gd name="connsiteX3556" fmla="*/ 5557362 w 6400800"/>
                <a:gd name="connsiteY3556" fmla="*/ 296704 h 514350"/>
                <a:gd name="connsiteX3557" fmla="*/ 5554504 w 6400800"/>
                <a:gd name="connsiteY3557" fmla="*/ 287179 h 514350"/>
                <a:gd name="connsiteX3558" fmla="*/ 5557362 w 6400800"/>
                <a:gd name="connsiteY3558" fmla="*/ 277654 h 514350"/>
                <a:gd name="connsiteX3559" fmla="*/ 5553551 w 6400800"/>
                <a:gd name="connsiteY3559" fmla="*/ 252889 h 514350"/>
                <a:gd name="connsiteX3560" fmla="*/ 5553551 w 6400800"/>
                <a:gd name="connsiteY3560" fmla="*/ 252889 h 514350"/>
                <a:gd name="connsiteX3561" fmla="*/ 5553551 w 6400800"/>
                <a:gd name="connsiteY3561" fmla="*/ 253841 h 514350"/>
                <a:gd name="connsiteX3562" fmla="*/ 5555456 w 6400800"/>
                <a:gd name="connsiteY3562" fmla="*/ 268129 h 514350"/>
                <a:gd name="connsiteX3563" fmla="*/ 5555456 w 6400800"/>
                <a:gd name="connsiteY3563" fmla="*/ 270986 h 514350"/>
                <a:gd name="connsiteX3564" fmla="*/ 5552599 w 6400800"/>
                <a:gd name="connsiteY3564" fmla="*/ 275749 h 514350"/>
                <a:gd name="connsiteX3565" fmla="*/ 5549742 w 6400800"/>
                <a:gd name="connsiteY3565" fmla="*/ 280511 h 514350"/>
                <a:gd name="connsiteX3566" fmla="*/ 5549742 w 6400800"/>
                <a:gd name="connsiteY3566" fmla="*/ 280511 h 514350"/>
                <a:gd name="connsiteX3567" fmla="*/ 5549742 w 6400800"/>
                <a:gd name="connsiteY3567" fmla="*/ 280511 h 514350"/>
                <a:gd name="connsiteX3568" fmla="*/ 5545931 w 6400800"/>
                <a:gd name="connsiteY3568" fmla="*/ 286226 h 514350"/>
                <a:gd name="connsiteX3569" fmla="*/ 5544979 w 6400800"/>
                <a:gd name="connsiteY3569" fmla="*/ 281464 h 514350"/>
                <a:gd name="connsiteX3570" fmla="*/ 5546884 w 6400800"/>
                <a:gd name="connsiteY3570" fmla="*/ 275749 h 514350"/>
                <a:gd name="connsiteX3571" fmla="*/ 5549742 w 6400800"/>
                <a:gd name="connsiteY3571" fmla="*/ 261461 h 514350"/>
                <a:gd name="connsiteX3572" fmla="*/ 5553551 w 6400800"/>
                <a:gd name="connsiteY3572" fmla="*/ 252889 h 514350"/>
                <a:gd name="connsiteX3573" fmla="*/ 5548789 w 6400800"/>
                <a:gd name="connsiteY3573" fmla="*/ 226219 h 514350"/>
                <a:gd name="connsiteX3574" fmla="*/ 5549742 w 6400800"/>
                <a:gd name="connsiteY3574" fmla="*/ 230029 h 514350"/>
                <a:gd name="connsiteX3575" fmla="*/ 5550694 w 6400800"/>
                <a:gd name="connsiteY3575" fmla="*/ 234791 h 514350"/>
                <a:gd name="connsiteX3576" fmla="*/ 5547837 w 6400800"/>
                <a:gd name="connsiteY3576" fmla="*/ 230029 h 514350"/>
                <a:gd name="connsiteX3577" fmla="*/ 5548789 w 6400800"/>
                <a:gd name="connsiteY3577" fmla="*/ 226219 h 514350"/>
                <a:gd name="connsiteX3578" fmla="*/ 5546884 w 6400800"/>
                <a:gd name="connsiteY3578" fmla="*/ 235744 h 514350"/>
                <a:gd name="connsiteX3579" fmla="*/ 5550694 w 6400800"/>
                <a:gd name="connsiteY3579" fmla="*/ 244316 h 514350"/>
                <a:gd name="connsiteX3580" fmla="*/ 5544979 w 6400800"/>
                <a:gd name="connsiteY3580" fmla="*/ 259556 h 514350"/>
                <a:gd name="connsiteX3581" fmla="*/ 5544026 w 6400800"/>
                <a:gd name="connsiteY3581" fmla="*/ 262414 h 514350"/>
                <a:gd name="connsiteX3582" fmla="*/ 5543074 w 6400800"/>
                <a:gd name="connsiteY3582" fmla="*/ 257651 h 514350"/>
                <a:gd name="connsiteX3583" fmla="*/ 5542121 w 6400800"/>
                <a:gd name="connsiteY3583" fmla="*/ 254794 h 514350"/>
                <a:gd name="connsiteX3584" fmla="*/ 5546884 w 6400800"/>
                <a:gd name="connsiteY3584" fmla="*/ 235744 h 514350"/>
                <a:gd name="connsiteX3585" fmla="*/ 5540217 w 6400800"/>
                <a:gd name="connsiteY3585" fmla="*/ 218599 h 514350"/>
                <a:gd name="connsiteX3586" fmla="*/ 5539264 w 6400800"/>
                <a:gd name="connsiteY3586" fmla="*/ 220504 h 514350"/>
                <a:gd name="connsiteX3587" fmla="*/ 5538312 w 6400800"/>
                <a:gd name="connsiteY3587" fmla="*/ 223361 h 514350"/>
                <a:gd name="connsiteX3588" fmla="*/ 5536406 w 6400800"/>
                <a:gd name="connsiteY3588" fmla="*/ 210026 h 514350"/>
                <a:gd name="connsiteX3589" fmla="*/ 5540217 w 6400800"/>
                <a:gd name="connsiteY3589" fmla="*/ 218599 h 514350"/>
                <a:gd name="connsiteX3590" fmla="*/ 5507831 w 6400800"/>
                <a:gd name="connsiteY3590" fmla="*/ 312896 h 514350"/>
                <a:gd name="connsiteX3591" fmla="*/ 5507831 w 6400800"/>
                <a:gd name="connsiteY3591" fmla="*/ 312896 h 514350"/>
                <a:gd name="connsiteX3592" fmla="*/ 5507831 w 6400800"/>
                <a:gd name="connsiteY3592" fmla="*/ 313849 h 514350"/>
                <a:gd name="connsiteX3593" fmla="*/ 5507831 w 6400800"/>
                <a:gd name="connsiteY3593" fmla="*/ 312896 h 514350"/>
                <a:gd name="connsiteX3594" fmla="*/ 5481162 w 6400800"/>
                <a:gd name="connsiteY3594" fmla="*/ 326231 h 514350"/>
                <a:gd name="connsiteX3595" fmla="*/ 5480209 w 6400800"/>
                <a:gd name="connsiteY3595" fmla="*/ 330994 h 514350"/>
                <a:gd name="connsiteX3596" fmla="*/ 5479256 w 6400800"/>
                <a:gd name="connsiteY3596" fmla="*/ 324326 h 514350"/>
                <a:gd name="connsiteX3597" fmla="*/ 5479256 w 6400800"/>
                <a:gd name="connsiteY3597" fmla="*/ 322421 h 514350"/>
                <a:gd name="connsiteX3598" fmla="*/ 5478304 w 6400800"/>
                <a:gd name="connsiteY3598" fmla="*/ 311944 h 514350"/>
                <a:gd name="connsiteX3599" fmla="*/ 5482114 w 6400800"/>
                <a:gd name="connsiteY3599" fmla="*/ 325279 h 514350"/>
                <a:gd name="connsiteX3600" fmla="*/ 5481162 w 6400800"/>
                <a:gd name="connsiteY3600" fmla="*/ 326231 h 514350"/>
                <a:gd name="connsiteX3601" fmla="*/ 5493544 w 6400800"/>
                <a:gd name="connsiteY3601" fmla="*/ 339566 h 514350"/>
                <a:gd name="connsiteX3602" fmla="*/ 5493544 w 6400800"/>
                <a:gd name="connsiteY3602" fmla="*/ 339566 h 514350"/>
                <a:gd name="connsiteX3603" fmla="*/ 5493544 w 6400800"/>
                <a:gd name="connsiteY3603" fmla="*/ 339566 h 514350"/>
                <a:gd name="connsiteX3604" fmla="*/ 5493544 w 6400800"/>
                <a:gd name="connsiteY3604" fmla="*/ 339566 h 514350"/>
                <a:gd name="connsiteX3605" fmla="*/ 5488781 w 6400800"/>
                <a:gd name="connsiteY3605" fmla="*/ 261461 h 514350"/>
                <a:gd name="connsiteX3606" fmla="*/ 5488781 w 6400800"/>
                <a:gd name="connsiteY3606" fmla="*/ 261461 h 514350"/>
                <a:gd name="connsiteX3607" fmla="*/ 5490687 w 6400800"/>
                <a:gd name="connsiteY3607" fmla="*/ 267176 h 514350"/>
                <a:gd name="connsiteX3608" fmla="*/ 5487829 w 6400800"/>
                <a:gd name="connsiteY3608" fmla="*/ 264319 h 514350"/>
                <a:gd name="connsiteX3609" fmla="*/ 5488781 w 6400800"/>
                <a:gd name="connsiteY3609" fmla="*/ 261461 h 514350"/>
                <a:gd name="connsiteX3610" fmla="*/ 5483067 w 6400800"/>
                <a:gd name="connsiteY3610" fmla="*/ 280511 h 514350"/>
                <a:gd name="connsiteX3611" fmla="*/ 5484971 w 6400800"/>
                <a:gd name="connsiteY3611" fmla="*/ 272891 h 514350"/>
                <a:gd name="connsiteX3612" fmla="*/ 5496401 w 6400800"/>
                <a:gd name="connsiteY3612" fmla="*/ 291941 h 514350"/>
                <a:gd name="connsiteX3613" fmla="*/ 5500212 w 6400800"/>
                <a:gd name="connsiteY3613" fmla="*/ 297656 h 514350"/>
                <a:gd name="connsiteX3614" fmla="*/ 5497354 w 6400800"/>
                <a:gd name="connsiteY3614" fmla="*/ 307181 h 514350"/>
                <a:gd name="connsiteX3615" fmla="*/ 5496401 w 6400800"/>
                <a:gd name="connsiteY3615" fmla="*/ 310991 h 514350"/>
                <a:gd name="connsiteX3616" fmla="*/ 5493544 w 6400800"/>
                <a:gd name="connsiteY3616" fmla="*/ 307181 h 514350"/>
                <a:gd name="connsiteX3617" fmla="*/ 5495449 w 6400800"/>
                <a:gd name="connsiteY3617" fmla="*/ 311944 h 514350"/>
                <a:gd name="connsiteX3618" fmla="*/ 5494496 w 6400800"/>
                <a:gd name="connsiteY3618" fmla="*/ 319564 h 514350"/>
                <a:gd name="connsiteX3619" fmla="*/ 5492592 w 6400800"/>
                <a:gd name="connsiteY3619" fmla="*/ 330041 h 514350"/>
                <a:gd name="connsiteX3620" fmla="*/ 5488781 w 6400800"/>
                <a:gd name="connsiteY3620" fmla="*/ 333851 h 514350"/>
                <a:gd name="connsiteX3621" fmla="*/ 5485924 w 6400800"/>
                <a:gd name="connsiteY3621" fmla="*/ 327184 h 514350"/>
                <a:gd name="connsiteX3622" fmla="*/ 5487829 w 6400800"/>
                <a:gd name="connsiteY3622" fmla="*/ 312896 h 514350"/>
                <a:gd name="connsiteX3623" fmla="*/ 5489734 w 6400800"/>
                <a:gd name="connsiteY3623" fmla="*/ 299561 h 514350"/>
                <a:gd name="connsiteX3624" fmla="*/ 5484019 w 6400800"/>
                <a:gd name="connsiteY3624" fmla="*/ 311944 h 514350"/>
                <a:gd name="connsiteX3625" fmla="*/ 5483067 w 6400800"/>
                <a:gd name="connsiteY3625" fmla="*/ 313849 h 514350"/>
                <a:gd name="connsiteX3626" fmla="*/ 5483067 w 6400800"/>
                <a:gd name="connsiteY3626" fmla="*/ 312896 h 514350"/>
                <a:gd name="connsiteX3627" fmla="*/ 5478304 w 6400800"/>
                <a:gd name="connsiteY3627" fmla="*/ 292894 h 514350"/>
                <a:gd name="connsiteX3628" fmla="*/ 5479256 w 6400800"/>
                <a:gd name="connsiteY3628" fmla="*/ 309086 h 514350"/>
                <a:gd name="connsiteX3629" fmla="*/ 5479256 w 6400800"/>
                <a:gd name="connsiteY3629" fmla="*/ 308134 h 514350"/>
                <a:gd name="connsiteX3630" fmla="*/ 5476399 w 6400800"/>
                <a:gd name="connsiteY3630" fmla="*/ 300514 h 514350"/>
                <a:gd name="connsiteX3631" fmla="*/ 5483067 w 6400800"/>
                <a:gd name="connsiteY3631" fmla="*/ 280511 h 514350"/>
                <a:gd name="connsiteX3632" fmla="*/ 5472589 w 6400800"/>
                <a:gd name="connsiteY3632" fmla="*/ 254794 h 514350"/>
                <a:gd name="connsiteX3633" fmla="*/ 5475446 w 6400800"/>
                <a:gd name="connsiteY3633" fmla="*/ 258604 h 514350"/>
                <a:gd name="connsiteX3634" fmla="*/ 5471637 w 6400800"/>
                <a:gd name="connsiteY3634" fmla="*/ 268129 h 514350"/>
                <a:gd name="connsiteX3635" fmla="*/ 5468779 w 6400800"/>
                <a:gd name="connsiteY3635" fmla="*/ 249079 h 514350"/>
                <a:gd name="connsiteX3636" fmla="*/ 5472589 w 6400800"/>
                <a:gd name="connsiteY3636" fmla="*/ 254794 h 514350"/>
                <a:gd name="connsiteX3637" fmla="*/ 5452587 w 6400800"/>
                <a:gd name="connsiteY3637" fmla="*/ 208121 h 514350"/>
                <a:gd name="connsiteX3638" fmla="*/ 5452587 w 6400800"/>
                <a:gd name="connsiteY3638" fmla="*/ 210026 h 514350"/>
                <a:gd name="connsiteX3639" fmla="*/ 5454492 w 6400800"/>
                <a:gd name="connsiteY3639" fmla="*/ 225266 h 514350"/>
                <a:gd name="connsiteX3640" fmla="*/ 5454492 w 6400800"/>
                <a:gd name="connsiteY3640" fmla="*/ 228124 h 514350"/>
                <a:gd name="connsiteX3641" fmla="*/ 5450681 w 6400800"/>
                <a:gd name="connsiteY3641" fmla="*/ 225266 h 514350"/>
                <a:gd name="connsiteX3642" fmla="*/ 5452587 w 6400800"/>
                <a:gd name="connsiteY3642" fmla="*/ 208121 h 514350"/>
                <a:gd name="connsiteX3643" fmla="*/ 5449729 w 6400800"/>
                <a:gd name="connsiteY3643" fmla="*/ 250031 h 514350"/>
                <a:gd name="connsiteX3644" fmla="*/ 5451634 w 6400800"/>
                <a:gd name="connsiteY3644" fmla="*/ 228124 h 514350"/>
                <a:gd name="connsiteX3645" fmla="*/ 5453539 w 6400800"/>
                <a:gd name="connsiteY3645" fmla="*/ 230029 h 514350"/>
                <a:gd name="connsiteX3646" fmla="*/ 5455444 w 6400800"/>
                <a:gd name="connsiteY3646" fmla="*/ 232886 h 514350"/>
                <a:gd name="connsiteX3647" fmla="*/ 5456396 w 6400800"/>
                <a:gd name="connsiteY3647" fmla="*/ 243364 h 514350"/>
                <a:gd name="connsiteX3648" fmla="*/ 5459254 w 6400800"/>
                <a:gd name="connsiteY3648" fmla="*/ 282416 h 514350"/>
                <a:gd name="connsiteX3649" fmla="*/ 5460206 w 6400800"/>
                <a:gd name="connsiteY3649" fmla="*/ 299561 h 514350"/>
                <a:gd name="connsiteX3650" fmla="*/ 5455444 w 6400800"/>
                <a:gd name="connsiteY3650" fmla="*/ 313849 h 514350"/>
                <a:gd name="connsiteX3651" fmla="*/ 5447824 w 6400800"/>
                <a:gd name="connsiteY3651" fmla="*/ 280511 h 514350"/>
                <a:gd name="connsiteX3652" fmla="*/ 5446871 w 6400800"/>
                <a:gd name="connsiteY3652" fmla="*/ 276701 h 514350"/>
                <a:gd name="connsiteX3653" fmla="*/ 5449729 w 6400800"/>
                <a:gd name="connsiteY3653" fmla="*/ 250031 h 514350"/>
                <a:gd name="connsiteX3654" fmla="*/ 5443062 w 6400800"/>
                <a:gd name="connsiteY3654" fmla="*/ 327184 h 514350"/>
                <a:gd name="connsiteX3655" fmla="*/ 5445919 w 6400800"/>
                <a:gd name="connsiteY3655" fmla="*/ 343376 h 514350"/>
                <a:gd name="connsiteX3656" fmla="*/ 5443062 w 6400800"/>
                <a:gd name="connsiteY3656" fmla="*/ 334804 h 514350"/>
                <a:gd name="connsiteX3657" fmla="*/ 5443062 w 6400800"/>
                <a:gd name="connsiteY3657" fmla="*/ 327184 h 514350"/>
                <a:gd name="connsiteX3658" fmla="*/ 5417344 w 6400800"/>
                <a:gd name="connsiteY3658" fmla="*/ 318611 h 514350"/>
                <a:gd name="connsiteX3659" fmla="*/ 5419249 w 6400800"/>
                <a:gd name="connsiteY3659" fmla="*/ 312896 h 514350"/>
                <a:gd name="connsiteX3660" fmla="*/ 5421154 w 6400800"/>
                <a:gd name="connsiteY3660" fmla="*/ 320516 h 514350"/>
                <a:gd name="connsiteX3661" fmla="*/ 5421154 w 6400800"/>
                <a:gd name="connsiteY3661" fmla="*/ 321469 h 514350"/>
                <a:gd name="connsiteX3662" fmla="*/ 5421154 w 6400800"/>
                <a:gd name="connsiteY3662" fmla="*/ 320516 h 514350"/>
                <a:gd name="connsiteX3663" fmla="*/ 5421154 w 6400800"/>
                <a:gd name="connsiteY3663" fmla="*/ 322421 h 514350"/>
                <a:gd name="connsiteX3664" fmla="*/ 5418296 w 6400800"/>
                <a:gd name="connsiteY3664" fmla="*/ 331946 h 514350"/>
                <a:gd name="connsiteX3665" fmla="*/ 5417344 w 6400800"/>
                <a:gd name="connsiteY3665" fmla="*/ 329089 h 514350"/>
                <a:gd name="connsiteX3666" fmla="*/ 5417344 w 6400800"/>
                <a:gd name="connsiteY3666" fmla="*/ 318611 h 514350"/>
                <a:gd name="connsiteX3667" fmla="*/ 5416392 w 6400800"/>
                <a:gd name="connsiteY3667" fmla="*/ 334804 h 514350"/>
                <a:gd name="connsiteX3668" fmla="*/ 5417344 w 6400800"/>
                <a:gd name="connsiteY3668" fmla="*/ 335756 h 514350"/>
                <a:gd name="connsiteX3669" fmla="*/ 5416392 w 6400800"/>
                <a:gd name="connsiteY3669" fmla="*/ 337661 h 514350"/>
                <a:gd name="connsiteX3670" fmla="*/ 5416392 w 6400800"/>
                <a:gd name="connsiteY3670" fmla="*/ 334804 h 514350"/>
                <a:gd name="connsiteX3671" fmla="*/ 5405914 w 6400800"/>
                <a:gd name="connsiteY3671" fmla="*/ 325279 h 514350"/>
                <a:gd name="connsiteX3672" fmla="*/ 5407819 w 6400800"/>
                <a:gd name="connsiteY3672" fmla="*/ 271939 h 514350"/>
                <a:gd name="connsiteX3673" fmla="*/ 5407819 w 6400800"/>
                <a:gd name="connsiteY3673" fmla="*/ 267176 h 514350"/>
                <a:gd name="connsiteX3674" fmla="*/ 5414487 w 6400800"/>
                <a:gd name="connsiteY3674" fmla="*/ 292894 h 514350"/>
                <a:gd name="connsiteX3675" fmla="*/ 5414487 w 6400800"/>
                <a:gd name="connsiteY3675" fmla="*/ 293846 h 514350"/>
                <a:gd name="connsiteX3676" fmla="*/ 5411629 w 6400800"/>
                <a:gd name="connsiteY3676" fmla="*/ 303371 h 514350"/>
                <a:gd name="connsiteX3677" fmla="*/ 5404962 w 6400800"/>
                <a:gd name="connsiteY3677" fmla="*/ 331946 h 514350"/>
                <a:gd name="connsiteX3678" fmla="*/ 5404962 w 6400800"/>
                <a:gd name="connsiteY3678" fmla="*/ 332899 h 514350"/>
                <a:gd name="connsiteX3679" fmla="*/ 5405914 w 6400800"/>
                <a:gd name="connsiteY3679" fmla="*/ 325279 h 514350"/>
                <a:gd name="connsiteX3680" fmla="*/ 5384006 w 6400800"/>
                <a:gd name="connsiteY3680" fmla="*/ 310991 h 514350"/>
                <a:gd name="connsiteX3681" fmla="*/ 5386864 w 6400800"/>
                <a:gd name="connsiteY3681" fmla="*/ 334804 h 514350"/>
                <a:gd name="connsiteX3682" fmla="*/ 5384959 w 6400800"/>
                <a:gd name="connsiteY3682" fmla="*/ 341471 h 514350"/>
                <a:gd name="connsiteX3683" fmla="*/ 5382101 w 6400800"/>
                <a:gd name="connsiteY3683" fmla="*/ 325279 h 514350"/>
                <a:gd name="connsiteX3684" fmla="*/ 5378292 w 6400800"/>
                <a:gd name="connsiteY3684" fmla="*/ 305276 h 514350"/>
                <a:gd name="connsiteX3685" fmla="*/ 5381149 w 6400800"/>
                <a:gd name="connsiteY3685" fmla="*/ 294799 h 514350"/>
                <a:gd name="connsiteX3686" fmla="*/ 5384006 w 6400800"/>
                <a:gd name="connsiteY3686" fmla="*/ 310991 h 514350"/>
                <a:gd name="connsiteX3687" fmla="*/ 5379244 w 6400800"/>
                <a:gd name="connsiteY3687" fmla="*/ 274796 h 514350"/>
                <a:gd name="connsiteX3688" fmla="*/ 5379244 w 6400800"/>
                <a:gd name="connsiteY3688" fmla="*/ 271939 h 514350"/>
                <a:gd name="connsiteX3689" fmla="*/ 5381149 w 6400800"/>
                <a:gd name="connsiteY3689" fmla="*/ 284321 h 514350"/>
                <a:gd name="connsiteX3690" fmla="*/ 5380196 w 6400800"/>
                <a:gd name="connsiteY3690" fmla="*/ 285274 h 514350"/>
                <a:gd name="connsiteX3691" fmla="*/ 5378292 w 6400800"/>
                <a:gd name="connsiteY3691" fmla="*/ 290036 h 514350"/>
                <a:gd name="connsiteX3692" fmla="*/ 5379244 w 6400800"/>
                <a:gd name="connsiteY3692" fmla="*/ 274796 h 514350"/>
                <a:gd name="connsiteX3693" fmla="*/ 5332571 w 6400800"/>
                <a:gd name="connsiteY3693" fmla="*/ 321469 h 514350"/>
                <a:gd name="connsiteX3694" fmla="*/ 5338287 w 6400800"/>
                <a:gd name="connsiteY3694" fmla="*/ 309086 h 514350"/>
                <a:gd name="connsiteX3695" fmla="*/ 5338287 w 6400800"/>
                <a:gd name="connsiteY3695" fmla="*/ 310039 h 514350"/>
                <a:gd name="connsiteX3696" fmla="*/ 5326856 w 6400800"/>
                <a:gd name="connsiteY3696" fmla="*/ 351949 h 514350"/>
                <a:gd name="connsiteX3697" fmla="*/ 5323999 w 6400800"/>
                <a:gd name="connsiteY3697" fmla="*/ 336709 h 514350"/>
                <a:gd name="connsiteX3698" fmla="*/ 5332571 w 6400800"/>
                <a:gd name="connsiteY3698" fmla="*/ 321469 h 514350"/>
                <a:gd name="connsiteX3699" fmla="*/ 5319237 w 6400800"/>
                <a:gd name="connsiteY3699" fmla="*/ 350996 h 514350"/>
                <a:gd name="connsiteX3700" fmla="*/ 5323046 w 6400800"/>
                <a:gd name="connsiteY3700" fmla="*/ 342424 h 514350"/>
                <a:gd name="connsiteX3701" fmla="*/ 5322094 w 6400800"/>
                <a:gd name="connsiteY3701" fmla="*/ 371951 h 514350"/>
                <a:gd name="connsiteX3702" fmla="*/ 5319237 w 6400800"/>
                <a:gd name="connsiteY3702" fmla="*/ 362426 h 514350"/>
                <a:gd name="connsiteX3703" fmla="*/ 5319237 w 6400800"/>
                <a:gd name="connsiteY3703" fmla="*/ 350996 h 514350"/>
                <a:gd name="connsiteX3704" fmla="*/ 5316379 w 6400800"/>
                <a:gd name="connsiteY3704" fmla="*/ 392906 h 514350"/>
                <a:gd name="connsiteX3705" fmla="*/ 5317331 w 6400800"/>
                <a:gd name="connsiteY3705" fmla="*/ 382429 h 514350"/>
                <a:gd name="connsiteX3706" fmla="*/ 5318284 w 6400800"/>
                <a:gd name="connsiteY3706" fmla="*/ 390049 h 514350"/>
                <a:gd name="connsiteX3707" fmla="*/ 5315426 w 6400800"/>
                <a:gd name="connsiteY3707" fmla="*/ 399574 h 514350"/>
                <a:gd name="connsiteX3708" fmla="*/ 5316379 w 6400800"/>
                <a:gd name="connsiteY3708" fmla="*/ 392906 h 514350"/>
                <a:gd name="connsiteX3709" fmla="*/ 5285899 w 6400800"/>
                <a:gd name="connsiteY3709" fmla="*/ 293846 h 514350"/>
                <a:gd name="connsiteX3710" fmla="*/ 5286851 w 6400800"/>
                <a:gd name="connsiteY3710" fmla="*/ 298609 h 514350"/>
                <a:gd name="connsiteX3711" fmla="*/ 5283994 w 6400800"/>
                <a:gd name="connsiteY3711" fmla="*/ 302419 h 514350"/>
                <a:gd name="connsiteX3712" fmla="*/ 5285899 w 6400800"/>
                <a:gd name="connsiteY3712" fmla="*/ 293846 h 514350"/>
                <a:gd name="connsiteX3713" fmla="*/ 5279231 w 6400800"/>
                <a:gd name="connsiteY3713" fmla="*/ 319564 h 514350"/>
                <a:gd name="connsiteX3714" fmla="*/ 5282089 w 6400800"/>
                <a:gd name="connsiteY3714" fmla="*/ 311944 h 514350"/>
                <a:gd name="connsiteX3715" fmla="*/ 5287804 w 6400800"/>
                <a:gd name="connsiteY3715" fmla="*/ 302419 h 514350"/>
                <a:gd name="connsiteX3716" fmla="*/ 5288756 w 6400800"/>
                <a:gd name="connsiteY3716" fmla="*/ 309086 h 514350"/>
                <a:gd name="connsiteX3717" fmla="*/ 5292567 w 6400800"/>
                <a:gd name="connsiteY3717" fmla="*/ 340519 h 514350"/>
                <a:gd name="connsiteX3718" fmla="*/ 5287804 w 6400800"/>
                <a:gd name="connsiteY3718" fmla="*/ 363379 h 514350"/>
                <a:gd name="connsiteX3719" fmla="*/ 5287804 w 6400800"/>
                <a:gd name="connsiteY3719" fmla="*/ 351949 h 514350"/>
                <a:gd name="connsiteX3720" fmla="*/ 5287804 w 6400800"/>
                <a:gd name="connsiteY3720" fmla="*/ 335756 h 514350"/>
                <a:gd name="connsiteX3721" fmla="*/ 5283994 w 6400800"/>
                <a:gd name="connsiteY3721" fmla="*/ 350996 h 514350"/>
                <a:gd name="connsiteX3722" fmla="*/ 5280184 w 6400800"/>
                <a:gd name="connsiteY3722" fmla="*/ 369094 h 514350"/>
                <a:gd name="connsiteX3723" fmla="*/ 5280184 w 6400800"/>
                <a:gd name="connsiteY3723" fmla="*/ 370046 h 514350"/>
                <a:gd name="connsiteX3724" fmla="*/ 5277326 w 6400800"/>
                <a:gd name="connsiteY3724" fmla="*/ 350044 h 514350"/>
                <a:gd name="connsiteX3725" fmla="*/ 5275421 w 6400800"/>
                <a:gd name="connsiteY3725" fmla="*/ 335756 h 514350"/>
                <a:gd name="connsiteX3726" fmla="*/ 5279231 w 6400800"/>
                <a:gd name="connsiteY3726" fmla="*/ 319564 h 514350"/>
                <a:gd name="connsiteX3727" fmla="*/ 5236369 w 6400800"/>
                <a:gd name="connsiteY3727" fmla="*/ 318611 h 514350"/>
                <a:gd name="connsiteX3728" fmla="*/ 5235417 w 6400800"/>
                <a:gd name="connsiteY3728" fmla="*/ 320516 h 514350"/>
                <a:gd name="connsiteX3729" fmla="*/ 5230654 w 6400800"/>
                <a:gd name="connsiteY3729" fmla="*/ 311944 h 514350"/>
                <a:gd name="connsiteX3730" fmla="*/ 5230654 w 6400800"/>
                <a:gd name="connsiteY3730" fmla="*/ 310991 h 514350"/>
                <a:gd name="connsiteX3731" fmla="*/ 5239226 w 6400800"/>
                <a:gd name="connsiteY3731" fmla="*/ 295751 h 514350"/>
                <a:gd name="connsiteX3732" fmla="*/ 5236369 w 6400800"/>
                <a:gd name="connsiteY3732" fmla="*/ 318611 h 514350"/>
                <a:gd name="connsiteX3733" fmla="*/ 5230654 w 6400800"/>
                <a:gd name="connsiteY3733" fmla="*/ 281464 h 514350"/>
                <a:gd name="connsiteX3734" fmla="*/ 5237321 w 6400800"/>
                <a:gd name="connsiteY3734" fmla="*/ 265271 h 514350"/>
                <a:gd name="connsiteX3735" fmla="*/ 5243989 w 6400800"/>
                <a:gd name="connsiteY3735" fmla="*/ 251936 h 514350"/>
                <a:gd name="connsiteX3736" fmla="*/ 5242084 w 6400800"/>
                <a:gd name="connsiteY3736" fmla="*/ 264319 h 514350"/>
                <a:gd name="connsiteX3737" fmla="*/ 5240179 w 6400800"/>
                <a:gd name="connsiteY3737" fmla="*/ 283369 h 514350"/>
                <a:gd name="connsiteX3738" fmla="*/ 5228749 w 6400800"/>
                <a:gd name="connsiteY3738" fmla="*/ 299561 h 514350"/>
                <a:gd name="connsiteX3739" fmla="*/ 5227796 w 6400800"/>
                <a:gd name="connsiteY3739" fmla="*/ 290036 h 514350"/>
                <a:gd name="connsiteX3740" fmla="*/ 5230654 w 6400800"/>
                <a:gd name="connsiteY3740" fmla="*/ 281464 h 514350"/>
                <a:gd name="connsiteX3741" fmla="*/ 5211604 w 6400800"/>
                <a:gd name="connsiteY3741" fmla="*/ 344329 h 514350"/>
                <a:gd name="connsiteX3742" fmla="*/ 5213509 w 6400800"/>
                <a:gd name="connsiteY3742" fmla="*/ 341471 h 514350"/>
                <a:gd name="connsiteX3743" fmla="*/ 5213509 w 6400800"/>
                <a:gd name="connsiteY3743" fmla="*/ 341471 h 514350"/>
                <a:gd name="connsiteX3744" fmla="*/ 5213509 w 6400800"/>
                <a:gd name="connsiteY3744" fmla="*/ 342424 h 514350"/>
                <a:gd name="connsiteX3745" fmla="*/ 5211604 w 6400800"/>
                <a:gd name="connsiteY3745" fmla="*/ 344329 h 514350"/>
                <a:gd name="connsiteX3746" fmla="*/ 5211604 w 6400800"/>
                <a:gd name="connsiteY3746" fmla="*/ 344329 h 514350"/>
                <a:gd name="connsiteX3747" fmla="*/ 5214462 w 6400800"/>
                <a:gd name="connsiteY3747" fmla="*/ 343376 h 514350"/>
                <a:gd name="connsiteX3748" fmla="*/ 5216367 w 6400800"/>
                <a:gd name="connsiteY3748" fmla="*/ 348139 h 514350"/>
                <a:gd name="connsiteX3749" fmla="*/ 5213509 w 6400800"/>
                <a:gd name="connsiteY3749" fmla="*/ 352901 h 514350"/>
                <a:gd name="connsiteX3750" fmla="*/ 5212556 w 6400800"/>
                <a:gd name="connsiteY3750" fmla="*/ 350996 h 514350"/>
                <a:gd name="connsiteX3751" fmla="*/ 5212556 w 6400800"/>
                <a:gd name="connsiteY3751" fmla="*/ 349091 h 514350"/>
                <a:gd name="connsiteX3752" fmla="*/ 5214462 w 6400800"/>
                <a:gd name="connsiteY3752" fmla="*/ 343376 h 514350"/>
                <a:gd name="connsiteX3753" fmla="*/ 5214462 w 6400800"/>
                <a:gd name="connsiteY3753" fmla="*/ 343376 h 514350"/>
                <a:gd name="connsiteX3754" fmla="*/ 5211604 w 6400800"/>
                <a:gd name="connsiteY3754" fmla="*/ 290989 h 514350"/>
                <a:gd name="connsiteX3755" fmla="*/ 5211604 w 6400800"/>
                <a:gd name="connsiteY3755" fmla="*/ 290989 h 514350"/>
                <a:gd name="connsiteX3756" fmla="*/ 5213509 w 6400800"/>
                <a:gd name="connsiteY3756" fmla="*/ 296704 h 514350"/>
                <a:gd name="connsiteX3757" fmla="*/ 5210651 w 6400800"/>
                <a:gd name="connsiteY3757" fmla="*/ 302419 h 514350"/>
                <a:gd name="connsiteX3758" fmla="*/ 5211604 w 6400800"/>
                <a:gd name="connsiteY3758" fmla="*/ 290989 h 514350"/>
                <a:gd name="connsiteX3759" fmla="*/ 5189696 w 6400800"/>
                <a:gd name="connsiteY3759" fmla="*/ 260509 h 514350"/>
                <a:gd name="connsiteX3760" fmla="*/ 5189696 w 6400800"/>
                <a:gd name="connsiteY3760" fmla="*/ 264319 h 514350"/>
                <a:gd name="connsiteX3761" fmla="*/ 5186839 w 6400800"/>
                <a:gd name="connsiteY3761" fmla="*/ 258604 h 514350"/>
                <a:gd name="connsiteX3762" fmla="*/ 5187792 w 6400800"/>
                <a:gd name="connsiteY3762" fmla="*/ 257651 h 514350"/>
                <a:gd name="connsiteX3763" fmla="*/ 5189696 w 6400800"/>
                <a:gd name="connsiteY3763" fmla="*/ 253841 h 514350"/>
                <a:gd name="connsiteX3764" fmla="*/ 5189696 w 6400800"/>
                <a:gd name="connsiteY3764" fmla="*/ 260509 h 514350"/>
                <a:gd name="connsiteX3765" fmla="*/ 5178267 w 6400800"/>
                <a:gd name="connsiteY3765" fmla="*/ 230981 h 514350"/>
                <a:gd name="connsiteX3766" fmla="*/ 5186839 w 6400800"/>
                <a:gd name="connsiteY3766" fmla="*/ 213836 h 514350"/>
                <a:gd name="connsiteX3767" fmla="*/ 5188744 w 6400800"/>
                <a:gd name="connsiteY3767" fmla="*/ 210026 h 514350"/>
                <a:gd name="connsiteX3768" fmla="*/ 5188744 w 6400800"/>
                <a:gd name="connsiteY3768" fmla="*/ 219551 h 514350"/>
                <a:gd name="connsiteX3769" fmla="*/ 5188744 w 6400800"/>
                <a:gd name="connsiteY3769" fmla="*/ 254794 h 514350"/>
                <a:gd name="connsiteX3770" fmla="*/ 5185887 w 6400800"/>
                <a:gd name="connsiteY3770" fmla="*/ 258604 h 514350"/>
                <a:gd name="connsiteX3771" fmla="*/ 5185887 w 6400800"/>
                <a:gd name="connsiteY3771" fmla="*/ 258604 h 514350"/>
                <a:gd name="connsiteX3772" fmla="*/ 5178267 w 6400800"/>
                <a:gd name="connsiteY3772" fmla="*/ 243364 h 514350"/>
                <a:gd name="connsiteX3773" fmla="*/ 5175409 w 6400800"/>
                <a:gd name="connsiteY3773" fmla="*/ 238601 h 514350"/>
                <a:gd name="connsiteX3774" fmla="*/ 5178267 w 6400800"/>
                <a:gd name="connsiteY3774" fmla="*/ 230981 h 514350"/>
                <a:gd name="connsiteX3775" fmla="*/ 5168742 w 6400800"/>
                <a:gd name="connsiteY3775" fmla="*/ 238601 h 514350"/>
                <a:gd name="connsiteX3776" fmla="*/ 5168742 w 6400800"/>
                <a:gd name="connsiteY3776" fmla="*/ 238601 h 514350"/>
                <a:gd name="connsiteX3777" fmla="*/ 5168742 w 6400800"/>
                <a:gd name="connsiteY3777" fmla="*/ 238601 h 514350"/>
                <a:gd name="connsiteX3778" fmla="*/ 5168742 w 6400800"/>
                <a:gd name="connsiteY3778" fmla="*/ 238601 h 514350"/>
                <a:gd name="connsiteX3779" fmla="*/ 5166837 w 6400800"/>
                <a:gd name="connsiteY3779" fmla="*/ 280511 h 514350"/>
                <a:gd name="connsiteX3780" fmla="*/ 5167789 w 6400800"/>
                <a:gd name="connsiteY3780" fmla="*/ 259556 h 514350"/>
                <a:gd name="connsiteX3781" fmla="*/ 5167789 w 6400800"/>
                <a:gd name="connsiteY3781" fmla="*/ 259556 h 514350"/>
                <a:gd name="connsiteX3782" fmla="*/ 5171599 w 6400800"/>
                <a:gd name="connsiteY3782" fmla="*/ 248126 h 514350"/>
                <a:gd name="connsiteX3783" fmla="*/ 5177314 w 6400800"/>
                <a:gd name="connsiteY3783" fmla="*/ 263366 h 514350"/>
                <a:gd name="connsiteX3784" fmla="*/ 5179219 w 6400800"/>
                <a:gd name="connsiteY3784" fmla="*/ 267176 h 514350"/>
                <a:gd name="connsiteX3785" fmla="*/ 5176362 w 6400800"/>
                <a:gd name="connsiteY3785" fmla="*/ 271939 h 514350"/>
                <a:gd name="connsiteX3786" fmla="*/ 5166837 w 6400800"/>
                <a:gd name="connsiteY3786" fmla="*/ 287179 h 514350"/>
                <a:gd name="connsiteX3787" fmla="*/ 5166837 w 6400800"/>
                <a:gd name="connsiteY3787" fmla="*/ 280511 h 514350"/>
                <a:gd name="connsiteX3788" fmla="*/ 5166837 w 6400800"/>
                <a:gd name="connsiteY3788" fmla="*/ 307181 h 514350"/>
                <a:gd name="connsiteX3789" fmla="*/ 5170646 w 6400800"/>
                <a:gd name="connsiteY3789" fmla="*/ 296704 h 514350"/>
                <a:gd name="connsiteX3790" fmla="*/ 5171599 w 6400800"/>
                <a:gd name="connsiteY3790" fmla="*/ 293846 h 514350"/>
                <a:gd name="connsiteX3791" fmla="*/ 5176362 w 6400800"/>
                <a:gd name="connsiteY3791" fmla="*/ 289084 h 514350"/>
                <a:gd name="connsiteX3792" fmla="*/ 5181124 w 6400800"/>
                <a:gd name="connsiteY3792" fmla="*/ 284321 h 514350"/>
                <a:gd name="connsiteX3793" fmla="*/ 5175409 w 6400800"/>
                <a:gd name="connsiteY3793" fmla="*/ 288131 h 514350"/>
                <a:gd name="connsiteX3794" fmla="*/ 5172551 w 6400800"/>
                <a:gd name="connsiteY3794" fmla="*/ 290036 h 514350"/>
                <a:gd name="connsiteX3795" fmla="*/ 5179219 w 6400800"/>
                <a:gd name="connsiteY3795" fmla="*/ 272891 h 514350"/>
                <a:gd name="connsiteX3796" fmla="*/ 5180171 w 6400800"/>
                <a:gd name="connsiteY3796" fmla="*/ 270034 h 514350"/>
                <a:gd name="connsiteX3797" fmla="*/ 5184934 w 6400800"/>
                <a:gd name="connsiteY3797" fmla="*/ 280511 h 514350"/>
                <a:gd name="connsiteX3798" fmla="*/ 5190649 w 6400800"/>
                <a:gd name="connsiteY3798" fmla="*/ 292894 h 514350"/>
                <a:gd name="connsiteX3799" fmla="*/ 5190649 w 6400800"/>
                <a:gd name="connsiteY3799" fmla="*/ 298609 h 514350"/>
                <a:gd name="connsiteX3800" fmla="*/ 5192554 w 6400800"/>
                <a:gd name="connsiteY3800" fmla="*/ 330041 h 514350"/>
                <a:gd name="connsiteX3801" fmla="*/ 5192554 w 6400800"/>
                <a:gd name="connsiteY3801" fmla="*/ 335756 h 514350"/>
                <a:gd name="connsiteX3802" fmla="*/ 5192554 w 6400800"/>
                <a:gd name="connsiteY3802" fmla="*/ 336709 h 514350"/>
                <a:gd name="connsiteX3803" fmla="*/ 5191601 w 6400800"/>
                <a:gd name="connsiteY3803" fmla="*/ 338614 h 514350"/>
                <a:gd name="connsiteX3804" fmla="*/ 5187792 w 6400800"/>
                <a:gd name="connsiteY3804" fmla="*/ 348139 h 514350"/>
                <a:gd name="connsiteX3805" fmla="*/ 5183981 w 6400800"/>
                <a:gd name="connsiteY3805" fmla="*/ 309086 h 514350"/>
                <a:gd name="connsiteX3806" fmla="*/ 5177314 w 6400800"/>
                <a:gd name="connsiteY3806" fmla="*/ 348139 h 514350"/>
                <a:gd name="connsiteX3807" fmla="*/ 5176362 w 6400800"/>
                <a:gd name="connsiteY3807" fmla="*/ 354806 h 514350"/>
                <a:gd name="connsiteX3808" fmla="*/ 5174456 w 6400800"/>
                <a:gd name="connsiteY3808" fmla="*/ 349091 h 514350"/>
                <a:gd name="connsiteX3809" fmla="*/ 5171599 w 6400800"/>
                <a:gd name="connsiteY3809" fmla="*/ 341471 h 514350"/>
                <a:gd name="connsiteX3810" fmla="*/ 5173504 w 6400800"/>
                <a:gd name="connsiteY3810" fmla="*/ 328136 h 514350"/>
                <a:gd name="connsiteX3811" fmla="*/ 5169694 w 6400800"/>
                <a:gd name="connsiteY3811" fmla="*/ 338614 h 514350"/>
                <a:gd name="connsiteX3812" fmla="*/ 5167789 w 6400800"/>
                <a:gd name="connsiteY3812" fmla="*/ 334804 h 514350"/>
                <a:gd name="connsiteX3813" fmla="*/ 5165884 w 6400800"/>
                <a:gd name="connsiteY3813" fmla="*/ 312896 h 514350"/>
                <a:gd name="connsiteX3814" fmla="*/ 5166837 w 6400800"/>
                <a:gd name="connsiteY3814" fmla="*/ 307181 h 514350"/>
                <a:gd name="connsiteX3815" fmla="*/ 5161121 w 6400800"/>
                <a:gd name="connsiteY3815" fmla="*/ 218599 h 514350"/>
                <a:gd name="connsiteX3816" fmla="*/ 5164931 w 6400800"/>
                <a:gd name="connsiteY3816" fmla="*/ 229076 h 514350"/>
                <a:gd name="connsiteX3817" fmla="*/ 5161121 w 6400800"/>
                <a:gd name="connsiteY3817" fmla="*/ 248126 h 514350"/>
                <a:gd name="connsiteX3818" fmla="*/ 5157312 w 6400800"/>
                <a:gd name="connsiteY3818" fmla="*/ 206216 h 514350"/>
                <a:gd name="connsiteX3819" fmla="*/ 5161121 w 6400800"/>
                <a:gd name="connsiteY3819" fmla="*/ 218599 h 514350"/>
                <a:gd name="connsiteX3820" fmla="*/ 5148739 w 6400800"/>
                <a:gd name="connsiteY3820" fmla="*/ 256699 h 514350"/>
                <a:gd name="connsiteX3821" fmla="*/ 5149692 w 6400800"/>
                <a:gd name="connsiteY3821" fmla="*/ 255746 h 514350"/>
                <a:gd name="connsiteX3822" fmla="*/ 5149692 w 6400800"/>
                <a:gd name="connsiteY3822" fmla="*/ 283369 h 514350"/>
                <a:gd name="connsiteX3823" fmla="*/ 5149692 w 6400800"/>
                <a:gd name="connsiteY3823" fmla="*/ 284321 h 514350"/>
                <a:gd name="connsiteX3824" fmla="*/ 5143024 w 6400800"/>
                <a:gd name="connsiteY3824" fmla="*/ 263366 h 514350"/>
                <a:gd name="connsiteX3825" fmla="*/ 5148739 w 6400800"/>
                <a:gd name="connsiteY3825" fmla="*/ 256699 h 514350"/>
                <a:gd name="connsiteX3826" fmla="*/ 5087779 w 6400800"/>
                <a:gd name="connsiteY3826" fmla="*/ 317659 h 514350"/>
                <a:gd name="connsiteX3827" fmla="*/ 5087779 w 6400800"/>
                <a:gd name="connsiteY3827" fmla="*/ 315754 h 514350"/>
                <a:gd name="connsiteX3828" fmla="*/ 5087779 w 6400800"/>
                <a:gd name="connsiteY3828" fmla="*/ 317659 h 514350"/>
                <a:gd name="connsiteX3829" fmla="*/ 5087779 w 6400800"/>
                <a:gd name="connsiteY3829" fmla="*/ 317659 h 514350"/>
                <a:gd name="connsiteX3830" fmla="*/ 5122069 w 6400800"/>
                <a:gd name="connsiteY3830" fmla="*/ 298609 h 514350"/>
                <a:gd name="connsiteX3831" fmla="*/ 5128737 w 6400800"/>
                <a:gd name="connsiteY3831" fmla="*/ 287179 h 514350"/>
                <a:gd name="connsiteX3832" fmla="*/ 5124926 w 6400800"/>
                <a:gd name="connsiteY3832" fmla="*/ 327184 h 514350"/>
                <a:gd name="connsiteX3833" fmla="*/ 5121117 w 6400800"/>
                <a:gd name="connsiteY3833" fmla="*/ 318611 h 514350"/>
                <a:gd name="connsiteX3834" fmla="*/ 5117306 w 6400800"/>
                <a:gd name="connsiteY3834" fmla="*/ 308134 h 514350"/>
                <a:gd name="connsiteX3835" fmla="*/ 5122069 w 6400800"/>
                <a:gd name="connsiteY3835" fmla="*/ 298609 h 514350"/>
                <a:gd name="connsiteX3836" fmla="*/ 5110639 w 6400800"/>
                <a:gd name="connsiteY3836" fmla="*/ 321469 h 514350"/>
                <a:gd name="connsiteX3837" fmla="*/ 5110639 w 6400800"/>
                <a:gd name="connsiteY3837" fmla="*/ 321469 h 514350"/>
                <a:gd name="connsiteX3838" fmla="*/ 5118259 w 6400800"/>
                <a:gd name="connsiteY3838" fmla="*/ 344329 h 514350"/>
                <a:gd name="connsiteX3839" fmla="*/ 5116354 w 6400800"/>
                <a:gd name="connsiteY3839" fmla="*/ 347186 h 514350"/>
                <a:gd name="connsiteX3840" fmla="*/ 5114449 w 6400800"/>
                <a:gd name="connsiteY3840" fmla="*/ 349091 h 514350"/>
                <a:gd name="connsiteX3841" fmla="*/ 5110639 w 6400800"/>
                <a:gd name="connsiteY3841" fmla="*/ 335756 h 514350"/>
                <a:gd name="connsiteX3842" fmla="*/ 5107781 w 6400800"/>
                <a:gd name="connsiteY3842" fmla="*/ 327184 h 514350"/>
                <a:gd name="connsiteX3843" fmla="*/ 5110639 w 6400800"/>
                <a:gd name="connsiteY3843" fmla="*/ 321469 h 514350"/>
                <a:gd name="connsiteX3844" fmla="*/ 5105876 w 6400800"/>
                <a:gd name="connsiteY3844" fmla="*/ 308134 h 514350"/>
                <a:gd name="connsiteX3845" fmla="*/ 5103019 w 6400800"/>
                <a:gd name="connsiteY3845" fmla="*/ 311944 h 514350"/>
                <a:gd name="connsiteX3846" fmla="*/ 5101114 w 6400800"/>
                <a:gd name="connsiteY3846" fmla="*/ 306229 h 514350"/>
                <a:gd name="connsiteX3847" fmla="*/ 5101114 w 6400800"/>
                <a:gd name="connsiteY3847" fmla="*/ 304324 h 514350"/>
                <a:gd name="connsiteX3848" fmla="*/ 5101114 w 6400800"/>
                <a:gd name="connsiteY3848" fmla="*/ 305276 h 514350"/>
                <a:gd name="connsiteX3849" fmla="*/ 5096351 w 6400800"/>
                <a:gd name="connsiteY3849" fmla="*/ 288131 h 514350"/>
                <a:gd name="connsiteX3850" fmla="*/ 5097304 w 6400800"/>
                <a:gd name="connsiteY3850" fmla="*/ 281464 h 514350"/>
                <a:gd name="connsiteX3851" fmla="*/ 5105876 w 6400800"/>
                <a:gd name="connsiteY3851" fmla="*/ 308134 h 514350"/>
                <a:gd name="connsiteX3852" fmla="*/ 5097304 w 6400800"/>
                <a:gd name="connsiteY3852" fmla="*/ 282416 h 514350"/>
                <a:gd name="connsiteX3853" fmla="*/ 5095399 w 6400800"/>
                <a:gd name="connsiteY3853" fmla="*/ 286226 h 514350"/>
                <a:gd name="connsiteX3854" fmla="*/ 5093494 w 6400800"/>
                <a:gd name="connsiteY3854" fmla="*/ 279559 h 514350"/>
                <a:gd name="connsiteX3855" fmla="*/ 5087779 w 6400800"/>
                <a:gd name="connsiteY3855" fmla="*/ 258604 h 514350"/>
                <a:gd name="connsiteX3856" fmla="*/ 5089684 w 6400800"/>
                <a:gd name="connsiteY3856" fmla="*/ 257651 h 514350"/>
                <a:gd name="connsiteX3857" fmla="*/ 5097304 w 6400800"/>
                <a:gd name="connsiteY3857" fmla="*/ 282416 h 514350"/>
                <a:gd name="connsiteX3858" fmla="*/ 5080159 w 6400800"/>
                <a:gd name="connsiteY3858" fmla="*/ 224314 h 514350"/>
                <a:gd name="connsiteX3859" fmla="*/ 5089684 w 6400800"/>
                <a:gd name="connsiteY3859" fmla="*/ 254794 h 514350"/>
                <a:gd name="connsiteX3860" fmla="*/ 5087779 w 6400800"/>
                <a:gd name="connsiteY3860" fmla="*/ 254794 h 514350"/>
                <a:gd name="connsiteX3861" fmla="*/ 5081112 w 6400800"/>
                <a:gd name="connsiteY3861" fmla="*/ 228124 h 514350"/>
                <a:gd name="connsiteX3862" fmla="*/ 5080159 w 6400800"/>
                <a:gd name="connsiteY3862" fmla="*/ 224314 h 514350"/>
                <a:gd name="connsiteX3863" fmla="*/ 5080159 w 6400800"/>
                <a:gd name="connsiteY3863" fmla="*/ 224314 h 514350"/>
                <a:gd name="connsiteX3864" fmla="*/ 5076349 w 6400800"/>
                <a:gd name="connsiteY3864" fmla="*/ 272891 h 514350"/>
                <a:gd name="connsiteX3865" fmla="*/ 5076349 w 6400800"/>
                <a:gd name="connsiteY3865" fmla="*/ 268129 h 514350"/>
                <a:gd name="connsiteX3866" fmla="*/ 5079206 w 6400800"/>
                <a:gd name="connsiteY3866" fmla="*/ 283369 h 514350"/>
                <a:gd name="connsiteX3867" fmla="*/ 5083017 w 6400800"/>
                <a:gd name="connsiteY3867" fmla="*/ 301466 h 514350"/>
                <a:gd name="connsiteX3868" fmla="*/ 5083017 w 6400800"/>
                <a:gd name="connsiteY3868" fmla="*/ 304324 h 514350"/>
                <a:gd name="connsiteX3869" fmla="*/ 5082064 w 6400800"/>
                <a:gd name="connsiteY3869" fmla="*/ 311944 h 514350"/>
                <a:gd name="connsiteX3870" fmla="*/ 5073492 w 6400800"/>
                <a:gd name="connsiteY3870" fmla="*/ 292894 h 514350"/>
                <a:gd name="connsiteX3871" fmla="*/ 5076349 w 6400800"/>
                <a:gd name="connsiteY3871" fmla="*/ 272891 h 514350"/>
                <a:gd name="connsiteX3872" fmla="*/ 5066824 w 6400800"/>
                <a:gd name="connsiteY3872" fmla="*/ 377666 h 514350"/>
                <a:gd name="connsiteX3873" fmla="*/ 5066824 w 6400800"/>
                <a:gd name="connsiteY3873" fmla="*/ 380524 h 514350"/>
                <a:gd name="connsiteX3874" fmla="*/ 5066824 w 6400800"/>
                <a:gd name="connsiteY3874" fmla="*/ 383381 h 514350"/>
                <a:gd name="connsiteX3875" fmla="*/ 5065871 w 6400800"/>
                <a:gd name="connsiteY3875" fmla="*/ 384334 h 514350"/>
                <a:gd name="connsiteX3876" fmla="*/ 5064919 w 6400800"/>
                <a:gd name="connsiteY3876" fmla="*/ 381476 h 514350"/>
                <a:gd name="connsiteX3877" fmla="*/ 5066824 w 6400800"/>
                <a:gd name="connsiteY3877" fmla="*/ 377666 h 514350"/>
                <a:gd name="connsiteX3878" fmla="*/ 5057299 w 6400800"/>
                <a:gd name="connsiteY3878" fmla="*/ 303371 h 514350"/>
                <a:gd name="connsiteX3879" fmla="*/ 5051584 w 6400800"/>
                <a:gd name="connsiteY3879" fmla="*/ 294799 h 514350"/>
                <a:gd name="connsiteX3880" fmla="*/ 5052537 w 6400800"/>
                <a:gd name="connsiteY3880" fmla="*/ 290989 h 514350"/>
                <a:gd name="connsiteX3881" fmla="*/ 5055394 w 6400800"/>
                <a:gd name="connsiteY3881" fmla="*/ 287179 h 514350"/>
                <a:gd name="connsiteX3882" fmla="*/ 5057299 w 6400800"/>
                <a:gd name="connsiteY3882" fmla="*/ 303371 h 514350"/>
                <a:gd name="connsiteX3883" fmla="*/ 5050631 w 6400800"/>
                <a:gd name="connsiteY3883" fmla="*/ 252889 h 514350"/>
                <a:gd name="connsiteX3884" fmla="*/ 5052537 w 6400800"/>
                <a:gd name="connsiteY3884" fmla="*/ 258604 h 514350"/>
                <a:gd name="connsiteX3885" fmla="*/ 5053489 w 6400800"/>
                <a:gd name="connsiteY3885" fmla="*/ 260509 h 514350"/>
                <a:gd name="connsiteX3886" fmla="*/ 5054442 w 6400800"/>
                <a:gd name="connsiteY3886" fmla="*/ 268129 h 514350"/>
                <a:gd name="connsiteX3887" fmla="*/ 5052537 w 6400800"/>
                <a:gd name="connsiteY3887" fmla="*/ 273844 h 514350"/>
                <a:gd name="connsiteX3888" fmla="*/ 5051584 w 6400800"/>
                <a:gd name="connsiteY3888" fmla="*/ 276701 h 514350"/>
                <a:gd name="connsiteX3889" fmla="*/ 5048726 w 6400800"/>
                <a:gd name="connsiteY3889" fmla="*/ 279559 h 514350"/>
                <a:gd name="connsiteX3890" fmla="*/ 5048726 w 6400800"/>
                <a:gd name="connsiteY3890" fmla="*/ 278606 h 514350"/>
                <a:gd name="connsiteX3891" fmla="*/ 5048726 w 6400800"/>
                <a:gd name="connsiteY3891" fmla="*/ 274796 h 514350"/>
                <a:gd name="connsiteX3892" fmla="*/ 5049679 w 6400800"/>
                <a:gd name="connsiteY3892" fmla="*/ 268129 h 514350"/>
                <a:gd name="connsiteX3893" fmla="*/ 5050631 w 6400800"/>
                <a:gd name="connsiteY3893" fmla="*/ 262414 h 514350"/>
                <a:gd name="connsiteX3894" fmla="*/ 5048726 w 6400800"/>
                <a:gd name="connsiteY3894" fmla="*/ 268129 h 514350"/>
                <a:gd name="connsiteX3895" fmla="*/ 5048726 w 6400800"/>
                <a:gd name="connsiteY3895" fmla="*/ 269081 h 514350"/>
                <a:gd name="connsiteX3896" fmla="*/ 5048726 w 6400800"/>
                <a:gd name="connsiteY3896" fmla="*/ 266224 h 514350"/>
                <a:gd name="connsiteX3897" fmla="*/ 5050631 w 6400800"/>
                <a:gd name="connsiteY3897" fmla="*/ 252889 h 514350"/>
                <a:gd name="connsiteX3898" fmla="*/ 5020151 w 6400800"/>
                <a:gd name="connsiteY3898" fmla="*/ 390049 h 514350"/>
                <a:gd name="connsiteX3899" fmla="*/ 5014437 w 6400800"/>
                <a:gd name="connsiteY3899" fmla="*/ 376714 h 514350"/>
                <a:gd name="connsiteX3900" fmla="*/ 5014437 w 6400800"/>
                <a:gd name="connsiteY3900" fmla="*/ 375761 h 514350"/>
                <a:gd name="connsiteX3901" fmla="*/ 5022056 w 6400800"/>
                <a:gd name="connsiteY3901" fmla="*/ 347186 h 514350"/>
                <a:gd name="connsiteX3902" fmla="*/ 5022056 w 6400800"/>
                <a:gd name="connsiteY3902" fmla="*/ 348139 h 514350"/>
                <a:gd name="connsiteX3903" fmla="*/ 5022056 w 6400800"/>
                <a:gd name="connsiteY3903" fmla="*/ 363379 h 514350"/>
                <a:gd name="connsiteX3904" fmla="*/ 5023009 w 6400800"/>
                <a:gd name="connsiteY3904" fmla="*/ 379571 h 514350"/>
                <a:gd name="connsiteX3905" fmla="*/ 5023962 w 6400800"/>
                <a:gd name="connsiteY3905" fmla="*/ 386239 h 514350"/>
                <a:gd name="connsiteX3906" fmla="*/ 5020151 w 6400800"/>
                <a:gd name="connsiteY3906" fmla="*/ 390049 h 514350"/>
                <a:gd name="connsiteX3907" fmla="*/ 5024914 w 6400800"/>
                <a:gd name="connsiteY3907" fmla="*/ 400526 h 514350"/>
                <a:gd name="connsiteX3908" fmla="*/ 5024914 w 6400800"/>
                <a:gd name="connsiteY3908" fmla="*/ 400526 h 514350"/>
                <a:gd name="connsiteX3909" fmla="*/ 5024914 w 6400800"/>
                <a:gd name="connsiteY3909" fmla="*/ 400526 h 514350"/>
                <a:gd name="connsiteX3910" fmla="*/ 5024914 w 6400800"/>
                <a:gd name="connsiteY3910" fmla="*/ 400526 h 514350"/>
                <a:gd name="connsiteX3911" fmla="*/ 5035392 w 6400800"/>
                <a:gd name="connsiteY3911" fmla="*/ 314801 h 514350"/>
                <a:gd name="connsiteX3912" fmla="*/ 5035392 w 6400800"/>
                <a:gd name="connsiteY3912" fmla="*/ 317659 h 514350"/>
                <a:gd name="connsiteX3913" fmla="*/ 5031581 w 6400800"/>
                <a:gd name="connsiteY3913" fmla="*/ 353854 h 514350"/>
                <a:gd name="connsiteX3914" fmla="*/ 5031581 w 6400800"/>
                <a:gd name="connsiteY3914" fmla="*/ 353854 h 514350"/>
                <a:gd name="connsiteX3915" fmla="*/ 5031581 w 6400800"/>
                <a:gd name="connsiteY3915" fmla="*/ 354806 h 514350"/>
                <a:gd name="connsiteX3916" fmla="*/ 5030629 w 6400800"/>
                <a:gd name="connsiteY3916" fmla="*/ 347186 h 514350"/>
                <a:gd name="connsiteX3917" fmla="*/ 5027771 w 6400800"/>
                <a:gd name="connsiteY3917" fmla="*/ 329089 h 514350"/>
                <a:gd name="connsiteX3918" fmla="*/ 5028724 w 6400800"/>
                <a:gd name="connsiteY3918" fmla="*/ 325279 h 514350"/>
                <a:gd name="connsiteX3919" fmla="*/ 5032534 w 6400800"/>
                <a:gd name="connsiteY3919" fmla="*/ 319564 h 514350"/>
                <a:gd name="connsiteX3920" fmla="*/ 5035392 w 6400800"/>
                <a:gd name="connsiteY3920" fmla="*/ 314801 h 514350"/>
                <a:gd name="connsiteX3921" fmla="*/ 5006817 w 6400800"/>
                <a:gd name="connsiteY3921" fmla="*/ 242411 h 514350"/>
                <a:gd name="connsiteX3922" fmla="*/ 5019199 w 6400800"/>
                <a:gd name="connsiteY3922" fmla="*/ 259556 h 514350"/>
                <a:gd name="connsiteX3923" fmla="*/ 5025867 w 6400800"/>
                <a:gd name="connsiteY3923" fmla="*/ 270034 h 514350"/>
                <a:gd name="connsiteX3924" fmla="*/ 5021104 w 6400800"/>
                <a:gd name="connsiteY3924" fmla="*/ 263366 h 514350"/>
                <a:gd name="connsiteX3925" fmla="*/ 5014437 w 6400800"/>
                <a:gd name="connsiteY3925" fmla="*/ 255746 h 514350"/>
                <a:gd name="connsiteX3926" fmla="*/ 5004912 w 6400800"/>
                <a:gd name="connsiteY3926" fmla="*/ 245269 h 514350"/>
                <a:gd name="connsiteX3927" fmla="*/ 5006817 w 6400800"/>
                <a:gd name="connsiteY3927" fmla="*/ 242411 h 514350"/>
                <a:gd name="connsiteX3928" fmla="*/ 5004912 w 6400800"/>
                <a:gd name="connsiteY3928" fmla="*/ 242411 h 514350"/>
                <a:gd name="connsiteX3929" fmla="*/ 5004912 w 6400800"/>
                <a:gd name="connsiteY3929" fmla="*/ 238601 h 514350"/>
                <a:gd name="connsiteX3930" fmla="*/ 5006817 w 6400800"/>
                <a:gd name="connsiteY3930" fmla="*/ 241459 h 514350"/>
                <a:gd name="connsiteX3931" fmla="*/ 5004912 w 6400800"/>
                <a:gd name="connsiteY3931" fmla="*/ 244316 h 514350"/>
                <a:gd name="connsiteX3932" fmla="*/ 5004912 w 6400800"/>
                <a:gd name="connsiteY3932" fmla="*/ 243364 h 514350"/>
                <a:gd name="connsiteX3933" fmla="*/ 5004912 w 6400800"/>
                <a:gd name="connsiteY3933" fmla="*/ 242411 h 514350"/>
                <a:gd name="connsiteX3934" fmla="*/ 4999196 w 6400800"/>
                <a:gd name="connsiteY3934" fmla="*/ 303371 h 514350"/>
                <a:gd name="connsiteX3935" fmla="*/ 5003006 w 6400800"/>
                <a:gd name="connsiteY3935" fmla="*/ 252889 h 514350"/>
                <a:gd name="connsiteX3936" fmla="*/ 5008721 w 6400800"/>
                <a:gd name="connsiteY3936" fmla="*/ 260509 h 514350"/>
                <a:gd name="connsiteX3937" fmla="*/ 5014437 w 6400800"/>
                <a:gd name="connsiteY3937" fmla="*/ 268129 h 514350"/>
                <a:gd name="connsiteX3938" fmla="*/ 5020151 w 6400800"/>
                <a:gd name="connsiteY3938" fmla="*/ 276701 h 514350"/>
                <a:gd name="connsiteX3939" fmla="*/ 5029676 w 6400800"/>
                <a:gd name="connsiteY3939" fmla="*/ 292894 h 514350"/>
                <a:gd name="connsiteX3940" fmla="*/ 5029676 w 6400800"/>
                <a:gd name="connsiteY3940" fmla="*/ 293846 h 514350"/>
                <a:gd name="connsiteX3941" fmla="*/ 5025867 w 6400800"/>
                <a:gd name="connsiteY3941" fmla="*/ 302419 h 514350"/>
                <a:gd name="connsiteX3942" fmla="*/ 5023009 w 6400800"/>
                <a:gd name="connsiteY3942" fmla="*/ 305276 h 514350"/>
                <a:gd name="connsiteX3943" fmla="*/ 5022056 w 6400800"/>
                <a:gd name="connsiteY3943" fmla="*/ 301466 h 514350"/>
                <a:gd name="connsiteX3944" fmla="*/ 5022056 w 6400800"/>
                <a:gd name="connsiteY3944" fmla="*/ 306229 h 514350"/>
                <a:gd name="connsiteX3945" fmla="*/ 5019199 w 6400800"/>
                <a:gd name="connsiteY3945" fmla="*/ 309086 h 514350"/>
                <a:gd name="connsiteX3946" fmla="*/ 5012531 w 6400800"/>
                <a:gd name="connsiteY3946" fmla="*/ 318611 h 514350"/>
                <a:gd name="connsiteX3947" fmla="*/ 5013484 w 6400800"/>
                <a:gd name="connsiteY3947" fmla="*/ 311944 h 514350"/>
                <a:gd name="connsiteX3948" fmla="*/ 5017294 w 6400800"/>
                <a:gd name="connsiteY3948" fmla="*/ 294799 h 514350"/>
                <a:gd name="connsiteX3949" fmla="*/ 5020151 w 6400800"/>
                <a:gd name="connsiteY3949" fmla="*/ 279559 h 514350"/>
                <a:gd name="connsiteX3950" fmla="*/ 5013484 w 6400800"/>
                <a:gd name="connsiteY3950" fmla="*/ 293846 h 514350"/>
                <a:gd name="connsiteX3951" fmla="*/ 5006817 w 6400800"/>
                <a:gd name="connsiteY3951" fmla="*/ 310039 h 514350"/>
                <a:gd name="connsiteX3952" fmla="*/ 4999196 w 6400800"/>
                <a:gd name="connsiteY3952" fmla="*/ 331946 h 514350"/>
                <a:gd name="connsiteX3953" fmla="*/ 4999196 w 6400800"/>
                <a:gd name="connsiteY3953" fmla="*/ 332899 h 514350"/>
                <a:gd name="connsiteX3954" fmla="*/ 4997292 w 6400800"/>
                <a:gd name="connsiteY3954" fmla="*/ 327184 h 514350"/>
                <a:gd name="connsiteX3955" fmla="*/ 4999196 w 6400800"/>
                <a:gd name="connsiteY3955" fmla="*/ 303371 h 514350"/>
                <a:gd name="connsiteX3956" fmla="*/ 4968717 w 6400800"/>
                <a:gd name="connsiteY3956" fmla="*/ 208121 h 514350"/>
                <a:gd name="connsiteX3957" fmla="*/ 4967764 w 6400800"/>
                <a:gd name="connsiteY3957" fmla="*/ 212884 h 514350"/>
                <a:gd name="connsiteX3958" fmla="*/ 4966812 w 6400800"/>
                <a:gd name="connsiteY3958" fmla="*/ 217646 h 514350"/>
                <a:gd name="connsiteX3959" fmla="*/ 4966812 w 6400800"/>
                <a:gd name="connsiteY3959" fmla="*/ 215741 h 514350"/>
                <a:gd name="connsiteX3960" fmla="*/ 4968717 w 6400800"/>
                <a:gd name="connsiteY3960" fmla="*/ 208121 h 514350"/>
                <a:gd name="connsiteX3961" fmla="*/ 4960144 w 6400800"/>
                <a:gd name="connsiteY3961" fmla="*/ 364331 h 514350"/>
                <a:gd name="connsiteX3962" fmla="*/ 4961096 w 6400800"/>
                <a:gd name="connsiteY3962" fmla="*/ 381476 h 514350"/>
                <a:gd name="connsiteX3963" fmla="*/ 4958239 w 6400800"/>
                <a:gd name="connsiteY3963" fmla="*/ 391001 h 514350"/>
                <a:gd name="connsiteX3964" fmla="*/ 4957287 w 6400800"/>
                <a:gd name="connsiteY3964" fmla="*/ 386239 h 514350"/>
                <a:gd name="connsiteX3965" fmla="*/ 4957287 w 6400800"/>
                <a:gd name="connsiteY3965" fmla="*/ 380524 h 514350"/>
                <a:gd name="connsiteX3966" fmla="*/ 4956334 w 6400800"/>
                <a:gd name="connsiteY3966" fmla="*/ 356711 h 514350"/>
                <a:gd name="connsiteX3967" fmla="*/ 4956334 w 6400800"/>
                <a:gd name="connsiteY3967" fmla="*/ 351949 h 514350"/>
                <a:gd name="connsiteX3968" fmla="*/ 4958239 w 6400800"/>
                <a:gd name="connsiteY3968" fmla="*/ 348139 h 514350"/>
                <a:gd name="connsiteX3969" fmla="*/ 4960144 w 6400800"/>
                <a:gd name="connsiteY3969" fmla="*/ 364331 h 514350"/>
                <a:gd name="connsiteX3970" fmla="*/ 4957287 w 6400800"/>
                <a:gd name="connsiteY3970" fmla="*/ 256699 h 514350"/>
                <a:gd name="connsiteX3971" fmla="*/ 4957287 w 6400800"/>
                <a:gd name="connsiteY3971" fmla="*/ 258604 h 514350"/>
                <a:gd name="connsiteX3972" fmla="*/ 4957287 w 6400800"/>
                <a:gd name="connsiteY3972" fmla="*/ 259556 h 514350"/>
                <a:gd name="connsiteX3973" fmla="*/ 4955381 w 6400800"/>
                <a:gd name="connsiteY3973" fmla="*/ 267176 h 514350"/>
                <a:gd name="connsiteX3974" fmla="*/ 4954429 w 6400800"/>
                <a:gd name="connsiteY3974" fmla="*/ 265271 h 514350"/>
                <a:gd name="connsiteX3975" fmla="*/ 4957287 w 6400800"/>
                <a:gd name="connsiteY3975" fmla="*/ 256699 h 514350"/>
                <a:gd name="connsiteX3976" fmla="*/ 4954429 w 6400800"/>
                <a:gd name="connsiteY3976" fmla="*/ 268129 h 514350"/>
                <a:gd name="connsiteX3977" fmla="*/ 4955381 w 6400800"/>
                <a:gd name="connsiteY3977" fmla="*/ 270986 h 514350"/>
                <a:gd name="connsiteX3978" fmla="*/ 4951571 w 6400800"/>
                <a:gd name="connsiteY3978" fmla="*/ 290036 h 514350"/>
                <a:gd name="connsiteX3979" fmla="*/ 4944904 w 6400800"/>
                <a:gd name="connsiteY3979" fmla="*/ 316706 h 514350"/>
                <a:gd name="connsiteX3980" fmla="*/ 4943951 w 6400800"/>
                <a:gd name="connsiteY3980" fmla="*/ 310991 h 514350"/>
                <a:gd name="connsiteX3981" fmla="*/ 4943951 w 6400800"/>
                <a:gd name="connsiteY3981" fmla="*/ 320516 h 514350"/>
                <a:gd name="connsiteX3982" fmla="*/ 4940142 w 6400800"/>
                <a:gd name="connsiteY3982" fmla="*/ 336709 h 514350"/>
                <a:gd name="connsiteX3983" fmla="*/ 4940142 w 6400800"/>
                <a:gd name="connsiteY3983" fmla="*/ 335756 h 514350"/>
                <a:gd name="connsiteX3984" fmla="*/ 4938237 w 6400800"/>
                <a:gd name="connsiteY3984" fmla="*/ 325279 h 514350"/>
                <a:gd name="connsiteX3985" fmla="*/ 4954429 w 6400800"/>
                <a:gd name="connsiteY3985" fmla="*/ 268129 h 514350"/>
                <a:gd name="connsiteX3986" fmla="*/ 4922044 w 6400800"/>
                <a:gd name="connsiteY3986" fmla="*/ 378619 h 514350"/>
                <a:gd name="connsiteX3987" fmla="*/ 4922044 w 6400800"/>
                <a:gd name="connsiteY3987" fmla="*/ 378619 h 514350"/>
                <a:gd name="connsiteX3988" fmla="*/ 4922044 w 6400800"/>
                <a:gd name="connsiteY3988" fmla="*/ 378619 h 514350"/>
                <a:gd name="connsiteX3989" fmla="*/ 4922044 w 6400800"/>
                <a:gd name="connsiteY3989" fmla="*/ 378619 h 514350"/>
                <a:gd name="connsiteX3990" fmla="*/ 4908709 w 6400800"/>
                <a:gd name="connsiteY3990" fmla="*/ 307181 h 514350"/>
                <a:gd name="connsiteX3991" fmla="*/ 4915376 w 6400800"/>
                <a:gd name="connsiteY3991" fmla="*/ 326231 h 514350"/>
                <a:gd name="connsiteX3992" fmla="*/ 4909662 w 6400800"/>
                <a:gd name="connsiteY3992" fmla="*/ 338614 h 514350"/>
                <a:gd name="connsiteX3993" fmla="*/ 4906804 w 6400800"/>
                <a:gd name="connsiteY3993" fmla="*/ 308134 h 514350"/>
                <a:gd name="connsiteX3994" fmla="*/ 4906804 w 6400800"/>
                <a:gd name="connsiteY3994" fmla="*/ 305276 h 514350"/>
                <a:gd name="connsiteX3995" fmla="*/ 4905851 w 6400800"/>
                <a:gd name="connsiteY3995" fmla="*/ 307181 h 514350"/>
                <a:gd name="connsiteX3996" fmla="*/ 4904899 w 6400800"/>
                <a:gd name="connsiteY3996" fmla="*/ 297656 h 514350"/>
                <a:gd name="connsiteX3997" fmla="*/ 4908709 w 6400800"/>
                <a:gd name="connsiteY3997" fmla="*/ 307181 h 514350"/>
                <a:gd name="connsiteX3998" fmla="*/ 4897279 w 6400800"/>
                <a:gd name="connsiteY3998" fmla="*/ 351949 h 514350"/>
                <a:gd name="connsiteX3999" fmla="*/ 4896326 w 6400800"/>
                <a:gd name="connsiteY3999" fmla="*/ 365284 h 514350"/>
                <a:gd name="connsiteX4000" fmla="*/ 4895374 w 6400800"/>
                <a:gd name="connsiteY4000" fmla="*/ 368141 h 514350"/>
                <a:gd name="connsiteX4001" fmla="*/ 4894421 w 6400800"/>
                <a:gd name="connsiteY4001" fmla="*/ 357664 h 514350"/>
                <a:gd name="connsiteX4002" fmla="*/ 4892517 w 6400800"/>
                <a:gd name="connsiteY4002" fmla="*/ 341471 h 514350"/>
                <a:gd name="connsiteX4003" fmla="*/ 4897279 w 6400800"/>
                <a:gd name="connsiteY4003" fmla="*/ 351949 h 514350"/>
                <a:gd name="connsiteX4004" fmla="*/ 4822984 w 6400800"/>
                <a:gd name="connsiteY4004" fmla="*/ 387191 h 514350"/>
                <a:gd name="connsiteX4005" fmla="*/ 4822984 w 6400800"/>
                <a:gd name="connsiteY4005" fmla="*/ 385286 h 514350"/>
                <a:gd name="connsiteX4006" fmla="*/ 4822984 w 6400800"/>
                <a:gd name="connsiteY4006" fmla="*/ 387191 h 514350"/>
                <a:gd name="connsiteX4007" fmla="*/ 4822984 w 6400800"/>
                <a:gd name="connsiteY4007" fmla="*/ 387191 h 514350"/>
                <a:gd name="connsiteX4008" fmla="*/ 4842987 w 6400800"/>
                <a:gd name="connsiteY4008" fmla="*/ 338614 h 514350"/>
                <a:gd name="connsiteX4009" fmla="*/ 4842987 w 6400800"/>
                <a:gd name="connsiteY4009" fmla="*/ 356711 h 514350"/>
                <a:gd name="connsiteX4010" fmla="*/ 4842987 w 6400800"/>
                <a:gd name="connsiteY4010" fmla="*/ 360521 h 514350"/>
                <a:gd name="connsiteX4011" fmla="*/ 4840129 w 6400800"/>
                <a:gd name="connsiteY4011" fmla="*/ 382429 h 514350"/>
                <a:gd name="connsiteX4012" fmla="*/ 4838224 w 6400800"/>
                <a:gd name="connsiteY4012" fmla="*/ 390049 h 514350"/>
                <a:gd name="connsiteX4013" fmla="*/ 4826794 w 6400800"/>
                <a:gd name="connsiteY4013" fmla="*/ 387191 h 514350"/>
                <a:gd name="connsiteX4014" fmla="*/ 4824889 w 6400800"/>
                <a:gd name="connsiteY4014" fmla="*/ 379571 h 514350"/>
                <a:gd name="connsiteX4015" fmla="*/ 4827747 w 6400800"/>
                <a:gd name="connsiteY4015" fmla="*/ 370999 h 514350"/>
                <a:gd name="connsiteX4016" fmla="*/ 4838224 w 6400800"/>
                <a:gd name="connsiteY4016" fmla="*/ 346234 h 514350"/>
                <a:gd name="connsiteX4017" fmla="*/ 4843939 w 6400800"/>
                <a:gd name="connsiteY4017" fmla="*/ 336709 h 514350"/>
                <a:gd name="connsiteX4018" fmla="*/ 4842987 w 6400800"/>
                <a:gd name="connsiteY4018" fmla="*/ 338614 h 514350"/>
                <a:gd name="connsiteX4019" fmla="*/ 4842987 w 6400800"/>
                <a:gd name="connsiteY4019" fmla="*/ 338614 h 514350"/>
                <a:gd name="connsiteX4020" fmla="*/ 4843939 w 6400800"/>
                <a:gd name="connsiteY4020" fmla="*/ 329089 h 514350"/>
                <a:gd name="connsiteX4021" fmla="*/ 4843939 w 6400800"/>
                <a:gd name="connsiteY4021" fmla="*/ 329089 h 514350"/>
                <a:gd name="connsiteX4022" fmla="*/ 4836319 w 6400800"/>
                <a:gd name="connsiteY4022" fmla="*/ 318611 h 514350"/>
                <a:gd name="connsiteX4023" fmla="*/ 4836319 w 6400800"/>
                <a:gd name="connsiteY4023" fmla="*/ 318611 h 514350"/>
                <a:gd name="connsiteX4024" fmla="*/ 4839176 w 6400800"/>
                <a:gd name="connsiteY4024" fmla="*/ 314801 h 514350"/>
                <a:gd name="connsiteX4025" fmla="*/ 4842987 w 6400800"/>
                <a:gd name="connsiteY4025" fmla="*/ 321469 h 514350"/>
                <a:gd name="connsiteX4026" fmla="*/ 4843939 w 6400800"/>
                <a:gd name="connsiteY4026" fmla="*/ 323374 h 514350"/>
                <a:gd name="connsiteX4027" fmla="*/ 4843939 w 6400800"/>
                <a:gd name="connsiteY4027" fmla="*/ 329089 h 514350"/>
                <a:gd name="connsiteX4028" fmla="*/ 4845844 w 6400800"/>
                <a:gd name="connsiteY4028" fmla="*/ 296704 h 514350"/>
                <a:gd name="connsiteX4029" fmla="*/ 4844891 w 6400800"/>
                <a:gd name="connsiteY4029" fmla="*/ 316706 h 514350"/>
                <a:gd name="connsiteX4030" fmla="*/ 4840129 w 6400800"/>
                <a:gd name="connsiteY4030" fmla="*/ 310039 h 514350"/>
                <a:gd name="connsiteX4031" fmla="*/ 4837272 w 6400800"/>
                <a:gd name="connsiteY4031" fmla="*/ 306229 h 514350"/>
                <a:gd name="connsiteX4032" fmla="*/ 4845844 w 6400800"/>
                <a:gd name="connsiteY4032" fmla="*/ 290989 h 514350"/>
                <a:gd name="connsiteX4033" fmla="*/ 4847749 w 6400800"/>
                <a:gd name="connsiteY4033" fmla="*/ 288131 h 514350"/>
                <a:gd name="connsiteX4034" fmla="*/ 4845844 w 6400800"/>
                <a:gd name="connsiteY4034" fmla="*/ 296704 h 514350"/>
                <a:gd name="connsiteX4035" fmla="*/ 4869656 w 6400800"/>
                <a:gd name="connsiteY4035" fmla="*/ 325279 h 514350"/>
                <a:gd name="connsiteX4036" fmla="*/ 4869656 w 6400800"/>
                <a:gd name="connsiteY4036" fmla="*/ 327184 h 514350"/>
                <a:gd name="connsiteX4037" fmla="*/ 4869656 w 6400800"/>
                <a:gd name="connsiteY4037" fmla="*/ 325279 h 514350"/>
                <a:gd name="connsiteX4038" fmla="*/ 4869656 w 6400800"/>
                <a:gd name="connsiteY4038" fmla="*/ 318611 h 514350"/>
                <a:gd name="connsiteX4039" fmla="*/ 4869656 w 6400800"/>
                <a:gd name="connsiteY4039" fmla="*/ 325279 h 514350"/>
                <a:gd name="connsiteX4040" fmla="*/ 4854416 w 6400800"/>
                <a:gd name="connsiteY4040" fmla="*/ 276701 h 514350"/>
                <a:gd name="connsiteX4041" fmla="*/ 4868704 w 6400800"/>
                <a:gd name="connsiteY4041" fmla="*/ 256699 h 514350"/>
                <a:gd name="connsiteX4042" fmla="*/ 4871562 w 6400800"/>
                <a:gd name="connsiteY4042" fmla="*/ 252889 h 514350"/>
                <a:gd name="connsiteX4043" fmla="*/ 4871562 w 6400800"/>
                <a:gd name="connsiteY4043" fmla="*/ 259556 h 514350"/>
                <a:gd name="connsiteX4044" fmla="*/ 4861084 w 6400800"/>
                <a:gd name="connsiteY4044" fmla="*/ 296704 h 514350"/>
                <a:gd name="connsiteX4045" fmla="*/ 4860131 w 6400800"/>
                <a:gd name="connsiteY4045" fmla="*/ 300514 h 514350"/>
                <a:gd name="connsiteX4046" fmla="*/ 4853464 w 6400800"/>
                <a:gd name="connsiteY4046" fmla="*/ 278606 h 514350"/>
                <a:gd name="connsiteX4047" fmla="*/ 4854416 w 6400800"/>
                <a:gd name="connsiteY4047" fmla="*/ 276701 h 514350"/>
                <a:gd name="connsiteX4048" fmla="*/ 4854416 w 6400800"/>
                <a:gd name="connsiteY4048" fmla="*/ 276701 h 514350"/>
                <a:gd name="connsiteX4049" fmla="*/ 4850606 w 6400800"/>
                <a:gd name="connsiteY4049" fmla="*/ 281464 h 514350"/>
                <a:gd name="connsiteX4050" fmla="*/ 4857274 w 6400800"/>
                <a:gd name="connsiteY4050" fmla="*/ 316706 h 514350"/>
                <a:gd name="connsiteX4051" fmla="*/ 4854416 w 6400800"/>
                <a:gd name="connsiteY4051" fmla="*/ 330041 h 514350"/>
                <a:gd name="connsiteX4052" fmla="*/ 4852512 w 6400800"/>
                <a:gd name="connsiteY4052" fmla="*/ 326231 h 514350"/>
                <a:gd name="connsiteX4053" fmla="*/ 4852512 w 6400800"/>
                <a:gd name="connsiteY4053" fmla="*/ 322421 h 514350"/>
                <a:gd name="connsiteX4054" fmla="*/ 4850606 w 6400800"/>
                <a:gd name="connsiteY4054" fmla="*/ 295751 h 514350"/>
                <a:gd name="connsiteX4055" fmla="*/ 4849654 w 6400800"/>
                <a:gd name="connsiteY4055" fmla="*/ 284321 h 514350"/>
                <a:gd name="connsiteX4056" fmla="*/ 4850606 w 6400800"/>
                <a:gd name="connsiteY4056" fmla="*/ 281464 h 514350"/>
                <a:gd name="connsiteX4057" fmla="*/ 4838224 w 6400800"/>
                <a:gd name="connsiteY4057" fmla="*/ 290036 h 514350"/>
                <a:gd name="connsiteX4058" fmla="*/ 4845844 w 6400800"/>
                <a:gd name="connsiteY4058" fmla="*/ 272891 h 514350"/>
                <a:gd name="connsiteX4059" fmla="*/ 4848701 w 6400800"/>
                <a:gd name="connsiteY4059" fmla="*/ 265271 h 514350"/>
                <a:gd name="connsiteX4060" fmla="*/ 4849654 w 6400800"/>
                <a:gd name="connsiteY4060" fmla="*/ 275749 h 514350"/>
                <a:gd name="connsiteX4061" fmla="*/ 4847749 w 6400800"/>
                <a:gd name="connsiteY4061" fmla="*/ 277654 h 514350"/>
                <a:gd name="connsiteX4062" fmla="*/ 4847749 w 6400800"/>
                <a:gd name="connsiteY4062" fmla="*/ 273844 h 514350"/>
                <a:gd name="connsiteX4063" fmla="*/ 4847749 w 6400800"/>
                <a:gd name="connsiteY4063" fmla="*/ 278606 h 514350"/>
                <a:gd name="connsiteX4064" fmla="*/ 4841081 w 6400800"/>
                <a:gd name="connsiteY4064" fmla="*/ 288131 h 514350"/>
                <a:gd name="connsiteX4065" fmla="*/ 4836319 w 6400800"/>
                <a:gd name="connsiteY4065" fmla="*/ 294799 h 514350"/>
                <a:gd name="connsiteX4066" fmla="*/ 4838224 w 6400800"/>
                <a:gd name="connsiteY4066" fmla="*/ 290036 h 514350"/>
                <a:gd name="connsiteX4067" fmla="*/ 4835366 w 6400800"/>
                <a:gd name="connsiteY4067" fmla="*/ 309086 h 514350"/>
                <a:gd name="connsiteX4068" fmla="*/ 4836319 w 6400800"/>
                <a:gd name="connsiteY4068" fmla="*/ 308134 h 514350"/>
                <a:gd name="connsiteX4069" fmla="*/ 4838224 w 6400800"/>
                <a:gd name="connsiteY4069" fmla="*/ 311944 h 514350"/>
                <a:gd name="connsiteX4070" fmla="*/ 4839176 w 6400800"/>
                <a:gd name="connsiteY4070" fmla="*/ 313849 h 514350"/>
                <a:gd name="connsiteX4071" fmla="*/ 4835366 w 6400800"/>
                <a:gd name="connsiteY4071" fmla="*/ 317659 h 514350"/>
                <a:gd name="connsiteX4072" fmla="*/ 4835366 w 6400800"/>
                <a:gd name="connsiteY4072" fmla="*/ 317659 h 514350"/>
                <a:gd name="connsiteX4073" fmla="*/ 4834414 w 6400800"/>
                <a:gd name="connsiteY4073" fmla="*/ 316706 h 514350"/>
                <a:gd name="connsiteX4074" fmla="*/ 4832509 w 6400800"/>
                <a:gd name="connsiteY4074" fmla="*/ 314801 h 514350"/>
                <a:gd name="connsiteX4075" fmla="*/ 4835366 w 6400800"/>
                <a:gd name="connsiteY4075" fmla="*/ 309086 h 514350"/>
                <a:gd name="connsiteX4076" fmla="*/ 4830604 w 6400800"/>
                <a:gd name="connsiteY4076" fmla="*/ 319564 h 514350"/>
                <a:gd name="connsiteX4077" fmla="*/ 4832509 w 6400800"/>
                <a:gd name="connsiteY4077" fmla="*/ 314801 h 514350"/>
                <a:gd name="connsiteX4078" fmla="*/ 4833462 w 6400800"/>
                <a:gd name="connsiteY4078" fmla="*/ 316706 h 514350"/>
                <a:gd name="connsiteX4079" fmla="*/ 4834414 w 6400800"/>
                <a:gd name="connsiteY4079" fmla="*/ 318611 h 514350"/>
                <a:gd name="connsiteX4080" fmla="*/ 4828699 w 6400800"/>
                <a:gd name="connsiteY4080" fmla="*/ 324326 h 514350"/>
                <a:gd name="connsiteX4081" fmla="*/ 4830604 w 6400800"/>
                <a:gd name="connsiteY4081" fmla="*/ 319564 h 514350"/>
                <a:gd name="connsiteX4082" fmla="*/ 4817269 w 6400800"/>
                <a:gd name="connsiteY4082" fmla="*/ 364331 h 514350"/>
                <a:gd name="connsiteX4083" fmla="*/ 4817269 w 6400800"/>
                <a:gd name="connsiteY4083" fmla="*/ 356711 h 514350"/>
                <a:gd name="connsiteX4084" fmla="*/ 4824889 w 6400800"/>
                <a:gd name="connsiteY4084" fmla="*/ 335756 h 514350"/>
                <a:gd name="connsiteX4085" fmla="*/ 4825841 w 6400800"/>
                <a:gd name="connsiteY4085" fmla="*/ 334804 h 514350"/>
                <a:gd name="connsiteX4086" fmla="*/ 4835366 w 6400800"/>
                <a:gd name="connsiteY4086" fmla="*/ 319564 h 514350"/>
                <a:gd name="connsiteX4087" fmla="*/ 4837272 w 6400800"/>
                <a:gd name="connsiteY4087" fmla="*/ 322421 h 514350"/>
                <a:gd name="connsiteX4088" fmla="*/ 4841081 w 6400800"/>
                <a:gd name="connsiteY4088" fmla="*/ 330994 h 514350"/>
                <a:gd name="connsiteX4089" fmla="*/ 4842987 w 6400800"/>
                <a:gd name="connsiteY4089" fmla="*/ 335756 h 514350"/>
                <a:gd name="connsiteX4090" fmla="*/ 4835366 w 6400800"/>
                <a:gd name="connsiteY4090" fmla="*/ 345281 h 514350"/>
                <a:gd name="connsiteX4091" fmla="*/ 4822984 w 6400800"/>
                <a:gd name="connsiteY4091" fmla="*/ 366236 h 514350"/>
                <a:gd name="connsiteX4092" fmla="*/ 4820126 w 6400800"/>
                <a:gd name="connsiteY4092" fmla="*/ 369094 h 514350"/>
                <a:gd name="connsiteX4093" fmla="*/ 4817269 w 6400800"/>
                <a:gd name="connsiteY4093" fmla="*/ 371951 h 514350"/>
                <a:gd name="connsiteX4094" fmla="*/ 4817269 w 6400800"/>
                <a:gd name="connsiteY4094" fmla="*/ 364331 h 514350"/>
                <a:gd name="connsiteX4095" fmla="*/ 4816316 w 6400800"/>
                <a:gd name="connsiteY4095" fmla="*/ 376714 h 514350"/>
                <a:gd name="connsiteX4096" fmla="*/ 4820126 w 6400800"/>
                <a:gd name="connsiteY4096" fmla="*/ 370046 h 514350"/>
                <a:gd name="connsiteX4097" fmla="*/ 4820126 w 6400800"/>
                <a:gd name="connsiteY4097" fmla="*/ 370046 h 514350"/>
                <a:gd name="connsiteX4098" fmla="*/ 4820126 w 6400800"/>
                <a:gd name="connsiteY4098" fmla="*/ 370046 h 514350"/>
                <a:gd name="connsiteX4099" fmla="*/ 4816316 w 6400800"/>
                <a:gd name="connsiteY4099" fmla="*/ 378619 h 514350"/>
                <a:gd name="connsiteX4100" fmla="*/ 4816316 w 6400800"/>
                <a:gd name="connsiteY4100" fmla="*/ 376714 h 514350"/>
                <a:gd name="connsiteX4101" fmla="*/ 4762024 w 6400800"/>
                <a:gd name="connsiteY4101" fmla="*/ 305276 h 514350"/>
                <a:gd name="connsiteX4102" fmla="*/ 4763929 w 6400800"/>
                <a:gd name="connsiteY4102" fmla="*/ 322421 h 514350"/>
                <a:gd name="connsiteX4103" fmla="*/ 4760119 w 6400800"/>
                <a:gd name="connsiteY4103" fmla="*/ 309086 h 514350"/>
                <a:gd name="connsiteX4104" fmla="*/ 4762024 w 6400800"/>
                <a:gd name="connsiteY4104" fmla="*/ 300514 h 514350"/>
                <a:gd name="connsiteX4105" fmla="*/ 4762024 w 6400800"/>
                <a:gd name="connsiteY4105" fmla="*/ 305276 h 514350"/>
                <a:gd name="connsiteX4106" fmla="*/ 4755356 w 6400800"/>
                <a:gd name="connsiteY4106" fmla="*/ 279559 h 514350"/>
                <a:gd name="connsiteX4107" fmla="*/ 4760119 w 6400800"/>
                <a:gd name="connsiteY4107" fmla="*/ 294799 h 514350"/>
                <a:gd name="connsiteX4108" fmla="*/ 4761072 w 6400800"/>
                <a:gd name="connsiteY4108" fmla="*/ 297656 h 514350"/>
                <a:gd name="connsiteX4109" fmla="*/ 4758214 w 6400800"/>
                <a:gd name="connsiteY4109" fmla="*/ 304324 h 514350"/>
                <a:gd name="connsiteX4110" fmla="*/ 4754404 w 6400800"/>
                <a:gd name="connsiteY4110" fmla="*/ 292894 h 514350"/>
                <a:gd name="connsiteX4111" fmla="*/ 4755356 w 6400800"/>
                <a:gd name="connsiteY4111" fmla="*/ 279559 h 514350"/>
                <a:gd name="connsiteX4112" fmla="*/ 4759166 w 6400800"/>
                <a:gd name="connsiteY4112" fmla="*/ 342424 h 514350"/>
                <a:gd name="connsiteX4113" fmla="*/ 4755356 w 6400800"/>
                <a:gd name="connsiteY4113" fmla="*/ 331946 h 514350"/>
                <a:gd name="connsiteX4114" fmla="*/ 4756309 w 6400800"/>
                <a:gd name="connsiteY4114" fmla="*/ 326231 h 514350"/>
                <a:gd name="connsiteX4115" fmla="*/ 4759166 w 6400800"/>
                <a:gd name="connsiteY4115" fmla="*/ 342424 h 514350"/>
                <a:gd name="connsiteX4116" fmla="*/ 4753451 w 6400800"/>
                <a:gd name="connsiteY4116" fmla="*/ 312896 h 514350"/>
                <a:gd name="connsiteX4117" fmla="*/ 4754404 w 6400800"/>
                <a:gd name="connsiteY4117" fmla="*/ 315754 h 514350"/>
                <a:gd name="connsiteX4118" fmla="*/ 4753451 w 6400800"/>
                <a:gd name="connsiteY4118" fmla="*/ 317659 h 514350"/>
                <a:gd name="connsiteX4119" fmla="*/ 4753451 w 6400800"/>
                <a:gd name="connsiteY4119" fmla="*/ 312896 h 514350"/>
                <a:gd name="connsiteX4120" fmla="*/ 4755356 w 6400800"/>
                <a:gd name="connsiteY4120" fmla="*/ 373856 h 514350"/>
                <a:gd name="connsiteX4121" fmla="*/ 4756309 w 6400800"/>
                <a:gd name="connsiteY4121" fmla="*/ 375761 h 514350"/>
                <a:gd name="connsiteX4122" fmla="*/ 4754404 w 6400800"/>
                <a:gd name="connsiteY4122" fmla="*/ 379571 h 514350"/>
                <a:gd name="connsiteX4123" fmla="*/ 4752499 w 6400800"/>
                <a:gd name="connsiteY4123" fmla="*/ 379571 h 514350"/>
                <a:gd name="connsiteX4124" fmla="*/ 4755356 w 6400800"/>
                <a:gd name="connsiteY4124" fmla="*/ 373856 h 514350"/>
                <a:gd name="connsiteX4125" fmla="*/ 4748689 w 6400800"/>
                <a:gd name="connsiteY4125" fmla="*/ 291941 h 514350"/>
                <a:gd name="connsiteX4126" fmla="*/ 4746784 w 6400800"/>
                <a:gd name="connsiteY4126" fmla="*/ 303371 h 514350"/>
                <a:gd name="connsiteX4127" fmla="*/ 4746784 w 6400800"/>
                <a:gd name="connsiteY4127" fmla="*/ 303371 h 514350"/>
                <a:gd name="connsiteX4128" fmla="*/ 4746784 w 6400800"/>
                <a:gd name="connsiteY4128" fmla="*/ 299561 h 514350"/>
                <a:gd name="connsiteX4129" fmla="*/ 4748689 w 6400800"/>
                <a:gd name="connsiteY4129" fmla="*/ 291941 h 514350"/>
                <a:gd name="connsiteX4130" fmla="*/ 4738212 w 6400800"/>
                <a:gd name="connsiteY4130" fmla="*/ 327184 h 514350"/>
                <a:gd name="connsiteX4131" fmla="*/ 4737259 w 6400800"/>
                <a:gd name="connsiteY4131" fmla="*/ 341471 h 514350"/>
                <a:gd name="connsiteX4132" fmla="*/ 4736306 w 6400800"/>
                <a:gd name="connsiteY4132" fmla="*/ 336709 h 514350"/>
                <a:gd name="connsiteX4133" fmla="*/ 4738212 w 6400800"/>
                <a:gd name="connsiteY4133" fmla="*/ 327184 h 514350"/>
                <a:gd name="connsiteX4134" fmla="*/ 4720114 w 6400800"/>
                <a:gd name="connsiteY4134" fmla="*/ 261461 h 514350"/>
                <a:gd name="connsiteX4135" fmla="*/ 4720114 w 6400800"/>
                <a:gd name="connsiteY4135" fmla="*/ 261461 h 514350"/>
                <a:gd name="connsiteX4136" fmla="*/ 4729639 w 6400800"/>
                <a:gd name="connsiteY4136" fmla="*/ 290989 h 514350"/>
                <a:gd name="connsiteX4137" fmla="*/ 4731544 w 6400800"/>
                <a:gd name="connsiteY4137" fmla="*/ 296704 h 514350"/>
                <a:gd name="connsiteX4138" fmla="*/ 4727734 w 6400800"/>
                <a:gd name="connsiteY4138" fmla="*/ 308134 h 514350"/>
                <a:gd name="connsiteX4139" fmla="*/ 4723924 w 6400800"/>
                <a:gd name="connsiteY4139" fmla="*/ 295751 h 514350"/>
                <a:gd name="connsiteX4140" fmla="*/ 4718209 w 6400800"/>
                <a:gd name="connsiteY4140" fmla="*/ 276701 h 514350"/>
                <a:gd name="connsiteX4141" fmla="*/ 4720114 w 6400800"/>
                <a:gd name="connsiteY4141" fmla="*/ 261461 h 514350"/>
                <a:gd name="connsiteX4142" fmla="*/ 4709637 w 6400800"/>
                <a:gd name="connsiteY4142" fmla="*/ 324326 h 514350"/>
                <a:gd name="connsiteX4143" fmla="*/ 4713447 w 6400800"/>
                <a:gd name="connsiteY4143" fmla="*/ 301466 h 514350"/>
                <a:gd name="connsiteX4144" fmla="*/ 4719162 w 6400800"/>
                <a:gd name="connsiteY4144" fmla="*/ 331946 h 514350"/>
                <a:gd name="connsiteX4145" fmla="*/ 4715351 w 6400800"/>
                <a:gd name="connsiteY4145" fmla="*/ 343376 h 514350"/>
                <a:gd name="connsiteX4146" fmla="*/ 4715351 w 6400800"/>
                <a:gd name="connsiteY4146" fmla="*/ 343376 h 514350"/>
                <a:gd name="connsiteX4147" fmla="*/ 4707731 w 6400800"/>
                <a:gd name="connsiteY4147" fmla="*/ 332899 h 514350"/>
                <a:gd name="connsiteX4148" fmla="*/ 4709637 w 6400800"/>
                <a:gd name="connsiteY4148" fmla="*/ 324326 h 514350"/>
                <a:gd name="connsiteX4149" fmla="*/ 4703922 w 6400800"/>
                <a:gd name="connsiteY4149" fmla="*/ 355759 h 514350"/>
                <a:gd name="connsiteX4150" fmla="*/ 4705826 w 6400800"/>
                <a:gd name="connsiteY4150" fmla="*/ 360521 h 514350"/>
                <a:gd name="connsiteX4151" fmla="*/ 4708684 w 6400800"/>
                <a:gd name="connsiteY4151" fmla="*/ 369094 h 514350"/>
                <a:gd name="connsiteX4152" fmla="*/ 4704874 w 6400800"/>
                <a:gd name="connsiteY4152" fmla="*/ 377666 h 514350"/>
                <a:gd name="connsiteX4153" fmla="*/ 4704874 w 6400800"/>
                <a:gd name="connsiteY4153" fmla="*/ 376714 h 514350"/>
                <a:gd name="connsiteX4154" fmla="*/ 4702016 w 6400800"/>
                <a:gd name="connsiteY4154" fmla="*/ 371951 h 514350"/>
                <a:gd name="connsiteX4155" fmla="*/ 4703922 w 6400800"/>
                <a:gd name="connsiteY4155" fmla="*/ 355759 h 514350"/>
                <a:gd name="connsiteX4156" fmla="*/ 4682966 w 6400800"/>
                <a:gd name="connsiteY4156" fmla="*/ 380524 h 514350"/>
                <a:gd name="connsiteX4157" fmla="*/ 4680109 w 6400800"/>
                <a:gd name="connsiteY4157" fmla="*/ 392906 h 514350"/>
                <a:gd name="connsiteX4158" fmla="*/ 4676299 w 6400800"/>
                <a:gd name="connsiteY4158" fmla="*/ 393859 h 514350"/>
                <a:gd name="connsiteX4159" fmla="*/ 4675347 w 6400800"/>
                <a:gd name="connsiteY4159" fmla="*/ 388144 h 514350"/>
                <a:gd name="connsiteX4160" fmla="*/ 4682966 w 6400800"/>
                <a:gd name="connsiteY4160" fmla="*/ 378619 h 514350"/>
                <a:gd name="connsiteX4161" fmla="*/ 4682966 w 6400800"/>
                <a:gd name="connsiteY4161" fmla="*/ 380524 h 514350"/>
                <a:gd name="connsiteX4162" fmla="*/ 4672489 w 6400800"/>
                <a:gd name="connsiteY4162" fmla="*/ 361474 h 514350"/>
                <a:gd name="connsiteX4163" fmla="*/ 4679156 w 6400800"/>
                <a:gd name="connsiteY4163" fmla="*/ 373856 h 514350"/>
                <a:gd name="connsiteX4164" fmla="*/ 4672489 w 6400800"/>
                <a:gd name="connsiteY4164" fmla="*/ 379571 h 514350"/>
                <a:gd name="connsiteX4165" fmla="*/ 4671537 w 6400800"/>
                <a:gd name="connsiteY4165" fmla="*/ 376714 h 514350"/>
                <a:gd name="connsiteX4166" fmla="*/ 4670584 w 6400800"/>
                <a:gd name="connsiteY4166" fmla="*/ 370999 h 514350"/>
                <a:gd name="connsiteX4167" fmla="*/ 4672489 w 6400800"/>
                <a:gd name="connsiteY4167" fmla="*/ 361474 h 514350"/>
                <a:gd name="connsiteX4168" fmla="*/ 4661059 w 6400800"/>
                <a:gd name="connsiteY4168" fmla="*/ 265271 h 514350"/>
                <a:gd name="connsiteX4169" fmla="*/ 4663916 w 6400800"/>
                <a:gd name="connsiteY4169" fmla="*/ 252889 h 514350"/>
                <a:gd name="connsiteX4170" fmla="*/ 4669631 w 6400800"/>
                <a:gd name="connsiteY4170" fmla="*/ 237649 h 514350"/>
                <a:gd name="connsiteX4171" fmla="*/ 4669631 w 6400800"/>
                <a:gd name="connsiteY4171" fmla="*/ 242411 h 514350"/>
                <a:gd name="connsiteX4172" fmla="*/ 4661059 w 6400800"/>
                <a:gd name="connsiteY4172" fmla="*/ 269081 h 514350"/>
                <a:gd name="connsiteX4173" fmla="*/ 4661059 w 6400800"/>
                <a:gd name="connsiteY4173" fmla="*/ 265271 h 514350"/>
                <a:gd name="connsiteX4174" fmla="*/ 4645819 w 6400800"/>
                <a:gd name="connsiteY4174" fmla="*/ 278606 h 514350"/>
                <a:gd name="connsiteX4175" fmla="*/ 4648676 w 6400800"/>
                <a:gd name="connsiteY4175" fmla="*/ 260509 h 514350"/>
                <a:gd name="connsiteX4176" fmla="*/ 4650581 w 6400800"/>
                <a:gd name="connsiteY4176" fmla="*/ 250984 h 514350"/>
                <a:gd name="connsiteX4177" fmla="*/ 4650581 w 6400800"/>
                <a:gd name="connsiteY4177" fmla="*/ 251936 h 514350"/>
                <a:gd name="connsiteX4178" fmla="*/ 4652487 w 6400800"/>
                <a:gd name="connsiteY4178" fmla="*/ 265271 h 514350"/>
                <a:gd name="connsiteX4179" fmla="*/ 4652487 w 6400800"/>
                <a:gd name="connsiteY4179" fmla="*/ 270034 h 514350"/>
                <a:gd name="connsiteX4180" fmla="*/ 4650581 w 6400800"/>
                <a:gd name="connsiteY4180" fmla="*/ 278606 h 514350"/>
                <a:gd name="connsiteX4181" fmla="*/ 4648676 w 6400800"/>
                <a:gd name="connsiteY4181" fmla="*/ 290989 h 514350"/>
                <a:gd name="connsiteX4182" fmla="*/ 4645819 w 6400800"/>
                <a:gd name="connsiteY4182" fmla="*/ 278606 h 514350"/>
                <a:gd name="connsiteX4183" fmla="*/ 4645819 w 6400800"/>
                <a:gd name="connsiteY4183" fmla="*/ 278606 h 514350"/>
                <a:gd name="connsiteX4184" fmla="*/ 4642962 w 6400800"/>
                <a:gd name="connsiteY4184" fmla="*/ 293846 h 514350"/>
                <a:gd name="connsiteX4185" fmla="*/ 4644866 w 6400800"/>
                <a:gd name="connsiteY4185" fmla="*/ 302419 h 514350"/>
                <a:gd name="connsiteX4186" fmla="*/ 4645819 w 6400800"/>
                <a:gd name="connsiteY4186" fmla="*/ 309086 h 514350"/>
                <a:gd name="connsiteX4187" fmla="*/ 4645819 w 6400800"/>
                <a:gd name="connsiteY4187" fmla="*/ 309086 h 514350"/>
                <a:gd name="connsiteX4188" fmla="*/ 4642962 w 6400800"/>
                <a:gd name="connsiteY4188" fmla="*/ 306229 h 514350"/>
                <a:gd name="connsiteX4189" fmla="*/ 4642009 w 6400800"/>
                <a:gd name="connsiteY4189" fmla="*/ 299561 h 514350"/>
                <a:gd name="connsiteX4190" fmla="*/ 4642962 w 6400800"/>
                <a:gd name="connsiteY4190" fmla="*/ 293846 h 514350"/>
                <a:gd name="connsiteX4191" fmla="*/ 4595337 w 6400800"/>
                <a:gd name="connsiteY4191" fmla="*/ 280511 h 514350"/>
                <a:gd name="connsiteX4192" fmla="*/ 4598194 w 6400800"/>
                <a:gd name="connsiteY4192" fmla="*/ 293846 h 514350"/>
                <a:gd name="connsiteX4193" fmla="*/ 4598194 w 6400800"/>
                <a:gd name="connsiteY4193" fmla="*/ 300514 h 514350"/>
                <a:gd name="connsiteX4194" fmla="*/ 4598194 w 6400800"/>
                <a:gd name="connsiteY4194" fmla="*/ 311944 h 514350"/>
                <a:gd name="connsiteX4195" fmla="*/ 4596289 w 6400800"/>
                <a:gd name="connsiteY4195" fmla="*/ 319564 h 514350"/>
                <a:gd name="connsiteX4196" fmla="*/ 4593431 w 6400800"/>
                <a:gd name="connsiteY4196" fmla="*/ 311944 h 514350"/>
                <a:gd name="connsiteX4197" fmla="*/ 4593431 w 6400800"/>
                <a:gd name="connsiteY4197" fmla="*/ 305276 h 514350"/>
                <a:gd name="connsiteX4198" fmla="*/ 4593431 w 6400800"/>
                <a:gd name="connsiteY4198" fmla="*/ 286226 h 514350"/>
                <a:gd name="connsiteX4199" fmla="*/ 4595337 w 6400800"/>
                <a:gd name="connsiteY4199" fmla="*/ 280511 h 514350"/>
                <a:gd name="connsiteX4200" fmla="*/ 4595337 w 6400800"/>
                <a:gd name="connsiteY4200" fmla="*/ 280511 h 514350"/>
                <a:gd name="connsiteX4201" fmla="*/ 4595337 w 6400800"/>
                <a:gd name="connsiteY4201" fmla="*/ 277654 h 514350"/>
                <a:gd name="connsiteX4202" fmla="*/ 4593431 w 6400800"/>
                <a:gd name="connsiteY4202" fmla="*/ 279559 h 514350"/>
                <a:gd name="connsiteX4203" fmla="*/ 4592479 w 6400800"/>
                <a:gd name="connsiteY4203" fmla="*/ 280511 h 514350"/>
                <a:gd name="connsiteX4204" fmla="*/ 4592479 w 6400800"/>
                <a:gd name="connsiteY4204" fmla="*/ 263366 h 514350"/>
                <a:gd name="connsiteX4205" fmla="*/ 4595337 w 6400800"/>
                <a:gd name="connsiteY4205" fmla="*/ 277654 h 514350"/>
                <a:gd name="connsiteX4206" fmla="*/ 4576287 w 6400800"/>
                <a:gd name="connsiteY4206" fmla="*/ 253841 h 514350"/>
                <a:gd name="connsiteX4207" fmla="*/ 4575334 w 6400800"/>
                <a:gd name="connsiteY4207" fmla="*/ 273844 h 514350"/>
                <a:gd name="connsiteX4208" fmla="*/ 4569619 w 6400800"/>
                <a:gd name="connsiteY4208" fmla="*/ 262414 h 514350"/>
                <a:gd name="connsiteX4209" fmla="*/ 4576287 w 6400800"/>
                <a:gd name="connsiteY4209" fmla="*/ 253841 h 514350"/>
                <a:gd name="connsiteX4210" fmla="*/ 4566762 w 6400800"/>
                <a:gd name="connsiteY4210" fmla="*/ 268129 h 514350"/>
                <a:gd name="connsiteX4211" fmla="*/ 4566762 w 6400800"/>
                <a:gd name="connsiteY4211" fmla="*/ 268129 h 514350"/>
                <a:gd name="connsiteX4212" fmla="*/ 4571524 w 6400800"/>
                <a:gd name="connsiteY4212" fmla="*/ 284321 h 514350"/>
                <a:gd name="connsiteX4213" fmla="*/ 4574381 w 6400800"/>
                <a:gd name="connsiteY4213" fmla="*/ 296704 h 514350"/>
                <a:gd name="connsiteX4214" fmla="*/ 4574381 w 6400800"/>
                <a:gd name="connsiteY4214" fmla="*/ 301466 h 514350"/>
                <a:gd name="connsiteX4215" fmla="*/ 4568666 w 6400800"/>
                <a:gd name="connsiteY4215" fmla="*/ 289084 h 514350"/>
                <a:gd name="connsiteX4216" fmla="*/ 4574381 w 6400800"/>
                <a:gd name="connsiteY4216" fmla="*/ 309086 h 514350"/>
                <a:gd name="connsiteX4217" fmla="*/ 4571524 w 6400800"/>
                <a:gd name="connsiteY4217" fmla="*/ 314801 h 514350"/>
                <a:gd name="connsiteX4218" fmla="*/ 4571524 w 6400800"/>
                <a:gd name="connsiteY4218" fmla="*/ 315754 h 514350"/>
                <a:gd name="connsiteX4219" fmla="*/ 4564856 w 6400800"/>
                <a:gd name="connsiteY4219" fmla="*/ 271939 h 514350"/>
                <a:gd name="connsiteX4220" fmla="*/ 4566762 w 6400800"/>
                <a:gd name="connsiteY4220" fmla="*/ 268129 h 514350"/>
                <a:gd name="connsiteX4221" fmla="*/ 4560094 w 6400800"/>
                <a:gd name="connsiteY4221" fmla="*/ 254794 h 514350"/>
                <a:gd name="connsiteX4222" fmla="*/ 4562951 w 6400800"/>
                <a:gd name="connsiteY4222" fmla="*/ 260509 h 514350"/>
                <a:gd name="connsiteX4223" fmla="*/ 4561047 w 6400800"/>
                <a:gd name="connsiteY4223" fmla="*/ 263366 h 514350"/>
                <a:gd name="connsiteX4224" fmla="*/ 4557237 w 6400800"/>
                <a:gd name="connsiteY4224" fmla="*/ 268129 h 514350"/>
                <a:gd name="connsiteX4225" fmla="*/ 4560094 w 6400800"/>
                <a:gd name="connsiteY4225" fmla="*/ 254794 h 514350"/>
                <a:gd name="connsiteX4226" fmla="*/ 4548664 w 6400800"/>
                <a:gd name="connsiteY4226" fmla="*/ 317659 h 514350"/>
                <a:gd name="connsiteX4227" fmla="*/ 4557237 w 6400800"/>
                <a:gd name="connsiteY4227" fmla="*/ 290036 h 514350"/>
                <a:gd name="connsiteX4228" fmla="*/ 4562951 w 6400800"/>
                <a:gd name="connsiteY4228" fmla="*/ 275749 h 514350"/>
                <a:gd name="connsiteX4229" fmla="*/ 4560094 w 6400800"/>
                <a:gd name="connsiteY4229" fmla="*/ 318611 h 514350"/>
                <a:gd name="connsiteX4230" fmla="*/ 4555331 w 6400800"/>
                <a:gd name="connsiteY4230" fmla="*/ 310991 h 514350"/>
                <a:gd name="connsiteX4231" fmla="*/ 4560094 w 6400800"/>
                <a:gd name="connsiteY4231" fmla="*/ 321469 h 514350"/>
                <a:gd name="connsiteX4232" fmla="*/ 4560094 w 6400800"/>
                <a:gd name="connsiteY4232" fmla="*/ 321469 h 514350"/>
                <a:gd name="connsiteX4233" fmla="*/ 4559141 w 6400800"/>
                <a:gd name="connsiteY4233" fmla="*/ 342424 h 514350"/>
                <a:gd name="connsiteX4234" fmla="*/ 4555331 w 6400800"/>
                <a:gd name="connsiteY4234" fmla="*/ 352901 h 514350"/>
                <a:gd name="connsiteX4235" fmla="*/ 4552474 w 6400800"/>
                <a:gd name="connsiteY4235" fmla="*/ 361474 h 514350"/>
                <a:gd name="connsiteX4236" fmla="*/ 4547712 w 6400800"/>
                <a:gd name="connsiteY4236" fmla="*/ 343376 h 514350"/>
                <a:gd name="connsiteX4237" fmla="*/ 4547712 w 6400800"/>
                <a:gd name="connsiteY4237" fmla="*/ 328136 h 514350"/>
                <a:gd name="connsiteX4238" fmla="*/ 4545806 w 6400800"/>
                <a:gd name="connsiteY4238" fmla="*/ 338614 h 514350"/>
                <a:gd name="connsiteX4239" fmla="*/ 4545806 w 6400800"/>
                <a:gd name="connsiteY4239" fmla="*/ 337661 h 514350"/>
                <a:gd name="connsiteX4240" fmla="*/ 4544854 w 6400800"/>
                <a:gd name="connsiteY4240" fmla="*/ 335756 h 514350"/>
                <a:gd name="connsiteX4241" fmla="*/ 4548664 w 6400800"/>
                <a:gd name="connsiteY4241" fmla="*/ 317659 h 514350"/>
                <a:gd name="connsiteX4242" fmla="*/ 4457224 w 6400800"/>
                <a:gd name="connsiteY4242" fmla="*/ 306229 h 514350"/>
                <a:gd name="connsiteX4243" fmla="*/ 4457224 w 6400800"/>
                <a:gd name="connsiteY4243" fmla="*/ 306229 h 514350"/>
                <a:gd name="connsiteX4244" fmla="*/ 4457224 w 6400800"/>
                <a:gd name="connsiteY4244" fmla="*/ 304324 h 514350"/>
                <a:gd name="connsiteX4245" fmla="*/ 4457224 w 6400800"/>
                <a:gd name="connsiteY4245" fmla="*/ 306229 h 514350"/>
                <a:gd name="connsiteX4246" fmla="*/ 4478179 w 6400800"/>
                <a:gd name="connsiteY4246" fmla="*/ 359569 h 514350"/>
                <a:gd name="connsiteX4247" fmla="*/ 4476274 w 6400800"/>
                <a:gd name="connsiteY4247" fmla="*/ 339566 h 514350"/>
                <a:gd name="connsiteX4248" fmla="*/ 4476274 w 6400800"/>
                <a:gd name="connsiteY4248" fmla="*/ 336709 h 514350"/>
                <a:gd name="connsiteX4249" fmla="*/ 4483894 w 6400800"/>
                <a:gd name="connsiteY4249" fmla="*/ 347186 h 514350"/>
                <a:gd name="connsiteX4250" fmla="*/ 4478179 w 6400800"/>
                <a:gd name="connsiteY4250" fmla="*/ 359569 h 514350"/>
                <a:gd name="connsiteX4251" fmla="*/ 4497229 w 6400800"/>
                <a:gd name="connsiteY4251" fmla="*/ 371951 h 514350"/>
                <a:gd name="connsiteX4252" fmla="*/ 4497229 w 6400800"/>
                <a:gd name="connsiteY4252" fmla="*/ 367189 h 514350"/>
                <a:gd name="connsiteX4253" fmla="*/ 4498181 w 6400800"/>
                <a:gd name="connsiteY4253" fmla="*/ 370046 h 514350"/>
                <a:gd name="connsiteX4254" fmla="*/ 4497229 w 6400800"/>
                <a:gd name="connsiteY4254" fmla="*/ 371951 h 514350"/>
                <a:gd name="connsiteX4255" fmla="*/ 4504849 w 6400800"/>
                <a:gd name="connsiteY4255" fmla="*/ 322421 h 514350"/>
                <a:gd name="connsiteX4256" fmla="*/ 4504849 w 6400800"/>
                <a:gd name="connsiteY4256" fmla="*/ 330994 h 514350"/>
                <a:gd name="connsiteX4257" fmla="*/ 4501991 w 6400800"/>
                <a:gd name="connsiteY4257" fmla="*/ 341471 h 514350"/>
                <a:gd name="connsiteX4258" fmla="*/ 4501039 w 6400800"/>
                <a:gd name="connsiteY4258" fmla="*/ 348139 h 514350"/>
                <a:gd name="connsiteX4259" fmla="*/ 4499134 w 6400800"/>
                <a:gd name="connsiteY4259" fmla="*/ 345281 h 514350"/>
                <a:gd name="connsiteX4260" fmla="*/ 4498181 w 6400800"/>
                <a:gd name="connsiteY4260" fmla="*/ 342424 h 514350"/>
                <a:gd name="connsiteX4261" fmla="*/ 4501991 w 6400800"/>
                <a:gd name="connsiteY4261" fmla="*/ 326231 h 514350"/>
                <a:gd name="connsiteX4262" fmla="*/ 4506754 w 6400800"/>
                <a:gd name="connsiteY4262" fmla="*/ 310991 h 514350"/>
                <a:gd name="connsiteX4263" fmla="*/ 4504849 w 6400800"/>
                <a:gd name="connsiteY4263" fmla="*/ 322421 h 514350"/>
                <a:gd name="connsiteX4264" fmla="*/ 4462939 w 6400800"/>
                <a:gd name="connsiteY4264" fmla="*/ 250984 h 514350"/>
                <a:gd name="connsiteX4265" fmla="*/ 4470559 w 6400800"/>
                <a:gd name="connsiteY4265" fmla="*/ 226219 h 514350"/>
                <a:gd name="connsiteX4266" fmla="*/ 4474369 w 6400800"/>
                <a:gd name="connsiteY4266" fmla="*/ 231934 h 514350"/>
                <a:gd name="connsiteX4267" fmla="*/ 4479131 w 6400800"/>
                <a:gd name="connsiteY4267" fmla="*/ 238601 h 514350"/>
                <a:gd name="connsiteX4268" fmla="*/ 4483894 w 6400800"/>
                <a:gd name="connsiteY4268" fmla="*/ 248126 h 514350"/>
                <a:gd name="connsiteX4269" fmla="*/ 4489609 w 6400800"/>
                <a:gd name="connsiteY4269" fmla="*/ 260509 h 514350"/>
                <a:gd name="connsiteX4270" fmla="*/ 4495324 w 6400800"/>
                <a:gd name="connsiteY4270" fmla="*/ 275749 h 514350"/>
                <a:gd name="connsiteX4271" fmla="*/ 4501039 w 6400800"/>
                <a:gd name="connsiteY4271" fmla="*/ 293846 h 514350"/>
                <a:gd name="connsiteX4272" fmla="*/ 4503897 w 6400800"/>
                <a:gd name="connsiteY4272" fmla="*/ 303371 h 514350"/>
                <a:gd name="connsiteX4273" fmla="*/ 4497229 w 6400800"/>
                <a:gd name="connsiteY4273" fmla="*/ 317659 h 514350"/>
                <a:gd name="connsiteX4274" fmla="*/ 4493419 w 6400800"/>
                <a:gd name="connsiteY4274" fmla="*/ 326231 h 514350"/>
                <a:gd name="connsiteX4275" fmla="*/ 4488656 w 6400800"/>
                <a:gd name="connsiteY4275" fmla="*/ 280511 h 514350"/>
                <a:gd name="connsiteX4276" fmla="*/ 4487704 w 6400800"/>
                <a:gd name="connsiteY4276" fmla="*/ 319564 h 514350"/>
                <a:gd name="connsiteX4277" fmla="*/ 4483894 w 6400800"/>
                <a:gd name="connsiteY4277" fmla="*/ 311944 h 514350"/>
                <a:gd name="connsiteX4278" fmla="*/ 4473416 w 6400800"/>
                <a:gd name="connsiteY4278" fmla="*/ 289084 h 514350"/>
                <a:gd name="connsiteX4279" fmla="*/ 4481037 w 6400800"/>
                <a:gd name="connsiteY4279" fmla="*/ 312896 h 514350"/>
                <a:gd name="connsiteX4280" fmla="*/ 4486751 w 6400800"/>
                <a:gd name="connsiteY4280" fmla="*/ 330041 h 514350"/>
                <a:gd name="connsiteX4281" fmla="*/ 4484847 w 6400800"/>
                <a:gd name="connsiteY4281" fmla="*/ 328136 h 514350"/>
                <a:gd name="connsiteX4282" fmla="*/ 4475322 w 6400800"/>
                <a:gd name="connsiteY4282" fmla="*/ 318611 h 514350"/>
                <a:gd name="connsiteX4283" fmla="*/ 4473416 w 6400800"/>
                <a:gd name="connsiteY4283" fmla="*/ 304324 h 514350"/>
                <a:gd name="connsiteX4284" fmla="*/ 4468654 w 6400800"/>
                <a:gd name="connsiteY4284" fmla="*/ 278606 h 514350"/>
                <a:gd name="connsiteX4285" fmla="*/ 4477226 w 6400800"/>
                <a:gd name="connsiteY4285" fmla="*/ 256699 h 514350"/>
                <a:gd name="connsiteX4286" fmla="*/ 4466749 w 6400800"/>
                <a:gd name="connsiteY4286" fmla="*/ 273844 h 514350"/>
                <a:gd name="connsiteX4287" fmla="*/ 4462939 w 6400800"/>
                <a:gd name="connsiteY4287" fmla="*/ 258604 h 514350"/>
                <a:gd name="connsiteX4288" fmla="*/ 4462939 w 6400800"/>
                <a:gd name="connsiteY4288" fmla="*/ 256699 h 514350"/>
                <a:gd name="connsiteX4289" fmla="*/ 4462939 w 6400800"/>
                <a:gd name="connsiteY4289" fmla="*/ 250984 h 514350"/>
                <a:gd name="connsiteX4290" fmla="*/ 4461034 w 6400800"/>
                <a:gd name="connsiteY4290" fmla="*/ 255746 h 514350"/>
                <a:gd name="connsiteX4291" fmla="*/ 4461034 w 6400800"/>
                <a:gd name="connsiteY4291" fmla="*/ 255746 h 514350"/>
                <a:gd name="connsiteX4292" fmla="*/ 4461034 w 6400800"/>
                <a:gd name="connsiteY4292" fmla="*/ 255746 h 514350"/>
                <a:gd name="connsiteX4293" fmla="*/ 4461034 w 6400800"/>
                <a:gd name="connsiteY4293" fmla="*/ 255746 h 514350"/>
                <a:gd name="connsiteX4294" fmla="*/ 4455319 w 6400800"/>
                <a:gd name="connsiteY4294" fmla="*/ 274796 h 514350"/>
                <a:gd name="connsiteX4295" fmla="*/ 4457224 w 6400800"/>
                <a:gd name="connsiteY4295" fmla="*/ 268129 h 514350"/>
                <a:gd name="connsiteX4296" fmla="*/ 4457224 w 6400800"/>
                <a:gd name="connsiteY4296" fmla="*/ 273844 h 514350"/>
                <a:gd name="connsiteX4297" fmla="*/ 4458176 w 6400800"/>
                <a:gd name="connsiteY4297" fmla="*/ 284321 h 514350"/>
                <a:gd name="connsiteX4298" fmla="*/ 4454366 w 6400800"/>
                <a:gd name="connsiteY4298" fmla="*/ 292894 h 514350"/>
                <a:gd name="connsiteX4299" fmla="*/ 4455319 w 6400800"/>
                <a:gd name="connsiteY4299" fmla="*/ 274796 h 514350"/>
                <a:gd name="connsiteX4300" fmla="*/ 4449604 w 6400800"/>
                <a:gd name="connsiteY4300" fmla="*/ 361474 h 514350"/>
                <a:gd name="connsiteX4301" fmla="*/ 4451509 w 6400800"/>
                <a:gd name="connsiteY4301" fmla="*/ 339566 h 514350"/>
                <a:gd name="connsiteX4302" fmla="*/ 4453414 w 6400800"/>
                <a:gd name="connsiteY4302" fmla="*/ 343376 h 514350"/>
                <a:gd name="connsiteX4303" fmla="*/ 4453414 w 6400800"/>
                <a:gd name="connsiteY4303" fmla="*/ 344329 h 514350"/>
                <a:gd name="connsiteX4304" fmla="*/ 4453414 w 6400800"/>
                <a:gd name="connsiteY4304" fmla="*/ 344329 h 514350"/>
                <a:gd name="connsiteX4305" fmla="*/ 4451509 w 6400800"/>
                <a:gd name="connsiteY4305" fmla="*/ 366236 h 514350"/>
                <a:gd name="connsiteX4306" fmla="*/ 4448651 w 6400800"/>
                <a:gd name="connsiteY4306" fmla="*/ 388144 h 514350"/>
                <a:gd name="connsiteX4307" fmla="*/ 4446747 w 6400800"/>
                <a:gd name="connsiteY4307" fmla="*/ 386239 h 514350"/>
                <a:gd name="connsiteX4308" fmla="*/ 4449604 w 6400800"/>
                <a:gd name="connsiteY4308" fmla="*/ 361474 h 514350"/>
                <a:gd name="connsiteX4309" fmla="*/ 4386739 w 6400800"/>
                <a:gd name="connsiteY4309" fmla="*/ 331946 h 514350"/>
                <a:gd name="connsiteX4310" fmla="*/ 4390549 w 6400800"/>
                <a:gd name="connsiteY4310" fmla="*/ 335756 h 514350"/>
                <a:gd name="connsiteX4311" fmla="*/ 4390549 w 6400800"/>
                <a:gd name="connsiteY4311" fmla="*/ 342424 h 514350"/>
                <a:gd name="connsiteX4312" fmla="*/ 4386739 w 6400800"/>
                <a:gd name="connsiteY4312" fmla="*/ 347186 h 514350"/>
                <a:gd name="connsiteX4313" fmla="*/ 4386739 w 6400800"/>
                <a:gd name="connsiteY4313" fmla="*/ 331946 h 514350"/>
                <a:gd name="connsiteX4314" fmla="*/ 4389597 w 6400800"/>
                <a:gd name="connsiteY4314" fmla="*/ 376714 h 514350"/>
                <a:gd name="connsiteX4315" fmla="*/ 4388644 w 6400800"/>
                <a:gd name="connsiteY4315" fmla="*/ 375761 h 514350"/>
                <a:gd name="connsiteX4316" fmla="*/ 4387691 w 6400800"/>
                <a:gd name="connsiteY4316" fmla="*/ 370046 h 514350"/>
                <a:gd name="connsiteX4317" fmla="*/ 4387691 w 6400800"/>
                <a:gd name="connsiteY4317" fmla="*/ 360521 h 514350"/>
                <a:gd name="connsiteX4318" fmla="*/ 4387691 w 6400800"/>
                <a:gd name="connsiteY4318" fmla="*/ 351949 h 514350"/>
                <a:gd name="connsiteX4319" fmla="*/ 4391501 w 6400800"/>
                <a:gd name="connsiteY4319" fmla="*/ 345281 h 514350"/>
                <a:gd name="connsiteX4320" fmla="*/ 4391501 w 6400800"/>
                <a:gd name="connsiteY4320" fmla="*/ 349091 h 514350"/>
                <a:gd name="connsiteX4321" fmla="*/ 4392454 w 6400800"/>
                <a:gd name="connsiteY4321" fmla="*/ 370046 h 514350"/>
                <a:gd name="connsiteX4322" fmla="*/ 4389597 w 6400800"/>
                <a:gd name="connsiteY4322" fmla="*/ 376714 h 514350"/>
                <a:gd name="connsiteX4323" fmla="*/ 4424839 w 6400800"/>
                <a:gd name="connsiteY4323" fmla="*/ 351949 h 514350"/>
                <a:gd name="connsiteX4324" fmla="*/ 4424839 w 6400800"/>
                <a:gd name="connsiteY4324" fmla="*/ 354806 h 514350"/>
                <a:gd name="connsiteX4325" fmla="*/ 4422934 w 6400800"/>
                <a:gd name="connsiteY4325" fmla="*/ 356711 h 514350"/>
                <a:gd name="connsiteX4326" fmla="*/ 4424839 w 6400800"/>
                <a:gd name="connsiteY4326" fmla="*/ 351949 h 514350"/>
                <a:gd name="connsiteX4327" fmla="*/ 4415314 w 6400800"/>
                <a:gd name="connsiteY4327" fmla="*/ 411004 h 514350"/>
                <a:gd name="connsiteX4328" fmla="*/ 4415314 w 6400800"/>
                <a:gd name="connsiteY4328" fmla="*/ 411956 h 514350"/>
                <a:gd name="connsiteX4329" fmla="*/ 4412456 w 6400800"/>
                <a:gd name="connsiteY4329" fmla="*/ 409099 h 514350"/>
                <a:gd name="connsiteX4330" fmla="*/ 4411504 w 6400800"/>
                <a:gd name="connsiteY4330" fmla="*/ 385286 h 514350"/>
                <a:gd name="connsiteX4331" fmla="*/ 4420076 w 6400800"/>
                <a:gd name="connsiteY4331" fmla="*/ 372904 h 514350"/>
                <a:gd name="connsiteX4332" fmla="*/ 4421029 w 6400800"/>
                <a:gd name="connsiteY4332" fmla="*/ 374809 h 514350"/>
                <a:gd name="connsiteX4333" fmla="*/ 4415314 w 6400800"/>
                <a:gd name="connsiteY4333" fmla="*/ 411004 h 514350"/>
                <a:gd name="connsiteX4334" fmla="*/ 4410551 w 6400800"/>
                <a:gd name="connsiteY4334" fmla="*/ 254794 h 514350"/>
                <a:gd name="connsiteX4335" fmla="*/ 4421029 w 6400800"/>
                <a:gd name="connsiteY4335" fmla="*/ 273844 h 514350"/>
                <a:gd name="connsiteX4336" fmla="*/ 4415314 w 6400800"/>
                <a:gd name="connsiteY4336" fmla="*/ 293846 h 514350"/>
                <a:gd name="connsiteX4337" fmla="*/ 4408647 w 6400800"/>
                <a:gd name="connsiteY4337" fmla="*/ 316706 h 514350"/>
                <a:gd name="connsiteX4338" fmla="*/ 4406741 w 6400800"/>
                <a:gd name="connsiteY4338" fmla="*/ 297656 h 514350"/>
                <a:gd name="connsiteX4339" fmla="*/ 4402931 w 6400800"/>
                <a:gd name="connsiteY4339" fmla="*/ 331946 h 514350"/>
                <a:gd name="connsiteX4340" fmla="*/ 4401026 w 6400800"/>
                <a:gd name="connsiteY4340" fmla="*/ 337661 h 514350"/>
                <a:gd name="connsiteX4341" fmla="*/ 4400074 w 6400800"/>
                <a:gd name="connsiteY4341" fmla="*/ 336709 h 514350"/>
                <a:gd name="connsiteX4342" fmla="*/ 4388644 w 6400800"/>
                <a:gd name="connsiteY4342" fmla="*/ 270034 h 514350"/>
                <a:gd name="connsiteX4343" fmla="*/ 4389597 w 6400800"/>
                <a:gd name="connsiteY4343" fmla="*/ 328136 h 514350"/>
                <a:gd name="connsiteX4344" fmla="*/ 4386739 w 6400800"/>
                <a:gd name="connsiteY4344" fmla="*/ 325279 h 514350"/>
                <a:gd name="connsiteX4345" fmla="*/ 4386739 w 6400800"/>
                <a:gd name="connsiteY4345" fmla="*/ 323374 h 514350"/>
                <a:gd name="connsiteX4346" fmla="*/ 4387691 w 6400800"/>
                <a:gd name="connsiteY4346" fmla="*/ 290989 h 514350"/>
                <a:gd name="connsiteX4347" fmla="*/ 4389597 w 6400800"/>
                <a:gd name="connsiteY4347" fmla="*/ 263366 h 514350"/>
                <a:gd name="connsiteX4348" fmla="*/ 4391501 w 6400800"/>
                <a:gd name="connsiteY4348" fmla="*/ 242411 h 514350"/>
                <a:gd name="connsiteX4349" fmla="*/ 4393406 w 6400800"/>
                <a:gd name="connsiteY4349" fmla="*/ 225266 h 514350"/>
                <a:gd name="connsiteX4350" fmla="*/ 4410551 w 6400800"/>
                <a:gd name="connsiteY4350" fmla="*/ 254794 h 514350"/>
                <a:gd name="connsiteX4351" fmla="*/ 4389597 w 6400800"/>
                <a:gd name="connsiteY4351" fmla="*/ 217646 h 514350"/>
                <a:gd name="connsiteX4352" fmla="*/ 4393406 w 6400800"/>
                <a:gd name="connsiteY4352" fmla="*/ 224314 h 514350"/>
                <a:gd name="connsiteX4353" fmla="*/ 4387691 w 6400800"/>
                <a:gd name="connsiteY4353" fmla="*/ 240506 h 514350"/>
                <a:gd name="connsiteX4354" fmla="*/ 4381976 w 6400800"/>
                <a:gd name="connsiteY4354" fmla="*/ 260509 h 514350"/>
                <a:gd name="connsiteX4355" fmla="*/ 4381976 w 6400800"/>
                <a:gd name="connsiteY4355" fmla="*/ 256699 h 514350"/>
                <a:gd name="connsiteX4356" fmla="*/ 4389597 w 6400800"/>
                <a:gd name="connsiteY4356" fmla="*/ 217646 h 514350"/>
                <a:gd name="connsiteX4357" fmla="*/ 4374356 w 6400800"/>
                <a:gd name="connsiteY4357" fmla="*/ 291941 h 514350"/>
                <a:gd name="connsiteX4358" fmla="*/ 4374356 w 6400800"/>
                <a:gd name="connsiteY4358" fmla="*/ 292894 h 514350"/>
                <a:gd name="connsiteX4359" fmla="*/ 4374356 w 6400800"/>
                <a:gd name="connsiteY4359" fmla="*/ 291941 h 514350"/>
                <a:gd name="connsiteX4360" fmla="*/ 4374356 w 6400800"/>
                <a:gd name="connsiteY4360" fmla="*/ 291941 h 514350"/>
                <a:gd name="connsiteX4361" fmla="*/ 4360069 w 6400800"/>
                <a:gd name="connsiteY4361" fmla="*/ 282416 h 514350"/>
                <a:gd name="connsiteX4362" fmla="*/ 4360069 w 6400800"/>
                <a:gd name="connsiteY4362" fmla="*/ 290036 h 514350"/>
                <a:gd name="connsiteX4363" fmla="*/ 4359116 w 6400800"/>
                <a:gd name="connsiteY4363" fmla="*/ 288131 h 514350"/>
                <a:gd name="connsiteX4364" fmla="*/ 4360069 w 6400800"/>
                <a:gd name="connsiteY4364" fmla="*/ 282416 h 514350"/>
                <a:gd name="connsiteX4365" fmla="*/ 4313397 w 6400800"/>
                <a:gd name="connsiteY4365" fmla="*/ 387191 h 514350"/>
                <a:gd name="connsiteX4366" fmla="*/ 4311491 w 6400800"/>
                <a:gd name="connsiteY4366" fmla="*/ 391001 h 514350"/>
                <a:gd name="connsiteX4367" fmla="*/ 4313397 w 6400800"/>
                <a:gd name="connsiteY4367" fmla="*/ 387191 h 514350"/>
                <a:gd name="connsiteX4368" fmla="*/ 4313397 w 6400800"/>
                <a:gd name="connsiteY4368" fmla="*/ 387191 h 514350"/>
                <a:gd name="connsiteX4369" fmla="*/ 4311491 w 6400800"/>
                <a:gd name="connsiteY4369" fmla="*/ 351949 h 514350"/>
                <a:gd name="connsiteX4370" fmla="*/ 4312444 w 6400800"/>
                <a:gd name="connsiteY4370" fmla="*/ 365284 h 514350"/>
                <a:gd name="connsiteX4371" fmla="*/ 4311491 w 6400800"/>
                <a:gd name="connsiteY4371" fmla="*/ 363379 h 514350"/>
                <a:gd name="connsiteX4372" fmla="*/ 4311491 w 6400800"/>
                <a:gd name="connsiteY4372" fmla="*/ 351949 h 514350"/>
                <a:gd name="connsiteX4373" fmla="*/ 4247674 w 6400800"/>
                <a:gd name="connsiteY4373" fmla="*/ 313849 h 514350"/>
                <a:gd name="connsiteX4374" fmla="*/ 4247674 w 6400800"/>
                <a:gd name="connsiteY4374" fmla="*/ 311944 h 514350"/>
                <a:gd name="connsiteX4375" fmla="*/ 4247674 w 6400800"/>
                <a:gd name="connsiteY4375" fmla="*/ 313849 h 514350"/>
                <a:gd name="connsiteX4376" fmla="*/ 4246722 w 6400800"/>
                <a:gd name="connsiteY4376" fmla="*/ 324326 h 514350"/>
                <a:gd name="connsiteX4377" fmla="*/ 4246722 w 6400800"/>
                <a:gd name="connsiteY4377" fmla="*/ 322421 h 514350"/>
                <a:gd name="connsiteX4378" fmla="*/ 4247674 w 6400800"/>
                <a:gd name="connsiteY4378" fmla="*/ 313849 h 514350"/>
                <a:gd name="connsiteX4379" fmla="*/ 4181951 w 6400800"/>
                <a:gd name="connsiteY4379" fmla="*/ 367189 h 514350"/>
                <a:gd name="connsiteX4380" fmla="*/ 4182904 w 6400800"/>
                <a:gd name="connsiteY4380" fmla="*/ 324326 h 514350"/>
                <a:gd name="connsiteX4381" fmla="*/ 4183856 w 6400800"/>
                <a:gd name="connsiteY4381" fmla="*/ 330041 h 514350"/>
                <a:gd name="connsiteX4382" fmla="*/ 4185761 w 6400800"/>
                <a:gd name="connsiteY4382" fmla="*/ 340519 h 514350"/>
                <a:gd name="connsiteX4383" fmla="*/ 4185761 w 6400800"/>
                <a:gd name="connsiteY4383" fmla="*/ 342424 h 514350"/>
                <a:gd name="connsiteX4384" fmla="*/ 4183856 w 6400800"/>
                <a:gd name="connsiteY4384" fmla="*/ 338614 h 514350"/>
                <a:gd name="connsiteX4385" fmla="*/ 4187666 w 6400800"/>
                <a:gd name="connsiteY4385" fmla="*/ 357664 h 514350"/>
                <a:gd name="connsiteX4386" fmla="*/ 4189571 w 6400800"/>
                <a:gd name="connsiteY4386" fmla="*/ 365284 h 514350"/>
                <a:gd name="connsiteX4387" fmla="*/ 4191476 w 6400800"/>
                <a:gd name="connsiteY4387" fmla="*/ 373856 h 514350"/>
                <a:gd name="connsiteX4388" fmla="*/ 4190524 w 6400800"/>
                <a:gd name="connsiteY4388" fmla="*/ 386239 h 514350"/>
                <a:gd name="connsiteX4389" fmla="*/ 4190524 w 6400800"/>
                <a:gd name="connsiteY4389" fmla="*/ 391954 h 514350"/>
                <a:gd name="connsiteX4390" fmla="*/ 4181951 w 6400800"/>
                <a:gd name="connsiteY4390" fmla="*/ 367189 h 514350"/>
                <a:gd name="connsiteX4391" fmla="*/ 4181951 w 6400800"/>
                <a:gd name="connsiteY4391" fmla="*/ 367189 h 514350"/>
                <a:gd name="connsiteX4392" fmla="*/ 4161949 w 6400800"/>
                <a:gd name="connsiteY4392" fmla="*/ 401479 h 514350"/>
                <a:gd name="connsiteX4393" fmla="*/ 4161949 w 6400800"/>
                <a:gd name="connsiteY4393" fmla="*/ 399574 h 514350"/>
                <a:gd name="connsiteX4394" fmla="*/ 4161949 w 6400800"/>
                <a:gd name="connsiteY4394" fmla="*/ 399574 h 514350"/>
                <a:gd name="connsiteX4395" fmla="*/ 4161949 w 6400800"/>
                <a:gd name="connsiteY4395" fmla="*/ 401479 h 514350"/>
                <a:gd name="connsiteX4396" fmla="*/ 4160044 w 6400800"/>
                <a:gd name="connsiteY4396" fmla="*/ 306229 h 514350"/>
                <a:gd name="connsiteX4397" fmla="*/ 4160996 w 6400800"/>
                <a:gd name="connsiteY4397" fmla="*/ 292894 h 514350"/>
                <a:gd name="connsiteX4398" fmla="*/ 4163854 w 6400800"/>
                <a:gd name="connsiteY4398" fmla="*/ 282416 h 514350"/>
                <a:gd name="connsiteX4399" fmla="*/ 4162901 w 6400800"/>
                <a:gd name="connsiteY4399" fmla="*/ 313849 h 514350"/>
                <a:gd name="connsiteX4400" fmla="*/ 4160044 w 6400800"/>
                <a:gd name="connsiteY4400" fmla="*/ 306229 h 514350"/>
                <a:gd name="connsiteX4401" fmla="*/ 4160044 w 6400800"/>
                <a:gd name="connsiteY4401" fmla="*/ 306229 h 514350"/>
                <a:gd name="connsiteX4402" fmla="*/ 4128611 w 6400800"/>
                <a:gd name="connsiteY4402" fmla="*/ 354806 h 514350"/>
                <a:gd name="connsiteX4403" fmla="*/ 4127659 w 6400800"/>
                <a:gd name="connsiteY4403" fmla="*/ 343376 h 514350"/>
                <a:gd name="connsiteX4404" fmla="*/ 4128611 w 6400800"/>
                <a:gd name="connsiteY4404" fmla="*/ 350044 h 514350"/>
                <a:gd name="connsiteX4405" fmla="*/ 4130516 w 6400800"/>
                <a:gd name="connsiteY4405" fmla="*/ 365284 h 514350"/>
                <a:gd name="connsiteX4406" fmla="*/ 4128611 w 6400800"/>
                <a:gd name="connsiteY4406" fmla="*/ 354806 h 514350"/>
                <a:gd name="connsiteX4407" fmla="*/ 4124801 w 6400800"/>
                <a:gd name="connsiteY4407" fmla="*/ 255746 h 514350"/>
                <a:gd name="connsiteX4408" fmla="*/ 4124801 w 6400800"/>
                <a:gd name="connsiteY4408" fmla="*/ 248126 h 514350"/>
                <a:gd name="connsiteX4409" fmla="*/ 4140041 w 6400800"/>
                <a:gd name="connsiteY4409" fmla="*/ 303371 h 514350"/>
                <a:gd name="connsiteX4410" fmla="*/ 4140994 w 6400800"/>
                <a:gd name="connsiteY4410" fmla="*/ 307181 h 514350"/>
                <a:gd name="connsiteX4411" fmla="*/ 4140994 w 6400800"/>
                <a:gd name="connsiteY4411" fmla="*/ 321469 h 514350"/>
                <a:gd name="connsiteX4412" fmla="*/ 4133374 w 6400800"/>
                <a:gd name="connsiteY4412" fmla="*/ 305276 h 514350"/>
                <a:gd name="connsiteX4413" fmla="*/ 4135279 w 6400800"/>
                <a:gd name="connsiteY4413" fmla="*/ 312896 h 514350"/>
                <a:gd name="connsiteX4414" fmla="*/ 4127659 w 6400800"/>
                <a:gd name="connsiteY4414" fmla="*/ 300514 h 514350"/>
                <a:gd name="connsiteX4415" fmla="*/ 4123849 w 6400800"/>
                <a:gd name="connsiteY4415" fmla="*/ 284321 h 514350"/>
                <a:gd name="connsiteX4416" fmla="*/ 4124801 w 6400800"/>
                <a:gd name="connsiteY4416" fmla="*/ 255746 h 514350"/>
                <a:gd name="connsiteX4417" fmla="*/ 4095274 w 6400800"/>
                <a:gd name="connsiteY4417" fmla="*/ 395764 h 514350"/>
                <a:gd name="connsiteX4418" fmla="*/ 4095274 w 6400800"/>
                <a:gd name="connsiteY4418" fmla="*/ 395764 h 514350"/>
                <a:gd name="connsiteX4419" fmla="*/ 4095274 w 6400800"/>
                <a:gd name="connsiteY4419" fmla="*/ 394811 h 514350"/>
                <a:gd name="connsiteX4420" fmla="*/ 4095274 w 6400800"/>
                <a:gd name="connsiteY4420" fmla="*/ 395764 h 514350"/>
                <a:gd name="connsiteX4421" fmla="*/ 4093369 w 6400800"/>
                <a:gd name="connsiteY4421" fmla="*/ 386239 h 514350"/>
                <a:gd name="connsiteX4422" fmla="*/ 4093369 w 6400800"/>
                <a:gd name="connsiteY4422" fmla="*/ 376714 h 514350"/>
                <a:gd name="connsiteX4423" fmla="*/ 4096226 w 6400800"/>
                <a:gd name="connsiteY4423" fmla="*/ 382429 h 514350"/>
                <a:gd name="connsiteX4424" fmla="*/ 4093369 w 6400800"/>
                <a:gd name="connsiteY4424" fmla="*/ 386239 h 514350"/>
                <a:gd name="connsiteX4425" fmla="*/ 4097179 w 6400800"/>
                <a:gd name="connsiteY4425" fmla="*/ 342424 h 514350"/>
                <a:gd name="connsiteX4426" fmla="*/ 4099084 w 6400800"/>
                <a:gd name="connsiteY4426" fmla="*/ 334804 h 514350"/>
                <a:gd name="connsiteX4427" fmla="*/ 4099084 w 6400800"/>
                <a:gd name="connsiteY4427" fmla="*/ 337661 h 514350"/>
                <a:gd name="connsiteX4428" fmla="*/ 4097179 w 6400800"/>
                <a:gd name="connsiteY4428" fmla="*/ 342424 h 514350"/>
                <a:gd name="connsiteX4429" fmla="*/ 4100989 w 6400800"/>
                <a:gd name="connsiteY4429" fmla="*/ 353854 h 514350"/>
                <a:gd name="connsiteX4430" fmla="*/ 4100989 w 6400800"/>
                <a:gd name="connsiteY4430" fmla="*/ 351949 h 514350"/>
                <a:gd name="connsiteX4431" fmla="*/ 4100989 w 6400800"/>
                <a:gd name="connsiteY4431" fmla="*/ 351949 h 514350"/>
                <a:gd name="connsiteX4432" fmla="*/ 4100989 w 6400800"/>
                <a:gd name="connsiteY4432" fmla="*/ 353854 h 514350"/>
                <a:gd name="connsiteX4433" fmla="*/ 4100989 w 6400800"/>
                <a:gd name="connsiteY4433" fmla="*/ 353854 h 514350"/>
                <a:gd name="connsiteX4434" fmla="*/ 4115276 w 6400800"/>
                <a:gd name="connsiteY4434" fmla="*/ 322421 h 514350"/>
                <a:gd name="connsiteX4435" fmla="*/ 4114324 w 6400800"/>
                <a:gd name="connsiteY4435" fmla="*/ 350996 h 514350"/>
                <a:gd name="connsiteX4436" fmla="*/ 4111466 w 6400800"/>
                <a:gd name="connsiteY4436" fmla="*/ 327184 h 514350"/>
                <a:gd name="connsiteX4437" fmla="*/ 4108609 w 6400800"/>
                <a:gd name="connsiteY4437" fmla="*/ 342424 h 514350"/>
                <a:gd name="connsiteX4438" fmla="*/ 4107656 w 6400800"/>
                <a:gd name="connsiteY4438" fmla="*/ 341471 h 514350"/>
                <a:gd name="connsiteX4439" fmla="*/ 4106704 w 6400800"/>
                <a:gd name="connsiteY4439" fmla="*/ 336709 h 514350"/>
                <a:gd name="connsiteX4440" fmla="*/ 4113371 w 6400800"/>
                <a:gd name="connsiteY4440" fmla="*/ 322421 h 514350"/>
                <a:gd name="connsiteX4441" fmla="*/ 4115276 w 6400800"/>
                <a:gd name="connsiteY4441" fmla="*/ 318611 h 514350"/>
                <a:gd name="connsiteX4442" fmla="*/ 4115276 w 6400800"/>
                <a:gd name="connsiteY4442" fmla="*/ 322421 h 514350"/>
                <a:gd name="connsiteX4443" fmla="*/ 4109561 w 6400800"/>
                <a:gd name="connsiteY4443" fmla="*/ 295751 h 514350"/>
                <a:gd name="connsiteX4444" fmla="*/ 4116229 w 6400800"/>
                <a:gd name="connsiteY4444" fmla="*/ 308134 h 514350"/>
                <a:gd name="connsiteX4445" fmla="*/ 4116229 w 6400800"/>
                <a:gd name="connsiteY4445" fmla="*/ 311944 h 514350"/>
                <a:gd name="connsiteX4446" fmla="*/ 4110514 w 6400800"/>
                <a:gd name="connsiteY4446" fmla="*/ 320516 h 514350"/>
                <a:gd name="connsiteX4447" fmla="*/ 4104799 w 6400800"/>
                <a:gd name="connsiteY4447" fmla="*/ 329089 h 514350"/>
                <a:gd name="connsiteX4448" fmla="*/ 4102894 w 6400800"/>
                <a:gd name="connsiteY4448" fmla="*/ 322421 h 514350"/>
                <a:gd name="connsiteX4449" fmla="*/ 4109561 w 6400800"/>
                <a:gd name="connsiteY4449" fmla="*/ 295751 h 514350"/>
                <a:gd name="connsiteX4450" fmla="*/ 4092416 w 6400800"/>
                <a:gd name="connsiteY4450" fmla="*/ 294799 h 514350"/>
                <a:gd name="connsiteX4451" fmla="*/ 4094321 w 6400800"/>
                <a:gd name="connsiteY4451" fmla="*/ 265271 h 514350"/>
                <a:gd name="connsiteX4452" fmla="*/ 4098131 w 6400800"/>
                <a:gd name="connsiteY4452" fmla="*/ 272891 h 514350"/>
                <a:gd name="connsiteX4453" fmla="*/ 4106704 w 6400800"/>
                <a:gd name="connsiteY4453" fmla="*/ 290989 h 514350"/>
                <a:gd name="connsiteX4454" fmla="*/ 4098131 w 6400800"/>
                <a:gd name="connsiteY4454" fmla="*/ 311944 h 514350"/>
                <a:gd name="connsiteX4455" fmla="*/ 4096226 w 6400800"/>
                <a:gd name="connsiteY4455" fmla="*/ 306229 h 514350"/>
                <a:gd name="connsiteX4456" fmla="*/ 4097179 w 6400800"/>
                <a:gd name="connsiteY4456" fmla="*/ 315754 h 514350"/>
                <a:gd name="connsiteX4457" fmla="*/ 4092416 w 6400800"/>
                <a:gd name="connsiteY4457" fmla="*/ 329089 h 514350"/>
                <a:gd name="connsiteX4458" fmla="*/ 4091464 w 6400800"/>
                <a:gd name="connsiteY4458" fmla="*/ 325279 h 514350"/>
                <a:gd name="connsiteX4459" fmla="*/ 4090511 w 6400800"/>
                <a:gd name="connsiteY4459" fmla="*/ 321469 h 514350"/>
                <a:gd name="connsiteX4460" fmla="*/ 4092416 w 6400800"/>
                <a:gd name="connsiteY4460" fmla="*/ 294799 h 514350"/>
                <a:gd name="connsiteX4461" fmla="*/ 4085749 w 6400800"/>
                <a:gd name="connsiteY4461" fmla="*/ 244316 h 514350"/>
                <a:gd name="connsiteX4462" fmla="*/ 4085749 w 6400800"/>
                <a:gd name="connsiteY4462" fmla="*/ 244316 h 514350"/>
                <a:gd name="connsiteX4463" fmla="*/ 4084796 w 6400800"/>
                <a:gd name="connsiteY4463" fmla="*/ 250031 h 514350"/>
                <a:gd name="connsiteX4464" fmla="*/ 4085749 w 6400800"/>
                <a:gd name="connsiteY4464" fmla="*/ 244316 h 514350"/>
                <a:gd name="connsiteX4465" fmla="*/ 4043839 w 6400800"/>
                <a:gd name="connsiteY4465" fmla="*/ 279559 h 514350"/>
                <a:gd name="connsiteX4466" fmla="*/ 4043839 w 6400800"/>
                <a:gd name="connsiteY4466" fmla="*/ 279559 h 514350"/>
                <a:gd name="connsiteX4467" fmla="*/ 4044791 w 6400800"/>
                <a:gd name="connsiteY4467" fmla="*/ 283369 h 514350"/>
                <a:gd name="connsiteX4468" fmla="*/ 4043839 w 6400800"/>
                <a:gd name="connsiteY4468" fmla="*/ 281464 h 514350"/>
                <a:gd name="connsiteX4469" fmla="*/ 4044791 w 6400800"/>
                <a:gd name="connsiteY4469" fmla="*/ 286226 h 514350"/>
                <a:gd name="connsiteX4470" fmla="*/ 4044791 w 6400800"/>
                <a:gd name="connsiteY4470" fmla="*/ 290036 h 514350"/>
                <a:gd name="connsiteX4471" fmla="*/ 4042886 w 6400800"/>
                <a:gd name="connsiteY4471" fmla="*/ 284321 h 514350"/>
                <a:gd name="connsiteX4472" fmla="*/ 4043839 w 6400800"/>
                <a:gd name="connsiteY4472" fmla="*/ 279559 h 514350"/>
                <a:gd name="connsiteX4473" fmla="*/ 4044791 w 6400800"/>
                <a:gd name="connsiteY4473" fmla="*/ 333851 h 514350"/>
                <a:gd name="connsiteX4474" fmla="*/ 4044791 w 6400800"/>
                <a:gd name="connsiteY4474" fmla="*/ 333851 h 514350"/>
                <a:gd name="connsiteX4475" fmla="*/ 4044791 w 6400800"/>
                <a:gd name="connsiteY4475" fmla="*/ 339566 h 514350"/>
                <a:gd name="connsiteX4476" fmla="*/ 4042886 w 6400800"/>
                <a:gd name="connsiteY4476" fmla="*/ 337661 h 514350"/>
                <a:gd name="connsiteX4477" fmla="*/ 4044791 w 6400800"/>
                <a:gd name="connsiteY4477" fmla="*/ 333851 h 514350"/>
                <a:gd name="connsiteX4478" fmla="*/ 4039076 w 6400800"/>
                <a:gd name="connsiteY4478" fmla="*/ 271939 h 514350"/>
                <a:gd name="connsiteX4479" fmla="*/ 4039076 w 6400800"/>
                <a:gd name="connsiteY4479" fmla="*/ 273844 h 514350"/>
                <a:gd name="connsiteX4480" fmla="*/ 4038124 w 6400800"/>
                <a:gd name="connsiteY4480" fmla="*/ 270034 h 514350"/>
                <a:gd name="connsiteX4481" fmla="*/ 4036219 w 6400800"/>
                <a:gd name="connsiteY4481" fmla="*/ 265271 h 514350"/>
                <a:gd name="connsiteX4482" fmla="*/ 4039076 w 6400800"/>
                <a:gd name="connsiteY4482" fmla="*/ 271939 h 514350"/>
                <a:gd name="connsiteX4483" fmla="*/ 4033361 w 6400800"/>
                <a:gd name="connsiteY4483" fmla="*/ 358616 h 514350"/>
                <a:gd name="connsiteX4484" fmla="*/ 4034314 w 6400800"/>
                <a:gd name="connsiteY4484" fmla="*/ 351949 h 514350"/>
                <a:gd name="connsiteX4485" fmla="*/ 4038124 w 6400800"/>
                <a:gd name="connsiteY4485" fmla="*/ 345281 h 514350"/>
                <a:gd name="connsiteX4486" fmla="*/ 4043839 w 6400800"/>
                <a:gd name="connsiteY4486" fmla="*/ 351949 h 514350"/>
                <a:gd name="connsiteX4487" fmla="*/ 4040981 w 6400800"/>
                <a:gd name="connsiteY4487" fmla="*/ 391954 h 514350"/>
                <a:gd name="connsiteX4488" fmla="*/ 4035266 w 6400800"/>
                <a:gd name="connsiteY4488" fmla="*/ 413861 h 514350"/>
                <a:gd name="connsiteX4489" fmla="*/ 4029551 w 6400800"/>
                <a:gd name="connsiteY4489" fmla="*/ 395764 h 514350"/>
                <a:gd name="connsiteX4490" fmla="*/ 4027646 w 6400800"/>
                <a:gd name="connsiteY4490" fmla="*/ 388144 h 514350"/>
                <a:gd name="connsiteX4491" fmla="*/ 4033361 w 6400800"/>
                <a:gd name="connsiteY4491" fmla="*/ 358616 h 514350"/>
                <a:gd name="connsiteX4492" fmla="*/ 4020026 w 6400800"/>
                <a:gd name="connsiteY4492" fmla="*/ 324326 h 514350"/>
                <a:gd name="connsiteX4493" fmla="*/ 4021931 w 6400800"/>
                <a:gd name="connsiteY4493" fmla="*/ 326231 h 514350"/>
                <a:gd name="connsiteX4494" fmla="*/ 4019074 w 6400800"/>
                <a:gd name="connsiteY4494" fmla="*/ 334804 h 514350"/>
                <a:gd name="connsiteX4495" fmla="*/ 4017169 w 6400800"/>
                <a:gd name="connsiteY4495" fmla="*/ 341471 h 514350"/>
                <a:gd name="connsiteX4496" fmla="*/ 4016216 w 6400800"/>
                <a:gd name="connsiteY4496" fmla="*/ 342424 h 514350"/>
                <a:gd name="connsiteX4497" fmla="*/ 4015264 w 6400800"/>
                <a:gd name="connsiteY4497" fmla="*/ 344329 h 514350"/>
                <a:gd name="connsiteX4498" fmla="*/ 4011454 w 6400800"/>
                <a:gd name="connsiteY4498" fmla="*/ 315754 h 514350"/>
                <a:gd name="connsiteX4499" fmla="*/ 4020026 w 6400800"/>
                <a:gd name="connsiteY4499" fmla="*/ 324326 h 514350"/>
                <a:gd name="connsiteX4500" fmla="*/ 3999071 w 6400800"/>
                <a:gd name="connsiteY4500" fmla="*/ 282416 h 514350"/>
                <a:gd name="connsiteX4501" fmla="*/ 3999071 w 6400800"/>
                <a:gd name="connsiteY4501" fmla="*/ 282416 h 514350"/>
                <a:gd name="connsiteX4502" fmla="*/ 4000024 w 6400800"/>
                <a:gd name="connsiteY4502" fmla="*/ 310991 h 514350"/>
                <a:gd name="connsiteX4503" fmla="*/ 4000024 w 6400800"/>
                <a:gd name="connsiteY4503" fmla="*/ 316706 h 514350"/>
                <a:gd name="connsiteX4504" fmla="*/ 3999071 w 6400800"/>
                <a:gd name="connsiteY4504" fmla="*/ 325279 h 514350"/>
                <a:gd name="connsiteX4505" fmla="*/ 3999071 w 6400800"/>
                <a:gd name="connsiteY4505" fmla="*/ 327184 h 514350"/>
                <a:gd name="connsiteX4506" fmla="*/ 3998119 w 6400800"/>
                <a:gd name="connsiteY4506" fmla="*/ 324326 h 514350"/>
                <a:gd name="connsiteX4507" fmla="*/ 3997166 w 6400800"/>
                <a:gd name="connsiteY4507" fmla="*/ 314801 h 514350"/>
                <a:gd name="connsiteX4508" fmla="*/ 3996214 w 6400800"/>
                <a:gd name="connsiteY4508" fmla="*/ 286226 h 514350"/>
                <a:gd name="connsiteX4509" fmla="*/ 3999071 w 6400800"/>
                <a:gd name="connsiteY4509" fmla="*/ 282416 h 514350"/>
                <a:gd name="connsiteX4510" fmla="*/ 3983831 w 6400800"/>
                <a:gd name="connsiteY4510" fmla="*/ 405289 h 514350"/>
                <a:gd name="connsiteX4511" fmla="*/ 3980021 w 6400800"/>
                <a:gd name="connsiteY4511" fmla="*/ 412909 h 514350"/>
                <a:gd name="connsiteX4512" fmla="*/ 3980021 w 6400800"/>
                <a:gd name="connsiteY4512" fmla="*/ 412909 h 514350"/>
                <a:gd name="connsiteX4513" fmla="*/ 3982879 w 6400800"/>
                <a:gd name="connsiteY4513" fmla="*/ 402431 h 514350"/>
                <a:gd name="connsiteX4514" fmla="*/ 3983831 w 6400800"/>
                <a:gd name="connsiteY4514" fmla="*/ 405289 h 514350"/>
                <a:gd name="connsiteX4515" fmla="*/ 3980974 w 6400800"/>
                <a:gd name="connsiteY4515" fmla="*/ 395764 h 514350"/>
                <a:gd name="connsiteX4516" fmla="*/ 3982879 w 6400800"/>
                <a:gd name="connsiteY4516" fmla="*/ 401479 h 514350"/>
                <a:gd name="connsiteX4517" fmla="*/ 3979069 w 6400800"/>
                <a:gd name="connsiteY4517" fmla="*/ 407194 h 514350"/>
                <a:gd name="connsiteX4518" fmla="*/ 3979069 w 6400800"/>
                <a:gd name="connsiteY4518" fmla="*/ 406241 h 514350"/>
                <a:gd name="connsiteX4519" fmla="*/ 3980974 w 6400800"/>
                <a:gd name="connsiteY4519" fmla="*/ 395764 h 514350"/>
                <a:gd name="connsiteX4520" fmla="*/ 3976211 w 6400800"/>
                <a:gd name="connsiteY4520" fmla="*/ 378619 h 514350"/>
                <a:gd name="connsiteX4521" fmla="*/ 3976211 w 6400800"/>
                <a:gd name="connsiteY4521" fmla="*/ 378619 h 514350"/>
                <a:gd name="connsiteX4522" fmla="*/ 3976211 w 6400800"/>
                <a:gd name="connsiteY4522" fmla="*/ 380524 h 514350"/>
                <a:gd name="connsiteX4523" fmla="*/ 3976211 w 6400800"/>
                <a:gd name="connsiteY4523" fmla="*/ 378619 h 514350"/>
                <a:gd name="connsiteX4524" fmla="*/ 3948589 w 6400800"/>
                <a:gd name="connsiteY4524" fmla="*/ 255746 h 514350"/>
                <a:gd name="connsiteX4525" fmla="*/ 3946684 w 6400800"/>
                <a:gd name="connsiteY4525" fmla="*/ 277654 h 514350"/>
                <a:gd name="connsiteX4526" fmla="*/ 3945731 w 6400800"/>
                <a:gd name="connsiteY4526" fmla="*/ 285274 h 514350"/>
                <a:gd name="connsiteX4527" fmla="*/ 3943826 w 6400800"/>
                <a:gd name="connsiteY4527" fmla="*/ 266224 h 514350"/>
                <a:gd name="connsiteX4528" fmla="*/ 3940016 w 6400800"/>
                <a:gd name="connsiteY4528" fmla="*/ 240506 h 514350"/>
                <a:gd name="connsiteX4529" fmla="*/ 3940016 w 6400800"/>
                <a:gd name="connsiteY4529" fmla="*/ 239554 h 514350"/>
                <a:gd name="connsiteX4530" fmla="*/ 3940016 w 6400800"/>
                <a:gd name="connsiteY4530" fmla="*/ 236696 h 514350"/>
                <a:gd name="connsiteX4531" fmla="*/ 3942874 w 6400800"/>
                <a:gd name="connsiteY4531" fmla="*/ 240506 h 514350"/>
                <a:gd name="connsiteX4532" fmla="*/ 3947636 w 6400800"/>
                <a:gd name="connsiteY4532" fmla="*/ 248126 h 514350"/>
                <a:gd name="connsiteX4533" fmla="*/ 3948589 w 6400800"/>
                <a:gd name="connsiteY4533" fmla="*/ 255746 h 514350"/>
                <a:gd name="connsiteX4534" fmla="*/ 3943826 w 6400800"/>
                <a:gd name="connsiteY4534" fmla="*/ 205264 h 514350"/>
                <a:gd name="connsiteX4535" fmla="*/ 3943826 w 6400800"/>
                <a:gd name="connsiteY4535" fmla="*/ 210979 h 514350"/>
                <a:gd name="connsiteX4536" fmla="*/ 3945731 w 6400800"/>
                <a:gd name="connsiteY4536" fmla="*/ 230981 h 514350"/>
                <a:gd name="connsiteX4537" fmla="*/ 3946684 w 6400800"/>
                <a:gd name="connsiteY4537" fmla="*/ 236696 h 514350"/>
                <a:gd name="connsiteX4538" fmla="*/ 3939064 w 6400800"/>
                <a:gd name="connsiteY4538" fmla="*/ 228124 h 514350"/>
                <a:gd name="connsiteX4539" fmla="*/ 3937159 w 6400800"/>
                <a:gd name="connsiteY4539" fmla="*/ 215741 h 514350"/>
                <a:gd name="connsiteX4540" fmla="*/ 3943826 w 6400800"/>
                <a:gd name="connsiteY4540" fmla="*/ 205264 h 514350"/>
                <a:gd name="connsiteX4541" fmla="*/ 3866674 w 6400800"/>
                <a:gd name="connsiteY4541" fmla="*/ 369094 h 514350"/>
                <a:gd name="connsiteX4542" fmla="*/ 3867626 w 6400800"/>
                <a:gd name="connsiteY4542" fmla="*/ 368141 h 514350"/>
                <a:gd name="connsiteX4543" fmla="*/ 3867626 w 6400800"/>
                <a:gd name="connsiteY4543" fmla="*/ 370999 h 514350"/>
                <a:gd name="connsiteX4544" fmla="*/ 3866674 w 6400800"/>
                <a:gd name="connsiteY4544" fmla="*/ 369094 h 514350"/>
                <a:gd name="connsiteX4545" fmla="*/ 3886676 w 6400800"/>
                <a:gd name="connsiteY4545" fmla="*/ 354806 h 514350"/>
                <a:gd name="connsiteX4546" fmla="*/ 3882866 w 6400800"/>
                <a:gd name="connsiteY4546" fmla="*/ 348139 h 514350"/>
                <a:gd name="connsiteX4547" fmla="*/ 3881914 w 6400800"/>
                <a:gd name="connsiteY4547" fmla="*/ 338614 h 514350"/>
                <a:gd name="connsiteX4548" fmla="*/ 3886676 w 6400800"/>
                <a:gd name="connsiteY4548" fmla="*/ 354806 h 514350"/>
                <a:gd name="connsiteX4549" fmla="*/ 3887629 w 6400800"/>
                <a:gd name="connsiteY4549" fmla="*/ 356711 h 514350"/>
                <a:gd name="connsiteX4550" fmla="*/ 3886676 w 6400800"/>
                <a:gd name="connsiteY4550" fmla="*/ 354806 h 514350"/>
                <a:gd name="connsiteX4551" fmla="*/ 3897154 w 6400800"/>
                <a:gd name="connsiteY4551" fmla="*/ 278606 h 514350"/>
                <a:gd name="connsiteX4552" fmla="*/ 3901916 w 6400800"/>
                <a:gd name="connsiteY4552" fmla="*/ 270986 h 514350"/>
                <a:gd name="connsiteX4553" fmla="*/ 3901916 w 6400800"/>
                <a:gd name="connsiteY4553" fmla="*/ 270986 h 514350"/>
                <a:gd name="connsiteX4554" fmla="*/ 3897154 w 6400800"/>
                <a:gd name="connsiteY4554" fmla="*/ 278606 h 514350"/>
                <a:gd name="connsiteX4555" fmla="*/ 3897154 w 6400800"/>
                <a:gd name="connsiteY4555" fmla="*/ 278606 h 514350"/>
                <a:gd name="connsiteX4556" fmla="*/ 3900011 w 6400800"/>
                <a:gd name="connsiteY4556" fmla="*/ 291941 h 514350"/>
                <a:gd name="connsiteX4557" fmla="*/ 3901916 w 6400800"/>
                <a:gd name="connsiteY4557" fmla="*/ 288131 h 514350"/>
                <a:gd name="connsiteX4558" fmla="*/ 3902869 w 6400800"/>
                <a:gd name="connsiteY4558" fmla="*/ 286226 h 514350"/>
                <a:gd name="connsiteX4559" fmla="*/ 3903821 w 6400800"/>
                <a:gd name="connsiteY4559" fmla="*/ 297656 h 514350"/>
                <a:gd name="connsiteX4560" fmla="*/ 3902869 w 6400800"/>
                <a:gd name="connsiteY4560" fmla="*/ 301466 h 514350"/>
                <a:gd name="connsiteX4561" fmla="*/ 3901916 w 6400800"/>
                <a:gd name="connsiteY4561" fmla="*/ 298609 h 514350"/>
                <a:gd name="connsiteX4562" fmla="*/ 3900011 w 6400800"/>
                <a:gd name="connsiteY4562" fmla="*/ 291941 h 514350"/>
                <a:gd name="connsiteX4563" fmla="*/ 3903821 w 6400800"/>
                <a:gd name="connsiteY4563" fmla="*/ 431006 h 514350"/>
                <a:gd name="connsiteX4564" fmla="*/ 3902869 w 6400800"/>
                <a:gd name="connsiteY4564" fmla="*/ 431959 h 514350"/>
                <a:gd name="connsiteX4565" fmla="*/ 3901916 w 6400800"/>
                <a:gd name="connsiteY4565" fmla="*/ 431959 h 514350"/>
                <a:gd name="connsiteX4566" fmla="*/ 3903821 w 6400800"/>
                <a:gd name="connsiteY4566" fmla="*/ 426244 h 514350"/>
                <a:gd name="connsiteX4567" fmla="*/ 3904774 w 6400800"/>
                <a:gd name="connsiteY4567" fmla="*/ 428149 h 514350"/>
                <a:gd name="connsiteX4568" fmla="*/ 3903821 w 6400800"/>
                <a:gd name="connsiteY4568" fmla="*/ 431006 h 514350"/>
                <a:gd name="connsiteX4569" fmla="*/ 3925729 w 6400800"/>
                <a:gd name="connsiteY4569" fmla="*/ 309086 h 514350"/>
                <a:gd name="connsiteX4570" fmla="*/ 3922871 w 6400800"/>
                <a:gd name="connsiteY4570" fmla="*/ 297656 h 514350"/>
                <a:gd name="connsiteX4571" fmla="*/ 3923824 w 6400800"/>
                <a:gd name="connsiteY4571" fmla="*/ 308134 h 514350"/>
                <a:gd name="connsiteX4572" fmla="*/ 3919061 w 6400800"/>
                <a:gd name="connsiteY4572" fmla="*/ 291941 h 514350"/>
                <a:gd name="connsiteX4573" fmla="*/ 3922871 w 6400800"/>
                <a:gd name="connsiteY4573" fmla="*/ 317659 h 514350"/>
                <a:gd name="connsiteX4574" fmla="*/ 3923824 w 6400800"/>
                <a:gd name="connsiteY4574" fmla="*/ 325279 h 514350"/>
                <a:gd name="connsiteX4575" fmla="*/ 3921919 w 6400800"/>
                <a:gd name="connsiteY4575" fmla="*/ 334804 h 514350"/>
                <a:gd name="connsiteX4576" fmla="*/ 3921919 w 6400800"/>
                <a:gd name="connsiteY4576" fmla="*/ 335756 h 514350"/>
                <a:gd name="connsiteX4577" fmla="*/ 3920966 w 6400800"/>
                <a:gd name="connsiteY4577" fmla="*/ 330041 h 514350"/>
                <a:gd name="connsiteX4578" fmla="*/ 3915251 w 6400800"/>
                <a:gd name="connsiteY4578" fmla="*/ 301466 h 514350"/>
                <a:gd name="connsiteX4579" fmla="*/ 3911441 w 6400800"/>
                <a:gd name="connsiteY4579" fmla="*/ 281464 h 514350"/>
                <a:gd name="connsiteX4580" fmla="*/ 3912394 w 6400800"/>
                <a:gd name="connsiteY4580" fmla="*/ 264319 h 514350"/>
                <a:gd name="connsiteX4581" fmla="*/ 3912394 w 6400800"/>
                <a:gd name="connsiteY4581" fmla="*/ 263366 h 514350"/>
                <a:gd name="connsiteX4582" fmla="*/ 3919061 w 6400800"/>
                <a:gd name="connsiteY4582" fmla="*/ 270986 h 514350"/>
                <a:gd name="connsiteX4583" fmla="*/ 3923824 w 6400800"/>
                <a:gd name="connsiteY4583" fmla="*/ 277654 h 514350"/>
                <a:gd name="connsiteX4584" fmla="*/ 3924776 w 6400800"/>
                <a:gd name="connsiteY4584" fmla="*/ 284321 h 514350"/>
                <a:gd name="connsiteX4585" fmla="*/ 3921919 w 6400800"/>
                <a:gd name="connsiteY4585" fmla="*/ 277654 h 514350"/>
                <a:gd name="connsiteX4586" fmla="*/ 3926681 w 6400800"/>
                <a:gd name="connsiteY4586" fmla="*/ 296704 h 514350"/>
                <a:gd name="connsiteX4587" fmla="*/ 3927634 w 6400800"/>
                <a:gd name="connsiteY4587" fmla="*/ 304324 h 514350"/>
                <a:gd name="connsiteX4588" fmla="*/ 3927634 w 6400800"/>
                <a:gd name="connsiteY4588" fmla="*/ 305276 h 514350"/>
                <a:gd name="connsiteX4589" fmla="*/ 3925729 w 6400800"/>
                <a:gd name="connsiteY4589" fmla="*/ 309086 h 514350"/>
                <a:gd name="connsiteX4590" fmla="*/ 3929539 w 6400800"/>
                <a:gd name="connsiteY4590" fmla="*/ 287179 h 514350"/>
                <a:gd name="connsiteX4591" fmla="*/ 3928586 w 6400800"/>
                <a:gd name="connsiteY4591" fmla="*/ 292894 h 514350"/>
                <a:gd name="connsiteX4592" fmla="*/ 3927634 w 6400800"/>
                <a:gd name="connsiteY4592" fmla="*/ 290036 h 514350"/>
                <a:gd name="connsiteX4593" fmla="*/ 3923824 w 6400800"/>
                <a:gd name="connsiteY4593" fmla="*/ 275749 h 514350"/>
                <a:gd name="connsiteX4594" fmla="*/ 3927634 w 6400800"/>
                <a:gd name="connsiteY4594" fmla="*/ 281464 h 514350"/>
                <a:gd name="connsiteX4595" fmla="*/ 3929539 w 6400800"/>
                <a:gd name="connsiteY4595" fmla="*/ 284321 h 514350"/>
                <a:gd name="connsiteX4596" fmla="*/ 3929539 w 6400800"/>
                <a:gd name="connsiteY4596" fmla="*/ 287179 h 514350"/>
                <a:gd name="connsiteX4597" fmla="*/ 3926681 w 6400800"/>
                <a:gd name="connsiteY4597" fmla="*/ 242411 h 514350"/>
                <a:gd name="connsiteX4598" fmla="*/ 3928586 w 6400800"/>
                <a:gd name="connsiteY4598" fmla="*/ 270986 h 514350"/>
                <a:gd name="connsiteX4599" fmla="*/ 3921919 w 6400800"/>
                <a:gd name="connsiteY4599" fmla="*/ 265271 h 514350"/>
                <a:gd name="connsiteX4600" fmla="*/ 3913346 w 6400800"/>
                <a:gd name="connsiteY4600" fmla="*/ 257651 h 514350"/>
                <a:gd name="connsiteX4601" fmla="*/ 3917156 w 6400800"/>
                <a:gd name="connsiteY4601" fmla="*/ 246221 h 514350"/>
                <a:gd name="connsiteX4602" fmla="*/ 3925729 w 6400800"/>
                <a:gd name="connsiteY4602" fmla="*/ 232886 h 514350"/>
                <a:gd name="connsiteX4603" fmla="*/ 3926681 w 6400800"/>
                <a:gd name="connsiteY4603" fmla="*/ 242411 h 514350"/>
                <a:gd name="connsiteX4604" fmla="*/ 3900964 w 6400800"/>
                <a:gd name="connsiteY4604" fmla="*/ 168116 h 514350"/>
                <a:gd name="connsiteX4605" fmla="*/ 3914299 w 6400800"/>
                <a:gd name="connsiteY4605" fmla="*/ 147161 h 514350"/>
                <a:gd name="connsiteX4606" fmla="*/ 3915251 w 6400800"/>
                <a:gd name="connsiteY4606" fmla="*/ 156686 h 514350"/>
                <a:gd name="connsiteX4607" fmla="*/ 3920966 w 6400800"/>
                <a:gd name="connsiteY4607" fmla="*/ 196691 h 514350"/>
                <a:gd name="connsiteX4608" fmla="*/ 3922871 w 6400800"/>
                <a:gd name="connsiteY4608" fmla="*/ 213836 h 514350"/>
                <a:gd name="connsiteX4609" fmla="*/ 3920014 w 6400800"/>
                <a:gd name="connsiteY4609" fmla="*/ 210979 h 514350"/>
                <a:gd name="connsiteX4610" fmla="*/ 3923824 w 6400800"/>
                <a:gd name="connsiteY4610" fmla="*/ 214789 h 514350"/>
                <a:gd name="connsiteX4611" fmla="*/ 3924776 w 6400800"/>
                <a:gd name="connsiteY4611" fmla="*/ 226219 h 514350"/>
                <a:gd name="connsiteX4612" fmla="*/ 3906679 w 6400800"/>
                <a:gd name="connsiteY4612" fmla="*/ 249079 h 514350"/>
                <a:gd name="connsiteX4613" fmla="*/ 3904774 w 6400800"/>
                <a:gd name="connsiteY4613" fmla="*/ 251936 h 514350"/>
                <a:gd name="connsiteX4614" fmla="*/ 3902869 w 6400800"/>
                <a:gd name="connsiteY4614" fmla="*/ 250984 h 514350"/>
                <a:gd name="connsiteX4615" fmla="*/ 3900964 w 6400800"/>
                <a:gd name="connsiteY4615" fmla="*/ 242411 h 514350"/>
                <a:gd name="connsiteX4616" fmla="*/ 3900964 w 6400800"/>
                <a:gd name="connsiteY4616" fmla="*/ 249079 h 514350"/>
                <a:gd name="connsiteX4617" fmla="*/ 3897154 w 6400800"/>
                <a:gd name="connsiteY4617" fmla="*/ 247174 h 514350"/>
                <a:gd name="connsiteX4618" fmla="*/ 3891439 w 6400800"/>
                <a:gd name="connsiteY4618" fmla="*/ 243364 h 514350"/>
                <a:gd name="connsiteX4619" fmla="*/ 3896201 w 6400800"/>
                <a:gd name="connsiteY4619" fmla="*/ 248126 h 514350"/>
                <a:gd name="connsiteX4620" fmla="*/ 3900964 w 6400800"/>
                <a:gd name="connsiteY4620" fmla="*/ 251936 h 514350"/>
                <a:gd name="connsiteX4621" fmla="*/ 3900964 w 6400800"/>
                <a:gd name="connsiteY4621" fmla="*/ 256699 h 514350"/>
                <a:gd name="connsiteX4622" fmla="*/ 3894296 w 6400800"/>
                <a:gd name="connsiteY4622" fmla="*/ 266224 h 514350"/>
                <a:gd name="connsiteX4623" fmla="*/ 3890486 w 6400800"/>
                <a:gd name="connsiteY4623" fmla="*/ 250984 h 514350"/>
                <a:gd name="connsiteX4624" fmla="*/ 3880009 w 6400800"/>
                <a:gd name="connsiteY4624" fmla="*/ 210026 h 514350"/>
                <a:gd name="connsiteX4625" fmla="*/ 3879056 w 6400800"/>
                <a:gd name="connsiteY4625" fmla="*/ 206216 h 514350"/>
                <a:gd name="connsiteX4626" fmla="*/ 3900964 w 6400800"/>
                <a:gd name="connsiteY4626" fmla="*/ 168116 h 514350"/>
                <a:gd name="connsiteX4627" fmla="*/ 3873341 w 6400800"/>
                <a:gd name="connsiteY4627" fmla="*/ 214789 h 514350"/>
                <a:gd name="connsiteX4628" fmla="*/ 3879056 w 6400800"/>
                <a:gd name="connsiteY4628" fmla="*/ 251936 h 514350"/>
                <a:gd name="connsiteX4629" fmla="*/ 3883819 w 6400800"/>
                <a:gd name="connsiteY4629" fmla="*/ 280511 h 514350"/>
                <a:gd name="connsiteX4630" fmla="*/ 3882866 w 6400800"/>
                <a:gd name="connsiteY4630" fmla="*/ 282416 h 514350"/>
                <a:gd name="connsiteX4631" fmla="*/ 3875246 w 6400800"/>
                <a:gd name="connsiteY4631" fmla="*/ 259556 h 514350"/>
                <a:gd name="connsiteX4632" fmla="*/ 3865721 w 6400800"/>
                <a:gd name="connsiteY4632" fmla="*/ 234791 h 514350"/>
                <a:gd name="connsiteX4633" fmla="*/ 3864769 w 6400800"/>
                <a:gd name="connsiteY4633" fmla="*/ 231934 h 514350"/>
                <a:gd name="connsiteX4634" fmla="*/ 3873341 w 6400800"/>
                <a:gd name="connsiteY4634" fmla="*/ 214789 h 514350"/>
                <a:gd name="connsiteX4635" fmla="*/ 3864769 w 6400800"/>
                <a:gd name="connsiteY4635" fmla="*/ 341471 h 514350"/>
                <a:gd name="connsiteX4636" fmla="*/ 3862864 w 6400800"/>
                <a:gd name="connsiteY4636" fmla="*/ 345281 h 514350"/>
                <a:gd name="connsiteX4637" fmla="*/ 3864769 w 6400800"/>
                <a:gd name="connsiteY4637" fmla="*/ 341471 h 514350"/>
                <a:gd name="connsiteX4638" fmla="*/ 3864769 w 6400800"/>
                <a:gd name="connsiteY4638" fmla="*/ 341471 h 514350"/>
                <a:gd name="connsiteX4639" fmla="*/ 3854291 w 6400800"/>
                <a:gd name="connsiteY4639" fmla="*/ 211931 h 514350"/>
                <a:gd name="connsiteX4640" fmla="*/ 3856196 w 6400800"/>
                <a:gd name="connsiteY4640" fmla="*/ 201454 h 514350"/>
                <a:gd name="connsiteX4641" fmla="*/ 3857149 w 6400800"/>
                <a:gd name="connsiteY4641" fmla="*/ 220504 h 514350"/>
                <a:gd name="connsiteX4642" fmla="*/ 3854291 w 6400800"/>
                <a:gd name="connsiteY4642" fmla="*/ 226219 h 514350"/>
                <a:gd name="connsiteX4643" fmla="*/ 3854291 w 6400800"/>
                <a:gd name="connsiteY4643" fmla="*/ 211931 h 514350"/>
                <a:gd name="connsiteX4644" fmla="*/ 3849529 w 6400800"/>
                <a:gd name="connsiteY4644" fmla="*/ 262414 h 514350"/>
                <a:gd name="connsiteX4645" fmla="*/ 3849529 w 6400800"/>
                <a:gd name="connsiteY4645" fmla="*/ 257651 h 514350"/>
                <a:gd name="connsiteX4646" fmla="*/ 3850481 w 6400800"/>
                <a:gd name="connsiteY4646" fmla="*/ 256699 h 514350"/>
                <a:gd name="connsiteX4647" fmla="*/ 3859054 w 6400800"/>
                <a:gd name="connsiteY4647" fmla="*/ 278606 h 514350"/>
                <a:gd name="connsiteX4648" fmla="*/ 3860006 w 6400800"/>
                <a:gd name="connsiteY4648" fmla="*/ 280511 h 514350"/>
                <a:gd name="connsiteX4649" fmla="*/ 3862864 w 6400800"/>
                <a:gd name="connsiteY4649" fmla="*/ 313849 h 514350"/>
                <a:gd name="connsiteX4650" fmla="*/ 3862864 w 6400800"/>
                <a:gd name="connsiteY4650" fmla="*/ 313849 h 514350"/>
                <a:gd name="connsiteX4651" fmla="*/ 3847624 w 6400800"/>
                <a:gd name="connsiteY4651" fmla="*/ 291941 h 514350"/>
                <a:gd name="connsiteX4652" fmla="*/ 3849529 w 6400800"/>
                <a:gd name="connsiteY4652" fmla="*/ 262414 h 514350"/>
                <a:gd name="connsiteX4653" fmla="*/ 3846671 w 6400800"/>
                <a:gd name="connsiteY4653" fmla="*/ 308134 h 514350"/>
                <a:gd name="connsiteX4654" fmla="*/ 3855244 w 6400800"/>
                <a:gd name="connsiteY4654" fmla="*/ 323374 h 514350"/>
                <a:gd name="connsiteX4655" fmla="*/ 3856196 w 6400800"/>
                <a:gd name="connsiteY4655" fmla="*/ 325279 h 514350"/>
                <a:gd name="connsiteX4656" fmla="*/ 3855244 w 6400800"/>
                <a:gd name="connsiteY4656" fmla="*/ 327184 h 514350"/>
                <a:gd name="connsiteX4657" fmla="*/ 3849529 w 6400800"/>
                <a:gd name="connsiteY4657" fmla="*/ 336709 h 514350"/>
                <a:gd name="connsiteX4658" fmla="*/ 3845719 w 6400800"/>
                <a:gd name="connsiteY4658" fmla="*/ 330041 h 514350"/>
                <a:gd name="connsiteX4659" fmla="*/ 3846671 w 6400800"/>
                <a:gd name="connsiteY4659" fmla="*/ 308134 h 514350"/>
                <a:gd name="connsiteX4660" fmla="*/ 3843814 w 6400800"/>
                <a:gd name="connsiteY4660" fmla="*/ 415766 h 514350"/>
                <a:gd name="connsiteX4661" fmla="*/ 3846671 w 6400800"/>
                <a:gd name="connsiteY4661" fmla="*/ 410051 h 514350"/>
                <a:gd name="connsiteX4662" fmla="*/ 3847624 w 6400800"/>
                <a:gd name="connsiteY4662" fmla="*/ 416719 h 514350"/>
                <a:gd name="connsiteX4663" fmla="*/ 3847624 w 6400800"/>
                <a:gd name="connsiteY4663" fmla="*/ 419576 h 514350"/>
                <a:gd name="connsiteX4664" fmla="*/ 3846671 w 6400800"/>
                <a:gd name="connsiteY4664" fmla="*/ 422434 h 514350"/>
                <a:gd name="connsiteX4665" fmla="*/ 3844766 w 6400800"/>
                <a:gd name="connsiteY4665" fmla="*/ 426244 h 514350"/>
                <a:gd name="connsiteX4666" fmla="*/ 3842861 w 6400800"/>
                <a:gd name="connsiteY4666" fmla="*/ 426244 h 514350"/>
                <a:gd name="connsiteX4667" fmla="*/ 3843814 w 6400800"/>
                <a:gd name="connsiteY4667" fmla="*/ 415766 h 514350"/>
                <a:gd name="connsiteX4668" fmla="*/ 3830479 w 6400800"/>
                <a:gd name="connsiteY4668" fmla="*/ 297656 h 514350"/>
                <a:gd name="connsiteX4669" fmla="*/ 3830479 w 6400800"/>
                <a:gd name="connsiteY4669" fmla="*/ 299561 h 514350"/>
                <a:gd name="connsiteX4670" fmla="*/ 3830479 w 6400800"/>
                <a:gd name="connsiteY4670" fmla="*/ 301466 h 514350"/>
                <a:gd name="connsiteX4671" fmla="*/ 3829526 w 6400800"/>
                <a:gd name="connsiteY4671" fmla="*/ 307181 h 514350"/>
                <a:gd name="connsiteX4672" fmla="*/ 3827621 w 6400800"/>
                <a:gd name="connsiteY4672" fmla="*/ 304324 h 514350"/>
                <a:gd name="connsiteX4673" fmla="*/ 3830479 w 6400800"/>
                <a:gd name="connsiteY4673" fmla="*/ 297656 h 514350"/>
                <a:gd name="connsiteX4674" fmla="*/ 3826669 w 6400800"/>
                <a:gd name="connsiteY4674" fmla="*/ 305276 h 514350"/>
                <a:gd name="connsiteX4675" fmla="*/ 3828574 w 6400800"/>
                <a:gd name="connsiteY4675" fmla="*/ 310039 h 514350"/>
                <a:gd name="connsiteX4676" fmla="*/ 3827621 w 6400800"/>
                <a:gd name="connsiteY4676" fmla="*/ 314801 h 514350"/>
                <a:gd name="connsiteX4677" fmla="*/ 3823811 w 6400800"/>
                <a:gd name="connsiteY4677" fmla="*/ 309086 h 514350"/>
                <a:gd name="connsiteX4678" fmla="*/ 3826669 w 6400800"/>
                <a:gd name="connsiteY4678" fmla="*/ 305276 h 514350"/>
                <a:gd name="connsiteX4679" fmla="*/ 3820001 w 6400800"/>
                <a:gd name="connsiteY4679" fmla="*/ 319564 h 514350"/>
                <a:gd name="connsiteX4680" fmla="*/ 3826669 w 6400800"/>
                <a:gd name="connsiteY4680" fmla="*/ 332899 h 514350"/>
                <a:gd name="connsiteX4681" fmla="*/ 3827621 w 6400800"/>
                <a:gd name="connsiteY4681" fmla="*/ 333851 h 514350"/>
                <a:gd name="connsiteX4682" fmla="*/ 3826669 w 6400800"/>
                <a:gd name="connsiteY4682" fmla="*/ 343376 h 514350"/>
                <a:gd name="connsiteX4683" fmla="*/ 3824764 w 6400800"/>
                <a:gd name="connsiteY4683" fmla="*/ 377666 h 514350"/>
                <a:gd name="connsiteX4684" fmla="*/ 3820954 w 6400800"/>
                <a:gd name="connsiteY4684" fmla="*/ 364331 h 514350"/>
                <a:gd name="connsiteX4685" fmla="*/ 3820001 w 6400800"/>
                <a:gd name="connsiteY4685" fmla="*/ 352901 h 514350"/>
                <a:gd name="connsiteX4686" fmla="*/ 3818096 w 6400800"/>
                <a:gd name="connsiteY4686" fmla="*/ 336709 h 514350"/>
                <a:gd name="connsiteX4687" fmla="*/ 3821906 w 6400800"/>
                <a:gd name="connsiteY4687" fmla="*/ 332899 h 514350"/>
                <a:gd name="connsiteX4688" fmla="*/ 3818096 w 6400800"/>
                <a:gd name="connsiteY4688" fmla="*/ 335756 h 514350"/>
                <a:gd name="connsiteX4689" fmla="*/ 3817144 w 6400800"/>
                <a:gd name="connsiteY4689" fmla="*/ 326231 h 514350"/>
                <a:gd name="connsiteX4690" fmla="*/ 3820001 w 6400800"/>
                <a:gd name="connsiteY4690" fmla="*/ 319564 h 514350"/>
                <a:gd name="connsiteX4691" fmla="*/ 3788569 w 6400800"/>
                <a:gd name="connsiteY4691" fmla="*/ 264319 h 514350"/>
                <a:gd name="connsiteX4692" fmla="*/ 3792379 w 6400800"/>
                <a:gd name="connsiteY4692" fmla="*/ 270986 h 514350"/>
                <a:gd name="connsiteX4693" fmla="*/ 3800951 w 6400800"/>
                <a:gd name="connsiteY4693" fmla="*/ 285274 h 514350"/>
                <a:gd name="connsiteX4694" fmla="*/ 3800951 w 6400800"/>
                <a:gd name="connsiteY4694" fmla="*/ 287179 h 514350"/>
                <a:gd name="connsiteX4695" fmla="*/ 3800951 w 6400800"/>
                <a:gd name="connsiteY4695" fmla="*/ 298609 h 514350"/>
                <a:gd name="connsiteX4696" fmla="*/ 3800951 w 6400800"/>
                <a:gd name="connsiteY4696" fmla="*/ 300514 h 514350"/>
                <a:gd name="connsiteX4697" fmla="*/ 3797141 w 6400800"/>
                <a:gd name="connsiteY4697" fmla="*/ 287179 h 514350"/>
                <a:gd name="connsiteX4698" fmla="*/ 3796189 w 6400800"/>
                <a:gd name="connsiteY4698" fmla="*/ 285274 h 514350"/>
                <a:gd name="connsiteX4699" fmla="*/ 3796189 w 6400800"/>
                <a:gd name="connsiteY4699" fmla="*/ 280511 h 514350"/>
                <a:gd name="connsiteX4700" fmla="*/ 3795236 w 6400800"/>
                <a:gd name="connsiteY4700" fmla="*/ 283369 h 514350"/>
                <a:gd name="connsiteX4701" fmla="*/ 3791426 w 6400800"/>
                <a:gd name="connsiteY4701" fmla="*/ 271939 h 514350"/>
                <a:gd name="connsiteX4702" fmla="*/ 3788569 w 6400800"/>
                <a:gd name="connsiteY4702" fmla="*/ 264319 h 514350"/>
                <a:gd name="connsiteX4703" fmla="*/ 3748564 w 6400800"/>
                <a:gd name="connsiteY4703" fmla="*/ 364331 h 514350"/>
                <a:gd name="connsiteX4704" fmla="*/ 3748564 w 6400800"/>
                <a:gd name="connsiteY4704" fmla="*/ 351949 h 514350"/>
                <a:gd name="connsiteX4705" fmla="*/ 3750469 w 6400800"/>
                <a:gd name="connsiteY4705" fmla="*/ 358616 h 514350"/>
                <a:gd name="connsiteX4706" fmla="*/ 3748564 w 6400800"/>
                <a:gd name="connsiteY4706" fmla="*/ 364331 h 514350"/>
                <a:gd name="connsiteX4707" fmla="*/ 3762851 w 6400800"/>
                <a:gd name="connsiteY4707" fmla="*/ 399574 h 514350"/>
                <a:gd name="connsiteX4708" fmla="*/ 3759994 w 6400800"/>
                <a:gd name="connsiteY4708" fmla="*/ 405289 h 514350"/>
                <a:gd name="connsiteX4709" fmla="*/ 3760946 w 6400800"/>
                <a:gd name="connsiteY4709" fmla="*/ 391954 h 514350"/>
                <a:gd name="connsiteX4710" fmla="*/ 3760946 w 6400800"/>
                <a:gd name="connsiteY4710" fmla="*/ 391001 h 514350"/>
                <a:gd name="connsiteX4711" fmla="*/ 3762851 w 6400800"/>
                <a:gd name="connsiteY4711" fmla="*/ 396716 h 514350"/>
                <a:gd name="connsiteX4712" fmla="*/ 3762851 w 6400800"/>
                <a:gd name="connsiteY4712" fmla="*/ 399574 h 514350"/>
                <a:gd name="connsiteX4713" fmla="*/ 3770471 w 6400800"/>
                <a:gd name="connsiteY4713" fmla="*/ 290036 h 514350"/>
                <a:gd name="connsiteX4714" fmla="*/ 3775234 w 6400800"/>
                <a:gd name="connsiteY4714" fmla="*/ 309086 h 514350"/>
                <a:gd name="connsiteX4715" fmla="*/ 3771424 w 6400800"/>
                <a:gd name="connsiteY4715" fmla="*/ 301466 h 514350"/>
                <a:gd name="connsiteX4716" fmla="*/ 3770471 w 6400800"/>
                <a:gd name="connsiteY4716" fmla="*/ 299561 h 514350"/>
                <a:gd name="connsiteX4717" fmla="*/ 3770471 w 6400800"/>
                <a:gd name="connsiteY4717" fmla="*/ 290989 h 514350"/>
                <a:gd name="connsiteX4718" fmla="*/ 3770471 w 6400800"/>
                <a:gd name="connsiteY4718" fmla="*/ 290036 h 514350"/>
                <a:gd name="connsiteX4719" fmla="*/ 3769519 w 6400800"/>
                <a:gd name="connsiteY4719" fmla="*/ 370046 h 514350"/>
                <a:gd name="connsiteX4720" fmla="*/ 3770471 w 6400800"/>
                <a:gd name="connsiteY4720" fmla="*/ 372904 h 514350"/>
                <a:gd name="connsiteX4721" fmla="*/ 3767614 w 6400800"/>
                <a:gd name="connsiteY4721" fmla="*/ 366236 h 514350"/>
                <a:gd name="connsiteX4722" fmla="*/ 3767614 w 6400800"/>
                <a:gd name="connsiteY4722" fmla="*/ 359569 h 514350"/>
                <a:gd name="connsiteX4723" fmla="*/ 3766661 w 6400800"/>
                <a:gd name="connsiteY4723" fmla="*/ 364331 h 514350"/>
                <a:gd name="connsiteX4724" fmla="*/ 3764756 w 6400800"/>
                <a:gd name="connsiteY4724" fmla="*/ 360521 h 514350"/>
                <a:gd name="connsiteX4725" fmla="*/ 3764756 w 6400800"/>
                <a:gd name="connsiteY4725" fmla="*/ 357664 h 514350"/>
                <a:gd name="connsiteX4726" fmla="*/ 3765709 w 6400800"/>
                <a:gd name="connsiteY4726" fmla="*/ 351949 h 514350"/>
                <a:gd name="connsiteX4727" fmla="*/ 3769519 w 6400800"/>
                <a:gd name="connsiteY4727" fmla="*/ 370046 h 514350"/>
                <a:gd name="connsiteX4728" fmla="*/ 3753326 w 6400800"/>
                <a:gd name="connsiteY4728" fmla="*/ 250031 h 514350"/>
                <a:gd name="connsiteX4729" fmla="*/ 3755231 w 6400800"/>
                <a:gd name="connsiteY4729" fmla="*/ 236696 h 514350"/>
                <a:gd name="connsiteX4730" fmla="*/ 3756184 w 6400800"/>
                <a:gd name="connsiteY4730" fmla="*/ 232886 h 514350"/>
                <a:gd name="connsiteX4731" fmla="*/ 3758089 w 6400800"/>
                <a:gd name="connsiteY4731" fmla="*/ 230029 h 514350"/>
                <a:gd name="connsiteX4732" fmla="*/ 3759994 w 6400800"/>
                <a:gd name="connsiteY4732" fmla="*/ 237649 h 514350"/>
                <a:gd name="connsiteX4733" fmla="*/ 3769519 w 6400800"/>
                <a:gd name="connsiteY4733" fmla="*/ 281464 h 514350"/>
                <a:gd name="connsiteX4734" fmla="*/ 3767614 w 6400800"/>
                <a:gd name="connsiteY4734" fmla="*/ 290036 h 514350"/>
                <a:gd name="connsiteX4735" fmla="*/ 3767614 w 6400800"/>
                <a:gd name="connsiteY4735" fmla="*/ 290989 h 514350"/>
                <a:gd name="connsiteX4736" fmla="*/ 3752374 w 6400800"/>
                <a:gd name="connsiteY4736" fmla="*/ 261461 h 514350"/>
                <a:gd name="connsiteX4737" fmla="*/ 3753326 w 6400800"/>
                <a:gd name="connsiteY4737" fmla="*/ 250031 h 514350"/>
                <a:gd name="connsiteX4738" fmla="*/ 3748564 w 6400800"/>
                <a:gd name="connsiteY4738" fmla="*/ 296704 h 514350"/>
                <a:gd name="connsiteX4739" fmla="*/ 3748564 w 6400800"/>
                <a:gd name="connsiteY4739" fmla="*/ 296704 h 514350"/>
                <a:gd name="connsiteX4740" fmla="*/ 3756184 w 6400800"/>
                <a:gd name="connsiteY4740" fmla="*/ 313849 h 514350"/>
                <a:gd name="connsiteX4741" fmla="*/ 3757136 w 6400800"/>
                <a:gd name="connsiteY4741" fmla="*/ 316706 h 514350"/>
                <a:gd name="connsiteX4742" fmla="*/ 3759041 w 6400800"/>
                <a:gd name="connsiteY4742" fmla="*/ 323374 h 514350"/>
                <a:gd name="connsiteX4743" fmla="*/ 3757136 w 6400800"/>
                <a:gd name="connsiteY4743" fmla="*/ 330041 h 514350"/>
                <a:gd name="connsiteX4744" fmla="*/ 3754279 w 6400800"/>
                <a:gd name="connsiteY4744" fmla="*/ 341471 h 514350"/>
                <a:gd name="connsiteX4745" fmla="*/ 3750469 w 6400800"/>
                <a:gd name="connsiteY4745" fmla="*/ 335756 h 514350"/>
                <a:gd name="connsiteX4746" fmla="*/ 3747611 w 6400800"/>
                <a:gd name="connsiteY4746" fmla="*/ 331946 h 514350"/>
                <a:gd name="connsiteX4747" fmla="*/ 3748564 w 6400800"/>
                <a:gd name="connsiteY4747" fmla="*/ 296704 h 514350"/>
                <a:gd name="connsiteX4748" fmla="*/ 3738086 w 6400800"/>
                <a:gd name="connsiteY4748" fmla="*/ 273844 h 514350"/>
                <a:gd name="connsiteX4749" fmla="*/ 3738086 w 6400800"/>
                <a:gd name="connsiteY4749" fmla="*/ 273844 h 514350"/>
                <a:gd name="connsiteX4750" fmla="*/ 3738086 w 6400800"/>
                <a:gd name="connsiteY4750" fmla="*/ 274796 h 514350"/>
                <a:gd name="connsiteX4751" fmla="*/ 3738086 w 6400800"/>
                <a:gd name="connsiteY4751" fmla="*/ 273844 h 514350"/>
                <a:gd name="connsiteX4752" fmla="*/ 3689509 w 6400800"/>
                <a:gd name="connsiteY4752" fmla="*/ 326231 h 514350"/>
                <a:gd name="connsiteX4753" fmla="*/ 3686651 w 6400800"/>
                <a:gd name="connsiteY4753" fmla="*/ 331946 h 514350"/>
                <a:gd name="connsiteX4754" fmla="*/ 3685699 w 6400800"/>
                <a:gd name="connsiteY4754" fmla="*/ 330994 h 514350"/>
                <a:gd name="connsiteX4755" fmla="*/ 3685699 w 6400800"/>
                <a:gd name="connsiteY4755" fmla="*/ 322421 h 514350"/>
                <a:gd name="connsiteX4756" fmla="*/ 3685699 w 6400800"/>
                <a:gd name="connsiteY4756" fmla="*/ 313849 h 514350"/>
                <a:gd name="connsiteX4757" fmla="*/ 3689509 w 6400800"/>
                <a:gd name="connsiteY4757" fmla="*/ 325279 h 514350"/>
                <a:gd name="connsiteX4758" fmla="*/ 3689509 w 6400800"/>
                <a:gd name="connsiteY4758" fmla="*/ 326231 h 514350"/>
                <a:gd name="connsiteX4759" fmla="*/ 3716179 w 6400800"/>
                <a:gd name="connsiteY4759" fmla="*/ 211931 h 514350"/>
                <a:gd name="connsiteX4760" fmla="*/ 3720941 w 6400800"/>
                <a:gd name="connsiteY4760" fmla="*/ 221456 h 514350"/>
                <a:gd name="connsiteX4761" fmla="*/ 3719036 w 6400800"/>
                <a:gd name="connsiteY4761" fmla="*/ 230029 h 514350"/>
                <a:gd name="connsiteX4762" fmla="*/ 3718084 w 6400800"/>
                <a:gd name="connsiteY4762" fmla="*/ 233839 h 514350"/>
                <a:gd name="connsiteX4763" fmla="*/ 3713321 w 6400800"/>
                <a:gd name="connsiteY4763" fmla="*/ 228124 h 514350"/>
                <a:gd name="connsiteX4764" fmla="*/ 3717131 w 6400800"/>
                <a:gd name="connsiteY4764" fmla="*/ 235744 h 514350"/>
                <a:gd name="connsiteX4765" fmla="*/ 3714274 w 6400800"/>
                <a:gd name="connsiteY4765" fmla="*/ 253841 h 514350"/>
                <a:gd name="connsiteX4766" fmla="*/ 3714274 w 6400800"/>
                <a:gd name="connsiteY4766" fmla="*/ 250984 h 514350"/>
                <a:gd name="connsiteX4767" fmla="*/ 3713321 w 6400800"/>
                <a:gd name="connsiteY4767" fmla="*/ 238601 h 514350"/>
                <a:gd name="connsiteX4768" fmla="*/ 3713321 w 6400800"/>
                <a:gd name="connsiteY4768" fmla="*/ 227171 h 514350"/>
                <a:gd name="connsiteX4769" fmla="*/ 3712369 w 6400800"/>
                <a:gd name="connsiteY4769" fmla="*/ 208121 h 514350"/>
                <a:gd name="connsiteX4770" fmla="*/ 3712369 w 6400800"/>
                <a:gd name="connsiteY4770" fmla="*/ 205264 h 514350"/>
                <a:gd name="connsiteX4771" fmla="*/ 3716179 w 6400800"/>
                <a:gd name="connsiteY4771" fmla="*/ 211931 h 514350"/>
                <a:gd name="connsiteX4772" fmla="*/ 3679984 w 6400800"/>
                <a:gd name="connsiteY4772" fmla="*/ 236696 h 514350"/>
                <a:gd name="connsiteX4773" fmla="*/ 3684746 w 6400800"/>
                <a:gd name="connsiteY4773" fmla="*/ 196691 h 514350"/>
                <a:gd name="connsiteX4774" fmla="*/ 3687604 w 6400800"/>
                <a:gd name="connsiteY4774" fmla="*/ 166211 h 514350"/>
                <a:gd name="connsiteX4775" fmla="*/ 3688556 w 6400800"/>
                <a:gd name="connsiteY4775" fmla="*/ 154781 h 514350"/>
                <a:gd name="connsiteX4776" fmla="*/ 3699034 w 6400800"/>
                <a:gd name="connsiteY4776" fmla="*/ 178594 h 514350"/>
                <a:gd name="connsiteX4777" fmla="*/ 3708559 w 6400800"/>
                <a:gd name="connsiteY4777" fmla="*/ 199549 h 514350"/>
                <a:gd name="connsiteX4778" fmla="*/ 3707606 w 6400800"/>
                <a:gd name="connsiteY4778" fmla="*/ 207169 h 514350"/>
                <a:gd name="connsiteX4779" fmla="*/ 3704749 w 6400800"/>
                <a:gd name="connsiteY4779" fmla="*/ 226219 h 514350"/>
                <a:gd name="connsiteX4780" fmla="*/ 3702844 w 6400800"/>
                <a:gd name="connsiteY4780" fmla="*/ 237649 h 514350"/>
                <a:gd name="connsiteX4781" fmla="*/ 3701891 w 6400800"/>
                <a:gd name="connsiteY4781" fmla="*/ 250984 h 514350"/>
                <a:gd name="connsiteX4782" fmla="*/ 3700939 w 6400800"/>
                <a:gd name="connsiteY4782" fmla="*/ 280511 h 514350"/>
                <a:gd name="connsiteX4783" fmla="*/ 3700939 w 6400800"/>
                <a:gd name="connsiteY4783" fmla="*/ 300514 h 514350"/>
                <a:gd name="connsiteX4784" fmla="*/ 3697129 w 6400800"/>
                <a:gd name="connsiteY4784" fmla="*/ 290036 h 514350"/>
                <a:gd name="connsiteX4785" fmla="*/ 3699034 w 6400800"/>
                <a:gd name="connsiteY4785" fmla="*/ 308134 h 514350"/>
                <a:gd name="connsiteX4786" fmla="*/ 3690461 w 6400800"/>
                <a:gd name="connsiteY4786" fmla="*/ 322421 h 514350"/>
                <a:gd name="connsiteX4787" fmla="*/ 3683794 w 6400800"/>
                <a:gd name="connsiteY4787" fmla="*/ 310991 h 514350"/>
                <a:gd name="connsiteX4788" fmla="*/ 3683794 w 6400800"/>
                <a:gd name="connsiteY4788" fmla="*/ 302419 h 514350"/>
                <a:gd name="connsiteX4789" fmla="*/ 3682841 w 6400800"/>
                <a:gd name="connsiteY4789" fmla="*/ 308134 h 514350"/>
                <a:gd name="connsiteX4790" fmla="*/ 3679031 w 6400800"/>
                <a:gd name="connsiteY4790" fmla="*/ 302419 h 514350"/>
                <a:gd name="connsiteX4791" fmla="*/ 3681889 w 6400800"/>
                <a:gd name="connsiteY4791" fmla="*/ 310991 h 514350"/>
                <a:gd name="connsiteX4792" fmla="*/ 3679984 w 6400800"/>
                <a:gd name="connsiteY4792" fmla="*/ 323374 h 514350"/>
                <a:gd name="connsiteX4793" fmla="*/ 3672364 w 6400800"/>
                <a:gd name="connsiteY4793" fmla="*/ 307181 h 514350"/>
                <a:gd name="connsiteX4794" fmla="*/ 3677126 w 6400800"/>
                <a:gd name="connsiteY4794" fmla="*/ 289084 h 514350"/>
                <a:gd name="connsiteX4795" fmla="*/ 3681889 w 6400800"/>
                <a:gd name="connsiteY4795" fmla="*/ 272891 h 514350"/>
                <a:gd name="connsiteX4796" fmla="*/ 3686651 w 6400800"/>
                <a:gd name="connsiteY4796" fmla="*/ 260509 h 514350"/>
                <a:gd name="connsiteX4797" fmla="*/ 3692366 w 6400800"/>
                <a:gd name="connsiteY4797" fmla="*/ 250031 h 514350"/>
                <a:gd name="connsiteX4798" fmla="*/ 3683794 w 6400800"/>
                <a:gd name="connsiteY4798" fmla="*/ 258604 h 514350"/>
                <a:gd name="connsiteX4799" fmla="*/ 3675221 w 6400800"/>
                <a:gd name="connsiteY4799" fmla="*/ 270034 h 514350"/>
                <a:gd name="connsiteX4800" fmla="*/ 3671411 w 6400800"/>
                <a:gd name="connsiteY4800" fmla="*/ 275749 h 514350"/>
                <a:gd name="connsiteX4801" fmla="*/ 3679984 w 6400800"/>
                <a:gd name="connsiteY4801" fmla="*/ 236696 h 514350"/>
                <a:gd name="connsiteX4802" fmla="*/ 3678079 w 6400800"/>
                <a:gd name="connsiteY4802" fmla="*/ 342424 h 514350"/>
                <a:gd name="connsiteX4803" fmla="*/ 3677126 w 6400800"/>
                <a:gd name="connsiteY4803" fmla="*/ 349091 h 514350"/>
                <a:gd name="connsiteX4804" fmla="*/ 3676174 w 6400800"/>
                <a:gd name="connsiteY4804" fmla="*/ 343376 h 514350"/>
                <a:gd name="connsiteX4805" fmla="*/ 3674269 w 6400800"/>
                <a:gd name="connsiteY4805" fmla="*/ 335756 h 514350"/>
                <a:gd name="connsiteX4806" fmla="*/ 3678079 w 6400800"/>
                <a:gd name="connsiteY4806" fmla="*/ 342424 h 514350"/>
                <a:gd name="connsiteX4807" fmla="*/ 3664744 w 6400800"/>
                <a:gd name="connsiteY4807" fmla="*/ 355759 h 514350"/>
                <a:gd name="connsiteX4808" fmla="*/ 3664744 w 6400800"/>
                <a:gd name="connsiteY4808" fmla="*/ 362426 h 514350"/>
                <a:gd name="connsiteX4809" fmla="*/ 3663791 w 6400800"/>
                <a:gd name="connsiteY4809" fmla="*/ 371951 h 514350"/>
                <a:gd name="connsiteX4810" fmla="*/ 3663791 w 6400800"/>
                <a:gd name="connsiteY4810" fmla="*/ 371951 h 514350"/>
                <a:gd name="connsiteX4811" fmla="*/ 3662839 w 6400800"/>
                <a:gd name="connsiteY4811" fmla="*/ 367189 h 514350"/>
                <a:gd name="connsiteX4812" fmla="*/ 3662839 w 6400800"/>
                <a:gd name="connsiteY4812" fmla="*/ 366236 h 514350"/>
                <a:gd name="connsiteX4813" fmla="*/ 3664744 w 6400800"/>
                <a:gd name="connsiteY4813" fmla="*/ 355759 h 514350"/>
                <a:gd name="connsiteX4814" fmla="*/ 3603784 w 6400800"/>
                <a:gd name="connsiteY4814" fmla="*/ 369094 h 514350"/>
                <a:gd name="connsiteX4815" fmla="*/ 3602831 w 6400800"/>
                <a:gd name="connsiteY4815" fmla="*/ 363379 h 514350"/>
                <a:gd name="connsiteX4816" fmla="*/ 3605689 w 6400800"/>
                <a:gd name="connsiteY4816" fmla="*/ 352901 h 514350"/>
                <a:gd name="connsiteX4817" fmla="*/ 3606641 w 6400800"/>
                <a:gd name="connsiteY4817" fmla="*/ 350044 h 514350"/>
                <a:gd name="connsiteX4818" fmla="*/ 3607594 w 6400800"/>
                <a:gd name="connsiteY4818" fmla="*/ 352901 h 514350"/>
                <a:gd name="connsiteX4819" fmla="*/ 3607594 w 6400800"/>
                <a:gd name="connsiteY4819" fmla="*/ 353854 h 514350"/>
                <a:gd name="connsiteX4820" fmla="*/ 3603784 w 6400800"/>
                <a:gd name="connsiteY4820" fmla="*/ 369094 h 514350"/>
                <a:gd name="connsiteX4821" fmla="*/ 3612356 w 6400800"/>
                <a:gd name="connsiteY4821" fmla="*/ 329089 h 514350"/>
                <a:gd name="connsiteX4822" fmla="*/ 3611404 w 6400800"/>
                <a:gd name="connsiteY4822" fmla="*/ 327184 h 514350"/>
                <a:gd name="connsiteX4823" fmla="*/ 3610451 w 6400800"/>
                <a:gd name="connsiteY4823" fmla="*/ 321469 h 514350"/>
                <a:gd name="connsiteX4824" fmla="*/ 3613309 w 6400800"/>
                <a:gd name="connsiteY4824" fmla="*/ 324326 h 514350"/>
                <a:gd name="connsiteX4825" fmla="*/ 3612356 w 6400800"/>
                <a:gd name="connsiteY4825" fmla="*/ 329089 h 514350"/>
                <a:gd name="connsiteX4826" fmla="*/ 3633311 w 6400800"/>
                <a:gd name="connsiteY4826" fmla="*/ 366236 h 514350"/>
                <a:gd name="connsiteX4827" fmla="*/ 3629501 w 6400800"/>
                <a:gd name="connsiteY4827" fmla="*/ 358616 h 514350"/>
                <a:gd name="connsiteX4828" fmla="*/ 3629501 w 6400800"/>
                <a:gd name="connsiteY4828" fmla="*/ 354806 h 514350"/>
                <a:gd name="connsiteX4829" fmla="*/ 3633311 w 6400800"/>
                <a:gd name="connsiteY4829" fmla="*/ 366236 h 514350"/>
                <a:gd name="connsiteX4830" fmla="*/ 3633311 w 6400800"/>
                <a:gd name="connsiteY4830" fmla="*/ 366236 h 514350"/>
                <a:gd name="connsiteX4831" fmla="*/ 3633311 w 6400800"/>
                <a:gd name="connsiteY4831" fmla="*/ 366236 h 514350"/>
                <a:gd name="connsiteX4832" fmla="*/ 3632359 w 6400800"/>
                <a:gd name="connsiteY4832" fmla="*/ 331946 h 514350"/>
                <a:gd name="connsiteX4833" fmla="*/ 3635216 w 6400800"/>
                <a:gd name="connsiteY4833" fmla="*/ 348139 h 514350"/>
                <a:gd name="connsiteX4834" fmla="*/ 3631406 w 6400800"/>
                <a:gd name="connsiteY4834" fmla="*/ 341471 h 514350"/>
                <a:gd name="connsiteX4835" fmla="*/ 3632359 w 6400800"/>
                <a:gd name="connsiteY4835" fmla="*/ 331946 h 514350"/>
                <a:gd name="connsiteX4836" fmla="*/ 3618071 w 6400800"/>
                <a:gd name="connsiteY4836" fmla="*/ 270034 h 514350"/>
                <a:gd name="connsiteX4837" fmla="*/ 3628549 w 6400800"/>
                <a:gd name="connsiteY4837" fmla="*/ 246221 h 514350"/>
                <a:gd name="connsiteX4838" fmla="*/ 3630454 w 6400800"/>
                <a:gd name="connsiteY4838" fmla="*/ 242411 h 514350"/>
                <a:gd name="connsiteX4839" fmla="*/ 3625691 w 6400800"/>
                <a:gd name="connsiteY4839" fmla="*/ 265271 h 514350"/>
                <a:gd name="connsiteX4840" fmla="*/ 3618071 w 6400800"/>
                <a:gd name="connsiteY4840" fmla="*/ 271939 h 514350"/>
                <a:gd name="connsiteX4841" fmla="*/ 3618071 w 6400800"/>
                <a:gd name="connsiteY4841" fmla="*/ 270034 h 514350"/>
                <a:gd name="connsiteX4842" fmla="*/ 3601879 w 6400800"/>
                <a:gd name="connsiteY4842" fmla="*/ 310039 h 514350"/>
                <a:gd name="connsiteX4843" fmla="*/ 3606641 w 6400800"/>
                <a:gd name="connsiteY4843" fmla="*/ 298609 h 514350"/>
                <a:gd name="connsiteX4844" fmla="*/ 3615214 w 6400800"/>
                <a:gd name="connsiteY4844" fmla="*/ 278606 h 514350"/>
                <a:gd name="connsiteX4845" fmla="*/ 3619976 w 6400800"/>
                <a:gd name="connsiteY4845" fmla="*/ 271939 h 514350"/>
                <a:gd name="connsiteX4846" fmla="*/ 3625691 w 6400800"/>
                <a:gd name="connsiteY4846" fmla="*/ 266224 h 514350"/>
                <a:gd name="connsiteX4847" fmla="*/ 3624739 w 6400800"/>
                <a:gd name="connsiteY4847" fmla="*/ 270986 h 514350"/>
                <a:gd name="connsiteX4848" fmla="*/ 3617119 w 6400800"/>
                <a:gd name="connsiteY4848" fmla="*/ 309086 h 514350"/>
                <a:gd name="connsiteX4849" fmla="*/ 3614261 w 6400800"/>
                <a:gd name="connsiteY4849" fmla="*/ 322421 h 514350"/>
                <a:gd name="connsiteX4850" fmla="*/ 3611404 w 6400800"/>
                <a:gd name="connsiteY4850" fmla="*/ 320516 h 514350"/>
                <a:gd name="connsiteX4851" fmla="*/ 3609499 w 6400800"/>
                <a:gd name="connsiteY4851" fmla="*/ 298609 h 514350"/>
                <a:gd name="connsiteX4852" fmla="*/ 3608546 w 6400800"/>
                <a:gd name="connsiteY4852" fmla="*/ 318611 h 514350"/>
                <a:gd name="connsiteX4853" fmla="*/ 3606641 w 6400800"/>
                <a:gd name="connsiteY4853" fmla="*/ 317659 h 514350"/>
                <a:gd name="connsiteX4854" fmla="*/ 3608546 w 6400800"/>
                <a:gd name="connsiteY4854" fmla="*/ 319564 h 514350"/>
                <a:gd name="connsiteX4855" fmla="*/ 3608546 w 6400800"/>
                <a:gd name="connsiteY4855" fmla="*/ 322421 h 514350"/>
                <a:gd name="connsiteX4856" fmla="*/ 3602831 w 6400800"/>
                <a:gd name="connsiteY4856" fmla="*/ 312896 h 514350"/>
                <a:gd name="connsiteX4857" fmla="*/ 3601879 w 6400800"/>
                <a:gd name="connsiteY4857" fmla="*/ 310039 h 514350"/>
                <a:gd name="connsiteX4858" fmla="*/ 3600926 w 6400800"/>
                <a:gd name="connsiteY4858" fmla="*/ 335756 h 514350"/>
                <a:gd name="connsiteX4859" fmla="*/ 3604736 w 6400800"/>
                <a:gd name="connsiteY4859" fmla="*/ 346234 h 514350"/>
                <a:gd name="connsiteX4860" fmla="*/ 3601879 w 6400800"/>
                <a:gd name="connsiteY4860" fmla="*/ 351949 h 514350"/>
                <a:gd name="connsiteX4861" fmla="*/ 3600926 w 6400800"/>
                <a:gd name="connsiteY4861" fmla="*/ 352901 h 514350"/>
                <a:gd name="connsiteX4862" fmla="*/ 3599974 w 6400800"/>
                <a:gd name="connsiteY4862" fmla="*/ 345281 h 514350"/>
                <a:gd name="connsiteX4863" fmla="*/ 3600926 w 6400800"/>
                <a:gd name="connsiteY4863" fmla="*/ 335756 h 514350"/>
                <a:gd name="connsiteX4864" fmla="*/ 3556159 w 6400800"/>
                <a:gd name="connsiteY4864" fmla="*/ 342424 h 514350"/>
                <a:gd name="connsiteX4865" fmla="*/ 3557111 w 6400800"/>
                <a:gd name="connsiteY4865" fmla="*/ 324326 h 514350"/>
                <a:gd name="connsiteX4866" fmla="*/ 3558064 w 6400800"/>
                <a:gd name="connsiteY4866" fmla="*/ 328136 h 514350"/>
                <a:gd name="connsiteX4867" fmla="*/ 3559016 w 6400800"/>
                <a:gd name="connsiteY4867" fmla="*/ 333851 h 514350"/>
                <a:gd name="connsiteX4868" fmla="*/ 3559016 w 6400800"/>
                <a:gd name="connsiteY4868" fmla="*/ 334804 h 514350"/>
                <a:gd name="connsiteX4869" fmla="*/ 3556159 w 6400800"/>
                <a:gd name="connsiteY4869" fmla="*/ 342424 h 514350"/>
                <a:gd name="connsiteX4870" fmla="*/ 3559969 w 6400800"/>
                <a:gd name="connsiteY4870" fmla="*/ 279559 h 514350"/>
                <a:gd name="connsiteX4871" fmla="*/ 3559016 w 6400800"/>
                <a:gd name="connsiteY4871" fmla="*/ 274796 h 514350"/>
                <a:gd name="connsiteX4872" fmla="*/ 3561874 w 6400800"/>
                <a:gd name="connsiteY4872" fmla="*/ 276701 h 514350"/>
                <a:gd name="connsiteX4873" fmla="*/ 3566636 w 6400800"/>
                <a:gd name="connsiteY4873" fmla="*/ 280511 h 514350"/>
                <a:gd name="connsiteX4874" fmla="*/ 3562826 w 6400800"/>
                <a:gd name="connsiteY4874" fmla="*/ 287179 h 514350"/>
                <a:gd name="connsiteX4875" fmla="*/ 3559969 w 6400800"/>
                <a:gd name="connsiteY4875" fmla="*/ 279559 h 514350"/>
                <a:gd name="connsiteX4876" fmla="*/ 3571399 w 6400800"/>
                <a:gd name="connsiteY4876" fmla="*/ 287179 h 514350"/>
                <a:gd name="connsiteX4877" fmla="*/ 3571399 w 6400800"/>
                <a:gd name="connsiteY4877" fmla="*/ 311944 h 514350"/>
                <a:gd name="connsiteX4878" fmla="*/ 3569494 w 6400800"/>
                <a:gd name="connsiteY4878" fmla="*/ 314801 h 514350"/>
                <a:gd name="connsiteX4879" fmla="*/ 3562826 w 6400800"/>
                <a:gd name="connsiteY4879" fmla="*/ 292894 h 514350"/>
                <a:gd name="connsiteX4880" fmla="*/ 3566636 w 6400800"/>
                <a:gd name="connsiteY4880" fmla="*/ 282416 h 514350"/>
                <a:gd name="connsiteX4881" fmla="*/ 3571399 w 6400800"/>
                <a:gd name="connsiteY4881" fmla="*/ 287179 h 514350"/>
                <a:gd name="connsiteX4882" fmla="*/ 3571399 w 6400800"/>
                <a:gd name="connsiteY4882" fmla="*/ 287179 h 514350"/>
                <a:gd name="connsiteX4883" fmla="*/ 3571399 w 6400800"/>
                <a:gd name="connsiteY4883" fmla="*/ 281464 h 514350"/>
                <a:gd name="connsiteX4884" fmla="*/ 3568541 w 6400800"/>
                <a:gd name="connsiteY4884" fmla="*/ 279559 h 514350"/>
                <a:gd name="connsiteX4885" fmla="*/ 3568541 w 6400800"/>
                <a:gd name="connsiteY4885" fmla="*/ 279559 h 514350"/>
                <a:gd name="connsiteX4886" fmla="*/ 3571399 w 6400800"/>
                <a:gd name="connsiteY4886" fmla="*/ 273844 h 514350"/>
                <a:gd name="connsiteX4887" fmla="*/ 3571399 w 6400800"/>
                <a:gd name="connsiteY4887" fmla="*/ 281464 h 514350"/>
                <a:gd name="connsiteX4888" fmla="*/ 3567589 w 6400800"/>
                <a:gd name="connsiteY4888" fmla="*/ 250031 h 514350"/>
                <a:gd name="connsiteX4889" fmla="*/ 3570446 w 6400800"/>
                <a:gd name="connsiteY4889" fmla="*/ 265271 h 514350"/>
                <a:gd name="connsiteX4890" fmla="*/ 3571399 w 6400800"/>
                <a:gd name="connsiteY4890" fmla="*/ 271939 h 514350"/>
                <a:gd name="connsiteX4891" fmla="*/ 3571399 w 6400800"/>
                <a:gd name="connsiteY4891" fmla="*/ 272891 h 514350"/>
                <a:gd name="connsiteX4892" fmla="*/ 3567589 w 6400800"/>
                <a:gd name="connsiteY4892" fmla="*/ 277654 h 514350"/>
                <a:gd name="connsiteX4893" fmla="*/ 3567589 w 6400800"/>
                <a:gd name="connsiteY4893" fmla="*/ 277654 h 514350"/>
                <a:gd name="connsiteX4894" fmla="*/ 3561874 w 6400800"/>
                <a:gd name="connsiteY4894" fmla="*/ 274796 h 514350"/>
                <a:gd name="connsiteX4895" fmla="*/ 3558064 w 6400800"/>
                <a:gd name="connsiteY4895" fmla="*/ 272891 h 514350"/>
                <a:gd name="connsiteX4896" fmla="*/ 3554254 w 6400800"/>
                <a:gd name="connsiteY4896" fmla="*/ 260509 h 514350"/>
                <a:gd name="connsiteX4897" fmla="*/ 3556159 w 6400800"/>
                <a:gd name="connsiteY4897" fmla="*/ 257651 h 514350"/>
                <a:gd name="connsiteX4898" fmla="*/ 3566636 w 6400800"/>
                <a:gd name="connsiteY4898" fmla="*/ 243364 h 514350"/>
                <a:gd name="connsiteX4899" fmla="*/ 3567589 w 6400800"/>
                <a:gd name="connsiteY4899" fmla="*/ 250031 h 514350"/>
                <a:gd name="connsiteX4900" fmla="*/ 3561874 w 6400800"/>
                <a:gd name="connsiteY4900" fmla="*/ 229076 h 514350"/>
                <a:gd name="connsiteX4901" fmla="*/ 3562826 w 6400800"/>
                <a:gd name="connsiteY4901" fmla="*/ 227171 h 514350"/>
                <a:gd name="connsiteX4902" fmla="*/ 3564731 w 6400800"/>
                <a:gd name="connsiteY4902" fmla="*/ 235744 h 514350"/>
                <a:gd name="connsiteX4903" fmla="*/ 3565684 w 6400800"/>
                <a:gd name="connsiteY4903" fmla="*/ 238601 h 514350"/>
                <a:gd name="connsiteX4904" fmla="*/ 3552349 w 6400800"/>
                <a:gd name="connsiteY4904" fmla="*/ 251936 h 514350"/>
                <a:gd name="connsiteX4905" fmla="*/ 3551396 w 6400800"/>
                <a:gd name="connsiteY4905" fmla="*/ 247174 h 514350"/>
                <a:gd name="connsiteX4906" fmla="*/ 3561874 w 6400800"/>
                <a:gd name="connsiteY4906" fmla="*/ 229076 h 514350"/>
                <a:gd name="connsiteX4907" fmla="*/ 3551396 w 6400800"/>
                <a:gd name="connsiteY4907" fmla="*/ 293846 h 514350"/>
                <a:gd name="connsiteX4908" fmla="*/ 3554254 w 6400800"/>
                <a:gd name="connsiteY4908" fmla="*/ 307181 h 514350"/>
                <a:gd name="connsiteX4909" fmla="*/ 3550444 w 6400800"/>
                <a:gd name="connsiteY4909" fmla="*/ 321469 h 514350"/>
                <a:gd name="connsiteX4910" fmla="*/ 3547586 w 6400800"/>
                <a:gd name="connsiteY4910" fmla="*/ 333851 h 514350"/>
                <a:gd name="connsiteX4911" fmla="*/ 3546634 w 6400800"/>
                <a:gd name="connsiteY4911" fmla="*/ 331946 h 514350"/>
                <a:gd name="connsiteX4912" fmla="*/ 3543776 w 6400800"/>
                <a:gd name="connsiteY4912" fmla="*/ 327184 h 514350"/>
                <a:gd name="connsiteX4913" fmla="*/ 3544729 w 6400800"/>
                <a:gd name="connsiteY4913" fmla="*/ 306229 h 514350"/>
                <a:gd name="connsiteX4914" fmla="*/ 3547586 w 6400800"/>
                <a:gd name="connsiteY4914" fmla="*/ 286226 h 514350"/>
                <a:gd name="connsiteX4915" fmla="*/ 3548539 w 6400800"/>
                <a:gd name="connsiteY4915" fmla="*/ 276701 h 514350"/>
                <a:gd name="connsiteX4916" fmla="*/ 3551396 w 6400800"/>
                <a:gd name="connsiteY4916" fmla="*/ 293846 h 514350"/>
                <a:gd name="connsiteX4917" fmla="*/ 3543776 w 6400800"/>
                <a:gd name="connsiteY4917" fmla="*/ 191929 h 514350"/>
                <a:gd name="connsiteX4918" fmla="*/ 3549491 w 6400800"/>
                <a:gd name="connsiteY4918" fmla="*/ 180499 h 514350"/>
                <a:gd name="connsiteX4919" fmla="*/ 3548539 w 6400800"/>
                <a:gd name="connsiteY4919" fmla="*/ 185261 h 514350"/>
                <a:gd name="connsiteX4920" fmla="*/ 3544729 w 6400800"/>
                <a:gd name="connsiteY4920" fmla="*/ 211931 h 514350"/>
                <a:gd name="connsiteX4921" fmla="*/ 3543776 w 6400800"/>
                <a:gd name="connsiteY4921" fmla="*/ 217646 h 514350"/>
                <a:gd name="connsiteX4922" fmla="*/ 3539014 w 6400800"/>
                <a:gd name="connsiteY4922" fmla="*/ 200501 h 514350"/>
                <a:gd name="connsiteX4923" fmla="*/ 3543776 w 6400800"/>
                <a:gd name="connsiteY4923" fmla="*/ 191929 h 514350"/>
                <a:gd name="connsiteX4924" fmla="*/ 3530441 w 6400800"/>
                <a:gd name="connsiteY4924" fmla="*/ 217646 h 514350"/>
                <a:gd name="connsiteX4925" fmla="*/ 3539014 w 6400800"/>
                <a:gd name="connsiteY4925" fmla="*/ 201454 h 514350"/>
                <a:gd name="connsiteX4926" fmla="*/ 3540919 w 6400800"/>
                <a:gd name="connsiteY4926" fmla="*/ 217646 h 514350"/>
                <a:gd name="connsiteX4927" fmla="*/ 3542824 w 6400800"/>
                <a:gd name="connsiteY4927" fmla="*/ 231934 h 514350"/>
                <a:gd name="connsiteX4928" fmla="*/ 3540919 w 6400800"/>
                <a:gd name="connsiteY4928" fmla="*/ 240506 h 514350"/>
                <a:gd name="connsiteX4929" fmla="*/ 3528536 w 6400800"/>
                <a:gd name="connsiteY4929" fmla="*/ 259556 h 514350"/>
                <a:gd name="connsiteX4930" fmla="*/ 3528536 w 6400800"/>
                <a:gd name="connsiteY4930" fmla="*/ 257651 h 514350"/>
                <a:gd name="connsiteX4931" fmla="*/ 3527584 w 6400800"/>
                <a:gd name="connsiteY4931" fmla="*/ 240506 h 514350"/>
                <a:gd name="connsiteX4932" fmla="*/ 3526631 w 6400800"/>
                <a:gd name="connsiteY4932" fmla="*/ 229076 h 514350"/>
                <a:gd name="connsiteX4933" fmla="*/ 3530441 w 6400800"/>
                <a:gd name="connsiteY4933" fmla="*/ 217646 h 514350"/>
                <a:gd name="connsiteX4934" fmla="*/ 3490436 w 6400800"/>
                <a:gd name="connsiteY4934" fmla="*/ 321469 h 514350"/>
                <a:gd name="connsiteX4935" fmla="*/ 3490436 w 6400800"/>
                <a:gd name="connsiteY4935" fmla="*/ 317659 h 514350"/>
                <a:gd name="connsiteX4936" fmla="*/ 3491389 w 6400800"/>
                <a:gd name="connsiteY4936" fmla="*/ 319564 h 514350"/>
                <a:gd name="connsiteX4937" fmla="*/ 3490436 w 6400800"/>
                <a:gd name="connsiteY4937" fmla="*/ 321469 h 514350"/>
                <a:gd name="connsiteX4938" fmla="*/ 3514249 w 6400800"/>
                <a:gd name="connsiteY4938" fmla="*/ 250984 h 514350"/>
                <a:gd name="connsiteX4939" fmla="*/ 3516154 w 6400800"/>
                <a:gd name="connsiteY4939" fmla="*/ 246221 h 514350"/>
                <a:gd name="connsiteX4940" fmla="*/ 3515201 w 6400800"/>
                <a:gd name="connsiteY4940" fmla="*/ 257651 h 514350"/>
                <a:gd name="connsiteX4941" fmla="*/ 3514249 w 6400800"/>
                <a:gd name="connsiteY4941" fmla="*/ 270986 h 514350"/>
                <a:gd name="connsiteX4942" fmla="*/ 3509486 w 6400800"/>
                <a:gd name="connsiteY4942" fmla="*/ 259556 h 514350"/>
                <a:gd name="connsiteX4943" fmla="*/ 3514249 w 6400800"/>
                <a:gd name="connsiteY4943" fmla="*/ 250984 h 514350"/>
                <a:gd name="connsiteX4944" fmla="*/ 3504724 w 6400800"/>
                <a:gd name="connsiteY4944" fmla="*/ 271939 h 514350"/>
                <a:gd name="connsiteX4945" fmla="*/ 3505676 w 6400800"/>
                <a:gd name="connsiteY4945" fmla="*/ 274796 h 514350"/>
                <a:gd name="connsiteX4946" fmla="*/ 3509486 w 6400800"/>
                <a:gd name="connsiteY4946" fmla="*/ 288131 h 514350"/>
                <a:gd name="connsiteX4947" fmla="*/ 3505676 w 6400800"/>
                <a:gd name="connsiteY4947" fmla="*/ 293846 h 514350"/>
                <a:gd name="connsiteX4948" fmla="*/ 3504724 w 6400800"/>
                <a:gd name="connsiteY4948" fmla="*/ 282416 h 514350"/>
                <a:gd name="connsiteX4949" fmla="*/ 3504724 w 6400800"/>
                <a:gd name="connsiteY4949" fmla="*/ 271939 h 514350"/>
                <a:gd name="connsiteX4950" fmla="*/ 3504724 w 6400800"/>
                <a:gd name="connsiteY4950" fmla="*/ 271939 h 514350"/>
                <a:gd name="connsiteX4951" fmla="*/ 3501866 w 6400800"/>
                <a:gd name="connsiteY4951" fmla="*/ 398621 h 514350"/>
                <a:gd name="connsiteX4952" fmla="*/ 3495199 w 6400800"/>
                <a:gd name="connsiteY4952" fmla="*/ 371951 h 514350"/>
                <a:gd name="connsiteX4953" fmla="*/ 3494246 w 6400800"/>
                <a:gd name="connsiteY4953" fmla="*/ 369094 h 514350"/>
                <a:gd name="connsiteX4954" fmla="*/ 3499961 w 6400800"/>
                <a:gd name="connsiteY4954" fmla="*/ 357664 h 514350"/>
                <a:gd name="connsiteX4955" fmla="*/ 3501866 w 6400800"/>
                <a:gd name="connsiteY4955" fmla="*/ 398621 h 514350"/>
                <a:gd name="connsiteX4956" fmla="*/ 3496151 w 6400800"/>
                <a:gd name="connsiteY4956" fmla="*/ 290036 h 514350"/>
                <a:gd name="connsiteX4957" fmla="*/ 3499009 w 6400800"/>
                <a:gd name="connsiteY4957" fmla="*/ 284321 h 514350"/>
                <a:gd name="connsiteX4958" fmla="*/ 3499009 w 6400800"/>
                <a:gd name="connsiteY4958" fmla="*/ 295751 h 514350"/>
                <a:gd name="connsiteX4959" fmla="*/ 3496151 w 6400800"/>
                <a:gd name="connsiteY4959" fmla="*/ 290036 h 514350"/>
                <a:gd name="connsiteX4960" fmla="*/ 3496151 w 6400800"/>
                <a:gd name="connsiteY4960" fmla="*/ 252889 h 514350"/>
                <a:gd name="connsiteX4961" fmla="*/ 3496151 w 6400800"/>
                <a:gd name="connsiteY4961" fmla="*/ 247174 h 514350"/>
                <a:gd name="connsiteX4962" fmla="*/ 3499009 w 6400800"/>
                <a:gd name="connsiteY4962" fmla="*/ 254794 h 514350"/>
                <a:gd name="connsiteX4963" fmla="*/ 3495199 w 6400800"/>
                <a:gd name="connsiteY4963" fmla="*/ 261461 h 514350"/>
                <a:gd name="connsiteX4964" fmla="*/ 3496151 w 6400800"/>
                <a:gd name="connsiteY4964" fmla="*/ 252889 h 514350"/>
                <a:gd name="connsiteX4965" fmla="*/ 3481864 w 6400800"/>
                <a:gd name="connsiteY4965" fmla="*/ 205264 h 514350"/>
                <a:gd name="connsiteX4966" fmla="*/ 3491389 w 6400800"/>
                <a:gd name="connsiteY4966" fmla="*/ 230029 h 514350"/>
                <a:gd name="connsiteX4967" fmla="*/ 3495199 w 6400800"/>
                <a:gd name="connsiteY4967" fmla="*/ 243364 h 514350"/>
                <a:gd name="connsiteX4968" fmla="*/ 3492341 w 6400800"/>
                <a:gd name="connsiteY4968" fmla="*/ 251936 h 514350"/>
                <a:gd name="connsiteX4969" fmla="*/ 3487579 w 6400800"/>
                <a:gd name="connsiteY4969" fmla="*/ 268129 h 514350"/>
                <a:gd name="connsiteX4970" fmla="*/ 3486626 w 6400800"/>
                <a:gd name="connsiteY4970" fmla="*/ 270034 h 514350"/>
                <a:gd name="connsiteX4971" fmla="*/ 3479959 w 6400800"/>
                <a:gd name="connsiteY4971" fmla="*/ 255746 h 514350"/>
                <a:gd name="connsiteX4972" fmla="*/ 3479959 w 6400800"/>
                <a:gd name="connsiteY4972" fmla="*/ 228124 h 514350"/>
                <a:gd name="connsiteX4973" fmla="*/ 3479959 w 6400800"/>
                <a:gd name="connsiteY4973" fmla="*/ 213836 h 514350"/>
                <a:gd name="connsiteX4974" fmla="*/ 3481864 w 6400800"/>
                <a:gd name="connsiteY4974" fmla="*/ 205264 h 514350"/>
                <a:gd name="connsiteX4975" fmla="*/ 3473291 w 6400800"/>
                <a:gd name="connsiteY4975" fmla="*/ 241459 h 514350"/>
                <a:gd name="connsiteX4976" fmla="*/ 3475196 w 6400800"/>
                <a:gd name="connsiteY4976" fmla="*/ 234791 h 514350"/>
                <a:gd name="connsiteX4977" fmla="*/ 3473291 w 6400800"/>
                <a:gd name="connsiteY4977" fmla="*/ 241459 h 514350"/>
                <a:gd name="connsiteX4978" fmla="*/ 3473291 w 6400800"/>
                <a:gd name="connsiteY4978" fmla="*/ 241459 h 514350"/>
                <a:gd name="connsiteX4979" fmla="*/ 3473291 w 6400800"/>
                <a:gd name="connsiteY4979" fmla="*/ 241459 h 514350"/>
                <a:gd name="connsiteX4980" fmla="*/ 3468529 w 6400800"/>
                <a:gd name="connsiteY4980" fmla="*/ 260509 h 514350"/>
                <a:gd name="connsiteX4981" fmla="*/ 3469481 w 6400800"/>
                <a:gd name="connsiteY4981" fmla="*/ 263366 h 514350"/>
                <a:gd name="connsiteX4982" fmla="*/ 3468529 w 6400800"/>
                <a:gd name="connsiteY4982" fmla="*/ 270986 h 514350"/>
                <a:gd name="connsiteX4983" fmla="*/ 3465671 w 6400800"/>
                <a:gd name="connsiteY4983" fmla="*/ 300514 h 514350"/>
                <a:gd name="connsiteX4984" fmla="*/ 3464719 w 6400800"/>
                <a:gd name="connsiteY4984" fmla="*/ 318611 h 514350"/>
                <a:gd name="connsiteX4985" fmla="*/ 3463766 w 6400800"/>
                <a:gd name="connsiteY4985" fmla="*/ 321469 h 514350"/>
                <a:gd name="connsiteX4986" fmla="*/ 3459956 w 6400800"/>
                <a:gd name="connsiteY4986" fmla="*/ 307181 h 514350"/>
                <a:gd name="connsiteX4987" fmla="*/ 3459956 w 6400800"/>
                <a:gd name="connsiteY4987" fmla="*/ 306229 h 514350"/>
                <a:gd name="connsiteX4988" fmla="*/ 3460909 w 6400800"/>
                <a:gd name="connsiteY4988" fmla="*/ 300514 h 514350"/>
                <a:gd name="connsiteX4989" fmla="*/ 3468529 w 6400800"/>
                <a:gd name="connsiteY4989" fmla="*/ 260509 h 514350"/>
                <a:gd name="connsiteX4990" fmla="*/ 3451384 w 6400800"/>
                <a:gd name="connsiteY4990" fmla="*/ 237649 h 514350"/>
                <a:gd name="connsiteX4991" fmla="*/ 3451384 w 6400800"/>
                <a:gd name="connsiteY4991" fmla="*/ 221456 h 514350"/>
                <a:gd name="connsiteX4992" fmla="*/ 3451384 w 6400800"/>
                <a:gd name="connsiteY4992" fmla="*/ 222409 h 514350"/>
                <a:gd name="connsiteX4993" fmla="*/ 3458051 w 6400800"/>
                <a:gd name="connsiteY4993" fmla="*/ 237649 h 514350"/>
                <a:gd name="connsiteX4994" fmla="*/ 3458051 w 6400800"/>
                <a:gd name="connsiteY4994" fmla="*/ 238601 h 514350"/>
                <a:gd name="connsiteX4995" fmla="*/ 3450431 w 6400800"/>
                <a:gd name="connsiteY4995" fmla="*/ 267176 h 514350"/>
                <a:gd name="connsiteX4996" fmla="*/ 3450431 w 6400800"/>
                <a:gd name="connsiteY4996" fmla="*/ 267176 h 514350"/>
                <a:gd name="connsiteX4997" fmla="*/ 3451384 w 6400800"/>
                <a:gd name="connsiteY4997" fmla="*/ 237649 h 514350"/>
                <a:gd name="connsiteX4998" fmla="*/ 3405664 w 6400800"/>
                <a:gd name="connsiteY4998" fmla="*/ 273844 h 514350"/>
                <a:gd name="connsiteX4999" fmla="*/ 3406616 w 6400800"/>
                <a:gd name="connsiteY4999" fmla="*/ 258604 h 514350"/>
                <a:gd name="connsiteX5000" fmla="*/ 3406616 w 6400800"/>
                <a:gd name="connsiteY5000" fmla="*/ 245269 h 514350"/>
                <a:gd name="connsiteX5001" fmla="*/ 3409474 w 6400800"/>
                <a:gd name="connsiteY5001" fmla="*/ 259556 h 514350"/>
                <a:gd name="connsiteX5002" fmla="*/ 3405664 w 6400800"/>
                <a:gd name="connsiteY5002" fmla="*/ 273844 h 514350"/>
                <a:gd name="connsiteX5003" fmla="*/ 3416141 w 6400800"/>
                <a:gd name="connsiteY5003" fmla="*/ 335756 h 514350"/>
                <a:gd name="connsiteX5004" fmla="*/ 3416141 w 6400800"/>
                <a:gd name="connsiteY5004" fmla="*/ 353854 h 514350"/>
                <a:gd name="connsiteX5005" fmla="*/ 3415189 w 6400800"/>
                <a:gd name="connsiteY5005" fmla="*/ 348139 h 514350"/>
                <a:gd name="connsiteX5006" fmla="*/ 3413284 w 6400800"/>
                <a:gd name="connsiteY5006" fmla="*/ 328136 h 514350"/>
                <a:gd name="connsiteX5007" fmla="*/ 3413284 w 6400800"/>
                <a:gd name="connsiteY5007" fmla="*/ 328136 h 514350"/>
                <a:gd name="connsiteX5008" fmla="*/ 3417094 w 6400800"/>
                <a:gd name="connsiteY5008" fmla="*/ 320516 h 514350"/>
                <a:gd name="connsiteX5009" fmla="*/ 3416141 w 6400800"/>
                <a:gd name="connsiteY5009" fmla="*/ 335756 h 514350"/>
                <a:gd name="connsiteX5010" fmla="*/ 3421856 w 6400800"/>
                <a:gd name="connsiteY5010" fmla="*/ 320516 h 514350"/>
                <a:gd name="connsiteX5011" fmla="*/ 3419951 w 6400800"/>
                <a:gd name="connsiteY5011" fmla="*/ 332899 h 514350"/>
                <a:gd name="connsiteX5012" fmla="*/ 3418046 w 6400800"/>
                <a:gd name="connsiteY5012" fmla="*/ 316706 h 514350"/>
                <a:gd name="connsiteX5013" fmla="*/ 3420904 w 6400800"/>
                <a:gd name="connsiteY5013" fmla="*/ 310991 h 514350"/>
                <a:gd name="connsiteX5014" fmla="*/ 3421856 w 6400800"/>
                <a:gd name="connsiteY5014" fmla="*/ 308134 h 514350"/>
                <a:gd name="connsiteX5015" fmla="*/ 3422809 w 6400800"/>
                <a:gd name="connsiteY5015" fmla="*/ 312896 h 514350"/>
                <a:gd name="connsiteX5016" fmla="*/ 3421856 w 6400800"/>
                <a:gd name="connsiteY5016" fmla="*/ 320516 h 514350"/>
                <a:gd name="connsiteX5017" fmla="*/ 3410426 w 6400800"/>
                <a:gd name="connsiteY5017" fmla="*/ 139541 h 514350"/>
                <a:gd name="connsiteX5018" fmla="*/ 3421856 w 6400800"/>
                <a:gd name="connsiteY5018" fmla="*/ 161449 h 514350"/>
                <a:gd name="connsiteX5019" fmla="*/ 3433286 w 6400800"/>
                <a:gd name="connsiteY5019" fmla="*/ 181451 h 514350"/>
                <a:gd name="connsiteX5020" fmla="*/ 3428524 w 6400800"/>
                <a:gd name="connsiteY5020" fmla="*/ 198596 h 514350"/>
                <a:gd name="connsiteX5021" fmla="*/ 3425666 w 6400800"/>
                <a:gd name="connsiteY5021" fmla="*/ 210026 h 514350"/>
                <a:gd name="connsiteX5022" fmla="*/ 3422809 w 6400800"/>
                <a:gd name="connsiteY5022" fmla="*/ 195739 h 514350"/>
                <a:gd name="connsiteX5023" fmla="*/ 3415189 w 6400800"/>
                <a:gd name="connsiteY5023" fmla="*/ 163354 h 514350"/>
                <a:gd name="connsiteX5024" fmla="*/ 3410426 w 6400800"/>
                <a:gd name="connsiteY5024" fmla="*/ 143351 h 514350"/>
                <a:gd name="connsiteX5025" fmla="*/ 3410426 w 6400800"/>
                <a:gd name="connsiteY5025" fmla="*/ 139541 h 514350"/>
                <a:gd name="connsiteX5026" fmla="*/ 3408521 w 6400800"/>
                <a:gd name="connsiteY5026" fmla="*/ 136684 h 514350"/>
                <a:gd name="connsiteX5027" fmla="*/ 3408521 w 6400800"/>
                <a:gd name="connsiteY5027" fmla="*/ 136684 h 514350"/>
                <a:gd name="connsiteX5028" fmla="*/ 3408521 w 6400800"/>
                <a:gd name="connsiteY5028" fmla="*/ 136684 h 514350"/>
                <a:gd name="connsiteX5029" fmla="*/ 3408521 w 6400800"/>
                <a:gd name="connsiteY5029" fmla="*/ 136684 h 514350"/>
                <a:gd name="connsiteX5030" fmla="*/ 3395186 w 6400800"/>
                <a:gd name="connsiteY5030" fmla="*/ 266224 h 514350"/>
                <a:gd name="connsiteX5031" fmla="*/ 3396139 w 6400800"/>
                <a:gd name="connsiteY5031" fmla="*/ 227171 h 514350"/>
                <a:gd name="connsiteX5032" fmla="*/ 3396139 w 6400800"/>
                <a:gd name="connsiteY5032" fmla="*/ 212884 h 514350"/>
                <a:gd name="connsiteX5033" fmla="*/ 3398996 w 6400800"/>
                <a:gd name="connsiteY5033" fmla="*/ 204311 h 514350"/>
                <a:gd name="connsiteX5034" fmla="*/ 3396139 w 6400800"/>
                <a:gd name="connsiteY5034" fmla="*/ 210026 h 514350"/>
                <a:gd name="connsiteX5035" fmla="*/ 3396139 w 6400800"/>
                <a:gd name="connsiteY5035" fmla="*/ 202406 h 514350"/>
                <a:gd name="connsiteX5036" fmla="*/ 3398044 w 6400800"/>
                <a:gd name="connsiteY5036" fmla="*/ 194786 h 514350"/>
                <a:gd name="connsiteX5037" fmla="*/ 3408521 w 6400800"/>
                <a:gd name="connsiteY5037" fmla="*/ 145256 h 514350"/>
                <a:gd name="connsiteX5038" fmla="*/ 3410426 w 6400800"/>
                <a:gd name="connsiteY5038" fmla="*/ 162401 h 514350"/>
                <a:gd name="connsiteX5039" fmla="*/ 3414236 w 6400800"/>
                <a:gd name="connsiteY5039" fmla="*/ 195739 h 514350"/>
                <a:gd name="connsiteX5040" fmla="*/ 3417094 w 6400800"/>
                <a:gd name="connsiteY5040" fmla="*/ 215741 h 514350"/>
                <a:gd name="connsiteX5041" fmla="*/ 3419951 w 6400800"/>
                <a:gd name="connsiteY5041" fmla="*/ 229076 h 514350"/>
                <a:gd name="connsiteX5042" fmla="*/ 3418046 w 6400800"/>
                <a:gd name="connsiteY5042" fmla="*/ 233839 h 514350"/>
                <a:gd name="connsiteX5043" fmla="*/ 3411379 w 6400800"/>
                <a:gd name="connsiteY5043" fmla="*/ 253841 h 514350"/>
                <a:gd name="connsiteX5044" fmla="*/ 3407569 w 6400800"/>
                <a:gd name="connsiteY5044" fmla="*/ 244316 h 514350"/>
                <a:gd name="connsiteX5045" fmla="*/ 3407569 w 6400800"/>
                <a:gd name="connsiteY5045" fmla="*/ 239554 h 514350"/>
                <a:gd name="connsiteX5046" fmla="*/ 3407569 w 6400800"/>
                <a:gd name="connsiteY5046" fmla="*/ 224314 h 514350"/>
                <a:gd name="connsiteX5047" fmla="*/ 3403759 w 6400800"/>
                <a:gd name="connsiteY5047" fmla="*/ 239554 h 514350"/>
                <a:gd name="connsiteX5048" fmla="*/ 3399949 w 6400800"/>
                <a:gd name="connsiteY5048" fmla="*/ 256699 h 514350"/>
                <a:gd name="connsiteX5049" fmla="*/ 3395186 w 6400800"/>
                <a:gd name="connsiteY5049" fmla="*/ 275749 h 514350"/>
                <a:gd name="connsiteX5050" fmla="*/ 3395186 w 6400800"/>
                <a:gd name="connsiteY5050" fmla="*/ 266224 h 514350"/>
                <a:gd name="connsiteX5051" fmla="*/ 3363754 w 6400800"/>
                <a:gd name="connsiteY5051" fmla="*/ 252889 h 514350"/>
                <a:gd name="connsiteX5052" fmla="*/ 3365659 w 6400800"/>
                <a:gd name="connsiteY5052" fmla="*/ 264319 h 514350"/>
                <a:gd name="connsiteX5053" fmla="*/ 3363754 w 6400800"/>
                <a:gd name="connsiteY5053" fmla="*/ 269081 h 514350"/>
                <a:gd name="connsiteX5054" fmla="*/ 3363754 w 6400800"/>
                <a:gd name="connsiteY5054" fmla="*/ 252889 h 514350"/>
                <a:gd name="connsiteX5055" fmla="*/ 3321844 w 6400800"/>
                <a:gd name="connsiteY5055" fmla="*/ 351949 h 514350"/>
                <a:gd name="connsiteX5056" fmla="*/ 3322796 w 6400800"/>
                <a:gd name="connsiteY5056" fmla="*/ 342424 h 514350"/>
                <a:gd name="connsiteX5057" fmla="*/ 3323749 w 6400800"/>
                <a:gd name="connsiteY5057" fmla="*/ 347186 h 514350"/>
                <a:gd name="connsiteX5058" fmla="*/ 3321844 w 6400800"/>
                <a:gd name="connsiteY5058" fmla="*/ 351949 h 514350"/>
                <a:gd name="connsiteX5059" fmla="*/ 3340894 w 6400800"/>
                <a:gd name="connsiteY5059" fmla="*/ 273844 h 514350"/>
                <a:gd name="connsiteX5060" fmla="*/ 3347561 w 6400800"/>
                <a:gd name="connsiteY5060" fmla="*/ 298609 h 514350"/>
                <a:gd name="connsiteX5061" fmla="*/ 3344704 w 6400800"/>
                <a:gd name="connsiteY5061" fmla="*/ 304324 h 514350"/>
                <a:gd name="connsiteX5062" fmla="*/ 3338989 w 6400800"/>
                <a:gd name="connsiteY5062" fmla="*/ 290989 h 514350"/>
                <a:gd name="connsiteX5063" fmla="*/ 3335179 w 6400800"/>
                <a:gd name="connsiteY5063" fmla="*/ 251936 h 514350"/>
                <a:gd name="connsiteX5064" fmla="*/ 3340894 w 6400800"/>
                <a:gd name="connsiteY5064" fmla="*/ 273844 h 514350"/>
                <a:gd name="connsiteX5065" fmla="*/ 3330416 w 6400800"/>
                <a:gd name="connsiteY5065" fmla="*/ 376714 h 514350"/>
                <a:gd name="connsiteX5066" fmla="*/ 3331369 w 6400800"/>
                <a:gd name="connsiteY5066" fmla="*/ 379571 h 514350"/>
                <a:gd name="connsiteX5067" fmla="*/ 3329464 w 6400800"/>
                <a:gd name="connsiteY5067" fmla="*/ 384334 h 514350"/>
                <a:gd name="connsiteX5068" fmla="*/ 3328511 w 6400800"/>
                <a:gd name="connsiteY5068" fmla="*/ 381476 h 514350"/>
                <a:gd name="connsiteX5069" fmla="*/ 3330416 w 6400800"/>
                <a:gd name="connsiteY5069" fmla="*/ 376714 h 514350"/>
                <a:gd name="connsiteX5070" fmla="*/ 3329464 w 6400800"/>
                <a:gd name="connsiteY5070" fmla="*/ 202406 h 514350"/>
                <a:gd name="connsiteX5071" fmla="*/ 3329464 w 6400800"/>
                <a:gd name="connsiteY5071" fmla="*/ 207169 h 514350"/>
                <a:gd name="connsiteX5072" fmla="*/ 3328511 w 6400800"/>
                <a:gd name="connsiteY5072" fmla="*/ 205264 h 514350"/>
                <a:gd name="connsiteX5073" fmla="*/ 3329464 w 6400800"/>
                <a:gd name="connsiteY5073" fmla="*/ 202406 h 514350"/>
                <a:gd name="connsiteX5074" fmla="*/ 3326606 w 6400800"/>
                <a:gd name="connsiteY5074" fmla="*/ 302419 h 514350"/>
                <a:gd name="connsiteX5075" fmla="*/ 3329464 w 6400800"/>
                <a:gd name="connsiteY5075" fmla="*/ 310039 h 514350"/>
                <a:gd name="connsiteX5076" fmla="*/ 3329464 w 6400800"/>
                <a:gd name="connsiteY5076" fmla="*/ 311944 h 514350"/>
                <a:gd name="connsiteX5077" fmla="*/ 3326606 w 6400800"/>
                <a:gd name="connsiteY5077" fmla="*/ 306229 h 514350"/>
                <a:gd name="connsiteX5078" fmla="*/ 3326606 w 6400800"/>
                <a:gd name="connsiteY5078" fmla="*/ 302419 h 514350"/>
                <a:gd name="connsiteX5079" fmla="*/ 3323749 w 6400800"/>
                <a:gd name="connsiteY5079" fmla="*/ 227171 h 514350"/>
                <a:gd name="connsiteX5080" fmla="*/ 3325654 w 6400800"/>
                <a:gd name="connsiteY5080" fmla="*/ 219551 h 514350"/>
                <a:gd name="connsiteX5081" fmla="*/ 3325654 w 6400800"/>
                <a:gd name="connsiteY5081" fmla="*/ 221456 h 514350"/>
                <a:gd name="connsiteX5082" fmla="*/ 3318034 w 6400800"/>
                <a:gd name="connsiteY5082" fmla="*/ 256699 h 514350"/>
                <a:gd name="connsiteX5083" fmla="*/ 3317081 w 6400800"/>
                <a:gd name="connsiteY5083" fmla="*/ 255746 h 514350"/>
                <a:gd name="connsiteX5084" fmla="*/ 3323749 w 6400800"/>
                <a:gd name="connsiteY5084" fmla="*/ 227171 h 514350"/>
                <a:gd name="connsiteX5085" fmla="*/ 3315176 w 6400800"/>
                <a:gd name="connsiteY5085" fmla="*/ 269081 h 514350"/>
                <a:gd name="connsiteX5086" fmla="*/ 3316129 w 6400800"/>
                <a:gd name="connsiteY5086" fmla="*/ 270986 h 514350"/>
                <a:gd name="connsiteX5087" fmla="*/ 3314224 w 6400800"/>
                <a:gd name="connsiteY5087" fmla="*/ 282416 h 514350"/>
                <a:gd name="connsiteX5088" fmla="*/ 3313271 w 6400800"/>
                <a:gd name="connsiteY5088" fmla="*/ 280511 h 514350"/>
                <a:gd name="connsiteX5089" fmla="*/ 3315176 w 6400800"/>
                <a:gd name="connsiteY5089" fmla="*/ 269081 h 514350"/>
                <a:gd name="connsiteX5090" fmla="*/ 3305651 w 6400800"/>
                <a:gd name="connsiteY5090" fmla="*/ 310991 h 514350"/>
                <a:gd name="connsiteX5091" fmla="*/ 3308509 w 6400800"/>
                <a:gd name="connsiteY5091" fmla="*/ 298609 h 514350"/>
                <a:gd name="connsiteX5092" fmla="*/ 3310414 w 6400800"/>
                <a:gd name="connsiteY5092" fmla="*/ 302419 h 514350"/>
                <a:gd name="connsiteX5093" fmla="*/ 3307556 w 6400800"/>
                <a:gd name="connsiteY5093" fmla="*/ 320516 h 514350"/>
                <a:gd name="connsiteX5094" fmla="*/ 3304699 w 6400800"/>
                <a:gd name="connsiteY5094" fmla="*/ 313849 h 514350"/>
                <a:gd name="connsiteX5095" fmla="*/ 3305651 w 6400800"/>
                <a:gd name="connsiteY5095" fmla="*/ 310991 h 514350"/>
                <a:gd name="connsiteX5096" fmla="*/ 3302794 w 6400800"/>
                <a:gd name="connsiteY5096" fmla="*/ 327184 h 514350"/>
                <a:gd name="connsiteX5097" fmla="*/ 3304699 w 6400800"/>
                <a:gd name="connsiteY5097" fmla="*/ 335756 h 514350"/>
                <a:gd name="connsiteX5098" fmla="*/ 3300889 w 6400800"/>
                <a:gd name="connsiteY5098" fmla="*/ 349091 h 514350"/>
                <a:gd name="connsiteX5099" fmla="*/ 3298984 w 6400800"/>
                <a:gd name="connsiteY5099" fmla="*/ 355759 h 514350"/>
                <a:gd name="connsiteX5100" fmla="*/ 3297079 w 6400800"/>
                <a:gd name="connsiteY5100" fmla="*/ 351949 h 514350"/>
                <a:gd name="connsiteX5101" fmla="*/ 3302794 w 6400800"/>
                <a:gd name="connsiteY5101" fmla="*/ 327184 h 514350"/>
                <a:gd name="connsiteX5102" fmla="*/ 3279934 w 6400800"/>
                <a:gd name="connsiteY5102" fmla="*/ 297656 h 514350"/>
                <a:gd name="connsiteX5103" fmla="*/ 3280886 w 6400800"/>
                <a:gd name="connsiteY5103" fmla="*/ 289084 h 514350"/>
                <a:gd name="connsiteX5104" fmla="*/ 3283744 w 6400800"/>
                <a:gd name="connsiteY5104" fmla="*/ 263366 h 514350"/>
                <a:gd name="connsiteX5105" fmla="*/ 3284696 w 6400800"/>
                <a:gd name="connsiteY5105" fmla="*/ 252889 h 514350"/>
                <a:gd name="connsiteX5106" fmla="*/ 3293269 w 6400800"/>
                <a:gd name="connsiteY5106" fmla="*/ 270034 h 514350"/>
                <a:gd name="connsiteX5107" fmla="*/ 3291364 w 6400800"/>
                <a:gd name="connsiteY5107" fmla="*/ 277654 h 514350"/>
                <a:gd name="connsiteX5108" fmla="*/ 3290411 w 6400800"/>
                <a:gd name="connsiteY5108" fmla="*/ 283369 h 514350"/>
                <a:gd name="connsiteX5109" fmla="*/ 3289459 w 6400800"/>
                <a:gd name="connsiteY5109" fmla="*/ 264319 h 514350"/>
                <a:gd name="connsiteX5110" fmla="*/ 3281839 w 6400800"/>
                <a:gd name="connsiteY5110" fmla="*/ 317659 h 514350"/>
                <a:gd name="connsiteX5111" fmla="*/ 3280886 w 6400800"/>
                <a:gd name="connsiteY5111" fmla="*/ 317659 h 514350"/>
                <a:gd name="connsiteX5112" fmla="*/ 3280886 w 6400800"/>
                <a:gd name="connsiteY5112" fmla="*/ 316706 h 514350"/>
                <a:gd name="connsiteX5113" fmla="*/ 3279934 w 6400800"/>
                <a:gd name="connsiteY5113" fmla="*/ 315754 h 514350"/>
                <a:gd name="connsiteX5114" fmla="*/ 3278981 w 6400800"/>
                <a:gd name="connsiteY5114" fmla="*/ 313849 h 514350"/>
                <a:gd name="connsiteX5115" fmla="*/ 3279934 w 6400800"/>
                <a:gd name="connsiteY5115" fmla="*/ 297656 h 514350"/>
                <a:gd name="connsiteX5116" fmla="*/ 3263741 w 6400800"/>
                <a:gd name="connsiteY5116" fmla="*/ 295751 h 514350"/>
                <a:gd name="connsiteX5117" fmla="*/ 3263741 w 6400800"/>
                <a:gd name="connsiteY5117" fmla="*/ 293846 h 514350"/>
                <a:gd name="connsiteX5118" fmla="*/ 3263741 w 6400800"/>
                <a:gd name="connsiteY5118" fmla="*/ 295751 h 514350"/>
                <a:gd name="connsiteX5119" fmla="*/ 3264694 w 6400800"/>
                <a:gd name="connsiteY5119" fmla="*/ 296704 h 514350"/>
                <a:gd name="connsiteX5120" fmla="*/ 3262789 w 6400800"/>
                <a:gd name="connsiteY5120" fmla="*/ 306229 h 514350"/>
                <a:gd name="connsiteX5121" fmla="*/ 3263741 w 6400800"/>
                <a:gd name="connsiteY5121" fmla="*/ 295751 h 514350"/>
                <a:gd name="connsiteX5122" fmla="*/ 3232309 w 6400800"/>
                <a:gd name="connsiteY5122" fmla="*/ 381476 h 514350"/>
                <a:gd name="connsiteX5123" fmla="*/ 3232309 w 6400800"/>
                <a:gd name="connsiteY5123" fmla="*/ 357664 h 514350"/>
                <a:gd name="connsiteX5124" fmla="*/ 3232309 w 6400800"/>
                <a:gd name="connsiteY5124" fmla="*/ 358616 h 514350"/>
                <a:gd name="connsiteX5125" fmla="*/ 3233261 w 6400800"/>
                <a:gd name="connsiteY5125" fmla="*/ 360521 h 514350"/>
                <a:gd name="connsiteX5126" fmla="*/ 3232309 w 6400800"/>
                <a:gd name="connsiteY5126" fmla="*/ 381476 h 514350"/>
                <a:gd name="connsiteX5127" fmla="*/ 3239929 w 6400800"/>
                <a:gd name="connsiteY5127" fmla="*/ 327184 h 514350"/>
                <a:gd name="connsiteX5128" fmla="*/ 3241834 w 6400800"/>
                <a:gd name="connsiteY5128" fmla="*/ 339566 h 514350"/>
                <a:gd name="connsiteX5129" fmla="*/ 3239929 w 6400800"/>
                <a:gd name="connsiteY5129" fmla="*/ 333851 h 514350"/>
                <a:gd name="connsiteX5130" fmla="*/ 3239929 w 6400800"/>
                <a:gd name="connsiteY5130" fmla="*/ 329089 h 514350"/>
                <a:gd name="connsiteX5131" fmla="*/ 3239929 w 6400800"/>
                <a:gd name="connsiteY5131" fmla="*/ 327184 h 514350"/>
                <a:gd name="connsiteX5132" fmla="*/ 3234214 w 6400800"/>
                <a:gd name="connsiteY5132" fmla="*/ 318611 h 514350"/>
                <a:gd name="connsiteX5133" fmla="*/ 3237071 w 6400800"/>
                <a:gd name="connsiteY5133" fmla="*/ 310039 h 514350"/>
                <a:gd name="connsiteX5134" fmla="*/ 3238024 w 6400800"/>
                <a:gd name="connsiteY5134" fmla="*/ 314801 h 514350"/>
                <a:gd name="connsiteX5135" fmla="*/ 3238024 w 6400800"/>
                <a:gd name="connsiteY5135" fmla="*/ 316706 h 514350"/>
                <a:gd name="connsiteX5136" fmla="*/ 3237071 w 6400800"/>
                <a:gd name="connsiteY5136" fmla="*/ 317659 h 514350"/>
                <a:gd name="connsiteX5137" fmla="*/ 3237071 w 6400800"/>
                <a:gd name="connsiteY5137" fmla="*/ 311944 h 514350"/>
                <a:gd name="connsiteX5138" fmla="*/ 3236119 w 6400800"/>
                <a:gd name="connsiteY5138" fmla="*/ 319564 h 514350"/>
                <a:gd name="connsiteX5139" fmla="*/ 3234214 w 6400800"/>
                <a:gd name="connsiteY5139" fmla="*/ 322421 h 514350"/>
                <a:gd name="connsiteX5140" fmla="*/ 3233261 w 6400800"/>
                <a:gd name="connsiteY5140" fmla="*/ 319564 h 514350"/>
                <a:gd name="connsiteX5141" fmla="*/ 3234214 w 6400800"/>
                <a:gd name="connsiteY5141" fmla="*/ 318611 h 514350"/>
                <a:gd name="connsiteX5142" fmla="*/ 3233261 w 6400800"/>
                <a:gd name="connsiteY5142" fmla="*/ 286226 h 514350"/>
                <a:gd name="connsiteX5143" fmla="*/ 3233261 w 6400800"/>
                <a:gd name="connsiteY5143" fmla="*/ 288131 h 514350"/>
                <a:gd name="connsiteX5144" fmla="*/ 3232309 w 6400800"/>
                <a:gd name="connsiteY5144" fmla="*/ 290036 h 514350"/>
                <a:gd name="connsiteX5145" fmla="*/ 3232309 w 6400800"/>
                <a:gd name="connsiteY5145" fmla="*/ 282416 h 514350"/>
                <a:gd name="connsiteX5146" fmla="*/ 3233261 w 6400800"/>
                <a:gd name="connsiteY5146" fmla="*/ 286226 h 514350"/>
                <a:gd name="connsiteX5147" fmla="*/ 3222784 w 6400800"/>
                <a:gd name="connsiteY5147" fmla="*/ 285274 h 514350"/>
                <a:gd name="connsiteX5148" fmla="*/ 3223736 w 6400800"/>
                <a:gd name="connsiteY5148" fmla="*/ 273844 h 514350"/>
                <a:gd name="connsiteX5149" fmla="*/ 3224689 w 6400800"/>
                <a:gd name="connsiteY5149" fmla="*/ 270034 h 514350"/>
                <a:gd name="connsiteX5150" fmla="*/ 3224689 w 6400800"/>
                <a:gd name="connsiteY5150" fmla="*/ 270986 h 514350"/>
                <a:gd name="connsiteX5151" fmla="*/ 3227546 w 6400800"/>
                <a:gd name="connsiteY5151" fmla="*/ 253841 h 514350"/>
                <a:gd name="connsiteX5152" fmla="*/ 3227546 w 6400800"/>
                <a:gd name="connsiteY5152" fmla="*/ 253841 h 514350"/>
                <a:gd name="connsiteX5153" fmla="*/ 3223736 w 6400800"/>
                <a:gd name="connsiteY5153" fmla="*/ 292894 h 514350"/>
                <a:gd name="connsiteX5154" fmla="*/ 3222784 w 6400800"/>
                <a:gd name="connsiteY5154" fmla="*/ 291941 h 514350"/>
                <a:gd name="connsiteX5155" fmla="*/ 3222784 w 6400800"/>
                <a:gd name="connsiteY5155" fmla="*/ 290989 h 514350"/>
                <a:gd name="connsiteX5156" fmla="*/ 3222784 w 6400800"/>
                <a:gd name="connsiteY5156" fmla="*/ 285274 h 514350"/>
                <a:gd name="connsiteX5157" fmla="*/ 3217069 w 6400800"/>
                <a:gd name="connsiteY5157" fmla="*/ 207169 h 514350"/>
                <a:gd name="connsiteX5158" fmla="*/ 3219926 w 6400800"/>
                <a:gd name="connsiteY5158" fmla="*/ 219551 h 514350"/>
                <a:gd name="connsiteX5159" fmla="*/ 3215164 w 6400800"/>
                <a:gd name="connsiteY5159" fmla="*/ 238601 h 514350"/>
                <a:gd name="connsiteX5160" fmla="*/ 3217069 w 6400800"/>
                <a:gd name="connsiteY5160" fmla="*/ 207169 h 514350"/>
                <a:gd name="connsiteX5161" fmla="*/ 3191351 w 6400800"/>
                <a:gd name="connsiteY5161" fmla="*/ 249079 h 514350"/>
                <a:gd name="connsiteX5162" fmla="*/ 3192304 w 6400800"/>
                <a:gd name="connsiteY5162" fmla="*/ 232886 h 514350"/>
                <a:gd name="connsiteX5163" fmla="*/ 3194209 w 6400800"/>
                <a:gd name="connsiteY5163" fmla="*/ 238601 h 514350"/>
                <a:gd name="connsiteX5164" fmla="*/ 3191351 w 6400800"/>
                <a:gd name="connsiteY5164" fmla="*/ 265271 h 514350"/>
                <a:gd name="connsiteX5165" fmla="*/ 3191351 w 6400800"/>
                <a:gd name="connsiteY5165" fmla="*/ 249079 h 514350"/>
                <a:gd name="connsiteX5166" fmla="*/ 3155156 w 6400800"/>
                <a:gd name="connsiteY5166" fmla="*/ 313849 h 514350"/>
                <a:gd name="connsiteX5167" fmla="*/ 3156109 w 6400800"/>
                <a:gd name="connsiteY5167" fmla="*/ 320516 h 514350"/>
                <a:gd name="connsiteX5168" fmla="*/ 3158014 w 6400800"/>
                <a:gd name="connsiteY5168" fmla="*/ 334804 h 514350"/>
                <a:gd name="connsiteX5169" fmla="*/ 3154204 w 6400800"/>
                <a:gd name="connsiteY5169" fmla="*/ 354806 h 514350"/>
                <a:gd name="connsiteX5170" fmla="*/ 3152299 w 6400800"/>
                <a:gd name="connsiteY5170" fmla="*/ 351949 h 514350"/>
                <a:gd name="connsiteX5171" fmla="*/ 3152299 w 6400800"/>
                <a:gd name="connsiteY5171" fmla="*/ 350044 h 514350"/>
                <a:gd name="connsiteX5172" fmla="*/ 3151346 w 6400800"/>
                <a:gd name="connsiteY5172" fmla="*/ 345281 h 514350"/>
                <a:gd name="connsiteX5173" fmla="*/ 3151346 w 6400800"/>
                <a:gd name="connsiteY5173" fmla="*/ 344329 h 514350"/>
                <a:gd name="connsiteX5174" fmla="*/ 3151346 w 6400800"/>
                <a:gd name="connsiteY5174" fmla="*/ 338614 h 514350"/>
                <a:gd name="connsiteX5175" fmla="*/ 3155156 w 6400800"/>
                <a:gd name="connsiteY5175" fmla="*/ 313849 h 514350"/>
                <a:gd name="connsiteX5176" fmla="*/ 3139916 w 6400800"/>
                <a:gd name="connsiteY5176" fmla="*/ 213836 h 514350"/>
                <a:gd name="connsiteX5177" fmla="*/ 3143726 w 6400800"/>
                <a:gd name="connsiteY5177" fmla="*/ 235744 h 514350"/>
                <a:gd name="connsiteX5178" fmla="*/ 3148489 w 6400800"/>
                <a:gd name="connsiteY5178" fmla="*/ 267176 h 514350"/>
                <a:gd name="connsiteX5179" fmla="*/ 3143726 w 6400800"/>
                <a:gd name="connsiteY5179" fmla="*/ 284321 h 514350"/>
                <a:gd name="connsiteX5180" fmla="*/ 3137059 w 6400800"/>
                <a:gd name="connsiteY5180" fmla="*/ 216694 h 514350"/>
                <a:gd name="connsiteX5181" fmla="*/ 3139916 w 6400800"/>
                <a:gd name="connsiteY5181" fmla="*/ 213836 h 514350"/>
                <a:gd name="connsiteX5182" fmla="*/ 3130391 w 6400800"/>
                <a:gd name="connsiteY5182" fmla="*/ 337661 h 514350"/>
                <a:gd name="connsiteX5183" fmla="*/ 3130391 w 6400800"/>
                <a:gd name="connsiteY5183" fmla="*/ 335756 h 514350"/>
                <a:gd name="connsiteX5184" fmla="*/ 3130391 w 6400800"/>
                <a:gd name="connsiteY5184" fmla="*/ 335756 h 514350"/>
                <a:gd name="connsiteX5185" fmla="*/ 3130391 w 6400800"/>
                <a:gd name="connsiteY5185" fmla="*/ 337661 h 514350"/>
                <a:gd name="connsiteX5186" fmla="*/ 3130391 w 6400800"/>
                <a:gd name="connsiteY5186" fmla="*/ 328136 h 514350"/>
                <a:gd name="connsiteX5187" fmla="*/ 3130391 w 6400800"/>
                <a:gd name="connsiteY5187" fmla="*/ 328136 h 514350"/>
                <a:gd name="connsiteX5188" fmla="*/ 3130391 w 6400800"/>
                <a:gd name="connsiteY5188" fmla="*/ 328136 h 514350"/>
                <a:gd name="connsiteX5189" fmla="*/ 3130391 w 6400800"/>
                <a:gd name="connsiteY5189" fmla="*/ 328136 h 514350"/>
                <a:gd name="connsiteX5190" fmla="*/ 3133249 w 6400800"/>
                <a:gd name="connsiteY5190" fmla="*/ 276701 h 514350"/>
                <a:gd name="connsiteX5191" fmla="*/ 3133249 w 6400800"/>
                <a:gd name="connsiteY5191" fmla="*/ 276701 h 514350"/>
                <a:gd name="connsiteX5192" fmla="*/ 3128486 w 6400800"/>
                <a:gd name="connsiteY5192" fmla="*/ 259556 h 514350"/>
                <a:gd name="connsiteX5193" fmla="*/ 3127534 w 6400800"/>
                <a:gd name="connsiteY5193" fmla="*/ 246221 h 514350"/>
                <a:gd name="connsiteX5194" fmla="*/ 3135154 w 6400800"/>
                <a:gd name="connsiteY5194" fmla="*/ 223361 h 514350"/>
                <a:gd name="connsiteX5195" fmla="*/ 3133249 w 6400800"/>
                <a:gd name="connsiteY5195" fmla="*/ 276701 h 514350"/>
                <a:gd name="connsiteX5196" fmla="*/ 3130391 w 6400800"/>
                <a:gd name="connsiteY5196" fmla="*/ 229076 h 514350"/>
                <a:gd name="connsiteX5197" fmla="*/ 3136106 w 6400800"/>
                <a:gd name="connsiteY5197" fmla="*/ 219551 h 514350"/>
                <a:gd name="connsiteX5198" fmla="*/ 3136106 w 6400800"/>
                <a:gd name="connsiteY5198" fmla="*/ 221456 h 514350"/>
                <a:gd name="connsiteX5199" fmla="*/ 3127534 w 6400800"/>
                <a:gd name="connsiteY5199" fmla="*/ 236696 h 514350"/>
                <a:gd name="connsiteX5200" fmla="*/ 3127534 w 6400800"/>
                <a:gd name="connsiteY5200" fmla="*/ 234791 h 514350"/>
                <a:gd name="connsiteX5201" fmla="*/ 3130391 w 6400800"/>
                <a:gd name="connsiteY5201" fmla="*/ 229076 h 514350"/>
                <a:gd name="connsiteX5202" fmla="*/ 3114199 w 6400800"/>
                <a:gd name="connsiteY5202" fmla="*/ 290036 h 514350"/>
                <a:gd name="connsiteX5203" fmla="*/ 3113246 w 6400800"/>
                <a:gd name="connsiteY5203" fmla="*/ 287179 h 514350"/>
                <a:gd name="connsiteX5204" fmla="*/ 3113246 w 6400800"/>
                <a:gd name="connsiteY5204" fmla="*/ 286226 h 514350"/>
                <a:gd name="connsiteX5205" fmla="*/ 3115151 w 6400800"/>
                <a:gd name="connsiteY5205" fmla="*/ 281464 h 514350"/>
                <a:gd name="connsiteX5206" fmla="*/ 3114199 w 6400800"/>
                <a:gd name="connsiteY5206" fmla="*/ 290036 h 514350"/>
                <a:gd name="connsiteX5207" fmla="*/ 3115151 w 6400800"/>
                <a:gd name="connsiteY5207" fmla="*/ 257651 h 514350"/>
                <a:gd name="connsiteX5208" fmla="*/ 3116104 w 6400800"/>
                <a:gd name="connsiteY5208" fmla="*/ 255746 h 514350"/>
                <a:gd name="connsiteX5209" fmla="*/ 3115151 w 6400800"/>
                <a:gd name="connsiteY5209" fmla="*/ 257651 h 514350"/>
                <a:gd name="connsiteX5210" fmla="*/ 3109436 w 6400800"/>
                <a:gd name="connsiteY5210" fmla="*/ 270034 h 514350"/>
                <a:gd name="connsiteX5211" fmla="*/ 3115151 w 6400800"/>
                <a:gd name="connsiteY5211" fmla="*/ 257651 h 514350"/>
                <a:gd name="connsiteX5212" fmla="*/ 3110389 w 6400800"/>
                <a:gd name="connsiteY5212" fmla="*/ 292894 h 514350"/>
                <a:gd name="connsiteX5213" fmla="*/ 3113246 w 6400800"/>
                <a:gd name="connsiteY5213" fmla="*/ 309086 h 514350"/>
                <a:gd name="connsiteX5214" fmla="*/ 3114199 w 6400800"/>
                <a:gd name="connsiteY5214" fmla="*/ 311944 h 514350"/>
                <a:gd name="connsiteX5215" fmla="*/ 3114199 w 6400800"/>
                <a:gd name="connsiteY5215" fmla="*/ 321469 h 514350"/>
                <a:gd name="connsiteX5216" fmla="*/ 3114199 w 6400800"/>
                <a:gd name="connsiteY5216" fmla="*/ 319564 h 514350"/>
                <a:gd name="connsiteX5217" fmla="*/ 3110389 w 6400800"/>
                <a:gd name="connsiteY5217" fmla="*/ 309086 h 514350"/>
                <a:gd name="connsiteX5218" fmla="*/ 3109436 w 6400800"/>
                <a:gd name="connsiteY5218" fmla="*/ 300514 h 514350"/>
                <a:gd name="connsiteX5219" fmla="*/ 3109436 w 6400800"/>
                <a:gd name="connsiteY5219" fmla="*/ 299561 h 514350"/>
                <a:gd name="connsiteX5220" fmla="*/ 3110389 w 6400800"/>
                <a:gd name="connsiteY5220" fmla="*/ 292894 h 514350"/>
                <a:gd name="connsiteX5221" fmla="*/ 3098006 w 6400800"/>
                <a:gd name="connsiteY5221" fmla="*/ 350996 h 514350"/>
                <a:gd name="connsiteX5222" fmla="*/ 3098006 w 6400800"/>
                <a:gd name="connsiteY5222" fmla="*/ 350996 h 514350"/>
                <a:gd name="connsiteX5223" fmla="*/ 3098006 w 6400800"/>
                <a:gd name="connsiteY5223" fmla="*/ 353854 h 514350"/>
                <a:gd name="connsiteX5224" fmla="*/ 3097054 w 6400800"/>
                <a:gd name="connsiteY5224" fmla="*/ 354806 h 514350"/>
                <a:gd name="connsiteX5225" fmla="*/ 3098006 w 6400800"/>
                <a:gd name="connsiteY5225" fmla="*/ 350996 h 514350"/>
                <a:gd name="connsiteX5226" fmla="*/ 3093244 w 6400800"/>
                <a:gd name="connsiteY5226" fmla="*/ 377666 h 514350"/>
                <a:gd name="connsiteX5227" fmla="*/ 3097054 w 6400800"/>
                <a:gd name="connsiteY5227" fmla="*/ 370046 h 514350"/>
                <a:gd name="connsiteX5228" fmla="*/ 3094196 w 6400800"/>
                <a:gd name="connsiteY5228" fmla="*/ 373856 h 514350"/>
                <a:gd name="connsiteX5229" fmla="*/ 3097054 w 6400800"/>
                <a:gd name="connsiteY5229" fmla="*/ 355759 h 514350"/>
                <a:gd name="connsiteX5230" fmla="*/ 3098006 w 6400800"/>
                <a:gd name="connsiteY5230" fmla="*/ 353854 h 514350"/>
                <a:gd name="connsiteX5231" fmla="*/ 3098006 w 6400800"/>
                <a:gd name="connsiteY5231" fmla="*/ 371951 h 514350"/>
                <a:gd name="connsiteX5232" fmla="*/ 3098006 w 6400800"/>
                <a:gd name="connsiteY5232" fmla="*/ 383381 h 514350"/>
                <a:gd name="connsiteX5233" fmla="*/ 3095149 w 6400800"/>
                <a:gd name="connsiteY5233" fmla="*/ 383381 h 514350"/>
                <a:gd name="connsiteX5234" fmla="*/ 3095149 w 6400800"/>
                <a:gd name="connsiteY5234" fmla="*/ 383381 h 514350"/>
                <a:gd name="connsiteX5235" fmla="*/ 3093244 w 6400800"/>
                <a:gd name="connsiteY5235" fmla="*/ 378619 h 514350"/>
                <a:gd name="connsiteX5236" fmla="*/ 3093244 w 6400800"/>
                <a:gd name="connsiteY5236" fmla="*/ 377666 h 514350"/>
                <a:gd name="connsiteX5237" fmla="*/ 3084671 w 6400800"/>
                <a:gd name="connsiteY5237" fmla="*/ 293846 h 514350"/>
                <a:gd name="connsiteX5238" fmla="*/ 3085624 w 6400800"/>
                <a:gd name="connsiteY5238" fmla="*/ 276701 h 514350"/>
                <a:gd name="connsiteX5239" fmla="*/ 3085624 w 6400800"/>
                <a:gd name="connsiteY5239" fmla="*/ 278606 h 514350"/>
                <a:gd name="connsiteX5240" fmla="*/ 3088481 w 6400800"/>
                <a:gd name="connsiteY5240" fmla="*/ 289084 h 514350"/>
                <a:gd name="connsiteX5241" fmla="*/ 3086576 w 6400800"/>
                <a:gd name="connsiteY5241" fmla="*/ 291941 h 514350"/>
                <a:gd name="connsiteX5242" fmla="*/ 3084671 w 6400800"/>
                <a:gd name="connsiteY5242" fmla="*/ 296704 h 514350"/>
                <a:gd name="connsiteX5243" fmla="*/ 3084671 w 6400800"/>
                <a:gd name="connsiteY5243" fmla="*/ 293846 h 514350"/>
                <a:gd name="connsiteX5244" fmla="*/ 3086576 w 6400800"/>
                <a:gd name="connsiteY5244" fmla="*/ 348139 h 514350"/>
                <a:gd name="connsiteX5245" fmla="*/ 3086576 w 6400800"/>
                <a:gd name="connsiteY5245" fmla="*/ 350044 h 514350"/>
                <a:gd name="connsiteX5246" fmla="*/ 3083719 w 6400800"/>
                <a:gd name="connsiteY5246" fmla="*/ 361474 h 514350"/>
                <a:gd name="connsiteX5247" fmla="*/ 3083719 w 6400800"/>
                <a:gd name="connsiteY5247" fmla="*/ 357664 h 514350"/>
                <a:gd name="connsiteX5248" fmla="*/ 3086576 w 6400800"/>
                <a:gd name="connsiteY5248" fmla="*/ 348139 h 514350"/>
                <a:gd name="connsiteX5249" fmla="*/ 3057049 w 6400800"/>
                <a:gd name="connsiteY5249" fmla="*/ 235744 h 514350"/>
                <a:gd name="connsiteX5250" fmla="*/ 3059906 w 6400800"/>
                <a:gd name="connsiteY5250" fmla="*/ 210979 h 514350"/>
                <a:gd name="connsiteX5251" fmla="*/ 3062764 w 6400800"/>
                <a:gd name="connsiteY5251" fmla="*/ 191929 h 514350"/>
                <a:gd name="connsiteX5252" fmla="*/ 3067526 w 6400800"/>
                <a:gd name="connsiteY5252" fmla="*/ 209074 h 514350"/>
                <a:gd name="connsiteX5253" fmla="*/ 3066574 w 6400800"/>
                <a:gd name="connsiteY5253" fmla="*/ 222409 h 514350"/>
                <a:gd name="connsiteX5254" fmla="*/ 3063716 w 6400800"/>
                <a:gd name="connsiteY5254" fmla="*/ 253841 h 514350"/>
                <a:gd name="connsiteX5255" fmla="*/ 3059906 w 6400800"/>
                <a:gd name="connsiteY5255" fmla="*/ 268129 h 514350"/>
                <a:gd name="connsiteX5256" fmla="*/ 3057049 w 6400800"/>
                <a:gd name="connsiteY5256" fmla="*/ 252889 h 514350"/>
                <a:gd name="connsiteX5257" fmla="*/ 3056096 w 6400800"/>
                <a:gd name="connsiteY5257" fmla="*/ 248126 h 514350"/>
                <a:gd name="connsiteX5258" fmla="*/ 3057049 w 6400800"/>
                <a:gd name="connsiteY5258" fmla="*/ 235744 h 514350"/>
                <a:gd name="connsiteX5259" fmla="*/ 3002756 w 6400800"/>
                <a:gd name="connsiteY5259" fmla="*/ 307181 h 514350"/>
                <a:gd name="connsiteX5260" fmla="*/ 3001804 w 6400800"/>
                <a:gd name="connsiteY5260" fmla="*/ 310039 h 514350"/>
                <a:gd name="connsiteX5261" fmla="*/ 3002756 w 6400800"/>
                <a:gd name="connsiteY5261" fmla="*/ 305276 h 514350"/>
                <a:gd name="connsiteX5262" fmla="*/ 3006566 w 6400800"/>
                <a:gd name="connsiteY5262" fmla="*/ 286226 h 514350"/>
                <a:gd name="connsiteX5263" fmla="*/ 3008471 w 6400800"/>
                <a:gd name="connsiteY5263" fmla="*/ 290036 h 514350"/>
                <a:gd name="connsiteX5264" fmla="*/ 3002756 w 6400800"/>
                <a:gd name="connsiteY5264" fmla="*/ 307181 h 514350"/>
                <a:gd name="connsiteX5265" fmla="*/ 3036094 w 6400800"/>
                <a:gd name="connsiteY5265" fmla="*/ 249079 h 514350"/>
                <a:gd name="connsiteX5266" fmla="*/ 3036094 w 6400800"/>
                <a:gd name="connsiteY5266" fmla="*/ 266224 h 514350"/>
                <a:gd name="connsiteX5267" fmla="*/ 3033236 w 6400800"/>
                <a:gd name="connsiteY5267" fmla="*/ 258604 h 514350"/>
                <a:gd name="connsiteX5268" fmla="*/ 3036094 w 6400800"/>
                <a:gd name="connsiteY5268" fmla="*/ 249079 h 514350"/>
                <a:gd name="connsiteX5269" fmla="*/ 3030379 w 6400800"/>
                <a:gd name="connsiteY5269" fmla="*/ 269081 h 514350"/>
                <a:gd name="connsiteX5270" fmla="*/ 3030379 w 6400800"/>
                <a:gd name="connsiteY5270" fmla="*/ 269081 h 514350"/>
                <a:gd name="connsiteX5271" fmla="*/ 3030379 w 6400800"/>
                <a:gd name="connsiteY5271" fmla="*/ 269081 h 514350"/>
                <a:gd name="connsiteX5272" fmla="*/ 3030379 w 6400800"/>
                <a:gd name="connsiteY5272" fmla="*/ 269081 h 514350"/>
                <a:gd name="connsiteX5273" fmla="*/ 3027521 w 6400800"/>
                <a:gd name="connsiteY5273" fmla="*/ 353854 h 514350"/>
                <a:gd name="connsiteX5274" fmla="*/ 3023711 w 6400800"/>
                <a:gd name="connsiteY5274" fmla="*/ 364331 h 514350"/>
                <a:gd name="connsiteX5275" fmla="*/ 3017996 w 6400800"/>
                <a:gd name="connsiteY5275" fmla="*/ 383381 h 514350"/>
                <a:gd name="connsiteX5276" fmla="*/ 3017044 w 6400800"/>
                <a:gd name="connsiteY5276" fmla="*/ 385286 h 514350"/>
                <a:gd name="connsiteX5277" fmla="*/ 3015139 w 6400800"/>
                <a:gd name="connsiteY5277" fmla="*/ 376714 h 514350"/>
                <a:gd name="connsiteX5278" fmla="*/ 3020854 w 6400800"/>
                <a:gd name="connsiteY5278" fmla="*/ 366236 h 514350"/>
                <a:gd name="connsiteX5279" fmla="*/ 3028474 w 6400800"/>
                <a:gd name="connsiteY5279" fmla="*/ 352901 h 514350"/>
                <a:gd name="connsiteX5280" fmla="*/ 3027521 w 6400800"/>
                <a:gd name="connsiteY5280" fmla="*/ 353854 h 514350"/>
                <a:gd name="connsiteX5281" fmla="*/ 3021806 w 6400800"/>
                <a:gd name="connsiteY5281" fmla="*/ 230029 h 514350"/>
                <a:gd name="connsiteX5282" fmla="*/ 3024664 w 6400800"/>
                <a:gd name="connsiteY5282" fmla="*/ 241459 h 514350"/>
                <a:gd name="connsiteX5283" fmla="*/ 3024664 w 6400800"/>
                <a:gd name="connsiteY5283" fmla="*/ 241459 h 514350"/>
                <a:gd name="connsiteX5284" fmla="*/ 3021806 w 6400800"/>
                <a:gd name="connsiteY5284" fmla="*/ 230029 h 514350"/>
                <a:gd name="connsiteX5285" fmla="*/ 3021806 w 6400800"/>
                <a:gd name="connsiteY5285" fmla="*/ 230029 h 514350"/>
                <a:gd name="connsiteX5286" fmla="*/ 3020854 w 6400800"/>
                <a:gd name="connsiteY5286" fmla="*/ 305276 h 514350"/>
                <a:gd name="connsiteX5287" fmla="*/ 3020854 w 6400800"/>
                <a:gd name="connsiteY5287" fmla="*/ 305276 h 514350"/>
                <a:gd name="connsiteX5288" fmla="*/ 3020854 w 6400800"/>
                <a:gd name="connsiteY5288" fmla="*/ 305276 h 514350"/>
                <a:gd name="connsiteX5289" fmla="*/ 3020854 w 6400800"/>
                <a:gd name="connsiteY5289" fmla="*/ 305276 h 514350"/>
                <a:gd name="connsiteX5290" fmla="*/ 3017996 w 6400800"/>
                <a:gd name="connsiteY5290" fmla="*/ 317659 h 514350"/>
                <a:gd name="connsiteX5291" fmla="*/ 3021806 w 6400800"/>
                <a:gd name="connsiteY5291" fmla="*/ 329089 h 514350"/>
                <a:gd name="connsiteX5292" fmla="*/ 3025616 w 6400800"/>
                <a:gd name="connsiteY5292" fmla="*/ 339566 h 514350"/>
                <a:gd name="connsiteX5293" fmla="*/ 3011329 w 6400800"/>
                <a:gd name="connsiteY5293" fmla="*/ 359569 h 514350"/>
                <a:gd name="connsiteX5294" fmla="*/ 3011329 w 6400800"/>
                <a:gd name="connsiteY5294" fmla="*/ 360521 h 514350"/>
                <a:gd name="connsiteX5295" fmla="*/ 3009424 w 6400800"/>
                <a:gd name="connsiteY5295" fmla="*/ 351949 h 514350"/>
                <a:gd name="connsiteX5296" fmla="*/ 3017996 w 6400800"/>
                <a:gd name="connsiteY5296" fmla="*/ 317659 h 514350"/>
                <a:gd name="connsiteX5297" fmla="*/ 3013234 w 6400800"/>
                <a:gd name="connsiteY5297" fmla="*/ 257651 h 514350"/>
                <a:gd name="connsiteX5298" fmla="*/ 3014186 w 6400800"/>
                <a:gd name="connsiteY5298" fmla="*/ 261461 h 514350"/>
                <a:gd name="connsiteX5299" fmla="*/ 3015139 w 6400800"/>
                <a:gd name="connsiteY5299" fmla="*/ 269081 h 514350"/>
                <a:gd name="connsiteX5300" fmla="*/ 3010376 w 6400800"/>
                <a:gd name="connsiteY5300" fmla="*/ 284321 h 514350"/>
                <a:gd name="connsiteX5301" fmla="*/ 3009424 w 6400800"/>
                <a:gd name="connsiteY5301" fmla="*/ 282416 h 514350"/>
                <a:gd name="connsiteX5302" fmla="*/ 3008471 w 6400800"/>
                <a:gd name="connsiteY5302" fmla="*/ 279559 h 514350"/>
                <a:gd name="connsiteX5303" fmla="*/ 3009424 w 6400800"/>
                <a:gd name="connsiteY5303" fmla="*/ 276701 h 514350"/>
                <a:gd name="connsiteX5304" fmla="*/ 3013234 w 6400800"/>
                <a:gd name="connsiteY5304" fmla="*/ 257651 h 514350"/>
                <a:gd name="connsiteX5305" fmla="*/ 3008471 w 6400800"/>
                <a:gd name="connsiteY5305" fmla="*/ 230029 h 514350"/>
                <a:gd name="connsiteX5306" fmla="*/ 3010376 w 6400800"/>
                <a:gd name="connsiteY5306" fmla="*/ 244316 h 514350"/>
                <a:gd name="connsiteX5307" fmla="*/ 3007519 w 6400800"/>
                <a:gd name="connsiteY5307" fmla="*/ 250984 h 514350"/>
                <a:gd name="connsiteX5308" fmla="*/ 3001804 w 6400800"/>
                <a:gd name="connsiteY5308" fmla="*/ 264319 h 514350"/>
                <a:gd name="connsiteX5309" fmla="*/ 3008471 w 6400800"/>
                <a:gd name="connsiteY5309" fmla="*/ 230029 h 514350"/>
                <a:gd name="connsiteX5310" fmla="*/ 3003709 w 6400800"/>
                <a:gd name="connsiteY5310" fmla="*/ 195739 h 514350"/>
                <a:gd name="connsiteX5311" fmla="*/ 3004661 w 6400800"/>
                <a:gd name="connsiteY5311" fmla="*/ 205264 h 514350"/>
                <a:gd name="connsiteX5312" fmla="*/ 2997994 w 6400800"/>
                <a:gd name="connsiteY5312" fmla="*/ 223361 h 514350"/>
                <a:gd name="connsiteX5313" fmla="*/ 2986564 w 6400800"/>
                <a:gd name="connsiteY5313" fmla="*/ 262414 h 514350"/>
                <a:gd name="connsiteX5314" fmla="*/ 2984659 w 6400800"/>
                <a:gd name="connsiteY5314" fmla="*/ 270986 h 514350"/>
                <a:gd name="connsiteX5315" fmla="*/ 2984659 w 6400800"/>
                <a:gd name="connsiteY5315" fmla="*/ 270986 h 514350"/>
                <a:gd name="connsiteX5316" fmla="*/ 3003709 w 6400800"/>
                <a:gd name="connsiteY5316" fmla="*/ 195739 h 514350"/>
                <a:gd name="connsiteX5317" fmla="*/ 2974181 w 6400800"/>
                <a:gd name="connsiteY5317" fmla="*/ 311944 h 514350"/>
                <a:gd name="connsiteX5318" fmla="*/ 2980849 w 6400800"/>
                <a:gd name="connsiteY5318" fmla="*/ 284321 h 514350"/>
                <a:gd name="connsiteX5319" fmla="*/ 2980849 w 6400800"/>
                <a:gd name="connsiteY5319" fmla="*/ 285274 h 514350"/>
                <a:gd name="connsiteX5320" fmla="*/ 2976086 w 6400800"/>
                <a:gd name="connsiteY5320" fmla="*/ 307181 h 514350"/>
                <a:gd name="connsiteX5321" fmla="*/ 2972276 w 6400800"/>
                <a:gd name="connsiteY5321" fmla="*/ 327184 h 514350"/>
                <a:gd name="connsiteX5322" fmla="*/ 2970371 w 6400800"/>
                <a:gd name="connsiteY5322" fmla="*/ 322421 h 514350"/>
                <a:gd name="connsiteX5323" fmla="*/ 2974181 w 6400800"/>
                <a:gd name="connsiteY5323" fmla="*/ 311944 h 514350"/>
                <a:gd name="connsiteX5324" fmla="*/ 2964656 w 6400800"/>
                <a:gd name="connsiteY5324" fmla="*/ 349091 h 514350"/>
                <a:gd name="connsiteX5325" fmla="*/ 2968466 w 6400800"/>
                <a:gd name="connsiteY5325" fmla="*/ 334804 h 514350"/>
                <a:gd name="connsiteX5326" fmla="*/ 2970371 w 6400800"/>
                <a:gd name="connsiteY5326" fmla="*/ 344329 h 514350"/>
                <a:gd name="connsiteX5327" fmla="*/ 2969419 w 6400800"/>
                <a:gd name="connsiteY5327" fmla="*/ 353854 h 514350"/>
                <a:gd name="connsiteX5328" fmla="*/ 2966561 w 6400800"/>
                <a:gd name="connsiteY5328" fmla="*/ 377666 h 514350"/>
                <a:gd name="connsiteX5329" fmla="*/ 2963704 w 6400800"/>
                <a:gd name="connsiteY5329" fmla="*/ 366236 h 514350"/>
                <a:gd name="connsiteX5330" fmla="*/ 2969419 w 6400800"/>
                <a:gd name="connsiteY5330" fmla="*/ 341471 h 514350"/>
                <a:gd name="connsiteX5331" fmla="*/ 2964656 w 6400800"/>
                <a:gd name="connsiteY5331" fmla="*/ 349091 h 514350"/>
                <a:gd name="connsiteX5332" fmla="*/ 2958941 w 6400800"/>
                <a:gd name="connsiteY5332" fmla="*/ 383381 h 514350"/>
                <a:gd name="connsiteX5333" fmla="*/ 2958941 w 6400800"/>
                <a:gd name="connsiteY5333" fmla="*/ 383381 h 514350"/>
                <a:gd name="connsiteX5334" fmla="*/ 2958941 w 6400800"/>
                <a:gd name="connsiteY5334" fmla="*/ 383381 h 514350"/>
                <a:gd name="connsiteX5335" fmla="*/ 2958941 w 6400800"/>
                <a:gd name="connsiteY5335" fmla="*/ 383381 h 514350"/>
                <a:gd name="connsiteX5336" fmla="*/ 2958941 w 6400800"/>
                <a:gd name="connsiteY5336" fmla="*/ 383381 h 514350"/>
                <a:gd name="connsiteX5337" fmla="*/ 2936081 w 6400800"/>
                <a:gd name="connsiteY5337" fmla="*/ 284321 h 514350"/>
                <a:gd name="connsiteX5338" fmla="*/ 2934176 w 6400800"/>
                <a:gd name="connsiteY5338" fmla="*/ 273844 h 514350"/>
                <a:gd name="connsiteX5339" fmla="*/ 2936081 w 6400800"/>
                <a:gd name="connsiteY5339" fmla="*/ 271939 h 514350"/>
                <a:gd name="connsiteX5340" fmla="*/ 2936081 w 6400800"/>
                <a:gd name="connsiteY5340" fmla="*/ 284321 h 514350"/>
                <a:gd name="connsiteX5341" fmla="*/ 2936081 w 6400800"/>
                <a:gd name="connsiteY5341" fmla="*/ 267176 h 514350"/>
                <a:gd name="connsiteX5342" fmla="*/ 2936081 w 6400800"/>
                <a:gd name="connsiteY5342" fmla="*/ 267176 h 514350"/>
                <a:gd name="connsiteX5343" fmla="*/ 2934176 w 6400800"/>
                <a:gd name="connsiteY5343" fmla="*/ 269081 h 514350"/>
                <a:gd name="connsiteX5344" fmla="*/ 2936081 w 6400800"/>
                <a:gd name="connsiteY5344" fmla="*/ 265271 h 514350"/>
                <a:gd name="connsiteX5345" fmla="*/ 2936081 w 6400800"/>
                <a:gd name="connsiteY5345" fmla="*/ 267176 h 514350"/>
                <a:gd name="connsiteX5346" fmla="*/ 2929414 w 6400800"/>
                <a:gd name="connsiteY5346" fmla="*/ 243364 h 514350"/>
                <a:gd name="connsiteX5347" fmla="*/ 2930366 w 6400800"/>
                <a:gd name="connsiteY5347" fmla="*/ 243364 h 514350"/>
                <a:gd name="connsiteX5348" fmla="*/ 2933224 w 6400800"/>
                <a:gd name="connsiteY5348" fmla="*/ 244316 h 514350"/>
                <a:gd name="connsiteX5349" fmla="*/ 2934176 w 6400800"/>
                <a:gd name="connsiteY5349" fmla="*/ 255746 h 514350"/>
                <a:gd name="connsiteX5350" fmla="*/ 2931319 w 6400800"/>
                <a:gd name="connsiteY5350" fmla="*/ 261461 h 514350"/>
                <a:gd name="connsiteX5351" fmla="*/ 2927509 w 6400800"/>
                <a:gd name="connsiteY5351" fmla="*/ 248126 h 514350"/>
                <a:gd name="connsiteX5352" fmla="*/ 2929414 w 6400800"/>
                <a:gd name="connsiteY5352" fmla="*/ 243364 h 514350"/>
                <a:gd name="connsiteX5353" fmla="*/ 2917984 w 6400800"/>
                <a:gd name="connsiteY5353" fmla="*/ 351949 h 514350"/>
                <a:gd name="connsiteX5354" fmla="*/ 2918936 w 6400800"/>
                <a:gd name="connsiteY5354" fmla="*/ 353854 h 514350"/>
                <a:gd name="connsiteX5355" fmla="*/ 2919889 w 6400800"/>
                <a:gd name="connsiteY5355" fmla="*/ 363379 h 514350"/>
                <a:gd name="connsiteX5356" fmla="*/ 2922746 w 6400800"/>
                <a:gd name="connsiteY5356" fmla="*/ 380524 h 514350"/>
                <a:gd name="connsiteX5357" fmla="*/ 2920841 w 6400800"/>
                <a:gd name="connsiteY5357" fmla="*/ 380524 h 514350"/>
                <a:gd name="connsiteX5358" fmla="*/ 2913221 w 6400800"/>
                <a:gd name="connsiteY5358" fmla="*/ 362426 h 514350"/>
                <a:gd name="connsiteX5359" fmla="*/ 2917984 w 6400800"/>
                <a:gd name="connsiteY5359" fmla="*/ 351949 h 514350"/>
                <a:gd name="connsiteX5360" fmla="*/ 2904649 w 6400800"/>
                <a:gd name="connsiteY5360" fmla="*/ 224314 h 514350"/>
                <a:gd name="connsiteX5361" fmla="*/ 2904649 w 6400800"/>
                <a:gd name="connsiteY5361" fmla="*/ 224314 h 514350"/>
                <a:gd name="connsiteX5362" fmla="*/ 2903696 w 6400800"/>
                <a:gd name="connsiteY5362" fmla="*/ 237649 h 514350"/>
                <a:gd name="connsiteX5363" fmla="*/ 2902744 w 6400800"/>
                <a:gd name="connsiteY5363" fmla="*/ 250031 h 514350"/>
                <a:gd name="connsiteX5364" fmla="*/ 2900839 w 6400800"/>
                <a:gd name="connsiteY5364" fmla="*/ 235744 h 514350"/>
                <a:gd name="connsiteX5365" fmla="*/ 2904649 w 6400800"/>
                <a:gd name="connsiteY5365" fmla="*/ 224314 h 514350"/>
                <a:gd name="connsiteX5366" fmla="*/ 2885599 w 6400800"/>
                <a:gd name="connsiteY5366" fmla="*/ 294799 h 514350"/>
                <a:gd name="connsiteX5367" fmla="*/ 2888456 w 6400800"/>
                <a:gd name="connsiteY5367" fmla="*/ 280511 h 514350"/>
                <a:gd name="connsiteX5368" fmla="*/ 2889409 w 6400800"/>
                <a:gd name="connsiteY5368" fmla="*/ 308134 h 514350"/>
                <a:gd name="connsiteX5369" fmla="*/ 2884646 w 6400800"/>
                <a:gd name="connsiteY5369" fmla="*/ 297656 h 514350"/>
                <a:gd name="connsiteX5370" fmla="*/ 2885599 w 6400800"/>
                <a:gd name="connsiteY5370" fmla="*/ 294799 h 514350"/>
                <a:gd name="connsiteX5371" fmla="*/ 2869406 w 6400800"/>
                <a:gd name="connsiteY5371" fmla="*/ 301466 h 514350"/>
                <a:gd name="connsiteX5372" fmla="*/ 2869406 w 6400800"/>
                <a:gd name="connsiteY5372" fmla="*/ 301466 h 514350"/>
                <a:gd name="connsiteX5373" fmla="*/ 2869406 w 6400800"/>
                <a:gd name="connsiteY5373" fmla="*/ 302419 h 514350"/>
                <a:gd name="connsiteX5374" fmla="*/ 2868454 w 6400800"/>
                <a:gd name="connsiteY5374" fmla="*/ 305276 h 514350"/>
                <a:gd name="connsiteX5375" fmla="*/ 2856071 w 6400800"/>
                <a:gd name="connsiteY5375" fmla="*/ 284321 h 514350"/>
                <a:gd name="connsiteX5376" fmla="*/ 2855119 w 6400800"/>
                <a:gd name="connsiteY5376" fmla="*/ 282416 h 514350"/>
                <a:gd name="connsiteX5377" fmla="*/ 2857976 w 6400800"/>
                <a:gd name="connsiteY5377" fmla="*/ 273844 h 514350"/>
                <a:gd name="connsiteX5378" fmla="*/ 2869406 w 6400800"/>
                <a:gd name="connsiteY5378" fmla="*/ 301466 h 514350"/>
                <a:gd name="connsiteX5379" fmla="*/ 2851309 w 6400800"/>
                <a:gd name="connsiteY5379" fmla="*/ 262414 h 514350"/>
                <a:gd name="connsiteX5380" fmla="*/ 2851309 w 6400800"/>
                <a:gd name="connsiteY5380" fmla="*/ 259556 h 514350"/>
                <a:gd name="connsiteX5381" fmla="*/ 2855119 w 6400800"/>
                <a:gd name="connsiteY5381" fmla="*/ 267176 h 514350"/>
                <a:gd name="connsiteX5382" fmla="*/ 2856071 w 6400800"/>
                <a:gd name="connsiteY5382" fmla="*/ 269081 h 514350"/>
                <a:gd name="connsiteX5383" fmla="*/ 2851309 w 6400800"/>
                <a:gd name="connsiteY5383" fmla="*/ 276701 h 514350"/>
                <a:gd name="connsiteX5384" fmla="*/ 2850356 w 6400800"/>
                <a:gd name="connsiteY5384" fmla="*/ 274796 h 514350"/>
                <a:gd name="connsiteX5385" fmla="*/ 2851309 w 6400800"/>
                <a:gd name="connsiteY5385" fmla="*/ 262414 h 514350"/>
                <a:gd name="connsiteX5386" fmla="*/ 2848451 w 6400800"/>
                <a:gd name="connsiteY5386" fmla="*/ 312896 h 514350"/>
                <a:gd name="connsiteX5387" fmla="*/ 2848451 w 6400800"/>
                <a:gd name="connsiteY5387" fmla="*/ 302419 h 514350"/>
                <a:gd name="connsiteX5388" fmla="*/ 2860834 w 6400800"/>
                <a:gd name="connsiteY5388" fmla="*/ 327184 h 514350"/>
                <a:gd name="connsiteX5389" fmla="*/ 2856071 w 6400800"/>
                <a:gd name="connsiteY5389" fmla="*/ 344329 h 514350"/>
                <a:gd name="connsiteX5390" fmla="*/ 2853214 w 6400800"/>
                <a:gd name="connsiteY5390" fmla="*/ 355759 h 514350"/>
                <a:gd name="connsiteX5391" fmla="*/ 2851309 w 6400800"/>
                <a:gd name="connsiteY5391" fmla="*/ 341471 h 514350"/>
                <a:gd name="connsiteX5392" fmla="*/ 2847499 w 6400800"/>
                <a:gd name="connsiteY5392" fmla="*/ 316706 h 514350"/>
                <a:gd name="connsiteX5393" fmla="*/ 2848451 w 6400800"/>
                <a:gd name="connsiteY5393" fmla="*/ 312896 h 514350"/>
                <a:gd name="connsiteX5394" fmla="*/ 2836069 w 6400800"/>
                <a:gd name="connsiteY5394" fmla="*/ 226219 h 514350"/>
                <a:gd name="connsiteX5395" fmla="*/ 2847499 w 6400800"/>
                <a:gd name="connsiteY5395" fmla="*/ 251936 h 514350"/>
                <a:gd name="connsiteX5396" fmla="*/ 2844641 w 6400800"/>
                <a:gd name="connsiteY5396" fmla="*/ 261461 h 514350"/>
                <a:gd name="connsiteX5397" fmla="*/ 2843689 w 6400800"/>
                <a:gd name="connsiteY5397" fmla="*/ 266224 h 514350"/>
                <a:gd name="connsiteX5398" fmla="*/ 2838926 w 6400800"/>
                <a:gd name="connsiteY5398" fmla="*/ 258604 h 514350"/>
                <a:gd name="connsiteX5399" fmla="*/ 2834164 w 6400800"/>
                <a:gd name="connsiteY5399" fmla="*/ 229076 h 514350"/>
                <a:gd name="connsiteX5400" fmla="*/ 2836069 w 6400800"/>
                <a:gd name="connsiteY5400" fmla="*/ 226219 h 514350"/>
                <a:gd name="connsiteX5401" fmla="*/ 2830354 w 6400800"/>
                <a:gd name="connsiteY5401" fmla="*/ 305276 h 514350"/>
                <a:gd name="connsiteX5402" fmla="*/ 2831306 w 6400800"/>
                <a:gd name="connsiteY5402" fmla="*/ 312896 h 514350"/>
                <a:gd name="connsiteX5403" fmla="*/ 2831306 w 6400800"/>
                <a:gd name="connsiteY5403" fmla="*/ 313849 h 514350"/>
                <a:gd name="connsiteX5404" fmla="*/ 2830354 w 6400800"/>
                <a:gd name="connsiteY5404" fmla="*/ 308134 h 514350"/>
                <a:gd name="connsiteX5405" fmla="*/ 2830354 w 6400800"/>
                <a:gd name="connsiteY5405" fmla="*/ 305276 h 514350"/>
                <a:gd name="connsiteX5406" fmla="*/ 2829401 w 6400800"/>
                <a:gd name="connsiteY5406" fmla="*/ 292894 h 514350"/>
                <a:gd name="connsiteX5407" fmla="*/ 2830354 w 6400800"/>
                <a:gd name="connsiteY5407" fmla="*/ 299561 h 514350"/>
                <a:gd name="connsiteX5408" fmla="*/ 2829401 w 6400800"/>
                <a:gd name="connsiteY5408" fmla="*/ 301466 h 514350"/>
                <a:gd name="connsiteX5409" fmla="*/ 2829401 w 6400800"/>
                <a:gd name="connsiteY5409" fmla="*/ 299561 h 514350"/>
                <a:gd name="connsiteX5410" fmla="*/ 2829401 w 6400800"/>
                <a:gd name="connsiteY5410" fmla="*/ 292894 h 514350"/>
                <a:gd name="connsiteX5411" fmla="*/ 2785586 w 6400800"/>
                <a:gd name="connsiteY5411" fmla="*/ 268129 h 514350"/>
                <a:gd name="connsiteX5412" fmla="*/ 2782729 w 6400800"/>
                <a:gd name="connsiteY5412" fmla="*/ 271939 h 514350"/>
                <a:gd name="connsiteX5413" fmla="*/ 2782729 w 6400800"/>
                <a:gd name="connsiteY5413" fmla="*/ 269081 h 514350"/>
                <a:gd name="connsiteX5414" fmla="*/ 2782729 w 6400800"/>
                <a:gd name="connsiteY5414" fmla="*/ 265271 h 514350"/>
                <a:gd name="connsiteX5415" fmla="*/ 2786539 w 6400800"/>
                <a:gd name="connsiteY5415" fmla="*/ 258604 h 514350"/>
                <a:gd name="connsiteX5416" fmla="*/ 2786539 w 6400800"/>
                <a:gd name="connsiteY5416" fmla="*/ 260509 h 514350"/>
                <a:gd name="connsiteX5417" fmla="*/ 2785586 w 6400800"/>
                <a:gd name="connsiteY5417" fmla="*/ 268129 h 514350"/>
                <a:gd name="connsiteX5418" fmla="*/ 2796064 w 6400800"/>
                <a:gd name="connsiteY5418" fmla="*/ 268129 h 514350"/>
                <a:gd name="connsiteX5419" fmla="*/ 2796064 w 6400800"/>
                <a:gd name="connsiteY5419" fmla="*/ 268129 h 514350"/>
                <a:gd name="connsiteX5420" fmla="*/ 2798921 w 6400800"/>
                <a:gd name="connsiteY5420" fmla="*/ 263366 h 514350"/>
                <a:gd name="connsiteX5421" fmla="*/ 2796064 w 6400800"/>
                <a:gd name="connsiteY5421" fmla="*/ 268129 h 514350"/>
                <a:gd name="connsiteX5422" fmla="*/ 2803684 w 6400800"/>
                <a:gd name="connsiteY5422" fmla="*/ 314801 h 514350"/>
                <a:gd name="connsiteX5423" fmla="*/ 2802731 w 6400800"/>
                <a:gd name="connsiteY5423" fmla="*/ 318611 h 514350"/>
                <a:gd name="connsiteX5424" fmla="*/ 2801779 w 6400800"/>
                <a:gd name="connsiteY5424" fmla="*/ 325279 h 514350"/>
                <a:gd name="connsiteX5425" fmla="*/ 2798921 w 6400800"/>
                <a:gd name="connsiteY5425" fmla="*/ 317659 h 514350"/>
                <a:gd name="connsiteX5426" fmla="*/ 2798921 w 6400800"/>
                <a:gd name="connsiteY5426" fmla="*/ 315754 h 514350"/>
                <a:gd name="connsiteX5427" fmla="*/ 2798921 w 6400800"/>
                <a:gd name="connsiteY5427" fmla="*/ 315754 h 514350"/>
                <a:gd name="connsiteX5428" fmla="*/ 2801779 w 6400800"/>
                <a:gd name="connsiteY5428" fmla="*/ 304324 h 514350"/>
                <a:gd name="connsiteX5429" fmla="*/ 2803684 w 6400800"/>
                <a:gd name="connsiteY5429" fmla="*/ 312896 h 514350"/>
                <a:gd name="connsiteX5430" fmla="*/ 2803684 w 6400800"/>
                <a:gd name="connsiteY5430" fmla="*/ 314801 h 514350"/>
                <a:gd name="connsiteX5431" fmla="*/ 2810351 w 6400800"/>
                <a:gd name="connsiteY5431" fmla="*/ 280511 h 514350"/>
                <a:gd name="connsiteX5432" fmla="*/ 2805589 w 6400800"/>
                <a:gd name="connsiteY5432" fmla="*/ 302419 h 514350"/>
                <a:gd name="connsiteX5433" fmla="*/ 2803684 w 6400800"/>
                <a:gd name="connsiteY5433" fmla="*/ 298609 h 514350"/>
                <a:gd name="connsiteX5434" fmla="*/ 2802731 w 6400800"/>
                <a:gd name="connsiteY5434" fmla="*/ 296704 h 514350"/>
                <a:gd name="connsiteX5435" fmla="*/ 2805589 w 6400800"/>
                <a:gd name="connsiteY5435" fmla="*/ 287179 h 514350"/>
                <a:gd name="connsiteX5436" fmla="*/ 2809399 w 6400800"/>
                <a:gd name="connsiteY5436" fmla="*/ 277654 h 514350"/>
                <a:gd name="connsiteX5437" fmla="*/ 2810351 w 6400800"/>
                <a:gd name="connsiteY5437" fmla="*/ 275749 h 514350"/>
                <a:gd name="connsiteX5438" fmla="*/ 2810351 w 6400800"/>
                <a:gd name="connsiteY5438" fmla="*/ 280511 h 514350"/>
                <a:gd name="connsiteX5439" fmla="*/ 2811304 w 6400800"/>
                <a:gd name="connsiteY5439" fmla="*/ 276701 h 514350"/>
                <a:gd name="connsiteX5440" fmla="*/ 2811304 w 6400800"/>
                <a:gd name="connsiteY5440" fmla="*/ 274796 h 514350"/>
                <a:gd name="connsiteX5441" fmla="*/ 2813209 w 6400800"/>
                <a:gd name="connsiteY5441" fmla="*/ 270986 h 514350"/>
                <a:gd name="connsiteX5442" fmla="*/ 2811304 w 6400800"/>
                <a:gd name="connsiteY5442" fmla="*/ 276701 h 514350"/>
                <a:gd name="connsiteX5443" fmla="*/ 2812256 w 6400800"/>
                <a:gd name="connsiteY5443" fmla="*/ 236696 h 514350"/>
                <a:gd name="connsiteX5444" fmla="*/ 2806541 w 6400800"/>
                <a:gd name="connsiteY5444" fmla="*/ 246221 h 514350"/>
                <a:gd name="connsiteX5445" fmla="*/ 2799874 w 6400800"/>
                <a:gd name="connsiteY5445" fmla="*/ 251936 h 514350"/>
                <a:gd name="connsiteX5446" fmla="*/ 2794159 w 6400800"/>
                <a:gd name="connsiteY5446" fmla="*/ 257651 h 514350"/>
                <a:gd name="connsiteX5447" fmla="*/ 2792254 w 6400800"/>
                <a:gd name="connsiteY5447" fmla="*/ 245269 h 514350"/>
                <a:gd name="connsiteX5448" fmla="*/ 2796064 w 6400800"/>
                <a:gd name="connsiteY5448" fmla="*/ 238601 h 514350"/>
                <a:gd name="connsiteX5449" fmla="*/ 2804636 w 6400800"/>
                <a:gd name="connsiteY5449" fmla="*/ 224314 h 514350"/>
                <a:gd name="connsiteX5450" fmla="*/ 2812256 w 6400800"/>
                <a:gd name="connsiteY5450" fmla="*/ 236696 h 514350"/>
                <a:gd name="connsiteX5451" fmla="*/ 2804636 w 6400800"/>
                <a:gd name="connsiteY5451" fmla="*/ 223361 h 514350"/>
                <a:gd name="connsiteX5452" fmla="*/ 2794159 w 6400800"/>
                <a:gd name="connsiteY5452" fmla="*/ 235744 h 514350"/>
                <a:gd name="connsiteX5453" fmla="*/ 2792254 w 6400800"/>
                <a:gd name="connsiteY5453" fmla="*/ 238601 h 514350"/>
                <a:gd name="connsiteX5454" fmla="*/ 2792254 w 6400800"/>
                <a:gd name="connsiteY5454" fmla="*/ 238601 h 514350"/>
                <a:gd name="connsiteX5455" fmla="*/ 2796064 w 6400800"/>
                <a:gd name="connsiteY5455" fmla="*/ 230981 h 514350"/>
                <a:gd name="connsiteX5456" fmla="*/ 2801779 w 6400800"/>
                <a:gd name="connsiteY5456" fmla="*/ 219551 h 514350"/>
                <a:gd name="connsiteX5457" fmla="*/ 2804636 w 6400800"/>
                <a:gd name="connsiteY5457" fmla="*/ 223361 h 514350"/>
                <a:gd name="connsiteX5458" fmla="*/ 2787491 w 6400800"/>
                <a:gd name="connsiteY5458" fmla="*/ 196691 h 514350"/>
                <a:gd name="connsiteX5459" fmla="*/ 2800826 w 6400800"/>
                <a:gd name="connsiteY5459" fmla="*/ 217646 h 514350"/>
                <a:gd name="connsiteX5460" fmla="*/ 2792254 w 6400800"/>
                <a:gd name="connsiteY5460" fmla="*/ 228124 h 514350"/>
                <a:gd name="connsiteX5461" fmla="*/ 2790349 w 6400800"/>
                <a:gd name="connsiteY5461" fmla="*/ 230981 h 514350"/>
                <a:gd name="connsiteX5462" fmla="*/ 2787491 w 6400800"/>
                <a:gd name="connsiteY5462" fmla="*/ 218599 h 514350"/>
                <a:gd name="connsiteX5463" fmla="*/ 2781776 w 6400800"/>
                <a:gd name="connsiteY5463" fmla="*/ 196691 h 514350"/>
                <a:gd name="connsiteX5464" fmla="*/ 2783681 w 6400800"/>
                <a:gd name="connsiteY5464" fmla="*/ 218599 h 514350"/>
                <a:gd name="connsiteX5465" fmla="*/ 2784634 w 6400800"/>
                <a:gd name="connsiteY5465" fmla="*/ 237649 h 514350"/>
                <a:gd name="connsiteX5466" fmla="*/ 2780824 w 6400800"/>
                <a:gd name="connsiteY5466" fmla="*/ 243364 h 514350"/>
                <a:gd name="connsiteX5467" fmla="*/ 2778919 w 6400800"/>
                <a:gd name="connsiteY5467" fmla="*/ 204311 h 514350"/>
                <a:gd name="connsiteX5468" fmla="*/ 2777966 w 6400800"/>
                <a:gd name="connsiteY5468" fmla="*/ 186214 h 514350"/>
                <a:gd name="connsiteX5469" fmla="*/ 2775109 w 6400800"/>
                <a:gd name="connsiteY5469" fmla="*/ 204311 h 514350"/>
                <a:gd name="connsiteX5470" fmla="*/ 2774156 w 6400800"/>
                <a:gd name="connsiteY5470" fmla="*/ 214789 h 514350"/>
                <a:gd name="connsiteX5471" fmla="*/ 2770346 w 6400800"/>
                <a:gd name="connsiteY5471" fmla="*/ 190976 h 514350"/>
                <a:gd name="connsiteX5472" fmla="*/ 2770346 w 6400800"/>
                <a:gd name="connsiteY5472" fmla="*/ 189071 h 514350"/>
                <a:gd name="connsiteX5473" fmla="*/ 2770346 w 6400800"/>
                <a:gd name="connsiteY5473" fmla="*/ 185261 h 514350"/>
                <a:gd name="connsiteX5474" fmla="*/ 2768441 w 6400800"/>
                <a:gd name="connsiteY5474" fmla="*/ 166211 h 514350"/>
                <a:gd name="connsiteX5475" fmla="*/ 2787491 w 6400800"/>
                <a:gd name="connsiteY5475" fmla="*/ 196691 h 514350"/>
                <a:gd name="connsiteX5476" fmla="*/ 2767489 w 6400800"/>
                <a:gd name="connsiteY5476" fmla="*/ 167164 h 514350"/>
                <a:gd name="connsiteX5477" fmla="*/ 2767489 w 6400800"/>
                <a:gd name="connsiteY5477" fmla="*/ 170974 h 514350"/>
                <a:gd name="connsiteX5478" fmla="*/ 2766536 w 6400800"/>
                <a:gd name="connsiteY5478" fmla="*/ 166211 h 514350"/>
                <a:gd name="connsiteX5479" fmla="*/ 2767489 w 6400800"/>
                <a:gd name="connsiteY5479" fmla="*/ 167164 h 514350"/>
                <a:gd name="connsiteX5480" fmla="*/ 2757964 w 6400800"/>
                <a:gd name="connsiteY5480" fmla="*/ 342424 h 514350"/>
                <a:gd name="connsiteX5481" fmla="*/ 2755106 w 6400800"/>
                <a:gd name="connsiteY5481" fmla="*/ 336709 h 514350"/>
                <a:gd name="connsiteX5482" fmla="*/ 2758916 w 6400800"/>
                <a:gd name="connsiteY5482" fmla="*/ 329089 h 514350"/>
                <a:gd name="connsiteX5483" fmla="*/ 2760821 w 6400800"/>
                <a:gd name="connsiteY5483" fmla="*/ 332899 h 514350"/>
                <a:gd name="connsiteX5484" fmla="*/ 2757964 w 6400800"/>
                <a:gd name="connsiteY5484" fmla="*/ 342424 h 514350"/>
                <a:gd name="connsiteX5485" fmla="*/ 2762726 w 6400800"/>
                <a:gd name="connsiteY5485" fmla="*/ 327184 h 514350"/>
                <a:gd name="connsiteX5486" fmla="*/ 2761774 w 6400800"/>
                <a:gd name="connsiteY5486" fmla="*/ 330994 h 514350"/>
                <a:gd name="connsiteX5487" fmla="*/ 2759869 w 6400800"/>
                <a:gd name="connsiteY5487" fmla="*/ 328136 h 514350"/>
                <a:gd name="connsiteX5488" fmla="*/ 2761774 w 6400800"/>
                <a:gd name="connsiteY5488" fmla="*/ 324326 h 514350"/>
                <a:gd name="connsiteX5489" fmla="*/ 2762726 w 6400800"/>
                <a:gd name="connsiteY5489" fmla="*/ 327184 h 514350"/>
                <a:gd name="connsiteX5490" fmla="*/ 2762726 w 6400800"/>
                <a:gd name="connsiteY5490" fmla="*/ 327184 h 514350"/>
                <a:gd name="connsiteX5491" fmla="*/ 2762726 w 6400800"/>
                <a:gd name="connsiteY5491" fmla="*/ 250031 h 514350"/>
                <a:gd name="connsiteX5492" fmla="*/ 2762726 w 6400800"/>
                <a:gd name="connsiteY5492" fmla="*/ 270034 h 514350"/>
                <a:gd name="connsiteX5493" fmla="*/ 2754154 w 6400800"/>
                <a:gd name="connsiteY5493" fmla="*/ 282416 h 514350"/>
                <a:gd name="connsiteX5494" fmla="*/ 2753201 w 6400800"/>
                <a:gd name="connsiteY5494" fmla="*/ 284321 h 514350"/>
                <a:gd name="connsiteX5495" fmla="*/ 2752249 w 6400800"/>
                <a:gd name="connsiteY5495" fmla="*/ 282416 h 514350"/>
                <a:gd name="connsiteX5496" fmla="*/ 2753201 w 6400800"/>
                <a:gd name="connsiteY5496" fmla="*/ 278606 h 514350"/>
                <a:gd name="connsiteX5497" fmla="*/ 2756059 w 6400800"/>
                <a:gd name="connsiteY5497" fmla="*/ 267176 h 514350"/>
                <a:gd name="connsiteX5498" fmla="*/ 2761774 w 6400800"/>
                <a:gd name="connsiteY5498" fmla="*/ 251936 h 514350"/>
                <a:gd name="connsiteX5499" fmla="*/ 2762726 w 6400800"/>
                <a:gd name="connsiteY5499" fmla="*/ 250031 h 514350"/>
                <a:gd name="connsiteX5500" fmla="*/ 2762726 w 6400800"/>
                <a:gd name="connsiteY5500" fmla="*/ 250031 h 514350"/>
                <a:gd name="connsiteX5501" fmla="*/ 2753201 w 6400800"/>
                <a:gd name="connsiteY5501" fmla="*/ 250031 h 514350"/>
                <a:gd name="connsiteX5502" fmla="*/ 2757011 w 6400800"/>
                <a:gd name="connsiteY5502" fmla="*/ 230981 h 514350"/>
                <a:gd name="connsiteX5503" fmla="*/ 2762726 w 6400800"/>
                <a:gd name="connsiteY5503" fmla="*/ 249079 h 514350"/>
                <a:gd name="connsiteX5504" fmla="*/ 2760821 w 6400800"/>
                <a:gd name="connsiteY5504" fmla="*/ 252889 h 514350"/>
                <a:gd name="connsiteX5505" fmla="*/ 2752249 w 6400800"/>
                <a:gd name="connsiteY5505" fmla="*/ 267176 h 514350"/>
                <a:gd name="connsiteX5506" fmla="*/ 2748439 w 6400800"/>
                <a:gd name="connsiteY5506" fmla="*/ 275749 h 514350"/>
                <a:gd name="connsiteX5507" fmla="*/ 2747486 w 6400800"/>
                <a:gd name="connsiteY5507" fmla="*/ 274796 h 514350"/>
                <a:gd name="connsiteX5508" fmla="*/ 2753201 w 6400800"/>
                <a:gd name="connsiteY5508" fmla="*/ 250031 h 514350"/>
                <a:gd name="connsiteX5509" fmla="*/ 2749391 w 6400800"/>
                <a:gd name="connsiteY5509" fmla="*/ 362426 h 514350"/>
                <a:gd name="connsiteX5510" fmla="*/ 2746534 w 6400800"/>
                <a:gd name="connsiteY5510" fmla="*/ 357664 h 514350"/>
                <a:gd name="connsiteX5511" fmla="*/ 2746534 w 6400800"/>
                <a:gd name="connsiteY5511" fmla="*/ 354806 h 514350"/>
                <a:gd name="connsiteX5512" fmla="*/ 2749391 w 6400800"/>
                <a:gd name="connsiteY5512" fmla="*/ 362426 h 514350"/>
                <a:gd name="connsiteX5513" fmla="*/ 2734151 w 6400800"/>
                <a:gd name="connsiteY5513" fmla="*/ 258604 h 514350"/>
                <a:gd name="connsiteX5514" fmla="*/ 2740819 w 6400800"/>
                <a:gd name="connsiteY5514" fmla="*/ 273844 h 514350"/>
                <a:gd name="connsiteX5515" fmla="*/ 2735104 w 6400800"/>
                <a:gd name="connsiteY5515" fmla="*/ 290036 h 514350"/>
                <a:gd name="connsiteX5516" fmla="*/ 2734151 w 6400800"/>
                <a:gd name="connsiteY5516" fmla="*/ 287179 h 514350"/>
                <a:gd name="connsiteX5517" fmla="*/ 2734151 w 6400800"/>
                <a:gd name="connsiteY5517" fmla="*/ 291941 h 514350"/>
                <a:gd name="connsiteX5518" fmla="*/ 2734151 w 6400800"/>
                <a:gd name="connsiteY5518" fmla="*/ 291941 h 514350"/>
                <a:gd name="connsiteX5519" fmla="*/ 2732246 w 6400800"/>
                <a:gd name="connsiteY5519" fmla="*/ 289084 h 514350"/>
                <a:gd name="connsiteX5520" fmla="*/ 2731294 w 6400800"/>
                <a:gd name="connsiteY5520" fmla="*/ 286226 h 514350"/>
                <a:gd name="connsiteX5521" fmla="*/ 2734151 w 6400800"/>
                <a:gd name="connsiteY5521" fmla="*/ 258604 h 514350"/>
                <a:gd name="connsiteX5522" fmla="*/ 2715101 w 6400800"/>
                <a:gd name="connsiteY5522" fmla="*/ 290989 h 514350"/>
                <a:gd name="connsiteX5523" fmla="*/ 2716054 w 6400800"/>
                <a:gd name="connsiteY5523" fmla="*/ 273844 h 514350"/>
                <a:gd name="connsiteX5524" fmla="*/ 2717959 w 6400800"/>
                <a:gd name="connsiteY5524" fmla="*/ 278606 h 514350"/>
                <a:gd name="connsiteX5525" fmla="*/ 2716054 w 6400800"/>
                <a:gd name="connsiteY5525" fmla="*/ 304324 h 514350"/>
                <a:gd name="connsiteX5526" fmla="*/ 2715101 w 6400800"/>
                <a:gd name="connsiteY5526" fmla="*/ 303371 h 514350"/>
                <a:gd name="connsiteX5527" fmla="*/ 2715101 w 6400800"/>
                <a:gd name="connsiteY5527" fmla="*/ 290989 h 514350"/>
                <a:gd name="connsiteX5528" fmla="*/ 2705576 w 6400800"/>
                <a:gd name="connsiteY5528" fmla="*/ 243364 h 514350"/>
                <a:gd name="connsiteX5529" fmla="*/ 2704624 w 6400800"/>
                <a:gd name="connsiteY5529" fmla="*/ 247174 h 514350"/>
                <a:gd name="connsiteX5530" fmla="*/ 2703671 w 6400800"/>
                <a:gd name="connsiteY5530" fmla="*/ 238601 h 514350"/>
                <a:gd name="connsiteX5531" fmla="*/ 2705576 w 6400800"/>
                <a:gd name="connsiteY5531" fmla="*/ 243364 h 514350"/>
                <a:gd name="connsiteX5532" fmla="*/ 2697956 w 6400800"/>
                <a:gd name="connsiteY5532" fmla="*/ 312896 h 514350"/>
                <a:gd name="connsiteX5533" fmla="*/ 2697956 w 6400800"/>
                <a:gd name="connsiteY5533" fmla="*/ 313849 h 514350"/>
                <a:gd name="connsiteX5534" fmla="*/ 2697956 w 6400800"/>
                <a:gd name="connsiteY5534" fmla="*/ 310991 h 514350"/>
                <a:gd name="connsiteX5535" fmla="*/ 2697956 w 6400800"/>
                <a:gd name="connsiteY5535" fmla="*/ 312896 h 514350"/>
                <a:gd name="connsiteX5536" fmla="*/ 2664619 w 6400800"/>
                <a:gd name="connsiteY5536" fmla="*/ 234791 h 514350"/>
                <a:gd name="connsiteX5537" fmla="*/ 2666524 w 6400800"/>
                <a:gd name="connsiteY5537" fmla="*/ 238601 h 514350"/>
                <a:gd name="connsiteX5538" fmla="*/ 2673191 w 6400800"/>
                <a:gd name="connsiteY5538" fmla="*/ 287179 h 514350"/>
                <a:gd name="connsiteX5539" fmla="*/ 2670334 w 6400800"/>
                <a:gd name="connsiteY5539" fmla="*/ 279559 h 514350"/>
                <a:gd name="connsiteX5540" fmla="*/ 2670334 w 6400800"/>
                <a:gd name="connsiteY5540" fmla="*/ 278606 h 514350"/>
                <a:gd name="connsiteX5541" fmla="*/ 2671286 w 6400800"/>
                <a:gd name="connsiteY5541" fmla="*/ 276701 h 514350"/>
                <a:gd name="connsiteX5542" fmla="*/ 2670334 w 6400800"/>
                <a:gd name="connsiteY5542" fmla="*/ 278606 h 514350"/>
                <a:gd name="connsiteX5543" fmla="*/ 2664619 w 6400800"/>
                <a:gd name="connsiteY5543" fmla="*/ 246221 h 514350"/>
                <a:gd name="connsiteX5544" fmla="*/ 2663666 w 6400800"/>
                <a:gd name="connsiteY5544" fmla="*/ 240506 h 514350"/>
                <a:gd name="connsiteX5545" fmla="*/ 2664619 w 6400800"/>
                <a:gd name="connsiteY5545" fmla="*/ 234791 h 514350"/>
                <a:gd name="connsiteX5546" fmla="*/ 2657951 w 6400800"/>
                <a:gd name="connsiteY5546" fmla="*/ 339566 h 514350"/>
                <a:gd name="connsiteX5547" fmla="*/ 2656046 w 6400800"/>
                <a:gd name="connsiteY5547" fmla="*/ 336709 h 514350"/>
                <a:gd name="connsiteX5548" fmla="*/ 2657951 w 6400800"/>
                <a:gd name="connsiteY5548" fmla="*/ 325279 h 514350"/>
                <a:gd name="connsiteX5549" fmla="*/ 2657951 w 6400800"/>
                <a:gd name="connsiteY5549" fmla="*/ 339566 h 514350"/>
                <a:gd name="connsiteX5550" fmla="*/ 2654141 w 6400800"/>
                <a:gd name="connsiteY5550" fmla="*/ 277654 h 514350"/>
                <a:gd name="connsiteX5551" fmla="*/ 2659856 w 6400800"/>
                <a:gd name="connsiteY5551" fmla="*/ 298609 h 514350"/>
                <a:gd name="connsiteX5552" fmla="*/ 2659856 w 6400800"/>
                <a:gd name="connsiteY5552" fmla="*/ 299561 h 514350"/>
                <a:gd name="connsiteX5553" fmla="*/ 2653189 w 6400800"/>
                <a:gd name="connsiteY5553" fmla="*/ 316706 h 514350"/>
                <a:gd name="connsiteX5554" fmla="*/ 2652236 w 6400800"/>
                <a:gd name="connsiteY5554" fmla="*/ 319564 h 514350"/>
                <a:gd name="connsiteX5555" fmla="*/ 2650331 w 6400800"/>
                <a:gd name="connsiteY5555" fmla="*/ 311944 h 514350"/>
                <a:gd name="connsiteX5556" fmla="*/ 2647474 w 6400800"/>
                <a:gd name="connsiteY5556" fmla="*/ 301466 h 514350"/>
                <a:gd name="connsiteX5557" fmla="*/ 2654141 w 6400800"/>
                <a:gd name="connsiteY5557" fmla="*/ 277654 h 514350"/>
                <a:gd name="connsiteX5558" fmla="*/ 2633186 w 6400800"/>
                <a:gd name="connsiteY5558" fmla="*/ 283369 h 514350"/>
                <a:gd name="connsiteX5559" fmla="*/ 2633186 w 6400800"/>
                <a:gd name="connsiteY5559" fmla="*/ 285274 h 514350"/>
                <a:gd name="connsiteX5560" fmla="*/ 2633186 w 6400800"/>
                <a:gd name="connsiteY5560" fmla="*/ 286226 h 514350"/>
                <a:gd name="connsiteX5561" fmla="*/ 2632234 w 6400800"/>
                <a:gd name="connsiteY5561" fmla="*/ 290036 h 514350"/>
                <a:gd name="connsiteX5562" fmla="*/ 2633186 w 6400800"/>
                <a:gd name="connsiteY5562" fmla="*/ 283369 h 514350"/>
                <a:gd name="connsiteX5563" fmla="*/ 2578894 w 6400800"/>
                <a:gd name="connsiteY5563" fmla="*/ 242411 h 514350"/>
                <a:gd name="connsiteX5564" fmla="*/ 2577941 w 6400800"/>
                <a:gd name="connsiteY5564" fmla="*/ 241459 h 514350"/>
                <a:gd name="connsiteX5565" fmla="*/ 2580799 w 6400800"/>
                <a:gd name="connsiteY5565" fmla="*/ 235744 h 514350"/>
                <a:gd name="connsiteX5566" fmla="*/ 2580799 w 6400800"/>
                <a:gd name="connsiteY5566" fmla="*/ 235744 h 514350"/>
                <a:gd name="connsiteX5567" fmla="*/ 2578894 w 6400800"/>
                <a:gd name="connsiteY5567" fmla="*/ 242411 h 514350"/>
                <a:gd name="connsiteX5568" fmla="*/ 2597944 w 6400800"/>
                <a:gd name="connsiteY5568" fmla="*/ 275749 h 514350"/>
                <a:gd name="connsiteX5569" fmla="*/ 2597944 w 6400800"/>
                <a:gd name="connsiteY5569" fmla="*/ 274796 h 514350"/>
                <a:gd name="connsiteX5570" fmla="*/ 2597944 w 6400800"/>
                <a:gd name="connsiteY5570" fmla="*/ 275749 h 514350"/>
                <a:gd name="connsiteX5571" fmla="*/ 2597944 w 6400800"/>
                <a:gd name="connsiteY5571" fmla="*/ 275749 h 514350"/>
                <a:gd name="connsiteX5572" fmla="*/ 2616041 w 6400800"/>
                <a:gd name="connsiteY5572" fmla="*/ 309086 h 514350"/>
                <a:gd name="connsiteX5573" fmla="*/ 2613184 w 6400800"/>
                <a:gd name="connsiteY5573" fmla="*/ 319564 h 514350"/>
                <a:gd name="connsiteX5574" fmla="*/ 2613184 w 6400800"/>
                <a:gd name="connsiteY5574" fmla="*/ 318611 h 514350"/>
                <a:gd name="connsiteX5575" fmla="*/ 2613184 w 6400800"/>
                <a:gd name="connsiteY5575" fmla="*/ 319564 h 514350"/>
                <a:gd name="connsiteX5576" fmla="*/ 2613184 w 6400800"/>
                <a:gd name="connsiteY5576" fmla="*/ 319564 h 514350"/>
                <a:gd name="connsiteX5577" fmla="*/ 2600801 w 6400800"/>
                <a:gd name="connsiteY5577" fmla="*/ 289084 h 514350"/>
                <a:gd name="connsiteX5578" fmla="*/ 2602706 w 6400800"/>
                <a:gd name="connsiteY5578" fmla="*/ 282416 h 514350"/>
                <a:gd name="connsiteX5579" fmla="*/ 2612231 w 6400800"/>
                <a:gd name="connsiteY5579" fmla="*/ 299561 h 514350"/>
                <a:gd name="connsiteX5580" fmla="*/ 2616041 w 6400800"/>
                <a:gd name="connsiteY5580" fmla="*/ 308134 h 514350"/>
                <a:gd name="connsiteX5581" fmla="*/ 2616041 w 6400800"/>
                <a:gd name="connsiteY5581" fmla="*/ 309086 h 514350"/>
                <a:gd name="connsiteX5582" fmla="*/ 2616041 w 6400800"/>
                <a:gd name="connsiteY5582" fmla="*/ 309086 h 514350"/>
                <a:gd name="connsiteX5583" fmla="*/ 2604611 w 6400800"/>
                <a:gd name="connsiteY5583" fmla="*/ 276701 h 514350"/>
                <a:gd name="connsiteX5584" fmla="*/ 2608421 w 6400800"/>
                <a:gd name="connsiteY5584" fmla="*/ 267176 h 514350"/>
                <a:gd name="connsiteX5585" fmla="*/ 2615089 w 6400800"/>
                <a:gd name="connsiteY5585" fmla="*/ 290036 h 514350"/>
                <a:gd name="connsiteX5586" fmla="*/ 2604611 w 6400800"/>
                <a:gd name="connsiteY5586" fmla="*/ 276701 h 514350"/>
                <a:gd name="connsiteX5587" fmla="*/ 2614136 w 6400800"/>
                <a:gd name="connsiteY5587" fmla="*/ 276701 h 514350"/>
                <a:gd name="connsiteX5588" fmla="*/ 2609374 w 6400800"/>
                <a:gd name="connsiteY5588" fmla="*/ 266224 h 514350"/>
                <a:gd name="connsiteX5589" fmla="*/ 2612231 w 6400800"/>
                <a:gd name="connsiteY5589" fmla="*/ 257651 h 514350"/>
                <a:gd name="connsiteX5590" fmla="*/ 2614136 w 6400800"/>
                <a:gd name="connsiteY5590" fmla="*/ 276701 h 514350"/>
                <a:gd name="connsiteX5591" fmla="*/ 2606516 w 6400800"/>
                <a:gd name="connsiteY5591" fmla="*/ 208121 h 514350"/>
                <a:gd name="connsiteX5592" fmla="*/ 2611279 w 6400800"/>
                <a:gd name="connsiteY5592" fmla="*/ 250984 h 514350"/>
                <a:gd name="connsiteX5593" fmla="*/ 2611279 w 6400800"/>
                <a:gd name="connsiteY5593" fmla="*/ 251936 h 514350"/>
                <a:gd name="connsiteX5594" fmla="*/ 2600801 w 6400800"/>
                <a:gd name="connsiteY5594" fmla="*/ 271939 h 514350"/>
                <a:gd name="connsiteX5595" fmla="*/ 2597944 w 6400800"/>
                <a:gd name="connsiteY5595" fmla="*/ 268129 h 514350"/>
                <a:gd name="connsiteX5596" fmla="*/ 2595086 w 6400800"/>
                <a:gd name="connsiteY5596" fmla="*/ 237649 h 514350"/>
                <a:gd name="connsiteX5597" fmla="*/ 2594134 w 6400800"/>
                <a:gd name="connsiteY5597" fmla="*/ 228124 h 514350"/>
                <a:gd name="connsiteX5598" fmla="*/ 2605564 w 6400800"/>
                <a:gd name="connsiteY5598" fmla="*/ 179546 h 514350"/>
                <a:gd name="connsiteX5599" fmla="*/ 2606516 w 6400800"/>
                <a:gd name="connsiteY5599" fmla="*/ 208121 h 514350"/>
                <a:gd name="connsiteX5600" fmla="*/ 2586514 w 6400800"/>
                <a:gd name="connsiteY5600" fmla="*/ 186214 h 514350"/>
                <a:gd name="connsiteX5601" fmla="*/ 2598896 w 6400800"/>
                <a:gd name="connsiteY5601" fmla="*/ 159544 h 514350"/>
                <a:gd name="connsiteX5602" fmla="*/ 2601754 w 6400800"/>
                <a:gd name="connsiteY5602" fmla="*/ 153829 h 514350"/>
                <a:gd name="connsiteX5603" fmla="*/ 2603659 w 6400800"/>
                <a:gd name="connsiteY5603" fmla="*/ 173831 h 514350"/>
                <a:gd name="connsiteX5604" fmla="*/ 2590324 w 6400800"/>
                <a:gd name="connsiteY5604" fmla="*/ 210979 h 514350"/>
                <a:gd name="connsiteX5605" fmla="*/ 2586514 w 6400800"/>
                <a:gd name="connsiteY5605" fmla="*/ 187166 h 514350"/>
                <a:gd name="connsiteX5606" fmla="*/ 2586514 w 6400800"/>
                <a:gd name="connsiteY5606" fmla="*/ 186214 h 514350"/>
                <a:gd name="connsiteX5607" fmla="*/ 2584609 w 6400800"/>
                <a:gd name="connsiteY5607" fmla="*/ 408146 h 514350"/>
                <a:gd name="connsiteX5608" fmla="*/ 2584609 w 6400800"/>
                <a:gd name="connsiteY5608" fmla="*/ 408146 h 514350"/>
                <a:gd name="connsiteX5609" fmla="*/ 2581751 w 6400800"/>
                <a:gd name="connsiteY5609" fmla="*/ 393859 h 514350"/>
                <a:gd name="connsiteX5610" fmla="*/ 2584609 w 6400800"/>
                <a:gd name="connsiteY5610" fmla="*/ 408146 h 514350"/>
                <a:gd name="connsiteX5611" fmla="*/ 2580799 w 6400800"/>
                <a:gd name="connsiteY5611" fmla="*/ 199549 h 514350"/>
                <a:gd name="connsiteX5612" fmla="*/ 2581751 w 6400800"/>
                <a:gd name="connsiteY5612" fmla="*/ 228124 h 514350"/>
                <a:gd name="connsiteX5613" fmla="*/ 2578894 w 6400800"/>
                <a:gd name="connsiteY5613" fmla="*/ 231934 h 514350"/>
                <a:gd name="connsiteX5614" fmla="*/ 2575084 w 6400800"/>
                <a:gd name="connsiteY5614" fmla="*/ 236696 h 514350"/>
                <a:gd name="connsiteX5615" fmla="*/ 2573179 w 6400800"/>
                <a:gd name="connsiteY5615" fmla="*/ 233839 h 514350"/>
                <a:gd name="connsiteX5616" fmla="*/ 2572226 w 6400800"/>
                <a:gd name="connsiteY5616" fmla="*/ 229076 h 514350"/>
                <a:gd name="connsiteX5617" fmla="*/ 2571274 w 6400800"/>
                <a:gd name="connsiteY5617" fmla="*/ 219551 h 514350"/>
                <a:gd name="connsiteX5618" fmla="*/ 2580799 w 6400800"/>
                <a:gd name="connsiteY5618" fmla="*/ 199549 h 514350"/>
                <a:gd name="connsiteX5619" fmla="*/ 2569369 w 6400800"/>
                <a:gd name="connsiteY5619" fmla="*/ 320516 h 514350"/>
                <a:gd name="connsiteX5620" fmla="*/ 2570321 w 6400800"/>
                <a:gd name="connsiteY5620" fmla="*/ 327184 h 514350"/>
                <a:gd name="connsiteX5621" fmla="*/ 2571274 w 6400800"/>
                <a:gd name="connsiteY5621" fmla="*/ 330041 h 514350"/>
                <a:gd name="connsiteX5622" fmla="*/ 2563654 w 6400800"/>
                <a:gd name="connsiteY5622" fmla="*/ 345281 h 514350"/>
                <a:gd name="connsiteX5623" fmla="*/ 2562701 w 6400800"/>
                <a:gd name="connsiteY5623" fmla="*/ 342424 h 514350"/>
                <a:gd name="connsiteX5624" fmla="*/ 2569369 w 6400800"/>
                <a:gd name="connsiteY5624" fmla="*/ 320516 h 514350"/>
                <a:gd name="connsiteX5625" fmla="*/ 2556034 w 6400800"/>
                <a:gd name="connsiteY5625" fmla="*/ 262414 h 514350"/>
                <a:gd name="connsiteX5626" fmla="*/ 2559844 w 6400800"/>
                <a:gd name="connsiteY5626" fmla="*/ 251936 h 514350"/>
                <a:gd name="connsiteX5627" fmla="*/ 2560796 w 6400800"/>
                <a:gd name="connsiteY5627" fmla="*/ 257651 h 514350"/>
                <a:gd name="connsiteX5628" fmla="*/ 2559844 w 6400800"/>
                <a:gd name="connsiteY5628" fmla="*/ 259556 h 514350"/>
                <a:gd name="connsiteX5629" fmla="*/ 2554129 w 6400800"/>
                <a:gd name="connsiteY5629" fmla="*/ 269081 h 514350"/>
                <a:gd name="connsiteX5630" fmla="*/ 2556034 w 6400800"/>
                <a:gd name="connsiteY5630" fmla="*/ 262414 h 514350"/>
                <a:gd name="connsiteX5631" fmla="*/ 2561749 w 6400800"/>
                <a:gd name="connsiteY5631" fmla="*/ 276701 h 514350"/>
                <a:gd name="connsiteX5632" fmla="*/ 2562701 w 6400800"/>
                <a:gd name="connsiteY5632" fmla="*/ 274796 h 514350"/>
                <a:gd name="connsiteX5633" fmla="*/ 2564606 w 6400800"/>
                <a:gd name="connsiteY5633" fmla="*/ 287179 h 514350"/>
                <a:gd name="connsiteX5634" fmla="*/ 2557939 w 6400800"/>
                <a:gd name="connsiteY5634" fmla="*/ 309086 h 514350"/>
                <a:gd name="connsiteX5635" fmla="*/ 2556034 w 6400800"/>
                <a:gd name="connsiteY5635" fmla="*/ 313849 h 514350"/>
                <a:gd name="connsiteX5636" fmla="*/ 2553176 w 6400800"/>
                <a:gd name="connsiteY5636" fmla="*/ 296704 h 514350"/>
                <a:gd name="connsiteX5637" fmla="*/ 2561749 w 6400800"/>
                <a:gd name="connsiteY5637" fmla="*/ 276701 h 514350"/>
                <a:gd name="connsiteX5638" fmla="*/ 2538889 w 6400800"/>
                <a:gd name="connsiteY5638" fmla="*/ 252889 h 514350"/>
                <a:gd name="connsiteX5639" fmla="*/ 2540794 w 6400800"/>
                <a:gd name="connsiteY5639" fmla="*/ 242411 h 514350"/>
                <a:gd name="connsiteX5640" fmla="*/ 2542699 w 6400800"/>
                <a:gd name="connsiteY5640" fmla="*/ 238601 h 514350"/>
                <a:gd name="connsiteX5641" fmla="*/ 2544604 w 6400800"/>
                <a:gd name="connsiteY5641" fmla="*/ 233839 h 514350"/>
                <a:gd name="connsiteX5642" fmla="*/ 2543651 w 6400800"/>
                <a:gd name="connsiteY5642" fmla="*/ 248126 h 514350"/>
                <a:gd name="connsiteX5643" fmla="*/ 2542699 w 6400800"/>
                <a:gd name="connsiteY5643" fmla="*/ 257651 h 514350"/>
                <a:gd name="connsiteX5644" fmla="*/ 2537936 w 6400800"/>
                <a:gd name="connsiteY5644" fmla="*/ 268129 h 514350"/>
                <a:gd name="connsiteX5645" fmla="*/ 2538889 w 6400800"/>
                <a:gd name="connsiteY5645" fmla="*/ 252889 h 514350"/>
                <a:gd name="connsiteX5646" fmla="*/ 2521744 w 6400800"/>
                <a:gd name="connsiteY5646" fmla="*/ 475774 h 514350"/>
                <a:gd name="connsiteX5647" fmla="*/ 2522696 w 6400800"/>
                <a:gd name="connsiteY5647" fmla="*/ 484346 h 514350"/>
                <a:gd name="connsiteX5648" fmla="*/ 2520791 w 6400800"/>
                <a:gd name="connsiteY5648" fmla="*/ 479584 h 514350"/>
                <a:gd name="connsiteX5649" fmla="*/ 2521744 w 6400800"/>
                <a:gd name="connsiteY5649" fmla="*/ 475774 h 514350"/>
                <a:gd name="connsiteX5650" fmla="*/ 2514124 w 6400800"/>
                <a:gd name="connsiteY5650" fmla="*/ 323374 h 514350"/>
                <a:gd name="connsiteX5651" fmla="*/ 2514124 w 6400800"/>
                <a:gd name="connsiteY5651" fmla="*/ 323374 h 514350"/>
                <a:gd name="connsiteX5652" fmla="*/ 2513171 w 6400800"/>
                <a:gd name="connsiteY5652" fmla="*/ 328136 h 514350"/>
                <a:gd name="connsiteX5653" fmla="*/ 2513171 w 6400800"/>
                <a:gd name="connsiteY5653" fmla="*/ 329089 h 514350"/>
                <a:gd name="connsiteX5654" fmla="*/ 2514124 w 6400800"/>
                <a:gd name="connsiteY5654" fmla="*/ 323374 h 514350"/>
                <a:gd name="connsiteX5655" fmla="*/ 2509361 w 6400800"/>
                <a:gd name="connsiteY5655" fmla="*/ 300514 h 514350"/>
                <a:gd name="connsiteX5656" fmla="*/ 2508409 w 6400800"/>
                <a:gd name="connsiteY5656" fmla="*/ 302419 h 514350"/>
                <a:gd name="connsiteX5657" fmla="*/ 2508409 w 6400800"/>
                <a:gd name="connsiteY5657" fmla="*/ 302419 h 514350"/>
                <a:gd name="connsiteX5658" fmla="*/ 2507456 w 6400800"/>
                <a:gd name="connsiteY5658" fmla="*/ 294799 h 514350"/>
                <a:gd name="connsiteX5659" fmla="*/ 2509361 w 6400800"/>
                <a:gd name="connsiteY5659" fmla="*/ 300514 h 514350"/>
                <a:gd name="connsiteX5660" fmla="*/ 2496979 w 6400800"/>
                <a:gd name="connsiteY5660" fmla="*/ 292894 h 514350"/>
                <a:gd name="connsiteX5661" fmla="*/ 2497931 w 6400800"/>
                <a:gd name="connsiteY5661" fmla="*/ 290036 h 514350"/>
                <a:gd name="connsiteX5662" fmla="*/ 2496979 w 6400800"/>
                <a:gd name="connsiteY5662" fmla="*/ 290989 h 514350"/>
                <a:gd name="connsiteX5663" fmla="*/ 2497931 w 6400800"/>
                <a:gd name="connsiteY5663" fmla="*/ 284321 h 514350"/>
                <a:gd name="connsiteX5664" fmla="*/ 2498884 w 6400800"/>
                <a:gd name="connsiteY5664" fmla="*/ 269081 h 514350"/>
                <a:gd name="connsiteX5665" fmla="*/ 2498884 w 6400800"/>
                <a:gd name="connsiteY5665" fmla="*/ 266224 h 514350"/>
                <a:gd name="connsiteX5666" fmla="*/ 2502694 w 6400800"/>
                <a:gd name="connsiteY5666" fmla="*/ 277654 h 514350"/>
                <a:gd name="connsiteX5667" fmla="*/ 2502694 w 6400800"/>
                <a:gd name="connsiteY5667" fmla="*/ 283369 h 514350"/>
                <a:gd name="connsiteX5668" fmla="*/ 2501741 w 6400800"/>
                <a:gd name="connsiteY5668" fmla="*/ 302419 h 514350"/>
                <a:gd name="connsiteX5669" fmla="*/ 2501741 w 6400800"/>
                <a:gd name="connsiteY5669" fmla="*/ 313849 h 514350"/>
                <a:gd name="connsiteX5670" fmla="*/ 2500789 w 6400800"/>
                <a:gd name="connsiteY5670" fmla="*/ 325279 h 514350"/>
                <a:gd name="connsiteX5671" fmla="*/ 2500789 w 6400800"/>
                <a:gd name="connsiteY5671" fmla="*/ 326231 h 514350"/>
                <a:gd name="connsiteX5672" fmla="*/ 2499836 w 6400800"/>
                <a:gd name="connsiteY5672" fmla="*/ 315754 h 514350"/>
                <a:gd name="connsiteX5673" fmla="*/ 2499836 w 6400800"/>
                <a:gd name="connsiteY5673" fmla="*/ 310039 h 514350"/>
                <a:gd name="connsiteX5674" fmla="*/ 2500789 w 6400800"/>
                <a:gd name="connsiteY5674" fmla="*/ 297656 h 514350"/>
                <a:gd name="connsiteX5675" fmla="*/ 2500789 w 6400800"/>
                <a:gd name="connsiteY5675" fmla="*/ 286226 h 514350"/>
                <a:gd name="connsiteX5676" fmla="*/ 2496979 w 6400800"/>
                <a:gd name="connsiteY5676" fmla="*/ 292894 h 514350"/>
                <a:gd name="connsiteX5677" fmla="*/ 2496979 w 6400800"/>
                <a:gd name="connsiteY5677" fmla="*/ 292894 h 514350"/>
                <a:gd name="connsiteX5678" fmla="*/ 2449354 w 6400800"/>
                <a:gd name="connsiteY5678" fmla="*/ 334804 h 514350"/>
                <a:gd name="connsiteX5679" fmla="*/ 2447449 w 6400800"/>
                <a:gd name="connsiteY5679" fmla="*/ 328136 h 514350"/>
                <a:gd name="connsiteX5680" fmla="*/ 2450306 w 6400800"/>
                <a:gd name="connsiteY5680" fmla="*/ 321469 h 514350"/>
                <a:gd name="connsiteX5681" fmla="*/ 2450306 w 6400800"/>
                <a:gd name="connsiteY5681" fmla="*/ 322421 h 514350"/>
                <a:gd name="connsiteX5682" fmla="*/ 2451259 w 6400800"/>
                <a:gd name="connsiteY5682" fmla="*/ 324326 h 514350"/>
                <a:gd name="connsiteX5683" fmla="*/ 2449354 w 6400800"/>
                <a:gd name="connsiteY5683" fmla="*/ 334804 h 514350"/>
                <a:gd name="connsiteX5684" fmla="*/ 2450306 w 6400800"/>
                <a:gd name="connsiteY5684" fmla="*/ 254794 h 514350"/>
                <a:gd name="connsiteX5685" fmla="*/ 2451259 w 6400800"/>
                <a:gd name="connsiteY5685" fmla="*/ 251936 h 514350"/>
                <a:gd name="connsiteX5686" fmla="*/ 2451259 w 6400800"/>
                <a:gd name="connsiteY5686" fmla="*/ 250984 h 514350"/>
                <a:gd name="connsiteX5687" fmla="*/ 2451259 w 6400800"/>
                <a:gd name="connsiteY5687" fmla="*/ 251936 h 514350"/>
                <a:gd name="connsiteX5688" fmla="*/ 2450306 w 6400800"/>
                <a:gd name="connsiteY5688" fmla="*/ 254794 h 514350"/>
                <a:gd name="connsiteX5689" fmla="*/ 2452211 w 6400800"/>
                <a:gd name="connsiteY5689" fmla="*/ 251936 h 514350"/>
                <a:gd name="connsiteX5690" fmla="*/ 2451259 w 6400800"/>
                <a:gd name="connsiteY5690" fmla="*/ 250984 h 514350"/>
                <a:gd name="connsiteX5691" fmla="*/ 2456021 w 6400800"/>
                <a:gd name="connsiteY5691" fmla="*/ 238601 h 514350"/>
                <a:gd name="connsiteX5692" fmla="*/ 2460784 w 6400800"/>
                <a:gd name="connsiteY5692" fmla="*/ 231934 h 514350"/>
                <a:gd name="connsiteX5693" fmla="*/ 2459831 w 6400800"/>
                <a:gd name="connsiteY5693" fmla="*/ 235744 h 514350"/>
                <a:gd name="connsiteX5694" fmla="*/ 2456021 w 6400800"/>
                <a:gd name="connsiteY5694" fmla="*/ 248126 h 514350"/>
                <a:gd name="connsiteX5695" fmla="*/ 2452211 w 6400800"/>
                <a:gd name="connsiteY5695" fmla="*/ 251936 h 514350"/>
                <a:gd name="connsiteX5696" fmla="*/ 2457926 w 6400800"/>
                <a:gd name="connsiteY5696" fmla="*/ 266224 h 514350"/>
                <a:gd name="connsiteX5697" fmla="*/ 2456974 w 6400800"/>
                <a:gd name="connsiteY5697" fmla="*/ 268129 h 514350"/>
                <a:gd name="connsiteX5698" fmla="*/ 2457926 w 6400800"/>
                <a:gd name="connsiteY5698" fmla="*/ 266224 h 514350"/>
                <a:gd name="connsiteX5699" fmla="*/ 2457926 w 6400800"/>
                <a:gd name="connsiteY5699" fmla="*/ 266224 h 514350"/>
                <a:gd name="connsiteX5700" fmla="*/ 2457926 w 6400800"/>
                <a:gd name="connsiteY5700" fmla="*/ 374809 h 514350"/>
                <a:gd name="connsiteX5701" fmla="*/ 2456021 w 6400800"/>
                <a:gd name="connsiteY5701" fmla="*/ 367189 h 514350"/>
                <a:gd name="connsiteX5702" fmla="*/ 2456021 w 6400800"/>
                <a:gd name="connsiteY5702" fmla="*/ 362426 h 514350"/>
                <a:gd name="connsiteX5703" fmla="*/ 2456021 w 6400800"/>
                <a:gd name="connsiteY5703" fmla="*/ 344329 h 514350"/>
                <a:gd name="connsiteX5704" fmla="*/ 2458879 w 6400800"/>
                <a:gd name="connsiteY5704" fmla="*/ 354806 h 514350"/>
                <a:gd name="connsiteX5705" fmla="*/ 2457926 w 6400800"/>
                <a:gd name="connsiteY5705" fmla="*/ 374809 h 514350"/>
                <a:gd name="connsiteX5706" fmla="*/ 2456974 w 6400800"/>
                <a:gd name="connsiteY5706" fmla="*/ 308134 h 514350"/>
                <a:gd name="connsiteX5707" fmla="*/ 2456974 w 6400800"/>
                <a:gd name="connsiteY5707" fmla="*/ 305276 h 514350"/>
                <a:gd name="connsiteX5708" fmla="*/ 2457926 w 6400800"/>
                <a:gd name="connsiteY5708" fmla="*/ 302419 h 514350"/>
                <a:gd name="connsiteX5709" fmla="*/ 2459831 w 6400800"/>
                <a:gd name="connsiteY5709" fmla="*/ 313849 h 514350"/>
                <a:gd name="connsiteX5710" fmla="*/ 2460784 w 6400800"/>
                <a:gd name="connsiteY5710" fmla="*/ 317659 h 514350"/>
                <a:gd name="connsiteX5711" fmla="*/ 2456974 w 6400800"/>
                <a:gd name="connsiteY5711" fmla="*/ 308134 h 514350"/>
                <a:gd name="connsiteX5712" fmla="*/ 2458879 w 6400800"/>
                <a:gd name="connsiteY5712" fmla="*/ 290036 h 514350"/>
                <a:gd name="connsiteX5713" fmla="*/ 2459831 w 6400800"/>
                <a:gd name="connsiteY5713" fmla="*/ 287179 h 514350"/>
                <a:gd name="connsiteX5714" fmla="*/ 2463641 w 6400800"/>
                <a:gd name="connsiteY5714" fmla="*/ 277654 h 514350"/>
                <a:gd name="connsiteX5715" fmla="*/ 2465546 w 6400800"/>
                <a:gd name="connsiteY5715" fmla="*/ 281464 h 514350"/>
                <a:gd name="connsiteX5716" fmla="*/ 2458879 w 6400800"/>
                <a:gd name="connsiteY5716" fmla="*/ 290036 h 514350"/>
                <a:gd name="connsiteX5717" fmla="*/ 2464594 w 6400800"/>
                <a:gd name="connsiteY5717" fmla="*/ 305276 h 514350"/>
                <a:gd name="connsiteX5718" fmla="*/ 2460784 w 6400800"/>
                <a:gd name="connsiteY5718" fmla="*/ 295751 h 514350"/>
                <a:gd name="connsiteX5719" fmla="*/ 2462689 w 6400800"/>
                <a:gd name="connsiteY5719" fmla="*/ 292894 h 514350"/>
                <a:gd name="connsiteX5720" fmla="*/ 2466499 w 6400800"/>
                <a:gd name="connsiteY5720" fmla="*/ 285274 h 514350"/>
                <a:gd name="connsiteX5721" fmla="*/ 2464594 w 6400800"/>
                <a:gd name="connsiteY5721" fmla="*/ 305276 h 514350"/>
                <a:gd name="connsiteX5722" fmla="*/ 2467451 w 6400800"/>
                <a:gd name="connsiteY5722" fmla="*/ 274796 h 514350"/>
                <a:gd name="connsiteX5723" fmla="*/ 2466499 w 6400800"/>
                <a:gd name="connsiteY5723" fmla="*/ 272891 h 514350"/>
                <a:gd name="connsiteX5724" fmla="*/ 2468404 w 6400800"/>
                <a:gd name="connsiteY5724" fmla="*/ 268129 h 514350"/>
                <a:gd name="connsiteX5725" fmla="*/ 2467451 w 6400800"/>
                <a:gd name="connsiteY5725" fmla="*/ 274796 h 514350"/>
                <a:gd name="connsiteX5726" fmla="*/ 2471261 w 6400800"/>
                <a:gd name="connsiteY5726" fmla="*/ 233839 h 514350"/>
                <a:gd name="connsiteX5727" fmla="*/ 2470309 w 6400800"/>
                <a:gd name="connsiteY5727" fmla="*/ 245269 h 514350"/>
                <a:gd name="connsiteX5728" fmla="*/ 2469356 w 6400800"/>
                <a:gd name="connsiteY5728" fmla="*/ 246221 h 514350"/>
                <a:gd name="connsiteX5729" fmla="*/ 2459831 w 6400800"/>
                <a:gd name="connsiteY5729" fmla="*/ 263366 h 514350"/>
                <a:gd name="connsiteX5730" fmla="*/ 2458879 w 6400800"/>
                <a:gd name="connsiteY5730" fmla="*/ 261461 h 514350"/>
                <a:gd name="connsiteX5731" fmla="*/ 2461736 w 6400800"/>
                <a:gd name="connsiteY5731" fmla="*/ 247174 h 514350"/>
                <a:gd name="connsiteX5732" fmla="*/ 2462689 w 6400800"/>
                <a:gd name="connsiteY5732" fmla="*/ 245269 h 514350"/>
                <a:gd name="connsiteX5733" fmla="*/ 2472214 w 6400800"/>
                <a:gd name="connsiteY5733" fmla="*/ 231934 h 514350"/>
                <a:gd name="connsiteX5734" fmla="*/ 2472214 w 6400800"/>
                <a:gd name="connsiteY5734" fmla="*/ 231934 h 514350"/>
                <a:gd name="connsiteX5735" fmla="*/ 2473166 w 6400800"/>
                <a:gd name="connsiteY5735" fmla="*/ 240506 h 514350"/>
                <a:gd name="connsiteX5736" fmla="*/ 2472214 w 6400800"/>
                <a:gd name="connsiteY5736" fmla="*/ 242411 h 514350"/>
                <a:gd name="connsiteX5737" fmla="*/ 2471261 w 6400800"/>
                <a:gd name="connsiteY5737" fmla="*/ 233839 h 514350"/>
                <a:gd name="connsiteX5738" fmla="*/ 2467451 w 6400800"/>
                <a:gd name="connsiteY5738" fmla="*/ 211931 h 514350"/>
                <a:gd name="connsiteX5739" fmla="*/ 2465546 w 6400800"/>
                <a:gd name="connsiteY5739" fmla="*/ 213836 h 514350"/>
                <a:gd name="connsiteX5740" fmla="*/ 2466499 w 6400800"/>
                <a:gd name="connsiteY5740" fmla="*/ 211931 h 514350"/>
                <a:gd name="connsiteX5741" fmla="*/ 2468404 w 6400800"/>
                <a:gd name="connsiteY5741" fmla="*/ 208121 h 514350"/>
                <a:gd name="connsiteX5742" fmla="*/ 2468404 w 6400800"/>
                <a:gd name="connsiteY5742" fmla="*/ 210979 h 514350"/>
                <a:gd name="connsiteX5743" fmla="*/ 2467451 w 6400800"/>
                <a:gd name="connsiteY5743" fmla="*/ 211931 h 514350"/>
                <a:gd name="connsiteX5744" fmla="*/ 2467451 w 6400800"/>
                <a:gd name="connsiteY5744" fmla="*/ 211931 h 514350"/>
                <a:gd name="connsiteX5745" fmla="*/ 2467451 w 6400800"/>
                <a:gd name="connsiteY5745" fmla="*/ 211931 h 514350"/>
                <a:gd name="connsiteX5746" fmla="*/ 2470309 w 6400800"/>
                <a:gd name="connsiteY5746" fmla="*/ 218599 h 514350"/>
                <a:gd name="connsiteX5747" fmla="*/ 2472214 w 6400800"/>
                <a:gd name="connsiteY5747" fmla="*/ 230029 h 514350"/>
                <a:gd name="connsiteX5748" fmla="*/ 2472214 w 6400800"/>
                <a:gd name="connsiteY5748" fmla="*/ 230029 h 514350"/>
                <a:gd name="connsiteX5749" fmla="*/ 2463641 w 6400800"/>
                <a:gd name="connsiteY5749" fmla="*/ 237649 h 514350"/>
                <a:gd name="connsiteX5750" fmla="*/ 2464594 w 6400800"/>
                <a:gd name="connsiteY5750" fmla="*/ 234791 h 514350"/>
                <a:gd name="connsiteX5751" fmla="*/ 2466499 w 6400800"/>
                <a:gd name="connsiteY5751" fmla="*/ 224314 h 514350"/>
                <a:gd name="connsiteX5752" fmla="*/ 2466499 w 6400800"/>
                <a:gd name="connsiteY5752" fmla="*/ 224314 h 514350"/>
                <a:gd name="connsiteX5753" fmla="*/ 2470309 w 6400800"/>
                <a:gd name="connsiteY5753" fmla="*/ 218599 h 514350"/>
                <a:gd name="connsiteX5754" fmla="*/ 2477929 w 6400800"/>
                <a:gd name="connsiteY5754" fmla="*/ 223361 h 514350"/>
                <a:gd name="connsiteX5755" fmla="*/ 2475071 w 6400800"/>
                <a:gd name="connsiteY5755" fmla="*/ 212884 h 514350"/>
                <a:gd name="connsiteX5756" fmla="*/ 2477929 w 6400800"/>
                <a:gd name="connsiteY5756" fmla="*/ 209074 h 514350"/>
                <a:gd name="connsiteX5757" fmla="*/ 2477929 w 6400800"/>
                <a:gd name="connsiteY5757" fmla="*/ 217646 h 514350"/>
                <a:gd name="connsiteX5758" fmla="*/ 2477929 w 6400800"/>
                <a:gd name="connsiteY5758" fmla="*/ 223361 h 514350"/>
                <a:gd name="connsiteX5759" fmla="*/ 2473166 w 6400800"/>
                <a:gd name="connsiteY5759" fmla="*/ 206216 h 514350"/>
                <a:gd name="connsiteX5760" fmla="*/ 2472214 w 6400800"/>
                <a:gd name="connsiteY5760" fmla="*/ 203359 h 514350"/>
                <a:gd name="connsiteX5761" fmla="*/ 2471261 w 6400800"/>
                <a:gd name="connsiteY5761" fmla="*/ 201454 h 514350"/>
                <a:gd name="connsiteX5762" fmla="*/ 2474119 w 6400800"/>
                <a:gd name="connsiteY5762" fmla="*/ 195739 h 514350"/>
                <a:gd name="connsiteX5763" fmla="*/ 2477929 w 6400800"/>
                <a:gd name="connsiteY5763" fmla="*/ 189071 h 514350"/>
                <a:gd name="connsiteX5764" fmla="*/ 2477929 w 6400800"/>
                <a:gd name="connsiteY5764" fmla="*/ 201454 h 514350"/>
                <a:gd name="connsiteX5765" fmla="*/ 2473166 w 6400800"/>
                <a:gd name="connsiteY5765" fmla="*/ 206216 h 514350"/>
                <a:gd name="connsiteX5766" fmla="*/ 2473166 w 6400800"/>
                <a:gd name="connsiteY5766" fmla="*/ 255746 h 514350"/>
                <a:gd name="connsiteX5767" fmla="*/ 2475071 w 6400800"/>
                <a:gd name="connsiteY5767" fmla="*/ 251936 h 514350"/>
                <a:gd name="connsiteX5768" fmla="*/ 2476976 w 6400800"/>
                <a:gd name="connsiteY5768" fmla="*/ 266224 h 514350"/>
                <a:gd name="connsiteX5769" fmla="*/ 2479834 w 6400800"/>
                <a:gd name="connsiteY5769" fmla="*/ 292894 h 514350"/>
                <a:gd name="connsiteX5770" fmla="*/ 2479834 w 6400800"/>
                <a:gd name="connsiteY5770" fmla="*/ 296704 h 514350"/>
                <a:gd name="connsiteX5771" fmla="*/ 2479834 w 6400800"/>
                <a:gd name="connsiteY5771" fmla="*/ 295751 h 514350"/>
                <a:gd name="connsiteX5772" fmla="*/ 2475071 w 6400800"/>
                <a:gd name="connsiteY5772" fmla="*/ 288131 h 514350"/>
                <a:gd name="connsiteX5773" fmla="*/ 2473166 w 6400800"/>
                <a:gd name="connsiteY5773" fmla="*/ 255746 h 514350"/>
                <a:gd name="connsiteX5774" fmla="*/ 2481739 w 6400800"/>
                <a:gd name="connsiteY5774" fmla="*/ 324326 h 514350"/>
                <a:gd name="connsiteX5775" fmla="*/ 2480786 w 6400800"/>
                <a:gd name="connsiteY5775" fmla="*/ 326231 h 514350"/>
                <a:gd name="connsiteX5776" fmla="*/ 2476024 w 6400800"/>
                <a:gd name="connsiteY5776" fmla="*/ 340519 h 514350"/>
                <a:gd name="connsiteX5777" fmla="*/ 2476024 w 6400800"/>
                <a:gd name="connsiteY5777" fmla="*/ 308134 h 514350"/>
                <a:gd name="connsiteX5778" fmla="*/ 2476024 w 6400800"/>
                <a:gd name="connsiteY5778" fmla="*/ 308134 h 514350"/>
                <a:gd name="connsiteX5779" fmla="*/ 2479834 w 6400800"/>
                <a:gd name="connsiteY5779" fmla="*/ 318611 h 514350"/>
                <a:gd name="connsiteX5780" fmla="*/ 2480786 w 6400800"/>
                <a:gd name="connsiteY5780" fmla="*/ 322421 h 514350"/>
                <a:gd name="connsiteX5781" fmla="*/ 2481739 w 6400800"/>
                <a:gd name="connsiteY5781" fmla="*/ 324326 h 514350"/>
                <a:gd name="connsiteX5782" fmla="*/ 2481739 w 6400800"/>
                <a:gd name="connsiteY5782" fmla="*/ 324326 h 514350"/>
                <a:gd name="connsiteX5783" fmla="*/ 2436971 w 6400800"/>
                <a:gd name="connsiteY5783" fmla="*/ 215741 h 514350"/>
                <a:gd name="connsiteX5784" fmla="*/ 2447449 w 6400800"/>
                <a:gd name="connsiteY5784" fmla="*/ 195739 h 514350"/>
                <a:gd name="connsiteX5785" fmla="*/ 2457926 w 6400800"/>
                <a:gd name="connsiteY5785" fmla="*/ 178594 h 514350"/>
                <a:gd name="connsiteX5786" fmla="*/ 2475071 w 6400800"/>
                <a:gd name="connsiteY5786" fmla="*/ 150971 h 514350"/>
                <a:gd name="connsiteX5787" fmla="*/ 2482691 w 6400800"/>
                <a:gd name="connsiteY5787" fmla="*/ 138589 h 514350"/>
                <a:gd name="connsiteX5788" fmla="*/ 2480786 w 6400800"/>
                <a:gd name="connsiteY5788" fmla="*/ 154781 h 514350"/>
                <a:gd name="connsiteX5789" fmla="*/ 2478881 w 6400800"/>
                <a:gd name="connsiteY5789" fmla="*/ 181451 h 514350"/>
                <a:gd name="connsiteX5790" fmla="*/ 2470309 w 6400800"/>
                <a:gd name="connsiteY5790" fmla="*/ 193834 h 514350"/>
                <a:gd name="connsiteX5791" fmla="*/ 2469356 w 6400800"/>
                <a:gd name="connsiteY5791" fmla="*/ 194786 h 514350"/>
                <a:gd name="connsiteX5792" fmla="*/ 2465546 w 6400800"/>
                <a:gd name="connsiteY5792" fmla="*/ 181451 h 514350"/>
                <a:gd name="connsiteX5793" fmla="*/ 2467451 w 6400800"/>
                <a:gd name="connsiteY5793" fmla="*/ 197644 h 514350"/>
                <a:gd name="connsiteX5794" fmla="*/ 2460784 w 6400800"/>
                <a:gd name="connsiteY5794" fmla="*/ 209074 h 514350"/>
                <a:gd name="connsiteX5795" fmla="*/ 2447449 w 6400800"/>
                <a:gd name="connsiteY5795" fmla="*/ 234791 h 514350"/>
                <a:gd name="connsiteX5796" fmla="*/ 2436971 w 6400800"/>
                <a:gd name="connsiteY5796" fmla="*/ 247174 h 514350"/>
                <a:gd name="connsiteX5797" fmla="*/ 2436019 w 6400800"/>
                <a:gd name="connsiteY5797" fmla="*/ 249079 h 514350"/>
                <a:gd name="connsiteX5798" fmla="*/ 2436019 w 6400800"/>
                <a:gd name="connsiteY5798" fmla="*/ 249079 h 514350"/>
                <a:gd name="connsiteX5799" fmla="*/ 2433161 w 6400800"/>
                <a:gd name="connsiteY5799" fmla="*/ 225266 h 514350"/>
                <a:gd name="connsiteX5800" fmla="*/ 2436971 w 6400800"/>
                <a:gd name="connsiteY5800" fmla="*/ 215741 h 514350"/>
                <a:gd name="connsiteX5801" fmla="*/ 2416016 w 6400800"/>
                <a:gd name="connsiteY5801" fmla="*/ 313849 h 514350"/>
                <a:gd name="connsiteX5802" fmla="*/ 2416016 w 6400800"/>
                <a:gd name="connsiteY5802" fmla="*/ 313849 h 514350"/>
                <a:gd name="connsiteX5803" fmla="*/ 2413159 w 6400800"/>
                <a:gd name="connsiteY5803" fmla="*/ 304324 h 514350"/>
                <a:gd name="connsiteX5804" fmla="*/ 2415064 w 6400800"/>
                <a:gd name="connsiteY5804" fmla="*/ 301466 h 514350"/>
                <a:gd name="connsiteX5805" fmla="*/ 2415064 w 6400800"/>
                <a:gd name="connsiteY5805" fmla="*/ 303371 h 514350"/>
                <a:gd name="connsiteX5806" fmla="*/ 2416016 w 6400800"/>
                <a:gd name="connsiteY5806" fmla="*/ 313849 h 514350"/>
                <a:gd name="connsiteX5807" fmla="*/ 2416016 w 6400800"/>
                <a:gd name="connsiteY5807" fmla="*/ 313849 h 514350"/>
                <a:gd name="connsiteX5808" fmla="*/ 2422684 w 6400800"/>
                <a:gd name="connsiteY5808" fmla="*/ 288131 h 514350"/>
                <a:gd name="connsiteX5809" fmla="*/ 2422684 w 6400800"/>
                <a:gd name="connsiteY5809" fmla="*/ 293846 h 514350"/>
                <a:gd name="connsiteX5810" fmla="*/ 2420779 w 6400800"/>
                <a:gd name="connsiteY5810" fmla="*/ 299561 h 514350"/>
                <a:gd name="connsiteX5811" fmla="*/ 2418874 w 6400800"/>
                <a:gd name="connsiteY5811" fmla="*/ 293846 h 514350"/>
                <a:gd name="connsiteX5812" fmla="*/ 2420779 w 6400800"/>
                <a:gd name="connsiteY5812" fmla="*/ 290989 h 514350"/>
                <a:gd name="connsiteX5813" fmla="*/ 2422684 w 6400800"/>
                <a:gd name="connsiteY5813" fmla="*/ 288131 h 514350"/>
                <a:gd name="connsiteX5814" fmla="*/ 2414111 w 6400800"/>
                <a:gd name="connsiteY5814" fmla="*/ 259556 h 514350"/>
                <a:gd name="connsiteX5815" fmla="*/ 2419826 w 6400800"/>
                <a:gd name="connsiteY5815" fmla="*/ 248126 h 514350"/>
                <a:gd name="connsiteX5816" fmla="*/ 2420779 w 6400800"/>
                <a:gd name="connsiteY5816" fmla="*/ 266224 h 514350"/>
                <a:gd name="connsiteX5817" fmla="*/ 2412206 w 6400800"/>
                <a:gd name="connsiteY5817" fmla="*/ 277654 h 514350"/>
                <a:gd name="connsiteX5818" fmla="*/ 2410301 w 6400800"/>
                <a:gd name="connsiteY5818" fmla="*/ 273844 h 514350"/>
                <a:gd name="connsiteX5819" fmla="*/ 2408396 w 6400800"/>
                <a:gd name="connsiteY5819" fmla="*/ 270986 h 514350"/>
                <a:gd name="connsiteX5820" fmla="*/ 2414111 w 6400800"/>
                <a:gd name="connsiteY5820" fmla="*/ 259556 h 514350"/>
                <a:gd name="connsiteX5821" fmla="*/ 2406491 w 6400800"/>
                <a:gd name="connsiteY5821" fmla="*/ 275749 h 514350"/>
                <a:gd name="connsiteX5822" fmla="*/ 2406491 w 6400800"/>
                <a:gd name="connsiteY5822" fmla="*/ 275749 h 514350"/>
                <a:gd name="connsiteX5823" fmla="*/ 2409349 w 6400800"/>
                <a:gd name="connsiteY5823" fmla="*/ 282416 h 514350"/>
                <a:gd name="connsiteX5824" fmla="*/ 2406491 w 6400800"/>
                <a:gd name="connsiteY5824" fmla="*/ 286226 h 514350"/>
                <a:gd name="connsiteX5825" fmla="*/ 2404586 w 6400800"/>
                <a:gd name="connsiteY5825" fmla="*/ 280511 h 514350"/>
                <a:gd name="connsiteX5826" fmla="*/ 2406491 w 6400800"/>
                <a:gd name="connsiteY5826" fmla="*/ 275749 h 514350"/>
                <a:gd name="connsiteX5827" fmla="*/ 2405539 w 6400800"/>
                <a:gd name="connsiteY5827" fmla="*/ 317659 h 514350"/>
                <a:gd name="connsiteX5828" fmla="*/ 2408396 w 6400800"/>
                <a:gd name="connsiteY5828" fmla="*/ 328136 h 514350"/>
                <a:gd name="connsiteX5829" fmla="*/ 2408396 w 6400800"/>
                <a:gd name="connsiteY5829" fmla="*/ 334804 h 514350"/>
                <a:gd name="connsiteX5830" fmla="*/ 2407444 w 6400800"/>
                <a:gd name="connsiteY5830" fmla="*/ 332899 h 514350"/>
                <a:gd name="connsiteX5831" fmla="*/ 2407444 w 6400800"/>
                <a:gd name="connsiteY5831" fmla="*/ 340519 h 514350"/>
                <a:gd name="connsiteX5832" fmla="*/ 2404586 w 6400800"/>
                <a:gd name="connsiteY5832" fmla="*/ 350996 h 514350"/>
                <a:gd name="connsiteX5833" fmla="*/ 2400776 w 6400800"/>
                <a:gd name="connsiteY5833" fmla="*/ 364331 h 514350"/>
                <a:gd name="connsiteX5834" fmla="*/ 2398871 w 6400800"/>
                <a:gd name="connsiteY5834" fmla="*/ 343376 h 514350"/>
                <a:gd name="connsiteX5835" fmla="*/ 2397919 w 6400800"/>
                <a:gd name="connsiteY5835" fmla="*/ 333851 h 514350"/>
                <a:gd name="connsiteX5836" fmla="*/ 2398871 w 6400800"/>
                <a:gd name="connsiteY5836" fmla="*/ 330994 h 514350"/>
                <a:gd name="connsiteX5837" fmla="*/ 2405539 w 6400800"/>
                <a:gd name="connsiteY5837" fmla="*/ 317659 h 514350"/>
                <a:gd name="connsiteX5838" fmla="*/ 2398871 w 6400800"/>
                <a:gd name="connsiteY5838" fmla="*/ 291941 h 514350"/>
                <a:gd name="connsiteX5839" fmla="*/ 2399824 w 6400800"/>
                <a:gd name="connsiteY5839" fmla="*/ 295751 h 514350"/>
                <a:gd name="connsiteX5840" fmla="*/ 2394109 w 6400800"/>
                <a:gd name="connsiteY5840" fmla="*/ 303371 h 514350"/>
                <a:gd name="connsiteX5841" fmla="*/ 2394109 w 6400800"/>
                <a:gd name="connsiteY5841" fmla="*/ 302419 h 514350"/>
                <a:gd name="connsiteX5842" fmla="*/ 2398871 w 6400800"/>
                <a:gd name="connsiteY5842" fmla="*/ 291941 h 514350"/>
                <a:gd name="connsiteX5843" fmla="*/ 2393156 w 6400800"/>
                <a:gd name="connsiteY5843" fmla="*/ 267176 h 514350"/>
                <a:gd name="connsiteX5844" fmla="*/ 2391251 w 6400800"/>
                <a:gd name="connsiteY5844" fmla="*/ 270034 h 514350"/>
                <a:gd name="connsiteX5845" fmla="*/ 2389346 w 6400800"/>
                <a:gd name="connsiteY5845" fmla="*/ 254794 h 514350"/>
                <a:gd name="connsiteX5846" fmla="*/ 2393156 w 6400800"/>
                <a:gd name="connsiteY5846" fmla="*/ 267176 h 514350"/>
                <a:gd name="connsiteX5847" fmla="*/ 2351246 w 6400800"/>
                <a:gd name="connsiteY5847" fmla="*/ 278606 h 514350"/>
                <a:gd name="connsiteX5848" fmla="*/ 2351246 w 6400800"/>
                <a:gd name="connsiteY5848" fmla="*/ 278606 h 514350"/>
                <a:gd name="connsiteX5849" fmla="*/ 2351246 w 6400800"/>
                <a:gd name="connsiteY5849" fmla="*/ 275749 h 514350"/>
                <a:gd name="connsiteX5850" fmla="*/ 2351246 w 6400800"/>
                <a:gd name="connsiteY5850" fmla="*/ 278606 h 514350"/>
                <a:gd name="connsiteX5851" fmla="*/ 2378869 w 6400800"/>
                <a:gd name="connsiteY5851" fmla="*/ 295751 h 514350"/>
                <a:gd name="connsiteX5852" fmla="*/ 2375059 w 6400800"/>
                <a:gd name="connsiteY5852" fmla="*/ 303371 h 514350"/>
                <a:gd name="connsiteX5853" fmla="*/ 2374106 w 6400800"/>
                <a:gd name="connsiteY5853" fmla="*/ 305276 h 514350"/>
                <a:gd name="connsiteX5854" fmla="*/ 2374106 w 6400800"/>
                <a:gd name="connsiteY5854" fmla="*/ 304324 h 514350"/>
                <a:gd name="connsiteX5855" fmla="*/ 2376011 w 6400800"/>
                <a:gd name="connsiteY5855" fmla="*/ 231934 h 514350"/>
                <a:gd name="connsiteX5856" fmla="*/ 2366486 w 6400800"/>
                <a:gd name="connsiteY5856" fmla="*/ 277654 h 514350"/>
                <a:gd name="connsiteX5857" fmla="*/ 2364581 w 6400800"/>
                <a:gd name="connsiteY5857" fmla="*/ 272891 h 514350"/>
                <a:gd name="connsiteX5858" fmla="*/ 2361724 w 6400800"/>
                <a:gd name="connsiteY5858" fmla="*/ 264319 h 514350"/>
                <a:gd name="connsiteX5859" fmla="*/ 2361724 w 6400800"/>
                <a:gd name="connsiteY5859" fmla="*/ 245269 h 514350"/>
                <a:gd name="connsiteX5860" fmla="*/ 2365534 w 6400800"/>
                <a:gd name="connsiteY5860" fmla="*/ 234791 h 514350"/>
                <a:gd name="connsiteX5861" fmla="*/ 2376011 w 6400800"/>
                <a:gd name="connsiteY5861" fmla="*/ 211931 h 514350"/>
                <a:gd name="connsiteX5862" fmla="*/ 2376011 w 6400800"/>
                <a:gd name="connsiteY5862" fmla="*/ 244316 h 514350"/>
                <a:gd name="connsiteX5863" fmla="*/ 2376964 w 6400800"/>
                <a:gd name="connsiteY5863" fmla="*/ 290989 h 514350"/>
                <a:gd name="connsiteX5864" fmla="*/ 2378869 w 6400800"/>
                <a:gd name="connsiteY5864" fmla="*/ 295751 h 514350"/>
                <a:gd name="connsiteX5865" fmla="*/ 2362676 w 6400800"/>
                <a:gd name="connsiteY5865" fmla="*/ 180499 h 514350"/>
                <a:gd name="connsiteX5866" fmla="*/ 2368391 w 6400800"/>
                <a:gd name="connsiteY5866" fmla="*/ 166211 h 514350"/>
                <a:gd name="connsiteX5867" fmla="*/ 2377916 w 6400800"/>
                <a:gd name="connsiteY5867" fmla="*/ 140494 h 514350"/>
                <a:gd name="connsiteX5868" fmla="*/ 2378869 w 6400800"/>
                <a:gd name="connsiteY5868" fmla="*/ 143351 h 514350"/>
                <a:gd name="connsiteX5869" fmla="*/ 2378869 w 6400800"/>
                <a:gd name="connsiteY5869" fmla="*/ 152876 h 514350"/>
                <a:gd name="connsiteX5870" fmla="*/ 2377916 w 6400800"/>
                <a:gd name="connsiteY5870" fmla="*/ 147161 h 514350"/>
                <a:gd name="connsiteX5871" fmla="*/ 2377916 w 6400800"/>
                <a:gd name="connsiteY5871" fmla="*/ 173831 h 514350"/>
                <a:gd name="connsiteX5872" fmla="*/ 2377916 w 6400800"/>
                <a:gd name="connsiteY5872" fmla="*/ 203359 h 514350"/>
                <a:gd name="connsiteX5873" fmla="*/ 2362676 w 6400800"/>
                <a:gd name="connsiteY5873" fmla="*/ 227171 h 514350"/>
                <a:gd name="connsiteX5874" fmla="*/ 2360771 w 6400800"/>
                <a:gd name="connsiteY5874" fmla="*/ 185261 h 514350"/>
                <a:gd name="connsiteX5875" fmla="*/ 2362676 w 6400800"/>
                <a:gd name="connsiteY5875" fmla="*/ 180499 h 514350"/>
                <a:gd name="connsiteX5876" fmla="*/ 2340769 w 6400800"/>
                <a:gd name="connsiteY5876" fmla="*/ 241459 h 514350"/>
                <a:gd name="connsiteX5877" fmla="*/ 2342674 w 6400800"/>
                <a:gd name="connsiteY5877" fmla="*/ 235744 h 514350"/>
                <a:gd name="connsiteX5878" fmla="*/ 2347436 w 6400800"/>
                <a:gd name="connsiteY5878" fmla="*/ 221456 h 514350"/>
                <a:gd name="connsiteX5879" fmla="*/ 2359819 w 6400800"/>
                <a:gd name="connsiteY5879" fmla="*/ 187166 h 514350"/>
                <a:gd name="connsiteX5880" fmla="*/ 2355056 w 6400800"/>
                <a:gd name="connsiteY5880" fmla="*/ 236696 h 514350"/>
                <a:gd name="connsiteX5881" fmla="*/ 2353151 w 6400800"/>
                <a:gd name="connsiteY5881" fmla="*/ 230029 h 514350"/>
                <a:gd name="connsiteX5882" fmla="*/ 2354104 w 6400800"/>
                <a:gd name="connsiteY5882" fmla="*/ 241459 h 514350"/>
                <a:gd name="connsiteX5883" fmla="*/ 2344579 w 6400800"/>
                <a:gd name="connsiteY5883" fmla="*/ 259556 h 514350"/>
                <a:gd name="connsiteX5884" fmla="*/ 2344579 w 6400800"/>
                <a:gd name="connsiteY5884" fmla="*/ 259556 h 514350"/>
                <a:gd name="connsiteX5885" fmla="*/ 2339816 w 6400800"/>
                <a:gd name="connsiteY5885" fmla="*/ 245269 h 514350"/>
                <a:gd name="connsiteX5886" fmla="*/ 2340769 w 6400800"/>
                <a:gd name="connsiteY5886" fmla="*/ 241459 h 514350"/>
                <a:gd name="connsiteX5887" fmla="*/ 2344579 w 6400800"/>
                <a:gd name="connsiteY5887" fmla="*/ 320516 h 514350"/>
                <a:gd name="connsiteX5888" fmla="*/ 2339816 w 6400800"/>
                <a:gd name="connsiteY5888" fmla="*/ 310991 h 514350"/>
                <a:gd name="connsiteX5889" fmla="*/ 2339816 w 6400800"/>
                <a:gd name="connsiteY5889" fmla="*/ 310039 h 514350"/>
                <a:gd name="connsiteX5890" fmla="*/ 2344579 w 6400800"/>
                <a:gd name="connsiteY5890" fmla="*/ 320516 h 514350"/>
                <a:gd name="connsiteX5891" fmla="*/ 2337911 w 6400800"/>
                <a:gd name="connsiteY5891" fmla="*/ 317659 h 514350"/>
                <a:gd name="connsiteX5892" fmla="*/ 2341721 w 6400800"/>
                <a:gd name="connsiteY5892" fmla="*/ 327184 h 514350"/>
                <a:gd name="connsiteX5893" fmla="*/ 2336959 w 6400800"/>
                <a:gd name="connsiteY5893" fmla="*/ 321469 h 514350"/>
                <a:gd name="connsiteX5894" fmla="*/ 2337911 w 6400800"/>
                <a:gd name="connsiteY5894" fmla="*/ 317659 h 514350"/>
                <a:gd name="connsiteX5895" fmla="*/ 2332196 w 6400800"/>
                <a:gd name="connsiteY5895" fmla="*/ 280511 h 514350"/>
                <a:gd name="connsiteX5896" fmla="*/ 2333149 w 6400800"/>
                <a:gd name="connsiteY5896" fmla="*/ 283369 h 514350"/>
                <a:gd name="connsiteX5897" fmla="*/ 2332196 w 6400800"/>
                <a:gd name="connsiteY5897" fmla="*/ 281464 h 514350"/>
                <a:gd name="connsiteX5898" fmla="*/ 2332196 w 6400800"/>
                <a:gd name="connsiteY5898" fmla="*/ 280511 h 514350"/>
                <a:gd name="connsiteX5899" fmla="*/ 2330291 w 6400800"/>
                <a:gd name="connsiteY5899" fmla="*/ 289084 h 514350"/>
                <a:gd name="connsiteX5900" fmla="*/ 2331244 w 6400800"/>
                <a:gd name="connsiteY5900" fmla="*/ 290989 h 514350"/>
                <a:gd name="connsiteX5901" fmla="*/ 2330291 w 6400800"/>
                <a:gd name="connsiteY5901" fmla="*/ 292894 h 514350"/>
                <a:gd name="connsiteX5902" fmla="*/ 2329339 w 6400800"/>
                <a:gd name="connsiteY5902" fmla="*/ 290989 h 514350"/>
                <a:gd name="connsiteX5903" fmla="*/ 2330291 w 6400800"/>
                <a:gd name="connsiteY5903" fmla="*/ 289084 h 514350"/>
                <a:gd name="connsiteX5904" fmla="*/ 2329339 w 6400800"/>
                <a:gd name="connsiteY5904" fmla="*/ 293846 h 514350"/>
                <a:gd name="connsiteX5905" fmla="*/ 2329339 w 6400800"/>
                <a:gd name="connsiteY5905" fmla="*/ 292894 h 514350"/>
                <a:gd name="connsiteX5906" fmla="*/ 2330291 w 6400800"/>
                <a:gd name="connsiteY5906" fmla="*/ 294799 h 514350"/>
                <a:gd name="connsiteX5907" fmla="*/ 2328386 w 6400800"/>
                <a:gd name="connsiteY5907" fmla="*/ 299561 h 514350"/>
                <a:gd name="connsiteX5908" fmla="*/ 2328386 w 6400800"/>
                <a:gd name="connsiteY5908" fmla="*/ 298609 h 514350"/>
                <a:gd name="connsiteX5909" fmla="*/ 2329339 w 6400800"/>
                <a:gd name="connsiteY5909" fmla="*/ 293846 h 514350"/>
                <a:gd name="connsiteX5910" fmla="*/ 2313146 w 6400800"/>
                <a:gd name="connsiteY5910" fmla="*/ 194786 h 514350"/>
                <a:gd name="connsiteX5911" fmla="*/ 2315051 w 6400800"/>
                <a:gd name="connsiteY5911" fmla="*/ 201454 h 514350"/>
                <a:gd name="connsiteX5912" fmla="*/ 2316004 w 6400800"/>
                <a:gd name="connsiteY5912" fmla="*/ 205264 h 514350"/>
                <a:gd name="connsiteX5913" fmla="*/ 2314099 w 6400800"/>
                <a:gd name="connsiteY5913" fmla="*/ 214789 h 514350"/>
                <a:gd name="connsiteX5914" fmla="*/ 2314099 w 6400800"/>
                <a:gd name="connsiteY5914" fmla="*/ 214789 h 514350"/>
                <a:gd name="connsiteX5915" fmla="*/ 2310289 w 6400800"/>
                <a:gd name="connsiteY5915" fmla="*/ 207169 h 514350"/>
                <a:gd name="connsiteX5916" fmla="*/ 2313146 w 6400800"/>
                <a:gd name="connsiteY5916" fmla="*/ 194786 h 514350"/>
                <a:gd name="connsiteX5917" fmla="*/ 2304574 w 6400800"/>
                <a:gd name="connsiteY5917" fmla="*/ 197644 h 514350"/>
                <a:gd name="connsiteX5918" fmla="*/ 2305526 w 6400800"/>
                <a:gd name="connsiteY5918" fmla="*/ 200501 h 514350"/>
                <a:gd name="connsiteX5919" fmla="*/ 2303621 w 6400800"/>
                <a:gd name="connsiteY5919" fmla="*/ 205264 h 514350"/>
                <a:gd name="connsiteX5920" fmla="*/ 2304574 w 6400800"/>
                <a:gd name="connsiteY5920" fmla="*/ 197644 h 514350"/>
                <a:gd name="connsiteX5921" fmla="*/ 2297906 w 6400800"/>
                <a:gd name="connsiteY5921" fmla="*/ 272891 h 514350"/>
                <a:gd name="connsiteX5922" fmla="*/ 2298859 w 6400800"/>
                <a:gd name="connsiteY5922" fmla="*/ 256699 h 514350"/>
                <a:gd name="connsiteX5923" fmla="*/ 2299811 w 6400800"/>
                <a:gd name="connsiteY5923" fmla="*/ 250984 h 514350"/>
                <a:gd name="connsiteX5924" fmla="*/ 2308384 w 6400800"/>
                <a:gd name="connsiteY5924" fmla="*/ 211931 h 514350"/>
                <a:gd name="connsiteX5925" fmla="*/ 2309336 w 6400800"/>
                <a:gd name="connsiteY5925" fmla="*/ 215741 h 514350"/>
                <a:gd name="connsiteX5926" fmla="*/ 2311241 w 6400800"/>
                <a:gd name="connsiteY5926" fmla="*/ 221456 h 514350"/>
                <a:gd name="connsiteX5927" fmla="*/ 2311241 w 6400800"/>
                <a:gd name="connsiteY5927" fmla="*/ 221456 h 514350"/>
                <a:gd name="connsiteX5928" fmla="*/ 2304574 w 6400800"/>
                <a:gd name="connsiteY5928" fmla="*/ 253841 h 514350"/>
                <a:gd name="connsiteX5929" fmla="*/ 2302669 w 6400800"/>
                <a:gd name="connsiteY5929" fmla="*/ 251936 h 514350"/>
                <a:gd name="connsiteX5930" fmla="*/ 2304574 w 6400800"/>
                <a:gd name="connsiteY5930" fmla="*/ 253841 h 514350"/>
                <a:gd name="connsiteX5931" fmla="*/ 2299811 w 6400800"/>
                <a:gd name="connsiteY5931" fmla="*/ 274796 h 514350"/>
                <a:gd name="connsiteX5932" fmla="*/ 2294096 w 6400800"/>
                <a:gd name="connsiteY5932" fmla="*/ 300514 h 514350"/>
                <a:gd name="connsiteX5933" fmla="*/ 2297906 w 6400800"/>
                <a:gd name="connsiteY5933" fmla="*/ 272891 h 514350"/>
                <a:gd name="connsiteX5934" fmla="*/ 2271236 w 6400800"/>
                <a:gd name="connsiteY5934" fmla="*/ 369094 h 514350"/>
                <a:gd name="connsiteX5935" fmla="*/ 2270284 w 6400800"/>
                <a:gd name="connsiteY5935" fmla="*/ 376714 h 514350"/>
                <a:gd name="connsiteX5936" fmla="*/ 2270284 w 6400800"/>
                <a:gd name="connsiteY5936" fmla="*/ 376714 h 514350"/>
                <a:gd name="connsiteX5937" fmla="*/ 2270284 w 6400800"/>
                <a:gd name="connsiteY5937" fmla="*/ 372904 h 514350"/>
                <a:gd name="connsiteX5938" fmla="*/ 2271236 w 6400800"/>
                <a:gd name="connsiteY5938" fmla="*/ 369094 h 514350"/>
                <a:gd name="connsiteX5939" fmla="*/ 2252186 w 6400800"/>
                <a:gd name="connsiteY5939" fmla="*/ 297656 h 514350"/>
                <a:gd name="connsiteX5940" fmla="*/ 2251234 w 6400800"/>
                <a:gd name="connsiteY5940" fmla="*/ 311944 h 514350"/>
                <a:gd name="connsiteX5941" fmla="*/ 2250281 w 6400800"/>
                <a:gd name="connsiteY5941" fmla="*/ 308134 h 514350"/>
                <a:gd name="connsiteX5942" fmla="*/ 2252186 w 6400800"/>
                <a:gd name="connsiteY5942" fmla="*/ 297656 h 514350"/>
                <a:gd name="connsiteX5943" fmla="*/ 2215991 w 6400800"/>
                <a:gd name="connsiteY5943" fmla="*/ 252889 h 514350"/>
                <a:gd name="connsiteX5944" fmla="*/ 2215991 w 6400800"/>
                <a:gd name="connsiteY5944" fmla="*/ 256699 h 514350"/>
                <a:gd name="connsiteX5945" fmla="*/ 2215991 w 6400800"/>
                <a:gd name="connsiteY5945" fmla="*/ 256699 h 514350"/>
                <a:gd name="connsiteX5946" fmla="*/ 2215991 w 6400800"/>
                <a:gd name="connsiteY5946" fmla="*/ 252889 h 514350"/>
                <a:gd name="connsiteX5947" fmla="*/ 2211229 w 6400800"/>
                <a:gd name="connsiteY5947" fmla="*/ 281464 h 514350"/>
                <a:gd name="connsiteX5948" fmla="*/ 2214086 w 6400800"/>
                <a:gd name="connsiteY5948" fmla="*/ 260509 h 514350"/>
                <a:gd name="connsiteX5949" fmla="*/ 2215039 w 6400800"/>
                <a:gd name="connsiteY5949" fmla="*/ 261461 h 514350"/>
                <a:gd name="connsiteX5950" fmla="*/ 2215039 w 6400800"/>
                <a:gd name="connsiteY5950" fmla="*/ 267176 h 514350"/>
                <a:gd name="connsiteX5951" fmla="*/ 2212181 w 6400800"/>
                <a:gd name="connsiteY5951" fmla="*/ 299561 h 514350"/>
                <a:gd name="connsiteX5952" fmla="*/ 2206466 w 6400800"/>
                <a:gd name="connsiteY5952" fmla="*/ 309086 h 514350"/>
                <a:gd name="connsiteX5953" fmla="*/ 2211229 w 6400800"/>
                <a:gd name="connsiteY5953" fmla="*/ 281464 h 514350"/>
                <a:gd name="connsiteX5954" fmla="*/ 2205514 w 6400800"/>
                <a:gd name="connsiteY5954" fmla="*/ 337661 h 514350"/>
                <a:gd name="connsiteX5955" fmla="*/ 2204561 w 6400800"/>
                <a:gd name="connsiteY5955" fmla="*/ 339566 h 514350"/>
                <a:gd name="connsiteX5956" fmla="*/ 2204561 w 6400800"/>
                <a:gd name="connsiteY5956" fmla="*/ 340519 h 514350"/>
                <a:gd name="connsiteX5957" fmla="*/ 2205514 w 6400800"/>
                <a:gd name="connsiteY5957" fmla="*/ 337661 h 514350"/>
                <a:gd name="connsiteX5958" fmla="*/ 2183606 w 6400800"/>
                <a:gd name="connsiteY5958" fmla="*/ 336709 h 514350"/>
                <a:gd name="connsiteX5959" fmla="*/ 2185511 w 6400800"/>
                <a:gd name="connsiteY5959" fmla="*/ 345281 h 514350"/>
                <a:gd name="connsiteX5960" fmla="*/ 2184559 w 6400800"/>
                <a:gd name="connsiteY5960" fmla="*/ 350044 h 514350"/>
                <a:gd name="connsiteX5961" fmla="*/ 2183606 w 6400800"/>
                <a:gd name="connsiteY5961" fmla="*/ 340519 h 514350"/>
                <a:gd name="connsiteX5962" fmla="*/ 2183606 w 6400800"/>
                <a:gd name="connsiteY5962" fmla="*/ 337661 h 514350"/>
                <a:gd name="connsiteX5963" fmla="*/ 2183606 w 6400800"/>
                <a:gd name="connsiteY5963" fmla="*/ 336709 h 514350"/>
                <a:gd name="connsiteX5964" fmla="*/ 2178844 w 6400800"/>
                <a:gd name="connsiteY5964" fmla="*/ 345281 h 514350"/>
                <a:gd name="connsiteX5965" fmla="*/ 2178844 w 6400800"/>
                <a:gd name="connsiteY5965" fmla="*/ 357664 h 514350"/>
                <a:gd name="connsiteX5966" fmla="*/ 2175986 w 6400800"/>
                <a:gd name="connsiteY5966" fmla="*/ 350996 h 514350"/>
                <a:gd name="connsiteX5967" fmla="*/ 2178844 w 6400800"/>
                <a:gd name="connsiteY5967" fmla="*/ 345281 h 514350"/>
                <a:gd name="connsiteX5968" fmla="*/ 2150269 w 6400800"/>
                <a:gd name="connsiteY5968" fmla="*/ 278606 h 514350"/>
                <a:gd name="connsiteX5969" fmla="*/ 2162651 w 6400800"/>
                <a:gd name="connsiteY5969" fmla="*/ 232886 h 514350"/>
                <a:gd name="connsiteX5970" fmla="*/ 2161699 w 6400800"/>
                <a:gd name="connsiteY5970" fmla="*/ 235744 h 514350"/>
                <a:gd name="connsiteX5971" fmla="*/ 2157889 w 6400800"/>
                <a:gd name="connsiteY5971" fmla="*/ 253841 h 514350"/>
                <a:gd name="connsiteX5972" fmla="*/ 2154079 w 6400800"/>
                <a:gd name="connsiteY5972" fmla="*/ 274796 h 514350"/>
                <a:gd name="connsiteX5973" fmla="*/ 2151221 w 6400800"/>
                <a:gd name="connsiteY5973" fmla="*/ 293846 h 514350"/>
                <a:gd name="connsiteX5974" fmla="*/ 2148364 w 6400800"/>
                <a:gd name="connsiteY5974" fmla="*/ 288131 h 514350"/>
                <a:gd name="connsiteX5975" fmla="*/ 2150269 w 6400800"/>
                <a:gd name="connsiteY5975" fmla="*/ 296704 h 514350"/>
                <a:gd name="connsiteX5976" fmla="*/ 2147411 w 6400800"/>
                <a:gd name="connsiteY5976" fmla="*/ 314801 h 514350"/>
                <a:gd name="connsiteX5977" fmla="*/ 2140744 w 6400800"/>
                <a:gd name="connsiteY5977" fmla="*/ 305276 h 514350"/>
                <a:gd name="connsiteX5978" fmla="*/ 2150269 w 6400800"/>
                <a:gd name="connsiteY5978" fmla="*/ 278606 h 514350"/>
                <a:gd name="connsiteX5979" fmla="*/ 2142649 w 6400800"/>
                <a:gd name="connsiteY5979" fmla="*/ 305276 h 514350"/>
                <a:gd name="connsiteX5980" fmla="*/ 2148364 w 6400800"/>
                <a:gd name="connsiteY5980" fmla="*/ 319564 h 514350"/>
                <a:gd name="connsiteX5981" fmla="*/ 2148364 w 6400800"/>
                <a:gd name="connsiteY5981" fmla="*/ 320516 h 514350"/>
                <a:gd name="connsiteX5982" fmla="*/ 2148364 w 6400800"/>
                <a:gd name="connsiteY5982" fmla="*/ 321469 h 514350"/>
                <a:gd name="connsiteX5983" fmla="*/ 2145506 w 6400800"/>
                <a:gd name="connsiteY5983" fmla="*/ 343376 h 514350"/>
                <a:gd name="connsiteX5984" fmla="*/ 2139791 w 6400800"/>
                <a:gd name="connsiteY5984" fmla="*/ 324326 h 514350"/>
                <a:gd name="connsiteX5985" fmla="*/ 2138839 w 6400800"/>
                <a:gd name="connsiteY5985" fmla="*/ 320516 h 514350"/>
                <a:gd name="connsiteX5986" fmla="*/ 2142649 w 6400800"/>
                <a:gd name="connsiteY5986" fmla="*/ 305276 h 514350"/>
                <a:gd name="connsiteX5987" fmla="*/ 2058829 w 6400800"/>
                <a:gd name="connsiteY5987" fmla="*/ 353854 h 514350"/>
                <a:gd name="connsiteX5988" fmla="*/ 2056924 w 6400800"/>
                <a:gd name="connsiteY5988" fmla="*/ 366236 h 514350"/>
                <a:gd name="connsiteX5989" fmla="*/ 2055971 w 6400800"/>
                <a:gd name="connsiteY5989" fmla="*/ 361474 h 514350"/>
                <a:gd name="connsiteX5990" fmla="*/ 2054066 w 6400800"/>
                <a:gd name="connsiteY5990" fmla="*/ 352901 h 514350"/>
                <a:gd name="connsiteX5991" fmla="*/ 2054066 w 6400800"/>
                <a:gd name="connsiteY5991" fmla="*/ 351949 h 514350"/>
                <a:gd name="connsiteX5992" fmla="*/ 2059781 w 6400800"/>
                <a:gd name="connsiteY5992" fmla="*/ 338614 h 514350"/>
                <a:gd name="connsiteX5993" fmla="*/ 2060734 w 6400800"/>
                <a:gd name="connsiteY5993" fmla="*/ 343376 h 514350"/>
                <a:gd name="connsiteX5994" fmla="*/ 2058829 w 6400800"/>
                <a:gd name="connsiteY5994" fmla="*/ 353854 h 514350"/>
                <a:gd name="connsiteX5995" fmla="*/ 2081689 w 6400800"/>
                <a:gd name="connsiteY5995" fmla="*/ 350044 h 514350"/>
                <a:gd name="connsiteX5996" fmla="*/ 2079784 w 6400800"/>
                <a:gd name="connsiteY5996" fmla="*/ 354806 h 514350"/>
                <a:gd name="connsiteX5997" fmla="*/ 2077879 w 6400800"/>
                <a:gd name="connsiteY5997" fmla="*/ 347186 h 514350"/>
                <a:gd name="connsiteX5998" fmla="*/ 2077879 w 6400800"/>
                <a:gd name="connsiteY5998" fmla="*/ 344329 h 514350"/>
                <a:gd name="connsiteX5999" fmla="*/ 2080736 w 6400800"/>
                <a:gd name="connsiteY5999" fmla="*/ 348139 h 514350"/>
                <a:gd name="connsiteX6000" fmla="*/ 2081689 w 6400800"/>
                <a:gd name="connsiteY6000" fmla="*/ 350044 h 514350"/>
                <a:gd name="connsiteX6001" fmla="*/ 2081689 w 6400800"/>
                <a:gd name="connsiteY6001" fmla="*/ 350044 h 514350"/>
                <a:gd name="connsiteX6002" fmla="*/ 2081689 w 6400800"/>
                <a:gd name="connsiteY6002" fmla="*/ 339566 h 514350"/>
                <a:gd name="connsiteX6003" fmla="*/ 2081689 w 6400800"/>
                <a:gd name="connsiteY6003" fmla="*/ 341471 h 514350"/>
                <a:gd name="connsiteX6004" fmla="*/ 2078831 w 6400800"/>
                <a:gd name="connsiteY6004" fmla="*/ 337661 h 514350"/>
                <a:gd name="connsiteX6005" fmla="*/ 2079784 w 6400800"/>
                <a:gd name="connsiteY6005" fmla="*/ 330041 h 514350"/>
                <a:gd name="connsiteX6006" fmla="*/ 2081689 w 6400800"/>
                <a:gd name="connsiteY6006" fmla="*/ 339566 h 514350"/>
                <a:gd name="connsiteX6007" fmla="*/ 2081689 w 6400800"/>
                <a:gd name="connsiteY6007" fmla="*/ 339566 h 514350"/>
                <a:gd name="connsiteX6008" fmla="*/ 2085499 w 6400800"/>
                <a:gd name="connsiteY6008" fmla="*/ 290036 h 514350"/>
                <a:gd name="connsiteX6009" fmla="*/ 2084546 w 6400800"/>
                <a:gd name="connsiteY6009" fmla="*/ 307181 h 514350"/>
                <a:gd name="connsiteX6010" fmla="*/ 2083594 w 6400800"/>
                <a:gd name="connsiteY6010" fmla="*/ 303371 h 514350"/>
                <a:gd name="connsiteX6011" fmla="*/ 2086451 w 6400800"/>
                <a:gd name="connsiteY6011" fmla="*/ 273844 h 514350"/>
                <a:gd name="connsiteX6012" fmla="*/ 2087404 w 6400800"/>
                <a:gd name="connsiteY6012" fmla="*/ 267176 h 514350"/>
                <a:gd name="connsiteX6013" fmla="*/ 2085499 w 6400800"/>
                <a:gd name="connsiteY6013" fmla="*/ 290036 h 514350"/>
                <a:gd name="connsiteX6014" fmla="*/ 2089309 w 6400800"/>
                <a:gd name="connsiteY6014" fmla="*/ 180499 h 514350"/>
                <a:gd name="connsiteX6015" fmla="*/ 2089309 w 6400800"/>
                <a:gd name="connsiteY6015" fmla="*/ 200501 h 514350"/>
                <a:gd name="connsiteX6016" fmla="*/ 2086451 w 6400800"/>
                <a:gd name="connsiteY6016" fmla="*/ 192881 h 514350"/>
                <a:gd name="connsiteX6017" fmla="*/ 2089309 w 6400800"/>
                <a:gd name="connsiteY6017" fmla="*/ 180499 h 514350"/>
                <a:gd name="connsiteX6018" fmla="*/ 2072164 w 6400800"/>
                <a:gd name="connsiteY6018" fmla="*/ 241459 h 514350"/>
                <a:gd name="connsiteX6019" fmla="*/ 2086451 w 6400800"/>
                <a:gd name="connsiteY6019" fmla="*/ 193834 h 514350"/>
                <a:gd name="connsiteX6020" fmla="*/ 2090261 w 6400800"/>
                <a:gd name="connsiteY6020" fmla="*/ 207169 h 514350"/>
                <a:gd name="connsiteX6021" fmla="*/ 2090261 w 6400800"/>
                <a:gd name="connsiteY6021" fmla="*/ 208121 h 514350"/>
                <a:gd name="connsiteX6022" fmla="*/ 2075974 w 6400800"/>
                <a:gd name="connsiteY6022" fmla="*/ 271939 h 514350"/>
                <a:gd name="connsiteX6023" fmla="*/ 2074069 w 6400800"/>
                <a:gd name="connsiteY6023" fmla="*/ 282416 h 514350"/>
                <a:gd name="connsiteX6024" fmla="*/ 2068354 w 6400800"/>
                <a:gd name="connsiteY6024" fmla="*/ 271939 h 514350"/>
                <a:gd name="connsiteX6025" fmla="*/ 2065496 w 6400800"/>
                <a:gd name="connsiteY6025" fmla="*/ 266224 h 514350"/>
                <a:gd name="connsiteX6026" fmla="*/ 2072164 w 6400800"/>
                <a:gd name="connsiteY6026" fmla="*/ 241459 h 514350"/>
                <a:gd name="connsiteX6027" fmla="*/ 2062639 w 6400800"/>
                <a:gd name="connsiteY6027" fmla="*/ 270034 h 514350"/>
                <a:gd name="connsiteX6028" fmla="*/ 2063591 w 6400800"/>
                <a:gd name="connsiteY6028" fmla="*/ 272891 h 514350"/>
                <a:gd name="connsiteX6029" fmla="*/ 2069306 w 6400800"/>
                <a:gd name="connsiteY6029" fmla="*/ 292894 h 514350"/>
                <a:gd name="connsiteX6030" fmla="*/ 2070259 w 6400800"/>
                <a:gd name="connsiteY6030" fmla="*/ 294799 h 514350"/>
                <a:gd name="connsiteX6031" fmla="*/ 2067401 w 6400800"/>
                <a:gd name="connsiteY6031" fmla="*/ 310039 h 514350"/>
                <a:gd name="connsiteX6032" fmla="*/ 2065496 w 6400800"/>
                <a:gd name="connsiteY6032" fmla="*/ 303371 h 514350"/>
                <a:gd name="connsiteX6033" fmla="*/ 2058829 w 6400800"/>
                <a:gd name="connsiteY6033" fmla="*/ 284321 h 514350"/>
                <a:gd name="connsiteX6034" fmla="*/ 2062639 w 6400800"/>
                <a:gd name="connsiteY6034" fmla="*/ 270034 h 514350"/>
                <a:gd name="connsiteX6035" fmla="*/ 2053114 w 6400800"/>
                <a:gd name="connsiteY6035" fmla="*/ 301466 h 514350"/>
                <a:gd name="connsiteX6036" fmla="*/ 2054066 w 6400800"/>
                <a:gd name="connsiteY6036" fmla="*/ 306229 h 514350"/>
                <a:gd name="connsiteX6037" fmla="*/ 2056924 w 6400800"/>
                <a:gd name="connsiteY6037" fmla="*/ 320516 h 514350"/>
                <a:gd name="connsiteX6038" fmla="*/ 2055971 w 6400800"/>
                <a:gd name="connsiteY6038" fmla="*/ 320516 h 514350"/>
                <a:gd name="connsiteX6039" fmla="*/ 2049304 w 6400800"/>
                <a:gd name="connsiteY6039" fmla="*/ 317659 h 514350"/>
                <a:gd name="connsiteX6040" fmla="*/ 2055971 w 6400800"/>
                <a:gd name="connsiteY6040" fmla="*/ 321469 h 514350"/>
                <a:gd name="connsiteX6041" fmla="*/ 2057876 w 6400800"/>
                <a:gd name="connsiteY6041" fmla="*/ 322421 h 514350"/>
                <a:gd name="connsiteX6042" fmla="*/ 2059781 w 6400800"/>
                <a:gd name="connsiteY6042" fmla="*/ 332899 h 514350"/>
                <a:gd name="connsiteX6043" fmla="*/ 2053114 w 6400800"/>
                <a:gd name="connsiteY6043" fmla="*/ 342424 h 514350"/>
                <a:gd name="connsiteX6044" fmla="*/ 2049304 w 6400800"/>
                <a:gd name="connsiteY6044" fmla="*/ 321469 h 514350"/>
                <a:gd name="connsiteX6045" fmla="*/ 2049304 w 6400800"/>
                <a:gd name="connsiteY6045" fmla="*/ 315754 h 514350"/>
                <a:gd name="connsiteX6046" fmla="*/ 2053114 w 6400800"/>
                <a:gd name="connsiteY6046" fmla="*/ 301466 h 514350"/>
                <a:gd name="connsiteX6047" fmla="*/ 2044541 w 6400800"/>
                <a:gd name="connsiteY6047" fmla="*/ 260509 h 514350"/>
                <a:gd name="connsiteX6048" fmla="*/ 2044541 w 6400800"/>
                <a:gd name="connsiteY6048" fmla="*/ 260509 h 514350"/>
                <a:gd name="connsiteX6049" fmla="*/ 2044541 w 6400800"/>
                <a:gd name="connsiteY6049" fmla="*/ 259556 h 514350"/>
                <a:gd name="connsiteX6050" fmla="*/ 2044541 w 6400800"/>
                <a:gd name="connsiteY6050" fmla="*/ 260509 h 514350"/>
                <a:gd name="connsiteX6051" fmla="*/ 2019776 w 6400800"/>
                <a:gd name="connsiteY6051" fmla="*/ 188119 h 514350"/>
                <a:gd name="connsiteX6052" fmla="*/ 2019776 w 6400800"/>
                <a:gd name="connsiteY6052" fmla="*/ 185261 h 514350"/>
                <a:gd name="connsiteX6053" fmla="*/ 2020729 w 6400800"/>
                <a:gd name="connsiteY6053" fmla="*/ 177641 h 514350"/>
                <a:gd name="connsiteX6054" fmla="*/ 2020729 w 6400800"/>
                <a:gd name="connsiteY6054" fmla="*/ 189071 h 514350"/>
                <a:gd name="connsiteX6055" fmla="*/ 2021681 w 6400800"/>
                <a:gd name="connsiteY6055" fmla="*/ 220504 h 514350"/>
                <a:gd name="connsiteX6056" fmla="*/ 2023586 w 6400800"/>
                <a:gd name="connsiteY6056" fmla="*/ 244316 h 514350"/>
                <a:gd name="connsiteX6057" fmla="*/ 2022634 w 6400800"/>
                <a:gd name="connsiteY6057" fmla="*/ 247174 h 514350"/>
                <a:gd name="connsiteX6058" fmla="*/ 2016919 w 6400800"/>
                <a:gd name="connsiteY6058" fmla="*/ 222409 h 514350"/>
                <a:gd name="connsiteX6059" fmla="*/ 2019776 w 6400800"/>
                <a:gd name="connsiteY6059" fmla="*/ 188119 h 514350"/>
                <a:gd name="connsiteX6060" fmla="*/ 1999774 w 6400800"/>
                <a:gd name="connsiteY6060" fmla="*/ 298609 h 514350"/>
                <a:gd name="connsiteX6061" fmla="*/ 1999774 w 6400800"/>
                <a:gd name="connsiteY6061" fmla="*/ 304324 h 514350"/>
                <a:gd name="connsiteX6062" fmla="*/ 1997869 w 6400800"/>
                <a:gd name="connsiteY6062" fmla="*/ 310039 h 514350"/>
                <a:gd name="connsiteX6063" fmla="*/ 1999774 w 6400800"/>
                <a:gd name="connsiteY6063" fmla="*/ 298609 h 514350"/>
                <a:gd name="connsiteX6064" fmla="*/ 1992154 w 6400800"/>
                <a:gd name="connsiteY6064" fmla="*/ 349091 h 514350"/>
                <a:gd name="connsiteX6065" fmla="*/ 1992154 w 6400800"/>
                <a:gd name="connsiteY6065" fmla="*/ 359569 h 514350"/>
                <a:gd name="connsiteX6066" fmla="*/ 1992154 w 6400800"/>
                <a:gd name="connsiteY6066" fmla="*/ 369094 h 514350"/>
                <a:gd name="connsiteX6067" fmla="*/ 1988344 w 6400800"/>
                <a:gd name="connsiteY6067" fmla="*/ 373856 h 514350"/>
                <a:gd name="connsiteX6068" fmla="*/ 1992154 w 6400800"/>
                <a:gd name="connsiteY6068" fmla="*/ 349091 h 514350"/>
                <a:gd name="connsiteX6069" fmla="*/ 1987391 w 6400800"/>
                <a:gd name="connsiteY6069" fmla="*/ 381476 h 514350"/>
                <a:gd name="connsiteX6070" fmla="*/ 1987391 w 6400800"/>
                <a:gd name="connsiteY6070" fmla="*/ 381476 h 514350"/>
                <a:gd name="connsiteX6071" fmla="*/ 1992154 w 6400800"/>
                <a:gd name="connsiteY6071" fmla="*/ 372904 h 514350"/>
                <a:gd name="connsiteX6072" fmla="*/ 1992154 w 6400800"/>
                <a:gd name="connsiteY6072" fmla="*/ 379571 h 514350"/>
                <a:gd name="connsiteX6073" fmla="*/ 1991201 w 6400800"/>
                <a:gd name="connsiteY6073" fmla="*/ 386239 h 514350"/>
                <a:gd name="connsiteX6074" fmla="*/ 1988344 w 6400800"/>
                <a:gd name="connsiteY6074" fmla="*/ 400526 h 514350"/>
                <a:gd name="connsiteX6075" fmla="*/ 1988344 w 6400800"/>
                <a:gd name="connsiteY6075" fmla="*/ 399574 h 514350"/>
                <a:gd name="connsiteX6076" fmla="*/ 1985486 w 6400800"/>
                <a:gd name="connsiteY6076" fmla="*/ 392906 h 514350"/>
                <a:gd name="connsiteX6077" fmla="*/ 1987391 w 6400800"/>
                <a:gd name="connsiteY6077" fmla="*/ 381476 h 514350"/>
                <a:gd name="connsiteX6078" fmla="*/ 1968341 w 6400800"/>
                <a:gd name="connsiteY6078" fmla="*/ 290989 h 514350"/>
                <a:gd name="connsiteX6079" fmla="*/ 1967389 w 6400800"/>
                <a:gd name="connsiteY6079" fmla="*/ 297656 h 514350"/>
                <a:gd name="connsiteX6080" fmla="*/ 1966436 w 6400800"/>
                <a:gd name="connsiteY6080" fmla="*/ 305276 h 514350"/>
                <a:gd name="connsiteX6081" fmla="*/ 1965484 w 6400800"/>
                <a:gd name="connsiteY6081" fmla="*/ 318611 h 514350"/>
                <a:gd name="connsiteX6082" fmla="*/ 1964531 w 6400800"/>
                <a:gd name="connsiteY6082" fmla="*/ 304324 h 514350"/>
                <a:gd name="connsiteX6083" fmla="*/ 1964531 w 6400800"/>
                <a:gd name="connsiteY6083" fmla="*/ 300514 h 514350"/>
                <a:gd name="connsiteX6084" fmla="*/ 1968341 w 6400800"/>
                <a:gd name="connsiteY6084" fmla="*/ 290989 h 514350"/>
                <a:gd name="connsiteX6085" fmla="*/ 1937861 w 6400800"/>
                <a:gd name="connsiteY6085" fmla="*/ 310039 h 514350"/>
                <a:gd name="connsiteX6086" fmla="*/ 1937861 w 6400800"/>
                <a:gd name="connsiteY6086" fmla="*/ 302419 h 514350"/>
                <a:gd name="connsiteX6087" fmla="*/ 1937861 w 6400800"/>
                <a:gd name="connsiteY6087" fmla="*/ 295751 h 514350"/>
                <a:gd name="connsiteX6088" fmla="*/ 1938814 w 6400800"/>
                <a:gd name="connsiteY6088" fmla="*/ 306229 h 514350"/>
                <a:gd name="connsiteX6089" fmla="*/ 1937861 w 6400800"/>
                <a:gd name="connsiteY6089" fmla="*/ 310039 h 514350"/>
                <a:gd name="connsiteX6090" fmla="*/ 1938814 w 6400800"/>
                <a:gd name="connsiteY6090" fmla="*/ 272891 h 514350"/>
                <a:gd name="connsiteX6091" fmla="*/ 1936909 w 6400800"/>
                <a:gd name="connsiteY6091" fmla="*/ 266224 h 514350"/>
                <a:gd name="connsiteX6092" fmla="*/ 1936909 w 6400800"/>
                <a:gd name="connsiteY6092" fmla="*/ 261461 h 514350"/>
                <a:gd name="connsiteX6093" fmla="*/ 1936909 w 6400800"/>
                <a:gd name="connsiteY6093" fmla="*/ 246221 h 514350"/>
                <a:gd name="connsiteX6094" fmla="*/ 1938814 w 6400800"/>
                <a:gd name="connsiteY6094" fmla="*/ 272891 h 514350"/>
                <a:gd name="connsiteX6095" fmla="*/ 1900714 w 6400800"/>
                <a:gd name="connsiteY6095" fmla="*/ 338614 h 514350"/>
                <a:gd name="connsiteX6096" fmla="*/ 1900714 w 6400800"/>
                <a:gd name="connsiteY6096" fmla="*/ 333851 h 514350"/>
                <a:gd name="connsiteX6097" fmla="*/ 1902619 w 6400800"/>
                <a:gd name="connsiteY6097" fmla="*/ 329089 h 514350"/>
                <a:gd name="connsiteX6098" fmla="*/ 1904524 w 6400800"/>
                <a:gd name="connsiteY6098" fmla="*/ 325279 h 514350"/>
                <a:gd name="connsiteX6099" fmla="*/ 1900714 w 6400800"/>
                <a:gd name="connsiteY6099" fmla="*/ 338614 h 514350"/>
                <a:gd name="connsiteX6100" fmla="*/ 1915954 w 6400800"/>
                <a:gd name="connsiteY6100" fmla="*/ 436721 h 514350"/>
                <a:gd name="connsiteX6101" fmla="*/ 1915954 w 6400800"/>
                <a:gd name="connsiteY6101" fmla="*/ 433864 h 514350"/>
                <a:gd name="connsiteX6102" fmla="*/ 1916906 w 6400800"/>
                <a:gd name="connsiteY6102" fmla="*/ 434816 h 514350"/>
                <a:gd name="connsiteX6103" fmla="*/ 1915954 w 6400800"/>
                <a:gd name="connsiteY6103" fmla="*/ 436721 h 514350"/>
                <a:gd name="connsiteX6104" fmla="*/ 1920716 w 6400800"/>
                <a:gd name="connsiteY6104" fmla="*/ 401479 h 514350"/>
                <a:gd name="connsiteX6105" fmla="*/ 1919764 w 6400800"/>
                <a:gd name="connsiteY6105" fmla="*/ 407194 h 514350"/>
                <a:gd name="connsiteX6106" fmla="*/ 1917859 w 6400800"/>
                <a:gd name="connsiteY6106" fmla="*/ 404336 h 514350"/>
                <a:gd name="connsiteX6107" fmla="*/ 1919764 w 6400800"/>
                <a:gd name="connsiteY6107" fmla="*/ 398621 h 514350"/>
                <a:gd name="connsiteX6108" fmla="*/ 1920716 w 6400800"/>
                <a:gd name="connsiteY6108" fmla="*/ 401479 h 514350"/>
                <a:gd name="connsiteX6109" fmla="*/ 1917859 w 6400800"/>
                <a:gd name="connsiteY6109" fmla="*/ 331946 h 514350"/>
                <a:gd name="connsiteX6110" fmla="*/ 1919764 w 6400800"/>
                <a:gd name="connsiteY6110" fmla="*/ 337661 h 514350"/>
                <a:gd name="connsiteX6111" fmla="*/ 1919764 w 6400800"/>
                <a:gd name="connsiteY6111" fmla="*/ 337661 h 514350"/>
                <a:gd name="connsiteX6112" fmla="*/ 1918811 w 6400800"/>
                <a:gd name="connsiteY6112" fmla="*/ 338614 h 514350"/>
                <a:gd name="connsiteX6113" fmla="*/ 1916906 w 6400800"/>
                <a:gd name="connsiteY6113" fmla="*/ 342424 h 514350"/>
                <a:gd name="connsiteX6114" fmla="*/ 1916906 w 6400800"/>
                <a:gd name="connsiteY6114" fmla="*/ 341471 h 514350"/>
                <a:gd name="connsiteX6115" fmla="*/ 1915954 w 6400800"/>
                <a:gd name="connsiteY6115" fmla="*/ 344329 h 514350"/>
                <a:gd name="connsiteX6116" fmla="*/ 1915001 w 6400800"/>
                <a:gd name="connsiteY6116" fmla="*/ 345281 h 514350"/>
                <a:gd name="connsiteX6117" fmla="*/ 1917859 w 6400800"/>
                <a:gd name="connsiteY6117" fmla="*/ 331946 h 514350"/>
                <a:gd name="connsiteX6118" fmla="*/ 1919764 w 6400800"/>
                <a:gd name="connsiteY6118" fmla="*/ 360521 h 514350"/>
                <a:gd name="connsiteX6119" fmla="*/ 1919764 w 6400800"/>
                <a:gd name="connsiteY6119" fmla="*/ 364331 h 514350"/>
                <a:gd name="connsiteX6120" fmla="*/ 1915001 w 6400800"/>
                <a:gd name="connsiteY6120" fmla="*/ 373856 h 514350"/>
                <a:gd name="connsiteX6121" fmla="*/ 1908334 w 6400800"/>
                <a:gd name="connsiteY6121" fmla="*/ 388144 h 514350"/>
                <a:gd name="connsiteX6122" fmla="*/ 1907381 w 6400800"/>
                <a:gd name="connsiteY6122" fmla="*/ 387191 h 514350"/>
                <a:gd name="connsiteX6123" fmla="*/ 1907381 w 6400800"/>
                <a:gd name="connsiteY6123" fmla="*/ 385286 h 514350"/>
                <a:gd name="connsiteX6124" fmla="*/ 1910239 w 6400800"/>
                <a:gd name="connsiteY6124" fmla="*/ 380524 h 514350"/>
                <a:gd name="connsiteX6125" fmla="*/ 1919764 w 6400800"/>
                <a:gd name="connsiteY6125" fmla="*/ 360521 h 514350"/>
                <a:gd name="connsiteX6126" fmla="*/ 1910239 w 6400800"/>
                <a:gd name="connsiteY6126" fmla="*/ 299561 h 514350"/>
                <a:gd name="connsiteX6127" fmla="*/ 1908334 w 6400800"/>
                <a:gd name="connsiteY6127" fmla="*/ 305276 h 514350"/>
                <a:gd name="connsiteX6128" fmla="*/ 1908334 w 6400800"/>
                <a:gd name="connsiteY6128" fmla="*/ 305276 h 514350"/>
                <a:gd name="connsiteX6129" fmla="*/ 1910239 w 6400800"/>
                <a:gd name="connsiteY6129" fmla="*/ 299561 h 514350"/>
                <a:gd name="connsiteX6130" fmla="*/ 1906429 w 6400800"/>
                <a:gd name="connsiteY6130" fmla="*/ 313849 h 514350"/>
                <a:gd name="connsiteX6131" fmla="*/ 1908334 w 6400800"/>
                <a:gd name="connsiteY6131" fmla="*/ 309086 h 514350"/>
                <a:gd name="connsiteX6132" fmla="*/ 1908334 w 6400800"/>
                <a:gd name="connsiteY6132" fmla="*/ 310039 h 514350"/>
                <a:gd name="connsiteX6133" fmla="*/ 1906429 w 6400800"/>
                <a:gd name="connsiteY6133" fmla="*/ 315754 h 514350"/>
                <a:gd name="connsiteX6134" fmla="*/ 1905476 w 6400800"/>
                <a:gd name="connsiteY6134" fmla="*/ 316706 h 514350"/>
                <a:gd name="connsiteX6135" fmla="*/ 1906429 w 6400800"/>
                <a:gd name="connsiteY6135" fmla="*/ 313849 h 514350"/>
                <a:gd name="connsiteX6136" fmla="*/ 1893094 w 6400800"/>
                <a:gd name="connsiteY6136" fmla="*/ 259556 h 514350"/>
                <a:gd name="connsiteX6137" fmla="*/ 1894046 w 6400800"/>
                <a:gd name="connsiteY6137" fmla="*/ 256699 h 514350"/>
                <a:gd name="connsiteX6138" fmla="*/ 1894999 w 6400800"/>
                <a:gd name="connsiteY6138" fmla="*/ 256699 h 514350"/>
                <a:gd name="connsiteX6139" fmla="*/ 1899761 w 6400800"/>
                <a:gd name="connsiteY6139" fmla="*/ 260509 h 514350"/>
                <a:gd name="connsiteX6140" fmla="*/ 1904524 w 6400800"/>
                <a:gd name="connsiteY6140" fmla="*/ 275749 h 514350"/>
                <a:gd name="connsiteX6141" fmla="*/ 1895951 w 6400800"/>
                <a:gd name="connsiteY6141" fmla="*/ 297656 h 514350"/>
                <a:gd name="connsiteX6142" fmla="*/ 1894046 w 6400800"/>
                <a:gd name="connsiteY6142" fmla="*/ 281464 h 514350"/>
                <a:gd name="connsiteX6143" fmla="*/ 1892141 w 6400800"/>
                <a:gd name="connsiteY6143" fmla="*/ 270034 h 514350"/>
                <a:gd name="connsiteX6144" fmla="*/ 1893094 w 6400800"/>
                <a:gd name="connsiteY6144" fmla="*/ 272891 h 514350"/>
                <a:gd name="connsiteX6145" fmla="*/ 1893094 w 6400800"/>
                <a:gd name="connsiteY6145" fmla="*/ 259556 h 514350"/>
                <a:gd name="connsiteX6146" fmla="*/ 1841659 w 6400800"/>
                <a:gd name="connsiteY6146" fmla="*/ 297656 h 514350"/>
                <a:gd name="connsiteX6147" fmla="*/ 1840706 w 6400800"/>
                <a:gd name="connsiteY6147" fmla="*/ 313849 h 514350"/>
                <a:gd name="connsiteX6148" fmla="*/ 1838801 w 6400800"/>
                <a:gd name="connsiteY6148" fmla="*/ 294799 h 514350"/>
                <a:gd name="connsiteX6149" fmla="*/ 1838801 w 6400800"/>
                <a:gd name="connsiteY6149" fmla="*/ 290989 h 514350"/>
                <a:gd name="connsiteX6150" fmla="*/ 1841659 w 6400800"/>
                <a:gd name="connsiteY6150" fmla="*/ 297656 h 514350"/>
                <a:gd name="connsiteX6151" fmla="*/ 1822609 w 6400800"/>
                <a:gd name="connsiteY6151" fmla="*/ 363379 h 514350"/>
                <a:gd name="connsiteX6152" fmla="*/ 1826419 w 6400800"/>
                <a:gd name="connsiteY6152" fmla="*/ 353854 h 514350"/>
                <a:gd name="connsiteX6153" fmla="*/ 1827371 w 6400800"/>
                <a:gd name="connsiteY6153" fmla="*/ 364331 h 514350"/>
                <a:gd name="connsiteX6154" fmla="*/ 1823561 w 6400800"/>
                <a:gd name="connsiteY6154" fmla="*/ 368141 h 514350"/>
                <a:gd name="connsiteX6155" fmla="*/ 1822609 w 6400800"/>
                <a:gd name="connsiteY6155" fmla="*/ 363379 h 514350"/>
                <a:gd name="connsiteX6156" fmla="*/ 1828324 w 6400800"/>
                <a:gd name="connsiteY6156" fmla="*/ 403384 h 514350"/>
                <a:gd name="connsiteX6157" fmla="*/ 1827371 w 6400800"/>
                <a:gd name="connsiteY6157" fmla="*/ 400526 h 514350"/>
                <a:gd name="connsiteX6158" fmla="*/ 1825466 w 6400800"/>
                <a:gd name="connsiteY6158" fmla="*/ 381476 h 514350"/>
                <a:gd name="connsiteX6159" fmla="*/ 1828324 w 6400800"/>
                <a:gd name="connsiteY6159" fmla="*/ 377666 h 514350"/>
                <a:gd name="connsiteX6160" fmla="*/ 1829276 w 6400800"/>
                <a:gd name="connsiteY6160" fmla="*/ 399574 h 514350"/>
                <a:gd name="connsiteX6161" fmla="*/ 1828324 w 6400800"/>
                <a:gd name="connsiteY6161" fmla="*/ 403384 h 514350"/>
                <a:gd name="connsiteX6162" fmla="*/ 1833086 w 6400800"/>
                <a:gd name="connsiteY6162" fmla="*/ 339566 h 514350"/>
                <a:gd name="connsiteX6163" fmla="*/ 1833086 w 6400800"/>
                <a:gd name="connsiteY6163" fmla="*/ 339566 h 514350"/>
                <a:gd name="connsiteX6164" fmla="*/ 1833086 w 6400800"/>
                <a:gd name="connsiteY6164" fmla="*/ 340519 h 514350"/>
                <a:gd name="connsiteX6165" fmla="*/ 1833086 w 6400800"/>
                <a:gd name="connsiteY6165" fmla="*/ 339566 h 514350"/>
                <a:gd name="connsiteX6166" fmla="*/ 1824514 w 6400800"/>
                <a:gd name="connsiteY6166" fmla="*/ 272891 h 514350"/>
                <a:gd name="connsiteX6167" fmla="*/ 1824514 w 6400800"/>
                <a:gd name="connsiteY6167" fmla="*/ 263366 h 514350"/>
                <a:gd name="connsiteX6168" fmla="*/ 1835944 w 6400800"/>
                <a:gd name="connsiteY6168" fmla="*/ 285274 h 514350"/>
                <a:gd name="connsiteX6169" fmla="*/ 1834991 w 6400800"/>
                <a:gd name="connsiteY6169" fmla="*/ 294799 h 514350"/>
                <a:gd name="connsiteX6170" fmla="*/ 1834039 w 6400800"/>
                <a:gd name="connsiteY6170" fmla="*/ 320516 h 514350"/>
                <a:gd name="connsiteX6171" fmla="*/ 1834039 w 6400800"/>
                <a:gd name="connsiteY6171" fmla="*/ 330994 h 514350"/>
                <a:gd name="connsiteX6172" fmla="*/ 1833086 w 6400800"/>
                <a:gd name="connsiteY6172" fmla="*/ 331946 h 514350"/>
                <a:gd name="connsiteX6173" fmla="*/ 1832134 w 6400800"/>
                <a:gd name="connsiteY6173" fmla="*/ 332899 h 514350"/>
                <a:gd name="connsiteX6174" fmla="*/ 1827371 w 6400800"/>
                <a:gd name="connsiteY6174" fmla="*/ 316706 h 514350"/>
                <a:gd name="connsiteX6175" fmla="*/ 1822609 w 6400800"/>
                <a:gd name="connsiteY6175" fmla="*/ 303371 h 514350"/>
                <a:gd name="connsiteX6176" fmla="*/ 1824514 w 6400800"/>
                <a:gd name="connsiteY6176" fmla="*/ 272891 h 514350"/>
                <a:gd name="connsiteX6177" fmla="*/ 1822609 w 6400800"/>
                <a:gd name="connsiteY6177" fmla="*/ 309086 h 514350"/>
                <a:gd name="connsiteX6178" fmla="*/ 1823561 w 6400800"/>
                <a:gd name="connsiteY6178" fmla="*/ 317659 h 514350"/>
                <a:gd name="connsiteX6179" fmla="*/ 1825466 w 6400800"/>
                <a:gd name="connsiteY6179" fmla="*/ 338614 h 514350"/>
                <a:gd name="connsiteX6180" fmla="*/ 1825466 w 6400800"/>
                <a:gd name="connsiteY6180" fmla="*/ 340519 h 514350"/>
                <a:gd name="connsiteX6181" fmla="*/ 1820704 w 6400800"/>
                <a:gd name="connsiteY6181" fmla="*/ 348139 h 514350"/>
                <a:gd name="connsiteX6182" fmla="*/ 1820704 w 6400800"/>
                <a:gd name="connsiteY6182" fmla="*/ 332899 h 514350"/>
                <a:gd name="connsiteX6183" fmla="*/ 1820704 w 6400800"/>
                <a:gd name="connsiteY6183" fmla="*/ 331946 h 514350"/>
                <a:gd name="connsiteX6184" fmla="*/ 1822609 w 6400800"/>
                <a:gd name="connsiteY6184" fmla="*/ 309086 h 514350"/>
                <a:gd name="connsiteX6185" fmla="*/ 1763554 w 6400800"/>
                <a:gd name="connsiteY6185" fmla="*/ 411956 h 514350"/>
                <a:gd name="connsiteX6186" fmla="*/ 1762601 w 6400800"/>
                <a:gd name="connsiteY6186" fmla="*/ 406241 h 514350"/>
                <a:gd name="connsiteX6187" fmla="*/ 1761649 w 6400800"/>
                <a:gd name="connsiteY6187" fmla="*/ 397669 h 514350"/>
                <a:gd name="connsiteX6188" fmla="*/ 1761649 w 6400800"/>
                <a:gd name="connsiteY6188" fmla="*/ 397669 h 514350"/>
                <a:gd name="connsiteX6189" fmla="*/ 1764506 w 6400800"/>
                <a:gd name="connsiteY6189" fmla="*/ 400526 h 514350"/>
                <a:gd name="connsiteX6190" fmla="*/ 1763554 w 6400800"/>
                <a:gd name="connsiteY6190" fmla="*/ 411956 h 514350"/>
                <a:gd name="connsiteX6191" fmla="*/ 1766411 w 6400800"/>
                <a:gd name="connsiteY6191" fmla="*/ 379571 h 514350"/>
                <a:gd name="connsiteX6192" fmla="*/ 1766411 w 6400800"/>
                <a:gd name="connsiteY6192" fmla="*/ 379571 h 514350"/>
                <a:gd name="connsiteX6193" fmla="*/ 1766411 w 6400800"/>
                <a:gd name="connsiteY6193" fmla="*/ 377666 h 514350"/>
                <a:gd name="connsiteX6194" fmla="*/ 1766411 w 6400800"/>
                <a:gd name="connsiteY6194" fmla="*/ 379571 h 514350"/>
                <a:gd name="connsiteX6195" fmla="*/ 1792129 w 6400800"/>
                <a:gd name="connsiteY6195" fmla="*/ 251936 h 514350"/>
                <a:gd name="connsiteX6196" fmla="*/ 1802606 w 6400800"/>
                <a:gd name="connsiteY6196" fmla="*/ 219551 h 514350"/>
                <a:gd name="connsiteX6197" fmla="*/ 1802606 w 6400800"/>
                <a:gd name="connsiteY6197" fmla="*/ 219551 h 514350"/>
                <a:gd name="connsiteX6198" fmla="*/ 1801654 w 6400800"/>
                <a:gd name="connsiteY6198" fmla="*/ 274796 h 514350"/>
                <a:gd name="connsiteX6199" fmla="*/ 1800701 w 6400800"/>
                <a:gd name="connsiteY6199" fmla="*/ 327184 h 514350"/>
                <a:gd name="connsiteX6200" fmla="*/ 1794034 w 6400800"/>
                <a:gd name="connsiteY6200" fmla="*/ 310991 h 514350"/>
                <a:gd name="connsiteX6201" fmla="*/ 1788319 w 6400800"/>
                <a:gd name="connsiteY6201" fmla="*/ 294799 h 514350"/>
                <a:gd name="connsiteX6202" fmla="*/ 1787366 w 6400800"/>
                <a:gd name="connsiteY6202" fmla="*/ 292894 h 514350"/>
                <a:gd name="connsiteX6203" fmla="*/ 1786414 w 6400800"/>
                <a:gd name="connsiteY6203" fmla="*/ 287179 h 514350"/>
                <a:gd name="connsiteX6204" fmla="*/ 1788319 w 6400800"/>
                <a:gd name="connsiteY6204" fmla="*/ 279559 h 514350"/>
                <a:gd name="connsiteX6205" fmla="*/ 1787366 w 6400800"/>
                <a:gd name="connsiteY6205" fmla="*/ 275749 h 514350"/>
                <a:gd name="connsiteX6206" fmla="*/ 1785461 w 6400800"/>
                <a:gd name="connsiteY6206" fmla="*/ 274796 h 514350"/>
                <a:gd name="connsiteX6207" fmla="*/ 1785461 w 6400800"/>
                <a:gd name="connsiteY6207" fmla="*/ 274796 h 514350"/>
                <a:gd name="connsiteX6208" fmla="*/ 1792129 w 6400800"/>
                <a:gd name="connsiteY6208" fmla="*/ 251936 h 514350"/>
                <a:gd name="connsiteX6209" fmla="*/ 1785461 w 6400800"/>
                <a:gd name="connsiteY6209" fmla="*/ 276701 h 514350"/>
                <a:gd name="connsiteX6210" fmla="*/ 1786414 w 6400800"/>
                <a:gd name="connsiteY6210" fmla="*/ 278606 h 514350"/>
                <a:gd name="connsiteX6211" fmla="*/ 1786414 w 6400800"/>
                <a:gd name="connsiteY6211" fmla="*/ 282416 h 514350"/>
                <a:gd name="connsiteX6212" fmla="*/ 1785461 w 6400800"/>
                <a:gd name="connsiteY6212" fmla="*/ 276701 h 514350"/>
                <a:gd name="connsiteX6213" fmla="*/ 1785461 w 6400800"/>
                <a:gd name="connsiteY6213" fmla="*/ 276701 h 514350"/>
                <a:gd name="connsiteX6214" fmla="*/ 1776889 w 6400800"/>
                <a:gd name="connsiteY6214" fmla="*/ 330994 h 514350"/>
                <a:gd name="connsiteX6215" fmla="*/ 1785461 w 6400800"/>
                <a:gd name="connsiteY6215" fmla="*/ 376714 h 514350"/>
                <a:gd name="connsiteX6216" fmla="*/ 1786414 w 6400800"/>
                <a:gd name="connsiteY6216" fmla="*/ 385286 h 514350"/>
                <a:gd name="connsiteX6217" fmla="*/ 1784509 w 6400800"/>
                <a:gd name="connsiteY6217" fmla="*/ 382429 h 514350"/>
                <a:gd name="connsiteX6218" fmla="*/ 1785461 w 6400800"/>
                <a:gd name="connsiteY6218" fmla="*/ 374809 h 514350"/>
                <a:gd name="connsiteX6219" fmla="*/ 1783556 w 6400800"/>
                <a:gd name="connsiteY6219" fmla="*/ 380524 h 514350"/>
                <a:gd name="connsiteX6220" fmla="*/ 1776889 w 6400800"/>
                <a:gd name="connsiteY6220" fmla="*/ 370999 h 514350"/>
                <a:gd name="connsiteX6221" fmla="*/ 1776889 w 6400800"/>
                <a:gd name="connsiteY6221" fmla="*/ 337661 h 514350"/>
                <a:gd name="connsiteX6222" fmla="*/ 1776889 w 6400800"/>
                <a:gd name="connsiteY6222" fmla="*/ 330994 h 514350"/>
                <a:gd name="connsiteX6223" fmla="*/ 1755934 w 6400800"/>
                <a:gd name="connsiteY6223" fmla="*/ 211931 h 514350"/>
                <a:gd name="connsiteX6224" fmla="*/ 1761649 w 6400800"/>
                <a:gd name="connsiteY6224" fmla="*/ 233839 h 514350"/>
                <a:gd name="connsiteX6225" fmla="*/ 1762601 w 6400800"/>
                <a:gd name="connsiteY6225" fmla="*/ 238601 h 514350"/>
                <a:gd name="connsiteX6226" fmla="*/ 1760696 w 6400800"/>
                <a:gd name="connsiteY6226" fmla="*/ 234791 h 514350"/>
                <a:gd name="connsiteX6227" fmla="*/ 1759744 w 6400800"/>
                <a:gd name="connsiteY6227" fmla="*/ 230981 h 514350"/>
                <a:gd name="connsiteX6228" fmla="*/ 1759744 w 6400800"/>
                <a:gd name="connsiteY6228" fmla="*/ 232886 h 514350"/>
                <a:gd name="connsiteX6229" fmla="*/ 1756886 w 6400800"/>
                <a:gd name="connsiteY6229" fmla="*/ 227171 h 514350"/>
                <a:gd name="connsiteX6230" fmla="*/ 1754981 w 6400800"/>
                <a:gd name="connsiteY6230" fmla="*/ 223361 h 514350"/>
                <a:gd name="connsiteX6231" fmla="*/ 1755934 w 6400800"/>
                <a:gd name="connsiteY6231" fmla="*/ 211931 h 514350"/>
                <a:gd name="connsiteX6232" fmla="*/ 1754981 w 6400800"/>
                <a:gd name="connsiteY6232" fmla="*/ 232886 h 514350"/>
                <a:gd name="connsiteX6233" fmla="*/ 1755934 w 6400800"/>
                <a:gd name="connsiteY6233" fmla="*/ 235744 h 514350"/>
                <a:gd name="connsiteX6234" fmla="*/ 1754981 w 6400800"/>
                <a:gd name="connsiteY6234" fmla="*/ 240506 h 514350"/>
                <a:gd name="connsiteX6235" fmla="*/ 1754981 w 6400800"/>
                <a:gd name="connsiteY6235" fmla="*/ 232886 h 514350"/>
                <a:gd name="connsiteX6236" fmla="*/ 1754029 w 6400800"/>
                <a:gd name="connsiteY6236" fmla="*/ 281464 h 514350"/>
                <a:gd name="connsiteX6237" fmla="*/ 1754981 w 6400800"/>
                <a:gd name="connsiteY6237" fmla="*/ 252889 h 514350"/>
                <a:gd name="connsiteX6238" fmla="*/ 1756886 w 6400800"/>
                <a:gd name="connsiteY6238" fmla="*/ 236696 h 514350"/>
                <a:gd name="connsiteX6239" fmla="*/ 1763554 w 6400800"/>
                <a:gd name="connsiteY6239" fmla="*/ 256699 h 514350"/>
                <a:gd name="connsiteX6240" fmla="*/ 1768316 w 6400800"/>
                <a:gd name="connsiteY6240" fmla="*/ 286226 h 514350"/>
                <a:gd name="connsiteX6241" fmla="*/ 1754981 w 6400800"/>
                <a:gd name="connsiteY6241" fmla="*/ 322421 h 514350"/>
                <a:gd name="connsiteX6242" fmla="*/ 1754029 w 6400800"/>
                <a:gd name="connsiteY6242" fmla="*/ 317659 h 514350"/>
                <a:gd name="connsiteX6243" fmla="*/ 1754029 w 6400800"/>
                <a:gd name="connsiteY6243" fmla="*/ 316706 h 514350"/>
                <a:gd name="connsiteX6244" fmla="*/ 1754029 w 6400800"/>
                <a:gd name="connsiteY6244" fmla="*/ 281464 h 514350"/>
                <a:gd name="connsiteX6245" fmla="*/ 1687354 w 6400800"/>
                <a:gd name="connsiteY6245" fmla="*/ 295751 h 514350"/>
                <a:gd name="connsiteX6246" fmla="*/ 1685449 w 6400800"/>
                <a:gd name="connsiteY6246" fmla="*/ 314801 h 514350"/>
                <a:gd name="connsiteX6247" fmla="*/ 1684496 w 6400800"/>
                <a:gd name="connsiteY6247" fmla="*/ 325279 h 514350"/>
                <a:gd name="connsiteX6248" fmla="*/ 1681639 w 6400800"/>
                <a:gd name="connsiteY6248" fmla="*/ 311944 h 514350"/>
                <a:gd name="connsiteX6249" fmla="*/ 1681639 w 6400800"/>
                <a:gd name="connsiteY6249" fmla="*/ 309086 h 514350"/>
                <a:gd name="connsiteX6250" fmla="*/ 1681639 w 6400800"/>
                <a:gd name="connsiteY6250" fmla="*/ 310039 h 514350"/>
                <a:gd name="connsiteX6251" fmla="*/ 1680686 w 6400800"/>
                <a:gd name="connsiteY6251" fmla="*/ 306229 h 514350"/>
                <a:gd name="connsiteX6252" fmla="*/ 1681639 w 6400800"/>
                <a:gd name="connsiteY6252" fmla="*/ 303371 h 514350"/>
                <a:gd name="connsiteX6253" fmla="*/ 1684496 w 6400800"/>
                <a:gd name="connsiteY6253" fmla="*/ 295751 h 514350"/>
                <a:gd name="connsiteX6254" fmla="*/ 1689259 w 6400800"/>
                <a:gd name="connsiteY6254" fmla="*/ 282416 h 514350"/>
                <a:gd name="connsiteX6255" fmla="*/ 1687354 w 6400800"/>
                <a:gd name="connsiteY6255" fmla="*/ 295751 h 514350"/>
                <a:gd name="connsiteX6256" fmla="*/ 1678781 w 6400800"/>
                <a:gd name="connsiteY6256" fmla="*/ 276701 h 514350"/>
                <a:gd name="connsiteX6257" fmla="*/ 1684496 w 6400800"/>
                <a:gd name="connsiteY6257" fmla="*/ 245269 h 514350"/>
                <a:gd name="connsiteX6258" fmla="*/ 1686401 w 6400800"/>
                <a:gd name="connsiteY6258" fmla="*/ 259556 h 514350"/>
                <a:gd name="connsiteX6259" fmla="*/ 1686401 w 6400800"/>
                <a:gd name="connsiteY6259" fmla="*/ 268129 h 514350"/>
                <a:gd name="connsiteX6260" fmla="*/ 1686401 w 6400800"/>
                <a:gd name="connsiteY6260" fmla="*/ 270986 h 514350"/>
                <a:gd name="connsiteX6261" fmla="*/ 1675924 w 6400800"/>
                <a:gd name="connsiteY6261" fmla="*/ 292894 h 514350"/>
                <a:gd name="connsiteX6262" fmla="*/ 1675924 w 6400800"/>
                <a:gd name="connsiteY6262" fmla="*/ 291941 h 514350"/>
                <a:gd name="connsiteX6263" fmla="*/ 1678781 w 6400800"/>
                <a:gd name="connsiteY6263" fmla="*/ 278606 h 514350"/>
                <a:gd name="connsiteX6264" fmla="*/ 1679734 w 6400800"/>
                <a:gd name="connsiteY6264" fmla="*/ 275749 h 514350"/>
                <a:gd name="connsiteX6265" fmla="*/ 1678781 w 6400800"/>
                <a:gd name="connsiteY6265" fmla="*/ 276701 h 514350"/>
                <a:gd name="connsiteX6266" fmla="*/ 1677829 w 6400800"/>
                <a:gd name="connsiteY6266" fmla="*/ 199549 h 514350"/>
                <a:gd name="connsiteX6267" fmla="*/ 1678781 w 6400800"/>
                <a:gd name="connsiteY6267" fmla="*/ 204311 h 514350"/>
                <a:gd name="connsiteX6268" fmla="*/ 1676876 w 6400800"/>
                <a:gd name="connsiteY6268" fmla="*/ 213836 h 514350"/>
                <a:gd name="connsiteX6269" fmla="*/ 1677829 w 6400800"/>
                <a:gd name="connsiteY6269" fmla="*/ 199549 h 514350"/>
                <a:gd name="connsiteX6270" fmla="*/ 1640681 w 6400800"/>
                <a:gd name="connsiteY6270" fmla="*/ 226219 h 514350"/>
                <a:gd name="connsiteX6271" fmla="*/ 1649254 w 6400800"/>
                <a:gd name="connsiteY6271" fmla="*/ 254794 h 514350"/>
                <a:gd name="connsiteX6272" fmla="*/ 1654016 w 6400800"/>
                <a:gd name="connsiteY6272" fmla="*/ 274796 h 514350"/>
                <a:gd name="connsiteX6273" fmla="*/ 1653064 w 6400800"/>
                <a:gd name="connsiteY6273" fmla="*/ 281464 h 514350"/>
                <a:gd name="connsiteX6274" fmla="*/ 1652111 w 6400800"/>
                <a:gd name="connsiteY6274" fmla="*/ 279559 h 514350"/>
                <a:gd name="connsiteX6275" fmla="*/ 1652111 w 6400800"/>
                <a:gd name="connsiteY6275" fmla="*/ 282416 h 514350"/>
                <a:gd name="connsiteX6276" fmla="*/ 1649254 w 6400800"/>
                <a:gd name="connsiteY6276" fmla="*/ 300514 h 514350"/>
                <a:gd name="connsiteX6277" fmla="*/ 1641634 w 6400800"/>
                <a:gd name="connsiteY6277" fmla="*/ 281464 h 514350"/>
                <a:gd name="connsiteX6278" fmla="*/ 1643539 w 6400800"/>
                <a:gd name="connsiteY6278" fmla="*/ 279559 h 514350"/>
                <a:gd name="connsiteX6279" fmla="*/ 1647349 w 6400800"/>
                <a:gd name="connsiteY6279" fmla="*/ 277654 h 514350"/>
                <a:gd name="connsiteX6280" fmla="*/ 1654016 w 6400800"/>
                <a:gd name="connsiteY6280" fmla="*/ 273844 h 514350"/>
                <a:gd name="connsiteX6281" fmla="*/ 1647349 w 6400800"/>
                <a:gd name="connsiteY6281" fmla="*/ 276701 h 514350"/>
                <a:gd name="connsiteX6282" fmla="*/ 1643539 w 6400800"/>
                <a:gd name="connsiteY6282" fmla="*/ 278606 h 514350"/>
                <a:gd name="connsiteX6283" fmla="*/ 1642586 w 6400800"/>
                <a:gd name="connsiteY6283" fmla="*/ 279559 h 514350"/>
                <a:gd name="connsiteX6284" fmla="*/ 1642586 w 6400800"/>
                <a:gd name="connsiteY6284" fmla="*/ 255746 h 514350"/>
                <a:gd name="connsiteX6285" fmla="*/ 1640681 w 6400800"/>
                <a:gd name="connsiteY6285" fmla="*/ 226219 h 514350"/>
                <a:gd name="connsiteX6286" fmla="*/ 1640681 w 6400800"/>
                <a:gd name="connsiteY6286" fmla="*/ 226219 h 514350"/>
                <a:gd name="connsiteX6287" fmla="*/ 1620679 w 6400800"/>
                <a:gd name="connsiteY6287" fmla="*/ 348139 h 514350"/>
                <a:gd name="connsiteX6288" fmla="*/ 1620679 w 6400800"/>
                <a:gd name="connsiteY6288" fmla="*/ 351949 h 514350"/>
                <a:gd name="connsiteX6289" fmla="*/ 1620679 w 6400800"/>
                <a:gd name="connsiteY6289" fmla="*/ 353854 h 514350"/>
                <a:gd name="connsiteX6290" fmla="*/ 1618774 w 6400800"/>
                <a:gd name="connsiteY6290" fmla="*/ 356711 h 514350"/>
                <a:gd name="connsiteX6291" fmla="*/ 1620679 w 6400800"/>
                <a:gd name="connsiteY6291" fmla="*/ 348139 h 514350"/>
                <a:gd name="connsiteX6292" fmla="*/ 1618774 w 6400800"/>
                <a:gd name="connsiteY6292" fmla="*/ 311944 h 514350"/>
                <a:gd name="connsiteX6293" fmla="*/ 1616869 w 6400800"/>
                <a:gd name="connsiteY6293" fmla="*/ 315754 h 514350"/>
                <a:gd name="connsiteX6294" fmla="*/ 1605439 w 6400800"/>
                <a:gd name="connsiteY6294" fmla="*/ 343376 h 514350"/>
                <a:gd name="connsiteX6295" fmla="*/ 1602581 w 6400800"/>
                <a:gd name="connsiteY6295" fmla="*/ 350996 h 514350"/>
                <a:gd name="connsiteX6296" fmla="*/ 1602581 w 6400800"/>
                <a:gd name="connsiteY6296" fmla="*/ 342424 h 514350"/>
                <a:gd name="connsiteX6297" fmla="*/ 1613059 w 6400800"/>
                <a:gd name="connsiteY6297" fmla="*/ 321469 h 514350"/>
                <a:gd name="connsiteX6298" fmla="*/ 1619726 w 6400800"/>
                <a:gd name="connsiteY6298" fmla="*/ 310039 h 514350"/>
                <a:gd name="connsiteX6299" fmla="*/ 1618774 w 6400800"/>
                <a:gd name="connsiteY6299" fmla="*/ 311944 h 514350"/>
                <a:gd name="connsiteX6300" fmla="*/ 1610201 w 6400800"/>
                <a:gd name="connsiteY6300" fmla="*/ 269081 h 514350"/>
                <a:gd name="connsiteX6301" fmla="*/ 1614011 w 6400800"/>
                <a:gd name="connsiteY6301" fmla="*/ 258604 h 514350"/>
                <a:gd name="connsiteX6302" fmla="*/ 1616869 w 6400800"/>
                <a:gd name="connsiteY6302" fmla="*/ 252889 h 514350"/>
                <a:gd name="connsiteX6303" fmla="*/ 1617821 w 6400800"/>
                <a:gd name="connsiteY6303" fmla="*/ 292894 h 514350"/>
                <a:gd name="connsiteX6304" fmla="*/ 1617821 w 6400800"/>
                <a:gd name="connsiteY6304" fmla="*/ 293846 h 514350"/>
                <a:gd name="connsiteX6305" fmla="*/ 1614011 w 6400800"/>
                <a:gd name="connsiteY6305" fmla="*/ 289084 h 514350"/>
                <a:gd name="connsiteX6306" fmla="*/ 1606391 w 6400800"/>
                <a:gd name="connsiteY6306" fmla="*/ 277654 h 514350"/>
                <a:gd name="connsiteX6307" fmla="*/ 1610201 w 6400800"/>
                <a:gd name="connsiteY6307" fmla="*/ 269081 h 514350"/>
                <a:gd name="connsiteX6308" fmla="*/ 1600676 w 6400800"/>
                <a:gd name="connsiteY6308" fmla="*/ 297656 h 514350"/>
                <a:gd name="connsiteX6309" fmla="*/ 1606391 w 6400800"/>
                <a:gd name="connsiteY6309" fmla="*/ 279559 h 514350"/>
                <a:gd name="connsiteX6310" fmla="*/ 1611154 w 6400800"/>
                <a:gd name="connsiteY6310" fmla="*/ 290989 h 514350"/>
                <a:gd name="connsiteX6311" fmla="*/ 1616869 w 6400800"/>
                <a:gd name="connsiteY6311" fmla="*/ 303371 h 514350"/>
                <a:gd name="connsiteX6312" fmla="*/ 1606391 w 6400800"/>
                <a:gd name="connsiteY6312" fmla="*/ 317659 h 514350"/>
                <a:gd name="connsiteX6313" fmla="*/ 1601629 w 6400800"/>
                <a:gd name="connsiteY6313" fmla="*/ 325279 h 514350"/>
                <a:gd name="connsiteX6314" fmla="*/ 1600676 w 6400800"/>
                <a:gd name="connsiteY6314" fmla="*/ 319564 h 514350"/>
                <a:gd name="connsiteX6315" fmla="*/ 1599724 w 6400800"/>
                <a:gd name="connsiteY6315" fmla="*/ 305276 h 514350"/>
                <a:gd name="connsiteX6316" fmla="*/ 1600676 w 6400800"/>
                <a:gd name="connsiteY6316" fmla="*/ 297656 h 514350"/>
                <a:gd name="connsiteX6317" fmla="*/ 1567339 w 6400800"/>
                <a:gd name="connsiteY6317" fmla="*/ 315754 h 514350"/>
                <a:gd name="connsiteX6318" fmla="*/ 1568291 w 6400800"/>
                <a:gd name="connsiteY6318" fmla="*/ 330041 h 514350"/>
                <a:gd name="connsiteX6319" fmla="*/ 1566386 w 6400800"/>
                <a:gd name="connsiteY6319" fmla="*/ 320516 h 514350"/>
                <a:gd name="connsiteX6320" fmla="*/ 1567339 w 6400800"/>
                <a:gd name="connsiteY6320" fmla="*/ 315754 h 514350"/>
                <a:gd name="connsiteX6321" fmla="*/ 1547336 w 6400800"/>
                <a:gd name="connsiteY6321" fmla="*/ 265271 h 514350"/>
                <a:gd name="connsiteX6322" fmla="*/ 1546384 w 6400800"/>
                <a:gd name="connsiteY6322" fmla="*/ 275749 h 514350"/>
                <a:gd name="connsiteX6323" fmla="*/ 1545431 w 6400800"/>
                <a:gd name="connsiteY6323" fmla="*/ 272891 h 514350"/>
                <a:gd name="connsiteX6324" fmla="*/ 1547336 w 6400800"/>
                <a:gd name="connsiteY6324" fmla="*/ 265271 h 514350"/>
                <a:gd name="connsiteX6325" fmla="*/ 1541621 w 6400800"/>
                <a:gd name="connsiteY6325" fmla="*/ 286226 h 514350"/>
                <a:gd name="connsiteX6326" fmla="*/ 1543526 w 6400800"/>
                <a:gd name="connsiteY6326" fmla="*/ 293846 h 514350"/>
                <a:gd name="connsiteX6327" fmla="*/ 1542574 w 6400800"/>
                <a:gd name="connsiteY6327" fmla="*/ 301466 h 514350"/>
                <a:gd name="connsiteX6328" fmla="*/ 1539716 w 6400800"/>
                <a:gd name="connsiteY6328" fmla="*/ 291941 h 514350"/>
                <a:gd name="connsiteX6329" fmla="*/ 1541621 w 6400800"/>
                <a:gd name="connsiteY6329" fmla="*/ 286226 h 514350"/>
                <a:gd name="connsiteX6330" fmla="*/ 1537811 w 6400800"/>
                <a:gd name="connsiteY6330" fmla="*/ 271939 h 514350"/>
                <a:gd name="connsiteX6331" fmla="*/ 1538764 w 6400800"/>
                <a:gd name="connsiteY6331" fmla="*/ 276701 h 514350"/>
                <a:gd name="connsiteX6332" fmla="*/ 1536859 w 6400800"/>
                <a:gd name="connsiteY6332" fmla="*/ 280511 h 514350"/>
                <a:gd name="connsiteX6333" fmla="*/ 1537811 w 6400800"/>
                <a:gd name="connsiteY6333" fmla="*/ 271939 h 514350"/>
                <a:gd name="connsiteX6334" fmla="*/ 1533049 w 6400800"/>
                <a:gd name="connsiteY6334" fmla="*/ 338614 h 514350"/>
                <a:gd name="connsiteX6335" fmla="*/ 1533049 w 6400800"/>
                <a:gd name="connsiteY6335" fmla="*/ 335756 h 514350"/>
                <a:gd name="connsiteX6336" fmla="*/ 1535906 w 6400800"/>
                <a:gd name="connsiteY6336" fmla="*/ 350044 h 514350"/>
                <a:gd name="connsiteX6337" fmla="*/ 1536859 w 6400800"/>
                <a:gd name="connsiteY6337" fmla="*/ 357664 h 514350"/>
                <a:gd name="connsiteX6338" fmla="*/ 1536859 w 6400800"/>
                <a:gd name="connsiteY6338" fmla="*/ 362426 h 514350"/>
                <a:gd name="connsiteX6339" fmla="*/ 1536859 w 6400800"/>
                <a:gd name="connsiteY6339" fmla="*/ 362426 h 514350"/>
                <a:gd name="connsiteX6340" fmla="*/ 1532096 w 6400800"/>
                <a:gd name="connsiteY6340" fmla="*/ 346234 h 514350"/>
                <a:gd name="connsiteX6341" fmla="*/ 1533049 w 6400800"/>
                <a:gd name="connsiteY6341" fmla="*/ 338614 h 514350"/>
                <a:gd name="connsiteX6342" fmla="*/ 1519714 w 6400800"/>
                <a:gd name="connsiteY6342" fmla="*/ 270986 h 514350"/>
                <a:gd name="connsiteX6343" fmla="*/ 1525429 w 6400800"/>
                <a:gd name="connsiteY6343" fmla="*/ 297656 h 514350"/>
                <a:gd name="connsiteX6344" fmla="*/ 1524476 w 6400800"/>
                <a:gd name="connsiteY6344" fmla="*/ 301466 h 514350"/>
                <a:gd name="connsiteX6345" fmla="*/ 1521619 w 6400800"/>
                <a:gd name="connsiteY6345" fmla="*/ 315754 h 514350"/>
                <a:gd name="connsiteX6346" fmla="*/ 1519714 w 6400800"/>
                <a:gd name="connsiteY6346" fmla="*/ 310991 h 514350"/>
                <a:gd name="connsiteX6347" fmla="*/ 1517809 w 6400800"/>
                <a:gd name="connsiteY6347" fmla="*/ 268129 h 514350"/>
                <a:gd name="connsiteX6348" fmla="*/ 1519714 w 6400800"/>
                <a:gd name="connsiteY6348" fmla="*/ 270986 h 514350"/>
                <a:gd name="connsiteX6349" fmla="*/ 1503521 w 6400800"/>
                <a:gd name="connsiteY6349" fmla="*/ 302419 h 514350"/>
                <a:gd name="connsiteX6350" fmla="*/ 1502569 w 6400800"/>
                <a:gd name="connsiteY6350" fmla="*/ 313849 h 514350"/>
                <a:gd name="connsiteX6351" fmla="*/ 1502569 w 6400800"/>
                <a:gd name="connsiteY6351" fmla="*/ 330041 h 514350"/>
                <a:gd name="connsiteX6352" fmla="*/ 1501616 w 6400800"/>
                <a:gd name="connsiteY6352" fmla="*/ 329089 h 514350"/>
                <a:gd name="connsiteX6353" fmla="*/ 1497806 w 6400800"/>
                <a:gd name="connsiteY6353" fmla="*/ 311944 h 514350"/>
                <a:gd name="connsiteX6354" fmla="*/ 1503521 w 6400800"/>
                <a:gd name="connsiteY6354" fmla="*/ 302419 h 514350"/>
                <a:gd name="connsiteX6355" fmla="*/ 1477804 w 6400800"/>
                <a:gd name="connsiteY6355" fmla="*/ 272891 h 514350"/>
                <a:gd name="connsiteX6356" fmla="*/ 1477804 w 6400800"/>
                <a:gd name="connsiteY6356" fmla="*/ 272891 h 514350"/>
                <a:gd name="connsiteX6357" fmla="*/ 1477804 w 6400800"/>
                <a:gd name="connsiteY6357" fmla="*/ 282416 h 514350"/>
                <a:gd name="connsiteX6358" fmla="*/ 1476851 w 6400800"/>
                <a:gd name="connsiteY6358" fmla="*/ 294799 h 514350"/>
                <a:gd name="connsiteX6359" fmla="*/ 1475899 w 6400800"/>
                <a:gd name="connsiteY6359" fmla="*/ 295751 h 514350"/>
                <a:gd name="connsiteX6360" fmla="*/ 1474946 w 6400800"/>
                <a:gd name="connsiteY6360" fmla="*/ 282416 h 514350"/>
                <a:gd name="connsiteX6361" fmla="*/ 1477804 w 6400800"/>
                <a:gd name="connsiteY6361" fmla="*/ 272891 h 514350"/>
                <a:gd name="connsiteX6362" fmla="*/ 1461611 w 6400800"/>
                <a:gd name="connsiteY6362" fmla="*/ 326231 h 514350"/>
                <a:gd name="connsiteX6363" fmla="*/ 1461611 w 6400800"/>
                <a:gd name="connsiteY6363" fmla="*/ 328136 h 514350"/>
                <a:gd name="connsiteX6364" fmla="*/ 1460659 w 6400800"/>
                <a:gd name="connsiteY6364" fmla="*/ 330041 h 514350"/>
                <a:gd name="connsiteX6365" fmla="*/ 1460659 w 6400800"/>
                <a:gd name="connsiteY6365" fmla="*/ 329089 h 514350"/>
                <a:gd name="connsiteX6366" fmla="*/ 1461611 w 6400800"/>
                <a:gd name="connsiteY6366" fmla="*/ 326231 h 514350"/>
                <a:gd name="connsiteX6367" fmla="*/ 1457801 w 6400800"/>
                <a:gd name="connsiteY6367" fmla="*/ 309086 h 514350"/>
                <a:gd name="connsiteX6368" fmla="*/ 1457801 w 6400800"/>
                <a:gd name="connsiteY6368" fmla="*/ 309086 h 514350"/>
                <a:gd name="connsiteX6369" fmla="*/ 1455896 w 6400800"/>
                <a:gd name="connsiteY6369" fmla="*/ 302419 h 514350"/>
                <a:gd name="connsiteX6370" fmla="*/ 1457801 w 6400800"/>
                <a:gd name="connsiteY6370" fmla="*/ 309086 h 514350"/>
                <a:gd name="connsiteX6371" fmla="*/ 1442561 w 6400800"/>
                <a:gd name="connsiteY6371" fmla="*/ 328136 h 514350"/>
                <a:gd name="connsiteX6372" fmla="*/ 1442561 w 6400800"/>
                <a:gd name="connsiteY6372" fmla="*/ 318611 h 514350"/>
                <a:gd name="connsiteX6373" fmla="*/ 1444466 w 6400800"/>
                <a:gd name="connsiteY6373" fmla="*/ 333851 h 514350"/>
                <a:gd name="connsiteX6374" fmla="*/ 1442561 w 6400800"/>
                <a:gd name="connsiteY6374" fmla="*/ 330041 h 514350"/>
                <a:gd name="connsiteX6375" fmla="*/ 1442561 w 6400800"/>
                <a:gd name="connsiteY6375" fmla="*/ 328136 h 514350"/>
                <a:gd name="connsiteX6376" fmla="*/ 1415891 w 6400800"/>
                <a:gd name="connsiteY6376" fmla="*/ 281464 h 514350"/>
                <a:gd name="connsiteX6377" fmla="*/ 1415891 w 6400800"/>
                <a:gd name="connsiteY6377" fmla="*/ 289084 h 514350"/>
                <a:gd name="connsiteX6378" fmla="*/ 1415891 w 6400800"/>
                <a:gd name="connsiteY6378" fmla="*/ 289084 h 514350"/>
                <a:gd name="connsiteX6379" fmla="*/ 1413034 w 6400800"/>
                <a:gd name="connsiteY6379" fmla="*/ 286226 h 514350"/>
                <a:gd name="connsiteX6380" fmla="*/ 1415891 w 6400800"/>
                <a:gd name="connsiteY6380" fmla="*/ 281464 h 514350"/>
                <a:gd name="connsiteX6381" fmla="*/ 1412081 w 6400800"/>
                <a:gd name="connsiteY6381" fmla="*/ 290036 h 514350"/>
                <a:gd name="connsiteX6382" fmla="*/ 1413986 w 6400800"/>
                <a:gd name="connsiteY6382" fmla="*/ 292894 h 514350"/>
                <a:gd name="connsiteX6383" fmla="*/ 1415891 w 6400800"/>
                <a:gd name="connsiteY6383" fmla="*/ 295751 h 514350"/>
                <a:gd name="connsiteX6384" fmla="*/ 1415891 w 6400800"/>
                <a:gd name="connsiteY6384" fmla="*/ 300514 h 514350"/>
                <a:gd name="connsiteX6385" fmla="*/ 1412081 w 6400800"/>
                <a:gd name="connsiteY6385" fmla="*/ 290036 h 514350"/>
                <a:gd name="connsiteX6386" fmla="*/ 1412081 w 6400800"/>
                <a:gd name="connsiteY6386" fmla="*/ 290036 h 514350"/>
                <a:gd name="connsiteX6387" fmla="*/ 1383506 w 6400800"/>
                <a:gd name="connsiteY6387" fmla="*/ 364331 h 514350"/>
                <a:gd name="connsiteX6388" fmla="*/ 1382554 w 6400800"/>
                <a:gd name="connsiteY6388" fmla="*/ 358616 h 514350"/>
                <a:gd name="connsiteX6389" fmla="*/ 1382554 w 6400800"/>
                <a:gd name="connsiteY6389" fmla="*/ 357664 h 514350"/>
                <a:gd name="connsiteX6390" fmla="*/ 1383506 w 6400800"/>
                <a:gd name="connsiteY6390" fmla="*/ 362426 h 514350"/>
                <a:gd name="connsiteX6391" fmla="*/ 1383506 w 6400800"/>
                <a:gd name="connsiteY6391" fmla="*/ 364331 h 514350"/>
                <a:gd name="connsiteX6392" fmla="*/ 1386364 w 6400800"/>
                <a:gd name="connsiteY6392" fmla="*/ 298609 h 514350"/>
                <a:gd name="connsiteX6393" fmla="*/ 1386364 w 6400800"/>
                <a:gd name="connsiteY6393" fmla="*/ 298609 h 514350"/>
                <a:gd name="connsiteX6394" fmla="*/ 1384459 w 6400800"/>
                <a:gd name="connsiteY6394" fmla="*/ 293846 h 514350"/>
                <a:gd name="connsiteX6395" fmla="*/ 1386364 w 6400800"/>
                <a:gd name="connsiteY6395" fmla="*/ 290989 h 514350"/>
                <a:gd name="connsiteX6396" fmla="*/ 1391126 w 6400800"/>
                <a:gd name="connsiteY6396" fmla="*/ 286226 h 514350"/>
                <a:gd name="connsiteX6397" fmla="*/ 1386364 w 6400800"/>
                <a:gd name="connsiteY6397" fmla="*/ 298609 h 514350"/>
                <a:gd name="connsiteX6398" fmla="*/ 1383506 w 6400800"/>
                <a:gd name="connsiteY6398" fmla="*/ 287179 h 514350"/>
                <a:gd name="connsiteX6399" fmla="*/ 1382554 w 6400800"/>
                <a:gd name="connsiteY6399" fmla="*/ 288131 h 514350"/>
                <a:gd name="connsiteX6400" fmla="*/ 1376839 w 6400800"/>
                <a:gd name="connsiteY6400" fmla="*/ 274796 h 514350"/>
                <a:gd name="connsiteX6401" fmla="*/ 1384459 w 6400800"/>
                <a:gd name="connsiteY6401" fmla="*/ 242411 h 514350"/>
                <a:gd name="connsiteX6402" fmla="*/ 1390174 w 6400800"/>
                <a:gd name="connsiteY6402" fmla="*/ 281464 h 514350"/>
                <a:gd name="connsiteX6403" fmla="*/ 1383506 w 6400800"/>
                <a:gd name="connsiteY6403" fmla="*/ 287179 h 514350"/>
                <a:gd name="connsiteX6404" fmla="*/ 1391126 w 6400800"/>
                <a:gd name="connsiteY6404" fmla="*/ 310991 h 514350"/>
                <a:gd name="connsiteX6405" fmla="*/ 1393031 w 6400800"/>
                <a:gd name="connsiteY6405" fmla="*/ 299561 h 514350"/>
                <a:gd name="connsiteX6406" fmla="*/ 1393031 w 6400800"/>
                <a:gd name="connsiteY6406" fmla="*/ 298609 h 514350"/>
                <a:gd name="connsiteX6407" fmla="*/ 1393984 w 6400800"/>
                <a:gd name="connsiteY6407" fmla="*/ 305276 h 514350"/>
                <a:gd name="connsiteX6408" fmla="*/ 1391126 w 6400800"/>
                <a:gd name="connsiteY6408" fmla="*/ 310991 h 514350"/>
                <a:gd name="connsiteX6409" fmla="*/ 1397794 w 6400800"/>
                <a:gd name="connsiteY6409" fmla="*/ 278606 h 514350"/>
                <a:gd name="connsiteX6410" fmla="*/ 1397794 w 6400800"/>
                <a:gd name="connsiteY6410" fmla="*/ 278606 h 514350"/>
                <a:gd name="connsiteX6411" fmla="*/ 1397794 w 6400800"/>
                <a:gd name="connsiteY6411" fmla="*/ 279559 h 514350"/>
                <a:gd name="connsiteX6412" fmla="*/ 1397794 w 6400800"/>
                <a:gd name="connsiteY6412" fmla="*/ 278606 h 514350"/>
                <a:gd name="connsiteX6413" fmla="*/ 1397794 w 6400800"/>
                <a:gd name="connsiteY6413" fmla="*/ 278606 h 514350"/>
                <a:gd name="connsiteX6414" fmla="*/ 1397794 w 6400800"/>
                <a:gd name="connsiteY6414" fmla="*/ 322421 h 514350"/>
                <a:gd name="connsiteX6415" fmla="*/ 1399699 w 6400800"/>
                <a:gd name="connsiteY6415" fmla="*/ 331946 h 514350"/>
                <a:gd name="connsiteX6416" fmla="*/ 1399699 w 6400800"/>
                <a:gd name="connsiteY6416" fmla="*/ 333851 h 514350"/>
                <a:gd name="connsiteX6417" fmla="*/ 1396841 w 6400800"/>
                <a:gd name="connsiteY6417" fmla="*/ 326231 h 514350"/>
                <a:gd name="connsiteX6418" fmla="*/ 1397794 w 6400800"/>
                <a:gd name="connsiteY6418" fmla="*/ 322421 h 514350"/>
                <a:gd name="connsiteX6419" fmla="*/ 1387316 w 6400800"/>
                <a:gd name="connsiteY6419" fmla="*/ 231934 h 514350"/>
                <a:gd name="connsiteX6420" fmla="*/ 1395889 w 6400800"/>
                <a:gd name="connsiteY6420" fmla="*/ 270986 h 514350"/>
                <a:gd name="connsiteX6421" fmla="*/ 1394936 w 6400800"/>
                <a:gd name="connsiteY6421" fmla="*/ 272891 h 514350"/>
                <a:gd name="connsiteX6422" fmla="*/ 1384459 w 6400800"/>
                <a:gd name="connsiteY6422" fmla="*/ 240506 h 514350"/>
                <a:gd name="connsiteX6423" fmla="*/ 1387316 w 6400800"/>
                <a:gd name="connsiteY6423" fmla="*/ 231934 h 514350"/>
                <a:gd name="connsiteX6424" fmla="*/ 1380649 w 6400800"/>
                <a:gd name="connsiteY6424" fmla="*/ 232886 h 514350"/>
                <a:gd name="connsiteX6425" fmla="*/ 1386364 w 6400800"/>
                <a:gd name="connsiteY6425" fmla="*/ 225266 h 514350"/>
                <a:gd name="connsiteX6426" fmla="*/ 1386364 w 6400800"/>
                <a:gd name="connsiteY6426" fmla="*/ 225266 h 514350"/>
                <a:gd name="connsiteX6427" fmla="*/ 1372076 w 6400800"/>
                <a:gd name="connsiteY6427" fmla="*/ 262414 h 514350"/>
                <a:gd name="connsiteX6428" fmla="*/ 1370171 w 6400800"/>
                <a:gd name="connsiteY6428" fmla="*/ 257651 h 514350"/>
                <a:gd name="connsiteX6429" fmla="*/ 1369219 w 6400800"/>
                <a:gd name="connsiteY6429" fmla="*/ 253841 h 514350"/>
                <a:gd name="connsiteX6430" fmla="*/ 1380649 w 6400800"/>
                <a:gd name="connsiteY6430" fmla="*/ 232886 h 514350"/>
                <a:gd name="connsiteX6431" fmla="*/ 1356836 w 6400800"/>
                <a:gd name="connsiteY6431" fmla="*/ 300514 h 514350"/>
                <a:gd name="connsiteX6432" fmla="*/ 1356836 w 6400800"/>
                <a:gd name="connsiteY6432" fmla="*/ 302419 h 514350"/>
                <a:gd name="connsiteX6433" fmla="*/ 1355884 w 6400800"/>
                <a:gd name="connsiteY6433" fmla="*/ 304324 h 514350"/>
                <a:gd name="connsiteX6434" fmla="*/ 1355884 w 6400800"/>
                <a:gd name="connsiteY6434" fmla="*/ 299561 h 514350"/>
                <a:gd name="connsiteX6435" fmla="*/ 1356836 w 6400800"/>
                <a:gd name="connsiteY6435" fmla="*/ 300514 h 514350"/>
                <a:gd name="connsiteX6436" fmla="*/ 1339691 w 6400800"/>
                <a:gd name="connsiteY6436" fmla="*/ 325279 h 514350"/>
                <a:gd name="connsiteX6437" fmla="*/ 1339691 w 6400800"/>
                <a:gd name="connsiteY6437" fmla="*/ 324326 h 514350"/>
                <a:gd name="connsiteX6438" fmla="*/ 1341596 w 6400800"/>
                <a:gd name="connsiteY6438" fmla="*/ 317659 h 514350"/>
                <a:gd name="connsiteX6439" fmla="*/ 1341596 w 6400800"/>
                <a:gd name="connsiteY6439" fmla="*/ 317659 h 514350"/>
                <a:gd name="connsiteX6440" fmla="*/ 1341596 w 6400800"/>
                <a:gd name="connsiteY6440" fmla="*/ 330994 h 514350"/>
                <a:gd name="connsiteX6441" fmla="*/ 1339691 w 6400800"/>
                <a:gd name="connsiteY6441" fmla="*/ 325279 h 514350"/>
                <a:gd name="connsiteX6442" fmla="*/ 1340644 w 6400800"/>
                <a:gd name="connsiteY6442" fmla="*/ 226219 h 514350"/>
                <a:gd name="connsiteX6443" fmla="*/ 1340644 w 6400800"/>
                <a:gd name="connsiteY6443" fmla="*/ 226219 h 514350"/>
                <a:gd name="connsiteX6444" fmla="*/ 1344454 w 6400800"/>
                <a:gd name="connsiteY6444" fmla="*/ 237649 h 514350"/>
                <a:gd name="connsiteX6445" fmla="*/ 1344454 w 6400800"/>
                <a:gd name="connsiteY6445" fmla="*/ 242411 h 514350"/>
                <a:gd name="connsiteX6446" fmla="*/ 1343501 w 6400800"/>
                <a:gd name="connsiteY6446" fmla="*/ 264319 h 514350"/>
                <a:gd name="connsiteX6447" fmla="*/ 1343501 w 6400800"/>
                <a:gd name="connsiteY6447" fmla="*/ 272891 h 514350"/>
                <a:gd name="connsiteX6448" fmla="*/ 1339691 w 6400800"/>
                <a:gd name="connsiteY6448" fmla="*/ 269081 h 514350"/>
                <a:gd name="connsiteX6449" fmla="*/ 1340644 w 6400800"/>
                <a:gd name="connsiteY6449" fmla="*/ 226219 h 514350"/>
                <a:gd name="connsiteX6450" fmla="*/ 1337786 w 6400800"/>
                <a:gd name="connsiteY6450" fmla="*/ 295751 h 514350"/>
                <a:gd name="connsiteX6451" fmla="*/ 1338739 w 6400800"/>
                <a:gd name="connsiteY6451" fmla="*/ 271939 h 514350"/>
                <a:gd name="connsiteX6452" fmla="*/ 1342549 w 6400800"/>
                <a:gd name="connsiteY6452" fmla="*/ 276701 h 514350"/>
                <a:gd name="connsiteX6453" fmla="*/ 1342549 w 6400800"/>
                <a:gd name="connsiteY6453" fmla="*/ 276701 h 514350"/>
                <a:gd name="connsiteX6454" fmla="*/ 1342549 w 6400800"/>
                <a:gd name="connsiteY6454" fmla="*/ 286226 h 514350"/>
                <a:gd name="connsiteX6455" fmla="*/ 1337786 w 6400800"/>
                <a:gd name="connsiteY6455" fmla="*/ 295751 h 514350"/>
                <a:gd name="connsiteX6456" fmla="*/ 1337786 w 6400800"/>
                <a:gd name="connsiteY6456" fmla="*/ 296704 h 514350"/>
                <a:gd name="connsiteX6457" fmla="*/ 1337786 w 6400800"/>
                <a:gd name="connsiteY6457" fmla="*/ 295751 h 514350"/>
                <a:gd name="connsiteX6458" fmla="*/ 1314926 w 6400800"/>
                <a:gd name="connsiteY6458" fmla="*/ 320516 h 514350"/>
                <a:gd name="connsiteX6459" fmla="*/ 1314926 w 6400800"/>
                <a:gd name="connsiteY6459" fmla="*/ 320516 h 514350"/>
                <a:gd name="connsiteX6460" fmla="*/ 1314926 w 6400800"/>
                <a:gd name="connsiteY6460" fmla="*/ 320516 h 514350"/>
                <a:gd name="connsiteX6461" fmla="*/ 1314926 w 6400800"/>
                <a:gd name="connsiteY6461" fmla="*/ 320516 h 514350"/>
                <a:gd name="connsiteX6462" fmla="*/ 1311116 w 6400800"/>
                <a:gd name="connsiteY6462" fmla="*/ 312896 h 514350"/>
                <a:gd name="connsiteX6463" fmla="*/ 1311116 w 6400800"/>
                <a:gd name="connsiteY6463" fmla="*/ 312896 h 514350"/>
                <a:gd name="connsiteX6464" fmla="*/ 1311116 w 6400800"/>
                <a:gd name="connsiteY6464" fmla="*/ 314801 h 514350"/>
                <a:gd name="connsiteX6465" fmla="*/ 1311116 w 6400800"/>
                <a:gd name="connsiteY6465" fmla="*/ 314801 h 514350"/>
                <a:gd name="connsiteX6466" fmla="*/ 1311116 w 6400800"/>
                <a:gd name="connsiteY6466" fmla="*/ 312896 h 514350"/>
                <a:gd name="connsiteX6467" fmla="*/ 1242536 w 6400800"/>
                <a:gd name="connsiteY6467" fmla="*/ 344329 h 514350"/>
                <a:gd name="connsiteX6468" fmla="*/ 1238726 w 6400800"/>
                <a:gd name="connsiteY6468" fmla="*/ 336709 h 514350"/>
                <a:gd name="connsiteX6469" fmla="*/ 1238726 w 6400800"/>
                <a:gd name="connsiteY6469" fmla="*/ 310991 h 514350"/>
                <a:gd name="connsiteX6470" fmla="*/ 1238726 w 6400800"/>
                <a:gd name="connsiteY6470" fmla="*/ 307181 h 514350"/>
                <a:gd name="connsiteX6471" fmla="*/ 1244441 w 6400800"/>
                <a:gd name="connsiteY6471" fmla="*/ 339566 h 514350"/>
                <a:gd name="connsiteX6472" fmla="*/ 1244441 w 6400800"/>
                <a:gd name="connsiteY6472" fmla="*/ 340519 h 514350"/>
                <a:gd name="connsiteX6473" fmla="*/ 1242536 w 6400800"/>
                <a:gd name="connsiteY6473" fmla="*/ 344329 h 514350"/>
                <a:gd name="connsiteX6474" fmla="*/ 1279684 w 6400800"/>
                <a:gd name="connsiteY6474" fmla="*/ 290989 h 514350"/>
                <a:gd name="connsiteX6475" fmla="*/ 1279684 w 6400800"/>
                <a:gd name="connsiteY6475" fmla="*/ 284321 h 514350"/>
                <a:gd name="connsiteX6476" fmla="*/ 1281589 w 6400800"/>
                <a:gd name="connsiteY6476" fmla="*/ 287179 h 514350"/>
                <a:gd name="connsiteX6477" fmla="*/ 1279684 w 6400800"/>
                <a:gd name="connsiteY6477" fmla="*/ 290989 h 514350"/>
                <a:gd name="connsiteX6478" fmla="*/ 1298734 w 6400800"/>
                <a:gd name="connsiteY6478" fmla="*/ 332899 h 514350"/>
                <a:gd name="connsiteX6479" fmla="*/ 1298734 w 6400800"/>
                <a:gd name="connsiteY6479" fmla="*/ 332899 h 514350"/>
                <a:gd name="connsiteX6480" fmla="*/ 1298734 w 6400800"/>
                <a:gd name="connsiteY6480" fmla="*/ 330994 h 514350"/>
                <a:gd name="connsiteX6481" fmla="*/ 1298734 w 6400800"/>
                <a:gd name="connsiteY6481" fmla="*/ 332899 h 514350"/>
                <a:gd name="connsiteX6482" fmla="*/ 1295876 w 6400800"/>
                <a:gd name="connsiteY6482" fmla="*/ 278606 h 514350"/>
                <a:gd name="connsiteX6483" fmla="*/ 1305401 w 6400800"/>
                <a:gd name="connsiteY6483" fmla="*/ 299561 h 514350"/>
                <a:gd name="connsiteX6484" fmla="*/ 1305401 w 6400800"/>
                <a:gd name="connsiteY6484" fmla="*/ 300514 h 514350"/>
                <a:gd name="connsiteX6485" fmla="*/ 1304449 w 6400800"/>
                <a:gd name="connsiteY6485" fmla="*/ 303371 h 514350"/>
                <a:gd name="connsiteX6486" fmla="*/ 1300639 w 6400800"/>
                <a:gd name="connsiteY6486" fmla="*/ 295751 h 514350"/>
                <a:gd name="connsiteX6487" fmla="*/ 1293971 w 6400800"/>
                <a:gd name="connsiteY6487" fmla="*/ 284321 h 514350"/>
                <a:gd name="connsiteX6488" fmla="*/ 1295876 w 6400800"/>
                <a:gd name="connsiteY6488" fmla="*/ 278606 h 514350"/>
                <a:gd name="connsiteX6489" fmla="*/ 1299686 w 6400800"/>
                <a:gd name="connsiteY6489" fmla="*/ 328136 h 514350"/>
                <a:gd name="connsiteX6490" fmla="*/ 1299686 w 6400800"/>
                <a:gd name="connsiteY6490" fmla="*/ 330041 h 514350"/>
                <a:gd name="connsiteX6491" fmla="*/ 1298734 w 6400800"/>
                <a:gd name="connsiteY6491" fmla="*/ 331946 h 514350"/>
                <a:gd name="connsiteX6492" fmla="*/ 1293019 w 6400800"/>
                <a:gd name="connsiteY6492" fmla="*/ 324326 h 514350"/>
                <a:gd name="connsiteX6493" fmla="*/ 1289209 w 6400800"/>
                <a:gd name="connsiteY6493" fmla="*/ 318611 h 514350"/>
                <a:gd name="connsiteX6494" fmla="*/ 1289209 w 6400800"/>
                <a:gd name="connsiteY6494" fmla="*/ 318611 h 514350"/>
                <a:gd name="connsiteX6495" fmla="*/ 1289209 w 6400800"/>
                <a:gd name="connsiteY6495" fmla="*/ 309086 h 514350"/>
                <a:gd name="connsiteX6496" fmla="*/ 1290161 w 6400800"/>
                <a:gd name="connsiteY6496" fmla="*/ 305276 h 514350"/>
                <a:gd name="connsiteX6497" fmla="*/ 1299686 w 6400800"/>
                <a:gd name="connsiteY6497" fmla="*/ 328136 h 514350"/>
                <a:gd name="connsiteX6498" fmla="*/ 1289209 w 6400800"/>
                <a:gd name="connsiteY6498" fmla="*/ 263366 h 514350"/>
                <a:gd name="connsiteX6499" fmla="*/ 1287304 w 6400800"/>
                <a:gd name="connsiteY6499" fmla="*/ 268129 h 514350"/>
                <a:gd name="connsiteX6500" fmla="*/ 1287304 w 6400800"/>
                <a:gd name="connsiteY6500" fmla="*/ 259556 h 514350"/>
                <a:gd name="connsiteX6501" fmla="*/ 1289209 w 6400800"/>
                <a:gd name="connsiteY6501" fmla="*/ 263366 h 514350"/>
                <a:gd name="connsiteX6502" fmla="*/ 1276826 w 6400800"/>
                <a:gd name="connsiteY6502" fmla="*/ 238601 h 514350"/>
                <a:gd name="connsiteX6503" fmla="*/ 1278731 w 6400800"/>
                <a:gd name="connsiteY6503" fmla="*/ 242411 h 514350"/>
                <a:gd name="connsiteX6504" fmla="*/ 1286351 w 6400800"/>
                <a:gd name="connsiteY6504" fmla="*/ 257651 h 514350"/>
                <a:gd name="connsiteX6505" fmla="*/ 1285399 w 6400800"/>
                <a:gd name="connsiteY6505" fmla="*/ 267176 h 514350"/>
                <a:gd name="connsiteX6506" fmla="*/ 1277779 w 6400800"/>
                <a:gd name="connsiteY6506" fmla="*/ 255746 h 514350"/>
                <a:gd name="connsiteX6507" fmla="*/ 1276826 w 6400800"/>
                <a:gd name="connsiteY6507" fmla="*/ 242411 h 514350"/>
                <a:gd name="connsiteX6508" fmla="*/ 1276826 w 6400800"/>
                <a:gd name="connsiteY6508" fmla="*/ 238601 h 514350"/>
                <a:gd name="connsiteX6509" fmla="*/ 1273016 w 6400800"/>
                <a:gd name="connsiteY6509" fmla="*/ 271939 h 514350"/>
                <a:gd name="connsiteX6510" fmla="*/ 1273969 w 6400800"/>
                <a:gd name="connsiteY6510" fmla="*/ 272891 h 514350"/>
                <a:gd name="connsiteX6511" fmla="*/ 1273016 w 6400800"/>
                <a:gd name="connsiteY6511" fmla="*/ 291941 h 514350"/>
                <a:gd name="connsiteX6512" fmla="*/ 1271111 w 6400800"/>
                <a:gd name="connsiteY6512" fmla="*/ 288131 h 514350"/>
                <a:gd name="connsiteX6513" fmla="*/ 1273016 w 6400800"/>
                <a:gd name="connsiteY6513" fmla="*/ 271939 h 514350"/>
                <a:gd name="connsiteX6514" fmla="*/ 1240631 w 6400800"/>
                <a:gd name="connsiteY6514" fmla="*/ 229076 h 514350"/>
                <a:gd name="connsiteX6515" fmla="*/ 1244441 w 6400800"/>
                <a:gd name="connsiteY6515" fmla="*/ 220504 h 514350"/>
                <a:gd name="connsiteX6516" fmla="*/ 1253966 w 6400800"/>
                <a:gd name="connsiteY6516" fmla="*/ 237649 h 514350"/>
                <a:gd name="connsiteX6517" fmla="*/ 1264444 w 6400800"/>
                <a:gd name="connsiteY6517" fmla="*/ 257651 h 514350"/>
                <a:gd name="connsiteX6518" fmla="*/ 1268254 w 6400800"/>
                <a:gd name="connsiteY6518" fmla="*/ 264319 h 514350"/>
                <a:gd name="connsiteX6519" fmla="*/ 1262539 w 6400800"/>
                <a:gd name="connsiteY6519" fmla="*/ 286226 h 514350"/>
                <a:gd name="connsiteX6520" fmla="*/ 1254919 w 6400800"/>
                <a:gd name="connsiteY6520" fmla="*/ 277654 h 514350"/>
                <a:gd name="connsiteX6521" fmla="*/ 1241584 w 6400800"/>
                <a:gd name="connsiteY6521" fmla="*/ 251936 h 514350"/>
                <a:gd name="connsiteX6522" fmla="*/ 1235869 w 6400800"/>
                <a:gd name="connsiteY6522" fmla="*/ 243364 h 514350"/>
                <a:gd name="connsiteX6523" fmla="*/ 1235869 w 6400800"/>
                <a:gd name="connsiteY6523" fmla="*/ 242411 h 514350"/>
                <a:gd name="connsiteX6524" fmla="*/ 1240631 w 6400800"/>
                <a:gd name="connsiteY6524" fmla="*/ 229076 h 514350"/>
                <a:gd name="connsiteX6525" fmla="*/ 1228249 w 6400800"/>
                <a:gd name="connsiteY6525" fmla="*/ 304324 h 514350"/>
                <a:gd name="connsiteX6526" fmla="*/ 1227296 w 6400800"/>
                <a:gd name="connsiteY6526" fmla="*/ 288131 h 514350"/>
                <a:gd name="connsiteX6527" fmla="*/ 1227296 w 6400800"/>
                <a:gd name="connsiteY6527" fmla="*/ 281464 h 514350"/>
                <a:gd name="connsiteX6528" fmla="*/ 1228249 w 6400800"/>
                <a:gd name="connsiteY6528" fmla="*/ 279559 h 514350"/>
                <a:gd name="connsiteX6529" fmla="*/ 1228249 w 6400800"/>
                <a:gd name="connsiteY6529" fmla="*/ 278606 h 514350"/>
                <a:gd name="connsiteX6530" fmla="*/ 1229201 w 6400800"/>
                <a:gd name="connsiteY6530" fmla="*/ 279559 h 514350"/>
                <a:gd name="connsiteX6531" fmla="*/ 1231106 w 6400800"/>
                <a:gd name="connsiteY6531" fmla="*/ 284321 h 514350"/>
                <a:gd name="connsiteX6532" fmla="*/ 1228249 w 6400800"/>
                <a:gd name="connsiteY6532" fmla="*/ 304324 h 514350"/>
                <a:gd name="connsiteX6533" fmla="*/ 1232059 w 6400800"/>
                <a:gd name="connsiteY6533" fmla="*/ 280511 h 514350"/>
                <a:gd name="connsiteX6534" fmla="*/ 1232059 w 6400800"/>
                <a:gd name="connsiteY6534" fmla="*/ 278606 h 514350"/>
                <a:gd name="connsiteX6535" fmla="*/ 1230154 w 6400800"/>
                <a:gd name="connsiteY6535" fmla="*/ 275749 h 514350"/>
                <a:gd name="connsiteX6536" fmla="*/ 1227296 w 6400800"/>
                <a:gd name="connsiteY6536" fmla="*/ 275749 h 514350"/>
                <a:gd name="connsiteX6537" fmla="*/ 1226344 w 6400800"/>
                <a:gd name="connsiteY6537" fmla="*/ 275749 h 514350"/>
                <a:gd name="connsiteX6538" fmla="*/ 1226344 w 6400800"/>
                <a:gd name="connsiteY6538" fmla="*/ 269081 h 514350"/>
                <a:gd name="connsiteX6539" fmla="*/ 1230154 w 6400800"/>
                <a:gd name="connsiteY6539" fmla="*/ 272891 h 514350"/>
                <a:gd name="connsiteX6540" fmla="*/ 1233011 w 6400800"/>
                <a:gd name="connsiteY6540" fmla="*/ 276701 h 514350"/>
                <a:gd name="connsiteX6541" fmla="*/ 1232059 w 6400800"/>
                <a:gd name="connsiteY6541" fmla="*/ 280511 h 514350"/>
                <a:gd name="connsiteX6542" fmla="*/ 1230154 w 6400800"/>
                <a:gd name="connsiteY6542" fmla="*/ 221456 h 514350"/>
                <a:gd name="connsiteX6543" fmla="*/ 1233964 w 6400800"/>
                <a:gd name="connsiteY6543" fmla="*/ 233839 h 514350"/>
                <a:gd name="connsiteX6544" fmla="*/ 1233964 w 6400800"/>
                <a:gd name="connsiteY6544" fmla="*/ 233839 h 514350"/>
                <a:gd name="connsiteX6545" fmla="*/ 1233011 w 6400800"/>
                <a:gd name="connsiteY6545" fmla="*/ 230029 h 514350"/>
                <a:gd name="connsiteX6546" fmla="*/ 1230154 w 6400800"/>
                <a:gd name="connsiteY6546" fmla="*/ 221456 h 514350"/>
                <a:gd name="connsiteX6547" fmla="*/ 1230154 w 6400800"/>
                <a:gd name="connsiteY6547" fmla="*/ 221456 h 514350"/>
                <a:gd name="connsiteX6548" fmla="*/ 1229201 w 6400800"/>
                <a:gd name="connsiteY6548" fmla="*/ 257651 h 514350"/>
                <a:gd name="connsiteX6549" fmla="*/ 1229201 w 6400800"/>
                <a:gd name="connsiteY6549" fmla="*/ 257651 h 514350"/>
                <a:gd name="connsiteX6550" fmla="*/ 1230154 w 6400800"/>
                <a:gd name="connsiteY6550" fmla="*/ 259556 h 514350"/>
                <a:gd name="connsiteX6551" fmla="*/ 1230154 w 6400800"/>
                <a:gd name="connsiteY6551" fmla="*/ 262414 h 514350"/>
                <a:gd name="connsiteX6552" fmla="*/ 1232059 w 6400800"/>
                <a:gd name="connsiteY6552" fmla="*/ 274796 h 514350"/>
                <a:gd name="connsiteX6553" fmla="*/ 1232059 w 6400800"/>
                <a:gd name="connsiteY6553" fmla="*/ 274796 h 514350"/>
                <a:gd name="connsiteX6554" fmla="*/ 1229201 w 6400800"/>
                <a:gd name="connsiteY6554" fmla="*/ 272891 h 514350"/>
                <a:gd name="connsiteX6555" fmla="*/ 1225391 w 6400800"/>
                <a:gd name="connsiteY6555" fmla="*/ 269081 h 514350"/>
                <a:gd name="connsiteX6556" fmla="*/ 1225391 w 6400800"/>
                <a:gd name="connsiteY6556" fmla="*/ 265271 h 514350"/>
                <a:gd name="connsiteX6557" fmla="*/ 1229201 w 6400800"/>
                <a:gd name="connsiteY6557" fmla="*/ 257651 h 514350"/>
                <a:gd name="connsiteX6558" fmla="*/ 1226344 w 6400800"/>
                <a:gd name="connsiteY6558" fmla="*/ 235744 h 514350"/>
                <a:gd name="connsiteX6559" fmla="*/ 1228249 w 6400800"/>
                <a:gd name="connsiteY6559" fmla="*/ 244316 h 514350"/>
                <a:gd name="connsiteX6560" fmla="*/ 1227296 w 6400800"/>
                <a:gd name="connsiteY6560" fmla="*/ 246221 h 514350"/>
                <a:gd name="connsiteX6561" fmla="*/ 1225391 w 6400800"/>
                <a:gd name="connsiteY6561" fmla="*/ 244316 h 514350"/>
                <a:gd name="connsiteX6562" fmla="*/ 1225391 w 6400800"/>
                <a:gd name="connsiteY6562" fmla="*/ 231934 h 514350"/>
                <a:gd name="connsiteX6563" fmla="*/ 1226344 w 6400800"/>
                <a:gd name="connsiteY6563" fmla="*/ 235744 h 514350"/>
                <a:gd name="connsiteX6564" fmla="*/ 1197769 w 6400800"/>
                <a:gd name="connsiteY6564" fmla="*/ 293846 h 514350"/>
                <a:gd name="connsiteX6565" fmla="*/ 1198721 w 6400800"/>
                <a:gd name="connsiteY6565" fmla="*/ 290036 h 514350"/>
                <a:gd name="connsiteX6566" fmla="*/ 1198721 w 6400800"/>
                <a:gd name="connsiteY6566" fmla="*/ 291941 h 514350"/>
                <a:gd name="connsiteX6567" fmla="*/ 1199674 w 6400800"/>
                <a:gd name="connsiteY6567" fmla="*/ 299561 h 514350"/>
                <a:gd name="connsiteX6568" fmla="*/ 1196816 w 6400800"/>
                <a:gd name="connsiteY6568" fmla="*/ 307181 h 514350"/>
                <a:gd name="connsiteX6569" fmla="*/ 1194911 w 6400800"/>
                <a:gd name="connsiteY6569" fmla="*/ 299561 h 514350"/>
                <a:gd name="connsiteX6570" fmla="*/ 1197769 w 6400800"/>
                <a:gd name="connsiteY6570" fmla="*/ 293846 h 514350"/>
                <a:gd name="connsiteX6571" fmla="*/ 1196816 w 6400800"/>
                <a:gd name="connsiteY6571" fmla="*/ 459581 h 514350"/>
                <a:gd name="connsiteX6572" fmla="*/ 1196816 w 6400800"/>
                <a:gd name="connsiteY6572" fmla="*/ 459581 h 514350"/>
                <a:gd name="connsiteX6573" fmla="*/ 1195864 w 6400800"/>
                <a:gd name="connsiteY6573" fmla="*/ 455771 h 514350"/>
                <a:gd name="connsiteX6574" fmla="*/ 1196816 w 6400800"/>
                <a:gd name="connsiteY6574" fmla="*/ 459581 h 514350"/>
                <a:gd name="connsiteX6575" fmla="*/ 1190149 w 6400800"/>
                <a:gd name="connsiteY6575" fmla="*/ 324326 h 514350"/>
                <a:gd name="connsiteX6576" fmla="*/ 1190149 w 6400800"/>
                <a:gd name="connsiteY6576" fmla="*/ 324326 h 514350"/>
                <a:gd name="connsiteX6577" fmla="*/ 1189196 w 6400800"/>
                <a:gd name="connsiteY6577" fmla="*/ 320516 h 514350"/>
                <a:gd name="connsiteX6578" fmla="*/ 1190149 w 6400800"/>
                <a:gd name="connsiteY6578" fmla="*/ 324326 h 514350"/>
                <a:gd name="connsiteX6579" fmla="*/ 1170146 w 6400800"/>
                <a:gd name="connsiteY6579" fmla="*/ 270986 h 514350"/>
                <a:gd name="connsiteX6580" fmla="*/ 1170146 w 6400800"/>
                <a:gd name="connsiteY6580" fmla="*/ 268129 h 514350"/>
                <a:gd name="connsiteX6581" fmla="*/ 1170146 w 6400800"/>
                <a:gd name="connsiteY6581" fmla="*/ 264319 h 514350"/>
                <a:gd name="connsiteX6582" fmla="*/ 1172051 w 6400800"/>
                <a:gd name="connsiteY6582" fmla="*/ 235744 h 514350"/>
                <a:gd name="connsiteX6583" fmla="*/ 1174909 w 6400800"/>
                <a:gd name="connsiteY6583" fmla="*/ 245269 h 514350"/>
                <a:gd name="connsiteX6584" fmla="*/ 1176814 w 6400800"/>
                <a:gd name="connsiteY6584" fmla="*/ 260509 h 514350"/>
                <a:gd name="connsiteX6585" fmla="*/ 1177766 w 6400800"/>
                <a:gd name="connsiteY6585" fmla="*/ 285274 h 514350"/>
                <a:gd name="connsiteX6586" fmla="*/ 1177766 w 6400800"/>
                <a:gd name="connsiteY6586" fmla="*/ 308134 h 514350"/>
                <a:gd name="connsiteX6587" fmla="*/ 1176814 w 6400800"/>
                <a:gd name="connsiteY6587" fmla="*/ 305276 h 514350"/>
                <a:gd name="connsiteX6588" fmla="*/ 1168241 w 6400800"/>
                <a:gd name="connsiteY6588" fmla="*/ 287179 h 514350"/>
                <a:gd name="connsiteX6589" fmla="*/ 1170146 w 6400800"/>
                <a:gd name="connsiteY6589" fmla="*/ 270986 h 514350"/>
                <a:gd name="connsiteX6590" fmla="*/ 1170146 w 6400800"/>
                <a:gd name="connsiteY6590" fmla="*/ 309086 h 514350"/>
                <a:gd name="connsiteX6591" fmla="*/ 1173956 w 6400800"/>
                <a:gd name="connsiteY6591" fmla="*/ 321469 h 514350"/>
                <a:gd name="connsiteX6592" fmla="*/ 1172051 w 6400800"/>
                <a:gd name="connsiteY6592" fmla="*/ 327184 h 514350"/>
                <a:gd name="connsiteX6593" fmla="*/ 1170146 w 6400800"/>
                <a:gd name="connsiteY6593" fmla="*/ 322421 h 514350"/>
                <a:gd name="connsiteX6594" fmla="*/ 1170146 w 6400800"/>
                <a:gd name="connsiteY6594" fmla="*/ 318611 h 514350"/>
                <a:gd name="connsiteX6595" fmla="*/ 1168241 w 6400800"/>
                <a:gd name="connsiteY6595" fmla="*/ 303371 h 514350"/>
                <a:gd name="connsiteX6596" fmla="*/ 1170146 w 6400800"/>
                <a:gd name="connsiteY6596" fmla="*/ 309086 h 514350"/>
                <a:gd name="connsiteX6597" fmla="*/ 1164431 w 6400800"/>
                <a:gd name="connsiteY6597" fmla="*/ 236696 h 514350"/>
                <a:gd name="connsiteX6598" fmla="*/ 1161574 w 6400800"/>
                <a:gd name="connsiteY6598" fmla="*/ 253841 h 514350"/>
                <a:gd name="connsiteX6599" fmla="*/ 1161574 w 6400800"/>
                <a:gd name="connsiteY6599" fmla="*/ 251936 h 514350"/>
                <a:gd name="connsiteX6600" fmla="*/ 1161574 w 6400800"/>
                <a:gd name="connsiteY6600" fmla="*/ 250984 h 514350"/>
                <a:gd name="connsiteX6601" fmla="*/ 1164431 w 6400800"/>
                <a:gd name="connsiteY6601" fmla="*/ 236696 h 514350"/>
                <a:gd name="connsiteX6602" fmla="*/ 1140619 w 6400800"/>
                <a:gd name="connsiteY6602" fmla="*/ 290036 h 514350"/>
                <a:gd name="connsiteX6603" fmla="*/ 1139666 w 6400800"/>
                <a:gd name="connsiteY6603" fmla="*/ 291941 h 514350"/>
                <a:gd name="connsiteX6604" fmla="*/ 1137761 w 6400800"/>
                <a:gd name="connsiteY6604" fmla="*/ 283369 h 514350"/>
                <a:gd name="connsiteX6605" fmla="*/ 1140619 w 6400800"/>
                <a:gd name="connsiteY6605" fmla="*/ 290036 h 514350"/>
                <a:gd name="connsiteX6606" fmla="*/ 1114901 w 6400800"/>
                <a:gd name="connsiteY6606" fmla="*/ 339566 h 514350"/>
                <a:gd name="connsiteX6607" fmla="*/ 1117759 w 6400800"/>
                <a:gd name="connsiteY6607" fmla="*/ 315754 h 514350"/>
                <a:gd name="connsiteX6608" fmla="*/ 1119664 w 6400800"/>
                <a:gd name="connsiteY6608" fmla="*/ 325279 h 514350"/>
                <a:gd name="connsiteX6609" fmla="*/ 1121569 w 6400800"/>
                <a:gd name="connsiteY6609" fmla="*/ 334804 h 514350"/>
                <a:gd name="connsiteX6610" fmla="*/ 1120616 w 6400800"/>
                <a:gd name="connsiteY6610" fmla="*/ 341471 h 514350"/>
                <a:gd name="connsiteX6611" fmla="*/ 1120616 w 6400800"/>
                <a:gd name="connsiteY6611" fmla="*/ 342424 h 514350"/>
                <a:gd name="connsiteX6612" fmla="*/ 1118711 w 6400800"/>
                <a:gd name="connsiteY6612" fmla="*/ 348139 h 514350"/>
                <a:gd name="connsiteX6613" fmla="*/ 1114901 w 6400800"/>
                <a:gd name="connsiteY6613" fmla="*/ 341471 h 514350"/>
                <a:gd name="connsiteX6614" fmla="*/ 1114901 w 6400800"/>
                <a:gd name="connsiteY6614" fmla="*/ 339566 h 514350"/>
                <a:gd name="connsiteX6615" fmla="*/ 1111091 w 6400800"/>
                <a:gd name="connsiteY6615" fmla="*/ 219551 h 514350"/>
                <a:gd name="connsiteX6616" fmla="*/ 1112044 w 6400800"/>
                <a:gd name="connsiteY6616" fmla="*/ 222409 h 514350"/>
                <a:gd name="connsiteX6617" fmla="*/ 1112996 w 6400800"/>
                <a:gd name="connsiteY6617" fmla="*/ 230029 h 514350"/>
                <a:gd name="connsiteX6618" fmla="*/ 1112996 w 6400800"/>
                <a:gd name="connsiteY6618" fmla="*/ 230029 h 514350"/>
                <a:gd name="connsiteX6619" fmla="*/ 1111091 w 6400800"/>
                <a:gd name="connsiteY6619" fmla="*/ 219551 h 514350"/>
                <a:gd name="connsiteX6620" fmla="*/ 1111091 w 6400800"/>
                <a:gd name="connsiteY6620" fmla="*/ 219551 h 514350"/>
                <a:gd name="connsiteX6621" fmla="*/ 1110139 w 6400800"/>
                <a:gd name="connsiteY6621" fmla="*/ 217646 h 514350"/>
                <a:gd name="connsiteX6622" fmla="*/ 1110139 w 6400800"/>
                <a:gd name="connsiteY6622" fmla="*/ 217646 h 514350"/>
                <a:gd name="connsiteX6623" fmla="*/ 1109186 w 6400800"/>
                <a:gd name="connsiteY6623" fmla="*/ 215741 h 514350"/>
                <a:gd name="connsiteX6624" fmla="*/ 1110139 w 6400800"/>
                <a:gd name="connsiteY6624" fmla="*/ 217646 h 514350"/>
                <a:gd name="connsiteX6625" fmla="*/ 1101566 w 6400800"/>
                <a:gd name="connsiteY6625" fmla="*/ 236696 h 514350"/>
                <a:gd name="connsiteX6626" fmla="*/ 1111091 w 6400800"/>
                <a:gd name="connsiteY6626" fmla="*/ 278606 h 514350"/>
                <a:gd name="connsiteX6627" fmla="*/ 1109186 w 6400800"/>
                <a:gd name="connsiteY6627" fmla="*/ 293846 h 514350"/>
                <a:gd name="connsiteX6628" fmla="*/ 1106329 w 6400800"/>
                <a:gd name="connsiteY6628" fmla="*/ 309086 h 514350"/>
                <a:gd name="connsiteX6629" fmla="*/ 1106329 w 6400800"/>
                <a:gd name="connsiteY6629" fmla="*/ 308134 h 514350"/>
                <a:gd name="connsiteX6630" fmla="*/ 1105376 w 6400800"/>
                <a:gd name="connsiteY6630" fmla="*/ 295751 h 514350"/>
                <a:gd name="connsiteX6631" fmla="*/ 1105376 w 6400800"/>
                <a:gd name="connsiteY6631" fmla="*/ 300514 h 514350"/>
                <a:gd name="connsiteX6632" fmla="*/ 1099661 w 6400800"/>
                <a:gd name="connsiteY6632" fmla="*/ 272891 h 514350"/>
                <a:gd name="connsiteX6633" fmla="*/ 1094899 w 6400800"/>
                <a:gd name="connsiteY6633" fmla="*/ 249079 h 514350"/>
                <a:gd name="connsiteX6634" fmla="*/ 1101566 w 6400800"/>
                <a:gd name="connsiteY6634" fmla="*/ 236696 h 514350"/>
                <a:gd name="connsiteX6635" fmla="*/ 1027271 w 6400800"/>
                <a:gd name="connsiteY6635" fmla="*/ 325279 h 514350"/>
                <a:gd name="connsiteX6636" fmla="*/ 1030129 w 6400800"/>
                <a:gd name="connsiteY6636" fmla="*/ 310991 h 514350"/>
                <a:gd name="connsiteX6637" fmla="*/ 1034891 w 6400800"/>
                <a:gd name="connsiteY6637" fmla="*/ 297656 h 514350"/>
                <a:gd name="connsiteX6638" fmla="*/ 1039654 w 6400800"/>
                <a:gd name="connsiteY6638" fmla="*/ 288131 h 514350"/>
                <a:gd name="connsiteX6639" fmla="*/ 1042511 w 6400800"/>
                <a:gd name="connsiteY6639" fmla="*/ 299561 h 514350"/>
                <a:gd name="connsiteX6640" fmla="*/ 1039654 w 6400800"/>
                <a:gd name="connsiteY6640" fmla="*/ 305276 h 514350"/>
                <a:gd name="connsiteX6641" fmla="*/ 1028224 w 6400800"/>
                <a:gd name="connsiteY6641" fmla="*/ 330994 h 514350"/>
                <a:gd name="connsiteX6642" fmla="*/ 1027271 w 6400800"/>
                <a:gd name="connsiteY6642" fmla="*/ 325279 h 514350"/>
                <a:gd name="connsiteX6643" fmla="*/ 1040606 w 6400800"/>
                <a:gd name="connsiteY6643" fmla="*/ 374809 h 514350"/>
                <a:gd name="connsiteX6644" fmla="*/ 1039654 w 6400800"/>
                <a:gd name="connsiteY6644" fmla="*/ 370999 h 514350"/>
                <a:gd name="connsiteX6645" fmla="*/ 1045369 w 6400800"/>
                <a:gd name="connsiteY6645" fmla="*/ 355759 h 514350"/>
                <a:gd name="connsiteX6646" fmla="*/ 1047274 w 6400800"/>
                <a:gd name="connsiteY6646" fmla="*/ 364331 h 514350"/>
                <a:gd name="connsiteX6647" fmla="*/ 1048226 w 6400800"/>
                <a:gd name="connsiteY6647" fmla="*/ 386239 h 514350"/>
                <a:gd name="connsiteX6648" fmla="*/ 1044416 w 6400800"/>
                <a:gd name="connsiteY6648" fmla="*/ 384334 h 514350"/>
                <a:gd name="connsiteX6649" fmla="*/ 1040606 w 6400800"/>
                <a:gd name="connsiteY6649" fmla="*/ 374809 h 514350"/>
                <a:gd name="connsiteX6650" fmla="*/ 1046321 w 6400800"/>
                <a:gd name="connsiteY6650" fmla="*/ 389096 h 514350"/>
                <a:gd name="connsiteX6651" fmla="*/ 1048226 w 6400800"/>
                <a:gd name="connsiteY6651" fmla="*/ 391001 h 514350"/>
                <a:gd name="connsiteX6652" fmla="*/ 1048226 w 6400800"/>
                <a:gd name="connsiteY6652" fmla="*/ 392906 h 514350"/>
                <a:gd name="connsiteX6653" fmla="*/ 1046321 w 6400800"/>
                <a:gd name="connsiteY6653" fmla="*/ 389096 h 514350"/>
                <a:gd name="connsiteX6654" fmla="*/ 1056799 w 6400800"/>
                <a:gd name="connsiteY6654" fmla="*/ 292894 h 514350"/>
                <a:gd name="connsiteX6655" fmla="*/ 1061561 w 6400800"/>
                <a:gd name="connsiteY6655" fmla="*/ 282416 h 514350"/>
                <a:gd name="connsiteX6656" fmla="*/ 1066324 w 6400800"/>
                <a:gd name="connsiteY6656" fmla="*/ 271939 h 514350"/>
                <a:gd name="connsiteX6657" fmla="*/ 1066324 w 6400800"/>
                <a:gd name="connsiteY6657" fmla="*/ 273844 h 514350"/>
                <a:gd name="connsiteX6658" fmla="*/ 1067276 w 6400800"/>
                <a:gd name="connsiteY6658" fmla="*/ 278606 h 514350"/>
                <a:gd name="connsiteX6659" fmla="*/ 1063466 w 6400800"/>
                <a:gd name="connsiteY6659" fmla="*/ 285274 h 514350"/>
                <a:gd name="connsiteX6660" fmla="*/ 1057751 w 6400800"/>
                <a:gd name="connsiteY6660" fmla="*/ 295751 h 514350"/>
                <a:gd name="connsiteX6661" fmla="*/ 1056799 w 6400800"/>
                <a:gd name="connsiteY6661" fmla="*/ 292894 h 514350"/>
                <a:gd name="connsiteX6662" fmla="*/ 1059656 w 6400800"/>
                <a:gd name="connsiteY6662" fmla="*/ 360521 h 514350"/>
                <a:gd name="connsiteX6663" fmla="*/ 1059656 w 6400800"/>
                <a:gd name="connsiteY6663" fmla="*/ 360521 h 514350"/>
                <a:gd name="connsiteX6664" fmla="*/ 1059656 w 6400800"/>
                <a:gd name="connsiteY6664" fmla="*/ 360521 h 514350"/>
                <a:gd name="connsiteX6665" fmla="*/ 1059656 w 6400800"/>
                <a:gd name="connsiteY6665" fmla="*/ 360521 h 514350"/>
                <a:gd name="connsiteX6666" fmla="*/ 1064419 w 6400800"/>
                <a:gd name="connsiteY6666" fmla="*/ 383381 h 514350"/>
                <a:gd name="connsiteX6667" fmla="*/ 1062514 w 6400800"/>
                <a:gd name="connsiteY6667" fmla="*/ 379571 h 514350"/>
                <a:gd name="connsiteX6668" fmla="*/ 1063466 w 6400800"/>
                <a:gd name="connsiteY6668" fmla="*/ 374809 h 514350"/>
                <a:gd name="connsiteX6669" fmla="*/ 1064419 w 6400800"/>
                <a:gd name="connsiteY6669" fmla="*/ 378619 h 514350"/>
                <a:gd name="connsiteX6670" fmla="*/ 1064419 w 6400800"/>
                <a:gd name="connsiteY6670" fmla="*/ 380524 h 514350"/>
                <a:gd name="connsiteX6671" fmla="*/ 1065371 w 6400800"/>
                <a:gd name="connsiteY6671" fmla="*/ 386239 h 514350"/>
                <a:gd name="connsiteX6672" fmla="*/ 1064419 w 6400800"/>
                <a:gd name="connsiteY6672" fmla="*/ 383381 h 514350"/>
                <a:gd name="connsiteX6673" fmla="*/ 1069181 w 6400800"/>
                <a:gd name="connsiteY6673" fmla="*/ 330994 h 514350"/>
                <a:gd name="connsiteX6674" fmla="*/ 1063466 w 6400800"/>
                <a:gd name="connsiteY6674" fmla="*/ 312896 h 514350"/>
                <a:gd name="connsiteX6675" fmla="*/ 1069181 w 6400800"/>
                <a:gd name="connsiteY6675" fmla="*/ 300514 h 514350"/>
                <a:gd name="connsiteX6676" fmla="*/ 1070134 w 6400800"/>
                <a:gd name="connsiteY6676" fmla="*/ 326231 h 514350"/>
                <a:gd name="connsiteX6677" fmla="*/ 1069181 w 6400800"/>
                <a:gd name="connsiteY6677" fmla="*/ 330994 h 514350"/>
                <a:gd name="connsiteX6678" fmla="*/ 1077754 w 6400800"/>
                <a:gd name="connsiteY6678" fmla="*/ 262414 h 514350"/>
                <a:gd name="connsiteX6679" fmla="*/ 1075849 w 6400800"/>
                <a:gd name="connsiteY6679" fmla="*/ 264319 h 514350"/>
                <a:gd name="connsiteX6680" fmla="*/ 1073944 w 6400800"/>
                <a:gd name="connsiteY6680" fmla="*/ 256699 h 514350"/>
                <a:gd name="connsiteX6681" fmla="*/ 1074896 w 6400800"/>
                <a:gd name="connsiteY6681" fmla="*/ 256699 h 514350"/>
                <a:gd name="connsiteX6682" fmla="*/ 1075849 w 6400800"/>
                <a:gd name="connsiteY6682" fmla="*/ 256699 h 514350"/>
                <a:gd name="connsiteX6683" fmla="*/ 1077754 w 6400800"/>
                <a:gd name="connsiteY6683" fmla="*/ 262414 h 514350"/>
                <a:gd name="connsiteX6684" fmla="*/ 1045369 w 6400800"/>
                <a:gd name="connsiteY6684" fmla="*/ 175736 h 514350"/>
                <a:gd name="connsiteX6685" fmla="*/ 1054894 w 6400800"/>
                <a:gd name="connsiteY6685" fmla="*/ 153829 h 514350"/>
                <a:gd name="connsiteX6686" fmla="*/ 1055846 w 6400800"/>
                <a:gd name="connsiteY6686" fmla="*/ 155734 h 514350"/>
                <a:gd name="connsiteX6687" fmla="*/ 1059656 w 6400800"/>
                <a:gd name="connsiteY6687" fmla="*/ 171926 h 514350"/>
                <a:gd name="connsiteX6688" fmla="*/ 1064419 w 6400800"/>
                <a:gd name="connsiteY6688" fmla="*/ 193834 h 514350"/>
                <a:gd name="connsiteX6689" fmla="*/ 1069181 w 6400800"/>
                <a:gd name="connsiteY6689" fmla="*/ 215741 h 514350"/>
                <a:gd name="connsiteX6690" fmla="*/ 1076801 w 6400800"/>
                <a:gd name="connsiteY6690" fmla="*/ 253841 h 514350"/>
                <a:gd name="connsiteX6691" fmla="*/ 1074896 w 6400800"/>
                <a:gd name="connsiteY6691" fmla="*/ 252889 h 514350"/>
                <a:gd name="connsiteX6692" fmla="*/ 1067276 w 6400800"/>
                <a:gd name="connsiteY6692" fmla="*/ 216694 h 514350"/>
                <a:gd name="connsiteX6693" fmla="*/ 1068229 w 6400800"/>
                <a:gd name="connsiteY6693" fmla="*/ 257651 h 514350"/>
                <a:gd name="connsiteX6694" fmla="*/ 1067276 w 6400800"/>
                <a:gd name="connsiteY6694" fmla="*/ 259556 h 514350"/>
                <a:gd name="connsiteX6695" fmla="*/ 1065371 w 6400800"/>
                <a:gd name="connsiteY6695" fmla="*/ 252889 h 514350"/>
                <a:gd name="connsiteX6696" fmla="*/ 1066324 w 6400800"/>
                <a:gd name="connsiteY6696" fmla="*/ 261461 h 514350"/>
                <a:gd name="connsiteX6697" fmla="*/ 1055846 w 6400800"/>
                <a:gd name="connsiteY6697" fmla="*/ 278606 h 514350"/>
                <a:gd name="connsiteX6698" fmla="*/ 1054894 w 6400800"/>
                <a:gd name="connsiteY6698" fmla="*/ 280511 h 514350"/>
                <a:gd name="connsiteX6699" fmla="*/ 1053941 w 6400800"/>
                <a:gd name="connsiteY6699" fmla="*/ 277654 h 514350"/>
                <a:gd name="connsiteX6700" fmla="*/ 1043464 w 6400800"/>
                <a:gd name="connsiteY6700" fmla="*/ 245269 h 514350"/>
                <a:gd name="connsiteX6701" fmla="*/ 1035844 w 6400800"/>
                <a:gd name="connsiteY6701" fmla="*/ 220504 h 514350"/>
                <a:gd name="connsiteX6702" fmla="*/ 1032034 w 6400800"/>
                <a:gd name="connsiteY6702" fmla="*/ 209074 h 514350"/>
                <a:gd name="connsiteX6703" fmla="*/ 1045369 w 6400800"/>
                <a:gd name="connsiteY6703" fmla="*/ 175736 h 514350"/>
                <a:gd name="connsiteX6704" fmla="*/ 1019651 w 6400800"/>
                <a:gd name="connsiteY6704" fmla="*/ 267176 h 514350"/>
                <a:gd name="connsiteX6705" fmla="*/ 1023461 w 6400800"/>
                <a:gd name="connsiteY6705" fmla="*/ 221456 h 514350"/>
                <a:gd name="connsiteX6706" fmla="*/ 1024414 w 6400800"/>
                <a:gd name="connsiteY6706" fmla="*/ 218599 h 514350"/>
                <a:gd name="connsiteX6707" fmla="*/ 1032034 w 6400800"/>
                <a:gd name="connsiteY6707" fmla="*/ 253841 h 514350"/>
                <a:gd name="connsiteX6708" fmla="*/ 1038701 w 6400800"/>
                <a:gd name="connsiteY6708" fmla="*/ 283369 h 514350"/>
                <a:gd name="connsiteX6709" fmla="*/ 1037749 w 6400800"/>
                <a:gd name="connsiteY6709" fmla="*/ 284321 h 514350"/>
                <a:gd name="connsiteX6710" fmla="*/ 1031081 w 6400800"/>
                <a:gd name="connsiteY6710" fmla="*/ 294799 h 514350"/>
                <a:gd name="connsiteX6711" fmla="*/ 1025366 w 6400800"/>
                <a:gd name="connsiteY6711" fmla="*/ 306229 h 514350"/>
                <a:gd name="connsiteX6712" fmla="*/ 1023461 w 6400800"/>
                <a:gd name="connsiteY6712" fmla="*/ 284321 h 514350"/>
                <a:gd name="connsiteX6713" fmla="*/ 1022509 w 6400800"/>
                <a:gd name="connsiteY6713" fmla="*/ 269081 h 514350"/>
                <a:gd name="connsiteX6714" fmla="*/ 1019651 w 6400800"/>
                <a:gd name="connsiteY6714" fmla="*/ 284321 h 514350"/>
                <a:gd name="connsiteX6715" fmla="*/ 1015841 w 6400800"/>
                <a:gd name="connsiteY6715" fmla="*/ 314801 h 514350"/>
                <a:gd name="connsiteX6716" fmla="*/ 1015841 w 6400800"/>
                <a:gd name="connsiteY6716" fmla="*/ 315754 h 514350"/>
                <a:gd name="connsiteX6717" fmla="*/ 1015841 w 6400800"/>
                <a:gd name="connsiteY6717" fmla="*/ 315754 h 514350"/>
                <a:gd name="connsiteX6718" fmla="*/ 1022509 w 6400800"/>
                <a:gd name="connsiteY6718" fmla="*/ 251936 h 514350"/>
                <a:gd name="connsiteX6719" fmla="*/ 1019651 w 6400800"/>
                <a:gd name="connsiteY6719" fmla="*/ 267176 h 514350"/>
                <a:gd name="connsiteX6720" fmla="*/ 1011079 w 6400800"/>
                <a:gd name="connsiteY6720" fmla="*/ 364331 h 514350"/>
                <a:gd name="connsiteX6721" fmla="*/ 1012031 w 6400800"/>
                <a:gd name="connsiteY6721" fmla="*/ 355759 h 514350"/>
                <a:gd name="connsiteX6722" fmla="*/ 1013936 w 6400800"/>
                <a:gd name="connsiteY6722" fmla="*/ 342424 h 514350"/>
                <a:gd name="connsiteX6723" fmla="*/ 1013936 w 6400800"/>
                <a:gd name="connsiteY6723" fmla="*/ 342424 h 514350"/>
                <a:gd name="connsiteX6724" fmla="*/ 1012031 w 6400800"/>
                <a:gd name="connsiteY6724" fmla="*/ 364331 h 514350"/>
                <a:gd name="connsiteX6725" fmla="*/ 1011079 w 6400800"/>
                <a:gd name="connsiteY6725" fmla="*/ 366236 h 514350"/>
                <a:gd name="connsiteX6726" fmla="*/ 1011079 w 6400800"/>
                <a:gd name="connsiteY6726" fmla="*/ 366236 h 514350"/>
                <a:gd name="connsiteX6727" fmla="*/ 1011079 w 6400800"/>
                <a:gd name="connsiteY6727" fmla="*/ 364331 h 514350"/>
                <a:gd name="connsiteX6728" fmla="*/ 1004411 w 6400800"/>
                <a:gd name="connsiteY6728" fmla="*/ 257651 h 514350"/>
                <a:gd name="connsiteX6729" fmla="*/ 1001554 w 6400800"/>
                <a:gd name="connsiteY6729" fmla="*/ 281464 h 514350"/>
                <a:gd name="connsiteX6730" fmla="*/ 996791 w 6400800"/>
                <a:gd name="connsiteY6730" fmla="*/ 271939 h 514350"/>
                <a:gd name="connsiteX6731" fmla="*/ 1004411 w 6400800"/>
                <a:gd name="connsiteY6731" fmla="*/ 257651 h 514350"/>
                <a:gd name="connsiteX6732" fmla="*/ 991076 w 6400800"/>
                <a:gd name="connsiteY6732" fmla="*/ 283369 h 514350"/>
                <a:gd name="connsiteX6733" fmla="*/ 995839 w 6400800"/>
                <a:gd name="connsiteY6733" fmla="*/ 273844 h 514350"/>
                <a:gd name="connsiteX6734" fmla="*/ 999649 w 6400800"/>
                <a:gd name="connsiteY6734" fmla="*/ 291941 h 514350"/>
                <a:gd name="connsiteX6735" fmla="*/ 995839 w 6400800"/>
                <a:gd name="connsiteY6735" fmla="*/ 326231 h 514350"/>
                <a:gd name="connsiteX6736" fmla="*/ 993934 w 6400800"/>
                <a:gd name="connsiteY6736" fmla="*/ 330994 h 514350"/>
                <a:gd name="connsiteX6737" fmla="*/ 992981 w 6400800"/>
                <a:gd name="connsiteY6737" fmla="*/ 320516 h 514350"/>
                <a:gd name="connsiteX6738" fmla="*/ 991076 w 6400800"/>
                <a:gd name="connsiteY6738" fmla="*/ 338614 h 514350"/>
                <a:gd name="connsiteX6739" fmla="*/ 990124 w 6400800"/>
                <a:gd name="connsiteY6739" fmla="*/ 341471 h 514350"/>
                <a:gd name="connsiteX6740" fmla="*/ 981551 w 6400800"/>
                <a:gd name="connsiteY6740" fmla="*/ 365284 h 514350"/>
                <a:gd name="connsiteX6741" fmla="*/ 980599 w 6400800"/>
                <a:gd name="connsiteY6741" fmla="*/ 363379 h 514350"/>
                <a:gd name="connsiteX6742" fmla="*/ 977741 w 6400800"/>
                <a:gd name="connsiteY6742" fmla="*/ 331946 h 514350"/>
                <a:gd name="connsiteX6743" fmla="*/ 975836 w 6400800"/>
                <a:gd name="connsiteY6743" fmla="*/ 311944 h 514350"/>
                <a:gd name="connsiteX6744" fmla="*/ 991076 w 6400800"/>
                <a:gd name="connsiteY6744" fmla="*/ 283369 h 514350"/>
                <a:gd name="connsiteX6745" fmla="*/ 960596 w 6400800"/>
                <a:gd name="connsiteY6745" fmla="*/ 298609 h 514350"/>
                <a:gd name="connsiteX6746" fmla="*/ 968216 w 6400800"/>
                <a:gd name="connsiteY6746" fmla="*/ 280511 h 514350"/>
                <a:gd name="connsiteX6747" fmla="*/ 967264 w 6400800"/>
                <a:gd name="connsiteY6747" fmla="*/ 294799 h 514350"/>
                <a:gd name="connsiteX6748" fmla="*/ 961549 w 6400800"/>
                <a:gd name="connsiteY6748" fmla="*/ 304324 h 514350"/>
                <a:gd name="connsiteX6749" fmla="*/ 961549 w 6400800"/>
                <a:gd name="connsiteY6749" fmla="*/ 303371 h 514350"/>
                <a:gd name="connsiteX6750" fmla="*/ 960596 w 6400800"/>
                <a:gd name="connsiteY6750" fmla="*/ 301466 h 514350"/>
                <a:gd name="connsiteX6751" fmla="*/ 960596 w 6400800"/>
                <a:gd name="connsiteY6751" fmla="*/ 298609 h 514350"/>
                <a:gd name="connsiteX6752" fmla="*/ 939641 w 6400800"/>
                <a:gd name="connsiteY6752" fmla="*/ 258604 h 514350"/>
                <a:gd name="connsiteX6753" fmla="*/ 939641 w 6400800"/>
                <a:gd name="connsiteY6753" fmla="*/ 258604 h 514350"/>
                <a:gd name="connsiteX6754" fmla="*/ 943451 w 6400800"/>
                <a:gd name="connsiteY6754" fmla="*/ 246221 h 514350"/>
                <a:gd name="connsiteX6755" fmla="*/ 943451 w 6400800"/>
                <a:gd name="connsiteY6755" fmla="*/ 251936 h 514350"/>
                <a:gd name="connsiteX6756" fmla="*/ 939641 w 6400800"/>
                <a:gd name="connsiteY6756" fmla="*/ 258604 h 514350"/>
                <a:gd name="connsiteX6757" fmla="*/ 939641 w 6400800"/>
                <a:gd name="connsiteY6757" fmla="*/ 258604 h 514350"/>
                <a:gd name="connsiteX6758" fmla="*/ 944404 w 6400800"/>
                <a:gd name="connsiteY6758" fmla="*/ 280511 h 514350"/>
                <a:gd name="connsiteX6759" fmla="*/ 943451 w 6400800"/>
                <a:gd name="connsiteY6759" fmla="*/ 273844 h 514350"/>
                <a:gd name="connsiteX6760" fmla="*/ 944404 w 6400800"/>
                <a:gd name="connsiteY6760" fmla="*/ 270986 h 514350"/>
                <a:gd name="connsiteX6761" fmla="*/ 944404 w 6400800"/>
                <a:gd name="connsiteY6761" fmla="*/ 271939 h 514350"/>
                <a:gd name="connsiteX6762" fmla="*/ 944404 w 6400800"/>
                <a:gd name="connsiteY6762" fmla="*/ 275749 h 514350"/>
                <a:gd name="connsiteX6763" fmla="*/ 944404 w 6400800"/>
                <a:gd name="connsiteY6763" fmla="*/ 280511 h 514350"/>
                <a:gd name="connsiteX6764" fmla="*/ 944404 w 6400800"/>
                <a:gd name="connsiteY6764" fmla="*/ 270986 h 514350"/>
                <a:gd name="connsiteX6765" fmla="*/ 944404 w 6400800"/>
                <a:gd name="connsiteY6765" fmla="*/ 270986 h 514350"/>
                <a:gd name="connsiteX6766" fmla="*/ 944404 w 6400800"/>
                <a:gd name="connsiteY6766" fmla="*/ 270986 h 514350"/>
                <a:gd name="connsiteX6767" fmla="*/ 944404 w 6400800"/>
                <a:gd name="connsiteY6767" fmla="*/ 270986 h 514350"/>
                <a:gd name="connsiteX6768" fmla="*/ 933926 w 6400800"/>
                <a:gd name="connsiteY6768" fmla="*/ 227171 h 514350"/>
                <a:gd name="connsiteX6769" fmla="*/ 958691 w 6400800"/>
                <a:gd name="connsiteY6769" fmla="*/ 138589 h 514350"/>
                <a:gd name="connsiteX6770" fmla="*/ 958691 w 6400800"/>
                <a:gd name="connsiteY6770" fmla="*/ 146209 h 514350"/>
                <a:gd name="connsiteX6771" fmla="*/ 953929 w 6400800"/>
                <a:gd name="connsiteY6771" fmla="*/ 203359 h 514350"/>
                <a:gd name="connsiteX6772" fmla="*/ 950119 w 6400800"/>
                <a:gd name="connsiteY6772" fmla="*/ 242411 h 514350"/>
                <a:gd name="connsiteX6773" fmla="*/ 948214 w 6400800"/>
                <a:gd name="connsiteY6773" fmla="*/ 246221 h 514350"/>
                <a:gd name="connsiteX6774" fmla="*/ 947261 w 6400800"/>
                <a:gd name="connsiteY6774" fmla="*/ 240506 h 514350"/>
                <a:gd name="connsiteX6775" fmla="*/ 949166 w 6400800"/>
                <a:gd name="connsiteY6775" fmla="*/ 233839 h 514350"/>
                <a:gd name="connsiteX6776" fmla="*/ 946309 w 6400800"/>
                <a:gd name="connsiteY6776" fmla="*/ 238601 h 514350"/>
                <a:gd name="connsiteX6777" fmla="*/ 944404 w 6400800"/>
                <a:gd name="connsiteY6777" fmla="*/ 230029 h 514350"/>
                <a:gd name="connsiteX6778" fmla="*/ 944404 w 6400800"/>
                <a:gd name="connsiteY6778" fmla="*/ 241459 h 514350"/>
                <a:gd name="connsiteX6779" fmla="*/ 939641 w 6400800"/>
                <a:gd name="connsiteY6779" fmla="*/ 251936 h 514350"/>
                <a:gd name="connsiteX6780" fmla="*/ 938689 w 6400800"/>
                <a:gd name="connsiteY6780" fmla="*/ 248126 h 514350"/>
                <a:gd name="connsiteX6781" fmla="*/ 936784 w 6400800"/>
                <a:gd name="connsiteY6781" fmla="*/ 241459 h 514350"/>
                <a:gd name="connsiteX6782" fmla="*/ 943451 w 6400800"/>
                <a:gd name="connsiteY6782" fmla="*/ 217646 h 514350"/>
                <a:gd name="connsiteX6783" fmla="*/ 934879 w 6400800"/>
                <a:gd name="connsiteY6783" fmla="*/ 235744 h 514350"/>
                <a:gd name="connsiteX6784" fmla="*/ 932974 w 6400800"/>
                <a:gd name="connsiteY6784" fmla="*/ 230029 h 514350"/>
                <a:gd name="connsiteX6785" fmla="*/ 933926 w 6400800"/>
                <a:gd name="connsiteY6785" fmla="*/ 227171 h 514350"/>
                <a:gd name="connsiteX6786" fmla="*/ 921544 w 6400800"/>
                <a:gd name="connsiteY6786" fmla="*/ 452914 h 514350"/>
                <a:gd name="connsiteX6787" fmla="*/ 920591 w 6400800"/>
                <a:gd name="connsiteY6787" fmla="*/ 451961 h 514350"/>
                <a:gd name="connsiteX6788" fmla="*/ 919639 w 6400800"/>
                <a:gd name="connsiteY6788" fmla="*/ 438626 h 514350"/>
                <a:gd name="connsiteX6789" fmla="*/ 921544 w 6400800"/>
                <a:gd name="connsiteY6789" fmla="*/ 452914 h 514350"/>
                <a:gd name="connsiteX6790" fmla="*/ 912019 w 6400800"/>
                <a:gd name="connsiteY6790" fmla="*/ 210979 h 514350"/>
                <a:gd name="connsiteX6791" fmla="*/ 915829 w 6400800"/>
                <a:gd name="connsiteY6791" fmla="*/ 227171 h 514350"/>
                <a:gd name="connsiteX6792" fmla="*/ 914876 w 6400800"/>
                <a:gd name="connsiteY6792" fmla="*/ 230029 h 514350"/>
                <a:gd name="connsiteX6793" fmla="*/ 912971 w 6400800"/>
                <a:gd name="connsiteY6793" fmla="*/ 236696 h 514350"/>
                <a:gd name="connsiteX6794" fmla="*/ 912019 w 6400800"/>
                <a:gd name="connsiteY6794" fmla="*/ 232886 h 514350"/>
                <a:gd name="connsiteX6795" fmla="*/ 912019 w 6400800"/>
                <a:gd name="connsiteY6795" fmla="*/ 228124 h 514350"/>
                <a:gd name="connsiteX6796" fmla="*/ 911066 w 6400800"/>
                <a:gd name="connsiteY6796" fmla="*/ 210979 h 514350"/>
                <a:gd name="connsiteX6797" fmla="*/ 911066 w 6400800"/>
                <a:gd name="connsiteY6797" fmla="*/ 204311 h 514350"/>
                <a:gd name="connsiteX6798" fmla="*/ 912019 w 6400800"/>
                <a:gd name="connsiteY6798" fmla="*/ 210979 h 514350"/>
                <a:gd name="connsiteX6799" fmla="*/ 833914 w 6400800"/>
                <a:gd name="connsiteY6799" fmla="*/ 333851 h 514350"/>
                <a:gd name="connsiteX6800" fmla="*/ 834866 w 6400800"/>
                <a:gd name="connsiteY6800" fmla="*/ 331946 h 514350"/>
                <a:gd name="connsiteX6801" fmla="*/ 834866 w 6400800"/>
                <a:gd name="connsiteY6801" fmla="*/ 337661 h 514350"/>
                <a:gd name="connsiteX6802" fmla="*/ 833914 w 6400800"/>
                <a:gd name="connsiteY6802" fmla="*/ 333851 h 514350"/>
                <a:gd name="connsiteX6803" fmla="*/ 847249 w 6400800"/>
                <a:gd name="connsiteY6803" fmla="*/ 304324 h 514350"/>
                <a:gd name="connsiteX6804" fmla="*/ 846296 w 6400800"/>
                <a:gd name="connsiteY6804" fmla="*/ 301466 h 514350"/>
                <a:gd name="connsiteX6805" fmla="*/ 846296 w 6400800"/>
                <a:gd name="connsiteY6805" fmla="*/ 299561 h 514350"/>
                <a:gd name="connsiteX6806" fmla="*/ 851059 w 6400800"/>
                <a:gd name="connsiteY6806" fmla="*/ 286226 h 514350"/>
                <a:gd name="connsiteX6807" fmla="*/ 847249 w 6400800"/>
                <a:gd name="connsiteY6807" fmla="*/ 304324 h 514350"/>
                <a:gd name="connsiteX6808" fmla="*/ 880586 w 6400800"/>
                <a:gd name="connsiteY6808" fmla="*/ 300514 h 514350"/>
                <a:gd name="connsiteX6809" fmla="*/ 876776 w 6400800"/>
                <a:gd name="connsiteY6809" fmla="*/ 319564 h 514350"/>
                <a:gd name="connsiteX6810" fmla="*/ 872966 w 6400800"/>
                <a:gd name="connsiteY6810" fmla="*/ 343376 h 514350"/>
                <a:gd name="connsiteX6811" fmla="*/ 869156 w 6400800"/>
                <a:gd name="connsiteY6811" fmla="*/ 350996 h 514350"/>
                <a:gd name="connsiteX6812" fmla="*/ 868204 w 6400800"/>
                <a:gd name="connsiteY6812" fmla="*/ 349091 h 514350"/>
                <a:gd name="connsiteX6813" fmla="*/ 867251 w 6400800"/>
                <a:gd name="connsiteY6813" fmla="*/ 348139 h 514350"/>
                <a:gd name="connsiteX6814" fmla="*/ 867251 w 6400800"/>
                <a:gd name="connsiteY6814" fmla="*/ 335756 h 514350"/>
                <a:gd name="connsiteX6815" fmla="*/ 866299 w 6400800"/>
                <a:gd name="connsiteY6815" fmla="*/ 301466 h 514350"/>
                <a:gd name="connsiteX6816" fmla="*/ 863441 w 6400800"/>
                <a:gd name="connsiteY6816" fmla="*/ 272891 h 514350"/>
                <a:gd name="connsiteX6817" fmla="*/ 861536 w 6400800"/>
                <a:gd name="connsiteY6817" fmla="*/ 257651 h 514350"/>
                <a:gd name="connsiteX6818" fmla="*/ 862489 w 6400800"/>
                <a:gd name="connsiteY6818" fmla="*/ 255746 h 514350"/>
                <a:gd name="connsiteX6819" fmla="*/ 862489 w 6400800"/>
                <a:gd name="connsiteY6819" fmla="*/ 255746 h 514350"/>
                <a:gd name="connsiteX6820" fmla="*/ 876776 w 6400800"/>
                <a:gd name="connsiteY6820" fmla="*/ 286226 h 514350"/>
                <a:gd name="connsiteX6821" fmla="*/ 881539 w 6400800"/>
                <a:gd name="connsiteY6821" fmla="*/ 296704 h 514350"/>
                <a:gd name="connsiteX6822" fmla="*/ 880586 w 6400800"/>
                <a:gd name="connsiteY6822" fmla="*/ 300514 h 514350"/>
                <a:gd name="connsiteX6823" fmla="*/ 885349 w 6400800"/>
                <a:gd name="connsiteY6823" fmla="*/ 318611 h 514350"/>
                <a:gd name="connsiteX6824" fmla="*/ 884396 w 6400800"/>
                <a:gd name="connsiteY6824" fmla="*/ 319564 h 514350"/>
                <a:gd name="connsiteX6825" fmla="*/ 883444 w 6400800"/>
                <a:gd name="connsiteY6825" fmla="*/ 320516 h 514350"/>
                <a:gd name="connsiteX6826" fmla="*/ 884396 w 6400800"/>
                <a:gd name="connsiteY6826" fmla="*/ 303371 h 514350"/>
                <a:gd name="connsiteX6827" fmla="*/ 887254 w 6400800"/>
                <a:gd name="connsiteY6827" fmla="*/ 310039 h 514350"/>
                <a:gd name="connsiteX6828" fmla="*/ 885349 w 6400800"/>
                <a:gd name="connsiteY6828" fmla="*/ 318611 h 514350"/>
                <a:gd name="connsiteX6829" fmla="*/ 900589 w 6400800"/>
                <a:gd name="connsiteY6829" fmla="*/ 246221 h 514350"/>
                <a:gd name="connsiteX6830" fmla="*/ 900589 w 6400800"/>
                <a:gd name="connsiteY6830" fmla="*/ 246221 h 514350"/>
                <a:gd name="connsiteX6831" fmla="*/ 898684 w 6400800"/>
                <a:gd name="connsiteY6831" fmla="*/ 234791 h 514350"/>
                <a:gd name="connsiteX6832" fmla="*/ 897731 w 6400800"/>
                <a:gd name="connsiteY6832" fmla="*/ 252889 h 514350"/>
                <a:gd name="connsiteX6833" fmla="*/ 897731 w 6400800"/>
                <a:gd name="connsiteY6833" fmla="*/ 253841 h 514350"/>
                <a:gd name="connsiteX6834" fmla="*/ 894874 w 6400800"/>
                <a:gd name="connsiteY6834" fmla="*/ 250031 h 514350"/>
                <a:gd name="connsiteX6835" fmla="*/ 897731 w 6400800"/>
                <a:gd name="connsiteY6835" fmla="*/ 254794 h 514350"/>
                <a:gd name="connsiteX6836" fmla="*/ 897731 w 6400800"/>
                <a:gd name="connsiteY6836" fmla="*/ 257651 h 514350"/>
                <a:gd name="connsiteX6837" fmla="*/ 896779 w 6400800"/>
                <a:gd name="connsiteY6837" fmla="*/ 264319 h 514350"/>
                <a:gd name="connsiteX6838" fmla="*/ 896779 w 6400800"/>
                <a:gd name="connsiteY6838" fmla="*/ 264319 h 514350"/>
                <a:gd name="connsiteX6839" fmla="*/ 896779 w 6400800"/>
                <a:gd name="connsiteY6839" fmla="*/ 264319 h 514350"/>
                <a:gd name="connsiteX6840" fmla="*/ 896779 w 6400800"/>
                <a:gd name="connsiteY6840" fmla="*/ 265271 h 514350"/>
                <a:gd name="connsiteX6841" fmla="*/ 896779 w 6400800"/>
                <a:gd name="connsiteY6841" fmla="*/ 270986 h 514350"/>
                <a:gd name="connsiteX6842" fmla="*/ 896779 w 6400800"/>
                <a:gd name="connsiteY6842" fmla="*/ 272891 h 514350"/>
                <a:gd name="connsiteX6843" fmla="*/ 895826 w 6400800"/>
                <a:gd name="connsiteY6843" fmla="*/ 285274 h 514350"/>
                <a:gd name="connsiteX6844" fmla="*/ 895826 w 6400800"/>
                <a:gd name="connsiteY6844" fmla="*/ 287179 h 514350"/>
                <a:gd name="connsiteX6845" fmla="*/ 891064 w 6400800"/>
                <a:gd name="connsiteY6845" fmla="*/ 279559 h 514350"/>
                <a:gd name="connsiteX6846" fmla="*/ 873919 w 6400800"/>
                <a:gd name="connsiteY6846" fmla="*/ 250984 h 514350"/>
                <a:gd name="connsiteX6847" fmla="*/ 869156 w 6400800"/>
                <a:gd name="connsiteY6847" fmla="*/ 243364 h 514350"/>
                <a:gd name="connsiteX6848" fmla="*/ 869156 w 6400800"/>
                <a:gd name="connsiteY6848" fmla="*/ 242411 h 514350"/>
                <a:gd name="connsiteX6849" fmla="*/ 878681 w 6400800"/>
                <a:gd name="connsiteY6849" fmla="*/ 215741 h 514350"/>
                <a:gd name="connsiteX6850" fmla="*/ 887254 w 6400800"/>
                <a:gd name="connsiteY6850" fmla="*/ 200501 h 514350"/>
                <a:gd name="connsiteX6851" fmla="*/ 895826 w 6400800"/>
                <a:gd name="connsiteY6851" fmla="*/ 223361 h 514350"/>
                <a:gd name="connsiteX6852" fmla="*/ 901541 w 6400800"/>
                <a:gd name="connsiteY6852" fmla="*/ 240506 h 514350"/>
                <a:gd name="connsiteX6853" fmla="*/ 900589 w 6400800"/>
                <a:gd name="connsiteY6853" fmla="*/ 246221 h 514350"/>
                <a:gd name="connsiteX6854" fmla="*/ 891064 w 6400800"/>
                <a:gd name="connsiteY6854" fmla="*/ 190976 h 514350"/>
                <a:gd name="connsiteX6855" fmla="*/ 892969 w 6400800"/>
                <a:gd name="connsiteY6855" fmla="*/ 187166 h 514350"/>
                <a:gd name="connsiteX6856" fmla="*/ 896779 w 6400800"/>
                <a:gd name="connsiteY6856" fmla="*/ 202406 h 514350"/>
                <a:gd name="connsiteX6857" fmla="*/ 891064 w 6400800"/>
                <a:gd name="connsiteY6857" fmla="*/ 190976 h 514350"/>
                <a:gd name="connsiteX6858" fmla="*/ 904399 w 6400800"/>
                <a:gd name="connsiteY6858" fmla="*/ 181451 h 514350"/>
                <a:gd name="connsiteX6859" fmla="*/ 904399 w 6400800"/>
                <a:gd name="connsiteY6859" fmla="*/ 183356 h 514350"/>
                <a:gd name="connsiteX6860" fmla="*/ 903446 w 6400800"/>
                <a:gd name="connsiteY6860" fmla="*/ 210979 h 514350"/>
                <a:gd name="connsiteX6861" fmla="*/ 903446 w 6400800"/>
                <a:gd name="connsiteY6861" fmla="*/ 210026 h 514350"/>
                <a:gd name="connsiteX6862" fmla="*/ 894874 w 6400800"/>
                <a:gd name="connsiteY6862" fmla="*/ 188119 h 514350"/>
                <a:gd name="connsiteX6863" fmla="*/ 903446 w 6400800"/>
                <a:gd name="connsiteY6863" fmla="*/ 173831 h 514350"/>
                <a:gd name="connsiteX6864" fmla="*/ 904399 w 6400800"/>
                <a:gd name="connsiteY6864" fmla="*/ 181451 h 514350"/>
                <a:gd name="connsiteX6865" fmla="*/ 888206 w 6400800"/>
                <a:gd name="connsiteY6865" fmla="*/ 137636 h 514350"/>
                <a:gd name="connsiteX6866" fmla="*/ 890111 w 6400800"/>
                <a:gd name="connsiteY6866" fmla="*/ 132874 h 514350"/>
                <a:gd name="connsiteX6867" fmla="*/ 898684 w 6400800"/>
                <a:gd name="connsiteY6867" fmla="*/ 161449 h 514350"/>
                <a:gd name="connsiteX6868" fmla="*/ 893921 w 6400800"/>
                <a:gd name="connsiteY6868" fmla="*/ 168116 h 514350"/>
                <a:gd name="connsiteX6869" fmla="*/ 885349 w 6400800"/>
                <a:gd name="connsiteY6869" fmla="*/ 180499 h 514350"/>
                <a:gd name="connsiteX6870" fmla="*/ 874871 w 6400800"/>
                <a:gd name="connsiteY6870" fmla="*/ 163354 h 514350"/>
                <a:gd name="connsiteX6871" fmla="*/ 888206 w 6400800"/>
                <a:gd name="connsiteY6871" fmla="*/ 137636 h 514350"/>
                <a:gd name="connsiteX6872" fmla="*/ 872966 w 6400800"/>
                <a:gd name="connsiteY6872" fmla="*/ 169069 h 514350"/>
                <a:gd name="connsiteX6873" fmla="*/ 881539 w 6400800"/>
                <a:gd name="connsiteY6873" fmla="*/ 188119 h 514350"/>
                <a:gd name="connsiteX6874" fmla="*/ 878681 w 6400800"/>
                <a:gd name="connsiteY6874" fmla="*/ 191929 h 514350"/>
                <a:gd name="connsiteX6875" fmla="*/ 856774 w 6400800"/>
                <a:gd name="connsiteY6875" fmla="*/ 226219 h 514350"/>
                <a:gd name="connsiteX6876" fmla="*/ 851059 w 6400800"/>
                <a:gd name="connsiteY6876" fmla="*/ 217646 h 514350"/>
                <a:gd name="connsiteX6877" fmla="*/ 872966 w 6400800"/>
                <a:gd name="connsiteY6877" fmla="*/ 169069 h 514350"/>
                <a:gd name="connsiteX6878" fmla="*/ 847249 w 6400800"/>
                <a:gd name="connsiteY6878" fmla="*/ 225266 h 514350"/>
                <a:gd name="connsiteX6879" fmla="*/ 848201 w 6400800"/>
                <a:gd name="connsiteY6879" fmla="*/ 223361 h 514350"/>
                <a:gd name="connsiteX6880" fmla="*/ 852011 w 6400800"/>
                <a:gd name="connsiteY6880" fmla="*/ 232886 h 514350"/>
                <a:gd name="connsiteX6881" fmla="*/ 845344 w 6400800"/>
                <a:gd name="connsiteY6881" fmla="*/ 243364 h 514350"/>
                <a:gd name="connsiteX6882" fmla="*/ 837724 w 6400800"/>
                <a:gd name="connsiteY6882" fmla="*/ 256699 h 514350"/>
                <a:gd name="connsiteX6883" fmla="*/ 836771 w 6400800"/>
                <a:gd name="connsiteY6883" fmla="*/ 250984 h 514350"/>
                <a:gd name="connsiteX6884" fmla="*/ 847249 w 6400800"/>
                <a:gd name="connsiteY6884" fmla="*/ 225266 h 514350"/>
                <a:gd name="connsiteX6885" fmla="*/ 835819 w 6400800"/>
                <a:gd name="connsiteY6885" fmla="*/ 195739 h 514350"/>
                <a:gd name="connsiteX6886" fmla="*/ 835819 w 6400800"/>
                <a:gd name="connsiteY6886" fmla="*/ 195739 h 514350"/>
                <a:gd name="connsiteX6887" fmla="*/ 840581 w 6400800"/>
                <a:gd name="connsiteY6887" fmla="*/ 206216 h 514350"/>
                <a:gd name="connsiteX6888" fmla="*/ 833914 w 6400800"/>
                <a:gd name="connsiteY6888" fmla="*/ 219551 h 514350"/>
                <a:gd name="connsiteX6889" fmla="*/ 832961 w 6400800"/>
                <a:gd name="connsiteY6889" fmla="*/ 221456 h 514350"/>
                <a:gd name="connsiteX6890" fmla="*/ 835819 w 6400800"/>
                <a:gd name="connsiteY6890" fmla="*/ 195739 h 514350"/>
                <a:gd name="connsiteX6891" fmla="*/ 826294 w 6400800"/>
                <a:gd name="connsiteY6891" fmla="*/ 274796 h 514350"/>
                <a:gd name="connsiteX6892" fmla="*/ 828199 w 6400800"/>
                <a:gd name="connsiteY6892" fmla="*/ 270986 h 514350"/>
                <a:gd name="connsiteX6893" fmla="*/ 828199 w 6400800"/>
                <a:gd name="connsiteY6893" fmla="*/ 272891 h 514350"/>
                <a:gd name="connsiteX6894" fmla="*/ 826294 w 6400800"/>
                <a:gd name="connsiteY6894" fmla="*/ 276701 h 514350"/>
                <a:gd name="connsiteX6895" fmla="*/ 826294 w 6400800"/>
                <a:gd name="connsiteY6895" fmla="*/ 274796 h 514350"/>
                <a:gd name="connsiteX6896" fmla="*/ 812006 w 6400800"/>
                <a:gd name="connsiteY6896" fmla="*/ 448151 h 514350"/>
                <a:gd name="connsiteX6897" fmla="*/ 812006 w 6400800"/>
                <a:gd name="connsiteY6897" fmla="*/ 448151 h 514350"/>
                <a:gd name="connsiteX6898" fmla="*/ 812006 w 6400800"/>
                <a:gd name="connsiteY6898" fmla="*/ 448151 h 514350"/>
                <a:gd name="connsiteX6899" fmla="*/ 812006 w 6400800"/>
                <a:gd name="connsiteY6899" fmla="*/ 448151 h 514350"/>
                <a:gd name="connsiteX6900" fmla="*/ 785336 w 6400800"/>
                <a:gd name="connsiteY6900" fmla="*/ 330041 h 514350"/>
                <a:gd name="connsiteX6901" fmla="*/ 782479 w 6400800"/>
                <a:gd name="connsiteY6901" fmla="*/ 325279 h 514350"/>
                <a:gd name="connsiteX6902" fmla="*/ 782479 w 6400800"/>
                <a:gd name="connsiteY6902" fmla="*/ 315754 h 514350"/>
                <a:gd name="connsiteX6903" fmla="*/ 786289 w 6400800"/>
                <a:gd name="connsiteY6903" fmla="*/ 326231 h 514350"/>
                <a:gd name="connsiteX6904" fmla="*/ 785336 w 6400800"/>
                <a:gd name="connsiteY6904" fmla="*/ 330041 h 514350"/>
                <a:gd name="connsiteX6905" fmla="*/ 797719 w 6400800"/>
                <a:gd name="connsiteY6905" fmla="*/ 271939 h 514350"/>
                <a:gd name="connsiteX6906" fmla="*/ 803434 w 6400800"/>
                <a:gd name="connsiteY6906" fmla="*/ 286226 h 514350"/>
                <a:gd name="connsiteX6907" fmla="*/ 802481 w 6400800"/>
                <a:gd name="connsiteY6907" fmla="*/ 288131 h 514350"/>
                <a:gd name="connsiteX6908" fmla="*/ 792956 w 6400800"/>
                <a:gd name="connsiteY6908" fmla="*/ 310039 h 514350"/>
                <a:gd name="connsiteX6909" fmla="*/ 792956 w 6400800"/>
                <a:gd name="connsiteY6909" fmla="*/ 309086 h 514350"/>
                <a:gd name="connsiteX6910" fmla="*/ 787241 w 6400800"/>
                <a:gd name="connsiteY6910" fmla="*/ 296704 h 514350"/>
                <a:gd name="connsiteX6911" fmla="*/ 795814 w 6400800"/>
                <a:gd name="connsiteY6911" fmla="*/ 266224 h 514350"/>
                <a:gd name="connsiteX6912" fmla="*/ 797719 w 6400800"/>
                <a:gd name="connsiteY6912" fmla="*/ 271939 h 514350"/>
                <a:gd name="connsiteX6913" fmla="*/ 790099 w 6400800"/>
                <a:gd name="connsiteY6913" fmla="*/ 253841 h 514350"/>
                <a:gd name="connsiteX6914" fmla="*/ 793909 w 6400800"/>
                <a:gd name="connsiteY6914" fmla="*/ 261461 h 514350"/>
                <a:gd name="connsiteX6915" fmla="*/ 793909 w 6400800"/>
                <a:gd name="connsiteY6915" fmla="*/ 262414 h 514350"/>
                <a:gd name="connsiteX6916" fmla="*/ 784384 w 6400800"/>
                <a:gd name="connsiteY6916" fmla="*/ 286226 h 514350"/>
                <a:gd name="connsiteX6917" fmla="*/ 785336 w 6400800"/>
                <a:gd name="connsiteY6917" fmla="*/ 273844 h 514350"/>
                <a:gd name="connsiteX6918" fmla="*/ 790099 w 6400800"/>
                <a:gd name="connsiteY6918" fmla="*/ 253841 h 514350"/>
                <a:gd name="connsiteX6919" fmla="*/ 773906 w 6400800"/>
                <a:gd name="connsiteY6919" fmla="*/ 236696 h 514350"/>
                <a:gd name="connsiteX6920" fmla="*/ 776764 w 6400800"/>
                <a:gd name="connsiteY6920" fmla="*/ 213836 h 514350"/>
                <a:gd name="connsiteX6921" fmla="*/ 783431 w 6400800"/>
                <a:gd name="connsiteY6921" fmla="*/ 229076 h 514350"/>
                <a:gd name="connsiteX6922" fmla="*/ 780574 w 6400800"/>
                <a:gd name="connsiteY6922" fmla="*/ 235744 h 514350"/>
                <a:gd name="connsiteX6923" fmla="*/ 777716 w 6400800"/>
                <a:gd name="connsiteY6923" fmla="*/ 231934 h 514350"/>
                <a:gd name="connsiteX6924" fmla="*/ 780574 w 6400800"/>
                <a:gd name="connsiteY6924" fmla="*/ 236696 h 514350"/>
                <a:gd name="connsiteX6925" fmla="*/ 773906 w 6400800"/>
                <a:gd name="connsiteY6925" fmla="*/ 255746 h 514350"/>
                <a:gd name="connsiteX6926" fmla="*/ 773906 w 6400800"/>
                <a:gd name="connsiteY6926" fmla="*/ 236696 h 514350"/>
                <a:gd name="connsiteX6927" fmla="*/ 724376 w 6400800"/>
                <a:gd name="connsiteY6927" fmla="*/ 219551 h 514350"/>
                <a:gd name="connsiteX6928" fmla="*/ 726281 w 6400800"/>
                <a:gd name="connsiteY6928" fmla="*/ 203359 h 514350"/>
                <a:gd name="connsiteX6929" fmla="*/ 726281 w 6400800"/>
                <a:gd name="connsiteY6929" fmla="*/ 229076 h 514350"/>
                <a:gd name="connsiteX6930" fmla="*/ 723424 w 6400800"/>
                <a:gd name="connsiteY6930" fmla="*/ 223361 h 514350"/>
                <a:gd name="connsiteX6931" fmla="*/ 724376 w 6400800"/>
                <a:gd name="connsiteY6931" fmla="*/ 219551 h 514350"/>
                <a:gd name="connsiteX6932" fmla="*/ 723424 w 6400800"/>
                <a:gd name="connsiteY6932" fmla="*/ 224314 h 514350"/>
                <a:gd name="connsiteX6933" fmla="*/ 724376 w 6400800"/>
                <a:gd name="connsiteY6933" fmla="*/ 235744 h 514350"/>
                <a:gd name="connsiteX6934" fmla="*/ 726281 w 6400800"/>
                <a:gd name="connsiteY6934" fmla="*/ 250984 h 514350"/>
                <a:gd name="connsiteX6935" fmla="*/ 726281 w 6400800"/>
                <a:gd name="connsiteY6935" fmla="*/ 251936 h 514350"/>
                <a:gd name="connsiteX6936" fmla="*/ 727234 w 6400800"/>
                <a:gd name="connsiteY6936" fmla="*/ 276701 h 514350"/>
                <a:gd name="connsiteX6937" fmla="*/ 727234 w 6400800"/>
                <a:gd name="connsiteY6937" fmla="*/ 288131 h 514350"/>
                <a:gd name="connsiteX6938" fmla="*/ 725329 w 6400800"/>
                <a:gd name="connsiteY6938" fmla="*/ 284321 h 514350"/>
                <a:gd name="connsiteX6939" fmla="*/ 717709 w 6400800"/>
                <a:gd name="connsiteY6939" fmla="*/ 260509 h 514350"/>
                <a:gd name="connsiteX6940" fmla="*/ 723424 w 6400800"/>
                <a:gd name="connsiteY6940" fmla="*/ 224314 h 514350"/>
                <a:gd name="connsiteX6941" fmla="*/ 710089 w 6400800"/>
                <a:gd name="connsiteY6941" fmla="*/ 308134 h 514350"/>
                <a:gd name="connsiteX6942" fmla="*/ 711041 w 6400800"/>
                <a:gd name="connsiteY6942" fmla="*/ 320516 h 514350"/>
                <a:gd name="connsiteX6943" fmla="*/ 717709 w 6400800"/>
                <a:gd name="connsiteY6943" fmla="*/ 373856 h 514350"/>
                <a:gd name="connsiteX6944" fmla="*/ 711041 w 6400800"/>
                <a:gd name="connsiteY6944" fmla="*/ 389096 h 514350"/>
                <a:gd name="connsiteX6945" fmla="*/ 709136 w 6400800"/>
                <a:gd name="connsiteY6945" fmla="*/ 383381 h 514350"/>
                <a:gd name="connsiteX6946" fmla="*/ 711041 w 6400800"/>
                <a:gd name="connsiteY6946" fmla="*/ 372904 h 514350"/>
                <a:gd name="connsiteX6947" fmla="*/ 713899 w 6400800"/>
                <a:gd name="connsiteY6947" fmla="*/ 352901 h 514350"/>
                <a:gd name="connsiteX6948" fmla="*/ 707231 w 6400800"/>
                <a:gd name="connsiteY6948" fmla="*/ 372904 h 514350"/>
                <a:gd name="connsiteX6949" fmla="*/ 706279 w 6400800"/>
                <a:gd name="connsiteY6949" fmla="*/ 374809 h 514350"/>
                <a:gd name="connsiteX6950" fmla="*/ 701516 w 6400800"/>
                <a:gd name="connsiteY6950" fmla="*/ 357664 h 514350"/>
                <a:gd name="connsiteX6951" fmla="*/ 701516 w 6400800"/>
                <a:gd name="connsiteY6951" fmla="*/ 357664 h 514350"/>
                <a:gd name="connsiteX6952" fmla="*/ 710089 w 6400800"/>
                <a:gd name="connsiteY6952" fmla="*/ 308134 h 514350"/>
                <a:gd name="connsiteX6953" fmla="*/ 676751 w 6400800"/>
                <a:gd name="connsiteY6953" fmla="*/ 253841 h 514350"/>
                <a:gd name="connsiteX6954" fmla="*/ 676751 w 6400800"/>
                <a:gd name="connsiteY6954" fmla="*/ 246221 h 514350"/>
                <a:gd name="connsiteX6955" fmla="*/ 679609 w 6400800"/>
                <a:gd name="connsiteY6955" fmla="*/ 220504 h 514350"/>
                <a:gd name="connsiteX6956" fmla="*/ 682466 w 6400800"/>
                <a:gd name="connsiteY6956" fmla="*/ 181451 h 514350"/>
                <a:gd name="connsiteX6957" fmla="*/ 682466 w 6400800"/>
                <a:gd name="connsiteY6957" fmla="*/ 178594 h 514350"/>
                <a:gd name="connsiteX6958" fmla="*/ 696754 w 6400800"/>
                <a:gd name="connsiteY6958" fmla="*/ 231934 h 514350"/>
                <a:gd name="connsiteX6959" fmla="*/ 705326 w 6400800"/>
                <a:gd name="connsiteY6959" fmla="*/ 267176 h 514350"/>
                <a:gd name="connsiteX6960" fmla="*/ 703421 w 6400800"/>
                <a:gd name="connsiteY6960" fmla="*/ 273844 h 514350"/>
                <a:gd name="connsiteX6961" fmla="*/ 694849 w 6400800"/>
                <a:gd name="connsiteY6961" fmla="*/ 307181 h 514350"/>
                <a:gd name="connsiteX6962" fmla="*/ 692944 w 6400800"/>
                <a:gd name="connsiteY6962" fmla="*/ 313849 h 514350"/>
                <a:gd name="connsiteX6963" fmla="*/ 690086 w 6400800"/>
                <a:gd name="connsiteY6963" fmla="*/ 322421 h 514350"/>
                <a:gd name="connsiteX6964" fmla="*/ 673894 w 6400800"/>
                <a:gd name="connsiteY6964" fmla="*/ 274796 h 514350"/>
                <a:gd name="connsiteX6965" fmla="*/ 676751 w 6400800"/>
                <a:gd name="connsiteY6965" fmla="*/ 253841 h 514350"/>
                <a:gd name="connsiteX6966" fmla="*/ 668179 w 6400800"/>
                <a:gd name="connsiteY6966" fmla="*/ 331946 h 514350"/>
                <a:gd name="connsiteX6967" fmla="*/ 668179 w 6400800"/>
                <a:gd name="connsiteY6967" fmla="*/ 330041 h 514350"/>
                <a:gd name="connsiteX6968" fmla="*/ 669131 w 6400800"/>
                <a:gd name="connsiteY6968" fmla="*/ 334804 h 514350"/>
                <a:gd name="connsiteX6969" fmla="*/ 671989 w 6400800"/>
                <a:gd name="connsiteY6969" fmla="*/ 346234 h 514350"/>
                <a:gd name="connsiteX6970" fmla="*/ 674846 w 6400800"/>
                <a:gd name="connsiteY6970" fmla="*/ 359569 h 514350"/>
                <a:gd name="connsiteX6971" fmla="*/ 676751 w 6400800"/>
                <a:gd name="connsiteY6971" fmla="*/ 370999 h 514350"/>
                <a:gd name="connsiteX6972" fmla="*/ 675799 w 6400800"/>
                <a:gd name="connsiteY6972" fmla="*/ 373856 h 514350"/>
                <a:gd name="connsiteX6973" fmla="*/ 674846 w 6400800"/>
                <a:gd name="connsiteY6973" fmla="*/ 377666 h 514350"/>
                <a:gd name="connsiteX6974" fmla="*/ 670084 w 6400800"/>
                <a:gd name="connsiteY6974" fmla="*/ 368141 h 514350"/>
                <a:gd name="connsiteX6975" fmla="*/ 664369 w 6400800"/>
                <a:gd name="connsiteY6975" fmla="*/ 358616 h 514350"/>
                <a:gd name="connsiteX6976" fmla="*/ 668179 w 6400800"/>
                <a:gd name="connsiteY6976" fmla="*/ 331946 h 514350"/>
                <a:gd name="connsiteX6977" fmla="*/ 656749 w 6400800"/>
                <a:gd name="connsiteY6977" fmla="*/ 266224 h 514350"/>
                <a:gd name="connsiteX6978" fmla="*/ 656749 w 6400800"/>
                <a:gd name="connsiteY6978" fmla="*/ 267176 h 514350"/>
                <a:gd name="connsiteX6979" fmla="*/ 656749 w 6400800"/>
                <a:gd name="connsiteY6979" fmla="*/ 269081 h 514350"/>
                <a:gd name="connsiteX6980" fmla="*/ 656749 w 6400800"/>
                <a:gd name="connsiteY6980" fmla="*/ 266224 h 514350"/>
                <a:gd name="connsiteX6981" fmla="*/ 608171 w 6400800"/>
                <a:gd name="connsiteY6981" fmla="*/ 318611 h 514350"/>
                <a:gd name="connsiteX6982" fmla="*/ 611981 w 6400800"/>
                <a:gd name="connsiteY6982" fmla="*/ 279559 h 514350"/>
                <a:gd name="connsiteX6983" fmla="*/ 613886 w 6400800"/>
                <a:gd name="connsiteY6983" fmla="*/ 288131 h 514350"/>
                <a:gd name="connsiteX6984" fmla="*/ 615791 w 6400800"/>
                <a:gd name="connsiteY6984" fmla="*/ 327184 h 514350"/>
                <a:gd name="connsiteX6985" fmla="*/ 615791 w 6400800"/>
                <a:gd name="connsiteY6985" fmla="*/ 331946 h 514350"/>
                <a:gd name="connsiteX6986" fmla="*/ 615791 w 6400800"/>
                <a:gd name="connsiteY6986" fmla="*/ 337661 h 514350"/>
                <a:gd name="connsiteX6987" fmla="*/ 613886 w 6400800"/>
                <a:gd name="connsiteY6987" fmla="*/ 333851 h 514350"/>
                <a:gd name="connsiteX6988" fmla="*/ 607219 w 6400800"/>
                <a:gd name="connsiteY6988" fmla="*/ 321469 h 514350"/>
                <a:gd name="connsiteX6989" fmla="*/ 608171 w 6400800"/>
                <a:gd name="connsiteY6989" fmla="*/ 318611 h 514350"/>
                <a:gd name="connsiteX6990" fmla="*/ 606266 w 6400800"/>
                <a:gd name="connsiteY6990" fmla="*/ 341471 h 514350"/>
                <a:gd name="connsiteX6991" fmla="*/ 615791 w 6400800"/>
                <a:gd name="connsiteY6991" fmla="*/ 364331 h 514350"/>
                <a:gd name="connsiteX6992" fmla="*/ 615791 w 6400800"/>
                <a:gd name="connsiteY6992" fmla="*/ 365284 h 514350"/>
                <a:gd name="connsiteX6993" fmla="*/ 611029 w 6400800"/>
                <a:gd name="connsiteY6993" fmla="*/ 375761 h 514350"/>
                <a:gd name="connsiteX6994" fmla="*/ 608171 w 6400800"/>
                <a:gd name="connsiteY6994" fmla="*/ 363379 h 514350"/>
                <a:gd name="connsiteX6995" fmla="*/ 605314 w 6400800"/>
                <a:gd name="connsiteY6995" fmla="*/ 350996 h 514350"/>
                <a:gd name="connsiteX6996" fmla="*/ 606266 w 6400800"/>
                <a:gd name="connsiteY6996" fmla="*/ 341471 h 514350"/>
                <a:gd name="connsiteX6997" fmla="*/ 606266 w 6400800"/>
                <a:gd name="connsiteY6997" fmla="*/ 424339 h 514350"/>
                <a:gd name="connsiteX6998" fmla="*/ 609124 w 6400800"/>
                <a:gd name="connsiteY6998" fmla="*/ 433864 h 514350"/>
                <a:gd name="connsiteX6999" fmla="*/ 607219 w 6400800"/>
                <a:gd name="connsiteY6999" fmla="*/ 436721 h 514350"/>
                <a:gd name="connsiteX7000" fmla="*/ 601504 w 6400800"/>
                <a:gd name="connsiteY7000" fmla="*/ 435769 h 514350"/>
                <a:gd name="connsiteX7001" fmla="*/ 606266 w 6400800"/>
                <a:gd name="connsiteY7001" fmla="*/ 424339 h 514350"/>
                <a:gd name="connsiteX7002" fmla="*/ 599599 w 6400800"/>
                <a:gd name="connsiteY7002" fmla="*/ 401479 h 514350"/>
                <a:gd name="connsiteX7003" fmla="*/ 599599 w 6400800"/>
                <a:gd name="connsiteY7003" fmla="*/ 401479 h 514350"/>
                <a:gd name="connsiteX7004" fmla="*/ 599599 w 6400800"/>
                <a:gd name="connsiteY7004" fmla="*/ 403384 h 514350"/>
                <a:gd name="connsiteX7005" fmla="*/ 599599 w 6400800"/>
                <a:gd name="connsiteY7005" fmla="*/ 401479 h 514350"/>
                <a:gd name="connsiteX7006" fmla="*/ 587216 w 6400800"/>
                <a:gd name="connsiteY7006" fmla="*/ 300514 h 514350"/>
                <a:gd name="connsiteX7007" fmla="*/ 591979 w 6400800"/>
                <a:gd name="connsiteY7007" fmla="*/ 310039 h 514350"/>
                <a:gd name="connsiteX7008" fmla="*/ 591026 w 6400800"/>
                <a:gd name="connsiteY7008" fmla="*/ 316706 h 514350"/>
                <a:gd name="connsiteX7009" fmla="*/ 591026 w 6400800"/>
                <a:gd name="connsiteY7009" fmla="*/ 316706 h 514350"/>
                <a:gd name="connsiteX7010" fmla="*/ 590074 w 6400800"/>
                <a:gd name="connsiteY7010" fmla="*/ 319564 h 514350"/>
                <a:gd name="connsiteX7011" fmla="*/ 587216 w 6400800"/>
                <a:gd name="connsiteY7011" fmla="*/ 311944 h 514350"/>
                <a:gd name="connsiteX7012" fmla="*/ 586264 w 6400800"/>
                <a:gd name="connsiteY7012" fmla="*/ 299561 h 514350"/>
                <a:gd name="connsiteX7013" fmla="*/ 587216 w 6400800"/>
                <a:gd name="connsiteY7013" fmla="*/ 300514 h 514350"/>
                <a:gd name="connsiteX7014" fmla="*/ 553879 w 6400800"/>
                <a:gd name="connsiteY7014" fmla="*/ 257651 h 514350"/>
                <a:gd name="connsiteX7015" fmla="*/ 555784 w 6400800"/>
                <a:gd name="connsiteY7015" fmla="*/ 233839 h 514350"/>
                <a:gd name="connsiteX7016" fmla="*/ 558641 w 6400800"/>
                <a:gd name="connsiteY7016" fmla="*/ 249079 h 514350"/>
                <a:gd name="connsiteX7017" fmla="*/ 556736 w 6400800"/>
                <a:gd name="connsiteY7017" fmla="*/ 247174 h 514350"/>
                <a:gd name="connsiteX7018" fmla="*/ 558641 w 6400800"/>
                <a:gd name="connsiteY7018" fmla="*/ 250984 h 514350"/>
                <a:gd name="connsiteX7019" fmla="*/ 570071 w 6400800"/>
                <a:gd name="connsiteY7019" fmla="*/ 297656 h 514350"/>
                <a:gd name="connsiteX7020" fmla="*/ 571976 w 6400800"/>
                <a:gd name="connsiteY7020" fmla="*/ 303371 h 514350"/>
                <a:gd name="connsiteX7021" fmla="*/ 569119 w 6400800"/>
                <a:gd name="connsiteY7021" fmla="*/ 312896 h 514350"/>
                <a:gd name="connsiteX7022" fmla="*/ 564356 w 6400800"/>
                <a:gd name="connsiteY7022" fmla="*/ 295751 h 514350"/>
                <a:gd name="connsiteX7023" fmla="*/ 553879 w 6400800"/>
                <a:gd name="connsiteY7023" fmla="*/ 266224 h 514350"/>
                <a:gd name="connsiteX7024" fmla="*/ 553879 w 6400800"/>
                <a:gd name="connsiteY7024" fmla="*/ 257651 h 514350"/>
                <a:gd name="connsiteX7025" fmla="*/ 551974 w 6400800"/>
                <a:gd name="connsiteY7025" fmla="*/ 295751 h 514350"/>
                <a:gd name="connsiteX7026" fmla="*/ 551974 w 6400800"/>
                <a:gd name="connsiteY7026" fmla="*/ 295751 h 514350"/>
                <a:gd name="connsiteX7027" fmla="*/ 552926 w 6400800"/>
                <a:gd name="connsiteY7027" fmla="*/ 298609 h 514350"/>
                <a:gd name="connsiteX7028" fmla="*/ 556736 w 6400800"/>
                <a:gd name="connsiteY7028" fmla="*/ 317659 h 514350"/>
                <a:gd name="connsiteX7029" fmla="*/ 557689 w 6400800"/>
                <a:gd name="connsiteY7029" fmla="*/ 321469 h 514350"/>
                <a:gd name="connsiteX7030" fmla="*/ 557689 w 6400800"/>
                <a:gd name="connsiteY7030" fmla="*/ 322421 h 514350"/>
                <a:gd name="connsiteX7031" fmla="*/ 557689 w 6400800"/>
                <a:gd name="connsiteY7031" fmla="*/ 326231 h 514350"/>
                <a:gd name="connsiteX7032" fmla="*/ 552926 w 6400800"/>
                <a:gd name="connsiteY7032" fmla="*/ 306229 h 514350"/>
                <a:gd name="connsiteX7033" fmla="*/ 551974 w 6400800"/>
                <a:gd name="connsiteY7033" fmla="*/ 295751 h 514350"/>
                <a:gd name="connsiteX7034" fmla="*/ 529114 w 6400800"/>
                <a:gd name="connsiteY7034" fmla="*/ 290036 h 514350"/>
                <a:gd name="connsiteX7035" fmla="*/ 529114 w 6400800"/>
                <a:gd name="connsiteY7035" fmla="*/ 290036 h 514350"/>
                <a:gd name="connsiteX7036" fmla="*/ 529114 w 6400800"/>
                <a:gd name="connsiteY7036" fmla="*/ 290036 h 514350"/>
                <a:gd name="connsiteX7037" fmla="*/ 529114 w 6400800"/>
                <a:gd name="connsiteY7037" fmla="*/ 290036 h 514350"/>
                <a:gd name="connsiteX7038" fmla="*/ 522446 w 6400800"/>
                <a:gd name="connsiteY7038" fmla="*/ 336709 h 514350"/>
                <a:gd name="connsiteX7039" fmla="*/ 523399 w 6400800"/>
                <a:gd name="connsiteY7039" fmla="*/ 329089 h 514350"/>
                <a:gd name="connsiteX7040" fmla="*/ 526256 w 6400800"/>
                <a:gd name="connsiteY7040" fmla="*/ 336709 h 514350"/>
                <a:gd name="connsiteX7041" fmla="*/ 531019 w 6400800"/>
                <a:gd name="connsiteY7041" fmla="*/ 350996 h 514350"/>
                <a:gd name="connsiteX7042" fmla="*/ 531971 w 6400800"/>
                <a:gd name="connsiteY7042" fmla="*/ 374809 h 514350"/>
                <a:gd name="connsiteX7043" fmla="*/ 533876 w 6400800"/>
                <a:gd name="connsiteY7043" fmla="*/ 403384 h 514350"/>
                <a:gd name="connsiteX7044" fmla="*/ 528161 w 6400800"/>
                <a:gd name="connsiteY7044" fmla="*/ 394811 h 514350"/>
                <a:gd name="connsiteX7045" fmla="*/ 532924 w 6400800"/>
                <a:gd name="connsiteY7045" fmla="*/ 410051 h 514350"/>
                <a:gd name="connsiteX7046" fmla="*/ 534829 w 6400800"/>
                <a:gd name="connsiteY7046" fmla="*/ 417671 h 514350"/>
                <a:gd name="connsiteX7047" fmla="*/ 535781 w 6400800"/>
                <a:gd name="connsiteY7047" fmla="*/ 430054 h 514350"/>
                <a:gd name="connsiteX7048" fmla="*/ 523399 w 6400800"/>
                <a:gd name="connsiteY7048" fmla="*/ 428149 h 514350"/>
                <a:gd name="connsiteX7049" fmla="*/ 522446 w 6400800"/>
                <a:gd name="connsiteY7049" fmla="*/ 427196 h 514350"/>
                <a:gd name="connsiteX7050" fmla="*/ 522446 w 6400800"/>
                <a:gd name="connsiteY7050" fmla="*/ 423386 h 514350"/>
                <a:gd name="connsiteX7051" fmla="*/ 527209 w 6400800"/>
                <a:gd name="connsiteY7051" fmla="*/ 410051 h 514350"/>
                <a:gd name="connsiteX7052" fmla="*/ 522446 w 6400800"/>
                <a:gd name="connsiteY7052" fmla="*/ 418624 h 514350"/>
                <a:gd name="connsiteX7053" fmla="*/ 521494 w 6400800"/>
                <a:gd name="connsiteY7053" fmla="*/ 405289 h 514350"/>
                <a:gd name="connsiteX7054" fmla="*/ 517684 w 6400800"/>
                <a:gd name="connsiteY7054" fmla="*/ 369094 h 514350"/>
                <a:gd name="connsiteX7055" fmla="*/ 522446 w 6400800"/>
                <a:gd name="connsiteY7055" fmla="*/ 336709 h 514350"/>
                <a:gd name="connsiteX7056" fmla="*/ 512921 w 6400800"/>
                <a:gd name="connsiteY7056" fmla="*/ 271939 h 514350"/>
                <a:gd name="connsiteX7057" fmla="*/ 509111 w 6400800"/>
                <a:gd name="connsiteY7057" fmla="*/ 287179 h 514350"/>
                <a:gd name="connsiteX7058" fmla="*/ 509111 w 6400800"/>
                <a:gd name="connsiteY7058" fmla="*/ 288131 h 514350"/>
                <a:gd name="connsiteX7059" fmla="*/ 507206 w 6400800"/>
                <a:gd name="connsiteY7059" fmla="*/ 275749 h 514350"/>
                <a:gd name="connsiteX7060" fmla="*/ 508159 w 6400800"/>
                <a:gd name="connsiteY7060" fmla="*/ 262414 h 514350"/>
                <a:gd name="connsiteX7061" fmla="*/ 509111 w 6400800"/>
                <a:gd name="connsiteY7061" fmla="*/ 262414 h 514350"/>
                <a:gd name="connsiteX7062" fmla="*/ 512921 w 6400800"/>
                <a:gd name="connsiteY7062" fmla="*/ 271939 h 514350"/>
                <a:gd name="connsiteX7063" fmla="*/ 497681 w 6400800"/>
                <a:gd name="connsiteY7063" fmla="*/ 207169 h 514350"/>
                <a:gd name="connsiteX7064" fmla="*/ 506254 w 6400800"/>
                <a:gd name="connsiteY7064" fmla="*/ 245269 h 514350"/>
                <a:gd name="connsiteX7065" fmla="*/ 509111 w 6400800"/>
                <a:gd name="connsiteY7065" fmla="*/ 256699 h 514350"/>
                <a:gd name="connsiteX7066" fmla="*/ 506254 w 6400800"/>
                <a:gd name="connsiteY7066" fmla="*/ 256699 h 514350"/>
                <a:gd name="connsiteX7067" fmla="*/ 505301 w 6400800"/>
                <a:gd name="connsiteY7067" fmla="*/ 256699 h 514350"/>
                <a:gd name="connsiteX7068" fmla="*/ 505301 w 6400800"/>
                <a:gd name="connsiteY7068" fmla="*/ 256699 h 514350"/>
                <a:gd name="connsiteX7069" fmla="*/ 497681 w 6400800"/>
                <a:gd name="connsiteY7069" fmla="*/ 207169 h 514350"/>
                <a:gd name="connsiteX7070" fmla="*/ 497681 w 6400800"/>
                <a:gd name="connsiteY7070" fmla="*/ 207169 h 514350"/>
                <a:gd name="connsiteX7071" fmla="*/ 487204 w 6400800"/>
                <a:gd name="connsiteY7071" fmla="*/ 419576 h 514350"/>
                <a:gd name="connsiteX7072" fmla="*/ 486251 w 6400800"/>
                <a:gd name="connsiteY7072" fmla="*/ 422434 h 514350"/>
                <a:gd name="connsiteX7073" fmla="*/ 483394 w 6400800"/>
                <a:gd name="connsiteY7073" fmla="*/ 422434 h 514350"/>
                <a:gd name="connsiteX7074" fmla="*/ 483394 w 6400800"/>
                <a:gd name="connsiteY7074" fmla="*/ 418624 h 514350"/>
                <a:gd name="connsiteX7075" fmla="*/ 481489 w 6400800"/>
                <a:gd name="connsiteY7075" fmla="*/ 401479 h 514350"/>
                <a:gd name="connsiteX7076" fmla="*/ 487204 w 6400800"/>
                <a:gd name="connsiteY7076" fmla="*/ 419576 h 514350"/>
                <a:gd name="connsiteX7077" fmla="*/ 437674 w 6400800"/>
                <a:gd name="connsiteY7077" fmla="*/ 390049 h 514350"/>
                <a:gd name="connsiteX7078" fmla="*/ 437674 w 6400800"/>
                <a:gd name="connsiteY7078" fmla="*/ 390049 h 514350"/>
                <a:gd name="connsiteX7079" fmla="*/ 437674 w 6400800"/>
                <a:gd name="connsiteY7079" fmla="*/ 388144 h 514350"/>
                <a:gd name="connsiteX7080" fmla="*/ 437674 w 6400800"/>
                <a:gd name="connsiteY7080" fmla="*/ 388144 h 514350"/>
                <a:gd name="connsiteX7081" fmla="*/ 437674 w 6400800"/>
                <a:gd name="connsiteY7081" fmla="*/ 390049 h 514350"/>
                <a:gd name="connsiteX7082" fmla="*/ 437674 w 6400800"/>
                <a:gd name="connsiteY7082" fmla="*/ 390049 h 514350"/>
                <a:gd name="connsiteX7083" fmla="*/ 448151 w 6400800"/>
                <a:gd name="connsiteY7083" fmla="*/ 362426 h 514350"/>
                <a:gd name="connsiteX7084" fmla="*/ 446246 w 6400800"/>
                <a:gd name="connsiteY7084" fmla="*/ 356711 h 514350"/>
                <a:gd name="connsiteX7085" fmla="*/ 449104 w 6400800"/>
                <a:gd name="connsiteY7085" fmla="*/ 347186 h 514350"/>
                <a:gd name="connsiteX7086" fmla="*/ 448151 w 6400800"/>
                <a:gd name="connsiteY7086" fmla="*/ 362426 h 514350"/>
                <a:gd name="connsiteX7087" fmla="*/ 436721 w 6400800"/>
                <a:gd name="connsiteY7087" fmla="*/ 227171 h 514350"/>
                <a:gd name="connsiteX7088" fmla="*/ 440531 w 6400800"/>
                <a:gd name="connsiteY7088" fmla="*/ 246221 h 514350"/>
                <a:gd name="connsiteX7089" fmla="*/ 434816 w 6400800"/>
                <a:gd name="connsiteY7089" fmla="*/ 234791 h 514350"/>
                <a:gd name="connsiteX7090" fmla="*/ 436721 w 6400800"/>
                <a:gd name="connsiteY7090" fmla="*/ 227171 h 514350"/>
                <a:gd name="connsiteX7091" fmla="*/ 428149 w 6400800"/>
                <a:gd name="connsiteY7091" fmla="*/ 280511 h 514350"/>
                <a:gd name="connsiteX7092" fmla="*/ 431959 w 6400800"/>
                <a:gd name="connsiteY7092" fmla="*/ 253841 h 514350"/>
                <a:gd name="connsiteX7093" fmla="*/ 432911 w 6400800"/>
                <a:gd name="connsiteY7093" fmla="*/ 258604 h 514350"/>
                <a:gd name="connsiteX7094" fmla="*/ 438626 w 6400800"/>
                <a:gd name="connsiteY7094" fmla="*/ 284321 h 514350"/>
                <a:gd name="connsiteX7095" fmla="*/ 439579 w 6400800"/>
                <a:gd name="connsiteY7095" fmla="*/ 290036 h 514350"/>
                <a:gd name="connsiteX7096" fmla="*/ 432911 w 6400800"/>
                <a:gd name="connsiteY7096" fmla="*/ 281464 h 514350"/>
                <a:gd name="connsiteX7097" fmla="*/ 439579 w 6400800"/>
                <a:gd name="connsiteY7097" fmla="*/ 295751 h 514350"/>
                <a:gd name="connsiteX7098" fmla="*/ 441484 w 6400800"/>
                <a:gd name="connsiteY7098" fmla="*/ 299561 h 514350"/>
                <a:gd name="connsiteX7099" fmla="*/ 443389 w 6400800"/>
                <a:gd name="connsiteY7099" fmla="*/ 312896 h 514350"/>
                <a:gd name="connsiteX7100" fmla="*/ 446246 w 6400800"/>
                <a:gd name="connsiteY7100" fmla="*/ 328136 h 514350"/>
                <a:gd name="connsiteX7101" fmla="*/ 447199 w 6400800"/>
                <a:gd name="connsiteY7101" fmla="*/ 335756 h 514350"/>
                <a:gd name="connsiteX7102" fmla="*/ 445294 w 6400800"/>
                <a:gd name="connsiteY7102" fmla="*/ 341471 h 514350"/>
                <a:gd name="connsiteX7103" fmla="*/ 442436 w 6400800"/>
                <a:gd name="connsiteY7103" fmla="*/ 349091 h 514350"/>
                <a:gd name="connsiteX7104" fmla="*/ 434816 w 6400800"/>
                <a:gd name="connsiteY7104" fmla="*/ 331946 h 514350"/>
                <a:gd name="connsiteX7105" fmla="*/ 434816 w 6400800"/>
                <a:gd name="connsiteY7105" fmla="*/ 317659 h 514350"/>
                <a:gd name="connsiteX7106" fmla="*/ 432911 w 6400800"/>
                <a:gd name="connsiteY7106" fmla="*/ 328136 h 514350"/>
                <a:gd name="connsiteX7107" fmla="*/ 423386 w 6400800"/>
                <a:gd name="connsiteY7107" fmla="*/ 303371 h 514350"/>
                <a:gd name="connsiteX7108" fmla="*/ 428149 w 6400800"/>
                <a:gd name="connsiteY7108" fmla="*/ 280511 h 514350"/>
                <a:gd name="connsiteX7109" fmla="*/ 418624 w 6400800"/>
                <a:gd name="connsiteY7109" fmla="*/ 345281 h 514350"/>
                <a:gd name="connsiteX7110" fmla="*/ 422434 w 6400800"/>
                <a:gd name="connsiteY7110" fmla="*/ 322421 h 514350"/>
                <a:gd name="connsiteX7111" fmla="*/ 427196 w 6400800"/>
                <a:gd name="connsiteY7111" fmla="*/ 339566 h 514350"/>
                <a:gd name="connsiteX7112" fmla="*/ 430054 w 6400800"/>
                <a:gd name="connsiteY7112" fmla="*/ 350996 h 514350"/>
                <a:gd name="connsiteX7113" fmla="*/ 428149 w 6400800"/>
                <a:gd name="connsiteY7113" fmla="*/ 362426 h 514350"/>
                <a:gd name="connsiteX7114" fmla="*/ 426244 w 6400800"/>
                <a:gd name="connsiteY7114" fmla="*/ 356711 h 514350"/>
                <a:gd name="connsiteX7115" fmla="*/ 420529 w 6400800"/>
                <a:gd name="connsiteY7115" fmla="*/ 344329 h 514350"/>
                <a:gd name="connsiteX7116" fmla="*/ 422434 w 6400800"/>
                <a:gd name="connsiteY7116" fmla="*/ 357664 h 514350"/>
                <a:gd name="connsiteX7117" fmla="*/ 424339 w 6400800"/>
                <a:gd name="connsiteY7117" fmla="*/ 372904 h 514350"/>
                <a:gd name="connsiteX7118" fmla="*/ 425291 w 6400800"/>
                <a:gd name="connsiteY7118" fmla="*/ 377666 h 514350"/>
                <a:gd name="connsiteX7119" fmla="*/ 424339 w 6400800"/>
                <a:gd name="connsiteY7119" fmla="*/ 375761 h 514350"/>
                <a:gd name="connsiteX7120" fmla="*/ 424339 w 6400800"/>
                <a:gd name="connsiteY7120" fmla="*/ 374809 h 514350"/>
                <a:gd name="connsiteX7121" fmla="*/ 418624 w 6400800"/>
                <a:gd name="connsiteY7121" fmla="*/ 351949 h 514350"/>
                <a:gd name="connsiteX7122" fmla="*/ 418624 w 6400800"/>
                <a:gd name="connsiteY7122" fmla="*/ 345281 h 514350"/>
                <a:gd name="connsiteX7123" fmla="*/ 406241 w 6400800"/>
                <a:gd name="connsiteY7123" fmla="*/ 261461 h 514350"/>
                <a:gd name="connsiteX7124" fmla="*/ 411956 w 6400800"/>
                <a:gd name="connsiteY7124" fmla="*/ 285274 h 514350"/>
                <a:gd name="connsiteX7125" fmla="*/ 407194 w 6400800"/>
                <a:gd name="connsiteY7125" fmla="*/ 310039 h 514350"/>
                <a:gd name="connsiteX7126" fmla="*/ 405289 w 6400800"/>
                <a:gd name="connsiteY7126" fmla="*/ 302419 h 514350"/>
                <a:gd name="connsiteX7127" fmla="*/ 406241 w 6400800"/>
                <a:gd name="connsiteY7127" fmla="*/ 261461 h 514350"/>
                <a:gd name="connsiteX7128" fmla="*/ 382429 w 6400800"/>
                <a:gd name="connsiteY7128" fmla="*/ 290036 h 514350"/>
                <a:gd name="connsiteX7129" fmla="*/ 381476 w 6400800"/>
                <a:gd name="connsiteY7129" fmla="*/ 293846 h 514350"/>
                <a:gd name="connsiteX7130" fmla="*/ 381476 w 6400800"/>
                <a:gd name="connsiteY7130" fmla="*/ 285274 h 514350"/>
                <a:gd name="connsiteX7131" fmla="*/ 382429 w 6400800"/>
                <a:gd name="connsiteY7131" fmla="*/ 290036 h 514350"/>
                <a:gd name="connsiteX7132" fmla="*/ 361474 w 6400800"/>
                <a:gd name="connsiteY7132" fmla="*/ 394811 h 514350"/>
                <a:gd name="connsiteX7133" fmla="*/ 361474 w 6400800"/>
                <a:gd name="connsiteY7133" fmla="*/ 404336 h 514350"/>
                <a:gd name="connsiteX7134" fmla="*/ 361474 w 6400800"/>
                <a:gd name="connsiteY7134" fmla="*/ 407194 h 514350"/>
                <a:gd name="connsiteX7135" fmla="*/ 354806 w 6400800"/>
                <a:gd name="connsiteY7135" fmla="*/ 383381 h 514350"/>
                <a:gd name="connsiteX7136" fmla="*/ 354806 w 6400800"/>
                <a:gd name="connsiteY7136" fmla="*/ 382429 h 514350"/>
                <a:gd name="connsiteX7137" fmla="*/ 352901 w 6400800"/>
                <a:gd name="connsiteY7137" fmla="*/ 373856 h 514350"/>
                <a:gd name="connsiteX7138" fmla="*/ 361474 w 6400800"/>
                <a:gd name="connsiteY7138" fmla="*/ 394811 h 514350"/>
                <a:gd name="connsiteX7139" fmla="*/ 347186 w 6400800"/>
                <a:gd name="connsiteY7139" fmla="*/ 307181 h 514350"/>
                <a:gd name="connsiteX7140" fmla="*/ 349091 w 6400800"/>
                <a:gd name="connsiteY7140" fmla="*/ 311944 h 514350"/>
                <a:gd name="connsiteX7141" fmla="*/ 347186 w 6400800"/>
                <a:gd name="connsiteY7141" fmla="*/ 309086 h 514350"/>
                <a:gd name="connsiteX7142" fmla="*/ 347186 w 6400800"/>
                <a:gd name="connsiteY7142" fmla="*/ 307181 h 514350"/>
                <a:gd name="connsiteX7143" fmla="*/ 347186 w 6400800"/>
                <a:gd name="connsiteY7143" fmla="*/ 429101 h 514350"/>
                <a:gd name="connsiteX7144" fmla="*/ 348139 w 6400800"/>
                <a:gd name="connsiteY7144" fmla="*/ 432911 h 514350"/>
                <a:gd name="connsiteX7145" fmla="*/ 346234 w 6400800"/>
                <a:gd name="connsiteY7145" fmla="*/ 432911 h 514350"/>
                <a:gd name="connsiteX7146" fmla="*/ 347186 w 6400800"/>
                <a:gd name="connsiteY7146" fmla="*/ 429101 h 514350"/>
                <a:gd name="connsiteX7147" fmla="*/ 310991 w 6400800"/>
                <a:gd name="connsiteY7147" fmla="*/ 439579 h 514350"/>
                <a:gd name="connsiteX7148" fmla="*/ 311944 w 6400800"/>
                <a:gd name="connsiteY7148" fmla="*/ 424339 h 514350"/>
                <a:gd name="connsiteX7149" fmla="*/ 317659 w 6400800"/>
                <a:gd name="connsiteY7149" fmla="*/ 438626 h 514350"/>
                <a:gd name="connsiteX7150" fmla="*/ 310991 w 6400800"/>
                <a:gd name="connsiteY7150" fmla="*/ 439579 h 514350"/>
                <a:gd name="connsiteX7151" fmla="*/ 302419 w 6400800"/>
                <a:gd name="connsiteY7151" fmla="*/ 230981 h 514350"/>
                <a:gd name="connsiteX7152" fmla="*/ 304324 w 6400800"/>
                <a:gd name="connsiteY7152" fmla="*/ 237649 h 514350"/>
                <a:gd name="connsiteX7153" fmla="*/ 307181 w 6400800"/>
                <a:gd name="connsiteY7153" fmla="*/ 252889 h 514350"/>
                <a:gd name="connsiteX7154" fmla="*/ 300514 w 6400800"/>
                <a:gd name="connsiteY7154" fmla="*/ 244316 h 514350"/>
                <a:gd name="connsiteX7155" fmla="*/ 302419 w 6400800"/>
                <a:gd name="connsiteY7155" fmla="*/ 230981 h 514350"/>
                <a:gd name="connsiteX7156" fmla="*/ 295751 w 6400800"/>
                <a:gd name="connsiteY7156" fmla="*/ 269081 h 514350"/>
                <a:gd name="connsiteX7157" fmla="*/ 297656 w 6400800"/>
                <a:gd name="connsiteY7157" fmla="*/ 262414 h 514350"/>
                <a:gd name="connsiteX7158" fmla="*/ 295751 w 6400800"/>
                <a:gd name="connsiteY7158" fmla="*/ 265271 h 514350"/>
                <a:gd name="connsiteX7159" fmla="*/ 297656 w 6400800"/>
                <a:gd name="connsiteY7159" fmla="*/ 251936 h 514350"/>
                <a:gd name="connsiteX7160" fmla="*/ 299561 w 6400800"/>
                <a:gd name="connsiteY7160" fmla="*/ 243364 h 514350"/>
                <a:gd name="connsiteX7161" fmla="*/ 301466 w 6400800"/>
                <a:gd name="connsiteY7161" fmla="*/ 247174 h 514350"/>
                <a:gd name="connsiteX7162" fmla="*/ 310039 w 6400800"/>
                <a:gd name="connsiteY7162" fmla="*/ 270986 h 514350"/>
                <a:gd name="connsiteX7163" fmla="*/ 319564 w 6400800"/>
                <a:gd name="connsiteY7163" fmla="*/ 312896 h 514350"/>
                <a:gd name="connsiteX7164" fmla="*/ 330041 w 6400800"/>
                <a:gd name="connsiteY7164" fmla="*/ 358616 h 514350"/>
                <a:gd name="connsiteX7165" fmla="*/ 330041 w 6400800"/>
                <a:gd name="connsiteY7165" fmla="*/ 362426 h 514350"/>
                <a:gd name="connsiteX7166" fmla="*/ 327184 w 6400800"/>
                <a:gd name="connsiteY7166" fmla="*/ 404336 h 514350"/>
                <a:gd name="connsiteX7167" fmla="*/ 327184 w 6400800"/>
                <a:gd name="connsiteY7167" fmla="*/ 404336 h 514350"/>
                <a:gd name="connsiteX7168" fmla="*/ 321469 w 6400800"/>
                <a:gd name="connsiteY7168" fmla="*/ 392906 h 514350"/>
                <a:gd name="connsiteX7169" fmla="*/ 310991 w 6400800"/>
                <a:gd name="connsiteY7169" fmla="*/ 362426 h 514350"/>
                <a:gd name="connsiteX7170" fmla="*/ 296704 w 6400800"/>
                <a:gd name="connsiteY7170" fmla="*/ 318611 h 514350"/>
                <a:gd name="connsiteX7171" fmla="*/ 291941 w 6400800"/>
                <a:gd name="connsiteY7171" fmla="*/ 302419 h 514350"/>
                <a:gd name="connsiteX7172" fmla="*/ 295751 w 6400800"/>
                <a:gd name="connsiteY7172" fmla="*/ 269081 h 514350"/>
                <a:gd name="connsiteX7173" fmla="*/ 283369 w 6400800"/>
                <a:gd name="connsiteY7173" fmla="*/ 378619 h 514350"/>
                <a:gd name="connsiteX7174" fmla="*/ 284321 w 6400800"/>
                <a:gd name="connsiteY7174" fmla="*/ 365284 h 514350"/>
                <a:gd name="connsiteX7175" fmla="*/ 285274 w 6400800"/>
                <a:gd name="connsiteY7175" fmla="*/ 363379 h 514350"/>
                <a:gd name="connsiteX7176" fmla="*/ 295751 w 6400800"/>
                <a:gd name="connsiteY7176" fmla="*/ 387191 h 514350"/>
                <a:gd name="connsiteX7177" fmla="*/ 302419 w 6400800"/>
                <a:gd name="connsiteY7177" fmla="*/ 400526 h 514350"/>
                <a:gd name="connsiteX7178" fmla="*/ 303371 w 6400800"/>
                <a:gd name="connsiteY7178" fmla="*/ 404336 h 514350"/>
                <a:gd name="connsiteX7179" fmla="*/ 301466 w 6400800"/>
                <a:gd name="connsiteY7179" fmla="*/ 412909 h 514350"/>
                <a:gd name="connsiteX7180" fmla="*/ 295751 w 6400800"/>
                <a:gd name="connsiteY7180" fmla="*/ 442436 h 514350"/>
                <a:gd name="connsiteX7181" fmla="*/ 283369 w 6400800"/>
                <a:gd name="connsiteY7181" fmla="*/ 444341 h 514350"/>
                <a:gd name="connsiteX7182" fmla="*/ 281464 w 6400800"/>
                <a:gd name="connsiteY7182" fmla="*/ 435769 h 514350"/>
                <a:gd name="connsiteX7183" fmla="*/ 281464 w 6400800"/>
                <a:gd name="connsiteY7183" fmla="*/ 407194 h 514350"/>
                <a:gd name="connsiteX7184" fmla="*/ 283369 w 6400800"/>
                <a:gd name="connsiteY7184" fmla="*/ 378619 h 514350"/>
                <a:gd name="connsiteX7185" fmla="*/ 237649 w 6400800"/>
                <a:gd name="connsiteY7185" fmla="*/ 415766 h 514350"/>
                <a:gd name="connsiteX7186" fmla="*/ 228124 w 6400800"/>
                <a:gd name="connsiteY7186" fmla="*/ 395764 h 514350"/>
                <a:gd name="connsiteX7187" fmla="*/ 229076 w 6400800"/>
                <a:gd name="connsiteY7187" fmla="*/ 383381 h 514350"/>
                <a:gd name="connsiteX7188" fmla="*/ 239554 w 6400800"/>
                <a:gd name="connsiteY7188" fmla="*/ 406241 h 514350"/>
                <a:gd name="connsiteX7189" fmla="*/ 237649 w 6400800"/>
                <a:gd name="connsiteY7189" fmla="*/ 415766 h 514350"/>
                <a:gd name="connsiteX7190" fmla="*/ 247174 w 6400800"/>
                <a:gd name="connsiteY7190" fmla="*/ 431006 h 514350"/>
                <a:gd name="connsiteX7191" fmla="*/ 248126 w 6400800"/>
                <a:gd name="connsiteY7191" fmla="*/ 425291 h 514350"/>
                <a:gd name="connsiteX7192" fmla="*/ 248126 w 6400800"/>
                <a:gd name="connsiteY7192" fmla="*/ 425291 h 514350"/>
                <a:gd name="connsiteX7193" fmla="*/ 247174 w 6400800"/>
                <a:gd name="connsiteY7193" fmla="*/ 431006 h 514350"/>
                <a:gd name="connsiteX7194" fmla="*/ 264319 w 6400800"/>
                <a:gd name="connsiteY7194" fmla="*/ 204311 h 514350"/>
                <a:gd name="connsiteX7195" fmla="*/ 270986 w 6400800"/>
                <a:gd name="connsiteY7195" fmla="*/ 185261 h 514350"/>
                <a:gd name="connsiteX7196" fmla="*/ 267176 w 6400800"/>
                <a:gd name="connsiteY7196" fmla="*/ 214789 h 514350"/>
                <a:gd name="connsiteX7197" fmla="*/ 266224 w 6400800"/>
                <a:gd name="connsiteY7197" fmla="*/ 210026 h 514350"/>
                <a:gd name="connsiteX7198" fmla="*/ 264319 w 6400800"/>
                <a:gd name="connsiteY7198" fmla="*/ 204311 h 514350"/>
                <a:gd name="connsiteX7199" fmla="*/ 264319 w 6400800"/>
                <a:gd name="connsiteY7199" fmla="*/ 204311 h 514350"/>
                <a:gd name="connsiteX7200" fmla="*/ 254794 w 6400800"/>
                <a:gd name="connsiteY7200" fmla="*/ 235744 h 514350"/>
                <a:gd name="connsiteX7201" fmla="*/ 258604 w 6400800"/>
                <a:gd name="connsiteY7201" fmla="*/ 220504 h 514350"/>
                <a:gd name="connsiteX7202" fmla="*/ 261461 w 6400800"/>
                <a:gd name="connsiteY7202" fmla="*/ 242411 h 514350"/>
                <a:gd name="connsiteX7203" fmla="*/ 262414 w 6400800"/>
                <a:gd name="connsiteY7203" fmla="*/ 245269 h 514350"/>
                <a:gd name="connsiteX7204" fmla="*/ 260509 w 6400800"/>
                <a:gd name="connsiteY7204" fmla="*/ 270034 h 514350"/>
                <a:gd name="connsiteX7205" fmla="*/ 257651 w 6400800"/>
                <a:gd name="connsiteY7205" fmla="*/ 264319 h 514350"/>
                <a:gd name="connsiteX7206" fmla="*/ 250984 w 6400800"/>
                <a:gd name="connsiteY7206" fmla="*/ 249079 h 514350"/>
                <a:gd name="connsiteX7207" fmla="*/ 254794 w 6400800"/>
                <a:gd name="connsiteY7207" fmla="*/ 235744 h 514350"/>
                <a:gd name="connsiteX7208" fmla="*/ 245269 w 6400800"/>
                <a:gd name="connsiteY7208" fmla="*/ 276701 h 514350"/>
                <a:gd name="connsiteX7209" fmla="*/ 249079 w 6400800"/>
                <a:gd name="connsiteY7209" fmla="*/ 260509 h 514350"/>
                <a:gd name="connsiteX7210" fmla="*/ 250984 w 6400800"/>
                <a:gd name="connsiteY7210" fmla="*/ 268129 h 514350"/>
                <a:gd name="connsiteX7211" fmla="*/ 258604 w 6400800"/>
                <a:gd name="connsiteY7211" fmla="*/ 292894 h 514350"/>
                <a:gd name="connsiteX7212" fmla="*/ 259556 w 6400800"/>
                <a:gd name="connsiteY7212" fmla="*/ 294799 h 514350"/>
                <a:gd name="connsiteX7213" fmla="*/ 259556 w 6400800"/>
                <a:gd name="connsiteY7213" fmla="*/ 297656 h 514350"/>
                <a:gd name="connsiteX7214" fmla="*/ 257651 w 6400800"/>
                <a:gd name="connsiteY7214" fmla="*/ 333851 h 514350"/>
                <a:gd name="connsiteX7215" fmla="*/ 250984 w 6400800"/>
                <a:gd name="connsiteY7215" fmla="*/ 309086 h 514350"/>
                <a:gd name="connsiteX7216" fmla="*/ 253841 w 6400800"/>
                <a:gd name="connsiteY7216" fmla="*/ 301466 h 514350"/>
                <a:gd name="connsiteX7217" fmla="*/ 250984 w 6400800"/>
                <a:gd name="connsiteY7217" fmla="*/ 307181 h 514350"/>
                <a:gd name="connsiteX7218" fmla="*/ 244316 w 6400800"/>
                <a:gd name="connsiteY7218" fmla="*/ 284321 h 514350"/>
                <a:gd name="connsiteX7219" fmla="*/ 245269 w 6400800"/>
                <a:gd name="connsiteY7219" fmla="*/ 276701 h 514350"/>
                <a:gd name="connsiteX7220" fmla="*/ 236696 w 6400800"/>
                <a:gd name="connsiteY7220" fmla="*/ 325279 h 514350"/>
                <a:gd name="connsiteX7221" fmla="*/ 237649 w 6400800"/>
                <a:gd name="connsiteY7221" fmla="*/ 322421 h 514350"/>
                <a:gd name="connsiteX7222" fmla="*/ 238601 w 6400800"/>
                <a:gd name="connsiteY7222" fmla="*/ 329089 h 514350"/>
                <a:gd name="connsiteX7223" fmla="*/ 235744 w 6400800"/>
                <a:gd name="connsiteY7223" fmla="*/ 335756 h 514350"/>
                <a:gd name="connsiteX7224" fmla="*/ 236696 w 6400800"/>
                <a:gd name="connsiteY7224" fmla="*/ 325279 h 514350"/>
                <a:gd name="connsiteX7225" fmla="*/ 234791 w 6400800"/>
                <a:gd name="connsiteY7225" fmla="*/ 353854 h 514350"/>
                <a:gd name="connsiteX7226" fmla="*/ 240506 w 6400800"/>
                <a:gd name="connsiteY7226" fmla="*/ 337661 h 514350"/>
                <a:gd name="connsiteX7227" fmla="*/ 241459 w 6400800"/>
                <a:gd name="connsiteY7227" fmla="*/ 342424 h 514350"/>
                <a:gd name="connsiteX7228" fmla="*/ 248126 w 6400800"/>
                <a:gd name="connsiteY7228" fmla="*/ 372904 h 514350"/>
                <a:gd name="connsiteX7229" fmla="*/ 247174 w 6400800"/>
                <a:gd name="connsiteY7229" fmla="*/ 378619 h 514350"/>
                <a:gd name="connsiteX7230" fmla="*/ 242411 w 6400800"/>
                <a:gd name="connsiteY7230" fmla="*/ 369094 h 514350"/>
                <a:gd name="connsiteX7231" fmla="*/ 234791 w 6400800"/>
                <a:gd name="connsiteY7231" fmla="*/ 353854 h 514350"/>
                <a:gd name="connsiteX7232" fmla="*/ 234791 w 6400800"/>
                <a:gd name="connsiteY7232" fmla="*/ 353854 h 514350"/>
                <a:gd name="connsiteX7233" fmla="*/ 222409 w 6400800"/>
                <a:gd name="connsiteY7233" fmla="*/ 297656 h 514350"/>
                <a:gd name="connsiteX7234" fmla="*/ 227171 w 6400800"/>
                <a:gd name="connsiteY7234" fmla="*/ 278606 h 514350"/>
                <a:gd name="connsiteX7235" fmla="*/ 228124 w 6400800"/>
                <a:gd name="connsiteY7235" fmla="*/ 284321 h 514350"/>
                <a:gd name="connsiteX7236" fmla="*/ 230029 w 6400800"/>
                <a:gd name="connsiteY7236" fmla="*/ 290989 h 514350"/>
                <a:gd name="connsiteX7237" fmla="*/ 222409 w 6400800"/>
                <a:gd name="connsiteY7237" fmla="*/ 324326 h 514350"/>
                <a:gd name="connsiteX7238" fmla="*/ 221456 w 6400800"/>
                <a:gd name="connsiteY7238" fmla="*/ 330041 h 514350"/>
                <a:gd name="connsiteX7239" fmla="*/ 220504 w 6400800"/>
                <a:gd name="connsiteY7239" fmla="*/ 329089 h 514350"/>
                <a:gd name="connsiteX7240" fmla="*/ 218599 w 6400800"/>
                <a:gd name="connsiteY7240" fmla="*/ 312896 h 514350"/>
                <a:gd name="connsiteX7241" fmla="*/ 222409 w 6400800"/>
                <a:gd name="connsiteY7241" fmla="*/ 297656 h 514350"/>
                <a:gd name="connsiteX7242" fmla="*/ 169069 w 6400800"/>
                <a:gd name="connsiteY7242" fmla="*/ 411956 h 514350"/>
                <a:gd name="connsiteX7243" fmla="*/ 169069 w 6400800"/>
                <a:gd name="connsiteY7243" fmla="*/ 412909 h 514350"/>
                <a:gd name="connsiteX7244" fmla="*/ 165259 w 6400800"/>
                <a:gd name="connsiteY7244" fmla="*/ 396716 h 514350"/>
                <a:gd name="connsiteX7245" fmla="*/ 164306 w 6400800"/>
                <a:gd name="connsiteY7245" fmla="*/ 375761 h 514350"/>
                <a:gd name="connsiteX7246" fmla="*/ 161449 w 6400800"/>
                <a:gd name="connsiteY7246" fmla="*/ 345281 h 514350"/>
                <a:gd name="connsiteX7247" fmla="*/ 158591 w 6400800"/>
                <a:gd name="connsiteY7247" fmla="*/ 321469 h 514350"/>
                <a:gd name="connsiteX7248" fmla="*/ 159544 w 6400800"/>
                <a:gd name="connsiteY7248" fmla="*/ 323374 h 514350"/>
                <a:gd name="connsiteX7249" fmla="*/ 162401 w 6400800"/>
                <a:gd name="connsiteY7249" fmla="*/ 328136 h 514350"/>
                <a:gd name="connsiteX7250" fmla="*/ 167164 w 6400800"/>
                <a:gd name="connsiteY7250" fmla="*/ 376714 h 514350"/>
                <a:gd name="connsiteX7251" fmla="*/ 170021 w 6400800"/>
                <a:gd name="connsiteY7251" fmla="*/ 402431 h 514350"/>
                <a:gd name="connsiteX7252" fmla="*/ 169069 w 6400800"/>
                <a:gd name="connsiteY7252" fmla="*/ 411956 h 514350"/>
                <a:gd name="connsiteX7253" fmla="*/ 209074 w 6400800"/>
                <a:gd name="connsiteY7253" fmla="*/ 350044 h 514350"/>
                <a:gd name="connsiteX7254" fmla="*/ 209074 w 6400800"/>
                <a:gd name="connsiteY7254" fmla="*/ 359569 h 514350"/>
                <a:gd name="connsiteX7255" fmla="*/ 207169 w 6400800"/>
                <a:gd name="connsiteY7255" fmla="*/ 356711 h 514350"/>
                <a:gd name="connsiteX7256" fmla="*/ 209074 w 6400800"/>
                <a:gd name="connsiteY7256" fmla="*/ 350044 h 514350"/>
                <a:gd name="connsiteX7257" fmla="*/ 170974 w 6400800"/>
                <a:gd name="connsiteY7257" fmla="*/ 259556 h 514350"/>
                <a:gd name="connsiteX7258" fmla="*/ 178594 w 6400800"/>
                <a:gd name="connsiteY7258" fmla="*/ 274796 h 514350"/>
                <a:gd name="connsiteX7259" fmla="*/ 187166 w 6400800"/>
                <a:gd name="connsiteY7259" fmla="*/ 291941 h 514350"/>
                <a:gd name="connsiteX7260" fmla="*/ 205264 w 6400800"/>
                <a:gd name="connsiteY7260" fmla="*/ 330041 h 514350"/>
                <a:gd name="connsiteX7261" fmla="*/ 200501 w 6400800"/>
                <a:gd name="connsiteY7261" fmla="*/ 343376 h 514350"/>
                <a:gd name="connsiteX7262" fmla="*/ 199549 w 6400800"/>
                <a:gd name="connsiteY7262" fmla="*/ 342424 h 514350"/>
                <a:gd name="connsiteX7263" fmla="*/ 180499 w 6400800"/>
                <a:gd name="connsiteY7263" fmla="*/ 310039 h 514350"/>
                <a:gd name="connsiteX7264" fmla="*/ 176689 w 6400800"/>
                <a:gd name="connsiteY7264" fmla="*/ 296704 h 514350"/>
                <a:gd name="connsiteX7265" fmla="*/ 176689 w 6400800"/>
                <a:gd name="connsiteY7265" fmla="*/ 305276 h 514350"/>
                <a:gd name="connsiteX7266" fmla="*/ 172879 w 6400800"/>
                <a:gd name="connsiteY7266" fmla="*/ 299561 h 514350"/>
                <a:gd name="connsiteX7267" fmla="*/ 171926 w 6400800"/>
                <a:gd name="connsiteY7267" fmla="*/ 298609 h 514350"/>
                <a:gd name="connsiteX7268" fmla="*/ 168116 w 6400800"/>
                <a:gd name="connsiteY7268" fmla="*/ 279559 h 514350"/>
                <a:gd name="connsiteX7269" fmla="*/ 158591 w 6400800"/>
                <a:gd name="connsiteY7269" fmla="*/ 235744 h 514350"/>
                <a:gd name="connsiteX7270" fmla="*/ 170974 w 6400800"/>
                <a:gd name="connsiteY7270" fmla="*/ 259556 h 514350"/>
                <a:gd name="connsiteX7271" fmla="*/ 161449 w 6400800"/>
                <a:gd name="connsiteY7271" fmla="*/ 307181 h 514350"/>
                <a:gd name="connsiteX7272" fmla="*/ 156686 w 6400800"/>
                <a:gd name="connsiteY7272" fmla="*/ 301466 h 514350"/>
                <a:gd name="connsiteX7273" fmla="*/ 155734 w 6400800"/>
                <a:gd name="connsiteY7273" fmla="*/ 297656 h 514350"/>
                <a:gd name="connsiteX7274" fmla="*/ 161449 w 6400800"/>
                <a:gd name="connsiteY7274" fmla="*/ 307181 h 514350"/>
                <a:gd name="connsiteX7275" fmla="*/ 130969 w 6400800"/>
                <a:gd name="connsiteY7275" fmla="*/ 280511 h 514350"/>
                <a:gd name="connsiteX7276" fmla="*/ 133826 w 6400800"/>
                <a:gd name="connsiteY7276" fmla="*/ 284321 h 514350"/>
                <a:gd name="connsiteX7277" fmla="*/ 145256 w 6400800"/>
                <a:gd name="connsiteY7277" fmla="*/ 301466 h 514350"/>
                <a:gd name="connsiteX7278" fmla="*/ 150971 w 6400800"/>
                <a:gd name="connsiteY7278" fmla="*/ 310039 h 514350"/>
                <a:gd name="connsiteX7279" fmla="*/ 150019 w 6400800"/>
                <a:gd name="connsiteY7279" fmla="*/ 341471 h 514350"/>
                <a:gd name="connsiteX7280" fmla="*/ 149066 w 6400800"/>
                <a:gd name="connsiteY7280" fmla="*/ 339566 h 514350"/>
                <a:gd name="connsiteX7281" fmla="*/ 145256 w 6400800"/>
                <a:gd name="connsiteY7281" fmla="*/ 328136 h 514350"/>
                <a:gd name="connsiteX7282" fmla="*/ 140494 w 6400800"/>
                <a:gd name="connsiteY7282" fmla="*/ 317659 h 514350"/>
                <a:gd name="connsiteX7283" fmla="*/ 132874 w 6400800"/>
                <a:gd name="connsiteY7283" fmla="*/ 301466 h 514350"/>
                <a:gd name="connsiteX7284" fmla="*/ 127159 w 6400800"/>
                <a:gd name="connsiteY7284" fmla="*/ 290989 h 514350"/>
                <a:gd name="connsiteX7285" fmla="*/ 130969 w 6400800"/>
                <a:gd name="connsiteY7285" fmla="*/ 280511 h 514350"/>
                <a:gd name="connsiteX7286" fmla="*/ 121444 w 6400800"/>
                <a:gd name="connsiteY7286" fmla="*/ 318611 h 514350"/>
                <a:gd name="connsiteX7287" fmla="*/ 127159 w 6400800"/>
                <a:gd name="connsiteY7287" fmla="*/ 294799 h 514350"/>
                <a:gd name="connsiteX7288" fmla="*/ 127159 w 6400800"/>
                <a:gd name="connsiteY7288" fmla="*/ 293846 h 514350"/>
                <a:gd name="connsiteX7289" fmla="*/ 129064 w 6400800"/>
                <a:gd name="connsiteY7289" fmla="*/ 303371 h 514350"/>
                <a:gd name="connsiteX7290" fmla="*/ 133826 w 6400800"/>
                <a:gd name="connsiteY7290" fmla="*/ 320516 h 514350"/>
                <a:gd name="connsiteX7291" fmla="*/ 138589 w 6400800"/>
                <a:gd name="connsiteY7291" fmla="*/ 342424 h 514350"/>
                <a:gd name="connsiteX7292" fmla="*/ 143351 w 6400800"/>
                <a:gd name="connsiteY7292" fmla="*/ 369094 h 514350"/>
                <a:gd name="connsiteX7293" fmla="*/ 148114 w 6400800"/>
                <a:gd name="connsiteY7293" fmla="*/ 398621 h 514350"/>
                <a:gd name="connsiteX7294" fmla="*/ 149066 w 6400800"/>
                <a:gd name="connsiteY7294" fmla="*/ 403384 h 514350"/>
                <a:gd name="connsiteX7295" fmla="*/ 149066 w 6400800"/>
                <a:gd name="connsiteY7295" fmla="*/ 411004 h 514350"/>
                <a:gd name="connsiteX7296" fmla="*/ 149066 w 6400800"/>
                <a:gd name="connsiteY7296" fmla="*/ 416719 h 514350"/>
                <a:gd name="connsiteX7297" fmla="*/ 138589 w 6400800"/>
                <a:gd name="connsiteY7297" fmla="*/ 388144 h 514350"/>
                <a:gd name="connsiteX7298" fmla="*/ 129064 w 6400800"/>
                <a:gd name="connsiteY7298" fmla="*/ 363379 h 514350"/>
                <a:gd name="connsiteX7299" fmla="*/ 131921 w 6400800"/>
                <a:gd name="connsiteY7299" fmla="*/ 358616 h 514350"/>
                <a:gd name="connsiteX7300" fmla="*/ 129064 w 6400800"/>
                <a:gd name="connsiteY7300" fmla="*/ 361474 h 514350"/>
                <a:gd name="connsiteX7301" fmla="*/ 124301 w 6400800"/>
                <a:gd name="connsiteY7301" fmla="*/ 350044 h 514350"/>
                <a:gd name="connsiteX7302" fmla="*/ 125254 w 6400800"/>
                <a:gd name="connsiteY7302" fmla="*/ 344329 h 514350"/>
                <a:gd name="connsiteX7303" fmla="*/ 129064 w 6400800"/>
                <a:gd name="connsiteY7303" fmla="*/ 328136 h 514350"/>
                <a:gd name="connsiteX7304" fmla="*/ 121444 w 6400800"/>
                <a:gd name="connsiteY7304" fmla="*/ 343376 h 514350"/>
                <a:gd name="connsiteX7305" fmla="*/ 121444 w 6400800"/>
                <a:gd name="connsiteY7305" fmla="*/ 343376 h 514350"/>
                <a:gd name="connsiteX7306" fmla="*/ 120491 w 6400800"/>
                <a:gd name="connsiteY7306" fmla="*/ 341471 h 514350"/>
                <a:gd name="connsiteX7307" fmla="*/ 117634 w 6400800"/>
                <a:gd name="connsiteY7307" fmla="*/ 334804 h 514350"/>
                <a:gd name="connsiteX7308" fmla="*/ 121444 w 6400800"/>
                <a:gd name="connsiteY7308" fmla="*/ 318611 h 514350"/>
                <a:gd name="connsiteX7309" fmla="*/ 116681 w 6400800"/>
                <a:gd name="connsiteY7309" fmla="*/ 393859 h 514350"/>
                <a:gd name="connsiteX7310" fmla="*/ 127159 w 6400800"/>
                <a:gd name="connsiteY7310" fmla="*/ 419576 h 514350"/>
                <a:gd name="connsiteX7311" fmla="*/ 113824 w 6400800"/>
                <a:gd name="connsiteY7311" fmla="*/ 414814 h 514350"/>
                <a:gd name="connsiteX7312" fmla="*/ 116681 w 6400800"/>
                <a:gd name="connsiteY7312" fmla="*/ 393859 h 514350"/>
                <a:gd name="connsiteX7313" fmla="*/ 91916 w 6400800"/>
                <a:gd name="connsiteY7313" fmla="*/ 341471 h 514350"/>
                <a:gd name="connsiteX7314" fmla="*/ 92869 w 6400800"/>
                <a:gd name="connsiteY7314" fmla="*/ 335756 h 514350"/>
                <a:gd name="connsiteX7315" fmla="*/ 94774 w 6400800"/>
                <a:gd name="connsiteY7315" fmla="*/ 340519 h 514350"/>
                <a:gd name="connsiteX7316" fmla="*/ 102394 w 6400800"/>
                <a:gd name="connsiteY7316" fmla="*/ 358616 h 514350"/>
                <a:gd name="connsiteX7317" fmla="*/ 96679 w 6400800"/>
                <a:gd name="connsiteY7317" fmla="*/ 384334 h 514350"/>
                <a:gd name="connsiteX7318" fmla="*/ 94774 w 6400800"/>
                <a:gd name="connsiteY7318" fmla="*/ 399574 h 514350"/>
                <a:gd name="connsiteX7319" fmla="*/ 93821 w 6400800"/>
                <a:gd name="connsiteY7319" fmla="*/ 400526 h 514350"/>
                <a:gd name="connsiteX7320" fmla="*/ 90964 w 6400800"/>
                <a:gd name="connsiteY7320" fmla="*/ 404336 h 514350"/>
                <a:gd name="connsiteX7321" fmla="*/ 88106 w 6400800"/>
                <a:gd name="connsiteY7321" fmla="*/ 382429 h 514350"/>
                <a:gd name="connsiteX7322" fmla="*/ 85249 w 6400800"/>
                <a:gd name="connsiteY7322" fmla="*/ 365284 h 514350"/>
                <a:gd name="connsiteX7323" fmla="*/ 91916 w 6400800"/>
                <a:gd name="connsiteY7323" fmla="*/ 341471 h 514350"/>
                <a:gd name="connsiteX7324" fmla="*/ 72866 w 6400800"/>
                <a:gd name="connsiteY7324" fmla="*/ 407194 h 514350"/>
                <a:gd name="connsiteX7325" fmla="*/ 72866 w 6400800"/>
                <a:gd name="connsiteY7325" fmla="*/ 409099 h 514350"/>
                <a:gd name="connsiteX7326" fmla="*/ 71914 w 6400800"/>
                <a:gd name="connsiteY7326" fmla="*/ 409099 h 514350"/>
                <a:gd name="connsiteX7327" fmla="*/ 72866 w 6400800"/>
                <a:gd name="connsiteY7327" fmla="*/ 407194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Lst>
              <a:rect l="l" t="t" r="r" b="b"/>
              <a:pathLst>
                <a:path w="6400800" h="514350">
                  <a:moveTo>
                    <a:pt x="7144" y="511016"/>
                  </a:moveTo>
                  <a:lnTo>
                    <a:pt x="6354604" y="511016"/>
                  </a:lnTo>
                  <a:lnTo>
                    <a:pt x="6354604" y="409099"/>
                  </a:lnTo>
                  <a:cubicBezTo>
                    <a:pt x="6346031" y="411004"/>
                    <a:pt x="6337459" y="413861"/>
                    <a:pt x="6327934" y="415766"/>
                  </a:cubicBezTo>
                  <a:cubicBezTo>
                    <a:pt x="6327934" y="411956"/>
                    <a:pt x="6327934" y="408146"/>
                    <a:pt x="6327934" y="404336"/>
                  </a:cubicBezTo>
                  <a:cubicBezTo>
                    <a:pt x="6328887" y="396716"/>
                    <a:pt x="6327934" y="389096"/>
                    <a:pt x="6328887" y="383381"/>
                  </a:cubicBezTo>
                  <a:cubicBezTo>
                    <a:pt x="6329839" y="371951"/>
                    <a:pt x="6329839" y="365284"/>
                    <a:pt x="6329839" y="365284"/>
                  </a:cubicBezTo>
                  <a:cubicBezTo>
                    <a:pt x="6329839" y="365284"/>
                    <a:pt x="6327934" y="371951"/>
                    <a:pt x="6324124" y="383381"/>
                  </a:cubicBezTo>
                  <a:cubicBezTo>
                    <a:pt x="6322219" y="389096"/>
                    <a:pt x="6321267" y="395764"/>
                    <a:pt x="6319362" y="404336"/>
                  </a:cubicBezTo>
                  <a:cubicBezTo>
                    <a:pt x="6318409" y="409099"/>
                    <a:pt x="6317456" y="413861"/>
                    <a:pt x="6316504" y="419576"/>
                  </a:cubicBezTo>
                  <a:cubicBezTo>
                    <a:pt x="6311742" y="420529"/>
                    <a:pt x="6306979" y="421481"/>
                    <a:pt x="6303169" y="423386"/>
                  </a:cubicBezTo>
                  <a:cubicBezTo>
                    <a:pt x="6303169" y="416719"/>
                    <a:pt x="6303169" y="411004"/>
                    <a:pt x="6304121" y="405289"/>
                  </a:cubicBezTo>
                  <a:cubicBezTo>
                    <a:pt x="6308884" y="390049"/>
                    <a:pt x="6314599" y="373856"/>
                    <a:pt x="6319362" y="358616"/>
                  </a:cubicBezTo>
                  <a:cubicBezTo>
                    <a:pt x="6320314" y="355759"/>
                    <a:pt x="6321267" y="352901"/>
                    <a:pt x="6322219" y="349091"/>
                  </a:cubicBezTo>
                  <a:cubicBezTo>
                    <a:pt x="6326029" y="336709"/>
                    <a:pt x="6330792" y="325279"/>
                    <a:pt x="6334601" y="312896"/>
                  </a:cubicBezTo>
                  <a:cubicBezTo>
                    <a:pt x="6340317" y="297656"/>
                    <a:pt x="6345079" y="283369"/>
                    <a:pt x="6349842" y="269081"/>
                  </a:cubicBezTo>
                  <a:cubicBezTo>
                    <a:pt x="6354604" y="254794"/>
                    <a:pt x="6359367" y="240506"/>
                    <a:pt x="6363176" y="228124"/>
                  </a:cubicBezTo>
                  <a:cubicBezTo>
                    <a:pt x="6367939" y="214789"/>
                    <a:pt x="6371749" y="202406"/>
                    <a:pt x="6375559" y="190976"/>
                  </a:cubicBezTo>
                  <a:cubicBezTo>
                    <a:pt x="6383179" y="168116"/>
                    <a:pt x="6388894" y="149066"/>
                    <a:pt x="6393656" y="134779"/>
                  </a:cubicBezTo>
                  <a:cubicBezTo>
                    <a:pt x="6397467" y="121444"/>
                    <a:pt x="6400324" y="113824"/>
                    <a:pt x="6400324" y="113824"/>
                  </a:cubicBezTo>
                  <a:cubicBezTo>
                    <a:pt x="6400324" y="113824"/>
                    <a:pt x="6396514" y="121444"/>
                    <a:pt x="6389846" y="133826"/>
                  </a:cubicBezTo>
                  <a:cubicBezTo>
                    <a:pt x="6386989" y="139541"/>
                    <a:pt x="6384131" y="146209"/>
                    <a:pt x="6380321" y="153829"/>
                  </a:cubicBezTo>
                  <a:cubicBezTo>
                    <a:pt x="6385084" y="136684"/>
                    <a:pt x="6389846" y="121444"/>
                    <a:pt x="6392704" y="110966"/>
                  </a:cubicBezTo>
                  <a:cubicBezTo>
                    <a:pt x="6396514" y="95726"/>
                    <a:pt x="6399371" y="87154"/>
                    <a:pt x="6399371" y="87154"/>
                  </a:cubicBezTo>
                  <a:cubicBezTo>
                    <a:pt x="6399371" y="87154"/>
                    <a:pt x="6395562" y="95726"/>
                    <a:pt x="6388894" y="109061"/>
                  </a:cubicBezTo>
                  <a:cubicBezTo>
                    <a:pt x="6386037" y="115729"/>
                    <a:pt x="6382226" y="125254"/>
                    <a:pt x="6377464" y="134779"/>
                  </a:cubicBezTo>
                  <a:cubicBezTo>
                    <a:pt x="6372701" y="144304"/>
                    <a:pt x="6367939" y="155734"/>
                    <a:pt x="6364129" y="168116"/>
                  </a:cubicBezTo>
                  <a:cubicBezTo>
                    <a:pt x="6354604" y="192881"/>
                    <a:pt x="6343174" y="222409"/>
                    <a:pt x="6332696" y="253841"/>
                  </a:cubicBezTo>
                  <a:cubicBezTo>
                    <a:pt x="6326981" y="270034"/>
                    <a:pt x="6321267" y="286226"/>
                    <a:pt x="6316504" y="302419"/>
                  </a:cubicBezTo>
                  <a:cubicBezTo>
                    <a:pt x="6315551" y="304324"/>
                    <a:pt x="6315551" y="306229"/>
                    <a:pt x="6314599" y="308134"/>
                  </a:cubicBezTo>
                  <a:cubicBezTo>
                    <a:pt x="6315551" y="300514"/>
                    <a:pt x="6316504" y="293846"/>
                    <a:pt x="6317456" y="287179"/>
                  </a:cubicBezTo>
                  <a:cubicBezTo>
                    <a:pt x="6318409" y="279559"/>
                    <a:pt x="6319362" y="272891"/>
                    <a:pt x="6319362" y="267176"/>
                  </a:cubicBezTo>
                  <a:cubicBezTo>
                    <a:pt x="6320314" y="256699"/>
                    <a:pt x="6320314" y="250031"/>
                    <a:pt x="6320314" y="250031"/>
                  </a:cubicBezTo>
                  <a:cubicBezTo>
                    <a:pt x="6320314" y="250031"/>
                    <a:pt x="6318409" y="255746"/>
                    <a:pt x="6314599" y="266224"/>
                  </a:cubicBezTo>
                  <a:cubicBezTo>
                    <a:pt x="6311742" y="276701"/>
                    <a:pt x="6306979" y="291941"/>
                    <a:pt x="6302217" y="310039"/>
                  </a:cubicBezTo>
                  <a:cubicBezTo>
                    <a:pt x="6299359" y="318611"/>
                    <a:pt x="6296501" y="329089"/>
                    <a:pt x="6293644" y="339566"/>
                  </a:cubicBezTo>
                  <a:cubicBezTo>
                    <a:pt x="6291739" y="347186"/>
                    <a:pt x="6288881" y="354806"/>
                    <a:pt x="6286976" y="362426"/>
                  </a:cubicBezTo>
                  <a:cubicBezTo>
                    <a:pt x="6286024" y="352901"/>
                    <a:pt x="6285071" y="343376"/>
                    <a:pt x="6284119" y="335756"/>
                  </a:cubicBezTo>
                  <a:cubicBezTo>
                    <a:pt x="6286024" y="330041"/>
                    <a:pt x="6286976" y="324326"/>
                    <a:pt x="6288881" y="318611"/>
                  </a:cubicBezTo>
                  <a:cubicBezTo>
                    <a:pt x="6293644" y="303371"/>
                    <a:pt x="6298406" y="289084"/>
                    <a:pt x="6302217" y="274796"/>
                  </a:cubicBezTo>
                  <a:cubicBezTo>
                    <a:pt x="6304121" y="268129"/>
                    <a:pt x="6306026" y="261461"/>
                    <a:pt x="6307931" y="255746"/>
                  </a:cubicBezTo>
                  <a:cubicBezTo>
                    <a:pt x="6309837" y="250031"/>
                    <a:pt x="6311742" y="244316"/>
                    <a:pt x="6313646" y="238601"/>
                  </a:cubicBezTo>
                  <a:cubicBezTo>
                    <a:pt x="6317456" y="228124"/>
                    <a:pt x="6320314" y="218599"/>
                    <a:pt x="6323171" y="210026"/>
                  </a:cubicBezTo>
                  <a:cubicBezTo>
                    <a:pt x="6327934" y="193834"/>
                    <a:pt x="6330792" y="185261"/>
                    <a:pt x="6330792" y="185261"/>
                  </a:cubicBezTo>
                  <a:cubicBezTo>
                    <a:pt x="6330792" y="185261"/>
                    <a:pt x="6326981" y="193834"/>
                    <a:pt x="6319362" y="208121"/>
                  </a:cubicBezTo>
                  <a:cubicBezTo>
                    <a:pt x="6315551" y="215741"/>
                    <a:pt x="6311742" y="224314"/>
                    <a:pt x="6306026" y="234791"/>
                  </a:cubicBezTo>
                  <a:cubicBezTo>
                    <a:pt x="6303169" y="239554"/>
                    <a:pt x="6301264" y="245269"/>
                    <a:pt x="6298406" y="250984"/>
                  </a:cubicBezTo>
                  <a:cubicBezTo>
                    <a:pt x="6295549" y="256699"/>
                    <a:pt x="6293644" y="263366"/>
                    <a:pt x="6290787" y="270034"/>
                  </a:cubicBezTo>
                  <a:cubicBezTo>
                    <a:pt x="6286976" y="279559"/>
                    <a:pt x="6282214" y="290036"/>
                    <a:pt x="6278404" y="301466"/>
                  </a:cubicBezTo>
                  <a:cubicBezTo>
                    <a:pt x="6277451" y="295751"/>
                    <a:pt x="6277451" y="292894"/>
                    <a:pt x="6277451" y="292894"/>
                  </a:cubicBezTo>
                  <a:cubicBezTo>
                    <a:pt x="6277451" y="292894"/>
                    <a:pt x="6277451" y="297656"/>
                    <a:pt x="6276499" y="306229"/>
                  </a:cubicBezTo>
                  <a:cubicBezTo>
                    <a:pt x="6275546" y="308134"/>
                    <a:pt x="6274594" y="310991"/>
                    <a:pt x="6273642" y="312896"/>
                  </a:cubicBezTo>
                  <a:cubicBezTo>
                    <a:pt x="6272689" y="315754"/>
                    <a:pt x="6271737" y="319564"/>
                    <a:pt x="6269831" y="322421"/>
                  </a:cubicBezTo>
                  <a:cubicBezTo>
                    <a:pt x="6270784" y="314801"/>
                    <a:pt x="6272689" y="308134"/>
                    <a:pt x="6273642" y="300514"/>
                  </a:cubicBezTo>
                  <a:cubicBezTo>
                    <a:pt x="6277451" y="283369"/>
                    <a:pt x="6280309" y="267176"/>
                    <a:pt x="6283167" y="252889"/>
                  </a:cubicBezTo>
                  <a:cubicBezTo>
                    <a:pt x="6285071" y="245269"/>
                    <a:pt x="6286024" y="238601"/>
                    <a:pt x="6287929" y="231934"/>
                  </a:cubicBezTo>
                  <a:cubicBezTo>
                    <a:pt x="6289834" y="225266"/>
                    <a:pt x="6290787" y="218599"/>
                    <a:pt x="6292692" y="212884"/>
                  </a:cubicBezTo>
                  <a:cubicBezTo>
                    <a:pt x="6295549" y="200501"/>
                    <a:pt x="6298406" y="190024"/>
                    <a:pt x="6300312" y="181451"/>
                  </a:cubicBezTo>
                  <a:cubicBezTo>
                    <a:pt x="6304121" y="164306"/>
                    <a:pt x="6306026" y="153829"/>
                    <a:pt x="6306026" y="153829"/>
                  </a:cubicBezTo>
                  <a:cubicBezTo>
                    <a:pt x="6306026" y="153829"/>
                    <a:pt x="6302217" y="163354"/>
                    <a:pt x="6296501" y="180499"/>
                  </a:cubicBezTo>
                  <a:cubicBezTo>
                    <a:pt x="6293644" y="189071"/>
                    <a:pt x="6289834" y="199549"/>
                    <a:pt x="6286024" y="210979"/>
                  </a:cubicBezTo>
                  <a:cubicBezTo>
                    <a:pt x="6284119" y="216694"/>
                    <a:pt x="6282214" y="223361"/>
                    <a:pt x="6279356" y="230029"/>
                  </a:cubicBezTo>
                  <a:cubicBezTo>
                    <a:pt x="6277451" y="236696"/>
                    <a:pt x="6275546" y="243364"/>
                    <a:pt x="6273642" y="250984"/>
                  </a:cubicBezTo>
                  <a:cubicBezTo>
                    <a:pt x="6269831" y="265271"/>
                    <a:pt x="6265069" y="281464"/>
                    <a:pt x="6260306" y="298609"/>
                  </a:cubicBezTo>
                  <a:cubicBezTo>
                    <a:pt x="6255544" y="315754"/>
                    <a:pt x="6251734" y="333851"/>
                    <a:pt x="6246971" y="351949"/>
                  </a:cubicBezTo>
                  <a:cubicBezTo>
                    <a:pt x="6244114" y="366236"/>
                    <a:pt x="6240304" y="381476"/>
                    <a:pt x="6236494" y="396716"/>
                  </a:cubicBezTo>
                  <a:cubicBezTo>
                    <a:pt x="6236494" y="395764"/>
                    <a:pt x="6235542" y="395764"/>
                    <a:pt x="6235542" y="394811"/>
                  </a:cubicBezTo>
                  <a:cubicBezTo>
                    <a:pt x="6235542" y="379571"/>
                    <a:pt x="6234589" y="370046"/>
                    <a:pt x="6234589" y="370046"/>
                  </a:cubicBezTo>
                  <a:cubicBezTo>
                    <a:pt x="6234589" y="370046"/>
                    <a:pt x="6233637" y="376714"/>
                    <a:pt x="6230779" y="389096"/>
                  </a:cubicBezTo>
                  <a:cubicBezTo>
                    <a:pt x="6229826" y="387191"/>
                    <a:pt x="6228874" y="386239"/>
                    <a:pt x="6227921" y="384334"/>
                  </a:cubicBezTo>
                  <a:cubicBezTo>
                    <a:pt x="6224112" y="378619"/>
                    <a:pt x="6220301" y="372904"/>
                    <a:pt x="6216492" y="367189"/>
                  </a:cubicBezTo>
                  <a:cubicBezTo>
                    <a:pt x="6218396" y="360521"/>
                    <a:pt x="6220301" y="354806"/>
                    <a:pt x="6223159" y="348139"/>
                  </a:cubicBezTo>
                  <a:cubicBezTo>
                    <a:pt x="6227921" y="334804"/>
                    <a:pt x="6232684" y="322421"/>
                    <a:pt x="6236494" y="310991"/>
                  </a:cubicBezTo>
                  <a:cubicBezTo>
                    <a:pt x="6240304" y="299561"/>
                    <a:pt x="6244114" y="289084"/>
                    <a:pt x="6247924" y="279559"/>
                  </a:cubicBezTo>
                  <a:cubicBezTo>
                    <a:pt x="6251734" y="270034"/>
                    <a:pt x="6254592" y="262414"/>
                    <a:pt x="6256496" y="254794"/>
                  </a:cubicBezTo>
                  <a:cubicBezTo>
                    <a:pt x="6261259" y="241459"/>
                    <a:pt x="6264117" y="233839"/>
                    <a:pt x="6264117" y="233839"/>
                  </a:cubicBezTo>
                  <a:cubicBezTo>
                    <a:pt x="6264117" y="233839"/>
                    <a:pt x="6260306" y="241459"/>
                    <a:pt x="6252687" y="253841"/>
                  </a:cubicBezTo>
                  <a:cubicBezTo>
                    <a:pt x="6248876" y="260509"/>
                    <a:pt x="6245067" y="268129"/>
                    <a:pt x="6240304" y="276701"/>
                  </a:cubicBezTo>
                  <a:cubicBezTo>
                    <a:pt x="6235542" y="285274"/>
                    <a:pt x="6230779" y="295751"/>
                    <a:pt x="6225064" y="307181"/>
                  </a:cubicBezTo>
                  <a:cubicBezTo>
                    <a:pt x="6220301" y="318611"/>
                    <a:pt x="6214587" y="330994"/>
                    <a:pt x="6208871" y="343376"/>
                  </a:cubicBezTo>
                  <a:cubicBezTo>
                    <a:pt x="6207919" y="346234"/>
                    <a:pt x="6206014" y="349091"/>
                    <a:pt x="6205062" y="351949"/>
                  </a:cubicBezTo>
                  <a:cubicBezTo>
                    <a:pt x="6205062" y="351949"/>
                    <a:pt x="6204109" y="350996"/>
                    <a:pt x="6204109" y="350996"/>
                  </a:cubicBezTo>
                  <a:cubicBezTo>
                    <a:pt x="6206967" y="340519"/>
                    <a:pt x="6208871" y="330041"/>
                    <a:pt x="6210776" y="320516"/>
                  </a:cubicBezTo>
                  <a:cubicBezTo>
                    <a:pt x="6214587" y="298609"/>
                    <a:pt x="6219349" y="280511"/>
                    <a:pt x="6222206" y="268129"/>
                  </a:cubicBezTo>
                  <a:cubicBezTo>
                    <a:pt x="6225064" y="255746"/>
                    <a:pt x="6226017" y="248126"/>
                    <a:pt x="6226017" y="248126"/>
                  </a:cubicBezTo>
                  <a:cubicBezTo>
                    <a:pt x="6226017" y="248126"/>
                    <a:pt x="6223159" y="254794"/>
                    <a:pt x="6218396" y="267176"/>
                  </a:cubicBezTo>
                  <a:cubicBezTo>
                    <a:pt x="6216492" y="272891"/>
                    <a:pt x="6213634" y="280511"/>
                    <a:pt x="6209824" y="289084"/>
                  </a:cubicBezTo>
                  <a:cubicBezTo>
                    <a:pt x="6206967" y="297656"/>
                    <a:pt x="6203156" y="307181"/>
                    <a:pt x="6199346" y="317659"/>
                  </a:cubicBezTo>
                  <a:cubicBezTo>
                    <a:pt x="6197442" y="323374"/>
                    <a:pt x="6195537" y="330041"/>
                    <a:pt x="6193631" y="335756"/>
                  </a:cubicBezTo>
                  <a:cubicBezTo>
                    <a:pt x="6190774" y="330994"/>
                    <a:pt x="6186964" y="326231"/>
                    <a:pt x="6184106" y="322421"/>
                  </a:cubicBezTo>
                  <a:cubicBezTo>
                    <a:pt x="6183154" y="321469"/>
                    <a:pt x="6182201" y="320516"/>
                    <a:pt x="6181249" y="318611"/>
                  </a:cubicBezTo>
                  <a:cubicBezTo>
                    <a:pt x="6182201" y="312896"/>
                    <a:pt x="6183154" y="307181"/>
                    <a:pt x="6184106" y="302419"/>
                  </a:cubicBezTo>
                  <a:cubicBezTo>
                    <a:pt x="6186012" y="291941"/>
                    <a:pt x="6186964" y="282416"/>
                    <a:pt x="6189821" y="274796"/>
                  </a:cubicBezTo>
                  <a:cubicBezTo>
                    <a:pt x="6193631" y="259556"/>
                    <a:pt x="6195537" y="250984"/>
                    <a:pt x="6195537" y="250984"/>
                  </a:cubicBezTo>
                  <a:cubicBezTo>
                    <a:pt x="6195537" y="250984"/>
                    <a:pt x="6191726" y="259556"/>
                    <a:pt x="6186012" y="273844"/>
                  </a:cubicBezTo>
                  <a:cubicBezTo>
                    <a:pt x="6183154" y="280511"/>
                    <a:pt x="6180296" y="290036"/>
                    <a:pt x="6176487" y="300514"/>
                  </a:cubicBezTo>
                  <a:cubicBezTo>
                    <a:pt x="6175534" y="303371"/>
                    <a:pt x="6174581" y="306229"/>
                    <a:pt x="6173629" y="309086"/>
                  </a:cubicBezTo>
                  <a:cubicBezTo>
                    <a:pt x="6173629" y="309086"/>
                    <a:pt x="6172676" y="308134"/>
                    <a:pt x="6172676" y="308134"/>
                  </a:cubicBezTo>
                  <a:cubicBezTo>
                    <a:pt x="6173629" y="303371"/>
                    <a:pt x="6174581" y="298609"/>
                    <a:pt x="6174581" y="294799"/>
                  </a:cubicBezTo>
                  <a:cubicBezTo>
                    <a:pt x="6176487" y="283369"/>
                    <a:pt x="6178392" y="272891"/>
                    <a:pt x="6180296" y="263366"/>
                  </a:cubicBezTo>
                  <a:cubicBezTo>
                    <a:pt x="6182201" y="253841"/>
                    <a:pt x="6184106" y="244316"/>
                    <a:pt x="6185059" y="236696"/>
                  </a:cubicBezTo>
                  <a:cubicBezTo>
                    <a:pt x="6186964" y="229076"/>
                    <a:pt x="6187917" y="221456"/>
                    <a:pt x="6188869" y="215741"/>
                  </a:cubicBezTo>
                  <a:cubicBezTo>
                    <a:pt x="6190774" y="204311"/>
                    <a:pt x="6192679" y="197644"/>
                    <a:pt x="6192679" y="197644"/>
                  </a:cubicBezTo>
                  <a:cubicBezTo>
                    <a:pt x="6192679" y="197644"/>
                    <a:pt x="6189821" y="203359"/>
                    <a:pt x="6185059" y="214789"/>
                  </a:cubicBezTo>
                  <a:cubicBezTo>
                    <a:pt x="6180296" y="225266"/>
                    <a:pt x="6174581" y="241459"/>
                    <a:pt x="6168867" y="260509"/>
                  </a:cubicBezTo>
                  <a:cubicBezTo>
                    <a:pt x="6166962" y="267176"/>
                    <a:pt x="6165056" y="273844"/>
                    <a:pt x="6163151" y="280511"/>
                  </a:cubicBezTo>
                  <a:cubicBezTo>
                    <a:pt x="6161246" y="270034"/>
                    <a:pt x="6160294" y="261461"/>
                    <a:pt x="6159342" y="253841"/>
                  </a:cubicBezTo>
                  <a:cubicBezTo>
                    <a:pt x="6156484" y="235744"/>
                    <a:pt x="6154579" y="225266"/>
                    <a:pt x="6154579" y="225266"/>
                  </a:cubicBezTo>
                  <a:cubicBezTo>
                    <a:pt x="6154579" y="225266"/>
                    <a:pt x="6155531" y="248126"/>
                    <a:pt x="6156484" y="285274"/>
                  </a:cubicBezTo>
                  <a:cubicBezTo>
                    <a:pt x="6151721" y="278606"/>
                    <a:pt x="6146959" y="272891"/>
                    <a:pt x="6143149" y="268129"/>
                  </a:cubicBezTo>
                  <a:cubicBezTo>
                    <a:pt x="6143149" y="268129"/>
                    <a:pt x="6143149" y="267176"/>
                    <a:pt x="6143149" y="267176"/>
                  </a:cubicBezTo>
                  <a:cubicBezTo>
                    <a:pt x="6144101" y="263366"/>
                    <a:pt x="6145054" y="259556"/>
                    <a:pt x="6146006" y="256699"/>
                  </a:cubicBezTo>
                  <a:cubicBezTo>
                    <a:pt x="6156484" y="210026"/>
                    <a:pt x="6161246" y="178594"/>
                    <a:pt x="6161246" y="178594"/>
                  </a:cubicBezTo>
                  <a:cubicBezTo>
                    <a:pt x="6161246" y="178594"/>
                    <a:pt x="6158389" y="186214"/>
                    <a:pt x="6152674" y="200501"/>
                  </a:cubicBezTo>
                  <a:cubicBezTo>
                    <a:pt x="6152674" y="199549"/>
                    <a:pt x="6152674" y="198596"/>
                    <a:pt x="6152674" y="197644"/>
                  </a:cubicBezTo>
                  <a:cubicBezTo>
                    <a:pt x="6154579" y="188119"/>
                    <a:pt x="6155531" y="179546"/>
                    <a:pt x="6156484" y="172879"/>
                  </a:cubicBezTo>
                  <a:cubicBezTo>
                    <a:pt x="6158389" y="158591"/>
                    <a:pt x="6160294" y="150971"/>
                    <a:pt x="6160294" y="150971"/>
                  </a:cubicBezTo>
                  <a:cubicBezTo>
                    <a:pt x="6160294" y="150971"/>
                    <a:pt x="6157437" y="158591"/>
                    <a:pt x="6152674" y="171926"/>
                  </a:cubicBezTo>
                  <a:cubicBezTo>
                    <a:pt x="6150769" y="178594"/>
                    <a:pt x="6147912" y="187166"/>
                    <a:pt x="6145054" y="196691"/>
                  </a:cubicBezTo>
                  <a:cubicBezTo>
                    <a:pt x="6143149" y="204311"/>
                    <a:pt x="6140292" y="211931"/>
                    <a:pt x="6138387" y="220504"/>
                  </a:cubicBezTo>
                  <a:cubicBezTo>
                    <a:pt x="6136481" y="209074"/>
                    <a:pt x="6135529" y="202406"/>
                    <a:pt x="6135529" y="202406"/>
                  </a:cubicBezTo>
                  <a:cubicBezTo>
                    <a:pt x="6135529" y="202406"/>
                    <a:pt x="6135529" y="209074"/>
                    <a:pt x="6134576" y="221456"/>
                  </a:cubicBezTo>
                  <a:cubicBezTo>
                    <a:pt x="6134576" y="227171"/>
                    <a:pt x="6132671" y="234791"/>
                    <a:pt x="6132671" y="242411"/>
                  </a:cubicBezTo>
                  <a:cubicBezTo>
                    <a:pt x="6132671" y="244316"/>
                    <a:pt x="6131719" y="246221"/>
                    <a:pt x="6131719" y="249079"/>
                  </a:cubicBezTo>
                  <a:cubicBezTo>
                    <a:pt x="6131719" y="250984"/>
                    <a:pt x="6130767" y="251936"/>
                    <a:pt x="6130767" y="253841"/>
                  </a:cubicBezTo>
                  <a:cubicBezTo>
                    <a:pt x="6129814" y="252889"/>
                    <a:pt x="6129814" y="251936"/>
                    <a:pt x="6129814" y="251936"/>
                  </a:cubicBezTo>
                  <a:cubicBezTo>
                    <a:pt x="6129814" y="251936"/>
                    <a:pt x="6129814" y="252889"/>
                    <a:pt x="6130767" y="254794"/>
                  </a:cubicBezTo>
                  <a:cubicBezTo>
                    <a:pt x="6130767" y="256699"/>
                    <a:pt x="6129814" y="258604"/>
                    <a:pt x="6129814" y="261461"/>
                  </a:cubicBezTo>
                  <a:cubicBezTo>
                    <a:pt x="6129814" y="250031"/>
                    <a:pt x="6129814" y="243364"/>
                    <a:pt x="6129814" y="243364"/>
                  </a:cubicBezTo>
                  <a:cubicBezTo>
                    <a:pt x="6129814" y="243364"/>
                    <a:pt x="6127909" y="254794"/>
                    <a:pt x="6126004" y="274796"/>
                  </a:cubicBezTo>
                  <a:cubicBezTo>
                    <a:pt x="6126004" y="276701"/>
                    <a:pt x="6126004" y="279559"/>
                    <a:pt x="6125051" y="281464"/>
                  </a:cubicBezTo>
                  <a:cubicBezTo>
                    <a:pt x="6124099" y="275749"/>
                    <a:pt x="6123146" y="270986"/>
                    <a:pt x="6122194" y="267176"/>
                  </a:cubicBezTo>
                  <a:cubicBezTo>
                    <a:pt x="6119337" y="251936"/>
                    <a:pt x="6117431" y="243364"/>
                    <a:pt x="6117431" y="243364"/>
                  </a:cubicBezTo>
                  <a:cubicBezTo>
                    <a:pt x="6117431" y="243364"/>
                    <a:pt x="6117431" y="251936"/>
                    <a:pt x="6118384" y="267176"/>
                  </a:cubicBezTo>
                  <a:cubicBezTo>
                    <a:pt x="6118384" y="275749"/>
                    <a:pt x="6119337" y="287179"/>
                    <a:pt x="6119337" y="300514"/>
                  </a:cubicBezTo>
                  <a:cubicBezTo>
                    <a:pt x="6117431" y="306229"/>
                    <a:pt x="6115526" y="311944"/>
                    <a:pt x="6114574" y="317659"/>
                  </a:cubicBezTo>
                  <a:cubicBezTo>
                    <a:pt x="6114574" y="313849"/>
                    <a:pt x="6114574" y="310991"/>
                    <a:pt x="6114574" y="307181"/>
                  </a:cubicBezTo>
                  <a:cubicBezTo>
                    <a:pt x="6113621" y="299561"/>
                    <a:pt x="6113621" y="292894"/>
                    <a:pt x="6112669" y="286226"/>
                  </a:cubicBezTo>
                  <a:cubicBezTo>
                    <a:pt x="6111717" y="279559"/>
                    <a:pt x="6110764" y="274796"/>
                    <a:pt x="6109812" y="270986"/>
                  </a:cubicBezTo>
                  <a:cubicBezTo>
                    <a:pt x="6106954" y="262414"/>
                    <a:pt x="6105049" y="258604"/>
                    <a:pt x="6105049" y="258604"/>
                  </a:cubicBezTo>
                  <a:cubicBezTo>
                    <a:pt x="6105049" y="258604"/>
                    <a:pt x="6105049" y="263366"/>
                    <a:pt x="6106001" y="272891"/>
                  </a:cubicBezTo>
                  <a:cubicBezTo>
                    <a:pt x="6106001" y="275749"/>
                    <a:pt x="6106001" y="278606"/>
                    <a:pt x="6106001" y="282416"/>
                  </a:cubicBezTo>
                  <a:cubicBezTo>
                    <a:pt x="6105049" y="279559"/>
                    <a:pt x="6105049" y="276701"/>
                    <a:pt x="6104096" y="273844"/>
                  </a:cubicBezTo>
                  <a:cubicBezTo>
                    <a:pt x="6103144" y="271939"/>
                    <a:pt x="6103144" y="270034"/>
                    <a:pt x="6102192" y="268129"/>
                  </a:cubicBezTo>
                  <a:cubicBezTo>
                    <a:pt x="6102192" y="263366"/>
                    <a:pt x="6101239" y="258604"/>
                    <a:pt x="6101239" y="253841"/>
                  </a:cubicBezTo>
                  <a:cubicBezTo>
                    <a:pt x="6102192" y="251936"/>
                    <a:pt x="6102192" y="249079"/>
                    <a:pt x="6103144" y="247174"/>
                  </a:cubicBezTo>
                  <a:cubicBezTo>
                    <a:pt x="6105049" y="238601"/>
                    <a:pt x="6106954" y="230981"/>
                    <a:pt x="6107906" y="225266"/>
                  </a:cubicBezTo>
                  <a:cubicBezTo>
                    <a:pt x="6110764" y="212884"/>
                    <a:pt x="6111717" y="205264"/>
                    <a:pt x="6111717" y="205264"/>
                  </a:cubicBezTo>
                  <a:cubicBezTo>
                    <a:pt x="6111717" y="205264"/>
                    <a:pt x="6108859" y="211931"/>
                    <a:pt x="6104096" y="223361"/>
                  </a:cubicBezTo>
                  <a:cubicBezTo>
                    <a:pt x="6103144" y="227171"/>
                    <a:pt x="6101239" y="230981"/>
                    <a:pt x="6099334" y="234791"/>
                  </a:cubicBezTo>
                  <a:cubicBezTo>
                    <a:pt x="6098381" y="220504"/>
                    <a:pt x="6097429" y="210026"/>
                    <a:pt x="6096476" y="206216"/>
                  </a:cubicBezTo>
                  <a:cubicBezTo>
                    <a:pt x="6096476" y="204311"/>
                    <a:pt x="6097429" y="201454"/>
                    <a:pt x="6097429" y="199549"/>
                  </a:cubicBezTo>
                  <a:cubicBezTo>
                    <a:pt x="6099334" y="191929"/>
                    <a:pt x="6100287" y="184309"/>
                    <a:pt x="6101239" y="177641"/>
                  </a:cubicBezTo>
                  <a:cubicBezTo>
                    <a:pt x="6102192" y="170974"/>
                    <a:pt x="6103144" y="163354"/>
                    <a:pt x="6104096" y="157639"/>
                  </a:cubicBezTo>
                  <a:cubicBezTo>
                    <a:pt x="6106001" y="145256"/>
                    <a:pt x="6106954" y="133826"/>
                    <a:pt x="6107906" y="124301"/>
                  </a:cubicBezTo>
                  <a:cubicBezTo>
                    <a:pt x="6109812" y="106204"/>
                    <a:pt x="6110764" y="95726"/>
                    <a:pt x="6110764" y="95726"/>
                  </a:cubicBezTo>
                  <a:cubicBezTo>
                    <a:pt x="6110764" y="95726"/>
                    <a:pt x="6107906" y="106204"/>
                    <a:pt x="6104096" y="124301"/>
                  </a:cubicBezTo>
                  <a:cubicBezTo>
                    <a:pt x="6102192" y="132874"/>
                    <a:pt x="6099334" y="144304"/>
                    <a:pt x="6096476" y="156686"/>
                  </a:cubicBezTo>
                  <a:cubicBezTo>
                    <a:pt x="6095524" y="163354"/>
                    <a:pt x="6093619" y="170021"/>
                    <a:pt x="6091714" y="176689"/>
                  </a:cubicBezTo>
                  <a:cubicBezTo>
                    <a:pt x="6089809" y="183356"/>
                    <a:pt x="6087904" y="190976"/>
                    <a:pt x="6085999" y="198596"/>
                  </a:cubicBezTo>
                  <a:cubicBezTo>
                    <a:pt x="6085046" y="203359"/>
                    <a:pt x="6083142" y="209074"/>
                    <a:pt x="6081237" y="214789"/>
                  </a:cubicBezTo>
                  <a:cubicBezTo>
                    <a:pt x="6077426" y="206216"/>
                    <a:pt x="6074569" y="201454"/>
                    <a:pt x="6074569" y="201454"/>
                  </a:cubicBezTo>
                  <a:cubicBezTo>
                    <a:pt x="6074569" y="201454"/>
                    <a:pt x="6076474" y="208121"/>
                    <a:pt x="6079331" y="219551"/>
                  </a:cubicBezTo>
                  <a:cubicBezTo>
                    <a:pt x="6078379" y="222409"/>
                    <a:pt x="6076474" y="225266"/>
                    <a:pt x="6073617" y="230029"/>
                  </a:cubicBezTo>
                  <a:cubicBezTo>
                    <a:pt x="6072664" y="231934"/>
                    <a:pt x="6071712" y="234791"/>
                    <a:pt x="6069806" y="237649"/>
                  </a:cubicBezTo>
                  <a:cubicBezTo>
                    <a:pt x="6069806" y="233839"/>
                    <a:pt x="6069806" y="230981"/>
                    <a:pt x="6069806" y="228124"/>
                  </a:cubicBezTo>
                  <a:cubicBezTo>
                    <a:pt x="6069806" y="213836"/>
                    <a:pt x="6069806" y="205264"/>
                    <a:pt x="6069806" y="205264"/>
                  </a:cubicBezTo>
                  <a:cubicBezTo>
                    <a:pt x="6069806" y="205264"/>
                    <a:pt x="6067901" y="213836"/>
                    <a:pt x="6065996" y="228124"/>
                  </a:cubicBezTo>
                  <a:cubicBezTo>
                    <a:pt x="6065044" y="235744"/>
                    <a:pt x="6063139" y="243364"/>
                    <a:pt x="6061234" y="253841"/>
                  </a:cubicBezTo>
                  <a:cubicBezTo>
                    <a:pt x="6060281" y="256699"/>
                    <a:pt x="6060281" y="259556"/>
                    <a:pt x="6059329" y="263366"/>
                  </a:cubicBezTo>
                  <a:cubicBezTo>
                    <a:pt x="6058376" y="265271"/>
                    <a:pt x="6058376" y="267176"/>
                    <a:pt x="6057424" y="268129"/>
                  </a:cubicBezTo>
                  <a:cubicBezTo>
                    <a:pt x="6054567" y="275749"/>
                    <a:pt x="6051709" y="285274"/>
                    <a:pt x="6048851" y="294799"/>
                  </a:cubicBezTo>
                  <a:cubicBezTo>
                    <a:pt x="6045994" y="304324"/>
                    <a:pt x="6044089" y="313849"/>
                    <a:pt x="6041231" y="324326"/>
                  </a:cubicBezTo>
                  <a:cubicBezTo>
                    <a:pt x="6041231" y="324326"/>
                    <a:pt x="6041231" y="325279"/>
                    <a:pt x="6041231" y="325279"/>
                  </a:cubicBezTo>
                  <a:cubicBezTo>
                    <a:pt x="6038374" y="318611"/>
                    <a:pt x="6036469" y="311944"/>
                    <a:pt x="6033612" y="306229"/>
                  </a:cubicBezTo>
                  <a:cubicBezTo>
                    <a:pt x="6032659" y="303371"/>
                    <a:pt x="6030754" y="299561"/>
                    <a:pt x="6029801" y="296704"/>
                  </a:cubicBezTo>
                  <a:cubicBezTo>
                    <a:pt x="6029801" y="296704"/>
                    <a:pt x="6029801" y="295751"/>
                    <a:pt x="6029801" y="295751"/>
                  </a:cubicBezTo>
                  <a:cubicBezTo>
                    <a:pt x="6030754" y="290036"/>
                    <a:pt x="6031706" y="285274"/>
                    <a:pt x="6031706" y="281464"/>
                  </a:cubicBezTo>
                  <a:cubicBezTo>
                    <a:pt x="6032659" y="272891"/>
                    <a:pt x="6033612" y="269081"/>
                    <a:pt x="6033612" y="269081"/>
                  </a:cubicBezTo>
                  <a:cubicBezTo>
                    <a:pt x="6033612" y="269081"/>
                    <a:pt x="6031706" y="272891"/>
                    <a:pt x="6027896" y="280511"/>
                  </a:cubicBezTo>
                  <a:cubicBezTo>
                    <a:pt x="6026944" y="282416"/>
                    <a:pt x="6025992" y="284321"/>
                    <a:pt x="6025039" y="286226"/>
                  </a:cubicBezTo>
                  <a:cubicBezTo>
                    <a:pt x="6023134" y="281464"/>
                    <a:pt x="6021229" y="276701"/>
                    <a:pt x="6020276" y="272891"/>
                  </a:cubicBezTo>
                  <a:cubicBezTo>
                    <a:pt x="6013609" y="254794"/>
                    <a:pt x="6008846" y="244316"/>
                    <a:pt x="6008846" y="244316"/>
                  </a:cubicBezTo>
                  <a:cubicBezTo>
                    <a:pt x="6008846" y="244316"/>
                    <a:pt x="6011704" y="254794"/>
                    <a:pt x="6016467" y="273844"/>
                  </a:cubicBezTo>
                  <a:cubicBezTo>
                    <a:pt x="6018371" y="279559"/>
                    <a:pt x="6020276" y="286226"/>
                    <a:pt x="6022181" y="293846"/>
                  </a:cubicBezTo>
                  <a:cubicBezTo>
                    <a:pt x="6021229" y="296704"/>
                    <a:pt x="6020276" y="299561"/>
                    <a:pt x="6019324" y="302419"/>
                  </a:cubicBezTo>
                  <a:cubicBezTo>
                    <a:pt x="6018371" y="305276"/>
                    <a:pt x="6017419" y="309086"/>
                    <a:pt x="6016467" y="311944"/>
                  </a:cubicBezTo>
                  <a:cubicBezTo>
                    <a:pt x="6014562" y="318611"/>
                    <a:pt x="6012656" y="326231"/>
                    <a:pt x="6010751" y="333851"/>
                  </a:cubicBezTo>
                  <a:cubicBezTo>
                    <a:pt x="6010751" y="333851"/>
                    <a:pt x="6010751" y="334804"/>
                    <a:pt x="6010751" y="334804"/>
                  </a:cubicBezTo>
                  <a:cubicBezTo>
                    <a:pt x="6007894" y="330041"/>
                    <a:pt x="6005989" y="325279"/>
                    <a:pt x="6003131" y="320516"/>
                  </a:cubicBezTo>
                  <a:cubicBezTo>
                    <a:pt x="6001226" y="316706"/>
                    <a:pt x="5999321" y="312896"/>
                    <a:pt x="5996464" y="308134"/>
                  </a:cubicBezTo>
                  <a:cubicBezTo>
                    <a:pt x="5997417" y="306229"/>
                    <a:pt x="5998369" y="304324"/>
                    <a:pt x="5999321" y="302419"/>
                  </a:cubicBezTo>
                  <a:cubicBezTo>
                    <a:pt x="6002179" y="294799"/>
                    <a:pt x="6005037" y="289084"/>
                    <a:pt x="6007894" y="283369"/>
                  </a:cubicBezTo>
                  <a:cubicBezTo>
                    <a:pt x="6012656" y="272891"/>
                    <a:pt x="6014562" y="267176"/>
                    <a:pt x="6014562" y="267176"/>
                  </a:cubicBezTo>
                  <a:cubicBezTo>
                    <a:pt x="6014562" y="267176"/>
                    <a:pt x="6010751" y="272891"/>
                    <a:pt x="6004084" y="281464"/>
                  </a:cubicBezTo>
                  <a:cubicBezTo>
                    <a:pt x="6001226" y="286226"/>
                    <a:pt x="5997417" y="291941"/>
                    <a:pt x="5993606" y="297656"/>
                  </a:cubicBezTo>
                  <a:cubicBezTo>
                    <a:pt x="5992654" y="289084"/>
                    <a:pt x="5990749" y="281464"/>
                    <a:pt x="5989796" y="273844"/>
                  </a:cubicBezTo>
                  <a:cubicBezTo>
                    <a:pt x="5990749" y="266224"/>
                    <a:pt x="5990749" y="258604"/>
                    <a:pt x="5991701" y="250984"/>
                  </a:cubicBezTo>
                  <a:cubicBezTo>
                    <a:pt x="5992654" y="235744"/>
                    <a:pt x="5995512" y="223361"/>
                    <a:pt x="5997417" y="212884"/>
                  </a:cubicBezTo>
                  <a:cubicBezTo>
                    <a:pt x="6001226" y="191929"/>
                    <a:pt x="6003131" y="179546"/>
                    <a:pt x="6003131" y="179546"/>
                  </a:cubicBezTo>
                  <a:cubicBezTo>
                    <a:pt x="6003131" y="179546"/>
                    <a:pt x="5999321" y="190976"/>
                    <a:pt x="5993606" y="211931"/>
                  </a:cubicBezTo>
                  <a:cubicBezTo>
                    <a:pt x="5990749" y="222409"/>
                    <a:pt x="5986939" y="233839"/>
                    <a:pt x="5985034" y="248126"/>
                  </a:cubicBezTo>
                  <a:cubicBezTo>
                    <a:pt x="5981224" y="233839"/>
                    <a:pt x="5978367" y="219551"/>
                    <a:pt x="5974556" y="206216"/>
                  </a:cubicBezTo>
                  <a:cubicBezTo>
                    <a:pt x="5974556" y="206216"/>
                    <a:pt x="5974556" y="206216"/>
                    <a:pt x="5974556" y="206216"/>
                  </a:cubicBezTo>
                  <a:cubicBezTo>
                    <a:pt x="5975509" y="195739"/>
                    <a:pt x="5976462" y="186214"/>
                    <a:pt x="5977414" y="178594"/>
                  </a:cubicBezTo>
                  <a:cubicBezTo>
                    <a:pt x="5978367" y="163354"/>
                    <a:pt x="5979319" y="153829"/>
                    <a:pt x="5979319" y="153829"/>
                  </a:cubicBezTo>
                  <a:cubicBezTo>
                    <a:pt x="5979319" y="153829"/>
                    <a:pt x="5977414" y="162401"/>
                    <a:pt x="5973604" y="177641"/>
                  </a:cubicBezTo>
                  <a:cubicBezTo>
                    <a:pt x="5972651" y="181451"/>
                    <a:pt x="5971699" y="186214"/>
                    <a:pt x="5969794" y="191929"/>
                  </a:cubicBezTo>
                  <a:cubicBezTo>
                    <a:pt x="5965984" y="180499"/>
                    <a:pt x="5963126" y="170021"/>
                    <a:pt x="5959317" y="160496"/>
                  </a:cubicBezTo>
                  <a:cubicBezTo>
                    <a:pt x="5954554" y="148114"/>
                    <a:pt x="5950744" y="137636"/>
                    <a:pt x="5946934" y="130016"/>
                  </a:cubicBezTo>
                  <a:cubicBezTo>
                    <a:pt x="5939314" y="112871"/>
                    <a:pt x="5934551" y="104299"/>
                    <a:pt x="5934551" y="104299"/>
                  </a:cubicBezTo>
                  <a:cubicBezTo>
                    <a:pt x="5934551" y="104299"/>
                    <a:pt x="5937409" y="113824"/>
                    <a:pt x="5943124" y="131921"/>
                  </a:cubicBezTo>
                  <a:cubicBezTo>
                    <a:pt x="5945981" y="140494"/>
                    <a:pt x="5948839" y="150971"/>
                    <a:pt x="5951696" y="163354"/>
                  </a:cubicBezTo>
                  <a:cubicBezTo>
                    <a:pt x="5955506" y="175736"/>
                    <a:pt x="5957412" y="189071"/>
                    <a:pt x="5961221" y="204311"/>
                  </a:cubicBezTo>
                  <a:cubicBezTo>
                    <a:pt x="5962174" y="208121"/>
                    <a:pt x="5963126" y="212884"/>
                    <a:pt x="5964079" y="216694"/>
                  </a:cubicBezTo>
                  <a:cubicBezTo>
                    <a:pt x="5964079" y="218599"/>
                    <a:pt x="5963126" y="220504"/>
                    <a:pt x="5962174" y="222409"/>
                  </a:cubicBezTo>
                  <a:cubicBezTo>
                    <a:pt x="5961221" y="226219"/>
                    <a:pt x="5959317" y="230981"/>
                    <a:pt x="5958364" y="235744"/>
                  </a:cubicBezTo>
                  <a:cubicBezTo>
                    <a:pt x="5957412" y="234791"/>
                    <a:pt x="5957412" y="233839"/>
                    <a:pt x="5956459" y="232886"/>
                  </a:cubicBezTo>
                  <a:cubicBezTo>
                    <a:pt x="5956459" y="231934"/>
                    <a:pt x="5956459" y="231934"/>
                    <a:pt x="5956459" y="231934"/>
                  </a:cubicBezTo>
                  <a:cubicBezTo>
                    <a:pt x="5956459" y="231934"/>
                    <a:pt x="5956459" y="231934"/>
                    <a:pt x="5956459" y="232886"/>
                  </a:cubicBezTo>
                  <a:cubicBezTo>
                    <a:pt x="5948839" y="219551"/>
                    <a:pt x="5943124" y="208121"/>
                    <a:pt x="5938362" y="199549"/>
                  </a:cubicBezTo>
                  <a:cubicBezTo>
                    <a:pt x="5931694" y="187166"/>
                    <a:pt x="5927884" y="180499"/>
                    <a:pt x="5927884" y="180499"/>
                  </a:cubicBezTo>
                  <a:cubicBezTo>
                    <a:pt x="5927884" y="180499"/>
                    <a:pt x="5937409" y="209074"/>
                    <a:pt x="5953601" y="250984"/>
                  </a:cubicBezTo>
                  <a:cubicBezTo>
                    <a:pt x="5953601" y="252889"/>
                    <a:pt x="5952649" y="253841"/>
                    <a:pt x="5952649" y="255746"/>
                  </a:cubicBezTo>
                  <a:cubicBezTo>
                    <a:pt x="5949792" y="264319"/>
                    <a:pt x="5947887" y="272891"/>
                    <a:pt x="5945029" y="282416"/>
                  </a:cubicBezTo>
                  <a:cubicBezTo>
                    <a:pt x="5945029" y="283369"/>
                    <a:pt x="5944076" y="284321"/>
                    <a:pt x="5944076" y="285274"/>
                  </a:cubicBezTo>
                  <a:cubicBezTo>
                    <a:pt x="5943124" y="280511"/>
                    <a:pt x="5941219" y="275749"/>
                    <a:pt x="5940267" y="271939"/>
                  </a:cubicBezTo>
                  <a:cubicBezTo>
                    <a:pt x="5936456" y="259556"/>
                    <a:pt x="5932646" y="247174"/>
                    <a:pt x="5928837" y="237649"/>
                  </a:cubicBezTo>
                  <a:cubicBezTo>
                    <a:pt x="5925979" y="230981"/>
                    <a:pt x="5924074" y="225266"/>
                    <a:pt x="5922169" y="220504"/>
                  </a:cubicBezTo>
                  <a:cubicBezTo>
                    <a:pt x="5923121" y="217646"/>
                    <a:pt x="5923121" y="216694"/>
                    <a:pt x="5923121" y="216694"/>
                  </a:cubicBezTo>
                  <a:cubicBezTo>
                    <a:pt x="5923121" y="216694"/>
                    <a:pt x="5922169" y="217646"/>
                    <a:pt x="5921217" y="219551"/>
                  </a:cubicBezTo>
                  <a:cubicBezTo>
                    <a:pt x="5920264" y="216694"/>
                    <a:pt x="5919312" y="213836"/>
                    <a:pt x="5917406" y="211931"/>
                  </a:cubicBezTo>
                  <a:cubicBezTo>
                    <a:pt x="5913596" y="204311"/>
                    <a:pt x="5910739" y="198596"/>
                    <a:pt x="5908834" y="194786"/>
                  </a:cubicBezTo>
                  <a:cubicBezTo>
                    <a:pt x="5908834" y="190976"/>
                    <a:pt x="5907881" y="187166"/>
                    <a:pt x="5907881" y="183356"/>
                  </a:cubicBezTo>
                  <a:cubicBezTo>
                    <a:pt x="5905976" y="168116"/>
                    <a:pt x="5905024" y="159544"/>
                    <a:pt x="5905024" y="159544"/>
                  </a:cubicBezTo>
                  <a:cubicBezTo>
                    <a:pt x="5905024" y="159544"/>
                    <a:pt x="5904071" y="168116"/>
                    <a:pt x="5904071" y="184309"/>
                  </a:cubicBezTo>
                  <a:cubicBezTo>
                    <a:pt x="5904071" y="191929"/>
                    <a:pt x="5903119" y="201454"/>
                    <a:pt x="5903119" y="211931"/>
                  </a:cubicBezTo>
                  <a:cubicBezTo>
                    <a:pt x="5903119" y="217646"/>
                    <a:pt x="5903119" y="223361"/>
                    <a:pt x="5902167" y="229076"/>
                  </a:cubicBezTo>
                  <a:cubicBezTo>
                    <a:pt x="5902167" y="234791"/>
                    <a:pt x="5902167" y="241459"/>
                    <a:pt x="5902167" y="248126"/>
                  </a:cubicBezTo>
                  <a:cubicBezTo>
                    <a:pt x="5902167" y="254794"/>
                    <a:pt x="5902167" y="262414"/>
                    <a:pt x="5903119" y="270034"/>
                  </a:cubicBezTo>
                  <a:cubicBezTo>
                    <a:pt x="5902167" y="274796"/>
                    <a:pt x="5901214" y="279559"/>
                    <a:pt x="5900262" y="285274"/>
                  </a:cubicBezTo>
                  <a:cubicBezTo>
                    <a:pt x="5900262" y="284321"/>
                    <a:pt x="5900262" y="283369"/>
                    <a:pt x="5899309" y="282416"/>
                  </a:cubicBezTo>
                  <a:cubicBezTo>
                    <a:pt x="5897404" y="274796"/>
                    <a:pt x="5896451" y="268129"/>
                    <a:pt x="5895499" y="263366"/>
                  </a:cubicBezTo>
                  <a:cubicBezTo>
                    <a:pt x="5893594" y="255746"/>
                    <a:pt x="5892642" y="250031"/>
                    <a:pt x="5891689" y="248126"/>
                  </a:cubicBezTo>
                  <a:cubicBezTo>
                    <a:pt x="5891689" y="246221"/>
                    <a:pt x="5891689" y="245269"/>
                    <a:pt x="5891689" y="245269"/>
                  </a:cubicBezTo>
                  <a:cubicBezTo>
                    <a:pt x="5891689" y="245269"/>
                    <a:pt x="5891689" y="246221"/>
                    <a:pt x="5890737" y="247174"/>
                  </a:cubicBezTo>
                  <a:cubicBezTo>
                    <a:pt x="5890737" y="247174"/>
                    <a:pt x="5890737" y="247174"/>
                    <a:pt x="5890737" y="247174"/>
                  </a:cubicBezTo>
                  <a:cubicBezTo>
                    <a:pt x="5890737" y="247174"/>
                    <a:pt x="5890737" y="247174"/>
                    <a:pt x="5890737" y="248126"/>
                  </a:cubicBezTo>
                  <a:cubicBezTo>
                    <a:pt x="5889784" y="251936"/>
                    <a:pt x="5885974" y="261461"/>
                    <a:pt x="5881212" y="275749"/>
                  </a:cubicBezTo>
                  <a:cubicBezTo>
                    <a:pt x="5880259" y="270986"/>
                    <a:pt x="5879306" y="266224"/>
                    <a:pt x="5878354" y="262414"/>
                  </a:cubicBezTo>
                  <a:cubicBezTo>
                    <a:pt x="5875496" y="248126"/>
                    <a:pt x="5874544" y="240506"/>
                    <a:pt x="5874544" y="240506"/>
                  </a:cubicBezTo>
                  <a:cubicBezTo>
                    <a:pt x="5874544" y="240506"/>
                    <a:pt x="5874544" y="248126"/>
                    <a:pt x="5874544" y="262414"/>
                  </a:cubicBezTo>
                  <a:cubicBezTo>
                    <a:pt x="5874544" y="270034"/>
                    <a:pt x="5875496" y="279559"/>
                    <a:pt x="5875496" y="290989"/>
                  </a:cubicBezTo>
                  <a:cubicBezTo>
                    <a:pt x="5874544" y="293846"/>
                    <a:pt x="5873592" y="295751"/>
                    <a:pt x="5873592" y="298609"/>
                  </a:cubicBezTo>
                  <a:cubicBezTo>
                    <a:pt x="5872639" y="290036"/>
                    <a:pt x="5872639" y="280511"/>
                    <a:pt x="5870734" y="271939"/>
                  </a:cubicBezTo>
                  <a:cubicBezTo>
                    <a:pt x="5869781" y="278606"/>
                    <a:pt x="5868829" y="286226"/>
                    <a:pt x="5867876" y="292894"/>
                  </a:cubicBezTo>
                  <a:cubicBezTo>
                    <a:pt x="5867876" y="285274"/>
                    <a:pt x="5867876" y="276701"/>
                    <a:pt x="5866924" y="269081"/>
                  </a:cubicBezTo>
                  <a:cubicBezTo>
                    <a:pt x="5866924" y="260509"/>
                    <a:pt x="5865971" y="251936"/>
                    <a:pt x="5865971" y="243364"/>
                  </a:cubicBezTo>
                  <a:cubicBezTo>
                    <a:pt x="5870734" y="231934"/>
                    <a:pt x="5873592" y="225266"/>
                    <a:pt x="5873592" y="225266"/>
                  </a:cubicBezTo>
                  <a:cubicBezTo>
                    <a:pt x="5873592" y="225266"/>
                    <a:pt x="5870734" y="230029"/>
                    <a:pt x="5865971" y="237649"/>
                  </a:cubicBezTo>
                  <a:cubicBezTo>
                    <a:pt x="5865971" y="234791"/>
                    <a:pt x="5865971" y="232886"/>
                    <a:pt x="5865971" y="230029"/>
                  </a:cubicBezTo>
                  <a:cubicBezTo>
                    <a:pt x="5865971" y="217646"/>
                    <a:pt x="5865019" y="205264"/>
                    <a:pt x="5865019" y="194786"/>
                  </a:cubicBezTo>
                  <a:cubicBezTo>
                    <a:pt x="5864067" y="172879"/>
                    <a:pt x="5863114" y="154781"/>
                    <a:pt x="5863114" y="141446"/>
                  </a:cubicBezTo>
                  <a:cubicBezTo>
                    <a:pt x="5862162" y="128111"/>
                    <a:pt x="5862162" y="121444"/>
                    <a:pt x="5862162" y="121444"/>
                  </a:cubicBezTo>
                  <a:cubicBezTo>
                    <a:pt x="5862162" y="121444"/>
                    <a:pt x="5861209" y="129064"/>
                    <a:pt x="5859304" y="141446"/>
                  </a:cubicBezTo>
                  <a:cubicBezTo>
                    <a:pt x="5858351" y="147161"/>
                    <a:pt x="5857399" y="153829"/>
                    <a:pt x="5856446" y="161449"/>
                  </a:cubicBezTo>
                  <a:cubicBezTo>
                    <a:pt x="5855494" y="145256"/>
                    <a:pt x="5854542" y="130969"/>
                    <a:pt x="5853589" y="120491"/>
                  </a:cubicBezTo>
                  <a:cubicBezTo>
                    <a:pt x="5852637" y="106204"/>
                    <a:pt x="5851684" y="98584"/>
                    <a:pt x="5851684" y="98584"/>
                  </a:cubicBezTo>
                  <a:cubicBezTo>
                    <a:pt x="5851684" y="98584"/>
                    <a:pt x="5850731" y="106204"/>
                    <a:pt x="5849779" y="120491"/>
                  </a:cubicBezTo>
                  <a:cubicBezTo>
                    <a:pt x="5848826" y="127159"/>
                    <a:pt x="5848826" y="135731"/>
                    <a:pt x="5847874" y="146209"/>
                  </a:cubicBezTo>
                  <a:cubicBezTo>
                    <a:pt x="5846921" y="155734"/>
                    <a:pt x="5846921" y="167164"/>
                    <a:pt x="5846921" y="179546"/>
                  </a:cubicBezTo>
                  <a:cubicBezTo>
                    <a:pt x="5845969" y="203359"/>
                    <a:pt x="5845969" y="231934"/>
                    <a:pt x="5846921" y="262414"/>
                  </a:cubicBezTo>
                  <a:cubicBezTo>
                    <a:pt x="5846921" y="264319"/>
                    <a:pt x="5846921" y="267176"/>
                    <a:pt x="5846921" y="269081"/>
                  </a:cubicBezTo>
                  <a:cubicBezTo>
                    <a:pt x="5845969" y="270986"/>
                    <a:pt x="5844064" y="272891"/>
                    <a:pt x="5843112" y="274796"/>
                  </a:cubicBezTo>
                  <a:cubicBezTo>
                    <a:pt x="5842159" y="270034"/>
                    <a:pt x="5841206" y="265271"/>
                    <a:pt x="5840254" y="261461"/>
                  </a:cubicBezTo>
                  <a:cubicBezTo>
                    <a:pt x="5840254" y="254794"/>
                    <a:pt x="5840254" y="248126"/>
                    <a:pt x="5841206" y="242411"/>
                  </a:cubicBezTo>
                  <a:cubicBezTo>
                    <a:pt x="5841206" y="230029"/>
                    <a:pt x="5841206" y="223361"/>
                    <a:pt x="5841206" y="223361"/>
                  </a:cubicBezTo>
                  <a:cubicBezTo>
                    <a:pt x="5841206" y="223361"/>
                    <a:pt x="5839301" y="230029"/>
                    <a:pt x="5837396" y="242411"/>
                  </a:cubicBezTo>
                  <a:cubicBezTo>
                    <a:pt x="5837396" y="243364"/>
                    <a:pt x="5837396" y="244316"/>
                    <a:pt x="5836444" y="245269"/>
                  </a:cubicBezTo>
                  <a:cubicBezTo>
                    <a:pt x="5833587" y="233839"/>
                    <a:pt x="5831681" y="224314"/>
                    <a:pt x="5829776" y="215741"/>
                  </a:cubicBezTo>
                  <a:cubicBezTo>
                    <a:pt x="5825967" y="198596"/>
                    <a:pt x="5824062" y="189071"/>
                    <a:pt x="5824062" y="189071"/>
                  </a:cubicBezTo>
                  <a:cubicBezTo>
                    <a:pt x="5824062" y="189071"/>
                    <a:pt x="5825014" y="198596"/>
                    <a:pt x="5825967" y="215741"/>
                  </a:cubicBezTo>
                  <a:cubicBezTo>
                    <a:pt x="5826919" y="224314"/>
                    <a:pt x="5827871" y="234791"/>
                    <a:pt x="5828824" y="246221"/>
                  </a:cubicBezTo>
                  <a:cubicBezTo>
                    <a:pt x="5829776" y="252889"/>
                    <a:pt x="5830729" y="260509"/>
                    <a:pt x="5831681" y="268129"/>
                  </a:cubicBezTo>
                  <a:cubicBezTo>
                    <a:pt x="5830729" y="270034"/>
                    <a:pt x="5828824" y="272891"/>
                    <a:pt x="5826919" y="276701"/>
                  </a:cubicBezTo>
                  <a:cubicBezTo>
                    <a:pt x="5826919" y="274796"/>
                    <a:pt x="5825967" y="272891"/>
                    <a:pt x="5825967" y="270986"/>
                  </a:cubicBezTo>
                  <a:cubicBezTo>
                    <a:pt x="5825014" y="263366"/>
                    <a:pt x="5823109" y="255746"/>
                    <a:pt x="5822156" y="250031"/>
                  </a:cubicBezTo>
                  <a:cubicBezTo>
                    <a:pt x="5820251" y="238601"/>
                    <a:pt x="5818346" y="231934"/>
                    <a:pt x="5818346" y="231934"/>
                  </a:cubicBezTo>
                  <a:cubicBezTo>
                    <a:pt x="5818346" y="231934"/>
                    <a:pt x="5818346" y="238601"/>
                    <a:pt x="5818346" y="250031"/>
                  </a:cubicBezTo>
                  <a:cubicBezTo>
                    <a:pt x="5818346" y="255746"/>
                    <a:pt x="5818346" y="262414"/>
                    <a:pt x="5818346" y="270986"/>
                  </a:cubicBezTo>
                  <a:cubicBezTo>
                    <a:pt x="5816442" y="267176"/>
                    <a:pt x="5814537" y="264319"/>
                    <a:pt x="5812631" y="262414"/>
                  </a:cubicBezTo>
                  <a:lnTo>
                    <a:pt x="5812631" y="246221"/>
                  </a:lnTo>
                  <a:lnTo>
                    <a:pt x="5814537" y="220504"/>
                  </a:lnTo>
                  <a:cubicBezTo>
                    <a:pt x="5815489" y="220504"/>
                    <a:pt x="5815489" y="220504"/>
                    <a:pt x="5816442" y="221456"/>
                  </a:cubicBezTo>
                  <a:cubicBezTo>
                    <a:pt x="5817394" y="222409"/>
                    <a:pt x="5818346" y="222409"/>
                    <a:pt x="5819299" y="224314"/>
                  </a:cubicBezTo>
                  <a:cubicBezTo>
                    <a:pt x="5821204" y="226219"/>
                    <a:pt x="5821204" y="229076"/>
                    <a:pt x="5822156" y="231934"/>
                  </a:cubicBezTo>
                  <a:cubicBezTo>
                    <a:pt x="5822156" y="229076"/>
                    <a:pt x="5822156" y="226219"/>
                    <a:pt x="5821204" y="223361"/>
                  </a:cubicBezTo>
                  <a:cubicBezTo>
                    <a:pt x="5820251" y="222409"/>
                    <a:pt x="5819299" y="220504"/>
                    <a:pt x="5818346" y="219551"/>
                  </a:cubicBezTo>
                  <a:cubicBezTo>
                    <a:pt x="5817394" y="218599"/>
                    <a:pt x="5815489" y="217646"/>
                    <a:pt x="5813584" y="217646"/>
                  </a:cubicBezTo>
                  <a:lnTo>
                    <a:pt x="5811679" y="217646"/>
                  </a:lnTo>
                  <a:lnTo>
                    <a:pt x="5811679" y="219551"/>
                  </a:lnTo>
                  <a:cubicBezTo>
                    <a:pt x="5809774" y="228124"/>
                    <a:pt x="5806917" y="237649"/>
                    <a:pt x="5805012" y="246221"/>
                  </a:cubicBezTo>
                  <a:cubicBezTo>
                    <a:pt x="5804059" y="250031"/>
                    <a:pt x="5804059" y="252889"/>
                    <a:pt x="5803106" y="256699"/>
                  </a:cubicBezTo>
                  <a:cubicBezTo>
                    <a:pt x="5801201" y="258604"/>
                    <a:pt x="5799296" y="261461"/>
                    <a:pt x="5796439" y="264319"/>
                  </a:cubicBezTo>
                  <a:cubicBezTo>
                    <a:pt x="5796439" y="259556"/>
                    <a:pt x="5795487" y="256699"/>
                    <a:pt x="5795487" y="253841"/>
                  </a:cubicBezTo>
                  <a:cubicBezTo>
                    <a:pt x="5794534" y="250031"/>
                    <a:pt x="5794534" y="248126"/>
                    <a:pt x="5794534" y="248126"/>
                  </a:cubicBezTo>
                  <a:cubicBezTo>
                    <a:pt x="5794534" y="248126"/>
                    <a:pt x="5794534" y="250031"/>
                    <a:pt x="5794534" y="253841"/>
                  </a:cubicBezTo>
                  <a:cubicBezTo>
                    <a:pt x="5794534" y="257651"/>
                    <a:pt x="5794534" y="262414"/>
                    <a:pt x="5793581" y="268129"/>
                  </a:cubicBezTo>
                  <a:cubicBezTo>
                    <a:pt x="5792629" y="269081"/>
                    <a:pt x="5792629" y="269081"/>
                    <a:pt x="5791676" y="270034"/>
                  </a:cubicBezTo>
                  <a:cubicBezTo>
                    <a:pt x="5791676" y="270034"/>
                    <a:pt x="5791676" y="270034"/>
                    <a:pt x="5791676" y="270034"/>
                  </a:cubicBezTo>
                  <a:lnTo>
                    <a:pt x="5787867" y="239554"/>
                  </a:lnTo>
                  <a:cubicBezTo>
                    <a:pt x="5791676" y="229076"/>
                    <a:pt x="5793581" y="224314"/>
                    <a:pt x="5793581" y="224314"/>
                  </a:cubicBezTo>
                  <a:cubicBezTo>
                    <a:pt x="5793581" y="224314"/>
                    <a:pt x="5791676" y="228124"/>
                    <a:pt x="5786914" y="234791"/>
                  </a:cubicBezTo>
                  <a:lnTo>
                    <a:pt x="5785009" y="205264"/>
                  </a:lnTo>
                  <a:cubicBezTo>
                    <a:pt x="5788819" y="197644"/>
                    <a:pt x="5791676" y="190024"/>
                    <a:pt x="5795487" y="183356"/>
                  </a:cubicBezTo>
                  <a:cubicBezTo>
                    <a:pt x="5795487" y="183356"/>
                    <a:pt x="5795487" y="184309"/>
                    <a:pt x="5795487" y="184309"/>
                  </a:cubicBezTo>
                  <a:cubicBezTo>
                    <a:pt x="5795487" y="184309"/>
                    <a:pt x="5795487" y="183356"/>
                    <a:pt x="5795487" y="183356"/>
                  </a:cubicBezTo>
                  <a:cubicBezTo>
                    <a:pt x="5796439" y="181451"/>
                    <a:pt x="5797392" y="179546"/>
                    <a:pt x="5797392" y="178594"/>
                  </a:cubicBezTo>
                  <a:cubicBezTo>
                    <a:pt x="5803106" y="165259"/>
                    <a:pt x="5808821" y="153829"/>
                    <a:pt x="5812631" y="145256"/>
                  </a:cubicBezTo>
                  <a:cubicBezTo>
                    <a:pt x="5821204" y="126206"/>
                    <a:pt x="5825967" y="115729"/>
                    <a:pt x="5825967" y="115729"/>
                  </a:cubicBezTo>
                  <a:cubicBezTo>
                    <a:pt x="5825967" y="115729"/>
                    <a:pt x="5820251" y="125254"/>
                    <a:pt x="5809774" y="143351"/>
                  </a:cubicBezTo>
                  <a:cubicBezTo>
                    <a:pt x="5805012" y="151924"/>
                    <a:pt x="5798344" y="162401"/>
                    <a:pt x="5791676" y="173831"/>
                  </a:cubicBezTo>
                  <a:cubicBezTo>
                    <a:pt x="5790724" y="172879"/>
                    <a:pt x="5789771" y="171926"/>
                    <a:pt x="5788819" y="170974"/>
                  </a:cubicBezTo>
                  <a:cubicBezTo>
                    <a:pt x="5786914" y="170021"/>
                    <a:pt x="5785009" y="169069"/>
                    <a:pt x="5783104" y="169069"/>
                  </a:cubicBezTo>
                  <a:lnTo>
                    <a:pt x="5781199" y="169069"/>
                  </a:lnTo>
                  <a:lnTo>
                    <a:pt x="5781199" y="170974"/>
                  </a:lnTo>
                  <a:lnTo>
                    <a:pt x="5777389" y="197644"/>
                  </a:lnTo>
                  <a:cubicBezTo>
                    <a:pt x="5774531" y="204311"/>
                    <a:pt x="5770721" y="210026"/>
                    <a:pt x="5766912" y="217646"/>
                  </a:cubicBezTo>
                  <a:cubicBezTo>
                    <a:pt x="5762149" y="226219"/>
                    <a:pt x="5757387" y="234791"/>
                    <a:pt x="5752624" y="244316"/>
                  </a:cubicBezTo>
                  <a:cubicBezTo>
                    <a:pt x="5752624" y="240506"/>
                    <a:pt x="5751671" y="236696"/>
                    <a:pt x="5751671" y="233839"/>
                  </a:cubicBezTo>
                  <a:cubicBezTo>
                    <a:pt x="5750719" y="228124"/>
                    <a:pt x="5749767" y="222409"/>
                    <a:pt x="5749767" y="216694"/>
                  </a:cubicBezTo>
                  <a:cubicBezTo>
                    <a:pt x="5754529" y="199549"/>
                    <a:pt x="5757387" y="190024"/>
                    <a:pt x="5757387" y="190024"/>
                  </a:cubicBezTo>
                  <a:cubicBezTo>
                    <a:pt x="5757387" y="190024"/>
                    <a:pt x="5754529" y="197644"/>
                    <a:pt x="5749767" y="210979"/>
                  </a:cubicBezTo>
                  <a:cubicBezTo>
                    <a:pt x="5749767" y="209074"/>
                    <a:pt x="5748814" y="206216"/>
                    <a:pt x="5748814" y="204311"/>
                  </a:cubicBezTo>
                  <a:cubicBezTo>
                    <a:pt x="5746909" y="188119"/>
                    <a:pt x="5745004" y="178594"/>
                    <a:pt x="5745004" y="178594"/>
                  </a:cubicBezTo>
                  <a:cubicBezTo>
                    <a:pt x="5745004" y="178594"/>
                    <a:pt x="5745004" y="188119"/>
                    <a:pt x="5745004" y="204311"/>
                  </a:cubicBezTo>
                  <a:cubicBezTo>
                    <a:pt x="5745004" y="210026"/>
                    <a:pt x="5745004" y="215741"/>
                    <a:pt x="5745004" y="222409"/>
                  </a:cubicBezTo>
                  <a:cubicBezTo>
                    <a:pt x="5745004" y="223361"/>
                    <a:pt x="5744051" y="224314"/>
                    <a:pt x="5744051" y="225266"/>
                  </a:cubicBezTo>
                  <a:cubicBezTo>
                    <a:pt x="5740242" y="234791"/>
                    <a:pt x="5736431" y="247174"/>
                    <a:pt x="5731669" y="259556"/>
                  </a:cubicBezTo>
                  <a:cubicBezTo>
                    <a:pt x="5731669" y="259556"/>
                    <a:pt x="5731669" y="258604"/>
                    <a:pt x="5731669" y="258604"/>
                  </a:cubicBezTo>
                  <a:cubicBezTo>
                    <a:pt x="5733574" y="245269"/>
                    <a:pt x="5734526" y="238601"/>
                    <a:pt x="5734526" y="238601"/>
                  </a:cubicBezTo>
                  <a:cubicBezTo>
                    <a:pt x="5734526" y="238601"/>
                    <a:pt x="5732621" y="246221"/>
                    <a:pt x="5727859" y="258604"/>
                  </a:cubicBezTo>
                  <a:cubicBezTo>
                    <a:pt x="5726906" y="260509"/>
                    <a:pt x="5726906" y="262414"/>
                    <a:pt x="5725954" y="264319"/>
                  </a:cubicBezTo>
                  <a:cubicBezTo>
                    <a:pt x="5725954" y="264319"/>
                    <a:pt x="5725954" y="263366"/>
                    <a:pt x="5725954" y="263366"/>
                  </a:cubicBezTo>
                  <a:cubicBezTo>
                    <a:pt x="5725954" y="263366"/>
                    <a:pt x="5725954" y="262414"/>
                    <a:pt x="5725954" y="262414"/>
                  </a:cubicBezTo>
                  <a:cubicBezTo>
                    <a:pt x="5725954" y="260509"/>
                    <a:pt x="5726906" y="258604"/>
                    <a:pt x="5726906" y="256699"/>
                  </a:cubicBezTo>
                  <a:cubicBezTo>
                    <a:pt x="5727859" y="251936"/>
                    <a:pt x="5728812" y="247174"/>
                    <a:pt x="5729764" y="242411"/>
                  </a:cubicBezTo>
                  <a:cubicBezTo>
                    <a:pt x="5730717" y="237649"/>
                    <a:pt x="5731669" y="233839"/>
                    <a:pt x="5732621" y="230029"/>
                  </a:cubicBezTo>
                  <a:cubicBezTo>
                    <a:pt x="5734526" y="222409"/>
                    <a:pt x="5736431" y="215741"/>
                    <a:pt x="5737384" y="210026"/>
                  </a:cubicBezTo>
                  <a:cubicBezTo>
                    <a:pt x="5740242" y="198596"/>
                    <a:pt x="5741194" y="191929"/>
                    <a:pt x="5741194" y="191929"/>
                  </a:cubicBezTo>
                  <a:cubicBezTo>
                    <a:pt x="5741194" y="191929"/>
                    <a:pt x="5740242" y="193834"/>
                    <a:pt x="5739289" y="196691"/>
                  </a:cubicBezTo>
                  <a:cubicBezTo>
                    <a:pt x="5740242" y="192881"/>
                    <a:pt x="5740242" y="190024"/>
                    <a:pt x="5740242" y="190024"/>
                  </a:cubicBezTo>
                  <a:cubicBezTo>
                    <a:pt x="5740242" y="190024"/>
                    <a:pt x="5737384" y="197644"/>
                    <a:pt x="5731669" y="211931"/>
                  </a:cubicBezTo>
                  <a:cubicBezTo>
                    <a:pt x="5730717" y="215741"/>
                    <a:pt x="5728812" y="219551"/>
                    <a:pt x="5726906" y="224314"/>
                  </a:cubicBezTo>
                  <a:cubicBezTo>
                    <a:pt x="5725954" y="225266"/>
                    <a:pt x="5725954" y="227171"/>
                    <a:pt x="5725001" y="228124"/>
                  </a:cubicBezTo>
                  <a:cubicBezTo>
                    <a:pt x="5723096" y="231934"/>
                    <a:pt x="5722144" y="235744"/>
                    <a:pt x="5720239" y="240506"/>
                  </a:cubicBezTo>
                  <a:cubicBezTo>
                    <a:pt x="5719287" y="243364"/>
                    <a:pt x="5718334" y="246221"/>
                    <a:pt x="5717381" y="250031"/>
                  </a:cubicBezTo>
                  <a:cubicBezTo>
                    <a:pt x="5716429" y="251936"/>
                    <a:pt x="5716429" y="252889"/>
                    <a:pt x="5715476" y="254794"/>
                  </a:cubicBezTo>
                  <a:cubicBezTo>
                    <a:pt x="5713571" y="260509"/>
                    <a:pt x="5711667" y="266224"/>
                    <a:pt x="5709762" y="272891"/>
                  </a:cubicBezTo>
                  <a:cubicBezTo>
                    <a:pt x="5707856" y="278606"/>
                    <a:pt x="5705951" y="284321"/>
                    <a:pt x="5704046" y="290989"/>
                  </a:cubicBezTo>
                  <a:cubicBezTo>
                    <a:pt x="5701189" y="285274"/>
                    <a:pt x="5699284" y="280511"/>
                    <a:pt x="5696426" y="275749"/>
                  </a:cubicBezTo>
                  <a:cubicBezTo>
                    <a:pt x="5695474" y="271939"/>
                    <a:pt x="5695474" y="269081"/>
                    <a:pt x="5695474" y="269081"/>
                  </a:cubicBezTo>
                  <a:cubicBezTo>
                    <a:pt x="5695474" y="269081"/>
                    <a:pt x="5695474" y="270034"/>
                    <a:pt x="5695474" y="272891"/>
                  </a:cubicBezTo>
                  <a:cubicBezTo>
                    <a:pt x="5692617" y="268129"/>
                    <a:pt x="5690712" y="263366"/>
                    <a:pt x="5688806" y="259556"/>
                  </a:cubicBezTo>
                  <a:cubicBezTo>
                    <a:pt x="5683092" y="249079"/>
                    <a:pt x="5680234" y="243364"/>
                    <a:pt x="5680234" y="243364"/>
                  </a:cubicBezTo>
                  <a:cubicBezTo>
                    <a:pt x="5680234" y="243364"/>
                    <a:pt x="5682139" y="250031"/>
                    <a:pt x="5684996" y="260509"/>
                  </a:cubicBezTo>
                  <a:cubicBezTo>
                    <a:pt x="5687854" y="269081"/>
                    <a:pt x="5690712" y="279559"/>
                    <a:pt x="5694521" y="292894"/>
                  </a:cubicBezTo>
                  <a:cubicBezTo>
                    <a:pt x="5694521" y="297656"/>
                    <a:pt x="5694521" y="302419"/>
                    <a:pt x="5694521" y="309086"/>
                  </a:cubicBezTo>
                  <a:cubicBezTo>
                    <a:pt x="5694521" y="313849"/>
                    <a:pt x="5694521" y="318611"/>
                    <a:pt x="5694521" y="323374"/>
                  </a:cubicBezTo>
                  <a:cubicBezTo>
                    <a:pt x="5693569" y="326231"/>
                    <a:pt x="5692617" y="329089"/>
                    <a:pt x="5691664" y="331946"/>
                  </a:cubicBezTo>
                  <a:cubicBezTo>
                    <a:pt x="5690712" y="330994"/>
                    <a:pt x="5690712" y="330041"/>
                    <a:pt x="5689759" y="329089"/>
                  </a:cubicBezTo>
                  <a:lnTo>
                    <a:pt x="5689759" y="320516"/>
                  </a:lnTo>
                  <a:cubicBezTo>
                    <a:pt x="5688806" y="309086"/>
                    <a:pt x="5688806" y="297656"/>
                    <a:pt x="5687854" y="286226"/>
                  </a:cubicBezTo>
                  <a:cubicBezTo>
                    <a:pt x="5686901" y="297656"/>
                    <a:pt x="5685949" y="308134"/>
                    <a:pt x="5684996" y="319564"/>
                  </a:cubicBezTo>
                  <a:cubicBezTo>
                    <a:pt x="5684044" y="317659"/>
                    <a:pt x="5683092" y="315754"/>
                    <a:pt x="5681187" y="312896"/>
                  </a:cubicBezTo>
                  <a:cubicBezTo>
                    <a:pt x="5679281" y="299561"/>
                    <a:pt x="5677376" y="286226"/>
                    <a:pt x="5675471" y="273844"/>
                  </a:cubicBezTo>
                  <a:cubicBezTo>
                    <a:pt x="5674519" y="267176"/>
                    <a:pt x="5673567" y="260509"/>
                    <a:pt x="5672614" y="253841"/>
                  </a:cubicBezTo>
                  <a:cubicBezTo>
                    <a:pt x="5671662" y="247174"/>
                    <a:pt x="5671662" y="241459"/>
                    <a:pt x="5670709" y="235744"/>
                  </a:cubicBezTo>
                  <a:cubicBezTo>
                    <a:pt x="5669756" y="224314"/>
                    <a:pt x="5668804" y="214789"/>
                    <a:pt x="5667851" y="207169"/>
                  </a:cubicBezTo>
                  <a:cubicBezTo>
                    <a:pt x="5666899" y="198596"/>
                    <a:pt x="5665946" y="192881"/>
                    <a:pt x="5665946" y="188119"/>
                  </a:cubicBezTo>
                  <a:cubicBezTo>
                    <a:pt x="5666899" y="185261"/>
                    <a:pt x="5666899" y="183356"/>
                    <a:pt x="5666899" y="183356"/>
                  </a:cubicBezTo>
                  <a:cubicBezTo>
                    <a:pt x="5666899" y="183356"/>
                    <a:pt x="5665946" y="184309"/>
                    <a:pt x="5665946" y="186214"/>
                  </a:cubicBezTo>
                  <a:cubicBezTo>
                    <a:pt x="5665946" y="183356"/>
                    <a:pt x="5664994" y="181451"/>
                    <a:pt x="5664994" y="181451"/>
                  </a:cubicBezTo>
                  <a:cubicBezTo>
                    <a:pt x="5664994" y="181451"/>
                    <a:pt x="5664994" y="184309"/>
                    <a:pt x="5664994" y="188119"/>
                  </a:cubicBezTo>
                  <a:cubicBezTo>
                    <a:pt x="5663089" y="192881"/>
                    <a:pt x="5659279" y="201454"/>
                    <a:pt x="5654517" y="211931"/>
                  </a:cubicBezTo>
                  <a:cubicBezTo>
                    <a:pt x="5654517" y="210026"/>
                    <a:pt x="5654517" y="207169"/>
                    <a:pt x="5653564" y="205264"/>
                  </a:cubicBezTo>
                  <a:cubicBezTo>
                    <a:pt x="5652612" y="199549"/>
                    <a:pt x="5652612" y="193834"/>
                    <a:pt x="5652612" y="189071"/>
                  </a:cubicBezTo>
                  <a:cubicBezTo>
                    <a:pt x="5655469" y="183356"/>
                    <a:pt x="5657374" y="179546"/>
                    <a:pt x="5657374" y="179546"/>
                  </a:cubicBezTo>
                  <a:cubicBezTo>
                    <a:pt x="5657374" y="179546"/>
                    <a:pt x="5655469" y="182404"/>
                    <a:pt x="5652612" y="187166"/>
                  </a:cubicBezTo>
                  <a:cubicBezTo>
                    <a:pt x="5652612" y="186214"/>
                    <a:pt x="5652612" y="186214"/>
                    <a:pt x="5652612" y="185261"/>
                  </a:cubicBezTo>
                  <a:cubicBezTo>
                    <a:pt x="5651659" y="173831"/>
                    <a:pt x="5651659" y="167164"/>
                    <a:pt x="5651659" y="167164"/>
                  </a:cubicBezTo>
                  <a:cubicBezTo>
                    <a:pt x="5651659" y="167164"/>
                    <a:pt x="5650706" y="171926"/>
                    <a:pt x="5649754" y="179546"/>
                  </a:cubicBezTo>
                  <a:cubicBezTo>
                    <a:pt x="5649754" y="179546"/>
                    <a:pt x="5649754" y="178594"/>
                    <a:pt x="5649754" y="178594"/>
                  </a:cubicBezTo>
                  <a:cubicBezTo>
                    <a:pt x="5648801" y="171926"/>
                    <a:pt x="5648801" y="166211"/>
                    <a:pt x="5647849" y="159544"/>
                  </a:cubicBezTo>
                  <a:cubicBezTo>
                    <a:pt x="5647849" y="153829"/>
                    <a:pt x="5646896" y="148114"/>
                    <a:pt x="5646896" y="142399"/>
                  </a:cubicBezTo>
                  <a:cubicBezTo>
                    <a:pt x="5645944" y="131921"/>
                    <a:pt x="5644992" y="122396"/>
                    <a:pt x="5645944" y="114776"/>
                  </a:cubicBezTo>
                  <a:cubicBezTo>
                    <a:pt x="5645944" y="99536"/>
                    <a:pt x="5644992" y="90011"/>
                    <a:pt x="5644992" y="90011"/>
                  </a:cubicBezTo>
                  <a:cubicBezTo>
                    <a:pt x="5644992" y="90011"/>
                    <a:pt x="5644039" y="98584"/>
                    <a:pt x="5641181" y="113824"/>
                  </a:cubicBezTo>
                  <a:cubicBezTo>
                    <a:pt x="5640229" y="121444"/>
                    <a:pt x="5639276" y="130969"/>
                    <a:pt x="5639276" y="141446"/>
                  </a:cubicBezTo>
                  <a:cubicBezTo>
                    <a:pt x="5639276" y="147161"/>
                    <a:pt x="5638324" y="152876"/>
                    <a:pt x="5638324" y="158591"/>
                  </a:cubicBezTo>
                  <a:cubicBezTo>
                    <a:pt x="5638324" y="164306"/>
                    <a:pt x="5638324" y="170974"/>
                    <a:pt x="5638324" y="177641"/>
                  </a:cubicBezTo>
                  <a:cubicBezTo>
                    <a:pt x="5638324" y="186214"/>
                    <a:pt x="5638324" y="195739"/>
                    <a:pt x="5639276" y="205264"/>
                  </a:cubicBezTo>
                  <a:cubicBezTo>
                    <a:pt x="5638324" y="206216"/>
                    <a:pt x="5638324" y="207169"/>
                    <a:pt x="5637371" y="208121"/>
                  </a:cubicBezTo>
                  <a:cubicBezTo>
                    <a:pt x="5637371" y="208121"/>
                    <a:pt x="5636419" y="209074"/>
                    <a:pt x="5636419" y="209074"/>
                  </a:cubicBezTo>
                  <a:cubicBezTo>
                    <a:pt x="5636419" y="208121"/>
                    <a:pt x="5636419" y="208121"/>
                    <a:pt x="5636419" y="208121"/>
                  </a:cubicBezTo>
                  <a:cubicBezTo>
                    <a:pt x="5636419" y="208121"/>
                    <a:pt x="5636419" y="208121"/>
                    <a:pt x="5636419" y="209074"/>
                  </a:cubicBezTo>
                  <a:cubicBezTo>
                    <a:pt x="5635467" y="210979"/>
                    <a:pt x="5633562" y="212884"/>
                    <a:pt x="5631656" y="215741"/>
                  </a:cubicBezTo>
                  <a:cubicBezTo>
                    <a:pt x="5628799" y="201454"/>
                    <a:pt x="5626894" y="192881"/>
                    <a:pt x="5626894" y="192881"/>
                  </a:cubicBezTo>
                  <a:cubicBezTo>
                    <a:pt x="5626894" y="192881"/>
                    <a:pt x="5626894" y="204311"/>
                    <a:pt x="5626894" y="222409"/>
                  </a:cubicBezTo>
                  <a:cubicBezTo>
                    <a:pt x="5626894" y="222409"/>
                    <a:pt x="5626894" y="222409"/>
                    <a:pt x="5626894" y="223361"/>
                  </a:cubicBezTo>
                  <a:cubicBezTo>
                    <a:pt x="5624037" y="219551"/>
                    <a:pt x="5621179" y="215741"/>
                    <a:pt x="5618321" y="211931"/>
                  </a:cubicBezTo>
                  <a:cubicBezTo>
                    <a:pt x="5608796" y="199549"/>
                    <a:pt x="5601176" y="189071"/>
                    <a:pt x="5593556" y="181451"/>
                  </a:cubicBezTo>
                  <a:cubicBezTo>
                    <a:pt x="5579269" y="165259"/>
                    <a:pt x="5570696" y="155734"/>
                    <a:pt x="5570696" y="155734"/>
                  </a:cubicBezTo>
                  <a:cubicBezTo>
                    <a:pt x="5570696" y="155734"/>
                    <a:pt x="5577364" y="166211"/>
                    <a:pt x="5590699" y="184309"/>
                  </a:cubicBezTo>
                  <a:cubicBezTo>
                    <a:pt x="5597367" y="192881"/>
                    <a:pt x="5604034" y="204311"/>
                    <a:pt x="5612606" y="217646"/>
                  </a:cubicBezTo>
                  <a:cubicBezTo>
                    <a:pt x="5613559" y="219551"/>
                    <a:pt x="5614512" y="221456"/>
                    <a:pt x="5616417" y="223361"/>
                  </a:cubicBezTo>
                  <a:cubicBezTo>
                    <a:pt x="5617369" y="226219"/>
                    <a:pt x="5618321" y="230029"/>
                    <a:pt x="5620226" y="233839"/>
                  </a:cubicBezTo>
                  <a:cubicBezTo>
                    <a:pt x="5620226" y="233839"/>
                    <a:pt x="5620226" y="233839"/>
                    <a:pt x="5620226" y="234791"/>
                  </a:cubicBezTo>
                  <a:cubicBezTo>
                    <a:pt x="5619274" y="236696"/>
                    <a:pt x="5618321" y="238601"/>
                    <a:pt x="5616417" y="241459"/>
                  </a:cubicBezTo>
                  <a:cubicBezTo>
                    <a:pt x="5616417" y="241459"/>
                    <a:pt x="5616417" y="240506"/>
                    <a:pt x="5616417" y="240506"/>
                  </a:cubicBezTo>
                  <a:cubicBezTo>
                    <a:pt x="5616417" y="240506"/>
                    <a:pt x="5616417" y="240506"/>
                    <a:pt x="5616417" y="241459"/>
                  </a:cubicBezTo>
                  <a:cubicBezTo>
                    <a:pt x="5615464" y="242411"/>
                    <a:pt x="5614512" y="244316"/>
                    <a:pt x="5614512" y="245269"/>
                  </a:cubicBezTo>
                  <a:cubicBezTo>
                    <a:pt x="5608796" y="255746"/>
                    <a:pt x="5602129" y="267176"/>
                    <a:pt x="5594509" y="280511"/>
                  </a:cubicBezTo>
                  <a:cubicBezTo>
                    <a:pt x="5594509" y="278606"/>
                    <a:pt x="5594509" y="277654"/>
                    <a:pt x="5594509" y="275749"/>
                  </a:cubicBezTo>
                  <a:cubicBezTo>
                    <a:pt x="5594509" y="272891"/>
                    <a:pt x="5594509" y="270986"/>
                    <a:pt x="5594509" y="268129"/>
                  </a:cubicBezTo>
                  <a:cubicBezTo>
                    <a:pt x="5595462" y="260509"/>
                    <a:pt x="5596414" y="256699"/>
                    <a:pt x="5596414" y="256699"/>
                  </a:cubicBezTo>
                  <a:cubicBezTo>
                    <a:pt x="5596414" y="256699"/>
                    <a:pt x="5595462" y="258604"/>
                    <a:pt x="5594509" y="263366"/>
                  </a:cubicBezTo>
                  <a:cubicBezTo>
                    <a:pt x="5594509" y="263366"/>
                    <a:pt x="5594509" y="262414"/>
                    <a:pt x="5594509" y="262414"/>
                  </a:cubicBezTo>
                  <a:cubicBezTo>
                    <a:pt x="5593556" y="257651"/>
                    <a:pt x="5593556" y="253841"/>
                    <a:pt x="5592604" y="250031"/>
                  </a:cubicBezTo>
                  <a:cubicBezTo>
                    <a:pt x="5591651" y="243364"/>
                    <a:pt x="5590699" y="238601"/>
                    <a:pt x="5590699" y="232886"/>
                  </a:cubicBezTo>
                  <a:cubicBezTo>
                    <a:pt x="5594509" y="223361"/>
                    <a:pt x="5596414" y="217646"/>
                    <a:pt x="5596414" y="217646"/>
                  </a:cubicBezTo>
                  <a:cubicBezTo>
                    <a:pt x="5596414" y="217646"/>
                    <a:pt x="5593556" y="221456"/>
                    <a:pt x="5589746" y="230029"/>
                  </a:cubicBezTo>
                  <a:cubicBezTo>
                    <a:pt x="5589746" y="230029"/>
                    <a:pt x="5589746" y="230029"/>
                    <a:pt x="5589746" y="230029"/>
                  </a:cubicBezTo>
                  <a:cubicBezTo>
                    <a:pt x="5587842" y="218599"/>
                    <a:pt x="5586889" y="211931"/>
                    <a:pt x="5586889" y="211931"/>
                  </a:cubicBezTo>
                  <a:cubicBezTo>
                    <a:pt x="5586889" y="211931"/>
                    <a:pt x="5585937" y="218599"/>
                    <a:pt x="5585937" y="230029"/>
                  </a:cubicBezTo>
                  <a:cubicBezTo>
                    <a:pt x="5585937" y="230029"/>
                    <a:pt x="5585937" y="230981"/>
                    <a:pt x="5585937" y="230981"/>
                  </a:cubicBezTo>
                  <a:cubicBezTo>
                    <a:pt x="5584984" y="225266"/>
                    <a:pt x="5584031" y="219551"/>
                    <a:pt x="5583079" y="213836"/>
                  </a:cubicBezTo>
                  <a:cubicBezTo>
                    <a:pt x="5583079" y="223361"/>
                    <a:pt x="5583079" y="232886"/>
                    <a:pt x="5583079" y="242411"/>
                  </a:cubicBezTo>
                  <a:cubicBezTo>
                    <a:pt x="5582126" y="243364"/>
                    <a:pt x="5582126" y="245269"/>
                    <a:pt x="5581174" y="246221"/>
                  </a:cubicBezTo>
                  <a:cubicBezTo>
                    <a:pt x="5580221" y="247174"/>
                    <a:pt x="5579269" y="249079"/>
                    <a:pt x="5579269" y="250031"/>
                  </a:cubicBezTo>
                  <a:cubicBezTo>
                    <a:pt x="5576412" y="235744"/>
                    <a:pt x="5574506" y="221456"/>
                    <a:pt x="5571649" y="209074"/>
                  </a:cubicBezTo>
                  <a:cubicBezTo>
                    <a:pt x="5570696" y="202406"/>
                    <a:pt x="5568792" y="194786"/>
                    <a:pt x="5567839" y="189071"/>
                  </a:cubicBezTo>
                  <a:cubicBezTo>
                    <a:pt x="5565934" y="182404"/>
                    <a:pt x="5564981" y="176689"/>
                    <a:pt x="5563076" y="170974"/>
                  </a:cubicBezTo>
                  <a:cubicBezTo>
                    <a:pt x="5560219" y="159544"/>
                    <a:pt x="5557362" y="150019"/>
                    <a:pt x="5555456" y="141446"/>
                  </a:cubicBezTo>
                  <a:cubicBezTo>
                    <a:pt x="5550694" y="125254"/>
                    <a:pt x="5548789" y="115729"/>
                    <a:pt x="5548789" y="115729"/>
                  </a:cubicBezTo>
                  <a:cubicBezTo>
                    <a:pt x="5548789" y="115729"/>
                    <a:pt x="5549742" y="125254"/>
                    <a:pt x="5551646" y="142399"/>
                  </a:cubicBezTo>
                  <a:cubicBezTo>
                    <a:pt x="5552599" y="150971"/>
                    <a:pt x="5554504" y="160496"/>
                    <a:pt x="5555456" y="172879"/>
                  </a:cubicBezTo>
                  <a:cubicBezTo>
                    <a:pt x="5556409" y="178594"/>
                    <a:pt x="5557362" y="185261"/>
                    <a:pt x="5558314" y="190976"/>
                  </a:cubicBezTo>
                  <a:cubicBezTo>
                    <a:pt x="5559267" y="197644"/>
                    <a:pt x="5559267" y="204311"/>
                    <a:pt x="5560219" y="211931"/>
                  </a:cubicBezTo>
                  <a:cubicBezTo>
                    <a:pt x="5561171" y="226219"/>
                    <a:pt x="5563076" y="241459"/>
                    <a:pt x="5564981" y="257651"/>
                  </a:cubicBezTo>
                  <a:cubicBezTo>
                    <a:pt x="5565934" y="263366"/>
                    <a:pt x="5565934" y="269081"/>
                    <a:pt x="5565934" y="274796"/>
                  </a:cubicBezTo>
                  <a:cubicBezTo>
                    <a:pt x="5564981" y="275749"/>
                    <a:pt x="5564981" y="277654"/>
                    <a:pt x="5564029" y="278606"/>
                  </a:cubicBezTo>
                  <a:cubicBezTo>
                    <a:pt x="5563076" y="280511"/>
                    <a:pt x="5562124" y="282416"/>
                    <a:pt x="5561171" y="284321"/>
                  </a:cubicBezTo>
                  <a:cubicBezTo>
                    <a:pt x="5557362" y="277654"/>
                    <a:pt x="5553551" y="270034"/>
                    <a:pt x="5549742" y="264319"/>
                  </a:cubicBezTo>
                  <a:cubicBezTo>
                    <a:pt x="5549742" y="263366"/>
                    <a:pt x="5548789" y="262414"/>
                    <a:pt x="5548789" y="261461"/>
                  </a:cubicBezTo>
                  <a:cubicBezTo>
                    <a:pt x="5546884" y="255746"/>
                    <a:pt x="5545931" y="250984"/>
                    <a:pt x="5544026" y="247174"/>
                  </a:cubicBezTo>
                  <a:cubicBezTo>
                    <a:pt x="5545931" y="234791"/>
                    <a:pt x="5547837" y="228124"/>
                    <a:pt x="5547837" y="228124"/>
                  </a:cubicBezTo>
                  <a:cubicBezTo>
                    <a:pt x="5547837" y="228124"/>
                    <a:pt x="5545931" y="232886"/>
                    <a:pt x="5542121" y="241459"/>
                  </a:cubicBezTo>
                  <a:cubicBezTo>
                    <a:pt x="5542121" y="240506"/>
                    <a:pt x="5541169" y="239554"/>
                    <a:pt x="5541169" y="238601"/>
                  </a:cubicBezTo>
                  <a:cubicBezTo>
                    <a:pt x="5540217" y="235744"/>
                    <a:pt x="5539264" y="232886"/>
                    <a:pt x="5538312" y="230029"/>
                  </a:cubicBezTo>
                  <a:cubicBezTo>
                    <a:pt x="5546884" y="192881"/>
                    <a:pt x="5551646" y="167164"/>
                    <a:pt x="5551646" y="167164"/>
                  </a:cubicBezTo>
                  <a:cubicBezTo>
                    <a:pt x="5551646" y="167164"/>
                    <a:pt x="5542121" y="190024"/>
                    <a:pt x="5528787" y="225266"/>
                  </a:cubicBezTo>
                  <a:cubicBezTo>
                    <a:pt x="5526881" y="221456"/>
                    <a:pt x="5524976" y="219551"/>
                    <a:pt x="5524976" y="217646"/>
                  </a:cubicBezTo>
                  <a:cubicBezTo>
                    <a:pt x="5524024" y="213836"/>
                    <a:pt x="5524024" y="210026"/>
                    <a:pt x="5524024" y="207169"/>
                  </a:cubicBezTo>
                  <a:cubicBezTo>
                    <a:pt x="5522119" y="192881"/>
                    <a:pt x="5521167" y="185261"/>
                    <a:pt x="5521167" y="185261"/>
                  </a:cubicBezTo>
                  <a:cubicBezTo>
                    <a:pt x="5521167" y="185261"/>
                    <a:pt x="5521167" y="192881"/>
                    <a:pt x="5520214" y="207169"/>
                  </a:cubicBezTo>
                  <a:cubicBezTo>
                    <a:pt x="5520214" y="213836"/>
                    <a:pt x="5520214" y="222409"/>
                    <a:pt x="5520214" y="232886"/>
                  </a:cubicBezTo>
                  <a:cubicBezTo>
                    <a:pt x="5520214" y="237649"/>
                    <a:pt x="5520214" y="243364"/>
                    <a:pt x="5520214" y="248126"/>
                  </a:cubicBezTo>
                  <a:cubicBezTo>
                    <a:pt x="5520214" y="249079"/>
                    <a:pt x="5520214" y="250031"/>
                    <a:pt x="5520214" y="250984"/>
                  </a:cubicBezTo>
                  <a:cubicBezTo>
                    <a:pt x="5515451" y="264319"/>
                    <a:pt x="5510689" y="277654"/>
                    <a:pt x="5505926" y="291941"/>
                  </a:cubicBezTo>
                  <a:cubicBezTo>
                    <a:pt x="5504974" y="294799"/>
                    <a:pt x="5504021" y="297656"/>
                    <a:pt x="5503069" y="300514"/>
                  </a:cubicBezTo>
                  <a:cubicBezTo>
                    <a:pt x="5501164" y="297656"/>
                    <a:pt x="5500212" y="293846"/>
                    <a:pt x="5498306" y="290989"/>
                  </a:cubicBezTo>
                  <a:cubicBezTo>
                    <a:pt x="5498306" y="289084"/>
                    <a:pt x="5498306" y="287179"/>
                    <a:pt x="5498306" y="285274"/>
                  </a:cubicBezTo>
                  <a:cubicBezTo>
                    <a:pt x="5499259" y="274796"/>
                    <a:pt x="5499259" y="269081"/>
                    <a:pt x="5499259" y="269081"/>
                  </a:cubicBezTo>
                  <a:cubicBezTo>
                    <a:pt x="5499259" y="269081"/>
                    <a:pt x="5497354" y="274796"/>
                    <a:pt x="5494496" y="284321"/>
                  </a:cubicBezTo>
                  <a:cubicBezTo>
                    <a:pt x="5489734" y="273844"/>
                    <a:pt x="5484971" y="265271"/>
                    <a:pt x="5481162" y="257651"/>
                  </a:cubicBezTo>
                  <a:cubicBezTo>
                    <a:pt x="5482114" y="255746"/>
                    <a:pt x="5482114" y="253841"/>
                    <a:pt x="5483067" y="251936"/>
                  </a:cubicBezTo>
                  <a:cubicBezTo>
                    <a:pt x="5486876" y="241459"/>
                    <a:pt x="5489734" y="231934"/>
                    <a:pt x="5492592" y="224314"/>
                  </a:cubicBezTo>
                  <a:cubicBezTo>
                    <a:pt x="5497354" y="209074"/>
                    <a:pt x="5500212" y="200501"/>
                    <a:pt x="5500212" y="200501"/>
                  </a:cubicBezTo>
                  <a:cubicBezTo>
                    <a:pt x="5500212" y="200501"/>
                    <a:pt x="5498306" y="205264"/>
                    <a:pt x="5493544" y="212884"/>
                  </a:cubicBezTo>
                  <a:cubicBezTo>
                    <a:pt x="5496401" y="203359"/>
                    <a:pt x="5500212" y="194786"/>
                    <a:pt x="5502117" y="188119"/>
                  </a:cubicBezTo>
                  <a:cubicBezTo>
                    <a:pt x="5507831" y="170974"/>
                    <a:pt x="5511642" y="160496"/>
                    <a:pt x="5511642" y="160496"/>
                  </a:cubicBezTo>
                  <a:cubicBezTo>
                    <a:pt x="5511642" y="160496"/>
                    <a:pt x="5506879" y="170021"/>
                    <a:pt x="5498306" y="186214"/>
                  </a:cubicBezTo>
                  <a:cubicBezTo>
                    <a:pt x="5494496" y="194786"/>
                    <a:pt x="5489734" y="204311"/>
                    <a:pt x="5484019" y="215741"/>
                  </a:cubicBezTo>
                  <a:cubicBezTo>
                    <a:pt x="5481162" y="221456"/>
                    <a:pt x="5478304" y="227171"/>
                    <a:pt x="5475446" y="233839"/>
                  </a:cubicBezTo>
                  <a:cubicBezTo>
                    <a:pt x="5474494" y="236696"/>
                    <a:pt x="5473542" y="238601"/>
                    <a:pt x="5472589" y="241459"/>
                  </a:cubicBezTo>
                  <a:cubicBezTo>
                    <a:pt x="5465921" y="228124"/>
                    <a:pt x="5461159" y="221456"/>
                    <a:pt x="5461159" y="221456"/>
                  </a:cubicBezTo>
                  <a:cubicBezTo>
                    <a:pt x="5461159" y="221456"/>
                    <a:pt x="5464017" y="231934"/>
                    <a:pt x="5469731" y="248126"/>
                  </a:cubicBezTo>
                  <a:cubicBezTo>
                    <a:pt x="5468779" y="250031"/>
                    <a:pt x="5467826" y="252889"/>
                    <a:pt x="5466874" y="254794"/>
                  </a:cubicBezTo>
                  <a:cubicBezTo>
                    <a:pt x="5466874" y="255746"/>
                    <a:pt x="5465921" y="256699"/>
                    <a:pt x="5465921" y="257651"/>
                  </a:cubicBezTo>
                  <a:cubicBezTo>
                    <a:pt x="5465921" y="257651"/>
                    <a:pt x="5464969" y="256699"/>
                    <a:pt x="5464969" y="256699"/>
                  </a:cubicBezTo>
                  <a:cubicBezTo>
                    <a:pt x="5461159" y="252889"/>
                    <a:pt x="5458301" y="249079"/>
                    <a:pt x="5455444" y="246221"/>
                  </a:cubicBezTo>
                  <a:cubicBezTo>
                    <a:pt x="5454492" y="240506"/>
                    <a:pt x="5453539" y="234791"/>
                    <a:pt x="5452587" y="230029"/>
                  </a:cubicBezTo>
                  <a:cubicBezTo>
                    <a:pt x="5451634" y="224314"/>
                    <a:pt x="5449729" y="219551"/>
                    <a:pt x="5448776" y="214789"/>
                  </a:cubicBezTo>
                  <a:cubicBezTo>
                    <a:pt x="5445919" y="205264"/>
                    <a:pt x="5444014" y="196691"/>
                    <a:pt x="5442109" y="190024"/>
                  </a:cubicBezTo>
                  <a:cubicBezTo>
                    <a:pt x="5442109" y="190024"/>
                    <a:pt x="5442109" y="190024"/>
                    <a:pt x="5442109" y="190024"/>
                  </a:cubicBezTo>
                  <a:cubicBezTo>
                    <a:pt x="5442109" y="184309"/>
                    <a:pt x="5442109" y="180499"/>
                    <a:pt x="5442109" y="180499"/>
                  </a:cubicBezTo>
                  <a:cubicBezTo>
                    <a:pt x="5442109" y="180499"/>
                    <a:pt x="5442109" y="182404"/>
                    <a:pt x="5441156" y="186214"/>
                  </a:cubicBezTo>
                  <a:cubicBezTo>
                    <a:pt x="5438299" y="174784"/>
                    <a:pt x="5436394" y="169069"/>
                    <a:pt x="5436394" y="169069"/>
                  </a:cubicBezTo>
                  <a:cubicBezTo>
                    <a:pt x="5436394" y="169069"/>
                    <a:pt x="5437346" y="176689"/>
                    <a:pt x="5438299" y="190976"/>
                  </a:cubicBezTo>
                  <a:cubicBezTo>
                    <a:pt x="5438299" y="192881"/>
                    <a:pt x="5438299" y="193834"/>
                    <a:pt x="5439251" y="195739"/>
                  </a:cubicBezTo>
                  <a:cubicBezTo>
                    <a:pt x="5437346" y="203359"/>
                    <a:pt x="5435442" y="212884"/>
                    <a:pt x="5433537" y="225266"/>
                  </a:cubicBezTo>
                  <a:cubicBezTo>
                    <a:pt x="5430679" y="223361"/>
                    <a:pt x="5429726" y="221456"/>
                    <a:pt x="5429726" y="221456"/>
                  </a:cubicBezTo>
                  <a:cubicBezTo>
                    <a:pt x="5429726" y="221456"/>
                    <a:pt x="5430679" y="223361"/>
                    <a:pt x="5433537" y="225266"/>
                  </a:cubicBezTo>
                  <a:cubicBezTo>
                    <a:pt x="5432584" y="230029"/>
                    <a:pt x="5431631" y="235744"/>
                    <a:pt x="5430679" y="240506"/>
                  </a:cubicBezTo>
                  <a:cubicBezTo>
                    <a:pt x="5429726" y="232886"/>
                    <a:pt x="5428774" y="228124"/>
                    <a:pt x="5428774" y="228124"/>
                  </a:cubicBezTo>
                  <a:cubicBezTo>
                    <a:pt x="5428774" y="228124"/>
                    <a:pt x="5428774" y="232886"/>
                    <a:pt x="5428774" y="242411"/>
                  </a:cubicBezTo>
                  <a:cubicBezTo>
                    <a:pt x="5426869" y="234791"/>
                    <a:pt x="5425917" y="228124"/>
                    <a:pt x="5424012" y="222409"/>
                  </a:cubicBezTo>
                  <a:cubicBezTo>
                    <a:pt x="5421154" y="208121"/>
                    <a:pt x="5419249" y="200501"/>
                    <a:pt x="5419249" y="200501"/>
                  </a:cubicBezTo>
                  <a:cubicBezTo>
                    <a:pt x="5419249" y="200501"/>
                    <a:pt x="5419249" y="209074"/>
                    <a:pt x="5420201" y="223361"/>
                  </a:cubicBezTo>
                  <a:cubicBezTo>
                    <a:pt x="5421154" y="235744"/>
                    <a:pt x="5422106" y="253841"/>
                    <a:pt x="5424964" y="274796"/>
                  </a:cubicBezTo>
                  <a:cubicBezTo>
                    <a:pt x="5424012" y="282416"/>
                    <a:pt x="5422106" y="290989"/>
                    <a:pt x="5420201" y="299561"/>
                  </a:cubicBezTo>
                  <a:cubicBezTo>
                    <a:pt x="5419249" y="301466"/>
                    <a:pt x="5419249" y="303371"/>
                    <a:pt x="5418296" y="305276"/>
                  </a:cubicBezTo>
                  <a:cubicBezTo>
                    <a:pt x="5417344" y="302419"/>
                    <a:pt x="5416392" y="300514"/>
                    <a:pt x="5415439" y="298609"/>
                  </a:cubicBezTo>
                  <a:cubicBezTo>
                    <a:pt x="5416392" y="294799"/>
                    <a:pt x="5417344" y="291941"/>
                    <a:pt x="5417344" y="291941"/>
                  </a:cubicBezTo>
                  <a:cubicBezTo>
                    <a:pt x="5417344" y="291941"/>
                    <a:pt x="5416392" y="293846"/>
                    <a:pt x="5414487" y="296704"/>
                  </a:cubicBezTo>
                  <a:cubicBezTo>
                    <a:pt x="5414487" y="296704"/>
                    <a:pt x="5414487" y="295751"/>
                    <a:pt x="5414487" y="295751"/>
                  </a:cubicBezTo>
                  <a:cubicBezTo>
                    <a:pt x="5413534" y="292894"/>
                    <a:pt x="5412581" y="290036"/>
                    <a:pt x="5411629" y="287179"/>
                  </a:cubicBezTo>
                  <a:cubicBezTo>
                    <a:pt x="5413534" y="274796"/>
                    <a:pt x="5414487" y="268129"/>
                    <a:pt x="5414487" y="268129"/>
                  </a:cubicBezTo>
                  <a:cubicBezTo>
                    <a:pt x="5414487" y="268129"/>
                    <a:pt x="5412581" y="272891"/>
                    <a:pt x="5409724" y="282416"/>
                  </a:cubicBezTo>
                  <a:cubicBezTo>
                    <a:pt x="5407819" y="276701"/>
                    <a:pt x="5405914" y="271939"/>
                    <a:pt x="5404009" y="267176"/>
                  </a:cubicBezTo>
                  <a:cubicBezTo>
                    <a:pt x="5402104" y="262414"/>
                    <a:pt x="5401151" y="258604"/>
                    <a:pt x="5399246" y="253841"/>
                  </a:cubicBezTo>
                  <a:cubicBezTo>
                    <a:pt x="5400199" y="240506"/>
                    <a:pt x="5400199" y="232886"/>
                    <a:pt x="5400199" y="232886"/>
                  </a:cubicBezTo>
                  <a:cubicBezTo>
                    <a:pt x="5400199" y="232886"/>
                    <a:pt x="5399246" y="237649"/>
                    <a:pt x="5396389" y="247174"/>
                  </a:cubicBezTo>
                  <a:cubicBezTo>
                    <a:pt x="5396389" y="246221"/>
                    <a:pt x="5395437" y="245269"/>
                    <a:pt x="5395437" y="244316"/>
                  </a:cubicBezTo>
                  <a:cubicBezTo>
                    <a:pt x="5390674" y="231934"/>
                    <a:pt x="5387817" y="224314"/>
                    <a:pt x="5387817" y="224314"/>
                  </a:cubicBezTo>
                  <a:cubicBezTo>
                    <a:pt x="5387817" y="224314"/>
                    <a:pt x="5388769" y="231934"/>
                    <a:pt x="5391626" y="245269"/>
                  </a:cubicBezTo>
                  <a:cubicBezTo>
                    <a:pt x="5392579" y="249079"/>
                    <a:pt x="5393531" y="252889"/>
                    <a:pt x="5394484" y="257651"/>
                  </a:cubicBezTo>
                  <a:cubicBezTo>
                    <a:pt x="5391626" y="269081"/>
                    <a:pt x="5388769" y="283369"/>
                    <a:pt x="5384959" y="300514"/>
                  </a:cubicBezTo>
                  <a:cubicBezTo>
                    <a:pt x="5384959" y="299561"/>
                    <a:pt x="5384959" y="298609"/>
                    <a:pt x="5384006" y="297656"/>
                  </a:cubicBezTo>
                  <a:cubicBezTo>
                    <a:pt x="5383054" y="288131"/>
                    <a:pt x="5382101" y="283369"/>
                    <a:pt x="5382101" y="283369"/>
                  </a:cubicBezTo>
                  <a:cubicBezTo>
                    <a:pt x="5382101" y="283369"/>
                    <a:pt x="5382101" y="284321"/>
                    <a:pt x="5382101" y="287179"/>
                  </a:cubicBezTo>
                  <a:cubicBezTo>
                    <a:pt x="5381149" y="283369"/>
                    <a:pt x="5380196" y="280511"/>
                    <a:pt x="5380196" y="276701"/>
                  </a:cubicBezTo>
                  <a:cubicBezTo>
                    <a:pt x="5380196" y="275749"/>
                    <a:pt x="5379244" y="273844"/>
                    <a:pt x="5379244" y="272891"/>
                  </a:cubicBezTo>
                  <a:cubicBezTo>
                    <a:pt x="5380196" y="270986"/>
                    <a:pt x="5380196" y="269081"/>
                    <a:pt x="5380196" y="269081"/>
                  </a:cubicBezTo>
                  <a:cubicBezTo>
                    <a:pt x="5380196" y="269081"/>
                    <a:pt x="5380196" y="270034"/>
                    <a:pt x="5379244" y="271939"/>
                  </a:cubicBezTo>
                  <a:cubicBezTo>
                    <a:pt x="5376387" y="260509"/>
                    <a:pt x="5374481" y="250984"/>
                    <a:pt x="5372576" y="241459"/>
                  </a:cubicBezTo>
                  <a:cubicBezTo>
                    <a:pt x="5372576" y="238601"/>
                    <a:pt x="5372576" y="235744"/>
                    <a:pt x="5373529" y="232886"/>
                  </a:cubicBezTo>
                  <a:cubicBezTo>
                    <a:pt x="5374481" y="217646"/>
                    <a:pt x="5376387" y="203359"/>
                    <a:pt x="5378292" y="190024"/>
                  </a:cubicBezTo>
                  <a:cubicBezTo>
                    <a:pt x="5379244" y="176689"/>
                    <a:pt x="5382101" y="165259"/>
                    <a:pt x="5384006" y="153829"/>
                  </a:cubicBezTo>
                  <a:cubicBezTo>
                    <a:pt x="5384959" y="148114"/>
                    <a:pt x="5385912" y="143351"/>
                    <a:pt x="5386864" y="138589"/>
                  </a:cubicBezTo>
                  <a:cubicBezTo>
                    <a:pt x="5387817" y="133826"/>
                    <a:pt x="5388769" y="130016"/>
                    <a:pt x="5389721" y="126206"/>
                  </a:cubicBezTo>
                  <a:cubicBezTo>
                    <a:pt x="5392579" y="110966"/>
                    <a:pt x="5394484" y="102394"/>
                    <a:pt x="5394484" y="102394"/>
                  </a:cubicBezTo>
                  <a:cubicBezTo>
                    <a:pt x="5394484" y="102394"/>
                    <a:pt x="5391626" y="110966"/>
                    <a:pt x="5385912" y="125254"/>
                  </a:cubicBezTo>
                  <a:cubicBezTo>
                    <a:pt x="5384959" y="129064"/>
                    <a:pt x="5383054" y="132874"/>
                    <a:pt x="5381149" y="137636"/>
                  </a:cubicBezTo>
                  <a:cubicBezTo>
                    <a:pt x="5379244" y="142399"/>
                    <a:pt x="5378292" y="147161"/>
                    <a:pt x="5376387" y="151924"/>
                  </a:cubicBezTo>
                  <a:cubicBezTo>
                    <a:pt x="5373529" y="162401"/>
                    <a:pt x="5369719" y="174784"/>
                    <a:pt x="5366862" y="188119"/>
                  </a:cubicBezTo>
                  <a:cubicBezTo>
                    <a:pt x="5365909" y="193834"/>
                    <a:pt x="5364004" y="199549"/>
                    <a:pt x="5363051" y="205264"/>
                  </a:cubicBezTo>
                  <a:cubicBezTo>
                    <a:pt x="5361146" y="199549"/>
                    <a:pt x="5360194" y="196691"/>
                    <a:pt x="5360194" y="196691"/>
                  </a:cubicBezTo>
                  <a:cubicBezTo>
                    <a:pt x="5360194" y="196691"/>
                    <a:pt x="5361146" y="201454"/>
                    <a:pt x="5361146" y="210979"/>
                  </a:cubicBezTo>
                  <a:cubicBezTo>
                    <a:pt x="5360194" y="217646"/>
                    <a:pt x="5358289" y="224314"/>
                    <a:pt x="5357337" y="230981"/>
                  </a:cubicBezTo>
                  <a:cubicBezTo>
                    <a:pt x="5356384" y="235744"/>
                    <a:pt x="5355431" y="240506"/>
                    <a:pt x="5355431" y="245269"/>
                  </a:cubicBezTo>
                  <a:cubicBezTo>
                    <a:pt x="5355431" y="241459"/>
                    <a:pt x="5354479" y="238601"/>
                    <a:pt x="5354479" y="235744"/>
                  </a:cubicBezTo>
                  <a:cubicBezTo>
                    <a:pt x="5354479" y="233839"/>
                    <a:pt x="5354479" y="231934"/>
                    <a:pt x="5354479" y="230029"/>
                  </a:cubicBezTo>
                  <a:cubicBezTo>
                    <a:pt x="5355431" y="217646"/>
                    <a:pt x="5355431" y="210979"/>
                    <a:pt x="5355431" y="210979"/>
                  </a:cubicBezTo>
                  <a:cubicBezTo>
                    <a:pt x="5355431" y="210979"/>
                    <a:pt x="5354479" y="214789"/>
                    <a:pt x="5352574" y="222409"/>
                  </a:cubicBezTo>
                  <a:cubicBezTo>
                    <a:pt x="5350669" y="210026"/>
                    <a:pt x="5348764" y="199549"/>
                    <a:pt x="5347812" y="190024"/>
                  </a:cubicBezTo>
                  <a:cubicBezTo>
                    <a:pt x="5347812" y="186214"/>
                    <a:pt x="5347812" y="182404"/>
                    <a:pt x="5347812" y="179546"/>
                  </a:cubicBezTo>
                  <a:cubicBezTo>
                    <a:pt x="5347812" y="167164"/>
                    <a:pt x="5347812" y="160496"/>
                    <a:pt x="5347812" y="160496"/>
                  </a:cubicBezTo>
                  <a:cubicBezTo>
                    <a:pt x="5347812" y="160496"/>
                    <a:pt x="5346859" y="165259"/>
                    <a:pt x="5344954" y="173831"/>
                  </a:cubicBezTo>
                  <a:cubicBezTo>
                    <a:pt x="5342096" y="158591"/>
                    <a:pt x="5341144" y="150019"/>
                    <a:pt x="5341144" y="150019"/>
                  </a:cubicBezTo>
                  <a:cubicBezTo>
                    <a:pt x="5341144" y="150019"/>
                    <a:pt x="5341144" y="160496"/>
                    <a:pt x="5342096" y="177641"/>
                  </a:cubicBezTo>
                  <a:cubicBezTo>
                    <a:pt x="5342096" y="180499"/>
                    <a:pt x="5342096" y="184309"/>
                    <a:pt x="5342096" y="187166"/>
                  </a:cubicBezTo>
                  <a:cubicBezTo>
                    <a:pt x="5341144" y="190976"/>
                    <a:pt x="5341144" y="195739"/>
                    <a:pt x="5340192" y="200501"/>
                  </a:cubicBezTo>
                  <a:cubicBezTo>
                    <a:pt x="5339239" y="209074"/>
                    <a:pt x="5337334" y="218599"/>
                    <a:pt x="5337334" y="229076"/>
                  </a:cubicBezTo>
                  <a:cubicBezTo>
                    <a:pt x="5337334" y="239554"/>
                    <a:pt x="5336381" y="250984"/>
                    <a:pt x="5336381" y="263366"/>
                  </a:cubicBezTo>
                  <a:cubicBezTo>
                    <a:pt x="5336381" y="269081"/>
                    <a:pt x="5336381" y="275749"/>
                    <a:pt x="5336381" y="282416"/>
                  </a:cubicBezTo>
                  <a:cubicBezTo>
                    <a:pt x="5336381" y="282416"/>
                    <a:pt x="5336381" y="282416"/>
                    <a:pt x="5336381" y="282416"/>
                  </a:cubicBezTo>
                  <a:cubicBezTo>
                    <a:pt x="5335429" y="286226"/>
                    <a:pt x="5334476" y="290036"/>
                    <a:pt x="5333524" y="293846"/>
                  </a:cubicBezTo>
                  <a:cubicBezTo>
                    <a:pt x="5333524" y="292894"/>
                    <a:pt x="5332571" y="291941"/>
                    <a:pt x="5332571" y="291941"/>
                  </a:cubicBezTo>
                  <a:cubicBezTo>
                    <a:pt x="5330667" y="287179"/>
                    <a:pt x="5329714" y="282416"/>
                    <a:pt x="5327809" y="278606"/>
                  </a:cubicBezTo>
                  <a:cubicBezTo>
                    <a:pt x="5323999" y="269081"/>
                    <a:pt x="5321142" y="259556"/>
                    <a:pt x="5319237" y="252889"/>
                  </a:cubicBezTo>
                  <a:cubicBezTo>
                    <a:pt x="5313521" y="238601"/>
                    <a:pt x="5310664" y="230029"/>
                    <a:pt x="5310664" y="230029"/>
                  </a:cubicBezTo>
                  <a:cubicBezTo>
                    <a:pt x="5310664" y="230029"/>
                    <a:pt x="5312569" y="238601"/>
                    <a:pt x="5315426" y="253841"/>
                  </a:cubicBezTo>
                  <a:cubicBezTo>
                    <a:pt x="5316379" y="257651"/>
                    <a:pt x="5317331" y="262414"/>
                    <a:pt x="5318284" y="267176"/>
                  </a:cubicBezTo>
                  <a:cubicBezTo>
                    <a:pt x="5316379" y="264319"/>
                    <a:pt x="5315426" y="263366"/>
                    <a:pt x="5315426" y="263366"/>
                  </a:cubicBezTo>
                  <a:cubicBezTo>
                    <a:pt x="5315426" y="263366"/>
                    <a:pt x="5317331" y="268129"/>
                    <a:pt x="5320189" y="276701"/>
                  </a:cubicBezTo>
                  <a:cubicBezTo>
                    <a:pt x="5320189" y="278606"/>
                    <a:pt x="5321142" y="279559"/>
                    <a:pt x="5321142" y="281464"/>
                  </a:cubicBezTo>
                  <a:cubicBezTo>
                    <a:pt x="5322094" y="286226"/>
                    <a:pt x="5323046" y="291941"/>
                    <a:pt x="5324951" y="297656"/>
                  </a:cubicBezTo>
                  <a:cubicBezTo>
                    <a:pt x="5325904" y="300514"/>
                    <a:pt x="5326856" y="303371"/>
                    <a:pt x="5326856" y="306229"/>
                  </a:cubicBezTo>
                  <a:cubicBezTo>
                    <a:pt x="5323999" y="310991"/>
                    <a:pt x="5320189" y="316706"/>
                    <a:pt x="5316379" y="322421"/>
                  </a:cubicBezTo>
                  <a:cubicBezTo>
                    <a:pt x="5313521" y="327184"/>
                    <a:pt x="5309712" y="332899"/>
                    <a:pt x="5306854" y="338614"/>
                  </a:cubicBezTo>
                  <a:cubicBezTo>
                    <a:pt x="5303996" y="343376"/>
                    <a:pt x="5301139" y="349091"/>
                    <a:pt x="5298281" y="354806"/>
                  </a:cubicBezTo>
                  <a:cubicBezTo>
                    <a:pt x="5298281" y="350996"/>
                    <a:pt x="5298281" y="347186"/>
                    <a:pt x="5298281" y="344329"/>
                  </a:cubicBezTo>
                  <a:cubicBezTo>
                    <a:pt x="5299234" y="334804"/>
                    <a:pt x="5300187" y="326231"/>
                    <a:pt x="5301139" y="318611"/>
                  </a:cubicBezTo>
                  <a:cubicBezTo>
                    <a:pt x="5303044" y="308134"/>
                    <a:pt x="5303996" y="299561"/>
                    <a:pt x="5305901" y="291941"/>
                  </a:cubicBezTo>
                  <a:cubicBezTo>
                    <a:pt x="5309712" y="276701"/>
                    <a:pt x="5311617" y="269081"/>
                    <a:pt x="5311617" y="269081"/>
                  </a:cubicBezTo>
                  <a:cubicBezTo>
                    <a:pt x="5311617" y="269081"/>
                    <a:pt x="5307806" y="276701"/>
                    <a:pt x="5302092" y="290989"/>
                  </a:cubicBezTo>
                  <a:cubicBezTo>
                    <a:pt x="5301139" y="293846"/>
                    <a:pt x="5300187" y="295751"/>
                    <a:pt x="5299234" y="298609"/>
                  </a:cubicBezTo>
                  <a:cubicBezTo>
                    <a:pt x="5299234" y="276701"/>
                    <a:pt x="5299234" y="263366"/>
                    <a:pt x="5299234" y="263366"/>
                  </a:cubicBezTo>
                  <a:cubicBezTo>
                    <a:pt x="5299234" y="263366"/>
                    <a:pt x="5295424" y="284321"/>
                    <a:pt x="5290662" y="317659"/>
                  </a:cubicBezTo>
                  <a:cubicBezTo>
                    <a:pt x="5290662" y="315754"/>
                    <a:pt x="5289709" y="314801"/>
                    <a:pt x="5289709" y="312896"/>
                  </a:cubicBezTo>
                  <a:cubicBezTo>
                    <a:pt x="5287804" y="306229"/>
                    <a:pt x="5286851" y="300514"/>
                    <a:pt x="5284946" y="295751"/>
                  </a:cubicBezTo>
                  <a:cubicBezTo>
                    <a:pt x="5284946" y="295751"/>
                    <a:pt x="5284946" y="295751"/>
                    <a:pt x="5284946" y="295751"/>
                  </a:cubicBezTo>
                  <a:cubicBezTo>
                    <a:pt x="5284946" y="295751"/>
                    <a:pt x="5284946" y="295751"/>
                    <a:pt x="5284946" y="295751"/>
                  </a:cubicBezTo>
                  <a:cubicBezTo>
                    <a:pt x="5283994" y="291941"/>
                    <a:pt x="5283042" y="288131"/>
                    <a:pt x="5282089" y="284321"/>
                  </a:cubicBezTo>
                  <a:cubicBezTo>
                    <a:pt x="5282089" y="283369"/>
                    <a:pt x="5282089" y="283369"/>
                    <a:pt x="5281137" y="282416"/>
                  </a:cubicBezTo>
                  <a:cubicBezTo>
                    <a:pt x="5285899" y="264319"/>
                    <a:pt x="5288756" y="252889"/>
                    <a:pt x="5288756" y="252889"/>
                  </a:cubicBezTo>
                  <a:cubicBezTo>
                    <a:pt x="5288756" y="252889"/>
                    <a:pt x="5284946" y="260509"/>
                    <a:pt x="5279231" y="273844"/>
                  </a:cubicBezTo>
                  <a:cubicBezTo>
                    <a:pt x="5278279" y="269081"/>
                    <a:pt x="5276374" y="265271"/>
                    <a:pt x="5275421" y="262414"/>
                  </a:cubicBezTo>
                  <a:cubicBezTo>
                    <a:pt x="5270659" y="250031"/>
                    <a:pt x="5268754" y="243364"/>
                    <a:pt x="5268754" y="243364"/>
                  </a:cubicBezTo>
                  <a:cubicBezTo>
                    <a:pt x="5268754" y="243364"/>
                    <a:pt x="5269706" y="250031"/>
                    <a:pt x="5271612" y="262414"/>
                  </a:cubicBezTo>
                  <a:cubicBezTo>
                    <a:pt x="5272564" y="268129"/>
                    <a:pt x="5273517" y="275749"/>
                    <a:pt x="5274469" y="283369"/>
                  </a:cubicBezTo>
                  <a:cubicBezTo>
                    <a:pt x="5270659" y="290989"/>
                    <a:pt x="5266849" y="300514"/>
                    <a:pt x="5263039" y="310039"/>
                  </a:cubicBezTo>
                  <a:cubicBezTo>
                    <a:pt x="5263039" y="305276"/>
                    <a:pt x="5263039" y="302419"/>
                    <a:pt x="5263039" y="302419"/>
                  </a:cubicBezTo>
                  <a:cubicBezTo>
                    <a:pt x="5263039" y="302419"/>
                    <a:pt x="5262087" y="305276"/>
                    <a:pt x="5260181" y="310039"/>
                  </a:cubicBezTo>
                  <a:cubicBezTo>
                    <a:pt x="5260181" y="310039"/>
                    <a:pt x="5260181" y="309086"/>
                    <a:pt x="5260181" y="309086"/>
                  </a:cubicBezTo>
                  <a:cubicBezTo>
                    <a:pt x="5260181" y="306229"/>
                    <a:pt x="5260181" y="303371"/>
                    <a:pt x="5261134" y="301466"/>
                  </a:cubicBezTo>
                  <a:cubicBezTo>
                    <a:pt x="5261134" y="294799"/>
                    <a:pt x="5262087" y="289084"/>
                    <a:pt x="5262087" y="284321"/>
                  </a:cubicBezTo>
                  <a:cubicBezTo>
                    <a:pt x="5263039" y="274796"/>
                    <a:pt x="5263039" y="269081"/>
                    <a:pt x="5263039" y="269081"/>
                  </a:cubicBezTo>
                  <a:cubicBezTo>
                    <a:pt x="5263039" y="269081"/>
                    <a:pt x="5261134" y="273844"/>
                    <a:pt x="5258276" y="283369"/>
                  </a:cubicBezTo>
                  <a:cubicBezTo>
                    <a:pt x="5258276" y="284321"/>
                    <a:pt x="5257324" y="286226"/>
                    <a:pt x="5257324" y="287179"/>
                  </a:cubicBezTo>
                  <a:cubicBezTo>
                    <a:pt x="5256371" y="282416"/>
                    <a:pt x="5256371" y="277654"/>
                    <a:pt x="5255419" y="273844"/>
                  </a:cubicBezTo>
                  <a:cubicBezTo>
                    <a:pt x="5255419" y="272891"/>
                    <a:pt x="5255419" y="271939"/>
                    <a:pt x="5255419" y="271939"/>
                  </a:cubicBezTo>
                  <a:cubicBezTo>
                    <a:pt x="5255419" y="271939"/>
                    <a:pt x="5255419" y="271939"/>
                    <a:pt x="5255419" y="270986"/>
                  </a:cubicBezTo>
                  <a:cubicBezTo>
                    <a:pt x="5256371" y="268129"/>
                    <a:pt x="5256371" y="266224"/>
                    <a:pt x="5256371" y="266224"/>
                  </a:cubicBezTo>
                  <a:cubicBezTo>
                    <a:pt x="5256371" y="266224"/>
                    <a:pt x="5256371" y="267176"/>
                    <a:pt x="5255419" y="268129"/>
                  </a:cubicBezTo>
                  <a:cubicBezTo>
                    <a:pt x="5256371" y="255746"/>
                    <a:pt x="5257324" y="244316"/>
                    <a:pt x="5258276" y="232886"/>
                  </a:cubicBezTo>
                  <a:cubicBezTo>
                    <a:pt x="5262087" y="188119"/>
                    <a:pt x="5263039" y="158591"/>
                    <a:pt x="5263039" y="158591"/>
                  </a:cubicBezTo>
                  <a:cubicBezTo>
                    <a:pt x="5263039" y="158591"/>
                    <a:pt x="5258276" y="175736"/>
                    <a:pt x="5252562" y="204311"/>
                  </a:cubicBezTo>
                  <a:cubicBezTo>
                    <a:pt x="5253514" y="193834"/>
                    <a:pt x="5254467" y="183356"/>
                    <a:pt x="5255419" y="173831"/>
                  </a:cubicBezTo>
                  <a:cubicBezTo>
                    <a:pt x="5256371" y="160496"/>
                    <a:pt x="5257324" y="150019"/>
                    <a:pt x="5258276" y="140494"/>
                  </a:cubicBezTo>
                  <a:cubicBezTo>
                    <a:pt x="5260181" y="121444"/>
                    <a:pt x="5260181" y="110966"/>
                    <a:pt x="5260181" y="110966"/>
                  </a:cubicBezTo>
                  <a:cubicBezTo>
                    <a:pt x="5260181" y="110966"/>
                    <a:pt x="5257324" y="121444"/>
                    <a:pt x="5254467" y="139541"/>
                  </a:cubicBezTo>
                  <a:cubicBezTo>
                    <a:pt x="5252562" y="149066"/>
                    <a:pt x="5250656" y="159544"/>
                    <a:pt x="5247799" y="172879"/>
                  </a:cubicBezTo>
                  <a:cubicBezTo>
                    <a:pt x="5246846" y="179546"/>
                    <a:pt x="5244942" y="186214"/>
                    <a:pt x="5243989" y="192881"/>
                  </a:cubicBezTo>
                  <a:cubicBezTo>
                    <a:pt x="5243989" y="195739"/>
                    <a:pt x="5243037" y="198596"/>
                    <a:pt x="5243037" y="201454"/>
                  </a:cubicBezTo>
                  <a:cubicBezTo>
                    <a:pt x="5242084" y="197644"/>
                    <a:pt x="5241131" y="194786"/>
                    <a:pt x="5241131" y="194786"/>
                  </a:cubicBezTo>
                  <a:cubicBezTo>
                    <a:pt x="5241131" y="194786"/>
                    <a:pt x="5241131" y="199549"/>
                    <a:pt x="5241131" y="209074"/>
                  </a:cubicBezTo>
                  <a:cubicBezTo>
                    <a:pt x="5241131" y="210979"/>
                    <a:pt x="5240179" y="213836"/>
                    <a:pt x="5240179" y="215741"/>
                  </a:cubicBezTo>
                  <a:cubicBezTo>
                    <a:pt x="5239226" y="225266"/>
                    <a:pt x="5237321" y="235744"/>
                    <a:pt x="5235417" y="246221"/>
                  </a:cubicBezTo>
                  <a:cubicBezTo>
                    <a:pt x="5234464" y="248126"/>
                    <a:pt x="5232559" y="250984"/>
                    <a:pt x="5230654" y="252889"/>
                  </a:cubicBezTo>
                  <a:cubicBezTo>
                    <a:pt x="5227796" y="256699"/>
                    <a:pt x="5225892" y="261461"/>
                    <a:pt x="5222081" y="266224"/>
                  </a:cubicBezTo>
                  <a:cubicBezTo>
                    <a:pt x="5220176" y="270034"/>
                    <a:pt x="5217319" y="274796"/>
                    <a:pt x="5215414" y="279559"/>
                  </a:cubicBezTo>
                  <a:cubicBezTo>
                    <a:pt x="5215414" y="279559"/>
                    <a:pt x="5215414" y="279559"/>
                    <a:pt x="5215414" y="278606"/>
                  </a:cubicBezTo>
                  <a:cubicBezTo>
                    <a:pt x="5216367" y="276701"/>
                    <a:pt x="5216367" y="275749"/>
                    <a:pt x="5216367" y="275749"/>
                  </a:cubicBezTo>
                  <a:cubicBezTo>
                    <a:pt x="5216367" y="275749"/>
                    <a:pt x="5216367" y="276701"/>
                    <a:pt x="5215414" y="277654"/>
                  </a:cubicBezTo>
                  <a:cubicBezTo>
                    <a:pt x="5213509" y="267176"/>
                    <a:pt x="5212556" y="257651"/>
                    <a:pt x="5211604" y="249079"/>
                  </a:cubicBezTo>
                  <a:cubicBezTo>
                    <a:pt x="5210651" y="239554"/>
                    <a:pt x="5209699" y="230981"/>
                    <a:pt x="5208746" y="224314"/>
                  </a:cubicBezTo>
                  <a:cubicBezTo>
                    <a:pt x="5206842" y="210979"/>
                    <a:pt x="5205889" y="202406"/>
                    <a:pt x="5205889" y="202406"/>
                  </a:cubicBezTo>
                  <a:cubicBezTo>
                    <a:pt x="5205889" y="202406"/>
                    <a:pt x="5205889" y="210026"/>
                    <a:pt x="5204937" y="224314"/>
                  </a:cubicBezTo>
                  <a:cubicBezTo>
                    <a:pt x="5204937" y="230981"/>
                    <a:pt x="5204937" y="239554"/>
                    <a:pt x="5204937" y="249079"/>
                  </a:cubicBezTo>
                  <a:cubicBezTo>
                    <a:pt x="5204937" y="253841"/>
                    <a:pt x="5204937" y="258604"/>
                    <a:pt x="5204937" y="264319"/>
                  </a:cubicBezTo>
                  <a:cubicBezTo>
                    <a:pt x="5204937" y="270034"/>
                    <a:pt x="5204937" y="275749"/>
                    <a:pt x="5205889" y="281464"/>
                  </a:cubicBezTo>
                  <a:cubicBezTo>
                    <a:pt x="5205889" y="284321"/>
                    <a:pt x="5205889" y="286226"/>
                    <a:pt x="5205889" y="289084"/>
                  </a:cubicBezTo>
                  <a:cubicBezTo>
                    <a:pt x="5204937" y="287179"/>
                    <a:pt x="5203984" y="286226"/>
                    <a:pt x="5203984" y="286226"/>
                  </a:cubicBezTo>
                  <a:cubicBezTo>
                    <a:pt x="5203984" y="286226"/>
                    <a:pt x="5204937" y="288131"/>
                    <a:pt x="5205889" y="290989"/>
                  </a:cubicBezTo>
                  <a:cubicBezTo>
                    <a:pt x="5205889" y="290989"/>
                    <a:pt x="5205889" y="290989"/>
                    <a:pt x="5205889" y="291941"/>
                  </a:cubicBezTo>
                  <a:cubicBezTo>
                    <a:pt x="5204937" y="290036"/>
                    <a:pt x="5203984" y="289084"/>
                    <a:pt x="5203984" y="287179"/>
                  </a:cubicBezTo>
                  <a:cubicBezTo>
                    <a:pt x="5203984" y="287179"/>
                    <a:pt x="5203984" y="287179"/>
                    <a:pt x="5203984" y="287179"/>
                  </a:cubicBezTo>
                  <a:cubicBezTo>
                    <a:pt x="5203984" y="287179"/>
                    <a:pt x="5203984" y="287179"/>
                    <a:pt x="5203984" y="287179"/>
                  </a:cubicBezTo>
                  <a:cubicBezTo>
                    <a:pt x="5201126" y="281464"/>
                    <a:pt x="5199221" y="278606"/>
                    <a:pt x="5199221" y="278606"/>
                  </a:cubicBezTo>
                  <a:cubicBezTo>
                    <a:pt x="5199221" y="278606"/>
                    <a:pt x="5200174" y="283369"/>
                    <a:pt x="5202079" y="290989"/>
                  </a:cubicBezTo>
                  <a:cubicBezTo>
                    <a:pt x="5201126" y="292894"/>
                    <a:pt x="5200174" y="295751"/>
                    <a:pt x="5198269" y="300514"/>
                  </a:cubicBezTo>
                  <a:cubicBezTo>
                    <a:pt x="5197317" y="298609"/>
                    <a:pt x="5196364" y="297656"/>
                    <a:pt x="5195412" y="295751"/>
                  </a:cubicBezTo>
                  <a:cubicBezTo>
                    <a:pt x="5193506" y="284321"/>
                    <a:pt x="5192554" y="273844"/>
                    <a:pt x="5191601" y="263366"/>
                  </a:cubicBezTo>
                  <a:cubicBezTo>
                    <a:pt x="5187792" y="232886"/>
                    <a:pt x="5185887" y="208121"/>
                    <a:pt x="5184934" y="190024"/>
                  </a:cubicBezTo>
                  <a:cubicBezTo>
                    <a:pt x="5183981" y="181451"/>
                    <a:pt x="5183981" y="173831"/>
                    <a:pt x="5183981" y="169069"/>
                  </a:cubicBezTo>
                  <a:cubicBezTo>
                    <a:pt x="5183981" y="164306"/>
                    <a:pt x="5183981" y="161449"/>
                    <a:pt x="5183981" y="161449"/>
                  </a:cubicBezTo>
                  <a:cubicBezTo>
                    <a:pt x="5183981" y="161449"/>
                    <a:pt x="5183981" y="164306"/>
                    <a:pt x="5183029" y="169069"/>
                  </a:cubicBezTo>
                  <a:cubicBezTo>
                    <a:pt x="5182076" y="173831"/>
                    <a:pt x="5182076" y="180499"/>
                    <a:pt x="5181124" y="190024"/>
                  </a:cubicBezTo>
                  <a:cubicBezTo>
                    <a:pt x="5181124" y="196691"/>
                    <a:pt x="5180171" y="204311"/>
                    <a:pt x="5180171" y="211931"/>
                  </a:cubicBezTo>
                  <a:cubicBezTo>
                    <a:pt x="5179219" y="212884"/>
                    <a:pt x="5178267" y="213836"/>
                    <a:pt x="5177314" y="215741"/>
                  </a:cubicBezTo>
                  <a:cubicBezTo>
                    <a:pt x="5174456" y="219551"/>
                    <a:pt x="5170646" y="224314"/>
                    <a:pt x="5165884" y="231934"/>
                  </a:cubicBezTo>
                  <a:cubicBezTo>
                    <a:pt x="5164931" y="232886"/>
                    <a:pt x="5163979" y="234791"/>
                    <a:pt x="5163979" y="235744"/>
                  </a:cubicBezTo>
                  <a:cubicBezTo>
                    <a:pt x="5163026" y="233839"/>
                    <a:pt x="5162074" y="231934"/>
                    <a:pt x="5161121" y="230029"/>
                  </a:cubicBezTo>
                  <a:cubicBezTo>
                    <a:pt x="5161121" y="230029"/>
                    <a:pt x="5161121" y="229076"/>
                    <a:pt x="5161121" y="229076"/>
                  </a:cubicBezTo>
                  <a:cubicBezTo>
                    <a:pt x="5162074" y="222409"/>
                    <a:pt x="5162074" y="217646"/>
                    <a:pt x="5163026" y="213836"/>
                  </a:cubicBezTo>
                  <a:cubicBezTo>
                    <a:pt x="5163979" y="210026"/>
                    <a:pt x="5163979" y="208121"/>
                    <a:pt x="5163979" y="208121"/>
                  </a:cubicBezTo>
                  <a:cubicBezTo>
                    <a:pt x="5163979" y="208121"/>
                    <a:pt x="5161121" y="213836"/>
                    <a:pt x="5158264" y="224314"/>
                  </a:cubicBezTo>
                  <a:cubicBezTo>
                    <a:pt x="5157312" y="222409"/>
                    <a:pt x="5156359" y="221456"/>
                    <a:pt x="5156359" y="220504"/>
                  </a:cubicBezTo>
                  <a:cubicBezTo>
                    <a:pt x="5152549" y="213836"/>
                    <a:pt x="5149692" y="208121"/>
                    <a:pt x="5147787" y="205264"/>
                  </a:cubicBezTo>
                  <a:cubicBezTo>
                    <a:pt x="5146834" y="195739"/>
                    <a:pt x="5145881" y="186214"/>
                    <a:pt x="5144929" y="178594"/>
                  </a:cubicBezTo>
                  <a:cubicBezTo>
                    <a:pt x="5143024" y="159544"/>
                    <a:pt x="5141119" y="149066"/>
                    <a:pt x="5141119" y="149066"/>
                  </a:cubicBezTo>
                  <a:cubicBezTo>
                    <a:pt x="5141119" y="149066"/>
                    <a:pt x="5141119" y="159544"/>
                    <a:pt x="5141119" y="178594"/>
                  </a:cubicBezTo>
                  <a:cubicBezTo>
                    <a:pt x="5141119" y="197644"/>
                    <a:pt x="5141119" y="224314"/>
                    <a:pt x="5141119" y="255746"/>
                  </a:cubicBezTo>
                  <a:cubicBezTo>
                    <a:pt x="5141119" y="256699"/>
                    <a:pt x="5141119" y="257651"/>
                    <a:pt x="5141119" y="258604"/>
                  </a:cubicBezTo>
                  <a:cubicBezTo>
                    <a:pt x="5140167" y="259556"/>
                    <a:pt x="5140167" y="259556"/>
                    <a:pt x="5139214" y="260509"/>
                  </a:cubicBezTo>
                  <a:cubicBezTo>
                    <a:pt x="5138262" y="261461"/>
                    <a:pt x="5136356" y="263366"/>
                    <a:pt x="5134451" y="265271"/>
                  </a:cubicBezTo>
                  <a:cubicBezTo>
                    <a:pt x="5131594" y="216694"/>
                    <a:pt x="5128737" y="184309"/>
                    <a:pt x="5128737" y="184309"/>
                  </a:cubicBezTo>
                  <a:cubicBezTo>
                    <a:pt x="5128737" y="184309"/>
                    <a:pt x="5126831" y="204311"/>
                    <a:pt x="5124926" y="236696"/>
                  </a:cubicBezTo>
                  <a:cubicBezTo>
                    <a:pt x="5121117" y="225266"/>
                    <a:pt x="5119212" y="219551"/>
                    <a:pt x="5119212" y="219551"/>
                  </a:cubicBezTo>
                  <a:cubicBezTo>
                    <a:pt x="5119212" y="219551"/>
                    <a:pt x="5121117" y="230029"/>
                    <a:pt x="5123974" y="249079"/>
                  </a:cubicBezTo>
                  <a:cubicBezTo>
                    <a:pt x="5123974" y="251936"/>
                    <a:pt x="5123974" y="255746"/>
                    <a:pt x="5123021" y="258604"/>
                  </a:cubicBezTo>
                  <a:cubicBezTo>
                    <a:pt x="5122069" y="263366"/>
                    <a:pt x="5121117" y="270034"/>
                    <a:pt x="5120164" y="279559"/>
                  </a:cubicBezTo>
                  <a:cubicBezTo>
                    <a:pt x="5119212" y="281464"/>
                    <a:pt x="5117306" y="283369"/>
                    <a:pt x="5116354" y="285274"/>
                  </a:cubicBezTo>
                  <a:cubicBezTo>
                    <a:pt x="5113496" y="289084"/>
                    <a:pt x="5109687" y="293846"/>
                    <a:pt x="5106829" y="298609"/>
                  </a:cubicBezTo>
                  <a:cubicBezTo>
                    <a:pt x="5105876" y="299561"/>
                    <a:pt x="5104924" y="301466"/>
                    <a:pt x="5103971" y="303371"/>
                  </a:cubicBezTo>
                  <a:cubicBezTo>
                    <a:pt x="5097304" y="287179"/>
                    <a:pt x="5090637" y="272891"/>
                    <a:pt x="5085874" y="261461"/>
                  </a:cubicBezTo>
                  <a:cubicBezTo>
                    <a:pt x="5085874" y="261461"/>
                    <a:pt x="5085874" y="261461"/>
                    <a:pt x="5086826" y="261461"/>
                  </a:cubicBezTo>
                  <a:cubicBezTo>
                    <a:pt x="5089684" y="260509"/>
                    <a:pt x="5091589" y="260509"/>
                    <a:pt x="5091589" y="260509"/>
                  </a:cubicBezTo>
                  <a:cubicBezTo>
                    <a:pt x="5091589" y="260509"/>
                    <a:pt x="5089684" y="260509"/>
                    <a:pt x="5086826" y="260509"/>
                  </a:cubicBezTo>
                  <a:cubicBezTo>
                    <a:pt x="5086826" y="260509"/>
                    <a:pt x="5085874" y="260509"/>
                    <a:pt x="5085874" y="260509"/>
                  </a:cubicBezTo>
                  <a:cubicBezTo>
                    <a:pt x="5078254" y="243364"/>
                    <a:pt x="5073492" y="232886"/>
                    <a:pt x="5071587" y="230029"/>
                  </a:cubicBezTo>
                  <a:cubicBezTo>
                    <a:pt x="5071587" y="225266"/>
                    <a:pt x="5071587" y="222409"/>
                    <a:pt x="5071587" y="222409"/>
                  </a:cubicBezTo>
                  <a:cubicBezTo>
                    <a:pt x="5071587" y="222409"/>
                    <a:pt x="5070634" y="224314"/>
                    <a:pt x="5069681" y="227171"/>
                  </a:cubicBezTo>
                  <a:cubicBezTo>
                    <a:pt x="5066824" y="214789"/>
                    <a:pt x="5063967" y="203359"/>
                    <a:pt x="5062062" y="192881"/>
                  </a:cubicBezTo>
                  <a:cubicBezTo>
                    <a:pt x="5061109" y="186214"/>
                    <a:pt x="5059204" y="180499"/>
                    <a:pt x="5058251" y="174784"/>
                  </a:cubicBezTo>
                  <a:cubicBezTo>
                    <a:pt x="5057299" y="169069"/>
                    <a:pt x="5056346" y="164306"/>
                    <a:pt x="5055394" y="159544"/>
                  </a:cubicBezTo>
                  <a:cubicBezTo>
                    <a:pt x="5051584" y="140494"/>
                    <a:pt x="5049679" y="130016"/>
                    <a:pt x="5049679" y="130016"/>
                  </a:cubicBezTo>
                  <a:cubicBezTo>
                    <a:pt x="5049679" y="130016"/>
                    <a:pt x="5050631" y="140494"/>
                    <a:pt x="5050631" y="159544"/>
                  </a:cubicBezTo>
                  <a:cubicBezTo>
                    <a:pt x="5050631" y="164306"/>
                    <a:pt x="5051584" y="169069"/>
                    <a:pt x="5051584" y="174784"/>
                  </a:cubicBezTo>
                  <a:cubicBezTo>
                    <a:pt x="5052537" y="180499"/>
                    <a:pt x="5052537" y="186214"/>
                    <a:pt x="5053489" y="192881"/>
                  </a:cubicBezTo>
                  <a:cubicBezTo>
                    <a:pt x="5055394" y="206216"/>
                    <a:pt x="5056346" y="220504"/>
                    <a:pt x="5059204" y="236696"/>
                  </a:cubicBezTo>
                  <a:cubicBezTo>
                    <a:pt x="5060156" y="240506"/>
                    <a:pt x="5061109" y="245269"/>
                    <a:pt x="5061109" y="249079"/>
                  </a:cubicBezTo>
                  <a:cubicBezTo>
                    <a:pt x="5059204" y="254794"/>
                    <a:pt x="5057299" y="262414"/>
                    <a:pt x="5055394" y="270034"/>
                  </a:cubicBezTo>
                  <a:cubicBezTo>
                    <a:pt x="5054442" y="270986"/>
                    <a:pt x="5053489" y="270986"/>
                    <a:pt x="5052537" y="271939"/>
                  </a:cubicBezTo>
                  <a:cubicBezTo>
                    <a:pt x="5052537" y="271939"/>
                    <a:pt x="5052537" y="271939"/>
                    <a:pt x="5052537" y="271939"/>
                  </a:cubicBezTo>
                  <a:cubicBezTo>
                    <a:pt x="5051584" y="269081"/>
                    <a:pt x="5051584" y="267176"/>
                    <a:pt x="5051584" y="267176"/>
                  </a:cubicBezTo>
                  <a:cubicBezTo>
                    <a:pt x="5051584" y="267176"/>
                    <a:pt x="5051584" y="268129"/>
                    <a:pt x="5051584" y="269081"/>
                  </a:cubicBezTo>
                  <a:cubicBezTo>
                    <a:pt x="5050631" y="266224"/>
                    <a:pt x="5049679" y="264319"/>
                    <a:pt x="5048726" y="261461"/>
                  </a:cubicBezTo>
                  <a:cubicBezTo>
                    <a:pt x="5048726" y="261461"/>
                    <a:pt x="5048726" y="261461"/>
                    <a:pt x="5048726" y="261461"/>
                  </a:cubicBezTo>
                  <a:cubicBezTo>
                    <a:pt x="5049679" y="255746"/>
                    <a:pt x="5050631" y="252889"/>
                    <a:pt x="5050631" y="252889"/>
                  </a:cubicBezTo>
                  <a:cubicBezTo>
                    <a:pt x="5050631" y="252889"/>
                    <a:pt x="5049679" y="254794"/>
                    <a:pt x="5047774" y="259556"/>
                  </a:cubicBezTo>
                  <a:cubicBezTo>
                    <a:pt x="5043964" y="250984"/>
                    <a:pt x="5041106" y="243364"/>
                    <a:pt x="5039201" y="236696"/>
                  </a:cubicBezTo>
                  <a:cubicBezTo>
                    <a:pt x="5034439" y="222409"/>
                    <a:pt x="5031581" y="214789"/>
                    <a:pt x="5031581" y="214789"/>
                  </a:cubicBezTo>
                  <a:cubicBezTo>
                    <a:pt x="5031581" y="214789"/>
                    <a:pt x="5033487" y="223361"/>
                    <a:pt x="5035392" y="237649"/>
                  </a:cubicBezTo>
                  <a:cubicBezTo>
                    <a:pt x="5036344" y="243364"/>
                    <a:pt x="5037296" y="249079"/>
                    <a:pt x="5039201" y="256699"/>
                  </a:cubicBezTo>
                  <a:cubicBezTo>
                    <a:pt x="5038249" y="258604"/>
                    <a:pt x="5036344" y="261461"/>
                    <a:pt x="5034439" y="265271"/>
                  </a:cubicBezTo>
                  <a:cubicBezTo>
                    <a:pt x="5034439" y="264319"/>
                    <a:pt x="5034439" y="263366"/>
                    <a:pt x="5034439" y="262414"/>
                  </a:cubicBezTo>
                  <a:cubicBezTo>
                    <a:pt x="5033487" y="253841"/>
                    <a:pt x="5031581" y="247174"/>
                    <a:pt x="5030629" y="241459"/>
                  </a:cubicBezTo>
                  <a:cubicBezTo>
                    <a:pt x="5028724" y="230029"/>
                    <a:pt x="5026819" y="223361"/>
                    <a:pt x="5026819" y="223361"/>
                  </a:cubicBezTo>
                  <a:cubicBezTo>
                    <a:pt x="5026819" y="223361"/>
                    <a:pt x="5026819" y="230029"/>
                    <a:pt x="5025867" y="242411"/>
                  </a:cubicBezTo>
                  <a:cubicBezTo>
                    <a:pt x="5025867" y="248126"/>
                    <a:pt x="5025867" y="255746"/>
                    <a:pt x="5025867" y="263366"/>
                  </a:cubicBezTo>
                  <a:cubicBezTo>
                    <a:pt x="5025867" y="267176"/>
                    <a:pt x="5025867" y="271939"/>
                    <a:pt x="5025867" y="276701"/>
                  </a:cubicBezTo>
                  <a:cubicBezTo>
                    <a:pt x="5025867" y="277654"/>
                    <a:pt x="5025867" y="279559"/>
                    <a:pt x="5025867" y="281464"/>
                  </a:cubicBezTo>
                  <a:cubicBezTo>
                    <a:pt x="5020151" y="274796"/>
                    <a:pt x="5015389" y="268129"/>
                    <a:pt x="5010626" y="263366"/>
                  </a:cubicBezTo>
                  <a:cubicBezTo>
                    <a:pt x="5003006" y="255746"/>
                    <a:pt x="4998244" y="250984"/>
                    <a:pt x="4995387" y="248126"/>
                  </a:cubicBezTo>
                  <a:cubicBezTo>
                    <a:pt x="4996339" y="245269"/>
                    <a:pt x="4997292" y="243364"/>
                    <a:pt x="4997292" y="243364"/>
                  </a:cubicBezTo>
                  <a:cubicBezTo>
                    <a:pt x="4997292" y="243364"/>
                    <a:pt x="4996339" y="245269"/>
                    <a:pt x="4994434" y="248126"/>
                  </a:cubicBezTo>
                  <a:cubicBezTo>
                    <a:pt x="4993481" y="247174"/>
                    <a:pt x="4992529" y="246221"/>
                    <a:pt x="4992529" y="246221"/>
                  </a:cubicBezTo>
                  <a:cubicBezTo>
                    <a:pt x="4994434" y="211931"/>
                    <a:pt x="4994434" y="190024"/>
                    <a:pt x="4994434" y="190024"/>
                  </a:cubicBezTo>
                  <a:cubicBezTo>
                    <a:pt x="4994434" y="190024"/>
                    <a:pt x="4988719" y="210026"/>
                    <a:pt x="4983004" y="240506"/>
                  </a:cubicBezTo>
                  <a:cubicBezTo>
                    <a:pt x="4982051" y="239554"/>
                    <a:pt x="4981099" y="238601"/>
                    <a:pt x="4981099" y="238601"/>
                  </a:cubicBezTo>
                  <a:cubicBezTo>
                    <a:pt x="4967764" y="226219"/>
                    <a:pt x="4959192" y="219551"/>
                    <a:pt x="4959192" y="219551"/>
                  </a:cubicBezTo>
                  <a:cubicBezTo>
                    <a:pt x="4959192" y="219551"/>
                    <a:pt x="4965859" y="227171"/>
                    <a:pt x="4978242" y="241459"/>
                  </a:cubicBezTo>
                  <a:cubicBezTo>
                    <a:pt x="4979194" y="243364"/>
                    <a:pt x="4981099" y="244316"/>
                    <a:pt x="4982051" y="246221"/>
                  </a:cubicBezTo>
                  <a:cubicBezTo>
                    <a:pt x="4982051" y="247174"/>
                    <a:pt x="4982051" y="248126"/>
                    <a:pt x="4982051" y="248126"/>
                  </a:cubicBezTo>
                  <a:cubicBezTo>
                    <a:pt x="4980146" y="257651"/>
                    <a:pt x="4978242" y="268129"/>
                    <a:pt x="4976337" y="279559"/>
                  </a:cubicBezTo>
                  <a:cubicBezTo>
                    <a:pt x="4974431" y="283369"/>
                    <a:pt x="4971574" y="287179"/>
                    <a:pt x="4969669" y="290989"/>
                  </a:cubicBezTo>
                  <a:cubicBezTo>
                    <a:pt x="4965859" y="281464"/>
                    <a:pt x="4963001" y="272891"/>
                    <a:pt x="4960144" y="265271"/>
                  </a:cubicBezTo>
                  <a:cubicBezTo>
                    <a:pt x="4960144" y="265271"/>
                    <a:pt x="4960144" y="264319"/>
                    <a:pt x="4960144" y="264319"/>
                  </a:cubicBezTo>
                  <a:cubicBezTo>
                    <a:pt x="4960144" y="253841"/>
                    <a:pt x="4960144" y="245269"/>
                    <a:pt x="4959192" y="237649"/>
                  </a:cubicBezTo>
                  <a:cubicBezTo>
                    <a:pt x="4958239" y="223361"/>
                    <a:pt x="4958239" y="215741"/>
                    <a:pt x="4958239" y="214789"/>
                  </a:cubicBezTo>
                  <a:cubicBezTo>
                    <a:pt x="4963001" y="194786"/>
                    <a:pt x="4965859" y="177641"/>
                    <a:pt x="4968717" y="164306"/>
                  </a:cubicBezTo>
                  <a:cubicBezTo>
                    <a:pt x="4972526" y="145256"/>
                    <a:pt x="4974431" y="134779"/>
                    <a:pt x="4974431" y="134779"/>
                  </a:cubicBezTo>
                  <a:cubicBezTo>
                    <a:pt x="4974431" y="134779"/>
                    <a:pt x="4970621" y="145256"/>
                    <a:pt x="4964906" y="163354"/>
                  </a:cubicBezTo>
                  <a:cubicBezTo>
                    <a:pt x="4962049" y="171926"/>
                    <a:pt x="4959192" y="181451"/>
                    <a:pt x="4955381" y="191929"/>
                  </a:cubicBezTo>
                  <a:cubicBezTo>
                    <a:pt x="4955381" y="182404"/>
                    <a:pt x="4955381" y="176689"/>
                    <a:pt x="4955381" y="176689"/>
                  </a:cubicBezTo>
                  <a:cubicBezTo>
                    <a:pt x="4955381" y="176689"/>
                    <a:pt x="4954429" y="186214"/>
                    <a:pt x="4952524" y="202406"/>
                  </a:cubicBezTo>
                  <a:cubicBezTo>
                    <a:pt x="4952524" y="202406"/>
                    <a:pt x="4952524" y="203359"/>
                    <a:pt x="4952524" y="203359"/>
                  </a:cubicBezTo>
                  <a:cubicBezTo>
                    <a:pt x="4949667" y="210979"/>
                    <a:pt x="4947762" y="218599"/>
                    <a:pt x="4944904" y="227171"/>
                  </a:cubicBezTo>
                  <a:cubicBezTo>
                    <a:pt x="4944904" y="227171"/>
                    <a:pt x="4944904" y="226219"/>
                    <a:pt x="4944904" y="226219"/>
                  </a:cubicBezTo>
                  <a:cubicBezTo>
                    <a:pt x="4939189" y="209074"/>
                    <a:pt x="4936331" y="199549"/>
                    <a:pt x="4936331" y="199549"/>
                  </a:cubicBezTo>
                  <a:cubicBezTo>
                    <a:pt x="4936331" y="199549"/>
                    <a:pt x="4938237" y="213836"/>
                    <a:pt x="4942046" y="236696"/>
                  </a:cubicBezTo>
                  <a:cubicBezTo>
                    <a:pt x="4942046" y="237649"/>
                    <a:pt x="4941094" y="238601"/>
                    <a:pt x="4941094" y="239554"/>
                  </a:cubicBezTo>
                  <a:cubicBezTo>
                    <a:pt x="4935379" y="255746"/>
                    <a:pt x="4929664" y="273844"/>
                    <a:pt x="4922996" y="292894"/>
                  </a:cubicBezTo>
                  <a:cubicBezTo>
                    <a:pt x="4922996" y="291941"/>
                    <a:pt x="4922996" y="290036"/>
                    <a:pt x="4922996" y="289084"/>
                  </a:cubicBezTo>
                  <a:cubicBezTo>
                    <a:pt x="4921092" y="275749"/>
                    <a:pt x="4920139" y="269081"/>
                    <a:pt x="4920139" y="269081"/>
                  </a:cubicBezTo>
                  <a:cubicBezTo>
                    <a:pt x="4920139" y="269081"/>
                    <a:pt x="4919187" y="276701"/>
                    <a:pt x="4919187" y="290036"/>
                  </a:cubicBezTo>
                  <a:cubicBezTo>
                    <a:pt x="4919187" y="291941"/>
                    <a:pt x="4919187" y="293846"/>
                    <a:pt x="4919187" y="296704"/>
                  </a:cubicBezTo>
                  <a:cubicBezTo>
                    <a:pt x="4918234" y="293846"/>
                    <a:pt x="4918234" y="290989"/>
                    <a:pt x="4917281" y="289084"/>
                  </a:cubicBezTo>
                  <a:cubicBezTo>
                    <a:pt x="4915376" y="279559"/>
                    <a:pt x="4913471" y="271939"/>
                    <a:pt x="4911567" y="266224"/>
                  </a:cubicBezTo>
                  <a:cubicBezTo>
                    <a:pt x="4907756" y="253841"/>
                    <a:pt x="4904899" y="246221"/>
                    <a:pt x="4904899" y="246221"/>
                  </a:cubicBezTo>
                  <a:cubicBezTo>
                    <a:pt x="4904899" y="246221"/>
                    <a:pt x="4905851" y="253841"/>
                    <a:pt x="4907756" y="267176"/>
                  </a:cubicBezTo>
                  <a:cubicBezTo>
                    <a:pt x="4908709" y="273844"/>
                    <a:pt x="4908709" y="281464"/>
                    <a:pt x="4909662" y="290989"/>
                  </a:cubicBezTo>
                  <a:cubicBezTo>
                    <a:pt x="4910614" y="299561"/>
                    <a:pt x="4910614" y="310039"/>
                    <a:pt x="4911567" y="321469"/>
                  </a:cubicBezTo>
                  <a:cubicBezTo>
                    <a:pt x="4910614" y="323374"/>
                    <a:pt x="4909662" y="325279"/>
                    <a:pt x="4908709" y="327184"/>
                  </a:cubicBezTo>
                  <a:cubicBezTo>
                    <a:pt x="4906804" y="322421"/>
                    <a:pt x="4903946" y="317659"/>
                    <a:pt x="4902042" y="313849"/>
                  </a:cubicBezTo>
                  <a:cubicBezTo>
                    <a:pt x="4899184" y="308134"/>
                    <a:pt x="4896326" y="302419"/>
                    <a:pt x="4894421" y="298609"/>
                  </a:cubicBezTo>
                  <a:cubicBezTo>
                    <a:pt x="4893469" y="290036"/>
                    <a:pt x="4892517" y="285274"/>
                    <a:pt x="4892517" y="285274"/>
                  </a:cubicBezTo>
                  <a:cubicBezTo>
                    <a:pt x="4892517" y="285274"/>
                    <a:pt x="4892517" y="288131"/>
                    <a:pt x="4891564" y="293846"/>
                  </a:cubicBezTo>
                  <a:cubicBezTo>
                    <a:pt x="4889659" y="290989"/>
                    <a:pt x="4888706" y="289084"/>
                    <a:pt x="4888706" y="289084"/>
                  </a:cubicBezTo>
                  <a:cubicBezTo>
                    <a:pt x="4888706" y="289084"/>
                    <a:pt x="4889659" y="291941"/>
                    <a:pt x="4891564" y="295751"/>
                  </a:cubicBezTo>
                  <a:cubicBezTo>
                    <a:pt x="4890612" y="306229"/>
                    <a:pt x="4888706" y="324326"/>
                    <a:pt x="4887754" y="348139"/>
                  </a:cubicBezTo>
                  <a:cubicBezTo>
                    <a:pt x="4887754" y="350996"/>
                    <a:pt x="4887754" y="354806"/>
                    <a:pt x="4887754" y="357664"/>
                  </a:cubicBezTo>
                  <a:cubicBezTo>
                    <a:pt x="4885849" y="354806"/>
                    <a:pt x="4883944" y="352901"/>
                    <a:pt x="4882991" y="350996"/>
                  </a:cubicBezTo>
                  <a:cubicBezTo>
                    <a:pt x="4882991" y="347186"/>
                    <a:pt x="4882039" y="343376"/>
                    <a:pt x="4882039" y="338614"/>
                  </a:cubicBezTo>
                  <a:cubicBezTo>
                    <a:pt x="4882039" y="338614"/>
                    <a:pt x="4882039" y="337661"/>
                    <a:pt x="4882039" y="337661"/>
                  </a:cubicBezTo>
                  <a:cubicBezTo>
                    <a:pt x="4882991" y="333851"/>
                    <a:pt x="4882991" y="330041"/>
                    <a:pt x="4883944" y="327184"/>
                  </a:cubicBezTo>
                  <a:cubicBezTo>
                    <a:pt x="4884896" y="324326"/>
                    <a:pt x="4884896" y="321469"/>
                    <a:pt x="4885849" y="319564"/>
                  </a:cubicBezTo>
                  <a:cubicBezTo>
                    <a:pt x="4886801" y="315754"/>
                    <a:pt x="4887754" y="312896"/>
                    <a:pt x="4887754" y="312896"/>
                  </a:cubicBezTo>
                  <a:cubicBezTo>
                    <a:pt x="4887754" y="312896"/>
                    <a:pt x="4886801" y="314801"/>
                    <a:pt x="4884896" y="318611"/>
                  </a:cubicBezTo>
                  <a:cubicBezTo>
                    <a:pt x="4883944" y="320516"/>
                    <a:pt x="4882991" y="323374"/>
                    <a:pt x="4882039" y="326231"/>
                  </a:cubicBezTo>
                  <a:cubicBezTo>
                    <a:pt x="4882039" y="327184"/>
                    <a:pt x="4882039" y="327184"/>
                    <a:pt x="4882039" y="328136"/>
                  </a:cubicBezTo>
                  <a:cubicBezTo>
                    <a:pt x="4882039" y="327184"/>
                    <a:pt x="4882039" y="326231"/>
                    <a:pt x="4882039" y="326231"/>
                  </a:cubicBezTo>
                  <a:cubicBezTo>
                    <a:pt x="4880134" y="312896"/>
                    <a:pt x="4878229" y="300514"/>
                    <a:pt x="4877276" y="288131"/>
                  </a:cubicBezTo>
                  <a:cubicBezTo>
                    <a:pt x="4876324" y="279559"/>
                    <a:pt x="4874419" y="270986"/>
                    <a:pt x="4873466" y="263366"/>
                  </a:cubicBezTo>
                  <a:cubicBezTo>
                    <a:pt x="4875372" y="253841"/>
                    <a:pt x="4876324" y="245269"/>
                    <a:pt x="4878229" y="238601"/>
                  </a:cubicBezTo>
                  <a:cubicBezTo>
                    <a:pt x="4881087" y="221456"/>
                    <a:pt x="4882039" y="211931"/>
                    <a:pt x="4882039" y="211931"/>
                  </a:cubicBezTo>
                  <a:cubicBezTo>
                    <a:pt x="4882039" y="211931"/>
                    <a:pt x="4879181" y="221456"/>
                    <a:pt x="4874419" y="237649"/>
                  </a:cubicBezTo>
                  <a:cubicBezTo>
                    <a:pt x="4873466" y="241459"/>
                    <a:pt x="4872514" y="245269"/>
                    <a:pt x="4870609" y="249079"/>
                  </a:cubicBezTo>
                  <a:cubicBezTo>
                    <a:pt x="4869656" y="242411"/>
                    <a:pt x="4867751" y="236696"/>
                    <a:pt x="4866799" y="231934"/>
                  </a:cubicBezTo>
                  <a:cubicBezTo>
                    <a:pt x="4863941" y="218599"/>
                    <a:pt x="4862037" y="210979"/>
                    <a:pt x="4862037" y="210979"/>
                  </a:cubicBezTo>
                  <a:cubicBezTo>
                    <a:pt x="4862037" y="210979"/>
                    <a:pt x="4862037" y="218599"/>
                    <a:pt x="4862989" y="232886"/>
                  </a:cubicBezTo>
                  <a:cubicBezTo>
                    <a:pt x="4862989" y="237649"/>
                    <a:pt x="4863941" y="242411"/>
                    <a:pt x="4863941" y="248126"/>
                  </a:cubicBezTo>
                  <a:cubicBezTo>
                    <a:pt x="4863941" y="250984"/>
                    <a:pt x="4863941" y="255746"/>
                    <a:pt x="4863941" y="261461"/>
                  </a:cubicBezTo>
                  <a:cubicBezTo>
                    <a:pt x="4862989" y="262414"/>
                    <a:pt x="4862037" y="263366"/>
                    <a:pt x="4860131" y="264319"/>
                  </a:cubicBezTo>
                  <a:cubicBezTo>
                    <a:pt x="4856322" y="268129"/>
                    <a:pt x="4850606" y="272891"/>
                    <a:pt x="4843939" y="281464"/>
                  </a:cubicBezTo>
                  <a:cubicBezTo>
                    <a:pt x="4842987" y="277654"/>
                    <a:pt x="4842034" y="273844"/>
                    <a:pt x="4841081" y="270986"/>
                  </a:cubicBezTo>
                  <a:cubicBezTo>
                    <a:pt x="4842034" y="268129"/>
                    <a:pt x="4842987" y="266224"/>
                    <a:pt x="4842987" y="266224"/>
                  </a:cubicBezTo>
                  <a:cubicBezTo>
                    <a:pt x="4842987" y="266224"/>
                    <a:pt x="4842034" y="267176"/>
                    <a:pt x="4841081" y="269081"/>
                  </a:cubicBezTo>
                  <a:cubicBezTo>
                    <a:pt x="4840129" y="265271"/>
                    <a:pt x="4840129" y="262414"/>
                    <a:pt x="4840129" y="262414"/>
                  </a:cubicBezTo>
                  <a:cubicBezTo>
                    <a:pt x="4840129" y="262414"/>
                    <a:pt x="4840129" y="265271"/>
                    <a:pt x="4840129" y="270034"/>
                  </a:cubicBezTo>
                  <a:cubicBezTo>
                    <a:pt x="4838224" y="271939"/>
                    <a:pt x="4836319" y="274796"/>
                    <a:pt x="4833462" y="278606"/>
                  </a:cubicBezTo>
                  <a:cubicBezTo>
                    <a:pt x="4830604" y="283369"/>
                    <a:pt x="4826794" y="288131"/>
                    <a:pt x="4822984" y="294799"/>
                  </a:cubicBezTo>
                  <a:cubicBezTo>
                    <a:pt x="4821079" y="297656"/>
                    <a:pt x="4819174" y="301466"/>
                    <a:pt x="4816316" y="304324"/>
                  </a:cubicBezTo>
                  <a:cubicBezTo>
                    <a:pt x="4814412" y="308134"/>
                    <a:pt x="4812506" y="311944"/>
                    <a:pt x="4809649" y="315754"/>
                  </a:cubicBezTo>
                  <a:cubicBezTo>
                    <a:pt x="4809649" y="316706"/>
                    <a:pt x="4808697" y="317659"/>
                    <a:pt x="4807744" y="318611"/>
                  </a:cubicBezTo>
                  <a:cubicBezTo>
                    <a:pt x="4807744" y="309086"/>
                    <a:pt x="4807744" y="304324"/>
                    <a:pt x="4807744" y="304324"/>
                  </a:cubicBezTo>
                  <a:cubicBezTo>
                    <a:pt x="4807744" y="304324"/>
                    <a:pt x="4805839" y="312896"/>
                    <a:pt x="4803934" y="327184"/>
                  </a:cubicBezTo>
                  <a:cubicBezTo>
                    <a:pt x="4801076" y="331946"/>
                    <a:pt x="4798219" y="336709"/>
                    <a:pt x="4795362" y="342424"/>
                  </a:cubicBezTo>
                  <a:cubicBezTo>
                    <a:pt x="4795362" y="335756"/>
                    <a:pt x="4795362" y="330041"/>
                    <a:pt x="4795362" y="324326"/>
                  </a:cubicBezTo>
                  <a:cubicBezTo>
                    <a:pt x="4795362" y="319564"/>
                    <a:pt x="4795362" y="315754"/>
                    <a:pt x="4795362" y="311944"/>
                  </a:cubicBezTo>
                  <a:cubicBezTo>
                    <a:pt x="4796314" y="308134"/>
                    <a:pt x="4796314" y="305276"/>
                    <a:pt x="4796314" y="302419"/>
                  </a:cubicBezTo>
                  <a:cubicBezTo>
                    <a:pt x="4796314" y="300514"/>
                    <a:pt x="4796314" y="299561"/>
                    <a:pt x="4797266" y="297656"/>
                  </a:cubicBezTo>
                  <a:cubicBezTo>
                    <a:pt x="4799172" y="286226"/>
                    <a:pt x="4802029" y="274796"/>
                    <a:pt x="4803934" y="264319"/>
                  </a:cubicBezTo>
                  <a:cubicBezTo>
                    <a:pt x="4811554" y="221456"/>
                    <a:pt x="4815364" y="192881"/>
                    <a:pt x="4815364" y="192881"/>
                  </a:cubicBezTo>
                  <a:cubicBezTo>
                    <a:pt x="4815364" y="192881"/>
                    <a:pt x="4804887" y="220504"/>
                    <a:pt x="4792504" y="262414"/>
                  </a:cubicBezTo>
                  <a:cubicBezTo>
                    <a:pt x="4791551" y="264319"/>
                    <a:pt x="4791551" y="266224"/>
                    <a:pt x="4790599" y="268129"/>
                  </a:cubicBezTo>
                  <a:cubicBezTo>
                    <a:pt x="4788694" y="256699"/>
                    <a:pt x="4788694" y="250031"/>
                    <a:pt x="4788694" y="250031"/>
                  </a:cubicBezTo>
                  <a:cubicBezTo>
                    <a:pt x="4788694" y="250031"/>
                    <a:pt x="4788694" y="257651"/>
                    <a:pt x="4787741" y="270986"/>
                  </a:cubicBezTo>
                  <a:cubicBezTo>
                    <a:pt x="4787741" y="273844"/>
                    <a:pt x="4787741" y="277654"/>
                    <a:pt x="4787741" y="281464"/>
                  </a:cubicBezTo>
                  <a:cubicBezTo>
                    <a:pt x="4785837" y="287179"/>
                    <a:pt x="4783931" y="292894"/>
                    <a:pt x="4782979" y="299561"/>
                  </a:cubicBezTo>
                  <a:cubicBezTo>
                    <a:pt x="4782979" y="297656"/>
                    <a:pt x="4782979" y="295751"/>
                    <a:pt x="4782979" y="293846"/>
                  </a:cubicBezTo>
                  <a:cubicBezTo>
                    <a:pt x="4783931" y="282416"/>
                    <a:pt x="4783931" y="271939"/>
                    <a:pt x="4784884" y="263366"/>
                  </a:cubicBezTo>
                  <a:cubicBezTo>
                    <a:pt x="4785837" y="253841"/>
                    <a:pt x="4785837" y="246221"/>
                    <a:pt x="4786789" y="239554"/>
                  </a:cubicBezTo>
                  <a:cubicBezTo>
                    <a:pt x="4788694" y="226219"/>
                    <a:pt x="4789647" y="218599"/>
                    <a:pt x="4789647" y="218599"/>
                  </a:cubicBezTo>
                  <a:cubicBezTo>
                    <a:pt x="4789647" y="218599"/>
                    <a:pt x="4787741" y="226219"/>
                    <a:pt x="4782979" y="238601"/>
                  </a:cubicBezTo>
                  <a:cubicBezTo>
                    <a:pt x="4781074" y="245269"/>
                    <a:pt x="4779169" y="252889"/>
                    <a:pt x="4777264" y="262414"/>
                  </a:cubicBezTo>
                  <a:cubicBezTo>
                    <a:pt x="4776312" y="264319"/>
                    <a:pt x="4776312" y="266224"/>
                    <a:pt x="4776312" y="269081"/>
                  </a:cubicBezTo>
                  <a:cubicBezTo>
                    <a:pt x="4774406" y="257651"/>
                    <a:pt x="4773454" y="251936"/>
                    <a:pt x="4773454" y="251936"/>
                  </a:cubicBezTo>
                  <a:cubicBezTo>
                    <a:pt x="4773454" y="251936"/>
                    <a:pt x="4773454" y="264319"/>
                    <a:pt x="4773454" y="284321"/>
                  </a:cubicBezTo>
                  <a:cubicBezTo>
                    <a:pt x="4772501" y="287179"/>
                    <a:pt x="4772501" y="290989"/>
                    <a:pt x="4771549" y="293846"/>
                  </a:cubicBezTo>
                  <a:cubicBezTo>
                    <a:pt x="4771549" y="294799"/>
                    <a:pt x="4771549" y="294799"/>
                    <a:pt x="4771549" y="295751"/>
                  </a:cubicBezTo>
                  <a:cubicBezTo>
                    <a:pt x="4769644" y="273844"/>
                    <a:pt x="4767739" y="260509"/>
                    <a:pt x="4767739" y="260509"/>
                  </a:cubicBezTo>
                  <a:cubicBezTo>
                    <a:pt x="4767739" y="260509"/>
                    <a:pt x="4765834" y="274796"/>
                    <a:pt x="4764881" y="297656"/>
                  </a:cubicBezTo>
                  <a:cubicBezTo>
                    <a:pt x="4762024" y="290036"/>
                    <a:pt x="4758214" y="283369"/>
                    <a:pt x="4755356" y="276701"/>
                  </a:cubicBezTo>
                  <a:cubicBezTo>
                    <a:pt x="4753451" y="273844"/>
                    <a:pt x="4752499" y="271939"/>
                    <a:pt x="4750594" y="270034"/>
                  </a:cubicBezTo>
                  <a:cubicBezTo>
                    <a:pt x="4753451" y="260509"/>
                    <a:pt x="4755356" y="251936"/>
                    <a:pt x="4758214" y="243364"/>
                  </a:cubicBezTo>
                  <a:cubicBezTo>
                    <a:pt x="4767739" y="209074"/>
                    <a:pt x="4774406" y="180499"/>
                    <a:pt x="4780122" y="161449"/>
                  </a:cubicBezTo>
                  <a:cubicBezTo>
                    <a:pt x="4784884" y="141446"/>
                    <a:pt x="4787741" y="130016"/>
                    <a:pt x="4787741" y="130016"/>
                  </a:cubicBezTo>
                  <a:cubicBezTo>
                    <a:pt x="4787741" y="130016"/>
                    <a:pt x="4782979" y="140494"/>
                    <a:pt x="4776312" y="160496"/>
                  </a:cubicBezTo>
                  <a:cubicBezTo>
                    <a:pt x="4769644" y="179546"/>
                    <a:pt x="4759166" y="207169"/>
                    <a:pt x="4747737" y="240506"/>
                  </a:cubicBezTo>
                  <a:cubicBezTo>
                    <a:pt x="4745831" y="246221"/>
                    <a:pt x="4743926" y="251936"/>
                    <a:pt x="4742022" y="257651"/>
                  </a:cubicBezTo>
                  <a:cubicBezTo>
                    <a:pt x="4742022" y="257651"/>
                    <a:pt x="4742022" y="257651"/>
                    <a:pt x="4742022" y="257651"/>
                  </a:cubicBezTo>
                  <a:cubicBezTo>
                    <a:pt x="4737259" y="251936"/>
                    <a:pt x="4732497" y="248126"/>
                    <a:pt x="4727734" y="244316"/>
                  </a:cubicBezTo>
                  <a:cubicBezTo>
                    <a:pt x="4725829" y="242411"/>
                    <a:pt x="4722972" y="241459"/>
                    <a:pt x="4721066" y="240506"/>
                  </a:cubicBezTo>
                  <a:cubicBezTo>
                    <a:pt x="4719162" y="239554"/>
                    <a:pt x="4717256" y="238601"/>
                    <a:pt x="4716304" y="238601"/>
                  </a:cubicBezTo>
                  <a:cubicBezTo>
                    <a:pt x="4713447" y="237649"/>
                    <a:pt x="4712494" y="237649"/>
                    <a:pt x="4712494" y="237649"/>
                  </a:cubicBezTo>
                  <a:cubicBezTo>
                    <a:pt x="4712494" y="237649"/>
                    <a:pt x="4713447" y="238601"/>
                    <a:pt x="4716304" y="239554"/>
                  </a:cubicBezTo>
                  <a:cubicBezTo>
                    <a:pt x="4719162" y="240506"/>
                    <a:pt x="4722019" y="243364"/>
                    <a:pt x="4725829" y="246221"/>
                  </a:cubicBezTo>
                  <a:cubicBezTo>
                    <a:pt x="4729639" y="250031"/>
                    <a:pt x="4733449" y="254794"/>
                    <a:pt x="4736306" y="260509"/>
                  </a:cubicBezTo>
                  <a:cubicBezTo>
                    <a:pt x="4737259" y="262414"/>
                    <a:pt x="4738212" y="264319"/>
                    <a:pt x="4739164" y="266224"/>
                  </a:cubicBezTo>
                  <a:cubicBezTo>
                    <a:pt x="4736306" y="274796"/>
                    <a:pt x="4732497" y="284321"/>
                    <a:pt x="4729639" y="293846"/>
                  </a:cubicBezTo>
                  <a:cubicBezTo>
                    <a:pt x="4729639" y="294799"/>
                    <a:pt x="4729639" y="294799"/>
                    <a:pt x="4728687" y="295751"/>
                  </a:cubicBezTo>
                  <a:cubicBezTo>
                    <a:pt x="4728687" y="295751"/>
                    <a:pt x="4728687" y="295751"/>
                    <a:pt x="4728687" y="294799"/>
                  </a:cubicBezTo>
                  <a:cubicBezTo>
                    <a:pt x="4728687" y="291941"/>
                    <a:pt x="4728687" y="290989"/>
                    <a:pt x="4728687" y="290989"/>
                  </a:cubicBezTo>
                  <a:cubicBezTo>
                    <a:pt x="4728687" y="290989"/>
                    <a:pt x="4728687" y="291941"/>
                    <a:pt x="4727734" y="293846"/>
                  </a:cubicBezTo>
                  <a:cubicBezTo>
                    <a:pt x="4723924" y="285274"/>
                    <a:pt x="4720114" y="277654"/>
                    <a:pt x="4717256" y="270986"/>
                  </a:cubicBezTo>
                  <a:cubicBezTo>
                    <a:pt x="4716304" y="269081"/>
                    <a:pt x="4715351" y="267176"/>
                    <a:pt x="4714399" y="265271"/>
                  </a:cubicBezTo>
                  <a:cubicBezTo>
                    <a:pt x="4715351" y="257651"/>
                    <a:pt x="4716304" y="252889"/>
                    <a:pt x="4716304" y="252889"/>
                  </a:cubicBezTo>
                  <a:cubicBezTo>
                    <a:pt x="4716304" y="252889"/>
                    <a:pt x="4715351" y="256699"/>
                    <a:pt x="4713447" y="262414"/>
                  </a:cubicBezTo>
                  <a:cubicBezTo>
                    <a:pt x="4708684" y="252889"/>
                    <a:pt x="4706779" y="248126"/>
                    <a:pt x="4706779" y="248126"/>
                  </a:cubicBezTo>
                  <a:cubicBezTo>
                    <a:pt x="4706779" y="248126"/>
                    <a:pt x="4708684" y="254794"/>
                    <a:pt x="4712494" y="267176"/>
                  </a:cubicBezTo>
                  <a:cubicBezTo>
                    <a:pt x="4711541" y="270034"/>
                    <a:pt x="4710589" y="273844"/>
                    <a:pt x="4708684" y="277654"/>
                  </a:cubicBezTo>
                  <a:cubicBezTo>
                    <a:pt x="4700112" y="251936"/>
                    <a:pt x="4694397" y="236696"/>
                    <a:pt x="4694397" y="236696"/>
                  </a:cubicBezTo>
                  <a:cubicBezTo>
                    <a:pt x="4694397" y="236696"/>
                    <a:pt x="4697254" y="258604"/>
                    <a:pt x="4702969" y="293846"/>
                  </a:cubicBezTo>
                  <a:cubicBezTo>
                    <a:pt x="4700112" y="304324"/>
                    <a:pt x="4696301" y="317659"/>
                    <a:pt x="4691539" y="331946"/>
                  </a:cubicBezTo>
                  <a:cubicBezTo>
                    <a:pt x="4691539" y="330994"/>
                    <a:pt x="4690587" y="330041"/>
                    <a:pt x="4690587" y="329089"/>
                  </a:cubicBezTo>
                  <a:cubicBezTo>
                    <a:pt x="4685824" y="319564"/>
                    <a:pt x="4682966" y="313849"/>
                    <a:pt x="4682966" y="313849"/>
                  </a:cubicBezTo>
                  <a:cubicBezTo>
                    <a:pt x="4682966" y="313849"/>
                    <a:pt x="4683919" y="316706"/>
                    <a:pt x="4684872" y="322421"/>
                  </a:cubicBezTo>
                  <a:cubicBezTo>
                    <a:pt x="4684872" y="322421"/>
                    <a:pt x="4684872" y="322421"/>
                    <a:pt x="4684872" y="322421"/>
                  </a:cubicBezTo>
                  <a:cubicBezTo>
                    <a:pt x="4676299" y="310991"/>
                    <a:pt x="4671537" y="304324"/>
                    <a:pt x="4671537" y="304324"/>
                  </a:cubicBezTo>
                  <a:cubicBezTo>
                    <a:pt x="4671537" y="304324"/>
                    <a:pt x="4675347" y="311944"/>
                    <a:pt x="4682014" y="324326"/>
                  </a:cubicBezTo>
                  <a:cubicBezTo>
                    <a:pt x="4683919" y="328136"/>
                    <a:pt x="4686776" y="332899"/>
                    <a:pt x="4688681" y="337661"/>
                  </a:cubicBezTo>
                  <a:cubicBezTo>
                    <a:pt x="4688681" y="338614"/>
                    <a:pt x="4688681" y="339566"/>
                    <a:pt x="4689634" y="340519"/>
                  </a:cubicBezTo>
                  <a:cubicBezTo>
                    <a:pt x="4687729" y="349091"/>
                    <a:pt x="4684872" y="356711"/>
                    <a:pt x="4682966" y="366236"/>
                  </a:cubicBezTo>
                  <a:cubicBezTo>
                    <a:pt x="4681062" y="364331"/>
                    <a:pt x="4680109" y="361474"/>
                    <a:pt x="4678204" y="359569"/>
                  </a:cubicBezTo>
                  <a:cubicBezTo>
                    <a:pt x="4675347" y="355759"/>
                    <a:pt x="4671537" y="351949"/>
                    <a:pt x="4669631" y="349091"/>
                  </a:cubicBezTo>
                  <a:cubicBezTo>
                    <a:pt x="4669631" y="349091"/>
                    <a:pt x="4669631" y="349091"/>
                    <a:pt x="4668679" y="348139"/>
                  </a:cubicBezTo>
                  <a:cubicBezTo>
                    <a:pt x="4669631" y="341471"/>
                    <a:pt x="4669631" y="335756"/>
                    <a:pt x="4669631" y="330994"/>
                  </a:cubicBezTo>
                  <a:cubicBezTo>
                    <a:pt x="4670584" y="318611"/>
                    <a:pt x="4669631" y="310991"/>
                    <a:pt x="4669631" y="310991"/>
                  </a:cubicBezTo>
                  <a:cubicBezTo>
                    <a:pt x="4669631" y="310991"/>
                    <a:pt x="4669631" y="311944"/>
                    <a:pt x="4669631" y="313849"/>
                  </a:cubicBezTo>
                  <a:cubicBezTo>
                    <a:pt x="4669631" y="310039"/>
                    <a:pt x="4670584" y="305276"/>
                    <a:pt x="4670584" y="301466"/>
                  </a:cubicBezTo>
                  <a:cubicBezTo>
                    <a:pt x="4670584" y="296704"/>
                    <a:pt x="4670584" y="291941"/>
                    <a:pt x="4670584" y="287179"/>
                  </a:cubicBezTo>
                  <a:cubicBezTo>
                    <a:pt x="4672489" y="282416"/>
                    <a:pt x="4673441" y="278606"/>
                    <a:pt x="4675347" y="274796"/>
                  </a:cubicBezTo>
                  <a:cubicBezTo>
                    <a:pt x="4683919" y="259556"/>
                    <a:pt x="4689634" y="250984"/>
                    <a:pt x="4689634" y="250984"/>
                  </a:cubicBezTo>
                  <a:cubicBezTo>
                    <a:pt x="4689634" y="250984"/>
                    <a:pt x="4686776" y="254794"/>
                    <a:pt x="4681062" y="262414"/>
                  </a:cubicBezTo>
                  <a:cubicBezTo>
                    <a:pt x="4684872" y="252889"/>
                    <a:pt x="4686776" y="248126"/>
                    <a:pt x="4686776" y="248126"/>
                  </a:cubicBezTo>
                  <a:cubicBezTo>
                    <a:pt x="4686776" y="248126"/>
                    <a:pt x="4682966" y="254794"/>
                    <a:pt x="4675347" y="265271"/>
                  </a:cubicBezTo>
                  <a:cubicBezTo>
                    <a:pt x="4673441" y="267176"/>
                    <a:pt x="4672489" y="270034"/>
                    <a:pt x="4670584" y="272891"/>
                  </a:cubicBezTo>
                  <a:cubicBezTo>
                    <a:pt x="4670584" y="270986"/>
                    <a:pt x="4670584" y="270034"/>
                    <a:pt x="4670584" y="268129"/>
                  </a:cubicBezTo>
                  <a:cubicBezTo>
                    <a:pt x="4669631" y="261461"/>
                    <a:pt x="4669631" y="255746"/>
                    <a:pt x="4668679" y="250984"/>
                  </a:cubicBezTo>
                  <a:cubicBezTo>
                    <a:pt x="4668679" y="250031"/>
                    <a:pt x="4668679" y="248126"/>
                    <a:pt x="4669631" y="247174"/>
                  </a:cubicBezTo>
                  <a:cubicBezTo>
                    <a:pt x="4671537" y="230981"/>
                    <a:pt x="4671537" y="222409"/>
                    <a:pt x="4671537" y="222409"/>
                  </a:cubicBezTo>
                  <a:cubicBezTo>
                    <a:pt x="4671537" y="222409"/>
                    <a:pt x="4671537" y="224314"/>
                    <a:pt x="4670584" y="229076"/>
                  </a:cubicBezTo>
                  <a:cubicBezTo>
                    <a:pt x="4669631" y="231934"/>
                    <a:pt x="4668679" y="236696"/>
                    <a:pt x="4666774" y="242411"/>
                  </a:cubicBezTo>
                  <a:cubicBezTo>
                    <a:pt x="4666774" y="242411"/>
                    <a:pt x="4666774" y="242411"/>
                    <a:pt x="4666774" y="241459"/>
                  </a:cubicBezTo>
                  <a:cubicBezTo>
                    <a:pt x="4666774" y="241459"/>
                    <a:pt x="4666774" y="241459"/>
                    <a:pt x="4666774" y="241459"/>
                  </a:cubicBezTo>
                  <a:cubicBezTo>
                    <a:pt x="4666774" y="241459"/>
                    <a:pt x="4666774" y="241459"/>
                    <a:pt x="4666774" y="241459"/>
                  </a:cubicBezTo>
                  <a:cubicBezTo>
                    <a:pt x="4665822" y="235744"/>
                    <a:pt x="4663916" y="230981"/>
                    <a:pt x="4662012" y="228124"/>
                  </a:cubicBezTo>
                  <a:cubicBezTo>
                    <a:pt x="4661059" y="224314"/>
                    <a:pt x="4660106" y="222409"/>
                    <a:pt x="4660106" y="222409"/>
                  </a:cubicBezTo>
                  <a:cubicBezTo>
                    <a:pt x="4660106" y="222409"/>
                    <a:pt x="4660106" y="224314"/>
                    <a:pt x="4661059" y="228124"/>
                  </a:cubicBezTo>
                  <a:cubicBezTo>
                    <a:pt x="4662012" y="231934"/>
                    <a:pt x="4662964" y="237649"/>
                    <a:pt x="4662964" y="244316"/>
                  </a:cubicBezTo>
                  <a:cubicBezTo>
                    <a:pt x="4662964" y="245269"/>
                    <a:pt x="4662964" y="245269"/>
                    <a:pt x="4662964" y="246221"/>
                  </a:cubicBezTo>
                  <a:cubicBezTo>
                    <a:pt x="4662964" y="246221"/>
                    <a:pt x="4662964" y="246221"/>
                    <a:pt x="4662964" y="246221"/>
                  </a:cubicBezTo>
                  <a:cubicBezTo>
                    <a:pt x="4660106" y="250031"/>
                    <a:pt x="4657249" y="254794"/>
                    <a:pt x="4654391" y="262414"/>
                  </a:cubicBezTo>
                  <a:cubicBezTo>
                    <a:pt x="4653439" y="265271"/>
                    <a:pt x="4652487" y="268129"/>
                    <a:pt x="4650581" y="271939"/>
                  </a:cubicBezTo>
                  <a:cubicBezTo>
                    <a:pt x="4649629" y="267176"/>
                    <a:pt x="4647724" y="264319"/>
                    <a:pt x="4646772" y="261461"/>
                  </a:cubicBezTo>
                  <a:cubicBezTo>
                    <a:pt x="4646772" y="260509"/>
                    <a:pt x="4645819" y="259556"/>
                    <a:pt x="4645819" y="259556"/>
                  </a:cubicBezTo>
                  <a:cubicBezTo>
                    <a:pt x="4645819" y="257651"/>
                    <a:pt x="4646772" y="255746"/>
                    <a:pt x="4646772" y="253841"/>
                  </a:cubicBezTo>
                  <a:cubicBezTo>
                    <a:pt x="4648676" y="243364"/>
                    <a:pt x="4650581" y="234791"/>
                    <a:pt x="4653439" y="227171"/>
                  </a:cubicBezTo>
                  <a:cubicBezTo>
                    <a:pt x="4657249" y="212884"/>
                    <a:pt x="4660106" y="204311"/>
                    <a:pt x="4660106" y="204311"/>
                  </a:cubicBezTo>
                  <a:cubicBezTo>
                    <a:pt x="4660106" y="204311"/>
                    <a:pt x="4656297" y="211931"/>
                    <a:pt x="4650581" y="226219"/>
                  </a:cubicBezTo>
                  <a:cubicBezTo>
                    <a:pt x="4647724" y="232886"/>
                    <a:pt x="4643914" y="241459"/>
                    <a:pt x="4641056" y="251936"/>
                  </a:cubicBezTo>
                  <a:cubicBezTo>
                    <a:pt x="4639151" y="256699"/>
                    <a:pt x="4637247" y="261461"/>
                    <a:pt x="4636294" y="267176"/>
                  </a:cubicBezTo>
                  <a:cubicBezTo>
                    <a:pt x="4636294" y="264319"/>
                    <a:pt x="4636294" y="261461"/>
                    <a:pt x="4636294" y="259556"/>
                  </a:cubicBezTo>
                  <a:cubicBezTo>
                    <a:pt x="4636294" y="251936"/>
                    <a:pt x="4637247" y="246221"/>
                    <a:pt x="4638199" y="242411"/>
                  </a:cubicBezTo>
                  <a:cubicBezTo>
                    <a:pt x="4639151" y="238601"/>
                    <a:pt x="4639151" y="235744"/>
                    <a:pt x="4639151" y="235744"/>
                  </a:cubicBezTo>
                  <a:cubicBezTo>
                    <a:pt x="4639151" y="235744"/>
                    <a:pt x="4638199" y="237649"/>
                    <a:pt x="4637247" y="241459"/>
                  </a:cubicBezTo>
                  <a:cubicBezTo>
                    <a:pt x="4636294" y="245269"/>
                    <a:pt x="4633437" y="250984"/>
                    <a:pt x="4632484" y="258604"/>
                  </a:cubicBezTo>
                  <a:cubicBezTo>
                    <a:pt x="4632484" y="258604"/>
                    <a:pt x="4632484" y="258604"/>
                    <a:pt x="4632484" y="258604"/>
                  </a:cubicBezTo>
                  <a:cubicBezTo>
                    <a:pt x="4631531" y="255746"/>
                    <a:pt x="4631531" y="254794"/>
                    <a:pt x="4631531" y="254794"/>
                  </a:cubicBezTo>
                  <a:cubicBezTo>
                    <a:pt x="4631531" y="254794"/>
                    <a:pt x="4631531" y="256699"/>
                    <a:pt x="4632484" y="259556"/>
                  </a:cubicBezTo>
                  <a:cubicBezTo>
                    <a:pt x="4630579" y="267176"/>
                    <a:pt x="4629626" y="275749"/>
                    <a:pt x="4628674" y="285274"/>
                  </a:cubicBezTo>
                  <a:cubicBezTo>
                    <a:pt x="4628674" y="288131"/>
                    <a:pt x="4628674" y="290989"/>
                    <a:pt x="4628674" y="293846"/>
                  </a:cubicBezTo>
                  <a:cubicBezTo>
                    <a:pt x="4627722" y="296704"/>
                    <a:pt x="4626769" y="300514"/>
                    <a:pt x="4625816" y="303371"/>
                  </a:cubicBezTo>
                  <a:cubicBezTo>
                    <a:pt x="4619149" y="298609"/>
                    <a:pt x="4614387" y="295751"/>
                    <a:pt x="4610576" y="293846"/>
                  </a:cubicBezTo>
                  <a:cubicBezTo>
                    <a:pt x="4606766" y="291941"/>
                    <a:pt x="4604862" y="290989"/>
                    <a:pt x="4604862" y="290989"/>
                  </a:cubicBezTo>
                  <a:cubicBezTo>
                    <a:pt x="4604862" y="290989"/>
                    <a:pt x="4606766" y="291941"/>
                    <a:pt x="4610576" y="294799"/>
                  </a:cubicBezTo>
                  <a:cubicBezTo>
                    <a:pt x="4614387" y="296704"/>
                    <a:pt x="4619149" y="301466"/>
                    <a:pt x="4624864" y="307181"/>
                  </a:cubicBezTo>
                  <a:cubicBezTo>
                    <a:pt x="4624864" y="307181"/>
                    <a:pt x="4624864" y="307181"/>
                    <a:pt x="4625816" y="308134"/>
                  </a:cubicBezTo>
                  <a:cubicBezTo>
                    <a:pt x="4624864" y="313849"/>
                    <a:pt x="4622959" y="319564"/>
                    <a:pt x="4622006" y="325279"/>
                  </a:cubicBezTo>
                  <a:cubicBezTo>
                    <a:pt x="4621054" y="330994"/>
                    <a:pt x="4620101" y="337661"/>
                    <a:pt x="4619149" y="343376"/>
                  </a:cubicBezTo>
                  <a:cubicBezTo>
                    <a:pt x="4615339" y="330041"/>
                    <a:pt x="4611529" y="317659"/>
                    <a:pt x="4607719" y="306229"/>
                  </a:cubicBezTo>
                  <a:cubicBezTo>
                    <a:pt x="4605814" y="300514"/>
                    <a:pt x="4604862" y="295751"/>
                    <a:pt x="4602956" y="290989"/>
                  </a:cubicBezTo>
                  <a:cubicBezTo>
                    <a:pt x="4602004" y="282416"/>
                    <a:pt x="4601051" y="274796"/>
                    <a:pt x="4601051" y="269081"/>
                  </a:cubicBezTo>
                  <a:cubicBezTo>
                    <a:pt x="4599147" y="255746"/>
                    <a:pt x="4599147" y="248126"/>
                    <a:pt x="4599147" y="248126"/>
                  </a:cubicBezTo>
                  <a:cubicBezTo>
                    <a:pt x="4599147" y="248126"/>
                    <a:pt x="4598194" y="255746"/>
                    <a:pt x="4597241" y="269081"/>
                  </a:cubicBezTo>
                  <a:cubicBezTo>
                    <a:pt x="4597241" y="270034"/>
                    <a:pt x="4597241" y="270986"/>
                    <a:pt x="4597241" y="271939"/>
                  </a:cubicBezTo>
                  <a:cubicBezTo>
                    <a:pt x="4594384" y="263366"/>
                    <a:pt x="4591526" y="255746"/>
                    <a:pt x="4589622" y="250031"/>
                  </a:cubicBezTo>
                  <a:cubicBezTo>
                    <a:pt x="4589622" y="247174"/>
                    <a:pt x="4589622" y="244316"/>
                    <a:pt x="4589622" y="240506"/>
                  </a:cubicBezTo>
                  <a:cubicBezTo>
                    <a:pt x="4590574" y="225266"/>
                    <a:pt x="4590574" y="210979"/>
                    <a:pt x="4590574" y="197644"/>
                  </a:cubicBezTo>
                  <a:cubicBezTo>
                    <a:pt x="4591526" y="144304"/>
                    <a:pt x="4590574" y="109061"/>
                    <a:pt x="4590574" y="109061"/>
                  </a:cubicBezTo>
                  <a:cubicBezTo>
                    <a:pt x="4590574" y="109061"/>
                    <a:pt x="4584859" y="144304"/>
                    <a:pt x="4579144" y="197644"/>
                  </a:cubicBezTo>
                  <a:cubicBezTo>
                    <a:pt x="4578191" y="210979"/>
                    <a:pt x="4576287" y="225266"/>
                    <a:pt x="4574381" y="240506"/>
                  </a:cubicBezTo>
                  <a:cubicBezTo>
                    <a:pt x="4573429" y="245269"/>
                    <a:pt x="4573429" y="250984"/>
                    <a:pt x="4573429" y="256699"/>
                  </a:cubicBezTo>
                  <a:cubicBezTo>
                    <a:pt x="4573429" y="256699"/>
                    <a:pt x="4572476" y="257651"/>
                    <a:pt x="4572476" y="257651"/>
                  </a:cubicBezTo>
                  <a:cubicBezTo>
                    <a:pt x="4569619" y="259556"/>
                    <a:pt x="4566762" y="262414"/>
                    <a:pt x="4563904" y="265271"/>
                  </a:cubicBezTo>
                  <a:cubicBezTo>
                    <a:pt x="4563904" y="265271"/>
                    <a:pt x="4563904" y="264319"/>
                    <a:pt x="4563904" y="264319"/>
                  </a:cubicBezTo>
                  <a:cubicBezTo>
                    <a:pt x="4561999" y="261461"/>
                    <a:pt x="4560094" y="258604"/>
                    <a:pt x="4559141" y="255746"/>
                  </a:cubicBezTo>
                  <a:cubicBezTo>
                    <a:pt x="4559141" y="253841"/>
                    <a:pt x="4560094" y="250984"/>
                    <a:pt x="4560094" y="249079"/>
                  </a:cubicBezTo>
                  <a:cubicBezTo>
                    <a:pt x="4570572" y="195739"/>
                    <a:pt x="4576287" y="159544"/>
                    <a:pt x="4576287" y="159544"/>
                  </a:cubicBezTo>
                  <a:cubicBezTo>
                    <a:pt x="4576287" y="159544"/>
                    <a:pt x="4564856" y="192881"/>
                    <a:pt x="4550569" y="243364"/>
                  </a:cubicBezTo>
                  <a:cubicBezTo>
                    <a:pt x="4550569" y="243364"/>
                    <a:pt x="4550569" y="243364"/>
                    <a:pt x="4550569" y="243364"/>
                  </a:cubicBezTo>
                  <a:cubicBezTo>
                    <a:pt x="4550569" y="243364"/>
                    <a:pt x="4550569" y="243364"/>
                    <a:pt x="4550569" y="243364"/>
                  </a:cubicBezTo>
                  <a:cubicBezTo>
                    <a:pt x="4550569" y="244316"/>
                    <a:pt x="4549616" y="245269"/>
                    <a:pt x="4549616" y="246221"/>
                  </a:cubicBezTo>
                  <a:cubicBezTo>
                    <a:pt x="4549616" y="247174"/>
                    <a:pt x="4549616" y="248126"/>
                    <a:pt x="4548664" y="248126"/>
                  </a:cubicBezTo>
                  <a:cubicBezTo>
                    <a:pt x="4548664" y="248126"/>
                    <a:pt x="4548664" y="248126"/>
                    <a:pt x="4548664" y="248126"/>
                  </a:cubicBezTo>
                  <a:cubicBezTo>
                    <a:pt x="4548664" y="248126"/>
                    <a:pt x="4548664" y="248126"/>
                    <a:pt x="4548664" y="248126"/>
                  </a:cubicBezTo>
                  <a:cubicBezTo>
                    <a:pt x="4544854" y="261461"/>
                    <a:pt x="4540091" y="276701"/>
                    <a:pt x="4536281" y="292894"/>
                  </a:cubicBezTo>
                  <a:cubicBezTo>
                    <a:pt x="4534376" y="261461"/>
                    <a:pt x="4531519" y="241459"/>
                    <a:pt x="4531519" y="241459"/>
                  </a:cubicBezTo>
                  <a:cubicBezTo>
                    <a:pt x="4531519" y="241459"/>
                    <a:pt x="4527709" y="266224"/>
                    <a:pt x="4525804" y="303371"/>
                  </a:cubicBezTo>
                  <a:cubicBezTo>
                    <a:pt x="4525804" y="305276"/>
                    <a:pt x="4525804" y="307181"/>
                    <a:pt x="4525804" y="309086"/>
                  </a:cubicBezTo>
                  <a:cubicBezTo>
                    <a:pt x="4524851" y="308134"/>
                    <a:pt x="4524851" y="308134"/>
                    <a:pt x="4524851" y="308134"/>
                  </a:cubicBezTo>
                  <a:cubicBezTo>
                    <a:pt x="4524851" y="308134"/>
                    <a:pt x="4524851" y="309086"/>
                    <a:pt x="4525804" y="310039"/>
                  </a:cubicBezTo>
                  <a:cubicBezTo>
                    <a:pt x="4524851" y="317659"/>
                    <a:pt x="4524851" y="325279"/>
                    <a:pt x="4523899" y="333851"/>
                  </a:cubicBezTo>
                  <a:cubicBezTo>
                    <a:pt x="4523899" y="334804"/>
                    <a:pt x="4523899" y="336709"/>
                    <a:pt x="4523899" y="337661"/>
                  </a:cubicBezTo>
                  <a:cubicBezTo>
                    <a:pt x="4523899" y="338614"/>
                    <a:pt x="4523899" y="338614"/>
                    <a:pt x="4522947" y="339566"/>
                  </a:cubicBezTo>
                  <a:cubicBezTo>
                    <a:pt x="4521041" y="333851"/>
                    <a:pt x="4519137" y="328136"/>
                    <a:pt x="4517231" y="322421"/>
                  </a:cubicBezTo>
                  <a:cubicBezTo>
                    <a:pt x="4516279" y="314801"/>
                    <a:pt x="4515326" y="307181"/>
                    <a:pt x="4514374" y="301466"/>
                  </a:cubicBezTo>
                  <a:cubicBezTo>
                    <a:pt x="4515326" y="299561"/>
                    <a:pt x="4516279" y="298609"/>
                    <a:pt x="4517231" y="297656"/>
                  </a:cubicBezTo>
                  <a:cubicBezTo>
                    <a:pt x="4520089" y="293846"/>
                    <a:pt x="4521041" y="291941"/>
                    <a:pt x="4521041" y="291941"/>
                  </a:cubicBezTo>
                  <a:cubicBezTo>
                    <a:pt x="4521041" y="291941"/>
                    <a:pt x="4519137" y="293846"/>
                    <a:pt x="4516279" y="297656"/>
                  </a:cubicBezTo>
                  <a:cubicBezTo>
                    <a:pt x="4515326" y="298609"/>
                    <a:pt x="4515326" y="299561"/>
                    <a:pt x="4514374" y="300514"/>
                  </a:cubicBezTo>
                  <a:cubicBezTo>
                    <a:pt x="4514374" y="299561"/>
                    <a:pt x="4514374" y="299561"/>
                    <a:pt x="4514374" y="298609"/>
                  </a:cubicBezTo>
                  <a:cubicBezTo>
                    <a:pt x="4515326" y="296704"/>
                    <a:pt x="4516279" y="294799"/>
                    <a:pt x="4517231" y="293846"/>
                  </a:cubicBezTo>
                  <a:cubicBezTo>
                    <a:pt x="4519137" y="290036"/>
                    <a:pt x="4520089" y="288131"/>
                    <a:pt x="4520089" y="288131"/>
                  </a:cubicBezTo>
                  <a:cubicBezTo>
                    <a:pt x="4520089" y="288131"/>
                    <a:pt x="4519137" y="290036"/>
                    <a:pt x="4516279" y="292894"/>
                  </a:cubicBezTo>
                  <a:cubicBezTo>
                    <a:pt x="4515326" y="293846"/>
                    <a:pt x="4515326" y="294799"/>
                    <a:pt x="4514374" y="295751"/>
                  </a:cubicBezTo>
                  <a:cubicBezTo>
                    <a:pt x="4513422" y="290036"/>
                    <a:pt x="4512469" y="285274"/>
                    <a:pt x="4512469" y="281464"/>
                  </a:cubicBezTo>
                  <a:cubicBezTo>
                    <a:pt x="4511516" y="272891"/>
                    <a:pt x="4511516" y="268129"/>
                    <a:pt x="4511516" y="268129"/>
                  </a:cubicBezTo>
                  <a:cubicBezTo>
                    <a:pt x="4511516" y="268129"/>
                    <a:pt x="4511516" y="270034"/>
                    <a:pt x="4510564" y="272891"/>
                  </a:cubicBezTo>
                  <a:cubicBezTo>
                    <a:pt x="4508659" y="259556"/>
                    <a:pt x="4506754" y="250984"/>
                    <a:pt x="4506754" y="250984"/>
                  </a:cubicBezTo>
                  <a:cubicBezTo>
                    <a:pt x="4506754" y="250984"/>
                    <a:pt x="4506754" y="267176"/>
                    <a:pt x="4506754" y="292894"/>
                  </a:cubicBezTo>
                  <a:cubicBezTo>
                    <a:pt x="4504849" y="289084"/>
                    <a:pt x="4502944" y="285274"/>
                    <a:pt x="4501991" y="282416"/>
                  </a:cubicBezTo>
                  <a:cubicBezTo>
                    <a:pt x="4499134" y="276701"/>
                    <a:pt x="4496276" y="271939"/>
                    <a:pt x="4494372" y="267176"/>
                  </a:cubicBezTo>
                  <a:cubicBezTo>
                    <a:pt x="4491514" y="262414"/>
                    <a:pt x="4489609" y="258604"/>
                    <a:pt x="4486751" y="254794"/>
                  </a:cubicBezTo>
                  <a:cubicBezTo>
                    <a:pt x="4483894" y="250984"/>
                    <a:pt x="4481989" y="248126"/>
                    <a:pt x="4480084" y="245269"/>
                  </a:cubicBezTo>
                  <a:cubicBezTo>
                    <a:pt x="4478179" y="242411"/>
                    <a:pt x="4476274" y="240506"/>
                    <a:pt x="4474369" y="238601"/>
                  </a:cubicBezTo>
                  <a:cubicBezTo>
                    <a:pt x="4471512" y="235744"/>
                    <a:pt x="4470559" y="233839"/>
                    <a:pt x="4469606" y="233839"/>
                  </a:cubicBezTo>
                  <a:cubicBezTo>
                    <a:pt x="4470559" y="230981"/>
                    <a:pt x="4471512" y="228124"/>
                    <a:pt x="4471512" y="225266"/>
                  </a:cubicBezTo>
                  <a:cubicBezTo>
                    <a:pt x="4474369" y="214789"/>
                    <a:pt x="4476274" y="206216"/>
                    <a:pt x="4477226" y="198596"/>
                  </a:cubicBezTo>
                  <a:cubicBezTo>
                    <a:pt x="4480084" y="184309"/>
                    <a:pt x="4481037" y="175736"/>
                    <a:pt x="4481037" y="175736"/>
                  </a:cubicBezTo>
                  <a:cubicBezTo>
                    <a:pt x="4481037" y="175736"/>
                    <a:pt x="4478179" y="183356"/>
                    <a:pt x="4473416" y="197644"/>
                  </a:cubicBezTo>
                  <a:cubicBezTo>
                    <a:pt x="4471512" y="204311"/>
                    <a:pt x="4467701" y="212884"/>
                    <a:pt x="4463891" y="222409"/>
                  </a:cubicBezTo>
                  <a:cubicBezTo>
                    <a:pt x="4461034" y="229076"/>
                    <a:pt x="4458176" y="236696"/>
                    <a:pt x="4455319" y="244316"/>
                  </a:cubicBezTo>
                  <a:cubicBezTo>
                    <a:pt x="4454366" y="240506"/>
                    <a:pt x="4453414" y="237649"/>
                    <a:pt x="4453414" y="237649"/>
                  </a:cubicBezTo>
                  <a:cubicBezTo>
                    <a:pt x="4453414" y="237649"/>
                    <a:pt x="4453414" y="240506"/>
                    <a:pt x="4454366" y="247174"/>
                  </a:cubicBezTo>
                  <a:cubicBezTo>
                    <a:pt x="4453414" y="249079"/>
                    <a:pt x="4452462" y="251936"/>
                    <a:pt x="4451509" y="253841"/>
                  </a:cubicBezTo>
                  <a:cubicBezTo>
                    <a:pt x="4446747" y="265271"/>
                    <a:pt x="4441984" y="276701"/>
                    <a:pt x="4436269" y="289084"/>
                  </a:cubicBezTo>
                  <a:cubicBezTo>
                    <a:pt x="4436269" y="288131"/>
                    <a:pt x="4435316" y="288131"/>
                    <a:pt x="4435316" y="287179"/>
                  </a:cubicBezTo>
                  <a:cubicBezTo>
                    <a:pt x="4436269" y="283369"/>
                    <a:pt x="4437222" y="278606"/>
                    <a:pt x="4438174" y="274796"/>
                  </a:cubicBezTo>
                  <a:cubicBezTo>
                    <a:pt x="4440079" y="265271"/>
                    <a:pt x="4441984" y="255746"/>
                    <a:pt x="4444841" y="247174"/>
                  </a:cubicBezTo>
                  <a:cubicBezTo>
                    <a:pt x="4449604" y="229076"/>
                    <a:pt x="4452462" y="211931"/>
                    <a:pt x="4454366" y="195739"/>
                  </a:cubicBezTo>
                  <a:cubicBezTo>
                    <a:pt x="4457224" y="179546"/>
                    <a:pt x="4459129" y="165259"/>
                    <a:pt x="4460081" y="151924"/>
                  </a:cubicBezTo>
                  <a:cubicBezTo>
                    <a:pt x="4461034" y="145256"/>
                    <a:pt x="4461987" y="139541"/>
                    <a:pt x="4461987" y="133826"/>
                  </a:cubicBezTo>
                  <a:cubicBezTo>
                    <a:pt x="4461987" y="128111"/>
                    <a:pt x="4462939" y="123349"/>
                    <a:pt x="4462939" y="118586"/>
                  </a:cubicBezTo>
                  <a:cubicBezTo>
                    <a:pt x="4463891" y="99536"/>
                    <a:pt x="4463891" y="89059"/>
                    <a:pt x="4463891" y="89059"/>
                  </a:cubicBezTo>
                  <a:cubicBezTo>
                    <a:pt x="4463891" y="89059"/>
                    <a:pt x="4461987" y="99536"/>
                    <a:pt x="4458176" y="118586"/>
                  </a:cubicBezTo>
                  <a:cubicBezTo>
                    <a:pt x="4457224" y="123349"/>
                    <a:pt x="4456272" y="128111"/>
                    <a:pt x="4455319" y="133826"/>
                  </a:cubicBezTo>
                  <a:cubicBezTo>
                    <a:pt x="4454366" y="139541"/>
                    <a:pt x="4452462" y="145256"/>
                    <a:pt x="4451509" y="151924"/>
                  </a:cubicBezTo>
                  <a:cubicBezTo>
                    <a:pt x="4448651" y="164306"/>
                    <a:pt x="4445794" y="178594"/>
                    <a:pt x="4441984" y="194786"/>
                  </a:cubicBezTo>
                  <a:cubicBezTo>
                    <a:pt x="4438174" y="210026"/>
                    <a:pt x="4434364" y="227171"/>
                    <a:pt x="4428649" y="245269"/>
                  </a:cubicBezTo>
                  <a:cubicBezTo>
                    <a:pt x="4426744" y="252889"/>
                    <a:pt x="4423887" y="261461"/>
                    <a:pt x="4421981" y="269081"/>
                  </a:cubicBezTo>
                  <a:cubicBezTo>
                    <a:pt x="4419124" y="265271"/>
                    <a:pt x="4417219" y="261461"/>
                    <a:pt x="4414362" y="258604"/>
                  </a:cubicBezTo>
                  <a:cubicBezTo>
                    <a:pt x="4406741" y="247174"/>
                    <a:pt x="4400074" y="237649"/>
                    <a:pt x="4394359" y="230029"/>
                  </a:cubicBezTo>
                  <a:cubicBezTo>
                    <a:pt x="4391501" y="227171"/>
                    <a:pt x="4389597" y="224314"/>
                    <a:pt x="4387691" y="221456"/>
                  </a:cubicBezTo>
                  <a:cubicBezTo>
                    <a:pt x="4392454" y="195739"/>
                    <a:pt x="4395312" y="180499"/>
                    <a:pt x="4395312" y="180499"/>
                  </a:cubicBezTo>
                  <a:cubicBezTo>
                    <a:pt x="4395312" y="180499"/>
                    <a:pt x="4390549" y="193834"/>
                    <a:pt x="4382929" y="215741"/>
                  </a:cubicBezTo>
                  <a:cubicBezTo>
                    <a:pt x="4378166" y="209074"/>
                    <a:pt x="4375309" y="206216"/>
                    <a:pt x="4375309" y="206216"/>
                  </a:cubicBezTo>
                  <a:cubicBezTo>
                    <a:pt x="4375309" y="206216"/>
                    <a:pt x="4378166" y="210979"/>
                    <a:pt x="4381976" y="218599"/>
                  </a:cubicBezTo>
                  <a:cubicBezTo>
                    <a:pt x="4378166" y="230029"/>
                    <a:pt x="4374356" y="244316"/>
                    <a:pt x="4369594" y="259556"/>
                  </a:cubicBezTo>
                  <a:cubicBezTo>
                    <a:pt x="4368641" y="248126"/>
                    <a:pt x="4368641" y="241459"/>
                    <a:pt x="4368641" y="241459"/>
                  </a:cubicBezTo>
                  <a:cubicBezTo>
                    <a:pt x="4368641" y="241459"/>
                    <a:pt x="4367689" y="249079"/>
                    <a:pt x="4366737" y="263366"/>
                  </a:cubicBezTo>
                  <a:cubicBezTo>
                    <a:pt x="4366737" y="267176"/>
                    <a:pt x="4365784" y="270986"/>
                    <a:pt x="4365784" y="274796"/>
                  </a:cubicBezTo>
                  <a:cubicBezTo>
                    <a:pt x="4364831" y="277654"/>
                    <a:pt x="4363879" y="281464"/>
                    <a:pt x="4362926" y="285274"/>
                  </a:cubicBezTo>
                  <a:cubicBezTo>
                    <a:pt x="4362926" y="284321"/>
                    <a:pt x="4362926" y="283369"/>
                    <a:pt x="4362926" y="282416"/>
                  </a:cubicBezTo>
                  <a:cubicBezTo>
                    <a:pt x="4361974" y="269081"/>
                    <a:pt x="4361022" y="261461"/>
                    <a:pt x="4361022" y="261461"/>
                  </a:cubicBezTo>
                  <a:cubicBezTo>
                    <a:pt x="4361022" y="261461"/>
                    <a:pt x="4360069" y="269081"/>
                    <a:pt x="4359116" y="283369"/>
                  </a:cubicBezTo>
                  <a:cubicBezTo>
                    <a:pt x="4359116" y="285274"/>
                    <a:pt x="4359116" y="288131"/>
                    <a:pt x="4359116" y="290989"/>
                  </a:cubicBezTo>
                  <a:cubicBezTo>
                    <a:pt x="4358164" y="291941"/>
                    <a:pt x="4358164" y="293846"/>
                    <a:pt x="4357212" y="295751"/>
                  </a:cubicBezTo>
                  <a:cubicBezTo>
                    <a:pt x="4355306" y="291941"/>
                    <a:pt x="4353401" y="288131"/>
                    <a:pt x="4351497" y="284321"/>
                  </a:cubicBezTo>
                  <a:cubicBezTo>
                    <a:pt x="4351497" y="274796"/>
                    <a:pt x="4351497" y="266224"/>
                    <a:pt x="4351497" y="257651"/>
                  </a:cubicBezTo>
                  <a:cubicBezTo>
                    <a:pt x="4351497" y="250984"/>
                    <a:pt x="4351497" y="245269"/>
                    <a:pt x="4351497" y="238601"/>
                  </a:cubicBezTo>
                  <a:cubicBezTo>
                    <a:pt x="4351497" y="232886"/>
                    <a:pt x="4350544" y="227171"/>
                    <a:pt x="4349591" y="221456"/>
                  </a:cubicBezTo>
                  <a:cubicBezTo>
                    <a:pt x="4348639" y="210979"/>
                    <a:pt x="4346734" y="201454"/>
                    <a:pt x="4345781" y="194786"/>
                  </a:cubicBezTo>
                  <a:cubicBezTo>
                    <a:pt x="4343876" y="179546"/>
                    <a:pt x="4342924" y="170974"/>
                    <a:pt x="4342924" y="170974"/>
                  </a:cubicBezTo>
                  <a:cubicBezTo>
                    <a:pt x="4342924" y="170974"/>
                    <a:pt x="4342924" y="179546"/>
                    <a:pt x="4341972" y="194786"/>
                  </a:cubicBezTo>
                  <a:cubicBezTo>
                    <a:pt x="4341972" y="201454"/>
                    <a:pt x="4341972" y="209074"/>
                    <a:pt x="4341972" y="217646"/>
                  </a:cubicBezTo>
                  <a:cubicBezTo>
                    <a:pt x="4341019" y="210026"/>
                    <a:pt x="4340066" y="205264"/>
                    <a:pt x="4340066" y="205264"/>
                  </a:cubicBezTo>
                  <a:cubicBezTo>
                    <a:pt x="4340066" y="205264"/>
                    <a:pt x="4340066" y="212884"/>
                    <a:pt x="4339114" y="226219"/>
                  </a:cubicBezTo>
                  <a:cubicBezTo>
                    <a:pt x="4339114" y="232886"/>
                    <a:pt x="4339114" y="240506"/>
                    <a:pt x="4338162" y="250031"/>
                  </a:cubicBezTo>
                  <a:cubicBezTo>
                    <a:pt x="4338162" y="250984"/>
                    <a:pt x="4338162" y="251936"/>
                    <a:pt x="4338162" y="252889"/>
                  </a:cubicBezTo>
                  <a:cubicBezTo>
                    <a:pt x="4338162" y="251936"/>
                    <a:pt x="4337209" y="250984"/>
                    <a:pt x="4337209" y="250984"/>
                  </a:cubicBezTo>
                  <a:cubicBezTo>
                    <a:pt x="4330541" y="231934"/>
                    <a:pt x="4324826" y="213836"/>
                    <a:pt x="4318159" y="196691"/>
                  </a:cubicBezTo>
                  <a:cubicBezTo>
                    <a:pt x="4306729" y="163354"/>
                    <a:pt x="4296251" y="135731"/>
                    <a:pt x="4289584" y="116681"/>
                  </a:cubicBezTo>
                  <a:cubicBezTo>
                    <a:pt x="4282916" y="97631"/>
                    <a:pt x="4278154" y="86201"/>
                    <a:pt x="4278154" y="86201"/>
                  </a:cubicBezTo>
                  <a:cubicBezTo>
                    <a:pt x="4278154" y="86201"/>
                    <a:pt x="4281012" y="97631"/>
                    <a:pt x="4285774" y="117634"/>
                  </a:cubicBezTo>
                  <a:cubicBezTo>
                    <a:pt x="4291489" y="137636"/>
                    <a:pt x="4298156" y="166211"/>
                    <a:pt x="4307681" y="199549"/>
                  </a:cubicBezTo>
                  <a:cubicBezTo>
                    <a:pt x="4315301" y="228124"/>
                    <a:pt x="4324826" y="261461"/>
                    <a:pt x="4334351" y="295751"/>
                  </a:cubicBezTo>
                  <a:cubicBezTo>
                    <a:pt x="4334351" y="295751"/>
                    <a:pt x="4334351" y="296704"/>
                    <a:pt x="4334351" y="296704"/>
                  </a:cubicBezTo>
                  <a:cubicBezTo>
                    <a:pt x="4334351" y="295751"/>
                    <a:pt x="4334351" y="294799"/>
                    <a:pt x="4334351" y="294799"/>
                  </a:cubicBezTo>
                  <a:cubicBezTo>
                    <a:pt x="4334351" y="294799"/>
                    <a:pt x="4334351" y="296704"/>
                    <a:pt x="4334351" y="301466"/>
                  </a:cubicBezTo>
                  <a:cubicBezTo>
                    <a:pt x="4334351" y="306229"/>
                    <a:pt x="4333399" y="310991"/>
                    <a:pt x="4333399" y="315754"/>
                  </a:cubicBezTo>
                  <a:cubicBezTo>
                    <a:pt x="4332447" y="325279"/>
                    <a:pt x="4331494" y="334804"/>
                    <a:pt x="4329589" y="344329"/>
                  </a:cubicBezTo>
                  <a:cubicBezTo>
                    <a:pt x="4329589" y="344329"/>
                    <a:pt x="4328637" y="343376"/>
                    <a:pt x="4328637" y="343376"/>
                  </a:cubicBezTo>
                  <a:cubicBezTo>
                    <a:pt x="4327684" y="342424"/>
                    <a:pt x="4327684" y="341471"/>
                    <a:pt x="4326731" y="340519"/>
                  </a:cubicBezTo>
                  <a:cubicBezTo>
                    <a:pt x="4326731" y="338614"/>
                    <a:pt x="4325779" y="335756"/>
                    <a:pt x="4325779" y="333851"/>
                  </a:cubicBezTo>
                  <a:cubicBezTo>
                    <a:pt x="4321969" y="309086"/>
                    <a:pt x="4318159" y="286226"/>
                    <a:pt x="4315301" y="267176"/>
                  </a:cubicBezTo>
                  <a:cubicBezTo>
                    <a:pt x="4308634" y="228124"/>
                    <a:pt x="4301966" y="202406"/>
                    <a:pt x="4301966" y="202406"/>
                  </a:cubicBezTo>
                  <a:cubicBezTo>
                    <a:pt x="4301966" y="202406"/>
                    <a:pt x="4301966" y="229076"/>
                    <a:pt x="4303872" y="268129"/>
                  </a:cubicBezTo>
                  <a:cubicBezTo>
                    <a:pt x="4303872" y="270034"/>
                    <a:pt x="4303872" y="271939"/>
                    <a:pt x="4303872" y="274796"/>
                  </a:cubicBezTo>
                  <a:cubicBezTo>
                    <a:pt x="4302919" y="279559"/>
                    <a:pt x="4302919" y="284321"/>
                    <a:pt x="4301966" y="290036"/>
                  </a:cubicBezTo>
                  <a:cubicBezTo>
                    <a:pt x="4301966" y="292894"/>
                    <a:pt x="4301014" y="296704"/>
                    <a:pt x="4300062" y="300514"/>
                  </a:cubicBezTo>
                  <a:cubicBezTo>
                    <a:pt x="4296251" y="295751"/>
                    <a:pt x="4292441" y="290989"/>
                    <a:pt x="4288631" y="286226"/>
                  </a:cubicBezTo>
                  <a:cubicBezTo>
                    <a:pt x="4292441" y="292894"/>
                    <a:pt x="4295299" y="298609"/>
                    <a:pt x="4299109" y="305276"/>
                  </a:cubicBezTo>
                  <a:cubicBezTo>
                    <a:pt x="4298156" y="310991"/>
                    <a:pt x="4297204" y="316706"/>
                    <a:pt x="4296251" y="323374"/>
                  </a:cubicBezTo>
                  <a:cubicBezTo>
                    <a:pt x="4295299" y="330041"/>
                    <a:pt x="4293394" y="337661"/>
                    <a:pt x="4292441" y="346234"/>
                  </a:cubicBezTo>
                  <a:cubicBezTo>
                    <a:pt x="4291489" y="345281"/>
                    <a:pt x="4291489" y="344329"/>
                    <a:pt x="4290537" y="343376"/>
                  </a:cubicBezTo>
                  <a:cubicBezTo>
                    <a:pt x="4289584" y="330994"/>
                    <a:pt x="4289584" y="319564"/>
                    <a:pt x="4288631" y="308134"/>
                  </a:cubicBezTo>
                  <a:cubicBezTo>
                    <a:pt x="4285774" y="262414"/>
                    <a:pt x="4281964" y="231934"/>
                    <a:pt x="4281964" y="231934"/>
                  </a:cubicBezTo>
                  <a:cubicBezTo>
                    <a:pt x="4281964" y="231934"/>
                    <a:pt x="4279106" y="262414"/>
                    <a:pt x="4277201" y="309086"/>
                  </a:cubicBezTo>
                  <a:cubicBezTo>
                    <a:pt x="4277201" y="311944"/>
                    <a:pt x="4277201" y="315754"/>
                    <a:pt x="4277201" y="318611"/>
                  </a:cubicBezTo>
                  <a:cubicBezTo>
                    <a:pt x="4276249" y="315754"/>
                    <a:pt x="4274344" y="312896"/>
                    <a:pt x="4273391" y="310039"/>
                  </a:cubicBezTo>
                  <a:cubicBezTo>
                    <a:pt x="4273391" y="308134"/>
                    <a:pt x="4272439" y="305276"/>
                    <a:pt x="4272439" y="303371"/>
                  </a:cubicBezTo>
                  <a:cubicBezTo>
                    <a:pt x="4271487" y="292894"/>
                    <a:pt x="4271487" y="283369"/>
                    <a:pt x="4270534" y="273844"/>
                  </a:cubicBezTo>
                  <a:cubicBezTo>
                    <a:pt x="4270534" y="269081"/>
                    <a:pt x="4269581" y="265271"/>
                    <a:pt x="4269581" y="260509"/>
                  </a:cubicBezTo>
                  <a:cubicBezTo>
                    <a:pt x="4269581" y="258604"/>
                    <a:pt x="4269581" y="257651"/>
                    <a:pt x="4269581" y="255746"/>
                  </a:cubicBezTo>
                  <a:cubicBezTo>
                    <a:pt x="4269581" y="248126"/>
                    <a:pt x="4270534" y="241459"/>
                    <a:pt x="4270534" y="234791"/>
                  </a:cubicBezTo>
                  <a:cubicBezTo>
                    <a:pt x="4273391" y="187166"/>
                    <a:pt x="4273391" y="155734"/>
                    <a:pt x="4273391" y="155734"/>
                  </a:cubicBezTo>
                  <a:cubicBezTo>
                    <a:pt x="4273391" y="155734"/>
                    <a:pt x="4265772" y="187166"/>
                    <a:pt x="4259104" y="233839"/>
                  </a:cubicBezTo>
                  <a:cubicBezTo>
                    <a:pt x="4257199" y="245269"/>
                    <a:pt x="4255294" y="258604"/>
                    <a:pt x="4253389" y="271939"/>
                  </a:cubicBezTo>
                  <a:cubicBezTo>
                    <a:pt x="4253389" y="270986"/>
                    <a:pt x="4252437" y="270986"/>
                    <a:pt x="4252437" y="270034"/>
                  </a:cubicBezTo>
                  <a:cubicBezTo>
                    <a:pt x="4252437" y="267176"/>
                    <a:pt x="4253389" y="264319"/>
                    <a:pt x="4253389" y="262414"/>
                  </a:cubicBezTo>
                  <a:cubicBezTo>
                    <a:pt x="4255294" y="248126"/>
                    <a:pt x="4255294" y="240506"/>
                    <a:pt x="4255294" y="240506"/>
                  </a:cubicBezTo>
                  <a:cubicBezTo>
                    <a:pt x="4255294" y="240506"/>
                    <a:pt x="4253389" y="248126"/>
                    <a:pt x="4249579" y="262414"/>
                  </a:cubicBezTo>
                  <a:cubicBezTo>
                    <a:pt x="4249579" y="263366"/>
                    <a:pt x="4249579" y="264319"/>
                    <a:pt x="4248626" y="264319"/>
                  </a:cubicBezTo>
                  <a:cubicBezTo>
                    <a:pt x="4247674" y="263366"/>
                    <a:pt x="4247674" y="262414"/>
                    <a:pt x="4246722" y="261461"/>
                  </a:cubicBezTo>
                  <a:cubicBezTo>
                    <a:pt x="4245769" y="260509"/>
                    <a:pt x="4244816" y="259556"/>
                    <a:pt x="4244816" y="257651"/>
                  </a:cubicBezTo>
                  <a:cubicBezTo>
                    <a:pt x="4244816" y="253841"/>
                    <a:pt x="4244816" y="251936"/>
                    <a:pt x="4244816" y="251936"/>
                  </a:cubicBezTo>
                  <a:cubicBezTo>
                    <a:pt x="4244816" y="251936"/>
                    <a:pt x="4244816" y="253841"/>
                    <a:pt x="4243864" y="256699"/>
                  </a:cubicBezTo>
                  <a:cubicBezTo>
                    <a:pt x="4242912" y="254794"/>
                    <a:pt x="4241959" y="252889"/>
                    <a:pt x="4240054" y="251936"/>
                  </a:cubicBezTo>
                  <a:cubicBezTo>
                    <a:pt x="4236244" y="246221"/>
                    <a:pt x="4232434" y="240506"/>
                    <a:pt x="4229576" y="235744"/>
                  </a:cubicBezTo>
                  <a:cubicBezTo>
                    <a:pt x="4223862" y="227171"/>
                    <a:pt x="4220051" y="222409"/>
                    <a:pt x="4220051" y="222409"/>
                  </a:cubicBezTo>
                  <a:cubicBezTo>
                    <a:pt x="4220051" y="222409"/>
                    <a:pt x="4221956" y="228124"/>
                    <a:pt x="4226719" y="237649"/>
                  </a:cubicBezTo>
                  <a:cubicBezTo>
                    <a:pt x="4228624" y="242411"/>
                    <a:pt x="4231481" y="248126"/>
                    <a:pt x="4234339" y="254794"/>
                  </a:cubicBezTo>
                  <a:cubicBezTo>
                    <a:pt x="4235291" y="255746"/>
                    <a:pt x="4235291" y="257651"/>
                    <a:pt x="4236244" y="258604"/>
                  </a:cubicBezTo>
                  <a:cubicBezTo>
                    <a:pt x="4234339" y="256699"/>
                    <a:pt x="4233387" y="253841"/>
                    <a:pt x="4231481" y="251936"/>
                  </a:cubicBezTo>
                  <a:cubicBezTo>
                    <a:pt x="4227672" y="246221"/>
                    <a:pt x="4223862" y="242411"/>
                    <a:pt x="4220051" y="237649"/>
                  </a:cubicBezTo>
                  <a:cubicBezTo>
                    <a:pt x="4213384" y="229076"/>
                    <a:pt x="4206716" y="223361"/>
                    <a:pt x="4202906" y="219551"/>
                  </a:cubicBezTo>
                  <a:cubicBezTo>
                    <a:pt x="4199097" y="215741"/>
                    <a:pt x="4196239" y="213836"/>
                    <a:pt x="4196239" y="213836"/>
                  </a:cubicBezTo>
                  <a:cubicBezTo>
                    <a:pt x="4196239" y="213836"/>
                    <a:pt x="4198144" y="216694"/>
                    <a:pt x="4201954" y="220504"/>
                  </a:cubicBezTo>
                  <a:cubicBezTo>
                    <a:pt x="4205764" y="225266"/>
                    <a:pt x="4211479" y="230981"/>
                    <a:pt x="4216241" y="240506"/>
                  </a:cubicBezTo>
                  <a:cubicBezTo>
                    <a:pt x="4219099" y="245269"/>
                    <a:pt x="4222909" y="250031"/>
                    <a:pt x="4225766" y="255746"/>
                  </a:cubicBezTo>
                  <a:cubicBezTo>
                    <a:pt x="4228624" y="261461"/>
                    <a:pt x="4232434" y="267176"/>
                    <a:pt x="4235291" y="273844"/>
                  </a:cubicBezTo>
                  <a:cubicBezTo>
                    <a:pt x="4235291" y="273844"/>
                    <a:pt x="4235291" y="273844"/>
                    <a:pt x="4235291" y="274796"/>
                  </a:cubicBezTo>
                  <a:cubicBezTo>
                    <a:pt x="4235291" y="276701"/>
                    <a:pt x="4235291" y="279559"/>
                    <a:pt x="4235291" y="282416"/>
                  </a:cubicBezTo>
                  <a:cubicBezTo>
                    <a:pt x="4235291" y="282416"/>
                    <a:pt x="4234339" y="281464"/>
                    <a:pt x="4234339" y="281464"/>
                  </a:cubicBezTo>
                  <a:cubicBezTo>
                    <a:pt x="4231481" y="277654"/>
                    <a:pt x="4229576" y="276701"/>
                    <a:pt x="4229576" y="276701"/>
                  </a:cubicBezTo>
                  <a:cubicBezTo>
                    <a:pt x="4229576" y="276701"/>
                    <a:pt x="4231481" y="278606"/>
                    <a:pt x="4233387" y="282416"/>
                  </a:cubicBezTo>
                  <a:cubicBezTo>
                    <a:pt x="4233387" y="283369"/>
                    <a:pt x="4234339" y="283369"/>
                    <a:pt x="4235291" y="284321"/>
                  </a:cubicBezTo>
                  <a:cubicBezTo>
                    <a:pt x="4235291" y="284321"/>
                    <a:pt x="4235291" y="284321"/>
                    <a:pt x="4235291" y="285274"/>
                  </a:cubicBezTo>
                  <a:cubicBezTo>
                    <a:pt x="4233387" y="292894"/>
                    <a:pt x="4231481" y="301466"/>
                    <a:pt x="4229576" y="310039"/>
                  </a:cubicBezTo>
                  <a:cubicBezTo>
                    <a:pt x="4225766" y="301466"/>
                    <a:pt x="4222909" y="295751"/>
                    <a:pt x="4222909" y="295751"/>
                  </a:cubicBezTo>
                  <a:cubicBezTo>
                    <a:pt x="4222909" y="295751"/>
                    <a:pt x="4224814" y="303371"/>
                    <a:pt x="4228624" y="316706"/>
                  </a:cubicBezTo>
                  <a:cubicBezTo>
                    <a:pt x="4227672" y="319564"/>
                    <a:pt x="4227672" y="323374"/>
                    <a:pt x="4226719" y="327184"/>
                  </a:cubicBezTo>
                  <a:cubicBezTo>
                    <a:pt x="4225766" y="331946"/>
                    <a:pt x="4224814" y="336709"/>
                    <a:pt x="4223862" y="341471"/>
                  </a:cubicBezTo>
                  <a:cubicBezTo>
                    <a:pt x="4223862" y="338614"/>
                    <a:pt x="4222909" y="336709"/>
                    <a:pt x="4222909" y="334804"/>
                  </a:cubicBezTo>
                  <a:cubicBezTo>
                    <a:pt x="4221004" y="320516"/>
                    <a:pt x="4219099" y="311944"/>
                    <a:pt x="4219099" y="311944"/>
                  </a:cubicBezTo>
                  <a:cubicBezTo>
                    <a:pt x="4219099" y="311944"/>
                    <a:pt x="4219099" y="319564"/>
                    <a:pt x="4219099" y="331946"/>
                  </a:cubicBezTo>
                  <a:cubicBezTo>
                    <a:pt x="4218147" y="329089"/>
                    <a:pt x="4218147" y="326231"/>
                    <a:pt x="4217194" y="322421"/>
                  </a:cubicBezTo>
                  <a:cubicBezTo>
                    <a:pt x="4206716" y="272891"/>
                    <a:pt x="4198144" y="240506"/>
                    <a:pt x="4198144" y="240506"/>
                  </a:cubicBezTo>
                  <a:cubicBezTo>
                    <a:pt x="4198144" y="240506"/>
                    <a:pt x="4200049" y="273844"/>
                    <a:pt x="4205764" y="323374"/>
                  </a:cubicBezTo>
                  <a:cubicBezTo>
                    <a:pt x="4206716" y="335756"/>
                    <a:pt x="4208622" y="350044"/>
                    <a:pt x="4210526" y="364331"/>
                  </a:cubicBezTo>
                  <a:cubicBezTo>
                    <a:pt x="4210526" y="364331"/>
                    <a:pt x="4210526" y="363379"/>
                    <a:pt x="4210526" y="363379"/>
                  </a:cubicBezTo>
                  <a:cubicBezTo>
                    <a:pt x="4209574" y="357664"/>
                    <a:pt x="4207669" y="353854"/>
                    <a:pt x="4206716" y="350044"/>
                  </a:cubicBezTo>
                  <a:cubicBezTo>
                    <a:pt x="4204812" y="342424"/>
                    <a:pt x="4202906" y="338614"/>
                    <a:pt x="4202906" y="338614"/>
                  </a:cubicBezTo>
                  <a:cubicBezTo>
                    <a:pt x="4202906" y="338614"/>
                    <a:pt x="4202906" y="343376"/>
                    <a:pt x="4202906" y="350996"/>
                  </a:cubicBezTo>
                  <a:cubicBezTo>
                    <a:pt x="4202906" y="354806"/>
                    <a:pt x="4202906" y="359569"/>
                    <a:pt x="4202906" y="365284"/>
                  </a:cubicBezTo>
                  <a:cubicBezTo>
                    <a:pt x="4202906" y="368141"/>
                    <a:pt x="4202906" y="370999"/>
                    <a:pt x="4202906" y="373856"/>
                  </a:cubicBezTo>
                  <a:cubicBezTo>
                    <a:pt x="4202906" y="375761"/>
                    <a:pt x="4202906" y="377666"/>
                    <a:pt x="4202906" y="380524"/>
                  </a:cubicBezTo>
                  <a:cubicBezTo>
                    <a:pt x="4202906" y="379571"/>
                    <a:pt x="4202906" y="379571"/>
                    <a:pt x="4201954" y="378619"/>
                  </a:cubicBezTo>
                  <a:cubicBezTo>
                    <a:pt x="4201954" y="372904"/>
                    <a:pt x="4201001" y="367189"/>
                    <a:pt x="4201001" y="361474"/>
                  </a:cubicBezTo>
                  <a:cubicBezTo>
                    <a:pt x="4199097" y="318611"/>
                    <a:pt x="4196239" y="290989"/>
                    <a:pt x="4196239" y="290989"/>
                  </a:cubicBezTo>
                  <a:cubicBezTo>
                    <a:pt x="4196239" y="290989"/>
                    <a:pt x="4193381" y="310991"/>
                    <a:pt x="4191476" y="343376"/>
                  </a:cubicBezTo>
                  <a:cubicBezTo>
                    <a:pt x="4190524" y="340519"/>
                    <a:pt x="4189571" y="338614"/>
                    <a:pt x="4188619" y="335756"/>
                  </a:cubicBezTo>
                  <a:cubicBezTo>
                    <a:pt x="4185761" y="329089"/>
                    <a:pt x="4183856" y="323374"/>
                    <a:pt x="4181951" y="319564"/>
                  </a:cubicBezTo>
                  <a:cubicBezTo>
                    <a:pt x="4181951" y="318611"/>
                    <a:pt x="4180999" y="317659"/>
                    <a:pt x="4180999" y="316706"/>
                  </a:cubicBezTo>
                  <a:cubicBezTo>
                    <a:pt x="4180999" y="291941"/>
                    <a:pt x="4180999" y="271939"/>
                    <a:pt x="4180999" y="256699"/>
                  </a:cubicBezTo>
                  <a:cubicBezTo>
                    <a:pt x="4180999" y="239554"/>
                    <a:pt x="4180999" y="230029"/>
                    <a:pt x="4180999" y="230029"/>
                  </a:cubicBezTo>
                  <a:cubicBezTo>
                    <a:pt x="4180999" y="230029"/>
                    <a:pt x="4180046" y="239554"/>
                    <a:pt x="4177189" y="256699"/>
                  </a:cubicBezTo>
                  <a:cubicBezTo>
                    <a:pt x="4177189" y="260509"/>
                    <a:pt x="4176236" y="265271"/>
                    <a:pt x="4175284" y="270034"/>
                  </a:cubicBezTo>
                  <a:cubicBezTo>
                    <a:pt x="4175284" y="263366"/>
                    <a:pt x="4174331" y="257651"/>
                    <a:pt x="4174331" y="251936"/>
                  </a:cubicBezTo>
                  <a:cubicBezTo>
                    <a:pt x="4172426" y="207169"/>
                    <a:pt x="4168616" y="176689"/>
                    <a:pt x="4168616" y="176689"/>
                  </a:cubicBezTo>
                  <a:cubicBezTo>
                    <a:pt x="4168616" y="176689"/>
                    <a:pt x="4164806" y="207169"/>
                    <a:pt x="4162901" y="251936"/>
                  </a:cubicBezTo>
                  <a:cubicBezTo>
                    <a:pt x="4161949" y="263366"/>
                    <a:pt x="4161949" y="274796"/>
                    <a:pt x="4160996" y="287179"/>
                  </a:cubicBezTo>
                  <a:cubicBezTo>
                    <a:pt x="4158139" y="292894"/>
                    <a:pt x="4156234" y="298609"/>
                    <a:pt x="4154329" y="303371"/>
                  </a:cubicBezTo>
                  <a:cubicBezTo>
                    <a:pt x="4151471" y="295751"/>
                    <a:pt x="4149566" y="288131"/>
                    <a:pt x="4146709" y="280511"/>
                  </a:cubicBezTo>
                  <a:cubicBezTo>
                    <a:pt x="4144804" y="267176"/>
                    <a:pt x="4141946" y="255746"/>
                    <a:pt x="4140041" y="246221"/>
                  </a:cubicBezTo>
                  <a:cubicBezTo>
                    <a:pt x="4137184" y="231934"/>
                    <a:pt x="4133374" y="224314"/>
                    <a:pt x="4133374" y="224314"/>
                  </a:cubicBezTo>
                  <a:cubicBezTo>
                    <a:pt x="4133374" y="224314"/>
                    <a:pt x="4134326" y="226219"/>
                    <a:pt x="4134326" y="230029"/>
                  </a:cubicBezTo>
                  <a:cubicBezTo>
                    <a:pt x="4135279" y="233839"/>
                    <a:pt x="4135279" y="239554"/>
                    <a:pt x="4136231" y="247174"/>
                  </a:cubicBezTo>
                  <a:cubicBezTo>
                    <a:pt x="4136231" y="248126"/>
                    <a:pt x="4136231" y="249079"/>
                    <a:pt x="4136231" y="250031"/>
                  </a:cubicBezTo>
                  <a:cubicBezTo>
                    <a:pt x="4130516" y="230981"/>
                    <a:pt x="4123849" y="213836"/>
                    <a:pt x="4118134" y="197644"/>
                  </a:cubicBezTo>
                  <a:cubicBezTo>
                    <a:pt x="4108609" y="166211"/>
                    <a:pt x="4100036" y="139541"/>
                    <a:pt x="4093369" y="121444"/>
                  </a:cubicBezTo>
                  <a:cubicBezTo>
                    <a:pt x="4087654" y="103346"/>
                    <a:pt x="4083844" y="92869"/>
                    <a:pt x="4083844" y="92869"/>
                  </a:cubicBezTo>
                  <a:cubicBezTo>
                    <a:pt x="4083844" y="92869"/>
                    <a:pt x="4085749" y="103346"/>
                    <a:pt x="4089559" y="122396"/>
                  </a:cubicBezTo>
                  <a:cubicBezTo>
                    <a:pt x="4093369" y="141446"/>
                    <a:pt x="4099084" y="168116"/>
                    <a:pt x="4106704" y="200501"/>
                  </a:cubicBezTo>
                  <a:cubicBezTo>
                    <a:pt x="4110514" y="215741"/>
                    <a:pt x="4115276" y="231934"/>
                    <a:pt x="4119086" y="248126"/>
                  </a:cubicBezTo>
                  <a:cubicBezTo>
                    <a:pt x="4118134" y="251936"/>
                    <a:pt x="4118134" y="256699"/>
                    <a:pt x="4117181" y="262414"/>
                  </a:cubicBezTo>
                  <a:cubicBezTo>
                    <a:pt x="4116229" y="270034"/>
                    <a:pt x="4115276" y="279559"/>
                    <a:pt x="4114324" y="290036"/>
                  </a:cubicBezTo>
                  <a:cubicBezTo>
                    <a:pt x="4113371" y="288131"/>
                    <a:pt x="4111466" y="286226"/>
                    <a:pt x="4110514" y="284321"/>
                  </a:cubicBezTo>
                  <a:cubicBezTo>
                    <a:pt x="4113371" y="274796"/>
                    <a:pt x="4114324" y="269081"/>
                    <a:pt x="4114324" y="269081"/>
                  </a:cubicBezTo>
                  <a:cubicBezTo>
                    <a:pt x="4114324" y="269081"/>
                    <a:pt x="4112419" y="273844"/>
                    <a:pt x="4108609" y="282416"/>
                  </a:cubicBezTo>
                  <a:cubicBezTo>
                    <a:pt x="4106704" y="279559"/>
                    <a:pt x="4104799" y="276701"/>
                    <a:pt x="4102894" y="273844"/>
                  </a:cubicBezTo>
                  <a:cubicBezTo>
                    <a:pt x="4100989" y="270034"/>
                    <a:pt x="4098131" y="266224"/>
                    <a:pt x="4096226" y="263366"/>
                  </a:cubicBezTo>
                  <a:cubicBezTo>
                    <a:pt x="4097179" y="262414"/>
                    <a:pt x="4097179" y="262414"/>
                    <a:pt x="4097179" y="262414"/>
                  </a:cubicBezTo>
                  <a:cubicBezTo>
                    <a:pt x="4097179" y="262414"/>
                    <a:pt x="4097179" y="262414"/>
                    <a:pt x="4096226" y="263366"/>
                  </a:cubicBezTo>
                  <a:cubicBezTo>
                    <a:pt x="4094321" y="259556"/>
                    <a:pt x="4092416" y="256699"/>
                    <a:pt x="4090511" y="253841"/>
                  </a:cubicBezTo>
                  <a:cubicBezTo>
                    <a:pt x="4090511" y="253841"/>
                    <a:pt x="4090511" y="252889"/>
                    <a:pt x="4090511" y="252889"/>
                  </a:cubicBezTo>
                  <a:cubicBezTo>
                    <a:pt x="4090511" y="248126"/>
                    <a:pt x="4090511" y="243364"/>
                    <a:pt x="4090511" y="238601"/>
                  </a:cubicBezTo>
                  <a:cubicBezTo>
                    <a:pt x="4090511" y="230029"/>
                    <a:pt x="4090511" y="222409"/>
                    <a:pt x="4090511" y="215741"/>
                  </a:cubicBezTo>
                  <a:cubicBezTo>
                    <a:pt x="4090511" y="203359"/>
                    <a:pt x="4089559" y="195739"/>
                    <a:pt x="4089559" y="195739"/>
                  </a:cubicBezTo>
                  <a:cubicBezTo>
                    <a:pt x="4089559" y="195739"/>
                    <a:pt x="4088606" y="202406"/>
                    <a:pt x="4086701" y="214789"/>
                  </a:cubicBezTo>
                  <a:cubicBezTo>
                    <a:pt x="4085749" y="221456"/>
                    <a:pt x="4084796" y="228124"/>
                    <a:pt x="4083844" y="236696"/>
                  </a:cubicBezTo>
                  <a:cubicBezTo>
                    <a:pt x="4083844" y="237649"/>
                    <a:pt x="4083844" y="238601"/>
                    <a:pt x="4083844" y="239554"/>
                  </a:cubicBezTo>
                  <a:cubicBezTo>
                    <a:pt x="4082891" y="238601"/>
                    <a:pt x="4082891" y="237649"/>
                    <a:pt x="4081939" y="236696"/>
                  </a:cubicBezTo>
                  <a:cubicBezTo>
                    <a:pt x="4081939" y="235744"/>
                    <a:pt x="4081939" y="235744"/>
                    <a:pt x="4081939" y="234791"/>
                  </a:cubicBezTo>
                  <a:cubicBezTo>
                    <a:pt x="4081939" y="225266"/>
                    <a:pt x="4081939" y="216694"/>
                    <a:pt x="4081939" y="210026"/>
                  </a:cubicBezTo>
                  <a:cubicBezTo>
                    <a:pt x="4081939" y="195739"/>
                    <a:pt x="4081939" y="188119"/>
                    <a:pt x="4081939" y="188119"/>
                  </a:cubicBezTo>
                  <a:cubicBezTo>
                    <a:pt x="4081939" y="188119"/>
                    <a:pt x="4080034" y="195739"/>
                    <a:pt x="4078129" y="210026"/>
                  </a:cubicBezTo>
                  <a:cubicBezTo>
                    <a:pt x="4077176" y="214789"/>
                    <a:pt x="4076224" y="220504"/>
                    <a:pt x="4075271" y="227171"/>
                  </a:cubicBezTo>
                  <a:cubicBezTo>
                    <a:pt x="4065746" y="210979"/>
                    <a:pt x="4059079" y="202406"/>
                    <a:pt x="4059079" y="202406"/>
                  </a:cubicBezTo>
                  <a:cubicBezTo>
                    <a:pt x="4059079" y="202406"/>
                    <a:pt x="4063841" y="214789"/>
                    <a:pt x="4073366" y="236696"/>
                  </a:cubicBezTo>
                  <a:cubicBezTo>
                    <a:pt x="4072414" y="241459"/>
                    <a:pt x="4071461" y="246221"/>
                    <a:pt x="4071461" y="250984"/>
                  </a:cubicBezTo>
                  <a:cubicBezTo>
                    <a:pt x="4070509" y="256699"/>
                    <a:pt x="4069556" y="261461"/>
                    <a:pt x="4067651" y="268129"/>
                  </a:cubicBezTo>
                  <a:cubicBezTo>
                    <a:pt x="4066699" y="271939"/>
                    <a:pt x="4065746" y="275749"/>
                    <a:pt x="4064794" y="279559"/>
                  </a:cubicBezTo>
                  <a:cubicBezTo>
                    <a:pt x="4063841" y="270986"/>
                    <a:pt x="4062889" y="262414"/>
                    <a:pt x="4061936" y="253841"/>
                  </a:cubicBezTo>
                  <a:cubicBezTo>
                    <a:pt x="4059079" y="237649"/>
                    <a:pt x="4057174" y="221456"/>
                    <a:pt x="4054316" y="207169"/>
                  </a:cubicBezTo>
                  <a:cubicBezTo>
                    <a:pt x="4053364" y="199549"/>
                    <a:pt x="4052411" y="192881"/>
                    <a:pt x="4050506" y="186214"/>
                  </a:cubicBezTo>
                  <a:cubicBezTo>
                    <a:pt x="4049554" y="179546"/>
                    <a:pt x="4047649" y="173831"/>
                    <a:pt x="4046696" y="168116"/>
                  </a:cubicBezTo>
                  <a:cubicBezTo>
                    <a:pt x="4043839" y="156686"/>
                    <a:pt x="4041934" y="146209"/>
                    <a:pt x="4040029" y="137636"/>
                  </a:cubicBezTo>
                  <a:cubicBezTo>
                    <a:pt x="4036219" y="121444"/>
                    <a:pt x="4034314" y="111919"/>
                    <a:pt x="4034314" y="111919"/>
                  </a:cubicBezTo>
                  <a:cubicBezTo>
                    <a:pt x="4034314" y="111919"/>
                    <a:pt x="4035266" y="121444"/>
                    <a:pt x="4036219" y="138589"/>
                  </a:cubicBezTo>
                  <a:cubicBezTo>
                    <a:pt x="4037171" y="147161"/>
                    <a:pt x="4038124" y="157639"/>
                    <a:pt x="4039076" y="169069"/>
                  </a:cubicBezTo>
                  <a:cubicBezTo>
                    <a:pt x="4040029" y="180499"/>
                    <a:pt x="4040981" y="193834"/>
                    <a:pt x="4042886" y="208121"/>
                  </a:cubicBezTo>
                  <a:cubicBezTo>
                    <a:pt x="4043839" y="217646"/>
                    <a:pt x="4044791" y="228124"/>
                    <a:pt x="4044791" y="238601"/>
                  </a:cubicBezTo>
                  <a:cubicBezTo>
                    <a:pt x="4037171" y="196691"/>
                    <a:pt x="4031456" y="170021"/>
                    <a:pt x="4031456" y="170021"/>
                  </a:cubicBezTo>
                  <a:cubicBezTo>
                    <a:pt x="4031456" y="170021"/>
                    <a:pt x="4032409" y="203359"/>
                    <a:pt x="4036219" y="252889"/>
                  </a:cubicBezTo>
                  <a:cubicBezTo>
                    <a:pt x="4036219" y="256699"/>
                    <a:pt x="4037171" y="260509"/>
                    <a:pt x="4037171" y="264319"/>
                  </a:cubicBezTo>
                  <a:cubicBezTo>
                    <a:pt x="4036219" y="266224"/>
                    <a:pt x="4036219" y="269081"/>
                    <a:pt x="4035266" y="271939"/>
                  </a:cubicBezTo>
                  <a:cubicBezTo>
                    <a:pt x="4033361" y="270034"/>
                    <a:pt x="4031456" y="268129"/>
                    <a:pt x="4030504" y="266224"/>
                  </a:cubicBezTo>
                  <a:cubicBezTo>
                    <a:pt x="4027646" y="263366"/>
                    <a:pt x="4025741" y="260509"/>
                    <a:pt x="4023836" y="258604"/>
                  </a:cubicBezTo>
                  <a:cubicBezTo>
                    <a:pt x="4018121" y="247174"/>
                    <a:pt x="4013359" y="237649"/>
                    <a:pt x="4009549" y="229076"/>
                  </a:cubicBezTo>
                  <a:cubicBezTo>
                    <a:pt x="4000976" y="212884"/>
                    <a:pt x="3996214" y="203359"/>
                    <a:pt x="3996214" y="203359"/>
                  </a:cubicBezTo>
                  <a:cubicBezTo>
                    <a:pt x="3996214" y="203359"/>
                    <a:pt x="4000024" y="212884"/>
                    <a:pt x="4005739" y="230981"/>
                  </a:cubicBezTo>
                  <a:cubicBezTo>
                    <a:pt x="4008596" y="237649"/>
                    <a:pt x="4011454" y="246221"/>
                    <a:pt x="4014311" y="255746"/>
                  </a:cubicBezTo>
                  <a:cubicBezTo>
                    <a:pt x="4010501" y="248126"/>
                    <a:pt x="4007644" y="243364"/>
                    <a:pt x="4007644" y="243364"/>
                  </a:cubicBezTo>
                  <a:cubicBezTo>
                    <a:pt x="4007644" y="243364"/>
                    <a:pt x="4010501" y="251936"/>
                    <a:pt x="4015264" y="267176"/>
                  </a:cubicBezTo>
                  <a:cubicBezTo>
                    <a:pt x="4018121" y="274796"/>
                    <a:pt x="4020979" y="284321"/>
                    <a:pt x="4024789" y="294799"/>
                  </a:cubicBezTo>
                  <a:cubicBezTo>
                    <a:pt x="4025741" y="296704"/>
                    <a:pt x="4026694" y="299561"/>
                    <a:pt x="4026694" y="301466"/>
                  </a:cubicBezTo>
                  <a:cubicBezTo>
                    <a:pt x="4023836" y="310039"/>
                    <a:pt x="4020026" y="319564"/>
                    <a:pt x="4017169" y="329089"/>
                  </a:cubicBezTo>
                  <a:cubicBezTo>
                    <a:pt x="4017169" y="329089"/>
                    <a:pt x="4016216" y="328136"/>
                    <a:pt x="4016216" y="328136"/>
                  </a:cubicBezTo>
                  <a:cubicBezTo>
                    <a:pt x="4011454" y="325279"/>
                    <a:pt x="4008596" y="322421"/>
                    <a:pt x="4005739" y="320516"/>
                  </a:cubicBezTo>
                  <a:cubicBezTo>
                    <a:pt x="4005739" y="319564"/>
                    <a:pt x="4005739" y="318611"/>
                    <a:pt x="4005739" y="318611"/>
                  </a:cubicBezTo>
                  <a:cubicBezTo>
                    <a:pt x="4005739" y="315754"/>
                    <a:pt x="4004786" y="313849"/>
                    <a:pt x="4004786" y="310991"/>
                  </a:cubicBezTo>
                  <a:cubicBezTo>
                    <a:pt x="4004786" y="285274"/>
                    <a:pt x="4002881" y="269081"/>
                    <a:pt x="4002881" y="269081"/>
                  </a:cubicBezTo>
                  <a:cubicBezTo>
                    <a:pt x="4002881" y="269081"/>
                    <a:pt x="4001929" y="274796"/>
                    <a:pt x="4000024" y="284321"/>
                  </a:cubicBezTo>
                  <a:cubicBezTo>
                    <a:pt x="3996214" y="261461"/>
                    <a:pt x="3993356" y="248126"/>
                    <a:pt x="3993356" y="248126"/>
                  </a:cubicBezTo>
                  <a:cubicBezTo>
                    <a:pt x="3993356" y="248126"/>
                    <a:pt x="3993356" y="262414"/>
                    <a:pt x="3993356" y="286226"/>
                  </a:cubicBezTo>
                  <a:cubicBezTo>
                    <a:pt x="3993356" y="286226"/>
                    <a:pt x="3992404" y="286226"/>
                    <a:pt x="3992404" y="286226"/>
                  </a:cubicBezTo>
                  <a:cubicBezTo>
                    <a:pt x="3991451" y="286226"/>
                    <a:pt x="3990499" y="287179"/>
                    <a:pt x="3990499" y="287179"/>
                  </a:cubicBezTo>
                  <a:cubicBezTo>
                    <a:pt x="3988594" y="289084"/>
                    <a:pt x="3986689" y="290989"/>
                    <a:pt x="3985736" y="292894"/>
                  </a:cubicBezTo>
                  <a:lnTo>
                    <a:pt x="3985736" y="292894"/>
                  </a:lnTo>
                  <a:lnTo>
                    <a:pt x="3985736" y="293846"/>
                  </a:lnTo>
                  <a:cubicBezTo>
                    <a:pt x="3984784" y="300514"/>
                    <a:pt x="3983831" y="307181"/>
                    <a:pt x="3983831" y="313849"/>
                  </a:cubicBezTo>
                  <a:cubicBezTo>
                    <a:pt x="3981926" y="310039"/>
                    <a:pt x="3980021" y="307181"/>
                    <a:pt x="3978116" y="303371"/>
                  </a:cubicBezTo>
                  <a:cubicBezTo>
                    <a:pt x="3983831" y="284321"/>
                    <a:pt x="3987641" y="272891"/>
                    <a:pt x="3987641" y="272891"/>
                  </a:cubicBezTo>
                  <a:cubicBezTo>
                    <a:pt x="3987641" y="272891"/>
                    <a:pt x="3982879" y="282416"/>
                    <a:pt x="3976211" y="298609"/>
                  </a:cubicBezTo>
                  <a:cubicBezTo>
                    <a:pt x="3975259" y="296704"/>
                    <a:pt x="3974306" y="295751"/>
                    <a:pt x="3973354" y="293846"/>
                  </a:cubicBezTo>
                  <a:cubicBezTo>
                    <a:pt x="3973354" y="291941"/>
                    <a:pt x="3973354" y="290036"/>
                    <a:pt x="3973354" y="288131"/>
                  </a:cubicBezTo>
                  <a:cubicBezTo>
                    <a:pt x="3973354" y="288131"/>
                    <a:pt x="3973354" y="288131"/>
                    <a:pt x="3973354" y="287179"/>
                  </a:cubicBezTo>
                  <a:cubicBezTo>
                    <a:pt x="3975259" y="283369"/>
                    <a:pt x="3976211" y="280511"/>
                    <a:pt x="3977164" y="278606"/>
                  </a:cubicBezTo>
                  <a:cubicBezTo>
                    <a:pt x="3979069" y="273844"/>
                    <a:pt x="3980974" y="270986"/>
                    <a:pt x="3980974" y="270986"/>
                  </a:cubicBezTo>
                  <a:cubicBezTo>
                    <a:pt x="3980974" y="270986"/>
                    <a:pt x="3979069" y="272891"/>
                    <a:pt x="3976211" y="277654"/>
                  </a:cubicBezTo>
                  <a:cubicBezTo>
                    <a:pt x="3975259" y="278606"/>
                    <a:pt x="3974306" y="280511"/>
                    <a:pt x="3973354" y="282416"/>
                  </a:cubicBezTo>
                  <a:cubicBezTo>
                    <a:pt x="3973354" y="271939"/>
                    <a:pt x="3974306" y="262414"/>
                    <a:pt x="3974306" y="254794"/>
                  </a:cubicBezTo>
                  <a:cubicBezTo>
                    <a:pt x="3975259" y="238601"/>
                    <a:pt x="3975259" y="230029"/>
                    <a:pt x="3975259" y="230029"/>
                  </a:cubicBezTo>
                  <a:cubicBezTo>
                    <a:pt x="3975259" y="230029"/>
                    <a:pt x="3973354" y="238601"/>
                    <a:pt x="3970496" y="254794"/>
                  </a:cubicBezTo>
                  <a:cubicBezTo>
                    <a:pt x="3969544" y="262414"/>
                    <a:pt x="3967639" y="271939"/>
                    <a:pt x="3965734" y="281464"/>
                  </a:cubicBezTo>
                  <a:cubicBezTo>
                    <a:pt x="3964781" y="278606"/>
                    <a:pt x="3962876" y="276701"/>
                    <a:pt x="3961924" y="274796"/>
                  </a:cubicBezTo>
                  <a:cubicBezTo>
                    <a:pt x="3961924" y="272891"/>
                    <a:pt x="3962876" y="270986"/>
                    <a:pt x="3962876" y="269081"/>
                  </a:cubicBezTo>
                  <a:cubicBezTo>
                    <a:pt x="3965734" y="253841"/>
                    <a:pt x="3966686" y="245269"/>
                    <a:pt x="3966686" y="245269"/>
                  </a:cubicBezTo>
                  <a:cubicBezTo>
                    <a:pt x="3966686" y="245269"/>
                    <a:pt x="3963829" y="253841"/>
                    <a:pt x="3959066" y="268129"/>
                  </a:cubicBezTo>
                  <a:cubicBezTo>
                    <a:pt x="3959066" y="268129"/>
                    <a:pt x="3959066" y="269081"/>
                    <a:pt x="3959066" y="269081"/>
                  </a:cubicBezTo>
                  <a:cubicBezTo>
                    <a:pt x="3959066" y="268129"/>
                    <a:pt x="3958114" y="267176"/>
                    <a:pt x="3958114" y="267176"/>
                  </a:cubicBezTo>
                  <a:cubicBezTo>
                    <a:pt x="3958114" y="267176"/>
                    <a:pt x="3958114" y="268129"/>
                    <a:pt x="3958114" y="269081"/>
                  </a:cubicBezTo>
                  <a:cubicBezTo>
                    <a:pt x="3957161" y="267176"/>
                    <a:pt x="3956209" y="266224"/>
                    <a:pt x="3955256" y="264319"/>
                  </a:cubicBezTo>
                  <a:cubicBezTo>
                    <a:pt x="3955256" y="258604"/>
                    <a:pt x="3955256" y="252889"/>
                    <a:pt x="3954304" y="247174"/>
                  </a:cubicBezTo>
                  <a:cubicBezTo>
                    <a:pt x="3954304" y="235744"/>
                    <a:pt x="3952399" y="224314"/>
                    <a:pt x="3951446" y="214789"/>
                  </a:cubicBezTo>
                  <a:cubicBezTo>
                    <a:pt x="3950494" y="205264"/>
                    <a:pt x="3949541" y="196691"/>
                    <a:pt x="3947636" y="190024"/>
                  </a:cubicBezTo>
                  <a:cubicBezTo>
                    <a:pt x="3944779" y="176689"/>
                    <a:pt x="3943826" y="169069"/>
                    <a:pt x="3943826" y="169069"/>
                  </a:cubicBezTo>
                  <a:cubicBezTo>
                    <a:pt x="3943826" y="169069"/>
                    <a:pt x="3943826" y="176689"/>
                    <a:pt x="3943826" y="190024"/>
                  </a:cubicBezTo>
                  <a:cubicBezTo>
                    <a:pt x="3943826" y="196691"/>
                    <a:pt x="3943826" y="205264"/>
                    <a:pt x="3943826" y="214789"/>
                  </a:cubicBezTo>
                  <a:cubicBezTo>
                    <a:pt x="3943826" y="218599"/>
                    <a:pt x="3943826" y="222409"/>
                    <a:pt x="3943826" y="225266"/>
                  </a:cubicBezTo>
                  <a:cubicBezTo>
                    <a:pt x="3942874" y="221456"/>
                    <a:pt x="3941921" y="218599"/>
                    <a:pt x="3940969" y="215741"/>
                  </a:cubicBezTo>
                  <a:cubicBezTo>
                    <a:pt x="3940016" y="212884"/>
                    <a:pt x="3939064" y="210026"/>
                    <a:pt x="3939064" y="207169"/>
                  </a:cubicBezTo>
                  <a:cubicBezTo>
                    <a:pt x="3940016" y="206216"/>
                    <a:pt x="3940016" y="205264"/>
                    <a:pt x="3940016" y="205264"/>
                  </a:cubicBezTo>
                  <a:cubicBezTo>
                    <a:pt x="3940016" y="205264"/>
                    <a:pt x="3940016" y="206216"/>
                    <a:pt x="3939064" y="206216"/>
                  </a:cubicBezTo>
                  <a:cubicBezTo>
                    <a:pt x="3937159" y="201454"/>
                    <a:pt x="3936206" y="197644"/>
                    <a:pt x="3936206" y="197644"/>
                  </a:cubicBezTo>
                  <a:cubicBezTo>
                    <a:pt x="3936206" y="197644"/>
                    <a:pt x="3936206" y="201454"/>
                    <a:pt x="3937159" y="208121"/>
                  </a:cubicBezTo>
                  <a:cubicBezTo>
                    <a:pt x="3935254" y="210026"/>
                    <a:pt x="3932396" y="212884"/>
                    <a:pt x="3929539" y="216694"/>
                  </a:cubicBezTo>
                  <a:cubicBezTo>
                    <a:pt x="3928586" y="210026"/>
                    <a:pt x="3926681" y="204311"/>
                    <a:pt x="3925729" y="197644"/>
                  </a:cubicBezTo>
                  <a:cubicBezTo>
                    <a:pt x="3922871" y="183356"/>
                    <a:pt x="3919061" y="170021"/>
                    <a:pt x="3916204" y="158591"/>
                  </a:cubicBezTo>
                  <a:cubicBezTo>
                    <a:pt x="3915251" y="153829"/>
                    <a:pt x="3913346" y="148114"/>
                    <a:pt x="3912394" y="144304"/>
                  </a:cubicBezTo>
                  <a:cubicBezTo>
                    <a:pt x="3913346" y="142399"/>
                    <a:pt x="3914299" y="141446"/>
                    <a:pt x="3915251" y="139541"/>
                  </a:cubicBezTo>
                  <a:cubicBezTo>
                    <a:pt x="3927634" y="121444"/>
                    <a:pt x="3935254" y="110966"/>
                    <a:pt x="3935254" y="110966"/>
                  </a:cubicBezTo>
                  <a:cubicBezTo>
                    <a:pt x="3935254" y="110966"/>
                    <a:pt x="3926681" y="120491"/>
                    <a:pt x="3912394" y="136684"/>
                  </a:cubicBezTo>
                  <a:cubicBezTo>
                    <a:pt x="3911441" y="137636"/>
                    <a:pt x="3911441" y="138589"/>
                    <a:pt x="3910489" y="138589"/>
                  </a:cubicBezTo>
                  <a:cubicBezTo>
                    <a:pt x="3909536" y="134779"/>
                    <a:pt x="3908584" y="131921"/>
                    <a:pt x="3906679" y="128111"/>
                  </a:cubicBezTo>
                  <a:cubicBezTo>
                    <a:pt x="3900964" y="111919"/>
                    <a:pt x="3898106" y="102394"/>
                    <a:pt x="3898106" y="102394"/>
                  </a:cubicBezTo>
                  <a:cubicBezTo>
                    <a:pt x="3898106" y="102394"/>
                    <a:pt x="3900011" y="111919"/>
                    <a:pt x="3902869" y="129064"/>
                  </a:cubicBezTo>
                  <a:cubicBezTo>
                    <a:pt x="3903821" y="132874"/>
                    <a:pt x="3904774" y="137636"/>
                    <a:pt x="3905726" y="143351"/>
                  </a:cubicBezTo>
                  <a:cubicBezTo>
                    <a:pt x="3905726" y="143351"/>
                    <a:pt x="3905726" y="143351"/>
                    <a:pt x="3905726" y="143351"/>
                  </a:cubicBezTo>
                  <a:cubicBezTo>
                    <a:pt x="3900011" y="150019"/>
                    <a:pt x="3894296" y="158591"/>
                    <a:pt x="3887629" y="167164"/>
                  </a:cubicBezTo>
                  <a:cubicBezTo>
                    <a:pt x="3880961" y="175736"/>
                    <a:pt x="3874294" y="185261"/>
                    <a:pt x="3866674" y="195739"/>
                  </a:cubicBezTo>
                  <a:cubicBezTo>
                    <a:pt x="3864769" y="190976"/>
                    <a:pt x="3863816" y="186214"/>
                    <a:pt x="3862864" y="182404"/>
                  </a:cubicBezTo>
                  <a:cubicBezTo>
                    <a:pt x="3857149" y="165259"/>
                    <a:pt x="3854291" y="155734"/>
                    <a:pt x="3854291" y="155734"/>
                  </a:cubicBezTo>
                  <a:cubicBezTo>
                    <a:pt x="3854291" y="155734"/>
                    <a:pt x="3856196" y="166211"/>
                    <a:pt x="3859054" y="183356"/>
                  </a:cubicBezTo>
                  <a:cubicBezTo>
                    <a:pt x="3860006" y="189071"/>
                    <a:pt x="3861911" y="195739"/>
                    <a:pt x="3862864" y="202406"/>
                  </a:cubicBezTo>
                  <a:cubicBezTo>
                    <a:pt x="3860959" y="204311"/>
                    <a:pt x="3860006" y="207169"/>
                    <a:pt x="3858101" y="209074"/>
                  </a:cubicBezTo>
                  <a:cubicBezTo>
                    <a:pt x="3856196" y="211931"/>
                    <a:pt x="3855244" y="213836"/>
                    <a:pt x="3853339" y="216694"/>
                  </a:cubicBezTo>
                  <a:cubicBezTo>
                    <a:pt x="3851434" y="208121"/>
                    <a:pt x="3850481" y="200501"/>
                    <a:pt x="3849529" y="195739"/>
                  </a:cubicBezTo>
                  <a:cubicBezTo>
                    <a:pt x="3850481" y="189071"/>
                    <a:pt x="3851434" y="183356"/>
                    <a:pt x="3852386" y="178594"/>
                  </a:cubicBezTo>
                  <a:cubicBezTo>
                    <a:pt x="3854291" y="166211"/>
                    <a:pt x="3855244" y="158591"/>
                    <a:pt x="3855244" y="158591"/>
                  </a:cubicBezTo>
                  <a:cubicBezTo>
                    <a:pt x="3855244" y="158591"/>
                    <a:pt x="3853339" y="165259"/>
                    <a:pt x="3848576" y="177641"/>
                  </a:cubicBezTo>
                  <a:cubicBezTo>
                    <a:pt x="3846671" y="184309"/>
                    <a:pt x="3844766" y="190976"/>
                    <a:pt x="3841909" y="199549"/>
                  </a:cubicBezTo>
                  <a:cubicBezTo>
                    <a:pt x="3840956" y="204311"/>
                    <a:pt x="3839051" y="208121"/>
                    <a:pt x="3838099" y="212884"/>
                  </a:cubicBezTo>
                  <a:cubicBezTo>
                    <a:pt x="3837146" y="216694"/>
                    <a:pt x="3836194" y="221456"/>
                    <a:pt x="3835241" y="225266"/>
                  </a:cubicBezTo>
                  <a:cubicBezTo>
                    <a:pt x="3835241" y="224314"/>
                    <a:pt x="3834289" y="223361"/>
                    <a:pt x="3834289" y="222409"/>
                  </a:cubicBezTo>
                  <a:cubicBezTo>
                    <a:pt x="3831431" y="217646"/>
                    <a:pt x="3828574" y="212884"/>
                    <a:pt x="3825716" y="209074"/>
                  </a:cubicBezTo>
                  <a:cubicBezTo>
                    <a:pt x="3815239" y="193834"/>
                    <a:pt x="3809524" y="184309"/>
                    <a:pt x="3809524" y="184309"/>
                  </a:cubicBezTo>
                  <a:cubicBezTo>
                    <a:pt x="3809524" y="184309"/>
                    <a:pt x="3814286" y="193834"/>
                    <a:pt x="3821906" y="210979"/>
                  </a:cubicBezTo>
                  <a:cubicBezTo>
                    <a:pt x="3823811" y="214789"/>
                    <a:pt x="3825716" y="219551"/>
                    <a:pt x="3828574" y="224314"/>
                  </a:cubicBezTo>
                  <a:cubicBezTo>
                    <a:pt x="3829526" y="227171"/>
                    <a:pt x="3831431" y="230981"/>
                    <a:pt x="3832384" y="234791"/>
                  </a:cubicBezTo>
                  <a:cubicBezTo>
                    <a:pt x="3831431" y="241459"/>
                    <a:pt x="3829526" y="248126"/>
                    <a:pt x="3828574" y="254794"/>
                  </a:cubicBezTo>
                  <a:cubicBezTo>
                    <a:pt x="3827621" y="256699"/>
                    <a:pt x="3826669" y="257651"/>
                    <a:pt x="3825716" y="259556"/>
                  </a:cubicBezTo>
                  <a:cubicBezTo>
                    <a:pt x="3823811" y="262414"/>
                    <a:pt x="3821906" y="266224"/>
                    <a:pt x="3820954" y="269081"/>
                  </a:cubicBezTo>
                  <a:cubicBezTo>
                    <a:pt x="3820954" y="268129"/>
                    <a:pt x="3820001" y="268129"/>
                    <a:pt x="3820001" y="267176"/>
                  </a:cubicBezTo>
                  <a:cubicBezTo>
                    <a:pt x="3810476" y="255746"/>
                    <a:pt x="3804761" y="249079"/>
                    <a:pt x="3804761" y="249079"/>
                  </a:cubicBezTo>
                  <a:cubicBezTo>
                    <a:pt x="3804761" y="249079"/>
                    <a:pt x="3809524" y="256699"/>
                    <a:pt x="3817144" y="270034"/>
                  </a:cubicBezTo>
                  <a:cubicBezTo>
                    <a:pt x="3818096" y="270986"/>
                    <a:pt x="3818096" y="271939"/>
                    <a:pt x="3819049" y="272891"/>
                  </a:cubicBezTo>
                  <a:cubicBezTo>
                    <a:pt x="3815239" y="280511"/>
                    <a:pt x="3811429" y="287179"/>
                    <a:pt x="3806666" y="294799"/>
                  </a:cubicBezTo>
                  <a:cubicBezTo>
                    <a:pt x="3806666" y="294799"/>
                    <a:pt x="3806666" y="294799"/>
                    <a:pt x="3806666" y="294799"/>
                  </a:cubicBezTo>
                  <a:cubicBezTo>
                    <a:pt x="3805714" y="293846"/>
                    <a:pt x="3804761" y="291941"/>
                    <a:pt x="3803809" y="290989"/>
                  </a:cubicBezTo>
                  <a:cubicBezTo>
                    <a:pt x="3803809" y="290036"/>
                    <a:pt x="3803809" y="289084"/>
                    <a:pt x="3802856" y="287179"/>
                  </a:cubicBezTo>
                  <a:cubicBezTo>
                    <a:pt x="3801904" y="283369"/>
                    <a:pt x="3800951" y="280511"/>
                    <a:pt x="3799999" y="276701"/>
                  </a:cubicBezTo>
                  <a:cubicBezTo>
                    <a:pt x="3798094" y="270034"/>
                    <a:pt x="3796189" y="265271"/>
                    <a:pt x="3795236" y="260509"/>
                  </a:cubicBezTo>
                  <a:cubicBezTo>
                    <a:pt x="3792379" y="250984"/>
                    <a:pt x="3790474" y="246221"/>
                    <a:pt x="3790474" y="246221"/>
                  </a:cubicBezTo>
                  <a:cubicBezTo>
                    <a:pt x="3790474" y="246221"/>
                    <a:pt x="3790474" y="251936"/>
                    <a:pt x="3791426" y="260509"/>
                  </a:cubicBezTo>
                  <a:cubicBezTo>
                    <a:pt x="3791426" y="264319"/>
                    <a:pt x="3792379" y="269081"/>
                    <a:pt x="3792379" y="273844"/>
                  </a:cubicBezTo>
                  <a:cubicBezTo>
                    <a:pt x="3790474" y="271939"/>
                    <a:pt x="3789521" y="270034"/>
                    <a:pt x="3787616" y="268129"/>
                  </a:cubicBezTo>
                  <a:cubicBezTo>
                    <a:pt x="3783806" y="263366"/>
                    <a:pt x="3779996" y="259556"/>
                    <a:pt x="3777139" y="255746"/>
                  </a:cubicBezTo>
                  <a:cubicBezTo>
                    <a:pt x="3776186" y="251936"/>
                    <a:pt x="3774281" y="249079"/>
                    <a:pt x="3773329" y="246221"/>
                  </a:cubicBezTo>
                  <a:cubicBezTo>
                    <a:pt x="3767614" y="231934"/>
                    <a:pt x="3764756" y="224314"/>
                    <a:pt x="3764756" y="224314"/>
                  </a:cubicBezTo>
                  <a:cubicBezTo>
                    <a:pt x="3764756" y="224314"/>
                    <a:pt x="3766661" y="232886"/>
                    <a:pt x="3769519" y="247174"/>
                  </a:cubicBezTo>
                  <a:cubicBezTo>
                    <a:pt x="3771424" y="254794"/>
                    <a:pt x="3773329" y="263366"/>
                    <a:pt x="3776186" y="273844"/>
                  </a:cubicBezTo>
                  <a:cubicBezTo>
                    <a:pt x="3778091" y="281464"/>
                    <a:pt x="3779996" y="290989"/>
                    <a:pt x="3781901" y="299561"/>
                  </a:cubicBezTo>
                  <a:cubicBezTo>
                    <a:pt x="3775234" y="275749"/>
                    <a:pt x="3767614" y="253841"/>
                    <a:pt x="3760946" y="234791"/>
                  </a:cubicBezTo>
                  <a:cubicBezTo>
                    <a:pt x="3759041" y="229076"/>
                    <a:pt x="3757136" y="224314"/>
                    <a:pt x="3755231" y="218599"/>
                  </a:cubicBezTo>
                  <a:cubicBezTo>
                    <a:pt x="3758089" y="214789"/>
                    <a:pt x="3759041" y="211931"/>
                    <a:pt x="3759041" y="211931"/>
                  </a:cubicBezTo>
                  <a:cubicBezTo>
                    <a:pt x="3759041" y="211931"/>
                    <a:pt x="3757136" y="213836"/>
                    <a:pt x="3754279" y="217646"/>
                  </a:cubicBezTo>
                  <a:cubicBezTo>
                    <a:pt x="3753326" y="213836"/>
                    <a:pt x="3752374" y="210979"/>
                    <a:pt x="3750469" y="208121"/>
                  </a:cubicBezTo>
                  <a:cubicBezTo>
                    <a:pt x="3752374" y="201454"/>
                    <a:pt x="3752374" y="197644"/>
                    <a:pt x="3752374" y="197644"/>
                  </a:cubicBezTo>
                  <a:cubicBezTo>
                    <a:pt x="3752374" y="197644"/>
                    <a:pt x="3751421" y="200501"/>
                    <a:pt x="3748564" y="205264"/>
                  </a:cubicBezTo>
                  <a:cubicBezTo>
                    <a:pt x="3739991" y="181451"/>
                    <a:pt x="3734276" y="167164"/>
                    <a:pt x="3734276" y="167164"/>
                  </a:cubicBezTo>
                  <a:cubicBezTo>
                    <a:pt x="3734276" y="167164"/>
                    <a:pt x="3737134" y="186214"/>
                    <a:pt x="3742849" y="217646"/>
                  </a:cubicBezTo>
                  <a:cubicBezTo>
                    <a:pt x="3740944" y="222409"/>
                    <a:pt x="3738086" y="229076"/>
                    <a:pt x="3736181" y="236696"/>
                  </a:cubicBezTo>
                  <a:cubicBezTo>
                    <a:pt x="3736181" y="237649"/>
                    <a:pt x="3736181" y="237649"/>
                    <a:pt x="3735229" y="238601"/>
                  </a:cubicBezTo>
                  <a:cubicBezTo>
                    <a:pt x="3733324" y="240506"/>
                    <a:pt x="3731419" y="243364"/>
                    <a:pt x="3730466" y="245269"/>
                  </a:cubicBezTo>
                  <a:cubicBezTo>
                    <a:pt x="3728561" y="242411"/>
                    <a:pt x="3727609" y="239554"/>
                    <a:pt x="3726656" y="236696"/>
                  </a:cubicBezTo>
                  <a:cubicBezTo>
                    <a:pt x="3726656" y="235744"/>
                    <a:pt x="3726656" y="234791"/>
                    <a:pt x="3726656" y="232886"/>
                  </a:cubicBezTo>
                  <a:cubicBezTo>
                    <a:pt x="3726656" y="221456"/>
                    <a:pt x="3725704" y="214789"/>
                    <a:pt x="3725704" y="214789"/>
                  </a:cubicBezTo>
                  <a:cubicBezTo>
                    <a:pt x="3725704" y="214789"/>
                    <a:pt x="3724751" y="220504"/>
                    <a:pt x="3722846" y="230029"/>
                  </a:cubicBezTo>
                  <a:cubicBezTo>
                    <a:pt x="3722846" y="230029"/>
                    <a:pt x="3722846" y="229076"/>
                    <a:pt x="3721894" y="229076"/>
                  </a:cubicBezTo>
                  <a:cubicBezTo>
                    <a:pt x="3721894" y="229076"/>
                    <a:pt x="3721894" y="229076"/>
                    <a:pt x="3721894" y="229076"/>
                  </a:cubicBezTo>
                  <a:cubicBezTo>
                    <a:pt x="3723799" y="215741"/>
                    <a:pt x="3724751" y="203359"/>
                    <a:pt x="3725704" y="190976"/>
                  </a:cubicBezTo>
                  <a:cubicBezTo>
                    <a:pt x="3726656" y="184309"/>
                    <a:pt x="3726656" y="178594"/>
                    <a:pt x="3727609" y="172879"/>
                  </a:cubicBezTo>
                  <a:cubicBezTo>
                    <a:pt x="3728561" y="167164"/>
                    <a:pt x="3729514" y="161449"/>
                    <a:pt x="3730466" y="155734"/>
                  </a:cubicBezTo>
                  <a:cubicBezTo>
                    <a:pt x="3732371" y="145256"/>
                    <a:pt x="3733324" y="135731"/>
                    <a:pt x="3734276" y="128111"/>
                  </a:cubicBezTo>
                  <a:cubicBezTo>
                    <a:pt x="3736181" y="112871"/>
                    <a:pt x="3737134" y="104299"/>
                    <a:pt x="3737134" y="104299"/>
                  </a:cubicBezTo>
                  <a:cubicBezTo>
                    <a:pt x="3737134" y="104299"/>
                    <a:pt x="3734276" y="112871"/>
                    <a:pt x="3730466" y="127159"/>
                  </a:cubicBezTo>
                  <a:cubicBezTo>
                    <a:pt x="3728561" y="134779"/>
                    <a:pt x="3725704" y="143351"/>
                    <a:pt x="3722846" y="153829"/>
                  </a:cubicBezTo>
                  <a:cubicBezTo>
                    <a:pt x="3720941" y="158591"/>
                    <a:pt x="3719989" y="164306"/>
                    <a:pt x="3718084" y="170021"/>
                  </a:cubicBezTo>
                  <a:cubicBezTo>
                    <a:pt x="3717131" y="175736"/>
                    <a:pt x="3715226" y="182404"/>
                    <a:pt x="3714274" y="188119"/>
                  </a:cubicBezTo>
                  <a:cubicBezTo>
                    <a:pt x="3713321" y="194786"/>
                    <a:pt x="3711416" y="201454"/>
                    <a:pt x="3710464" y="208121"/>
                  </a:cubicBezTo>
                  <a:cubicBezTo>
                    <a:pt x="3710464" y="208121"/>
                    <a:pt x="3710464" y="208121"/>
                    <a:pt x="3710464" y="207169"/>
                  </a:cubicBezTo>
                  <a:cubicBezTo>
                    <a:pt x="3702844" y="194786"/>
                    <a:pt x="3697129" y="184309"/>
                    <a:pt x="3691414" y="174784"/>
                  </a:cubicBezTo>
                  <a:cubicBezTo>
                    <a:pt x="3684746" y="164306"/>
                    <a:pt x="3679984" y="155734"/>
                    <a:pt x="3677126" y="150971"/>
                  </a:cubicBezTo>
                  <a:cubicBezTo>
                    <a:pt x="3678079" y="142399"/>
                    <a:pt x="3678079" y="137636"/>
                    <a:pt x="3678079" y="137636"/>
                  </a:cubicBezTo>
                  <a:cubicBezTo>
                    <a:pt x="3678079" y="137636"/>
                    <a:pt x="3677126" y="141446"/>
                    <a:pt x="3675221" y="149066"/>
                  </a:cubicBezTo>
                  <a:cubicBezTo>
                    <a:pt x="3674269" y="148114"/>
                    <a:pt x="3674269" y="147161"/>
                    <a:pt x="3674269" y="147161"/>
                  </a:cubicBezTo>
                  <a:cubicBezTo>
                    <a:pt x="3674269" y="147161"/>
                    <a:pt x="3674269" y="148114"/>
                    <a:pt x="3675221" y="150019"/>
                  </a:cubicBezTo>
                  <a:cubicBezTo>
                    <a:pt x="3674269" y="153829"/>
                    <a:pt x="3673316" y="158591"/>
                    <a:pt x="3672364" y="164306"/>
                  </a:cubicBezTo>
                  <a:cubicBezTo>
                    <a:pt x="3670459" y="172879"/>
                    <a:pt x="3668554" y="182404"/>
                    <a:pt x="3665696" y="194786"/>
                  </a:cubicBezTo>
                  <a:cubicBezTo>
                    <a:pt x="3664744" y="199549"/>
                    <a:pt x="3663791" y="204311"/>
                    <a:pt x="3662839" y="209074"/>
                  </a:cubicBezTo>
                  <a:cubicBezTo>
                    <a:pt x="3662839" y="209074"/>
                    <a:pt x="3662839" y="210026"/>
                    <a:pt x="3661886" y="210026"/>
                  </a:cubicBezTo>
                  <a:cubicBezTo>
                    <a:pt x="3660934" y="211931"/>
                    <a:pt x="3659029" y="214789"/>
                    <a:pt x="3658076" y="216694"/>
                  </a:cubicBezTo>
                  <a:cubicBezTo>
                    <a:pt x="3659029" y="190976"/>
                    <a:pt x="3658076" y="174784"/>
                    <a:pt x="3658076" y="174784"/>
                  </a:cubicBezTo>
                  <a:cubicBezTo>
                    <a:pt x="3658076" y="174784"/>
                    <a:pt x="3652361" y="200501"/>
                    <a:pt x="3645694" y="239554"/>
                  </a:cubicBezTo>
                  <a:cubicBezTo>
                    <a:pt x="3645694" y="241459"/>
                    <a:pt x="3644741" y="244316"/>
                    <a:pt x="3644741" y="246221"/>
                  </a:cubicBezTo>
                  <a:cubicBezTo>
                    <a:pt x="3644741" y="247174"/>
                    <a:pt x="3643789" y="248126"/>
                    <a:pt x="3643789" y="249079"/>
                  </a:cubicBezTo>
                  <a:cubicBezTo>
                    <a:pt x="3642836" y="251936"/>
                    <a:pt x="3641884" y="255746"/>
                    <a:pt x="3640931" y="259556"/>
                  </a:cubicBezTo>
                  <a:cubicBezTo>
                    <a:pt x="3636169" y="249079"/>
                    <a:pt x="3633311" y="243364"/>
                    <a:pt x="3633311" y="243364"/>
                  </a:cubicBezTo>
                  <a:cubicBezTo>
                    <a:pt x="3633311" y="243364"/>
                    <a:pt x="3635216" y="250984"/>
                    <a:pt x="3639979" y="265271"/>
                  </a:cubicBezTo>
                  <a:cubicBezTo>
                    <a:pt x="3639026" y="268129"/>
                    <a:pt x="3638074" y="271939"/>
                    <a:pt x="3637121" y="275749"/>
                  </a:cubicBezTo>
                  <a:cubicBezTo>
                    <a:pt x="3631406" y="266224"/>
                    <a:pt x="3627596" y="261461"/>
                    <a:pt x="3627596" y="261461"/>
                  </a:cubicBezTo>
                  <a:cubicBezTo>
                    <a:pt x="3627596" y="261461"/>
                    <a:pt x="3630454" y="268129"/>
                    <a:pt x="3635216" y="280511"/>
                  </a:cubicBezTo>
                  <a:cubicBezTo>
                    <a:pt x="3635216" y="280511"/>
                    <a:pt x="3635216" y="280511"/>
                    <a:pt x="3635216" y="281464"/>
                  </a:cubicBezTo>
                  <a:cubicBezTo>
                    <a:pt x="3633311" y="290036"/>
                    <a:pt x="3631406" y="299561"/>
                    <a:pt x="3630454" y="309086"/>
                  </a:cubicBezTo>
                  <a:cubicBezTo>
                    <a:pt x="3629501" y="316706"/>
                    <a:pt x="3628549" y="324326"/>
                    <a:pt x="3627596" y="332899"/>
                  </a:cubicBezTo>
                  <a:cubicBezTo>
                    <a:pt x="3624739" y="325279"/>
                    <a:pt x="3622834" y="318611"/>
                    <a:pt x="3620929" y="312896"/>
                  </a:cubicBezTo>
                  <a:cubicBezTo>
                    <a:pt x="3620929" y="310991"/>
                    <a:pt x="3620929" y="309086"/>
                    <a:pt x="3620929" y="309086"/>
                  </a:cubicBezTo>
                  <a:cubicBezTo>
                    <a:pt x="3620929" y="309086"/>
                    <a:pt x="3620929" y="310039"/>
                    <a:pt x="3619976" y="310991"/>
                  </a:cubicBezTo>
                  <a:cubicBezTo>
                    <a:pt x="3619976" y="310039"/>
                    <a:pt x="3619024" y="309086"/>
                    <a:pt x="3619024" y="308134"/>
                  </a:cubicBezTo>
                  <a:cubicBezTo>
                    <a:pt x="3620929" y="295751"/>
                    <a:pt x="3621881" y="284321"/>
                    <a:pt x="3622834" y="272891"/>
                  </a:cubicBezTo>
                  <a:cubicBezTo>
                    <a:pt x="3624739" y="252889"/>
                    <a:pt x="3625691" y="234791"/>
                    <a:pt x="3626644" y="221456"/>
                  </a:cubicBezTo>
                  <a:cubicBezTo>
                    <a:pt x="3629501" y="215741"/>
                    <a:pt x="3630454" y="211931"/>
                    <a:pt x="3630454" y="211931"/>
                  </a:cubicBezTo>
                  <a:cubicBezTo>
                    <a:pt x="3630454" y="211931"/>
                    <a:pt x="3629501" y="213836"/>
                    <a:pt x="3626644" y="216694"/>
                  </a:cubicBezTo>
                  <a:cubicBezTo>
                    <a:pt x="3626644" y="215741"/>
                    <a:pt x="3626644" y="214789"/>
                    <a:pt x="3626644" y="214789"/>
                  </a:cubicBezTo>
                  <a:cubicBezTo>
                    <a:pt x="3626644" y="200501"/>
                    <a:pt x="3626644" y="192881"/>
                    <a:pt x="3626644" y="192881"/>
                  </a:cubicBezTo>
                  <a:cubicBezTo>
                    <a:pt x="3626644" y="192881"/>
                    <a:pt x="3624739" y="200501"/>
                    <a:pt x="3622834" y="214789"/>
                  </a:cubicBezTo>
                  <a:cubicBezTo>
                    <a:pt x="3621881" y="217646"/>
                    <a:pt x="3621881" y="221456"/>
                    <a:pt x="3620929" y="226219"/>
                  </a:cubicBezTo>
                  <a:cubicBezTo>
                    <a:pt x="3620929" y="226219"/>
                    <a:pt x="3620929" y="226219"/>
                    <a:pt x="3620929" y="227171"/>
                  </a:cubicBezTo>
                  <a:cubicBezTo>
                    <a:pt x="3618071" y="231934"/>
                    <a:pt x="3614261" y="237649"/>
                    <a:pt x="3609499" y="243364"/>
                  </a:cubicBezTo>
                  <a:cubicBezTo>
                    <a:pt x="3607594" y="246221"/>
                    <a:pt x="3605689" y="249079"/>
                    <a:pt x="3603784" y="251936"/>
                  </a:cubicBezTo>
                  <a:cubicBezTo>
                    <a:pt x="3607594" y="242411"/>
                    <a:pt x="3610451" y="233839"/>
                    <a:pt x="3613309" y="225266"/>
                  </a:cubicBezTo>
                  <a:cubicBezTo>
                    <a:pt x="3615214" y="219551"/>
                    <a:pt x="3617119" y="213836"/>
                    <a:pt x="3619024" y="208121"/>
                  </a:cubicBezTo>
                  <a:cubicBezTo>
                    <a:pt x="3620929" y="202406"/>
                    <a:pt x="3622834" y="197644"/>
                    <a:pt x="3624739" y="192881"/>
                  </a:cubicBezTo>
                  <a:cubicBezTo>
                    <a:pt x="3628549" y="183356"/>
                    <a:pt x="3631406" y="174784"/>
                    <a:pt x="3634264" y="168116"/>
                  </a:cubicBezTo>
                  <a:cubicBezTo>
                    <a:pt x="3639026" y="153829"/>
                    <a:pt x="3642836" y="146209"/>
                    <a:pt x="3642836" y="146209"/>
                  </a:cubicBezTo>
                  <a:cubicBezTo>
                    <a:pt x="3642836" y="146209"/>
                    <a:pt x="3639026" y="153829"/>
                    <a:pt x="3631406" y="166211"/>
                  </a:cubicBezTo>
                  <a:cubicBezTo>
                    <a:pt x="3627596" y="172879"/>
                    <a:pt x="3623786" y="180499"/>
                    <a:pt x="3618071" y="189071"/>
                  </a:cubicBezTo>
                  <a:cubicBezTo>
                    <a:pt x="3615214" y="193834"/>
                    <a:pt x="3613309" y="198596"/>
                    <a:pt x="3610451" y="203359"/>
                  </a:cubicBezTo>
                  <a:cubicBezTo>
                    <a:pt x="3607594" y="209074"/>
                    <a:pt x="3605689" y="213836"/>
                    <a:pt x="3602831" y="219551"/>
                  </a:cubicBezTo>
                  <a:cubicBezTo>
                    <a:pt x="3598069" y="229076"/>
                    <a:pt x="3593306" y="238601"/>
                    <a:pt x="3588544" y="250031"/>
                  </a:cubicBezTo>
                  <a:cubicBezTo>
                    <a:pt x="3588544" y="245269"/>
                    <a:pt x="3588544" y="242411"/>
                    <a:pt x="3588544" y="242411"/>
                  </a:cubicBezTo>
                  <a:cubicBezTo>
                    <a:pt x="3588544" y="242411"/>
                    <a:pt x="3587591" y="248126"/>
                    <a:pt x="3585686" y="256699"/>
                  </a:cubicBezTo>
                  <a:cubicBezTo>
                    <a:pt x="3585686" y="256699"/>
                    <a:pt x="3585686" y="256699"/>
                    <a:pt x="3585686" y="257651"/>
                  </a:cubicBezTo>
                  <a:cubicBezTo>
                    <a:pt x="3583781" y="261461"/>
                    <a:pt x="3581876" y="266224"/>
                    <a:pt x="3579971" y="270986"/>
                  </a:cubicBezTo>
                  <a:cubicBezTo>
                    <a:pt x="3578066" y="274796"/>
                    <a:pt x="3576161" y="278606"/>
                    <a:pt x="3573304" y="282416"/>
                  </a:cubicBezTo>
                  <a:cubicBezTo>
                    <a:pt x="3571399" y="275749"/>
                    <a:pt x="3569494" y="269081"/>
                    <a:pt x="3568541" y="263366"/>
                  </a:cubicBezTo>
                  <a:cubicBezTo>
                    <a:pt x="3566636" y="257651"/>
                    <a:pt x="3565684" y="252889"/>
                    <a:pt x="3564731" y="248126"/>
                  </a:cubicBezTo>
                  <a:cubicBezTo>
                    <a:pt x="3564731" y="248126"/>
                    <a:pt x="3564731" y="248126"/>
                    <a:pt x="3564731" y="248126"/>
                  </a:cubicBezTo>
                  <a:cubicBezTo>
                    <a:pt x="3563779" y="244316"/>
                    <a:pt x="3563779" y="241459"/>
                    <a:pt x="3562826" y="237649"/>
                  </a:cubicBezTo>
                  <a:cubicBezTo>
                    <a:pt x="3562826" y="236696"/>
                    <a:pt x="3562826" y="235744"/>
                    <a:pt x="3561874" y="233839"/>
                  </a:cubicBezTo>
                  <a:cubicBezTo>
                    <a:pt x="3564731" y="230029"/>
                    <a:pt x="3566636" y="227171"/>
                    <a:pt x="3566636" y="227171"/>
                  </a:cubicBezTo>
                  <a:cubicBezTo>
                    <a:pt x="3566636" y="227171"/>
                    <a:pt x="3564731" y="229076"/>
                    <a:pt x="3561874" y="230981"/>
                  </a:cubicBezTo>
                  <a:cubicBezTo>
                    <a:pt x="3559969" y="222409"/>
                    <a:pt x="3559016" y="218599"/>
                    <a:pt x="3559016" y="218599"/>
                  </a:cubicBezTo>
                  <a:cubicBezTo>
                    <a:pt x="3559016" y="218599"/>
                    <a:pt x="3559016" y="223361"/>
                    <a:pt x="3559016" y="231934"/>
                  </a:cubicBezTo>
                  <a:cubicBezTo>
                    <a:pt x="3557111" y="228124"/>
                    <a:pt x="3556159" y="224314"/>
                    <a:pt x="3554254" y="220504"/>
                  </a:cubicBezTo>
                  <a:cubicBezTo>
                    <a:pt x="3559969" y="211931"/>
                    <a:pt x="3564731" y="204311"/>
                    <a:pt x="3569494" y="197644"/>
                  </a:cubicBezTo>
                  <a:cubicBezTo>
                    <a:pt x="3576161" y="189071"/>
                    <a:pt x="3580924" y="180499"/>
                    <a:pt x="3585686" y="174784"/>
                  </a:cubicBezTo>
                  <a:cubicBezTo>
                    <a:pt x="3595211" y="162401"/>
                    <a:pt x="3600926" y="154781"/>
                    <a:pt x="3600926" y="154781"/>
                  </a:cubicBezTo>
                  <a:cubicBezTo>
                    <a:pt x="3600926" y="154781"/>
                    <a:pt x="3594259" y="160496"/>
                    <a:pt x="3582829" y="171926"/>
                  </a:cubicBezTo>
                  <a:cubicBezTo>
                    <a:pt x="3577114" y="176689"/>
                    <a:pt x="3570446" y="184309"/>
                    <a:pt x="3562826" y="192881"/>
                  </a:cubicBezTo>
                  <a:cubicBezTo>
                    <a:pt x="3558064" y="197644"/>
                    <a:pt x="3553301" y="203359"/>
                    <a:pt x="3549491" y="209074"/>
                  </a:cubicBezTo>
                  <a:cubicBezTo>
                    <a:pt x="3545681" y="199549"/>
                    <a:pt x="3542824" y="193834"/>
                    <a:pt x="3542824" y="193834"/>
                  </a:cubicBezTo>
                  <a:cubicBezTo>
                    <a:pt x="3542824" y="193834"/>
                    <a:pt x="3543776" y="200501"/>
                    <a:pt x="3546634" y="212884"/>
                  </a:cubicBezTo>
                  <a:cubicBezTo>
                    <a:pt x="3544729" y="215741"/>
                    <a:pt x="3541871" y="218599"/>
                    <a:pt x="3539966" y="222409"/>
                  </a:cubicBezTo>
                  <a:cubicBezTo>
                    <a:pt x="3539966" y="222409"/>
                    <a:pt x="3539014" y="223361"/>
                    <a:pt x="3539014" y="223361"/>
                  </a:cubicBezTo>
                  <a:cubicBezTo>
                    <a:pt x="3539014" y="219551"/>
                    <a:pt x="3539014" y="214789"/>
                    <a:pt x="3539014" y="210979"/>
                  </a:cubicBezTo>
                  <a:cubicBezTo>
                    <a:pt x="3539014" y="200501"/>
                    <a:pt x="3539014" y="191929"/>
                    <a:pt x="3539014" y="184309"/>
                  </a:cubicBezTo>
                  <a:cubicBezTo>
                    <a:pt x="3539014" y="180499"/>
                    <a:pt x="3539014" y="176689"/>
                    <a:pt x="3539014" y="173831"/>
                  </a:cubicBezTo>
                  <a:cubicBezTo>
                    <a:pt x="3539966" y="170974"/>
                    <a:pt x="3540919" y="170021"/>
                    <a:pt x="3540919" y="170021"/>
                  </a:cubicBezTo>
                  <a:cubicBezTo>
                    <a:pt x="3540919" y="170021"/>
                    <a:pt x="3539966" y="170974"/>
                    <a:pt x="3539014" y="172879"/>
                  </a:cubicBezTo>
                  <a:cubicBezTo>
                    <a:pt x="3539014" y="166211"/>
                    <a:pt x="3539014" y="162401"/>
                    <a:pt x="3539014" y="162401"/>
                  </a:cubicBezTo>
                  <a:cubicBezTo>
                    <a:pt x="3539014" y="162401"/>
                    <a:pt x="3538061" y="167164"/>
                    <a:pt x="3537109" y="176689"/>
                  </a:cubicBezTo>
                  <a:cubicBezTo>
                    <a:pt x="3535204" y="180499"/>
                    <a:pt x="3531394" y="184309"/>
                    <a:pt x="3527584" y="190976"/>
                  </a:cubicBezTo>
                  <a:cubicBezTo>
                    <a:pt x="3522821" y="197644"/>
                    <a:pt x="3518059" y="205264"/>
                    <a:pt x="3511391" y="214789"/>
                  </a:cubicBezTo>
                  <a:cubicBezTo>
                    <a:pt x="3511391" y="214789"/>
                    <a:pt x="3511391" y="215741"/>
                    <a:pt x="3510439" y="215741"/>
                  </a:cubicBezTo>
                  <a:cubicBezTo>
                    <a:pt x="3509486" y="210026"/>
                    <a:pt x="3509486" y="205264"/>
                    <a:pt x="3508534" y="201454"/>
                  </a:cubicBezTo>
                  <a:cubicBezTo>
                    <a:pt x="3506629" y="188119"/>
                    <a:pt x="3505676" y="180499"/>
                    <a:pt x="3505676" y="180499"/>
                  </a:cubicBezTo>
                  <a:cubicBezTo>
                    <a:pt x="3505676" y="180499"/>
                    <a:pt x="3505676" y="188119"/>
                    <a:pt x="3504724" y="202406"/>
                  </a:cubicBezTo>
                  <a:cubicBezTo>
                    <a:pt x="3504724" y="209074"/>
                    <a:pt x="3504724" y="216694"/>
                    <a:pt x="3503771" y="226219"/>
                  </a:cubicBezTo>
                  <a:cubicBezTo>
                    <a:pt x="3502819" y="228124"/>
                    <a:pt x="3501866" y="229076"/>
                    <a:pt x="3500914" y="230981"/>
                  </a:cubicBezTo>
                  <a:cubicBezTo>
                    <a:pt x="3498056" y="235744"/>
                    <a:pt x="3495199" y="241459"/>
                    <a:pt x="3491389" y="247174"/>
                  </a:cubicBezTo>
                  <a:cubicBezTo>
                    <a:pt x="3488531" y="241459"/>
                    <a:pt x="3486626" y="235744"/>
                    <a:pt x="3483769" y="230029"/>
                  </a:cubicBezTo>
                  <a:cubicBezTo>
                    <a:pt x="3479006" y="218599"/>
                    <a:pt x="3474244" y="209074"/>
                    <a:pt x="3469481" y="200501"/>
                  </a:cubicBezTo>
                  <a:cubicBezTo>
                    <a:pt x="3470434" y="197644"/>
                    <a:pt x="3471386" y="193834"/>
                    <a:pt x="3471386" y="190976"/>
                  </a:cubicBezTo>
                  <a:cubicBezTo>
                    <a:pt x="3473291" y="182404"/>
                    <a:pt x="3475196" y="174784"/>
                    <a:pt x="3477101" y="167164"/>
                  </a:cubicBezTo>
                  <a:cubicBezTo>
                    <a:pt x="3479006" y="159544"/>
                    <a:pt x="3480911" y="152876"/>
                    <a:pt x="3482816" y="146209"/>
                  </a:cubicBezTo>
                  <a:cubicBezTo>
                    <a:pt x="3486626" y="132874"/>
                    <a:pt x="3489484" y="121444"/>
                    <a:pt x="3492341" y="111919"/>
                  </a:cubicBezTo>
                  <a:cubicBezTo>
                    <a:pt x="3497104" y="92869"/>
                    <a:pt x="3499961" y="82391"/>
                    <a:pt x="3499961" y="82391"/>
                  </a:cubicBezTo>
                  <a:cubicBezTo>
                    <a:pt x="3499961" y="82391"/>
                    <a:pt x="3496151" y="92869"/>
                    <a:pt x="3488531" y="110966"/>
                  </a:cubicBezTo>
                  <a:cubicBezTo>
                    <a:pt x="3484721" y="120491"/>
                    <a:pt x="3480911" y="130969"/>
                    <a:pt x="3476149" y="144304"/>
                  </a:cubicBezTo>
                  <a:cubicBezTo>
                    <a:pt x="3473291" y="150971"/>
                    <a:pt x="3471386" y="157639"/>
                    <a:pt x="3468529" y="164306"/>
                  </a:cubicBezTo>
                  <a:cubicBezTo>
                    <a:pt x="3466624" y="170974"/>
                    <a:pt x="3464719" y="177641"/>
                    <a:pt x="3461861" y="185261"/>
                  </a:cubicBezTo>
                  <a:cubicBezTo>
                    <a:pt x="3456146" y="173831"/>
                    <a:pt x="3452336" y="168116"/>
                    <a:pt x="3452336" y="168116"/>
                  </a:cubicBezTo>
                  <a:cubicBezTo>
                    <a:pt x="3452336" y="168116"/>
                    <a:pt x="3455194" y="175736"/>
                    <a:pt x="3460909" y="189071"/>
                  </a:cubicBezTo>
                  <a:cubicBezTo>
                    <a:pt x="3457099" y="200501"/>
                    <a:pt x="3454241" y="211931"/>
                    <a:pt x="3450431" y="225266"/>
                  </a:cubicBezTo>
                  <a:cubicBezTo>
                    <a:pt x="3447574" y="220504"/>
                    <a:pt x="3444716" y="214789"/>
                    <a:pt x="3441859" y="210026"/>
                  </a:cubicBezTo>
                  <a:cubicBezTo>
                    <a:pt x="3441859" y="209074"/>
                    <a:pt x="3441859" y="208121"/>
                    <a:pt x="3442811" y="208121"/>
                  </a:cubicBezTo>
                  <a:cubicBezTo>
                    <a:pt x="3444716" y="197644"/>
                    <a:pt x="3445669" y="190976"/>
                    <a:pt x="3445669" y="190976"/>
                  </a:cubicBezTo>
                  <a:cubicBezTo>
                    <a:pt x="3445669" y="190976"/>
                    <a:pt x="3442811" y="196691"/>
                    <a:pt x="3439001" y="205264"/>
                  </a:cubicBezTo>
                  <a:cubicBezTo>
                    <a:pt x="3439001" y="205264"/>
                    <a:pt x="3439001" y="205264"/>
                    <a:pt x="3439001" y="205264"/>
                  </a:cubicBezTo>
                  <a:cubicBezTo>
                    <a:pt x="3439001" y="190976"/>
                    <a:pt x="3439001" y="177641"/>
                    <a:pt x="3438049" y="165259"/>
                  </a:cubicBezTo>
                  <a:cubicBezTo>
                    <a:pt x="3438049" y="153829"/>
                    <a:pt x="3437096" y="144304"/>
                    <a:pt x="3437096" y="135731"/>
                  </a:cubicBezTo>
                  <a:cubicBezTo>
                    <a:pt x="3436144" y="127159"/>
                    <a:pt x="3436144" y="119539"/>
                    <a:pt x="3435191" y="112871"/>
                  </a:cubicBezTo>
                  <a:cubicBezTo>
                    <a:pt x="3434239" y="100489"/>
                    <a:pt x="3433286" y="92869"/>
                    <a:pt x="3433286" y="92869"/>
                  </a:cubicBezTo>
                  <a:cubicBezTo>
                    <a:pt x="3433286" y="92869"/>
                    <a:pt x="3432334" y="100489"/>
                    <a:pt x="3431381" y="112871"/>
                  </a:cubicBezTo>
                  <a:cubicBezTo>
                    <a:pt x="3430429" y="122396"/>
                    <a:pt x="3429476" y="134779"/>
                    <a:pt x="3428524" y="149066"/>
                  </a:cubicBezTo>
                  <a:cubicBezTo>
                    <a:pt x="3428524" y="149066"/>
                    <a:pt x="3428524" y="150019"/>
                    <a:pt x="3428524" y="150019"/>
                  </a:cubicBezTo>
                  <a:cubicBezTo>
                    <a:pt x="3427571" y="143351"/>
                    <a:pt x="3426619" y="137636"/>
                    <a:pt x="3426619" y="131921"/>
                  </a:cubicBezTo>
                  <a:cubicBezTo>
                    <a:pt x="3424714" y="120491"/>
                    <a:pt x="3423761" y="113824"/>
                    <a:pt x="3423761" y="113824"/>
                  </a:cubicBezTo>
                  <a:cubicBezTo>
                    <a:pt x="3423761" y="113824"/>
                    <a:pt x="3422809" y="120491"/>
                    <a:pt x="3422809" y="131921"/>
                  </a:cubicBezTo>
                  <a:cubicBezTo>
                    <a:pt x="3422809" y="142399"/>
                    <a:pt x="3421856" y="157639"/>
                    <a:pt x="3420904" y="174784"/>
                  </a:cubicBezTo>
                  <a:cubicBezTo>
                    <a:pt x="3418046" y="170021"/>
                    <a:pt x="3415189" y="166211"/>
                    <a:pt x="3412331" y="162401"/>
                  </a:cubicBezTo>
                  <a:cubicBezTo>
                    <a:pt x="3405664" y="152876"/>
                    <a:pt x="3400901" y="146209"/>
                    <a:pt x="3398044" y="141446"/>
                  </a:cubicBezTo>
                  <a:cubicBezTo>
                    <a:pt x="3398996" y="135731"/>
                    <a:pt x="3400901" y="129064"/>
                    <a:pt x="3401854" y="123349"/>
                  </a:cubicBezTo>
                  <a:cubicBezTo>
                    <a:pt x="3399949" y="128111"/>
                    <a:pt x="3398044" y="133826"/>
                    <a:pt x="3396139" y="139541"/>
                  </a:cubicBezTo>
                  <a:cubicBezTo>
                    <a:pt x="3393281" y="135731"/>
                    <a:pt x="3391376" y="132874"/>
                    <a:pt x="3391376" y="132874"/>
                  </a:cubicBezTo>
                  <a:cubicBezTo>
                    <a:pt x="3391376" y="132874"/>
                    <a:pt x="3392329" y="134779"/>
                    <a:pt x="3395186" y="139541"/>
                  </a:cubicBezTo>
                  <a:cubicBezTo>
                    <a:pt x="3395186" y="140494"/>
                    <a:pt x="3395186" y="140494"/>
                    <a:pt x="3395186" y="141446"/>
                  </a:cubicBezTo>
                  <a:cubicBezTo>
                    <a:pt x="3391376" y="153829"/>
                    <a:pt x="3386614" y="166211"/>
                    <a:pt x="3382804" y="177641"/>
                  </a:cubicBezTo>
                  <a:cubicBezTo>
                    <a:pt x="3382804" y="175736"/>
                    <a:pt x="3382804" y="174784"/>
                    <a:pt x="3382804" y="172879"/>
                  </a:cubicBezTo>
                  <a:cubicBezTo>
                    <a:pt x="3381851" y="158591"/>
                    <a:pt x="3381851" y="150971"/>
                    <a:pt x="3381851" y="150971"/>
                  </a:cubicBezTo>
                  <a:cubicBezTo>
                    <a:pt x="3381851" y="150971"/>
                    <a:pt x="3380899" y="158591"/>
                    <a:pt x="3378994" y="172879"/>
                  </a:cubicBezTo>
                  <a:cubicBezTo>
                    <a:pt x="3378041" y="179546"/>
                    <a:pt x="3377089" y="188119"/>
                    <a:pt x="3376136" y="197644"/>
                  </a:cubicBezTo>
                  <a:cubicBezTo>
                    <a:pt x="3372326" y="210026"/>
                    <a:pt x="3368516" y="222409"/>
                    <a:pt x="3365659" y="234791"/>
                  </a:cubicBezTo>
                  <a:cubicBezTo>
                    <a:pt x="3363754" y="240506"/>
                    <a:pt x="3361849" y="247174"/>
                    <a:pt x="3358991" y="253841"/>
                  </a:cubicBezTo>
                  <a:cubicBezTo>
                    <a:pt x="3358991" y="254794"/>
                    <a:pt x="3358039" y="256699"/>
                    <a:pt x="3358039" y="257651"/>
                  </a:cubicBezTo>
                  <a:cubicBezTo>
                    <a:pt x="3355181" y="250984"/>
                    <a:pt x="3353276" y="244316"/>
                    <a:pt x="3351371" y="239554"/>
                  </a:cubicBezTo>
                  <a:cubicBezTo>
                    <a:pt x="3351371" y="238601"/>
                    <a:pt x="3351371" y="237649"/>
                    <a:pt x="3351371" y="237649"/>
                  </a:cubicBezTo>
                  <a:cubicBezTo>
                    <a:pt x="3351371" y="237649"/>
                    <a:pt x="3351371" y="237649"/>
                    <a:pt x="3351371" y="238601"/>
                  </a:cubicBezTo>
                  <a:cubicBezTo>
                    <a:pt x="3347561" y="228124"/>
                    <a:pt x="3344704" y="221456"/>
                    <a:pt x="3344704" y="221456"/>
                  </a:cubicBezTo>
                  <a:cubicBezTo>
                    <a:pt x="3344704" y="221456"/>
                    <a:pt x="3346609" y="230981"/>
                    <a:pt x="3349466" y="248126"/>
                  </a:cubicBezTo>
                  <a:cubicBezTo>
                    <a:pt x="3348514" y="252889"/>
                    <a:pt x="3348514" y="258604"/>
                    <a:pt x="3347561" y="265271"/>
                  </a:cubicBezTo>
                  <a:cubicBezTo>
                    <a:pt x="3346609" y="270986"/>
                    <a:pt x="3346609" y="276701"/>
                    <a:pt x="3345656" y="283369"/>
                  </a:cubicBezTo>
                  <a:cubicBezTo>
                    <a:pt x="3344704" y="284321"/>
                    <a:pt x="3344704" y="285274"/>
                    <a:pt x="3343751" y="287179"/>
                  </a:cubicBezTo>
                  <a:cubicBezTo>
                    <a:pt x="3341846" y="283369"/>
                    <a:pt x="3340894" y="278606"/>
                    <a:pt x="3339941" y="274796"/>
                  </a:cubicBezTo>
                  <a:cubicBezTo>
                    <a:pt x="3335179" y="259556"/>
                    <a:pt x="3329464" y="245269"/>
                    <a:pt x="3325654" y="231934"/>
                  </a:cubicBezTo>
                  <a:cubicBezTo>
                    <a:pt x="3326606" y="227171"/>
                    <a:pt x="3327559" y="221456"/>
                    <a:pt x="3328511" y="216694"/>
                  </a:cubicBezTo>
                  <a:cubicBezTo>
                    <a:pt x="3332321" y="199549"/>
                    <a:pt x="3334226" y="184309"/>
                    <a:pt x="3338036" y="170974"/>
                  </a:cubicBezTo>
                  <a:cubicBezTo>
                    <a:pt x="3340894" y="157639"/>
                    <a:pt x="3343751" y="145256"/>
                    <a:pt x="3346609" y="136684"/>
                  </a:cubicBezTo>
                  <a:cubicBezTo>
                    <a:pt x="3352324" y="117634"/>
                    <a:pt x="3355181" y="106204"/>
                    <a:pt x="3355181" y="106204"/>
                  </a:cubicBezTo>
                  <a:cubicBezTo>
                    <a:pt x="3355181" y="106204"/>
                    <a:pt x="3350419" y="116681"/>
                    <a:pt x="3342799" y="134779"/>
                  </a:cubicBezTo>
                  <a:cubicBezTo>
                    <a:pt x="3338989" y="144304"/>
                    <a:pt x="3335179" y="155734"/>
                    <a:pt x="3330416" y="169069"/>
                  </a:cubicBezTo>
                  <a:cubicBezTo>
                    <a:pt x="3325654" y="180499"/>
                    <a:pt x="3322796" y="193834"/>
                    <a:pt x="3318986" y="208121"/>
                  </a:cubicBezTo>
                  <a:cubicBezTo>
                    <a:pt x="3318986" y="206216"/>
                    <a:pt x="3318986" y="205264"/>
                    <a:pt x="3318986" y="203359"/>
                  </a:cubicBezTo>
                  <a:cubicBezTo>
                    <a:pt x="3319939" y="200501"/>
                    <a:pt x="3319939" y="198596"/>
                    <a:pt x="3320891" y="195739"/>
                  </a:cubicBezTo>
                  <a:cubicBezTo>
                    <a:pt x="3323749" y="185261"/>
                    <a:pt x="3325654" y="176689"/>
                    <a:pt x="3327559" y="170021"/>
                  </a:cubicBezTo>
                  <a:cubicBezTo>
                    <a:pt x="3330416" y="155734"/>
                    <a:pt x="3332321" y="147161"/>
                    <a:pt x="3332321" y="147161"/>
                  </a:cubicBezTo>
                  <a:cubicBezTo>
                    <a:pt x="3332321" y="147161"/>
                    <a:pt x="3329464" y="154781"/>
                    <a:pt x="3323749" y="169069"/>
                  </a:cubicBezTo>
                  <a:cubicBezTo>
                    <a:pt x="3323749" y="170021"/>
                    <a:pt x="3322796" y="170974"/>
                    <a:pt x="3322796" y="171926"/>
                  </a:cubicBezTo>
                  <a:cubicBezTo>
                    <a:pt x="3322796" y="170021"/>
                    <a:pt x="3323749" y="167164"/>
                    <a:pt x="3323749" y="165259"/>
                  </a:cubicBezTo>
                  <a:cubicBezTo>
                    <a:pt x="3325654" y="158591"/>
                    <a:pt x="3326606" y="152876"/>
                    <a:pt x="3328511" y="147161"/>
                  </a:cubicBezTo>
                  <a:cubicBezTo>
                    <a:pt x="3331369" y="135731"/>
                    <a:pt x="3334226" y="125254"/>
                    <a:pt x="3336131" y="116681"/>
                  </a:cubicBezTo>
                  <a:cubicBezTo>
                    <a:pt x="3339941" y="99536"/>
                    <a:pt x="3341846" y="90011"/>
                    <a:pt x="3341846" y="90011"/>
                  </a:cubicBezTo>
                  <a:cubicBezTo>
                    <a:pt x="3341846" y="90011"/>
                    <a:pt x="3338036" y="99536"/>
                    <a:pt x="3332321" y="114776"/>
                  </a:cubicBezTo>
                  <a:cubicBezTo>
                    <a:pt x="3329464" y="122396"/>
                    <a:pt x="3325654" y="132874"/>
                    <a:pt x="3321844" y="143351"/>
                  </a:cubicBezTo>
                  <a:cubicBezTo>
                    <a:pt x="3319939" y="149066"/>
                    <a:pt x="3318034" y="154781"/>
                    <a:pt x="3315176" y="161449"/>
                  </a:cubicBezTo>
                  <a:cubicBezTo>
                    <a:pt x="3313271" y="168116"/>
                    <a:pt x="3311366" y="174784"/>
                    <a:pt x="3308509" y="181451"/>
                  </a:cubicBezTo>
                  <a:cubicBezTo>
                    <a:pt x="3308509" y="181451"/>
                    <a:pt x="3308509" y="181451"/>
                    <a:pt x="3308509" y="181451"/>
                  </a:cubicBezTo>
                  <a:cubicBezTo>
                    <a:pt x="3307556" y="179546"/>
                    <a:pt x="3307556" y="178594"/>
                    <a:pt x="3306604" y="176689"/>
                  </a:cubicBezTo>
                  <a:cubicBezTo>
                    <a:pt x="3298031" y="153829"/>
                    <a:pt x="3292316" y="140494"/>
                    <a:pt x="3292316" y="140494"/>
                  </a:cubicBezTo>
                  <a:cubicBezTo>
                    <a:pt x="3292316" y="140494"/>
                    <a:pt x="3297079" y="158591"/>
                    <a:pt x="3305651" y="189071"/>
                  </a:cubicBezTo>
                  <a:cubicBezTo>
                    <a:pt x="3301841" y="201454"/>
                    <a:pt x="3298031" y="213836"/>
                    <a:pt x="3294221" y="227171"/>
                  </a:cubicBezTo>
                  <a:cubicBezTo>
                    <a:pt x="3294221" y="228124"/>
                    <a:pt x="3293269" y="230029"/>
                    <a:pt x="3293269" y="230981"/>
                  </a:cubicBezTo>
                  <a:cubicBezTo>
                    <a:pt x="3293269" y="230029"/>
                    <a:pt x="3292316" y="230029"/>
                    <a:pt x="3292316" y="229076"/>
                  </a:cubicBezTo>
                  <a:cubicBezTo>
                    <a:pt x="3282791" y="209074"/>
                    <a:pt x="3277076" y="197644"/>
                    <a:pt x="3277076" y="197644"/>
                  </a:cubicBezTo>
                  <a:cubicBezTo>
                    <a:pt x="3277076" y="197644"/>
                    <a:pt x="3282791" y="211931"/>
                    <a:pt x="3291364" y="237649"/>
                  </a:cubicBezTo>
                  <a:cubicBezTo>
                    <a:pt x="3289459" y="244316"/>
                    <a:pt x="3287554" y="250984"/>
                    <a:pt x="3285649" y="257651"/>
                  </a:cubicBezTo>
                  <a:cubicBezTo>
                    <a:pt x="3282791" y="253841"/>
                    <a:pt x="3279934" y="249079"/>
                    <a:pt x="3277076" y="246221"/>
                  </a:cubicBezTo>
                  <a:cubicBezTo>
                    <a:pt x="3276124" y="245269"/>
                    <a:pt x="3275171" y="243364"/>
                    <a:pt x="3274219" y="242411"/>
                  </a:cubicBezTo>
                  <a:cubicBezTo>
                    <a:pt x="3276124" y="215741"/>
                    <a:pt x="3277076" y="199549"/>
                    <a:pt x="3277076" y="199549"/>
                  </a:cubicBezTo>
                  <a:cubicBezTo>
                    <a:pt x="3277076" y="199549"/>
                    <a:pt x="3275171" y="206216"/>
                    <a:pt x="3272314" y="217646"/>
                  </a:cubicBezTo>
                  <a:cubicBezTo>
                    <a:pt x="3271361" y="222409"/>
                    <a:pt x="3269456" y="228124"/>
                    <a:pt x="3268504" y="234791"/>
                  </a:cubicBezTo>
                  <a:cubicBezTo>
                    <a:pt x="3265646" y="230029"/>
                    <a:pt x="3261836" y="226219"/>
                    <a:pt x="3258979" y="223361"/>
                  </a:cubicBezTo>
                  <a:cubicBezTo>
                    <a:pt x="3247549" y="210979"/>
                    <a:pt x="3241834" y="203359"/>
                    <a:pt x="3241834" y="203359"/>
                  </a:cubicBezTo>
                  <a:cubicBezTo>
                    <a:pt x="3241834" y="203359"/>
                    <a:pt x="3247549" y="211931"/>
                    <a:pt x="3256121" y="226219"/>
                  </a:cubicBezTo>
                  <a:cubicBezTo>
                    <a:pt x="3259931" y="230981"/>
                    <a:pt x="3262789" y="236696"/>
                    <a:pt x="3266599" y="243364"/>
                  </a:cubicBezTo>
                  <a:cubicBezTo>
                    <a:pt x="3264694" y="250031"/>
                    <a:pt x="3262789" y="256699"/>
                    <a:pt x="3260884" y="265271"/>
                  </a:cubicBezTo>
                  <a:cubicBezTo>
                    <a:pt x="3258979" y="271939"/>
                    <a:pt x="3257074" y="279559"/>
                    <a:pt x="3256121" y="288131"/>
                  </a:cubicBezTo>
                  <a:cubicBezTo>
                    <a:pt x="3256121" y="287179"/>
                    <a:pt x="3256121" y="287179"/>
                    <a:pt x="3256121" y="287179"/>
                  </a:cubicBezTo>
                  <a:cubicBezTo>
                    <a:pt x="3256121" y="287179"/>
                    <a:pt x="3256121" y="288131"/>
                    <a:pt x="3256121" y="289084"/>
                  </a:cubicBezTo>
                  <a:cubicBezTo>
                    <a:pt x="3256121" y="290989"/>
                    <a:pt x="3255169" y="291941"/>
                    <a:pt x="3255169" y="293846"/>
                  </a:cubicBezTo>
                  <a:cubicBezTo>
                    <a:pt x="3254216" y="292894"/>
                    <a:pt x="3254216" y="291941"/>
                    <a:pt x="3253264" y="290036"/>
                  </a:cubicBezTo>
                  <a:cubicBezTo>
                    <a:pt x="3253264" y="284321"/>
                    <a:pt x="3254216" y="280511"/>
                    <a:pt x="3254216" y="280511"/>
                  </a:cubicBezTo>
                  <a:cubicBezTo>
                    <a:pt x="3254216" y="280511"/>
                    <a:pt x="3253264" y="282416"/>
                    <a:pt x="3252311" y="287179"/>
                  </a:cubicBezTo>
                  <a:cubicBezTo>
                    <a:pt x="3248501" y="280511"/>
                    <a:pt x="3246596" y="276701"/>
                    <a:pt x="3246596" y="276701"/>
                  </a:cubicBezTo>
                  <a:cubicBezTo>
                    <a:pt x="3246596" y="276701"/>
                    <a:pt x="3248501" y="281464"/>
                    <a:pt x="3251359" y="290989"/>
                  </a:cubicBezTo>
                  <a:cubicBezTo>
                    <a:pt x="3250406" y="292894"/>
                    <a:pt x="3250406" y="295751"/>
                    <a:pt x="3249454" y="298609"/>
                  </a:cubicBezTo>
                  <a:cubicBezTo>
                    <a:pt x="3248501" y="300514"/>
                    <a:pt x="3248501" y="302419"/>
                    <a:pt x="3247549" y="304324"/>
                  </a:cubicBezTo>
                  <a:cubicBezTo>
                    <a:pt x="3247549" y="302419"/>
                    <a:pt x="3246596" y="301466"/>
                    <a:pt x="3246596" y="301466"/>
                  </a:cubicBezTo>
                  <a:cubicBezTo>
                    <a:pt x="3246596" y="301466"/>
                    <a:pt x="3246596" y="303371"/>
                    <a:pt x="3246596" y="306229"/>
                  </a:cubicBezTo>
                  <a:cubicBezTo>
                    <a:pt x="3245644" y="310039"/>
                    <a:pt x="3244691" y="313849"/>
                    <a:pt x="3243739" y="317659"/>
                  </a:cubicBezTo>
                  <a:cubicBezTo>
                    <a:pt x="3242786" y="312896"/>
                    <a:pt x="3240881" y="308134"/>
                    <a:pt x="3239929" y="304324"/>
                  </a:cubicBezTo>
                  <a:cubicBezTo>
                    <a:pt x="3241834" y="299561"/>
                    <a:pt x="3242786" y="296704"/>
                    <a:pt x="3242786" y="296704"/>
                  </a:cubicBezTo>
                  <a:cubicBezTo>
                    <a:pt x="3242786" y="296704"/>
                    <a:pt x="3241834" y="298609"/>
                    <a:pt x="3238976" y="302419"/>
                  </a:cubicBezTo>
                  <a:cubicBezTo>
                    <a:pt x="3238024" y="299561"/>
                    <a:pt x="3237071" y="296704"/>
                    <a:pt x="3236119" y="293846"/>
                  </a:cubicBezTo>
                  <a:cubicBezTo>
                    <a:pt x="3236119" y="292894"/>
                    <a:pt x="3235166" y="291941"/>
                    <a:pt x="3235166" y="290036"/>
                  </a:cubicBezTo>
                  <a:cubicBezTo>
                    <a:pt x="3238024" y="284321"/>
                    <a:pt x="3239929" y="278606"/>
                    <a:pt x="3241834" y="273844"/>
                  </a:cubicBezTo>
                  <a:cubicBezTo>
                    <a:pt x="3244691" y="267176"/>
                    <a:pt x="3247549" y="261461"/>
                    <a:pt x="3249454" y="256699"/>
                  </a:cubicBezTo>
                  <a:cubicBezTo>
                    <a:pt x="3254216" y="247174"/>
                    <a:pt x="3256121" y="242411"/>
                    <a:pt x="3256121" y="242411"/>
                  </a:cubicBezTo>
                  <a:cubicBezTo>
                    <a:pt x="3256121" y="242411"/>
                    <a:pt x="3252311" y="247174"/>
                    <a:pt x="3245644" y="254794"/>
                  </a:cubicBezTo>
                  <a:cubicBezTo>
                    <a:pt x="3242786" y="258604"/>
                    <a:pt x="3238976" y="263366"/>
                    <a:pt x="3235166" y="270034"/>
                  </a:cubicBezTo>
                  <a:cubicBezTo>
                    <a:pt x="3233261" y="271939"/>
                    <a:pt x="3232309" y="274796"/>
                    <a:pt x="3230404" y="276701"/>
                  </a:cubicBezTo>
                  <a:cubicBezTo>
                    <a:pt x="3230404" y="275749"/>
                    <a:pt x="3229451" y="273844"/>
                    <a:pt x="3229451" y="272891"/>
                  </a:cubicBezTo>
                  <a:cubicBezTo>
                    <a:pt x="3227546" y="266224"/>
                    <a:pt x="3224689" y="260509"/>
                    <a:pt x="3222784" y="253841"/>
                  </a:cubicBezTo>
                  <a:cubicBezTo>
                    <a:pt x="3220879" y="250031"/>
                    <a:pt x="3219926" y="245269"/>
                    <a:pt x="3218021" y="241459"/>
                  </a:cubicBezTo>
                  <a:cubicBezTo>
                    <a:pt x="3218021" y="239554"/>
                    <a:pt x="3218021" y="238601"/>
                    <a:pt x="3218021" y="236696"/>
                  </a:cubicBezTo>
                  <a:cubicBezTo>
                    <a:pt x="3219926" y="226219"/>
                    <a:pt x="3221831" y="215741"/>
                    <a:pt x="3222784" y="206216"/>
                  </a:cubicBezTo>
                  <a:cubicBezTo>
                    <a:pt x="3225641" y="191929"/>
                    <a:pt x="3227546" y="178594"/>
                    <a:pt x="3229451" y="166211"/>
                  </a:cubicBezTo>
                  <a:cubicBezTo>
                    <a:pt x="3231356" y="154781"/>
                    <a:pt x="3233261" y="144304"/>
                    <a:pt x="3235166" y="135731"/>
                  </a:cubicBezTo>
                  <a:cubicBezTo>
                    <a:pt x="3238024" y="118586"/>
                    <a:pt x="3239929" y="109061"/>
                    <a:pt x="3239929" y="109061"/>
                  </a:cubicBezTo>
                  <a:cubicBezTo>
                    <a:pt x="3239929" y="109061"/>
                    <a:pt x="3237071" y="118586"/>
                    <a:pt x="3231356" y="134779"/>
                  </a:cubicBezTo>
                  <a:cubicBezTo>
                    <a:pt x="3226594" y="150971"/>
                    <a:pt x="3218974" y="175736"/>
                    <a:pt x="3212306" y="204311"/>
                  </a:cubicBezTo>
                  <a:cubicBezTo>
                    <a:pt x="3211354" y="208121"/>
                    <a:pt x="3210401" y="211931"/>
                    <a:pt x="3209449" y="215741"/>
                  </a:cubicBezTo>
                  <a:cubicBezTo>
                    <a:pt x="3207544" y="210979"/>
                    <a:pt x="3206591" y="207169"/>
                    <a:pt x="3204686" y="204311"/>
                  </a:cubicBezTo>
                  <a:cubicBezTo>
                    <a:pt x="3204686" y="186214"/>
                    <a:pt x="3203734" y="175736"/>
                    <a:pt x="3203734" y="175736"/>
                  </a:cubicBezTo>
                  <a:cubicBezTo>
                    <a:pt x="3203734" y="175736"/>
                    <a:pt x="3202781" y="187166"/>
                    <a:pt x="3200876" y="206216"/>
                  </a:cubicBezTo>
                  <a:cubicBezTo>
                    <a:pt x="3199924" y="215741"/>
                    <a:pt x="3198019" y="227171"/>
                    <a:pt x="3196114" y="240506"/>
                  </a:cubicBezTo>
                  <a:cubicBezTo>
                    <a:pt x="3196114" y="241459"/>
                    <a:pt x="3196114" y="242411"/>
                    <a:pt x="3195161" y="243364"/>
                  </a:cubicBezTo>
                  <a:cubicBezTo>
                    <a:pt x="3195161" y="234791"/>
                    <a:pt x="3196114" y="226219"/>
                    <a:pt x="3196114" y="217646"/>
                  </a:cubicBezTo>
                  <a:cubicBezTo>
                    <a:pt x="3197066" y="204311"/>
                    <a:pt x="3197066" y="191929"/>
                    <a:pt x="3198019" y="180499"/>
                  </a:cubicBezTo>
                  <a:cubicBezTo>
                    <a:pt x="3198971" y="169069"/>
                    <a:pt x="3198971" y="159544"/>
                    <a:pt x="3199924" y="151924"/>
                  </a:cubicBezTo>
                  <a:cubicBezTo>
                    <a:pt x="3200876" y="135731"/>
                    <a:pt x="3200876" y="127159"/>
                    <a:pt x="3200876" y="127159"/>
                  </a:cubicBezTo>
                  <a:cubicBezTo>
                    <a:pt x="3200876" y="127159"/>
                    <a:pt x="3198971" y="135731"/>
                    <a:pt x="3195161" y="151924"/>
                  </a:cubicBezTo>
                  <a:cubicBezTo>
                    <a:pt x="3192304" y="168116"/>
                    <a:pt x="3187541" y="190976"/>
                    <a:pt x="3184684" y="217646"/>
                  </a:cubicBezTo>
                  <a:cubicBezTo>
                    <a:pt x="3183731" y="223361"/>
                    <a:pt x="3182779" y="230029"/>
                    <a:pt x="3181826" y="235744"/>
                  </a:cubicBezTo>
                  <a:cubicBezTo>
                    <a:pt x="3180874" y="233839"/>
                    <a:pt x="3179921" y="232886"/>
                    <a:pt x="3179921" y="231934"/>
                  </a:cubicBezTo>
                  <a:cubicBezTo>
                    <a:pt x="3179921" y="227171"/>
                    <a:pt x="3179921" y="224314"/>
                    <a:pt x="3179921" y="224314"/>
                  </a:cubicBezTo>
                  <a:cubicBezTo>
                    <a:pt x="3179921" y="224314"/>
                    <a:pt x="3179921" y="226219"/>
                    <a:pt x="3178969" y="230029"/>
                  </a:cubicBezTo>
                  <a:cubicBezTo>
                    <a:pt x="3178016" y="228124"/>
                    <a:pt x="3177064" y="227171"/>
                    <a:pt x="3177064" y="227171"/>
                  </a:cubicBezTo>
                  <a:cubicBezTo>
                    <a:pt x="3177064" y="227171"/>
                    <a:pt x="3178016" y="229076"/>
                    <a:pt x="3178016" y="231934"/>
                  </a:cubicBezTo>
                  <a:cubicBezTo>
                    <a:pt x="3177064" y="236696"/>
                    <a:pt x="3176111" y="243364"/>
                    <a:pt x="3174206" y="250984"/>
                  </a:cubicBezTo>
                  <a:cubicBezTo>
                    <a:pt x="3173254" y="258604"/>
                    <a:pt x="3171349" y="267176"/>
                    <a:pt x="3170396" y="277654"/>
                  </a:cubicBezTo>
                  <a:cubicBezTo>
                    <a:pt x="3170396" y="276701"/>
                    <a:pt x="3170396" y="276701"/>
                    <a:pt x="3169444" y="275749"/>
                  </a:cubicBezTo>
                  <a:cubicBezTo>
                    <a:pt x="3168491" y="254794"/>
                    <a:pt x="3165634" y="234791"/>
                    <a:pt x="3163729" y="215741"/>
                  </a:cubicBezTo>
                  <a:cubicBezTo>
                    <a:pt x="3163729" y="212884"/>
                    <a:pt x="3162776" y="210026"/>
                    <a:pt x="3162776" y="207169"/>
                  </a:cubicBezTo>
                  <a:cubicBezTo>
                    <a:pt x="3162776" y="206216"/>
                    <a:pt x="3163729" y="204311"/>
                    <a:pt x="3163729" y="203359"/>
                  </a:cubicBezTo>
                  <a:cubicBezTo>
                    <a:pt x="3169444" y="174784"/>
                    <a:pt x="3172301" y="150019"/>
                    <a:pt x="3174206" y="132874"/>
                  </a:cubicBezTo>
                  <a:cubicBezTo>
                    <a:pt x="3176111" y="115729"/>
                    <a:pt x="3178016" y="106204"/>
                    <a:pt x="3178016" y="106204"/>
                  </a:cubicBezTo>
                  <a:cubicBezTo>
                    <a:pt x="3178016" y="106204"/>
                    <a:pt x="3175159" y="115729"/>
                    <a:pt x="3170396" y="131921"/>
                  </a:cubicBezTo>
                  <a:cubicBezTo>
                    <a:pt x="3167539" y="143351"/>
                    <a:pt x="3162776" y="159544"/>
                    <a:pt x="3158014" y="177641"/>
                  </a:cubicBezTo>
                  <a:cubicBezTo>
                    <a:pt x="3157061" y="171926"/>
                    <a:pt x="3156109" y="165259"/>
                    <a:pt x="3154204" y="159544"/>
                  </a:cubicBezTo>
                  <a:cubicBezTo>
                    <a:pt x="3152299" y="150971"/>
                    <a:pt x="3150394" y="142399"/>
                    <a:pt x="3149441" y="134779"/>
                  </a:cubicBezTo>
                  <a:cubicBezTo>
                    <a:pt x="3147536" y="127159"/>
                    <a:pt x="3145631" y="119539"/>
                    <a:pt x="3143726" y="112871"/>
                  </a:cubicBezTo>
                  <a:cubicBezTo>
                    <a:pt x="3139916" y="99536"/>
                    <a:pt x="3137059" y="87154"/>
                    <a:pt x="3133249" y="77629"/>
                  </a:cubicBezTo>
                  <a:cubicBezTo>
                    <a:pt x="3126581" y="58579"/>
                    <a:pt x="3122771" y="47149"/>
                    <a:pt x="3122771" y="47149"/>
                  </a:cubicBezTo>
                  <a:cubicBezTo>
                    <a:pt x="3122771" y="47149"/>
                    <a:pt x="3125629" y="58579"/>
                    <a:pt x="3129439" y="78581"/>
                  </a:cubicBezTo>
                  <a:cubicBezTo>
                    <a:pt x="3132296" y="88106"/>
                    <a:pt x="3134201" y="100489"/>
                    <a:pt x="3136106" y="114776"/>
                  </a:cubicBezTo>
                  <a:cubicBezTo>
                    <a:pt x="3137059" y="121444"/>
                    <a:pt x="3138964" y="129064"/>
                    <a:pt x="3139916" y="136684"/>
                  </a:cubicBezTo>
                  <a:cubicBezTo>
                    <a:pt x="3140869" y="144304"/>
                    <a:pt x="3141821" y="152876"/>
                    <a:pt x="3142774" y="161449"/>
                  </a:cubicBezTo>
                  <a:cubicBezTo>
                    <a:pt x="3145631" y="177641"/>
                    <a:pt x="3146584" y="195739"/>
                    <a:pt x="3147536" y="213836"/>
                  </a:cubicBezTo>
                  <a:cubicBezTo>
                    <a:pt x="3147536" y="214789"/>
                    <a:pt x="3146584" y="215741"/>
                    <a:pt x="3146584" y="217646"/>
                  </a:cubicBezTo>
                  <a:cubicBezTo>
                    <a:pt x="3145631" y="214789"/>
                    <a:pt x="3144679" y="211931"/>
                    <a:pt x="3143726" y="210026"/>
                  </a:cubicBezTo>
                  <a:cubicBezTo>
                    <a:pt x="3141821" y="205264"/>
                    <a:pt x="3139916" y="201454"/>
                    <a:pt x="3138964" y="196691"/>
                  </a:cubicBezTo>
                  <a:cubicBezTo>
                    <a:pt x="3137059" y="190024"/>
                    <a:pt x="3136106" y="184309"/>
                    <a:pt x="3134201" y="179546"/>
                  </a:cubicBezTo>
                  <a:cubicBezTo>
                    <a:pt x="3129439" y="164306"/>
                    <a:pt x="3126581" y="155734"/>
                    <a:pt x="3126581" y="155734"/>
                  </a:cubicBezTo>
                  <a:cubicBezTo>
                    <a:pt x="3126581" y="155734"/>
                    <a:pt x="3127534" y="161449"/>
                    <a:pt x="3129439" y="172879"/>
                  </a:cubicBezTo>
                  <a:cubicBezTo>
                    <a:pt x="3125629" y="164306"/>
                    <a:pt x="3121819" y="155734"/>
                    <a:pt x="3118961" y="150019"/>
                  </a:cubicBezTo>
                  <a:cubicBezTo>
                    <a:pt x="3116104" y="144304"/>
                    <a:pt x="3114199" y="139541"/>
                    <a:pt x="3112294" y="136684"/>
                  </a:cubicBezTo>
                  <a:cubicBezTo>
                    <a:pt x="3108484" y="128111"/>
                    <a:pt x="3105626" y="120491"/>
                    <a:pt x="3102769" y="113824"/>
                  </a:cubicBezTo>
                  <a:cubicBezTo>
                    <a:pt x="3095149" y="96679"/>
                    <a:pt x="3090386" y="87154"/>
                    <a:pt x="3090386" y="87154"/>
                  </a:cubicBezTo>
                  <a:cubicBezTo>
                    <a:pt x="3090386" y="87154"/>
                    <a:pt x="3093244" y="97631"/>
                    <a:pt x="3099911" y="114776"/>
                  </a:cubicBezTo>
                  <a:cubicBezTo>
                    <a:pt x="3102769" y="123349"/>
                    <a:pt x="3105626" y="133826"/>
                    <a:pt x="3109436" y="146209"/>
                  </a:cubicBezTo>
                  <a:cubicBezTo>
                    <a:pt x="3111341" y="152876"/>
                    <a:pt x="3113246" y="159544"/>
                    <a:pt x="3115151" y="167164"/>
                  </a:cubicBezTo>
                  <a:cubicBezTo>
                    <a:pt x="3111341" y="159544"/>
                    <a:pt x="3109436" y="155734"/>
                    <a:pt x="3109436" y="155734"/>
                  </a:cubicBezTo>
                  <a:cubicBezTo>
                    <a:pt x="3109436" y="155734"/>
                    <a:pt x="3111341" y="163354"/>
                    <a:pt x="3116104" y="176689"/>
                  </a:cubicBezTo>
                  <a:cubicBezTo>
                    <a:pt x="3118009" y="181451"/>
                    <a:pt x="3119914" y="188119"/>
                    <a:pt x="3121819" y="194786"/>
                  </a:cubicBezTo>
                  <a:cubicBezTo>
                    <a:pt x="3122771" y="200501"/>
                    <a:pt x="3124676" y="207169"/>
                    <a:pt x="3125629" y="213836"/>
                  </a:cubicBezTo>
                  <a:cubicBezTo>
                    <a:pt x="3124676" y="214789"/>
                    <a:pt x="3124676" y="215741"/>
                    <a:pt x="3123724" y="215741"/>
                  </a:cubicBezTo>
                  <a:cubicBezTo>
                    <a:pt x="3123724" y="212884"/>
                    <a:pt x="3122771" y="210979"/>
                    <a:pt x="3122771" y="210979"/>
                  </a:cubicBezTo>
                  <a:cubicBezTo>
                    <a:pt x="3122771" y="210979"/>
                    <a:pt x="3122771" y="212884"/>
                    <a:pt x="3122771" y="216694"/>
                  </a:cubicBezTo>
                  <a:cubicBezTo>
                    <a:pt x="3119914" y="219551"/>
                    <a:pt x="3117056" y="223361"/>
                    <a:pt x="3113246" y="228124"/>
                  </a:cubicBezTo>
                  <a:cubicBezTo>
                    <a:pt x="3113246" y="228124"/>
                    <a:pt x="3113246" y="228124"/>
                    <a:pt x="3113246" y="228124"/>
                  </a:cubicBezTo>
                  <a:cubicBezTo>
                    <a:pt x="3112294" y="213836"/>
                    <a:pt x="3111341" y="201454"/>
                    <a:pt x="3110389" y="191929"/>
                  </a:cubicBezTo>
                  <a:cubicBezTo>
                    <a:pt x="3109436" y="178594"/>
                    <a:pt x="3108484" y="171926"/>
                    <a:pt x="3108484" y="171926"/>
                  </a:cubicBezTo>
                  <a:cubicBezTo>
                    <a:pt x="3108484" y="171926"/>
                    <a:pt x="3107531" y="179546"/>
                    <a:pt x="3106579" y="192881"/>
                  </a:cubicBezTo>
                  <a:cubicBezTo>
                    <a:pt x="3105626" y="202406"/>
                    <a:pt x="3105626" y="213836"/>
                    <a:pt x="3104674" y="228124"/>
                  </a:cubicBezTo>
                  <a:cubicBezTo>
                    <a:pt x="3104674" y="228124"/>
                    <a:pt x="3104674" y="227171"/>
                    <a:pt x="3104674" y="227171"/>
                  </a:cubicBezTo>
                  <a:cubicBezTo>
                    <a:pt x="3099911" y="214789"/>
                    <a:pt x="3097054" y="208121"/>
                    <a:pt x="3097054" y="208121"/>
                  </a:cubicBezTo>
                  <a:cubicBezTo>
                    <a:pt x="3097054" y="208121"/>
                    <a:pt x="3098006" y="215741"/>
                    <a:pt x="3100864" y="228124"/>
                  </a:cubicBezTo>
                  <a:cubicBezTo>
                    <a:pt x="3101816" y="232886"/>
                    <a:pt x="3102769" y="238601"/>
                    <a:pt x="3103721" y="244316"/>
                  </a:cubicBezTo>
                  <a:cubicBezTo>
                    <a:pt x="3100864" y="248126"/>
                    <a:pt x="3098959" y="251936"/>
                    <a:pt x="3096101" y="255746"/>
                  </a:cubicBezTo>
                  <a:cubicBezTo>
                    <a:pt x="3093244" y="260509"/>
                    <a:pt x="3090386" y="264319"/>
                    <a:pt x="3087529" y="270034"/>
                  </a:cubicBezTo>
                  <a:cubicBezTo>
                    <a:pt x="3085624" y="263366"/>
                    <a:pt x="3083719" y="257651"/>
                    <a:pt x="3082766" y="252889"/>
                  </a:cubicBezTo>
                  <a:cubicBezTo>
                    <a:pt x="3078956" y="241459"/>
                    <a:pt x="3077051" y="233839"/>
                    <a:pt x="3077051" y="233839"/>
                  </a:cubicBezTo>
                  <a:cubicBezTo>
                    <a:pt x="3077051" y="233839"/>
                    <a:pt x="3078004" y="240506"/>
                    <a:pt x="3078956" y="252889"/>
                  </a:cubicBezTo>
                  <a:cubicBezTo>
                    <a:pt x="3078956" y="256699"/>
                    <a:pt x="3079909" y="260509"/>
                    <a:pt x="3079909" y="264319"/>
                  </a:cubicBezTo>
                  <a:cubicBezTo>
                    <a:pt x="3078956" y="261461"/>
                    <a:pt x="3078004" y="258604"/>
                    <a:pt x="3077051" y="255746"/>
                  </a:cubicBezTo>
                  <a:cubicBezTo>
                    <a:pt x="3076099" y="252889"/>
                    <a:pt x="3075146" y="250984"/>
                    <a:pt x="3074194" y="248126"/>
                  </a:cubicBezTo>
                  <a:cubicBezTo>
                    <a:pt x="3074194" y="246221"/>
                    <a:pt x="3074194" y="244316"/>
                    <a:pt x="3074194" y="242411"/>
                  </a:cubicBezTo>
                  <a:cubicBezTo>
                    <a:pt x="3074194" y="237649"/>
                    <a:pt x="3075146" y="232886"/>
                    <a:pt x="3075146" y="229076"/>
                  </a:cubicBezTo>
                  <a:cubicBezTo>
                    <a:pt x="3076099" y="226219"/>
                    <a:pt x="3077051" y="223361"/>
                    <a:pt x="3077051" y="220504"/>
                  </a:cubicBezTo>
                  <a:cubicBezTo>
                    <a:pt x="3080861" y="208121"/>
                    <a:pt x="3082766" y="197644"/>
                    <a:pt x="3086576" y="189071"/>
                  </a:cubicBezTo>
                  <a:cubicBezTo>
                    <a:pt x="3092291" y="171926"/>
                    <a:pt x="3096101" y="161449"/>
                    <a:pt x="3096101" y="161449"/>
                  </a:cubicBezTo>
                  <a:cubicBezTo>
                    <a:pt x="3096101" y="161449"/>
                    <a:pt x="3091339" y="170974"/>
                    <a:pt x="3083719" y="188119"/>
                  </a:cubicBezTo>
                  <a:cubicBezTo>
                    <a:pt x="3079909" y="196691"/>
                    <a:pt x="3076099" y="207169"/>
                    <a:pt x="3071336" y="218599"/>
                  </a:cubicBezTo>
                  <a:cubicBezTo>
                    <a:pt x="3070384" y="220504"/>
                    <a:pt x="3069431" y="222409"/>
                    <a:pt x="3068479" y="224314"/>
                  </a:cubicBezTo>
                  <a:cubicBezTo>
                    <a:pt x="3068479" y="221456"/>
                    <a:pt x="3068479" y="218599"/>
                    <a:pt x="3068479" y="216694"/>
                  </a:cubicBezTo>
                  <a:cubicBezTo>
                    <a:pt x="3068479" y="213836"/>
                    <a:pt x="3069431" y="211931"/>
                    <a:pt x="3069431" y="209074"/>
                  </a:cubicBezTo>
                  <a:cubicBezTo>
                    <a:pt x="3070384" y="198596"/>
                    <a:pt x="3071336" y="189071"/>
                    <a:pt x="3072289" y="181451"/>
                  </a:cubicBezTo>
                  <a:cubicBezTo>
                    <a:pt x="3073241" y="166211"/>
                    <a:pt x="3073241" y="157639"/>
                    <a:pt x="3073241" y="157639"/>
                  </a:cubicBezTo>
                  <a:cubicBezTo>
                    <a:pt x="3073241" y="157639"/>
                    <a:pt x="3071336" y="166211"/>
                    <a:pt x="3067526" y="180499"/>
                  </a:cubicBezTo>
                  <a:cubicBezTo>
                    <a:pt x="3067526" y="181451"/>
                    <a:pt x="3067526" y="182404"/>
                    <a:pt x="3066574" y="183356"/>
                  </a:cubicBezTo>
                  <a:cubicBezTo>
                    <a:pt x="3065621" y="169069"/>
                    <a:pt x="3065621" y="157639"/>
                    <a:pt x="3064669" y="148114"/>
                  </a:cubicBezTo>
                  <a:cubicBezTo>
                    <a:pt x="3064669" y="146209"/>
                    <a:pt x="3064669" y="145256"/>
                    <a:pt x="3064669" y="145256"/>
                  </a:cubicBezTo>
                  <a:cubicBezTo>
                    <a:pt x="3064669" y="145256"/>
                    <a:pt x="3064669" y="145256"/>
                    <a:pt x="3064669" y="146209"/>
                  </a:cubicBezTo>
                  <a:cubicBezTo>
                    <a:pt x="3063716" y="136684"/>
                    <a:pt x="3063716" y="131921"/>
                    <a:pt x="3063716" y="131921"/>
                  </a:cubicBezTo>
                  <a:cubicBezTo>
                    <a:pt x="3063716" y="131921"/>
                    <a:pt x="3061811" y="148114"/>
                    <a:pt x="3058954" y="174784"/>
                  </a:cubicBezTo>
                  <a:cubicBezTo>
                    <a:pt x="3058001" y="179546"/>
                    <a:pt x="3057049" y="185261"/>
                    <a:pt x="3056096" y="190976"/>
                  </a:cubicBezTo>
                  <a:cubicBezTo>
                    <a:pt x="3055144" y="193834"/>
                    <a:pt x="3055144" y="197644"/>
                    <a:pt x="3054191" y="201454"/>
                  </a:cubicBezTo>
                  <a:cubicBezTo>
                    <a:pt x="3052286" y="196691"/>
                    <a:pt x="3050381" y="192881"/>
                    <a:pt x="3049429" y="189071"/>
                  </a:cubicBezTo>
                  <a:cubicBezTo>
                    <a:pt x="3049429" y="189071"/>
                    <a:pt x="3049429" y="189071"/>
                    <a:pt x="3049429" y="188119"/>
                  </a:cubicBezTo>
                  <a:cubicBezTo>
                    <a:pt x="3052286" y="174784"/>
                    <a:pt x="3053239" y="162401"/>
                    <a:pt x="3056096" y="151924"/>
                  </a:cubicBezTo>
                  <a:cubicBezTo>
                    <a:pt x="3060859" y="131921"/>
                    <a:pt x="3062764" y="120491"/>
                    <a:pt x="3062764" y="120491"/>
                  </a:cubicBezTo>
                  <a:cubicBezTo>
                    <a:pt x="3062764" y="120491"/>
                    <a:pt x="3058954" y="130969"/>
                    <a:pt x="3052286" y="150971"/>
                  </a:cubicBezTo>
                  <a:cubicBezTo>
                    <a:pt x="3048476" y="160496"/>
                    <a:pt x="3045619" y="172879"/>
                    <a:pt x="3041809" y="186214"/>
                  </a:cubicBezTo>
                  <a:cubicBezTo>
                    <a:pt x="3039904" y="192881"/>
                    <a:pt x="3037999" y="200501"/>
                    <a:pt x="3036094" y="208121"/>
                  </a:cubicBezTo>
                  <a:cubicBezTo>
                    <a:pt x="3035141" y="210979"/>
                    <a:pt x="3035141" y="213836"/>
                    <a:pt x="3034189" y="215741"/>
                  </a:cubicBezTo>
                  <a:cubicBezTo>
                    <a:pt x="3033236" y="211931"/>
                    <a:pt x="3032284" y="209074"/>
                    <a:pt x="3032284" y="205264"/>
                  </a:cubicBezTo>
                  <a:cubicBezTo>
                    <a:pt x="3038951" y="181451"/>
                    <a:pt x="3044666" y="162401"/>
                    <a:pt x="3048476" y="148114"/>
                  </a:cubicBezTo>
                  <a:cubicBezTo>
                    <a:pt x="3053239" y="131921"/>
                    <a:pt x="3057049" y="123349"/>
                    <a:pt x="3057049" y="123349"/>
                  </a:cubicBezTo>
                  <a:cubicBezTo>
                    <a:pt x="3057049" y="123349"/>
                    <a:pt x="3056096" y="125254"/>
                    <a:pt x="3054191" y="129064"/>
                  </a:cubicBezTo>
                  <a:cubicBezTo>
                    <a:pt x="3052286" y="132874"/>
                    <a:pt x="3049429" y="138589"/>
                    <a:pt x="3045619" y="146209"/>
                  </a:cubicBezTo>
                  <a:cubicBezTo>
                    <a:pt x="3040856" y="155734"/>
                    <a:pt x="3035141" y="169069"/>
                    <a:pt x="3029426" y="184309"/>
                  </a:cubicBezTo>
                  <a:cubicBezTo>
                    <a:pt x="3029426" y="177641"/>
                    <a:pt x="3028474" y="171926"/>
                    <a:pt x="3029426" y="167164"/>
                  </a:cubicBezTo>
                  <a:cubicBezTo>
                    <a:pt x="3030379" y="150019"/>
                    <a:pt x="3030379" y="140494"/>
                    <a:pt x="3030379" y="140494"/>
                  </a:cubicBezTo>
                  <a:cubicBezTo>
                    <a:pt x="3030379" y="140494"/>
                    <a:pt x="3028474" y="150019"/>
                    <a:pt x="3025616" y="166211"/>
                  </a:cubicBezTo>
                  <a:cubicBezTo>
                    <a:pt x="3023711" y="174784"/>
                    <a:pt x="3023711" y="184309"/>
                    <a:pt x="3022759" y="196691"/>
                  </a:cubicBezTo>
                  <a:cubicBezTo>
                    <a:pt x="3022759" y="198596"/>
                    <a:pt x="3022759" y="200501"/>
                    <a:pt x="3022759" y="202406"/>
                  </a:cubicBezTo>
                  <a:cubicBezTo>
                    <a:pt x="3021806" y="205264"/>
                    <a:pt x="3020854" y="208121"/>
                    <a:pt x="3019901" y="210979"/>
                  </a:cubicBezTo>
                  <a:cubicBezTo>
                    <a:pt x="3017044" y="218599"/>
                    <a:pt x="3014186" y="226219"/>
                    <a:pt x="3011329" y="234791"/>
                  </a:cubicBezTo>
                  <a:cubicBezTo>
                    <a:pt x="3009424" y="230981"/>
                    <a:pt x="3008471" y="228124"/>
                    <a:pt x="3007519" y="226219"/>
                  </a:cubicBezTo>
                  <a:cubicBezTo>
                    <a:pt x="3009424" y="219551"/>
                    <a:pt x="3011329" y="215741"/>
                    <a:pt x="3011329" y="215741"/>
                  </a:cubicBezTo>
                  <a:cubicBezTo>
                    <a:pt x="3011329" y="215741"/>
                    <a:pt x="3009424" y="218599"/>
                    <a:pt x="3006566" y="222409"/>
                  </a:cubicBezTo>
                  <a:cubicBezTo>
                    <a:pt x="3004661" y="215741"/>
                    <a:pt x="3003709" y="209074"/>
                    <a:pt x="3001804" y="202406"/>
                  </a:cubicBezTo>
                  <a:cubicBezTo>
                    <a:pt x="3001804" y="200501"/>
                    <a:pt x="3000851" y="199549"/>
                    <a:pt x="3000851" y="197644"/>
                  </a:cubicBezTo>
                  <a:cubicBezTo>
                    <a:pt x="3001804" y="194786"/>
                    <a:pt x="3002756" y="191929"/>
                    <a:pt x="3003709" y="189071"/>
                  </a:cubicBezTo>
                  <a:cubicBezTo>
                    <a:pt x="3006566" y="179546"/>
                    <a:pt x="3008471" y="170974"/>
                    <a:pt x="3011329" y="164306"/>
                  </a:cubicBezTo>
                  <a:cubicBezTo>
                    <a:pt x="3016091" y="150971"/>
                    <a:pt x="3018949" y="142399"/>
                    <a:pt x="3018949" y="142399"/>
                  </a:cubicBezTo>
                  <a:cubicBezTo>
                    <a:pt x="3018949" y="142399"/>
                    <a:pt x="3015139" y="150019"/>
                    <a:pt x="3007519" y="162401"/>
                  </a:cubicBezTo>
                  <a:cubicBezTo>
                    <a:pt x="3004661" y="168116"/>
                    <a:pt x="3001804" y="174784"/>
                    <a:pt x="2997994" y="182404"/>
                  </a:cubicBezTo>
                  <a:cubicBezTo>
                    <a:pt x="2997041" y="177641"/>
                    <a:pt x="2996089" y="172879"/>
                    <a:pt x="2995136" y="169069"/>
                  </a:cubicBezTo>
                  <a:cubicBezTo>
                    <a:pt x="3002756" y="140494"/>
                    <a:pt x="3009424" y="117634"/>
                    <a:pt x="3014186" y="100489"/>
                  </a:cubicBezTo>
                  <a:cubicBezTo>
                    <a:pt x="3017044" y="90011"/>
                    <a:pt x="3019901" y="82391"/>
                    <a:pt x="3021806" y="76676"/>
                  </a:cubicBezTo>
                  <a:cubicBezTo>
                    <a:pt x="3023711" y="70961"/>
                    <a:pt x="3024664" y="68104"/>
                    <a:pt x="3024664" y="68104"/>
                  </a:cubicBezTo>
                  <a:cubicBezTo>
                    <a:pt x="3024664" y="68104"/>
                    <a:pt x="3023711" y="70961"/>
                    <a:pt x="3020854" y="75724"/>
                  </a:cubicBezTo>
                  <a:cubicBezTo>
                    <a:pt x="3017996" y="80486"/>
                    <a:pt x="3015139" y="88106"/>
                    <a:pt x="3010376" y="98584"/>
                  </a:cubicBezTo>
                  <a:cubicBezTo>
                    <a:pt x="3006566" y="108109"/>
                    <a:pt x="3001804" y="120491"/>
                    <a:pt x="2996089" y="134779"/>
                  </a:cubicBezTo>
                  <a:cubicBezTo>
                    <a:pt x="2994184" y="139541"/>
                    <a:pt x="2993231" y="143351"/>
                    <a:pt x="2991326" y="148114"/>
                  </a:cubicBezTo>
                  <a:cubicBezTo>
                    <a:pt x="2989421" y="138589"/>
                    <a:pt x="2988469" y="130016"/>
                    <a:pt x="2987516" y="122396"/>
                  </a:cubicBezTo>
                  <a:cubicBezTo>
                    <a:pt x="2985611" y="103346"/>
                    <a:pt x="2984659" y="91916"/>
                    <a:pt x="2984659" y="91916"/>
                  </a:cubicBezTo>
                  <a:cubicBezTo>
                    <a:pt x="2984659" y="91916"/>
                    <a:pt x="2984659" y="103346"/>
                    <a:pt x="2983706" y="122396"/>
                  </a:cubicBezTo>
                  <a:cubicBezTo>
                    <a:pt x="2983706" y="131921"/>
                    <a:pt x="2984659" y="144304"/>
                    <a:pt x="2985611" y="157639"/>
                  </a:cubicBezTo>
                  <a:cubicBezTo>
                    <a:pt x="2985611" y="159544"/>
                    <a:pt x="2985611" y="161449"/>
                    <a:pt x="2985611" y="163354"/>
                  </a:cubicBezTo>
                  <a:cubicBezTo>
                    <a:pt x="2983706" y="169069"/>
                    <a:pt x="2981801" y="175736"/>
                    <a:pt x="2978944" y="182404"/>
                  </a:cubicBezTo>
                  <a:cubicBezTo>
                    <a:pt x="2973229" y="199549"/>
                    <a:pt x="2967514" y="218599"/>
                    <a:pt x="2960846" y="238601"/>
                  </a:cubicBezTo>
                  <a:cubicBezTo>
                    <a:pt x="2959894" y="236696"/>
                    <a:pt x="2959894" y="234791"/>
                    <a:pt x="2959894" y="234791"/>
                  </a:cubicBezTo>
                  <a:cubicBezTo>
                    <a:pt x="2959894" y="234791"/>
                    <a:pt x="2959894" y="236696"/>
                    <a:pt x="2960846" y="239554"/>
                  </a:cubicBezTo>
                  <a:cubicBezTo>
                    <a:pt x="2957036" y="250984"/>
                    <a:pt x="2954179" y="262414"/>
                    <a:pt x="2950369" y="274796"/>
                  </a:cubicBezTo>
                  <a:cubicBezTo>
                    <a:pt x="2951321" y="268129"/>
                    <a:pt x="2952274" y="264319"/>
                    <a:pt x="2952274" y="264319"/>
                  </a:cubicBezTo>
                  <a:cubicBezTo>
                    <a:pt x="2952274" y="264319"/>
                    <a:pt x="2949416" y="271939"/>
                    <a:pt x="2944654" y="284321"/>
                  </a:cubicBezTo>
                  <a:cubicBezTo>
                    <a:pt x="2944654" y="284321"/>
                    <a:pt x="2944654" y="283369"/>
                    <a:pt x="2944654" y="283369"/>
                  </a:cubicBezTo>
                  <a:cubicBezTo>
                    <a:pt x="2944654" y="281464"/>
                    <a:pt x="2944654" y="279559"/>
                    <a:pt x="2945606" y="277654"/>
                  </a:cubicBezTo>
                  <a:cubicBezTo>
                    <a:pt x="2947511" y="263366"/>
                    <a:pt x="2948464" y="250984"/>
                    <a:pt x="2949416" y="238601"/>
                  </a:cubicBezTo>
                  <a:cubicBezTo>
                    <a:pt x="2950369" y="232886"/>
                    <a:pt x="2950369" y="226219"/>
                    <a:pt x="2951321" y="221456"/>
                  </a:cubicBezTo>
                  <a:cubicBezTo>
                    <a:pt x="2952274" y="215741"/>
                    <a:pt x="2953226" y="210979"/>
                    <a:pt x="2953226" y="205264"/>
                  </a:cubicBezTo>
                  <a:cubicBezTo>
                    <a:pt x="2954179" y="195739"/>
                    <a:pt x="2955131" y="186214"/>
                    <a:pt x="2956084" y="179546"/>
                  </a:cubicBezTo>
                  <a:cubicBezTo>
                    <a:pt x="2957989" y="165259"/>
                    <a:pt x="2958941" y="156686"/>
                    <a:pt x="2958941" y="156686"/>
                  </a:cubicBezTo>
                  <a:cubicBezTo>
                    <a:pt x="2958941" y="156686"/>
                    <a:pt x="2957036" y="164306"/>
                    <a:pt x="2952274" y="178594"/>
                  </a:cubicBezTo>
                  <a:cubicBezTo>
                    <a:pt x="2950369" y="185261"/>
                    <a:pt x="2948464" y="193834"/>
                    <a:pt x="2945606" y="203359"/>
                  </a:cubicBezTo>
                  <a:cubicBezTo>
                    <a:pt x="2944654" y="208121"/>
                    <a:pt x="2942749" y="212884"/>
                    <a:pt x="2941796" y="218599"/>
                  </a:cubicBezTo>
                  <a:cubicBezTo>
                    <a:pt x="2940844" y="224314"/>
                    <a:pt x="2939891" y="230029"/>
                    <a:pt x="2937986" y="235744"/>
                  </a:cubicBezTo>
                  <a:cubicBezTo>
                    <a:pt x="2936081" y="246221"/>
                    <a:pt x="2933224" y="257651"/>
                    <a:pt x="2931319" y="270034"/>
                  </a:cubicBezTo>
                  <a:cubicBezTo>
                    <a:pt x="2930366" y="266224"/>
                    <a:pt x="2930366" y="263366"/>
                    <a:pt x="2929414" y="260509"/>
                  </a:cubicBezTo>
                  <a:cubicBezTo>
                    <a:pt x="2929414" y="258604"/>
                    <a:pt x="2928461" y="257651"/>
                    <a:pt x="2928461" y="256699"/>
                  </a:cubicBezTo>
                  <a:cubicBezTo>
                    <a:pt x="2930366" y="253841"/>
                    <a:pt x="2931319" y="251936"/>
                    <a:pt x="2931319" y="251936"/>
                  </a:cubicBezTo>
                  <a:cubicBezTo>
                    <a:pt x="2931319" y="251936"/>
                    <a:pt x="2930366" y="252889"/>
                    <a:pt x="2927509" y="254794"/>
                  </a:cubicBezTo>
                  <a:cubicBezTo>
                    <a:pt x="2926556" y="251936"/>
                    <a:pt x="2925604" y="249079"/>
                    <a:pt x="2925604" y="247174"/>
                  </a:cubicBezTo>
                  <a:cubicBezTo>
                    <a:pt x="2929414" y="237649"/>
                    <a:pt x="2931319" y="231934"/>
                    <a:pt x="2931319" y="231934"/>
                  </a:cubicBezTo>
                  <a:cubicBezTo>
                    <a:pt x="2931319" y="231934"/>
                    <a:pt x="2928461" y="235744"/>
                    <a:pt x="2924651" y="243364"/>
                  </a:cubicBezTo>
                  <a:cubicBezTo>
                    <a:pt x="2923699" y="241459"/>
                    <a:pt x="2923699" y="239554"/>
                    <a:pt x="2922746" y="237649"/>
                  </a:cubicBezTo>
                  <a:lnTo>
                    <a:pt x="2922746" y="236696"/>
                  </a:lnTo>
                  <a:lnTo>
                    <a:pt x="2921794" y="236696"/>
                  </a:lnTo>
                  <a:cubicBezTo>
                    <a:pt x="2919889" y="236696"/>
                    <a:pt x="2917984" y="236696"/>
                    <a:pt x="2916079" y="236696"/>
                  </a:cubicBezTo>
                  <a:lnTo>
                    <a:pt x="2916079" y="236696"/>
                  </a:lnTo>
                  <a:cubicBezTo>
                    <a:pt x="2928461" y="200501"/>
                    <a:pt x="2935129" y="176689"/>
                    <a:pt x="2935129" y="176689"/>
                  </a:cubicBezTo>
                  <a:cubicBezTo>
                    <a:pt x="2935129" y="176689"/>
                    <a:pt x="2924651" y="196691"/>
                    <a:pt x="2909411" y="230029"/>
                  </a:cubicBezTo>
                  <a:cubicBezTo>
                    <a:pt x="2907506" y="222409"/>
                    <a:pt x="2904649" y="216694"/>
                    <a:pt x="2902744" y="211931"/>
                  </a:cubicBezTo>
                  <a:cubicBezTo>
                    <a:pt x="2901791" y="206216"/>
                    <a:pt x="2900839" y="201454"/>
                    <a:pt x="2900839" y="195739"/>
                  </a:cubicBezTo>
                  <a:cubicBezTo>
                    <a:pt x="2899886" y="188119"/>
                    <a:pt x="2898934" y="180499"/>
                    <a:pt x="2897981" y="173831"/>
                  </a:cubicBezTo>
                  <a:cubicBezTo>
                    <a:pt x="2897029" y="167164"/>
                    <a:pt x="2897029" y="160496"/>
                    <a:pt x="2896076" y="153829"/>
                  </a:cubicBezTo>
                  <a:cubicBezTo>
                    <a:pt x="2895124" y="141446"/>
                    <a:pt x="2894171" y="130969"/>
                    <a:pt x="2893219" y="121444"/>
                  </a:cubicBezTo>
                  <a:cubicBezTo>
                    <a:pt x="2891314" y="103346"/>
                    <a:pt x="2890361" y="93821"/>
                    <a:pt x="2890361" y="93821"/>
                  </a:cubicBezTo>
                  <a:cubicBezTo>
                    <a:pt x="2890361" y="93821"/>
                    <a:pt x="2890361" y="104299"/>
                    <a:pt x="2889409" y="121444"/>
                  </a:cubicBezTo>
                  <a:cubicBezTo>
                    <a:pt x="2889409" y="130016"/>
                    <a:pt x="2889409" y="141446"/>
                    <a:pt x="2889409" y="153829"/>
                  </a:cubicBezTo>
                  <a:cubicBezTo>
                    <a:pt x="2889409" y="160496"/>
                    <a:pt x="2889409" y="166211"/>
                    <a:pt x="2889409" y="173831"/>
                  </a:cubicBezTo>
                  <a:cubicBezTo>
                    <a:pt x="2889409" y="180499"/>
                    <a:pt x="2890361" y="188119"/>
                    <a:pt x="2890361" y="195739"/>
                  </a:cubicBezTo>
                  <a:cubicBezTo>
                    <a:pt x="2890361" y="200501"/>
                    <a:pt x="2891314" y="206216"/>
                    <a:pt x="2891314" y="211931"/>
                  </a:cubicBezTo>
                  <a:cubicBezTo>
                    <a:pt x="2890361" y="213836"/>
                    <a:pt x="2889409" y="215741"/>
                    <a:pt x="2887504" y="217646"/>
                  </a:cubicBezTo>
                  <a:cubicBezTo>
                    <a:pt x="2886551" y="218599"/>
                    <a:pt x="2885599" y="220504"/>
                    <a:pt x="2885599" y="221456"/>
                  </a:cubicBezTo>
                  <a:cubicBezTo>
                    <a:pt x="2883694" y="212884"/>
                    <a:pt x="2882741" y="204311"/>
                    <a:pt x="2880836" y="195739"/>
                  </a:cubicBezTo>
                  <a:cubicBezTo>
                    <a:pt x="2878931" y="185261"/>
                    <a:pt x="2877026" y="174784"/>
                    <a:pt x="2874169" y="166211"/>
                  </a:cubicBezTo>
                  <a:cubicBezTo>
                    <a:pt x="2872264" y="157639"/>
                    <a:pt x="2870359" y="150019"/>
                    <a:pt x="2867501" y="144304"/>
                  </a:cubicBezTo>
                  <a:cubicBezTo>
                    <a:pt x="2863691" y="131921"/>
                    <a:pt x="2860834" y="125254"/>
                    <a:pt x="2860834" y="125254"/>
                  </a:cubicBezTo>
                  <a:cubicBezTo>
                    <a:pt x="2860834" y="125254"/>
                    <a:pt x="2861786" y="132874"/>
                    <a:pt x="2863691" y="145256"/>
                  </a:cubicBezTo>
                  <a:cubicBezTo>
                    <a:pt x="2864644" y="151924"/>
                    <a:pt x="2865596" y="159544"/>
                    <a:pt x="2866549" y="168116"/>
                  </a:cubicBezTo>
                  <a:cubicBezTo>
                    <a:pt x="2867501" y="176689"/>
                    <a:pt x="2868454" y="187166"/>
                    <a:pt x="2869406" y="197644"/>
                  </a:cubicBezTo>
                  <a:cubicBezTo>
                    <a:pt x="2870359" y="208121"/>
                    <a:pt x="2871311" y="220504"/>
                    <a:pt x="2872264" y="232886"/>
                  </a:cubicBezTo>
                  <a:cubicBezTo>
                    <a:pt x="2872264" y="237649"/>
                    <a:pt x="2873216" y="242411"/>
                    <a:pt x="2873216" y="247174"/>
                  </a:cubicBezTo>
                  <a:cubicBezTo>
                    <a:pt x="2870359" y="253841"/>
                    <a:pt x="2867501" y="262414"/>
                    <a:pt x="2864644" y="270034"/>
                  </a:cubicBezTo>
                  <a:cubicBezTo>
                    <a:pt x="2863691" y="270986"/>
                    <a:pt x="2863691" y="272891"/>
                    <a:pt x="2863691" y="274796"/>
                  </a:cubicBezTo>
                  <a:cubicBezTo>
                    <a:pt x="2860834" y="269081"/>
                    <a:pt x="2857976" y="263366"/>
                    <a:pt x="2855119" y="257651"/>
                  </a:cubicBezTo>
                  <a:cubicBezTo>
                    <a:pt x="2850356" y="248126"/>
                    <a:pt x="2845594" y="239554"/>
                    <a:pt x="2841784" y="230029"/>
                  </a:cubicBezTo>
                  <a:cubicBezTo>
                    <a:pt x="2855119" y="229076"/>
                    <a:pt x="2855119" y="226219"/>
                    <a:pt x="2855119" y="226219"/>
                  </a:cubicBezTo>
                  <a:cubicBezTo>
                    <a:pt x="2855119" y="226219"/>
                    <a:pt x="2854166" y="228124"/>
                    <a:pt x="2853214" y="231934"/>
                  </a:cubicBezTo>
                  <a:cubicBezTo>
                    <a:pt x="2849404" y="224314"/>
                    <a:pt x="2844641" y="215741"/>
                    <a:pt x="2840831" y="209074"/>
                  </a:cubicBezTo>
                  <a:cubicBezTo>
                    <a:pt x="2857024" y="174784"/>
                    <a:pt x="2866549" y="150971"/>
                    <a:pt x="2866549" y="150971"/>
                  </a:cubicBezTo>
                  <a:cubicBezTo>
                    <a:pt x="2866549" y="150971"/>
                    <a:pt x="2853214" y="169069"/>
                    <a:pt x="2835116" y="198596"/>
                  </a:cubicBezTo>
                  <a:cubicBezTo>
                    <a:pt x="2833211" y="194786"/>
                    <a:pt x="2831306" y="191929"/>
                    <a:pt x="2829401" y="188119"/>
                  </a:cubicBezTo>
                  <a:cubicBezTo>
                    <a:pt x="2826544" y="170021"/>
                    <a:pt x="2823686" y="151924"/>
                    <a:pt x="2820829" y="132874"/>
                  </a:cubicBezTo>
                  <a:cubicBezTo>
                    <a:pt x="2820829" y="146209"/>
                    <a:pt x="2820829" y="160496"/>
                    <a:pt x="2821781" y="173831"/>
                  </a:cubicBezTo>
                  <a:cubicBezTo>
                    <a:pt x="2817019" y="166211"/>
                    <a:pt x="2812256" y="158591"/>
                    <a:pt x="2807494" y="151924"/>
                  </a:cubicBezTo>
                  <a:cubicBezTo>
                    <a:pt x="2797969" y="137636"/>
                    <a:pt x="2790349" y="125254"/>
                    <a:pt x="2782729" y="115729"/>
                  </a:cubicBezTo>
                  <a:cubicBezTo>
                    <a:pt x="2768441" y="95726"/>
                    <a:pt x="2759869" y="85249"/>
                    <a:pt x="2759869" y="85249"/>
                  </a:cubicBezTo>
                  <a:cubicBezTo>
                    <a:pt x="2759869" y="85249"/>
                    <a:pt x="2766536" y="97631"/>
                    <a:pt x="2778919" y="118586"/>
                  </a:cubicBezTo>
                  <a:cubicBezTo>
                    <a:pt x="2785586" y="129064"/>
                    <a:pt x="2792254" y="142399"/>
                    <a:pt x="2799874" y="156686"/>
                  </a:cubicBezTo>
                  <a:cubicBezTo>
                    <a:pt x="2803684" y="164306"/>
                    <a:pt x="2808446" y="171926"/>
                    <a:pt x="2812256" y="180499"/>
                  </a:cubicBezTo>
                  <a:cubicBezTo>
                    <a:pt x="2815114" y="186214"/>
                    <a:pt x="2817971" y="191929"/>
                    <a:pt x="2820829" y="197644"/>
                  </a:cubicBezTo>
                  <a:cubicBezTo>
                    <a:pt x="2820829" y="199549"/>
                    <a:pt x="2820829" y="202406"/>
                    <a:pt x="2820829" y="204311"/>
                  </a:cubicBezTo>
                  <a:cubicBezTo>
                    <a:pt x="2820829" y="209074"/>
                    <a:pt x="2821781" y="213836"/>
                    <a:pt x="2821781" y="218599"/>
                  </a:cubicBezTo>
                  <a:cubicBezTo>
                    <a:pt x="2819876" y="221456"/>
                    <a:pt x="2818924" y="224314"/>
                    <a:pt x="2817019" y="227171"/>
                  </a:cubicBezTo>
                  <a:cubicBezTo>
                    <a:pt x="2813209" y="222409"/>
                    <a:pt x="2810351" y="216694"/>
                    <a:pt x="2806541" y="211931"/>
                  </a:cubicBezTo>
                  <a:cubicBezTo>
                    <a:pt x="2806541" y="210979"/>
                    <a:pt x="2805589" y="210979"/>
                    <a:pt x="2805589" y="210026"/>
                  </a:cubicBezTo>
                  <a:cubicBezTo>
                    <a:pt x="2806541" y="209074"/>
                    <a:pt x="2806541" y="208121"/>
                    <a:pt x="2806541" y="208121"/>
                  </a:cubicBezTo>
                  <a:cubicBezTo>
                    <a:pt x="2806541" y="208121"/>
                    <a:pt x="2806541" y="208121"/>
                    <a:pt x="2805589" y="209074"/>
                  </a:cubicBezTo>
                  <a:cubicBezTo>
                    <a:pt x="2800826" y="202406"/>
                    <a:pt x="2796064" y="196691"/>
                    <a:pt x="2792254" y="191929"/>
                  </a:cubicBezTo>
                  <a:cubicBezTo>
                    <a:pt x="2782729" y="179546"/>
                    <a:pt x="2775109" y="169069"/>
                    <a:pt x="2767489" y="161449"/>
                  </a:cubicBezTo>
                  <a:cubicBezTo>
                    <a:pt x="2766536" y="160496"/>
                    <a:pt x="2766536" y="159544"/>
                    <a:pt x="2765584" y="158591"/>
                  </a:cubicBezTo>
                  <a:cubicBezTo>
                    <a:pt x="2765584" y="157639"/>
                    <a:pt x="2765584" y="156686"/>
                    <a:pt x="2765584" y="155734"/>
                  </a:cubicBezTo>
                  <a:cubicBezTo>
                    <a:pt x="2764631" y="145256"/>
                    <a:pt x="2762726" y="135731"/>
                    <a:pt x="2762726" y="128111"/>
                  </a:cubicBezTo>
                  <a:cubicBezTo>
                    <a:pt x="2760821" y="112871"/>
                    <a:pt x="2759869" y="103346"/>
                    <a:pt x="2759869" y="103346"/>
                  </a:cubicBezTo>
                  <a:cubicBezTo>
                    <a:pt x="2759869" y="103346"/>
                    <a:pt x="2759869" y="111919"/>
                    <a:pt x="2758916" y="128111"/>
                  </a:cubicBezTo>
                  <a:cubicBezTo>
                    <a:pt x="2758916" y="134779"/>
                    <a:pt x="2758916" y="141446"/>
                    <a:pt x="2758916" y="150019"/>
                  </a:cubicBezTo>
                  <a:cubicBezTo>
                    <a:pt x="2750344" y="140494"/>
                    <a:pt x="2745581" y="135731"/>
                    <a:pt x="2745581" y="135731"/>
                  </a:cubicBezTo>
                  <a:cubicBezTo>
                    <a:pt x="2745581" y="135731"/>
                    <a:pt x="2750344" y="142399"/>
                    <a:pt x="2758916" y="153829"/>
                  </a:cubicBezTo>
                  <a:cubicBezTo>
                    <a:pt x="2758916" y="154781"/>
                    <a:pt x="2758916" y="155734"/>
                    <a:pt x="2758916" y="155734"/>
                  </a:cubicBezTo>
                  <a:cubicBezTo>
                    <a:pt x="2758916" y="161449"/>
                    <a:pt x="2758916" y="167164"/>
                    <a:pt x="2758916" y="172879"/>
                  </a:cubicBezTo>
                  <a:cubicBezTo>
                    <a:pt x="2758916" y="178594"/>
                    <a:pt x="2759869" y="185261"/>
                    <a:pt x="2759869" y="191929"/>
                  </a:cubicBezTo>
                  <a:cubicBezTo>
                    <a:pt x="2759869" y="200501"/>
                    <a:pt x="2760821" y="210026"/>
                    <a:pt x="2761774" y="219551"/>
                  </a:cubicBezTo>
                  <a:cubicBezTo>
                    <a:pt x="2761774" y="218599"/>
                    <a:pt x="2760821" y="217646"/>
                    <a:pt x="2760821" y="217646"/>
                  </a:cubicBezTo>
                  <a:cubicBezTo>
                    <a:pt x="2760821" y="216694"/>
                    <a:pt x="2760821" y="216694"/>
                    <a:pt x="2760821" y="216694"/>
                  </a:cubicBezTo>
                  <a:cubicBezTo>
                    <a:pt x="2760821" y="216694"/>
                    <a:pt x="2760821" y="216694"/>
                    <a:pt x="2760821" y="217646"/>
                  </a:cubicBezTo>
                  <a:cubicBezTo>
                    <a:pt x="2749391" y="189071"/>
                    <a:pt x="2741771" y="172879"/>
                    <a:pt x="2741771" y="172879"/>
                  </a:cubicBezTo>
                  <a:cubicBezTo>
                    <a:pt x="2741771" y="172879"/>
                    <a:pt x="2747486" y="193834"/>
                    <a:pt x="2757011" y="228124"/>
                  </a:cubicBezTo>
                  <a:cubicBezTo>
                    <a:pt x="2754154" y="236696"/>
                    <a:pt x="2749391" y="250984"/>
                    <a:pt x="2743676" y="268129"/>
                  </a:cubicBezTo>
                  <a:cubicBezTo>
                    <a:pt x="2740819" y="262414"/>
                    <a:pt x="2737961" y="258604"/>
                    <a:pt x="2736056" y="254794"/>
                  </a:cubicBezTo>
                  <a:cubicBezTo>
                    <a:pt x="2737009" y="241459"/>
                    <a:pt x="2737009" y="232886"/>
                    <a:pt x="2737009" y="232886"/>
                  </a:cubicBezTo>
                  <a:cubicBezTo>
                    <a:pt x="2737009" y="232886"/>
                    <a:pt x="2735104" y="238601"/>
                    <a:pt x="2732246" y="249079"/>
                  </a:cubicBezTo>
                  <a:cubicBezTo>
                    <a:pt x="2731294" y="247174"/>
                    <a:pt x="2730341" y="246221"/>
                    <a:pt x="2730341" y="246221"/>
                  </a:cubicBezTo>
                  <a:cubicBezTo>
                    <a:pt x="2730341" y="246221"/>
                    <a:pt x="2730341" y="247174"/>
                    <a:pt x="2731294" y="250031"/>
                  </a:cubicBezTo>
                  <a:cubicBezTo>
                    <a:pt x="2730341" y="252889"/>
                    <a:pt x="2730341" y="254794"/>
                    <a:pt x="2729389" y="258604"/>
                  </a:cubicBezTo>
                  <a:lnTo>
                    <a:pt x="2729389" y="247174"/>
                  </a:lnTo>
                  <a:lnTo>
                    <a:pt x="2731294" y="218599"/>
                  </a:lnTo>
                  <a:cubicBezTo>
                    <a:pt x="2732246" y="218599"/>
                    <a:pt x="2732246" y="218599"/>
                    <a:pt x="2733199" y="219551"/>
                  </a:cubicBezTo>
                  <a:cubicBezTo>
                    <a:pt x="2734151" y="220504"/>
                    <a:pt x="2735104" y="221456"/>
                    <a:pt x="2736056" y="222409"/>
                  </a:cubicBezTo>
                  <a:cubicBezTo>
                    <a:pt x="2737961" y="224314"/>
                    <a:pt x="2737961" y="228124"/>
                    <a:pt x="2738914" y="230981"/>
                  </a:cubicBezTo>
                  <a:cubicBezTo>
                    <a:pt x="2738914" y="228124"/>
                    <a:pt x="2738914" y="225266"/>
                    <a:pt x="2737961" y="222409"/>
                  </a:cubicBezTo>
                  <a:cubicBezTo>
                    <a:pt x="2737009" y="220504"/>
                    <a:pt x="2736056" y="219551"/>
                    <a:pt x="2735104" y="218599"/>
                  </a:cubicBezTo>
                  <a:cubicBezTo>
                    <a:pt x="2734151" y="217646"/>
                    <a:pt x="2732246" y="216694"/>
                    <a:pt x="2730341" y="216694"/>
                  </a:cubicBezTo>
                  <a:lnTo>
                    <a:pt x="2728436" y="216694"/>
                  </a:lnTo>
                  <a:lnTo>
                    <a:pt x="2728436" y="218599"/>
                  </a:lnTo>
                  <a:cubicBezTo>
                    <a:pt x="2726531" y="228124"/>
                    <a:pt x="2723674" y="238601"/>
                    <a:pt x="2721769" y="248126"/>
                  </a:cubicBezTo>
                  <a:cubicBezTo>
                    <a:pt x="2720816" y="251936"/>
                    <a:pt x="2720816" y="256699"/>
                    <a:pt x="2719864" y="260509"/>
                  </a:cubicBezTo>
                  <a:cubicBezTo>
                    <a:pt x="2718911" y="258604"/>
                    <a:pt x="2717959" y="256699"/>
                    <a:pt x="2717006" y="254794"/>
                  </a:cubicBezTo>
                  <a:cubicBezTo>
                    <a:pt x="2717006" y="254794"/>
                    <a:pt x="2717006" y="253841"/>
                    <a:pt x="2717006" y="253841"/>
                  </a:cubicBezTo>
                  <a:cubicBezTo>
                    <a:pt x="2717959" y="244316"/>
                    <a:pt x="2718911" y="238601"/>
                    <a:pt x="2718911" y="238601"/>
                  </a:cubicBezTo>
                  <a:cubicBezTo>
                    <a:pt x="2718911" y="238601"/>
                    <a:pt x="2717959" y="241459"/>
                    <a:pt x="2716054" y="247174"/>
                  </a:cubicBezTo>
                  <a:cubicBezTo>
                    <a:pt x="2717006" y="204311"/>
                    <a:pt x="2716054" y="176689"/>
                    <a:pt x="2716054" y="176689"/>
                  </a:cubicBezTo>
                  <a:cubicBezTo>
                    <a:pt x="2716054" y="176689"/>
                    <a:pt x="2715101" y="185261"/>
                    <a:pt x="2713196" y="198596"/>
                  </a:cubicBezTo>
                  <a:cubicBezTo>
                    <a:pt x="2712244" y="207169"/>
                    <a:pt x="2710339" y="217646"/>
                    <a:pt x="2709386" y="230029"/>
                  </a:cubicBezTo>
                  <a:cubicBezTo>
                    <a:pt x="2707481" y="226219"/>
                    <a:pt x="2706529" y="221456"/>
                    <a:pt x="2704624" y="218599"/>
                  </a:cubicBezTo>
                  <a:lnTo>
                    <a:pt x="2703671" y="199549"/>
                  </a:lnTo>
                  <a:lnTo>
                    <a:pt x="2703671" y="163354"/>
                  </a:lnTo>
                  <a:cubicBezTo>
                    <a:pt x="2704624" y="163354"/>
                    <a:pt x="2705576" y="163354"/>
                    <a:pt x="2706529" y="164306"/>
                  </a:cubicBezTo>
                  <a:cubicBezTo>
                    <a:pt x="2708434" y="165259"/>
                    <a:pt x="2709386" y="166211"/>
                    <a:pt x="2710339" y="167164"/>
                  </a:cubicBezTo>
                  <a:cubicBezTo>
                    <a:pt x="2712244" y="170021"/>
                    <a:pt x="2713196" y="173831"/>
                    <a:pt x="2714149" y="176689"/>
                  </a:cubicBezTo>
                  <a:cubicBezTo>
                    <a:pt x="2714149" y="172879"/>
                    <a:pt x="2713196" y="169069"/>
                    <a:pt x="2712244" y="166211"/>
                  </a:cubicBezTo>
                  <a:cubicBezTo>
                    <a:pt x="2711291" y="164306"/>
                    <a:pt x="2710339" y="163354"/>
                    <a:pt x="2708434" y="161449"/>
                  </a:cubicBezTo>
                  <a:cubicBezTo>
                    <a:pt x="2706529" y="160496"/>
                    <a:pt x="2704624" y="159544"/>
                    <a:pt x="2702719" y="159544"/>
                  </a:cubicBezTo>
                  <a:lnTo>
                    <a:pt x="2700814" y="159544"/>
                  </a:lnTo>
                  <a:lnTo>
                    <a:pt x="2700814" y="161449"/>
                  </a:lnTo>
                  <a:lnTo>
                    <a:pt x="2697004" y="193834"/>
                  </a:lnTo>
                  <a:cubicBezTo>
                    <a:pt x="2694146" y="186214"/>
                    <a:pt x="2693194" y="181451"/>
                    <a:pt x="2693194" y="181451"/>
                  </a:cubicBezTo>
                  <a:cubicBezTo>
                    <a:pt x="2693194" y="181451"/>
                    <a:pt x="2694146" y="187166"/>
                    <a:pt x="2697004" y="198596"/>
                  </a:cubicBezTo>
                  <a:lnTo>
                    <a:pt x="2697004" y="198596"/>
                  </a:lnTo>
                  <a:cubicBezTo>
                    <a:pt x="2696051" y="210979"/>
                    <a:pt x="2696051" y="224314"/>
                    <a:pt x="2696051" y="236696"/>
                  </a:cubicBezTo>
                  <a:cubicBezTo>
                    <a:pt x="2696051" y="245269"/>
                    <a:pt x="2696051" y="253841"/>
                    <a:pt x="2697004" y="262414"/>
                  </a:cubicBezTo>
                  <a:cubicBezTo>
                    <a:pt x="2697004" y="262414"/>
                    <a:pt x="2697004" y="263366"/>
                    <a:pt x="2697004" y="263366"/>
                  </a:cubicBezTo>
                  <a:cubicBezTo>
                    <a:pt x="2697004" y="264319"/>
                    <a:pt x="2696051" y="265271"/>
                    <a:pt x="2696051" y="265271"/>
                  </a:cubicBezTo>
                  <a:cubicBezTo>
                    <a:pt x="2695099" y="264319"/>
                    <a:pt x="2694146" y="262414"/>
                    <a:pt x="2694146" y="261461"/>
                  </a:cubicBezTo>
                  <a:cubicBezTo>
                    <a:pt x="2691289" y="255746"/>
                    <a:pt x="2688431" y="250984"/>
                    <a:pt x="2685574" y="246221"/>
                  </a:cubicBezTo>
                  <a:cubicBezTo>
                    <a:pt x="2682716" y="233839"/>
                    <a:pt x="2680811" y="221456"/>
                    <a:pt x="2677954" y="210979"/>
                  </a:cubicBezTo>
                  <a:cubicBezTo>
                    <a:pt x="2677001" y="207169"/>
                    <a:pt x="2677001" y="204311"/>
                    <a:pt x="2676049" y="200501"/>
                  </a:cubicBezTo>
                  <a:cubicBezTo>
                    <a:pt x="2677954" y="190976"/>
                    <a:pt x="2679859" y="182404"/>
                    <a:pt x="2681764" y="173831"/>
                  </a:cubicBezTo>
                  <a:cubicBezTo>
                    <a:pt x="2683669" y="162401"/>
                    <a:pt x="2685574" y="152876"/>
                    <a:pt x="2687479" y="144304"/>
                  </a:cubicBezTo>
                  <a:cubicBezTo>
                    <a:pt x="2690336" y="128111"/>
                    <a:pt x="2691289" y="118586"/>
                    <a:pt x="2691289" y="118586"/>
                  </a:cubicBezTo>
                  <a:cubicBezTo>
                    <a:pt x="2691289" y="118586"/>
                    <a:pt x="2688431" y="128111"/>
                    <a:pt x="2683669" y="143351"/>
                  </a:cubicBezTo>
                  <a:cubicBezTo>
                    <a:pt x="2681764" y="149066"/>
                    <a:pt x="2679859" y="155734"/>
                    <a:pt x="2677954" y="162401"/>
                  </a:cubicBezTo>
                  <a:cubicBezTo>
                    <a:pt x="2677001" y="166211"/>
                    <a:pt x="2675096" y="170974"/>
                    <a:pt x="2673191" y="176689"/>
                  </a:cubicBezTo>
                  <a:cubicBezTo>
                    <a:pt x="2673191" y="176689"/>
                    <a:pt x="2673191" y="177641"/>
                    <a:pt x="2673191" y="177641"/>
                  </a:cubicBezTo>
                  <a:cubicBezTo>
                    <a:pt x="2673191" y="176689"/>
                    <a:pt x="2672239" y="174784"/>
                    <a:pt x="2672239" y="173831"/>
                  </a:cubicBezTo>
                  <a:cubicBezTo>
                    <a:pt x="2670334" y="163354"/>
                    <a:pt x="2668429" y="153829"/>
                    <a:pt x="2666524" y="146209"/>
                  </a:cubicBezTo>
                  <a:cubicBezTo>
                    <a:pt x="2663666" y="130969"/>
                    <a:pt x="2661761" y="121444"/>
                    <a:pt x="2661761" y="121444"/>
                  </a:cubicBezTo>
                  <a:cubicBezTo>
                    <a:pt x="2661761" y="121444"/>
                    <a:pt x="2661761" y="130016"/>
                    <a:pt x="2662714" y="146209"/>
                  </a:cubicBezTo>
                  <a:cubicBezTo>
                    <a:pt x="2663666" y="158591"/>
                    <a:pt x="2664619" y="176689"/>
                    <a:pt x="2666524" y="196691"/>
                  </a:cubicBezTo>
                  <a:cubicBezTo>
                    <a:pt x="2666524" y="197644"/>
                    <a:pt x="2665571" y="199549"/>
                    <a:pt x="2665571" y="200501"/>
                  </a:cubicBezTo>
                  <a:cubicBezTo>
                    <a:pt x="2665571" y="201454"/>
                    <a:pt x="2664619" y="203359"/>
                    <a:pt x="2664619" y="204311"/>
                  </a:cubicBezTo>
                  <a:cubicBezTo>
                    <a:pt x="2658904" y="192881"/>
                    <a:pt x="2653189" y="183356"/>
                    <a:pt x="2649379" y="174784"/>
                  </a:cubicBezTo>
                  <a:cubicBezTo>
                    <a:pt x="2639854" y="152876"/>
                    <a:pt x="2634139" y="141446"/>
                    <a:pt x="2634139" y="141446"/>
                  </a:cubicBezTo>
                  <a:cubicBezTo>
                    <a:pt x="2634139" y="141446"/>
                    <a:pt x="2637949" y="153829"/>
                    <a:pt x="2646521" y="176689"/>
                  </a:cubicBezTo>
                  <a:cubicBezTo>
                    <a:pt x="2650331" y="187166"/>
                    <a:pt x="2656046" y="199549"/>
                    <a:pt x="2661761" y="214789"/>
                  </a:cubicBezTo>
                  <a:cubicBezTo>
                    <a:pt x="2661761" y="215741"/>
                    <a:pt x="2661761" y="215741"/>
                    <a:pt x="2660809" y="216694"/>
                  </a:cubicBezTo>
                  <a:cubicBezTo>
                    <a:pt x="2656999" y="210026"/>
                    <a:pt x="2655094" y="204311"/>
                    <a:pt x="2652236" y="201454"/>
                  </a:cubicBezTo>
                  <a:cubicBezTo>
                    <a:pt x="2649379" y="197644"/>
                    <a:pt x="2648426" y="196691"/>
                    <a:pt x="2648426" y="196691"/>
                  </a:cubicBezTo>
                  <a:cubicBezTo>
                    <a:pt x="2648426" y="196691"/>
                    <a:pt x="2649379" y="198596"/>
                    <a:pt x="2651284" y="202406"/>
                  </a:cubicBezTo>
                  <a:cubicBezTo>
                    <a:pt x="2654141" y="206216"/>
                    <a:pt x="2655094" y="211931"/>
                    <a:pt x="2657951" y="218599"/>
                  </a:cubicBezTo>
                  <a:cubicBezTo>
                    <a:pt x="2657951" y="220504"/>
                    <a:pt x="2658904" y="222409"/>
                    <a:pt x="2658904" y="223361"/>
                  </a:cubicBezTo>
                  <a:cubicBezTo>
                    <a:pt x="2658904" y="224314"/>
                    <a:pt x="2657951" y="225266"/>
                    <a:pt x="2657951" y="226219"/>
                  </a:cubicBezTo>
                  <a:cubicBezTo>
                    <a:pt x="2654141" y="214789"/>
                    <a:pt x="2650331" y="203359"/>
                    <a:pt x="2647474" y="193834"/>
                  </a:cubicBezTo>
                  <a:cubicBezTo>
                    <a:pt x="2644616" y="184309"/>
                    <a:pt x="2640806" y="175736"/>
                    <a:pt x="2638901" y="169069"/>
                  </a:cubicBezTo>
                  <a:cubicBezTo>
                    <a:pt x="2634139" y="154781"/>
                    <a:pt x="2631281" y="147161"/>
                    <a:pt x="2631281" y="147161"/>
                  </a:cubicBezTo>
                  <a:cubicBezTo>
                    <a:pt x="2631281" y="147161"/>
                    <a:pt x="2632234" y="155734"/>
                    <a:pt x="2635091" y="170021"/>
                  </a:cubicBezTo>
                  <a:cubicBezTo>
                    <a:pt x="2637949" y="184309"/>
                    <a:pt x="2641759" y="205264"/>
                    <a:pt x="2647474" y="230029"/>
                  </a:cubicBezTo>
                  <a:cubicBezTo>
                    <a:pt x="2648426" y="235744"/>
                    <a:pt x="2650331" y="241459"/>
                    <a:pt x="2651284" y="247174"/>
                  </a:cubicBezTo>
                  <a:cubicBezTo>
                    <a:pt x="2648426" y="255746"/>
                    <a:pt x="2645569" y="264319"/>
                    <a:pt x="2642711" y="273844"/>
                  </a:cubicBezTo>
                  <a:cubicBezTo>
                    <a:pt x="2641759" y="272891"/>
                    <a:pt x="2641759" y="271939"/>
                    <a:pt x="2640806" y="270034"/>
                  </a:cubicBezTo>
                  <a:cubicBezTo>
                    <a:pt x="2640806" y="269081"/>
                    <a:pt x="2639854" y="269081"/>
                    <a:pt x="2639854" y="268129"/>
                  </a:cubicBezTo>
                  <a:cubicBezTo>
                    <a:pt x="2642711" y="238601"/>
                    <a:pt x="2643664" y="220504"/>
                    <a:pt x="2643664" y="220504"/>
                  </a:cubicBezTo>
                  <a:cubicBezTo>
                    <a:pt x="2643664" y="220504"/>
                    <a:pt x="2640806" y="230029"/>
                    <a:pt x="2636996" y="247174"/>
                  </a:cubicBezTo>
                  <a:cubicBezTo>
                    <a:pt x="2636996" y="220504"/>
                    <a:pt x="2636044" y="204311"/>
                    <a:pt x="2636044" y="204311"/>
                  </a:cubicBezTo>
                  <a:cubicBezTo>
                    <a:pt x="2636044" y="204311"/>
                    <a:pt x="2633186" y="217646"/>
                    <a:pt x="2630329" y="240506"/>
                  </a:cubicBezTo>
                  <a:cubicBezTo>
                    <a:pt x="2628424" y="228124"/>
                    <a:pt x="2625566" y="216694"/>
                    <a:pt x="2623661" y="206216"/>
                  </a:cubicBezTo>
                  <a:cubicBezTo>
                    <a:pt x="2618899" y="182404"/>
                    <a:pt x="2614136" y="162401"/>
                    <a:pt x="2610326" y="147161"/>
                  </a:cubicBezTo>
                  <a:cubicBezTo>
                    <a:pt x="2613184" y="141446"/>
                    <a:pt x="2615089" y="137636"/>
                    <a:pt x="2615089" y="137636"/>
                  </a:cubicBezTo>
                  <a:cubicBezTo>
                    <a:pt x="2615089" y="137636"/>
                    <a:pt x="2613184" y="140494"/>
                    <a:pt x="2610326" y="145256"/>
                  </a:cubicBezTo>
                  <a:cubicBezTo>
                    <a:pt x="2610326" y="144304"/>
                    <a:pt x="2610326" y="144304"/>
                    <a:pt x="2609374" y="143351"/>
                  </a:cubicBezTo>
                  <a:cubicBezTo>
                    <a:pt x="2605564" y="128111"/>
                    <a:pt x="2603659" y="119539"/>
                    <a:pt x="2603659" y="119539"/>
                  </a:cubicBezTo>
                  <a:cubicBezTo>
                    <a:pt x="2603659" y="119539"/>
                    <a:pt x="2604611" y="128111"/>
                    <a:pt x="2605564" y="144304"/>
                  </a:cubicBezTo>
                  <a:cubicBezTo>
                    <a:pt x="2605564" y="146209"/>
                    <a:pt x="2605564" y="149066"/>
                    <a:pt x="2606516" y="150971"/>
                  </a:cubicBezTo>
                  <a:cubicBezTo>
                    <a:pt x="2604611" y="153829"/>
                    <a:pt x="2602706" y="155734"/>
                    <a:pt x="2600801" y="158591"/>
                  </a:cubicBezTo>
                  <a:cubicBezTo>
                    <a:pt x="2596991" y="163354"/>
                    <a:pt x="2594134" y="169069"/>
                    <a:pt x="2589371" y="175736"/>
                  </a:cubicBezTo>
                  <a:cubicBezTo>
                    <a:pt x="2589371" y="174784"/>
                    <a:pt x="2589371" y="172879"/>
                    <a:pt x="2588419" y="171926"/>
                  </a:cubicBezTo>
                  <a:cubicBezTo>
                    <a:pt x="2585561" y="155734"/>
                    <a:pt x="2583656" y="147161"/>
                    <a:pt x="2583656" y="147161"/>
                  </a:cubicBezTo>
                  <a:cubicBezTo>
                    <a:pt x="2583656" y="147161"/>
                    <a:pt x="2583656" y="156686"/>
                    <a:pt x="2584609" y="171926"/>
                  </a:cubicBezTo>
                  <a:cubicBezTo>
                    <a:pt x="2584609" y="174784"/>
                    <a:pt x="2584609" y="178594"/>
                    <a:pt x="2585561" y="182404"/>
                  </a:cubicBezTo>
                  <a:cubicBezTo>
                    <a:pt x="2585561" y="182404"/>
                    <a:pt x="2585561" y="182404"/>
                    <a:pt x="2585561" y="182404"/>
                  </a:cubicBezTo>
                  <a:cubicBezTo>
                    <a:pt x="2582704" y="187166"/>
                    <a:pt x="2579846" y="192881"/>
                    <a:pt x="2576036" y="198596"/>
                  </a:cubicBezTo>
                  <a:cubicBezTo>
                    <a:pt x="2575084" y="190976"/>
                    <a:pt x="2575084" y="183356"/>
                    <a:pt x="2574131" y="177641"/>
                  </a:cubicBezTo>
                  <a:cubicBezTo>
                    <a:pt x="2573179" y="165259"/>
                    <a:pt x="2573179" y="157639"/>
                    <a:pt x="2573179" y="157639"/>
                  </a:cubicBezTo>
                  <a:cubicBezTo>
                    <a:pt x="2573179" y="157639"/>
                    <a:pt x="2572226" y="162401"/>
                    <a:pt x="2571274" y="170974"/>
                  </a:cubicBezTo>
                  <a:cubicBezTo>
                    <a:pt x="2571274" y="170974"/>
                    <a:pt x="2571274" y="170021"/>
                    <a:pt x="2571274" y="170021"/>
                  </a:cubicBezTo>
                  <a:cubicBezTo>
                    <a:pt x="2570321" y="162401"/>
                    <a:pt x="2570321" y="155734"/>
                    <a:pt x="2569369" y="149066"/>
                  </a:cubicBezTo>
                  <a:cubicBezTo>
                    <a:pt x="2569369" y="142399"/>
                    <a:pt x="2568416" y="135731"/>
                    <a:pt x="2568416" y="130016"/>
                  </a:cubicBezTo>
                  <a:cubicBezTo>
                    <a:pt x="2567464" y="118586"/>
                    <a:pt x="2566511" y="108109"/>
                    <a:pt x="2567464" y="99536"/>
                  </a:cubicBezTo>
                  <a:cubicBezTo>
                    <a:pt x="2567464" y="82391"/>
                    <a:pt x="2566511" y="72866"/>
                    <a:pt x="2566511" y="72866"/>
                  </a:cubicBezTo>
                  <a:cubicBezTo>
                    <a:pt x="2566511" y="72866"/>
                    <a:pt x="2565559" y="82391"/>
                    <a:pt x="2562701" y="99536"/>
                  </a:cubicBezTo>
                  <a:cubicBezTo>
                    <a:pt x="2561749" y="108109"/>
                    <a:pt x="2560796" y="118586"/>
                    <a:pt x="2560796" y="130016"/>
                  </a:cubicBezTo>
                  <a:cubicBezTo>
                    <a:pt x="2560796" y="135731"/>
                    <a:pt x="2559844" y="142399"/>
                    <a:pt x="2559844" y="149066"/>
                  </a:cubicBezTo>
                  <a:cubicBezTo>
                    <a:pt x="2559844" y="155734"/>
                    <a:pt x="2559844" y="162401"/>
                    <a:pt x="2559844" y="170021"/>
                  </a:cubicBezTo>
                  <a:cubicBezTo>
                    <a:pt x="2559844" y="178594"/>
                    <a:pt x="2559844" y="187166"/>
                    <a:pt x="2560796" y="195739"/>
                  </a:cubicBezTo>
                  <a:cubicBezTo>
                    <a:pt x="2559844" y="192881"/>
                    <a:pt x="2558891" y="191929"/>
                    <a:pt x="2558891" y="191929"/>
                  </a:cubicBezTo>
                  <a:cubicBezTo>
                    <a:pt x="2558891" y="191929"/>
                    <a:pt x="2559844" y="194786"/>
                    <a:pt x="2561749" y="200501"/>
                  </a:cubicBezTo>
                  <a:cubicBezTo>
                    <a:pt x="2561749" y="206216"/>
                    <a:pt x="2562701" y="211931"/>
                    <a:pt x="2562701" y="217646"/>
                  </a:cubicBezTo>
                  <a:cubicBezTo>
                    <a:pt x="2562701" y="219551"/>
                    <a:pt x="2562701" y="221456"/>
                    <a:pt x="2562701" y="223361"/>
                  </a:cubicBezTo>
                  <a:cubicBezTo>
                    <a:pt x="2558891" y="230981"/>
                    <a:pt x="2555081" y="238601"/>
                    <a:pt x="2551271" y="247174"/>
                  </a:cubicBezTo>
                  <a:cubicBezTo>
                    <a:pt x="2550319" y="239554"/>
                    <a:pt x="2550319" y="233839"/>
                    <a:pt x="2549366" y="230029"/>
                  </a:cubicBezTo>
                  <a:cubicBezTo>
                    <a:pt x="2553176" y="219551"/>
                    <a:pt x="2555081" y="212884"/>
                    <a:pt x="2555081" y="212884"/>
                  </a:cubicBezTo>
                  <a:cubicBezTo>
                    <a:pt x="2555081" y="212884"/>
                    <a:pt x="2552224" y="218599"/>
                    <a:pt x="2546509" y="228124"/>
                  </a:cubicBezTo>
                  <a:cubicBezTo>
                    <a:pt x="2546509" y="226219"/>
                    <a:pt x="2547461" y="224314"/>
                    <a:pt x="2547461" y="222409"/>
                  </a:cubicBezTo>
                  <a:cubicBezTo>
                    <a:pt x="2551271" y="206216"/>
                    <a:pt x="2553176" y="196691"/>
                    <a:pt x="2553176" y="196691"/>
                  </a:cubicBezTo>
                  <a:cubicBezTo>
                    <a:pt x="2553176" y="196691"/>
                    <a:pt x="2549366" y="205264"/>
                    <a:pt x="2543651" y="221456"/>
                  </a:cubicBezTo>
                  <a:cubicBezTo>
                    <a:pt x="2541746" y="228124"/>
                    <a:pt x="2538889" y="236696"/>
                    <a:pt x="2536984" y="246221"/>
                  </a:cubicBezTo>
                  <a:cubicBezTo>
                    <a:pt x="2536984" y="245269"/>
                    <a:pt x="2536984" y="245269"/>
                    <a:pt x="2536984" y="244316"/>
                  </a:cubicBezTo>
                  <a:cubicBezTo>
                    <a:pt x="2535079" y="230029"/>
                    <a:pt x="2534126" y="221456"/>
                    <a:pt x="2534126" y="221456"/>
                  </a:cubicBezTo>
                  <a:cubicBezTo>
                    <a:pt x="2534126" y="221456"/>
                    <a:pt x="2534126" y="230029"/>
                    <a:pt x="2533174" y="244316"/>
                  </a:cubicBezTo>
                  <a:cubicBezTo>
                    <a:pt x="2533174" y="246221"/>
                    <a:pt x="2533174" y="249079"/>
                    <a:pt x="2533174" y="250984"/>
                  </a:cubicBezTo>
                  <a:cubicBezTo>
                    <a:pt x="2533174" y="249079"/>
                    <a:pt x="2532221" y="247174"/>
                    <a:pt x="2532221" y="245269"/>
                  </a:cubicBezTo>
                  <a:cubicBezTo>
                    <a:pt x="2529364" y="233839"/>
                    <a:pt x="2527459" y="223361"/>
                    <a:pt x="2524601" y="213836"/>
                  </a:cubicBezTo>
                  <a:cubicBezTo>
                    <a:pt x="2521744" y="204311"/>
                    <a:pt x="2519839" y="196691"/>
                    <a:pt x="2517934" y="190024"/>
                  </a:cubicBezTo>
                  <a:cubicBezTo>
                    <a:pt x="2513171" y="176689"/>
                    <a:pt x="2511266" y="169069"/>
                    <a:pt x="2511266" y="169069"/>
                  </a:cubicBezTo>
                  <a:cubicBezTo>
                    <a:pt x="2511266" y="169069"/>
                    <a:pt x="2512219" y="176689"/>
                    <a:pt x="2514124" y="190976"/>
                  </a:cubicBezTo>
                  <a:cubicBezTo>
                    <a:pt x="2515076" y="197644"/>
                    <a:pt x="2516029" y="206216"/>
                    <a:pt x="2516981" y="215741"/>
                  </a:cubicBezTo>
                  <a:cubicBezTo>
                    <a:pt x="2517934" y="225266"/>
                    <a:pt x="2518886" y="235744"/>
                    <a:pt x="2520791" y="248126"/>
                  </a:cubicBezTo>
                  <a:cubicBezTo>
                    <a:pt x="2521744" y="257651"/>
                    <a:pt x="2522696" y="267176"/>
                    <a:pt x="2523649" y="277654"/>
                  </a:cubicBezTo>
                  <a:cubicBezTo>
                    <a:pt x="2522696" y="279559"/>
                    <a:pt x="2521744" y="281464"/>
                    <a:pt x="2521744" y="282416"/>
                  </a:cubicBezTo>
                  <a:cubicBezTo>
                    <a:pt x="2519839" y="274796"/>
                    <a:pt x="2517934" y="269081"/>
                    <a:pt x="2516981" y="263366"/>
                  </a:cubicBezTo>
                  <a:cubicBezTo>
                    <a:pt x="2513171" y="250031"/>
                    <a:pt x="2511266" y="243364"/>
                    <a:pt x="2511266" y="243364"/>
                  </a:cubicBezTo>
                  <a:cubicBezTo>
                    <a:pt x="2511266" y="243364"/>
                    <a:pt x="2512219" y="250984"/>
                    <a:pt x="2513171" y="264319"/>
                  </a:cubicBezTo>
                  <a:cubicBezTo>
                    <a:pt x="2513171" y="268129"/>
                    <a:pt x="2514124" y="272891"/>
                    <a:pt x="2514124" y="277654"/>
                  </a:cubicBezTo>
                  <a:cubicBezTo>
                    <a:pt x="2510314" y="269081"/>
                    <a:pt x="2507456" y="262414"/>
                    <a:pt x="2504599" y="256699"/>
                  </a:cubicBezTo>
                  <a:cubicBezTo>
                    <a:pt x="2504599" y="254794"/>
                    <a:pt x="2504599" y="253841"/>
                    <a:pt x="2504599" y="253841"/>
                  </a:cubicBezTo>
                  <a:cubicBezTo>
                    <a:pt x="2504599" y="253841"/>
                    <a:pt x="2504599" y="254794"/>
                    <a:pt x="2503646" y="255746"/>
                  </a:cubicBezTo>
                  <a:cubicBezTo>
                    <a:pt x="2499836" y="248126"/>
                    <a:pt x="2497931" y="243364"/>
                    <a:pt x="2497931" y="243364"/>
                  </a:cubicBezTo>
                  <a:cubicBezTo>
                    <a:pt x="2497931" y="243364"/>
                    <a:pt x="2499836" y="249079"/>
                    <a:pt x="2502694" y="259556"/>
                  </a:cubicBezTo>
                  <a:cubicBezTo>
                    <a:pt x="2501741" y="261461"/>
                    <a:pt x="2500789" y="264319"/>
                    <a:pt x="2499836" y="267176"/>
                  </a:cubicBezTo>
                  <a:cubicBezTo>
                    <a:pt x="2499836" y="268129"/>
                    <a:pt x="2498884" y="269081"/>
                    <a:pt x="2498884" y="270034"/>
                  </a:cubicBezTo>
                  <a:cubicBezTo>
                    <a:pt x="2496979" y="253841"/>
                    <a:pt x="2496026" y="237649"/>
                    <a:pt x="2494121" y="223361"/>
                  </a:cubicBezTo>
                  <a:cubicBezTo>
                    <a:pt x="2495074" y="222409"/>
                    <a:pt x="2495074" y="221456"/>
                    <a:pt x="2496026" y="220504"/>
                  </a:cubicBezTo>
                  <a:cubicBezTo>
                    <a:pt x="2500789" y="212884"/>
                    <a:pt x="2504599" y="207169"/>
                    <a:pt x="2506504" y="203359"/>
                  </a:cubicBezTo>
                  <a:cubicBezTo>
                    <a:pt x="2509361" y="199549"/>
                    <a:pt x="2510314" y="197644"/>
                    <a:pt x="2510314" y="197644"/>
                  </a:cubicBezTo>
                  <a:cubicBezTo>
                    <a:pt x="2510314" y="197644"/>
                    <a:pt x="2508409" y="199549"/>
                    <a:pt x="2505551" y="203359"/>
                  </a:cubicBezTo>
                  <a:cubicBezTo>
                    <a:pt x="2502694" y="206216"/>
                    <a:pt x="2497931" y="210979"/>
                    <a:pt x="2493169" y="217646"/>
                  </a:cubicBezTo>
                  <a:cubicBezTo>
                    <a:pt x="2493169" y="217646"/>
                    <a:pt x="2493169" y="216694"/>
                    <a:pt x="2493169" y="216694"/>
                  </a:cubicBezTo>
                  <a:cubicBezTo>
                    <a:pt x="2492216" y="210026"/>
                    <a:pt x="2492216" y="203359"/>
                    <a:pt x="2491264" y="196691"/>
                  </a:cubicBezTo>
                  <a:cubicBezTo>
                    <a:pt x="2497931" y="188119"/>
                    <a:pt x="2501741" y="183356"/>
                    <a:pt x="2501741" y="183356"/>
                  </a:cubicBezTo>
                  <a:cubicBezTo>
                    <a:pt x="2501741" y="183356"/>
                    <a:pt x="2497931" y="187166"/>
                    <a:pt x="2490311" y="192881"/>
                  </a:cubicBezTo>
                  <a:cubicBezTo>
                    <a:pt x="2489359" y="187166"/>
                    <a:pt x="2489359" y="181451"/>
                    <a:pt x="2489359" y="176689"/>
                  </a:cubicBezTo>
                  <a:cubicBezTo>
                    <a:pt x="2492216" y="171926"/>
                    <a:pt x="2495074" y="168116"/>
                    <a:pt x="2497931" y="165259"/>
                  </a:cubicBezTo>
                  <a:cubicBezTo>
                    <a:pt x="2500789" y="161449"/>
                    <a:pt x="2502694" y="159544"/>
                    <a:pt x="2502694" y="159544"/>
                  </a:cubicBezTo>
                  <a:cubicBezTo>
                    <a:pt x="2502694" y="159544"/>
                    <a:pt x="2500789" y="161449"/>
                    <a:pt x="2496979" y="164306"/>
                  </a:cubicBezTo>
                  <a:cubicBezTo>
                    <a:pt x="2495074" y="166211"/>
                    <a:pt x="2492216" y="169069"/>
                    <a:pt x="2489359" y="171926"/>
                  </a:cubicBezTo>
                  <a:cubicBezTo>
                    <a:pt x="2489359" y="165259"/>
                    <a:pt x="2488406" y="158591"/>
                    <a:pt x="2488406" y="153829"/>
                  </a:cubicBezTo>
                  <a:cubicBezTo>
                    <a:pt x="2488406" y="146209"/>
                    <a:pt x="2487454" y="139541"/>
                    <a:pt x="2487454" y="135731"/>
                  </a:cubicBezTo>
                  <a:cubicBezTo>
                    <a:pt x="2491264" y="129064"/>
                    <a:pt x="2494121" y="125254"/>
                    <a:pt x="2494121" y="125254"/>
                  </a:cubicBezTo>
                  <a:cubicBezTo>
                    <a:pt x="2494121" y="125254"/>
                    <a:pt x="2492216" y="128111"/>
                    <a:pt x="2487454" y="132874"/>
                  </a:cubicBezTo>
                  <a:cubicBezTo>
                    <a:pt x="2487454" y="130969"/>
                    <a:pt x="2487454" y="129064"/>
                    <a:pt x="2487454" y="129064"/>
                  </a:cubicBezTo>
                  <a:cubicBezTo>
                    <a:pt x="2487454" y="129064"/>
                    <a:pt x="2487454" y="130969"/>
                    <a:pt x="2486501" y="132874"/>
                  </a:cubicBezTo>
                  <a:cubicBezTo>
                    <a:pt x="2483644" y="136684"/>
                    <a:pt x="2479834" y="140494"/>
                    <a:pt x="2475071" y="146209"/>
                  </a:cubicBezTo>
                  <a:cubicBezTo>
                    <a:pt x="2469356" y="152876"/>
                    <a:pt x="2462689" y="161449"/>
                    <a:pt x="2455069" y="171926"/>
                  </a:cubicBezTo>
                  <a:cubicBezTo>
                    <a:pt x="2451259" y="176689"/>
                    <a:pt x="2447449" y="182404"/>
                    <a:pt x="2442686" y="188119"/>
                  </a:cubicBezTo>
                  <a:cubicBezTo>
                    <a:pt x="2439829" y="192881"/>
                    <a:pt x="2436019" y="197644"/>
                    <a:pt x="2433161" y="203359"/>
                  </a:cubicBezTo>
                  <a:cubicBezTo>
                    <a:pt x="2433161" y="199549"/>
                    <a:pt x="2432209" y="195739"/>
                    <a:pt x="2432209" y="191929"/>
                  </a:cubicBezTo>
                  <a:cubicBezTo>
                    <a:pt x="2428399" y="158591"/>
                    <a:pt x="2426494" y="130969"/>
                    <a:pt x="2425541" y="110966"/>
                  </a:cubicBezTo>
                  <a:cubicBezTo>
                    <a:pt x="2425541" y="101441"/>
                    <a:pt x="2424589" y="93821"/>
                    <a:pt x="2424589" y="88106"/>
                  </a:cubicBezTo>
                  <a:cubicBezTo>
                    <a:pt x="2424589" y="82391"/>
                    <a:pt x="2424589" y="80486"/>
                    <a:pt x="2424589" y="80486"/>
                  </a:cubicBezTo>
                  <a:cubicBezTo>
                    <a:pt x="2424589" y="80486"/>
                    <a:pt x="2424589" y="83344"/>
                    <a:pt x="2423636" y="88106"/>
                  </a:cubicBezTo>
                  <a:cubicBezTo>
                    <a:pt x="2422684" y="92869"/>
                    <a:pt x="2422684" y="101441"/>
                    <a:pt x="2421731" y="110966"/>
                  </a:cubicBezTo>
                  <a:cubicBezTo>
                    <a:pt x="2420779" y="120491"/>
                    <a:pt x="2420779" y="132874"/>
                    <a:pt x="2420779" y="146209"/>
                  </a:cubicBezTo>
                  <a:cubicBezTo>
                    <a:pt x="2420779" y="159544"/>
                    <a:pt x="2420779" y="175736"/>
                    <a:pt x="2421731" y="191929"/>
                  </a:cubicBezTo>
                  <a:cubicBezTo>
                    <a:pt x="2421731" y="200501"/>
                    <a:pt x="2422684" y="210026"/>
                    <a:pt x="2422684" y="220504"/>
                  </a:cubicBezTo>
                  <a:cubicBezTo>
                    <a:pt x="2416969" y="230029"/>
                    <a:pt x="2411254" y="239554"/>
                    <a:pt x="2405539" y="250031"/>
                  </a:cubicBezTo>
                  <a:cubicBezTo>
                    <a:pt x="2404586" y="251936"/>
                    <a:pt x="2403634" y="254794"/>
                    <a:pt x="2401729" y="256699"/>
                  </a:cubicBezTo>
                  <a:cubicBezTo>
                    <a:pt x="2401729" y="256699"/>
                    <a:pt x="2400776" y="255746"/>
                    <a:pt x="2400776" y="255746"/>
                  </a:cubicBezTo>
                  <a:cubicBezTo>
                    <a:pt x="2397919" y="247174"/>
                    <a:pt x="2395061" y="239554"/>
                    <a:pt x="2392204" y="233839"/>
                  </a:cubicBezTo>
                  <a:cubicBezTo>
                    <a:pt x="2389346" y="208121"/>
                    <a:pt x="2386489" y="186214"/>
                    <a:pt x="2385536" y="170974"/>
                  </a:cubicBezTo>
                  <a:cubicBezTo>
                    <a:pt x="2384584" y="162401"/>
                    <a:pt x="2383631" y="155734"/>
                    <a:pt x="2382679" y="150971"/>
                  </a:cubicBezTo>
                  <a:cubicBezTo>
                    <a:pt x="2383631" y="147161"/>
                    <a:pt x="2384584" y="144304"/>
                    <a:pt x="2384584" y="140494"/>
                  </a:cubicBezTo>
                  <a:cubicBezTo>
                    <a:pt x="2384584" y="138589"/>
                    <a:pt x="2383631" y="137636"/>
                    <a:pt x="2382679" y="135731"/>
                  </a:cubicBezTo>
                  <a:cubicBezTo>
                    <a:pt x="2385536" y="129064"/>
                    <a:pt x="2388394" y="121444"/>
                    <a:pt x="2390299" y="114776"/>
                  </a:cubicBezTo>
                  <a:cubicBezTo>
                    <a:pt x="2413159" y="53816"/>
                    <a:pt x="2427446" y="12859"/>
                    <a:pt x="2427446" y="12859"/>
                  </a:cubicBezTo>
                  <a:cubicBezTo>
                    <a:pt x="2427446" y="12859"/>
                    <a:pt x="2407444" y="50959"/>
                    <a:pt x="2380774" y="110014"/>
                  </a:cubicBezTo>
                  <a:cubicBezTo>
                    <a:pt x="2374106" y="124301"/>
                    <a:pt x="2366486" y="140494"/>
                    <a:pt x="2358866" y="157639"/>
                  </a:cubicBezTo>
                  <a:cubicBezTo>
                    <a:pt x="2357914" y="160496"/>
                    <a:pt x="2356009" y="163354"/>
                    <a:pt x="2355056" y="166211"/>
                  </a:cubicBezTo>
                  <a:cubicBezTo>
                    <a:pt x="2356009" y="162401"/>
                    <a:pt x="2356961" y="158591"/>
                    <a:pt x="2357914" y="155734"/>
                  </a:cubicBezTo>
                  <a:cubicBezTo>
                    <a:pt x="2360771" y="141446"/>
                    <a:pt x="2362676" y="132874"/>
                    <a:pt x="2362676" y="132874"/>
                  </a:cubicBezTo>
                  <a:cubicBezTo>
                    <a:pt x="2362676" y="132874"/>
                    <a:pt x="2359819" y="140494"/>
                    <a:pt x="2354104" y="154781"/>
                  </a:cubicBezTo>
                  <a:cubicBezTo>
                    <a:pt x="2351246" y="161449"/>
                    <a:pt x="2348389" y="170021"/>
                    <a:pt x="2344579" y="179546"/>
                  </a:cubicBezTo>
                  <a:cubicBezTo>
                    <a:pt x="2340769" y="189071"/>
                    <a:pt x="2336959" y="200501"/>
                    <a:pt x="2334101" y="211931"/>
                  </a:cubicBezTo>
                  <a:cubicBezTo>
                    <a:pt x="2334101" y="211931"/>
                    <a:pt x="2334101" y="211931"/>
                    <a:pt x="2334101" y="211931"/>
                  </a:cubicBezTo>
                  <a:cubicBezTo>
                    <a:pt x="2336006" y="197644"/>
                    <a:pt x="2338864" y="184309"/>
                    <a:pt x="2340769" y="171926"/>
                  </a:cubicBezTo>
                  <a:cubicBezTo>
                    <a:pt x="2343626" y="156686"/>
                    <a:pt x="2344579" y="143351"/>
                    <a:pt x="2347436" y="130969"/>
                  </a:cubicBezTo>
                  <a:cubicBezTo>
                    <a:pt x="2350294" y="118586"/>
                    <a:pt x="2352199" y="108109"/>
                    <a:pt x="2354104" y="99536"/>
                  </a:cubicBezTo>
                  <a:cubicBezTo>
                    <a:pt x="2357914" y="82391"/>
                    <a:pt x="2358866" y="71914"/>
                    <a:pt x="2358866" y="71914"/>
                  </a:cubicBezTo>
                  <a:cubicBezTo>
                    <a:pt x="2358866" y="71914"/>
                    <a:pt x="2355056" y="81439"/>
                    <a:pt x="2350294" y="98584"/>
                  </a:cubicBezTo>
                  <a:cubicBezTo>
                    <a:pt x="2347436" y="107156"/>
                    <a:pt x="2344579" y="117634"/>
                    <a:pt x="2340769" y="129064"/>
                  </a:cubicBezTo>
                  <a:cubicBezTo>
                    <a:pt x="2336959" y="140494"/>
                    <a:pt x="2333149" y="154781"/>
                    <a:pt x="2330291" y="170021"/>
                  </a:cubicBezTo>
                  <a:cubicBezTo>
                    <a:pt x="2328386" y="177641"/>
                    <a:pt x="2326481" y="185261"/>
                    <a:pt x="2324576" y="193834"/>
                  </a:cubicBezTo>
                  <a:cubicBezTo>
                    <a:pt x="2323624" y="190976"/>
                    <a:pt x="2321719" y="188119"/>
                    <a:pt x="2320766" y="185261"/>
                  </a:cubicBezTo>
                  <a:cubicBezTo>
                    <a:pt x="2324576" y="168116"/>
                    <a:pt x="2326481" y="157639"/>
                    <a:pt x="2326481" y="157639"/>
                  </a:cubicBezTo>
                  <a:cubicBezTo>
                    <a:pt x="2326481" y="157639"/>
                    <a:pt x="2323624" y="165259"/>
                    <a:pt x="2318861" y="179546"/>
                  </a:cubicBezTo>
                  <a:cubicBezTo>
                    <a:pt x="2316004" y="173831"/>
                    <a:pt x="2315051" y="170974"/>
                    <a:pt x="2315051" y="170974"/>
                  </a:cubicBezTo>
                  <a:cubicBezTo>
                    <a:pt x="2315051" y="170974"/>
                    <a:pt x="2316004" y="174784"/>
                    <a:pt x="2317909" y="181451"/>
                  </a:cubicBezTo>
                  <a:cubicBezTo>
                    <a:pt x="2316956" y="185261"/>
                    <a:pt x="2315051" y="189071"/>
                    <a:pt x="2313146" y="193834"/>
                  </a:cubicBezTo>
                  <a:cubicBezTo>
                    <a:pt x="2312194" y="192881"/>
                    <a:pt x="2312194" y="191929"/>
                    <a:pt x="2311241" y="190976"/>
                  </a:cubicBezTo>
                  <a:cubicBezTo>
                    <a:pt x="2314099" y="161449"/>
                    <a:pt x="2314099" y="141446"/>
                    <a:pt x="2314099" y="141446"/>
                  </a:cubicBezTo>
                  <a:cubicBezTo>
                    <a:pt x="2314099" y="141446"/>
                    <a:pt x="2306479" y="165259"/>
                    <a:pt x="2298859" y="202406"/>
                  </a:cubicBezTo>
                  <a:cubicBezTo>
                    <a:pt x="2296954" y="211931"/>
                    <a:pt x="2294096" y="221456"/>
                    <a:pt x="2292191" y="231934"/>
                  </a:cubicBezTo>
                  <a:cubicBezTo>
                    <a:pt x="2291239" y="237649"/>
                    <a:pt x="2290286" y="244316"/>
                    <a:pt x="2289334" y="250031"/>
                  </a:cubicBezTo>
                  <a:cubicBezTo>
                    <a:pt x="2288381" y="252889"/>
                    <a:pt x="2287429" y="255746"/>
                    <a:pt x="2285524" y="259556"/>
                  </a:cubicBezTo>
                  <a:cubicBezTo>
                    <a:pt x="2282666" y="267176"/>
                    <a:pt x="2279809" y="276701"/>
                    <a:pt x="2275999" y="287179"/>
                  </a:cubicBezTo>
                  <a:cubicBezTo>
                    <a:pt x="2275999" y="287179"/>
                    <a:pt x="2275999" y="288131"/>
                    <a:pt x="2275999" y="288131"/>
                  </a:cubicBezTo>
                  <a:cubicBezTo>
                    <a:pt x="2275999" y="286226"/>
                    <a:pt x="2275999" y="284321"/>
                    <a:pt x="2275999" y="282416"/>
                  </a:cubicBezTo>
                  <a:cubicBezTo>
                    <a:pt x="2276951" y="271939"/>
                    <a:pt x="2276951" y="265271"/>
                    <a:pt x="2276951" y="265271"/>
                  </a:cubicBezTo>
                  <a:cubicBezTo>
                    <a:pt x="2276951" y="265271"/>
                    <a:pt x="2275046" y="270986"/>
                    <a:pt x="2272189" y="281464"/>
                  </a:cubicBezTo>
                  <a:cubicBezTo>
                    <a:pt x="2271236" y="284321"/>
                    <a:pt x="2270284" y="287179"/>
                    <a:pt x="2269331" y="290989"/>
                  </a:cubicBezTo>
                  <a:cubicBezTo>
                    <a:pt x="2269331" y="290989"/>
                    <a:pt x="2269331" y="290989"/>
                    <a:pt x="2269331" y="290989"/>
                  </a:cubicBezTo>
                  <a:cubicBezTo>
                    <a:pt x="2269331" y="280511"/>
                    <a:pt x="2268379" y="270034"/>
                    <a:pt x="2269331" y="261461"/>
                  </a:cubicBezTo>
                  <a:cubicBezTo>
                    <a:pt x="2270284" y="252889"/>
                    <a:pt x="2269331" y="245269"/>
                    <a:pt x="2270284" y="238601"/>
                  </a:cubicBezTo>
                  <a:cubicBezTo>
                    <a:pt x="2271236" y="232886"/>
                    <a:pt x="2271236" y="228124"/>
                    <a:pt x="2272189" y="225266"/>
                  </a:cubicBezTo>
                  <a:cubicBezTo>
                    <a:pt x="2275046" y="215741"/>
                    <a:pt x="2275999" y="210979"/>
                    <a:pt x="2275999" y="210979"/>
                  </a:cubicBezTo>
                  <a:cubicBezTo>
                    <a:pt x="2275999" y="210979"/>
                    <a:pt x="2272189" y="218599"/>
                    <a:pt x="2266474" y="232886"/>
                  </a:cubicBezTo>
                  <a:cubicBezTo>
                    <a:pt x="2267426" y="230029"/>
                    <a:pt x="2267426" y="228124"/>
                    <a:pt x="2267426" y="228124"/>
                  </a:cubicBezTo>
                  <a:cubicBezTo>
                    <a:pt x="2267426" y="228124"/>
                    <a:pt x="2265521" y="230981"/>
                    <a:pt x="2263616" y="235744"/>
                  </a:cubicBezTo>
                  <a:cubicBezTo>
                    <a:pt x="2264569" y="226219"/>
                    <a:pt x="2265521" y="220504"/>
                    <a:pt x="2265521" y="220504"/>
                  </a:cubicBezTo>
                  <a:cubicBezTo>
                    <a:pt x="2265521" y="220504"/>
                    <a:pt x="2262664" y="230029"/>
                    <a:pt x="2256949" y="247174"/>
                  </a:cubicBezTo>
                  <a:cubicBezTo>
                    <a:pt x="2255044" y="250984"/>
                    <a:pt x="2253139" y="253841"/>
                    <a:pt x="2252186" y="258604"/>
                  </a:cubicBezTo>
                  <a:cubicBezTo>
                    <a:pt x="2251234" y="259556"/>
                    <a:pt x="2251234" y="260509"/>
                    <a:pt x="2250281" y="262414"/>
                  </a:cubicBezTo>
                  <a:cubicBezTo>
                    <a:pt x="2252186" y="255746"/>
                    <a:pt x="2253139" y="249079"/>
                    <a:pt x="2255044" y="243364"/>
                  </a:cubicBezTo>
                  <a:cubicBezTo>
                    <a:pt x="2260759" y="216694"/>
                    <a:pt x="2264569" y="194786"/>
                    <a:pt x="2267426" y="178594"/>
                  </a:cubicBezTo>
                  <a:cubicBezTo>
                    <a:pt x="2269331" y="163354"/>
                    <a:pt x="2270284" y="153829"/>
                    <a:pt x="2270284" y="153829"/>
                  </a:cubicBezTo>
                  <a:cubicBezTo>
                    <a:pt x="2270284" y="153829"/>
                    <a:pt x="2267426" y="162401"/>
                    <a:pt x="2262664" y="177641"/>
                  </a:cubicBezTo>
                  <a:cubicBezTo>
                    <a:pt x="2260759" y="185261"/>
                    <a:pt x="2257901" y="194786"/>
                    <a:pt x="2254091" y="205264"/>
                  </a:cubicBezTo>
                  <a:cubicBezTo>
                    <a:pt x="2251234" y="212884"/>
                    <a:pt x="2249329" y="221456"/>
                    <a:pt x="2246471" y="230981"/>
                  </a:cubicBezTo>
                  <a:cubicBezTo>
                    <a:pt x="2244566" y="234791"/>
                    <a:pt x="2243614" y="239554"/>
                    <a:pt x="2241709" y="244316"/>
                  </a:cubicBezTo>
                  <a:cubicBezTo>
                    <a:pt x="2240756" y="240506"/>
                    <a:pt x="2239804" y="236696"/>
                    <a:pt x="2239804" y="233839"/>
                  </a:cubicBezTo>
                  <a:cubicBezTo>
                    <a:pt x="2235994" y="215741"/>
                    <a:pt x="2233136" y="205264"/>
                    <a:pt x="2233136" y="205264"/>
                  </a:cubicBezTo>
                  <a:cubicBezTo>
                    <a:pt x="2233136" y="205264"/>
                    <a:pt x="2235041" y="224314"/>
                    <a:pt x="2237899" y="255746"/>
                  </a:cubicBezTo>
                  <a:cubicBezTo>
                    <a:pt x="2236946" y="259556"/>
                    <a:pt x="2235041" y="264319"/>
                    <a:pt x="2234089" y="269081"/>
                  </a:cubicBezTo>
                  <a:cubicBezTo>
                    <a:pt x="2234089" y="269081"/>
                    <a:pt x="2233136" y="270034"/>
                    <a:pt x="2233136" y="270034"/>
                  </a:cubicBezTo>
                  <a:cubicBezTo>
                    <a:pt x="2233136" y="268129"/>
                    <a:pt x="2233136" y="265271"/>
                    <a:pt x="2233136" y="263366"/>
                  </a:cubicBezTo>
                  <a:cubicBezTo>
                    <a:pt x="2233136" y="253841"/>
                    <a:pt x="2232184" y="244316"/>
                    <a:pt x="2231231" y="234791"/>
                  </a:cubicBezTo>
                  <a:cubicBezTo>
                    <a:pt x="2230279" y="225266"/>
                    <a:pt x="2229326" y="216694"/>
                    <a:pt x="2228374" y="207169"/>
                  </a:cubicBezTo>
                  <a:cubicBezTo>
                    <a:pt x="2229326" y="198596"/>
                    <a:pt x="2230279" y="193834"/>
                    <a:pt x="2230279" y="193834"/>
                  </a:cubicBezTo>
                  <a:cubicBezTo>
                    <a:pt x="2230279" y="193834"/>
                    <a:pt x="2229326" y="197644"/>
                    <a:pt x="2226469" y="204311"/>
                  </a:cubicBezTo>
                  <a:cubicBezTo>
                    <a:pt x="2225516" y="202406"/>
                    <a:pt x="2224564" y="201454"/>
                    <a:pt x="2222659" y="200501"/>
                  </a:cubicBezTo>
                  <a:cubicBezTo>
                    <a:pt x="2221706" y="200501"/>
                    <a:pt x="2221706" y="199549"/>
                    <a:pt x="2220754" y="199549"/>
                  </a:cubicBezTo>
                  <a:cubicBezTo>
                    <a:pt x="2219801" y="199549"/>
                    <a:pt x="2218849" y="199549"/>
                    <a:pt x="2217896" y="199549"/>
                  </a:cubicBezTo>
                  <a:cubicBezTo>
                    <a:pt x="2215991" y="200501"/>
                    <a:pt x="2215991" y="201454"/>
                    <a:pt x="2215039" y="202406"/>
                  </a:cubicBezTo>
                  <a:cubicBezTo>
                    <a:pt x="2213134" y="206216"/>
                    <a:pt x="2213134" y="210979"/>
                    <a:pt x="2213134" y="214789"/>
                  </a:cubicBezTo>
                  <a:cubicBezTo>
                    <a:pt x="2214086" y="210979"/>
                    <a:pt x="2215039" y="206216"/>
                    <a:pt x="2217896" y="203359"/>
                  </a:cubicBezTo>
                  <a:cubicBezTo>
                    <a:pt x="2218849" y="202406"/>
                    <a:pt x="2218849" y="201454"/>
                    <a:pt x="2219801" y="201454"/>
                  </a:cubicBezTo>
                  <a:cubicBezTo>
                    <a:pt x="2219801" y="201454"/>
                    <a:pt x="2220754" y="201454"/>
                    <a:pt x="2220754" y="202406"/>
                  </a:cubicBezTo>
                  <a:cubicBezTo>
                    <a:pt x="2221706" y="203359"/>
                    <a:pt x="2222659" y="205264"/>
                    <a:pt x="2223611" y="207169"/>
                  </a:cubicBezTo>
                  <a:lnTo>
                    <a:pt x="2223611" y="215741"/>
                  </a:lnTo>
                  <a:cubicBezTo>
                    <a:pt x="2223611" y="215741"/>
                    <a:pt x="2223611" y="215741"/>
                    <a:pt x="2223611" y="215741"/>
                  </a:cubicBezTo>
                  <a:cubicBezTo>
                    <a:pt x="2221706" y="222409"/>
                    <a:pt x="2218849" y="230981"/>
                    <a:pt x="2215991" y="241459"/>
                  </a:cubicBezTo>
                  <a:cubicBezTo>
                    <a:pt x="2213134" y="250984"/>
                    <a:pt x="2209324" y="262414"/>
                    <a:pt x="2206466" y="274796"/>
                  </a:cubicBezTo>
                  <a:cubicBezTo>
                    <a:pt x="2203609" y="287179"/>
                    <a:pt x="2199799" y="299561"/>
                    <a:pt x="2196941" y="313849"/>
                  </a:cubicBezTo>
                  <a:cubicBezTo>
                    <a:pt x="2195989" y="308134"/>
                    <a:pt x="2195989" y="305276"/>
                    <a:pt x="2195989" y="305276"/>
                  </a:cubicBezTo>
                  <a:cubicBezTo>
                    <a:pt x="2195989" y="305276"/>
                    <a:pt x="2195989" y="310039"/>
                    <a:pt x="2195036" y="317659"/>
                  </a:cubicBezTo>
                  <a:cubicBezTo>
                    <a:pt x="2194084" y="315754"/>
                    <a:pt x="2193131" y="314801"/>
                    <a:pt x="2193131" y="314801"/>
                  </a:cubicBezTo>
                  <a:cubicBezTo>
                    <a:pt x="2193131" y="314801"/>
                    <a:pt x="2194084" y="315754"/>
                    <a:pt x="2195036" y="318611"/>
                  </a:cubicBezTo>
                  <a:cubicBezTo>
                    <a:pt x="2195036" y="320516"/>
                    <a:pt x="2195036" y="321469"/>
                    <a:pt x="2195036" y="323374"/>
                  </a:cubicBezTo>
                  <a:cubicBezTo>
                    <a:pt x="2194084" y="327184"/>
                    <a:pt x="2193131" y="330994"/>
                    <a:pt x="2192179" y="334804"/>
                  </a:cubicBezTo>
                  <a:cubicBezTo>
                    <a:pt x="2191226" y="332899"/>
                    <a:pt x="2191226" y="331946"/>
                    <a:pt x="2190274" y="330994"/>
                  </a:cubicBezTo>
                  <a:cubicBezTo>
                    <a:pt x="2190274" y="330041"/>
                    <a:pt x="2191226" y="330041"/>
                    <a:pt x="2191226" y="330041"/>
                  </a:cubicBezTo>
                  <a:cubicBezTo>
                    <a:pt x="2191226" y="330041"/>
                    <a:pt x="2191226" y="330041"/>
                    <a:pt x="2190274" y="330994"/>
                  </a:cubicBezTo>
                  <a:cubicBezTo>
                    <a:pt x="2189321" y="328136"/>
                    <a:pt x="2188369" y="326231"/>
                    <a:pt x="2188369" y="326231"/>
                  </a:cubicBezTo>
                  <a:cubicBezTo>
                    <a:pt x="2188369" y="326231"/>
                    <a:pt x="2188369" y="328136"/>
                    <a:pt x="2189321" y="331946"/>
                  </a:cubicBezTo>
                  <a:cubicBezTo>
                    <a:pt x="2189321" y="331946"/>
                    <a:pt x="2188369" y="332899"/>
                    <a:pt x="2188369" y="332899"/>
                  </a:cubicBezTo>
                  <a:cubicBezTo>
                    <a:pt x="2186464" y="321469"/>
                    <a:pt x="2185511" y="315754"/>
                    <a:pt x="2185511" y="315754"/>
                  </a:cubicBezTo>
                  <a:cubicBezTo>
                    <a:pt x="2185511" y="315754"/>
                    <a:pt x="2185511" y="323374"/>
                    <a:pt x="2184559" y="336709"/>
                  </a:cubicBezTo>
                  <a:cubicBezTo>
                    <a:pt x="2184559" y="336709"/>
                    <a:pt x="2184559" y="336709"/>
                    <a:pt x="2184559" y="337661"/>
                  </a:cubicBezTo>
                  <a:cubicBezTo>
                    <a:pt x="2183606" y="339566"/>
                    <a:pt x="2181701" y="341471"/>
                    <a:pt x="2179796" y="343376"/>
                  </a:cubicBezTo>
                  <a:cubicBezTo>
                    <a:pt x="2179796" y="342424"/>
                    <a:pt x="2178844" y="341471"/>
                    <a:pt x="2178844" y="340519"/>
                  </a:cubicBezTo>
                  <a:cubicBezTo>
                    <a:pt x="2183606" y="320516"/>
                    <a:pt x="2188369" y="301466"/>
                    <a:pt x="2192179" y="283369"/>
                  </a:cubicBezTo>
                  <a:cubicBezTo>
                    <a:pt x="2205514" y="228124"/>
                    <a:pt x="2212181" y="190024"/>
                    <a:pt x="2212181" y="190024"/>
                  </a:cubicBezTo>
                  <a:cubicBezTo>
                    <a:pt x="2212181" y="190024"/>
                    <a:pt x="2199799" y="222409"/>
                    <a:pt x="2183606" y="272891"/>
                  </a:cubicBezTo>
                  <a:cubicBezTo>
                    <a:pt x="2184559" y="266224"/>
                    <a:pt x="2186464" y="259556"/>
                    <a:pt x="2187416" y="253841"/>
                  </a:cubicBezTo>
                  <a:cubicBezTo>
                    <a:pt x="2189321" y="246221"/>
                    <a:pt x="2190274" y="239554"/>
                    <a:pt x="2192179" y="231934"/>
                  </a:cubicBezTo>
                  <a:cubicBezTo>
                    <a:pt x="2194084" y="224314"/>
                    <a:pt x="2195989" y="216694"/>
                    <a:pt x="2196941" y="210026"/>
                  </a:cubicBezTo>
                  <a:cubicBezTo>
                    <a:pt x="2197894" y="204311"/>
                    <a:pt x="2199799" y="198596"/>
                    <a:pt x="2200751" y="193834"/>
                  </a:cubicBezTo>
                  <a:cubicBezTo>
                    <a:pt x="2201704" y="189071"/>
                    <a:pt x="2203609" y="184309"/>
                    <a:pt x="2204561" y="179546"/>
                  </a:cubicBezTo>
                  <a:cubicBezTo>
                    <a:pt x="2207419" y="170021"/>
                    <a:pt x="2209324" y="162401"/>
                    <a:pt x="2211229" y="155734"/>
                  </a:cubicBezTo>
                  <a:cubicBezTo>
                    <a:pt x="2215039" y="142399"/>
                    <a:pt x="2217896" y="134779"/>
                    <a:pt x="2217896" y="134779"/>
                  </a:cubicBezTo>
                  <a:cubicBezTo>
                    <a:pt x="2217896" y="134779"/>
                    <a:pt x="2215039" y="139541"/>
                    <a:pt x="2211229" y="148114"/>
                  </a:cubicBezTo>
                  <a:cubicBezTo>
                    <a:pt x="2211229" y="148114"/>
                    <a:pt x="2211229" y="147161"/>
                    <a:pt x="2211229" y="147161"/>
                  </a:cubicBezTo>
                  <a:cubicBezTo>
                    <a:pt x="2213134" y="139541"/>
                    <a:pt x="2215039" y="131921"/>
                    <a:pt x="2216944" y="125254"/>
                  </a:cubicBezTo>
                  <a:cubicBezTo>
                    <a:pt x="2218849" y="118586"/>
                    <a:pt x="2220754" y="111919"/>
                    <a:pt x="2222659" y="105251"/>
                  </a:cubicBezTo>
                  <a:cubicBezTo>
                    <a:pt x="2226469" y="92869"/>
                    <a:pt x="2229326" y="81439"/>
                    <a:pt x="2233136" y="72866"/>
                  </a:cubicBezTo>
                  <a:cubicBezTo>
                    <a:pt x="2238851" y="54769"/>
                    <a:pt x="2242661" y="45244"/>
                    <a:pt x="2242661" y="45244"/>
                  </a:cubicBezTo>
                  <a:cubicBezTo>
                    <a:pt x="2242661" y="45244"/>
                    <a:pt x="2237899" y="54769"/>
                    <a:pt x="2229326" y="71914"/>
                  </a:cubicBezTo>
                  <a:cubicBezTo>
                    <a:pt x="2224564" y="80486"/>
                    <a:pt x="2220754" y="90964"/>
                    <a:pt x="2215991" y="103346"/>
                  </a:cubicBezTo>
                  <a:cubicBezTo>
                    <a:pt x="2213134" y="109061"/>
                    <a:pt x="2211229" y="115729"/>
                    <a:pt x="2208371" y="122396"/>
                  </a:cubicBezTo>
                  <a:cubicBezTo>
                    <a:pt x="2205514" y="129064"/>
                    <a:pt x="2203609" y="136684"/>
                    <a:pt x="2200751" y="144304"/>
                  </a:cubicBezTo>
                  <a:cubicBezTo>
                    <a:pt x="2195036" y="159544"/>
                    <a:pt x="2190274" y="176689"/>
                    <a:pt x="2184559" y="193834"/>
                  </a:cubicBezTo>
                  <a:cubicBezTo>
                    <a:pt x="2181701" y="204311"/>
                    <a:pt x="2177891" y="215741"/>
                    <a:pt x="2175034" y="228124"/>
                  </a:cubicBezTo>
                  <a:cubicBezTo>
                    <a:pt x="2175986" y="218599"/>
                    <a:pt x="2176939" y="210026"/>
                    <a:pt x="2177891" y="203359"/>
                  </a:cubicBezTo>
                  <a:cubicBezTo>
                    <a:pt x="2178844" y="198596"/>
                    <a:pt x="2178844" y="193834"/>
                    <a:pt x="2178844" y="190024"/>
                  </a:cubicBezTo>
                  <a:cubicBezTo>
                    <a:pt x="2179796" y="186214"/>
                    <a:pt x="2180749" y="184309"/>
                    <a:pt x="2180749" y="184309"/>
                  </a:cubicBezTo>
                  <a:cubicBezTo>
                    <a:pt x="2180749" y="184309"/>
                    <a:pt x="2179796" y="185261"/>
                    <a:pt x="2179796" y="187166"/>
                  </a:cubicBezTo>
                  <a:cubicBezTo>
                    <a:pt x="2180749" y="180499"/>
                    <a:pt x="2180749" y="176689"/>
                    <a:pt x="2180749" y="176689"/>
                  </a:cubicBezTo>
                  <a:cubicBezTo>
                    <a:pt x="2180749" y="176689"/>
                    <a:pt x="2178844" y="183356"/>
                    <a:pt x="2175986" y="194786"/>
                  </a:cubicBezTo>
                  <a:cubicBezTo>
                    <a:pt x="2174081" y="198596"/>
                    <a:pt x="2172176" y="202406"/>
                    <a:pt x="2170271" y="208121"/>
                  </a:cubicBezTo>
                  <a:cubicBezTo>
                    <a:pt x="2163604" y="223361"/>
                    <a:pt x="2155031" y="245269"/>
                    <a:pt x="2144554" y="271939"/>
                  </a:cubicBezTo>
                  <a:cubicBezTo>
                    <a:pt x="2141696" y="279559"/>
                    <a:pt x="2137886" y="288131"/>
                    <a:pt x="2135029" y="296704"/>
                  </a:cubicBezTo>
                  <a:cubicBezTo>
                    <a:pt x="2135029" y="296704"/>
                    <a:pt x="2135029" y="296704"/>
                    <a:pt x="2135029" y="295751"/>
                  </a:cubicBezTo>
                  <a:cubicBezTo>
                    <a:pt x="2133124" y="290989"/>
                    <a:pt x="2131219" y="286226"/>
                    <a:pt x="2129314" y="282416"/>
                  </a:cubicBezTo>
                  <a:cubicBezTo>
                    <a:pt x="2133124" y="261461"/>
                    <a:pt x="2135981" y="244316"/>
                    <a:pt x="2137886" y="231934"/>
                  </a:cubicBezTo>
                  <a:cubicBezTo>
                    <a:pt x="2139791" y="217646"/>
                    <a:pt x="2141696" y="210026"/>
                    <a:pt x="2141696" y="210026"/>
                  </a:cubicBezTo>
                  <a:cubicBezTo>
                    <a:pt x="2141696" y="210026"/>
                    <a:pt x="2138839" y="217646"/>
                    <a:pt x="2134076" y="230981"/>
                  </a:cubicBezTo>
                  <a:cubicBezTo>
                    <a:pt x="2131219" y="239554"/>
                    <a:pt x="2127409" y="250984"/>
                    <a:pt x="2123599" y="263366"/>
                  </a:cubicBezTo>
                  <a:cubicBezTo>
                    <a:pt x="2123599" y="260509"/>
                    <a:pt x="2122646" y="257651"/>
                    <a:pt x="2122646" y="253841"/>
                  </a:cubicBezTo>
                  <a:cubicBezTo>
                    <a:pt x="2120741" y="238601"/>
                    <a:pt x="2118836" y="225266"/>
                    <a:pt x="2117884" y="211931"/>
                  </a:cubicBezTo>
                  <a:cubicBezTo>
                    <a:pt x="2115979" y="198596"/>
                    <a:pt x="2114074" y="187166"/>
                    <a:pt x="2112169" y="176689"/>
                  </a:cubicBezTo>
                  <a:cubicBezTo>
                    <a:pt x="2110264" y="166211"/>
                    <a:pt x="2108359" y="157639"/>
                    <a:pt x="2107406" y="150019"/>
                  </a:cubicBezTo>
                  <a:cubicBezTo>
                    <a:pt x="2104549" y="134779"/>
                    <a:pt x="2102644" y="127159"/>
                    <a:pt x="2102644" y="127159"/>
                  </a:cubicBezTo>
                  <a:cubicBezTo>
                    <a:pt x="2102644" y="127159"/>
                    <a:pt x="2102644" y="135731"/>
                    <a:pt x="2103596" y="150971"/>
                  </a:cubicBezTo>
                  <a:cubicBezTo>
                    <a:pt x="2103596" y="155734"/>
                    <a:pt x="2104549" y="161449"/>
                    <a:pt x="2104549" y="168116"/>
                  </a:cubicBezTo>
                  <a:cubicBezTo>
                    <a:pt x="2104549" y="171926"/>
                    <a:pt x="2104549" y="176689"/>
                    <a:pt x="2104549" y="183356"/>
                  </a:cubicBezTo>
                  <a:cubicBezTo>
                    <a:pt x="2104549" y="190024"/>
                    <a:pt x="2105501" y="197644"/>
                    <a:pt x="2105501" y="207169"/>
                  </a:cubicBezTo>
                  <a:cubicBezTo>
                    <a:pt x="2105501" y="212884"/>
                    <a:pt x="2106454" y="218599"/>
                    <a:pt x="2106454" y="225266"/>
                  </a:cubicBezTo>
                  <a:cubicBezTo>
                    <a:pt x="2105501" y="224314"/>
                    <a:pt x="2105501" y="222409"/>
                    <a:pt x="2104549" y="221456"/>
                  </a:cubicBezTo>
                  <a:cubicBezTo>
                    <a:pt x="2104549" y="221456"/>
                    <a:pt x="2104549" y="221456"/>
                    <a:pt x="2104549" y="221456"/>
                  </a:cubicBezTo>
                  <a:lnTo>
                    <a:pt x="2104549" y="221456"/>
                  </a:lnTo>
                  <a:cubicBezTo>
                    <a:pt x="2103596" y="219551"/>
                    <a:pt x="2102644" y="217646"/>
                    <a:pt x="2102644" y="215741"/>
                  </a:cubicBezTo>
                  <a:cubicBezTo>
                    <a:pt x="2102644" y="211931"/>
                    <a:pt x="2101691" y="208121"/>
                    <a:pt x="2101691" y="205264"/>
                  </a:cubicBezTo>
                  <a:cubicBezTo>
                    <a:pt x="2100739" y="193834"/>
                    <a:pt x="2099786" y="184309"/>
                    <a:pt x="2098834" y="176689"/>
                  </a:cubicBezTo>
                  <a:cubicBezTo>
                    <a:pt x="2098834" y="173831"/>
                    <a:pt x="2097881" y="170974"/>
                    <a:pt x="2097881" y="168116"/>
                  </a:cubicBezTo>
                  <a:cubicBezTo>
                    <a:pt x="2100739" y="155734"/>
                    <a:pt x="2102644" y="149066"/>
                    <a:pt x="2102644" y="149066"/>
                  </a:cubicBezTo>
                  <a:cubicBezTo>
                    <a:pt x="2102644" y="149066"/>
                    <a:pt x="2100739" y="153829"/>
                    <a:pt x="2096929" y="162401"/>
                  </a:cubicBezTo>
                  <a:cubicBezTo>
                    <a:pt x="2095976" y="155734"/>
                    <a:pt x="2095024" y="151924"/>
                    <a:pt x="2095024" y="151924"/>
                  </a:cubicBezTo>
                  <a:cubicBezTo>
                    <a:pt x="2095024" y="151924"/>
                    <a:pt x="2095024" y="157639"/>
                    <a:pt x="2095024" y="167164"/>
                  </a:cubicBezTo>
                  <a:cubicBezTo>
                    <a:pt x="2088356" y="182404"/>
                    <a:pt x="2078831" y="206216"/>
                    <a:pt x="2066449" y="235744"/>
                  </a:cubicBezTo>
                  <a:cubicBezTo>
                    <a:pt x="2063591" y="243364"/>
                    <a:pt x="2060734" y="250984"/>
                    <a:pt x="2056924" y="259556"/>
                  </a:cubicBezTo>
                  <a:cubicBezTo>
                    <a:pt x="2061686" y="234791"/>
                    <a:pt x="2063591" y="219551"/>
                    <a:pt x="2063591" y="219551"/>
                  </a:cubicBezTo>
                  <a:cubicBezTo>
                    <a:pt x="2063591" y="219551"/>
                    <a:pt x="2058829" y="231934"/>
                    <a:pt x="2052161" y="252889"/>
                  </a:cubicBezTo>
                  <a:cubicBezTo>
                    <a:pt x="2051209" y="250984"/>
                    <a:pt x="2050256" y="249079"/>
                    <a:pt x="2050256" y="248126"/>
                  </a:cubicBezTo>
                  <a:cubicBezTo>
                    <a:pt x="2050256" y="238601"/>
                    <a:pt x="2050256" y="233839"/>
                    <a:pt x="2050256" y="233839"/>
                  </a:cubicBezTo>
                  <a:cubicBezTo>
                    <a:pt x="2050256" y="233839"/>
                    <a:pt x="2049304" y="237649"/>
                    <a:pt x="2048351" y="244316"/>
                  </a:cubicBezTo>
                  <a:cubicBezTo>
                    <a:pt x="2047399" y="241459"/>
                    <a:pt x="2046446" y="240506"/>
                    <a:pt x="2046446" y="240506"/>
                  </a:cubicBezTo>
                  <a:cubicBezTo>
                    <a:pt x="2046446" y="240506"/>
                    <a:pt x="2047399" y="242411"/>
                    <a:pt x="2047399" y="247174"/>
                  </a:cubicBezTo>
                  <a:cubicBezTo>
                    <a:pt x="2046446" y="251936"/>
                    <a:pt x="2045494" y="258604"/>
                    <a:pt x="2044541" y="266224"/>
                  </a:cubicBezTo>
                  <a:cubicBezTo>
                    <a:pt x="2044541" y="264319"/>
                    <a:pt x="2043589" y="261461"/>
                    <a:pt x="2043589" y="259556"/>
                  </a:cubicBezTo>
                  <a:cubicBezTo>
                    <a:pt x="2042636" y="255746"/>
                    <a:pt x="2042636" y="252889"/>
                    <a:pt x="2041684" y="249079"/>
                  </a:cubicBezTo>
                  <a:cubicBezTo>
                    <a:pt x="2046446" y="210026"/>
                    <a:pt x="2048351" y="184309"/>
                    <a:pt x="2048351" y="184309"/>
                  </a:cubicBezTo>
                  <a:cubicBezTo>
                    <a:pt x="2048351" y="184309"/>
                    <a:pt x="2044541" y="196691"/>
                    <a:pt x="2039779" y="216694"/>
                  </a:cubicBezTo>
                  <a:cubicBezTo>
                    <a:pt x="2038826" y="218599"/>
                    <a:pt x="2037874" y="220504"/>
                    <a:pt x="2036921" y="223361"/>
                  </a:cubicBezTo>
                  <a:cubicBezTo>
                    <a:pt x="2036921" y="221456"/>
                    <a:pt x="2035969" y="220504"/>
                    <a:pt x="2035969" y="218599"/>
                  </a:cubicBezTo>
                  <a:cubicBezTo>
                    <a:pt x="2034064" y="206216"/>
                    <a:pt x="2032159" y="195739"/>
                    <a:pt x="2031206" y="187166"/>
                  </a:cubicBezTo>
                  <a:cubicBezTo>
                    <a:pt x="2030254" y="179546"/>
                    <a:pt x="2029301" y="173831"/>
                    <a:pt x="2028349" y="169069"/>
                  </a:cubicBezTo>
                  <a:cubicBezTo>
                    <a:pt x="2030254" y="154781"/>
                    <a:pt x="2031206" y="147161"/>
                    <a:pt x="2031206" y="147161"/>
                  </a:cubicBezTo>
                  <a:cubicBezTo>
                    <a:pt x="2031206" y="147161"/>
                    <a:pt x="2030254" y="150971"/>
                    <a:pt x="2028349" y="157639"/>
                  </a:cubicBezTo>
                  <a:cubicBezTo>
                    <a:pt x="2029301" y="145256"/>
                    <a:pt x="2030254" y="138589"/>
                    <a:pt x="2030254" y="138589"/>
                  </a:cubicBezTo>
                  <a:cubicBezTo>
                    <a:pt x="2030254" y="138589"/>
                    <a:pt x="2028349" y="146209"/>
                    <a:pt x="2023586" y="160496"/>
                  </a:cubicBezTo>
                  <a:cubicBezTo>
                    <a:pt x="2021681" y="167164"/>
                    <a:pt x="2019776" y="176689"/>
                    <a:pt x="2017871" y="186214"/>
                  </a:cubicBezTo>
                  <a:cubicBezTo>
                    <a:pt x="2017871" y="188119"/>
                    <a:pt x="2016919" y="190024"/>
                    <a:pt x="2016919" y="191929"/>
                  </a:cubicBezTo>
                  <a:cubicBezTo>
                    <a:pt x="2016919" y="191929"/>
                    <a:pt x="2016919" y="190976"/>
                    <a:pt x="2016919" y="190976"/>
                  </a:cubicBezTo>
                  <a:cubicBezTo>
                    <a:pt x="2018824" y="170021"/>
                    <a:pt x="2019776" y="158591"/>
                    <a:pt x="2019776" y="158591"/>
                  </a:cubicBezTo>
                  <a:cubicBezTo>
                    <a:pt x="2019776" y="158591"/>
                    <a:pt x="2017871" y="166211"/>
                    <a:pt x="2015014" y="178594"/>
                  </a:cubicBezTo>
                  <a:cubicBezTo>
                    <a:pt x="2015014" y="176689"/>
                    <a:pt x="2014061" y="174784"/>
                    <a:pt x="2014061" y="174784"/>
                  </a:cubicBezTo>
                  <a:cubicBezTo>
                    <a:pt x="2014061" y="174784"/>
                    <a:pt x="2014061" y="175736"/>
                    <a:pt x="2014061" y="177641"/>
                  </a:cubicBezTo>
                  <a:cubicBezTo>
                    <a:pt x="2013109" y="172879"/>
                    <a:pt x="2012156" y="168116"/>
                    <a:pt x="2011204" y="163354"/>
                  </a:cubicBezTo>
                  <a:cubicBezTo>
                    <a:pt x="2008346" y="148114"/>
                    <a:pt x="2006441" y="135731"/>
                    <a:pt x="2003584" y="125254"/>
                  </a:cubicBezTo>
                  <a:cubicBezTo>
                    <a:pt x="1999774" y="104299"/>
                    <a:pt x="1996916" y="91916"/>
                    <a:pt x="1996916" y="91916"/>
                  </a:cubicBezTo>
                  <a:cubicBezTo>
                    <a:pt x="1996916" y="91916"/>
                    <a:pt x="1997869" y="104299"/>
                    <a:pt x="1999774" y="125254"/>
                  </a:cubicBezTo>
                  <a:cubicBezTo>
                    <a:pt x="2000726" y="135731"/>
                    <a:pt x="2001679" y="149066"/>
                    <a:pt x="2003584" y="164306"/>
                  </a:cubicBezTo>
                  <a:cubicBezTo>
                    <a:pt x="2004536" y="175736"/>
                    <a:pt x="2006441" y="189071"/>
                    <a:pt x="2008346" y="203359"/>
                  </a:cubicBezTo>
                  <a:cubicBezTo>
                    <a:pt x="2005489" y="213836"/>
                    <a:pt x="2002631" y="227171"/>
                    <a:pt x="1999774" y="240506"/>
                  </a:cubicBezTo>
                  <a:cubicBezTo>
                    <a:pt x="1995011" y="262414"/>
                    <a:pt x="1990249" y="288131"/>
                    <a:pt x="1984534" y="314801"/>
                  </a:cubicBezTo>
                  <a:cubicBezTo>
                    <a:pt x="1984534" y="303371"/>
                    <a:pt x="1984534" y="292894"/>
                    <a:pt x="1984534" y="283369"/>
                  </a:cubicBezTo>
                  <a:cubicBezTo>
                    <a:pt x="1984534" y="277654"/>
                    <a:pt x="1984534" y="271939"/>
                    <a:pt x="1984534" y="267176"/>
                  </a:cubicBezTo>
                  <a:cubicBezTo>
                    <a:pt x="1985486" y="265271"/>
                    <a:pt x="1986439" y="263366"/>
                    <a:pt x="1986439" y="263366"/>
                  </a:cubicBezTo>
                  <a:cubicBezTo>
                    <a:pt x="1986439" y="263366"/>
                    <a:pt x="1985486" y="264319"/>
                    <a:pt x="1984534" y="265271"/>
                  </a:cubicBezTo>
                  <a:cubicBezTo>
                    <a:pt x="1984534" y="257651"/>
                    <a:pt x="1984534" y="250031"/>
                    <a:pt x="1985486" y="243364"/>
                  </a:cubicBezTo>
                  <a:cubicBezTo>
                    <a:pt x="1986439" y="231934"/>
                    <a:pt x="1986439" y="221456"/>
                    <a:pt x="1987391" y="212884"/>
                  </a:cubicBezTo>
                  <a:cubicBezTo>
                    <a:pt x="1988344" y="195739"/>
                    <a:pt x="1989296" y="186214"/>
                    <a:pt x="1989296" y="186214"/>
                  </a:cubicBezTo>
                  <a:cubicBezTo>
                    <a:pt x="1989296" y="186214"/>
                    <a:pt x="1987391" y="195739"/>
                    <a:pt x="1983581" y="211931"/>
                  </a:cubicBezTo>
                  <a:cubicBezTo>
                    <a:pt x="1981676" y="220504"/>
                    <a:pt x="1979771" y="230029"/>
                    <a:pt x="1978819" y="242411"/>
                  </a:cubicBezTo>
                  <a:cubicBezTo>
                    <a:pt x="1976914" y="253841"/>
                    <a:pt x="1975961" y="267176"/>
                    <a:pt x="1974056" y="281464"/>
                  </a:cubicBezTo>
                  <a:cubicBezTo>
                    <a:pt x="1974056" y="281464"/>
                    <a:pt x="1973104" y="282416"/>
                    <a:pt x="1973104" y="282416"/>
                  </a:cubicBezTo>
                  <a:cubicBezTo>
                    <a:pt x="1971199" y="284321"/>
                    <a:pt x="1970246" y="286226"/>
                    <a:pt x="1968341" y="289084"/>
                  </a:cubicBezTo>
                  <a:cubicBezTo>
                    <a:pt x="1968341" y="287179"/>
                    <a:pt x="1968341" y="285274"/>
                    <a:pt x="1968341" y="283369"/>
                  </a:cubicBezTo>
                  <a:cubicBezTo>
                    <a:pt x="1971199" y="277654"/>
                    <a:pt x="1973104" y="274796"/>
                    <a:pt x="1973104" y="274796"/>
                  </a:cubicBezTo>
                  <a:cubicBezTo>
                    <a:pt x="1973104" y="274796"/>
                    <a:pt x="1971199" y="276701"/>
                    <a:pt x="1968341" y="280511"/>
                  </a:cubicBezTo>
                  <a:cubicBezTo>
                    <a:pt x="1970246" y="255746"/>
                    <a:pt x="1972151" y="235744"/>
                    <a:pt x="1973104" y="224314"/>
                  </a:cubicBezTo>
                  <a:cubicBezTo>
                    <a:pt x="1975961" y="201454"/>
                    <a:pt x="1976914" y="187166"/>
                    <a:pt x="1976914" y="187166"/>
                  </a:cubicBezTo>
                  <a:cubicBezTo>
                    <a:pt x="1976914" y="187166"/>
                    <a:pt x="1973104" y="198596"/>
                    <a:pt x="1967389" y="218599"/>
                  </a:cubicBezTo>
                  <a:cubicBezTo>
                    <a:pt x="1967389" y="217646"/>
                    <a:pt x="1967389" y="216694"/>
                    <a:pt x="1967389" y="216694"/>
                  </a:cubicBezTo>
                  <a:cubicBezTo>
                    <a:pt x="1967389" y="216694"/>
                    <a:pt x="1967389" y="217646"/>
                    <a:pt x="1966436" y="220504"/>
                  </a:cubicBezTo>
                  <a:cubicBezTo>
                    <a:pt x="1963579" y="229076"/>
                    <a:pt x="1960721" y="238601"/>
                    <a:pt x="1957864" y="250031"/>
                  </a:cubicBezTo>
                  <a:cubicBezTo>
                    <a:pt x="1955959" y="256699"/>
                    <a:pt x="1954054" y="264319"/>
                    <a:pt x="1952149" y="271939"/>
                  </a:cubicBezTo>
                  <a:cubicBezTo>
                    <a:pt x="1947386" y="250031"/>
                    <a:pt x="1944529" y="232886"/>
                    <a:pt x="1941671" y="221456"/>
                  </a:cubicBezTo>
                  <a:cubicBezTo>
                    <a:pt x="1941671" y="218599"/>
                    <a:pt x="1942624" y="215741"/>
                    <a:pt x="1942624" y="213836"/>
                  </a:cubicBezTo>
                  <a:cubicBezTo>
                    <a:pt x="1946434" y="203359"/>
                    <a:pt x="1949291" y="193834"/>
                    <a:pt x="1952149" y="186214"/>
                  </a:cubicBezTo>
                  <a:cubicBezTo>
                    <a:pt x="1958816" y="168116"/>
                    <a:pt x="1962626" y="157639"/>
                    <a:pt x="1962626" y="157639"/>
                  </a:cubicBezTo>
                  <a:cubicBezTo>
                    <a:pt x="1962626" y="157639"/>
                    <a:pt x="1957864" y="167164"/>
                    <a:pt x="1948339" y="185261"/>
                  </a:cubicBezTo>
                  <a:cubicBezTo>
                    <a:pt x="1947386" y="187166"/>
                    <a:pt x="1946434" y="189071"/>
                    <a:pt x="1945481" y="190976"/>
                  </a:cubicBezTo>
                  <a:cubicBezTo>
                    <a:pt x="1945481" y="190024"/>
                    <a:pt x="1945481" y="189071"/>
                    <a:pt x="1945481" y="189071"/>
                  </a:cubicBezTo>
                  <a:cubicBezTo>
                    <a:pt x="1945481" y="189071"/>
                    <a:pt x="1945481" y="190024"/>
                    <a:pt x="1944529" y="192881"/>
                  </a:cubicBezTo>
                  <a:cubicBezTo>
                    <a:pt x="1942624" y="196691"/>
                    <a:pt x="1940719" y="201454"/>
                    <a:pt x="1938814" y="205264"/>
                  </a:cubicBezTo>
                  <a:cubicBezTo>
                    <a:pt x="1936909" y="170021"/>
                    <a:pt x="1935004" y="148114"/>
                    <a:pt x="1935004" y="148114"/>
                  </a:cubicBezTo>
                  <a:cubicBezTo>
                    <a:pt x="1935004" y="148114"/>
                    <a:pt x="1931194" y="178594"/>
                    <a:pt x="1928336" y="224314"/>
                  </a:cubicBezTo>
                  <a:cubicBezTo>
                    <a:pt x="1928336" y="225266"/>
                    <a:pt x="1928336" y="227171"/>
                    <a:pt x="1928336" y="229076"/>
                  </a:cubicBezTo>
                  <a:cubicBezTo>
                    <a:pt x="1927384" y="231934"/>
                    <a:pt x="1925479" y="234791"/>
                    <a:pt x="1924526" y="236696"/>
                  </a:cubicBezTo>
                  <a:cubicBezTo>
                    <a:pt x="1921669" y="243364"/>
                    <a:pt x="1918811" y="250984"/>
                    <a:pt x="1915001" y="258604"/>
                  </a:cubicBezTo>
                  <a:cubicBezTo>
                    <a:pt x="1914049" y="261461"/>
                    <a:pt x="1912144" y="265271"/>
                    <a:pt x="1911191" y="268129"/>
                  </a:cubicBezTo>
                  <a:cubicBezTo>
                    <a:pt x="1910239" y="265271"/>
                    <a:pt x="1908334" y="262414"/>
                    <a:pt x="1907381" y="259556"/>
                  </a:cubicBezTo>
                  <a:lnTo>
                    <a:pt x="1907381" y="258604"/>
                  </a:lnTo>
                  <a:lnTo>
                    <a:pt x="1907381" y="258604"/>
                  </a:lnTo>
                  <a:cubicBezTo>
                    <a:pt x="1905476" y="256699"/>
                    <a:pt x="1903571" y="254794"/>
                    <a:pt x="1900714" y="253841"/>
                  </a:cubicBezTo>
                  <a:cubicBezTo>
                    <a:pt x="1899761" y="253841"/>
                    <a:pt x="1898809" y="252889"/>
                    <a:pt x="1897856" y="252889"/>
                  </a:cubicBezTo>
                  <a:cubicBezTo>
                    <a:pt x="1897856" y="252889"/>
                    <a:pt x="1896904" y="252889"/>
                    <a:pt x="1896904" y="252889"/>
                  </a:cubicBezTo>
                  <a:cubicBezTo>
                    <a:pt x="1896904" y="251936"/>
                    <a:pt x="1896904" y="251936"/>
                    <a:pt x="1896904" y="250984"/>
                  </a:cubicBezTo>
                  <a:cubicBezTo>
                    <a:pt x="1896904" y="249079"/>
                    <a:pt x="1897856" y="247174"/>
                    <a:pt x="1897856" y="246221"/>
                  </a:cubicBezTo>
                  <a:cubicBezTo>
                    <a:pt x="1899761" y="240506"/>
                    <a:pt x="1900714" y="234791"/>
                    <a:pt x="1902619" y="230029"/>
                  </a:cubicBezTo>
                  <a:cubicBezTo>
                    <a:pt x="1903571" y="228124"/>
                    <a:pt x="1903571" y="226219"/>
                    <a:pt x="1903571" y="226219"/>
                  </a:cubicBezTo>
                  <a:cubicBezTo>
                    <a:pt x="1903571" y="226219"/>
                    <a:pt x="1903571" y="226219"/>
                    <a:pt x="1902619" y="227171"/>
                  </a:cubicBezTo>
                  <a:cubicBezTo>
                    <a:pt x="1903571" y="222409"/>
                    <a:pt x="1905476" y="218599"/>
                    <a:pt x="1906429" y="214789"/>
                  </a:cubicBezTo>
                  <a:cubicBezTo>
                    <a:pt x="1909286" y="205264"/>
                    <a:pt x="1912144" y="196691"/>
                    <a:pt x="1915001" y="190976"/>
                  </a:cubicBezTo>
                  <a:cubicBezTo>
                    <a:pt x="1919764" y="177641"/>
                    <a:pt x="1922621" y="170021"/>
                    <a:pt x="1922621" y="170021"/>
                  </a:cubicBezTo>
                  <a:cubicBezTo>
                    <a:pt x="1922621" y="170021"/>
                    <a:pt x="1918811" y="176689"/>
                    <a:pt x="1911191" y="189071"/>
                  </a:cubicBezTo>
                  <a:cubicBezTo>
                    <a:pt x="1907381" y="194786"/>
                    <a:pt x="1903571" y="203359"/>
                    <a:pt x="1899761" y="211931"/>
                  </a:cubicBezTo>
                  <a:cubicBezTo>
                    <a:pt x="1897856" y="216694"/>
                    <a:pt x="1894999" y="221456"/>
                    <a:pt x="1893094" y="226219"/>
                  </a:cubicBezTo>
                  <a:cubicBezTo>
                    <a:pt x="1892141" y="229076"/>
                    <a:pt x="1890236" y="231934"/>
                    <a:pt x="1889284" y="235744"/>
                  </a:cubicBezTo>
                  <a:cubicBezTo>
                    <a:pt x="1889284" y="234791"/>
                    <a:pt x="1889284" y="233839"/>
                    <a:pt x="1888331" y="232886"/>
                  </a:cubicBezTo>
                  <a:cubicBezTo>
                    <a:pt x="1888331" y="227171"/>
                    <a:pt x="1888331" y="221456"/>
                    <a:pt x="1889284" y="216694"/>
                  </a:cubicBezTo>
                  <a:cubicBezTo>
                    <a:pt x="1889284" y="210979"/>
                    <a:pt x="1890236" y="205264"/>
                    <a:pt x="1891189" y="200501"/>
                  </a:cubicBezTo>
                  <a:cubicBezTo>
                    <a:pt x="1892141" y="195739"/>
                    <a:pt x="1893094" y="190976"/>
                    <a:pt x="1894046" y="187166"/>
                  </a:cubicBezTo>
                  <a:cubicBezTo>
                    <a:pt x="1895951" y="179546"/>
                    <a:pt x="1897856" y="172879"/>
                    <a:pt x="1899761" y="169069"/>
                  </a:cubicBezTo>
                  <a:cubicBezTo>
                    <a:pt x="1901666" y="165259"/>
                    <a:pt x="1902619" y="162401"/>
                    <a:pt x="1902619" y="162401"/>
                  </a:cubicBezTo>
                  <a:cubicBezTo>
                    <a:pt x="1902619" y="162401"/>
                    <a:pt x="1901666" y="164306"/>
                    <a:pt x="1898809" y="168116"/>
                  </a:cubicBezTo>
                  <a:cubicBezTo>
                    <a:pt x="1895951" y="171926"/>
                    <a:pt x="1893094" y="177641"/>
                    <a:pt x="1890236" y="186214"/>
                  </a:cubicBezTo>
                  <a:cubicBezTo>
                    <a:pt x="1889284" y="190024"/>
                    <a:pt x="1887379" y="194786"/>
                    <a:pt x="1885474" y="199549"/>
                  </a:cubicBezTo>
                  <a:cubicBezTo>
                    <a:pt x="1884521" y="204311"/>
                    <a:pt x="1883569" y="209074"/>
                    <a:pt x="1882616" y="213836"/>
                  </a:cubicBezTo>
                  <a:cubicBezTo>
                    <a:pt x="1882616" y="211931"/>
                    <a:pt x="1882616" y="210026"/>
                    <a:pt x="1882616" y="210026"/>
                  </a:cubicBezTo>
                  <a:cubicBezTo>
                    <a:pt x="1882616" y="210026"/>
                    <a:pt x="1880711" y="216694"/>
                    <a:pt x="1878806" y="228124"/>
                  </a:cubicBezTo>
                  <a:cubicBezTo>
                    <a:pt x="1877854" y="232886"/>
                    <a:pt x="1876901" y="237649"/>
                    <a:pt x="1874996" y="243364"/>
                  </a:cubicBezTo>
                  <a:cubicBezTo>
                    <a:pt x="1874996" y="239554"/>
                    <a:pt x="1874996" y="237649"/>
                    <a:pt x="1874996" y="237649"/>
                  </a:cubicBezTo>
                  <a:cubicBezTo>
                    <a:pt x="1874996" y="237649"/>
                    <a:pt x="1874044" y="244316"/>
                    <a:pt x="1872139" y="255746"/>
                  </a:cubicBezTo>
                  <a:cubicBezTo>
                    <a:pt x="1871186" y="260509"/>
                    <a:pt x="1870234" y="266224"/>
                    <a:pt x="1868329" y="270986"/>
                  </a:cubicBezTo>
                  <a:cubicBezTo>
                    <a:pt x="1868329" y="267176"/>
                    <a:pt x="1869281" y="263366"/>
                    <a:pt x="1869281" y="259556"/>
                  </a:cubicBezTo>
                  <a:cubicBezTo>
                    <a:pt x="1871186" y="243364"/>
                    <a:pt x="1873091" y="228124"/>
                    <a:pt x="1874996" y="213836"/>
                  </a:cubicBezTo>
                  <a:cubicBezTo>
                    <a:pt x="1875949" y="207169"/>
                    <a:pt x="1876901" y="200501"/>
                    <a:pt x="1877854" y="193834"/>
                  </a:cubicBezTo>
                  <a:cubicBezTo>
                    <a:pt x="1878806" y="187166"/>
                    <a:pt x="1880711" y="181451"/>
                    <a:pt x="1881664" y="175736"/>
                  </a:cubicBezTo>
                  <a:cubicBezTo>
                    <a:pt x="1883569" y="164306"/>
                    <a:pt x="1885474" y="154781"/>
                    <a:pt x="1888331" y="146209"/>
                  </a:cubicBezTo>
                  <a:cubicBezTo>
                    <a:pt x="1892141" y="130016"/>
                    <a:pt x="1894999" y="120491"/>
                    <a:pt x="1894999" y="120491"/>
                  </a:cubicBezTo>
                  <a:cubicBezTo>
                    <a:pt x="1894999" y="120491"/>
                    <a:pt x="1891189" y="129064"/>
                    <a:pt x="1885474" y="144304"/>
                  </a:cubicBezTo>
                  <a:cubicBezTo>
                    <a:pt x="1882616" y="151924"/>
                    <a:pt x="1878806" y="161449"/>
                    <a:pt x="1875949" y="172879"/>
                  </a:cubicBezTo>
                  <a:cubicBezTo>
                    <a:pt x="1874044" y="178594"/>
                    <a:pt x="1872139" y="184309"/>
                    <a:pt x="1870234" y="190976"/>
                  </a:cubicBezTo>
                  <a:cubicBezTo>
                    <a:pt x="1868329" y="197644"/>
                    <a:pt x="1867376" y="204311"/>
                    <a:pt x="1865471" y="210979"/>
                  </a:cubicBezTo>
                  <a:cubicBezTo>
                    <a:pt x="1863566" y="219551"/>
                    <a:pt x="1860709" y="229076"/>
                    <a:pt x="1858804" y="238601"/>
                  </a:cubicBezTo>
                  <a:cubicBezTo>
                    <a:pt x="1858804" y="221456"/>
                    <a:pt x="1857851" y="206216"/>
                    <a:pt x="1856899" y="194786"/>
                  </a:cubicBezTo>
                  <a:cubicBezTo>
                    <a:pt x="1855946" y="181451"/>
                    <a:pt x="1854994" y="172879"/>
                    <a:pt x="1854994" y="172879"/>
                  </a:cubicBezTo>
                  <a:cubicBezTo>
                    <a:pt x="1854994" y="172879"/>
                    <a:pt x="1854041" y="180499"/>
                    <a:pt x="1853089" y="194786"/>
                  </a:cubicBezTo>
                  <a:cubicBezTo>
                    <a:pt x="1852136" y="208121"/>
                    <a:pt x="1850231" y="228124"/>
                    <a:pt x="1848326" y="250984"/>
                  </a:cubicBezTo>
                  <a:cubicBezTo>
                    <a:pt x="1847374" y="260509"/>
                    <a:pt x="1846421" y="271939"/>
                    <a:pt x="1845469" y="282416"/>
                  </a:cubicBezTo>
                  <a:cubicBezTo>
                    <a:pt x="1843564" y="279559"/>
                    <a:pt x="1841659" y="276701"/>
                    <a:pt x="1839754" y="273844"/>
                  </a:cubicBezTo>
                  <a:cubicBezTo>
                    <a:pt x="1839754" y="270986"/>
                    <a:pt x="1838801" y="269081"/>
                    <a:pt x="1838801" y="269081"/>
                  </a:cubicBezTo>
                  <a:cubicBezTo>
                    <a:pt x="1838801" y="269081"/>
                    <a:pt x="1838801" y="270034"/>
                    <a:pt x="1838801" y="272891"/>
                  </a:cubicBezTo>
                  <a:cubicBezTo>
                    <a:pt x="1834039" y="266224"/>
                    <a:pt x="1830229" y="260509"/>
                    <a:pt x="1827371" y="256699"/>
                  </a:cubicBezTo>
                  <a:cubicBezTo>
                    <a:pt x="1829276" y="216694"/>
                    <a:pt x="1828324" y="190976"/>
                    <a:pt x="1828324" y="190976"/>
                  </a:cubicBezTo>
                  <a:cubicBezTo>
                    <a:pt x="1828324" y="190976"/>
                    <a:pt x="1826419" y="202406"/>
                    <a:pt x="1822609" y="222409"/>
                  </a:cubicBezTo>
                  <a:cubicBezTo>
                    <a:pt x="1822609" y="219551"/>
                    <a:pt x="1822609" y="217646"/>
                    <a:pt x="1822609" y="214789"/>
                  </a:cubicBezTo>
                  <a:cubicBezTo>
                    <a:pt x="1822609" y="196691"/>
                    <a:pt x="1821656" y="178594"/>
                    <a:pt x="1822609" y="161449"/>
                  </a:cubicBezTo>
                  <a:cubicBezTo>
                    <a:pt x="1823561" y="144304"/>
                    <a:pt x="1823561" y="129064"/>
                    <a:pt x="1823561" y="113824"/>
                  </a:cubicBezTo>
                  <a:cubicBezTo>
                    <a:pt x="1824514" y="54769"/>
                    <a:pt x="1823561" y="15716"/>
                    <a:pt x="1823561" y="15716"/>
                  </a:cubicBezTo>
                  <a:cubicBezTo>
                    <a:pt x="1823561" y="15716"/>
                    <a:pt x="1817846" y="54769"/>
                    <a:pt x="1812131" y="112871"/>
                  </a:cubicBezTo>
                  <a:cubicBezTo>
                    <a:pt x="1811179" y="127159"/>
                    <a:pt x="1809274" y="143351"/>
                    <a:pt x="1807369" y="160496"/>
                  </a:cubicBezTo>
                  <a:cubicBezTo>
                    <a:pt x="1805464" y="175736"/>
                    <a:pt x="1805464" y="191929"/>
                    <a:pt x="1805464" y="209074"/>
                  </a:cubicBezTo>
                  <a:cubicBezTo>
                    <a:pt x="1803559" y="210026"/>
                    <a:pt x="1802606" y="210979"/>
                    <a:pt x="1801654" y="211931"/>
                  </a:cubicBezTo>
                  <a:lnTo>
                    <a:pt x="1801654" y="211931"/>
                  </a:lnTo>
                  <a:lnTo>
                    <a:pt x="1801654" y="212884"/>
                  </a:lnTo>
                  <a:cubicBezTo>
                    <a:pt x="1797844" y="221456"/>
                    <a:pt x="1794034" y="229076"/>
                    <a:pt x="1790224" y="237649"/>
                  </a:cubicBezTo>
                  <a:cubicBezTo>
                    <a:pt x="1790224" y="217646"/>
                    <a:pt x="1790224" y="207169"/>
                    <a:pt x="1790224" y="207169"/>
                  </a:cubicBezTo>
                  <a:cubicBezTo>
                    <a:pt x="1790224" y="207169"/>
                    <a:pt x="1788319" y="218599"/>
                    <a:pt x="1786414" y="239554"/>
                  </a:cubicBezTo>
                  <a:cubicBezTo>
                    <a:pt x="1786414" y="243364"/>
                    <a:pt x="1785461" y="246221"/>
                    <a:pt x="1784509" y="250984"/>
                  </a:cubicBezTo>
                  <a:cubicBezTo>
                    <a:pt x="1784509" y="251936"/>
                    <a:pt x="1784509" y="251936"/>
                    <a:pt x="1783556" y="252889"/>
                  </a:cubicBezTo>
                  <a:cubicBezTo>
                    <a:pt x="1779746" y="236696"/>
                    <a:pt x="1776889" y="226219"/>
                    <a:pt x="1776889" y="226219"/>
                  </a:cubicBezTo>
                  <a:cubicBezTo>
                    <a:pt x="1776889" y="226219"/>
                    <a:pt x="1776889" y="236696"/>
                    <a:pt x="1777841" y="253841"/>
                  </a:cubicBezTo>
                  <a:cubicBezTo>
                    <a:pt x="1774031" y="244316"/>
                    <a:pt x="1771174" y="236696"/>
                    <a:pt x="1768316" y="230029"/>
                  </a:cubicBezTo>
                  <a:cubicBezTo>
                    <a:pt x="1763554" y="219551"/>
                    <a:pt x="1760696" y="211931"/>
                    <a:pt x="1759744" y="209074"/>
                  </a:cubicBezTo>
                  <a:cubicBezTo>
                    <a:pt x="1759744" y="209074"/>
                    <a:pt x="1759744" y="208121"/>
                    <a:pt x="1759744" y="208121"/>
                  </a:cubicBezTo>
                  <a:cubicBezTo>
                    <a:pt x="1761649" y="202406"/>
                    <a:pt x="1761649" y="198596"/>
                    <a:pt x="1761649" y="198596"/>
                  </a:cubicBezTo>
                  <a:cubicBezTo>
                    <a:pt x="1761649" y="198596"/>
                    <a:pt x="1760696" y="200501"/>
                    <a:pt x="1759744" y="203359"/>
                  </a:cubicBezTo>
                  <a:cubicBezTo>
                    <a:pt x="1759744" y="200501"/>
                    <a:pt x="1759744" y="197644"/>
                    <a:pt x="1759744" y="195739"/>
                  </a:cubicBezTo>
                  <a:cubicBezTo>
                    <a:pt x="1760696" y="187166"/>
                    <a:pt x="1760696" y="178594"/>
                    <a:pt x="1761649" y="171926"/>
                  </a:cubicBezTo>
                  <a:cubicBezTo>
                    <a:pt x="1762601" y="158591"/>
                    <a:pt x="1762601" y="151924"/>
                    <a:pt x="1762601" y="151924"/>
                  </a:cubicBezTo>
                  <a:cubicBezTo>
                    <a:pt x="1762601" y="151924"/>
                    <a:pt x="1760696" y="159544"/>
                    <a:pt x="1756886" y="171926"/>
                  </a:cubicBezTo>
                  <a:cubicBezTo>
                    <a:pt x="1754981" y="180499"/>
                    <a:pt x="1752124" y="191929"/>
                    <a:pt x="1749266" y="205264"/>
                  </a:cubicBezTo>
                  <a:cubicBezTo>
                    <a:pt x="1746409" y="200501"/>
                    <a:pt x="1745456" y="197644"/>
                    <a:pt x="1745456" y="197644"/>
                  </a:cubicBezTo>
                  <a:cubicBezTo>
                    <a:pt x="1745456" y="197644"/>
                    <a:pt x="1746409" y="201454"/>
                    <a:pt x="1749266" y="208121"/>
                  </a:cubicBezTo>
                  <a:cubicBezTo>
                    <a:pt x="1748314" y="213836"/>
                    <a:pt x="1747361" y="219551"/>
                    <a:pt x="1746409" y="225266"/>
                  </a:cubicBezTo>
                  <a:cubicBezTo>
                    <a:pt x="1746409" y="226219"/>
                    <a:pt x="1746409" y="227171"/>
                    <a:pt x="1746409" y="228124"/>
                  </a:cubicBezTo>
                  <a:cubicBezTo>
                    <a:pt x="1741646" y="193834"/>
                    <a:pt x="1737836" y="171926"/>
                    <a:pt x="1737836" y="171926"/>
                  </a:cubicBezTo>
                  <a:cubicBezTo>
                    <a:pt x="1737836" y="171926"/>
                    <a:pt x="1736884" y="204311"/>
                    <a:pt x="1738789" y="252889"/>
                  </a:cubicBezTo>
                  <a:cubicBezTo>
                    <a:pt x="1737836" y="253841"/>
                    <a:pt x="1737836" y="255746"/>
                    <a:pt x="1736884" y="256699"/>
                  </a:cubicBezTo>
                  <a:cubicBezTo>
                    <a:pt x="1735931" y="253841"/>
                    <a:pt x="1735931" y="252889"/>
                    <a:pt x="1735931" y="252889"/>
                  </a:cubicBezTo>
                  <a:cubicBezTo>
                    <a:pt x="1735931" y="252889"/>
                    <a:pt x="1735931" y="254794"/>
                    <a:pt x="1735931" y="257651"/>
                  </a:cubicBezTo>
                  <a:cubicBezTo>
                    <a:pt x="1734979" y="259556"/>
                    <a:pt x="1734026" y="261461"/>
                    <a:pt x="1733074" y="264319"/>
                  </a:cubicBezTo>
                  <a:cubicBezTo>
                    <a:pt x="1731169" y="270034"/>
                    <a:pt x="1729264" y="276701"/>
                    <a:pt x="1727359" y="283369"/>
                  </a:cubicBezTo>
                  <a:cubicBezTo>
                    <a:pt x="1725454" y="288131"/>
                    <a:pt x="1723549" y="293846"/>
                    <a:pt x="1722596" y="299561"/>
                  </a:cubicBezTo>
                  <a:cubicBezTo>
                    <a:pt x="1720691" y="278606"/>
                    <a:pt x="1718786" y="267176"/>
                    <a:pt x="1718786" y="267176"/>
                  </a:cubicBezTo>
                  <a:cubicBezTo>
                    <a:pt x="1718786" y="267176"/>
                    <a:pt x="1717834" y="286226"/>
                    <a:pt x="1716881" y="317659"/>
                  </a:cubicBezTo>
                  <a:cubicBezTo>
                    <a:pt x="1716881" y="317659"/>
                    <a:pt x="1716881" y="318611"/>
                    <a:pt x="1716881" y="318611"/>
                  </a:cubicBezTo>
                  <a:cubicBezTo>
                    <a:pt x="1715929" y="317659"/>
                    <a:pt x="1715929" y="316706"/>
                    <a:pt x="1714976" y="316706"/>
                  </a:cubicBezTo>
                  <a:cubicBezTo>
                    <a:pt x="1712119" y="307181"/>
                    <a:pt x="1710214" y="297656"/>
                    <a:pt x="1707356" y="288131"/>
                  </a:cubicBezTo>
                  <a:cubicBezTo>
                    <a:pt x="1708309" y="270034"/>
                    <a:pt x="1709261" y="252889"/>
                    <a:pt x="1709261" y="237649"/>
                  </a:cubicBezTo>
                  <a:cubicBezTo>
                    <a:pt x="1711166" y="192881"/>
                    <a:pt x="1710214" y="163354"/>
                    <a:pt x="1710214" y="163354"/>
                  </a:cubicBezTo>
                  <a:cubicBezTo>
                    <a:pt x="1710214" y="163354"/>
                    <a:pt x="1705451" y="189071"/>
                    <a:pt x="1698784" y="229076"/>
                  </a:cubicBezTo>
                  <a:cubicBezTo>
                    <a:pt x="1696879" y="219551"/>
                    <a:pt x="1695926" y="210979"/>
                    <a:pt x="1694021" y="203359"/>
                  </a:cubicBezTo>
                  <a:cubicBezTo>
                    <a:pt x="1695926" y="191929"/>
                    <a:pt x="1697831" y="180499"/>
                    <a:pt x="1699736" y="170021"/>
                  </a:cubicBezTo>
                  <a:cubicBezTo>
                    <a:pt x="1702594" y="151924"/>
                    <a:pt x="1705451" y="134779"/>
                    <a:pt x="1706404" y="119539"/>
                  </a:cubicBezTo>
                  <a:cubicBezTo>
                    <a:pt x="1708309" y="104299"/>
                    <a:pt x="1709261" y="91916"/>
                    <a:pt x="1710214" y="80486"/>
                  </a:cubicBezTo>
                  <a:cubicBezTo>
                    <a:pt x="1712119" y="59531"/>
                    <a:pt x="1713071" y="47149"/>
                    <a:pt x="1713071" y="47149"/>
                  </a:cubicBezTo>
                  <a:cubicBezTo>
                    <a:pt x="1713071" y="47149"/>
                    <a:pt x="1710214" y="59531"/>
                    <a:pt x="1706404" y="80486"/>
                  </a:cubicBezTo>
                  <a:cubicBezTo>
                    <a:pt x="1704499" y="90964"/>
                    <a:pt x="1701641" y="104299"/>
                    <a:pt x="1698784" y="118586"/>
                  </a:cubicBezTo>
                  <a:cubicBezTo>
                    <a:pt x="1695926" y="133826"/>
                    <a:pt x="1692116" y="150019"/>
                    <a:pt x="1688306" y="168116"/>
                  </a:cubicBezTo>
                  <a:cubicBezTo>
                    <a:pt x="1688306" y="169069"/>
                    <a:pt x="1687354" y="170974"/>
                    <a:pt x="1687354" y="171926"/>
                  </a:cubicBezTo>
                  <a:cubicBezTo>
                    <a:pt x="1685449" y="164306"/>
                    <a:pt x="1684496" y="160496"/>
                    <a:pt x="1684496" y="160496"/>
                  </a:cubicBezTo>
                  <a:cubicBezTo>
                    <a:pt x="1684496" y="160496"/>
                    <a:pt x="1684496" y="167164"/>
                    <a:pt x="1685449" y="179546"/>
                  </a:cubicBezTo>
                  <a:cubicBezTo>
                    <a:pt x="1684496" y="185261"/>
                    <a:pt x="1682591" y="191929"/>
                    <a:pt x="1681639" y="197644"/>
                  </a:cubicBezTo>
                  <a:cubicBezTo>
                    <a:pt x="1680686" y="195739"/>
                    <a:pt x="1680686" y="194786"/>
                    <a:pt x="1680686" y="192881"/>
                  </a:cubicBezTo>
                  <a:cubicBezTo>
                    <a:pt x="1681639" y="186214"/>
                    <a:pt x="1681639" y="180499"/>
                    <a:pt x="1681639" y="174784"/>
                  </a:cubicBezTo>
                  <a:cubicBezTo>
                    <a:pt x="1681639" y="162401"/>
                    <a:pt x="1682591" y="151924"/>
                    <a:pt x="1682591" y="143351"/>
                  </a:cubicBezTo>
                  <a:cubicBezTo>
                    <a:pt x="1682591" y="126206"/>
                    <a:pt x="1683544" y="115729"/>
                    <a:pt x="1683544" y="115729"/>
                  </a:cubicBezTo>
                  <a:cubicBezTo>
                    <a:pt x="1683544" y="115729"/>
                    <a:pt x="1681639" y="125254"/>
                    <a:pt x="1678781" y="143351"/>
                  </a:cubicBezTo>
                  <a:cubicBezTo>
                    <a:pt x="1677829" y="151924"/>
                    <a:pt x="1675924" y="162401"/>
                    <a:pt x="1674019" y="174784"/>
                  </a:cubicBezTo>
                  <a:cubicBezTo>
                    <a:pt x="1672114" y="187166"/>
                    <a:pt x="1669256" y="200501"/>
                    <a:pt x="1666399" y="215741"/>
                  </a:cubicBezTo>
                  <a:cubicBezTo>
                    <a:pt x="1665446" y="220504"/>
                    <a:pt x="1664494" y="226219"/>
                    <a:pt x="1663541" y="231934"/>
                  </a:cubicBezTo>
                  <a:cubicBezTo>
                    <a:pt x="1662589" y="228124"/>
                    <a:pt x="1661636" y="225266"/>
                    <a:pt x="1661636" y="225266"/>
                  </a:cubicBezTo>
                  <a:cubicBezTo>
                    <a:pt x="1661636" y="225266"/>
                    <a:pt x="1661636" y="229076"/>
                    <a:pt x="1662589" y="236696"/>
                  </a:cubicBezTo>
                  <a:cubicBezTo>
                    <a:pt x="1661636" y="242411"/>
                    <a:pt x="1660684" y="248126"/>
                    <a:pt x="1659731" y="253841"/>
                  </a:cubicBezTo>
                  <a:cubicBezTo>
                    <a:pt x="1659731" y="252889"/>
                    <a:pt x="1658779" y="251936"/>
                    <a:pt x="1658779" y="251936"/>
                  </a:cubicBezTo>
                  <a:cubicBezTo>
                    <a:pt x="1654969" y="240506"/>
                    <a:pt x="1650206" y="230981"/>
                    <a:pt x="1646396" y="223361"/>
                  </a:cubicBezTo>
                  <a:cubicBezTo>
                    <a:pt x="1645444" y="220504"/>
                    <a:pt x="1643539" y="218599"/>
                    <a:pt x="1642586" y="215741"/>
                  </a:cubicBezTo>
                  <a:cubicBezTo>
                    <a:pt x="1642586" y="210979"/>
                    <a:pt x="1642586" y="207169"/>
                    <a:pt x="1642586" y="202406"/>
                  </a:cubicBezTo>
                  <a:cubicBezTo>
                    <a:pt x="1641634" y="186214"/>
                    <a:pt x="1641634" y="170021"/>
                    <a:pt x="1640681" y="154781"/>
                  </a:cubicBezTo>
                  <a:cubicBezTo>
                    <a:pt x="1639729" y="139541"/>
                    <a:pt x="1637824" y="125254"/>
                    <a:pt x="1635919" y="111919"/>
                  </a:cubicBezTo>
                  <a:cubicBezTo>
                    <a:pt x="1630204" y="58579"/>
                    <a:pt x="1624489" y="23336"/>
                    <a:pt x="1624489" y="23336"/>
                  </a:cubicBezTo>
                  <a:cubicBezTo>
                    <a:pt x="1624489" y="23336"/>
                    <a:pt x="1623536" y="58579"/>
                    <a:pt x="1624489" y="111919"/>
                  </a:cubicBezTo>
                  <a:cubicBezTo>
                    <a:pt x="1624489" y="125254"/>
                    <a:pt x="1624489" y="139541"/>
                    <a:pt x="1625441" y="154781"/>
                  </a:cubicBezTo>
                  <a:cubicBezTo>
                    <a:pt x="1626394" y="170021"/>
                    <a:pt x="1624489" y="186214"/>
                    <a:pt x="1625441" y="202406"/>
                  </a:cubicBezTo>
                  <a:cubicBezTo>
                    <a:pt x="1625441" y="210026"/>
                    <a:pt x="1625441" y="217646"/>
                    <a:pt x="1625441" y="225266"/>
                  </a:cubicBezTo>
                  <a:cubicBezTo>
                    <a:pt x="1625441" y="227171"/>
                    <a:pt x="1625441" y="229076"/>
                    <a:pt x="1625441" y="230981"/>
                  </a:cubicBezTo>
                  <a:cubicBezTo>
                    <a:pt x="1624489" y="230029"/>
                    <a:pt x="1624489" y="228124"/>
                    <a:pt x="1623536" y="227171"/>
                  </a:cubicBezTo>
                  <a:cubicBezTo>
                    <a:pt x="1620679" y="211931"/>
                    <a:pt x="1619726" y="203359"/>
                    <a:pt x="1619726" y="203359"/>
                  </a:cubicBezTo>
                  <a:cubicBezTo>
                    <a:pt x="1619726" y="203359"/>
                    <a:pt x="1619726" y="208121"/>
                    <a:pt x="1619726" y="217646"/>
                  </a:cubicBezTo>
                  <a:cubicBezTo>
                    <a:pt x="1613059" y="201454"/>
                    <a:pt x="1608296" y="190976"/>
                    <a:pt x="1608296" y="190976"/>
                  </a:cubicBezTo>
                  <a:cubicBezTo>
                    <a:pt x="1608296" y="190976"/>
                    <a:pt x="1612106" y="207169"/>
                    <a:pt x="1619726" y="233839"/>
                  </a:cubicBezTo>
                  <a:cubicBezTo>
                    <a:pt x="1619726" y="236696"/>
                    <a:pt x="1619726" y="239554"/>
                    <a:pt x="1619726" y="242411"/>
                  </a:cubicBezTo>
                  <a:cubicBezTo>
                    <a:pt x="1615916" y="236696"/>
                    <a:pt x="1613059" y="233839"/>
                    <a:pt x="1613059" y="233839"/>
                  </a:cubicBezTo>
                  <a:cubicBezTo>
                    <a:pt x="1613059" y="233839"/>
                    <a:pt x="1614964" y="238601"/>
                    <a:pt x="1619726" y="247174"/>
                  </a:cubicBezTo>
                  <a:cubicBezTo>
                    <a:pt x="1616869" y="250984"/>
                    <a:pt x="1614011" y="256699"/>
                    <a:pt x="1610201" y="264319"/>
                  </a:cubicBezTo>
                  <a:cubicBezTo>
                    <a:pt x="1609249" y="266224"/>
                    <a:pt x="1608296" y="268129"/>
                    <a:pt x="1607344" y="270034"/>
                  </a:cubicBezTo>
                  <a:cubicBezTo>
                    <a:pt x="1607344" y="269081"/>
                    <a:pt x="1606391" y="269081"/>
                    <a:pt x="1606391" y="269081"/>
                  </a:cubicBezTo>
                  <a:cubicBezTo>
                    <a:pt x="1606391" y="269081"/>
                    <a:pt x="1606391" y="269081"/>
                    <a:pt x="1607344" y="270034"/>
                  </a:cubicBezTo>
                  <a:cubicBezTo>
                    <a:pt x="1605439" y="273844"/>
                    <a:pt x="1603534" y="277654"/>
                    <a:pt x="1601629" y="282416"/>
                  </a:cubicBezTo>
                  <a:cubicBezTo>
                    <a:pt x="1601629" y="277654"/>
                    <a:pt x="1600676" y="273844"/>
                    <a:pt x="1600676" y="269081"/>
                  </a:cubicBezTo>
                  <a:cubicBezTo>
                    <a:pt x="1598771" y="243364"/>
                    <a:pt x="1596866" y="221456"/>
                    <a:pt x="1595914" y="207169"/>
                  </a:cubicBezTo>
                  <a:cubicBezTo>
                    <a:pt x="1594961" y="191929"/>
                    <a:pt x="1594009" y="183356"/>
                    <a:pt x="1594009" y="183356"/>
                  </a:cubicBezTo>
                  <a:cubicBezTo>
                    <a:pt x="1594009" y="183356"/>
                    <a:pt x="1593056" y="191929"/>
                    <a:pt x="1592104" y="207169"/>
                  </a:cubicBezTo>
                  <a:cubicBezTo>
                    <a:pt x="1592104" y="212884"/>
                    <a:pt x="1591151" y="219551"/>
                    <a:pt x="1591151" y="227171"/>
                  </a:cubicBezTo>
                  <a:cubicBezTo>
                    <a:pt x="1589246" y="216694"/>
                    <a:pt x="1586389" y="207169"/>
                    <a:pt x="1583531" y="197644"/>
                  </a:cubicBezTo>
                  <a:cubicBezTo>
                    <a:pt x="1581626" y="190976"/>
                    <a:pt x="1579721" y="185261"/>
                    <a:pt x="1578769" y="179546"/>
                  </a:cubicBezTo>
                  <a:cubicBezTo>
                    <a:pt x="1576864" y="173831"/>
                    <a:pt x="1574959" y="168116"/>
                    <a:pt x="1573054" y="163354"/>
                  </a:cubicBezTo>
                  <a:cubicBezTo>
                    <a:pt x="1569244" y="152876"/>
                    <a:pt x="1566386" y="144304"/>
                    <a:pt x="1563529" y="137636"/>
                  </a:cubicBezTo>
                  <a:cubicBezTo>
                    <a:pt x="1556861" y="123349"/>
                    <a:pt x="1554004" y="115729"/>
                    <a:pt x="1554004" y="115729"/>
                  </a:cubicBezTo>
                  <a:cubicBezTo>
                    <a:pt x="1554004" y="115729"/>
                    <a:pt x="1555909" y="124301"/>
                    <a:pt x="1560671" y="138589"/>
                  </a:cubicBezTo>
                  <a:cubicBezTo>
                    <a:pt x="1562576" y="146209"/>
                    <a:pt x="1564481" y="154781"/>
                    <a:pt x="1567339" y="165259"/>
                  </a:cubicBezTo>
                  <a:cubicBezTo>
                    <a:pt x="1568291" y="170021"/>
                    <a:pt x="1569244" y="175736"/>
                    <a:pt x="1571149" y="181451"/>
                  </a:cubicBezTo>
                  <a:cubicBezTo>
                    <a:pt x="1572101" y="187166"/>
                    <a:pt x="1573054" y="192881"/>
                    <a:pt x="1574006" y="199549"/>
                  </a:cubicBezTo>
                  <a:cubicBezTo>
                    <a:pt x="1576864" y="211931"/>
                    <a:pt x="1577816" y="226219"/>
                    <a:pt x="1579721" y="240506"/>
                  </a:cubicBezTo>
                  <a:cubicBezTo>
                    <a:pt x="1581626" y="253841"/>
                    <a:pt x="1582579" y="269081"/>
                    <a:pt x="1584484" y="283369"/>
                  </a:cubicBezTo>
                  <a:cubicBezTo>
                    <a:pt x="1581626" y="274796"/>
                    <a:pt x="1579721" y="266224"/>
                    <a:pt x="1576864" y="258604"/>
                  </a:cubicBezTo>
                  <a:cubicBezTo>
                    <a:pt x="1575911" y="255746"/>
                    <a:pt x="1574959" y="252889"/>
                    <a:pt x="1573054" y="249079"/>
                  </a:cubicBezTo>
                  <a:cubicBezTo>
                    <a:pt x="1573054" y="249079"/>
                    <a:pt x="1573054" y="248126"/>
                    <a:pt x="1573054" y="247174"/>
                  </a:cubicBezTo>
                  <a:cubicBezTo>
                    <a:pt x="1573054" y="243364"/>
                    <a:pt x="1573054" y="238601"/>
                    <a:pt x="1572101" y="234791"/>
                  </a:cubicBezTo>
                  <a:cubicBezTo>
                    <a:pt x="1571149" y="221456"/>
                    <a:pt x="1569244" y="209074"/>
                    <a:pt x="1567339" y="198596"/>
                  </a:cubicBezTo>
                  <a:cubicBezTo>
                    <a:pt x="1566386" y="192881"/>
                    <a:pt x="1564481" y="188119"/>
                    <a:pt x="1563529" y="184309"/>
                  </a:cubicBezTo>
                  <a:cubicBezTo>
                    <a:pt x="1561624" y="179546"/>
                    <a:pt x="1560671" y="175736"/>
                    <a:pt x="1558766" y="171926"/>
                  </a:cubicBezTo>
                  <a:cubicBezTo>
                    <a:pt x="1555909" y="164306"/>
                    <a:pt x="1553051" y="159544"/>
                    <a:pt x="1550194" y="155734"/>
                  </a:cubicBezTo>
                  <a:cubicBezTo>
                    <a:pt x="1548289" y="151924"/>
                    <a:pt x="1546384" y="150019"/>
                    <a:pt x="1546384" y="150019"/>
                  </a:cubicBezTo>
                  <a:cubicBezTo>
                    <a:pt x="1546384" y="150019"/>
                    <a:pt x="1547336" y="151924"/>
                    <a:pt x="1549241" y="155734"/>
                  </a:cubicBezTo>
                  <a:cubicBezTo>
                    <a:pt x="1551146" y="159544"/>
                    <a:pt x="1553051" y="165259"/>
                    <a:pt x="1554956" y="171926"/>
                  </a:cubicBezTo>
                  <a:cubicBezTo>
                    <a:pt x="1555909" y="175736"/>
                    <a:pt x="1556861" y="179546"/>
                    <a:pt x="1557814" y="184309"/>
                  </a:cubicBezTo>
                  <a:cubicBezTo>
                    <a:pt x="1557814" y="189071"/>
                    <a:pt x="1558766" y="193834"/>
                    <a:pt x="1559719" y="198596"/>
                  </a:cubicBezTo>
                  <a:cubicBezTo>
                    <a:pt x="1559719" y="203359"/>
                    <a:pt x="1560671" y="208121"/>
                    <a:pt x="1560671" y="213836"/>
                  </a:cubicBezTo>
                  <a:cubicBezTo>
                    <a:pt x="1560671" y="214789"/>
                    <a:pt x="1560671" y="215741"/>
                    <a:pt x="1559719" y="216694"/>
                  </a:cubicBezTo>
                  <a:cubicBezTo>
                    <a:pt x="1558766" y="213836"/>
                    <a:pt x="1556861" y="210979"/>
                    <a:pt x="1555909" y="208121"/>
                  </a:cubicBezTo>
                  <a:cubicBezTo>
                    <a:pt x="1554004" y="203359"/>
                    <a:pt x="1551146" y="199549"/>
                    <a:pt x="1549241" y="194786"/>
                  </a:cubicBezTo>
                  <a:cubicBezTo>
                    <a:pt x="1545431" y="186214"/>
                    <a:pt x="1541621" y="179546"/>
                    <a:pt x="1537811" y="173831"/>
                  </a:cubicBezTo>
                  <a:cubicBezTo>
                    <a:pt x="1530191" y="162401"/>
                    <a:pt x="1526381" y="156686"/>
                    <a:pt x="1526381" y="156686"/>
                  </a:cubicBezTo>
                  <a:cubicBezTo>
                    <a:pt x="1526381" y="156686"/>
                    <a:pt x="1529239" y="163354"/>
                    <a:pt x="1534001" y="175736"/>
                  </a:cubicBezTo>
                  <a:cubicBezTo>
                    <a:pt x="1536859" y="181451"/>
                    <a:pt x="1539716" y="189071"/>
                    <a:pt x="1542574" y="197644"/>
                  </a:cubicBezTo>
                  <a:cubicBezTo>
                    <a:pt x="1543526" y="201454"/>
                    <a:pt x="1545431" y="205264"/>
                    <a:pt x="1546384" y="209074"/>
                  </a:cubicBezTo>
                  <a:cubicBezTo>
                    <a:pt x="1546384" y="208121"/>
                    <a:pt x="1545431" y="208121"/>
                    <a:pt x="1545431" y="208121"/>
                  </a:cubicBezTo>
                  <a:cubicBezTo>
                    <a:pt x="1545431" y="208121"/>
                    <a:pt x="1546384" y="209074"/>
                    <a:pt x="1546384" y="210979"/>
                  </a:cubicBezTo>
                  <a:cubicBezTo>
                    <a:pt x="1548289" y="215741"/>
                    <a:pt x="1549241" y="220504"/>
                    <a:pt x="1551146" y="226219"/>
                  </a:cubicBezTo>
                  <a:cubicBezTo>
                    <a:pt x="1552099" y="228124"/>
                    <a:pt x="1552099" y="229076"/>
                    <a:pt x="1552099" y="230981"/>
                  </a:cubicBezTo>
                  <a:cubicBezTo>
                    <a:pt x="1552099" y="232886"/>
                    <a:pt x="1553051" y="233839"/>
                    <a:pt x="1553051" y="235744"/>
                  </a:cubicBezTo>
                  <a:cubicBezTo>
                    <a:pt x="1553051" y="237649"/>
                    <a:pt x="1553051" y="239554"/>
                    <a:pt x="1554004" y="241459"/>
                  </a:cubicBezTo>
                  <a:cubicBezTo>
                    <a:pt x="1554004" y="242411"/>
                    <a:pt x="1554004" y="243364"/>
                    <a:pt x="1554004" y="244316"/>
                  </a:cubicBezTo>
                  <a:cubicBezTo>
                    <a:pt x="1554004" y="246221"/>
                    <a:pt x="1553051" y="248126"/>
                    <a:pt x="1553051" y="250031"/>
                  </a:cubicBezTo>
                  <a:cubicBezTo>
                    <a:pt x="1551146" y="253841"/>
                    <a:pt x="1549241" y="257651"/>
                    <a:pt x="1547336" y="263366"/>
                  </a:cubicBezTo>
                  <a:cubicBezTo>
                    <a:pt x="1545431" y="258604"/>
                    <a:pt x="1543526" y="254794"/>
                    <a:pt x="1542574" y="251936"/>
                  </a:cubicBezTo>
                  <a:cubicBezTo>
                    <a:pt x="1542574" y="249079"/>
                    <a:pt x="1542574" y="245269"/>
                    <a:pt x="1542574" y="243364"/>
                  </a:cubicBezTo>
                  <a:cubicBezTo>
                    <a:pt x="1542574" y="230029"/>
                    <a:pt x="1542574" y="222409"/>
                    <a:pt x="1542574" y="222409"/>
                  </a:cubicBezTo>
                  <a:cubicBezTo>
                    <a:pt x="1542574" y="222409"/>
                    <a:pt x="1541621" y="230029"/>
                    <a:pt x="1538764" y="243364"/>
                  </a:cubicBezTo>
                  <a:cubicBezTo>
                    <a:pt x="1538764" y="243364"/>
                    <a:pt x="1538764" y="243364"/>
                    <a:pt x="1538764" y="243364"/>
                  </a:cubicBezTo>
                  <a:cubicBezTo>
                    <a:pt x="1534001" y="232886"/>
                    <a:pt x="1531144" y="226219"/>
                    <a:pt x="1531144" y="226219"/>
                  </a:cubicBezTo>
                  <a:cubicBezTo>
                    <a:pt x="1531144" y="226219"/>
                    <a:pt x="1533049" y="234791"/>
                    <a:pt x="1537811" y="250031"/>
                  </a:cubicBezTo>
                  <a:cubicBezTo>
                    <a:pt x="1537811" y="252889"/>
                    <a:pt x="1536859" y="255746"/>
                    <a:pt x="1536859" y="258604"/>
                  </a:cubicBezTo>
                  <a:cubicBezTo>
                    <a:pt x="1534954" y="251936"/>
                    <a:pt x="1533049" y="245269"/>
                    <a:pt x="1531144" y="239554"/>
                  </a:cubicBezTo>
                  <a:cubicBezTo>
                    <a:pt x="1529239" y="232886"/>
                    <a:pt x="1527334" y="227171"/>
                    <a:pt x="1525429" y="220504"/>
                  </a:cubicBezTo>
                  <a:cubicBezTo>
                    <a:pt x="1524476" y="217646"/>
                    <a:pt x="1523524" y="214789"/>
                    <a:pt x="1521619" y="211931"/>
                  </a:cubicBezTo>
                  <a:cubicBezTo>
                    <a:pt x="1518761" y="173831"/>
                    <a:pt x="1515904" y="150019"/>
                    <a:pt x="1515904" y="150019"/>
                  </a:cubicBezTo>
                  <a:cubicBezTo>
                    <a:pt x="1515904" y="150019"/>
                    <a:pt x="1514951" y="166211"/>
                    <a:pt x="1513046" y="192881"/>
                  </a:cubicBezTo>
                  <a:cubicBezTo>
                    <a:pt x="1510189" y="187166"/>
                    <a:pt x="1508284" y="182404"/>
                    <a:pt x="1506379" y="177641"/>
                  </a:cubicBezTo>
                  <a:cubicBezTo>
                    <a:pt x="1499711" y="163354"/>
                    <a:pt x="1495901" y="154781"/>
                    <a:pt x="1495901" y="154781"/>
                  </a:cubicBezTo>
                  <a:cubicBezTo>
                    <a:pt x="1495901" y="154781"/>
                    <a:pt x="1497806" y="163354"/>
                    <a:pt x="1502569" y="178594"/>
                  </a:cubicBezTo>
                  <a:cubicBezTo>
                    <a:pt x="1503521" y="182404"/>
                    <a:pt x="1504474" y="186214"/>
                    <a:pt x="1505426" y="190024"/>
                  </a:cubicBezTo>
                  <a:cubicBezTo>
                    <a:pt x="1505426" y="189071"/>
                    <a:pt x="1504474" y="189071"/>
                    <a:pt x="1504474" y="189071"/>
                  </a:cubicBezTo>
                  <a:cubicBezTo>
                    <a:pt x="1504474" y="189071"/>
                    <a:pt x="1506379" y="196691"/>
                    <a:pt x="1510189" y="210026"/>
                  </a:cubicBezTo>
                  <a:cubicBezTo>
                    <a:pt x="1510189" y="210979"/>
                    <a:pt x="1511141" y="212884"/>
                    <a:pt x="1511141" y="213836"/>
                  </a:cubicBezTo>
                  <a:cubicBezTo>
                    <a:pt x="1511141" y="220504"/>
                    <a:pt x="1510189" y="227171"/>
                    <a:pt x="1510189" y="233839"/>
                  </a:cubicBezTo>
                  <a:cubicBezTo>
                    <a:pt x="1510189" y="241459"/>
                    <a:pt x="1509236" y="250031"/>
                    <a:pt x="1509236" y="258604"/>
                  </a:cubicBezTo>
                  <a:cubicBezTo>
                    <a:pt x="1503521" y="241459"/>
                    <a:pt x="1498759" y="230981"/>
                    <a:pt x="1498759" y="230981"/>
                  </a:cubicBezTo>
                  <a:cubicBezTo>
                    <a:pt x="1498759" y="230981"/>
                    <a:pt x="1501616" y="248126"/>
                    <a:pt x="1508284" y="275749"/>
                  </a:cubicBezTo>
                  <a:cubicBezTo>
                    <a:pt x="1508284" y="279559"/>
                    <a:pt x="1508284" y="283369"/>
                    <a:pt x="1507331" y="288131"/>
                  </a:cubicBezTo>
                  <a:cubicBezTo>
                    <a:pt x="1506379" y="290036"/>
                    <a:pt x="1505426" y="290989"/>
                    <a:pt x="1504474" y="292894"/>
                  </a:cubicBezTo>
                  <a:cubicBezTo>
                    <a:pt x="1503521" y="294799"/>
                    <a:pt x="1501616" y="296704"/>
                    <a:pt x="1500664" y="298609"/>
                  </a:cubicBezTo>
                  <a:cubicBezTo>
                    <a:pt x="1497806" y="287179"/>
                    <a:pt x="1495901" y="275749"/>
                    <a:pt x="1493044" y="266224"/>
                  </a:cubicBezTo>
                  <a:cubicBezTo>
                    <a:pt x="1495901" y="253841"/>
                    <a:pt x="1497806" y="246221"/>
                    <a:pt x="1497806" y="246221"/>
                  </a:cubicBezTo>
                  <a:cubicBezTo>
                    <a:pt x="1497806" y="246221"/>
                    <a:pt x="1495901" y="251936"/>
                    <a:pt x="1491139" y="260509"/>
                  </a:cubicBezTo>
                  <a:cubicBezTo>
                    <a:pt x="1491139" y="260509"/>
                    <a:pt x="1491139" y="259556"/>
                    <a:pt x="1491139" y="259556"/>
                  </a:cubicBezTo>
                  <a:cubicBezTo>
                    <a:pt x="1491139" y="253841"/>
                    <a:pt x="1490186" y="249079"/>
                    <a:pt x="1490186" y="244316"/>
                  </a:cubicBezTo>
                  <a:cubicBezTo>
                    <a:pt x="1490186" y="242411"/>
                    <a:pt x="1490186" y="240506"/>
                    <a:pt x="1489234" y="238601"/>
                  </a:cubicBezTo>
                  <a:cubicBezTo>
                    <a:pt x="1489234" y="237649"/>
                    <a:pt x="1489234" y="237649"/>
                    <a:pt x="1489234" y="237649"/>
                  </a:cubicBezTo>
                  <a:cubicBezTo>
                    <a:pt x="1489234" y="237649"/>
                    <a:pt x="1489234" y="237649"/>
                    <a:pt x="1489234" y="238601"/>
                  </a:cubicBezTo>
                  <a:cubicBezTo>
                    <a:pt x="1488281" y="230981"/>
                    <a:pt x="1488281" y="225266"/>
                    <a:pt x="1486376" y="219551"/>
                  </a:cubicBezTo>
                  <a:cubicBezTo>
                    <a:pt x="1483519" y="206216"/>
                    <a:pt x="1482566" y="198596"/>
                    <a:pt x="1482566" y="198596"/>
                  </a:cubicBezTo>
                  <a:cubicBezTo>
                    <a:pt x="1482566" y="198596"/>
                    <a:pt x="1482566" y="206216"/>
                    <a:pt x="1482566" y="220504"/>
                  </a:cubicBezTo>
                  <a:cubicBezTo>
                    <a:pt x="1482566" y="222409"/>
                    <a:pt x="1482566" y="225266"/>
                    <a:pt x="1482566" y="228124"/>
                  </a:cubicBezTo>
                  <a:cubicBezTo>
                    <a:pt x="1476851" y="206216"/>
                    <a:pt x="1473041" y="193834"/>
                    <a:pt x="1473041" y="193834"/>
                  </a:cubicBezTo>
                  <a:cubicBezTo>
                    <a:pt x="1473041" y="193834"/>
                    <a:pt x="1474946" y="220504"/>
                    <a:pt x="1479709" y="259556"/>
                  </a:cubicBezTo>
                  <a:cubicBezTo>
                    <a:pt x="1479709" y="260509"/>
                    <a:pt x="1478756" y="261461"/>
                    <a:pt x="1478756" y="262414"/>
                  </a:cubicBezTo>
                  <a:cubicBezTo>
                    <a:pt x="1477804" y="263366"/>
                    <a:pt x="1477804" y="265271"/>
                    <a:pt x="1476851" y="266224"/>
                  </a:cubicBezTo>
                  <a:cubicBezTo>
                    <a:pt x="1476851" y="263366"/>
                    <a:pt x="1475899" y="260509"/>
                    <a:pt x="1475899" y="257651"/>
                  </a:cubicBezTo>
                  <a:cubicBezTo>
                    <a:pt x="1473994" y="244316"/>
                    <a:pt x="1473041" y="232886"/>
                    <a:pt x="1471136" y="221456"/>
                  </a:cubicBezTo>
                  <a:cubicBezTo>
                    <a:pt x="1469231" y="210979"/>
                    <a:pt x="1468279" y="201454"/>
                    <a:pt x="1466374" y="193834"/>
                  </a:cubicBezTo>
                  <a:cubicBezTo>
                    <a:pt x="1462564" y="178594"/>
                    <a:pt x="1460659" y="170021"/>
                    <a:pt x="1460659" y="170021"/>
                  </a:cubicBezTo>
                  <a:cubicBezTo>
                    <a:pt x="1460659" y="170021"/>
                    <a:pt x="1461611" y="178594"/>
                    <a:pt x="1462564" y="193834"/>
                  </a:cubicBezTo>
                  <a:cubicBezTo>
                    <a:pt x="1463516" y="201454"/>
                    <a:pt x="1463516" y="210979"/>
                    <a:pt x="1464469" y="221456"/>
                  </a:cubicBezTo>
                  <a:cubicBezTo>
                    <a:pt x="1465421" y="231934"/>
                    <a:pt x="1465421" y="244316"/>
                    <a:pt x="1465421" y="257651"/>
                  </a:cubicBezTo>
                  <a:cubicBezTo>
                    <a:pt x="1465421" y="263366"/>
                    <a:pt x="1465421" y="269081"/>
                    <a:pt x="1465421" y="275749"/>
                  </a:cubicBezTo>
                  <a:cubicBezTo>
                    <a:pt x="1462564" y="265271"/>
                    <a:pt x="1458754" y="254794"/>
                    <a:pt x="1455896" y="246221"/>
                  </a:cubicBezTo>
                  <a:cubicBezTo>
                    <a:pt x="1453039" y="235744"/>
                    <a:pt x="1450181" y="226219"/>
                    <a:pt x="1447324" y="218599"/>
                  </a:cubicBezTo>
                  <a:cubicBezTo>
                    <a:pt x="1442561" y="203359"/>
                    <a:pt x="1439704" y="194786"/>
                    <a:pt x="1439704" y="194786"/>
                  </a:cubicBezTo>
                  <a:cubicBezTo>
                    <a:pt x="1439704" y="194786"/>
                    <a:pt x="1440656" y="202406"/>
                    <a:pt x="1442561" y="215741"/>
                  </a:cubicBezTo>
                  <a:cubicBezTo>
                    <a:pt x="1439704" y="203359"/>
                    <a:pt x="1437799" y="193834"/>
                    <a:pt x="1435894" y="185261"/>
                  </a:cubicBezTo>
                  <a:cubicBezTo>
                    <a:pt x="1435894" y="169069"/>
                    <a:pt x="1435894" y="159544"/>
                    <a:pt x="1435894" y="159544"/>
                  </a:cubicBezTo>
                  <a:cubicBezTo>
                    <a:pt x="1435894" y="159544"/>
                    <a:pt x="1434941" y="164306"/>
                    <a:pt x="1433036" y="173831"/>
                  </a:cubicBezTo>
                  <a:cubicBezTo>
                    <a:pt x="1431131" y="165259"/>
                    <a:pt x="1430179" y="160496"/>
                    <a:pt x="1430179" y="160496"/>
                  </a:cubicBezTo>
                  <a:cubicBezTo>
                    <a:pt x="1430179" y="160496"/>
                    <a:pt x="1430179" y="162401"/>
                    <a:pt x="1430179" y="166211"/>
                  </a:cubicBezTo>
                  <a:cubicBezTo>
                    <a:pt x="1428274" y="158591"/>
                    <a:pt x="1427321" y="151924"/>
                    <a:pt x="1425416" y="147161"/>
                  </a:cubicBezTo>
                  <a:cubicBezTo>
                    <a:pt x="1421606" y="134779"/>
                    <a:pt x="1418749" y="127159"/>
                    <a:pt x="1418749" y="127159"/>
                  </a:cubicBezTo>
                  <a:cubicBezTo>
                    <a:pt x="1418749" y="127159"/>
                    <a:pt x="1419701" y="134779"/>
                    <a:pt x="1421606" y="148114"/>
                  </a:cubicBezTo>
                  <a:cubicBezTo>
                    <a:pt x="1422559" y="154781"/>
                    <a:pt x="1423511" y="162401"/>
                    <a:pt x="1423511" y="171926"/>
                  </a:cubicBezTo>
                  <a:cubicBezTo>
                    <a:pt x="1424464" y="181451"/>
                    <a:pt x="1424464" y="190976"/>
                    <a:pt x="1425416" y="202406"/>
                  </a:cubicBezTo>
                  <a:cubicBezTo>
                    <a:pt x="1425416" y="208121"/>
                    <a:pt x="1426369" y="212884"/>
                    <a:pt x="1426369" y="218599"/>
                  </a:cubicBezTo>
                  <a:cubicBezTo>
                    <a:pt x="1425416" y="224314"/>
                    <a:pt x="1424464" y="230029"/>
                    <a:pt x="1424464" y="235744"/>
                  </a:cubicBezTo>
                  <a:cubicBezTo>
                    <a:pt x="1423511" y="231934"/>
                    <a:pt x="1422559" y="229076"/>
                    <a:pt x="1421606" y="226219"/>
                  </a:cubicBezTo>
                  <a:cubicBezTo>
                    <a:pt x="1419701" y="219551"/>
                    <a:pt x="1416844" y="214789"/>
                    <a:pt x="1415891" y="210026"/>
                  </a:cubicBezTo>
                  <a:cubicBezTo>
                    <a:pt x="1412081" y="201454"/>
                    <a:pt x="1410176" y="195739"/>
                    <a:pt x="1410176" y="195739"/>
                  </a:cubicBezTo>
                  <a:cubicBezTo>
                    <a:pt x="1410176" y="195739"/>
                    <a:pt x="1411129" y="201454"/>
                    <a:pt x="1412081" y="210979"/>
                  </a:cubicBezTo>
                  <a:cubicBezTo>
                    <a:pt x="1413034" y="215741"/>
                    <a:pt x="1413986" y="221456"/>
                    <a:pt x="1414939" y="228124"/>
                  </a:cubicBezTo>
                  <a:cubicBezTo>
                    <a:pt x="1415891" y="234791"/>
                    <a:pt x="1416844" y="241459"/>
                    <a:pt x="1416844" y="250031"/>
                  </a:cubicBezTo>
                  <a:cubicBezTo>
                    <a:pt x="1416844" y="255746"/>
                    <a:pt x="1417796" y="261461"/>
                    <a:pt x="1418749" y="268129"/>
                  </a:cubicBezTo>
                  <a:cubicBezTo>
                    <a:pt x="1416844" y="270986"/>
                    <a:pt x="1414939" y="273844"/>
                    <a:pt x="1413034" y="277654"/>
                  </a:cubicBezTo>
                  <a:cubicBezTo>
                    <a:pt x="1412081" y="275749"/>
                    <a:pt x="1412081" y="273844"/>
                    <a:pt x="1411129" y="271939"/>
                  </a:cubicBezTo>
                  <a:cubicBezTo>
                    <a:pt x="1406366" y="237649"/>
                    <a:pt x="1401604" y="215741"/>
                    <a:pt x="1401604" y="215741"/>
                  </a:cubicBezTo>
                  <a:cubicBezTo>
                    <a:pt x="1401604" y="215741"/>
                    <a:pt x="1401604" y="226219"/>
                    <a:pt x="1400651" y="243364"/>
                  </a:cubicBezTo>
                  <a:cubicBezTo>
                    <a:pt x="1397794" y="233839"/>
                    <a:pt x="1394936" y="226219"/>
                    <a:pt x="1392079" y="219551"/>
                  </a:cubicBezTo>
                  <a:cubicBezTo>
                    <a:pt x="1392079" y="217646"/>
                    <a:pt x="1393031" y="215741"/>
                    <a:pt x="1393031" y="213836"/>
                  </a:cubicBezTo>
                  <a:cubicBezTo>
                    <a:pt x="1393984" y="212884"/>
                    <a:pt x="1394936" y="211931"/>
                    <a:pt x="1395889" y="210979"/>
                  </a:cubicBezTo>
                  <a:cubicBezTo>
                    <a:pt x="1399699" y="207169"/>
                    <a:pt x="1400651" y="205264"/>
                    <a:pt x="1400651" y="205264"/>
                  </a:cubicBezTo>
                  <a:cubicBezTo>
                    <a:pt x="1400651" y="205264"/>
                    <a:pt x="1398746" y="207169"/>
                    <a:pt x="1394936" y="210026"/>
                  </a:cubicBezTo>
                  <a:cubicBezTo>
                    <a:pt x="1394936" y="210026"/>
                    <a:pt x="1393984" y="210979"/>
                    <a:pt x="1393031" y="210979"/>
                  </a:cubicBezTo>
                  <a:cubicBezTo>
                    <a:pt x="1393984" y="205264"/>
                    <a:pt x="1394936" y="202406"/>
                    <a:pt x="1394936" y="202406"/>
                  </a:cubicBezTo>
                  <a:cubicBezTo>
                    <a:pt x="1394936" y="202406"/>
                    <a:pt x="1393031" y="206216"/>
                    <a:pt x="1391126" y="212884"/>
                  </a:cubicBezTo>
                  <a:cubicBezTo>
                    <a:pt x="1391126" y="212884"/>
                    <a:pt x="1390174" y="213836"/>
                    <a:pt x="1390174" y="213836"/>
                  </a:cubicBezTo>
                  <a:cubicBezTo>
                    <a:pt x="1386364" y="204311"/>
                    <a:pt x="1384459" y="199549"/>
                    <a:pt x="1384459" y="199549"/>
                  </a:cubicBezTo>
                  <a:cubicBezTo>
                    <a:pt x="1384459" y="199549"/>
                    <a:pt x="1385411" y="205264"/>
                    <a:pt x="1387316" y="215741"/>
                  </a:cubicBezTo>
                  <a:cubicBezTo>
                    <a:pt x="1384459" y="218599"/>
                    <a:pt x="1382554" y="220504"/>
                    <a:pt x="1378744" y="224314"/>
                  </a:cubicBezTo>
                  <a:cubicBezTo>
                    <a:pt x="1374934" y="229076"/>
                    <a:pt x="1371124" y="233839"/>
                    <a:pt x="1367314" y="240506"/>
                  </a:cubicBezTo>
                  <a:cubicBezTo>
                    <a:pt x="1363504" y="230029"/>
                    <a:pt x="1358741" y="219551"/>
                    <a:pt x="1354931" y="209074"/>
                  </a:cubicBezTo>
                  <a:cubicBezTo>
                    <a:pt x="1354931" y="199549"/>
                    <a:pt x="1354931" y="191929"/>
                    <a:pt x="1354931" y="185261"/>
                  </a:cubicBezTo>
                  <a:cubicBezTo>
                    <a:pt x="1354931" y="167164"/>
                    <a:pt x="1354931" y="157639"/>
                    <a:pt x="1354931" y="157639"/>
                  </a:cubicBezTo>
                  <a:cubicBezTo>
                    <a:pt x="1354931" y="157639"/>
                    <a:pt x="1353026" y="168116"/>
                    <a:pt x="1351121" y="185261"/>
                  </a:cubicBezTo>
                  <a:cubicBezTo>
                    <a:pt x="1350169" y="189071"/>
                    <a:pt x="1350169" y="192881"/>
                    <a:pt x="1349216" y="197644"/>
                  </a:cubicBezTo>
                  <a:cubicBezTo>
                    <a:pt x="1347311" y="193834"/>
                    <a:pt x="1345406" y="190024"/>
                    <a:pt x="1343501" y="186214"/>
                  </a:cubicBezTo>
                  <a:cubicBezTo>
                    <a:pt x="1343501" y="181451"/>
                    <a:pt x="1344454" y="175736"/>
                    <a:pt x="1344454" y="171926"/>
                  </a:cubicBezTo>
                  <a:cubicBezTo>
                    <a:pt x="1344454" y="166211"/>
                    <a:pt x="1344454" y="161449"/>
                    <a:pt x="1344454" y="157639"/>
                  </a:cubicBezTo>
                  <a:cubicBezTo>
                    <a:pt x="1344454" y="151924"/>
                    <a:pt x="1345406" y="147161"/>
                    <a:pt x="1345406" y="142399"/>
                  </a:cubicBezTo>
                  <a:cubicBezTo>
                    <a:pt x="1346359" y="129064"/>
                    <a:pt x="1346359" y="120491"/>
                    <a:pt x="1346359" y="120491"/>
                  </a:cubicBezTo>
                  <a:cubicBezTo>
                    <a:pt x="1346359" y="120491"/>
                    <a:pt x="1344454" y="128111"/>
                    <a:pt x="1341596" y="141446"/>
                  </a:cubicBezTo>
                  <a:cubicBezTo>
                    <a:pt x="1340644" y="148114"/>
                    <a:pt x="1338739" y="156686"/>
                    <a:pt x="1336834" y="166211"/>
                  </a:cubicBezTo>
                  <a:cubicBezTo>
                    <a:pt x="1336834" y="167164"/>
                    <a:pt x="1336834" y="168116"/>
                    <a:pt x="1335881" y="169069"/>
                  </a:cubicBezTo>
                  <a:cubicBezTo>
                    <a:pt x="1333024" y="162401"/>
                    <a:pt x="1330166" y="156686"/>
                    <a:pt x="1327309" y="150971"/>
                  </a:cubicBezTo>
                  <a:cubicBezTo>
                    <a:pt x="1299686" y="91916"/>
                    <a:pt x="1280636" y="53816"/>
                    <a:pt x="1280636" y="53816"/>
                  </a:cubicBezTo>
                  <a:cubicBezTo>
                    <a:pt x="1280636" y="53816"/>
                    <a:pt x="1293971" y="94774"/>
                    <a:pt x="1317784" y="155734"/>
                  </a:cubicBezTo>
                  <a:cubicBezTo>
                    <a:pt x="1322546" y="168116"/>
                    <a:pt x="1327309" y="180499"/>
                    <a:pt x="1332071" y="193834"/>
                  </a:cubicBezTo>
                  <a:cubicBezTo>
                    <a:pt x="1332071" y="195739"/>
                    <a:pt x="1332071" y="196691"/>
                    <a:pt x="1331119" y="197644"/>
                  </a:cubicBezTo>
                  <a:cubicBezTo>
                    <a:pt x="1329214" y="209074"/>
                    <a:pt x="1327309" y="222409"/>
                    <a:pt x="1326356" y="235744"/>
                  </a:cubicBezTo>
                  <a:cubicBezTo>
                    <a:pt x="1324451" y="249079"/>
                    <a:pt x="1323499" y="263366"/>
                    <a:pt x="1321594" y="277654"/>
                  </a:cubicBezTo>
                  <a:cubicBezTo>
                    <a:pt x="1321594" y="283369"/>
                    <a:pt x="1320641" y="288131"/>
                    <a:pt x="1319689" y="293846"/>
                  </a:cubicBezTo>
                  <a:cubicBezTo>
                    <a:pt x="1318736" y="292894"/>
                    <a:pt x="1318736" y="291941"/>
                    <a:pt x="1317784" y="290989"/>
                  </a:cubicBezTo>
                  <a:cubicBezTo>
                    <a:pt x="1317784" y="289084"/>
                    <a:pt x="1317784" y="289084"/>
                    <a:pt x="1317784" y="289084"/>
                  </a:cubicBezTo>
                  <a:cubicBezTo>
                    <a:pt x="1317784" y="289084"/>
                    <a:pt x="1317784" y="290036"/>
                    <a:pt x="1316831" y="290989"/>
                  </a:cubicBezTo>
                  <a:cubicBezTo>
                    <a:pt x="1316831" y="290036"/>
                    <a:pt x="1315879" y="289084"/>
                    <a:pt x="1315879" y="288131"/>
                  </a:cubicBezTo>
                  <a:cubicBezTo>
                    <a:pt x="1314926" y="287179"/>
                    <a:pt x="1314926" y="286226"/>
                    <a:pt x="1313974" y="285274"/>
                  </a:cubicBezTo>
                  <a:cubicBezTo>
                    <a:pt x="1315879" y="259556"/>
                    <a:pt x="1316831" y="244316"/>
                    <a:pt x="1316831" y="244316"/>
                  </a:cubicBezTo>
                  <a:cubicBezTo>
                    <a:pt x="1316831" y="244316"/>
                    <a:pt x="1313974" y="256699"/>
                    <a:pt x="1309211" y="277654"/>
                  </a:cubicBezTo>
                  <a:cubicBezTo>
                    <a:pt x="1305401" y="271939"/>
                    <a:pt x="1302544" y="266224"/>
                    <a:pt x="1298734" y="260509"/>
                  </a:cubicBezTo>
                  <a:cubicBezTo>
                    <a:pt x="1304449" y="235744"/>
                    <a:pt x="1310164" y="213836"/>
                    <a:pt x="1313974" y="199549"/>
                  </a:cubicBezTo>
                  <a:cubicBezTo>
                    <a:pt x="1317784" y="182404"/>
                    <a:pt x="1319689" y="172879"/>
                    <a:pt x="1319689" y="172879"/>
                  </a:cubicBezTo>
                  <a:cubicBezTo>
                    <a:pt x="1319689" y="172879"/>
                    <a:pt x="1307306" y="202406"/>
                    <a:pt x="1291114" y="249079"/>
                  </a:cubicBezTo>
                  <a:cubicBezTo>
                    <a:pt x="1287304" y="243364"/>
                    <a:pt x="1284446" y="238601"/>
                    <a:pt x="1281589" y="234791"/>
                  </a:cubicBezTo>
                  <a:cubicBezTo>
                    <a:pt x="1273016" y="222409"/>
                    <a:pt x="1267301" y="215741"/>
                    <a:pt x="1267301" y="215741"/>
                  </a:cubicBezTo>
                  <a:cubicBezTo>
                    <a:pt x="1267301" y="215741"/>
                    <a:pt x="1270159" y="222409"/>
                    <a:pt x="1275874" y="232886"/>
                  </a:cubicBezTo>
                  <a:cubicBezTo>
                    <a:pt x="1274921" y="234791"/>
                    <a:pt x="1273969" y="238601"/>
                    <a:pt x="1272064" y="243364"/>
                  </a:cubicBezTo>
                  <a:cubicBezTo>
                    <a:pt x="1268254" y="237649"/>
                    <a:pt x="1264444" y="231934"/>
                    <a:pt x="1261586" y="227171"/>
                  </a:cubicBezTo>
                  <a:cubicBezTo>
                    <a:pt x="1257776" y="221456"/>
                    <a:pt x="1253014" y="215741"/>
                    <a:pt x="1249204" y="210979"/>
                  </a:cubicBezTo>
                  <a:cubicBezTo>
                    <a:pt x="1248251" y="210026"/>
                    <a:pt x="1248251" y="209074"/>
                    <a:pt x="1247299" y="208121"/>
                  </a:cubicBezTo>
                  <a:cubicBezTo>
                    <a:pt x="1250156" y="203359"/>
                    <a:pt x="1251109" y="199549"/>
                    <a:pt x="1251109" y="199549"/>
                  </a:cubicBezTo>
                  <a:cubicBezTo>
                    <a:pt x="1251109" y="199549"/>
                    <a:pt x="1249204" y="202406"/>
                    <a:pt x="1246346" y="206216"/>
                  </a:cubicBezTo>
                  <a:cubicBezTo>
                    <a:pt x="1239679" y="197644"/>
                    <a:pt x="1233964" y="190024"/>
                    <a:pt x="1229201" y="184309"/>
                  </a:cubicBezTo>
                  <a:cubicBezTo>
                    <a:pt x="1217771" y="170974"/>
                    <a:pt x="1211104" y="162401"/>
                    <a:pt x="1211104" y="162401"/>
                  </a:cubicBezTo>
                  <a:cubicBezTo>
                    <a:pt x="1211104" y="162401"/>
                    <a:pt x="1216819" y="170974"/>
                    <a:pt x="1226344" y="186214"/>
                  </a:cubicBezTo>
                  <a:cubicBezTo>
                    <a:pt x="1231106" y="192881"/>
                    <a:pt x="1235869" y="202406"/>
                    <a:pt x="1242536" y="211931"/>
                  </a:cubicBezTo>
                  <a:cubicBezTo>
                    <a:pt x="1240631" y="214789"/>
                    <a:pt x="1238726" y="217646"/>
                    <a:pt x="1236821" y="220504"/>
                  </a:cubicBezTo>
                  <a:cubicBezTo>
                    <a:pt x="1235869" y="222409"/>
                    <a:pt x="1234916" y="224314"/>
                    <a:pt x="1233011" y="226219"/>
                  </a:cubicBezTo>
                  <a:cubicBezTo>
                    <a:pt x="1233011" y="221456"/>
                    <a:pt x="1232059" y="217646"/>
                    <a:pt x="1231106" y="212884"/>
                  </a:cubicBezTo>
                  <a:cubicBezTo>
                    <a:pt x="1231106" y="211931"/>
                    <a:pt x="1230154" y="210026"/>
                    <a:pt x="1228249" y="209074"/>
                  </a:cubicBezTo>
                  <a:cubicBezTo>
                    <a:pt x="1228249" y="209074"/>
                    <a:pt x="1227296" y="209074"/>
                    <a:pt x="1226344" y="209074"/>
                  </a:cubicBezTo>
                  <a:cubicBezTo>
                    <a:pt x="1225391" y="206216"/>
                    <a:pt x="1224439" y="202406"/>
                    <a:pt x="1223486" y="199549"/>
                  </a:cubicBezTo>
                  <a:cubicBezTo>
                    <a:pt x="1218724" y="187166"/>
                    <a:pt x="1215866" y="179546"/>
                    <a:pt x="1215866" y="179546"/>
                  </a:cubicBezTo>
                  <a:cubicBezTo>
                    <a:pt x="1215866" y="179546"/>
                    <a:pt x="1216819" y="187166"/>
                    <a:pt x="1219676" y="200501"/>
                  </a:cubicBezTo>
                  <a:cubicBezTo>
                    <a:pt x="1220629" y="204311"/>
                    <a:pt x="1220629" y="208121"/>
                    <a:pt x="1221581" y="211931"/>
                  </a:cubicBezTo>
                  <a:cubicBezTo>
                    <a:pt x="1221581" y="212884"/>
                    <a:pt x="1220629" y="212884"/>
                    <a:pt x="1220629" y="213836"/>
                  </a:cubicBezTo>
                  <a:cubicBezTo>
                    <a:pt x="1214914" y="208121"/>
                    <a:pt x="1211104" y="203359"/>
                    <a:pt x="1207294" y="200501"/>
                  </a:cubicBezTo>
                  <a:cubicBezTo>
                    <a:pt x="1203484" y="197644"/>
                    <a:pt x="1201579" y="195739"/>
                    <a:pt x="1201579" y="195739"/>
                  </a:cubicBezTo>
                  <a:cubicBezTo>
                    <a:pt x="1201579" y="195739"/>
                    <a:pt x="1203484" y="197644"/>
                    <a:pt x="1206341" y="201454"/>
                  </a:cubicBezTo>
                  <a:cubicBezTo>
                    <a:pt x="1209199" y="205264"/>
                    <a:pt x="1213009" y="210979"/>
                    <a:pt x="1217771" y="217646"/>
                  </a:cubicBezTo>
                  <a:lnTo>
                    <a:pt x="1217771" y="217646"/>
                  </a:lnTo>
                  <a:cubicBezTo>
                    <a:pt x="1216819" y="222409"/>
                    <a:pt x="1216819" y="227171"/>
                    <a:pt x="1216819" y="231934"/>
                  </a:cubicBezTo>
                  <a:cubicBezTo>
                    <a:pt x="1207294" y="223361"/>
                    <a:pt x="1202531" y="219551"/>
                    <a:pt x="1202531" y="219551"/>
                  </a:cubicBezTo>
                  <a:cubicBezTo>
                    <a:pt x="1202531" y="219551"/>
                    <a:pt x="1207294" y="226219"/>
                    <a:pt x="1215866" y="236696"/>
                  </a:cubicBezTo>
                  <a:cubicBezTo>
                    <a:pt x="1215866" y="240506"/>
                    <a:pt x="1214914" y="245269"/>
                    <a:pt x="1214914" y="249079"/>
                  </a:cubicBezTo>
                  <a:cubicBezTo>
                    <a:pt x="1214914" y="250984"/>
                    <a:pt x="1214914" y="252889"/>
                    <a:pt x="1214914" y="255746"/>
                  </a:cubicBezTo>
                  <a:cubicBezTo>
                    <a:pt x="1214914" y="253841"/>
                    <a:pt x="1213961" y="252889"/>
                    <a:pt x="1213961" y="250984"/>
                  </a:cubicBezTo>
                  <a:cubicBezTo>
                    <a:pt x="1213961" y="250984"/>
                    <a:pt x="1213961" y="250031"/>
                    <a:pt x="1213961" y="250031"/>
                  </a:cubicBezTo>
                  <a:cubicBezTo>
                    <a:pt x="1213961" y="249079"/>
                    <a:pt x="1214914" y="249079"/>
                    <a:pt x="1214914" y="249079"/>
                  </a:cubicBezTo>
                  <a:cubicBezTo>
                    <a:pt x="1214914" y="249079"/>
                    <a:pt x="1214914" y="249079"/>
                    <a:pt x="1213961" y="250031"/>
                  </a:cubicBezTo>
                  <a:cubicBezTo>
                    <a:pt x="1212056" y="242411"/>
                    <a:pt x="1209199" y="235744"/>
                    <a:pt x="1207294" y="229076"/>
                  </a:cubicBezTo>
                  <a:cubicBezTo>
                    <a:pt x="1204436" y="222409"/>
                    <a:pt x="1202531" y="216694"/>
                    <a:pt x="1200626" y="212884"/>
                  </a:cubicBezTo>
                  <a:cubicBezTo>
                    <a:pt x="1195864" y="204311"/>
                    <a:pt x="1193959" y="198596"/>
                    <a:pt x="1193959" y="198596"/>
                  </a:cubicBezTo>
                  <a:cubicBezTo>
                    <a:pt x="1193959" y="198596"/>
                    <a:pt x="1194911" y="204311"/>
                    <a:pt x="1196816" y="213836"/>
                  </a:cubicBezTo>
                  <a:cubicBezTo>
                    <a:pt x="1197769" y="218599"/>
                    <a:pt x="1198721" y="224314"/>
                    <a:pt x="1200626" y="230981"/>
                  </a:cubicBezTo>
                  <a:cubicBezTo>
                    <a:pt x="1201579" y="237649"/>
                    <a:pt x="1202531" y="245269"/>
                    <a:pt x="1204436" y="252889"/>
                  </a:cubicBezTo>
                  <a:cubicBezTo>
                    <a:pt x="1204436" y="254794"/>
                    <a:pt x="1205389" y="256699"/>
                    <a:pt x="1205389" y="258604"/>
                  </a:cubicBezTo>
                  <a:cubicBezTo>
                    <a:pt x="1202531" y="251936"/>
                    <a:pt x="1199674" y="245269"/>
                    <a:pt x="1196816" y="239554"/>
                  </a:cubicBezTo>
                  <a:cubicBezTo>
                    <a:pt x="1193959" y="233839"/>
                    <a:pt x="1191101" y="229076"/>
                    <a:pt x="1189196" y="224314"/>
                  </a:cubicBezTo>
                  <a:cubicBezTo>
                    <a:pt x="1184434" y="216694"/>
                    <a:pt x="1181576" y="211931"/>
                    <a:pt x="1181576" y="211931"/>
                  </a:cubicBezTo>
                  <a:cubicBezTo>
                    <a:pt x="1181576" y="211931"/>
                    <a:pt x="1183481" y="216694"/>
                    <a:pt x="1185386" y="225266"/>
                  </a:cubicBezTo>
                  <a:cubicBezTo>
                    <a:pt x="1187291" y="230029"/>
                    <a:pt x="1188244" y="234791"/>
                    <a:pt x="1190149" y="241459"/>
                  </a:cubicBezTo>
                  <a:cubicBezTo>
                    <a:pt x="1192054" y="247174"/>
                    <a:pt x="1193006" y="254794"/>
                    <a:pt x="1194911" y="262414"/>
                  </a:cubicBezTo>
                  <a:cubicBezTo>
                    <a:pt x="1195864" y="267176"/>
                    <a:pt x="1196816" y="271939"/>
                    <a:pt x="1197769" y="276701"/>
                  </a:cubicBezTo>
                  <a:cubicBezTo>
                    <a:pt x="1196816" y="279559"/>
                    <a:pt x="1194911" y="281464"/>
                    <a:pt x="1193959" y="284321"/>
                  </a:cubicBezTo>
                  <a:cubicBezTo>
                    <a:pt x="1193959" y="284321"/>
                    <a:pt x="1193959" y="283369"/>
                    <a:pt x="1193959" y="283369"/>
                  </a:cubicBezTo>
                  <a:cubicBezTo>
                    <a:pt x="1193959" y="282416"/>
                    <a:pt x="1193006" y="280511"/>
                    <a:pt x="1193006" y="279559"/>
                  </a:cubicBezTo>
                  <a:cubicBezTo>
                    <a:pt x="1193959" y="277654"/>
                    <a:pt x="1193959" y="276701"/>
                    <a:pt x="1193959" y="276701"/>
                  </a:cubicBezTo>
                  <a:cubicBezTo>
                    <a:pt x="1193959" y="276701"/>
                    <a:pt x="1193959" y="277654"/>
                    <a:pt x="1193006" y="278606"/>
                  </a:cubicBezTo>
                  <a:cubicBezTo>
                    <a:pt x="1190149" y="268129"/>
                    <a:pt x="1187291" y="258604"/>
                    <a:pt x="1184434" y="250984"/>
                  </a:cubicBezTo>
                  <a:cubicBezTo>
                    <a:pt x="1179671" y="239554"/>
                    <a:pt x="1176814" y="231934"/>
                    <a:pt x="1174909" y="227171"/>
                  </a:cubicBezTo>
                  <a:cubicBezTo>
                    <a:pt x="1174909" y="226219"/>
                    <a:pt x="1174909" y="224314"/>
                    <a:pt x="1174909" y="223361"/>
                  </a:cubicBezTo>
                  <a:cubicBezTo>
                    <a:pt x="1174909" y="212884"/>
                    <a:pt x="1175861" y="204311"/>
                    <a:pt x="1175861" y="196691"/>
                  </a:cubicBezTo>
                  <a:cubicBezTo>
                    <a:pt x="1175861" y="182404"/>
                    <a:pt x="1174909" y="173831"/>
                    <a:pt x="1174909" y="173831"/>
                  </a:cubicBezTo>
                  <a:cubicBezTo>
                    <a:pt x="1174909" y="173831"/>
                    <a:pt x="1173956" y="182404"/>
                    <a:pt x="1172051" y="196691"/>
                  </a:cubicBezTo>
                  <a:cubicBezTo>
                    <a:pt x="1171099" y="204311"/>
                    <a:pt x="1169194" y="212884"/>
                    <a:pt x="1168241" y="223361"/>
                  </a:cubicBezTo>
                  <a:cubicBezTo>
                    <a:pt x="1168241" y="224314"/>
                    <a:pt x="1168241" y="225266"/>
                    <a:pt x="1168241" y="226219"/>
                  </a:cubicBezTo>
                  <a:cubicBezTo>
                    <a:pt x="1167289" y="229076"/>
                    <a:pt x="1165384" y="232886"/>
                    <a:pt x="1162526" y="238601"/>
                  </a:cubicBezTo>
                  <a:cubicBezTo>
                    <a:pt x="1161574" y="230981"/>
                    <a:pt x="1160621" y="223361"/>
                    <a:pt x="1158716" y="215741"/>
                  </a:cubicBezTo>
                  <a:cubicBezTo>
                    <a:pt x="1156811" y="206216"/>
                    <a:pt x="1153954" y="197644"/>
                    <a:pt x="1152049" y="189071"/>
                  </a:cubicBezTo>
                  <a:cubicBezTo>
                    <a:pt x="1143476" y="155734"/>
                    <a:pt x="1136809" y="133826"/>
                    <a:pt x="1136809" y="133826"/>
                  </a:cubicBezTo>
                  <a:cubicBezTo>
                    <a:pt x="1136809" y="133826"/>
                    <a:pt x="1137761" y="156686"/>
                    <a:pt x="1140619" y="190024"/>
                  </a:cubicBezTo>
                  <a:cubicBezTo>
                    <a:pt x="1141571" y="198596"/>
                    <a:pt x="1142524" y="208121"/>
                    <a:pt x="1143476" y="217646"/>
                  </a:cubicBezTo>
                  <a:cubicBezTo>
                    <a:pt x="1144429" y="227171"/>
                    <a:pt x="1144429" y="237649"/>
                    <a:pt x="1146334" y="248126"/>
                  </a:cubicBezTo>
                  <a:cubicBezTo>
                    <a:pt x="1146334" y="252889"/>
                    <a:pt x="1147286" y="256699"/>
                    <a:pt x="1147286" y="261461"/>
                  </a:cubicBezTo>
                  <a:cubicBezTo>
                    <a:pt x="1147286" y="261461"/>
                    <a:pt x="1147286" y="261461"/>
                    <a:pt x="1147286" y="261461"/>
                  </a:cubicBezTo>
                  <a:cubicBezTo>
                    <a:pt x="1147286" y="259556"/>
                    <a:pt x="1147286" y="258604"/>
                    <a:pt x="1147286" y="258604"/>
                  </a:cubicBezTo>
                  <a:cubicBezTo>
                    <a:pt x="1147286" y="258604"/>
                    <a:pt x="1147286" y="259556"/>
                    <a:pt x="1147286" y="260509"/>
                  </a:cubicBezTo>
                  <a:cubicBezTo>
                    <a:pt x="1146334" y="257651"/>
                    <a:pt x="1144429" y="254794"/>
                    <a:pt x="1143476" y="251936"/>
                  </a:cubicBezTo>
                  <a:cubicBezTo>
                    <a:pt x="1142524" y="250984"/>
                    <a:pt x="1142524" y="250031"/>
                    <a:pt x="1141571" y="249079"/>
                  </a:cubicBezTo>
                  <a:cubicBezTo>
                    <a:pt x="1141571" y="242411"/>
                    <a:pt x="1141571" y="237649"/>
                    <a:pt x="1141571" y="237649"/>
                  </a:cubicBezTo>
                  <a:cubicBezTo>
                    <a:pt x="1141571" y="237649"/>
                    <a:pt x="1140619" y="240506"/>
                    <a:pt x="1139666" y="246221"/>
                  </a:cubicBezTo>
                  <a:cubicBezTo>
                    <a:pt x="1136809" y="241459"/>
                    <a:pt x="1134904" y="236696"/>
                    <a:pt x="1132046" y="231934"/>
                  </a:cubicBezTo>
                  <a:cubicBezTo>
                    <a:pt x="1132046" y="231934"/>
                    <a:pt x="1132046" y="230981"/>
                    <a:pt x="1132046" y="230981"/>
                  </a:cubicBezTo>
                  <a:cubicBezTo>
                    <a:pt x="1128236" y="211931"/>
                    <a:pt x="1124426" y="193834"/>
                    <a:pt x="1120616" y="177641"/>
                  </a:cubicBezTo>
                  <a:cubicBezTo>
                    <a:pt x="1116806" y="161449"/>
                    <a:pt x="1113949" y="146209"/>
                    <a:pt x="1110139" y="132874"/>
                  </a:cubicBezTo>
                  <a:cubicBezTo>
                    <a:pt x="1106329" y="119539"/>
                    <a:pt x="1103471" y="108109"/>
                    <a:pt x="1100614" y="98584"/>
                  </a:cubicBezTo>
                  <a:cubicBezTo>
                    <a:pt x="1094899" y="79534"/>
                    <a:pt x="1092041" y="69056"/>
                    <a:pt x="1092041" y="69056"/>
                  </a:cubicBezTo>
                  <a:cubicBezTo>
                    <a:pt x="1092041" y="69056"/>
                    <a:pt x="1093946" y="80486"/>
                    <a:pt x="1096804" y="99536"/>
                  </a:cubicBezTo>
                  <a:cubicBezTo>
                    <a:pt x="1098709" y="109061"/>
                    <a:pt x="1100614" y="121444"/>
                    <a:pt x="1103471" y="134779"/>
                  </a:cubicBezTo>
                  <a:cubicBezTo>
                    <a:pt x="1106329" y="148114"/>
                    <a:pt x="1108234" y="163354"/>
                    <a:pt x="1110139" y="180499"/>
                  </a:cubicBezTo>
                  <a:cubicBezTo>
                    <a:pt x="1111091" y="186214"/>
                    <a:pt x="1112044" y="192881"/>
                    <a:pt x="1112996" y="199549"/>
                  </a:cubicBezTo>
                  <a:cubicBezTo>
                    <a:pt x="1112044" y="197644"/>
                    <a:pt x="1111091" y="196691"/>
                    <a:pt x="1110139" y="194786"/>
                  </a:cubicBezTo>
                  <a:cubicBezTo>
                    <a:pt x="1109186" y="192881"/>
                    <a:pt x="1107281" y="190976"/>
                    <a:pt x="1106329" y="190024"/>
                  </a:cubicBezTo>
                  <a:cubicBezTo>
                    <a:pt x="1106329" y="189071"/>
                    <a:pt x="1106329" y="189071"/>
                    <a:pt x="1105376" y="188119"/>
                  </a:cubicBezTo>
                  <a:cubicBezTo>
                    <a:pt x="1101566" y="177641"/>
                    <a:pt x="1098709" y="168116"/>
                    <a:pt x="1095851" y="160496"/>
                  </a:cubicBezTo>
                  <a:cubicBezTo>
                    <a:pt x="1090136" y="145256"/>
                    <a:pt x="1087279" y="136684"/>
                    <a:pt x="1087279" y="136684"/>
                  </a:cubicBezTo>
                  <a:cubicBezTo>
                    <a:pt x="1087279" y="136684"/>
                    <a:pt x="1089184" y="145256"/>
                    <a:pt x="1092041" y="161449"/>
                  </a:cubicBezTo>
                  <a:cubicBezTo>
                    <a:pt x="1093946" y="169069"/>
                    <a:pt x="1095851" y="178594"/>
                    <a:pt x="1098709" y="190024"/>
                  </a:cubicBezTo>
                  <a:cubicBezTo>
                    <a:pt x="1100614" y="197644"/>
                    <a:pt x="1102519" y="207169"/>
                    <a:pt x="1103471" y="215741"/>
                  </a:cubicBezTo>
                  <a:cubicBezTo>
                    <a:pt x="1099661" y="206216"/>
                    <a:pt x="1097756" y="200501"/>
                    <a:pt x="1097756" y="200501"/>
                  </a:cubicBezTo>
                  <a:cubicBezTo>
                    <a:pt x="1097756" y="200501"/>
                    <a:pt x="1099661" y="209074"/>
                    <a:pt x="1102519" y="224314"/>
                  </a:cubicBezTo>
                  <a:cubicBezTo>
                    <a:pt x="1100614" y="227171"/>
                    <a:pt x="1097756" y="230981"/>
                    <a:pt x="1094899" y="233839"/>
                  </a:cubicBezTo>
                  <a:cubicBezTo>
                    <a:pt x="1092994" y="225266"/>
                    <a:pt x="1091089" y="216694"/>
                    <a:pt x="1089184" y="209074"/>
                  </a:cubicBezTo>
                  <a:cubicBezTo>
                    <a:pt x="1086326" y="182404"/>
                    <a:pt x="1084421" y="166211"/>
                    <a:pt x="1084421" y="166211"/>
                  </a:cubicBezTo>
                  <a:cubicBezTo>
                    <a:pt x="1084421" y="166211"/>
                    <a:pt x="1084421" y="172879"/>
                    <a:pt x="1083469" y="184309"/>
                  </a:cubicBezTo>
                  <a:cubicBezTo>
                    <a:pt x="1080611" y="171926"/>
                    <a:pt x="1077754" y="160496"/>
                    <a:pt x="1073944" y="149066"/>
                  </a:cubicBezTo>
                  <a:cubicBezTo>
                    <a:pt x="1071086" y="140494"/>
                    <a:pt x="1069181" y="131921"/>
                    <a:pt x="1066324" y="123349"/>
                  </a:cubicBezTo>
                  <a:cubicBezTo>
                    <a:pt x="1072991" y="105251"/>
                    <a:pt x="1075849" y="94774"/>
                    <a:pt x="1075849" y="94774"/>
                  </a:cubicBezTo>
                  <a:cubicBezTo>
                    <a:pt x="1075849" y="94774"/>
                    <a:pt x="1072039" y="103346"/>
                    <a:pt x="1064419" y="119539"/>
                  </a:cubicBezTo>
                  <a:cubicBezTo>
                    <a:pt x="1062514" y="112871"/>
                    <a:pt x="1059656" y="106204"/>
                    <a:pt x="1057751" y="100489"/>
                  </a:cubicBezTo>
                  <a:cubicBezTo>
                    <a:pt x="1054894" y="92869"/>
                    <a:pt x="1052036" y="85249"/>
                    <a:pt x="1050131" y="78581"/>
                  </a:cubicBezTo>
                  <a:cubicBezTo>
                    <a:pt x="1047274" y="71914"/>
                    <a:pt x="1044416" y="65246"/>
                    <a:pt x="1042511" y="59531"/>
                  </a:cubicBezTo>
                  <a:cubicBezTo>
                    <a:pt x="1037749" y="47149"/>
                    <a:pt x="1032986" y="36671"/>
                    <a:pt x="1029176" y="28099"/>
                  </a:cubicBezTo>
                  <a:cubicBezTo>
                    <a:pt x="1017746" y="16669"/>
                    <a:pt x="1012984" y="7144"/>
                    <a:pt x="1012984" y="7144"/>
                  </a:cubicBezTo>
                  <a:cubicBezTo>
                    <a:pt x="1012984" y="7144"/>
                    <a:pt x="1016794" y="17621"/>
                    <a:pt x="1022509" y="34766"/>
                  </a:cubicBezTo>
                  <a:cubicBezTo>
                    <a:pt x="1025366" y="43339"/>
                    <a:pt x="1029176" y="54769"/>
                    <a:pt x="1032986" y="67151"/>
                  </a:cubicBezTo>
                  <a:cubicBezTo>
                    <a:pt x="1034891" y="73819"/>
                    <a:pt x="1036796" y="79534"/>
                    <a:pt x="1038701" y="87154"/>
                  </a:cubicBezTo>
                  <a:cubicBezTo>
                    <a:pt x="1040606" y="93821"/>
                    <a:pt x="1042511" y="101441"/>
                    <a:pt x="1044416" y="109061"/>
                  </a:cubicBezTo>
                  <a:cubicBezTo>
                    <a:pt x="1044416" y="109061"/>
                    <a:pt x="1044416" y="110014"/>
                    <a:pt x="1044416" y="110014"/>
                  </a:cubicBezTo>
                  <a:cubicBezTo>
                    <a:pt x="1039654" y="101441"/>
                    <a:pt x="1037749" y="96679"/>
                    <a:pt x="1037749" y="96679"/>
                  </a:cubicBezTo>
                  <a:cubicBezTo>
                    <a:pt x="1037749" y="96679"/>
                    <a:pt x="1039654" y="104299"/>
                    <a:pt x="1044416" y="117634"/>
                  </a:cubicBezTo>
                  <a:cubicBezTo>
                    <a:pt x="1046321" y="124301"/>
                    <a:pt x="1049179" y="131921"/>
                    <a:pt x="1051084" y="141446"/>
                  </a:cubicBezTo>
                  <a:cubicBezTo>
                    <a:pt x="1051084" y="143351"/>
                    <a:pt x="1052036" y="144304"/>
                    <a:pt x="1052036" y="146209"/>
                  </a:cubicBezTo>
                  <a:cubicBezTo>
                    <a:pt x="1048226" y="153829"/>
                    <a:pt x="1043464" y="163354"/>
                    <a:pt x="1037749" y="172879"/>
                  </a:cubicBezTo>
                  <a:cubicBezTo>
                    <a:pt x="1033939" y="180499"/>
                    <a:pt x="1029176" y="188119"/>
                    <a:pt x="1024414" y="195739"/>
                  </a:cubicBezTo>
                  <a:cubicBezTo>
                    <a:pt x="1024414" y="194786"/>
                    <a:pt x="1023461" y="193834"/>
                    <a:pt x="1023461" y="192881"/>
                  </a:cubicBezTo>
                  <a:cubicBezTo>
                    <a:pt x="1023461" y="190024"/>
                    <a:pt x="1023461" y="187166"/>
                    <a:pt x="1023461" y="184309"/>
                  </a:cubicBezTo>
                  <a:cubicBezTo>
                    <a:pt x="1024414" y="169069"/>
                    <a:pt x="1024414" y="154781"/>
                    <a:pt x="1024414" y="142399"/>
                  </a:cubicBezTo>
                  <a:cubicBezTo>
                    <a:pt x="1024414" y="130016"/>
                    <a:pt x="1024414" y="119539"/>
                    <a:pt x="1023461" y="110014"/>
                  </a:cubicBezTo>
                  <a:cubicBezTo>
                    <a:pt x="1023461" y="101441"/>
                    <a:pt x="1022509" y="93821"/>
                    <a:pt x="1021556" y="89059"/>
                  </a:cubicBezTo>
                  <a:cubicBezTo>
                    <a:pt x="1020604" y="84296"/>
                    <a:pt x="1020604" y="81439"/>
                    <a:pt x="1020604" y="81439"/>
                  </a:cubicBezTo>
                  <a:cubicBezTo>
                    <a:pt x="1020604" y="81439"/>
                    <a:pt x="1020604" y="84296"/>
                    <a:pt x="1020604" y="89059"/>
                  </a:cubicBezTo>
                  <a:cubicBezTo>
                    <a:pt x="1020604" y="93821"/>
                    <a:pt x="1019651" y="100489"/>
                    <a:pt x="1019651" y="110014"/>
                  </a:cubicBezTo>
                  <a:cubicBezTo>
                    <a:pt x="1018699" y="124301"/>
                    <a:pt x="1016794" y="142399"/>
                    <a:pt x="1014889" y="165259"/>
                  </a:cubicBezTo>
                  <a:cubicBezTo>
                    <a:pt x="1013936" y="162401"/>
                    <a:pt x="1013936" y="161449"/>
                    <a:pt x="1013936" y="161449"/>
                  </a:cubicBezTo>
                  <a:cubicBezTo>
                    <a:pt x="1013936" y="161449"/>
                    <a:pt x="1013936" y="163354"/>
                    <a:pt x="1014889" y="168116"/>
                  </a:cubicBezTo>
                  <a:cubicBezTo>
                    <a:pt x="1013936" y="172879"/>
                    <a:pt x="1013936" y="178594"/>
                    <a:pt x="1012984" y="183356"/>
                  </a:cubicBezTo>
                  <a:cubicBezTo>
                    <a:pt x="1011079" y="196691"/>
                    <a:pt x="1009174" y="210026"/>
                    <a:pt x="1007269" y="224314"/>
                  </a:cubicBezTo>
                  <a:cubicBezTo>
                    <a:pt x="996791" y="242411"/>
                    <a:pt x="984409" y="262414"/>
                    <a:pt x="972026" y="283369"/>
                  </a:cubicBezTo>
                  <a:cubicBezTo>
                    <a:pt x="972026" y="277654"/>
                    <a:pt x="971074" y="273844"/>
                    <a:pt x="971074" y="269081"/>
                  </a:cubicBezTo>
                  <a:cubicBezTo>
                    <a:pt x="972979" y="263366"/>
                    <a:pt x="975836" y="256699"/>
                    <a:pt x="977741" y="251936"/>
                  </a:cubicBezTo>
                  <a:cubicBezTo>
                    <a:pt x="983456" y="235744"/>
                    <a:pt x="989171" y="220504"/>
                    <a:pt x="992981" y="206216"/>
                  </a:cubicBezTo>
                  <a:cubicBezTo>
                    <a:pt x="996791" y="192881"/>
                    <a:pt x="1000601" y="180499"/>
                    <a:pt x="1002506" y="170974"/>
                  </a:cubicBezTo>
                  <a:cubicBezTo>
                    <a:pt x="1007269" y="150971"/>
                    <a:pt x="1009174" y="139541"/>
                    <a:pt x="1009174" y="139541"/>
                  </a:cubicBezTo>
                  <a:cubicBezTo>
                    <a:pt x="1009174" y="139541"/>
                    <a:pt x="1005364" y="150971"/>
                    <a:pt x="998696" y="170021"/>
                  </a:cubicBezTo>
                  <a:cubicBezTo>
                    <a:pt x="995839" y="179546"/>
                    <a:pt x="990124" y="190976"/>
                    <a:pt x="985361" y="204311"/>
                  </a:cubicBezTo>
                  <a:cubicBezTo>
                    <a:pt x="980599" y="217646"/>
                    <a:pt x="972979" y="231934"/>
                    <a:pt x="966311" y="248126"/>
                  </a:cubicBezTo>
                  <a:cubicBezTo>
                    <a:pt x="964406" y="251936"/>
                    <a:pt x="962501" y="255746"/>
                    <a:pt x="960596" y="260509"/>
                  </a:cubicBezTo>
                  <a:cubicBezTo>
                    <a:pt x="961549" y="248126"/>
                    <a:pt x="961549" y="236696"/>
                    <a:pt x="961549" y="225266"/>
                  </a:cubicBezTo>
                  <a:cubicBezTo>
                    <a:pt x="966311" y="212884"/>
                    <a:pt x="969169" y="206216"/>
                    <a:pt x="969169" y="206216"/>
                  </a:cubicBezTo>
                  <a:cubicBezTo>
                    <a:pt x="969169" y="206216"/>
                    <a:pt x="966311" y="210979"/>
                    <a:pt x="961549" y="218599"/>
                  </a:cubicBezTo>
                  <a:cubicBezTo>
                    <a:pt x="961549" y="213836"/>
                    <a:pt x="961549" y="210026"/>
                    <a:pt x="961549" y="206216"/>
                  </a:cubicBezTo>
                  <a:cubicBezTo>
                    <a:pt x="961549" y="182404"/>
                    <a:pt x="960596" y="162401"/>
                    <a:pt x="958691" y="149066"/>
                  </a:cubicBezTo>
                  <a:cubicBezTo>
                    <a:pt x="957739" y="143351"/>
                    <a:pt x="957739" y="138589"/>
                    <a:pt x="956786" y="134779"/>
                  </a:cubicBezTo>
                  <a:cubicBezTo>
                    <a:pt x="956786" y="132874"/>
                    <a:pt x="957739" y="131921"/>
                    <a:pt x="957739" y="131921"/>
                  </a:cubicBezTo>
                  <a:cubicBezTo>
                    <a:pt x="957739" y="131921"/>
                    <a:pt x="957739" y="132874"/>
                    <a:pt x="956786" y="133826"/>
                  </a:cubicBezTo>
                  <a:cubicBezTo>
                    <a:pt x="956786" y="133826"/>
                    <a:pt x="956786" y="132874"/>
                    <a:pt x="956786" y="132874"/>
                  </a:cubicBezTo>
                  <a:cubicBezTo>
                    <a:pt x="955834" y="129064"/>
                    <a:pt x="955834" y="127159"/>
                    <a:pt x="955834" y="127159"/>
                  </a:cubicBezTo>
                  <a:cubicBezTo>
                    <a:pt x="955834" y="127159"/>
                    <a:pt x="955834" y="130969"/>
                    <a:pt x="955834" y="136684"/>
                  </a:cubicBezTo>
                  <a:cubicBezTo>
                    <a:pt x="951071" y="147161"/>
                    <a:pt x="940594" y="171926"/>
                    <a:pt x="927259" y="206216"/>
                  </a:cubicBezTo>
                  <a:cubicBezTo>
                    <a:pt x="927259" y="206216"/>
                    <a:pt x="927259" y="205264"/>
                    <a:pt x="927259" y="205264"/>
                  </a:cubicBezTo>
                  <a:cubicBezTo>
                    <a:pt x="928211" y="196691"/>
                    <a:pt x="929164" y="189071"/>
                    <a:pt x="930116" y="183356"/>
                  </a:cubicBezTo>
                  <a:cubicBezTo>
                    <a:pt x="932021" y="170974"/>
                    <a:pt x="932974" y="164306"/>
                    <a:pt x="932974" y="164306"/>
                  </a:cubicBezTo>
                  <a:cubicBezTo>
                    <a:pt x="932974" y="164306"/>
                    <a:pt x="930116" y="170974"/>
                    <a:pt x="926306" y="183356"/>
                  </a:cubicBezTo>
                  <a:cubicBezTo>
                    <a:pt x="924401" y="189071"/>
                    <a:pt x="922496" y="195739"/>
                    <a:pt x="920591" y="203359"/>
                  </a:cubicBezTo>
                  <a:cubicBezTo>
                    <a:pt x="916781" y="192881"/>
                    <a:pt x="913924" y="182404"/>
                    <a:pt x="910114" y="171926"/>
                  </a:cubicBezTo>
                  <a:cubicBezTo>
                    <a:pt x="909161" y="169069"/>
                    <a:pt x="908209" y="167164"/>
                    <a:pt x="907256" y="164306"/>
                  </a:cubicBezTo>
                  <a:cubicBezTo>
                    <a:pt x="909161" y="161449"/>
                    <a:pt x="910114" y="159544"/>
                    <a:pt x="912019" y="157639"/>
                  </a:cubicBezTo>
                  <a:cubicBezTo>
                    <a:pt x="920591" y="145256"/>
                    <a:pt x="927259" y="133826"/>
                    <a:pt x="933926" y="124301"/>
                  </a:cubicBezTo>
                  <a:cubicBezTo>
                    <a:pt x="946309" y="106204"/>
                    <a:pt x="953929" y="95726"/>
                    <a:pt x="953929" y="95726"/>
                  </a:cubicBezTo>
                  <a:cubicBezTo>
                    <a:pt x="953929" y="95726"/>
                    <a:pt x="945356" y="105251"/>
                    <a:pt x="931069" y="121444"/>
                  </a:cubicBezTo>
                  <a:cubicBezTo>
                    <a:pt x="923449" y="129064"/>
                    <a:pt x="915829" y="140494"/>
                    <a:pt x="906304" y="151924"/>
                  </a:cubicBezTo>
                  <a:cubicBezTo>
                    <a:pt x="905351" y="152876"/>
                    <a:pt x="904399" y="153829"/>
                    <a:pt x="904399" y="154781"/>
                  </a:cubicBezTo>
                  <a:cubicBezTo>
                    <a:pt x="901541" y="147161"/>
                    <a:pt x="898684" y="139541"/>
                    <a:pt x="894874" y="131921"/>
                  </a:cubicBezTo>
                  <a:lnTo>
                    <a:pt x="892016" y="126206"/>
                  </a:lnTo>
                  <a:cubicBezTo>
                    <a:pt x="893921" y="122396"/>
                    <a:pt x="895826" y="118586"/>
                    <a:pt x="897731" y="115729"/>
                  </a:cubicBezTo>
                  <a:cubicBezTo>
                    <a:pt x="905351" y="100489"/>
                    <a:pt x="912019" y="87154"/>
                    <a:pt x="918686" y="77629"/>
                  </a:cubicBezTo>
                  <a:cubicBezTo>
                    <a:pt x="931069" y="56674"/>
                    <a:pt x="937736" y="44291"/>
                    <a:pt x="937736" y="44291"/>
                  </a:cubicBezTo>
                  <a:cubicBezTo>
                    <a:pt x="937736" y="44291"/>
                    <a:pt x="929164" y="55721"/>
                    <a:pt x="914876" y="74771"/>
                  </a:cubicBezTo>
                  <a:cubicBezTo>
                    <a:pt x="907256" y="84296"/>
                    <a:pt x="899636" y="96679"/>
                    <a:pt x="890111" y="110966"/>
                  </a:cubicBezTo>
                  <a:cubicBezTo>
                    <a:pt x="889159" y="112871"/>
                    <a:pt x="887254" y="114776"/>
                    <a:pt x="886301" y="116681"/>
                  </a:cubicBezTo>
                  <a:lnTo>
                    <a:pt x="874871" y="92869"/>
                  </a:lnTo>
                  <a:lnTo>
                    <a:pt x="873919" y="90964"/>
                  </a:lnTo>
                  <a:lnTo>
                    <a:pt x="872966" y="91916"/>
                  </a:lnTo>
                  <a:cubicBezTo>
                    <a:pt x="871061" y="92869"/>
                    <a:pt x="869156" y="93821"/>
                    <a:pt x="868204" y="95726"/>
                  </a:cubicBezTo>
                  <a:cubicBezTo>
                    <a:pt x="867251" y="97631"/>
                    <a:pt x="866299" y="99536"/>
                    <a:pt x="866299" y="101441"/>
                  </a:cubicBezTo>
                  <a:cubicBezTo>
                    <a:pt x="866299" y="105251"/>
                    <a:pt x="867251" y="110014"/>
                    <a:pt x="868204" y="113824"/>
                  </a:cubicBezTo>
                  <a:cubicBezTo>
                    <a:pt x="867251" y="110014"/>
                    <a:pt x="867251" y="106204"/>
                    <a:pt x="868204" y="102394"/>
                  </a:cubicBezTo>
                  <a:cubicBezTo>
                    <a:pt x="868204" y="100489"/>
                    <a:pt x="869156" y="99536"/>
                    <a:pt x="870109" y="97631"/>
                  </a:cubicBezTo>
                  <a:cubicBezTo>
                    <a:pt x="871061" y="96679"/>
                    <a:pt x="872014" y="96679"/>
                    <a:pt x="872966" y="95726"/>
                  </a:cubicBezTo>
                  <a:lnTo>
                    <a:pt x="882491" y="122396"/>
                  </a:lnTo>
                  <a:cubicBezTo>
                    <a:pt x="880586" y="126206"/>
                    <a:pt x="877729" y="129064"/>
                    <a:pt x="875824" y="132874"/>
                  </a:cubicBezTo>
                  <a:cubicBezTo>
                    <a:pt x="871061" y="141446"/>
                    <a:pt x="866299" y="150019"/>
                    <a:pt x="860584" y="159544"/>
                  </a:cubicBezTo>
                  <a:cubicBezTo>
                    <a:pt x="852964" y="172879"/>
                    <a:pt x="845344" y="188119"/>
                    <a:pt x="837724" y="203359"/>
                  </a:cubicBezTo>
                  <a:cubicBezTo>
                    <a:pt x="834866" y="198596"/>
                    <a:pt x="832961" y="195739"/>
                    <a:pt x="832009" y="194786"/>
                  </a:cubicBezTo>
                  <a:cubicBezTo>
                    <a:pt x="834866" y="170974"/>
                    <a:pt x="836771" y="151924"/>
                    <a:pt x="838676" y="137636"/>
                  </a:cubicBezTo>
                  <a:cubicBezTo>
                    <a:pt x="839629" y="123349"/>
                    <a:pt x="840581" y="115729"/>
                    <a:pt x="840581" y="115729"/>
                  </a:cubicBezTo>
                  <a:cubicBezTo>
                    <a:pt x="840581" y="115729"/>
                    <a:pt x="838676" y="123349"/>
                    <a:pt x="834866" y="137636"/>
                  </a:cubicBezTo>
                  <a:cubicBezTo>
                    <a:pt x="831056" y="151924"/>
                    <a:pt x="826294" y="170974"/>
                    <a:pt x="820579" y="194786"/>
                  </a:cubicBezTo>
                  <a:cubicBezTo>
                    <a:pt x="819626" y="197644"/>
                    <a:pt x="819626" y="200501"/>
                    <a:pt x="818674" y="204311"/>
                  </a:cubicBezTo>
                  <a:cubicBezTo>
                    <a:pt x="817721" y="202406"/>
                    <a:pt x="816769" y="199549"/>
                    <a:pt x="815816" y="197644"/>
                  </a:cubicBezTo>
                  <a:cubicBezTo>
                    <a:pt x="810101" y="183356"/>
                    <a:pt x="807244" y="174784"/>
                    <a:pt x="807244" y="174784"/>
                  </a:cubicBezTo>
                  <a:cubicBezTo>
                    <a:pt x="807244" y="174784"/>
                    <a:pt x="809149" y="183356"/>
                    <a:pt x="812006" y="198596"/>
                  </a:cubicBezTo>
                  <a:cubicBezTo>
                    <a:pt x="812959" y="202406"/>
                    <a:pt x="813911" y="206216"/>
                    <a:pt x="814864" y="210979"/>
                  </a:cubicBezTo>
                  <a:cubicBezTo>
                    <a:pt x="814864" y="212884"/>
                    <a:pt x="815816" y="214789"/>
                    <a:pt x="815816" y="216694"/>
                  </a:cubicBezTo>
                  <a:cubicBezTo>
                    <a:pt x="813911" y="224314"/>
                    <a:pt x="812959" y="231934"/>
                    <a:pt x="811054" y="239554"/>
                  </a:cubicBezTo>
                  <a:cubicBezTo>
                    <a:pt x="809149" y="226219"/>
                    <a:pt x="808196" y="219551"/>
                    <a:pt x="808196" y="219551"/>
                  </a:cubicBezTo>
                  <a:cubicBezTo>
                    <a:pt x="808196" y="219551"/>
                    <a:pt x="807244" y="236696"/>
                    <a:pt x="807244" y="264319"/>
                  </a:cubicBezTo>
                  <a:cubicBezTo>
                    <a:pt x="807244" y="265271"/>
                    <a:pt x="807244" y="265271"/>
                    <a:pt x="807244" y="266224"/>
                  </a:cubicBezTo>
                  <a:cubicBezTo>
                    <a:pt x="804386" y="259556"/>
                    <a:pt x="801529" y="252889"/>
                    <a:pt x="798671" y="246221"/>
                  </a:cubicBezTo>
                  <a:cubicBezTo>
                    <a:pt x="799624" y="241459"/>
                    <a:pt x="800576" y="239554"/>
                    <a:pt x="800576" y="239554"/>
                  </a:cubicBezTo>
                  <a:cubicBezTo>
                    <a:pt x="800576" y="239554"/>
                    <a:pt x="799624" y="241459"/>
                    <a:pt x="797719" y="245269"/>
                  </a:cubicBezTo>
                  <a:cubicBezTo>
                    <a:pt x="797719" y="244316"/>
                    <a:pt x="796766" y="243364"/>
                    <a:pt x="796766" y="242411"/>
                  </a:cubicBezTo>
                  <a:cubicBezTo>
                    <a:pt x="795814" y="239554"/>
                    <a:pt x="793909" y="236696"/>
                    <a:pt x="792956" y="233839"/>
                  </a:cubicBezTo>
                  <a:cubicBezTo>
                    <a:pt x="794861" y="229076"/>
                    <a:pt x="795814" y="223361"/>
                    <a:pt x="796766" y="218599"/>
                  </a:cubicBezTo>
                  <a:cubicBezTo>
                    <a:pt x="802481" y="196691"/>
                    <a:pt x="806291" y="177641"/>
                    <a:pt x="809149" y="164306"/>
                  </a:cubicBezTo>
                  <a:cubicBezTo>
                    <a:pt x="811054" y="150971"/>
                    <a:pt x="812959" y="143351"/>
                    <a:pt x="812959" y="143351"/>
                  </a:cubicBezTo>
                  <a:cubicBezTo>
                    <a:pt x="812959" y="143351"/>
                    <a:pt x="810101" y="150971"/>
                    <a:pt x="805339" y="163354"/>
                  </a:cubicBezTo>
                  <a:cubicBezTo>
                    <a:pt x="803434" y="170021"/>
                    <a:pt x="800576" y="177641"/>
                    <a:pt x="796766" y="186214"/>
                  </a:cubicBezTo>
                  <a:cubicBezTo>
                    <a:pt x="793909" y="194786"/>
                    <a:pt x="790099" y="205264"/>
                    <a:pt x="785336" y="215741"/>
                  </a:cubicBezTo>
                  <a:cubicBezTo>
                    <a:pt x="785336" y="216694"/>
                    <a:pt x="784384" y="217646"/>
                    <a:pt x="784384" y="218599"/>
                  </a:cubicBezTo>
                  <a:cubicBezTo>
                    <a:pt x="781526" y="213836"/>
                    <a:pt x="779621" y="209074"/>
                    <a:pt x="776764" y="205264"/>
                  </a:cubicBezTo>
                  <a:cubicBezTo>
                    <a:pt x="775811" y="204311"/>
                    <a:pt x="775811" y="203359"/>
                    <a:pt x="774859" y="202406"/>
                  </a:cubicBezTo>
                  <a:cubicBezTo>
                    <a:pt x="774859" y="202406"/>
                    <a:pt x="774859" y="202406"/>
                    <a:pt x="774859" y="201454"/>
                  </a:cubicBezTo>
                  <a:cubicBezTo>
                    <a:pt x="777716" y="176689"/>
                    <a:pt x="779621" y="156686"/>
                    <a:pt x="780574" y="142399"/>
                  </a:cubicBezTo>
                  <a:cubicBezTo>
                    <a:pt x="781526" y="128111"/>
                    <a:pt x="781526" y="119539"/>
                    <a:pt x="781526" y="119539"/>
                  </a:cubicBezTo>
                  <a:cubicBezTo>
                    <a:pt x="781526" y="119539"/>
                    <a:pt x="779621" y="127159"/>
                    <a:pt x="776764" y="141446"/>
                  </a:cubicBezTo>
                  <a:cubicBezTo>
                    <a:pt x="775811" y="148114"/>
                    <a:pt x="772954" y="156686"/>
                    <a:pt x="771049" y="167164"/>
                  </a:cubicBezTo>
                  <a:cubicBezTo>
                    <a:pt x="769144" y="173831"/>
                    <a:pt x="768191" y="181451"/>
                    <a:pt x="766286" y="189071"/>
                  </a:cubicBezTo>
                  <a:cubicBezTo>
                    <a:pt x="763429" y="185261"/>
                    <a:pt x="760571" y="181451"/>
                    <a:pt x="758666" y="178594"/>
                  </a:cubicBezTo>
                  <a:cubicBezTo>
                    <a:pt x="753904" y="171926"/>
                    <a:pt x="748189" y="166211"/>
                    <a:pt x="745331" y="163354"/>
                  </a:cubicBezTo>
                  <a:cubicBezTo>
                    <a:pt x="742474" y="159544"/>
                    <a:pt x="740569" y="157639"/>
                    <a:pt x="740569" y="157639"/>
                  </a:cubicBezTo>
                  <a:cubicBezTo>
                    <a:pt x="740569" y="157639"/>
                    <a:pt x="741521" y="159544"/>
                    <a:pt x="744379" y="163354"/>
                  </a:cubicBezTo>
                  <a:cubicBezTo>
                    <a:pt x="747236" y="167164"/>
                    <a:pt x="751046" y="172879"/>
                    <a:pt x="754856" y="180499"/>
                  </a:cubicBezTo>
                  <a:cubicBezTo>
                    <a:pt x="757714" y="185261"/>
                    <a:pt x="760571" y="190976"/>
                    <a:pt x="763429" y="196691"/>
                  </a:cubicBezTo>
                  <a:cubicBezTo>
                    <a:pt x="763429" y="197644"/>
                    <a:pt x="763429" y="198596"/>
                    <a:pt x="762476" y="199549"/>
                  </a:cubicBezTo>
                  <a:cubicBezTo>
                    <a:pt x="759619" y="211931"/>
                    <a:pt x="756761" y="224314"/>
                    <a:pt x="753904" y="238601"/>
                  </a:cubicBezTo>
                  <a:cubicBezTo>
                    <a:pt x="749141" y="230029"/>
                    <a:pt x="747236" y="224314"/>
                    <a:pt x="747236" y="224314"/>
                  </a:cubicBezTo>
                  <a:cubicBezTo>
                    <a:pt x="747236" y="224314"/>
                    <a:pt x="749141" y="230981"/>
                    <a:pt x="752951" y="241459"/>
                  </a:cubicBezTo>
                  <a:cubicBezTo>
                    <a:pt x="751999" y="242411"/>
                    <a:pt x="751999" y="242411"/>
                    <a:pt x="751046" y="243364"/>
                  </a:cubicBezTo>
                  <a:cubicBezTo>
                    <a:pt x="749141" y="246221"/>
                    <a:pt x="749141" y="250031"/>
                    <a:pt x="749141" y="252889"/>
                  </a:cubicBezTo>
                  <a:cubicBezTo>
                    <a:pt x="750094" y="250031"/>
                    <a:pt x="751046" y="246221"/>
                    <a:pt x="752951" y="244316"/>
                  </a:cubicBezTo>
                  <a:cubicBezTo>
                    <a:pt x="752951" y="244316"/>
                    <a:pt x="752951" y="244316"/>
                    <a:pt x="752951" y="244316"/>
                  </a:cubicBezTo>
                  <a:cubicBezTo>
                    <a:pt x="750094" y="256699"/>
                    <a:pt x="747236" y="269081"/>
                    <a:pt x="744379" y="282416"/>
                  </a:cubicBezTo>
                  <a:cubicBezTo>
                    <a:pt x="743426" y="287179"/>
                    <a:pt x="742474" y="291941"/>
                    <a:pt x="741521" y="296704"/>
                  </a:cubicBezTo>
                  <a:cubicBezTo>
                    <a:pt x="740569" y="299561"/>
                    <a:pt x="739616" y="302419"/>
                    <a:pt x="738664" y="306229"/>
                  </a:cubicBezTo>
                  <a:cubicBezTo>
                    <a:pt x="738664" y="306229"/>
                    <a:pt x="738664" y="306229"/>
                    <a:pt x="738664" y="306229"/>
                  </a:cubicBezTo>
                  <a:cubicBezTo>
                    <a:pt x="738664" y="302419"/>
                    <a:pt x="737711" y="297656"/>
                    <a:pt x="737711" y="293846"/>
                  </a:cubicBezTo>
                  <a:cubicBezTo>
                    <a:pt x="736759" y="285274"/>
                    <a:pt x="735806" y="277654"/>
                    <a:pt x="733901" y="270034"/>
                  </a:cubicBezTo>
                  <a:cubicBezTo>
                    <a:pt x="732949" y="266224"/>
                    <a:pt x="731996" y="263366"/>
                    <a:pt x="731996" y="259556"/>
                  </a:cubicBezTo>
                  <a:cubicBezTo>
                    <a:pt x="731996" y="258604"/>
                    <a:pt x="731996" y="258604"/>
                    <a:pt x="731044" y="257651"/>
                  </a:cubicBezTo>
                  <a:cubicBezTo>
                    <a:pt x="729139" y="238601"/>
                    <a:pt x="727234" y="223361"/>
                    <a:pt x="725329" y="210979"/>
                  </a:cubicBezTo>
                  <a:cubicBezTo>
                    <a:pt x="723424" y="195739"/>
                    <a:pt x="722471" y="186214"/>
                    <a:pt x="722471" y="186214"/>
                  </a:cubicBezTo>
                  <a:cubicBezTo>
                    <a:pt x="722471" y="186214"/>
                    <a:pt x="722471" y="190976"/>
                    <a:pt x="722471" y="199549"/>
                  </a:cubicBezTo>
                  <a:cubicBezTo>
                    <a:pt x="720566" y="204311"/>
                    <a:pt x="715804" y="220504"/>
                    <a:pt x="709136" y="243364"/>
                  </a:cubicBezTo>
                  <a:cubicBezTo>
                    <a:pt x="707231" y="238601"/>
                    <a:pt x="706279" y="233839"/>
                    <a:pt x="704374" y="229076"/>
                  </a:cubicBezTo>
                  <a:cubicBezTo>
                    <a:pt x="698659" y="211931"/>
                    <a:pt x="692944" y="195739"/>
                    <a:pt x="687229" y="181451"/>
                  </a:cubicBezTo>
                  <a:cubicBezTo>
                    <a:pt x="684371" y="174784"/>
                    <a:pt x="682466" y="168116"/>
                    <a:pt x="679609" y="161449"/>
                  </a:cubicBezTo>
                  <a:cubicBezTo>
                    <a:pt x="679609" y="156686"/>
                    <a:pt x="679609" y="151924"/>
                    <a:pt x="679609" y="148114"/>
                  </a:cubicBezTo>
                  <a:cubicBezTo>
                    <a:pt x="679609" y="138589"/>
                    <a:pt x="679609" y="130016"/>
                    <a:pt x="679609" y="122396"/>
                  </a:cubicBezTo>
                  <a:cubicBezTo>
                    <a:pt x="679609" y="108109"/>
                    <a:pt x="678656" y="100489"/>
                    <a:pt x="678656" y="100489"/>
                  </a:cubicBezTo>
                  <a:cubicBezTo>
                    <a:pt x="678656" y="100489"/>
                    <a:pt x="677704" y="108109"/>
                    <a:pt x="675799" y="122396"/>
                  </a:cubicBezTo>
                  <a:cubicBezTo>
                    <a:pt x="674846" y="128111"/>
                    <a:pt x="673894" y="135731"/>
                    <a:pt x="672941" y="144304"/>
                  </a:cubicBezTo>
                  <a:cubicBezTo>
                    <a:pt x="669131" y="134779"/>
                    <a:pt x="665321" y="127159"/>
                    <a:pt x="663416" y="122396"/>
                  </a:cubicBezTo>
                  <a:cubicBezTo>
                    <a:pt x="660559" y="117634"/>
                    <a:pt x="659606" y="114776"/>
                    <a:pt x="659606" y="114776"/>
                  </a:cubicBezTo>
                  <a:cubicBezTo>
                    <a:pt x="659606" y="114776"/>
                    <a:pt x="660559" y="117634"/>
                    <a:pt x="662464" y="123349"/>
                  </a:cubicBezTo>
                  <a:cubicBezTo>
                    <a:pt x="664369" y="129064"/>
                    <a:pt x="667226" y="136684"/>
                    <a:pt x="670084" y="147161"/>
                  </a:cubicBezTo>
                  <a:cubicBezTo>
                    <a:pt x="671036" y="149066"/>
                    <a:pt x="671036" y="151924"/>
                    <a:pt x="671989" y="153829"/>
                  </a:cubicBezTo>
                  <a:cubicBezTo>
                    <a:pt x="671989" y="157639"/>
                    <a:pt x="671036" y="160496"/>
                    <a:pt x="671036" y="164306"/>
                  </a:cubicBezTo>
                  <a:cubicBezTo>
                    <a:pt x="670084" y="170021"/>
                    <a:pt x="669131" y="175736"/>
                    <a:pt x="668179" y="181451"/>
                  </a:cubicBezTo>
                  <a:cubicBezTo>
                    <a:pt x="666274" y="193834"/>
                    <a:pt x="664369" y="206216"/>
                    <a:pt x="662464" y="219551"/>
                  </a:cubicBezTo>
                  <a:cubicBezTo>
                    <a:pt x="661511" y="226219"/>
                    <a:pt x="660559" y="232886"/>
                    <a:pt x="658654" y="239554"/>
                  </a:cubicBezTo>
                  <a:cubicBezTo>
                    <a:pt x="657701" y="236696"/>
                    <a:pt x="656749" y="233839"/>
                    <a:pt x="655796" y="231934"/>
                  </a:cubicBezTo>
                  <a:cubicBezTo>
                    <a:pt x="656749" y="218599"/>
                    <a:pt x="657701" y="210026"/>
                    <a:pt x="657701" y="210026"/>
                  </a:cubicBezTo>
                  <a:cubicBezTo>
                    <a:pt x="657701" y="210026"/>
                    <a:pt x="655796" y="215741"/>
                    <a:pt x="653891" y="226219"/>
                  </a:cubicBezTo>
                  <a:cubicBezTo>
                    <a:pt x="648176" y="212884"/>
                    <a:pt x="643414" y="201454"/>
                    <a:pt x="638651" y="191929"/>
                  </a:cubicBezTo>
                  <a:cubicBezTo>
                    <a:pt x="634841" y="184309"/>
                    <a:pt x="631984" y="178594"/>
                    <a:pt x="630079" y="174784"/>
                  </a:cubicBezTo>
                  <a:cubicBezTo>
                    <a:pt x="628174" y="170974"/>
                    <a:pt x="627221" y="169069"/>
                    <a:pt x="627221" y="169069"/>
                  </a:cubicBezTo>
                  <a:cubicBezTo>
                    <a:pt x="627221" y="169069"/>
                    <a:pt x="630079" y="178594"/>
                    <a:pt x="635794" y="193834"/>
                  </a:cubicBezTo>
                  <a:cubicBezTo>
                    <a:pt x="639604" y="205264"/>
                    <a:pt x="644366" y="221456"/>
                    <a:pt x="649129" y="240506"/>
                  </a:cubicBezTo>
                  <a:cubicBezTo>
                    <a:pt x="649129" y="241459"/>
                    <a:pt x="649129" y="242411"/>
                    <a:pt x="650081" y="244316"/>
                  </a:cubicBezTo>
                  <a:cubicBezTo>
                    <a:pt x="649129" y="250031"/>
                    <a:pt x="648176" y="255746"/>
                    <a:pt x="647224" y="262414"/>
                  </a:cubicBezTo>
                  <a:cubicBezTo>
                    <a:pt x="646271" y="268129"/>
                    <a:pt x="645319" y="273844"/>
                    <a:pt x="644366" y="279559"/>
                  </a:cubicBezTo>
                  <a:cubicBezTo>
                    <a:pt x="643414" y="285274"/>
                    <a:pt x="643414" y="291941"/>
                    <a:pt x="642461" y="298609"/>
                  </a:cubicBezTo>
                  <a:cubicBezTo>
                    <a:pt x="642461" y="298609"/>
                    <a:pt x="642461" y="298609"/>
                    <a:pt x="642461" y="298609"/>
                  </a:cubicBezTo>
                  <a:cubicBezTo>
                    <a:pt x="642461" y="296704"/>
                    <a:pt x="642461" y="294799"/>
                    <a:pt x="642461" y="294799"/>
                  </a:cubicBezTo>
                  <a:cubicBezTo>
                    <a:pt x="642461" y="294799"/>
                    <a:pt x="642461" y="302419"/>
                    <a:pt x="641509" y="315754"/>
                  </a:cubicBezTo>
                  <a:cubicBezTo>
                    <a:pt x="641509" y="316706"/>
                    <a:pt x="641509" y="316706"/>
                    <a:pt x="641509" y="317659"/>
                  </a:cubicBezTo>
                  <a:cubicBezTo>
                    <a:pt x="640556" y="314801"/>
                    <a:pt x="639604" y="311944"/>
                    <a:pt x="639604" y="309086"/>
                  </a:cubicBezTo>
                  <a:cubicBezTo>
                    <a:pt x="640556" y="306229"/>
                    <a:pt x="640556" y="304324"/>
                    <a:pt x="640556" y="304324"/>
                  </a:cubicBezTo>
                  <a:cubicBezTo>
                    <a:pt x="640556" y="304324"/>
                    <a:pt x="639604" y="305276"/>
                    <a:pt x="638651" y="307181"/>
                  </a:cubicBezTo>
                  <a:cubicBezTo>
                    <a:pt x="636746" y="299561"/>
                    <a:pt x="634841" y="291941"/>
                    <a:pt x="632936" y="284321"/>
                  </a:cubicBezTo>
                  <a:cubicBezTo>
                    <a:pt x="630079" y="271939"/>
                    <a:pt x="626269" y="260509"/>
                    <a:pt x="624364" y="250031"/>
                  </a:cubicBezTo>
                  <a:cubicBezTo>
                    <a:pt x="622459" y="239554"/>
                    <a:pt x="619601" y="230981"/>
                    <a:pt x="617696" y="223361"/>
                  </a:cubicBezTo>
                  <a:cubicBezTo>
                    <a:pt x="616744" y="218599"/>
                    <a:pt x="615791" y="214789"/>
                    <a:pt x="614839" y="210979"/>
                  </a:cubicBezTo>
                  <a:cubicBezTo>
                    <a:pt x="615791" y="204311"/>
                    <a:pt x="615791" y="197644"/>
                    <a:pt x="615791" y="190024"/>
                  </a:cubicBezTo>
                  <a:cubicBezTo>
                    <a:pt x="616744" y="169069"/>
                    <a:pt x="617696" y="148114"/>
                    <a:pt x="617696" y="126206"/>
                  </a:cubicBezTo>
                  <a:cubicBezTo>
                    <a:pt x="613886" y="146209"/>
                    <a:pt x="610076" y="166211"/>
                    <a:pt x="607219" y="187166"/>
                  </a:cubicBezTo>
                  <a:cubicBezTo>
                    <a:pt x="607219" y="186214"/>
                    <a:pt x="607219" y="185261"/>
                    <a:pt x="606266" y="184309"/>
                  </a:cubicBezTo>
                  <a:cubicBezTo>
                    <a:pt x="606266" y="186214"/>
                    <a:pt x="606266" y="188119"/>
                    <a:pt x="606266" y="189071"/>
                  </a:cubicBezTo>
                  <a:cubicBezTo>
                    <a:pt x="604361" y="197644"/>
                    <a:pt x="603409" y="207169"/>
                    <a:pt x="601504" y="215741"/>
                  </a:cubicBezTo>
                  <a:cubicBezTo>
                    <a:pt x="600551" y="213836"/>
                    <a:pt x="600551" y="211931"/>
                    <a:pt x="599599" y="210979"/>
                  </a:cubicBezTo>
                  <a:cubicBezTo>
                    <a:pt x="593884" y="198596"/>
                    <a:pt x="591026" y="191929"/>
                    <a:pt x="591026" y="191929"/>
                  </a:cubicBezTo>
                  <a:cubicBezTo>
                    <a:pt x="591026" y="191929"/>
                    <a:pt x="592931" y="199549"/>
                    <a:pt x="595789" y="212884"/>
                  </a:cubicBezTo>
                  <a:cubicBezTo>
                    <a:pt x="596741" y="217646"/>
                    <a:pt x="597694" y="223361"/>
                    <a:pt x="599599" y="230029"/>
                  </a:cubicBezTo>
                  <a:cubicBezTo>
                    <a:pt x="598646" y="237649"/>
                    <a:pt x="596741" y="244316"/>
                    <a:pt x="595789" y="251936"/>
                  </a:cubicBezTo>
                  <a:cubicBezTo>
                    <a:pt x="592931" y="266224"/>
                    <a:pt x="591026" y="280511"/>
                    <a:pt x="589121" y="294799"/>
                  </a:cubicBezTo>
                  <a:cubicBezTo>
                    <a:pt x="586264" y="290989"/>
                    <a:pt x="584359" y="288131"/>
                    <a:pt x="582454" y="284321"/>
                  </a:cubicBezTo>
                  <a:cubicBezTo>
                    <a:pt x="583406" y="277654"/>
                    <a:pt x="584359" y="270986"/>
                    <a:pt x="585311" y="265271"/>
                  </a:cubicBezTo>
                  <a:cubicBezTo>
                    <a:pt x="586264" y="256699"/>
                    <a:pt x="587216" y="250031"/>
                    <a:pt x="588169" y="244316"/>
                  </a:cubicBezTo>
                  <a:cubicBezTo>
                    <a:pt x="590074" y="232886"/>
                    <a:pt x="591026" y="225266"/>
                    <a:pt x="591026" y="225266"/>
                  </a:cubicBezTo>
                  <a:cubicBezTo>
                    <a:pt x="591026" y="225266"/>
                    <a:pt x="588169" y="231934"/>
                    <a:pt x="584359" y="243364"/>
                  </a:cubicBezTo>
                  <a:cubicBezTo>
                    <a:pt x="583406" y="247174"/>
                    <a:pt x="581501" y="252889"/>
                    <a:pt x="579596" y="258604"/>
                  </a:cubicBezTo>
                  <a:cubicBezTo>
                    <a:pt x="578644" y="248126"/>
                    <a:pt x="578644" y="239554"/>
                    <a:pt x="577691" y="231934"/>
                  </a:cubicBezTo>
                  <a:cubicBezTo>
                    <a:pt x="576739" y="218599"/>
                    <a:pt x="575786" y="210979"/>
                    <a:pt x="575786" y="210979"/>
                  </a:cubicBezTo>
                  <a:cubicBezTo>
                    <a:pt x="575786" y="210979"/>
                    <a:pt x="574834" y="218599"/>
                    <a:pt x="573881" y="230981"/>
                  </a:cubicBezTo>
                  <a:cubicBezTo>
                    <a:pt x="572929" y="240506"/>
                    <a:pt x="571976" y="252889"/>
                    <a:pt x="571024" y="267176"/>
                  </a:cubicBezTo>
                  <a:cubicBezTo>
                    <a:pt x="571024" y="267176"/>
                    <a:pt x="571024" y="267176"/>
                    <a:pt x="571024" y="267176"/>
                  </a:cubicBezTo>
                  <a:cubicBezTo>
                    <a:pt x="570071" y="265271"/>
                    <a:pt x="568166" y="264319"/>
                    <a:pt x="567214" y="262414"/>
                  </a:cubicBezTo>
                  <a:cubicBezTo>
                    <a:pt x="561499" y="245269"/>
                    <a:pt x="556736" y="230981"/>
                    <a:pt x="552926" y="219551"/>
                  </a:cubicBezTo>
                  <a:cubicBezTo>
                    <a:pt x="552926" y="219551"/>
                    <a:pt x="552926" y="218599"/>
                    <a:pt x="552926" y="218599"/>
                  </a:cubicBezTo>
                  <a:cubicBezTo>
                    <a:pt x="553879" y="208121"/>
                    <a:pt x="554831" y="198596"/>
                    <a:pt x="555784" y="189071"/>
                  </a:cubicBezTo>
                  <a:cubicBezTo>
                    <a:pt x="556736" y="179546"/>
                    <a:pt x="557689" y="170021"/>
                    <a:pt x="558641" y="162401"/>
                  </a:cubicBezTo>
                  <a:cubicBezTo>
                    <a:pt x="559594" y="154781"/>
                    <a:pt x="560546" y="147161"/>
                    <a:pt x="561499" y="141446"/>
                  </a:cubicBezTo>
                  <a:cubicBezTo>
                    <a:pt x="563404" y="130016"/>
                    <a:pt x="564356" y="123349"/>
                    <a:pt x="564356" y="123349"/>
                  </a:cubicBezTo>
                  <a:cubicBezTo>
                    <a:pt x="564356" y="123349"/>
                    <a:pt x="561499" y="130016"/>
                    <a:pt x="557689" y="140494"/>
                  </a:cubicBezTo>
                  <a:cubicBezTo>
                    <a:pt x="555784" y="146209"/>
                    <a:pt x="553879" y="152876"/>
                    <a:pt x="551021" y="160496"/>
                  </a:cubicBezTo>
                  <a:cubicBezTo>
                    <a:pt x="548164" y="168116"/>
                    <a:pt x="546259" y="177641"/>
                    <a:pt x="544354" y="187166"/>
                  </a:cubicBezTo>
                  <a:cubicBezTo>
                    <a:pt x="542449" y="196691"/>
                    <a:pt x="540544" y="207169"/>
                    <a:pt x="537686" y="218599"/>
                  </a:cubicBezTo>
                  <a:cubicBezTo>
                    <a:pt x="536734" y="222409"/>
                    <a:pt x="536734" y="227171"/>
                    <a:pt x="535781" y="231934"/>
                  </a:cubicBezTo>
                  <a:cubicBezTo>
                    <a:pt x="535781" y="228124"/>
                    <a:pt x="534829" y="224314"/>
                    <a:pt x="534829" y="220504"/>
                  </a:cubicBezTo>
                  <a:cubicBezTo>
                    <a:pt x="534829" y="214789"/>
                    <a:pt x="533876" y="210026"/>
                    <a:pt x="532924" y="205264"/>
                  </a:cubicBezTo>
                  <a:cubicBezTo>
                    <a:pt x="532924" y="198596"/>
                    <a:pt x="533876" y="192881"/>
                    <a:pt x="533876" y="186214"/>
                  </a:cubicBezTo>
                  <a:cubicBezTo>
                    <a:pt x="533876" y="179546"/>
                    <a:pt x="534829" y="172879"/>
                    <a:pt x="534829" y="166211"/>
                  </a:cubicBezTo>
                  <a:cubicBezTo>
                    <a:pt x="534829" y="159544"/>
                    <a:pt x="534829" y="153829"/>
                    <a:pt x="534829" y="148114"/>
                  </a:cubicBezTo>
                  <a:cubicBezTo>
                    <a:pt x="534829" y="136684"/>
                    <a:pt x="534829" y="127159"/>
                    <a:pt x="534829" y="118586"/>
                  </a:cubicBezTo>
                  <a:cubicBezTo>
                    <a:pt x="534829" y="102394"/>
                    <a:pt x="533876" y="92869"/>
                    <a:pt x="533876" y="92869"/>
                  </a:cubicBezTo>
                  <a:cubicBezTo>
                    <a:pt x="533876" y="92869"/>
                    <a:pt x="532924" y="102394"/>
                    <a:pt x="531019" y="118586"/>
                  </a:cubicBezTo>
                  <a:cubicBezTo>
                    <a:pt x="530066" y="126206"/>
                    <a:pt x="529114" y="136684"/>
                    <a:pt x="528161" y="147161"/>
                  </a:cubicBezTo>
                  <a:cubicBezTo>
                    <a:pt x="527209" y="152876"/>
                    <a:pt x="527209" y="158591"/>
                    <a:pt x="526256" y="165259"/>
                  </a:cubicBezTo>
                  <a:cubicBezTo>
                    <a:pt x="525304" y="171926"/>
                    <a:pt x="524351" y="177641"/>
                    <a:pt x="523399" y="185261"/>
                  </a:cubicBezTo>
                  <a:cubicBezTo>
                    <a:pt x="522446" y="189071"/>
                    <a:pt x="522446" y="192881"/>
                    <a:pt x="521494" y="197644"/>
                  </a:cubicBezTo>
                  <a:cubicBezTo>
                    <a:pt x="518636" y="187166"/>
                    <a:pt x="516731" y="177641"/>
                    <a:pt x="513874" y="170021"/>
                  </a:cubicBezTo>
                  <a:cubicBezTo>
                    <a:pt x="509111" y="153829"/>
                    <a:pt x="506254" y="144304"/>
                    <a:pt x="506254" y="144304"/>
                  </a:cubicBezTo>
                  <a:cubicBezTo>
                    <a:pt x="506254" y="144304"/>
                    <a:pt x="507206" y="153829"/>
                    <a:pt x="510064" y="170974"/>
                  </a:cubicBezTo>
                  <a:cubicBezTo>
                    <a:pt x="511969" y="184309"/>
                    <a:pt x="513874" y="201454"/>
                    <a:pt x="517684" y="222409"/>
                  </a:cubicBezTo>
                  <a:cubicBezTo>
                    <a:pt x="517684" y="225266"/>
                    <a:pt x="516731" y="227171"/>
                    <a:pt x="516731" y="230029"/>
                  </a:cubicBezTo>
                  <a:cubicBezTo>
                    <a:pt x="515779" y="237649"/>
                    <a:pt x="514826" y="244316"/>
                    <a:pt x="512921" y="251936"/>
                  </a:cubicBezTo>
                  <a:cubicBezTo>
                    <a:pt x="499586" y="210026"/>
                    <a:pt x="490061" y="181451"/>
                    <a:pt x="487204" y="172879"/>
                  </a:cubicBezTo>
                  <a:cubicBezTo>
                    <a:pt x="486251" y="167164"/>
                    <a:pt x="485299" y="164306"/>
                    <a:pt x="485299" y="164306"/>
                  </a:cubicBezTo>
                  <a:cubicBezTo>
                    <a:pt x="485299" y="164306"/>
                    <a:pt x="486251" y="173831"/>
                    <a:pt x="486251" y="189071"/>
                  </a:cubicBezTo>
                  <a:cubicBezTo>
                    <a:pt x="487204" y="196691"/>
                    <a:pt x="487204" y="207169"/>
                    <a:pt x="488156" y="217646"/>
                  </a:cubicBezTo>
                  <a:cubicBezTo>
                    <a:pt x="488156" y="224314"/>
                    <a:pt x="489109" y="230981"/>
                    <a:pt x="489109" y="238601"/>
                  </a:cubicBezTo>
                  <a:cubicBezTo>
                    <a:pt x="488156" y="232886"/>
                    <a:pt x="487204" y="228124"/>
                    <a:pt x="486251" y="223361"/>
                  </a:cubicBezTo>
                  <a:cubicBezTo>
                    <a:pt x="485299" y="217646"/>
                    <a:pt x="484346" y="212884"/>
                    <a:pt x="482441" y="207169"/>
                  </a:cubicBezTo>
                  <a:cubicBezTo>
                    <a:pt x="480536" y="202406"/>
                    <a:pt x="479584" y="197644"/>
                    <a:pt x="478631" y="192881"/>
                  </a:cubicBezTo>
                  <a:cubicBezTo>
                    <a:pt x="475774" y="184309"/>
                    <a:pt x="473869" y="176689"/>
                    <a:pt x="471964" y="170021"/>
                  </a:cubicBezTo>
                  <a:cubicBezTo>
                    <a:pt x="468154" y="157639"/>
                    <a:pt x="465296" y="150019"/>
                    <a:pt x="465296" y="150019"/>
                  </a:cubicBezTo>
                  <a:cubicBezTo>
                    <a:pt x="465296" y="150019"/>
                    <a:pt x="466249" y="157639"/>
                    <a:pt x="468154" y="170021"/>
                  </a:cubicBezTo>
                  <a:cubicBezTo>
                    <a:pt x="469106" y="176689"/>
                    <a:pt x="470059" y="184309"/>
                    <a:pt x="471011" y="193834"/>
                  </a:cubicBezTo>
                  <a:cubicBezTo>
                    <a:pt x="471964" y="198596"/>
                    <a:pt x="471964" y="203359"/>
                    <a:pt x="472916" y="208121"/>
                  </a:cubicBezTo>
                  <a:cubicBezTo>
                    <a:pt x="473869" y="212884"/>
                    <a:pt x="473869" y="218599"/>
                    <a:pt x="474821" y="224314"/>
                  </a:cubicBezTo>
                  <a:cubicBezTo>
                    <a:pt x="475774" y="233839"/>
                    <a:pt x="476726" y="244316"/>
                    <a:pt x="478631" y="255746"/>
                  </a:cubicBezTo>
                  <a:cubicBezTo>
                    <a:pt x="477679" y="250031"/>
                    <a:pt x="475774" y="245269"/>
                    <a:pt x="474821" y="240506"/>
                  </a:cubicBezTo>
                  <a:cubicBezTo>
                    <a:pt x="467201" y="211931"/>
                    <a:pt x="460534" y="188119"/>
                    <a:pt x="455771" y="170974"/>
                  </a:cubicBezTo>
                  <a:cubicBezTo>
                    <a:pt x="450056" y="154781"/>
                    <a:pt x="447199" y="145256"/>
                    <a:pt x="447199" y="145256"/>
                  </a:cubicBezTo>
                  <a:cubicBezTo>
                    <a:pt x="447199" y="145256"/>
                    <a:pt x="449104" y="154781"/>
                    <a:pt x="451961" y="171926"/>
                  </a:cubicBezTo>
                  <a:cubicBezTo>
                    <a:pt x="453866" y="180499"/>
                    <a:pt x="454819" y="190976"/>
                    <a:pt x="457676" y="202406"/>
                  </a:cubicBezTo>
                  <a:cubicBezTo>
                    <a:pt x="459581" y="213836"/>
                    <a:pt x="462439" y="227171"/>
                    <a:pt x="464344" y="242411"/>
                  </a:cubicBezTo>
                  <a:cubicBezTo>
                    <a:pt x="466249" y="254794"/>
                    <a:pt x="469106" y="268129"/>
                    <a:pt x="471011" y="282416"/>
                  </a:cubicBezTo>
                  <a:cubicBezTo>
                    <a:pt x="469106" y="278606"/>
                    <a:pt x="468154" y="275749"/>
                    <a:pt x="467201" y="272891"/>
                  </a:cubicBezTo>
                  <a:cubicBezTo>
                    <a:pt x="462439" y="262414"/>
                    <a:pt x="459581" y="255746"/>
                    <a:pt x="459581" y="255746"/>
                  </a:cubicBezTo>
                  <a:cubicBezTo>
                    <a:pt x="459581" y="255746"/>
                    <a:pt x="460534" y="262414"/>
                    <a:pt x="463391" y="273844"/>
                  </a:cubicBezTo>
                  <a:cubicBezTo>
                    <a:pt x="464344" y="279559"/>
                    <a:pt x="466249" y="286226"/>
                    <a:pt x="468154" y="293846"/>
                  </a:cubicBezTo>
                  <a:cubicBezTo>
                    <a:pt x="469106" y="297656"/>
                    <a:pt x="470059" y="302419"/>
                    <a:pt x="471011" y="306229"/>
                  </a:cubicBezTo>
                  <a:cubicBezTo>
                    <a:pt x="471964" y="310991"/>
                    <a:pt x="472916" y="315754"/>
                    <a:pt x="473869" y="320516"/>
                  </a:cubicBezTo>
                  <a:cubicBezTo>
                    <a:pt x="475774" y="330041"/>
                    <a:pt x="477679" y="340519"/>
                    <a:pt x="479584" y="351949"/>
                  </a:cubicBezTo>
                  <a:cubicBezTo>
                    <a:pt x="479584" y="352901"/>
                    <a:pt x="479584" y="352901"/>
                    <a:pt x="479584" y="353854"/>
                  </a:cubicBezTo>
                  <a:cubicBezTo>
                    <a:pt x="479584" y="353854"/>
                    <a:pt x="479584" y="352901"/>
                    <a:pt x="478631" y="351949"/>
                  </a:cubicBezTo>
                  <a:cubicBezTo>
                    <a:pt x="476726" y="347186"/>
                    <a:pt x="473869" y="343376"/>
                    <a:pt x="471964" y="338614"/>
                  </a:cubicBezTo>
                  <a:cubicBezTo>
                    <a:pt x="471011" y="333851"/>
                    <a:pt x="471011" y="329089"/>
                    <a:pt x="470059" y="324326"/>
                  </a:cubicBezTo>
                  <a:cubicBezTo>
                    <a:pt x="468154" y="309086"/>
                    <a:pt x="465296" y="294799"/>
                    <a:pt x="462439" y="280511"/>
                  </a:cubicBezTo>
                  <a:cubicBezTo>
                    <a:pt x="459581" y="266224"/>
                    <a:pt x="455771" y="252889"/>
                    <a:pt x="452914" y="240506"/>
                  </a:cubicBezTo>
                  <a:cubicBezTo>
                    <a:pt x="449104" y="228124"/>
                    <a:pt x="445294" y="215741"/>
                    <a:pt x="441484" y="205264"/>
                  </a:cubicBezTo>
                  <a:cubicBezTo>
                    <a:pt x="440531" y="201454"/>
                    <a:pt x="438626" y="198596"/>
                    <a:pt x="437674" y="194786"/>
                  </a:cubicBezTo>
                  <a:cubicBezTo>
                    <a:pt x="438626" y="185261"/>
                    <a:pt x="439579" y="175736"/>
                    <a:pt x="440531" y="167164"/>
                  </a:cubicBezTo>
                  <a:cubicBezTo>
                    <a:pt x="441484" y="151924"/>
                    <a:pt x="442436" y="139541"/>
                    <a:pt x="442436" y="128111"/>
                  </a:cubicBezTo>
                  <a:cubicBezTo>
                    <a:pt x="442436" y="106204"/>
                    <a:pt x="441484" y="94774"/>
                    <a:pt x="441484" y="94774"/>
                  </a:cubicBezTo>
                  <a:cubicBezTo>
                    <a:pt x="441484" y="94774"/>
                    <a:pt x="440531" y="107156"/>
                    <a:pt x="438626" y="128111"/>
                  </a:cubicBezTo>
                  <a:cubicBezTo>
                    <a:pt x="437674" y="138589"/>
                    <a:pt x="435769" y="151924"/>
                    <a:pt x="433864" y="166211"/>
                  </a:cubicBezTo>
                  <a:cubicBezTo>
                    <a:pt x="432911" y="170021"/>
                    <a:pt x="432911" y="173831"/>
                    <a:pt x="431959" y="178594"/>
                  </a:cubicBezTo>
                  <a:cubicBezTo>
                    <a:pt x="431959" y="177641"/>
                    <a:pt x="431006" y="176689"/>
                    <a:pt x="431006" y="175736"/>
                  </a:cubicBezTo>
                  <a:cubicBezTo>
                    <a:pt x="427196" y="167164"/>
                    <a:pt x="423386" y="159544"/>
                    <a:pt x="419576" y="153829"/>
                  </a:cubicBezTo>
                  <a:cubicBezTo>
                    <a:pt x="412909" y="142399"/>
                    <a:pt x="408146" y="135731"/>
                    <a:pt x="408146" y="135731"/>
                  </a:cubicBezTo>
                  <a:cubicBezTo>
                    <a:pt x="408146" y="135731"/>
                    <a:pt x="411004" y="143351"/>
                    <a:pt x="415766" y="155734"/>
                  </a:cubicBezTo>
                  <a:cubicBezTo>
                    <a:pt x="418624" y="161449"/>
                    <a:pt x="420529" y="170021"/>
                    <a:pt x="423386" y="178594"/>
                  </a:cubicBezTo>
                  <a:cubicBezTo>
                    <a:pt x="425291" y="184309"/>
                    <a:pt x="427196" y="190024"/>
                    <a:pt x="428149" y="195739"/>
                  </a:cubicBezTo>
                  <a:cubicBezTo>
                    <a:pt x="427196" y="201454"/>
                    <a:pt x="425291" y="208121"/>
                    <a:pt x="424339" y="214789"/>
                  </a:cubicBezTo>
                  <a:cubicBezTo>
                    <a:pt x="424339" y="214789"/>
                    <a:pt x="424339" y="214789"/>
                    <a:pt x="424339" y="214789"/>
                  </a:cubicBezTo>
                  <a:cubicBezTo>
                    <a:pt x="418624" y="206216"/>
                    <a:pt x="415766" y="202406"/>
                    <a:pt x="415766" y="202406"/>
                  </a:cubicBezTo>
                  <a:cubicBezTo>
                    <a:pt x="415766" y="202406"/>
                    <a:pt x="417671" y="208121"/>
                    <a:pt x="421481" y="216694"/>
                  </a:cubicBezTo>
                  <a:cubicBezTo>
                    <a:pt x="422434" y="218599"/>
                    <a:pt x="423386" y="220504"/>
                    <a:pt x="423386" y="223361"/>
                  </a:cubicBezTo>
                  <a:cubicBezTo>
                    <a:pt x="420529" y="238601"/>
                    <a:pt x="416719" y="255746"/>
                    <a:pt x="412909" y="272891"/>
                  </a:cubicBezTo>
                  <a:cubicBezTo>
                    <a:pt x="410051" y="264319"/>
                    <a:pt x="407194" y="257651"/>
                    <a:pt x="405289" y="253841"/>
                  </a:cubicBezTo>
                  <a:cubicBezTo>
                    <a:pt x="405289" y="253841"/>
                    <a:pt x="405289" y="253841"/>
                    <a:pt x="405289" y="253841"/>
                  </a:cubicBezTo>
                  <a:cubicBezTo>
                    <a:pt x="405289" y="237649"/>
                    <a:pt x="405289" y="223361"/>
                    <a:pt x="404336" y="210026"/>
                  </a:cubicBezTo>
                  <a:cubicBezTo>
                    <a:pt x="403384" y="196691"/>
                    <a:pt x="403384" y="185261"/>
                    <a:pt x="401479" y="176689"/>
                  </a:cubicBezTo>
                  <a:cubicBezTo>
                    <a:pt x="398621" y="158591"/>
                    <a:pt x="396716" y="148114"/>
                    <a:pt x="396716" y="148114"/>
                  </a:cubicBezTo>
                  <a:cubicBezTo>
                    <a:pt x="396716" y="148114"/>
                    <a:pt x="396716" y="158591"/>
                    <a:pt x="397669" y="177641"/>
                  </a:cubicBezTo>
                  <a:cubicBezTo>
                    <a:pt x="397669" y="186214"/>
                    <a:pt x="397669" y="195739"/>
                    <a:pt x="396716" y="206216"/>
                  </a:cubicBezTo>
                  <a:cubicBezTo>
                    <a:pt x="394811" y="214789"/>
                    <a:pt x="391954" y="228124"/>
                    <a:pt x="389096" y="244316"/>
                  </a:cubicBezTo>
                  <a:cubicBezTo>
                    <a:pt x="386239" y="235744"/>
                    <a:pt x="384334" y="227171"/>
                    <a:pt x="381476" y="219551"/>
                  </a:cubicBezTo>
                  <a:cubicBezTo>
                    <a:pt x="379571" y="212884"/>
                    <a:pt x="377666" y="205264"/>
                    <a:pt x="374809" y="199549"/>
                  </a:cubicBezTo>
                  <a:cubicBezTo>
                    <a:pt x="373856" y="197644"/>
                    <a:pt x="373856" y="196691"/>
                    <a:pt x="372904" y="194786"/>
                  </a:cubicBezTo>
                  <a:cubicBezTo>
                    <a:pt x="372904" y="193834"/>
                    <a:pt x="372904" y="192881"/>
                    <a:pt x="372904" y="190976"/>
                  </a:cubicBezTo>
                  <a:cubicBezTo>
                    <a:pt x="371951" y="186214"/>
                    <a:pt x="370999" y="181451"/>
                    <a:pt x="370046" y="177641"/>
                  </a:cubicBezTo>
                  <a:cubicBezTo>
                    <a:pt x="368141" y="169069"/>
                    <a:pt x="367189" y="162401"/>
                    <a:pt x="366236" y="155734"/>
                  </a:cubicBezTo>
                  <a:cubicBezTo>
                    <a:pt x="365284" y="152876"/>
                    <a:pt x="365284" y="150019"/>
                    <a:pt x="364331" y="148114"/>
                  </a:cubicBezTo>
                  <a:cubicBezTo>
                    <a:pt x="363379" y="140494"/>
                    <a:pt x="363379" y="135731"/>
                    <a:pt x="363379" y="135731"/>
                  </a:cubicBezTo>
                  <a:cubicBezTo>
                    <a:pt x="363379" y="135731"/>
                    <a:pt x="363379" y="137636"/>
                    <a:pt x="363379" y="140494"/>
                  </a:cubicBezTo>
                  <a:cubicBezTo>
                    <a:pt x="362426" y="138589"/>
                    <a:pt x="362426" y="136684"/>
                    <a:pt x="362426" y="136684"/>
                  </a:cubicBezTo>
                  <a:cubicBezTo>
                    <a:pt x="362426" y="136684"/>
                    <a:pt x="362426" y="142399"/>
                    <a:pt x="362426" y="151924"/>
                  </a:cubicBezTo>
                  <a:cubicBezTo>
                    <a:pt x="362426" y="154781"/>
                    <a:pt x="362426" y="158591"/>
                    <a:pt x="361474" y="163354"/>
                  </a:cubicBezTo>
                  <a:cubicBezTo>
                    <a:pt x="359569" y="159544"/>
                    <a:pt x="358616" y="155734"/>
                    <a:pt x="357664" y="151924"/>
                  </a:cubicBezTo>
                  <a:cubicBezTo>
                    <a:pt x="350996" y="135731"/>
                    <a:pt x="348139" y="127159"/>
                    <a:pt x="348139" y="127159"/>
                  </a:cubicBezTo>
                  <a:cubicBezTo>
                    <a:pt x="348139" y="127159"/>
                    <a:pt x="350044" y="136684"/>
                    <a:pt x="353854" y="153829"/>
                  </a:cubicBezTo>
                  <a:cubicBezTo>
                    <a:pt x="355759" y="162401"/>
                    <a:pt x="358616" y="171926"/>
                    <a:pt x="361474" y="183356"/>
                  </a:cubicBezTo>
                  <a:cubicBezTo>
                    <a:pt x="361474" y="186214"/>
                    <a:pt x="361474" y="189071"/>
                    <a:pt x="361474" y="192881"/>
                  </a:cubicBezTo>
                  <a:cubicBezTo>
                    <a:pt x="359569" y="187166"/>
                    <a:pt x="357664" y="184309"/>
                    <a:pt x="357664" y="184309"/>
                  </a:cubicBezTo>
                  <a:cubicBezTo>
                    <a:pt x="357664" y="184309"/>
                    <a:pt x="358616" y="189071"/>
                    <a:pt x="360521" y="198596"/>
                  </a:cubicBezTo>
                  <a:cubicBezTo>
                    <a:pt x="360521" y="205264"/>
                    <a:pt x="360521" y="212884"/>
                    <a:pt x="359569" y="221456"/>
                  </a:cubicBezTo>
                  <a:cubicBezTo>
                    <a:pt x="357664" y="216694"/>
                    <a:pt x="356711" y="211931"/>
                    <a:pt x="355759" y="208121"/>
                  </a:cubicBezTo>
                  <a:cubicBezTo>
                    <a:pt x="352901" y="199549"/>
                    <a:pt x="350996" y="193834"/>
                    <a:pt x="350996" y="193834"/>
                  </a:cubicBezTo>
                  <a:cubicBezTo>
                    <a:pt x="350996" y="193834"/>
                    <a:pt x="350996" y="199549"/>
                    <a:pt x="351949" y="208121"/>
                  </a:cubicBezTo>
                  <a:cubicBezTo>
                    <a:pt x="351949" y="212884"/>
                    <a:pt x="352901" y="218599"/>
                    <a:pt x="352901" y="224314"/>
                  </a:cubicBezTo>
                  <a:cubicBezTo>
                    <a:pt x="353854" y="230981"/>
                    <a:pt x="353854" y="237649"/>
                    <a:pt x="353854" y="246221"/>
                  </a:cubicBezTo>
                  <a:cubicBezTo>
                    <a:pt x="353854" y="253841"/>
                    <a:pt x="354806" y="262414"/>
                    <a:pt x="354806" y="270986"/>
                  </a:cubicBezTo>
                  <a:cubicBezTo>
                    <a:pt x="355759" y="279559"/>
                    <a:pt x="355759" y="289084"/>
                    <a:pt x="355759" y="299561"/>
                  </a:cubicBezTo>
                  <a:cubicBezTo>
                    <a:pt x="355759" y="305276"/>
                    <a:pt x="356711" y="310991"/>
                    <a:pt x="356711" y="316706"/>
                  </a:cubicBezTo>
                  <a:cubicBezTo>
                    <a:pt x="352901" y="310039"/>
                    <a:pt x="349091" y="303371"/>
                    <a:pt x="346234" y="298609"/>
                  </a:cubicBezTo>
                  <a:cubicBezTo>
                    <a:pt x="346234" y="297656"/>
                    <a:pt x="345281" y="297656"/>
                    <a:pt x="345281" y="296704"/>
                  </a:cubicBezTo>
                  <a:cubicBezTo>
                    <a:pt x="345281" y="294799"/>
                    <a:pt x="345281" y="293846"/>
                    <a:pt x="345281" y="291941"/>
                  </a:cubicBezTo>
                  <a:cubicBezTo>
                    <a:pt x="346234" y="282416"/>
                    <a:pt x="347186" y="274796"/>
                    <a:pt x="348139" y="267176"/>
                  </a:cubicBezTo>
                  <a:cubicBezTo>
                    <a:pt x="349091" y="253841"/>
                    <a:pt x="350044" y="246221"/>
                    <a:pt x="350044" y="246221"/>
                  </a:cubicBezTo>
                  <a:cubicBezTo>
                    <a:pt x="350044" y="246221"/>
                    <a:pt x="348139" y="253841"/>
                    <a:pt x="344329" y="267176"/>
                  </a:cubicBezTo>
                  <a:cubicBezTo>
                    <a:pt x="342424" y="272891"/>
                    <a:pt x="341471" y="279559"/>
                    <a:pt x="339566" y="287179"/>
                  </a:cubicBezTo>
                  <a:cubicBezTo>
                    <a:pt x="339566" y="287179"/>
                    <a:pt x="339566" y="287179"/>
                    <a:pt x="339566" y="287179"/>
                  </a:cubicBezTo>
                  <a:cubicBezTo>
                    <a:pt x="339566" y="287179"/>
                    <a:pt x="339566" y="287179"/>
                    <a:pt x="339566" y="288131"/>
                  </a:cubicBezTo>
                  <a:cubicBezTo>
                    <a:pt x="339566" y="289084"/>
                    <a:pt x="338614" y="290036"/>
                    <a:pt x="338614" y="291941"/>
                  </a:cubicBezTo>
                  <a:cubicBezTo>
                    <a:pt x="338614" y="293846"/>
                    <a:pt x="337661" y="295751"/>
                    <a:pt x="337661" y="297656"/>
                  </a:cubicBezTo>
                  <a:cubicBezTo>
                    <a:pt x="332899" y="290036"/>
                    <a:pt x="328136" y="283369"/>
                    <a:pt x="324326" y="277654"/>
                  </a:cubicBezTo>
                  <a:cubicBezTo>
                    <a:pt x="320516" y="263366"/>
                    <a:pt x="315754" y="249079"/>
                    <a:pt x="310991" y="233839"/>
                  </a:cubicBezTo>
                  <a:cubicBezTo>
                    <a:pt x="308134" y="226219"/>
                    <a:pt x="306229" y="219551"/>
                    <a:pt x="303371" y="211931"/>
                  </a:cubicBezTo>
                  <a:cubicBezTo>
                    <a:pt x="304324" y="206216"/>
                    <a:pt x="305276" y="201454"/>
                    <a:pt x="306229" y="196691"/>
                  </a:cubicBezTo>
                  <a:cubicBezTo>
                    <a:pt x="310039" y="179546"/>
                    <a:pt x="312896" y="164306"/>
                    <a:pt x="316706" y="150971"/>
                  </a:cubicBezTo>
                  <a:cubicBezTo>
                    <a:pt x="320516" y="137636"/>
                    <a:pt x="322421" y="125254"/>
                    <a:pt x="326231" y="115729"/>
                  </a:cubicBezTo>
                  <a:cubicBezTo>
                    <a:pt x="331946" y="96679"/>
                    <a:pt x="335756" y="85249"/>
                    <a:pt x="335756" y="85249"/>
                  </a:cubicBezTo>
                  <a:cubicBezTo>
                    <a:pt x="335756" y="85249"/>
                    <a:pt x="330994" y="95726"/>
                    <a:pt x="323374" y="113824"/>
                  </a:cubicBezTo>
                  <a:cubicBezTo>
                    <a:pt x="319564" y="123349"/>
                    <a:pt x="315754" y="134779"/>
                    <a:pt x="310991" y="148114"/>
                  </a:cubicBezTo>
                  <a:cubicBezTo>
                    <a:pt x="309086" y="154781"/>
                    <a:pt x="306229" y="161449"/>
                    <a:pt x="303371" y="169069"/>
                  </a:cubicBezTo>
                  <a:cubicBezTo>
                    <a:pt x="301466" y="175736"/>
                    <a:pt x="299561" y="183356"/>
                    <a:pt x="297656" y="190024"/>
                  </a:cubicBezTo>
                  <a:cubicBezTo>
                    <a:pt x="293846" y="179546"/>
                    <a:pt x="290989" y="170021"/>
                    <a:pt x="287179" y="159544"/>
                  </a:cubicBezTo>
                  <a:cubicBezTo>
                    <a:pt x="290036" y="172879"/>
                    <a:pt x="291941" y="185261"/>
                    <a:pt x="294799" y="198596"/>
                  </a:cubicBezTo>
                  <a:cubicBezTo>
                    <a:pt x="290989" y="213836"/>
                    <a:pt x="287179" y="230029"/>
                    <a:pt x="283369" y="247174"/>
                  </a:cubicBezTo>
                  <a:cubicBezTo>
                    <a:pt x="282416" y="252889"/>
                    <a:pt x="281464" y="258604"/>
                    <a:pt x="279559" y="264319"/>
                  </a:cubicBezTo>
                  <a:cubicBezTo>
                    <a:pt x="278606" y="260509"/>
                    <a:pt x="277654" y="257651"/>
                    <a:pt x="276701" y="253841"/>
                  </a:cubicBezTo>
                  <a:cubicBezTo>
                    <a:pt x="276701" y="245269"/>
                    <a:pt x="277654" y="235744"/>
                    <a:pt x="278606" y="227171"/>
                  </a:cubicBezTo>
                  <a:cubicBezTo>
                    <a:pt x="280511" y="205264"/>
                    <a:pt x="281464" y="185261"/>
                    <a:pt x="284321" y="166211"/>
                  </a:cubicBezTo>
                  <a:cubicBezTo>
                    <a:pt x="285274" y="156686"/>
                    <a:pt x="286226" y="148114"/>
                    <a:pt x="287179" y="139541"/>
                  </a:cubicBezTo>
                  <a:cubicBezTo>
                    <a:pt x="288131" y="130969"/>
                    <a:pt x="290036" y="123349"/>
                    <a:pt x="290989" y="115729"/>
                  </a:cubicBezTo>
                  <a:cubicBezTo>
                    <a:pt x="293846" y="100489"/>
                    <a:pt x="294799" y="87154"/>
                    <a:pt x="297656" y="76676"/>
                  </a:cubicBezTo>
                  <a:cubicBezTo>
                    <a:pt x="302419" y="54769"/>
                    <a:pt x="304324" y="42386"/>
                    <a:pt x="304324" y="42386"/>
                  </a:cubicBezTo>
                  <a:cubicBezTo>
                    <a:pt x="304324" y="42386"/>
                    <a:pt x="300514" y="54769"/>
                    <a:pt x="293846" y="75724"/>
                  </a:cubicBezTo>
                  <a:cubicBezTo>
                    <a:pt x="290036" y="86201"/>
                    <a:pt x="287179" y="99536"/>
                    <a:pt x="283369" y="114776"/>
                  </a:cubicBezTo>
                  <a:cubicBezTo>
                    <a:pt x="281464" y="122396"/>
                    <a:pt x="279559" y="130016"/>
                    <a:pt x="277654" y="138589"/>
                  </a:cubicBezTo>
                  <a:cubicBezTo>
                    <a:pt x="275749" y="147161"/>
                    <a:pt x="274796" y="156686"/>
                    <a:pt x="272891" y="165259"/>
                  </a:cubicBezTo>
                  <a:cubicBezTo>
                    <a:pt x="271939" y="170021"/>
                    <a:pt x="270986" y="173831"/>
                    <a:pt x="270034" y="178594"/>
                  </a:cubicBezTo>
                  <a:cubicBezTo>
                    <a:pt x="268129" y="182404"/>
                    <a:pt x="265271" y="188119"/>
                    <a:pt x="261461" y="196691"/>
                  </a:cubicBezTo>
                  <a:cubicBezTo>
                    <a:pt x="260509" y="191929"/>
                    <a:pt x="258604" y="187166"/>
                    <a:pt x="258604" y="183356"/>
                  </a:cubicBezTo>
                  <a:cubicBezTo>
                    <a:pt x="255746" y="170021"/>
                    <a:pt x="253841" y="161449"/>
                    <a:pt x="253841" y="161449"/>
                  </a:cubicBezTo>
                  <a:cubicBezTo>
                    <a:pt x="253841" y="161449"/>
                    <a:pt x="253841" y="169069"/>
                    <a:pt x="254794" y="183356"/>
                  </a:cubicBezTo>
                  <a:cubicBezTo>
                    <a:pt x="254794" y="190024"/>
                    <a:pt x="255746" y="197644"/>
                    <a:pt x="256699" y="207169"/>
                  </a:cubicBezTo>
                  <a:cubicBezTo>
                    <a:pt x="253841" y="213836"/>
                    <a:pt x="250984" y="222409"/>
                    <a:pt x="247174" y="231934"/>
                  </a:cubicBezTo>
                  <a:cubicBezTo>
                    <a:pt x="246221" y="232886"/>
                    <a:pt x="246221" y="234791"/>
                    <a:pt x="245269" y="236696"/>
                  </a:cubicBezTo>
                  <a:cubicBezTo>
                    <a:pt x="243364" y="231934"/>
                    <a:pt x="242411" y="230029"/>
                    <a:pt x="242411" y="230029"/>
                  </a:cubicBezTo>
                  <a:cubicBezTo>
                    <a:pt x="242411" y="230029"/>
                    <a:pt x="243364" y="233839"/>
                    <a:pt x="244316" y="240506"/>
                  </a:cubicBezTo>
                  <a:cubicBezTo>
                    <a:pt x="241459" y="247174"/>
                    <a:pt x="239554" y="254794"/>
                    <a:pt x="236696" y="262414"/>
                  </a:cubicBezTo>
                  <a:cubicBezTo>
                    <a:pt x="232886" y="250031"/>
                    <a:pt x="229076" y="238601"/>
                    <a:pt x="226219" y="227171"/>
                  </a:cubicBezTo>
                  <a:cubicBezTo>
                    <a:pt x="223361" y="219551"/>
                    <a:pt x="221456" y="210979"/>
                    <a:pt x="218599" y="204311"/>
                  </a:cubicBezTo>
                  <a:cubicBezTo>
                    <a:pt x="215741" y="196691"/>
                    <a:pt x="213836" y="190024"/>
                    <a:pt x="210979" y="184309"/>
                  </a:cubicBezTo>
                  <a:cubicBezTo>
                    <a:pt x="206216" y="171926"/>
                    <a:pt x="202406" y="160496"/>
                    <a:pt x="198596" y="150971"/>
                  </a:cubicBezTo>
                  <a:cubicBezTo>
                    <a:pt x="191929" y="132874"/>
                    <a:pt x="187166" y="122396"/>
                    <a:pt x="187166" y="122396"/>
                  </a:cubicBezTo>
                  <a:cubicBezTo>
                    <a:pt x="187166" y="122396"/>
                    <a:pt x="190024" y="132874"/>
                    <a:pt x="194786" y="151924"/>
                  </a:cubicBezTo>
                  <a:cubicBezTo>
                    <a:pt x="197644" y="161449"/>
                    <a:pt x="200501" y="172879"/>
                    <a:pt x="204311" y="186214"/>
                  </a:cubicBezTo>
                  <a:cubicBezTo>
                    <a:pt x="206216" y="192881"/>
                    <a:pt x="208121" y="199549"/>
                    <a:pt x="210026" y="207169"/>
                  </a:cubicBezTo>
                  <a:cubicBezTo>
                    <a:pt x="211931" y="214789"/>
                    <a:pt x="213836" y="222409"/>
                    <a:pt x="215741" y="230981"/>
                  </a:cubicBezTo>
                  <a:cubicBezTo>
                    <a:pt x="218599" y="245269"/>
                    <a:pt x="222409" y="260509"/>
                    <a:pt x="226219" y="275749"/>
                  </a:cubicBezTo>
                  <a:cubicBezTo>
                    <a:pt x="224314" y="280511"/>
                    <a:pt x="221456" y="287179"/>
                    <a:pt x="218599" y="295751"/>
                  </a:cubicBezTo>
                  <a:cubicBezTo>
                    <a:pt x="218599" y="296704"/>
                    <a:pt x="217646" y="297656"/>
                    <a:pt x="217646" y="298609"/>
                  </a:cubicBezTo>
                  <a:cubicBezTo>
                    <a:pt x="216694" y="286226"/>
                    <a:pt x="215741" y="274796"/>
                    <a:pt x="214789" y="266224"/>
                  </a:cubicBezTo>
                  <a:cubicBezTo>
                    <a:pt x="213836" y="250984"/>
                    <a:pt x="212884" y="241459"/>
                    <a:pt x="212884" y="241459"/>
                  </a:cubicBezTo>
                  <a:cubicBezTo>
                    <a:pt x="212884" y="241459"/>
                    <a:pt x="211931" y="250031"/>
                    <a:pt x="210979" y="266224"/>
                  </a:cubicBezTo>
                  <a:cubicBezTo>
                    <a:pt x="210026" y="277654"/>
                    <a:pt x="210026" y="291941"/>
                    <a:pt x="209074" y="309086"/>
                  </a:cubicBezTo>
                  <a:cubicBezTo>
                    <a:pt x="204311" y="301466"/>
                    <a:pt x="200501" y="293846"/>
                    <a:pt x="196691" y="287179"/>
                  </a:cubicBezTo>
                  <a:cubicBezTo>
                    <a:pt x="192881" y="281464"/>
                    <a:pt x="190024" y="275749"/>
                    <a:pt x="187166" y="270034"/>
                  </a:cubicBezTo>
                  <a:cubicBezTo>
                    <a:pt x="183356" y="265271"/>
                    <a:pt x="180499" y="260509"/>
                    <a:pt x="177641" y="255746"/>
                  </a:cubicBezTo>
                  <a:cubicBezTo>
                    <a:pt x="171926" y="246221"/>
                    <a:pt x="166211" y="238601"/>
                    <a:pt x="161449" y="231934"/>
                  </a:cubicBezTo>
                  <a:cubicBezTo>
                    <a:pt x="159544" y="230029"/>
                    <a:pt x="158591" y="227171"/>
                    <a:pt x="156686" y="225266"/>
                  </a:cubicBezTo>
                  <a:cubicBezTo>
                    <a:pt x="154781" y="214789"/>
                    <a:pt x="152876" y="209074"/>
                    <a:pt x="152876" y="209074"/>
                  </a:cubicBezTo>
                  <a:cubicBezTo>
                    <a:pt x="152876" y="209074"/>
                    <a:pt x="152876" y="212884"/>
                    <a:pt x="152876" y="219551"/>
                  </a:cubicBezTo>
                  <a:cubicBezTo>
                    <a:pt x="149066" y="213836"/>
                    <a:pt x="146209" y="210979"/>
                    <a:pt x="146209" y="210979"/>
                  </a:cubicBezTo>
                  <a:cubicBezTo>
                    <a:pt x="146209" y="210979"/>
                    <a:pt x="148114" y="215741"/>
                    <a:pt x="152876" y="224314"/>
                  </a:cubicBezTo>
                  <a:cubicBezTo>
                    <a:pt x="153829" y="235744"/>
                    <a:pt x="154781" y="253841"/>
                    <a:pt x="156686" y="275749"/>
                  </a:cubicBezTo>
                  <a:cubicBezTo>
                    <a:pt x="153829" y="271939"/>
                    <a:pt x="150971" y="267176"/>
                    <a:pt x="148114" y="263366"/>
                  </a:cubicBezTo>
                  <a:cubicBezTo>
                    <a:pt x="139541" y="252889"/>
                    <a:pt x="131921" y="242411"/>
                    <a:pt x="124301" y="233839"/>
                  </a:cubicBezTo>
                  <a:cubicBezTo>
                    <a:pt x="116681" y="225266"/>
                    <a:pt x="110966" y="217646"/>
                    <a:pt x="104299" y="212884"/>
                  </a:cubicBezTo>
                  <a:cubicBezTo>
                    <a:pt x="94774" y="203359"/>
                    <a:pt x="88106" y="197644"/>
                    <a:pt x="88106" y="197644"/>
                  </a:cubicBezTo>
                  <a:cubicBezTo>
                    <a:pt x="88106" y="197644"/>
                    <a:pt x="93821" y="205264"/>
                    <a:pt x="103346" y="217646"/>
                  </a:cubicBezTo>
                  <a:cubicBezTo>
                    <a:pt x="108109" y="223361"/>
                    <a:pt x="113824" y="231934"/>
                    <a:pt x="119539" y="240506"/>
                  </a:cubicBezTo>
                  <a:cubicBezTo>
                    <a:pt x="126206" y="249079"/>
                    <a:pt x="131921" y="260509"/>
                    <a:pt x="139541" y="271939"/>
                  </a:cubicBezTo>
                  <a:cubicBezTo>
                    <a:pt x="143351" y="278606"/>
                    <a:pt x="148114" y="285274"/>
                    <a:pt x="151924" y="292894"/>
                  </a:cubicBezTo>
                  <a:cubicBezTo>
                    <a:pt x="151924" y="294799"/>
                    <a:pt x="151924" y="295751"/>
                    <a:pt x="151924" y="297656"/>
                  </a:cubicBezTo>
                  <a:cubicBezTo>
                    <a:pt x="151924" y="297656"/>
                    <a:pt x="150971" y="296704"/>
                    <a:pt x="150971" y="296704"/>
                  </a:cubicBezTo>
                  <a:cubicBezTo>
                    <a:pt x="145256" y="290989"/>
                    <a:pt x="140494" y="285274"/>
                    <a:pt x="136684" y="282416"/>
                  </a:cubicBezTo>
                  <a:cubicBezTo>
                    <a:pt x="134779" y="280511"/>
                    <a:pt x="133826" y="279559"/>
                    <a:pt x="131921" y="278606"/>
                  </a:cubicBezTo>
                  <a:cubicBezTo>
                    <a:pt x="132874" y="275749"/>
                    <a:pt x="132874" y="274796"/>
                    <a:pt x="132874" y="274796"/>
                  </a:cubicBezTo>
                  <a:cubicBezTo>
                    <a:pt x="132874" y="274796"/>
                    <a:pt x="131921" y="275749"/>
                    <a:pt x="130969" y="278606"/>
                  </a:cubicBezTo>
                  <a:cubicBezTo>
                    <a:pt x="125254" y="273844"/>
                    <a:pt x="122396" y="270986"/>
                    <a:pt x="122396" y="270986"/>
                  </a:cubicBezTo>
                  <a:cubicBezTo>
                    <a:pt x="122396" y="270986"/>
                    <a:pt x="125254" y="274796"/>
                    <a:pt x="130016" y="280511"/>
                  </a:cubicBezTo>
                  <a:cubicBezTo>
                    <a:pt x="128111" y="283369"/>
                    <a:pt x="126206" y="288131"/>
                    <a:pt x="123349" y="293846"/>
                  </a:cubicBezTo>
                  <a:cubicBezTo>
                    <a:pt x="120491" y="299561"/>
                    <a:pt x="117634" y="308134"/>
                    <a:pt x="114776" y="316706"/>
                  </a:cubicBezTo>
                  <a:cubicBezTo>
                    <a:pt x="113824" y="318611"/>
                    <a:pt x="113824" y="319564"/>
                    <a:pt x="112871" y="321469"/>
                  </a:cubicBezTo>
                  <a:cubicBezTo>
                    <a:pt x="110014" y="313849"/>
                    <a:pt x="107156" y="306229"/>
                    <a:pt x="103346" y="299561"/>
                  </a:cubicBezTo>
                  <a:cubicBezTo>
                    <a:pt x="97631" y="286226"/>
                    <a:pt x="91916" y="273844"/>
                    <a:pt x="86201" y="262414"/>
                  </a:cubicBezTo>
                  <a:cubicBezTo>
                    <a:pt x="83344" y="255746"/>
                    <a:pt x="80486" y="250984"/>
                    <a:pt x="78581" y="245269"/>
                  </a:cubicBezTo>
                  <a:cubicBezTo>
                    <a:pt x="75724" y="240506"/>
                    <a:pt x="72866" y="235744"/>
                    <a:pt x="70961" y="230981"/>
                  </a:cubicBezTo>
                  <a:cubicBezTo>
                    <a:pt x="66199" y="222409"/>
                    <a:pt x="61436" y="213836"/>
                    <a:pt x="57626" y="208121"/>
                  </a:cubicBezTo>
                  <a:cubicBezTo>
                    <a:pt x="50006" y="195739"/>
                    <a:pt x="46196" y="188119"/>
                    <a:pt x="46196" y="188119"/>
                  </a:cubicBezTo>
                  <a:cubicBezTo>
                    <a:pt x="46196" y="188119"/>
                    <a:pt x="49054" y="195739"/>
                    <a:pt x="54769" y="210026"/>
                  </a:cubicBezTo>
                  <a:cubicBezTo>
                    <a:pt x="57626" y="216694"/>
                    <a:pt x="60484" y="225266"/>
                    <a:pt x="64294" y="234791"/>
                  </a:cubicBezTo>
                  <a:cubicBezTo>
                    <a:pt x="66199" y="239554"/>
                    <a:pt x="68104" y="244316"/>
                    <a:pt x="70009" y="250031"/>
                  </a:cubicBezTo>
                  <a:cubicBezTo>
                    <a:pt x="71914" y="254794"/>
                    <a:pt x="73819" y="260509"/>
                    <a:pt x="75724" y="266224"/>
                  </a:cubicBezTo>
                  <a:cubicBezTo>
                    <a:pt x="78581" y="274796"/>
                    <a:pt x="82391" y="283369"/>
                    <a:pt x="85249" y="292894"/>
                  </a:cubicBezTo>
                  <a:cubicBezTo>
                    <a:pt x="83344" y="290036"/>
                    <a:pt x="81439" y="286226"/>
                    <a:pt x="79534" y="284321"/>
                  </a:cubicBezTo>
                  <a:cubicBezTo>
                    <a:pt x="74771" y="277654"/>
                    <a:pt x="71914" y="271939"/>
                    <a:pt x="68104" y="268129"/>
                  </a:cubicBezTo>
                  <a:cubicBezTo>
                    <a:pt x="61436" y="258604"/>
                    <a:pt x="57626" y="253841"/>
                    <a:pt x="57626" y="253841"/>
                  </a:cubicBezTo>
                  <a:cubicBezTo>
                    <a:pt x="57626" y="253841"/>
                    <a:pt x="59531" y="259556"/>
                    <a:pt x="64294" y="270034"/>
                  </a:cubicBezTo>
                  <a:cubicBezTo>
                    <a:pt x="66199" y="274796"/>
                    <a:pt x="69056" y="281464"/>
                    <a:pt x="71914" y="288131"/>
                  </a:cubicBezTo>
                  <a:cubicBezTo>
                    <a:pt x="76676" y="295751"/>
                    <a:pt x="79534" y="303371"/>
                    <a:pt x="83344" y="311944"/>
                  </a:cubicBezTo>
                  <a:cubicBezTo>
                    <a:pt x="86201" y="317659"/>
                    <a:pt x="88106" y="324326"/>
                    <a:pt x="90964" y="330994"/>
                  </a:cubicBezTo>
                  <a:cubicBezTo>
                    <a:pt x="90011" y="333851"/>
                    <a:pt x="89059" y="336709"/>
                    <a:pt x="87154" y="339566"/>
                  </a:cubicBezTo>
                  <a:cubicBezTo>
                    <a:pt x="85249" y="343376"/>
                    <a:pt x="83344" y="348139"/>
                    <a:pt x="81439" y="352901"/>
                  </a:cubicBezTo>
                  <a:cubicBezTo>
                    <a:pt x="80486" y="348139"/>
                    <a:pt x="79534" y="343376"/>
                    <a:pt x="78581" y="339566"/>
                  </a:cubicBezTo>
                  <a:cubicBezTo>
                    <a:pt x="75724" y="326231"/>
                    <a:pt x="72866" y="312896"/>
                    <a:pt x="70009" y="301466"/>
                  </a:cubicBezTo>
                  <a:cubicBezTo>
                    <a:pt x="67151" y="290036"/>
                    <a:pt x="64294" y="278606"/>
                    <a:pt x="61436" y="269081"/>
                  </a:cubicBezTo>
                  <a:cubicBezTo>
                    <a:pt x="58579" y="259556"/>
                    <a:pt x="56674" y="250984"/>
                    <a:pt x="53816" y="244316"/>
                  </a:cubicBezTo>
                  <a:cubicBezTo>
                    <a:pt x="49054" y="230981"/>
                    <a:pt x="46196" y="223361"/>
                    <a:pt x="46196" y="223361"/>
                  </a:cubicBezTo>
                  <a:cubicBezTo>
                    <a:pt x="46196" y="223361"/>
                    <a:pt x="47149" y="230981"/>
                    <a:pt x="50006" y="245269"/>
                  </a:cubicBezTo>
                  <a:cubicBezTo>
                    <a:pt x="50959" y="251936"/>
                    <a:pt x="51911" y="260509"/>
                    <a:pt x="53816" y="270034"/>
                  </a:cubicBezTo>
                  <a:cubicBezTo>
                    <a:pt x="55721" y="279559"/>
                    <a:pt x="56674" y="290989"/>
                    <a:pt x="58579" y="302419"/>
                  </a:cubicBezTo>
                  <a:cubicBezTo>
                    <a:pt x="60484" y="314801"/>
                    <a:pt x="61436" y="327184"/>
                    <a:pt x="64294" y="340519"/>
                  </a:cubicBezTo>
                  <a:cubicBezTo>
                    <a:pt x="66199" y="353854"/>
                    <a:pt x="67151" y="367189"/>
                    <a:pt x="69056" y="381476"/>
                  </a:cubicBezTo>
                  <a:cubicBezTo>
                    <a:pt x="68104" y="382429"/>
                    <a:pt x="68104" y="383381"/>
                    <a:pt x="67151" y="385286"/>
                  </a:cubicBezTo>
                  <a:cubicBezTo>
                    <a:pt x="64294" y="391954"/>
                    <a:pt x="62389" y="398621"/>
                    <a:pt x="60484" y="405289"/>
                  </a:cubicBezTo>
                  <a:cubicBezTo>
                    <a:pt x="60484" y="406241"/>
                    <a:pt x="60484" y="406241"/>
                    <a:pt x="59531" y="407194"/>
                  </a:cubicBezTo>
                  <a:cubicBezTo>
                    <a:pt x="58579" y="407194"/>
                    <a:pt x="57626" y="407194"/>
                    <a:pt x="56674" y="407194"/>
                  </a:cubicBezTo>
                  <a:cubicBezTo>
                    <a:pt x="55721" y="404336"/>
                    <a:pt x="55721" y="402431"/>
                    <a:pt x="54769" y="399574"/>
                  </a:cubicBezTo>
                  <a:cubicBezTo>
                    <a:pt x="51911" y="387191"/>
                    <a:pt x="49054" y="375761"/>
                    <a:pt x="46196" y="364331"/>
                  </a:cubicBezTo>
                  <a:cubicBezTo>
                    <a:pt x="43339" y="352901"/>
                    <a:pt x="40481" y="342424"/>
                    <a:pt x="37624" y="332899"/>
                  </a:cubicBezTo>
                  <a:cubicBezTo>
                    <a:pt x="31909" y="313849"/>
                    <a:pt x="26194" y="297656"/>
                    <a:pt x="21431" y="287179"/>
                  </a:cubicBezTo>
                  <a:cubicBezTo>
                    <a:pt x="16669" y="276701"/>
                    <a:pt x="13811" y="270034"/>
                    <a:pt x="13811" y="270034"/>
                  </a:cubicBezTo>
                  <a:cubicBezTo>
                    <a:pt x="13811" y="270034"/>
                    <a:pt x="14764" y="276701"/>
                    <a:pt x="17621" y="288131"/>
                  </a:cubicBezTo>
                  <a:cubicBezTo>
                    <a:pt x="18574" y="293846"/>
                    <a:pt x="20479" y="300514"/>
                    <a:pt x="21431" y="309086"/>
                  </a:cubicBezTo>
                  <a:cubicBezTo>
                    <a:pt x="23336" y="316706"/>
                    <a:pt x="24289" y="326231"/>
                    <a:pt x="26194" y="335756"/>
                  </a:cubicBezTo>
                  <a:cubicBezTo>
                    <a:pt x="28099" y="345281"/>
                    <a:pt x="30004" y="355759"/>
                    <a:pt x="31909" y="367189"/>
                  </a:cubicBezTo>
                  <a:cubicBezTo>
                    <a:pt x="35719" y="378619"/>
                    <a:pt x="37624" y="390049"/>
                    <a:pt x="39529" y="402431"/>
                  </a:cubicBezTo>
                  <a:cubicBezTo>
                    <a:pt x="39529" y="403384"/>
                    <a:pt x="39529" y="403384"/>
                    <a:pt x="39529" y="404336"/>
                  </a:cubicBezTo>
                  <a:cubicBezTo>
                    <a:pt x="29051" y="402431"/>
                    <a:pt x="18574" y="401479"/>
                    <a:pt x="7144" y="399574"/>
                  </a:cubicBezTo>
                  <a:lnTo>
                    <a:pt x="7144" y="511016"/>
                  </a:lnTo>
                  <a:close/>
                  <a:moveTo>
                    <a:pt x="6277451" y="364331"/>
                  </a:moveTo>
                  <a:cubicBezTo>
                    <a:pt x="6278404" y="362426"/>
                    <a:pt x="6278404" y="359569"/>
                    <a:pt x="6279356" y="357664"/>
                  </a:cubicBezTo>
                  <a:cubicBezTo>
                    <a:pt x="6279356" y="358616"/>
                    <a:pt x="6279356" y="360521"/>
                    <a:pt x="6279356" y="361474"/>
                  </a:cubicBezTo>
                  <a:cubicBezTo>
                    <a:pt x="6278404" y="370999"/>
                    <a:pt x="6278404" y="384334"/>
                    <a:pt x="6277451" y="399574"/>
                  </a:cubicBezTo>
                  <a:cubicBezTo>
                    <a:pt x="6274594" y="409099"/>
                    <a:pt x="6270784" y="419576"/>
                    <a:pt x="6267926" y="430054"/>
                  </a:cubicBezTo>
                  <a:cubicBezTo>
                    <a:pt x="6266974" y="430054"/>
                    <a:pt x="6266974" y="430054"/>
                    <a:pt x="6266021" y="430054"/>
                  </a:cubicBezTo>
                  <a:cubicBezTo>
                    <a:pt x="6264117" y="427196"/>
                    <a:pt x="6262212" y="424339"/>
                    <a:pt x="6260306" y="421481"/>
                  </a:cubicBezTo>
                  <a:cubicBezTo>
                    <a:pt x="6266021" y="402431"/>
                    <a:pt x="6271737" y="383381"/>
                    <a:pt x="6277451" y="364331"/>
                  </a:cubicBezTo>
                  <a:close/>
                  <a:moveTo>
                    <a:pt x="6211729" y="425291"/>
                  </a:moveTo>
                  <a:cubicBezTo>
                    <a:pt x="6211729" y="415766"/>
                    <a:pt x="6212681" y="406241"/>
                    <a:pt x="6212681" y="398621"/>
                  </a:cubicBezTo>
                  <a:cubicBezTo>
                    <a:pt x="6212681" y="395764"/>
                    <a:pt x="6212681" y="392906"/>
                    <a:pt x="6213634" y="390049"/>
                  </a:cubicBezTo>
                  <a:cubicBezTo>
                    <a:pt x="6214587" y="391001"/>
                    <a:pt x="6215539" y="392906"/>
                    <a:pt x="6216492" y="393859"/>
                  </a:cubicBezTo>
                  <a:cubicBezTo>
                    <a:pt x="6220301" y="398621"/>
                    <a:pt x="6224112" y="403384"/>
                    <a:pt x="6227921" y="408146"/>
                  </a:cubicBezTo>
                  <a:cubicBezTo>
                    <a:pt x="6226969" y="410051"/>
                    <a:pt x="6226017" y="411956"/>
                    <a:pt x="6225064" y="412909"/>
                  </a:cubicBezTo>
                  <a:cubicBezTo>
                    <a:pt x="6224112" y="414814"/>
                    <a:pt x="6222206" y="417671"/>
                    <a:pt x="6221254" y="420529"/>
                  </a:cubicBezTo>
                  <a:cubicBezTo>
                    <a:pt x="6220301" y="423386"/>
                    <a:pt x="6219349" y="426244"/>
                    <a:pt x="6218396" y="429101"/>
                  </a:cubicBezTo>
                  <a:cubicBezTo>
                    <a:pt x="6218396" y="430054"/>
                    <a:pt x="6218396" y="430054"/>
                    <a:pt x="6217444" y="431006"/>
                  </a:cubicBezTo>
                  <a:cubicBezTo>
                    <a:pt x="6217444" y="430054"/>
                    <a:pt x="6217444" y="429101"/>
                    <a:pt x="6217444" y="429101"/>
                  </a:cubicBezTo>
                  <a:cubicBezTo>
                    <a:pt x="6216492" y="419576"/>
                    <a:pt x="6215539" y="413861"/>
                    <a:pt x="6215539" y="413861"/>
                  </a:cubicBezTo>
                  <a:cubicBezTo>
                    <a:pt x="6215539" y="413861"/>
                    <a:pt x="6214587" y="419576"/>
                    <a:pt x="6213634" y="429101"/>
                  </a:cubicBezTo>
                  <a:cubicBezTo>
                    <a:pt x="6213634" y="432911"/>
                    <a:pt x="6212681" y="436721"/>
                    <a:pt x="6211729" y="441484"/>
                  </a:cubicBezTo>
                  <a:cubicBezTo>
                    <a:pt x="6211729" y="435769"/>
                    <a:pt x="6211729" y="430054"/>
                    <a:pt x="6211729" y="425291"/>
                  </a:cubicBezTo>
                  <a:close/>
                  <a:moveTo>
                    <a:pt x="6183154" y="343376"/>
                  </a:moveTo>
                  <a:cubicBezTo>
                    <a:pt x="6185059" y="346234"/>
                    <a:pt x="6186012" y="348139"/>
                    <a:pt x="6187917" y="350996"/>
                  </a:cubicBezTo>
                  <a:cubicBezTo>
                    <a:pt x="6188869" y="352901"/>
                    <a:pt x="6190774" y="354806"/>
                    <a:pt x="6191726" y="356711"/>
                  </a:cubicBezTo>
                  <a:cubicBezTo>
                    <a:pt x="6188869" y="366236"/>
                    <a:pt x="6186012" y="376714"/>
                    <a:pt x="6183154" y="388144"/>
                  </a:cubicBezTo>
                  <a:cubicBezTo>
                    <a:pt x="6183154" y="389096"/>
                    <a:pt x="6182201" y="391001"/>
                    <a:pt x="6182201" y="391954"/>
                  </a:cubicBezTo>
                  <a:cubicBezTo>
                    <a:pt x="6182201" y="386239"/>
                    <a:pt x="6181249" y="381476"/>
                    <a:pt x="6181249" y="375761"/>
                  </a:cubicBezTo>
                  <a:cubicBezTo>
                    <a:pt x="6181249" y="374809"/>
                    <a:pt x="6181249" y="373856"/>
                    <a:pt x="6181249" y="372904"/>
                  </a:cubicBezTo>
                  <a:cubicBezTo>
                    <a:pt x="6181249" y="362426"/>
                    <a:pt x="6182201" y="352901"/>
                    <a:pt x="6183154" y="343376"/>
                  </a:cubicBezTo>
                  <a:close/>
                  <a:moveTo>
                    <a:pt x="6144101" y="308134"/>
                  </a:moveTo>
                  <a:cubicBezTo>
                    <a:pt x="6145054" y="297656"/>
                    <a:pt x="6146959" y="287179"/>
                    <a:pt x="6147912" y="276701"/>
                  </a:cubicBezTo>
                  <a:cubicBezTo>
                    <a:pt x="6149817" y="280511"/>
                    <a:pt x="6151721" y="284321"/>
                    <a:pt x="6153626" y="289084"/>
                  </a:cubicBezTo>
                  <a:cubicBezTo>
                    <a:pt x="6156484" y="293846"/>
                    <a:pt x="6158389" y="299561"/>
                    <a:pt x="6161246" y="305276"/>
                  </a:cubicBezTo>
                  <a:cubicBezTo>
                    <a:pt x="6160294" y="308134"/>
                    <a:pt x="6159342" y="313849"/>
                    <a:pt x="6157437" y="319564"/>
                  </a:cubicBezTo>
                  <a:cubicBezTo>
                    <a:pt x="6155531" y="325279"/>
                    <a:pt x="6154579" y="332899"/>
                    <a:pt x="6152674" y="342424"/>
                  </a:cubicBezTo>
                  <a:cubicBezTo>
                    <a:pt x="6151721" y="347186"/>
                    <a:pt x="6150769" y="351949"/>
                    <a:pt x="6150769" y="356711"/>
                  </a:cubicBezTo>
                  <a:cubicBezTo>
                    <a:pt x="6150769" y="358616"/>
                    <a:pt x="6149817" y="359569"/>
                    <a:pt x="6149817" y="360521"/>
                  </a:cubicBezTo>
                  <a:cubicBezTo>
                    <a:pt x="6149817" y="362426"/>
                    <a:pt x="6148864" y="363379"/>
                    <a:pt x="6148864" y="365284"/>
                  </a:cubicBezTo>
                  <a:cubicBezTo>
                    <a:pt x="6146959" y="362426"/>
                    <a:pt x="6146006" y="360521"/>
                    <a:pt x="6146006" y="360521"/>
                  </a:cubicBezTo>
                  <a:cubicBezTo>
                    <a:pt x="6146006" y="360521"/>
                    <a:pt x="6146959" y="363379"/>
                    <a:pt x="6147912" y="368141"/>
                  </a:cubicBezTo>
                  <a:cubicBezTo>
                    <a:pt x="6146959" y="374809"/>
                    <a:pt x="6146006" y="382429"/>
                    <a:pt x="6145054" y="389096"/>
                  </a:cubicBezTo>
                  <a:cubicBezTo>
                    <a:pt x="6145054" y="388144"/>
                    <a:pt x="6144101" y="387191"/>
                    <a:pt x="6144101" y="386239"/>
                  </a:cubicBezTo>
                  <a:cubicBezTo>
                    <a:pt x="6144101" y="385286"/>
                    <a:pt x="6143149" y="385286"/>
                    <a:pt x="6143149" y="384334"/>
                  </a:cubicBezTo>
                  <a:cubicBezTo>
                    <a:pt x="6143149" y="379571"/>
                    <a:pt x="6142196" y="373856"/>
                    <a:pt x="6142196" y="369094"/>
                  </a:cubicBezTo>
                  <a:cubicBezTo>
                    <a:pt x="6141244" y="360521"/>
                    <a:pt x="6140292" y="351949"/>
                    <a:pt x="6139339" y="343376"/>
                  </a:cubicBezTo>
                  <a:cubicBezTo>
                    <a:pt x="6142196" y="331946"/>
                    <a:pt x="6143149" y="319564"/>
                    <a:pt x="6144101" y="308134"/>
                  </a:cubicBezTo>
                  <a:close/>
                  <a:moveTo>
                    <a:pt x="6095524" y="384334"/>
                  </a:moveTo>
                  <a:cubicBezTo>
                    <a:pt x="6093619" y="393859"/>
                    <a:pt x="6090762" y="403384"/>
                    <a:pt x="6088856" y="412909"/>
                  </a:cubicBezTo>
                  <a:cubicBezTo>
                    <a:pt x="6086951" y="420529"/>
                    <a:pt x="6085046" y="428149"/>
                    <a:pt x="6083142" y="435769"/>
                  </a:cubicBezTo>
                  <a:cubicBezTo>
                    <a:pt x="6081237" y="428149"/>
                    <a:pt x="6079331" y="419576"/>
                    <a:pt x="6076474" y="411956"/>
                  </a:cubicBezTo>
                  <a:cubicBezTo>
                    <a:pt x="6077426" y="405289"/>
                    <a:pt x="6078379" y="397669"/>
                    <a:pt x="6079331" y="391001"/>
                  </a:cubicBezTo>
                  <a:cubicBezTo>
                    <a:pt x="6080284" y="383381"/>
                    <a:pt x="6082189" y="375761"/>
                    <a:pt x="6084094" y="368141"/>
                  </a:cubicBezTo>
                  <a:lnTo>
                    <a:pt x="6088856" y="347186"/>
                  </a:lnTo>
                  <a:cubicBezTo>
                    <a:pt x="6089809" y="347186"/>
                    <a:pt x="6090762" y="347186"/>
                    <a:pt x="6091714" y="348139"/>
                  </a:cubicBezTo>
                  <a:cubicBezTo>
                    <a:pt x="6093619" y="349091"/>
                    <a:pt x="6094571" y="350044"/>
                    <a:pt x="6095524" y="350996"/>
                  </a:cubicBezTo>
                  <a:cubicBezTo>
                    <a:pt x="6098381" y="352901"/>
                    <a:pt x="6099334" y="356711"/>
                    <a:pt x="6100287" y="359569"/>
                  </a:cubicBezTo>
                  <a:cubicBezTo>
                    <a:pt x="6099334" y="367189"/>
                    <a:pt x="6097429" y="375761"/>
                    <a:pt x="6095524" y="384334"/>
                  </a:cubicBezTo>
                  <a:close/>
                  <a:moveTo>
                    <a:pt x="6102192" y="206216"/>
                  </a:moveTo>
                  <a:cubicBezTo>
                    <a:pt x="6102192" y="211931"/>
                    <a:pt x="6102192" y="222409"/>
                    <a:pt x="6101239" y="235744"/>
                  </a:cubicBezTo>
                  <a:cubicBezTo>
                    <a:pt x="6101239" y="237649"/>
                    <a:pt x="6101239" y="239554"/>
                    <a:pt x="6101239" y="241459"/>
                  </a:cubicBezTo>
                  <a:cubicBezTo>
                    <a:pt x="6101239" y="241459"/>
                    <a:pt x="6101239" y="242411"/>
                    <a:pt x="6101239" y="242411"/>
                  </a:cubicBezTo>
                  <a:cubicBezTo>
                    <a:pt x="6101239" y="242411"/>
                    <a:pt x="6101239" y="242411"/>
                    <a:pt x="6101239" y="242411"/>
                  </a:cubicBezTo>
                  <a:cubicBezTo>
                    <a:pt x="6101239" y="241459"/>
                    <a:pt x="6100287" y="240506"/>
                    <a:pt x="6100287" y="239554"/>
                  </a:cubicBezTo>
                  <a:cubicBezTo>
                    <a:pt x="6099334" y="236696"/>
                    <a:pt x="6098381" y="233839"/>
                    <a:pt x="6097429" y="230981"/>
                  </a:cubicBezTo>
                  <a:cubicBezTo>
                    <a:pt x="6099334" y="222409"/>
                    <a:pt x="6100287" y="213836"/>
                    <a:pt x="6102192" y="206216"/>
                  </a:cubicBezTo>
                  <a:close/>
                  <a:moveTo>
                    <a:pt x="6100287" y="284321"/>
                  </a:moveTo>
                  <a:cubicBezTo>
                    <a:pt x="6099334" y="282416"/>
                    <a:pt x="6099334" y="281464"/>
                    <a:pt x="6098381" y="279559"/>
                  </a:cubicBezTo>
                  <a:cubicBezTo>
                    <a:pt x="6098381" y="278606"/>
                    <a:pt x="6099334" y="277654"/>
                    <a:pt x="6099334" y="277654"/>
                  </a:cubicBezTo>
                  <a:cubicBezTo>
                    <a:pt x="6099334" y="279559"/>
                    <a:pt x="6099334" y="281464"/>
                    <a:pt x="6100287" y="284321"/>
                  </a:cubicBezTo>
                  <a:close/>
                  <a:moveTo>
                    <a:pt x="6093619" y="247174"/>
                  </a:moveTo>
                  <a:cubicBezTo>
                    <a:pt x="6094571" y="250031"/>
                    <a:pt x="6094571" y="252889"/>
                    <a:pt x="6095524" y="255746"/>
                  </a:cubicBezTo>
                  <a:cubicBezTo>
                    <a:pt x="6094571" y="258604"/>
                    <a:pt x="6092667" y="261461"/>
                    <a:pt x="6091714" y="264319"/>
                  </a:cubicBezTo>
                  <a:cubicBezTo>
                    <a:pt x="6091714" y="263366"/>
                    <a:pt x="6090762" y="262414"/>
                    <a:pt x="6090762" y="262414"/>
                  </a:cubicBezTo>
                  <a:cubicBezTo>
                    <a:pt x="6091714" y="257651"/>
                    <a:pt x="6092667" y="251936"/>
                    <a:pt x="6093619" y="247174"/>
                  </a:cubicBezTo>
                  <a:close/>
                  <a:moveTo>
                    <a:pt x="6088856" y="269081"/>
                  </a:moveTo>
                  <a:cubicBezTo>
                    <a:pt x="6088856" y="269081"/>
                    <a:pt x="6088856" y="270034"/>
                    <a:pt x="6088856" y="270034"/>
                  </a:cubicBezTo>
                  <a:cubicBezTo>
                    <a:pt x="6088856" y="270034"/>
                    <a:pt x="6088856" y="270034"/>
                    <a:pt x="6088856" y="270034"/>
                  </a:cubicBezTo>
                  <a:cubicBezTo>
                    <a:pt x="6088856" y="270986"/>
                    <a:pt x="6087904" y="271939"/>
                    <a:pt x="6087904" y="272891"/>
                  </a:cubicBezTo>
                  <a:cubicBezTo>
                    <a:pt x="6088856" y="270986"/>
                    <a:pt x="6088856" y="270034"/>
                    <a:pt x="6088856" y="269081"/>
                  </a:cubicBezTo>
                  <a:close/>
                  <a:moveTo>
                    <a:pt x="6067901" y="369094"/>
                  </a:moveTo>
                  <a:cubicBezTo>
                    <a:pt x="6072664" y="358616"/>
                    <a:pt x="6076474" y="349091"/>
                    <a:pt x="6080284" y="339566"/>
                  </a:cubicBezTo>
                  <a:cubicBezTo>
                    <a:pt x="6082189" y="334804"/>
                    <a:pt x="6084094" y="330041"/>
                    <a:pt x="6085046" y="326231"/>
                  </a:cubicBezTo>
                  <a:cubicBezTo>
                    <a:pt x="6085999" y="321469"/>
                    <a:pt x="6087904" y="317659"/>
                    <a:pt x="6088856" y="313849"/>
                  </a:cubicBezTo>
                  <a:cubicBezTo>
                    <a:pt x="6090762" y="306229"/>
                    <a:pt x="6092667" y="299561"/>
                    <a:pt x="6093619" y="293846"/>
                  </a:cubicBezTo>
                  <a:cubicBezTo>
                    <a:pt x="6093619" y="293846"/>
                    <a:pt x="6093619" y="293846"/>
                    <a:pt x="6093619" y="293846"/>
                  </a:cubicBezTo>
                  <a:cubicBezTo>
                    <a:pt x="6094571" y="299561"/>
                    <a:pt x="6095524" y="305276"/>
                    <a:pt x="6096476" y="310991"/>
                  </a:cubicBezTo>
                  <a:cubicBezTo>
                    <a:pt x="6098381" y="319564"/>
                    <a:pt x="6098381" y="329089"/>
                    <a:pt x="6100287" y="339566"/>
                  </a:cubicBezTo>
                  <a:cubicBezTo>
                    <a:pt x="6100287" y="345281"/>
                    <a:pt x="6101239" y="350044"/>
                    <a:pt x="6101239" y="355759"/>
                  </a:cubicBezTo>
                  <a:cubicBezTo>
                    <a:pt x="6101239" y="355759"/>
                    <a:pt x="6101239" y="355759"/>
                    <a:pt x="6101239" y="355759"/>
                  </a:cubicBezTo>
                  <a:cubicBezTo>
                    <a:pt x="6101239" y="356711"/>
                    <a:pt x="6100287" y="358616"/>
                    <a:pt x="6100287" y="359569"/>
                  </a:cubicBezTo>
                  <a:cubicBezTo>
                    <a:pt x="6100287" y="355759"/>
                    <a:pt x="6099334" y="352901"/>
                    <a:pt x="6097429" y="350044"/>
                  </a:cubicBezTo>
                  <a:cubicBezTo>
                    <a:pt x="6096476" y="348139"/>
                    <a:pt x="6094571" y="347186"/>
                    <a:pt x="6093619" y="345281"/>
                  </a:cubicBezTo>
                  <a:cubicBezTo>
                    <a:pt x="6091714" y="344329"/>
                    <a:pt x="6089809" y="343376"/>
                    <a:pt x="6087904" y="342424"/>
                  </a:cubicBezTo>
                  <a:lnTo>
                    <a:pt x="6085999" y="341471"/>
                  </a:lnTo>
                  <a:lnTo>
                    <a:pt x="6085046" y="343376"/>
                  </a:lnTo>
                  <a:cubicBezTo>
                    <a:pt x="6082189" y="350996"/>
                    <a:pt x="6079331" y="357664"/>
                    <a:pt x="6076474" y="365284"/>
                  </a:cubicBezTo>
                  <a:cubicBezTo>
                    <a:pt x="6074569" y="371951"/>
                    <a:pt x="6071712" y="377666"/>
                    <a:pt x="6069806" y="384334"/>
                  </a:cubicBezTo>
                  <a:cubicBezTo>
                    <a:pt x="6068854" y="380524"/>
                    <a:pt x="6067901" y="376714"/>
                    <a:pt x="6065996" y="372904"/>
                  </a:cubicBezTo>
                  <a:cubicBezTo>
                    <a:pt x="6066949" y="371951"/>
                    <a:pt x="6067901" y="370999"/>
                    <a:pt x="6067901" y="369094"/>
                  </a:cubicBezTo>
                  <a:close/>
                  <a:moveTo>
                    <a:pt x="6035517" y="310039"/>
                  </a:moveTo>
                  <a:cubicBezTo>
                    <a:pt x="6035517" y="309086"/>
                    <a:pt x="6035517" y="309086"/>
                    <a:pt x="6035517" y="308134"/>
                  </a:cubicBezTo>
                  <a:cubicBezTo>
                    <a:pt x="6036469" y="312896"/>
                    <a:pt x="6038374" y="318611"/>
                    <a:pt x="6040279" y="324326"/>
                  </a:cubicBezTo>
                  <a:cubicBezTo>
                    <a:pt x="6041231" y="329089"/>
                    <a:pt x="6042184" y="333851"/>
                    <a:pt x="6044089" y="338614"/>
                  </a:cubicBezTo>
                  <a:cubicBezTo>
                    <a:pt x="6042184" y="344329"/>
                    <a:pt x="6040279" y="350044"/>
                    <a:pt x="6038374" y="355759"/>
                  </a:cubicBezTo>
                  <a:cubicBezTo>
                    <a:pt x="6036469" y="345281"/>
                    <a:pt x="6035517" y="336709"/>
                    <a:pt x="6033612" y="330041"/>
                  </a:cubicBezTo>
                  <a:cubicBezTo>
                    <a:pt x="6034564" y="323374"/>
                    <a:pt x="6034564" y="315754"/>
                    <a:pt x="6035517" y="310039"/>
                  </a:cubicBezTo>
                  <a:close/>
                  <a:moveTo>
                    <a:pt x="6012656" y="361474"/>
                  </a:moveTo>
                  <a:cubicBezTo>
                    <a:pt x="6012656" y="362426"/>
                    <a:pt x="6012656" y="363379"/>
                    <a:pt x="6012656" y="363379"/>
                  </a:cubicBezTo>
                  <a:cubicBezTo>
                    <a:pt x="6012656" y="362426"/>
                    <a:pt x="6012656" y="361474"/>
                    <a:pt x="6012656" y="359569"/>
                  </a:cubicBezTo>
                  <a:cubicBezTo>
                    <a:pt x="6012656" y="360521"/>
                    <a:pt x="6012656" y="360521"/>
                    <a:pt x="6012656" y="361474"/>
                  </a:cubicBezTo>
                  <a:close/>
                  <a:moveTo>
                    <a:pt x="6007894" y="351949"/>
                  </a:moveTo>
                  <a:cubicBezTo>
                    <a:pt x="6007894" y="351949"/>
                    <a:pt x="6007894" y="352901"/>
                    <a:pt x="6007894" y="352901"/>
                  </a:cubicBezTo>
                  <a:cubicBezTo>
                    <a:pt x="6007894" y="351949"/>
                    <a:pt x="6007894" y="351949"/>
                    <a:pt x="6007894" y="351949"/>
                  </a:cubicBezTo>
                  <a:cubicBezTo>
                    <a:pt x="6007894" y="350996"/>
                    <a:pt x="6007894" y="351949"/>
                    <a:pt x="6007894" y="351949"/>
                  </a:cubicBezTo>
                  <a:close/>
                  <a:moveTo>
                    <a:pt x="5976462" y="410051"/>
                  </a:moveTo>
                  <a:cubicBezTo>
                    <a:pt x="5975509" y="407194"/>
                    <a:pt x="5974556" y="404336"/>
                    <a:pt x="5973604" y="402431"/>
                  </a:cubicBezTo>
                  <a:cubicBezTo>
                    <a:pt x="5973604" y="401479"/>
                    <a:pt x="5972651" y="399574"/>
                    <a:pt x="5972651" y="398621"/>
                  </a:cubicBezTo>
                  <a:cubicBezTo>
                    <a:pt x="5972651" y="395764"/>
                    <a:pt x="5971699" y="392906"/>
                    <a:pt x="5971699" y="391001"/>
                  </a:cubicBezTo>
                  <a:cubicBezTo>
                    <a:pt x="5972651" y="389096"/>
                    <a:pt x="5972651" y="387191"/>
                    <a:pt x="5973604" y="386239"/>
                  </a:cubicBezTo>
                  <a:cubicBezTo>
                    <a:pt x="5975509" y="382429"/>
                    <a:pt x="5976462" y="378619"/>
                    <a:pt x="5977414" y="374809"/>
                  </a:cubicBezTo>
                  <a:cubicBezTo>
                    <a:pt x="5977414" y="385286"/>
                    <a:pt x="5976462" y="397669"/>
                    <a:pt x="5976462" y="410051"/>
                  </a:cubicBezTo>
                  <a:close/>
                  <a:moveTo>
                    <a:pt x="5976462" y="239554"/>
                  </a:moveTo>
                  <a:cubicBezTo>
                    <a:pt x="5977414" y="243364"/>
                    <a:pt x="5977414" y="246221"/>
                    <a:pt x="5978367" y="250031"/>
                  </a:cubicBezTo>
                  <a:cubicBezTo>
                    <a:pt x="5978367" y="251936"/>
                    <a:pt x="5979319" y="254794"/>
                    <a:pt x="5979319" y="256699"/>
                  </a:cubicBezTo>
                  <a:cubicBezTo>
                    <a:pt x="5977414" y="253841"/>
                    <a:pt x="5976462" y="250984"/>
                    <a:pt x="5974556" y="248126"/>
                  </a:cubicBezTo>
                  <a:cubicBezTo>
                    <a:pt x="5975509" y="245269"/>
                    <a:pt x="5975509" y="242411"/>
                    <a:pt x="5976462" y="239554"/>
                  </a:cubicBezTo>
                  <a:close/>
                  <a:moveTo>
                    <a:pt x="5965984" y="291941"/>
                  </a:moveTo>
                  <a:cubicBezTo>
                    <a:pt x="5965984" y="290036"/>
                    <a:pt x="5966937" y="288131"/>
                    <a:pt x="5966937" y="286226"/>
                  </a:cubicBezTo>
                  <a:cubicBezTo>
                    <a:pt x="5966937" y="285274"/>
                    <a:pt x="5967889" y="283369"/>
                    <a:pt x="5967889" y="282416"/>
                  </a:cubicBezTo>
                  <a:cubicBezTo>
                    <a:pt x="5968842" y="277654"/>
                    <a:pt x="5969794" y="273844"/>
                    <a:pt x="5970746" y="269081"/>
                  </a:cubicBezTo>
                  <a:cubicBezTo>
                    <a:pt x="5974556" y="278606"/>
                    <a:pt x="5979319" y="289084"/>
                    <a:pt x="5983129" y="298609"/>
                  </a:cubicBezTo>
                  <a:cubicBezTo>
                    <a:pt x="5982176" y="309086"/>
                    <a:pt x="5981224" y="319564"/>
                    <a:pt x="5980271" y="330994"/>
                  </a:cubicBezTo>
                  <a:cubicBezTo>
                    <a:pt x="5980271" y="330994"/>
                    <a:pt x="5980271" y="331946"/>
                    <a:pt x="5979319" y="331946"/>
                  </a:cubicBezTo>
                  <a:cubicBezTo>
                    <a:pt x="5977414" y="329089"/>
                    <a:pt x="5976462" y="328136"/>
                    <a:pt x="5976462" y="328136"/>
                  </a:cubicBezTo>
                  <a:cubicBezTo>
                    <a:pt x="5976462" y="328136"/>
                    <a:pt x="5977414" y="330041"/>
                    <a:pt x="5979319" y="332899"/>
                  </a:cubicBezTo>
                  <a:cubicBezTo>
                    <a:pt x="5977414" y="336709"/>
                    <a:pt x="5974556" y="341471"/>
                    <a:pt x="5972651" y="346234"/>
                  </a:cubicBezTo>
                  <a:cubicBezTo>
                    <a:pt x="5970746" y="349091"/>
                    <a:pt x="5969794" y="352901"/>
                    <a:pt x="5967889" y="355759"/>
                  </a:cubicBezTo>
                  <a:cubicBezTo>
                    <a:pt x="5967889" y="355759"/>
                    <a:pt x="5967889" y="355759"/>
                    <a:pt x="5967889" y="355759"/>
                  </a:cubicBezTo>
                  <a:cubicBezTo>
                    <a:pt x="5967889" y="353854"/>
                    <a:pt x="5967889" y="352901"/>
                    <a:pt x="5966937" y="351949"/>
                  </a:cubicBezTo>
                  <a:cubicBezTo>
                    <a:pt x="5965984" y="346234"/>
                    <a:pt x="5965984" y="339566"/>
                    <a:pt x="5965031" y="333851"/>
                  </a:cubicBezTo>
                  <a:cubicBezTo>
                    <a:pt x="5964079" y="321469"/>
                    <a:pt x="5964079" y="310039"/>
                    <a:pt x="5963126" y="299561"/>
                  </a:cubicBezTo>
                  <a:cubicBezTo>
                    <a:pt x="5964079" y="296704"/>
                    <a:pt x="5965031" y="294799"/>
                    <a:pt x="5965984" y="291941"/>
                  </a:cubicBezTo>
                  <a:close/>
                  <a:moveTo>
                    <a:pt x="5952649" y="385286"/>
                  </a:moveTo>
                  <a:cubicBezTo>
                    <a:pt x="5952649" y="385286"/>
                    <a:pt x="5952649" y="385286"/>
                    <a:pt x="5952649" y="385286"/>
                  </a:cubicBezTo>
                  <a:cubicBezTo>
                    <a:pt x="5952649" y="385286"/>
                    <a:pt x="5952649" y="385286"/>
                    <a:pt x="5952649" y="385286"/>
                  </a:cubicBezTo>
                  <a:cubicBezTo>
                    <a:pt x="5952649" y="385286"/>
                    <a:pt x="5952649" y="385286"/>
                    <a:pt x="5952649" y="385286"/>
                  </a:cubicBezTo>
                  <a:close/>
                  <a:moveTo>
                    <a:pt x="5934551" y="339566"/>
                  </a:moveTo>
                  <a:cubicBezTo>
                    <a:pt x="5934551" y="337661"/>
                    <a:pt x="5933599" y="334804"/>
                    <a:pt x="5933599" y="332899"/>
                  </a:cubicBezTo>
                  <a:cubicBezTo>
                    <a:pt x="5933599" y="331946"/>
                    <a:pt x="5933599" y="331946"/>
                    <a:pt x="5933599" y="330994"/>
                  </a:cubicBezTo>
                  <a:cubicBezTo>
                    <a:pt x="5934551" y="332899"/>
                    <a:pt x="5934551" y="334804"/>
                    <a:pt x="5935504" y="336709"/>
                  </a:cubicBezTo>
                  <a:cubicBezTo>
                    <a:pt x="5935504" y="337661"/>
                    <a:pt x="5934551" y="338614"/>
                    <a:pt x="5934551" y="339566"/>
                  </a:cubicBezTo>
                  <a:close/>
                  <a:moveTo>
                    <a:pt x="5948839" y="371951"/>
                  </a:moveTo>
                  <a:cubicBezTo>
                    <a:pt x="5947887" y="374809"/>
                    <a:pt x="5946934" y="378619"/>
                    <a:pt x="5945981" y="382429"/>
                  </a:cubicBezTo>
                  <a:cubicBezTo>
                    <a:pt x="5945029" y="386239"/>
                    <a:pt x="5944076" y="389096"/>
                    <a:pt x="5943124" y="392906"/>
                  </a:cubicBezTo>
                  <a:cubicBezTo>
                    <a:pt x="5943124" y="387191"/>
                    <a:pt x="5943124" y="382429"/>
                    <a:pt x="5943124" y="378619"/>
                  </a:cubicBezTo>
                  <a:cubicBezTo>
                    <a:pt x="5943124" y="378619"/>
                    <a:pt x="5943124" y="378619"/>
                    <a:pt x="5943124" y="378619"/>
                  </a:cubicBezTo>
                  <a:cubicBezTo>
                    <a:pt x="5945029" y="373856"/>
                    <a:pt x="5945981" y="370046"/>
                    <a:pt x="5946934" y="365284"/>
                  </a:cubicBezTo>
                  <a:cubicBezTo>
                    <a:pt x="5946934" y="367189"/>
                    <a:pt x="5947887" y="370046"/>
                    <a:pt x="5948839" y="371951"/>
                  </a:cubicBezTo>
                  <a:close/>
                  <a:moveTo>
                    <a:pt x="5930742" y="234791"/>
                  </a:moveTo>
                  <a:cubicBezTo>
                    <a:pt x="5933599" y="245269"/>
                    <a:pt x="5935504" y="256699"/>
                    <a:pt x="5938362" y="269081"/>
                  </a:cubicBezTo>
                  <a:cubicBezTo>
                    <a:pt x="5941219" y="280511"/>
                    <a:pt x="5942171" y="293846"/>
                    <a:pt x="5945029" y="307181"/>
                  </a:cubicBezTo>
                  <a:cubicBezTo>
                    <a:pt x="5943124" y="312896"/>
                    <a:pt x="5941219" y="317659"/>
                    <a:pt x="5940267" y="323374"/>
                  </a:cubicBezTo>
                  <a:cubicBezTo>
                    <a:pt x="5940267" y="323374"/>
                    <a:pt x="5940267" y="324326"/>
                    <a:pt x="5940267" y="324326"/>
                  </a:cubicBezTo>
                  <a:cubicBezTo>
                    <a:pt x="5937409" y="318611"/>
                    <a:pt x="5934551" y="312896"/>
                    <a:pt x="5931694" y="307181"/>
                  </a:cubicBezTo>
                  <a:cubicBezTo>
                    <a:pt x="5930742" y="299561"/>
                    <a:pt x="5929789" y="291941"/>
                    <a:pt x="5928837" y="284321"/>
                  </a:cubicBezTo>
                  <a:cubicBezTo>
                    <a:pt x="5927884" y="277654"/>
                    <a:pt x="5927884" y="271939"/>
                    <a:pt x="5926931" y="266224"/>
                  </a:cubicBezTo>
                  <a:cubicBezTo>
                    <a:pt x="5928837" y="261461"/>
                    <a:pt x="5929789" y="259556"/>
                    <a:pt x="5929789" y="259556"/>
                  </a:cubicBezTo>
                  <a:cubicBezTo>
                    <a:pt x="5929789" y="259556"/>
                    <a:pt x="5928837" y="261461"/>
                    <a:pt x="5926931" y="264319"/>
                  </a:cubicBezTo>
                  <a:cubicBezTo>
                    <a:pt x="5925979" y="257651"/>
                    <a:pt x="5925026" y="251936"/>
                    <a:pt x="5925026" y="245269"/>
                  </a:cubicBezTo>
                  <a:cubicBezTo>
                    <a:pt x="5925979" y="241459"/>
                    <a:pt x="5926931" y="237649"/>
                    <a:pt x="5926931" y="233839"/>
                  </a:cubicBezTo>
                  <a:cubicBezTo>
                    <a:pt x="5927884" y="230981"/>
                    <a:pt x="5927884" y="228124"/>
                    <a:pt x="5928837" y="226219"/>
                  </a:cubicBezTo>
                  <a:cubicBezTo>
                    <a:pt x="5928837" y="229076"/>
                    <a:pt x="5929789" y="231934"/>
                    <a:pt x="5930742" y="234791"/>
                  </a:cubicBezTo>
                  <a:close/>
                  <a:moveTo>
                    <a:pt x="5923121" y="209074"/>
                  </a:moveTo>
                  <a:cubicBezTo>
                    <a:pt x="5924074" y="212884"/>
                    <a:pt x="5925979" y="217646"/>
                    <a:pt x="5926931" y="222409"/>
                  </a:cubicBezTo>
                  <a:cubicBezTo>
                    <a:pt x="5925026" y="225266"/>
                    <a:pt x="5924074" y="229076"/>
                    <a:pt x="5922169" y="232886"/>
                  </a:cubicBezTo>
                  <a:cubicBezTo>
                    <a:pt x="5921217" y="223361"/>
                    <a:pt x="5920264" y="214789"/>
                    <a:pt x="5919312" y="206216"/>
                  </a:cubicBezTo>
                  <a:cubicBezTo>
                    <a:pt x="5919312" y="201454"/>
                    <a:pt x="5918359" y="197644"/>
                    <a:pt x="5918359" y="193834"/>
                  </a:cubicBezTo>
                  <a:cubicBezTo>
                    <a:pt x="5920264" y="197644"/>
                    <a:pt x="5921217" y="202406"/>
                    <a:pt x="5923121" y="209074"/>
                  </a:cubicBezTo>
                  <a:close/>
                  <a:moveTo>
                    <a:pt x="5901214" y="244316"/>
                  </a:moveTo>
                  <a:cubicBezTo>
                    <a:pt x="5901214" y="247174"/>
                    <a:pt x="5901214" y="251936"/>
                    <a:pt x="5901214" y="258604"/>
                  </a:cubicBezTo>
                  <a:cubicBezTo>
                    <a:pt x="5901214" y="264319"/>
                    <a:pt x="5901214" y="270986"/>
                    <a:pt x="5902167" y="278606"/>
                  </a:cubicBezTo>
                  <a:cubicBezTo>
                    <a:pt x="5902167" y="286226"/>
                    <a:pt x="5903119" y="293846"/>
                    <a:pt x="5904071" y="302419"/>
                  </a:cubicBezTo>
                  <a:cubicBezTo>
                    <a:pt x="5903119" y="304324"/>
                    <a:pt x="5901214" y="307181"/>
                    <a:pt x="5900262" y="310039"/>
                  </a:cubicBezTo>
                  <a:cubicBezTo>
                    <a:pt x="5898356" y="300514"/>
                    <a:pt x="5896451" y="291941"/>
                    <a:pt x="5895499" y="284321"/>
                  </a:cubicBezTo>
                  <a:cubicBezTo>
                    <a:pt x="5897404" y="264319"/>
                    <a:pt x="5900262" y="250984"/>
                    <a:pt x="5901214" y="244316"/>
                  </a:cubicBezTo>
                  <a:close/>
                  <a:moveTo>
                    <a:pt x="5903119" y="324326"/>
                  </a:moveTo>
                  <a:cubicBezTo>
                    <a:pt x="5903119" y="325279"/>
                    <a:pt x="5903119" y="327184"/>
                    <a:pt x="5903119" y="328136"/>
                  </a:cubicBezTo>
                  <a:cubicBezTo>
                    <a:pt x="5903119" y="327184"/>
                    <a:pt x="5903119" y="326231"/>
                    <a:pt x="5902167" y="325279"/>
                  </a:cubicBezTo>
                  <a:cubicBezTo>
                    <a:pt x="5903119" y="325279"/>
                    <a:pt x="5903119" y="324326"/>
                    <a:pt x="5903119" y="324326"/>
                  </a:cubicBezTo>
                  <a:close/>
                  <a:moveTo>
                    <a:pt x="5892642" y="348139"/>
                  </a:moveTo>
                  <a:cubicBezTo>
                    <a:pt x="5892642" y="350044"/>
                    <a:pt x="5892642" y="350996"/>
                    <a:pt x="5893594" y="352901"/>
                  </a:cubicBezTo>
                  <a:cubicBezTo>
                    <a:pt x="5893594" y="353854"/>
                    <a:pt x="5893594" y="354806"/>
                    <a:pt x="5893594" y="355759"/>
                  </a:cubicBezTo>
                  <a:cubicBezTo>
                    <a:pt x="5892642" y="353854"/>
                    <a:pt x="5892642" y="351949"/>
                    <a:pt x="5891689" y="350996"/>
                  </a:cubicBezTo>
                  <a:cubicBezTo>
                    <a:pt x="5892642" y="350044"/>
                    <a:pt x="5892642" y="349091"/>
                    <a:pt x="5892642" y="348139"/>
                  </a:cubicBezTo>
                  <a:close/>
                  <a:moveTo>
                    <a:pt x="5893594" y="373856"/>
                  </a:moveTo>
                  <a:cubicBezTo>
                    <a:pt x="5895499" y="379571"/>
                    <a:pt x="5897404" y="385286"/>
                    <a:pt x="5898356" y="391954"/>
                  </a:cubicBezTo>
                  <a:cubicBezTo>
                    <a:pt x="5899309" y="396716"/>
                    <a:pt x="5901214" y="402431"/>
                    <a:pt x="5902167" y="408146"/>
                  </a:cubicBezTo>
                  <a:cubicBezTo>
                    <a:pt x="5903119" y="411004"/>
                    <a:pt x="5903119" y="414814"/>
                    <a:pt x="5904071" y="417671"/>
                  </a:cubicBezTo>
                  <a:cubicBezTo>
                    <a:pt x="5904071" y="417671"/>
                    <a:pt x="5904071" y="417671"/>
                    <a:pt x="5904071" y="417671"/>
                  </a:cubicBezTo>
                  <a:cubicBezTo>
                    <a:pt x="5899309" y="407194"/>
                    <a:pt x="5895499" y="397669"/>
                    <a:pt x="5890737" y="387191"/>
                  </a:cubicBezTo>
                  <a:cubicBezTo>
                    <a:pt x="5889784" y="386239"/>
                    <a:pt x="5889784" y="385286"/>
                    <a:pt x="5888831" y="383381"/>
                  </a:cubicBezTo>
                  <a:lnTo>
                    <a:pt x="5887879" y="357664"/>
                  </a:lnTo>
                  <a:cubicBezTo>
                    <a:pt x="5887879" y="357664"/>
                    <a:pt x="5887879" y="356711"/>
                    <a:pt x="5888831" y="356711"/>
                  </a:cubicBezTo>
                  <a:cubicBezTo>
                    <a:pt x="5889784" y="363379"/>
                    <a:pt x="5891689" y="368141"/>
                    <a:pt x="5893594" y="373856"/>
                  </a:cubicBezTo>
                  <a:close/>
                  <a:moveTo>
                    <a:pt x="5886926" y="321469"/>
                  </a:moveTo>
                  <a:cubicBezTo>
                    <a:pt x="5887879" y="317659"/>
                    <a:pt x="5887879" y="314801"/>
                    <a:pt x="5888831" y="311944"/>
                  </a:cubicBezTo>
                  <a:cubicBezTo>
                    <a:pt x="5888831" y="312896"/>
                    <a:pt x="5888831" y="313849"/>
                    <a:pt x="5888831" y="314801"/>
                  </a:cubicBezTo>
                  <a:cubicBezTo>
                    <a:pt x="5888831" y="318611"/>
                    <a:pt x="5889784" y="322421"/>
                    <a:pt x="5889784" y="326231"/>
                  </a:cubicBezTo>
                  <a:cubicBezTo>
                    <a:pt x="5888831" y="328136"/>
                    <a:pt x="5887879" y="330041"/>
                    <a:pt x="5885974" y="332899"/>
                  </a:cubicBezTo>
                  <a:cubicBezTo>
                    <a:pt x="5885974" y="330041"/>
                    <a:pt x="5885974" y="327184"/>
                    <a:pt x="5885974" y="325279"/>
                  </a:cubicBezTo>
                  <a:cubicBezTo>
                    <a:pt x="5885974" y="323374"/>
                    <a:pt x="5886926" y="322421"/>
                    <a:pt x="5886926" y="321469"/>
                  </a:cubicBezTo>
                  <a:close/>
                  <a:moveTo>
                    <a:pt x="5858351" y="279559"/>
                  </a:moveTo>
                  <a:cubicBezTo>
                    <a:pt x="5858351" y="281464"/>
                    <a:pt x="5858351" y="282416"/>
                    <a:pt x="5858351" y="284321"/>
                  </a:cubicBezTo>
                  <a:cubicBezTo>
                    <a:pt x="5858351" y="284321"/>
                    <a:pt x="5858351" y="285274"/>
                    <a:pt x="5858351" y="285274"/>
                  </a:cubicBezTo>
                  <a:cubicBezTo>
                    <a:pt x="5858351" y="284321"/>
                    <a:pt x="5857399" y="283369"/>
                    <a:pt x="5857399" y="281464"/>
                  </a:cubicBezTo>
                  <a:cubicBezTo>
                    <a:pt x="5857399" y="281464"/>
                    <a:pt x="5857399" y="280511"/>
                    <a:pt x="5858351" y="279559"/>
                  </a:cubicBezTo>
                  <a:close/>
                  <a:moveTo>
                    <a:pt x="5841206" y="264319"/>
                  </a:moveTo>
                  <a:cubicBezTo>
                    <a:pt x="5841206" y="266224"/>
                    <a:pt x="5840254" y="268129"/>
                    <a:pt x="5840254" y="270034"/>
                  </a:cubicBezTo>
                  <a:cubicBezTo>
                    <a:pt x="5840254" y="272891"/>
                    <a:pt x="5839301" y="274796"/>
                    <a:pt x="5839301" y="277654"/>
                  </a:cubicBezTo>
                  <a:cubicBezTo>
                    <a:pt x="5839301" y="275749"/>
                    <a:pt x="5838349" y="273844"/>
                    <a:pt x="5838349" y="271939"/>
                  </a:cubicBezTo>
                  <a:cubicBezTo>
                    <a:pt x="5840254" y="269081"/>
                    <a:pt x="5840254" y="267176"/>
                    <a:pt x="5841206" y="264319"/>
                  </a:cubicBezTo>
                  <a:close/>
                  <a:moveTo>
                    <a:pt x="5828824" y="305276"/>
                  </a:moveTo>
                  <a:cubicBezTo>
                    <a:pt x="5827871" y="306229"/>
                    <a:pt x="5827871" y="307181"/>
                    <a:pt x="5826919" y="308134"/>
                  </a:cubicBezTo>
                  <a:cubicBezTo>
                    <a:pt x="5826919" y="307181"/>
                    <a:pt x="5826919" y="307181"/>
                    <a:pt x="5826919" y="306229"/>
                  </a:cubicBezTo>
                  <a:cubicBezTo>
                    <a:pt x="5827871" y="304324"/>
                    <a:pt x="5828824" y="301466"/>
                    <a:pt x="5829776" y="299561"/>
                  </a:cubicBezTo>
                  <a:cubicBezTo>
                    <a:pt x="5828824" y="302419"/>
                    <a:pt x="5828824" y="303371"/>
                    <a:pt x="5828824" y="305276"/>
                  </a:cubicBezTo>
                  <a:close/>
                  <a:moveTo>
                    <a:pt x="5823109" y="259556"/>
                  </a:moveTo>
                  <a:cubicBezTo>
                    <a:pt x="5824062" y="262414"/>
                    <a:pt x="5825967" y="266224"/>
                    <a:pt x="5827871" y="270986"/>
                  </a:cubicBezTo>
                  <a:cubicBezTo>
                    <a:pt x="5827871" y="271939"/>
                    <a:pt x="5828824" y="272891"/>
                    <a:pt x="5828824" y="273844"/>
                  </a:cubicBezTo>
                  <a:cubicBezTo>
                    <a:pt x="5828824" y="277654"/>
                    <a:pt x="5828824" y="281464"/>
                    <a:pt x="5828824" y="286226"/>
                  </a:cubicBezTo>
                  <a:cubicBezTo>
                    <a:pt x="5826919" y="289084"/>
                    <a:pt x="5825967" y="291941"/>
                    <a:pt x="5824062" y="295751"/>
                  </a:cubicBezTo>
                  <a:lnTo>
                    <a:pt x="5824062" y="294799"/>
                  </a:lnTo>
                  <a:lnTo>
                    <a:pt x="5823109" y="267176"/>
                  </a:lnTo>
                  <a:lnTo>
                    <a:pt x="5823109" y="259556"/>
                  </a:lnTo>
                  <a:close/>
                  <a:moveTo>
                    <a:pt x="5813584" y="252889"/>
                  </a:moveTo>
                  <a:cubicBezTo>
                    <a:pt x="5813584" y="254794"/>
                    <a:pt x="5812631" y="256699"/>
                    <a:pt x="5812631" y="258604"/>
                  </a:cubicBezTo>
                  <a:cubicBezTo>
                    <a:pt x="5811679" y="256699"/>
                    <a:pt x="5811679" y="255746"/>
                    <a:pt x="5811679" y="255746"/>
                  </a:cubicBezTo>
                  <a:cubicBezTo>
                    <a:pt x="5811679" y="255746"/>
                    <a:pt x="5811679" y="258604"/>
                    <a:pt x="5811679" y="262414"/>
                  </a:cubicBezTo>
                  <a:cubicBezTo>
                    <a:pt x="5811679" y="264319"/>
                    <a:pt x="5810726" y="265271"/>
                    <a:pt x="5810726" y="267176"/>
                  </a:cubicBezTo>
                  <a:cubicBezTo>
                    <a:pt x="5809774" y="276701"/>
                    <a:pt x="5808821" y="285274"/>
                    <a:pt x="5808821" y="294799"/>
                  </a:cubicBezTo>
                  <a:lnTo>
                    <a:pt x="5808821" y="304324"/>
                  </a:lnTo>
                  <a:lnTo>
                    <a:pt x="5807869" y="300514"/>
                  </a:lnTo>
                  <a:cubicBezTo>
                    <a:pt x="5808821" y="286226"/>
                    <a:pt x="5807869" y="273844"/>
                    <a:pt x="5806917" y="264319"/>
                  </a:cubicBezTo>
                  <a:cubicBezTo>
                    <a:pt x="5806917" y="263366"/>
                    <a:pt x="5806917" y="263366"/>
                    <a:pt x="5806917" y="262414"/>
                  </a:cubicBezTo>
                  <a:cubicBezTo>
                    <a:pt x="5809774" y="258604"/>
                    <a:pt x="5812631" y="254794"/>
                    <a:pt x="5813584" y="252889"/>
                  </a:cubicBezTo>
                  <a:close/>
                  <a:moveTo>
                    <a:pt x="5804059" y="268129"/>
                  </a:moveTo>
                  <a:cubicBezTo>
                    <a:pt x="5804059" y="268129"/>
                    <a:pt x="5804059" y="269081"/>
                    <a:pt x="5804059" y="269081"/>
                  </a:cubicBezTo>
                  <a:lnTo>
                    <a:pt x="5804059" y="268129"/>
                  </a:lnTo>
                  <a:cubicBezTo>
                    <a:pt x="5804059" y="268129"/>
                    <a:pt x="5804059" y="268129"/>
                    <a:pt x="5804059" y="268129"/>
                  </a:cubicBezTo>
                  <a:close/>
                  <a:moveTo>
                    <a:pt x="5799296" y="164306"/>
                  </a:moveTo>
                  <a:cubicBezTo>
                    <a:pt x="5800249" y="165259"/>
                    <a:pt x="5801201" y="165259"/>
                    <a:pt x="5802154" y="166211"/>
                  </a:cubicBezTo>
                  <a:cubicBezTo>
                    <a:pt x="5800249" y="170021"/>
                    <a:pt x="5798344" y="172879"/>
                    <a:pt x="5796439" y="176689"/>
                  </a:cubicBezTo>
                  <a:lnTo>
                    <a:pt x="5796439" y="163354"/>
                  </a:lnTo>
                  <a:cubicBezTo>
                    <a:pt x="5797392" y="163354"/>
                    <a:pt x="5798344" y="163354"/>
                    <a:pt x="5799296" y="164306"/>
                  </a:cubicBezTo>
                  <a:close/>
                  <a:moveTo>
                    <a:pt x="5770721" y="386239"/>
                  </a:moveTo>
                  <a:cubicBezTo>
                    <a:pt x="5770721" y="385286"/>
                    <a:pt x="5770721" y="384334"/>
                    <a:pt x="5770721" y="383381"/>
                  </a:cubicBezTo>
                  <a:cubicBezTo>
                    <a:pt x="5770721" y="383381"/>
                    <a:pt x="5770721" y="382429"/>
                    <a:pt x="5770721" y="382429"/>
                  </a:cubicBezTo>
                  <a:cubicBezTo>
                    <a:pt x="5770721" y="384334"/>
                    <a:pt x="5770721" y="385286"/>
                    <a:pt x="5771674" y="387191"/>
                  </a:cubicBezTo>
                  <a:cubicBezTo>
                    <a:pt x="5771674" y="386239"/>
                    <a:pt x="5771674" y="386239"/>
                    <a:pt x="5770721" y="386239"/>
                  </a:cubicBezTo>
                  <a:close/>
                  <a:moveTo>
                    <a:pt x="5782151" y="253841"/>
                  </a:moveTo>
                  <a:cubicBezTo>
                    <a:pt x="5781199" y="254794"/>
                    <a:pt x="5781199" y="256699"/>
                    <a:pt x="5780246" y="258604"/>
                  </a:cubicBezTo>
                  <a:cubicBezTo>
                    <a:pt x="5779294" y="261461"/>
                    <a:pt x="5778342" y="264319"/>
                    <a:pt x="5777389" y="267176"/>
                  </a:cubicBezTo>
                  <a:cubicBezTo>
                    <a:pt x="5776437" y="270034"/>
                    <a:pt x="5775484" y="272891"/>
                    <a:pt x="5773579" y="275749"/>
                  </a:cubicBezTo>
                  <a:cubicBezTo>
                    <a:pt x="5773579" y="274796"/>
                    <a:pt x="5772626" y="274796"/>
                    <a:pt x="5772626" y="273844"/>
                  </a:cubicBezTo>
                  <a:cubicBezTo>
                    <a:pt x="5772626" y="273844"/>
                    <a:pt x="5772626" y="272891"/>
                    <a:pt x="5771674" y="272891"/>
                  </a:cubicBezTo>
                  <a:cubicBezTo>
                    <a:pt x="5777389" y="256699"/>
                    <a:pt x="5781199" y="246221"/>
                    <a:pt x="5783104" y="241459"/>
                  </a:cubicBezTo>
                  <a:cubicBezTo>
                    <a:pt x="5783104" y="245269"/>
                    <a:pt x="5783104" y="250031"/>
                    <a:pt x="5782151" y="253841"/>
                  </a:cubicBezTo>
                  <a:close/>
                  <a:moveTo>
                    <a:pt x="5785962" y="221456"/>
                  </a:moveTo>
                  <a:cubicBezTo>
                    <a:pt x="5785009" y="227171"/>
                    <a:pt x="5785009" y="232886"/>
                    <a:pt x="5784056" y="239554"/>
                  </a:cubicBezTo>
                  <a:cubicBezTo>
                    <a:pt x="5784056" y="239554"/>
                    <a:pt x="5784056" y="240506"/>
                    <a:pt x="5784056" y="240506"/>
                  </a:cubicBezTo>
                  <a:cubicBezTo>
                    <a:pt x="5782151" y="244316"/>
                    <a:pt x="5777389" y="253841"/>
                    <a:pt x="5770721" y="267176"/>
                  </a:cubicBezTo>
                  <a:cubicBezTo>
                    <a:pt x="5770721" y="265271"/>
                    <a:pt x="5769769" y="263366"/>
                    <a:pt x="5769769" y="261461"/>
                  </a:cubicBezTo>
                  <a:cubicBezTo>
                    <a:pt x="5769769" y="260509"/>
                    <a:pt x="5769769" y="259556"/>
                    <a:pt x="5769769" y="258604"/>
                  </a:cubicBezTo>
                  <a:cubicBezTo>
                    <a:pt x="5775484" y="246221"/>
                    <a:pt x="5781199" y="233839"/>
                    <a:pt x="5785962" y="221456"/>
                  </a:cubicBezTo>
                  <a:close/>
                  <a:moveTo>
                    <a:pt x="5754529" y="333851"/>
                  </a:moveTo>
                  <a:cubicBezTo>
                    <a:pt x="5751671" y="338614"/>
                    <a:pt x="5749767" y="343376"/>
                    <a:pt x="5746909" y="348139"/>
                  </a:cubicBezTo>
                  <a:cubicBezTo>
                    <a:pt x="5746909" y="347186"/>
                    <a:pt x="5745956" y="347186"/>
                    <a:pt x="5745956" y="346234"/>
                  </a:cubicBezTo>
                  <a:cubicBezTo>
                    <a:pt x="5748814" y="337661"/>
                    <a:pt x="5751671" y="330041"/>
                    <a:pt x="5754529" y="322421"/>
                  </a:cubicBezTo>
                  <a:cubicBezTo>
                    <a:pt x="5754529" y="325279"/>
                    <a:pt x="5754529" y="329089"/>
                    <a:pt x="5754529" y="333851"/>
                  </a:cubicBezTo>
                  <a:cubicBezTo>
                    <a:pt x="5754529" y="333851"/>
                    <a:pt x="5754529" y="333851"/>
                    <a:pt x="5754529" y="333851"/>
                  </a:cubicBezTo>
                  <a:close/>
                  <a:moveTo>
                    <a:pt x="5762149" y="302419"/>
                  </a:moveTo>
                  <a:cubicBezTo>
                    <a:pt x="5762149" y="303371"/>
                    <a:pt x="5762149" y="303371"/>
                    <a:pt x="5762149" y="302419"/>
                  </a:cubicBezTo>
                  <a:cubicBezTo>
                    <a:pt x="5762149" y="303371"/>
                    <a:pt x="5761196" y="303371"/>
                    <a:pt x="5762149" y="302419"/>
                  </a:cubicBezTo>
                  <a:cubicBezTo>
                    <a:pt x="5761196" y="303371"/>
                    <a:pt x="5761196" y="303371"/>
                    <a:pt x="5762149" y="302419"/>
                  </a:cubicBezTo>
                  <a:close/>
                  <a:moveTo>
                    <a:pt x="5761196" y="304324"/>
                  </a:moveTo>
                  <a:cubicBezTo>
                    <a:pt x="5761196" y="304324"/>
                    <a:pt x="5761196" y="305276"/>
                    <a:pt x="5762149" y="305276"/>
                  </a:cubicBezTo>
                  <a:cubicBezTo>
                    <a:pt x="5762149" y="306229"/>
                    <a:pt x="5762149" y="307181"/>
                    <a:pt x="5762149" y="308134"/>
                  </a:cubicBezTo>
                  <a:cubicBezTo>
                    <a:pt x="5762149" y="309086"/>
                    <a:pt x="5762149" y="309086"/>
                    <a:pt x="5762149" y="310039"/>
                  </a:cubicBezTo>
                  <a:cubicBezTo>
                    <a:pt x="5761196" y="313849"/>
                    <a:pt x="5760244" y="316706"/>
                    <a:pt x="5759292" y="320516"/>
                  </a:cubicBezTo>
                  <a:cubicBezTo>
                    <a:pt x="5758339" y="323374"/>
                    <a:pt x="5758339" y="325279"/>
                    <a:pt x="5757387" y="328136"/>
                  </a:cubicBezTo>
                  <a:cubicBezTo>
                    <a:pt x="5756434" y="324326"/>
                    <a:pt x="5755481" y="321469"/>
                    <a:pt x="5755481" y="320516"/>
                  </a:cubicBezTo>
                  <a:cubicBezTo>
                    <a:pt x="5757387" y="314801"/>
                    <a:pt x="5759292" y="309086"/>
                    <a:pt x="5761196" y="304324"/>
                  </a:cubicBezTo>
                  <a:close/>
                  <a:moveTo>
                    <a:pt x="5760244" y="289084"/>
                  </a:moveTo>
                  <a:cubicBezTo>
                    <a:pt x="5760244" y="290036"/>
                    <a:pt x="5759292" y="290036"/>
                    <a:pt x="5759292" y="290989"/>
                  </a:cubicBezTo>
                  <a:cubicBezTo>
                    <a:pt x="5757387" y="293846"/>
                    <a:pt x="5754529" y="297656"/>
                    <a:pt x="5751671" y="301466"/>
                  </a:cubicBezTo>
                  <a:cubicBezTo>
                    <a:pt x="5750719" y="302419"/>
                    <a:pt x="5749767" y="304324"/>
                    <a:pt x="5748814" y="305276"/>
                  </a:cubicBezTo>
                  <a:cubicBezTo>
                    <a:pt x="5752624" y="296704"/>
                    <a:pt x="5755481" y="288131"/>
                    <a:pt x="5759292" y="280511"/>
                  </a:cubicBezTo>
                  <a:cubicBezTo>
                    <a:pt x="5760244" y="284321"/>
                    <a:pt x="5760244" y="286226"/>
                    <a:pt x="5760244" y="289084"/>
                  </a:cubicBezTo>
                  <a:close/>
                  <a:moveTo>
                    <a:pt x="5756434" y="227171"/>
                  </a:moveTo>
                  <a:cubicBezTo>
                    <a:pt x="5756434" y="231934"/>
                    <a:pt x="5756434" y="237649"/>
                    <a:pt x="5756434" y="243364"/>
                  </a:cubicBezTo>
                  <a:cubicBezTo>
                    <a:pt x="5756434" y="246221"/>
                    <a:pt x="5756434" y="248126"/>
                    <a:pt x="5757387" y="250984"/>
                  </a:cubicBezTo>
                  <a:cubicBezTo>
                    <a:pt x="5756434" y="253841"/>
                    <a:pt x="5754529" y="256699"/>
                    <a:pt x="5753576" y="259556"/>
                  </a:cubicBezTo>
                  <a:cubicBezTo>
                    <a:pt x="5749767" y="268129"/>
                    <a:pt x="5745004" y="276701"/>
                    <a:pt x="5741194" y="285274"/>
                  </a:cubicBezTo>
                  <a:cubicBezTo>
                    <a:pt x="5746909" y="262414"/>
                    <a:pt x="5752624" y="243364"/>
                    <a:pt x="5756434" y="227171"/>
                  </a:cubicBezTo>
                  <a:close/>
                  <a:moveTo>
                    <a:pt x="5676424" y="184309"/>
                  </a:moveTo>
                  <a:cubicBezTo>
                    <a:pt x="5676424" y="188119"/>
                    <a:pt x="5676424" y="192881"/>
                    <a:pt x="5676424" y="198596"/>
                  </a:cubicBezTo>
                  <a:cubicBezTo>
                    <a:pt x="5676424" y="206216"/>
                    <a:pt x="5676424" y="216694"/>
                    <a:pt x="5676424" y="228124"/>
                  </a:cubicBezTo>
                  <a:cubicBezTo>
                    <a:pt x="5676424" y="233839"/>
                    <a:pt x="5676424" y="239554"/>
                    <a:pt x="5676424" y="246221"/>
                  </a:cubicBezTo>
                  <a:cubicBezTo>
                    <a:pt x="5676424" y="252889"/>
                    <a:pt x="5677376" y="259556"/>
                    <a:pt x="5677376" y="266224"/>
                  </a:cubicBezTo>
                  <a:cubicBezTo>
                    <a:pt x="5677376" y="270034"/>
                    <a:pt x="5677376" y="273844"/>
                    <a:pt x="5678329" y="276701"/>
                  </a:cubicBezTo>
                  <a:cubicBezTo>
                    <a:pt x="5678329" y="276701"/>
                    <a:pt x="5678329" y="276701"/>
                    <a:pt x="5678329" y="276701"/>
                  </a:cubicBezTo>
                  <a:cubicBezTo>
                    <a:pt x="5677376" y="270986"/>
                    <a:pt x="5676424" y="265271"/>
                    <a:pt x="5675471" y="259556"/>
                  </a:cubicBezTo>
                  <a:cubicBezTo>
                    <a:pt x="5674519" y="253841"/>
                    <a:pt x="5673567" y="248126"/>
                    <a:pt x="5672614" y="242411"/>
                  </a:cubicBezTo>
                  <a:cubicBezTo>
                    <a:pt x="5671662" y="235744"/>
                    <a:pt x="5670709" y="229076"/>
                    <a:pt x="5669756" y="223361"/>
                  </a:cubicBezTo>
                  <a:cubicBezTo>
                    <a:pt x="5669756" y="221456"/>
                    <a:pt x="5668804" y="218599"/>
                    <a:pt x="5668804" y="216694"/>
                  </a:cubicBezTo>
                  <a:cubicBezTo>
                    <a:pt x="5671662" y="202406"/>
                    <a:pt x="5674519" y="190976"/>
                    <a:pt x="5676424" y="184309"/>
                  </a:cubicBezTo>
                  <a:close/>
                  <a:moveTo>
                    <a:pt x="5652612" y="263366"/>
                  </a:moveTo>
                  <a:cubicBezTo>
                    <a:pt x="5652612" y="262414"/>
                    <a:pt x="5652612" y="262414"/>
                    <a:pt x="5653564" y="261461"/>
                  </a:cubicBezTo>
                  <a:cubicBezTo>
                    <a:pt x="5654517" y="262414"/>
                    <a:pt x="5654517" y="263366"/>
                    <a:pt x="5655469" y="264319"/>
                  </a:cubicBezTo>
                  <a:cubicBezTo>
                    <a:pt x="5655469" y="265271"/>
                    <a:pt x="5655469" y="266224"/>
                    <a:pt x="5655469" y="268129"/>
                  </a:cubicBezTo>
                  <a:cubicBezTo>
                    <a:pt x="5656421" y="273844"/>
                    <a:pt x="5656421" y="279559"/>
                    <a:pt x="5657374" y="286226"/>
                  </a:cubicBezTo>
                  <a:cubicBezTo>
                    <a:pt x="5655469" y="280511"/>
                    <a:pt x="5654517" y="274796"/>
                    <a:pt x="5652612" y="269081"/>
                  </a:cubicBezTo>
                  <a:cubicBezTo>
                    <a:pt x="5652612" y="268129"/>
                    <a:pt x="5652612" y="268129"/>
                    <a:pt x="5651659" y="267176"/>
                  </a:cubicBezTo>
                  <a:cubicBezTo>
                    <a:pt x="5652612" y="265271"/>
                    <a:pt x="5652612" y="264319"/>
                    <a:pt x="5652612" y="263366"/>
                  </a:cubicBezTo>
                  <a:close/>
                  <a:moveTo>
                    <a:pt x="5650706" y="205264"/>
                  </a:moveTo>
                  <a:cubicBezTo>
                    <a:pt x="5650706" y="208121"/>
                    <a:pt x="5650706" y="210979"/>
                    <a:pt x="5651659" y="212884"/>
                  </a:cubicBezTo>
                  <a:cubicBezTo>
                    <a:pt x="5650706" y="210979"/>
                    <a:pt x="5649754" y="209074"/>
                    <a:pt x="5649754" y="207169"/>
                  </a:cubicBezTo>
                  <a:cubicBezTo>
                    <a:pt x="5649754" y="206216"/>
                    <a:pt x="5649754" y="205264"/>
                    <a:pt x="5650706" y="205264"/>
                  </a:cubicBezTo>
                  <a:close/>
                  <a:moveTo>
                    <a:pt x="5647849" y="209074"/>
                  </a:moveTo>
                  <a:cubicBezTo>
                    <a:pt x="5647849" y="211931"/>
                    <a:pt x="5648801" y="215741"/>
                    <a:pt x="5649754" y="219551"/>
                  </a:cubicBezTo>
                  <a:cubicBezTo>
                    <a:pt x="5650706" y="224314"/>
                    <a:pt x="5650706" y="230029"/>
                    <a:pt x="5651659" y="235744"/>
                  </a:cubicBezTo>
                  <a:cubicBezTo>
                    <a:pt x="5651659" y="235744"/>
                    <a:pt x="5651659" y="235744"/>
                    <a:pt x="5651659" y="236696"/>
                  </a:cubicBezTo>
                  <a:cubicBezTo>
                    <a:pt x="5649754" y="233839"/>
                    <a:pt x="5647849" y="230981"/>
                    <a:pt x="5645944" y="228124"/>
                  </a:cubicBezTo>
                  <a:cubicBezTo>
                    <a:pt x="5644992" y="224314"/>
                    <a:pt x="5644992" y="220504"/>
                    <a:pt x="5644039" y="216694"/>
                  </a:cubicBezTo>
                  <a:cubicBezTo>
                    <a:pt x="5644992" y="213836"/>
                    <a:pt x="5646896" y="211931"/>
                    <a:pt x="5647849" y="209074"/>
                  </a:cubicBezTo>
                  <a:close/>
                  <a:moveTo>
                    <a:pt x="5642134" y="370046"/>
                  </a:moveTo>
                  <a:cubicBezTo>
                    <a:pt x="5642134" y="372904"/>
                    <a:pt x="5643087" y="374809"/>
                    <a:pt x="5643087" y="377666"/>
                  </a:cubicBezTo>
                  <a:cubicBezTo>
                    <a:pt x="5642134" y="379571"/>
                    <a:pt x="5642134" y="382429"/>
                    <a:pt x="5641181" y="385286"/>
                  </a:cubicBezTo>
                  <a:cubicBezTo>
                    <a:pt x="5641181" y="379571"/>
                    <a:pt x="5641181" y="374809"/>
                    <a:pt x="5642134" y="370046"/>
                  </a:cubicBezTo>
                  <a:close/>
                  <a:moveTo>
                    <a:pt x="5624037" y="272891"/>
                  </a:moveTo>
                  <a:cubicBezTo>
                    <a:pt x="5624989" y="268129"/>
                    <a:pt x="5624989" y="263366"/>
                    <a:pt x="5625942" y="258604"/>
                  </a:cubicBezTo>
                  <a:cubicBezTo>
                    <a:pt x="5625942" y="256699"/>
                    <a:pt x="5625942" y="255746"/>
                    <a:pt x="5625942" y="254794"/>
                  </a:cubicBezTo>
                  <a:cubicBezTo>
                    <a:pt x="5627846" y="250031"/>
                    <a:pt x="5629751" y="245269"/>
                    <a:pt x="5632609" y="241459"/>
                  </a:cubicBezTo>
                  <a:cubicBezTo>
                    <a:pt x="5633562" y="239554"/>
                    <a:pt x="5634514" y="238601"/>
                    <a:pt x="5634514" y="236696"/>
                  </a:cubicBezTo>
                  <a:cubicBezTo>
                    <a:pt x="5635467" y="239554"/>
                    <a:pt x="5636419" y="242411"/>
                    <a:pt x="5637371" y="245269"/>
                  </a:cubicBezTo>
                  <a:cubicBezTo>
                    <a:pt x="5638324" y="249079"/>
                    <a:pt x="5639276" y="253841"/>
                    <a:pt x="5640229" y="259556"/>
                  </a:cubicBezTo>
                  <a:cubicBezTo>
                    <a:pt x="5640229" y="261461"/>
                    <a:pt x="5640229" y="264319"/>
                    <a:pt x="5640229" y="266224"/>
                  </a:cubicBezTo>
                  <a:cubicBezTo>
                    <a:pt x="5637371" y="272891"/>
                    <a:pt x="5634514" y="280511"/>
                    <a:pt x="5631656" y="288131"/>
                  </a:cubicBezTo>
                  <a:cubicBezTo>
                    <a:pt x="5628799" y="284321"/>
                    <a:pt x="5626894" y="280511"/>
                    <a:pt x="5624037" y="277654"/>
                  </a:cubicBezTo>
                  <a:cubicBezTo>
                    <a:pt x="5623084" y="275749"/>
                    <a:pt x="5624037" y="273844"/>
                    <a:pt x="5624037" y="272891"/>
                  </a:cubicBezTo>
                  <a:close/>
                  <a:moveTo>
                    <a:pt x="5623084" y="289084"/>
                  </a:moveTo>
                  <a:cubicBezTo>
                    <a:pt x="5623084" y="288131"/>
                    <a:pt x="5623084" y="288131"/>
                    <a:pt x="5623084" y="287179"/>
                  </a:cubicBezTo>
                  <a:cubicBezTo>
                    <a:pt x="5624037" y="288131"/>
                    <a:pt x="5624037" y="290036"/>
                    <a:pt x="5624989" y="290989"/>
                  </a:cubicBezTo>
                  <a:cubicBezTo>
                    <a:pt x="5625942" y="292894"/>
                    <a:pt x="5626894" y="295751"/>
                    <a:pt x="5626894" y="298609"/>
                  </a:cubicBezTo>
                  <a:cubicBezTo>
                    <a:pt x="5626894" y="299561"/>
                    <a:pt x="5626894" y="299561"/>
                    <a:pt x="5625942" y="300514"/>
                  </a:cubicBezTo>
                  <a:cubicBezTo>
                    <a:pt x="5625942" y="300514"/>
                    <a:pt x="5625942" y="300514"/>
                    <a:pt x="5625942" y="300514"/>
                  </a:cubicBezTo>
                  <a:cubicBezTo>
                    <a:pt x="5624989" y="298609"/>
                    <a:pt x="5624037" y="297656"/>
                    <a:pt x="5622131" y="295751"/>
                  </a:cubicBezTo>
                  <a:cubicBezTo>
                    <a:pt x="5622131" y="293846"/>
                    <a:pt x="5622131" y="290989"/>
                    <a:pt x="5623084" y="289084"/>
                  </a:cubicBezTo>
                  <a:close/>
                  <a:moveTo>
                    <a:pt x="5621179" y="310991"/>
                  </a:moveTo>
                  <a:cubicBezTo>
                    <a:pt x="5621179" y="310991"/>
                    <a:pt x="5621179" y="310991"/>
                    <a:pt x="5621179" y="310991"/>
                  </a:cubicBezTo>
                  <a:cubicBezTo>
                    <a:pt x="5621179" y="310991"/>
                    <a:pt x="5621179" y="310991"/>
                    <a:pt x="5621179" y="310991"/>
                  </a:cubicBezTo>
                  <a:cubicBezTo>
                    <a:pt x="5621179" y="310991"/>
                    <a:pt x="5621179" y="310991"/>
                    <a:pt x="5621179" y="310991"/>
                  </a:cubicBezTo>
                  <a:close/>
                  <a:moveTo>
                    <a:pt x="5618321" y="270034"/>
                  </a:moveTo>
                  <a:cubicBezTo>
                    <a:pt x="5618321" y="270034"/>
                    <a:pt x="5618321" y="270986"/>
                    <a:pt x="5618321" y="270034"/>
                  </a:cubicBezTo>
                  <a:cubicBezTo>
                    <a:pt x="5618321" y="270986"/>
                    <a:pt x="5618321" y="270986"/>
                    <a:pt x="5618321" y="270034"/>
                  </a:cubicBezTo>
                  <a:cubicBezTo>
                    <a:pt x="5618321" y="270986"/>
                    <a:pt x="5618321" y="270034"/>
                    <a:pt x="5618321" y="270034"/>
                  </a:cubicBezTo>
                  <a:close/>
                  <a:moveTo>
                    <a:pt x="5617369" y="272891"/>
                  </a:moveTo>
                  <a:cubicBezTo>
                    <a:pt x="5617369" y="272891"/>
                    <a:pt x="5617369" y="273844"/>
                    <a:pt x="5618321" y="273844"/>
                  </a:cubicBezTo>
                  <a:cubicBezTo>
                    <a:pt x="5617369" y="277654"/>
                    <a:pt x="5617369" y="282416"/>
                    <a:pt x="5616417" y="286226"/>
                  </a:cubicBezTo>
                  <a:cubicBezTo>
                    <a:pt x="5615464" y="285274"/>
                    <a:pt x="5614512" y="283369"/>
                    <a:pt x="5613559" y="282416"/>
                  </a:cubicBezTo>
                  <a:cubicBezTo>
                    <a:pt x="5614512" y="279559"/>
                    <a:pt x="5615464" y="276701"/>
                    <a:pt x="5617369" y="272891"/>
                  </a:cubicBezTo>
                  <a:close/>
                  <a:moveTo>
                    <a:pt x="5608796" y="290989"/>
                  </a:moveTo>
                  <a:cubicBezTo>
                    <a:pt x="5608796" y="290989"/>
                    <a:pt x="5609749" y="290989"/>
                    <a:pt x="5608796" y="290989"/>
                  </a:cubicBezTo>
                  <a:cubicBezTo>
                    <a:pt x="5609749" y="291941"/>
                    <a:pt x="5610701" y="293846"/>
                    <a:pt x="5611654" y="294799"/>
                  </a:cubicBezTo>
                  <a:cubicBezTo>
                    <a:pt x="5612606" y="295751"/>
                    <a:pt x="5612606" y="296704"/>
                    <a:pt x="5613559" y="297656"/>
                  </a:cubicBezTo>
                  <a:cubicBezTo>
                    <a:pt x="5612606" y="302419"/>
                    <a:pt x="5612606" y="306229"/>
                    <a:pt x="5611654" y="310991"/>
                  </a:cubicBezTo>
                  <a:cubicBezTo>
                    <a:pt x="5610701" y="305276"/>
                    <a:pt x="5609749" y="298609"/>
                    <a:pt x="5608796" y="292894"/>
                  </a:cubicBezTo>
                  <a:cubicBezTo>
                    <a:pt x="5608796" y="291941"/>
                    <a:pt x="5608796" y="291941"/>
                    <a:pt x="5608796" y="290989"/>
                  </a:cubicBezTo>
                  <a:close/>
                  <a:moveTo>
                    <a:pt x="5594509" y="241459"/>
                  </a:moveTo>
                  <a:cubicBezTo>
                    <a:pt x="5594509" y="247174"/>
                    <a:pt x="5594509" y="252889"/>
                    <a:pt x="5595462" y="258604"/>
                  </a:cubicBezTo>
                  <a:cubicBezTo>
                    <a:pt x="5595462" y="258604"/>
                    <a:pt x="5595462" y="259556"/>
                    <a:pt x="5595462" y="259556"/>
                  </a:cubicBezTo>
                  <a:cubicBezTo>
                    <a:pt x="5595462" y="260509"/>
                    <a:pt x="5595462" y="260509"/>
                    <a:pt x="5595462" y="261461"/>
                  </a:cubicBezTo>
                  <a:cubicBezTo>
                    <a:pt x="5594509" y="260509"/>
                    <a:pt x="5594509" y="260509"/>
                    <a:pt x="5593556" y="259556"/>
                  </a:cubicBezTo>
                  <a:cubicBezTo>
                    <a:pt x="5593556" y="256699"/>
                    <a:pt x="5592604" y="252889"/>
                    <a:pt x="5592604" y="250031"/>
                  </a:cubicBezTo>
                  <a:cubicBezTo>
                    <a:pt x="5591651" y="246221"/>
                    <a:pt x="5593556" y="244316"/>
                    <a:pt x="5594509" y="241459"/>
                  </a:cubicBezTo>
                  <a:close/>
                  <a:moveTo>
                    <a:pt x="5578317" y="284321"/>
                  </a:moveTo>
                  <a:cubicBezTo>
                    <a:pt x="5578317" y="285274"/>
                    <a:pt x="5578317" y="285274"/>
                    <a:pt x="5578317" y="286226"/>
                  </a:cubicBezTo>
                  <a:cubicBezTo>
                    <a:pt x="5578317" y="286226"/>
                    <a:pt x="5578317" y="285274"/>
                    <a:pt x="5577364" y="285274"/>
                  </a:cubicBezTo>
                  <a:cubicBezTo>
                    <a:pt x="5578317" y="284321"/>
                    <a:pt x="5578317" y="284321"/>
                    <a:pt x="5578317" y="284321"/>
                  </a:cubicBezTo>
                  <a:close/>
                  <a:moveTo>
                    <a:pt x="5573554" y="299561"/>
                  </a:moveTo>
                  <a:cubicBezTo>
                    <a:pt x="5574506" y="301466"/>
                    <a:pt x="5575459" y="303371"/>
                    <a:pt x="5576412" y="305276"/>
                  </a:cubicBezTo>
                  <a:cubicBezTo>
                    <a:pt x="5576412" y="306229"/>
                    <a:pt x="5577364" y="306229"/>
                    <a:pt x="5577364" y="307181"/>
                  </a:cubicBezTo>
                  <a:cubicBezTo>
                    <a:pt x="5577364" y="311944"/>
                    <a:pt x="5576412" y="317659"/>
                    <a:pt x="5576412" y="325279"/>
                  </a:cubicBezTo>
                  <a:cubicBezTo>
                    <a:pt x="5576412" y="326231"/>
                    <a:pt x="5576412" y="327184"/>
                    <a:pt x="5576412" y="328136"/>
                  </a:cubicBezTo>
                  <a:cubicBezTo>
                    <a:pt x="5576412" y="325279"/>
                    <a:pt x="5575459" y="322421"/>
                    <a:pt x="5575459" y="319564"/>
                  </a:cubicBezTo>
                  <a:cubicBezTo>
                    <a:pt x="5574506" y="313849"/>
                    <a:pt x="5573554" y="309086"/>
                    <a:pt x="5573554" y="303371"/>
                  </a:cubicBezTo>
                  <a:cubicBezTo>
                    <a:pt x="5572601" y="301466"/>
                    <a:pt x="5573554" y="300514"/>
                    <a:pt x="5573554" y="299561"/>
                  </a:cubicBezTo>
                  <a:close/>
                  <a:moveTo>
                    <a:pt x="5550694" y="308134"/>
                  </a:moveTo>
                  <a:cubicBezTo>
                    <a:pt x="5550694" y="305276"/>
                    <a:pt x="5549742" y="303371"/>
                    <a:pt x="5549742" y="301466"/>
                  </a:cubicBezTo>
                  <a:cubicBezTo>
                    <a:pt x="5550694" y="299561"/>
                    <a:pt x="5550694" y="296704"/>
                    <a:pt x="5551646" y="294799"/>
                  </a:cubicBezTo>
                  <a:cubicBezTo>
                    <a:pt x="5551646" y="293846"/>
                    <a:pt x="5552599" y="292894"/>
                    <a:pt x="5552599" y="291941"/>
                  </a:cubicBezTo>
                  <a:cubicBezTo>
                    <a:pt x="5553551" y="294799"/>
                    <a:pt x="5553551" y="298609"/>
                    <a:pt x="5554504" y="302419"/>
                  </a:cubicBezTo>
                  <a:cubicBezTo>
                    <a:pt x="5553551" y="303371"/>
                    <a:pt x="5553551" y="304324"/>
                    <a:pt x="5552599" y="306229"/>
                  </a:cubicBezTo>
                  <a:cubicBezTo>
                    <a:pt x="5551646" y="306229"/>
                    <a:pt x="5551646" y="307181"/>
                    <a:pt x="5550694" y="308134"/>
                  </a:cubicBezTo>
                  <a:close/>
                  <a:moveTo>
                    <a:pt x="5557362" y="313849"/>
                  </a:moveTo>
                  <a:cubicBezTo>
                    <a:pt x="5557362" y="313849"/>
                    <a:pt x="5557362" y="314801"/>
                    <a:pt x="5557362" y="313849"/>
                  </a:cubicBezTo>
                  <a:cubicBezTo>
                    <a:pt x="5556409" y="315754"/>
                    <a:pt x="5554504" y="317659"/>
                    <a:pt x="5553551" y="318611"/>
                  </a:cubicBezTo>
                  <a:cubicBezTo>
                    <a:pt x="5554504" y="315754"/>
                    <a:pt x="5555456" y="312896"/>
                    <a:pt x="5556409" y="310039"/>
                  </a:cubicBezTo>
                  <a:cubicBezTo>
                    <a:pt x="5556409" y="311944"/>
                    <a:pt x="5557362" y="312896"/>
                    <a:pt x="5557362" y="313849"/>
                  </a:cubicBezTo>
                  <a:cubicBezTo>
                    <a:pt x="5557362" y="313849"/>
                    <a:pt x="5557362" y="313849"/>
                    <a:pt x="5557362" y="313849"/>
                  </a:cubicBezTo>
                  <a:close/>
                  <a:moveTo>
                    <a:pt x="5561171" y="359569"/>
                  </a:moveTo>
                  <a:cubicBezTo>
                    <a:pt x="5561171" y="360521"/>
                    <a:pt x="5561171" y="360521"/>
                    <a:pt x="5561171" y="361474"/>
                  </a:cubicBezTo>
                  <a:cubicBezTo>
                    <a:pt x="5561171" y="361474"/>
                    <a:pt x="5560219" y="360521"/>
                    <a:pt x="5560219" y="360521"/>
                  </a:cubicBezTo>
                  <a:cubicBezTo>
                    <a:pt x="5559267" y="357664"/>
                    <a:pt x="5559267" y="353854"/>
                    <a:pt x="5558314" y="350996"/>
                  </a:cubicBezTo>
                  <a:cubicBezTo>
                    <a:pt x="5559267" y="348139"/>
                    <a:pt x="5560219" y="345281"/>
                    <a:pt x="5560219" y="342424"/>
                  </a:cubicBezTo>
                  <a:cubicBezTo>
                    <a:pt x="5561171" y="348139"/>
                    <a:pt x="5561171" y="353854"/>
                    <a:pt x="5561171" y="359569"/>
                  </a:cubicBezTo>
                  <a:close/>
                  <a:moveTo>
                    <a:pt x="5559267" y="303371"/>
                  </a:moveTo>
                  <a:cubicBezTo>
                    <a:pt x="5559267" y="303371"/>
                    <a:pt x="5559267" y="304324"/>
                    <a:pt x="5559267" y="303371"/>
                  </a:cubicBezTo>
                  <a:cubicBezTo>
                    <a:pt x="5559267" y="304324"/>
                    <a:pt x="5559267" y="304324"/>
                    <a:pt x="5559267" y="303371"/>
                  </a:cubicBezTo>
                  <a:cubicBezTo>
                    <a:pt x="5559267" y="303371"/>
                    <a:pt x="5559267" y="303371"/>
                    <a:pt x="5559267" y="303371"/>
                  </a:cubicBezTo>
                  <a:close/>
                  <a:moveTo>
                    <a:pt x="5557362" y="277654"/>
                  </a:moveTo>
                  <a:cubicBezTo>
                    <a:pt x="5557362" y="279559"/>
                    <a:pt x="5557362" y="281464"/>
                    <a:pt x="5558314" y="283369"/>
                  </a:cubicBezTo>
                  <a:cubicBezTo>
                    <a:pt x="5558314" y="287179"/>
                    <a:pt x="5559267" y="290989"/>
                    <a:pt x="5559267" y="293846"/>
                  </a:cubicBezTo>
                  <a:cubicBezTo>
                    <a:pt x="5558314" y="294799"/>
                    <a:pt x="5558314" y="295751"/>
                    <a:pt x="5557362" y="296704"/>
                  </a:cubicBezTo>
                  <a:cubicBezTo>
                    <a:pt x="5556409" y="292894"/>
                    <a:pt x="5555456" y="290036"/>
                    <a:pt x="5554504" y="287179"/>
                  </a:cubicBezTo>
                  <a:cubicBezTo>
                    <a:pt x="5554504" y="284321"/>
                    <a:pt x="5556409" y="281464"/>
                    <a:pt x="5557362" y="277654"/>
                  </a:cubicBezTo>
                  <a:close/>
                  <a:moveTo>
                    <a:pt x="5553551" y="252889"/>
                  </a:moveTo>
                  <a:cubicBezTo>
                    <a:pt x="5553551" y="252889"/>
                    <a:pt x="5553551" y="252889"/>
                    <a:pt x="5553551" y="252889"/>
                  </a:cubicBezTo>
                  <a:cubicBezTo>
                    <a:pt x="5553551" y="253841"/>
                    <a:pt x="5553551" y="253841"/>
                    <a:pt x="5553551" y="253841"/>
                  </a:cubicBezTo>
                  <a:cubicBezTo>
                    <a:pt x="5554504" y="258604"/>
                    <a:pt x="5554504" y="263366"/>
                    <a:pt x="5555456" y="268129"/>
                  </a:cubicBezTo>
                  <a:cubicBezTo>
                    <a:pt x="5555456" y="269081"/>
                    <a:pt x="5555456" y="270034"/>
                    <a:pt x="5555456" y="270986"/>
                  </a:cubicBezTo>
                  <a:cubicBezTo>
                    <a:pt x="5554504" y="272891"/>
                    <a:pt x="5553551" y="273844"/>
                    <a:pt x="5552599" y="275749"/>
                  </a:cubicBezTo>
                  <a:cubicBezTo>
                    <a:pt x="5551646" y="276701"/>
                    <a:pt x="5550694" y="278606"/>
                    <a:pt x="5549742" y="280511"/>
                  </a:cubicBezTo>
                  <a:cubicBezTo>
                    <a:pt x="5549742" y="280511"/>
                    <a:pt x="5549742" y="280511"/>
                    <a:pt x="5549742" y="280511"/>
                  </a:cubicBezTo>
                  <a:cubicBezTo>
                    <a:pt x="5549742" y="280511"/>
                    <a:pt x="5549742" y="280511"/>
                    <a:pt x="5549742" y="280511"/>
                  </a:cubicBezTo>
                  <a:cubicBezTo>
                    <a:pt x="5548789" y="282416"/>
                    <a:pt x="5547837" y="284321"/>
                    <a:pt x="5545931" y="286226"/>
                  </a:cubicBezTo>
                  <a:cubicBezTo>
                    <a:pt x="5545931" y="284321"/>
                    <a:pt x="5544979" y="282416"/>
                    <a:pt x="5544979" y="281464"/>
                  </a:cubicBezTo>
                  <a:cubicBezTo>
                    <a:pt x="5545931" y="279559"/>
                    <a:pt x="5545931" y="277654"/>
                    <a:pt x="5546884" y="275749"/>
                  </a:cubicBezTo>
                  <a:cubicBezTo>
                    <a:pt x="5547837" y="270986"/>
                    <a:pt x="5548789" y="266224"/>
                    <a:pt x="5549742" y="261461"/>
                  </a:cubicBezTo>
                  <a:cubicBezTo>
                    <a:pt x="5552599" y="258604"/>
                    <a:pt x="5553551" y="255746"/>
                    <a:pt x="5553551" y="252889"/>
                  </a:cubicBezTo>
                  <a:close/>
                  <a:moveTo>
                    <a:pt x="5548789" y="226219"/>
                  </a:moveTo>
                  <a:cubicBezTo>
                    <a:pt x="5548789" y="227171"/>
                    <a:pt x="5549742" y="229076"/>
                    <a:pt x="5549742" y="230029"/>
                  </a:cubicBezTo>
                  <a:cubicBezTo>
                    <a:pt x="5549742" y="231934"/>
                    <a:pt x="5550694" y="232886"/>
                    <a:pt x="5550694" y="234791"/>
                  </a:cubicBezTo>
                  <a:cubicBezTo>
                    <a:pt x="5549742" y="232886"/>
                    <a:pt x="5548789" y="230981"/>
                    <a:pt x="5547837" y="230029"/>
                  </a:cubicBezTo>
                  <a:cubicBezTo>
                    <a:pt x="5548789" y="229076"/>
                    <a:pt x="5548789" y="227171"/>
                    <a:pt x="5548789" y="226219"/>
                  </a:cubicBezTo>
                  <a:close/>
                  <a:moveTo>
                    <a:pt x="5546884" y="235744"/>
                  </a:moveTo>
                  <a:cubicBezTo>
                    <a:pt x="5547837" y="238601"/>
                    <a:pt x="5548789" y="241459"/>
                    <a:pt x="5550694" y="244316"/>
                  </a:cubicBezTo>
                  <a:cubicBezTo>
                    <a:pt x="5548789" y="249079"/>
                    <a:pt x="5546884" y="253841"/>
                    <a:pt x="5544979" y="259556"/>
                  </a:cubicBezTo>
                  <a:cubicBezTo>
                    <a:pt x="5544979" y="260509"/>
                    <a:pt x="5544026" y="261461"/>
                    <a:pt x="5544026" y="262414"/>
                  </a:cubicBezTo>
                  <a:cubicBezTo>
                    <a:pt x="5544026" y="260509"/>
                    <a:pt x="5543074" y="258604"/>
                    <a:pt x="5543074" y="257651"/>
                  </a:cubicBezTo>
                  <a:cubicBezTo>
                    <a:pt x="5543074" y="256699"/>
                    <a:pt x="5543074" y="255746"/>
                    <a:pt x="5542121" y="254794"/>
                  </a:cubicBezTo>
                  <a:cubicBezTo>
                    <a:pt x="5544026" y="248126"/>
                    <a:pt x="5545931" y="241459"/>
                    <a:pt x="5546884" y="235744"/>
                  </a:cubicBezTo>
                  <a:close/>
                  <a:moveTo>
                    <a:pt x="5540217" y="218599"/>
                  </a:moveTo>
                  <a:cubicBezTo>
                    <a:pt x="5540217" y="219551"/>
                    <a:pt x="5540217" y="219551"/>
                    <a:pt x="5539264" y="220504"/>
                  </a:cubicBezTo>
                  <a:cubicBezTo>
                    <a:pt x="5539264" y="221456"/>
                    <a:pt x="5538312" y="222409"/>
                    <a:pt x="5538312" y="223361"/>
                  </a:cubicBezTo>
                  <a:cubicBezTo>
                    <a:pt x="5537359" y="218599"/>
                    <a:pt x="5537359" y="214789"/>
                    <a:pt x="5536406" y="210026"/>
                  </a:cubicBezTo>
                  <a:cubicBezTo>
                    <a:pt x="5537359" y="211931"/>
                    <a:pt x="5538312" y="214789"/>
                    <a:pt x="5540217" y="218599"/>
                  </a:cubicBezTo>
                  <a:close/>
                  <a:moveTo>
                    <a:pt x="5507831" y="312896"/>
                  </a:moveTo>
                  <a:cubicBezTo>
                    <a:pt x="5507831" y="313849"/>
                    <a:pt x="5507831" y="313849"/>
                    <a:pt x="5507831" y="312896"/>
                  </a:cubicBezTo>
                  <a:cubicBezTo>
                    <a:pt x="5507831" y="313849"/>
                    <a:pt x="5507831" y="313849"/>
                    <a:pt x="5507831" y="313849"/>
                  </a:cubicBezTo>
                  <a:cubicBezTo>
                    <a:pt x="5507831" y="313849"/>
                    <a:pt x="5507831" y="313849"/>
                    <a:pt x="5507831" y="312896"/>
                  </a:cubicBezTo>
                  <a:close/>
                  <a:moveTo>
                    <a:pt x="5481162" y="326231"/>
                  </a:moveTo>
                  <a:cubicBezTo>
                    <a:pt x="5481162" y="327184"/>
                    <a:pt x="5480209" y="329089"/>
                    <a:pt x="5480209" y="330994"/>
                  </a:cubicBezTo>
                  <a:cubicBezTo>
                    <a:pt x="5480209" y="329089"/>
                    <a:pt x="5480209" y="326231"/>
                    <a:pt x="5479256" y="324326"/>
                  </a:cubicBezTo>
                  <a:cubicBezTo>
                    <a:pt x="5479256" y="323374"/>
                    <a:pt x="5479256" y="323374"/>
                    <a:pt x="5479256" y="322421"/>
                  </a:cubicBezTo>
                  <a:cubicBezTo>
                    <a:pt x="5479256" y="318611"/>
                    <a:pt x="5478304" y="315754"/>
                    <a:pt x="5478304" y="311944"/>
                  </a:cubicBezTo>
                  <a:cubicBezTo>
                    <a:pt x="5479256" y="315754"/>
                    <a:pt x="5480209" y="320516"/>
                    <a:pt x="5482114" y="325279"/>
                  </a:cubicBezTo>
                  <a:cubicBezTo>
                    <a:pt x="5481162" y="325279"/>
                    <a:pt x="5481162" y="325279"/>
                    <a:pt x="5481162" y="326231"/>
                  </a:cubicBezTo>
                  <a:close/>
                  <a:moveTo>
                    <a:pt x="5493544" y="339566"/>
                  </a:moveTo>
                  <a:cubicBezTo>
                    <a:pt x="5493544" y="339566"/>
                    <a:pt x="5493544" y="339566"/>
                    <a:pt x="5493544" y="339566"/>
                  </a:cubicBezTo>
                  <a:cubicBezTo>
                    <a:pt x="5493544" y="339566"/>
                    <a:pt x="5493544" y="339566"/>
                    <a:pt x="5493544" y="339566"/>
                  </a:cubicBezTo>
                  <a:cubicBezTo>
                    <a:pt x="5493544" y="339566"/>
                    <a:pt x="5493544" y="339566"/>
                    <a:pt x="5493544" y="339566"/>
                  </a:cubicBezTo>
                  <a:close/>
                  <a:moveTo>
                    <a:pt x="5488781" y="261461"/>
                  </a:moveTo>
                  <a:cubicBezTo>
                    <a:pt x="5488781" y="261461"/>
                    <a:pt x="5488781" y="261461"/>
                    <a:pt x="5488781" y="261461"/>
                  </a:cubicBezTo>
                  <a:cubicBezTo>
                    <a:pt x="5489734" y="263366"/>
                    <a:pt x="5489734" y="265271"/>
                    <a:pt x="5490687" y="267176"/>
                  </a:cubicBezTo>
                  <a:cubicBezTo>
                    <a:pt x="5489734" y="266224"/>
                    <a:pt x="5488781" y="265271"/>
                    <a:pt x="5487829" y="264319"/>
                  </a:cubicBezTo>
                  <a:cubicBezTo>
                    <a:pt x="5487829" y="263366"/>
                    <a:pt x="5487829" y="262414"/>
                    <a:pt x="5488781" y="261461"/>
                  </a:cubicBezTo>
                  <a:close/>
                  <a:moveTo>
                    <a:pt x="5483067" y="280511"/>
                  </a:moveTo>
                  <a:cubicBezTo>
                    <a:pt x="5484019" y="277654"/>
                    <a:pt x="5484971" y="275749"/>
                    <a:pt x="5484971" y="272891"/>
                  </a:cubicBezTo>
                  <a:cubicBezTo>
                    <a:pt x="5488781" y="278606"/>
                    <a:pt x="5492592" y="285274"/>
                    <a:pt x="5496401" y="291941"/>
                  </a:cubicBezTo>
                  <a:cubicBezTo>
                    <a:pt x="5497354" y="293846"/>
                    <a:pt x="5498306" y="295751"/>
                    <a:pt x="5500212" y="297656"/>
                  </a:cubicBezTo>
                  <a:cubicBezTo>
                    <a:pt x="5499259" y="300514"/>
                    <a:pt x="5498306" y="303371"/>
                    <a:pt x="5497354" y="307181"/>
                  </a:cubicBezTo>
                  <a:cubicBezTo>
                    <a:pt x="5497354" y="308134"/>
                    <a:pt x="5497354" y="310039"/>
                    <a:pt x="5496401" y="310991"/>
                  </a:cubicBezTo>
                  <a:cubicBezTo>
                    <a:pt x="5494496" y="309086"/>
                    <a:pt x="5493544" y="307181"/>
                    <a:pt x="5493544" y="307181"/>
                  </a:cubicBezTo>
                  <a:cubicBezTo>
                    <a:pt x="5493544" y="307181"/>
                    <a:pt x="5494496" y="309086"/>
                    <a:pt x="5495449" y="311944"/>
                  </a:cubicBezTo>
                  <a:cubicBezTo>
                    <a:pt x="5495449" y="314801"/>
                    <a:pt x="5494496" y="316706"/>
                    <a:pt x="5494496" y="319564"/>
                  </a:cubicBezTo>
                  <a:cubicBezTo>
                    <a:pt x="5493544" y="323374"/>
                    <a:pt x="5493544" y="326231"/>
                    <a:pt x="5492592" y="330041"/>
                  </a:cubicBezTo>
                  <a:cubicBezTo>
                    <a:pt x="5491639" y="330994"/>
                    <a:pt x="5490687" y="331946"/>
                    <a:pt x="5488781" y="333851"/>
                  </a:cubicBezTo>
                  <a:cubicBezTo>
                    <a:pt x="5487829" y="330994"/>
                    <a:pt x="5486876" y="329089"/>
                    <a:pt x="5485924" y="327184"/>
                  </a:cubicBezTo>
                  <a:cubicBezTo>
                    <a:pt x="5485924" y="321469"/>
                    <a:pt x="5486876" y="316706"/>
                    <a:pt x="5487829" y="312896"/>
                  </a:cubicBezTo>
                  <a:cubicBezTo>
                    <a:pt x="5488781" y="304324"/>
                    <a:pt x="5489734" y="299561"/>
                    <a:pt x="5489734" y="299561"/>
                  </a:cubicBezTo>
                  <a:cubicBezTo>
                    <a:pt x="5489734" y="299561"/>
                    <a:pt x="5487829" y="304324"/>
                    <a:pt x="5484019" y="311944"/>
                  </a:cubicBezTo>
                  <a:cubicBezTo>
                    <a:pt x="5484019" y="312896"/>
                    <a:pt x="5484019" y="312896"/>
                    <a:pt x="5483067" y="313849"/>
                  </a:cubicBezTo>
                  <a:cubicBezTo>
                    <a:pt x="5483067" y="313849"/>
                    <a:pt x="5483067" y="312896"/>
                    <a:pt x="5483067" y="312896"/>
                  </a:cubicBezTo>
                  <a:cubicBezTo>
                    <a:pt x="5480209" y="300514"/>
                    <a:pt x="5478304" y="292894"/>
                    <a:pt x="5478304" y="292894"/>
                  </a:cubicBezTo>
                  <a:cubicBezTo>
                    <a:pt x="5478304" y="292894"/>
                    <a:pt x="5478304" y="298609"/>
                    <a:pt x="5479256" y="309086"/>
                  </a:cubicBezTo>
                  <a:cubicBezTo>
                    <a:pt x="5479256" y="309086"/>
                    <a:pt x="5479256" y="308134"/>
                    <a:pt x="5479256" y="308134"/>
                  </a:cubicBezTo>
                  <a:cubicBezTo>
                    <a:pt x="5478304" y="305276"/>
                    <a:pt x="5477351" y="303371"/>
                    <a:pt x="5476399" y="300514"/>
                  </a:cubicBezTo>
                  <a:cubicBezTo>
                    <a:pt x="5479256" y="293846"/>
                    <a:pt x="5481162" y="287179"/>
                    <a:pt x="5483067" y="280511"/>
                  </a:cubicBezTo>
                  <a:close/>
                  <a:moveTo>
                    <a:pt x="5472589" y="254794"/>
                  </a:moveTo>
                  <a:cubicBezTo>
                    <a:pt x="5473542" y="255746"/>
                    <a:pt x="5474494" y="256699"/>
                    <a:pt x="5475446" y="258604"/>
                  </a:cubicBezTo>
                  <a:cubicBezTo>
                    <a:pt x="5474494" y="261461"/>
                    <a:pt x="5472589" y="265271"/>
                    <a:pt x="5471637" y="268129"/>
                  </a:cubicBezTo>
                  <a:cubicBezTo>
                    <a:pt x="5470684" y="261461"/>
                    <a:pt x="5469731" y="255746"/>
                    <a:pt x="5468779" y="249079"/>
                  </a:cubicBezTo>
                  <a:cubicBezTo>
                    <a:pt x="5469731" y="250984"/>
                    <a:pt x="5471637" y="252889"/>
                    <a:pt x="5472589" y="254794"/>
                  </a:cubicBezTo>
                  <a:close/>
                  <a:moveTo>
                    <a:pt x="5452587" y="208121"/>
                  </a:moveTo>
                  <a:cubicBezTo>
                    <a:pt x="5452587" y="209074"/>
                    <a:pt x="5452587" y="210026"/>
                    <a:pt x="5452587" y="210026"/>
                  </a:cubicBezTo>
                  <a:cubicBezTo>
                    <a:pt x="5453539" y="214789"/>
                    <a:pt x="5454492" y="220504"/>
                    <a:pt x="5454492" y="225266"/>
                  </a:cubicBezTo>
                  <a:cubicBezTo>
                    <a:pt x="5454492" y="226219"/>
                    <a:pt x="5454492" y="227171"/>
                    <a:pt x="5454492" y="228124"/>
                  </a:cubicBezTo>
                  <a:cubicBezTo>
                    <a:pt x="5453539" y="227171"/>
                    <a:pt x="5451634" y="226219"/>
                    <a:pt x="5450681" y="225266"/>
                  </a:cubicBezTo>
                  <a:cubicBezTo>
                    <a:pt x="5451634" y="219551"/>
                    <a:pt x="5452587" y="212884"/>
                    <a:pt x="5452587" y="208121"/>
                  </a:cubicBezTo>
                  <a:close/>
                  <a:moveTo>
                    <a:pt x="5449729" y="250031"/>
                  </a:moveTo>
                  <a:cubicBezTo>
                    <a:pt x="5450681" y="242411"/>
                    <a:pt x="5450681" y="234791"/>
                    <a:pt x="5451634" y="228124"/>
                  </a:cubicBezTo>
                  <a:cubicBezTo>
                    <a:pt x="5452587" y="229076"/>
                    <a:pt x="5452587" y="229076"/>
                    <a:pt x="5453539" y="230029"/>
                  </a:cubicBezTo>
                  <a:cubicBezTo>
                    <a:pt x="5454492" y="230981"/>
                    <a:pt x="5455444" y="231934"/>
                    <a:pt x="5455444" y="232886"/>
                  </a:cubicBezTo>
                  <a:cubicBezTo>
                    <a:pt x="5455444" y="236696"/>
                    <a:pt x="5456396" y="239554"/>
                    <a:pt x="5456396" y="243364"/>
                  </a:cubicBezTo>
                  <a:cubicBezTo>
                    <a:pt x="5457349" y="255746"/>
                    <a:pt x="5458301" y="268129"/>
                    <a:pt x="5459254" y="282416"/>
                  </a:cubicBezTo>
                  <a:cubicBezTo>
                    <a:pt x="5460206" y="288131"/>
                    <a:pt x="5460206" y="293846"/>
                    <a:pt x="5460206" y="299561"/>
                  </a:cubicBezTo>
                  <a:cubicBezTo>
                    <a:pt x="5458301" y="304324"/>
                    <a:pt x="5457349" y="309086"/>
                    <a:pt x="5455444" y="313849"/>
                  </a:cubicBezTo>
                  <a:cubicBezTo>
                    <a:pt x="5452587" y="302419"/>
                    <a:pt x="5450681" y="290989"/>
                    <a:pt x="5447824" y="280511"/>
                  </a:cubicBezTo>
                  <a:cubicBezTo>
                    <a:pt x="5447824" y="279559"/>
                    <a:pt x="5447824" y="277654"/>
                    <a:pt x="5446871" y="276701"/>
                  </a:cubicBezTo>
                  <a:cubicBezTo>
                    <a:pt x="5448776" y="267176"/>
                    <a:pt x="5448776" y="257651"/>
                    <a:pt x="5449729" y="250031"/>
                  </a:cubicBezTo>
                  <a:close/>
                  <a:moveTo>
                    <a:pt x="5443062" y="327184"/>
                  </a:moveTo>
                  <a:cubicBezTo>
                    <a:pt x="5444014" y="332899"/>
                    <a:pt x="5444967" y="338614"/>
                    <a:pt x="5445919" y="343376"/>
                  </a:cubicBezTo>
                  <a:cubicBezTo>
                    <a:pt x="5444967" y="340519"/>
                    <a:pt x="5444014" y="337661"/>
                    <a:pt x="5443062" y="334804"/>
                  </a:cubicBezTo>
                  <a:cubicBezTo>
                    <a:pt x="5442109" y="332899"/>
                    <a:pt x="5443062" y="330041"/>
                    <a:pt x="5443062" y="327184"/>
                  </a:cubicBezTo>
                  <a:close/>
                  <a:moveTo>
                    <a:pt x="5417344" y="318611"/>
                  </a:moveTo>
                  <a:cubicBezTo>
                    <a:pt x="5418296" y="316706"/>
                    <a:pt x="5418296" y="314801"/>
                    <a:pt x="5419249" y="312896"/>
                  </a:cubicBezTo>
                  <a:cubicBezTo>
                    <a:pt x="5420201" y="315754"/>
                    <a:pt x="5421154" y="318611"/>
                    <a:pt x="5421154" y="320516"/>
                  </a:cubicBezTo>
                  <a:cubicBezTo>
                    <a:pt x="5421154" y="320516"/>
                    <a:pt x="5421154" y="321469"/>
                    <a:pt x="5421154" y="321469"/>
                  </a:cubicBezTo>
                  <a:cubicBezTo>
                    <a:pt x="5421154" y="320516"/>
                    <a:pt x="5421154" y="320516"/>
                    <a:pt x="5421154" y="320516"/>
                  </a:cubicBezTo>
                  <a:cubicBezTo>
                    <a:pt x="5421154" y="320516"/>
                    <a:pt x="5421154" y="321469"/>
                    <a:pt x="5421154" y="322421"/>
                  </a:cubicBezTo>
                  <a:cubicBezTo>
                    <a:pt x="5420201" y="325279"/>
                    <a:pt x="5419249" y="329089"/>
                    <a:pt x="5418296" y="331946"/>
                  </a:cubicBezTo>
                  <a:cubicBezTo>
                    <a:pt x="5417344" y="330994"/>
                    <a:pt x="5417344" y="330041"/>
                    <a:pt x="5417344" y="329089"/>
                  </a:cubicBezTo>
                  <a:cubicBezTo>
                    <a:pt x="5417344" y="326231"/>
                    <a:pt x="5417344" y="322421"/>
                    <a:pt x="5417344" y="318611"/>
                  </a:cubicBezTo>
                  <a:close/>
                  <a:moveTo>
                    <a:pt x="5416392" y="334804"/>
                  </a:moveTo>
                  <a:cubicBezTo>
                    <a:pt x="5416392" y="335756"/>
                    <a:pt x="5416392" y="335756"/>
                    <a:pt x="5417344" y="335756"/>
                  </a:cubicBezTo>
                  <a:cubicBezTo>
                    <a:pt x="5417344" y="336709"/>
                    <a:pt x="5416392" y="337661"/>
                    <a:pt x="5416392" y="337661"/>
                  </a:cubicBezTo>
                  <a:cubicBezTo>
                    <a:pt x="5416392" y="336709"/>
                    <a:pt x="5416392" y="335756"/>
                    <a:pt x="5416392" y="334804"/>
                  </a:cubicBezTo>
                  <a:close/>
                  <a:moveTo>
                    <a:pt x="5405914" y="325279"/>
                  </a:moveTo>
                  <a:cubicBezTo>
                    <a:pt x="5406867" y="302419"/>
                    <a:pt x="5407819" y="284321"/>
                    <a:pt x="5407819" y="271939"/>
                  </a:cubicBezTo>
                  <a:cubicBezTo>
                    <a:pt x="5407819" y="270034"/>
                    <a:pt x="5407819" y="269081"/>
                    <a:pt x="5407819" y="267176"/>
                  </a:cubicBezTo>
                  <a:cubicBezTo>
                    <a:pt x="5409724" y="274796"/>
                    <a:pt x="5411629" y="283369"/>
                    <a:pt x="5414487" y="292894"/>
                  </a:cubicBezTo>
                  <a:cubicBezTo>
                    <a:pt x="5414487" y="292894"/>
                    <a:pt x="5414487" y="292894"/>
                    <a:pt x="5414487" y="293846"/>
                  </a:cubicBezTo>
                  <a:cubicBezTo>
                    <a:pt x="5413534" y="296704"/>
                    <a:pt x="5412581" y="299561"/>
                    <a:pt x="5411629" y="303371"/>
                  </a:cubicBezTo>
                  <a:cubicBezTo>
                    <a:pt x="5408771" y="311944"/>
                    <a:pt x="5406867" y="321469"/>
                    <a:pt x="5404962" y="331946"/>
                  </a:cubicBezTo>
                  <a:cubicBezTo>
                    <a:pt x="5404962" y="331946"/>
                    <a:pt x="5404962" y="332899"/>
                    <a:pt x="5404962" y="332899"/>
                  </a:cubicBezTo>
                  <a:cubicBezTo>
                    <a:pt x="5404962" y="330994"/>
                    <a:pt x="5404962" y="328136"/>
                    <a:pt x="5405914" y="325279"/>
                  </a:cubicBezTo>
                  <a:close/>
                  <a:moveTo>
                    <a:pt x="5384006" y="310991"/>
                  </a:moveTo>
                  <a:cubicBezTo>
                    <a:pt x="5384959" y="318611"/>
                    <a:pt x="5385912" y="326231"/>
                    <a:pt x="5386864" y="334804"/>
                  </a:cubicBezTo>
                  <a:cubicBezTo>
                    <a:pt x="5385912" y="336709"/>
                    <a:pt x="5385912" y="339566"/>
                    <a:pt x="5384959" y="341471"/>
                  </a:cubicBezTo>
                  <a:cubicBezTo>
                    <a:pt x="5384006" y="335756"/>
                    <a:pt x="5383054" y="330041"/>
                    <a:pt x="5382101" y="325279"/>
                  </a:cubicBezTo>
                  <a:cubicBezTo>
                    <a:pt x="5381149" y="317659"/>
                    <a:pt x="5380196" y="310991"/>
                    <a:pt x="5378292" y="305276"/>
                  </a:cubicBezTo>
                  <a:cubicBezTo>
                    <a:pt x="5379244" y="301466"/>
                    <a:pt x="5380196" y="298609"/>
                    <a:pt x="5381149" y="294799"/>
                  </a:cubicBezTo>
                  <a:cubicBezTo>
                    <a:pt x="5382101" y="299561"/>
                    <a:pt x="5383054" y="305276"/>
                    <a:pt x="5384006" y="310991"/>
                  </a:cubicBezTo>
                  <a:close/>
                  <a:moveTo>
                    <a:pt x="5379244" y="274796"/>
                  </a:moveTo>
                  <a:cubicBezTo>
                    <a:pt x="5379244" y="273844"/>
                    <a:pt x="5379244" y="272891"/>
                    <a:pt x="5379244" y="271939"/>
                  </a:cubicBezTo>
                  <a:cubicBezTo>
                    <a:pt x="5379244" y="275749"/>
                    <a:pt x="5380196" y="280511"/>
                    <a:pt x="5381149" y="284321"/>
                  </a:cubicBezTo>
                  <a:cubicBezTo>
                    <a:pt x="5381149" y="284321"/>
                    <a:pt x="5381149" y="285274"/>
                    <a:pt x="5380196" y="285274"/>
                  </a:cubicBezTo>
                  <a:cubicBezTo>
                    <a:pt x="5379244" y="287179"/>
                    <a:pt x="5379244" y="288131"/>
                    <a:pt x="5378292" y="290036"/>
                  </a:cubicBezTo>
                  <a:cubicBezTo>
                    <a:pt x="5378292" y="285274"/>
                    <a:pt x="5378292" y="280511"/>
                    <a:pt x="5379244" y="274796"/>
                  </a:cubicBezTo>
                  <a:close/>
                  <a:moveTo>
                    <a:pt x="5332571" y="321469"/>
                  </a:moveTo>
                  <a:cubicBezTo>
                    <a:pt x="5334476" y="316706"/>
                    <a:pt x="5336381" y="312896"/>
                    <a:pt x="5338287" y="309086"/>
                  </a:cubicBezTo>
                  <a:cubicBezTo>
                    <a:pt x="5338287" y="309086"/>
                    <a:pt x="5338287" y="310039"/>
                    <a:pt x="5338287" y="310039"/>
                  </a:cubicBezTo>
                  <a:cubicBezTo>
                    <a:pt x="5334476" y="323374"/>
                    <a:pt x="5330667" y="337661"/>
                    <a:pt x="5326856" y="351949"/>
                  </a:cubicBezTo>
                  <a:cubicBezTo>
                    <a:pt x="5325904" y="345281"/>
                    <a:pt x="5324951" y="340519"/>
                    <a:pt x="5323999" y="336709"/>
                  </a:cubicBezTo>
                  <a:cubicBezTo>
                    <a:pt x="5327809" y="330994"/>
                    <a:pt x="5330667" y="326231"/>
                    <a:pt x="5332571" y="321469"/>
                  </a:cubicBezTo>
                  <a:close/>
                  <a:moveTo>
                    <a:pt x="5319237" y="350996"/>
                  </a:moveTo>
                  <a:cubicBezTo>
                    <a:pt x="5320189" y="348139"/>
                    <a:pt x="5322094" y="345281"/>
                    <a:pt x="5323046" y="342424"/>
                  </a:cubicBezTo>
                  <a:cubicBezTo>
                    <a:pt x="5323046" y="350044"/>
                    <a:pt x="5322094" y="359569"/>
                    <a:pt x="5322094" y="371951"/>
                  </a:cubicBezTo>
                  <a:cubicBezTo>
                    <a:pt x="5321142" y="368141"/>
                    <a:pt x="5320189" y="365284"/>
                    <a:pt x="5319237" y="362426"/>
                  </a:cubicBezTo>
                  <a:cubicBezTo>
                    <a:pt x="5319237" y="357664"/>
                    <a:pt x="5319237" y="353854"/>
                    <a:pt x="5319237" y="350996"/>
                  </a:cubicBezTo>
                  <a:close/>
                  <a:moveTo>
                    <a:pt x="5316379" y="392906"/>
                  </a:moveTo>
                  <a:cubicBezTo>
                    <a:pt x="5316379" y="389096"/>
                    <a:pt x="5317331" y="386239"/>
                    <a:pt x="5317331" y="382429"/>
                  </a:cubicBezTo>
                  <a:cubicBezTo>
                    <a:pt x="5317331" y="384334"/>
                    <a:pt x="5318284" y="387191"/>
                    <a:pt x="5318284" y="390049"/>
                  </a:cubicBezTo>
                  <a:cubicBezTo>
                    <a:pt x="5317331" y="392906"/>
                    <a:pt x="5316379" y="395764"/>
                    <a:pt x="5315426" y="399574"/>
                  </a:cubicBezTo>
                  <a:cubicBezTo>
                    <a:pt x="5316379" y="396716"/>
                    <a:pt x="5316379" y="394811"/>
                    <a:pt x="5316379" y="392906"/>
                  </a:cubicBezTo>
                  <a:close/>
                  <a:moveTo>
                    <a:pt x="5285899" y="293846"/>
                  </a:moveTo>
                  <a:cubicBezTo>
                    <a:pt x="5285899" y="295751"/>
                    <a:pt x="5285899" y="296704"/>
                    <a:pt x="5286851" y="298609"/>
                  </a:cubicBezTo>
                  <a:cubicBezTo>
                    <a:pt x="5285899" y="299561"/>
                    <a:pt x="5284946" y="300514"/>
                    <a:pt x="5283994" y="302419"/>
                  </a:cubicBezTo>
                  <a:cubicBezTo>
                    <a:pt x="5284946" y="299561"/>
                    <a:pt x="5285899" y="296704"/>
                    <a:pt x="5285899" y="293846"/>
                  </a:cubicBezTo>
                  <a:close/>
                  <a:moveTo>
                    <a:pt x="5279231" y="319564"/>
                  </a:moveTo>
                  <a:cubicBezTo>
                    <a:pt x="5280184" y="316706"/>
                    <a:pt x="5281137" y="313849"/>
                    <a:pt x="5282089" y="311944"/>
                  </a:cubicBezTo>
                  <a:cubicBezTo>
                    <a:pt x="5283994" y="308134"/>
                    <a:pt x="5285899" y="305276"/>
                    <a:pt x="5287804" y="302419"/>
                  </a:cubicBezTo>
                  <a:cubicBezTo>
                    <a:pt x="5287804" y="304324"/>
                    <a:pt x="5288756" y="307181"/>
                    <a:pt x="5288756" y="309086"/>
                  </a:cubicBezTo>
                  <a:cubicBezTo>
                    <a:pt x="5289709" y="318611"/>
                    <a:pt x="5290662" y="329089"/>
                    <a:pt x="5292567" y="340519"/>
                  </a:cubicBezTo>
                  <a:cubicBezTo>
                    <a:pt x="5290662" y="347186"/>
                    <a:pt x="5288756" y="354806"/>
                    <a:pt x="5287804" y="363379"/>
                  </a:cubicBezTo>
                  <a:cubicBezTo>
                    <a:pt x="5287804" y="359569"/>
                    <a:pt x="5287804" y="354806"/>
                    <a:pt x="5287804" y="351949"/>
                  </a:cubicBezTo>
                  <a:cubicBezTo>
                    <a:pt x="5287804" y="341471"/>
                    <a:pt x="5287804" y="335756"/>
                    <a:pt x="5287804" y="335756"/>
                  </a:cubicBezTo>
                  <a:cubicBezTo>
                    <a:pt x="5287804" y="335756"/>
                    <a:pt x="5286851" y="341471"/>
                    <a:pt x="5283994" y="350996"/>
                  </a:cubicBezTo>
                  <a:cubicBezTo>
                    <a:pt x="5283042" y="355759"/>
                    <a:pt x="5282089" y="362426"/>
                    <a:pt x="5280184" y="369094"/>
                  </a:cubicBezTo>
                  <a:cubicBezTo>
                    <a:pt x="5280184" y="369094"/>
                    <a:pt x="5280184" y="369094"/>
                    <a:pt x="5280184" y="370046"/>
                  </a:cubicBezTo>
                  <a:cubicBezTo>
                    <a:pt x="5279231" y="363379"/>
                    <a:pt x="5278279" y="356711"/>
                    <a:pt x="5277326" y="350044"/>
                  </a:cubicBezTo>
                  <a:cubicBezTo>
                    <a:pt x="5276374" y="345281"/>
                    <a:pt x="5276374" y="340519"/>
                    <a:pt x="5275421" y="335756"/>
                  </a:cubicBezTo>
                  <a:cubicBezTo>
                    <a:pt x="5275421" y="330041"/>
                    <a:pt x="5277326" y="324326"/>
                    <a:pt x="5279231" y="319564"/>
                  </a:cubicBezTo>
                  <a:close/>
                  <a:moveTo>
                    <a:pt x="5236369" y="318611"/>
                  </a:moveTo>
                  <a:cubicBezTo>
                    <a:pt x="5236369" y="319564"/>
                    <a:pt x="5235417" y="319564"/>
                    <a:pt x="5235417" y="320516"/>
                  </a:cubicBezTo>
                  <a:cubicBezTo>
                    <a:pt x="5233512" y="317659"/>
                    <a:pt x="5232559" y="314801"/>
                    <a:pt x="5230654" y="311944"/>
                  </a:cubicBezTo>
                  <a:cubicBezTo>
                    <a:pt x="5230654" y="311944"/>
                    <a:pt x="5230654" y="310991"/>
                    <a:pt x="5230654" y="310991"/>
                  </a:cubicBezTo>
                  <a:cubicBezTo>
                    <a:pt x="5233512" y="305276"/>
                    <a:pt x="5236369" y="300514"/>
                    <a:pt x="5239226" y="295751"/>
                  </a:cubicBezTo>
                  <a:cubicBezTo>
                    <a:pt x="5238274" y="303371"/>
                    <a:pt x="5237321" y="310991"/>
                    <a:pt x="5236369" y="318611"/>
                  </a:cubicBezTo>
                  <a:close/>
                  <a:moveTo>
                    <a:pt x="5230654" y="281464"/>
                  </a:moveTo>
                  <a:cubicBezTo>
                    <a:pt x="5233512" y="275749"/>
                    <a:pt x="5235417" y="270034"/>
                    <a:pt x="5237321" y="265271"/>
                  </a:cubicBezTo>
                  <a:cubicBezTo>
                    <a:pt x="5239226" y="260509"/>
                    <a:pt x="5242084" y="255746"/>
                    <a:pt x="5243989" y="251936"/>
                  </a:cubicBezTo>
                  <a:cubicBezTo>
                    <a:pt x="5243037" y="255746"/>
                    <a:pt x="5243037" y="259556"/>
                    <a:pt x="5242084" y="264319"/>
                  </a:cubicBezTo>
                  <a:cubicBezTo>
                    <a:pt x="5241131" y="270034"/>
                    <a:pt x="5240179" y="276701"/>
                    <a:pt x="5240179" y="283369"/>
                  </a:cubicBezTo>
                  <a:cubicBezTo>
                    <a:pt x="5236369" y="288131"/>
                    <a:pt x="5232559" y="293846"/>
                    <a:pt x="5228749" y="299561"/>
                  </a:cubicBezTo>
                  <a:cubicBezTo>
                    <a:pt x="5228749" y="296704"/>
                    <a:pt x="5227796" y="292894"/>
                    <a:pt x="5227796" y="290036"/>
                  </a:cubicBezTo>
                  <a:cubicBezTo>
                    <a:pt x="5227796" y="286226"/>
                    <a:pt x="5228749" y="284321"/>
                    <a:pt x="5230654" y="281464"/>
                  </a:cubicBezTo>
                  <a:close/>
                  <a:moveTo>
                    <a:pt x="5211604" y="344329"/>
                  </a:moveTo>
                  <a:cubicBezTo>
                    <a:pt x="5212556" y="343376"/>
                    <a:pt x="5212556" y="342424"/>
                    <a:pt x="5213509" y="341471"/>
                  </a:cubicBezTo>
                  <a:cubicBezTo>
                    <a:pt x="5213509" y="341471"/>
                    <a:pt x="5213509" y="341471"/>
                    <a:pt x="5213509" y="341471"/>
                  </a:cubicBezTo>
                  <a:cubicBezTo>
                    <a:pt x="5213509" y="341471"/>
                    <a:pt x="5213509" y="342424"/>
                    <a:pt x="5213509" y="342424"/>
                  </a:cubicBezTo>
                  <a:cubicBezTo>
                    <a:pt x="5212556" y="343376"/>
                    <a:pt x="5212556" y="344329"/>
                    <a:pt x="5211604" y="344329"/>
                  </a:cubicBezTo>
                  <a:cubicBezTo>
                    <a:pt x="5211604" y="345281"/>
                    <a:pt x="5211604" y="345281"/>
                    <a:pt x="5211604" y="344329"/>
                  </a:cubicBezTo>
                  <a:close/>
                  <a:moveTo>
                    <a:pt x="5214462" y="343376"/>
                  </a:moveTo>
                  <a:cubicBezTo>
                    <a:pt x="5215414" y="345281"/>
                    <a:pt x="5216367" y="346234"/>
                    <a:pt x="5216367" y="348139"/>
                  </a:cubicBezTo>
                  <a:cubicBezTo>
                    <a:pt x="5215414" y="350044"/>
                    <a:pt x="5214462" y="350996"/>
                    <a:pt x="5213509" y="352901"/>
                  </a:cubicBezTo>
                  <a:cubicBezTo>
                    <a:pt x="5213509" y="351949"/>
                    <a:pt x="5212556" y="351949"/>
                    <a:pt x="5212556" y="350996"/>
                  </a:cubicBezTo>
                  <a:cubicBezTo>
                    <a:pt x="5212556" y="350044"/>
                    <a:pt x="5212556" y="350044"/>
                    <a:pt x="5212556" y="349091"/>
                  </a:cubicBezTo>
                  <a:cubicBezTo>
                    <a:pt x="5212556" y="347186"/>
                    <a:pt x="5213509" y="345281"/>
                    <a:pt x="5214462" y="343376"/>
                  </a:cubicBezTo>
                  <a:cubicBezTo>
                    <a:pt x="5213509" y="343376"/>
                    <a:pt x="5213509" y="343376"/>
                    <a:pt x="5214462" y="343376"/>
                  </a:cubicBezTo>
                  <a:close/>
                  <a:moveTo>
                    <a:pt x="5211604" y="290989"/>
                  </a:moveTo>
                  <a:cubicBezTo>
                    <a:pt x="5211604" y="290989"/>
                    <a:pt x="5211604" y="291941"/>
                    <a:pt x="5211604" y="290989"/>
                  </a:cubicBezTo>
                  <a:cubicBezTo>
                    <a:pt x="5212556" y="292894"/>
                    <a:pt x="5212556" y="294799"/>
                    <a:pt x="5213509" y="296704"/>
                  </a:cubicBezTo>
                  <a:cubicBezTo>
                    <a:pt x="5212556" y="298609"/>
                    <a:pt x="5211604" y="300514"/>
                    <a:pt x="5210651" y="302419"/>
                  </a:cubicBezTo>
                  <a:cubicBezTo>
                    <a:pt x="5211604" y="297656"/>
                    <a:pt x="5211604" y="293846"/>
                    <a:pt x="5211604" y="290989"/>
                  </a:cubicBezTo>
                  <a:close/>
                  <a:moveTo>
                    <a:pt x="5189696" y="260509"/>
                  </a:moveTo>
                  <a:cubicBezTo>
                    <a:pt x="5189696" y="261461"/>
                    <a:pt x="5189696" y="263366"/>
                    <a:pt x="5189696" y="264319"/>
                  </a:cubicBezTo>
                  <a:cubicBezTo>
                    <a:pt x="5188744" y="262414"/>
                    <a:pt x="5187792" y="260509"/>
                    <a:pt x="5186839" y="258604"/>
                  </a:cubicBezTo>
                  <a:cubicBezTo>
                    <a:pt x="5186839" y="258604"/>
                    <a:pt x="5186839" y="257651"/>
                    <a:pt x="5187792" y="257651"/>
                  </a:cubicBezTo>
                  <a:cubicBezTo>
                    <a:pt x="5188744" y="255746"/>
                    <a:pt x="5189696" y="254794"/>
                    <a:pt x="5189696" y="253841"/>
                  </a:cubicBezTo>
                  <a:cubicBezTo>
                    <a:pt x="5189696" y="255746"/>
                    <a:pt x="5189696" y="258604"/>
                    <a:pt x="5189696" y="260509"/>
                  </a:cubicBezTo>
                  <a:close/>
                  <a:moveTo>
                    <a:pt x="5178267" y="230981"/>
                  </a:moveTo>
                  <a:cubicBezTo>
                    <a:pt x="5181124" y="223361"/>
                    <a:pt x="5184934" y="217646"/>
                    <a:pt x="5186839" y="213836"/>
                  </a:cubicBezTo>
                  <a:cubicBezTo>
                    <a:pt x="5187792" y="212884"/>
                    <a:pt x="5187792" y="210979"/>
                    <a:pt x="5188744" y="210026"/>
                  </a:cubicBezTo>
                  <a:cubicBezTo>
                    <a:pt x="5188744" y="212884"/>
                    <a:pt x="5188744" y="215741"/>
                    <a:pt x="5188744" y="219551"/>
                  </a:cubicBezTo>
                  <a:cubicBezTo>
                    <a:pt x="5188744" y="230029"/>
                    <a:pt x="5188744" y="241459"/>
                    <a:pt x="5188744" y="254794"/>
                  </a:cubicBezTo>
                  <a:cubicBezTo>
                    <a:pt x="5187792" y="255746"/>
                    <a:pt x="5186839" y="256699"/>
                    <a:pt x="5185887" y="258604"/>
                  </a:cubicBezTo>
                  <a:cubicBezTo>
                    <a:pt x="5185887" y="258604"/>
                    <a:pt x="5185887" y="258604"/>
                    <a:pt x="5185887" y="258604"/>
                  </a:cubicBezTo>
                  <a:cubicBezTo>
                    <a:pt x="5183029" y="252889"/>
                    <a:pt x="5180171" y="248126"/>
                    <a:pt x="5178267" y="243364"/>
                  </a:cubicBezTo>
                  <a:cubicBezTo>
                    <a:pt x="5177314" y="241459"/>
                    <a:pt x="5176362" y="240506"/>
                    <a:pt x="5175409" y="238601"/>
                  </a:cubicBezTo>
                  <a:cubicBezTo>
                    <a:pt x="5176362" y="234791"/>
                    <a:pt x="5177314" y="232886"/>
                    <a:pt x="5178267" y="230981"/>
                  </a:cubicBezTo>
                  <a:close/>
                  <a:moveTo>
                    <a:pt x="5168742" y="238601"/>
                  </a:moveTo>
                  <a:cubicBezTo>
                    <a:pt x="5168742" y="239554"/>
                    <a:pt x="5168742" y="239554"/>
                    <a:pt x="5168742" y="238601"/>
                  </a:cubicBezTo>
                  <a:cubicBezTo>
                    <a:pt x="5168742" y="239554"/>
                    <a:pt x="5168742" y="239554"/>
                    <a:pt x="5168742" y="238601"/>
                  </a:cubicBezTo>
                  <a:cubicBezTo>
                    <a:pt x="5168742" y="239554"/>
                    <a:pt x="5168742" y="239554"/>
                    <a:pt x="5168742" y="238601"/>
                  </a:cubicBezTo>
                  <a:close/>
                  <a:moveTo>
                    <a:pt x="5166837" y="280511"/>
                  </a:moveTo>
                  <a:cubicBezTo>
                    <a:pt x="5166837" y="272891"/>
                    <a:pt x="5167789" y="266224"/>
                    <a:pt x="5167789" y="259556"/>
                  </a:cubicBezTo>
                  <a:cubicBezTo>
                    <a:pt x="5167789" y="259556"/>
                    <a:pt x="5167789" y="259556"/>
                    <a:pt x="5167789" y="259556"/>
                  </a:cubicBezTo>
                  <a:cubicBezTo>
                    <a:pt x="5168742" y="255746"/>
                    <a:pt x="5170646" y="251936"/>
                    <a:pt x="5171599" y="248126"/>
                  </a:cubicBezTo>
                  <a:cubicBezTo>
                    <a:pt x="5173504" y="252889"/>
                    <a:pt x="5175409" y="257651"/>
                    <a:pt x="5177314" y="263366"/>
                  </a:cubicBezTo>
                  <a:cubicBezTo>
                    <a:pt x="5178267" y="264319"/>
                    <a:pt x="5178267" y="266224"/>
                    <a:pt x="5179219" y="267176"/>
                  </a:cubicBezTo>
                  <a:cubicBezTo>
                    <a:pt x="5178267" y="268129"/>
                    <a:pt x="5177314" y="270034"/>
                    <a:pt x="5176362" y="271939"/>
                  </a:cubicBezTo>
                  <a:cubicBezTo>
                    <a:pt x="5173504" y="275749"/>
                    <a:pt x="5170646" y="281464"/>
                    <a:pt x="5166837" y="287179"/>
                  </a:cubicBezTo>
                  <a:cubicBezTo>
                    <a:pt x="5166837" y="283369"/>
                    <a:pt x="5166837" y="281464"/>
                    <a:pt x="5166837" y="280511"/>
                  </a:cubicBezTo>
                  <a:close/>
                  <a:moveTo>
                    <a:pt x="5166837" y="307181"/>
                  </a:moveTo>
                  <a:cubicBezTo>
                    <a:pt x="5167789" y="303371"/>
                    <a:pt x="5168742" y="299561"/>
                    <a:pt x="5170646" y="296704"/>
                  </a:cubicBezTo>
                  <a:cubicBezTo>
                    <a:pt x="5170646" y="295751"/>
                    <a:pt x="5171599" y="294799"/>
                    <a:pt x="5171599" y="293846"/>
                  </a:cubicBezTo>
                  <a:cubicBezTo>
                    <a:pt x="5173504" y="291941"/>
                    <a:pt x="5175409" y="290036"/>
                    <a:pt x="5176362" y="289084"/>
                  </a:cubicBezTo>
                  <a:cubicBezTo>
                    <a:pt x="5179219" y="286226"/>
                    <a:pt x="5181124" y="284321"/>
                    <a:pt x="5181124" y="284321"/>
                  </a:cubicBezTo>
                  <a:cubicBezTo>
                    <a:pt x="5181124" y="284321"/>
                    <a:pt x="5179219" y="285274"/>
                    <a:pt x="5175409" y="288131"/>
                  </a:cubicBezTo>
                  <a:cubicBezTo>
                    <a:pt x="5174456" y="289084"/>
                    <a:pt x="5173504" y="289084"/>
                    <a:pt x="5172551" y="290036"/>
                  </a:cubicBezTo>
                  <a:cubicBezTo>
                    <a:pt x="5175409" y="283369"/>
                    <a:pt x="5177314" y="277654"/>
                    <a:pt x="5179219" y="272891"/>
                  </a:cubicBezTo>
                  <a:cubicBezTo>
                    <a:pt x="5179219" y="271939"/>
                    <a:pt x="5180171" y="270986"/>
                    <a:pt x="5180171" y="270034"/>
                  </a:cubicBezTo>
                  <a:cubicBezTo>
                    <a:pt x="5182076" y="273844"/>
                    <a:pt x="5183029" y="276701"/>
                    <a:pt x="5184934" y="280511"/>
                  </a:cubicBezTo>
                  <a:cubicBezTo>
                    <a:pt x="5186839" y="284321"/>
                    <a:pt x="5188744" y="289084"/>
                    <a:pt x="5190649" y="292894"/>
                  </a:cubicBezTo>
                  <a:cubicBezTo>
                    <a:pt x="5190649" y="294799"/>
                    <a:pt x="5190649" y="296704"/>
                    <a:pt x="5190649" y="298609"/>
                  </a:cubicBezTo>
                  <a:cubicBezTo>
                    <a:pt x="5191601" y="308134"/>
                    <a:pt x="5191601" y="318611"/>
                    <a:pt x="5192554" y="330041"/>
                  </a:cubicBezTo>
                  <a:cubicBezTo>
                    <a:pt x="5192554" y="331946"/>
                    <a:pt x="5192554" y="333851"/>
                    <a:pt x="5192554" y="335756"/>
                  </a:cubicBezTo>
                  <a:cubicBezTo>
                    <a:pt x="5192554" y="335756"/>
                    <a:pt x="5192554" y="336709"/>
                    <a:pt x="5192554" y="336709"/>
                  </a:cubicBezTo>
                  <a:cubicBezTo>
                    <a:pt x="5192554" y="337661"/>
                    <a:pt x="5191601" y="337661"/>
                    <a:pt x="5191601" y="338614"/>
                  </a:cubicBezTo>
                  <a:cubicBezTo>
                    <a:pt x="5190649" y="341471"/>
                    <a:pt x="5188744" y="345281"/>
                    <a:pt x="5187792" y="348139"/>
                  </a:cubicBezTo>
                  <a:cubicBezTo>
                    <a:pt x="5185887" y="324326"/>
                    <a:pt x="5183981" y="309086"/>
                    <a:pt x="5183981" y="309086"/>
                  </a:cubicBezTo>
                  <a:cubicBezTo>
                    <a:pt x="5183981" y="309086"/>
                    <a:pt x="5180171" y="324326"/>
                    <a:pt x="5177314" y="348139"/>
                  </a:cubicBezTo>
                  <a:cubicBezTo>
                    <a:pt x="5177314" y="350044"/>
                    <a:pt x="5176362" y="352901"/>
                    <a:pt x="5176362" y="354806"/>
                  </a:cubicBezTo>
                  <a:cubicBezTo>
                    <a:pt x="5175409" y="352901"/>
                    <a:pt x="5174456" y="350996"/>
                    <a:pt x="5174456" y="349091"/>
                  </a:cubicBezTo>
                  <a:cubicBezTo>
                    <a:pt x="5173504" y="346234"/>
                    <a:pt x="5172551" y="344329"/>
                    <a:pt x="5171599" y="341471"/>
                  </a:cubicBezTo>
                  <a:cubicBezTo>
                    <a:pt x="5172551" y="336709"/>
                    <a:pt x="5173504" y="332899"/>
                    <a:pt x="5173504" y="328136"/>
                  </a:cubicBezTo>
                  <a:cubicBezTo>
                    <a:pt x="5172551" y="331946"/>
                    <a:pt x="5171599" y="334804"/>
                    <a:pt x="5169694" y="338614"/>
                  </a:cubicBezTo>
                  <a:cubicBezTo>
                    <a:pt x="5168742" y="337661"/>
                    <a:pt x="5168742" y="335756"/>
                    <a:pt x="5167789" y="334804"/>
                  </a:cubicBezTo>
                  <a:cubicBezTo>
                    <a:pt x="5166837" y="327184"/>
                    <a:pt x="5166837" y="320516"/>
                    <a:pt x="5165884" y="312896"/>
                  </a:cubicBezTo>
                  <a:cubicBezTo>
                    <a:pt x="5166837" y="310991"/>
                    <a:pt x="5166837" y="309086"/>
                    <a:pt x="5166837" y="307181"/>
                  </a:cubicBezTo>
                  <a:close/>
                  <a:moveTo>
                    <a:pt x="5161121" y="218599"/>
                  </a:moveTo>
                  <a:cubicBezTo>
                    <a:pt x="5162074" y="221456"/>
                    <a:pt x="5163979" y="225266"/>
                    <a:pt x="5164931" y="229076"/>
                  </a:cubicBezTo>
                  <a:cubicBezTo>
                    <a:pt x="5163979" y="234791"/>
                    <a:pt x="5162074" y="240506"/>
                    <a:pt x="5161121" y="248126"/>
                  </a:cubicBezTo>
                  <a:cubicBezTo>
                    <a:pt x="5160169" y="232886"/>
                    <a:pt x="5158264" y="218599"/>
                    <a:pt x="5157312" y="206216"/>
                  </a:cubicBezTo>
                  <a:cubicBezTo>
                    <a:pt x="5158264" y="209074"/>
                    <a:pt x="5159217" y="213836"/>
                    <a:pt x="5161121" y="218599"/>
                  </a:cubicBezTo>
                  <a:close/>
                  <a:moveTo>
                    <a:pt x="5148739" y="256699"/>
                  </a:moveTo>
                  <a:cubicBezTo>
                    <a:pt x="5148739" y="255746"/>
                    <a:pt x="5149692" y="255746"/>
                    <a:pt x="5149692" y="255746"/>
                  </a:cubicBezTo>
                  <a:cubicBezTo>
                    <a:pt x="5149692" y="264319"/>
                    <a:pt x="5149692" y="273844"/>
                    <a:pt x="5149692" y="283369"/>
                  </a:cubicBezTo>
                  <a:cubicBezTo>
                    <a:pt x="5149692" y="283369"/>
                    <a:pt x="5149692" y="284321"/>
                    <a:pt x="5149692" y="284321"/>
                  </a:cubicBezTo>
                  <a:cubicBezTo>
                    <a:pt x="5147787" y="276701"/>
                    <a:pt x="5144929" y="270034"/>
                    <a:pt x="5143024" y="263366"/>
                  </a:cubicBezTo>
                  <a:cubicBezTo>
                    <a:pt x="5145881" y="261461"/>
                    <a:pt x="5147787" y="258604"/>
                    <a:pt x="5148739" y="256699"/>
                  </a:cubicBezTo>
                  <a:close/>
                  <a:moveTo>
                    <a:pt x="5087779" y="317659"/>
                  </a:moveTo>
                  <a:cubicBezTo>
                    <a:pt x="5087779" y="316706"/>
                    <a:pt x="5087779" y="316706"/>
                    <a:pt x="5087779" y="315754"/>
                  </a:cubicBezTo>
                  <a:cubicBezTo>
                    <a:pt x="5087779" y="316706"/>
                    <a:pt x="5087779" y="316706"/>
                    <a:pt x="5087779" y="317659"/>
                  </a:cubicBezTo>
                  <a:cubicBezTo>
                    <a:pt x="5087779" y="317659"/>
                    <a:pt x="5087779" y="317659"/>
                    <a:pt x="5087779" y="317659"/>
                  </a:cubicBezTo>
                  <a:close/>
                  <a:moveTo>
                    <a:pt x="5122069" y="298609"/>
                  </a:moveTo>
                  <a:cubicBezTo>
                    <a:pt x="5123974" y="294799"/>
                    <a:pt x="5126831" y="290989"/>
                    <a:pt x="5128737" y="287179"/>
                  </a:cubicBezTo>
                  <a:cubicBezTo>
                    <a:pt x="5127784" y="298609"/>
                    <a:pt x="5125879" y="311944"/>
                    <a:pt x="5124926" y="327184"/>
                  </a:cubicBezTo>
                  <a:cubicBezTo>
                    <a:pt x="5123974" y="324326"/>
                    <a:pt x="5122069" y="321469"/>
                    <a:pt x="5121117" y="318611"/>
                  </a:cubicBezTo>
                  <a:cubicBezTo>
                    <a:pt x="5119212" y="314801"/>
                    <a:pt x="5118259" y="311944"/>
                    <a:pt x="5117306" y="308134"/>
                  </a:cubicBezTo>
                  <a:cubicBezTo>
                    <a:pt x="5118259" y="304324"/>
                    <a:pt x="5120164" y="301466"/>
                    <a:pt x="5122069" y="298609"/>
                  </a:cubicBezTo>
                  <a:close/>
                  <a:moveTo>
                    <a:pt x="5110639" y="321469"/>
                  </a:moveTo>
                  <a:cubicBezTo>
                    <a:pt x="5110639" y="321469"/>
                    <a:pt x="5110639" y="321469"/>
                    <a:pt x="5110639" y="321469"/>
                  </a:cubicBezTo>
                  <a:cubicBezTo>
                    <a:pt x="5113496" y="329089"/>
                    <a:pt x="5115401" y="336709"/>
                    <a:pt x="5118259" y="344329"/>
                  </a:cubicBezTo>
                  <a:cubicBezTo>
                    <a:pt x="5117306" y="345281"/>
                    <a:pt x="5117306" y="346234"/>
                    <a:pt x="5116354" y="347186"/>
                  </a:cubicBezTo>
                  <a:cubicBezTo>
                    <a:pt x="5115401" y="348139"/>
                    <a:pt x="5115401" y="349091"/>
                    <a:pt x="5114449" y="349091"/>
                  </a:cubicBezTo>
                  <a:cubicBezTo>
                    <a:pt x="5113496" y="344329"/>
                    <a:pt x="5111592" y="339566"/>
                    <a:pt x="5110639" y="335756"/>
                  </a:cubicBezTo>
                  <a:cubicBezTo>
                    <a:pt x="5109687" y="332899"/>
                    <a:pt x="5108734" y="330041"/>
                    <a:pt x="5107781" y="327184"/>
                  </a:cubicBezTo>
                  <a:cubicBezTo>
                    <a:pt x="5108734" y="325279"/>
                    <a:pt x="5109687" y="323374"/>
                    <a:pt x="5110639" y="321469"/>
                  </a:cubicBezTo>
                  <a:close/>
                  <a:moveTo>
                    <a:pt x="5105876" y="308134"/>
                  </a:moveTo>
                  <a:cubicBezTo>
                    <a:pt x="5104924" y="309086"/>
                    <a:pt x="5103971" y="310991"/>
                    <a:pt x="5103019" y="311944"/>
                  </a:cubicBezTo>
                  <a:cubicBezTo>
                    <a:pt x="5102067" y="310039"/>
                    <a:pt x="5102067" y="308134"/>
                    <a:pt x="5101114" y="306229"/>
                  </a:cubicBezTo>
                  <a:cubicBezTo>
                    <a:pt x="5101114" y="305276"/>
                    <a:pt x="5101114" y="304324"/>
                    <a:pt x="5101114" y="304324"/>
                  </a:cubicBezTo>
                  <a:cubicBezTo>
                    <a:pt x="5101114" y="304324"/>
                    <a:pt x="5101114" y="304324"/>
                    <a:pt x="5101114" y="305276"/>
                  </a:cubicBezTo>
                  <a:cubicBezTo>
                    <a:pt x="5099209" y="299561"/>
                    <a:pt x="5098256" y="293846"/>
                    <a:pt x="5096351" y="288131"/>
                  </a:cubicBezTo>
                  <a:cubicBezTo>
                    <a:pt x="5096351" y="285274"/>
                    <a:pt x="5097304" y="282416"/>
                    <a:pt x="5097304" y="281464"/>
                  </a:cubicBezTo>
                  <a:cubicBezTo>
                    <a:pt x="5100162" y="290989"/>
                    <a:pt x="5103019" y="299561"/>
                    <a:pt x="5105876" y="308134"/>
                  </a:cubicBezTo>
                  <a:close/>
                  <a:moveTo>
                    <a:pt x="5097304" y="282416"/>
                  </a:moveTo>
                  <a:cubicBezTo>
                    <a:pt x="5097304" y="283369"/>
                    <a:pt x="5096351" y="284321"/>
                    <a:pt x="5095399" y="286226"/>
                  </a:cubicBezTo>
                  <a:cubicBezTo>
                    <a:pt x="5094446" y="284321"/>
                    <a:pt x="5094446" y="281464"/>
                    <a:pt x="5093494" y="279559"/>
                  </a:cubicBezTo>
                  <a:cubicBezTo>
                    <a:pt x="5091589" y="271939"/>
                    <a:pt x="5089684" y="265271"/>
                    <a:pt x="5087779" y="258604"/>
                  </a:cubicBezTo>
                  <a:cubicBezTo>
                    <a:pt x="5087779" y="258604"/>
                    <a:pt x="5088731" y="257651"/>
                    <a:pt x="5089684" y="257651"/>
                  </a:cubicBezTo>
                  <a:cubicBezTo>
                    <a:pt x="5092542" y="265271"/>
                    <a:pt x="5094446" y="273844"/>
                    <a:pt x="5097304" y="282416"/>
                  </a:cubicBezTo>
                  <a:close/>
                  <a:moveTo>
                    <a:pt x="5080159" y="224314"/>
                  </a:moveTo>
                  <a:cubicBezTo>
                    <a:pt x="5081112" y="228124"/>
                    <a:pt x="5083969" y="238601"/>
                    <a:pt x="5089684" y="254794"/>
                  </a:cubicBezTo>
                  <a:cubicBezTo>
                    <a:pt x="5089684" y="254794"/>
                    <a:pt x="5088731" y="254794"/>
                    <a:pt x="5087779" y="254794"/>
                  </a:cubicBezTo>
                  <a:cubicBezTo>
                    <a:pt x="5085874" y="245269"/>
                    <a:pt x="5083017" y="236696"/>
                    <a:pt x="5081112" y="228124"/>
                  </a:cubicBezTo>
                  <a:cubicBezTo>
                    <a:pt x="5081112" y="228124"/>
                    <a:pt x="5080159" y="227171"/>
                    <a:pt x="5080159" y="224314"/>
                  </a:cubicBezTo>
                  <a:cubicBezTo>
                    <a:pt x="5080159" y="225266"/>
                    <a:pt x="5080159" y="225266"/>
                    <a:pt x="5080159" y="224314"/>
                  </a:cubicBezTo>
                  <a:close/>
                  <a:moveTo>
                    <a:pt x="5076349" y="272891"/>
                  </a:moveTo>
                  <a:cubicBezTo>
                    <a:pt x="5076349" y="270986"/>
                    <a:pt x="5076349" y="270034"/>
                    <a:pt x="5076349" y="268129"/>
                  </a:cubicBezTo>
                  <a:cubicBezTo>
                    <a:pt x="5077301" y="272891"/>
                    <a:pt x="5078254" y="277654"/>
                    <a:pt x="5079206" y="283369"/>
                  </a:cubicBezTo>
                  <a:cubicBezTo>
                    <a:pt x="5080159" y="289084"/>
                    <a:pt x="5082064" y="295751"/>
                    <a:pt x="5083017" y="301466"/>
                  </a:cubicBezTo>
                  <a:cubicBezTo>
                    <a:pt x="5083017" y="302419"/>
                    <a:pt x="5083017" y="303371"/>
                    <a:pt x="5083017" y="304324"/>
                  </a:cubicBezTo>
                  <a:cubicBezTo>
                    <a:pt x="5083017" y="306229"/>
                    <a:pt x="5082064" y="309086"/>
                    <a:pt x="5082064" y="311944"/>
                  </a:cubicBezTo>
                  <a:cubicBezTo>
                    <a:pt x="5079206" y="305276"/>
                    <a:pt x="5076349" y="298609"/>
                    <a:pt x="5073492" y="292894"/>
                  </a:cubicBezTo>
                  <a:cubicBezTo>
                    <a:pt x="5074444" y="285274"/>
                    <a:pt x="5075396" y="278606"/>
                    <a:pt x="5076349" y="272891"/>
                  </a:cubicBezTo>
                  <a:close/>
                  <a:moveTo>
                    <a:pt x="5066824" y="377666"/>
                  </a:moveTo>
                  <a:cubicBezTo>
                    <a:pt x="5066824" y="378619"/>
                    <a:pt x="5066824" y="379571"/>
                    <a:pt x="5066824" y="380524"/>
                  </a:cubicBezTo>
                  <a:cubicBezTo>
                    <a:pt x="5066824" y="381476"/>
                    <a:pt x="5066824" y="382429"/>
                    <a:pt x="5066824" y="383381"/>
                  </a:cubicBezTo>
                  <a:cubicBezTo>
                    <a:pt x="5066824" y="383381"/>
                    <a:pt x="5066824" y="384334"/>
                    <a:pt x="5065871" y="384334"/>
                  </a:cubicBezTo>
                  <a:cubicBezTo>
                    <a:pt x="5065871" y="383381"/>
                    <a:pt x="5064919" y="382429"/>
                    <a:pt x="5064919" y="381476"/>
                  </a:cubicBezTo>
                  <a:cubicBezTo>
                    <a:pt x="5065871" y="380524"/>
                    <a:pt x="5065871" y="379571"/>
                    <a:pt x="5066824" y="377666"/>
                  </a:cubicBezTo>
                  <a:close/>
                  <a:moveTo>
                    <a:pt x="5057299" y="303371"/>
                  </a:moveTo>
                  <a:cubicBezTo>
                    <a:pt x="5055394" y="300514"/>
                    <a:pt x="5053489" y="297656"/>
                    <a:pt x="5051584" y="294799"/>
                  </a:cubicBezTo>
                  <a:cubicBezTo>
                    <a:pt x="5051584" y="293846"/>
                    <a:pt x="5051584" y="291941"/>
                    <a:pt x="5052537" y="290989"/>
                  </a:cubicBezTo>
                  <a:cubicBezTo>
                    <a:pt x="5053489" y="290036"/>
                    <a:pt x="5054442" y="288131"/>
                    <a:pt x="5055394" y="287179"/>
                  </a:cubicBezTo>
                  <a:cubicBezTo>
                    <a:pt x="5056346" y="291941"/>
                    <a:pt x="5056346" y="297656"/>
                    <a:pt x="5057299" y="303371"/>
                  </a:cubicBezTo>
                  <a:close/>
                  <a:moveTo>
                    <a:pt x="5050631" y="252889"/>
                  </a:moveTo>
                  <a:cubicBezTo>
                    <a:pt x="5051584" y="254794"/>
                    <a:pt x="5051584" y="256699"/>
                    <a:pt x="5052537" y="258604"/>
                  </a:cubicBezTo>
                  <a:cubicBezTo>
                    <a:pt x="5052537" y="259556"/>
                    <a:pt x="5052537" y="260509"/>
                    <a:pt x="5053489" y="260509"/>
                  </a:cubicBezTo>
                  <a:cubicBezTo>
                    <a:pt x="5053489" y="262414"/>
                    <a:pt x="5053489" y="265271"/>
                    <a:pt x="5054442" y="268129"/>
                  </a:cubicBezTo>
                  <a:cubicBezTo>
                    <a:pt x="5053489" y="270034"/>
                    <a:pt x="5053489" y="271939"/>
                    <a:pt x="5052537" y="273844"/>
                  </a:cubicBezTo>
                  <a:cubicBezTo>
                    <a:pt x="5052537" y="274796"/>
                    <a:pt x="5051584" y="275749"/>
                    <a:pt x="5051584" y="276701"/>
                  </a:cubicBezTo>
                  <a:cubicBezTo>
                    <a:pt x="5050631" y="277654"/>
                    <a:pt x="5049679" y="278606"/>
                    <a:pt x="5048726" y="279559"/>
                  </a:cubicBezTo>
                  <a:cubicBezTo>
                    <a:pt x="5048726" y="279559"/>
                    <a:pt x="5048726" y="278606"/>
                    <a:pt x="5048726" y="278606"/>
                  </a:cubicBezTo>
                  <a:cubicBezTo>
                    <a:pt x="5048726" y="277654"/>
                    <a:pt x="5048726" y="275749"/>
                    <a:pt x="5048726" y="274796"/>
                  </a:cubicBezTo>
                  <a:cubicBezTo>
                    <a:pt x="5048726" y="271939"/>
                    <a:pt x="5048726" y="270034"/>
                    <a:pt x="5049679" y="268129"/>
                  </a:cubicBezTo>
                  <a:cubicBezTo>
                    <a:pt x="5049679" y="264319"/>
                    <a:pt x="5050631" y="262414"/>
                    <a:pt x="5050631" y="262414"/>
                  </a:cubicBezTo>
                  <a:cubicBezTo>
                    <a:pt x="5050631" y="262414"/>
                    <a:pt x="5049679" y="264319"/>
                    <a:pt x="5048726" y="268129"/>
                  </a:cubicBezTo>
                  <a:cubicBezTo>
                    <a:pt x="5048726" y="268129"/>
                    <a:pt x="5048726" y="269081"/>
                    <a:pt x="5048726" y="269081"/>
                  </a:cubicBezTo>
                  <a:cubicBezTo>
                    <a:pt x="5048726" y="268129"/>
                    <a:pt x="5048726" y="267176"/>
                    <a:pt x="5048726" y="266224"/>
                  </a:cubicBezTo>
                  <a:cubicBezTo>
                    <a:pt x="5048726" y="260509"/>
                    <a:pt x="5049679" y="256699"/>
                    <a:pt x="5050631" y="252889"/>
                  </a:cubicBezTo>
                  <a:close/>
                  <a:moveTo>
                    <a:pt x="5020151" y="390049"/>
                  </a:moveTo>
                  <a:cubicBezTo>
                    <a:pt x="5018246" y="385286"/>
                    <a:pt x="5016342" y="380524"/>
                    <a:pt x="5014437" y="376714"/>
                  </a:cubicBezTo>
                  <a:cubicBezTo>
                    <a:pt x="5014437" y="376714"/>
                    <a:pt x="5014437" y="375761"/>
                    <a:pt x="5014437" y="375761"/>
                  </a:cubicBezTo>
                  <a:cubicBezTo>
                    <a:pt x="5017294" y="365284"/>
                    <a:pt x="5020151" y="355759"/>
                    <a:pt x="5022056" y="347186"/>
                  </a:cubicBezTo>
                  <a:cubicBezTo>
                    <a:pt x="5022056" y="347186"/>
                    <a:pt x="5022056" y="348139"/>
                    <a:pt x="5022056" y="348139"/>
                  </a:cubicBezTo>
                  <a:cubicBezTo>
                    <a:pt x="5022056" y="352901"/>
                    <a:pt x="5022056" y="357664"/>
                    <a:pt x="5022056" y="363379"/>
                  </a:cubicBezTo>
                  <a:cubicBezTo>
                    <a:pt x="5022056" y="368141"/>
                    <a:pt x="5023009" y="373856"/>
                    <a:pt x="5023009" y="379571"/>
                  </a:cubicBezTo>
                  <a:cubicBezTo>
                    <a:pt x="5023009" y="381476"/>
                    <a:pt x="5023009" y="384334"/>
                    <a:pt x="5023962" y="386239"/>
                  </a:cubicBezTo>
                  <a:cubicBezTo>
                    <a:pt x="5023009" y="386239"/>
                    <a:pt x="5022056" y="388144"/>
                    <a:pt x="5020151" y="390049"/>
                  </a:cubicBezTo>
                  <a:close/>
                  <a:moveTo>
                    <a:pt x="5024914" y="400526"/>
                  </a:moveTo>
                  <a:cubicBezTo>
                    <a:pt x="5024914" y="400526"/>
                    <a:pt x="5024914" y="400526"/>
                    <a:pt x="5024914" y="400526"/>
                  </a:cubicBezTo>
                  <a:cubicBezTo>
                    <a:pt x="5024914" y="400526"/>
                    <a:pt x="5024914" y="400526"/>
                    <a:pt x="5024914" y="400526"/>
                  </a:cubicBezTo>
                  <a:cubicBezTo>
                    <a:pt x="5024914" y="400526"/>
                    <a:pt x="5024914" y="400526"/>
                    <a:pt x="5024914" y="400526"/>
                  </a:cubicBezTo>
                  <a:close/>
                  <a:moveTo>
                    <a:pt x="5035392" y="314801"/>
                  </a:moveTo>
                  <a:cubicBezTo>
                    <a:pt x="5035392" y="315754"/>
                    <a:pt x="5035392" y="316706"/>
                    <a:pt x="5035392" y="317659"/>
                  </a:cubicBezTo>
                  <a:cubicBezTo>
                    <a:pt x="5034439" y="329089"/>
                    <a:pt x="5032534" y="341471"/>
                    <a:pt x="5031581" y="353854"/>
                  </a:cubicBezTo>
                  <a:cubicBezTo>
                    <a:pt x="5031581" y="353854"/>
                    <a:pt x="5031581" y="353854"/>
                    <a:pt x="5031581" y="353854"/>
                  </a:cubicBezTo>
                  <a:cubicBezTo>
                    <a:pt x="5031581" y="353854"/>
                    <a:pt x="5031581" y="354806"/>
                    <a:pt x="5031581" y="354806"/>
                  </a:cubicBezTo>
                  <a:cubicBezTo>
                    <a:pt x="5031581" y="351949"/>
                    <a:pt x="5030629" y="349091"/>
                    <a:pt x="5030629" y="347186"/>
                  </a:cubicBezTo>
                  <a:cubicBezTo>
                    <a:pt x="5029676" y="340519"/>
                    <a:pt x="5028724" y="334804"/>
                    <a:pt x="5027771" y="329089"/>
                  </a:cubicBezTo>
                  <a:cubicBezTo>
                    <a:pt x="5027771" y="328136"/>
                    <a:pt x="5028724" y="326231"/>
                    <a:pt x="5028724" y="325279"/>
                  </a:cubicBezTo>
                  <a:cubicBezTo>
                    <a:pt x="5029676" y="323374"/>
                    <a:pt x="5030629" y="321469"/>
                    <a:pt x="5032534" y="319564"/>
                  </a:cubicBezTo>
                  <a:cubicBezTo>
                    <a:pt x="5033487" y="317659"/>
                    <a:pt x="5034439" y="315754"/>
                    <a:pt x="5035392" y="314801"/>
                  </a:cubicBezTo>
                  <a:close/>
                  <a:moveTo>
                    <a:pt x="5006817" y="242411"/>
                  </a:moveTo>
                  <a:cubicBezTo>
                    <a:pt x="5009674" y="246221"/>
                    <a:pt x="5013484" y="251936"/>
                    <a:pt x="5019199" y="259556"/>
                  </a:cubicBezTo>
                  <a:cubicBezTo>
                    <a:pt x="5022056" y="262414"/>
                    <a:pt x="5023962" y="266224"/>
                    <a:pt x="5025867" y="270034"/>
                  </a:cubicBezTo>
                  <a:cubicBezTo>
                    <a:pt x="5023962" y="268129"/>
                    <a:pt x="5022056" y="265271"/>
                    <a:pt x="5021104" y="263366"/>
                  </a:cubicBezTo>
                  <a:cubicBezTo>
                    <a:pt x="5019199" y="260509"/>
                    <a:pt x="5016342" y="258604"/>
                    <a:pt x="5014437" y="255746"/>
                  </a:cubicBezTo>
                  <a:cubicBezTo>
                    <a:pt x="5011579" y="251936"/>
                    <a:pt x="5007769" y="249079"/>
                    <a:pt x="5004912" y="245269"/>
                  </a:cubicBezTo>
                  <a:cubicBezTo>
                    <a:pt x="5006817" y="244316"/>
                    <a:pt x="5006817" y="243364"/>
                    <a:pt x="5006817" y="242411"/>
                  </a:cubicBezTo>
                  <a:close/>
                  <a:moveTo>
                    <a:pt x="5004912" y="242411"/>
                  </a:moveTo>
                  <a:cubicBezTo>
                    <a:pt x="5004912" y="241459"/>
                    <a:pt x="5004912" y="240506"/>
                    <a:pt x="5004912" y="238601"/>
                  </a:cubicBezTo>
                  <a:cubicBezTo>
                    <a:pt x="5004912" y="238601"/>
                    <a:pt x="5005864" y="239554"/>
                    <a:pt x="5006817" y="241459"/>
                  </a:cubicBezTo>
                  <a:cubicBezTo>
                    <a:pt x="5005864" y="242411"/>
                    <a:pt x="5005864" y="243364"/>
                    <a:pt x="5004912" y="244316"/>
                  </a:cubicBezTo>
                  <a:cubicBezTo>
                    <a:pt x="5004912" y="244316"/>
                    <a:pt x="5004912" y="244316"/>
                    <a:pt x="5004912" y="243364"/>
                  </a:cubicBezTo>
                  <a:cubicBezTo>
                    <a:pt x="5003959" y="243364"/>
                    <a:pt x="5003959" y="242411"/>
                    <a:pt x="5004912" y="242411"/>
                  </a:cubicBezTo>
                  <a:close/>
                  <a:moveTo>
                    <a:pt x="4999196" y="303371"/>
                  </a:moveTo>
                  <a:cubicBezTo>
                    <a:pt x="5001101" y="285274"/>
                    <a:pt x="5002054" y="268129"/>
                    <a:pt x="5003006" y="252889"/>
                  </a:cubicBezTo>
                  <a:cubicBezTo>
                    <a:pt x="5004912" y="255746"/>
                    <a:pt x="5006817" y="257651"/>
                    <a:pt x="5008721" y="260509"/>
                  </a:cubicBezTo>
                  <a:cubicBezTo>
                    <a:pt x="5010626" y="263366"/>
                    <a:pt x="5012531" y="266224"/>
                    <a:pt x="5014437" y="268129"/>
                  </a:cubicBezTo>
                  <a:cubicBezTo>
                    <a:pt x="5016342" y="270986"/>
                    <a:pt x="5018246" y="273844"/>
                    <a:pt x="5020151" y="276701"/>
                  </a:cubicBezTo>
                  <a:cubicBezTo>
                    <a:pt x="5023009" y="281464"/>
                    <a:pt x="5026819" y="287179"/>
                    <a:pt x="5029676" y="292894"/>
                  </a:cubicBezTo>
                  <a:cubicBezTo>
                    <a:pt x="5029676" y="292894"/>
                    <a:pt x="5029676" y="293846"/>
                    <a:pt x="5029676" y="293846"/>
                  </a:cubicBezTo>
                  <a:cubicBezTo>
                    <a:pt x="5028724" y="296704"/>
                    <a:pt x="5026819" y="299561"/>
                    <a:pt x="5025867" y="302419"/>
                  </a:cubicBezTo>
                  <a:cubicBezTo>
                    <a:pt x="5024914" y="303371"/>
                    <a:pt x="5023962" y="304324"/>
                    <a:pt x="5023009" y="305276"/>
                  </a:cubicBezTo>
                  <a:cubicBezTo>
                    <a:pt x="5023009" y="302419"/>
                    <a:pt x="5022056" y="301466"/>
                    <a:pt x="5022056" y="301466"/>
                  </a:cubicBezTo>
                  <a:cubicBezTo>
                    <a:pt x="5022056" y="301466"/>
                    <a:pt x="5022056" y="303371"/>
                    <a:pt x="5022056" y="306229"/>
                  </a:cubicBezTo>
                  <a:cubicBezTo>
                    <a:pt x="5021104" y="307181"/>
                    <a:pt x="5020151" y="308134"/>
                    <a:pt x="5019199" y="309086"/>
                  </a:cubicBezTo>
                  <a:cubicBezTo>
                    <a:pt x="5017294" y="311944"/>
                    <a:pt x="5014437" y="314801"/>
                    <a:pt x="5012531" y="318611"/>
                  </a:cubicBezTo>
                  <a:cubicBezTo>
                    <a:pt x="5012531" y="316706"/>
                    <a:pt x="5013484" y="313849"/>
                    <a:pt x="5013484" y="311944"/>
                  </a:cubicBezTo>
                  <a:cubicBezTo>
                    <a:pt x="5014437" y="305276"/>
                    <a:pt x="5015389" y="299561"/>
                    <a:pt x="5017294" y="294799"/>
                  </a:cubicBezTo>
                  <a:cubicBezTo>
                    <a:pt x="5019199" y="285274"/>
                    <a:pt x="5020151" y="279559"/>
                    <a:pt x="5020151" y="279559"/>
                  </a:cubicBezTo>
                  <a:cubicBezTo>
                    <a:pt x="5020151" y="279559"/>
                    <a:pt x="5017294" y="284321"/>
                    <a:pt x="5013484" y="293846"/>
                  </a:cubicBezTo>
                  <a:cubicBezTo>
                    <a:pt x="5011579" y="298609"/>
                    <a:pt x="5008721" y="304324"/>
                    <a:pt x="5006817" y="310039"/>
                  </a:cubicBezTo>
                  <a:cubicBezTo>
                    <a:pt x="5003959" y="316706"/>
                    <a:pt x="5002054" y="324326"/>
                    <a:pt x="4999196" y="331946"/>
                  </a:cubicBezTo>
                  <a:cubicBezTo>
                    <a:pt x="4999196" y="331946"/>
                    <a:pt x="4999196" y="332899"/>
                    <a:pt x="4999196" y="332899"/>
                  </a:cubicBezTo>
                  <a:cubicBezTo>
                    <a:pt x="4998244" y="330994"/>
                    <a:pt x="4997292" y="329089"/>
                    <a:pt x="4997292" y="327184"/>
                  </a:cubicBezTo>
                  <a:cubicBezTo>
                    <a:pt x="4998244" y="320516"/>
                    <a:pt x="4998244" y="311944"/>
                    <a:pt x="4999196" y="303371"/>
                  </a:cubicBezTo>
                  <a:close/>
                  <a:moveTo>
                    <a:pt x="4968717" y="208121"/>
                  </a:moveTo>
                  <a:cubicBezTo>
                    <a:pt x="4968717" y="209074"/>
                    <a:pt x="4968717" y="210026"/>
                    <a:pt x="4967764" y="212884"/>
                  </a:cubicBezTo>
                  <a:cubicBezTo>
                    <a:pt x="4967764" y="213836"/>
                    <a:pt x="4966812" y="215741"/>
                    <a:pt x="4966812" y="217646"/>
                  </a:cubicBezTo>
                  <a:cubicBezTo>
                    <a:pt x="4966812" y="216694"/>
                    <a:pt x="4966812" y="216694"/>
                    <a:pt x="4966812" y="215741"/>
                  </a:cubicBezTo>
                  <a:cubicBezTo>
                    <a:pt x="4967764" y="213836"/>
                    <a:pt x="4968717" y="210979"/>
                    <a:pt x="4968717" y="208121"/>
                  </a:cubicBezTo>
                  <a:close/>
                  <a:moveTo>
                    <a:pt x="4960144" y="364331"/>
                  </a:moveTo>
                  <a:cubicBezTo>
                    <a:pt x="4960144" y="370046"/>
                    <a:pt x="4961096" y="375761"/>
                    <a:pt x="4961096" y="381476"/>
                  </a:cubicBezTo>
                  <a:cubicBezTo>
                    <a:pt x="4960144" y="384334"/>
                    <a:pt x="4959192" y="388144"/>
                    <a:pt x="4958239" y="391001"/>
                  </a:cubicBezTo>
                  <a:cubicBezTo>
                    <a:pt x="4958239" y="389096"/>
                    <a:pt x="4957287" y="387191"/>
                    <a:pt x="4957287" y="386239"/>
                  </a:cubicBezTo>
                  <a:cubicBezTo>
                    <a:pt x="4957287" y="384334"/>
                    <a:pt x="4957287" y="382429"/>
                    <a:pt x="4957287" y="380524"/>
                  </a:cubicBezTo>
                  <a:cubicBezTo>
                    <a:pt x="4957287" y="371951"/>
                    <a:pt x="4957287" y="363379"/>
                    <a:pt x="4956334" y="356711"/>
                  </a:cubicBezTo>
                  <a:cubicBezTo>
                    <a:pt x="4956334" y="354806"/>
                    <a:pt x="4956334" y="353854"/>
                    <a:pt x="4956334" y="351949"/>
                  </a:cubicBezTo>
                  <a:cubicBezTo>
                    <a:pt x="4957287" y="350996"/>
                    <a:pt x="4958239" y="349091"/>
                    <a:pt x="4958239" y="348139"/>
                  </a:cubicBezTo>
                  <a:cubicBezTo>
                    <a:pt x="4959192" y="352901"/>
                    <a:pt x="4959192" y="358616"/>
                    <a:pt x="4960144" y="364331"/>
                  </a:cubicBezTo>
                  <a:close/>
                  <a:moveTo>
                    <a:pt x="4957287" y="256699"/>
                  </a:moveTo>
                  <a:cubicBezTo>
                    <a:pt x="4957287" y="257651"/>
                    <a:pt x="4957287" y="258604"/>
                    <a:pt x="4957287" y="258604"/>
                  </a:cubicBezTo>
                  <a:cubicBezTo>
                    <a:pt x="4957287" y="258604"/>
                    <a:pt x="4957287" y="259556"/>
                    <a:pt x="4957287" y="259556"/>
                  </a:cubicBezTo>
                  <a:cubicBezTo>
                    <a:pt x="4956334" y="262414"/>
                    <a:pt x="4956334" y="264319"/>
                    <a:pt x="4955381" y="267176"/>
                  </a:cubicBezTo>
                  <a:cubicBezTo>
                    <a:pt x="4955381" y="266224"/>
                    <a:pt x="4954429" y="266224"/>
                    <a:pt x="4954429" y="265271"/>
                  </a:cubicBezTo>
                  <a:cubicBezTo>
                    <a:pt x="4955381" y="263366"/>
                    <a:pt x="4956334" y="259556"/>
                    <a:pt x="4957287" y="256699"/>
                  </a:cubicBezTo>
                  <a:close/>
                  <a:moveTo>
                    <a:pt x="4954429" y="268129"/>
                  </a:moveTo>
                  <a:cubicBezTo>
                    <a:pt x="4954429" y="269081"/>
                    <a:pt x="4955381" y="270034"/>
                    <a:pt x="4955381" y="270986"/>
                  </a:cubicBezTo>
                  <a:cubicBezTo>
                    <a:pt x="4954429" y="276701"/>
                    <a:pt x="4952524" y="283369"/>
                    <a:pt x="4951571" y="290036"/>
                  </a:cubicBezTo>
                  <a:cubicBezTo>
                    <a:pt x="4949667" y="298609"/>
                    <a:pt x="4947762" y="307181"/>
                    <a:pt x="4944904" y="316706"/>
                  </a:cubicBezTo>
                  <a:cubicBezTo>
                    <a:pt x="4943951" y="312896"/>
                    <a:pt x="4943951" y="310991"/>
                    <a:pt x="4943951" y="310991"/>
                  </a:cubicBezTo>
                  <a:cubicBezTo>
                    <a:pt x="4943951" y="310991"/>
                    <a:pt x="4943951" y="314801"/>
                    <a:pt x="4943951" y="320516"/>
                  </a:cubicBezTo>
                  <a:cubicBezTo>
                    <a:pt x="4942999" y="326231"/>
                    <a:pt x="4941094" y="330994"/>
                    <a:pt x="4940142" y="336709"/>
                  </a:cubicBezTo>
                  <a:cubicBezTo>
                    <a:pt x="4940142" y="336709"/>
                    <a:pt x="4940142" y="335756"/>
                    <a:pt x="4940142" y="335756"/>
                  </a:cubicBezTo>
                  <a:cubicBezTo>
                    <a:pt x="4939189" y="331946"/>
                    <a:pt x="4939189" y="329089"/>
                    <a:pt x="4938237" y="325279"/>
                  </a:cubicBezTo>
                  <a:cubicBezTo>
                    <a:pt x="4943951" y="306229"/>
                    <a:pt x="4949667" y="286226"/>
                    <a:pt x="4954429" y="268129"/>
                  </a:cubicBezTo>
                  <a:close/>
                  <a:moveTo>
                    <a:pt x="4922044" y="378619"/>
                  </a:moveTo>
                  <a:cubicBezTo>
                    <a:pt x="4922044" y="378619"/>
                    <a:pt x="4922044" y="378619"/>
                    <a:pt x="4922044" y="378619"/>
                  </a:cubicBezTo>
                  <a:cubicBezTo>
                    <a:pt x="4922044" y="379571"/>
                    <a:pt x="4922044" y="379571"/>
                    <a:pt x="4922044" y="378619"/>
                  </a:cubicBezTo>
                  <a:cubicBezTo>
                    <a:pt x="4922044" y="379571"/>
                    <a:pt x="4922044" y="378619"/>
                    <a:pt x="4922044" y="378619"/>
                  </a:cubicBezTo>
                  <a:close/>
                  <a:moveTo>
                    <a:pt x="4908709" y="307181"/>
                  </a:moveTo>
                  <a:cubicBezTo>
                    <a:pt x="4910614" y="312896"/>
                    <a:pt x="4912519" y="318611"/>
                    <a:pt x="4915376" y="326231"/>
                  </a:cubicBezTo>
                  <a:cubicBezTo>
                    <a:pt x="4913471" y="330041"/>
                    <a:pt x="4911567" y="334804"/>
                    <a:pt x="4909662" y="338614"/>
                  </a:cubicBezTo>
                  <a:cubicBezTo>
                    <a:pt x="4908709" y="327184"/>
                    <a:pt x="4907756" y="316706"/>
                    <a:pt x="4906804" y="308134"/>
                  </a:cubicBezTo>
                  <a:cubicBezTo>
                    <a:pt x="4906804" y="306229"/>
                    <a:pt x="4906804" y="305276"/>
                    <a:pt x="4906804" y="305276"/>
                  </a:cubicBezTo>
                  <a:cubicBezTo>
                    <a:pt x="4906804" y="305276"/>
                    <a:pt x="4906804" y="306229"/>
                    <a:pt x="4905851" y="307181"/>
                  </a:cubicBezTo>
                  <a:cubicBezTo>
                    <a:pt x="4905851" y="303371"/>
                    <a:pt x="4904899" y="300514"/>
                    <a:pt x="4904899" y="297656"/>
                  </a:cubicBezTo>
                  <a:cubicBezTo>
                    <a:pt x="4906804" y="300514"/>
                    <a:pt x="4907756" y="303371"/>
                    <a:pt x="4908709" y="307181"/>
                  </a:cubicBezTo>
                  <a:close/>
                  <a:moveTo>
                    <a:pt x="4897279" y="351949"/>
                  </a:moveTo>
                  <a:cubicBezTo>
                    <a:pt x="4897279" y="356711"/>
                    <a:pt x="4897279" y="360521"/>
                    <a:pt x="4896326" y="365284"/>
                  </a:cubicBezTo>
                  <a:cubicBezTo>
                    <a:pt x="4896326" y="366236"/>
                    <a:pt x="4895374" y="367189"/>
                    <a:pt x="4895374" y="368141"/>
                  </a:cubicBezTo>
                  <a:cubicBezTo>
                    <a:pt x="4895374" y="365284"/>
                    <a:pt x="4894421" y="361474"/>
                    <a:pt x="4894421" y="357664"/>
                  </a:cubicBezTo>
                  <a:cubicBezTo>
                    <a:pt x="4893469" y="351949"/>
                    <a:pt x="4893469" y="347186"/>
                    <a:pt x="4892517" y="341471"/>
                  </a:cubicBezTo>
                  <a:cubicBezTo>
                    <a:pt x="4894421" y="345281"/>
                    <a:pt x="4895374" y="348139"/>
                    <a:pt x="4897279" y="351949"/>
                  </a:cubicBezTo>
                  <a:close/>
                  <a:moveTo>
                    <a:pt x="4822984" y="387191"/>
                  </a:moveTo>
                  <a:cubicBezTo>
                    <a:pt x="4822984" y="386239"/>
                    <a:pt x="4822984" y="386239"/>
                    <a:pt x="4822984" y="385286"/>
                  </a:cubicBezTo>
                  <a:cubicBezTo>
                    <a:pt x="4822984" y="386239"/>
                    <a:pt x="4822984" y="387191"/>
                    <a:pt x="4822984" y="387191"/>
                  </a:cubicBezTo>
                  <a:cubicBezTo>
                    <a:pt x="4822984" y="387191"/>
                    <a:pt x="4822984" y="387191"/>
                    <a:pt x="4822984" y="387191"/>
                  </a:cubicBezTo>
                  <a:close/>
                  <a:moveTo>
                    <a:pt x="4842987" y="338614"/>
                  </a:moveTo>
                  <a:cubicBezTo>
                    <a:pt x="4842987" y="344329"/>
                    <a:pt x="4842987" y="350044"/>
                    <a:pt x="4842987" y="356711"/>
                  </a:cubicBezTo>
                  <a:cubicBezTo>
                    <a:pt x="4842987" y="357664"/>
                    <a:pt x="4842987" y="359569"/>
                    <a:pt x="4842987" y="360521"/>
                  </a:cubicBezTo>
                  <a:cubicBezTo>
                    <a:pt x="4842034" y="366236"/>
                    <a:pt x="4841081" y="373856"/>
                    <a:pt x="4840129" y="382429"/>
                  </a:cubicBezTo>
                  <a:cubicBezTo>
                    <a:pt x="4839176" y="385286"/>
                    <a:pt x="4839176" y="387191"/>
                    <a:pt x="4838224" y="390049"/>
                  </a:cubicBezTo>
                  <a:cubicBezTo>
                    <a:pt x="4834414" y="389096"/>
                    <a:pt x="4830604" y="388144"/>
                    <a:pt x="4826794" y="387191"/>
                  </a:cubicBezTo>
                  <a:cubicBezTo>
                    <a:pt x="4825841" y="384334"/>
                    <a:pt x="4824889" y="381476"/>
                    <a:pt x="4824889" y="379571"/>
                  </a:cubicBezTo>
                  <a:cubicBezTo>
                    <a:pt x="4825841" y="376714"/>
                    <a:pt x="4826794" y="373856"/>
                    <a:pt x="4827747" y="370999"/>
                  </a:cubicBezTo>
                  <a:cubicBezTo>
                    <a:pt x="4830604" y="361474"/>
                    <a:pt x="4834414" y="352901"/>
                    <a:pt x="4838224" y="346234"/>
                  </a:cubicBezTo>
                  <a:cubicBezTo>
                    <a:pt x="4840129" y="342424"/>
                    <a:pt x="4842034" y="339566"/>
                    <a:pt x="4843939" y="336709"/>
                  </a:cubicBezTo>
                  <a:cubicBezTo>
                    <a:pt x="4842987" y="337661"/>
                    <a:pt x="4842987" y="338614"/>
                    <a:pt x="4842987" y="338614"/>
                  </a:cubicBezTo>
                  <a:cubicBezTo>
                    <a:pt x="4842987" y="338614"/>
                    <a:pt x="4842987" y="338614"/>
                    <a:pt x="4842987" y="338614"/>
                  </a:cubicBezTo>
                  <a:close/>
                  <a:moveTo>
                    <a:pt x="4843939" y="329089"/>
                  </a:moveTo>
                  <a:cubicBezTo>
                    <a:pt x="4843939" y="329089"/>
                    <a:pt x="4843939" y="329089"/>
                    <a:pt x="4843939" y="329089"/>
                  </a:cubicBezTo>
                  <a:cubicBezTo>
                    <a:pt x="4841081" y="324326"/>
                    <a:pt x="4838224" y="320516"/>
                    <a:pt x="4836319" y="318611"/>
                  </a:cubicBezTo>
                  <a:cubicBezTo>
                    <a:pt x="4836319" y="318611"/>
                    <a:pt x="4836319" y="318611"/>
                    <a:pt x="4836319" y="318611"/>
                  </a:cubicBezTo>
                  <a:cubicBezTo>
                    <a:pt x="4837272" y="316706"/>
                    <a:pt x="4838224" y="315754"/>
                    <a:pt x="4839176" y="314801"/>
                  </a:cubicBezTo>
                  <a:cubicBezTo>
                    <a:pt x="4840129" y="316706"/>
                    <a:pt x="4841081" y="319564"/>
                    <a:pt x="4842987" y="321469"/>
                  </a:cubicBezTo>
                  <a:cubicBezTo>
                    <a:pt x="4842987" y="322421"/>
                    <a:pt x="4843939" y="323374"/>
                    <a:pt x="4843939" y="323374"/>
                  </a:cubicBezTo>
                  <a:cubicBezTo>
                    <a:pt x="4843939" y="325279"/>
                    <a:pt x="4843939" y="327184"/>
                    <a:pt x="4843939" y="329089"/>
                  </a:cubicBezTo>
                  <a:close/>
                  <a:moveTo>
                    <a:pt x="4845844" y="296704"/>
                  </a:moveTo>
                  <a:cubicBezTo>
                    <a:pt x="4845844" y="302419"/>
                    <a:pt x="4844891" y="309086"/>
                    <a:pt x="4844891" y="316706"/>
                  </a:cubicBezTo>
                  <a:cubicBezTo>
                    <a:pt x="4842987" y="314801"/>
                    <a:pt x="4842034" y="311944"/>
                    <a:pt x="4840129" y="310039"/>
                  </a:cubicBezTo>
                  <a:cubicBezTo>
                    <a:pt x="4839176" y="309086"/>
                    <a:pt x="4838224" y="307181"/>
                    <a:pt x="4837272" y="306229"/>
                  </a:cubicBezTo>
                  <a:cubicBezTo>
                    <a:pt x="4840129" y="300514"/>
                    <a:pt x="4842987" y="295751"/>
                    <a:pt x="4845844" y="290989"/>
                  </a:cubicBezTo>
                  <a:cubicBezTo>
                    <a:pt x="4846797" y="290036"/>
                    <a:pt x="4846797" y="289084"/>
                    <a:pt x="4847749" y="288131"/>
                  </a:cubicBezTo>
                  <a:cubicBezTo>
                    <a:pt x="4846797" y="290989"/>
                    <a:pt x="4845844" y="293846"/>
                    <a:pt x="4845844" y="296704"/>
                  </a:cubicBezTo>
                  <a:close/>
                  <a:moveTo>
                    <a:pt x="4869656" y="325279"/>
                  </a:moveTo>
                  <a:cubicBezTo>
                    <a:pt x="4869656" y="326231"/>
                    <a:pt x="4869656" y="326231"/>
                    <a:pt x="4869656" y="327184"/>
                  </a:cubicBezTo>
                  <a:cubicBezTo>
                    <a:pt x="4869656" y="327184"/>
                    <a:pt x="4869656" y="326231"/>
                    <a:pt x="4869656" y="325279"/>
                  </a:cubicBezTo>
                  <a:cubicBezTo>
                    <a:pt x="4869656" y="323374"/>
                    <a:pt x="4869656" y="320516"/>
                    <a:pt x="4869656" y="318611"/>
                  </a:cubicBezTo>
                  <a:cubicBezTo>
                    <a:pt x="4869656" y="320516"/>
                    <a:pt x="4869656" y="323374"/>
                    <a:pt x="4869656" y="325279"/>
                  </a:cubicBezTo>
                  <a:close/>
                  <a:moveTo>
                    <a:pt x="4854416" y="276701"/>
                  </a:moveTo>
                  <a:cubicBezTo>
                    <a:pt x="4860131" y="267176"/>
                    <a:pt x="4865847" y="261461"/>
                    <a:pt x="4868704" y="256699"/>
                  </a:cubicBezTo>
                  <a:cubicBezTo>
                    <a:pt x="4869656" y="255746"/>
                    <a:pt x="4870609" y="253841"/>
                    <a:pt x="4871562" y="252889"/>
                  </a:cubicBezTo>
                  <a:cubicBezTo>
                    <a:pt x="4871562" y="254794"/>
                    <a:pt x="4871562" y="257651"/>
                    <a:pt x="4871562" y="259556"/>
                  </a:cubicBezTo>
                  <a:cubicBezTo>
                    <a:pt x="4868704" y="270986"/>
                    <a:pt x="4864894" y="283369"/>
                    <a:pt x="4861084" y="296704"/>
                  </a:cubicBezTo>
                  <a:cubicBezTo>
                    <a:pt x="4861084" y="297656"/>
                    <a:pt x="4860131" y="299561"/>
                    <a:pt x="4860131" y="300514"/>
                  </a:cubicBezTo>
                  <a:cubicBezTo>
                    <a:pt x="4857274" y="291941"/>
                    <a:pt x="4855369" y="284321"/>
                    <a:pt x="4853464" y="278606"/>
                  </a:cubicBezTo>
                  <a:cubicBezTo>
                    <a:pt x="4854416" y="277654"/>
                    <a:pt x="4854416" y="277654"/>
                    <a:pt x="4854416" y="276701"/>
                  </a:cubicBezTo>
                  <a:cubicBezTo>
                    <a:pt x="4854416" y="276701"/>
                    <a:pt x="4854416" y="276701"/>
                    <a:pt x="4854416" y="276701"/>
                  </a:cubicBezTo>
                  <a:close/>
                  <a:moveTo>
                    <a:pt x="4850606" y="281464"/>
                  </a:moveTo>
                  <a:cubicBezTo>
                    <a:pt x="4852512" y="290989"/>
                    <a:pt x="4854416" y="303371"/>
                    <a:pt x="4857274" y="316706"/>
                  </a:cubicBezTo>
                  <a:cubicBezTo>
                    <a:pt x="4856322" y="321469"/>
                    <a:pt x="4855369" y="325279"/>
                    <a:pt x="4854416" y="330041"/>
                  </a:cubicBezTo>
                  <a:cubicBezTo>
                    <a:pt x="4853464" y="329089"/>
                    <a:pt x="4852512" y="327184"/>
                    <a:pt x="4852512" y="326231"/>
                  </a:cubicBezTo>
                  <a:cubicBezTo>
                    <a:pt x="4852512" y="325279"/>
                    <a:pt x="4852512" y="323374"/>
                    <a:pt x="4852512" y="322421"/>
                  </a:cubicBezTo>
                  <a:cubicBezTo>
                    <a:pt x="4851559" y="311944"/>
                    <a:pt x="4851559" y="303371"/>
                    <a:pt x="4850606" y="295751"/>
                  </a:cubicBezTo>
                  <a:cubicBezTo>
                    <a:pt x="4850606" y="290989"/>
                    <a:pt x="4849654" y="287179"/>
                    <a:pt x="4849654" y="284321"/>
                  </a:cubicBezTo>
                  <a:cubicBezTo>
                    <a:pt x="4849654" y="283369"/>
                    <a:pt x="4849654" y="282416"/>
                    <a:pt x="4850606" y="281464"/>
                  </a:cubicBezTo>
                  <a:close/>
                  <a:moveTo>
                    <a:pt x="4838224" y="290036"/>
                  </a:moveTo>
                  <a:cubicBezTo>
                    <a:pt x="4841081" y="283369"/>
                    <a:pt x="4843939" y="277654"/>
                    <a:pt x="4845844" y="272891"/>
                  </a:cubicBezTo>
                  <a:cubicBezTo>
                    <a:pt x="4846797" y="270034"/>
                    <a:pt x="4847749" y="267176"/>
                    <a:pt x="4848701" y="265271"/>
                  </a:cubicBezTo>
                  <a:cubicBezTo>
                    <a:pt x="4848701" y="268129"/>
                    <a:pt x="4849654" y="271939"/>
                    <a:pt x="4849654" y="275749"/>
                  </a:cubicBezTo>
                  <a:cubicBezTo>
                    <a:pt x="4848701" y="276701"/>
                    <a:pt x="4848701" y="277654"/>
                    <a:pt x="4847749" y="277654"/>
                  </a:cubicBezTo>
                  <a:cubicBezTo>
                    <a:pt x="4847749" y="274796"/>
                    <a:pt x="4847749" y="273844"/>
                    <a:pt x="4847749" y="273844"/>
                  </a:cubicBezTo>
                  <a:cubicBezTo>
                    <a:pt x="4847749" y="273844"/>
                    <a:pt x="4847749" y="275749"/>
                    <a:pt x="4847749" y="278606"/>
                  </a:cubicBezTo>
                  <a:cubicBezTo>
                    <a:pt x="4845844" y="281464"/>
                    <a:pt x="4842987" y="284321"/>
                    <a:pt x="4841081" y="288131"/>
                  </a:cubicBezTo>
                  <a:cubicBezTo>
                    <a:pt x="4840129" y="290036"/>
                    <a:pt x="4838224" y="291941"/>
                    <a:pt x="4836319" y="294799"/>
                  </a:cubicBezTo>
                  <a:cubicBezTo>
                    <a:pt x="4836319" y="292894"/>
                    <a:pt x="4837272" y="291941"/>
                    <a:pt x="4838224" y="290036"/>
                  </a:cubicBezTo>
                  <a:close/>
                  <a:moveTo>
                    <a:pt x="4835366" y="309086"/>
                  </a:moveTo>
                  <a:cubicBezTo>
                    <a:pt x="4835366" y="309086"/>
                    <a:pt x="4835366" y="308134"/>
                    <a:pt x="4836319" y="308134"/>
                  </a:cubicBezTo>
                  <a:cubicBezTo>
                    <a:pt x="4837272" y="309086"/>
                    <a:pt x="4837272" y="310039"/>
                    <a:pt x="4838224" y="311944"/>
                  </a:cubicBezTo>
                  <a:cubicBezTo>
                    <a:pt x="4838224" y="312896"/>
                    <a:pt x="4839176" y="312896"/>
                    <a:pt x="4839176" y="313849"/>
                  </a:cubicBezTo>
                  <a:cubicBezTo>
                    <a:pt x="4838224" y="314801"/>
                    <a:pt x="4837272" y="315754"/>
                    <a:pt x="4835366" y="317659"/>
                  </a:cubicBezTo>
                  <a:cubicBezTo>
                    <a:pt x="4835366" y="317659"/>
                    <a:pt x="4835366" y="317659"/>
                    <a:pt x="4835366" y="317659"/>
                  </a:cubicBezTo>
                  <a:cubicBezTo>
                    <a:pt x="4835366" y="317659"/>
                    <a:pt x="4834414" y="316706"/>
                    <a:pt x="4834414" y="316706"/>
                  </a:cubicBezTo>
                  <a:cubicBezTo>
                    <a:pt x="4833462" y="315754"/>
                    <a:pt x="4833462" y="315754"/>
                    <a:pt x="4832509" y="314801"/>
                  </a:cubicBezTo>
                  <a:cubicBezTo>
                    <a:pt x="4833462" y="312896"/>
                    <a:pt x="4834414" y="310991"/>
                    <a:pt x="4835366" y="309086"/>
                  </a:cubicBezTo>
                  <a:close/>
                  <a:moveTo>
                    <a:pt x="4830604" y="319564"/>
                  </a:moveTo>
                  <a:cubicBezTo>
                    <a:pt x="4831556" y="317659"/>
                    <a:pt x="4831556" y="316706"/>
                    <a:pt x="4832509" y="314801"/>
                  </a:cubicBezTo>
                  <a:cubicBezTo>
                    <a:pt x="4832509" y="315754"/>
                    <a:pt x="4833462" y="315754"/>
                    <a:pt x="4833462" y="316706"/>
                  </a:cubicBezTo>
                  <a:cubicBezTo>
                    <a:pt x="4833462" y="317659"/>
                    <a:pt x="4834414" y="317659"/>
                    <a:pt x="4834414" y="318611"/>
                  </a:cubicBezTo>
                  <a:cubicBezTo>
                    <a:pt x="4832509" y="320516"/>
                    <a:pt x="4830604" y="322421"/>
                    <a:pt x="4828699" y="324326"/>
                  </a:cubicBezTo>
                  <a:cubicBezTo>
                    <a:pt x="4829651" y="322421"/>
                    <a:pt x="4829651" y="320516"/>
                    <a:pt x="4830604" y="319564"/>
                  </a:cubicBezTo>
                  <a:close/>
                  <a:moveTo>
                    <a:pt x="4817269" y="364331"/>
                  </a:moveTo>
                  <a:cubicBezTo>
                    <a:pt x="4817269" y="361474"/>
                    <a:pt x="4817269" y="359569"/>
                    <a:pt x="4817269" y="356711"/>
                  </a:cubicBezTo>
                  <a:cubicBezTo>
                    <a:pt x="4820126" y="349091"/>
                    <a:pt x="4822984" y="342424"/>
                    <a:pt x="4824889" y="335756"/>
                  </a:cubicBezTo>
                  <a:cubicBezTo>
                    <a:pt x="4824889" y="335756"/>
                    <a:pt x="4825841" y="334804"/>
                    <a:pt x="4825841" y="334804"/>
                  </a:cubicBezTo>
                  <a:cubicBezTo>
                    <a:pt x="4829651" y="328136"/>
                    <a:pt x="4833462" y="323374"/>
                    <a:pt x="4835366" y="319564"/>
                  </a:cubicBezTo>
                  <a:cubicBezTo>
                    <a:pt x="4835366" y="320516"/>
                    <a:pt x="4836319" y="321469"/>
                    <a:pt x="4837272" y="322421"/>
                  </a:cubicBezTo>
                  <a:cubicBezTo>
                    <a:pt x="4838224" y="324326"/>
                    <a:pt x="4839176" y="327184"/>
                    <a:pt x="4841081" y="330994"/>
                  </a:cubicBezTo>
                  <a:cubicBezTo>
                    <a:pt x="4842034" y="332899"/>
                    <a:pt x="4842034" y="333851"/>
                    <a:pt x="4842987" y="335756"/>
                  </a:cubicBezTo>
                  <a:cubicBezTo>
                    <a:pt x="4840129" y="338614"/>
                    <a:pt x="4838224" y="341471"/>
                    <a:pt x="4835366" y="345281"/>
                  </a:cubicBezTo>
                  <a:cubicBezTo>
                    <a:pt x="4831556" y="350996"/>
                    <a:pt x="4826794" y="357664"/>
                    <a:pt x="4822984" y="366236"/>
                  </a:cubicBezTo>
                  <a:cubicBezTo>
                    <a:pt x="4822031" y="367189"/>
                    <a:pt x="4821079" y="368141"/>
                    <a:pt x="4820126" y="369094"/>
                  </a:cubicBezTo>
                  <a:cubicBezTo>
                    <a:pt x="4819174" y="370046"/>
                    <a:pt x="4818222" y="370999"/>
                    <a:pt x="4817269" y="371951"/>
                  </a:cubicBezTo>
                  <a:cubicBezTo>
                    <a:pt x="4816316" y="369094"/>
                    <a:pt x="4817269" y="366236"/>
                    <a:pt x="4817269" y="364331"/>
                  </a:cubicBezTo>
                  <a:close/>
                  <a:moveTo>
                    <a:pt x="4816316" y="376714"/>
                  </a:moveTo>
                  <a:cubicBezTo>
                    <a:pt x="4817269" y="373856"/>
                    <a:pt x="4819174" y="370999"/>
                    <a:pt x="4820126" y="370046"/>
                  </a:cubicBezTo>
                  <a:cubicBezTo>
                    <a:pt x="4820126" y="370046"/>
                    <a:pt x="4820126" y="370046"/>
                    <a:pt x="4820126" y="370046"/>
                  </a:cubicBezTo>
                  <a:cubicBezTo>
                    <a:pt x="4820126" y="370046"/>
                    <a:pt x="4820126" y="370046"/>
                    <a:pt x="4820126" y="370046"/>
                  </a:cubicBezTo>
                  <a:cubicBezTo>
                    <a:pt x="4819174" y="372904"/>
                    <a:pt x="4817269" y="375761"/>
                    <a:pt x="4816316" y="378619"/>
                  </a:cubicBezTo>
                  <a:cubicBezTo>
                    <a:pt x="4816316" y="376714"/>
                    <a:pt x="4816316" y="376714"/>
                    <a:pt x="4816316" y="376714"/>
                  </a:cubicBezTo>
                  <a:close/>
                  <a:moveTo>
                    <a:pt x="4762024" y="305276"/>
                  </a:moveTo>
                  <a:cubicBezTo>
                    <a:pt x="4762024" y="306229"/>
                    <a:pt x="4762976" y="312896"/>
                    <a:pt x="4763929" y="322421"/>
                  </a:cubicBezTo>
                  <a:cubicBezTo>
                    <a:pt x="4762024" y="317659"/>
                    <a:pt x="4761072" y="313849"/>
                    <a:pt x="4760119" y="309086"/>
                  </a:cubicBezTo>
                  <a:cubicBezTo>
                    <a:pt x="4761072" y="306229"/>
                    <a:pt x="4761072" y="303371"/>
                    <a:pt x="4762024" y="300514"/>
                  </a:cubicBezTo>
                  <a:cubicBezTo>
                    <a:pt x="4762024" y="302419"/>
                    <a:pt x="4762024" y="303371"/>
                    <a:pt x="4762024" y="305276"/>
                  </a:cubicBezTo>
                  <a:close/>
                  <a:moveTo>
                    <a:pt x="4755356" y="279559"/>
                  </a:moveTo>
                  <a:cubicBezTo>
                    <a:pt x="4757262" y="284321"/>
                    <a:pt x="4758214" y="289084"/>
                    <a:pt x="4760119" y="294799"/>
                  </a:cubicBezTo>
                  <a:cubicBezTo>
                    <a:pt x="4760119" y="295751"/>
                    <a:pt x="4760119" y="296704"/>
                    <a:pt x="4761072" y="297656"/>
                  </a:cubicBezTo>
                  <a:cubicBezTo>
                    <a:pt x="4760119" y="299561"/>
                    <a:pt x="4759166" y="301466"/>
                    <a:pt x="4758214" y="304324"/>
                  </a:cubicBezTo>
                  <a:cubicBezTo>
                    <a:pt x="4757262" y="300514"/>
                    <a:pt x="4755356" y="296704"/>
                    <a:pt x="4754404" y="292894"/>
                  </a:cubicBezTo>
                  <a:cubicBezTo>
                    <a:pt x="4754404" y="288131"/>
                    <a:pt x="4754404" y="284321"/>
                    <a:pt x="4755356" y="279559"/>
                  </a:cubicBezTo>
                  <a:close/>
                  <a:moveTo>
                    <a:pt x="4759166" y="342424"/>
                  </a:moveTo>
                  <a:cubicBezTo>
                    <a:pt x="4757262" y="338614"/>
                    <a:pt x="4756309" y="335756"/>
                    <a:pt x="4755356" y="331946"/>
                  </a:cubicBezTo>
                  <a:cubicBezTo>
                    <a:pt x="4755356" y="330041"/>
                    <a:pt x="4756309" y="328136"/>
                    <a:pt x="4756309" y="326231"/>
                  </a:cubicBezTo>
                  <a:cubicBezTo>
                    <a:pt x="4757262" y="330994"/>
                    <a:pt x="4758214" y="336709"/>
                    <a:pt x="4759166" y="342424"/>
                  </a:cubicBezTo>
                  <a:close/>
                  <a:moveTo>
                    <a:pt x="4753451" y="312896"/>
                  </a:moveTo>
                  <a:cubicBezTo>
                    <a:pt x="4753451" y="313849"/>
                    <a:pt x="4753451" y="314801"/>
                    <a:pt x="4754404" y="315754"/>
                  </a:cubicBezTo>
                  <a:cubicBezTo>
                    <a:pt x="4754404" y="316706"/>
                    <a:pt x="4754404" y="316706"/>
                    <a:pt x="4753451" y="317659"/>
                  </a:cubicBezTo>
                  <a:cubicBezTo>
                    <a:pt x="4753451" y="315754"/>
                    <a:pt x="4753451" y="313849"/>
                    <a:pt x="4753451" y="312896"/>
                  </a:cubicBezTo>
                  <a:close/>
                  <a:moveTo>
                    <a:pt x="4755356" y="373856"/>
                  </a:moveTo>
                  <a:cubicBezTo>
                    <a:pt x="4755356" y="374809"/>
                    <a:pt x="4755356" y="374809"/>
                    <a:pt x="4756309" y="375761"/>
                  </a:cubicBezTo>
                  <a:cubicBezTo>
                    <a:pt x="4755356" y="376714"/>
                    <a:pt x="4755356" y="378619"/>
                    <a:pt x="4754404" y="379571"/>
                  </a:cubicBezTo>
                  <a:cubicBezTo>
                    <a:pt x="4753451" y="379571"/>
                    <a:pt x="4753451" y="379571"/>
                    <a:pt x="4752499" y="379571"/>
                  </a:cubicBezTo>
                  <a:cubicBezTo>
                    <a:pt x="4753451" y="377666"/>
                    <a:pt x="4754404" y="375761"/>
                    <a:pt x="4755356" y="373856"/>
                  </a:cubicBezTo>
                  <a:close/>
                  <a:moveTo>
                    <a:pt x="4748689" y="291941"/>
                  </a:moveTo>
                  <a:cubicBezTo>
                    <a:pt x="4747737" y="295751"/>
                    <a:pt x="4747737" y="299561"/>
                    <a:pt x="4746784" y="303371"/>
                  </a:cubicBezTo>
                  <a:cubicBezTo>
                    <a:pt x="4746784" y="303371"/>
                    <a:pt x="4746784" y="303371"/>
                    <a:pt x="4746784" y="303371"/>
                  </a:cubicBezTo>
                  <a:cubicBezTo>
                    <a:pt x="4746784" y="302419"/>
                    <a:pt x="4746784" y="300514"/>
                    <a:pt x="4746784" y="299561"/>
                  </a:cubicBezTo>
                  <a:cubicBezTo>
                    <a:pt x="4746784" y="296704"/>
                    <a:pt x="4747737" y="293846"/>
                    <a:pt x="4748689" y="291941"/>
                  </a:cubicBezTo>
                  <a:close/>
                  <a:moveTo>
                    <a:pt x="4738212" y="327184"/>
                  </a:moveTo>
                  <a:cubicBezTo>
                    <a:pt x="4738212" y="331946"/>
                    <a:pt x="4737259" y="335756"/>
                    <a:pt x="4737259" y="341471"/>
                  </a:cubicBezTo>
                  <a:cubicBezTo>
                    <a:pt x="4737259" y="339566"/>
                    <a:pt x="4736306" y="338614"/>
                    <a:pt x="4736306" y="336709"/>
                  </a:cubicBezTo>
                  <a:cubicBezTo>
                    <a:pt x="4737259" y="332899"/>
                    <a:pt x="4737259" y="330041"/>
                    <a:pt x="4738212" y="327184"/>
                  </a:cubicBezTo>
                  <a:close/>
                  <a:moveTo>
                    <a:pt x="4720114" y="261461"/>
                  </a:moveTo>
                  <a:cubicBezTo>
                    <a:pt x="4720114" y="261461"/>
                    <a:pt x="4720114" y="261461"/>
                    <a:pt x="4720114" y="261461"/>
                  </a:cubicBezTo>
                  <a:cubicBezTo>
                    <a:pt x="4722972" y="270034"/>
                    <a:pt x="4725829" y="279559"/>
                    <a:pt x="4729639" y="290989"/>
                  </a:cubicBezTo>
                  <a:cubicBezTo>
                    <a:pt x="4730591" y="292894"/>
                    <a:pt x="4730591" y="294799"/>
                    <a:pt x="4731544" y="296704"/>
                  </a:cubicBezTo>
                  <a:cubicBezTo>
                    <a:pt x="4730591" y="300514"/>
                    <a:pt x="4728687" y="304324"/>
                    <a:pt x="4727734" y="308134"/>
                  </a:cubicBezTo>
                  <a:cubicBezTo>
                    <a:pt x="4726781" y="304324"/>
                    <a:pt x="4724876" y="299561"/>
                    <a:pt x="4723924" y="295751"/>
                  </a:cubicBezTo>
                  <a:cubicBezTo>
                    <a:pt x="4722019" y="289084"/>
                    <a:pt x="4720114" y="282416"/>
                    <a:pt x="4718209" y="276701"/>
                  </a:cubicBezTo>
                  <a:cubicBezTo>
                    <a:pt x="4718209" y="270034"/>
                    <a:pt x="4719162" y="265271"/>
                    <a:pt x="4720114" y="261461"/>
                  </a:cubicBezTo>
                  <a:close/>
                  <a:moveTo>
                    <a:pt x="4709637" y="324326"/>
                  </a:moveTo>
                  <a:cubicBezTo>
                    <a:pt x="4711541" y="315754"/>
                    <a:pt x="4712494" y="308134"/>
                    <a:pt x="4713447" y="301466"/>
                  </a:cubicBezTo>
                  <a:cubicBezTo>
                    <a:pt x="4715351" y="310991"/>
                    <a:pt x="4717256" y="321469"/>
                    <a:pt x="4719162" y="331946"/>
                  </a:cubicBezTo>
                  <a:cubicBezTo>
                    <a:pt x="4718209" y="335756"/>
                    <a:pt x="4716304" y="339566"/>
                    <a:pt x="4715351" y="343376"/>
                  </a:cubicBezTo>
                  <a:cubicBezTo>
                    <a:pt x="4715351" y="343376"/>
                    <a:pt x="4715351" y="343376"/>
                    <a:pt x="4715351" y="343376"/>
                  </a:cubicBezTo>
                  <a:cubicBezTo>
                    <a:pt x="4712494" y="339566"/>
                    <a:pt x="4709637" y="335756"/>
                    <a:pt x="4707731" y="332899"/>
                  </a:cubicBezTo>
                  <a:cubicBezTo>
                    <a:pt x="4708684" y="330041"/>
                    <a:pt x="4708684" y="327184"/>
                    <a:pt x="4709637" y="324326"/>
                  </a:cubicBezTo>
                  <a:close/>
                  <a:moveTo>
                    <a:pt x="4703922" y="355759"/>
                  </a:moveTo>
                  <a:cubicBezTo>
                    <a:pt x="4704874" y="357664"/>
                    <a:pt x="4704874" y="358616"/>
                    <a:pt x="4705826" y="360521"/>
                  </a:cubicBezTo>
                  <a:cubicBezTo>
                    <a:pt x="4706779" y="363379"/>
                    <a:pt x="4707731" y="366236"/>
                    <a:pt x="4708684" y="369094"/>
                  </a:cubicBezTo>
                  <a:cubicBezTo>
                    <a:pt x="4707731" y="371951"/>
                    <a:pt x="4705826" y="374809"/>
                    <a:pt x="4704874" y="377666"/>
                  </a:cubicBezTo>
                  <a:cubicBezTo>
                    <a:pt x="4704874" y="377666"/>
                    <a:pt x="4704874" y="376714"/>
                    <a:pt x="4704874" y="376714"/>
                  </a:cubicBezTo>
                  <a:cubicBezTo>
                    <a:pt x="4703922" y="374809"/>
                    <a:pt x="4702969" y="373856"/>
                    <a:pt x="4702016" y="371951"/>
                  </a:cubicBezTo>
                  <a:cubicBezTo>
                    <a:pt x="4702016" y="366236"/>
                    <a:pt x="4702969" y="361474"/>
                    <a:pt x="4703922" y="355759"/>
                  </a:cubicBezTo>
                  <a:close/>
                  <a:moveTo>
                    <a:pt x="4682966" y="380524"/>
                  </a:moveTo>
                  <a:cubicBezTo>
                    <a:pt x="4682014" y="384334"/>
                    <a:pt x="4681062" y="388144"/>
                    <a:pt x="4680109" y="392906"/>
                  </a:cubicBezTo>
                  <a:cubicBezTo>
                    <a:pt x="4679156" y="392906"/>
                    <a:pt x="4677251" y="393859"/>
                    <a:pt x="4676299" y="393859"/>
                  </a:cubicBezTo>
                  <a:cubicBezTo>
                    <a:pt x="4676299" y="391954"/>
                    <a:pt x="4675347" y="390049"/>
                    <a:pt x="4675347" y="388144"/>
                  </a:cubicBezTo>
                  <a:cubicBezTo>
                    <a:pt x="4678204" y="384334"/>
                    <a:pt x="4681062" y="381476"/>
                    <a:pt x="4682966" y="378619"/>
                  </a:cubicBezTo>
                  <a:cubicBezTo>
                    <a:pt x="4682014" y="379571"/>
                    <a:pt x="4682966" y="380524"/>
                    <a:pt x="4682966" y="380524"/>
                  </a:cubicBezTo>
                  <a:close/>
                  <a:moveTo>
                    <a:pt x="4672489" y="361474"/>
                  </a:moveTo>
                  <a:cubicBezTo>
                    <a:pt x="4674394" y="365284"/>
                    <a:pt x="4677251" y="370046"/>
                    <a:pt x="4679156" y="373856"/>
                  </a:cubicBezTo>
                  <a:cubicBezTo>
                    <a:pt x="4677251" y="375761"/>
                    <a:pt x="4674394" y="377666"/>
                    <a:pt x="4672489" y="379571"/>
                  </a:cubicBezTo>
                  <a:cubicBezTo>
                    <a:pt x="4672489" y="378619"/>
                    <a:pt x="4672489" y="377666"/>
                    <a:pt x="4671537" y="376714"/>
                  </a:cubicBezTo>
                  <a:cubicBezTo>
                    <a:pt x="4671537" y="374809"/>
                    <a:pt x="4670584" y="372904"/>
                    <a:pt x="4670584" y="370999"/>
                  </a:cubicBezTo>
                  <a:cubicBezTo>
                    <a:pt x="4671537" y="368141"/>
                    <a:pt x="4671537" y="364331"/>
                    <a:pt x="4672489" y="361474"/>
                  </a:cubicBezTo>
                  <a:close/>
                  <a:moveTo>
                    <a:pt x="4661059" y="265271"/>
                  </a:moveTo>
                  <a:cubicBezTo>
                    <a:pt x="4662012" y="260509"/>
                    <a:pt x="4662964" y="256699"/>
                    <a:pt x="4663916" y="252889"/>
                  </a:cubicBezTo>
                  <a:cubicBezTo>
                    <a:pt x="4665822" y="246221"/>
                    <a:pt x="4667726" y="241459"/>
                    <a:pt x="4669631" y="237649"/>
                  </a:cubicBezTo>
                  <a:cubicBezTo>
                    <a:pt x="4669631" y="239554"/>
                    <a:pt x="4669631" y="240506"/>
                    <a:pt x="4669631" y="242411"/>
                  </a:cubicBezTo>
                  <a:cubicBezTo>
                    <a:pt x="4667726" y="250031"/>
                    <a:pt x="4664869" y="259556"/>
                    <a:pt x="4661059" y="269081"/>
                  </a:cubicBezTo>
                  <a:cubicBezTo>
                    <a:pt x="4661059" y="268129"/>
                    <a:pt x="4661059" y="266224"/>
                    <a:pt x="4661059" y="265271"/>
                  </a:cubicBezTo>
                  <a:close/>
                  <a:moveTo>
                    <a:pt x="4645819" y="278606"/>
                  </a:moveTo>
                  <a:cubicBezTo>
                    <a:pt x="4646772" y="271939"/>
                    <a:pt x="4647724" y="266224"/>
                    <a:pt x="4648676" y="260509"/>
                  </a:cubicBezTo>
                  <a:cubicBezTo>
                    <a:pt x="4649629" y="257651"/>
                    <a:pt x="4649629" y="253841"/>
                    <a:pt x="4650581" y="250984"/>
                  </a:cubicBezTo>
                  <a:cubicBezTo>
                    <a:pt x="4650581" y="250984"/>
                    <a:pt x="4650581" y="251936"/>
                    <a:pt x="4650581" y="251936"/>
                  </a:cubicBezTo>
                  <a:cubicBezTo>
                    <a:pt x="4651534" y="254794"/>
                    <a:pt x="4652487" y="259556"/>
                    <a:pt x="4652487" y="265271"/>
                  </a:cubicBezTo>
                  <a:cubicBezTo>
                    <a:pt x="4652487" y="267176"/>
                    <a:pt x="4652487" y="269081"/>
                    <a:pt x="4652487" y="270034"/>
                  </a:cubicBezTo>
                  <a:cubicBezTo>
                    <a:pt x="4651534" y="272891"/>
                    <a:pt x="4651534" y="275749"/>
                    <a:pt x="4650581" y="278606"/>
                  </a:cubicBezTo>
                  <a:cubicBezTo>
                    <a:pt x="4649629" y="282416"/>
                    <a:pt x="4648676" y="287179"/>
                    <a:pt x="4648676" y="290989"/>
                  </a:cubicBezTo>
                  <a:cubicBezTo>
                    <a:pt x="4648676" y="287179"/>
                    <a:pt x="4646772" y="283369"/>
                    <a:pt x="4645819" y="278606"/>
                  </a:cubicBezTo>
                  <a:cubicBezTo>
                    <a:pt x="4645819" y="278606"/>
                    <a:pt x="4645819" y="278606"/>
                    <a:pt x="4645819" y="278606"/>
                  </a:cubicBezTo>
                  <a:close/>
                  <a:moveTo>
                    <a:pt x="4642962" y="293846"/>
                  </a:moveTo>
                  <a:cubicBezTo>
                    <a:pt x="4643914" y="296704"/>
                    <a:pt x="4643914" y="299561"/>
                    <a:pt x="4644866" y="302419"/>
                  </a:cubicBezTo>
                  <a:cubicBezTo>
                    <a:pt x="4644866" y="304324"/>
                    <a:pt x="4645819" y="307181"/>
                    <a:pt x="4645819" y="309086"/>
                  </a:cubicBezTo>
                  <a:cubicBezTo>
                    <a:pt x="4645819" y="309086"/>
                    <a:pt x="4645819" y="309086"/>
                    <a:pt x="4645819" y="309086"/>
                  </a:cubicBezTo>
                  <a:cubicBezTo>
                    <a:pt x="4644866" y="308134"/>
                    <a:pt x="4643914" y="307181"/>
                    <a:pt x="4642962" y="306229"/>
                  </a:cubicBezTo>
                  <a:cubicBezTo>
                    <a:pt x="4642962" y="304324"/>
                    <a:pt x="4642009" y="302419"/>
                    <a:pt x="4642009" y="299561"/>
                  </a:cubicBezTo>
                  <a:cubicBezTo>
                    <a:pt x="4642962" y="297656"/>
                    <a:pt x="4642962" y="295751"/>
                    <a:pt x="4642962" y="293846"/>
                  </a:cubicBezTo>
                  <a:close/>
                  <a:moveTo>
                    <a:pt x="4595337" y="280511"/>
                  </a:moveTo>
                  <a:cubicBezTo>
                    <a:pt x="4596289" y="284321"/>
                    <a:pt x="4597241" y="289084"/>
                    <a:pt x="4598194" y="293846"/>
                  </a:cubicBezTo>
                  <a:cubicBezTo>
                    <a:pt x="4598194" y="295751"/>
                    <a:pt x="4598194" y="298609"/>
                    <a:pt x="4598194" y="300514"/>
                  </a:cubicBezTo>
                  <a:cubicBezTo>
                    <a:pt x="4598194" y="304324"/>
                    <a:pt x="4598194" y="308134"/>
                    <a:pt x="4598194" y="311944"/>
                  </a:cubicBezTo>
                  <a:cubicBezTo>
                    <a:pt x="4597241" y="313849"/>
                    <a:pt x="4597241" y="316706"/>
                    <a:pt x="4596289" y="319564"/>
                  </a:cubicBezTo>
                  <a:cubicBezTo>
                    <a:pt x="4595337" y="316706"/>
                    <a:pt x="4594384" y="314801"/>
                    <a:pt x="4593431" y="311944"/>
                  </a:cubicBezTo>
                  <a:cubicBezTo>
                    <a:pt x="4593431" y="310039"/>
                    <a:pt x="4593431" y="307181"/>
                    <a:pt x="4593431" y="305276"/>
                  </a:cubicBezTo>
                  <a:cubicBezTo>
                    <a:pt x="4593431" y="298609"/>
                    <a:pt x="4593431" y="292894"/>
                    <a:pt x="4593431" y="286226"/>
                  </a:cubicBezTo>
                  <a:cubicBezTo>
                    <a:pt x="4593431" y="284321"/>
                    <a:pt x="4594384" y="282416"/>
                    <a:pt x="4595337" y="280511"/>
                  </a:cubicBezTo>
                  <a:cubicBezTo>
                    <a:pt x="4595337" y="280511"/>
                    <a:pt x="4595337" y="280511"/>
                    <a:pt x="4595337" y="280511"/>
                  </a:cubicBezTo>
                  <a:close/>
                  <a:moveTo>
                    <a:pt x="4595337" y="277654"/>
                  </a:moveTo>
                  <a:cubicBezTo>
                    <a:pt x="4594384" y="278606"/>
                    <a:pt x="4594384" y="278606"/>
                    <a:pt x="4593431" y="279559"/>
                  </a:cubicBezTo>
                  <a:cubicBezTo>
                    <a:pt x="4593431" y="279559"/>
                    <a:pt x="4593431" y="280511"/>
                    <a:pt x="4592479" y="280511"/>
                  </a:cubicBezTo>
                  <a:cubicBezTo>
                    <a:pt x="4592479" y="274796"/>
                    <a:pt x="4592479" y="269081"/>
                    <a:pt x="4592479" y="263366"/>
                  </a:cubicBezTo>
                  <a:cubicBezTo>
                    <a:pt x="4593431" y="267176"/>
                    <a:pt x="4594384" y="271939"/>
                    <a:pt x="4595337" y="277654"/>
                  </a:cubicBezTo>
                  <a:close/>
                  <a:moveTo>
                    <a:pt x="4576287" y="253841"/>
                  </a:moveTo>
                  <a:cubicBezTo>
                    <a:pt x="4576287" y="260509"/>
                    <a:pt x="4576287" y="267176"/>
                    <a:pt x="4575334" y="273844"/>
                  </a:cubicBezTo>
                  <a:cubicBezTo>
                    <a:pt x="4573429" y="270034"/>
                    <a:pt x="4571524" y="266224"/>
                    <a:pt x="4569619" y="262414"/>
                  </a:cubicBezTo>
                  <a:cubicBezTo>
                    <a:pt x="4572476" y="259556"/>
                    <a:pt x="4574381" y="256699"/>
                    <a:pt x="4576287" y="253841"/>
                  </a:cubicBezTo>
                  <a:close/>
                  <a:moveTo>
                    <a:pt x="4566762" y="268129"/>
                  </a:moveTo>
                  <a:cubicBezTo>
                    <a:pt x="4566762" y="268129"/>
                    <a:pt x="4566762" y="269081"/>
                    <a:pt x="4566762" y="268129"/>
                  </a:cubicBezTo>
                  <a:cubicBezTo>
                    <a:pt x="4568666" y="273844"/>
                    <a:pt x="4570572" y="278606"/>
                    <a:pt x="4571524" y="284321"/>
                  </a:cubicBezTo>
                  <a:cubicBezTo>
                    <a:pt x="4572476" y="288131"/>
                    <a:pt x="4573429" y="292894"/>
                    <a:pt x="4574381" y="296704"/>
                  </a:cubicBezTo>
                  <a:cubicBezTo>
                    <a:pt x="4574381" y="298609"/>
                    <a:pt x="4574381" y="299561"/>
                    <a:pt x="4574381" y="301466"/>
                  </a:cubicBezTo>
                  <a:cubicBezTo>
                    <a:pt x="4570572" y="293846"/>
                    <a:pt x="4568666" y="289084"/>
                    <a:pt x="4568666" y="289084"/>
                  </a:cubicBezTo>
                  <a:cubicBezTo>
                    <a:pt x="4568666" y="289084"/>
                    <a:pt x="4570572" y="296704"/>
                    <a:pt x="4574381" y="309086"/>
                  </a:cubicBezTo>
                  <a:cubicBezTo>
                    <a:pt x="4573429" y="310991"/>
                    <a:pt x="4572476" y="312896"/>
                    <a:pt x="4571524" y="314801"/>
                  </a:cubicBezTo>
                  <a:cubicBezTo>
                    <a:pt x="4571524" y="314801"/>
                    <a:pt x="4571524" y="314801"/>
                    <a:pt x="4571524" y="315754"/>
                  </a:cubicBezTo>
                  <a:cubicBezTo>
                    <a:pt x="4568666" y="293846"/>
                    <a:pt x="4566762" y="278606"/>
                    <a:pt x="4564856" y="271939"/>
                  </a:cubicBezTo>
                  <a:cubicBezTo>
                    <a:pt x="4564856" y="270986"/>
                    <a:pt x="4565809" y="270034"/>
                    <a:pt x="4566762" y="268129"/>
                  </a:cubicBezTo>
                  <a:close/>
                  <a:moveTo>
                    <a:pt x="4560094" y="254794"/>
                  </a:moveTo>
                  <a:cubicBezTo>
                    <a:pt x="4561047" y="256699"/>
                    <a:pt x="4561999" y="258604"/>
                    <a:pt x="4562951" y="260509"/>
                  </a:cubicBezTo>
                  <a:cubicBezTo>
                    <a:pt x="4561999" y="261461"/>
                    <a:pt x="4561047" y="262414"/>
                    <a:pt x="4561047" y="263366"/>
                  </a:cubicBezTo>
                  <a:cubicBezTo>
                    <a:pt x="4560094" y="265271"/>
                    <a:pt x="4558189" y="266224"/>
                    <a:pt x="4557237" y="268129"/>
                  </a:cubicBezTo>
                  <a:cubicBezTo>
                    <a:pt x="4558189" y="263366"/>
                    <a:pt x="4559141" y="258604"/>
                    <a:pt x="4560094" y="254794"/>
                  </a:cubicBezTo>
                  <a:close/>
                  <a:moveTo>
                    <a:pt x="4548664" y="317659"/>
                  </a:moveTo>
                  <a:cubicBezTo>
                    <a:pt x="4551522" y="307181"/>
                    <a:pt x="4554379" y="298609"/>
                    <a:pt x="4557237" y="290036"/>
                  </a:cubicBezTo>
                  <a:cubicBezTo>
                    <a:pt x="4559141" y="284321"/>
                    <a:pt x="4561047" y="279559"/>
                    <a:pt x="4562951" y="275749"/>
                  </a:cubicBezTo>
                  <a:cubicBezTo>
                    <a:pt x="4561999" y="283369"/>
                    <a:pt x="4561047" y="298609"/>
                    <a:pt x="4560094" y="318611"/>
                  </a:cubicBezTo>
                  <a:cubicBezTo>
                    <a:pt x="4557237" y="313849"/>
                    <a:pt x="4555331" y="310991"/>
                    <a:pt x="4555331" y="310991"/>
                  </a:cubicBezTo>
                  <a:cubicBezTo>
                    <a:pt x="4555331" y="310991"/>
                    <a:pt x="4557237" y="314801"/>
                    <a:pt x="4560094" y="321469"/>
                  </a:cubicBezTo>
                  <a:cubicBezTo>
                    <a:pt x="4560094" y="321469"/>
                    <a:pt x="4560094" y="321469"/>
                    <a:pt x="4560094" y="321469"/>
                  </a:cubicBezTo>
                  <a:cubicBezTo>
                    <a:pt x="4560094" y="328136"/>
                    <a:pt x="4559141" y="334804"/>
                    <a:pt x="4559141" y="342424"/>
                  </a:cubicBezTo>
                  <a:cubicBezTo>
                    <a:pt x="4558189" y="346234"/>
                    <a:pt x="4556284" y="349091"/>
                    <a:pt x="4555331" y="352901"/>
                  </a:cubicBezTo>
                  <a:cubicBezTo>
                    <a:pt x="4554379" y="355759"/>
                    <a:pt x="4553426" y="358616"/>
                    <a:pt x="4552474" y="361474"/>
                  </a:cubicBezTo>
                  <a:cubicBezTo>
                    <a:pt x="4550569" y="354806"/>
                    <a:pt x="4549616" y="349091"/>
                    <a:pt x="4547712" y="343376"/>
                  </a:cubicBezTo>
                  <a:cubicBezTo>
                    <a:pt x="4547712" y="333851"/>
                    <a:pt x="4547712" y="328136"/>
                    <a:pt x="4547712" y="328136"/>
                  </a:cubicBezTo>
                  <a:cubicBezTo>
                    <a:pt x="4547712" y="328136"/>
                    <a:pt x="4546759" y="331946"/>
                    <a:pt x="4545806" y="338614"/>
                  </a:cubicBezTo>
                  <a:cubicBezTo>
                    <a:pt x="4545806" y="338614"/>
                    <a:pt x="4545806" y="337661"/>
                    <a:pt x="4545806" y="337661"/>
                  </a:cubicBezTo>
                  <a:cubicBezTo>
                    <a:pt x="4545806" y="336709"/>
                    <a:pt x="4545806" y="336709"/>
                    <a:pt x="4544854" y="335756"/>
                  </a:cubicBezTo>
                  <a:cubicBezTo>
                    <a:pt x="4546759" y="329089"/>
                    <a:pt x="4547712" y="323374"/>
                    <a:pt x="4548664" y="317659"/>
                  </a:cubicBezTo>
                  <a:close/>
                  <a:moveTo>
                    <a:pt x="4457224" y="306229"/>
                  </a:moveTo>
                  <a:cubicBezTo>
                    <a:pt x="4457224" y="306229"/>
                    <a:pt x="4456272" y="306229"/>
                    <a:pt x="4457224" y="306229"/>
                  </a:cubicBezTo>
                  <a:cubicBezTo>
                    <a:pt x="4457224" y="305276"/>
                    <a:pt x="4457224" y="305276"/>
                    <a:pt x="4457224" y="304324"/>
                  </a:cubicBezTo>
                  <a:cubicBezTo>
                    <a:pt x="4457224" y="305276"/>
                    <a:pt x="4457224" y="306229"/>
                    <a:pt x="4457224" y="306229"/>
                  </a:cubicBezTo>
                  <a:close/>
                  <a:moveTo>
                    <a:pt x="4478179" y="359569"/>
                  </a:moveTo>
                  <a:cubicBezTo>
                    <a:pt x="4477226" y="352901"/>
                    <a:pt x="4476274" y="346234"/>
                    <a:pt x="4476274" y="339566"/>
                  </a:cubicBezTo>
                  <a:cubicBezTo>
                    <a:pt x="4476274" y="338614"/>
                    <a:pt x="4476274" y="337661"/>
                    <a:pt x="4476274" y="336709"/>
                  </a:cubicBezTo>
                  <a:cubicBezTo>
                    <a:pt x="4479131" y="340519"/>
                    <a:pt x="4481037" y="343376"/>
                    <a:pt x="4483894" y="347186"/>
                  </a:cubicBezTo>
                  <a:cubicBezTo>
                    <a:pt x="4481037" y="350996"/>
                    <a:pt x="4480084" y="355759"/>
                    <a:pt x="4478179" y="359569"/>
                  </a:cubicBezTo>
                  <a:close/>
                  <a:moveTo>
                    <a:pt x="4497229" y="371951"/>
                  </a:moveTo>
                  <a:cubicBezTo>
                    <a:pt x="4497229" y="370046"/>
                    <a:pt x="4497229" y="369094"/>
                    <a:pt x="4497229" y="367189"/>
                  </a:cubicBezTo>
                  <a:cubicBezTo>
                    <a:pt x="4497229" y="368141"/>
                    <a:pt x="4497229" y="369094"/>
                    <a:pt x="4498181" y="370046"/>
                  </a:cubicBezTo>
                  <a:cubicBezTo>
                    <a:pt x="4497229" y="370999"/>
                    <a:pt x="4497229" y="370999"/>
                    <a:pt x="4497229" y="371951"/>
                  </a:cubicBezTo>
                  <a:close/>
                  <a:moveTo>
                    <a:pt x="4504849" y="322421"/>
                  </a:moveTo>
                  <a:cubicBezTo>
                    <a:pt x="4504849" y="325279"/>
                    <a:pt x="4504849" y="328136"/>
                    <a:pt x="4504849" y="330994"/>
                  </a:cubicBezTo>
                  <a:cubicBezTo>
                    <a:pt x="4503897" y="333851"/>
                    <a:pt x="4502944" y="337661"/>
                    <a:pt x="4501991" y="341471"/>
                  </a:cubicBezTo>
                  <a:cubicBezTo>
                    <a:pt x="4501991" y="343376"/>
                    <a:pt x="4501039" y="346234"/>
                    <a:pt x="4501039" y="348139"/>
                  </a:cubicBezTo>
                  <a:cubicBezTo>
                    <a:pt x="4500087" y="347186"/>
                    <a:pt x="4499134" y="346234"/>
                    <a:pt x="4499134" y="345281"/>
                  </a:cubicBezTo>
                  <a:cubicBezTo>
                    <a:pt x="4499134" y="344329"/>
                    <a:pt x="4498181" y="343376"/>
                    <a:pt x="4498181" y="342424"/>
                  </a:cubicBezTo>
                  <a:cubicBezTo>
                    <a:pt x="4499134" y="336709"/>
                    <a:pt x="4501039" y="330994"/>
                    <a:pt x="4501991" y="326231"/>
                  </a:cubicBezTo>
                  <a:cubicBezTo>
                    <a:pt x="4502944" y="320516"/>
                    <a:pt x="4504849" y="315754"/>
                    <a:pt x="4506754" y="310991"/>
                  </a:cubicBezTo>
                  <a:cubicBezTo>
                    <a:pt x="4505801" y="314801"/>
                    <a:pt x="4505801" y="318611"/>
                    <a:pt x="4504849" y="322421"/>
                  </a:cubicBezTo>
                  <a:close/>
                  <a:moveTo>
                    <a:pt x="4462939" y="250984"/>
                  </a:moveTo>
                  <a:cubicBezTo>
                    <a:pt x="4465797" y="242411"/>
                    <a:pt x="4468654" y="233839"/>
                    <a:pt x="4470559" y="226219"/>
                  </a:cubicBezTo>
                  <a:cubicBezTo>
                    <a:pt x="4470559" y="227171"/>
                    <a:pt x="4472464" y="229076"/>
                    <a:pt x="4474369" y="231934"/>
                  </a:cubicBezTo>
                  <a:cubicBezTo>
                    <a:pt x="4475322" y="233839"/>
                    <a:pt x="4477226" y="235744"/>
                    <a:pt x="4479131" y="238601"/>
                  </a:cubicBezTo>
                  <a:cubicBezTo>
                    <a:pt x="4481037" y="241459"/>
                    <a:pt x="4481989" y="245269"/>
                    <a:pt x="4483894" y="248126"/>
                  </a:cubicBezTo>
                  <a:cubicBezTo>
                    <a:pt x="4485799" y="251936"/>
                    <a:pt x="4487704" y="255746"/>
                    <a:pt x="4489609" y="260509"/>
                  </a:cubicBezTo>
                  <a:cubicBezTo>
                    <a:pt x="4491514" y="265271"/>
                    <a:pt x="4493419" y="270034"/>
                    <a:pt x="4495324" y="275749"/>
                  </a:cubicBezTo>
                  <a:cubicBezTo>
                    <a:pt x="4497229" y="281464"/>
                    <a:pt x="4499134" y="287179"/>
                    <a:pt x="4501039" y="293846"/>
                  </a:cubicBezTo>
                  <a:cubicBezTo>
                    <a:pt x="4501991" y="296704"/>
                    <a:pt x="4502944" y="299561"/>
                    <a:pt x="4503897" y="303371"/>
                  </a:cubicBezTo>
                  <a:cubicBezTo>
                    <a:pt x="4501991" y="308134"/>
                    <a:pt x="4499134" y="312896"/>
                    <a:pt x="4497229" y="317659"/>
                  </a:cubicBezTo>
                  <a:cubicBezTo>
                    <a:pt x="4496276" y="320516"/>
                    <a:pt x="4494372" y="323374"/>
                    <a:pt x="4493419" y="326231"/>
                  </a:cubicBezTo>
                  <a:cubicBezTo>
                    <a:pt x="4490562" y="297656"/>
                    <a:pt x="4488656" y="280511"/>
                    <a:pt x="4488656" y="280511"/>
                  </a:cubicBezTo>
                  <a:cubicBezTo>
                    <a:pt x="4488656" y="280511"/>
                    <a:pt x="4487704" y="294799"/>
                    <a:pt x="4487704" y="319564"/>
                  </a:cubicBezTo>
                  <a:cubicBezTo>
                    <a:pt x="4486751" y="316706"/>
                    <a:pt x="4484847" y="313849"/>
                    <a:pt x="4483894" y="311944"/>
                  </a:cubicBezTo>
                  <a:cubicBezTo>
                    <a:pt x="4477226" y="297656"/>
                    <a:pt x="4473416" y="289084"/>
                    <a:pt x="4473416" y="289084"/>
                  </a:cubicBezTo>
                  <a:cubicBezTo>
                    <a:pt x="4473416" y="289084"/>
                    <a:pt x="4476274" y="297656"/>
                    <a:pt x="4481037" y="312896"/>
                  </a:cubicBezTo>
                  <a:cubicBezTo>
                    <a:pt x="4482941" y="317659"/>
                    <a:pt x="4484847" y="323374"/>
                    <a:pt x="4486751" y="330041"/>
                  </a:cubicBezTo>
                  <a:cubicBezTo>
                    <a:pt x="4485799" y="329089"/>
                    <a:pt x="4485799" y="328136"/>
                    <a:pt x="4484847" y="328136"/>
                  </a:cubicBezTo>
                  <a:cubicBezTo>
                    <a:pt x="4481037" y="324326"/>
                    <a:pt x="4478179" y="321469"/>
                    <a:pt x="4475322" y="318611"/>
                  </a:cubicBezTo>
                  <a:cubicBezTo>
                    <a:pt x="4474369" y="313849"/>
                    <a:pt x="4473416" y="309086"/>
                    <a:pt x="4473416" y="304324"/>
                  </a:cubicBezTo>
                  <a:cubicBezTo>
                    <a:pt x="4471512" y="294799"/>
                    <a:pt x="4470559" y="286226"/>
                    <a:pt x="4468654" y="278606"/>
                  </a:cubicBezTo>
                  <a:cubicBezTo>
                    <a:pt x="4474369" y="264319"/>
                    <a:pt x="4477226" y="256699"/>
                    <a:pt x="4477226" y="256699"/>
                  </a:cubicBezTo>
                  <a:cubicBezTo>
                    <a:pt x="4477226" y="256699"/>
                    <a:pt x="4473416" y="262414"/>
                    <a:pt x="4466749" y="273844"/>
                  </a:cubicBezTo>
                  <a:cubicBezTo>
                    <a:pt x="4465797" y="268129"/>
                    <a:pt x="4464844" y="263366"/>
                    <a:pt x="4462939" y="258604"/>
                  </a:cubicBezTo>
                  <a:cubicBezTo>
                    <a:pt x="4462939" y="257651"/>
                    <a:pt x="4462939" y="256699"/>
                    <a:pt x="4462939" y="256699"/>
                  </a:cubicBezTo>
                  <a:cubicBezTo>
                    <a:pt x="4461987" y="253841"/>
                    <a:pt x="4461987" y="252889"/>
                    <a:pt x="4462939" y="250984"/>
                  </a:cubicBezTo>
                  <a:close/>
                  <a:moveTo>
                    <a:pt x="4461034" y="255746"/>
                  </a:moveTo>
                  <a:cubicBezTo>
                    <a:pt x="4461034" y="255746"/>
                    <a:pt x="4461034" y="256699"/>
                    <a:pt x="4461034" y="255746"/>
                  </a:cubicBezTo>
                  <a:cubicBezTo>
                    <a:pt x="4461034" y="256699"/>
                    <a:pt x="4461034" y="256699"/>
                    <a:pt x="4461034" y="255746"/>
                  </a:cubicBezTo>
                  <a:cubicBezTo>
                    <a:pt x="4461034" y="255746"/>
                    <a:pt x="4461034" y="255746"/>
                    <a:pt x="4461034" y="255746"/>
                  </a:cubicBezTo>
                  <a:close/>
                  <a:moveTo>
                    <a:pt x="4455319" y="274796"/>
                  </a:moveTo>
                  <a:cubicBezTo>
                    <a:pt x="4456272" y="272891"/>
                    <a:pt x="4457224" y="270034"/>
                    <a:pt x="4457224" y="268129"/>
                  </a:cubicBezTo>
                  <a:cubicBezTo>
                    <a:pt x="4457224" y="270034"/>
                    <a:pt x="4457224" y="271939"/>
                    <a:pt x="4457224" y="273844"/>
                  </a:cubicBezTo>
                  <a:cubicBezTo>
                    <a:pt x="4457224" y="277654"/>
                    <a:pt x="4457224" y="280511"/>
                    <a:pt x="4458176" y="284321"/>
                  </a:cubicBezTo>
                  <a:cubicBezTo>
                    <a:pt x="4457224" y="287179"/>
                    <a:pt x="4455319" y="290036"/>
                    <a:pt x="4454366" y="292894"/>
                  </a:cubicBezTo>
                  <a:cubicBezTo>
                    <a:pt x="4454366" y="287179"/>
                    <a:pt x="4454366" y="280511"/>
                    <a:pt x="4455319" y="274796"/>
                  </a:cubicBezTo>
                  <a:close/>
                  <a:moveTo>
                    <a:pt x="4449604" y="361474"/>
                  </a:moveTo>
                  <a:cubicBezTo>
                    <a:pt x="4450556" y="353854"/>
                    <a:pt x="4450556" y="346234"/>
                    <a:pt x="4451509" y="339566"/>
                  </a:cubicBezTo>
                  <a:cubicBezTo>
                    <a:pt x="4452462" y="340519"/>
                    <a:pt x="4452462" y="342424"/>
                    <a:pt x="4453414" y="343376"/>
                  </a:cubicBezTo>
                  <a:cubicBezTo>
                    <a:pt x="4453414" y="343376"/>
                    <a:pt x="4453414" y="343376"/>
                    <a:pt x="4453414" y="344329"/>
                  </a:cubicBezTo>
                  <a:cubicBezTo>
                    <a:pt x="4453414" y="344329"/>
                    <a:pt x="4453414" y="344329"/>
                    <a:pt x="4453414" y="344329"/>
                  </a:cubicBezTo>
                  <a:cubicBezTo>
                    <a:pt x="4452462" y="350996"/>
                    <a:pt x="4451509" y="358616"/>
                    <a:pt x="4451509" y="366236"/>
                  </a:cubicBezTo>
                  <a:cubicBezTo>
                    <a:pt x="4450556" y="372904"/>
                    <a:pt x="4449604" y="380524"/>
                    <a:pt x="4448651" y="388144"/>
                  </a:cubicBezTo>
                  <a:cubicBezTo>
                    <a:pt x="4447699" y="387191"/>
                    <a:pt x="4447699" y="387191"/>
                    <a:pt x="4446747" y="386239"/>
                  </a:cubicBezTo>
                  <a:cubicBezTo>
                    <a:pt x="4447699" y="377666"/>
                    <a:pt x="4448651" y="370046"/>
                    <a:pt x="4449604" y="361474"/>
                  </a:cubicBezTo>
                  <a:close/>
                  <a:moveTo>
                    <a:pt x="4386739" y="331946"/>
                  </a:moveTo>
                  <a:cubicBezTo>
                    <a:pt x="4387691" y="332899"/>
                    <a:pt x="4388644" y="334804"/>
                    <a:pt x="4390549" y="335756"/>
                  </a:cubicBezTo>
                  <a:cubicBezTo>
                    <a:pt x="4390549" y="337661"/>
                    <a:pt x="4390549" y="339566"/>
                    <a:pt x="4390549" y="342424"/>
                  </a:cubicBezTo>
                  <a:cubicBezTo>
                    <a:pt x="4389597" y="343376"/>
                    <a:pt x="4388644" y="345281"/>
                    <a:pt x="4386739" y="347186"/>
                  </a:cubicBezTo>
                  <a:cubicBezTo>
                    <a:pt x="4386739" y="341471"/>
                    <a:pt x="4386739" y="336709"/>
                    <a:pt x="4386739" y="331946"/>
                  </a:cubicBezTo>
                  <a:close/>
                  <a:moveTo>
                    <a:pt x="4389597" y="376714"/>
                  </a:moveTo>
                  <a:cubicBezTo>
                    <a:pt x="4389597" y="376714"/>
                    <a:pt x="4389597" y="375761"/>
                    <a:pt x="4388644" y="375761"/>
                  </a:cubicBezTo>
                  <a:cubicBezTo>
                    <a:pt x="4388644" y="373856"/>
                    <a:pt x="4387691" y="371951"/>
                    <a:pt x="4387691" y="370046"/>
                  </a:cubicBezTo>
                  <a:cubicBezTo>
                    <a:pt x="4387691" y="367189"/>
                    <a:pt x="4387691" y="363379"/>
                    <a:pt x="4387691" y="360521"/>
                  </a:cubicBezTo>
                  <a:cubicBezTo>
                    <a:pt x="4387691" y="357664"/>
                    <a:pt x="4387691" y="354806"/>
                    <a:pt x="4387691" y="351949"/>
                  </a:cubicBezTo>
                  <a:cubicBezTo>
                    <a:pt x="4388644" y="349091"/>
                    <a:pt x="4390549" y="347186"/>
                    <a:pt x="4391501" y="345281"/>
                  </a:cubicBezTo>
                  <a:cubicBezTo>
                    <a:pt x="4391501" y="346234"/>
                    <a:pt x="4391501" y="348139"/>
                    <a:pt x="4391501" y="349091"/>
                  </a:cubicBezTo>
                  <a:cubicBezTo>
                    <a:pt x="4391501" y="355759"/>
                    <a:pt x="4392454" y="362426"/>
                    <a:pt x="4392454" y="370046"/>
                  </a:cubicBezTo>
                  <a:cubicBezTo>
                    <a:pt x="4390549" y="371951"/>
                    <a:pt x="4389597" y="374809"/>
                    <a:pt x="4389597" y="376714"/>
                  </a:cubicBezTo>
                  <a:close/>
                  <a:moveTo>
                    <a:pt x="4424839" y="351949"/>
                  </a:moveTo>
                  <a:cubicBezTo>
                    <a:pt x="4424839" y="352901"/>
                    <a:pt x="4424839" y="353854"/>
                    <a:pt x="4424839" y="354806"/>
                  </a:cubicBezTo>
                  <a:cubicBezTo>
                    <a:pt x="4423887" y="355759"/>
                    <a:pt x="4423887" y="356711"/>
                    <a:pt x="4422934" y="356711"/>
                  </a:cubicBezTo>
                  <a:cubicBezTo>
                    <a:pt x="4422934" y="354806"/>
                    <a:pt x="4423887" y="353854"/>
                    <a:pt x="4424839" y="351949"/>
                  </a:cubicBezTo>
                  <a:close/>
                  <a:moveTo>
                    <a:pt x="4415314" y="411004"/>
                  </a:moveTo>
                  <a:cubicBezTo>
                    <a:pt x="4415314" y="411004"/>
                    <a:pt x="4415314" y="411956"/>
                    <a:pt x="4415314" y="411956"/>
                  </a:cubicBezTo>
                  <a:cubicBezTo>
                    <a:pt x="4414362" y="411004"/>
                    <a:pt x="4413409" y="410051"/>
                    <a:pt x="4412456" y="409099"/>
                  </a:cubicBezTo>
                  <a:cubicBezTo>
                    <a:pt x="4412456" y="401479"/>
                    <a:pt x="4412456" y="392906"/>
                    <a:pt x="4411504" y="385286"/>
                  </a:cubicBezTo>
                  <a:cubicBezTo>
                    <a:pt x="4414362" y="380524"/>
                    <a:pt x="4417219" y="376714"/>
                    <a:pt x="4420076" y="372904"/>
                  </a:cubicBezTo>
                  <a:cubicBezTo>
                    <a:pt x="4420076" y="373856"/>
                    <a:pt x="4421029" y="373856"/>
                    <a:pt x="4421029" y="374809"/>
                  </a:cubicBezTo>
                  <a:cubicBezTo>
                    <a:pt x="4419124" y="386239"/>
                    <a:pt x="4417219" y="397669"/>
                    <a:pt x="4415314" y="411004"/>
                  </a:cubicBezTo>
                  <a:close/>
                  <a:moveTo>
                    <a:pt x="4410551" y="254794"/>
                  </a:moveTo>
                  <a:cubicBezTo>
                    <a:pt x="4413409" y="260509"/>
                    <a:pt x="4417219" y="267176"/>
                    <a:pt x="4421029" y="273844"/>
                  </a:cubicBezTo>
                  <a:cubicBezTo>
                    <a:pt x="4419124" y="280511"/>
                    <a:pt x="4417219" y="287179"/>
                    <a:pt x="4415314" y="293846"/>
                  </a:cubicBezTo>
                  <a:cubicBezTo>
                    <a:pt x="4413409" y="301466"/>
                    <a:pt x="4410551" y="309086"/>
                    <a:pt x="4408647" y="316706"/>
                  </a:cubicBezTo>
                  <a:cubicBezTo>
                    <a:pt x="4407694" y="305276"/>
                    <a:pt x="4406741" y="297656"/>
                    <a:pt x="4406741" y="297656"/>
                  </a:cubicBezTo>
                  <a:cubicBezTo>
                    <a:pt x="4406741" y="297656"/>
                    <a:pt x="4404837" y="310991"/>
                    <a:pt x="4402931" y="331946"/>
                  </a:cubicBezTo>
                  <a:cubicBezTo>
                    <a:pt x="4402931" y="333851"/>
                    <a:pt x="4401979" y="335756"/>
                    <a:pt x="4401026" y="337661"/>
                  </a:cubicBezTo>
                  <a:cubicBezTo>
                    <a:pt x="4401026" y="337661"/>
                    <a:pt x="4400074" y="336709"/>
                    <a:pt x="4400074" y="336709"/>
                  </a:cubicBezTo>
                  <a:cubicBezTo>
                    <a:pt x="4393406" y="295751"/>
                    <a:pt x="4388644" y="270034"/>
                    <a:pt x="4388644" y="270034"/>
                  </a:cubicBezTo>
                  <a:cubicBezTo>
                    <a:pt x="4388644" y="270034"/>
                    <a:pt x="4388644" y="292894"/>
                    <a:pt x="4389597" y="328136"/>
                  </a:cubicBezTo>
                  <a:cubicBezTo>
                    <a:pt x="4388644" y="327184"/>
                    <a:pt x="4387691" y="326231"/>
                    <a:pt x="4386739" y="325279"/>
                  </a:cubicBezTo>
                  <a:cubicBezTo>
                    <a:pt x="4386739" y="324326"/>
                    <a:pt x="4386739" y="324326"/>
                    <a:pt x="4386739" y="323374"/>
                  </a:cubicBezTo>
                  <a:cubicBezTo>
                    <a:pt x="4387691" y="311944"/>
                    <a:pt x="4386739" y="300514"/>
                    <a:pt x="4387691" y="290989"/>
                  </a:cubicBezTo>
                  <a:cubicBezTo>
                    <a:pt x="4388644" y="280511"/>
                    <a:pt x="4388644" y="271939"/>
                    <a:pt x="4389597" y="263366"/>
                  </a:cubicBezTo>
                  <a:cubicBezTo>
                    <a:pt x="4390549" y="254794"/>
                    <a:pt x="4390549" y="248126"/>
                    <a:pt x="4391501" y="242411"/>
                  </a:cubicBezTo>
                  <a:cubicBezTo>
                    <a:pt x="4392454" y="233839"/>
                    <a:pt x="4393406" y="228124"/>
                    <a:pt x="4393406" y="225266"/>
                  </a:cubicBezTo>
                  <a:cubicBezTo>
                    <a:pt x="4399122" y="232886"/>
                    <a:pt x="4403884" y="243364"/>
                    <a:pt x="4410551" y="254794"/>
                  </a:cubicBezTo>
                  <a:close/>
                  <a:moveTo>
                    <a:pt x="4389597" y="217646"/>
                  </a:moveTo>
                  <a:cubicBezTo>
                    <a:pt x="4390549" y="219551"/>
                    <a:pt x="4392454" y="221456"/>
                    <a:pt x="4393406" y="224314"/>
                  </a:cubicBezTo>
                  <a:cubicBezTo>
                    <a:pt x="4392454" y="227171"/>
                    <a:pt x="4390549" y="232886"/>
                    <a:pt x="4387691" y="240506"/>
                  </a:cubicBezTo>
                  <a:cubicBezTo>
                    <a:pt x="4385787" y="246221"/>
                    <a:pt x="4383881" y="252889"/>
                    <a:pt x="4381976" y="260509"/>
                  </a:cubicBezTo>
                  <a:cubicBezTo>
                    <a:pt x="4381976" y="259556"/>
                    <a:pt x="4381976" y="257651"/>
                    <a:pt x="4381976" y="256699"/>
                  </a:cubicBezTo>
                  <a:cubicBezTo>
                    <a:pt x="4384834" y="242411"/>
                    <a:pt x="4386739" y="229076"/>
                    <a:pt x="4389597" y="217646"/>
                  </a:cubicBezTo>
                  <a:close/>
                  <a:moveTo>
                    <a:pt x="4374356" y="291941"/>
                  </a:moveTo>
                  <a:cubicBezTo>
                    <a:pt x="4374356" y="291941"/>
                    <a:pt x="4374356" y="292894"/>
                    <a:pt x="4374356" y="292894"/>
                  </a:cubicBezTo>
                  <a:cubicBezTo>
                    <a:pt x="4374356" y="292894"/>
                    <a:pt x="4374356" y="292894"/>
                    <a:pt x="4374356" y="291941"/>
                  </a:cubicBezTo>
                  <a:cubicBezTo>
                    <a:pt x="4374356" y="291941"/>
                    <a:pt x="4374356" y="291941"/>
                    <a:pt x="4374356" y="291941"/>
                  </a:cubicBezTo>
                  <a:close/>
                  <a:moveTo>
                    <a:pt x="4360069" y="282416"/>
                  </a:moveTo>
                  <a:cubicBezTo>
                    <a:pt x="4360069" y="284321"/>
                    <a:pt x="4360069" y="287179"/>
                    <a:pt x="4360069" y="290036"/>
                  </a:cubicBezTo>
                  <a:cubicBezTo>
                    <a:pt x="4360069" y="289084"/>
                    <a:pt x="4359116" y="288131"/>
                    <a:pt x="4359116" y="288131"/>
                  </a:cubicBezTo>
                  <a:cubicBezTo>
                    <a:pt x="4359116" y="285274"/>
                    <a:pt x="4359116" y="283369"/>
                    <a:pt x="4360069" y="282416"/>
                  </a:cubicBezTo>
                  <a:close/>
                  <a:moveTo>
                    <a:pt x="4313397" y="387191"/>
                  </a:moveTo>
                  <a:cubicBezTo>
                    <a:pt x="4312444" y="388144"/>
                    <a:pt x="4312444" y="390049"/>
                    <a:pt x="4311491" y="391001"/>
                  </a:cubicBezTo>
                  <a:cubicBezTo>
                    <a:pt x="4312444" y="389096"/>
                    <a:pt x="4312444" y="388144"/>
                    <a:pt x="4313397" y="387191"/>
                  </a:cubicBezTo>
                  <a:cubicBezTo>
                    <a:pt x="4313397" y="386239"/>
                    <a:pt x="4313397" y="387191"/>
                    <a:pt x="4313397" y="387191"/>
                  </a:cubicBezTo>
                  <a:close/>
                  <a:moveTo>
                    <a:pt x="4311491" y="351949"/>
                  </a:moveTo>
                  <a:cubicBezTo>
                    <a:pt x="4311491" y="356711"/>
                    <a:pt x="4312444" y="360521"/>
                    <a:pt x="4312444" y="365284"/>
                  </a:cubicBezTo>
                  <a:cubicBezTo>
                    <a:pt x="4311491" y="364331"/>
                    <a:pt x="4311491" y="364331"/>
                    <a:pt x="4311491" y="363379"/>
                  </a:cubicBezTo>
                  <a:cubicBezTo>
                    <a:pt x="4311491" y="358616"/>
                    <a:pt x="4311491" y="355759"/>
                    <a:pt x="4311491" y="351949"/>
                  </a:cubicBezTo>
                  <a:close/>
                  <a:moveTo>
                    <a:pt x="4247674" y="313849"/>
                  </a:moveTo>
                  <a:cubicBezTo>
                    <a:pt x="4247674" y="312896"/>
                    <a:pt x="4247674" y="312896"/>
                    <a:pt x="4247674" y="311944"/>
                  </a:cubicBezTo>
                  <a:cubicBezTo>
                    <a:pt x="4247674" y="312896"/>
                    <a:pt x="4247674" y="312896"/>
                    <a:pt x="4247674" y="313849"/>
                  </a:cubicBezTo>
                  <a:cubicBezTo>
                    <a:pt x="4247674" y="317659"/>
                    <a:pt x="4247674" y="320516"/>
                    <a:pt x="4246722" y="324326"/>
                  </a:cubicBezTo>
                  <a:cubicBezTo>
                    <a:pt x="4246722" y="323374"/>
                    <a:pt x="4246722" y="322421"/>
                    <a:pt x="4246722" y="322421"/>
                  </a:cubicBezTo>
                  <a:cubicBezTo>
                    <a:pt x="4246722" y="318611"/>
                    <a:pt x="4247674" y="315754"/>
                    <a:pt x="4247674" y="313849"/>
                  </a:cubicBezTo>
                  <a:close/>
                  <a:moveTo>
                    <a:pt x="4181951" y="367189"/>
                  </a:moveTo>
                  <a:cubicBezTo>
                    <a:pt x="4181951" y="351949"/>
                    <a:pt x="4182904" y="337661"/>
                    <a:pt x="4182904" y="324326"/>
                  </a:cubicBezTo>
                  <a:cubicBezTo>
                    <a:pt x="4182904" y="326231"/>
                    <a:pt x="4183856" y="328136"/>
                    <a:pt x="4183856" y="330041"/>
                  </a:cubicBezTo>
                  <a:cubicBezTo>
                    <a:pt x="4184809" y="333851"/>
                    <a:pt x="4185761" y="336709"/>
                    <a:pt x="4185761" y="340519"/>
                  </a:cubicBezTo>
                  <a:cubicBezTo>
                    <a:pt x="4185761" y="341471"/>
                    <a:pt x="4185761" y="342424"/>
                    <a:pt x="4185761" y="342424"/>
                  </a:cubicBezTo>
                  <a:cubicBezTo>
                    <a:pt x="4184809" y="339566"/>
                    <a:pt x="4183856" y="338614"/>
                    <a:pt x="4183856" y="338614"/>
                  </a:cubicBezTo>
                  <a:cubicBezTo>
                    <a:pt x="4183856" y="338614"/>
                    <a:pt x="4184809" y="345281"/>
                    <a:pt x="4187666" y="357664"/>
                  </a:cubicBezTo>
                  <a:cubicBezTo>
                    <a:pt x="4187666" y="360521"/>
                    <a:pt x="4188619" y="362426"/>
                    <a:pt x="4189571" y="365284"/>
                  </a:cubicBezTo>
                  <a:cubicBezTo>
                    <a:pt x="4189571" y="368141"/>
                    <a:pt x="4190524" y="370999"/>
                    <a:pt x="4191476" y="373856"/>
                  </a:cubicBezTo>
                  <a:cubicBezTo>
                    <a:pt x="4191476" y="377666"/>
                    <a:pt x="4190524" y="382429"/>
                    <a:pt x="4190524" y="386239"/>
                  </a:cubicBezTo>
                  <a:cubicBezTo>
                    <a:pt x="4190524" y="388144"/>
                    <a:pt x="4190524" y="390049"/>
                    <a:pt x="4190524" y="391954"/>
                  </a:cubicBezTo>
                  <a:cubicBezTo>
                    <a:pt x="4187666" y="383381"/>
                    <a:pt x="4184809" y="374809"/>
                    <a:pt x="4181951" y="367189"/>
                  </a:cubicBezTo>
                  <a:cubicBezTo>
                    <a:pt x="4181951" y="369094"/>
                    <a:pt x="4181951" y="368141"/>
                    <a:pt x="4181951" y="367189"/>
                  </a:cubicBezTo>
                  <a:close/>
                  <a:moveTo>
                    <a:pt x="4161949" y="401479"/>
                  </a:moveTo>
                  <a:cubicBezTo>
                    <a:pt x="4161949" y="400526"/>
                    <a:pt x="4161949" y="400526"/>
                    <a:pt x="4161949" y="399574"/>
                  </a:cubicBezTo>
                  <a:cubicBezTo>
                    <a:pt x="4161949" y="399574"/>
                    <a:pt x="4161949" y="399574"/>
                    <a:pt x="4161949" y="399574"/>
                  </a:cubicBezTo>
                  <a:cubicBezTo>
                    <a:pt x="4161949" y="400526"/>
                    <a:pt x="4161949" y="401479"/>
                    <a:pt x="4161949" y="401479"/>
                  </a:cubicBezTo>
                  <a:close/>
                  <a:moveTo>
                    <a:pt x="4160044" y="306229"/>
                  </a:moveTo>
                  <a:cubicBezTo>
                    <a:pt x="4160044" y="299561"/>
                    <a:pt x="4160996" y="295751"/>
                    <a:pt x="4160996" y="292894"/>
                  </a:cubicBezTo>
                  <a:cubicBezTo>
                    <a:pt x="4161949" y="289084"/>
                    <a:pt x="4162901" y="286226"/>
                    <a:pt x="4163854" y="282416"/>
                  </a:cubicBezTo>
                  <a:cubicBezTo>
                    <a:pt x="4163854" y="292894"/>
                    <a:pt x="4162901" y="303371"/>
                    <a:pt x="4162901" y="313849"/>
                  </a:cubicBezTo>
                  <a:cubicBezTo>
                    <a:pt x="4161949" y="310991"/>
                    <a:pt x="4160996" y="309086"/>
                    <a:pt x="4160044" y="306229"/>
                  </a:cubicBezTo>
                  <a:cubicBezTo>
                    <a:pt x="4160044" y="306229"/>
                    <a:pt x="4160044" y="306229"/>
                    <a:pt x="4160044" y="306229"/>
                  </a:cubicBezTo>
                  <a:close/>
                  <a:moveTo>
                    <a:pt x="4128611" y="354806"/>
                  </a:moveTo>
                  <a:cubicBezTo>
                    <a:pt x="4128611" y="350996"/>
                    <a:pt x="4128611" y="347186"/>
                    <a:pt x="4127659" y="343376"/>
                  </a:cubicBezTo>
                  <a:cubicBezTo>
                    <a:pt x="4127659" y="345281"/>
                    <a:pt x="4127659" y="347186"/>
                    <a:pt x="4128611" y="350044"/>
                  </a:cubicBezTo>
                  <a:cubicBezTo>
                    <a:pt x="4129564" y="354806"/>
                    <a:pt x="4129564" y="360521"/>
                    <a:pt x="4130516" y="365284"/>
                  </a:cubicBezTo>
                  <a:cubicBezTo>
                    <a:pt x="4129564" y="361474"/>
                    <a:pt x="4129564" y="358616"/>
                    <a:pt x="4128611" y="354806"/>
                  </a:cubicBezTo>
                  <a:close/>
                  <a:moveTo>
                    <a:pt x="4124801" y="255746"/>
                  </a:moveTo>
                  <a:cubicBezTo>
                    <a:pt x="4124801" y="252889"/>
                    <a:pt x="4124801" y="250031"/>
                    <a:pt x="4124801" y="248126"/>
                  </a:cubicBezTo>
                  <a:cubicBezTo>
                    <a:pt x="4129564" y="265271"/>
                    <a:pt x="4134326" y="284321"/>
                    <a:pt x="4140041" y="303371"/>
                  </a:cubicBezTo>
                  <a:cubicBezTo>
                    <a:pt x="4140041" y="304324"/>
                    <a:pt x="4140994" y="306229"/>
                    <a:pt x="4140994" y="307181"/>
                  </a:cubicBezTo>
                  <a:cubicBezTo>
                    <a:pt x="4140994" y="311944"/>
                    <a:pt x="4140994" y="316706"/>
                    <a:pt x="4140994" y="321469"/>
                  </a:cubicBezTo>
                  <a:cubicBezTo>
                    <a:pt x="4136231" y="310991"/>
                    <a:pt x="4133374" y="305276"/>
                    <a:pt x="4133374" y="305276"/>
                  </a:cubicBezTo>
                  <a:cubicBezTo>
                    <a:pt x="4133374" y="305276"/>
                    <a:pt x="4134326" y="308134"/>
                    <a:pt x="4135279" y="312896"/>
                  </a:cubicBezTo>
                  <a:cubicBezTo>
                    <a:pt x="4132421" y="309086"/>
                    <a:pt x="4130516" y="304324"/>
                    <a:pt x="4127659" y="300514"/>
                  </a:cubicBezTo>
                  <a:cubicBezTo>
                    <a:pt x="4125754" y="293846"/>
                    <a:pt x="4124801" y="288131"/>
                    <a:pt x="4123849" y="284321"/>
                  </a:cubicBezTo>
                  <a:cubicBezTo>
                    <a:pt x="4124801" y="273844"/>
                    <a:pt x="4124801" y="264319"/>
                    <a:pt x="4124801" y="255746"/>
                  </a:cubicBezTo>
                  <a:close/>
                  <a:moveTo>
                    <a:pt x="4095274" y="395764"/>
                  </a:moveTo>
                  <a:cubicBezTo>
                    <a:pt x="4094321" y="395764"/>
                    <a:pt x="4094321" y="395764"/>
                    <a:pt x="4095274" y="395764"/>
                  </a:cubicBezTo>
                  <a:cubicBezTo>
                    <a:pt x="4095274" y="394811"/>
                    <a:pt x="4095274" y="394811"/>
                    <a:pt x="4095274" y="394811"/>
                  </a:cubicBezTo>
                  <a:cubicBezTo>
                    <a:pt x="4095274" y="394811"/>
                    <a:pt x="4095274" y="395764"/>
                    <a:pt x="4095274" y="395764"/>
                  </a:cubicBezTo>
                  <a:close/>
                  <a:moveTo>
                    <a:pt x="4093369" y="386239"/>
                  </a:moveTo>
                  <a:cubicBezTo>
                    <a:pt x="4093369" y="383381"/>
                    <a:pt x="4093369" y="379571"/>
                    <a:pt x="4093369" y="376714"/>
                  </a:cubicBezTo>
                  <a:cubicBezTo>
                    <a:pt x="4094321" y="378619"/>
                    <a:pt x="4095274" y="380524"/>
                    <a:pt x="4096226" y="382429"/>
                  </a:cubicBezTo>
                  <a:cubicBezTo>
                    <a:pt x="4094321" y="384334"/>
                    <a:pt x="4094321" y="385286"/>
                    <a:pt x="4093369" y="386239"/>
                  </a:cubicBezTo>
                  <a:close/>
                  <a:moveTo>
                    <a:pt x="4097179" y="342424"/>
                  </a:moveTo>
                  <a:cubicBezTo>
                    <a:pt x="4098131" y="339566"/>
                    <a:pt x="4098131" y="337661"/>
                    <a:pt x="4099084" y="334804"/>
                  </a:cubicBezTo>
                  <a:cubicBezTo>
                    <a:pt x="4099084" y="335756"/>
                    <a:pt x="4099084" y="336709"/>
                    <a:pt x="4099084" y="337661"/>
                  </a:cubicBezTo>
                  <a:cubicBezTo>
                    <a:pt x="4099084" y="339566"/>
                    <a:pt x="4098131" y="340519"/>
                    <a:pt x="4097179" y="342424"/>
                  </a:cubicBezTo>
                  <a:close/>
                  <a:moveTo>
                    <a:pt x="4100989" y="353854"/>
                  </a:moveTo>
                  <a:cubicBezTo>
                    <a:pt x="4100989" y="352901"/>
                    <a:pt x="4100989" y="351949"/>
                    <a:pt x="4100989" y="351949"/>
                  </a:cubicBezTo>
                  <a:cubicBezTo>
                    <a:pt x="4100989" y="351949"/>
                    <a:pt x="4100989" y="351949"/>
                    <a:pt x="4100989" y="351949"/>
                  </a:cubicBezTo>
                  <a:cubicBezTo>
                    <a:pt x="4100989" y="352901"/>
                    <a:pt x="4100989" y="353854"/>
                    <a:pt x="4100989" y="353854"/>
                  </a:cubicBezTo>
                  <a:cubicBezTo>
                    <a:pt x="4100989" y="354806"/>
                    <a:pt x="4100989" y="353854"/>
                    <a:pt x="4100989" y="353854"/>
                  </a:cubicBezTo>
                  <a:close/>
                  <a:moveTo>
                    <a:pt x="4115276" y="322421"/>
                  </a:moveTo>
                  <a:cubicBezTo>
                    <a:pt x="4115276" y="330994"/>
                    <a:pt x="4114324" y="341471"/>
                    <a:pt x="4114324" y="350996"/>
                  </a:cubicBezTo>
                  <a:cubicBezTo>
                    <a:pt x="4113371" y="336709"/>
                    <a:pt x="4111466" y="327184"/>
                    <a:pt x="4111466" y="327184"/>
                  </a:cubicBezTo>
                  <a:cubicBezTo>
                    <a:pt x="4111466" y="327184"/>
                    <a:pt x="4110514" y="332899"/>
                    <a:pt x="4108609" y="342424"/>
                  </a:cubicBezTo>
                  <a:cubicBezTo>
                    <a:pt x="4108609" y="342424"/>
                    <a:pt x="4107656" y="341471"/>
                    <a:pt x="4107656" y="341471"/>
                  </a:cubicBezTo>
                  <a:cubicBezTo>
                    <a:pt x="4107656" y="339566"/>
                    <a:pt x="4106704" y="338614"/>
                    <a:pt x="4106704" y="336709"/>
                  </a:cubicBezTo>
                  <a:cubicBezTo>
                    <a:pt x="4108609" y="330994"/>
                    <a:pt x="4111466" y="326231"/>
                    <a:pt x="4113371" y="322421"/>
                  </a:cubicBezTo>
                  <a:cubicBezTo>
                    <a:pt x="4114324" y="321469"/>
                    <a:pt x="4114324" y="319564"/>
                    <a:pt x="4115276" y="318611"/>
                  </a:cubicBezTo>
                  <a:cubicBezTo>
                    <a:pt x="4115276" y="319564"/>
                    <a:pt x="4115276" y="320516"/>
                    <a:pt x="4115276" y="322421"/>
                  </a:cubicBezTo>
                  <a:close/>
                  <a:moveTo>
                    <a:pt x="4109561" y="295751"/>
                  </a:moveTo>
                  <a:cubicBezTo>
                    <a:pt x="4111466" y="299561"/>
                    <a:pt x="4113371" y="303371"/>
                    <a:pt x="4116229" y="308134"/>
                  </a:cubicBezTo>
                  <a:cubicBezTo>
                    <a:pt x="4116229" y="309086"/>
                    <a:pt x="4116229" y="310991"/>
                    <a:pt x="4116229" y="311944"/>
                  </a:cubicBezTo>
                  <a:cubicBezTo>
                    <a:pt x="4114324" y="314801"/>
                    <a:pt x="4112419" y="316706"/>
                    <a:pt x="4110514" y="320516"/>
                  </a:cubicBezTo>
                  <a:cubicBezTo>
                    <a:pt x="4108609" y="323374"/>
                    <a:pt x="4106704" y="326231"/>
                    <a:pt x="4104799" y="329089"/>
                  </a:cubicBezTo>
                  <a:cubicBezTo>
                    <a:pt x="4103846" y="326231"/>
                    <a:pt x="4102894" y="324326"/>
                    <a:pt x="4102894" y="322421"/>
                  </a:cubicBezTo>
                  <a:cubicBezTo>
                    <a:pt x="4105751" y="311944"/>
                    <a:pt x="4107656" y="303371"/>
                    <a:pt x="4109561" y="295751"/>
                  </a:cubicBezTo>
                  <a:close/>
                  <a:moveTo>
                    <a:pt x="4092416" y="294799"/>
                  </a:moveTo>
                  <a:cubicBezTo>
                    <a:pt x="4093369" y="284321"/>
                    <a:pt x="4093369" y="274796"/>
                    <a:pt x="4094321" y="265271"/>
                  </a:cubicBezTo>
                  <a:cubicBezTo>
                    <a:pt x="4095274" y="268129"/>
                    <a:pt x="4096226" y="270034"/>
                    <a:pt x="4098131" y="272891"/>
                  </a:cubicBezTo>
                  <a:cubicBezTo>
                    <a:pt x="4100989" y="278606"/>
                    <a:pt x="4103846" y="284321"/>
                    <a:pt x="4106704" y="290989"/>
                  </a:cubicBezTo>
                  <a:cubicBezTo>
                    <a:pt x="4103846" y="296704"/>
                    <a:pt x="4101941" y="304324"/>
                    <a:pt x="4098131" y="311944"/>
                  </a:cubicBezTo>
                  <a:cubicBezTo>
                    <a:pt x="4097179" y="308134"/>
                    <a:pt x="4096226" y="306229"/>
                    <a:pt x="4096226" y="306229"/>
                  </a:cubicBezTo>
                  <a:cubicBezTo>
                    <a:pt x="4096226" y="306229"/>
                    <a:pt x="4096226" y="310039"/>
                    <a:pt x="4097179" y="315754"/>
                  </a:cubicBezTo>
                  <a:cubicBezTo>
                    <a:pt x="4095274" y="320516"/>
                    <a:pt x="4093369" y="324326"/>
                    <a:pt x="4092416" y="329089"/>
                  </a:cubicBezTo>
                  <a:cubicBezTo>
                    <a:pt x="4092416" y="328136"/>
                    <a:pt x="4091464" y="326231"/>
                    <a:pt x="4091464" y="325279"/>
                  </a:cubicBezTo>
                  <a:cubicBezTo>
                    <a:pt x="4091464" y="324326"/>
                    <a:pt x="4090511" y="323374"/>
                    <a:pt x="4090511" y="321469"/>
                  </a:cubicBezTo>
                  <a:cubicBezTo>
                    <a:pt x="4091464" y="311944"/>
                    <a:pt x="4092416" y="303371"/>
                    <a:pt x="4092416" y="294799"/>
                  </a:cubicBezTo>
                  <a:close/>
                  <a:moveTo>
                    <a:pt x="4085749" y="244316"/>
                  </a:moveTo>
                  <a:cubicBezTo>
                    <a:pt x="4085749" y="245269"/>
                    <a:pt x="4085749" y="245269"/>
                    <a:pt x="4085749" y="244316"/>
                  </a:cubicBezTo>
                  <a:cubicBezTo>
                    <a:pt x="4085749" y="247174"/>
                    <a:pt x="4085749" y="248126"/>
                    <a:pt x="4084796" y="250031"/>
                  </a:cubicBezTo>
                  <a:cubicBezTo>
                    <a:pt x="4084796" y="249079"/>
                    <a:pt x="4084796" y="246221"/>
                    <a:pt x="4085749" y="244316"/>
                  </a:cubicBezTo>
                  <a:close/>
                  <a:moveTo>
                    <a:pt x="4043839" y="279559"/>
                  </a:moveTo>
                  <a:cubicBezTo>
                    <a:pt x="4044791" y="280511"/>
                    <a:pt x="4044791" y="280511"/>
                    <a:pt x="4043839" y="279559"/>
                  </a:cubicBezTo>
                  <a:cubicBezTo>
                    <a:pt x="4044791" y="281464"/>
                    <a:pt x="4044791" y="282416"/>
                    <a:pt x="4044791" y="283369"/>
                  </a:cubicBezTo>
                  <a:cubicBezTo>
                    <a:pt x="4043839" y="282416"/>
                    <a:pt x="4043839" y="281464"/>
                    <a:pt x="4043839" y="281464"/>
                  </a:cubicBezTo>
                  <a:cubicBezTo>
                    <a:pt x="4043839" y="281464"/>
                    <a:pt x="4043839" y="283369"/>
                    <a:pt x="4044791" y="286226"/>
                  </a:cubicBezTo>
                  <a:cubicBezTo>
                    <a:pt x="4044791" y="287179"/>
                    <a:pt x="4044791" y="288131"/>
                    <a:pt x="4044791" y="290036"/>
                  </a:cubicBezTo>
                  <a:cubicBezTo>
                    <a:pt x="4043839" y="288131"/>
                    <a:pt x="4042886" y="286226"/>
                    <a:pt x="4042886" y="284321"/>
                  </a:cubicBezTo>
                  <a:cubicBezTo>
                    <a:pt x="4043839" y="282416"/>
                    <a:pt x="4043839" y="281464"/>
                    <a:pt x="4043839" y="279559"/>
                  </a:cubicBezTo>
                  <a:close/>
                  <a:moveTo>
                    <a:pt x="4044791" y="333851"/>
                  </a:moveTo>
                  <a:cubicBezTo>
                    <a:pt x="4044791" y="333851"/>
                    <a:pt x="4044791" y="333851"/>
                    <a:pt x="4044791" y="333851"/>
                  </a:cubicBezTo>
                  <a:cubicBezTo>
                    <a:pt x="4044791" y="335756"/>
                    <a:pt x="4044791" y="337661"/>
                    <a:pt x="4044791" y="339566"/>
                  </a:cubicBezTo>
                  <a:cubicBezTo>
                    <a:pt x="4043839" y="338614"/>
                    <a:pt x="4043839" y="338614"/>
                    <a:pt x="4042886" y="337661"/>
                  </a:cubicBezTo>
                  <a:cubicBezTo>
                    <a:pt x="4042886" y="335756"/>
                    <a:pt x="4043839" y="334804"/>
                    <a:pt x="4044791" y="333851"/>
                  </a:cubicBezTo>
                  <a:close/>
                  <a:moveTo>
                    <a:pt x="4039076" y="271939"/>
                  </a:moveTo>
                  <a:cubicBezTo>
                    <a:pt x="4039076" y="272891"/>
                    <a:pt x="4039076" y="272891"/>
                    <a:pt x="4039076" y="273844"/>
                  </a:cubicBezTo>
                  <a:cubicBezTo>
                    <a:pt x="4039076" y="272891"/>
                    <a:pt x="4038124" y="271939"/>
                    <a:pt x="4038124" y="270034"/>
                  </a:cubicBezTo>
                  <a:cubicBezTo>
                    <a:pt x="4037171" y="268129"/>
                    <a:pt x="4037171" y="267176"/>
                    <a:pt x="4036219" y="265271"/>
                  </a:cubicBezTo>
                  <a:cubicBezTo>
                    <a:pt x="4037171" y="267176"/>
                    <a:pt x="4038124" y="269081"/>
                    <a:pt x="4039076" y="271939"/>
                  </a:cubicBezTo>
                  <a:close/>
                  <a:moveTo>
                    <a:pt x="4033361" y="358616"/>
                  </a:moveTo>
                  <a:cubicBezTo>
                    <a:pt x="4033361" y="355759"/>
                    <a:pt x="4034314" y="353854"/>
                    <a:pt x="4034314" y="351949"/>
                  </a:cubicBezTo>
                  <a:cubicBezTo>
                    <a:pt x="4035266" y="350044"/>
                    <a:pt x="4037171" y="347186"/>
                    <a:pt x="4038124" y="345281"/>
                  </a:cubicBezTo>
                  <a:cubicBezTo>
                    <a:pt x="4040029" y="347186"/>
                    <a:pt x="4041934" y="350044"/>
                    <a:pt x="4043839" y="351949"/>
                  </a:cubicBezTo>
                  <a:cubicBezTo>
                    <a:pt x="4042886" y="363379"/>
                    <a:pt x="4041934" y="376714"/>
                    <a:pt x="4040981" y="391954"/>
                  </a:cubicBezTo>
                  <a:cubicBezTo>
                    <a:pt x="4039076" y="398621"/>
                    <a:pt x="4037171" y="406241"/>
                    <a:pt x="4035266" y="413861"/>
                  </a:cubicBezTo>
                  <a:cubicBezTo>
                    <a:pt x="4033361" y="407194"/>
                    <a:pt x="4030504" y="401479"/>
                    <a:pt x="4029551" y="395764"/>
                  </a:cubicBezTo>
                  <a:cubicBezTo>
                    <a:pt x="4028599" y="392906"/>
                    <a:pt x="4027646" y="391001"/>
                    <a:pt x="4027646" y="388144"/>
                  </a:cubicBezTo>
                  <a:cubicBezTo>
                    <a:pt x="4029551" y="377666"/>
                    <a:pt x="4031456" y="368141"/>
                    <a:pt x="4033361" y="358616"/>
                  </a:cubicBezTo>
                  <a:close/>
                  <a:moveTo>
                    <a:pt x="4020026" y="324326"/>
                  </a:moveTo>
                  <a:cubicBezTo>
                    <a:pt x="4020979" y="325279"/>
                    <a:pt x="4020979" y="325279"/>
                    <a:pt x="4021931" y="326231"/>
                  </a:cubicBezTo>
                  <a:cubicBezTo>
                    <a:pt x="4020979" y="329089"/>
                    <a:pt x="4020026" y="331946"/>
                    <a:pt x="4019074" y="334804"/>
                  </a:cubicBezTo>
                  <a:cubicBezTo>
                    <a:pt x="4018121" y="336709"/>
                    <a:pt x="4018121" y="339566"/>
                    <a:pt x="4017169" y="341471"/>
                  </a:cubicBezTo>
                  <a:cubicBezTo>
                    <a:pt x="4017169" y="341471"/>
                    <a:pt x="4017169" y="342424"/>
                    <a:pt x="4016216" y="342424"/>
                  </a:cubicBezTo>
                  <a:cubicBezTo>
                    <a:pt x="4016216" y="343376"/>
                    <a:pt x="4015264" y="343376"/>
                    <a:pt x="4015264" y="344329"/>
                  </a:cubicBezTo>
                  <a:cubicBezTo>
                    <a:pt x="4014311" y="333851"/>
                    <a:pt x="4012406" y="324326"/>
                    <a:pt x="4011454" y="315754"/>
                  </a:cubicBezTo>
                  <a:cubicBezTo>
                    <a:pt x="4014311" y="317659"/>
                    <a:pt x="4017169" y="320516"/>
                    <a:pt x="4020026" y="324326"/>
                  </a:cubicBezTo>
                  <a:close/>
                  <a:moveTo>
                    <a:pt x="3999071" y="282416"/>
                  </a:moveTo>
                  <a:cubicBezTo>
                    <a:pt x="4000024" y="282416"/>
                    <a:pt x="4000024" y="282416"/>
                    <a:pt x="3999071" y="282416"/>
                  </a:cubicBezTo>
                  <a:cubicBezTo>
                    <a:pt x="4000024" y="290989"/>
                    <a:pt x="4000024" y="300514"/>
                    <a:pt x="4000024" y="310991"/>
                  </a:cubicBezTo>
                  <a:cubicBezTo>
                    <a:pt x="4000024" y="312896"/>
                    <a:pt x="4000024" y="314801"/>
                    <a:pt x="4000024" y="316706"/>
                  </a:cubicBezTo>
                  <a:cubicBezTo>
                    <a:pt x="4000024" y="319564"/>
                    <a:pt x="3999071" y="322421"/>
                    <a:pt x="3999071" y="325279"/>
                  </a:cubicBezTo>
                  <a:cubicBezTo>
                    <a:pt x="3999071" y="325279"/>
                    <a:pt x="3999071" y="326231"/>
                    <a:pt x="3999071" y="327184"/>
                  </a:cubicBezTo>
                  <a:cubicBezTo>
                    <a:pt x="3999071" y="326231"/>
                    <a:pt x="3998119" y="325279"/>
                    <a:pt x="3998119" y="324326"/>
                  </a:cubicBezTo>
                  <a:lnTo>
                    <a:pt x="3997166" y="314801"/>
                  </a:lnTo>
                  <a:lnTo>
                    <a:pt x="3996214" y="286226"/>
                  </a:lnTo>
                  <a:cubicBezTo>
                    <a:pt x="3997166" y="285274"/>
                    <a:pt x="3998119" y="284321"/>
                    <a:pt x="3999071" y="282416"/>
                  </a:cubicBezTo>
                  <a:close/>
                  <a:moveTo>
                    <a:pt x="3983831" y="405289"/>
                  </a:moveTo>
                  <a:cubicBezTo>
                    <a:pt x="3982879" y="408146"/>
                    <a:pt x="3981926" y="410051"/>
                    <a:pt x="3980021" y="412909"/>
                  </a:cubicBezTo>
                  <a:cubicBezTo>
                    <a:pt x="3980021" y="412909"/>
                    <a:pt x="3980021" y="412909"/>
                    <a:pt x="3980021" y="412909"/>
                  </a:cubicBezTo>
                  <a:cubicBezTo>
                    <a:pt x="3981926" y="407194"/>
                    <a:pt x="3981926" y="404336"/>
                    <a:pt x="3982879" y="402431"/>
                  </a:cubicBezTo>
                  <a:cubicBezTo>
                    <a:pt x="3982879" y="403384"/>
                    <a:pt x="3982879" y="404336"/>
                    <a:pt x="3983831" y="405289"/>
                  </a:cubicBezTo>
                  <a:close/>
                  <a:moveTo>
                    <a:pt x="3980974" y="395764"/>
                  </a:moveTo>
                  <a:cubicBezTo>
                    <a:pt x="3981926" y="397669"/>
                    <a:pt x="3981926" y="399574"/>
                    <a:pt x="3982879" y="401479"/>
                  </a:cubicBezTo>
                  <a:cubicBezTo>
                    <a:pt x="3982879" y="402431"/>
                    <a:pt x="3980974" y="404336"/>
                    <a:pt x="3979069" y="407194"/>
                  </a:cubicBezTo>
                  <a:cubicBezTo>
                    <a:pt x="3979069" y="407194"/>
                    <a:pt x="3979069" y="406241"/>
                    <a:pt x="3979069" y="406241"/>
                  </a:cubicBezTo>
                  <a:cubicBezTo>
                    <a:pt x="3980021" y="403384"/>
                    <a:pt x="3980021" y="399574"/>
                    <a:pt x="3980974" y="395764"/>
                  </a:cubicBezTo>
                  <a:close/>
                  <a:moveTo>
                    <a:pt x="3976211" y="378619"/>
                  </a:moveTo>
                  <a:cubicBezTo>
                    <a:pt x="3976211" y="378619"/>
                    <a:pt x="3976211" y="378619"/>
                    <a:pt x="3976211" y="378619"/>
                  </a:cubicBezTo>
                  <a:cubicBezTo>
                    <a:pt x="3976211" y="379571"/>
                    <a:pt x="3976211" y="379571"/>
                    <a:pt x="3976211" y="380524"/>
                  </a:cubicBezTo>
                  <a:cubicBezTo>
                    <a:pt x="3976211" y="379571"/>
                    <a:pt x="3976211" y="378619"/>
                    <a:pt x="3976211" y="378619"/>
                  </a:cubicBezTo>
                  <a:close/>
                  <a:moveTo>
                    <a:pt x="3948589" y="255746"/>
                  </a:moveTo>
                  <a:cubicBezTo>
                    <a:pt x="3948589" y="262414"/>
                    <a:pt x="3947636" y="270034"/>
                    <a:pt x="3946684" y="277654"/>
                  </a:cubicBezTo>
                  <a:cubicBezTo>
                    <a:pt x="3946684" y="279559"/>
                    <a:pt x="3946684" y="282416"/>
                    <a:pt x="3945731" y="285274"/>
                  </a:cubicBezTo>
                  <a:cubicBezTo>
                    <a:pt x="3944779" y="278606"/>
                    <a:pt x="3944779" y="272891"/>
                    <a:pt x="3943826" y="266224"/>
                  </a:cubicBezTo>
                  <a:cubicBezTo>
                    <a:pt x="3942874" y="257651"/>
                    <a:pt x="3940969" y="249079"/>
                    <a:pt x="3940016" y="240506"/>
                  </a:cubicBezTo>
                  <a:cubicBezTo>
                    <a:pt x="3940016" y="240506"/>
                    <a:pt x="3940016" y="240506"/>
                    <a:pt x="3940016" y="239554"/>
                  </a:cubicBezTo>
                  <a:cubicBezTo>
                    <a:pt x="3940016" y="238601"/>
                    <a:pt x="3940016" y="237649"/>
                    <a:pt x="3940016" y="236696"/>
                  </a:cubicBezTo>
                  <a:cubicBezTo>
                    <a:pt x="3940969" y="237649"/>
                    <a:pt x="3941921" y="239554"/>
                    <a:pt x="3942874" y="240506"/>
                  </a:cubicBezTo>
                  <a:cubicBezTo>
                    <a:pt x="3944779" y="243364"/>
                    <a:pt x="3945731" y="245269"/>
                    <a:pt x="3947636" y="248126"/>
                  </a:cubicBezTo>
                  <a:cubicBezTo>
                    <a:pt x="3948589" y="251936"/>
                    <a:pt x="3948589" y="253841"/>
                    <a:pt x="3948589" y="255746"/>
                  </a:cubicBezTo>
                  <a:close/>
                  <a:moveTo>
                    <a:pt x="3943826" y="205264"/>
                  </a:moveTo>
                  <a:cubicBezTo>
                    <a:pt x="3943826" y="207169"/>
                    <a:pt x="3943826" y="209074"/>
                    <a:pt x="3943826" y="210979"/>
                  </a:cubicBezTo>
                  <a:cubicBezTo>
                    <a:pt x="3943826" y="216694"/>
                    <a:pt x="3944779" y="223361"/>
                    <a:pt x="3945731" y="230981"/>
                  </a:cubicBezTo>
                  <a:cubicBezTo>
                    <a:pt x="3945731" y="232886"/>
                    <a:pt x="3945731" y="234791"/>
                    <a:pt x="3946684" y="236696"/>
                  </a:cubicBezTo>
                  <a:cubicBezTo>
                    <a:pt x="3943826" y="233839"/>
                    <a:pt x="3941921" y="230029"/>
                    <a:pt x="3939064" y="228124"/>
                  </a:cubicBezTo>
                  <a:cubicBezTo>
                    <a:pt x="3938111" y="224314"/>
                    <a:pt x="3938111" y="219551"/>
                    <a:pt x="3937159" y="215741"/>
                  </a:cubicBezTo>
                  <a:cubicBezTo>
                    <a:pt x="3940016" y="210979"/>
                    <a:pt x="3941921" y="208121"/>
                    <a:pt x="3943826" y="205264"/>
                  </a:cubicBezTo>
                  <a:close/>
                  <a:moveTo>
                    <a:pt x="3866674" y="369094"/>
                  </a:moveTo>
                  <a:cubicBezTo>
                    <a:pt x="3866674" y="369094"/>
                    <a:pt x="3866674" y="368141"/>
                    <a:pt x="3867626" y="368141"/>
                  </a:cubicBezTo>
                  <a:cubicBezTo>
                    <a:pt x="3867626" y="369094"/>
                    <a:pt x="3867626" y="370046"/>
                    <a:pt x="3867626" y="370999"/>
                  </a:cubicBezTo>
                  <a:cubicBezTo>
                    <a:pt x="3867626" y="370046"/>
                    <a:pt x="3866674" y="370046"/>
                    <a:pt x="3866674" y="369094"/>
                  </a:cubicBezTo>
                  <a:close/>
                  <a:moveTo>
                    <a:pt x="3886676" y="354806"/>
                  </a:moveTo>
                  <a:cubicBezTo>
                    <a:pt x="3885724" y="351949"/>
                    <a:pt x="3883819" y="350044"/>
                    <a:pt x="3882866" y="348139"/>
                  </a:cubicBezTo>
                  <a:cubicBezTo>
                    <a:pt x="3882866" y="345281"/>
                    <a:pt x="3881914" y="341471"/>
                    <a:pt x="3881914" y="338614"/>
                  </a:cubicBezTo>
                  <a:cubicBezTo>
                    <a:pt x="3883819" y="343376"/>
                    <a:pt x="3885724" y="349091"/>
                    <a:pt x="3886676" y="354806"/>
                  </a:cubicBezTo>
                  <a:cubicBezTo>
                    <a:pt x="3887629" y="354806"/>
                    <a:pt x="3887629" y="355759"/>
                    <a:pt x="3887629" y="356711"/>
                  </a:cubicBezTo>
                  <a:cubicBezTo>
                    <a:pt x="3887629" y="355759"/>
                    <a:pt x="3887629" y="354806"/>
                    <a:pt x="3886676" y="354806"/>
                  </a:cubicBezTo>
                  <a:close/>
                  <a:moveTo>
                    <a:pt x="3897154" y="278606"/>
                  </a:moveTo>
                  <a:cubicBezTo>
                    <a:pt x="3899059" y="275749"/>
                    <a:pt x="3900011" y="272891"/>
                    <a:pt x="3901916" y="270986"/>
                  </a:cubicBezTo>
                  <a:cubicBezTo>
                    <a:pt x="3901916" y="270986"/>
                    <a:pt x="3901916" y="270986"/>
                    <a:pt x="3901916" y="270986"/>
                  </a:cubicBezTo>
                  <a:cubicBezTo>
                    <a:pt x="3900964" y="273844"/>
                    <a:pt x="3899059" y="276701"/>
                    <a:pt x="3897154" y="278606"/>
                  </a:cubicBezTo>
                  <a:cubicBezTo>
                    <a:pt x="3898106" y="279559"/>
                    <a:pt x="3897154" y="279559"/>
                    <a:pt x="3897154" y="278606"/>
                  </a:cubicBezTo>
                  <a:close/>
                  <a:moveTo>
                    <a:pt x="3900011" y="291941"/>
                  </a:moveTo>
                  <a:cubicBezTo>
                    <a:pt x="3900011" y="290989"/>
                    <a:pt x="3900964" y="289084"/>
                    <a:pt x="3901916" y="288131"/>
                  </a:cubicBezTo>
                  <a:cubicBezTo>
                    <a:pt x="3901916" y="287179"/>
                    <a:pt x="3902869" y="287179"/>
                    <a:pt x="3902869" y="286226"/>
                  </a:cubicBezTo>
                  <a:cubicBezTo>
                    <a:pt x="3902869" y="290036"/>
                    <a:pt x="3902869" y="293846"/>
                    <a:pt x="3903821" y="297656"/>
                  </a:cubicBezTo>
                  <a:cubicBezTo>
                    <a:pt x="3903821" y="298609"/>
                    <a:pt x="3903821" y="300514"/>
                    <a:pt x="3902869" y="301466"/>
                  </a:cubicBezTo>
                  <a:cubicBezTo>
                    <a:pt x="3902869" y="300514"/>
                    <a:pt x="3902869" y="299561"/>
                    <a:pt x="3901916" y="298609"/>
                  </a:cubicBezTo>
                  <a:cubicBezTo>
                    <a:pt x="3901916" y="295751"/>
                    <a:pt x="3900964" y="293846"/>
                    <a:pt x="3900011" y="291941"/>
                  </a:cubicBezTo>
                  <a:close/>
                  <a:moveTo>
                    <a:pt x="3903821" y="431006"/>
                  </a:moveTo>
                  <a:cubicBezTo>
                    <a:pt x="3903821" y="431006"/>
                    <a:pt x="3903821" y="431959"/>
                    <a:pt x="3902869" y="431959"/>
                  </a:cubicBezTo>
                  <a:lnTo>
                    <a:pt x="3901916" y="431959"/>
                  </a:lnTo>
                  <a:cubicBezTo>
                    <a:pt x="3902869" y="430054"/>
                    <a:pt x="3902869" y="428149"/>
                    <a:pt x="3903821" y="426244"/>
                  </a:cubicBezTo>
                  <a:cubicBezTo>
                    <a:pt x="3903821" y="427196"/>
                    <a:pt x="3903821" y="427196"/>
                    <a:pt x="3904774" y="428149"/>
                  </a:cubicBezTo>
                  <a:cubicBezTo>
                    <a:pt x="3903821" y="429101"/>
                    <a:pt x="3903821" y="430054"/>
                    <a:pt x="3903821" y="431006"/>
                  </a:cubicBezTo>
                  <a:close/>
                  <a:moveTo>
                    <a:pt x="3925729" y="309086"/>
                  </a:moveTo>
                  <a:cubicBezTo>
                    <a:pt x="3923824" y="301466"/>
                    <a:pt x="3922871" y="297656"/>
                    <a:pt x="3922871" y="297656"/>
                  </a:cubicBezTo>
                  <a:cubicBezTo>
                    <a:pt x="3922871" y="297656"/>
                    <a:pt x="3922871" y="301466"/>
                    <a:pt x="3923824" y="308134"/>
                  </a:cubicBezTo>
                  <a:cubicBezTo>
                    <a:pt x="3920966" y="297656"/>
                    <a:pt x="3919061" y="291941"/>
                    <a:pt x="3919061" y="291941"/>
                  </a:cubicBezTo>
                  <a:cubicBezTo>
                    <a:pt x="3919061" y="291941"/>
                    <a:pt x="3920014" y="301466"/>
                    <a:pt x="3922871" y="317659"/>
                  </a:cubicBezTo>
                  <a:cubicBezTo>
                    <a:pt x="3922871" y="320516"/>
                    <a:pt x="3923824" y="322421"/>
                    <a:pt x="3923824" y="325279"/>
                  </a:cubicBezTo>
                  <a:cubicBezTo>
                    <a:pt x="3922871" y="328136"/>
                    <a:pt x="3922871" y="331946"/>
                    <a:pt x="3921919" y="334804"/>
                  </a:cubicBezTo>
                  <a:cubicBezTo>
                    <a:pt x="3921919" y="334804"/>
                    <a:pt x="3921919" y="335756"/>
                    <a:pt x="3921919" y="335756"/>
                  </a:cubicBezTo>
                  <a:cubicBezTo>
                    <a:pt x="3921919" y="333851"/>
                    <a:pt x="3920966" y="331946"/>
                    <a:pt x="3920966" y="330041"/>
                  </a:cubicBezTo>
                  <a:cubicBezTo>
                    <a:pt x="3919061" y="319564"/>
                    <a:pt x="3917156" y="310039"/>
                    <a:pt x="3915251" y="301466"/>
                  </a:cubicBezTo>
                  <a:cubicBezTo>
                    <a:pt x="3913346" y="293846"/>
                    <a:pt x="3912394" y="287179"/>
                    <a:pt x="3911441" y="281464"/>
                  </a:cubicBezTo>
                  <a:cubicBezTo>
                    <a:pt x="3911441" y="273844"/>
                    <a:pt x="3912394" y="268129"/>
                    <a:pt x="3912394" y="264319"/>
                  </a:cubicBezTo>
                  <a:cubicBezTo>
                    <a:pt x="3912394" y="264319"/>
                    <a:pt x="3912394" y="263366"/>
                    <a:pt x="3912394" y="263366"/>
                  </a:cubicBezTo>
                  <a:cubicBezTo>
                    <a:pt x="3914299" y="265271"/>
                    <a:pt x="3917156" y="268129"/>
                    <a:pt x="3919061" y="270986"/>
                  </a:cubicBezTo>
                  <a:cubicBezTo>
                    <a:pt x="3920966" y="272891"/>
                    <a:pt x="3922871" y="274796"/>
                    <a:pt x="3923824" y="277654"/>
                  </a:cubicBezTo>
                  <a:cubicBezTo>
                    <a:pt x="3923824" y="277654"/>
                    <a:pt x="3923824" y="280511"/>
                    <a:pt x="3924776" y="284321"/>
                  </a:cubicBezTo>
                  <a:cubicBezTo>
                    <a:pt x="3922871" y="279559"/>
                    <a:pt x="3921919" y="277654"/>
                    <a:pt x="3921919" y="277654"/>
                  </a:cubicBezTo>
                  <a:cubicBezTo>
                    <a:pt x="3921919" y="277654"/>
                    <a:pt x="3923824" y="284321"/>
                    <a:pt x="3926681" y="296704"/>
                  </a:cubicBezTo>
                  <a:cubicBezTo>
                    <a:pt x="3926681" y="298609"/>
                    <a:pt x="3927634" y="301466"/>
                    <a:pt x="3927634" y="304324"/>
                  </a:cubicBezTo>
                  <a:cubicBezTo>
                    <a:pt x="3927634" y="304324"/>
                    <a:pt x="3927634" y="304324"/>
                    <a:pt x="3927634" y="305276"/>
                  </a:cubicBezTo>
                  <a:cubicBezTo>
                    <a:pt x="3926681" y="304324"/>
                    <a:pt x="3925729" y="306229"/>
                    <a:pt x="3925729" y="309086"/>
                  </a:cubicBezTo>
                  <a:close/>
                  <a:moveTo>
                    <a:pt x="3929539" y="287179"/>
                  </a:moveTo>
                  <a:cubicBezTo>
                    <a:pt x="3929539" y="289084"/>
                    <a:pt x="3928586" y="290989"/>
                    <a:pt x="3928586" y="292894"/>
                  </a:cubicBezTo>
                  <a:cubicBezTo>
                    <a:pt x="3928586" y="291941"/>
                    <a:pt x="3927634" y="290989"/>
                    <a:pt x="3927634" y="290036"/>
                  </a:cubicBezTo>
                  <a:cubicBezTo>
                    <a:pt x="3924776" y="281464"/>
                    <a:pt x="3923824" y="275749"/>
                    <a:pt x="3923824" y="275749"/>
                  </a:cubicBezTo>
                  <a:cubicBezTo>
                    <a:pt x="3924776" y="277654"/>
                    <a:pt x="3926681" y="279559"/>
                    <a:pt x="3927634" y="281464"/>
                  </a:cubicBezTo>
                  <a:cubicBezTo>
                    <a:pt x="3928586" y="282416"/>
                    <a:pt x="3928586" y="283369"/>
                    <a:pt x="3929539" y="284321"/>
                  </a:cubicBezTo>
                  <a:cubicBezTo>
                    <a:pt x="3929539" y="284321"/>
                    <a:pt x="3929539" y="285274"/>
                    <a:pt x="3929539" y="287179"/>
                  </a:cubicBezTo>
                  <a:close/>
                  <a:moveTo>
                    <a:pt x="3926681" y="242411"/>
                  </a:moveTo>
                  <a:cubicBezTo>
                    <a:pt x="3927634" y="251936"/>
                    <a:pt x="3928586" y="261461"/>
                    <a:pt x="3928586" y="270986"/>
                  </a:cubicBezTo>
                  <a:cubicBezTo>
                    <a:pt x="3926681" y="269081"/>
                    <a:pt x="3924776" y="266224"/>
                    <a:pt x="3921919" y="265271"/>
                  </a:cubicBezTo>
                  <a:cubicBezTo>
                    <a:pt x="3919061" y="262414"/>
                    <a:pt x="3916204" y="259556"/>
                    <a:pt x="3913346" y="257651"/>
                  </a:cubicBezTo>
                  <a:cubicBezTo>
                    <a:pt x="3915251" y="253841"/>
                    <a:pt x="3916204" y="250031"/>
                    <a:pt x="3917156" y="246221"/>
                  </a:cubicBezTo>
                  <a:cubicBezTo>
                    <a:pt x="3920014" y="241459"/>
                    <a:pt x="3922871" y="236696"/>
                    <a:pt x="3925729" y="232886"/>
                  </a:cubicBezTo>
                  <a:cubicBezTo>
                    <a:pt x="3925729" y="235744"/>
                    <a:pt x="3925729" y="239554"/>
                    <a:pt x="3926681" y="242411"/>
                  </a:cubicBezTo>
                  <a:close/>
                  <a:moveTo>
                    <a:pt x="3900964" y="168116"/>
                  </a:moveTo>
                  <a:cubicBezTo>
                    <a:pt x="3905726" y="160496"/>
                    <a:pt x="3910489" y="153829"/>
                    <a:pt x="3914299" y="147161"/>
                  </a:cubicBezTo>
                  <a:cubicBezTo>
                    <a:pt x="3914299" y="150019"/>
                    <a:pt x="3915251" y="152876"/>
                    <a:pt x="3915251" y="156686"/>
                  </a:cubicBezTo>
                  <a:cubicBezTo>
                    <a:pt x="3917156" y="168116"/>
                    <a:pt x="3919061" y="181451"/>
                    <a:pt x="3920966" y="196691"/>
                  </a:cubicBezTo>
                  <a:cubicBezTo>
                    <a:pt x="3921919" y="202406"/>
                    <a:pt x="3921919" y="208121"/>
                    <a:pt x="3922871" y="213836"/>
                  </a:cubicBezTo>
                  <a:cubicBezTo>
                    <a:pt x="3920966" y="211931"/>
                    <a:pt x="3920014" y="210979"/>
                    <a:pt x="3920014" y="210979"/>
                  </a:cubicBezTo>
                  <a:cubicBezTo>
                    <a:pt x="3920014" y="210979"/>
                    <a:pt x="3920966" y="212884"/>
                    <a:pt x="3923824" y="214789"/>
                  </a:cubicBezTo>
                  <a:cubicBezTo>
                    <a:pt x="3923824" y="218599"/>
                    <a:pt x="3924776" y="222409"/>
                    <a:pt x="3924776" y="226219"/>
                  </a:cubicBezTo>
                  <a:cubicBezTo>
                    <a:pt x="3919061" y="232886"/>
                    <a:pt x="3913346" y="240506"/>
                    <a:pt x="3906679" y="249079"/>
                  </a:cubicBezTo>
                  <a:cubicBezTo>
                    <a:pt x="3905726" y="250031"/>
                    <a:pt x="3905726" y="250984"/>
                    <a:pt x="3904774" y="251936"/>
                  </a:cubicBezTo>
                  <a:cubicBezTo>
                    <a:pt x="3903821" y="251936"/>
                    <a:pt x="3903821" y="250984"/>
                    <a:pt x="3902869" y="250984"/>
                  </a:cubicBezTo>
                  <a:cubicBezTo>
                    <a:pt x="3901916" y="245269"/>
                    <a:pt x="3900964" y="242411"/>
                    <a:pt x="3900964" y="242411"/>
                  </a:cubicBezTo>
                  <a:cubicBezTo>
                    <a:pt x="3900964" y="242411"/>
                    <a:pt x="3900964" y="245269"/>
                    <a:pt x="3900964" y="249079"/>
                  </a:cubicBezTo>
                  <a:cubicBezTo>
                    <a:pt x="3900011" y="248126"/>
                    <a:pt x="3898106" y="247174"/>
                    <a:pt x="3897154" y="247174"/>
                  </a:cubicBezTo>
                  <a:cubicBezTo>
                    <a:pt x="3893344" y="245269"/>
                    <a:pt x="3891439" y="243364"/>
                    <a:pt x="3891439" y="243364"/>
                  </a:cubicBezTo>
                  <a:cubicBezTo>
                    <a:pt x="3891439" y="243364"/>
                    <a:pt x="3893344" y="245269"/>
                    <a:pt x="3896201" y="248126"/>
                  </a:cubicBezTo>
                  <a:cubicBezTo>
                    <a:pt x="3897154" y="249079"/>
                    <a:pt x="3899059" y="250984"/>
                    <a:pt x="3900964" y="251936"/>
                  </a:cubicBezTo>
                  <a:cubicBezTo>
                    <a:pt x="3900964" y="253841"/>
                    <a:pt x="3900964" y="254794"/>
                    <a:pt x="3900964" y="256699"/>
                  </a:cubicBezTo>
                  <a:cubicBezTo>
                    <a:pt x="3899059" y="259556"/>
                    <a:pt x="3896201" y="263366"/>
                    <a:pt x="3894296" y="266224"/>
                  </a:cubicBezTo>
                  <a:cubicBezTo>
                    <a:pt x="3893344" y="261461"/>
                    <a:pt x="3891439" y="255746"/>
                    <a:pt x="3890486" y="250984"/>
                  </a:cubicBezTo>
                  <a:cubicBezTo>
                    <a:pt x="3886676" y="235744"/>
                    <a:pt x="3883819" y="222409"/>
                    <a:pt x="3880009" y="210026"/>
                  </a:cubicBezTo>
                  <a:cubicBezTo>
                    <a:pt x="3880009" y="209074"/>
                    <a:pt x="3879056" y="207169"/>
                    <a:pt x="3879056" y="206216"/>
                  </a:cubicBezTo>
                  <a:cubicBezTo>
                    <a:pt x="3886676" y="191929"/>
                    <a:pt x="3894296" y="178594"/>
                    <a:pt x="3900964" y="168116"/>
                  </a:cubicBezTo>
                  <a:close/>
                  <a:moveTo>
                    <a:pt x="3873341" y="214789"/>
                  </a:moveTo>
                  <a:cubicBezTo>
                    <a:pt x="3875246" y="226219"/>
                    <a:pt x="3877151" y="238601"/>
                    <a:pt x="3879056" y="251936"/>
                  </a:cubicBezTo>
                  <a:cubicBezTo>
                    <a:pt x="3880009" y="260509"/>
                    <a:pt x="3881914" y="270034"/>
                    <a:pt x="3883819" y="280511"/>
                  </a:cubicBezTo>
                  <a:cubicBezTo>
                    <a:pt x="3883819" y="281464"/>
                    <a:pt x="3882866" y="281464"/>
                    <a:pt x="3882866" y="282416"/>
                  </a:cubicBezTo>
                  <a:cubicBezTo>
                    <a:pt x="3880009" y="273844"/>
                    <a:pt x="3878104" y="266224"/>
                    <a:pt x="3875246" y="259556"/>
                  </a:cubicBezTo>
                  <a:cubicBezTo>
                    <a:pt x="3871436" y="250031"/>
                    <a:pt x="3868579" y="241459"/>
                    <a:pt x="3865721" y="234791"/>
                  </a:cubicBezTo>
                  <a:cubicBezTo>
                    <a:pt x="3865721" y="233839"/>
                    <a:pt x="3864769" y="232886"/>
                    <a:pt x="3864769" y="231934"/>
                  </a:cubicBezTo>
                  <a:cubicBezTo>
                    <a:pt x="3867626" y="225266"/>
                    <a:pt x="3870484" y="219551"/>
                    <a:pt x="3873341" y="214789"/>
                  </a:cubicBezTo>
                  <a:close/>
                  <a:moveTo>
                    <a:pt x="3864769" y="341471"/>
                  </a:moveTo>
                  <a:cubicBezTo>
                    <a:pt x="3863816" y="342424"/>
                    <a:pt x="3863816" y="344329"/>
                    <a:pt x="3862864" y="345281"/>
                  </a:cubicBezTo>
                  <a:cubicBezTo>
                    <a:pt x="3862864" y="344329"/>
                    <a:pt x="3863816" y="343376"/>
                    <a:pt x="3864769" y="341471"/>
                  </a:cubicBezTo>
                  <a:cubicBezTo>
                    <a:pt x="3864769" y="341471"/>
                    <a:pt x="3864769" y="341471"/>
                    <a:pt x="3864769" y="341471"/>
                  </a:cubicBezTo>
                  <a:close/>
                  <a:moveTo>
                    <a:pt x="3854291" y="211931"/>
                  </a:moveTo>
                  <a:cubicBezTo>
                    <a:pt x="3854291" y="208121"/>
                    <a:pt x="3855244" y="204311"/>
                    <a:pt x="3856196" y="201454"/>
                  </a:cubicBezTo>
                  <a:cubicBezTo>
                    <a:pt x="3856196" y="206216"/>
                    <a:pt x="3856196" y="212884"/>
                    <a:pt x="3857149" y="220504"/>
                  </a:cubicBezTo>
                  <a:cubicBezTo>
                    <a:pt x="3856196" y="222409"/>
                    <a:pt x="3855244" y="224314"/>
                    <a:pt x="3854291" y="226219"/>
                  </a:cubicBezTo>
                  <a:cubicBezTo>
                    <a:pt x="3853339" y="220504"/>
                    <a:pt x="3854291" y="215741"/>
                    <a:pt x="3854291" y="211931"/>
                  </a:cubicBezTo>
                  <a:close/>
                  <a:moveTo>
                    <a:pt x="3849529" y="262414"/>
                  </a:moveTo>
                  <a:cubicBezTo>
                    <a:pt x="3849529" y="260509"/>
                    <a:pt x="3849529" y="259556"/>
                    <a:pt x="3849529" y="257651"/>
                  </a:cubicBezTo>
                  <a:cubicBezTo>
                    <a:pt x="3849529" y="257651"/>
                    <a:pt x="3849529" y="256699"/>
                    <a:pt x="3850481" y="256699"/>
                  </a:cubicBezTo>
                  <a:cubicBezTo>
                    <a:pt x="3853339" y="263366"/>
                    <a:pt x="3856196" y="270986"/>
                    <a:pt x="3859054" y="278606"/>
                  </a:cubicBezTo>
                  <a:cubicBezTo>
                    <a:pt x="3859054" y="279559"/>
                    <a:pt x="3859054" y="279559"/>
                    <a:pt x="3860006" y="280511"/>
                  </a:cubicBezTo>
                  <a:cubicBezTo>
                    <a:pt x="3860959" y="290989"/>
                    <a:pt x="3861911" y="302419"/>
                    <a:pt x="3862864" y="313849"/>
                  </a:cubicBezTo>
                  <a:cubicBezTo>
                    <a:pt x="3862864" y="313849"/>
                    <a:pt x="3862864" y="313849"/>
                    <a:pt x="3862864" y="313849"/>
                  </a:cubicBezTo>
                  <a:cubicBezTo>
                    <a:pt x="3858101" y="305276"/>
                    <a:pt x="3852386" y="298609"/>
                    <a:pt x="3847624" y="291941"/>
                  </a:cubicBezTo>
                  <a:cubicBezTo>
                    <a:pt x="3848576" y="281464"/>
                    <a:pt x="3848576" y="271939"/>
                    <a:pt x="3849529" y="262414"/>
                  </a:cubicBezTo>
                  <a:close/>
                  <a:moveTo>
                    <a:pt x="3846671" y="308134"/>
                  </a:moveTo>
                  <a:cubicBezTo>
                    <a:pt x="3849529" y="312896"/>
                    <a:pt x="3852386" y="318611"/>
                    <a:pt x="3855244" y="323374"/>
                  </a:cubicBezTo>
                  <a:cubicBezTo>
                    <a:pt x="3855244" y="324326"/>
                    <a:pt x="3856196" y="324326"/>
                    <a:pt x="3856196" y="325279"/>
                  </a:cubicBezTo>
                  <a:cubicBezTo>
                    <a:pt x="3856196" y="326231"/>
                    <a:pt x="3855244" y="326231"/>
                    <a:pt x="3855244" y="327184"/>
                  </a:cubicBezTo>
                  <a:cubicBezTo>
                    <a:pt x="3853339" y="330041"/>
                    <a:pt x="3851434" y="333851"/>
                    <a:pt x="3849529" y="336709"/>
                  </a:cubicBezTo>
                  <a:cubicBezTo>
                    <a:pt x="3848576" y="334804"/>
                    <a:pt x="3846671" y="331946"/>
                    <a:pt x="3845719" y="330041"/>
                  </a:cubicBezTo>
                  <a:cubicBezTo>
                    <a:pt x="3845719" y="323374"/>
                    <a:pt x="3846671" y="315754"/>
                    <a:pt x="3846671" y="308134"/>
                  </a:cubicBezTo>
                  <a:close/>
                  <a:moveTo>
                    <a:pt x="3843814" y="415766"/>
                  </a:moveTo>
                  <a:cubicBezTo>
                    <a:pt x="3844766" y="413861"/>
                    <a:pt x="3845719" y="411956"/>
                    <a:pt x="3846671" y="410051"/>
                  </a:cubicBezTo>
                  <a:cubicBezTo>
                    <a:pt x="3846671" y="411956"/>
                    <a:pt x="3847624" y="414814"/>
                    <a:pt x="3847624" y="416719"/>
                  </a:cubicBezTo>
                  <a:cubicBezTo>
                    <a:pt x="3847624" y="417671"/>
                    <a:pt x="3847624" y="418624"/>
                    <a:pt x="3847624" y="419576"/>
                  </a:cubicBezTo>
                  <a:cubicBezTo>
                    <a:pt x="3847624" y="420529"/>
                    <a:pt x="3846671" y="421481"/>
                    <a:pt x="3846671" y="422434"/>
                  </a:cubicBezTo>
                  <a:cubicBezTo>
                    <a:pt x="3845719" y="423386"/>
                    <a:pt x="3845719" y="425291"/>
                    <a:pt x="3844766" y="426244"/>
                  </a:cubicBezTo>
                  <a:lnTo>
                    <a:pt x="3842861" y="426244"/>
                  </a:lnTo>
                  <a:cubicBezTo>
                    <a:pt x="3843814" y="422434"/>
                    <a:pt x="3843814" y="418624"/>
                    <a:pt x="3843814" y="415766"/>
                  </a:cubicBezTo>
                  <a:close/>
                  <a:moveTo>
                    <a:pt x="3830479" y="297656"/>
                  </a:moveTo>
                  <a:cubicBezTo>
                    <a:pt x="3830479" y="298609"/>
                    <a:pt x="3830479" y="298609"/>
                    <a:pt x="3830479" y="299561"/>
                  </a:cubicBezTo>
                  <a:cubicBezTo>
                    <a:pt x="3830479" y="300514"/>
                    <a:pt x="3830479" y="300514"/>
                    <a:pt x="3830479" y="301466"/>
                  </a:cubicBezTo>
                  <a:cubicBezTo>
                    <a:pt x="3830479" y="303371"/>
                    <a:pt x="3830479" y="305276"/>
                    <a:pt x="3829526" y="307181"/>
                  </a:cubicBezTo>
                  <a:cubicBezTo>
                    <a:pt x="3828574" y="306229"/>
                    <a:pt x="3827621" y="305276"/>
                    <a:pt x="3827621" y="304324"/>
                  </a:cubicBezTo>
                  <a:cubicBezTo>
                    <a:pt x="3828574" y="301466"/>
                    <a:pt x="3829526" y="299561"/>
                    <a:pt x="3830479" y="297656"/>
                  </a:cubicBezTo>
                  <a:close/>
                  <a:moveTo>
                    <a:pt x="3826669" y="305276"/>
                  </a:moveTo>
                  <a:cubicBezTo>
                    <a:pt x="3827621" y="306229"/>
                    <a:pt x="3827621" y="308134"/>
                    <a:pt x="3828574" y="310039"/>
                  </a:cubicBezTo>
                  <a:cubicBezTo>
                    <a:pt x="3828574" y="311944"/>
                    <a:pt x="3828574" y="312896"/>
                    <a:pt x="3827621" y="314801"/>
                  </a:cubicBezTo>
                  <a:cubicBezTo>
                    <a:pt x="3826669" y="312896"/>
                    <a:pt x="3824764" y="310991"/>
                    <a:pt x="3823811" y="309086"/>
                  </a:cubicBezTo>
                  <a:cubicBezTo>
                    <a:pt x="3825716" y="307181"/>
                    <a:pt x="3825716" y="306229"/>
                    <a:pt x="3826669" y="305276"/>
                  </a:cubicBezTo>
                  <a:close/>
                  <a:moveTo>
                    <a:pt x="3820001" y="319564"/>
                  </a:moveTo>
                  <a:cubicBezTo>
                    <a:pt x="3821906" y="323374"/>
                    <a:pt x="3823811" y="328136"/>
                    <a:pt x="3826669" y="332899"/>
                  </a:cubicBezTo>
                  <a:cubicBezTo>
                    <a:pt x="3826669" y="332899"/>
                    <a:pt x="3826669" y="333851"/>
                    <a:pt x="3827621" y="333851"/>
                  </a:cubicBezTo>
                  <a:cubicBezTo>
                    <a:pt x="3827621" y="336709"/>
                    <a:pt x="3826669" y="339566"/>
                    <a:pt x="3826669" y="343376"/>
                  </a:cubicBezTo>
                  <a:cubicBezTo>
                    <a:pt x="3825716" y="354806"/>
                    <a:pt x="3825716" y="366236"/>
                    <a:pt x="3824764" y="377666"/>
                  </a:cubicBezTo>
                  <a:cubicBezTo>
                    <a:pt x="3823811" y="372904"/>
                    <a:pt x="3821906" y="368141"/>
                    <a:pt x="3820954" y="364331"/>
                  </a:cubicBezTo>
                  <a:cubicBezTo>
                    <a:pt x="3820954" y="360521"/>
                    <a:pt x="3820001" y="356711"/>
                    <a:pt x="3820001" y="352901"/>
                  </a:cubicBezTo>
                  <a:cubicBezTo>
                    <a:pt x="3820001" y="347186"/>
                    <a:pt x="3819049" y="341471"/>
                    <a:pt x="3818096" y="336709"/>
                  </a:cubicBezTo>
                  <a:cubicBezTo>
                    <a:pt x="3820001" y="333851"/>
                    <a:pt x="3821906" y="332899"/>
                    <a:pt x="3821906" y="332899"/>
                  </a:cubicBezTo>
                  <a:cubicBezTo>
                    <a:pt x="3821906" y="332899"/>
                    <a:pt x="3820954" y="333851"/>
                    <a:pt x="3818096" y="335756"/>
                  </a:cubicBezTo>
                  <a:cubicBezTo>
                    <a:pt x="3818096" y="332899"/>
                    <a:pt x="3817144" y="329089"/>
                    <a:pt x="3817144" y="326231"/>
                  </a:cubicBezTo>
                  <a:cubicBezTo>
                    <a:pt x="3818096" y="323374"/>
                    <a:pt x="3819049" y="321469"/>
                    <a:pt x="3820001" y="319564"/>
                  </a:cubicBezTo>
                  <a:close/>
                  <a:moveTo>
                    <a:pt x="3788569" y="264319"/>
                  </a:moveTo>
                  <a:cubicBezTo>
                    <a:pt x="3789521" y="266224"/>
                    <a:pt x="3791426" y="268129"/>
                    <a:pt x="3792379" y="270986"/>
                  </a:cubicBezTo>
                  <a:cubicBezTo>
                    <a:pt x="3795236" y="274796"/>
                    <a:pt x="3798094" y="280511"/>
                    <a:pt x="3800951" y="285274"/>
                  </a:cubicBezTo>
                  <a:cubicBezTo>
                    <a:pt x="3800951" y="286226"/>
                    <a:pt x="3800951" y="286226"/>
                    <a:pt x="3800951" y="287179"/>
                  </a:cubicBezTo>
                  <a:cubicBezTo>
                    <a:pt x="3800951" y="290989"/>
                    <a:pt x="3800951" y="294799"/>
                    <a:pt x="3800951" y="298609"/>
                  </a:cubicBezTo>
                  <a:cubicBezTo>
                    <a:pt x="3800951" y="299561"/>
                    <a:pt x="3800951" y="300514"/>
                    <a:pt x="3800951" y="300514"/>
                  </a:cubicBezTo>
                  <a:cubicBezTo>
                    <a:pt x="3799999" y="295751"/>
                    <a:pt x="3798094" y="291941"/>
                    <a:pt x="3797141" y="287179"/>
                  </a:cubicBezTo>
                  <a:cubicBezTo>
                    <a:pt x="3797141" y="286226"/>
                    <a:pt x="3796189" y="285274"/>
                    <a:pt x="3796189" y="285274"/>
                  </a:cubicBezTo>
                  <a:cubicBezTo>
                    <a:pt x="3796189" y="282416"/>
                    <a:pt x="3796189" y="280511"/>
                    <a:pt x="3796189" y="280511"/>
                  </a:cubicBezTo>
                  <a:cubicBezTo>
                    <a:pt x="3796189" y="280511"/>
                    <a:pt x="3796189" y="281464"/>
                    <a:pt x="3795236" y="283369"/>
                  </a:cubicBezTo>
                  <a:cubicBezTo>
                    <a:pt x="3794284" y="279559"/>
                    <a:pt x="3792379" y="275749"/>
                    <a:pt x="3791426" y="271939"/>
                  </a:cubicBezTo>
                  <a:cubicBezTo>
                    <a:pt x="3790474" y="269081"/>
                    <a:pt x="3789521" y="266224"/>
                    <a:pt x="3788569" y="264319"/>
                  </a:cubicBezTo>
                  <a:close/>
                  <a:moveTo>
                    <a:pt x="3748564" y="364331"/>
                  </a:moveTo>
                  <a:cubicBezTo>
                    <a:pt x="3748564" y="359569"/>
                    <a:pt x="3748564" y="355759"/>
                    <a:pt x="3748564" y="351949"/>
                  </a:cubicBezTo>
                  <a:cubicBezTo>
                    <a:pt x="3749516" y="353854"/>
                    <a:pt x="3749516" y="355759"/>
                    <a:pt x="3750469" y="358616"/>
                  </a:cubicBezTo>
                  <a:cubicBezTo>
                    <a:pt x="3749516" y="359569"/>
                    <a:pt x="3749516" y="361474"/>
                    <a:pt x="3748564" y="364331"/>
                  </a:cubicBezTo>
                  <a:close/>
                  <a:moveTo>
                    <a:pt x="3762851" y="399574"/>
                  </a:moveTo>
                  <a:cubicBezTo>
                    <a:pt x="3761899" y="401479"/>
                    <a:pt x="3760946" y="403384"/>
                    <a:pt x="3759994" y="405289"/>
                  </a:cubicBezTo>
                  <a:cubicBezTo>
                    <a:pt x="3759994" y="400526"/>
                    <a:pt x="3760946" y="395764"/>
                    <a:pt x="3760946" y="391954"/>
                  </a:cubicBezTo>
                  <a:cubicBezTo>
                    <a:pt x="3760946" y="391954"/>
                    <a:pt x="3760946" y="391001"/>
                    <a:pt x="3760946" y="391001"/>
                  </a:cubicBezTo>
                  <a:cubicBezTo>
                    <a:pt x="3761899" y="392906"/>
                    <a:pt x="3761899" y="394811"/>
                    <a:pt x="3762851" y="396716"/>
                  </a:cubicBezTo>
                  <a:cubicBezTo>
                    <a:pt x="3763804" y="397669"/>
                    <a:pt x="3762851" y="398621"/>
                    <a:pt x="3762851" y="399574"/>
                  </a:cubicBezTo>
                  <a:close/>
                  <a:moveTo>
                    <a:pt x="3770471" y="290036"/>
                  </a:moveTo>
                  <a:cubicBezTo>
                    <a:pt x="3772376" y="296704"/>
                    <a:pt x="3773329" y="302419"/>
                    <a:pt x="3775234" y="309086"/>
                  </a:cubicBezTo>
                  <a:cubicBezTo>
                    <a:pt x="3774281" y="306229"/>
                    <a:pt x="3773329" y="304324"/>
                    <a:pt x="3771424" y="301466"/>
                  </a:cubicBezTo>
                  <a:cubicBezTo>
                    <a:pt x="3771424" y="300514"/>
                    <a:pt x="3770471" y="300514"/>
                    <a:pt x="3770471" y="299561"/>
                  </a:cubicBezTo>
                  <a:cubicBezTo>
                    <a:pt x="3770471" y="296704"/>
                    <a:pt x="3770471" y="293846"/>
                    <a:pt x="3770471" y="290989"/>
                  </a:cubicBezTo>
                  <a:cubicBezTo>
                    <a:pt x="3770471" y="290989"/>
                    <a:pt x="3770471" y="290036"/>
                    <a:pt x="3770471" y="290036"/>
                  </a:cubicBezTo>
                  <a:close/>
                  <a:moveTo>
                    <a:pt x="3769519" y="370046"/>
                  </a:moveTo>
                  <a:cubicBezTo>
                    <a:pt x="3769519" y="370999"/>
                    <a:pt x="3769519" y="371951"/>
                    <a:pt x="3770471" y="372904"/>
                  </a:cubicBezTo>
                  <a:cubicBezTo>
                    <a:pt x="3769519" y="370999"/>
                    <a:pt x="3768566" y="369094"/>
                    <a:pt x="3767614" y="366236"/>
                  </a:cubicBezTo>
                  <a:cubicBezTo>
                    <a:pt x="3767614" y="362426"/>
                    <a:pt x="3767614" y="359569"/>
                    <a:pt x="3767614" y="359569"/>
                  </a:cubicBezTo>
                  <a:cubicBezTo>
                    <a:pt x="3767614" y="359569"/>
                    <a:pt x="3767614" y="361474"/>
                    <a:pt x="3766661" y="364331"/>
                  </a:cubicBezTo>
                  <a:cubicBezTo>
                    <a:pt x="3765709" y="363379"/>
                    <a:pt x="3765709" y="361474"/>
                    <a:pt x="3764756" y="360521"/>
                  </a:cubicBezTo>
                  <a:cubicBezTo>
                    <a:pt x="3764756" y="359569"/>
                    <a:pt x="3764756" y="358616"/>
                    <a:pt x="3764756" y="357664"/>
                  </a:cubicBezTo>
                  <a:cubicBezTo>
                    <a:pt x="3764756" y="355759"/>
                    <a:pt x="3765709" y="353854"/>
                    <a:pt x="3765709" y="351949"/>
                  </a:cubicBezTo>
                  <a:cubicBezTo>
                    <a:pt x="3767614" y="358616"/>
                    <a:pt x="3768566" y="364331"/>
                    <a:pt x="3769519" y="370046"/>
                  </a:cubicBezTo>
                  <a:close/>
                  <a:moveTo>
                    <a:pt x="3753326" y="250031"/>
                  </a:moveTo>
                  <a:cubicBezTo>
                    <a:pt x="3754279" y="245269"/>
                    <a:pt x="3754279" y="241459"/>
                    <a:pt x="3755231" y="236696"/>
                  </a:cubicBezTo>
                  <a:cubicBezTo>
                    <a:pt x="3755231" y="235744"/>
                    <a:pt x="3755231" y="233839"/>
                    <a:pt x="3756184" y="232886"/>
                  </a:cubicBezTo>
                  <a:cubicBezTo>
                    <a:pt x="3757136" y="231934"/>
                    <a:pt x="3757136" y="230981"/>
                    <a:pt x="3758089" y="230029"/>
                  </a:cubicBezTo>
                  <a:cubicBezTo>
                    <a:pt x="3759041" y="232886"/>
                    <a:pt x="3759041" y="234791"/>
                    <a:pt x="3759994" y="237649"/>
                  </a:cubicBezTo>
                  <a:cubicBezTo>
                    <a:pt x="3762851" y="250984"/>
                    <a:pt x="3766661" y="266224"/>
                    <a:pt x="3769519" y="281464"/>
                  </a:cubicBezTo>
                  <a:cubicBezTo>
                    <a:pt x="3768566" y="284321"/>
                    <a:pt x="3768566" y="287179"/>
                    <a:pt x="3767614" y="290036"/>
                  </a:cubicBezTo>
                  <a:cubicBezTo>
                    <a:pt x="3767614" y="290036"/>
                    <a:pt x="3767614" y="290036"/>
                    <a:pt x="3767614" y="290989"/>
                  </a:cubicBezTo>
                  <a:cubicBezTo>
                    <a:pt x="3762851" y="280511"/>
                    <a:pt x="3757136" y="270986"/>
                    <a:pt x="3752374" y="261461"/>
                  </a:cubicBezTo>
                  <a:cubicBezTo>
                    <a:pt x="3752374" y="258604"/>
                    <a:pt x="3752374" y="253841"/>
                    <a:pt x="3753326" y="250031"/>
                  </a:cubicBezTo>
                  <a:close/>
                  <a:moveTo>
                    <a:pt x="3748564" y="296704"/>
                  </a:moveTo>
                  <a:cubicBezTo>
                    <a:pt x="3748564" y="296704"/>
                    <a:pt x="3748564" y="296704"/>
                    <a:pt x="3748564" y="296704"/>
                  </a:cubicBezTo>
                  <a:cubicBezTo>
                    <a:pt x="3751421" y="301466"/>
                    <a:pt x="3753326" y="307181"/>
                    <a:pt x="3756184" y="313849"/>
                  </a:cubicBezTo>
                  <a:cubicBezTo>
                    <a:pt x="3756184" y="314801"/>
                    <a:pt x="3757136" y="315754"/>
                    <a:pt x="3757136" y="316706"/>
                  </a:cubicBezTo>
                  <a:cubicBezTo>
                    <a:pt x="3758089" y="318611"/>
                    <a:pt x="3758089" y="321469"/>
                    <a:pt x="3759041" y="323374"/>
                  </a:cubicBezTo>
                  <a:cubicBezTo>
                    <a:pt x="3758089" y="325279"/>
                    <a:pt x="3758089" y="328136"/>
                    <a:pt x="3757136" y="330041"/>
                  </a:cubicBezTo>
                  <a:cubicBezTo>
                    <a:pt x="3756184" y="333851"/>
                    <a:pt x="3755231" y="337661"/>
                    <a:pt x="3754279" y="341471"/>
                  </a:cubicBezTo>
                  <a:cubicBezTo>
                    <a:pt x="3753326" y="339566"/>
                    <a:pt x="3751421" y="337661"/>
                    <a:pt x="3750469" y="335756"/>
                  </a:cubicBezTo>
                  <a:cubicBezTo>
                    <a:pt x="3749516" y="333851"/>
                    <a:pt x="3748564" y="332899"/>
                    <a:pt x="3747611" y="331946"/>
                  </a:cubicBezTo>
                  <a:cubicBezTo>
                    <a:pt x="3748564" y="320516"/>
                    <a:pt x="3748564" y="308134"/>
                    <a:pt x="3748564" y="296704"/>
                  </a:cubicBezTo>
                  <a:close/>
                  <a:moveTo>
                    <a:pt x="3738086" y="273844"/>
                  </a:moveTo>
                  <a:cubicBezTo>
                    <a:pt x="3738086" y="273844"/>
                    <a:pt x="3738086" y="273844"/>
                    <a:pt x="3738086" y="273844"/>
                  </a:cubicBezTo>
                  <a:cubicBezTo>
                    <a:pt x="3738086" y="274796"/>
                    <a:pt x="3738086" y="274796"/>
                    <a:pt x="3738086" y="274796"/>
                  </a:cubicBezTo>
                  <a:cubicBezTo>
                    <a:pt x="3738086" y="273844"/>
                    <a:pt x="3738086" y="273844"/>
                    <a:pt x="3738086" y="273844"/>
                  </a:cubicBezTo>
                  <a:close/>
                  <a:moveTo>
                    <a:pt x="3689509" y="326231"/>
                  </a:moveTo>
                  <a:cubicBezTo>
                    <a:pt x="3688556" y="328136"/>
                    <a:pt x="3687604" y="330041"/>
                    <a:pt x="3686651" y="331946"/>
                  </a:cubicBezTo>
                  <a:cubicBezTo>
                    <a:pt x="3686651" y="331946"/>
                    <a:pt x="3686651" y="330994"/>
                    <a:pt x="3685699" y="330994"/>
                  </a:cubicBezTo>
                  <a:cubicBezTo>
                    <a:pt x="3685699" y="328136"/>
                    <a:pt x="3685699" y="325279"/>
                    <a:pt x="3685699" y="322421"/>
                  </a:cubicBezTo>
                  <a:cubicBezTo>
                    <a:pt x="3685699" y="319564"/>
                    <a:pt x="3685699" y="316706"/>
                    <a:pt x="3685699" y="313849"/>
                  </a:cubicBezTo>
                  <a:cubicBezTo>
                    <a:pt x="3686651" y="316706"/>
                    <a:pt x="3688556" y="320516"/>
                    <a:pt x="3689509" y="325279"/>
                  </a:cubicBezTo>
                  <a:cubicBezTo>
                    <a:pt x="3689509" y="326231"/>
                    <a:pt x="3689509" y="326231"/>
                    <a:pt x="3689509" y="326231"/>
                  </a:cubicBezTo>
                  <a:close/>
                  <a:moveTo>
                    <a:pt x="3716179" y="211931"/>
                  </a:moveTo>
                  <a:cubicBezTo>
                    <a:pt x="3718084" y="214789"/>
                    <a:pt x="3719036" y="218599"/>
                    <a:pt x="3720941" y="221456"/>
                  </a:cubicBezTo>
                  <a:cubicBezTo>
                    <a:pt x="3719989" y="224314"/>
                    <a:pt x="3719989" y="227171"/>
                    <a:pt x="3719036" y="230029"/>
                  </a:cubicBezTo>
                  <a:cubicBezTo>
                    <a:pt x="3719036" y="230981"/>
                    <a:pt x="3719036" y="232886"/>
                    <a:pt x="3718084" y="233839"/>
                  </a:cubicBezTo>
                  <a:cubicBezTo>
                    <a:pt x="3715226" y="230029"/>
                    <a:pt x="3713321" y="228124"/>
                    <a:pt x="3713321" y="228124"/>
                  </a:cubicBezTo>
                  <a:cubicBezTo>
                    <a:pt x="3713321" y="228124"/>
                    <a:pt x="3715226" y="230981"/>
                    <a:pt x="3717131" y="235744"/>
                  </a:cubicBezTo>
                  <a:cubicBezTo>
                    <a:pt x="3716179" y="241459"/>
                    <a:pt x="3715226" y="247174"/>
                    <a:pt x="3714274" y="253841"/>
                  </a:cubicBezTo>
                  <a:cubicBezTo>
                    <a:pt x="3714274" y="252889"/>
                    <a:pt x="3714274" y="251936"/>
                    <a:pt x="3714274" y="250984"/>
                  </a:cubicBezTo>
                  <a:cubicBezTo>
                    <a:pt x="3714274" y="246221"/>
                    <a:pt x="3713321" y="242411"/>
                    <a:pt x="3713321" y="238601"/>
                  </a:cubicBezTo>
                  <a:cubicBezTo>
                    <a:pt x="3713321" y="234791"/>
                    <a:pt x="3713321" y="230981"/>
                    <a:pt x="3713321" y="227171"/>
                  </a:cubicBezTo>
                  <a:cubicBezTo>
                    <a:pt x="3713321" y="219551"/>
                    <a:pt x="3712369" y="213836"/>
                    <a:pt x="3712369" y="208121"/>
                  </a:cubicBezTo>
                  <a:cubicBezTo>
                    <a:pt x="3712369" y="207169"/>
                    <a:pt x="3712369" y="206216"/>
                    <a:pt x="3712369" y="205264"/>
                  </a:cubicBezTo>
                  <a:cubicBezTo>
                    <a:pt x="3713321" y="207169"/>
                    <a:pt x="3714274" y="209074"/>
                    <a:pt x="3716179" y="211931"/>
                  </a:cubicBezTo>
                  <a:close/>
                  <a:moveTo>
                    <a:pt x="3679984" y="236696"/>
                  </a:moveTo>
                  <a:cubicBezTo>
                    <a:pt x="3681889" y="222409"/>
                    <a:pt x="3683794" y="209074"/>
                    <a:pt x="3684746" y="196691"/>
                  </a:cubicBezTo>
                  <a:cubicBezTo>
                    <a:pt x="3685699" y="185261"/>
                    <a:pt x="3687604" y="174784"/>
                    <a:pt x="3687604" y="166211"/>
                  </a:cubicBezTo>
                  <a:cubicBezTo>
                    <a:pt x="3687604" y="161449"/>
                    <a:pt x="3688556" y="157639"/>
                    <a:pt x="3688556" y="154781"/>
                  </a:cubicBezTo>
                  <a:cubicBezTo>
                    <a:pt x="3690461" y="159544"/>
                    <a:pt x="3694271" y="168116"/>
                    <a:pt x="3699034" y="178594"/>
                  </a:cubicBezTo>
                  <a:cubicBezTo>
                    <a:pt x="3701891" y="184309"/>
                    <a:pt x="3704749" y="191929"/>
                    <a:pt x="3708559" y="199549"/>
                  </a:cubicBezTo>
                  <a:cubicBezTo>
                    <a:pt x="3708559" y="201454"/>
                    <a:pt x="3707606" y="204311"/>
                    <a:pt x="3707606" y="207169"/>
                  </a:cubicBezTo>
                  <a:cubicBezTo>
                    <a:pt x="3706654" y="211931"/>
                    <a:pt x="3705701" y="218599"/>
                    <a:pt x="3704749" y="226219"/>
                  </a:cubicBezTo>
                  <a:cubicBezTo>
                    <a:pt x="3703796" y="230029"/>
                    <a:pt x="3703796" y="233839"/>
                    <a:pt x="3702844" y="237649"/>
                  </a:cubicBezTo>
                  <a:cubicBezTo>
                    <a:pt x="3702844" y="241459"/>
                    <a:pt x="3701891" y="246221"/>
                    <a:pt x="3701891" y="250984"/>
                  </a:cubicBezTo>
                  <a:cubicBezTo>
                    <a:pt x="3700939" y="259556"/>
                    <a:pt x="3700939" y="270034"/>
                    <a:pt x="3700939" y="280511"/>
                  </a:cubicBezTo>
                  <a:cubicBezTo>
                    <a:pt x="3700939" y="287179"/>
                    <a:pt x="3700939" y="293846"/>
                    <a:pt x="3700939" y="300514"/>
                  </a:cubicBezTo>
                  <a:cubicBezTo>
                    <a:pt x="3699034" y="293846"/>
                    <a:pt x="3697129" y="290036"/>
                    <a:pt x="3697129" y="290036"/>
                  </a:cubicBezTo>
                  <a:cubicBezTo>
                    <a:pt x="3697129" y="290036"/>
                    <a:pt x="3698081" y="296704"/>
                    <a:pt x="3699034" y="308134"/>
                  </a:cubicBezTo>
                  <a:cubicBezTo>
                    <a:pt x="3696176" y="312896"/>
                    <a:pt x="3693319" y="317659"/>
                    <a:pt x="3690461" y="322421"/>
                  </a:cubicBezTo>
                  <a:cubicBezTo>
                    <a:pt x="3687604" y="317659"/>
                    <a:pt x="3685699" y="313849"/>
                    <a:pt x="3683794" y="310991"/>
                  </a:cubicBezTo>
                  <a:cubicBezTo>
                    <a:pt x="3683794" y="305276"/>
                    <a:pt x="3683794" y="302419"/>
                    <a:pt x="3683794" y="302419"/>
                  </a:cubicBezTo>
                  <a:cubicBezTo>
                    <a:pt x="3683794" y="302419"/>
                    <a:pt x="3683794" y="304324"/>
                    <a:pt x="3682841" y="308134"/>
                  </a:cubicBezTo>
                  <a:cubicBezTo>
                    <a:pt x="3680936" y="304324"/>
                    <a:pt x="3679031" y="302419"/>
                    <a:pt x="3679031" y="302419"/>
                  </a:cubicBezTo>
                  <a:cubicBezTo>
                    <a:pt x="3679031" y="302419"/>
                    <a:pt x="3679984" y="305276"/>
                    <a:pt x="3681889" y="310991"/>
                  </a:cubicBezTo>
                  <a:cubicBezTo>
                    <a:pt x="3680936" y="313849"/>
                    <a:pt x="3680936" y="318611"/>
                    <a:pt x="3679984" y="323374"/>
                  </a:cubicBezTo>
                  <a:cubicBezTo>
                    <a:pt x="3677126" y="317659"/>
                    <a:pt x="3675221" y="311944"/>
                    <a:pt x="3672364" y="307181"/>
                  </a:cubicBezTo>
                  <a:cubicBezTo>
                    <a:pt x="3674269" y="300514"/>
                    <a:pt x="3676174" y="294799"/>
                    <a:pt x="3677126" y="289084"/>
                  </a:cubicBezTo>
                  <a:cubicBezTo>
                    <a:pt x="3679031" y="283369"/>
                    <a:pt x="3680936" y="277654"/>
                    <a:pt x="3681889" y="272891"/>
                  </a:cubicBezTo>
                  <a:cubicBezTo>
                    <a:pt x="3683794" y="268129"/>
                    <a:pt x="3685699" y="264319"/>
                    <a:pt x="3686651" y="260509"/>
                  </a:cubicBezTo>
                  <a:cubicBezTo>
                    <a:pt x="3690461" y="253841"/>
                    <a:pt x="3692366" y="250031"/>
                    <a:pt x="3692366" y="250031"/>
                  </a:cubicBezTo>
                  <a:cubicBezTo>
                    <a:pt x="3692366" y="250031"/>
                    <a:pt x="3689509" y="252889"/>
                    <a:pt x="3683794" y="258604"/>
                  </a:cubicBezTo>
                  <a:cubicBezTo>
                    <a:pt x="3680936" y="261461"/>
                    <a:pt x="3678079" y="265271"/>
                    <a:pt x="3675221" y="270034"/>
                  </a:cubicBezTo>
                  <a:cubicBezTo>
                    <a:pt x="3674269" y="271939"/>
                    <a:pt x="3673316" y="273844"/>
                    <a:pt x="3671411" y="275749"/>
                  </a:cubicBezTo>
                  <a:cubicBezTo>
                    <a:pt x="3677126" y="261461"/>
                    <a:pt x="3679031" y="248126"/>
                    <a:pt x="3679984" y="236696"/>
                  </a:cubicBezTo>
                  <a:close/>
                  <a:moveTo>
                    <a:pt x="3678079" y="342424"/>
                  </a:moveTo>
                  <a:cubicBezTo>
                    <a:pt x="3678079" y="344329"/>
                    <a:pt x="3677126" y="346234"/>
                    <a:pt x="3677126" y="349091"/>
                  </a:cubicBezTo>
                  <a:cubicBezTo>
                    <a:pt x="3677126" y="347186"/>
                    <a:pt x="3676174" y="345281"/>
                    <a:pt x="3676174" y="343376"/>
                  </a:cubicBezTo>
                  <a:cubicBezTo>
                    <a:pt x="3675221" y="340519"/>
                    <a:pt x="3675221" y="337661"/>
                    <a:pt x="3674269" y="335756"/>
                  </a:cubicBezTo>
                  <a:cubicBezTo>
                    <a:pt x="3675221" y="337661"/>
                    <a:pt x="3676174" y="340519"/>
                    <a:pt x="3678079" y="342424"/>
                  </a:cubicBezTo>
                  <a:close/>
                  <a:moveTo>
                    <a:pt x="3664744" y="355759"/>
                  </a:moveTo>
                  <a:cubicBezTo>
                    <a:pt x="3664744" y="357664"/>
                    <a:pt x="3664744" y="360521"/>
                    <a:pt x="3664744" y="362426"/>
                  </a:cubicBezTo>
                  <a:cubicBezTo>
                    <a:pt x="3664744" y="365284"/>
                    <a:pt x="3663791" y="368141"/>
                    <a:pt x="3663791" y="371951"/>
                  </a:cubicBezTo>
                  <a:cubicBezTo>
                    <a:pt x="3663791" y="371951"/>
                    <a:pt x="3663791" y="371951"/>
                    <a:pt x="3663791" y="371951"/>
                  </a:cubicBezTo>
                  <a:cubicBezTo>
                    <a:pt x="3663791" y="370046"/>
                    <a:pt x="3662839" y="368141"/>
                    <a:pt x="3662839" y="367189"/>
                  </a:cubicBezTo>
                  <a:cubicBezTo>
                    <a:pt x="3662839" y="367189"/>
                    <a:pt x="3662839" y="367189"/>
                    <a:pt x="3662839" y="366236"/>
                  </a:cubicBezTo>
                  <a:cubicBezTo>
                    <a:pt x="3663791" y="363379"/>
                    <a:pt x="3664744" y="359569"/>
                    <a:pt x="3664744" y="355759"/>
                  </a:cubicBezTo>
                  <a:close/>
                  <a:moveTo>
                    <a:pt x="3603784" y="369094"/>
                  </a:moveTo>
                  <a:cubicBezTo>
                    <a:pt x="3603784" y="367189"/>
                    <a:pt x="3602831" y="365284"/>
                    <a:pt x="3602831" y="363379"/>
                  </a:cubicBezTo>
                  <a:cubicBezTo>
                    <a:pt x="3603784" y="359569"/>
                    <a:pt x="3604736" y="355759"/>
                    <a:pt x="3605689" y="352901"/>
                  </a:cubicBezTo>
                  <a:cubicBezTo>
                    <a:pt x="3605689" y="351949"/>
                    <a:pt x="3606641" y="350996"/>
                    <a:pt x="3606641" y="350044"/>
                  </a:cubicBezTo>
                  <a:cubicBezTo>
                    <a:pt x="3606641" y="350996"/>
                    <a:pt x="3607594" y="351949"/>
                    <a:pt x="3607594" y="352901"/>
                  </a:cubicBezTo>
                  <a:lnTo>
                    <a:pt x="3607594" y="353854"/>
                  </a:lnTo>
                  <a:cubicBezTo>
                    <a:pt x="3605689" y="358616"/>
                    <a:pt x="3604736" y="364331"/>
                    <a:pt x="3603784" y="369094"/>
                  </a:cubicBezTo>
                  <a:close/>
                  <a:moveTo>
                    <a:pt x="3612356" y="329089"/>
                  </a:moveTo>
                  <a:cubicBezTo>
                    <a:pt x="3612356" y="329089"/>
                    <a:pt x="3611404" y="328136"/>
                    <a:pt x="3611404" y="327184"/>
                  </a:cubicBezTo>
                  <a:cubicBezTo>
                    <a:pt x="3611404" y="325279"/>
                    <a:pt x="3611404" y="323374"/>
                    <a:pt x="3610451" y="321469"/>
                  </a:cubicBezTo>
                  <a:cubicBezTo>
                    <a:pt x="3611404" y="322421"/>
                    <a:pt x="3612356" y="323374"/>
                    <a:pt x="3613309" y="324326"/>
                  </a:cubicBezTo>
                  <a:cubicBezTo>
                    <a:pt x="3613309" y="326231"/>
                    <a:pt x="3612356" y="327184"/>
                    <a:pt x="3612356" y="329089"/>
                  </a:cubicBezTo>
                  <a:close/>
                  <a:moveTo>
                    <a:pt x="3633311" y="366236"/>
                  </a:moveTo>
                  <a:cubicBezTo>
                    <a:pt x="3632359" y="363379"/>
                    <a:pt x="3630454" y="361474"/>
                    <a:pt x="3629501" y="358616"/>
                  </a:cubicBezTo>
                  <a:cubicBezTo>
                    <a:pt x="3629501" y="357664"/>
                    <a:pt x="3629501" y="355759"/>
                    <a:pt x="3629501" y="354806"/>
                  </a:cubicBezTo>
                  <a:cubicBezTo>
                    <a:pt x="3631406" y="357664"/>
                    <a:pt x="3632359" y="361474"/>
                    <a:pt x="3633311" y="366236"/>
                  </a:cubicBezTo>
                  <a:cubicBezTo>
                    <a:pt x="3633311" y="366236"/>
                    <a:pt x="3634264" y="366236"/>
                    <a:pt x="3633311" y="366236"/>
                  </a:cubicBezTo>
                  <a:cubicBezTo>
                    <a:pt x="3634264" y="366236"/>
                    <a:pt x="3633311" y="366236"/>
                    <a:pt x="3633311" y="366236"/>
                  </a:cubicBezTo>
                  <a:close/>
                  <a:moveTo>
                    <a:pt x="3632359" y="331946"/>
                  </a:moveTo>
                  <a:cubicBezTo>
                    <a:pt x="3633311" y="336709"/>
                    <a:pt x="3634264" y="342424"/>
                    <a:pt x="3635216" y="348139"/>
                  </a:cubicBezTo>
                  <a:cubicBezTo>
                    <a:pt x="3634264" y="346234"/>
                    <a:pt x="3632359" y="343376"/>
                    <a:pt x="3631406" y="341471"/>
                  </a:cubicBezTo>
                  <a:cubicBezTo>
                    <a:pt x="3631406" y="337661"/>
                    <a:pt x="3631406" y="334804"/>
                    <a:pt x="3632359" y="331946"/>
                  </a:cubicBezTo>
                  <a:close/>
                  <a:moveTo>
                    <a:pt x="3618071" y="270034"/>
                  </a:moveTo>
                  <a:cubicBezTo>
                    <a:pt x="3621881" y="261461"/>
                    <a:pt x="3624739" y="252889"/>
                    <a:pt x="3628549" y="246221"/>
                  </a:cubicBezTo>
                  <a:cubicBezTo>
                    <a:pt x="3629501" y="244316"/>
                    <a:pt x="3629501" y="243364"/>
                    <a:pt x="3630454" y="242411"/>
                  </a:cubicBezTo>
                  <a:cubicBezTo>
                    <a:pt x="3629501" y="249079"/>
                    <a:pt x="3627596" y="256699"/>
                    <a:pt x="3625691" y="265271"/>
                  </a:cubicBezTo>
                  <a:cubicBezTo>
                    <a:pt x="3623786" y="267176"/>
                    <a:pt x="3620929" y="269081"/>
                    <a:pt x="3618071" y="271939"/>
                  </a:cubicBezTo>
                  <a:cubicBezTo>
                    <a:pt x="3618071" y="270986"/>
                    <a:pt x="3618071" y="270034"/>
                    <a:pt x="3618071" y="270034"/>
                  </a:cubicBezTo>
                  <a:close/>
                  <a:moveTo>
                    <a:pt x="3601879" y="310039"/>
                  </a:moveTo>
                  <a:cubicBezTo>
                    <a:pt x="3603784" y="306229"/>
                    <a:pt x="3604736" y="302419"/>
                    <a:pt x="3606641" y="298609"/>
                  </a:cubicBezTo>
                  <a:cubicBezTo>
                    <a:pt x="3609499" y="291941"/>
                    <a:pt x="3612356" y="285274"/>
                    <a:pt x="3615214" y="278606"/>
                  </a:cubicBezTo>
                  <a:cubicBezTo>
                    <a:pt x="3617119" y="276701"/>
                    <a:pt x="3619024" y="273844"/>
                    <a:pt x="3619976" y="271939"/>
                  </a:cubicBezTo>
                  <a:cubicBezTo>
                    <a:pt x="3621881" y="270034"/>
                    <a:pt x="3623786" y="268129"/>
                    <a:pt x="3625691" y="266224"/>
                  </a:cubicBezTo>
                  <a:cubicBezTo>
                    <a:pt x="3625691" y="268129"/>
                    <a:pt x="3624739" y="269081"/>
                    <a:pt x="3624739" y="270986"/>
                  </a:cubicBezTo>
                  <a:cubicBezTo>
                    <a:pt x="3621881" y="282416"/>
                    <a:pt x="3619976" y="295751"/>
                    <a:pt x="3617119" y="309086"/>
                  </a:cubicBezTo>
                  <a:cubicBezTo>
                    <a:pt x="3616166" y="312896"/>
                    <a:pt x="3615214" y="317659"/>
                    <a:pt x="3614261" y="322421"/>
                  </a:cubicBezTo>
                  <a:cubicBezTo>
                    <a:pt x="3613309" y="321469"/>
                    <a:pt x="3612356" y="320516"/>
                    <a:pt x="3611404" y="320516"/>
                  </a:cubicBezTo>
                  <a:cubicBezTo>
                    <a:pt x="3610451" y="312896"/>
                    <a:pt x="3610451" y="306229"/>
                    <a:pt x="3609499" y="298609"/>
                  </a:cubicBezTo>
                  <a:cubicBezTo>
                    <a:pt x="3609499" y="305276"/>
                    <a:pt x="3608546" y="311944"/>
                    <a:pt x="3608546" y="318611"/>
                  </a:cubicBezTo>
                  <a:cubicBezTo>
                    <a:pt x="3607594" y="318611"/>
                    <a:pt x="3606641" y="317659"/>
                    <a:pt x="3606641" y="317659"/>
                  </a:cubicBezTo>
                  <a:cubicBezTo>
                    <a:pt x="3607594" y="318611"/>
                    <a:pt x="3608546" y="318611"/>
                    <a:pt x="3608546" y="319564"/>
                  </a:cubicBezTo>
                  <a:cubicBezTo>
                    <a:pt x="3608546" y="320516"/>
                    <a:pt x="3608546" y="321469"/>
                    <a:pt x="3608546" y="322421"/>
                  </a:cubicBezTo>
                  <a:cubicBezTo>
                    <a:pt x="3606641" y="318611"/>
                    <a:pt x="3604736" y="315754"/>
                    <a:pt x="3602831" y="312896"/>
                  </a:cubicBezTo>
                  <a:cubicBezTo>
                    <a:pt x="3601879" y="310991"/>
                    <a:pt x="3601879" y="310039"/>
                    <a:pt x="3601879" y="310039"/>
                  </a:cubicBezTo>
                  <a:close/>
                  <a:moveTo>
                    <a:pt x="3600926" y="335756"/>
                  </a:moveTo>
                  <a:cubicBezTo>
                    <a:pt x="3601879" y="339566"/>
                    <a:pt x="3603784" y="342424"/>
                    <a:pt x="3604736" y="346234"/>
                  </a:cubicBezTo>
                  <a:cubicBezTo>
                    <a:pt x="3603784" y="348139"/>
                    <a:pt x="3602831" y="350044"/>
                    <a:pt x="3601879" y="351949"/>
                  </a:cubicBezTo>
                  <a:cubicBezTo>
                    <a:pt x="3601879" y="351949"/>
                    <a:pt x="3601879" y="352901"/>
                    <a:pt x="3600926" y="352901"/>
                  </a:cubicBezTo>
                  <a:cubicBezTo>
                    <a:pt x="3600926" y="350044"/>
                    <a:pt x="3599974" y="348139"/>
                    <a:pt x="3599974" y="345281"/>
                  </a:cubicBezTo>
                  <a:cubicBezTo>
                    <a:pt x="3599974" y="342424"/>
                    <a:pt x="3600926" y="338614"/>
                    <a:pt x="3600926" y="335756"/>
                  </a:cubicBezTo>
                  <a:close/>
                  <a:moveTo>
                    <a:pt x="3556159" y="342424"/>
                  </a:moveTo>
                  <a:cubicBezTo>
                    <a:pt x="3556159" y="335756"/>
                    <a:pt x="3557111" y="330041"/>
                    <a:pt x="3557111" y="324326"/>
                  </a:cubicBezTo>
                  <a:cubicBezTo>
                    <a:pt x="3557111" y="325279"/>
                    <a:pt x="3558064" y="327184"/>
                    <a:pt x="3558064" y="328136"/>
                  </a:cubicBezTo>
                  <a:cubicBezTo>
                    <a:pt x="3558064" y="330041"/>
                    <a:pt x="3559016" y="331946"/>
                    <a:pt x="3559016" y="333851"/>
                  </a:cubicBezTo>
                  <a:cubicBezTo>
                    <a:pt x="3559016" y="333851"/>
                    <a:pt x="3559016" y="334804"/>
                    <a:pt x="3559016" y="334804"/>
                  </a:cubicBezTo>
                  <a:cubicBezTo>
                    <a:pt x="3558064" y="337661"/>
                    <a:pt x="3557111" y="339566"/>
                    <a:pt x="3556159" y="342424"/>
                  </a:cubicBezTo>
                  <a:close/>
                  <a:moveTo>
                    <a:pt x="3559969" y="279559"/>
                  </a:moveTo>
                  <a:cubicBezTo>
                    <a:pt x="3559016" y="277654"/>
                    <a:pt x="3559016" y="276701"/>
                    <a:pt x="3559016" y="274796"/>
                  </a:cubicBezTo>
                  <a:cubicBezTo>
                    <a:pt x="3559969" y="275749"/>
                    <a:pt x="3560921" y="275749"/>
                    <a:pt x="3561874" y="276701"/>
                  </a:cubicBezTo>
                  <a:cubicBezTo>
                    <a:pt x="3563779" y="277654"/>
                    <a:pt x="3564731" y="278606"/>
                    <a:pt x="3566636" y="280511"/>
                  </a:cubicBezTo>
                  <a:cubicBezTo>
                    <a:pt x="3565684" y="282416"/>
                    <a:pt x="3563779" y="284321"/>
                    <a:pt x="3562826" y="287179"/>
                  </a:cubicBezTo>
                  <a:cubicBezTo>
                    <a:pt x="3561874" y="285274"/>
                    <a:pt x="3560921" y="282416"/>
                    <a:pt x="3559969" y="279559"/>
                  </a:cubicBezTo>
                  <a:close/>
                  <a:moveTo>
                    <a:pt x="3571399" y="287179"/>
                  </a:moveTo>
                  <a:cubicBezTo>
                    <a:pt x="3571399" y="294799"/>
                    <a:pt x="3571399" y="303371"/>
                    <a:pt x="3571399" y="311944"/>
                  </a:cubicBezTo>
                  <a:cubicBezTo>
                    <a:pt x="3570446" y="312896"/>
                    <a:pt x="3570446" y="313849"/>
                    <a:pt x="3569494" y="314801"/>
                  </a:cubicBezTo>
                  <a:cubicBezTo>
                    <a:pt x="3567589" y="307181"/>
                    <a:pt x="3565684" y="299561"/>
                    <a:pt x="3562826" y="292894"/>
                  </a:cubicBezTo>
                  <a:cubicBezTo>
                    <a:pt x="3563779" y="289084"/>
                    <a:pt x="3565684" y="285274"/>
                    <a:pt x="3566636" y="282416"/>
                  </a:cubicBezTo>
                  <a:cubicBezTo>
                    <a:pt x="3568541" y="283369"/>
                    <a:pt x="3570446" y="284321"/>
                    <a:pt x="3571399" y="287179"/>
                  </a:cubicBezTo>
                  <a:cubicBezTo>
                    <a:pt x="3571399" y="286226"/>
                    <a:pt x="3571399" y="286226"/>
                    <a:pt x="3571399" y="287179"/>
                  </a:cubicBezTo>
                  <a:close/>
                  <a:moveTo>
                    <a:pt x="3571399" y="281464"/>
                  </a:moveTo>
                  <a:cubicBezTo>
                    <a:pt x="3570446" y="280511"/>
                    <a:pt x="3569494" y="280511"/>
                    <a:pt x="3568541" y="279559"/>
                  </a:cubicBezTo>
                  <a:cubicBezTo>
                    <a:pt x="3568541" y="279559"/>
                    <a:pt x="3568541" y="279559"/>
                    <a:pt x="3568541" y="279559"/>
                  </a:cubicBezTo>
                  <a:cubicBezTo>
                    <a:pt x="3570446" y="276701"/>
                    <a:pt x="3571399" y="274796"/>
                    <a:pt x="3571399" y="273844"/>
                  </a:cubicBezTo>
                  <a:cubicBezTo>
                    <a:pt x="3571399" y="276701"/>
                    <a:pt x="3571399" y="279559"/>
                    <a:pt x="3571399" y="281464"/>
                  </a:cubicBezTo>
                  <a:close/>
                  <a:moveTo>
                    <a:pt x="3567589" y="250031"/>
                  </a:moveTo>
                  <a:cubicBezTo>
                    <a:pt x="3568541" y="254794"/>
                    <a:pt x="3569494" y="260509"/>
                    <a:pt x="3570446" y="265271"/>
                  </a:cubicBezTo>
                  <a:cubicBezTo>
                    <a:pt x="3570446" y="267176"/>
                    <a:pt x="3571399" y="270034"/>
                    <a:pt x="3571399" y="271939"/>
                  </a:cubicBezTo>
                  <a:cubicBezTo>
                    <a:pt x="3571399" y="271939"/>
                    <a:pt x="3571399" y="272891"/>
                    <a:pt x="3571399" y="272891"/>
                  </a:cubicBezTo>
                  <a:cubicBezTo>
                    <a:pt x="3571399" y="272891"/>
                    <a:pt x="3569494" y="274796"/>
                    <a:pt x="3567589" y="277654"/>
                  </a:cubicBezTo>
                  <a:cubicBezTo>
                    <a:pt x="3567589" y="277654"/>
                    <a:pt x="3567589" y="277654"/>
                    <a:pt x="3567589" y="277654"/>
                  </a:cubicBezTo>
                  <a:cubicBezTo>
                    <a:pt x="3565684" y="276701"/>
                    <a:pt x="3563779" y="274796"/>
                    <a:pt x="3561874" y="274796"/>
                  </a:cubicBezTo>
                  <a:cubicBezTo>
                    <a:pt x="3559969" y="273844"/>
                    <a:pt x="3559016" y="273844"/>
                    <a:pt x="3558064" y="272891"/>
                  </a:cubicBezTo>
                  <a:cubicBezTo>
                    <a:pt x="3557111" y="269081"/>
                    <a:pt x="3555206" y="264319"/>
                    <a:pt x="3554254" y="260509"/>
                  </a:cubicBezTo>
                  <a:cubicBezTo>
                    <a:pt x="3555206" y="259556"/>
                    <a:pt x="3555206" y="258604"/>
                    <a:pt x="3556159" y="257651"/>
                  </a:cubicBezTo>
                  <a:cubicBezTo>
                    <a:pt x="3559969" y="251936"/>
                    <a:pt x="3562826" y="247174"/>
                    <a:pt x="3566636" y="243364"/>
                  </a:cubicBezTo>
                  <a:cubicBezTo>
                    <a:pt x="3567589" y="246221"/>
                    <a:pt x="3567589" y="248126"/>
                    <a:pt x="3567589" y="250031"/>
                  </a:cubicBezTo>
                  <a:close/>
                  <a:moveTo>
                    <a:pt x="3561874" y="229076"/>
                  </a:moveTo>
                  <a:cubicBezTo>
                    <a:pt x="3561874" y="228124"/>
                    <a:pt x="3562826" y="228124"/>
                    <a:pt x="3562826" y="227171"/>
                  </a:cubicBezTo>
                  <a:cubicBezTo>
                    <a:pt x="3563779" y="230029"/>
                    <a:pt x="3563779" y="232886"/>
                    <a:pt x="3564731" y="235744"/>
                  </a:cubicBezTo>
                  <a:cubicBezTo>
                    <a:pt x="3564731" y="236696"/>
                    <a:pt x="3564731" y="237649"/>
                    <a:pt x="3565684" y="238601"/>
                  </a:cubicBezTo>
                  <a:cubicBezTo>
                    <a:pt x="3561874" y="241459"/>
                    <a:pt x="3557111" y="246221"/>
                    <a:pt x="3552349" y="251936"/>
                  </a:cubicBezTo>
                  <a:cubicBezTo>
                    <a:pt x="3552349" y="250031"/>
                    <a:pt x="3551396" y="248126"/>
                    <a:pt x="3551396" y="247174"/>
                  </a:cubicBezTo>
                  <a:cubicBezTo>
                    <a:pt x="3555206" y="241459"/>
                    <a:pt x="3558064" y="234791"/>
                    <a:pt x="3561874" y="229076"/>
                  </a:cubicBezTo>
                  <a:close/>
                  <a:moveTo>
                    <a:pt x="3551396" y="293846"/>
                  </a:moveTo>
                  <a:cubicBezTo>
                    <a:pt x="3552349" y="298609"/>
                    <a:pt x="3553301" y="303371"/>
                    <a:pt x="3554254" y="307181"/>
                  </a:cubicBezTo>
                  <a:cubicBezTo>
                    <a:pt x="3553301" y="311944"/>
                    <a:pt x="3551396" y="315754"/>
                    <a:pt x="3550444" y="321469"/>
                  </a:cubicBezTo>
                  <a:cubicBezTo>
                    <a:pt x="3549491" y="325279"/>
                    <a:pt x="3548539" y="329089"/>
                    <a:pt x="3547586" y="333851"/>
                  </a:cubicBezTo>
                  <a:cubicBezTo>
                    <a:pt x="3547586" y="332899"/>
                    <a:pt x="3546634" y="332899"/>
                    <a:pt x="3546634" y="331946"/>
                  </a:cubicBezTo>
                  <a:cubicBezTo>
                    <a:pt x="3545681" y="330041"/>
                    <a:pt x="3544729" y="329089"/>
                    <a:pt x="3543776" y="327184"/>
                  </a:cubicBezTo>
                  <a:cubicBezTo>
                    <a:pt x="3544729" y="319564"/>
                    <a:pt x="3544729" y="312896"/>
                    <a:pt x="3544729" y="306229"/>
                  </a:cubicBezTo>
                  <a:cubicBezTo>
                    <a:pt x="3545681" y="299561"/>
                    <a:pt x="3546634" y="292894"/>
                    <a:pt x="3547586" y="286226"/>
                  </a:cubicBezTo>
                  <a:cubicBezTo>
                    <a:pt x="3547586" y="283369"/>
                    <a:pt x="3548539" y="279559"/>
                    <a:pt x="3548539" y="276701"/>
                  </a:cubicBezTo>
                  <a:cubicBezTo>
                    <a:pt x="3548539" y="282416"/>
                    <a:pt x="3550444" y="288131"/>
                    <a:pt x="3551396" y="293846"/>
                  </a:cubicBezTo>
                  <a:close/>
                  <a:moveTo>
                    <a:pt x="3543776" y="191929"/>
                  </a:moveTo>
                  <a:cubicBezTo>
                    <a:pt x="3545681" y="187166"/>
                    <a:pt x="3547586" y="183356"/>
                    <a:pt x="3549491" y="180499"/>
                  </a:cubicBezTo>
                  <a:cubicBezTo>
                    <a:pt x="3549491" y="181451"/>
                    <a:pt x="3549491" y="183356"/>
                    <a:pt x="3548539" y="185261"/>
                  </a:cubicBezTo>
                  <a:cubicBezTo>
                    <a:pt x="3547586" y="192881"/>
                    <a:pt x="3546634" y="201454"/>
                    <a:pt x="3544729" y="211931"/>
                  </a:cubicBezTo>
                  <a:cubicBezTo>
                    <a:pt x="3544729" y="213836"/>
                    <a:pt x="3543776" y="215741"/>
                    <a:pt x="3543776" y="217646"/>
                  </a:cubicBezTo>
                  <a:cubicBezTo>
                    <a:pt x="3541871" y="210026"/>
                    <a:pt x="3539966" y="204311"/>
                    <a:pt x="3539014" y="200501"/>
                  </a:cubicBezTo>
                  <a:cubicBezTo>
                    <a:pt x="3540919" y="196691"/>
                    <a:pt x="3541871" y="194786"/>
                    <a:pt x="3543776" y="191929"/>
                  </a:cubicBezTo>
                  <a:close/>
                  <a:moveTo>
                    <a:pt x="3530441" y="217646"/>
                  </a:moveTo>
                  <a:cubicBezTo>
                    <a:pt x="3533299" y="211931"/>
                    <a:pt x="3536156" y="206216"/>
                    <a:pt x="3539014" y="201454"/>
                  </a:cubicBezTo>
                  <a:cubicBezTo>
                    <a:pt x="3539014" y="205264"/>
                    <a:pt x="3539966" y="210979"/>
                    <a:pt x="3540919" y="217646"/>
                  </a:cubicBezTo>
                  <a:cubicBezTo>
                    <a:pt x="3540919" y="221456"/>
                    <a:pt x="3541871" y="226219"/>
                    <a:pt x="3542824" y="231934"/>
                  </a:cubicBezTo>
                  <a:cubicBezTo>
                    <a:pt x="3541871" y="234791"/>
                    <a:pt x="3541871" y="237649"/>
                    <a:pt x="3540919" y="240506"/>
                  </a:cubicBezTo>
                  <a:cubicBezTo>
                    <a:pt x="3537109" y="246221"/>
                    <a:pt x="3532346" y="252889"/>
                    <a:pt x="3528536" y="259556"/>
                  </a:cubicBezTo>
                  <a:cubicBezTo>
                    <a:pt x="3528536" y="258604"/>
                    <a:pt x="3528536" y="257651"/>
                    <a:pt x="3528536" y="257651"/>
                  </a:cubicBezTo>
                  <a:cubicBezTo>
                    <a:pt x="3528536" y="251936"/>
                    <a:pt x="3528536" y="246221"/>
                    <a:pt x="3527584" y="240506"/>
                  </a:cubicBezTo>
                  <a:cubicBezTo>
                    <a:pt x="3527584" y="236696"/>
                    <a:pt x="3526631" y="232886"/>
                    <a:pt x="3526631" y="229076"/>
                  </a:cubicBezTo>
                  <a:cubicBezTo>
                    <a:pt x="3527584" y="224314"/>
                    <a:pt x="3528536" y="220504"/>
                    <a:pt x="3530441" y="217646"/>
                  </a:cubicBezTo>
                  <a:close/>
                  <a:moveTo>
                    <a:pt x="3490436" y="321469"/>
                  </a:moveTo>
                  <a:cubicBezTo>
                    <a:pt x="3490436" y="320516"/>
                    <a:pt x="3490436" y="318611"/>
                    <a:pt x="3490436" y="317659"/>
                  </a:cubicBezTo>
                  <a:cubicBezTo>
                    <a:pt x="3490436" y="318611"/>
                    <a:pt x="3491389" y="319564"/>
                    <a:pt x="3491389" y="319564"/>
                  </a:cubicBezTo>
                  <a:cubicBezTo>
                    <a:pt x="3491389" y="320516"/>
                    <a:pt x="3491389" y="320516"/>
                    <a:pt x="3490436" y="321469"/>
                  </a:cubicBezTo>
                  <a:close/>
                  <a:moveTo>
                    <a:pt x="3514249" y="250984"/>
                  </a:moveTo>
                  <a:cubicBezTo>
                    <a:pt x="3515201" y="249079"/>
                    <a:pt x="3516154" y="247174"/>
                    <a:pt x="3516154" y="246221"/>
                  </a:cubicBezTo>
                  <a:cubicBezTo>
                    <a:pt x="3516154" y="250031"/>
                    <a:pt x="3516154" y="253841"/>
                    <a:pt x="3515201" y="257651"/>
                  </a:cubicBezTo>
                  <a:cubicBezTo>
                    <a:pt x="3515201" y="261461"/>
                    <a:pt x="3514249" y="266224"/>
                    <a:pt x="3514249" y="270986"/>
                  </a:cubicBezTo>
                  <a:cubicBezTo>
                    <a:pt x="3513296" y="267176"/>
                    <a:pt x="3511391" y="263366"/>
                    <a:pt x="3509486" y="259556"/>
                  </a:cubicBezTo>
                  <a:cubicBezTo>
                    <a:pt x="3512344" y="255746"/>
                    <a:pt x="3513296" y="252889"/>
                    <a:pt x="3514249" y="250984"/>
                  </a:cubicBezTo>
                  <a:close/>
                  <a:moveTo>
                    <a:pt x="3504724" y="271939"/>
                  </a:moveTo>
                  <a:cubicBezTo>
                    <a:pt x="3504724" y="272891"/>
                    <a:pt x="3505676" y="273844"/>
                    <a:pt x="3505676" y="274796"/>
                  </a:cubicBezTo>
                  <a:cubicBezTo>
                    <a:pt x="3506629" y="279559"/>
                    <a:pt x="3508534" y="283369"/>
                    <a:pt x="3509486" y="288131"/>
                  </a:cubicBezTo>
                  <a:cubicBezTo>
                    <a:pt x="3508534" y="290036"/>
                    <a:pt x="3507581" y="291941"/>
                    <a:pt x="3505676" y="293846"/>
                  </a:cubicBezTo>
                  <a:cubicBezTo>
                    <a:pt x="3505676" y="290036"/>
                    <a:pt x="3504724" y="286226"/>
                    <a:pt x="3504724" y="282416"/>
                  </a:cubicBezTo>
                  <a:cubicBezTo>
                    <a:pt x="3504724" y="279559"/>
                    <a:pt x="3504724" y="275749"/>
                    <a:pt x="3504724" y="271939"/>
                  </a:cubicBezTo>
                  <a:cubicBezTo>
                    <a:pt x="3504724" y="272891"/>
                    <a:pt x="3504724" y="272891"/>
                    <a:pt x="3504724" y="271939"/>
                  </a:cubicBezTo>
                  <a:close/>
                  <a:moveTo>
                    <a:pt x="3501866" y="398621"/>
                  </a:moveTo>
                  <a:cubicBezTo>
                    <a:pt x="3499961" y="389096"/>
                    <a:pt x="3497104" y="380524"/>
                    <a:pt x="3495199" y="371951"/>
                  </a:cubicBezTo>
                  <a:cubicBezTo>
                    <a:pt x="3495199" y="370999"/>
                    <a:pt x="3494246" y="370046"/>
                    <a:pt x="3494246" y="369094"/>
                  </a:cubicBezTo>
                  <a:cubicBezTo>
                    <a:pt x="3496151" y="365284"/>
                    <a:pt x="3498056" y="361474"/>
                    <a:pt x="3499961" y="357664"/>
                  </a:cubicBezTo>
                  <a:cubicBezTo>
                    <a:pt x="3500914" y="370999"/>
                    <a:pt x="3500914" y="384334"/>
                    <a:pt x="3501866" y="398621"/>
                  </a:cubicBezTo>
                  <a:close/>
                  <a:moveTo>
                    <a:pt x="3496151" y="290036"/>
                  </a:moveTo>
                  <a:cubicBezTo>
                    <a:pt x="3497104" y="288131"/>
                    <a:pt x="3498056" y="286226"/>
                    <a:pt x="3499009" y="284321"/>
                  </a:cubicBezTo>
                  <a:cubicBezTo>
                    <a:pt x="3499009" y="288131"/>
                    <a:pt x="3499009" y="291941"/>
                    <a:pt x="3499009" y="295751"/>
                  </a:cubicBezTo>
                  <a:cubicBezTo>
                    <a:pt x="3498056" y="293846"/>
                    <a:pt x="3497104" y="291941"/>
                    <a:pt x="3496151" y="290036"/>
                  </a:cubicBezTo>
                  <a:close/>
                  <a:moveTo>
                    <a:pt x="3496151" y="252889"/>
                  </a:moveTo>
                  <a:cubicBezTo>
                    <a:pt x="3496151" y="250984"/>
                    <a:pt x="3496151" y="249079"/>
                    <a:pt x="3496151" y="247174"/>
                  </a:cubicBezTo>
                  <a:cubicBezTo>
                    <a:pt x="3497104" y="250031"/>
                    <a:pt x="3498056" y="252889"/>
                    <a:pt x="3499009" y="254794"/>
                  </a:cubicBezTo>
                  <a:cubicBezTo>
                    <a:pt x="3498056" y="256699"/>
                    <a:pt x="3496151" y="258604"/>
                    <a:pt x="3495199" y="261461"/>
                  </a:cubicBezTo>
                  <a:cubicBezTo>
                    <a:pt x="3495199" y="258604"/>
                    <a:pt x="3496151" y="255746"/>
                    <a:pt x="3496151" y="252889"/>
                  </a:cubicBezTo>
                  <a:close/>
                  <a:moveTo>
                    <a:pt x="3481864" y="205264"/>
                  </a:moveTo>
                  <a:cubicBezTo>
                    <a:pt x="3484721" y="212884"/>
                    <a:pt x="3488531" y="220504"/>
                    <a:pt x="3491389" y="230029"/>
                  </a:cubicBezTo>
                  <a:cubicBezTo>
                    <a:pt x="3492341" y="233839"/>
                    <a:pt x="3494246" y="238601"/>
                    <a:pt x="3495199" y="243364"/>
                  </a:cubicBezTo>
                  <a:cubicBezTo>
                    <a:pt x="3494246" y="245269"/>
                    <a:pt x="3493294" y="248126"/>
                    <a:pt x="3492341" y="251936"/>
                  </a:cubicBezTo>
                  <a:cubicBezTo>
                    <a:pt x="3491389" y="256699"/>
                    <a:pt x="3489484" y="261461"/>
                    <a:pt x="3487579" y="268129"/>
                  </a:cubicBezTo>
                  <a:cubicBezTo>
                    <a:pt x="3487579" y="269081"/>
                    <a:pt x="3487579" y="269081"/>
                    <a:pt x="3486626" y="270034"/>
                  </a:cubicBezTo>
                  <a:cubicBezTo>
                    <a:pt x="3484721" y="265271"/>
                    <a:pt x="3481864" y="260509"/>
                    <a:pt x="3479959" y="255746"/>
                  </a:cubicBezTo>
                  <a:cubicBezTo>
                    <a:pt x="3479959" y="245269"/>
                    <a:pt x="3479959" y="235744"/>
                    <a:pt x="3479959" y="228124"/>
                  </a:cubicBezTo>
                  <a:cubicBezTo>
                    <a:pt x="3479959" y="221456"/>
                    <a:pt x="3479959" y="216694"/>
                    <a:pt x="3479959" y="213836"/>
                  </a:cubicBezTo>
                  <a:cubicBezTo>
                    <a:pt x="3480911" y="211931"/>
                    <a:pt x="3480911" y="208121"/>
                    <a:pt x="3481864" y="205264"/>
                  </a:cubicBezTo>
                  <a:close/>
                  <a:moveTo>
                    <a:pt x="3473291" y="241459"/>
                  </a:moveTo>
                  <a:cubicBezTo>
                    <a:pt x="3474244" y="239554"/>
                    <a:pt x="3474244" y="236696"/>
                    <a:pt x="3475196" y="234791"/>
                  </a:cubicBezTo>
                  <a:cubicBezTo>
                    <a:pt x="3474244" y="236696"/>
                    <a:pt x="3474244" y="239554"/>
                    <a:pt x="3473291" y="241459"/>
                  </a:cubicBezTo>
                  <a:cubicBezTo>
                    <a:pt x="3473291" y="242411"/>
                    <a:pt x="3473291" y="241459"/>
                    <a:pt x="3473291" y="241459"/>
                  </a:cubicBezTo>
                  <a:cubicBezTo>
                    <a:pt x="3473291" y="241459"/>
                    <a:pt x="3473291" y="241459"/>
                    <a:pt x="3473291" y="241459"/>
                  </a:cubicBezTo>
                  <a:close/>
                  <a:moveTo>
                    <a:pt x="3468529" y="260509"/>
                  </a:moveTo>
                  <a:cubicBezTo>
                    <a:pt x="3468529" y="261461"/>
                    <a:pt x="3469481" y="262414"/>
                    <a:pt x="3469481" y="263366"/>
                  </a:cubicBezTo>
                  <a:cubicBezTo>
                    <a:pt x="3469481" y="266224"/>
                    <a:pt x="3468529" y="268129"/>
                    <a:pt x="3468529" y="270986"/>
                  </a:cubicBezTo>
                  <a:cubicBezTo>
                    <a:pt x="3467576" y="279559"/>
                    <a:pt x="3466624" y="290036"/>
                    <a:pt x="3465671" y="300514"/>
                  </a:cubicBezTo>
                  <a:cubicBezTo>
                    <a:pt x="3464719" y="306229"/>
                    <a:pt x="3464719" y="311944"/>
                    <a:pt x="3464719" y="318611"/>
                  </a:cubicBezTo>
                  <a:cubicBezTo>
                    <a:pt x="3464719" y="319564"/>
                    <a:pt x="3463766" y="320516"/>
                    <a:pt x="3463766" y="321469"/>
                  </a:cubicBezTo>
                  <a:cubicBezTo>
                    <a:pt x="3462814" y="316706"/>
                    <a:pt x="3460909" y="311944"/>
                    <a:pt x="3459956" y="307181"/>
                  </a:cubicBezTo>
                  <a:cubicBezTo>
                    <a:pt x="3459956" y="307181"/>
                    <a:pt x="3459956" y="306229"/>
                    <a:pt x="3459956" y="306229"/>
                  </a:cubicBezTo>
                  <a:cubicBezTo>
                    <a:pt x="3459956" y="304324"/>
                    <a:pt x="3460909" y="302419"/>
                    <a:pt x="3460909" y="300514"/>
                  </a:cubicBezTo>
                  <a:cubicBezTo>
                    <a:pt x="3463766" y="287179"/>
                    <a:pt x="3466624" y="273844"/>
                    <a:pt x="3468529" y="260509"/>
                  </a:cubicBezTo>
                  <a:close/>
                  <a:moveTo>
                    <a:pt x="3451384" y="237649"/>
                  </a:moveTo>
                  <a:cubicBezTo>
                    <a:pt x="3451384" y="231934"/>
                    <a:pt x="3451384" y="227171"/>
                    <a:pt x="3451384" y="221456"/>
                  </a:cubicBezTo>
                  <a:cubicBezTo>
                    <a:pt x="3451384" y="221456"/>
                    <a:pt x="3451384" y="221456"/>
                    <a:pt x="3451384" y="222409"/>
                  </a:cubicBezTo>
                  <a:cubicBezTo>
                    <a:pt x="3453289" y="227171"/>
                    <a:pt x="3456146" y="231934"/>
                    <a:pt x="3458051" y="237649"/>
                  </a:cubicBezTo>
                  <a:cubicBezTo>
                    <a:pt x="3458051" y="237649"/>
                    <a:pt x="3458051" y="238601"/>
                    <a:pt x="3458051" y="238601"/>
                  </a:cubicBezTo>
                  <a:cubicBezTo>
                    <a:pt x="3455194" y="248126"/>
                    <a:pt x="3452336" y="257651"/>
                    <a:pt x="3450431" y="267176"/>
                  </a:cubicBezTo>
                  <a:cubicBezTo>
                    <a:pt x="3450431" y="267176"/>
                    <a:pt x="3450431" y="267176"/>
                    <a:pt x="3450431" y="267176"/>
                  </a:cubicBezTo>
                  <a:cubicBezTo>
                    <a:pt x="3451384" y="256699"/>
                    <a:pt x="3451384" y="247174"/>
                    <a:pt x="3451384" y="237649"/>
                  </a:cubicBezTo>
                  <a:close/>
                  <a:moveTo>
                    <a:pt x="3405664" y="273844"/>
                  </a:moveTo>
                  <a:cubicBezTo>
                    <a:pt x="3406616" y="268129"/>
                    <a:pt x="3406616" y="263366"/>
                    <a:pt x="3406616" y="258604"/>
                  </a:cubicBezTo>
                  <a:cubicBezTo>
                    <a:pt x="3406616" y="253841"/>
                    <a:pt x="3406616" y="249079"/>
                    <a:pt x="3406616" y="245269"/>
                  </a:cubicBezTo>
                  <a:cubicBezTo>
                    <a:pt x="3406616" y="247174"/>
                    <a:pt x="3407569" y="251936"/>
                    <a:pt x="3409474" y="259556"/>
                  </a:cubicBezTo>
                  <a:cubicBezTo>
                    <a:pt x="3409474" y="264319"/>
                    <a:pt x="3407569" y="269081"/>
                    <a:pt x="3405664" y="273844"/>
                  </a:cubicBezTo>
                  <a:close/>
                  <a:moveTo>
                    <a:pt x="3416141" y="335756"/>
                  </a:moveTo>
                  <a:cubicBezTo>
                    <a:pt x="3416141" y="341471"/>
                    <a:pt x="3416141" y="347186"/>
                    <a:pt x="3416141" y="353854"/>
                  </a:cubicBezTo>
                  <a:cubicBezTo>
                    <a:pt x="3416141" y="351949"/>
                    <a:pt x="3415189" y="350044"/>
                    <a:pt x="3415189" y="348139"/>
                  </a:cubicBezTo>
                  <a:cubicBezTo>
                    <a:pt x="3414236" y="340519"/>
                    <a:pt x="3414236" y="333851"/>
                    <a:pt x="3413284" y="328136"/>
                  </a:cubicBezTo>
                  <a:cubicBezTo>
                    <a:pt x="3413284" y="328136"/>
                    <a:pt x="3413284" y="328136"/>
                    <a:pt x="3413284" y="328136"/>
                  </a:cubicBezTo>
                  <a:cubicBezTo>
                    <a:pt x="3414236" y="325279"/>
                    <a:pt x="3415189" y="323374"/>
                    <a:pt x="3417094" y="320516"/>
                  </a:cubicBezTo>
                  <a:cubicBezTo>
                    <a:pt x="3417094" y="324326"/>
                    <a:pt x="3417094" y="329089"/>
                    <a:pt x="3416141" y="335756"/>
                  </a:cubicBezTo>
                  <a:close/>
                  <a:moveTo>
                    <a:pt x="3421856" y="320516"/>
                  </a:moveTo>
                  <a:cubicBezTo>
                    <a:pt x="3420904" y="324326"/>
                    <a:pt x="3420904" y="329089"/>
                    <a:pt x="3419951" y="332899"/>
                  </a:cubicBezTo>
                  <a:cubicBezTo>
                    <a:pt x="3418999" y="326231"/>
                    <a:pt x="3418999" y="320516"/>
                    <a:pt x="3418046" y="316706"/>
                  </a:cubicBezTo>
                  <a:cubicBezTo>
                    <a:pt x="3418999" y="314801"/>
                    <a:pt x="3419951" y="312896"/>
                    <a:pt x="3420904" y="310991"/>
                  </a:cubicBezTo>
                  <a:cubicBezTo>
                    <a:pt x="3420904" y="310039"/>
                    <a:pt x="3421856" y="309086"/>
                    <a:pt x="3421856" y="308134"/>
                  </a:cubicBezTo>
                  <a:cubicBezTo>
                    <a:pt x="3421856" y="310039"/>
                    <a:pt x="3422809" y="310991"/>
                    <a:pt x="3422809" y="312896"/>
                  </a:cubicBezTo>
                  <a:cubicBezTo>
                    <a:pt x="3422809" y="314801"/>
                    <a:pt x="3422809" y="317659"/>
                    <a:pt x="3421856" y="320516"/>
                  </a:cubicBezTo>
                  <a:close/>
                  <a:moveTo>
                    <a:pt x="3410426" y="139541"/>
                  </a:moveTo>
                  <a:cubicBezTo>
                    <a:pt x="3413284" y="145256"/>
                    <a:pt x="3417094" y="151924"/>
                    <a:pt x="3421856" y="161449"/>
                  </a:cubicBezTo>
                  <a:cubicBezTo>
                    <a:pt x="3424714" y="167164"/>
                    <a:pt x="3428524" y="173831"/>
                    <a:pt x="3433286" y="181451"/>
                  </a:cubicBezTo>
                  <a:cubicBezTo>
                    <a:pt x="3431381" y="187166"/>
                    <a:pt x="3430429" y="192881"/>
                    <a:pt x="3428524" y="198596"/>
                  </a:cubicBezTo>
                  <a:cubicBezTo>
                    <a:pt x="3427571" y="202406"/>
                    <a:pt x="3426619" y="206216"/>
                    <a:pt x="3425666" y="210026"/>
                  </a:cubicBezTo>
                  <a:cubicBezTo>
                    <a:pt x="3424714" y="205264"/>
                    <a:pt x="3423761" y="200501"/>
                    <a:pt x="3422809" y="195739"/>
                  </a:cubicBezTo>
                  <a:cubicBezTo>
                    <a:pt x="3419951" y="183356"/>
                    <a:pt x="3417094" y="171926"/>
                    <a:pt x="3415189" y="163354"/>
                  </a:cubicBezTo>
                  <a:cubicBezTo>
                    <a:pt x="3413284" y="154781"/>
                    <a:pt x="3411379" y="148114"/>
                    <a:pt x="3410426" y="143351"/>
                  </a:cubicBezTo>
                  <a:cubicBezTo>
                    <a:pt x="3409474" y="141446"/>
                    <a:pt x="3410426" y="140494"/>
                    <a:pt x="3410426" y="139541"/>
                  </a:cubicBezTo>
                  <a:close/>
                  <a:moveTo>
                    <a:pt x="3408521" y="136684"/>
                  </a:moveTo>
                  <a:cubicBezTo>
                    <a:pt x="3408521" y="136684"/>
                    <a:pt x="3408521" y="136684"/>
                    <a:pt x="3408521" y="136684"/>
                  </a:cubicBezTo>
                  <a:cubicBezTo>
                    <a:pt x="3408521" y="136684"/>
                    <a:pt x="3408521" y="136684"/>
                    <a:pt x="3408521" y="136684"/>
                  </a:cubicBezTo>
                  <a:cubicBezTo>
                    <a:pt x="3408521" y="136684"/>
                    <a:pt x="3408521" y="136684"/>
                    <a:pt x="3408521" y="136684"/>
                  </a:cubicBezTo>
                  <a:close/>
                  <a:moveTo>
                    <a:pt x="3395186" y="266224"/>
                  </a:moveTo>
                  <a:cubicBezTo>
                    <a:pt x="3396139" y="251936"/>
                    <a:pt x="3396139" y="239554"/>
                    <a:pt x="3396139" y="227171"/>
                  </a:cubicBezTo>
                  <a:cubicBezTo>
                    <a:pt x="3396139" y="222409"/>
                    <a:pt x="3396139" y="217646"/>
                    <a:pt x="3396139" y="212884"/>
                  </a:cubicBezTo>
                  <a:cubicBezTo>
                    <a:pt x="3397091" y="210026"/>
                    <a:pt x="3398044" y="207169"/>
                    <a:pt x="3398996" y="204311"/>
                  </a:cubicBezTo>
                  <a:cubicBezTo>
                    <a:pt x="3398044" y="206216"/>
                    <a:pt x="3397091" y="208121"/>
                    <a:pt x="3396139" y="210026"/>
                  </a:cubicBezTo>
                  <a:cubicBezTo>
                    <a:pt x="3396139" y="207169"/>
                    <a:pt x="3396139" y="204311"/>
                    <a:pt x="3396139" y="202406"/>
                  </a:cubicBezTo>
                  <a:cubicBezTo>
                    <a:pt x="3397091" y="199549"/>
                    <a:pt x="3397091" y="197644"/>
                    <a:pt x="3398044" y="194786"/>
                  </a:cubicBezTo>
                  <a:cubicBezTo>
                    <a:pt x="3401854" y="178594"/>
                    <a:pt x="3405664" y="162401"/>
                    <a:pt x="3408521" y="145256"/>
                  </a:cubicBezTo>
                  <a:cubicBezTo>
                    <a:pt x="3408521" y="150019"/>
                    <a:pt x="3409474" y="155734"/>
                    <a:pt x="3410426" y="162401"/>
                  </a:cubicBezTo>
                  <a:cubicBezTo>
                    <a:pt x="3411379" y="171926"/>
                    <a:pt x="3412331" y="182404"/>
                    <a:pt x="3414236" y="195739"/>
                  </a:cubicBezTo>
                  <a:cubicBezTo>
                    <a:pt x="3415189" y="202406"/>
                    <a:pt x="3416141" y="209074"/>
                    <a:pt x="3417094" y="215741"/>
                  </a:cubicBezTo>
                  <a:cubicBezTo>
                    <a:pt x="3418046" y="220504"/>
                    <a:pt x="3418999" y="224314"/>
                    <a:pt x="3419951" y="229076"/>
                  </a:cubicBezTo>
                  <a:cubicBezTo>
                    <a:pt x="3418999" y="230981"/>
                    <a:pt x="3418999" y="232886"/>
                    <a:pt x="3418046" y="233839"/>
                  </a:cubicBezTo>
                  <a:cubicBezTo>
                    <a:pt x="3416141" y="240506"/>
                    <a:pt x="3414236" y="247174"/>
                    <a:pt x="3411379" y="253841"/>
                  </a:cubicBezTo>
                  <a:cubicBezTo>
                    <a:pt x="3408521" y="248126"/>
                    <a:pt x="3407569" y="245269"/>
                    <a:pt x="3407569" y="244316"/>
                  </a:cubicBezTo>
                  <a:cubicBezTo>
                    <a:pt x="3407569" y="242411"/>
                    <a:pt x="3407569" y="241459"/>
                    <a:pt x="3407569" y="239554"/>
                  </a:cubicBezTo>
                  <a:cubicBezTo>
                    <a:pt x="3407569" y="230029"/>
                    <a:pt x="3407569" y="224314"/>
                    <a:pt x="3407569" y="224314"/>
                  </a:cubicBezTo>
                  <a:cubicBezTo>
                    <a:pt x="3407569" y="224314"/>
                    <a:pt x="3405664" y="230029"/>
                    <a:pt x="3403759" y="239554"/>
                  </a:cubicBezTo>
                  <a:cubicBezTo>
                    <a:pt x="3402806" y="244316"/>
                    <a:pt x="3400901" y="250031"/>
                    <a:pt x="3399949" y="256699"/>
                  </a:cubicBezTo>
                  <a:cubicBezTo>
                    <a:pt x="3398996" y="262414"/>
                    <a:pt x="3397091" y="269081"/>
                    <a:pt x="3395186" y="275749"/>
                  </a:cubicBezTo>
                  <a:cubicBezTo>
                    <a:pt x="3395186" y="273844"/>
                    <a:pt x="3395186" y="270034"/>
                    <a:pt x="3395186" y="266224"/>
                  </a:cubicBezTo>
                  <a:close/>
                  <a:moveTo>
                    <a:pt x="3363754" y="252889"/>
                  </a:moveTo>
                  <a:cubicBezTo>
                    <a:pt x="3364706" y="256699"/>
                    <a:pt x="3365659" y="260509"/>
                    <a:pt x="3365659" y="264319"/>
                  </a:cubicBezTo>
                  <a:cubicBezTo>
                    <a:pt x="3364706" y="266224"/>
                    <a:pt x="3363754" y="267176"/>
                    <a:pt x="3363754" y="269081"/>
                  </a:cubicBezTo>
                  <a:cubicBezTo>
                    <a:pt x="3363754" y="262414"/>
                    <a:pt x="3363754" y="257651"/>
                    <a:pt x="3363754" y="252889"/>
                  </a:cubicBezTo>
                  <a:close/>
                  <a:moveTo>
                    <a:pt x="3321844" y="351949"/>
                  </a:moveTo>
                  <a:cubicBezTo>
                    <a:pt x="3321844" y="349091"/>
                    <a:pt x="3322796" y="345281"/>
                    <a:pt x="3322796" y="342424"/>
                  </a:cubicBezTo>
                  <a:cubicBezTo>
                    <a:pt x="3322796" y="344329"/>
                    <a:pt x="3323749" y="346234"/>
                    <a:pt x="3323749" y="347186"/>
                  </a:cubicBezTo>
                  <a:cubicBezTo>
                    <a:pt x="3323749" y="349091"/>
                    <a:pt x="3322796" y="350044"/>
                    <a:pt x="3321844" y="351949"/>
                  </a:cubicBezTo>
                  <a:close/>
                  <a:moveTo>
                    <a:pt x="3340894" y="273844"/>
                  </a:moveTo>
                  <a:cubicBezTo>
                    <a:pt x="3342799" y="282416"/>
                    <a:pt x="3345656" y="290036"/>
                    <a:pt x="3347561" y="298609"/>
                  </a:cubicBezTo>
                  <a:cubicBezTo>
                    <a:pt x="3346609" y="300514"/>
                    <a:pt x="3345656" y="302419"/>
                    <a:pt x="3344704" y="304324"/>
                  </a:cubicBezTo>
                  <a:cubicBezTo>
                    <a:pt x="3342799" y="299561"/>
                    <a:pt x="3340894" y="295751"/>
                    <a:pt x="3338989" y="290989"/>
                  </a:cubicBezTo>
                  <a:cubicBezTo>
                    <a:pt x="3338036" y="276701"/>
                    <a:pt x="3336131" y="263366"/>
                    <a:pt x="3335179" y="251936"/>
                  </a:cubicBezTo>
                  <a:cubicBezTo>
                    <a:pt x="3337084" y="259556"/>
                    <a:pt x="3338989" y="266224"/>
                    <a:pt x="3340894" y="273844"/>
                  </a:cubicBezTo>
                  <a:close/>
                  <a:moveTo>
                    <a:pt x="3330416" y="376714"/>
                  </a:moveTo>
                  <a:cubicBezTo>
                    <a:pt x="3330416" y="377666"/>
                    <a:pt x="3330416" y="378619"/>
                    <a:pt x="3331369" y="379571"/>
                  </a:cubicBezTo>
                  <a:cubicBezTo>
                    <a:pt x="3330416" y="380524"/>
                    <a:pt x="3330416" y="382429"/>
                    <a:pt x="3329464" y="384334"/>
                  </a:cubicBezTo>
                  <a:cubicBezTo>
                    <a:pt x="3329464" y="383381"/>
                    <a:pt x="3328511" y="382429"/>
                    <a:pt x="3328511" y="381476"/>
                  </a:cubicBezTo>
                  <a:cubicBezTo>
                    <a:pt x="3328511" y="379571"/>
                    <a:pt x="3329464" y="378619"/>
                    <a:pt x="3330416" y="376714"/>
                  </a:cubicBezTo>
                  <a:close/>
                  <a:moveTo>
                    <a:pt x="3329464" y="202406"/>
                  </a:moveTo>
                  <a:cubicBezTo>
                    <a:pt x="3329464" y="203359"/>
                    <a:pt x="3329464" y="205264"/>
                    <a:pt x="3329464" y="207169"/>
                  </a:cubicBezTo>
                  <a:cubicBezTo>
                    <a:pt x="3329464" y="206216"/>
                    <a:pt x="3329464" y="206216"/>
                    <a:pt x="3328511" y="205264"/>
                  </a:cubicBezTo>
                  <a:cubicBezTo>
                    <a:pt x="3329464" y="204311"/>
                    <a:pt x="3329464" y="203359"/>
                    <a:pt x="3329464" y="202406"/>
                  </a:cubicBezTo>
                  <a:close/>
                  <a:moveTo>
                    <a:pt x="3326606" y="302419"/>
                  </a:moveTo>
                  <a:cubicBezTo>
                    <a:pt x="3327559" y="305276"/>
                    <a:pt x="3328511" y="307181"/>
                    <a:pt x="3329464" y="310039"/>
                  </a:cubicBezTo>
                  <a:cubicBezTo>
                    <a:pt x="3329464" y="310991"/>
                    <a:pt x="3329464" y="310991"/>
                    <a:pt x="3329464" y="311944"/>
                  </a:cubicBezTo>
                  <a:cubicBezTo>
                    <a:pt x="3328511" y="310039"/>
                    <a:pt x="3327559" y="308134"/>
                    <a:pt x="3326606" y="306229"/>
                  </a:cubicBezTo>
                  <a:cubicBezTo>
                    <a:pt x="3326606" y="304324"/>
                    <a:pt x="3326606" y="303371"/>
                    <a:pt x="3326606" y="302419"/>
                  </a:cubicBezTo>
                  <a:close/>
                  <a:moveTo>
                    <a:pt x="3323749" y="227171"/>
                  </a:moveTo>
                  <a:cubicBezTo>
                    <a:pt x="3324701" y="224314"/>
                    <a:pt x="3324701" y="221456"/>
                    <a:pt x="3325654" y="219551"/>
                  </a:cubicBezTo>
                  <a:cubicBezTo>
                    <a:pt x="3325654" y="220504"/>
                    <a:pt x="3325654" y="220504"/>
                    <a:pt x="3325654" y="221456"/>
                  </a:cubicBezTo>
                  <a:cubicBezTo>
                    <a:pt x="3322796" y="232886"/>
                    <a:pt x="3320891" y="244316"/>
                    <a:pt x="3318034" y="256699"/>
                  </a:cubicBezTo>
                  <a:cubicBezTo>
                    <a:pt x="3318034" y="256699"/>
                    <a:pt x="3318034" y="255746"/>
                    <a:pt x="3317081" y="255746"/>
                  </a:cubicBezTo>
                  <a:cubicBezTo>
                    <a:pt x="3319939" y="245269"/>
                    <a:pt x="3321844" y="235744"/>
                    <a:pt x="3323749" y="227171"/>
                  </a:cubicBezTo>
                  <a:close/>
                  <a:moveTo>
                    <a:pt x="3315176" y="269081"/>
                  </a:moveTo>
                  <a:cubicBezTo>
                    <a:pt x="3315176" y="270034"/>
                    <a:pt x="3316129" y="270986"/>
                    <a:pt x="3316129" y="270986"/>
                  </a:cubicBezTo>
                  <a:cubicBezTo>
                    <a:pt x="3315176" y="274796"/>
                    <a:pt x="3315176" y="278606"/>
                    <a:pt x="3314224" y="282416"/>
                  </a:cubicBezTo>
                  <a:cubicBezTo>
                    <a:pt x="3314224" y="281464"/>
                    <a:pt x="3313271" y="280511"/>
                    <a:pt x="3313271" y="280511"/>
                  </a:cubicBezTo>
                  <a:cubicBezTo>
                    <a:pt x="3313271" y="276701"/>
                    <a:pt x="3314224" y="272891"/>
                    <a:pt x="3315176" y="269081"/>
                  </a:cubicBezTo>
                  <a:close/>
                  <a:moveTo>
                    <a:pt x="3305651" y="310991"/>
                  </a:moveTo>
                  <a:cubicBezTo>
                    <a:pt x="3306604" y="307181"/>
                    <a:pt x="3307556" y="302419"/>
                    <a:pt x="3308509" y="298609"/>
                  </a:cubicBezTo>
                  <a:cubicBezTo>
                    <a:pt x="3309461" y="299561"/>
                    <a:pt x="3309461" y="301466"/>
                    <a:pt x="3310414" y="302419"/>
                  </a:cubicBezTo>
                  <a:cubicBezTo>
                    <a:pt x="3309461" y="308134"/>
                    <a:pt x="3308509" y="314801"/>
                    <a:pt x="3307556" y="320516"/>
                  </a:cubicBezTo>
                  <a:cubicBezTo>
                    <a:pt x="3306604" y="318611"/>
                    <a:pt x="3305651" y="315754"/>
                    <a:pt x="3304699" y="313849"/>
                  </a:cubicBezTo>
                  <a:cubicBezTo>
                    <a:pt x="3305651" y="313849"/>
                    <a:pt x="3305651" y="312896"/>
                    <a:pt x="3305651" y="310991"/>
                  </a:cubicBezTo>
                  <a:close/>
                  <a:moveTo>
                    <a:pt x="3302794" y="327184"/>
                  </a:moveTo>
                  <a:cubicBezTo>
                    <a:pt x="3303746" y="330041"/>
                    <a:pt x="3303746" y="332899"/>
                    <a:pt x="3304699" y="335756"/>
                  </a:cubicBezTo>
                  <a:cubicBezTo>
                    <a:pt x="3303746" y="339566"/>
                    <a:pt x="3302794" y="344329"/>
                    <a:pt x="3300889" y="349091"/>
                  </a:cubicBezTo>
                  <a:cubicBezTo>
                    <a:pt x="3299936" y="350996"/>
                    <a:pt x="3299936" y="353854"/>
                    <a:pt x="3298984" y="355759"/>
                  </a:cubicBezTo>
                  <a:cubicBezTo>
                    <a:pt x="3298031" y="354806"/>
                    <a:pt x="3298031" y="352901"/>
                    <a:pt x="3297079" y="351949"/>
                  </a:cubicBezTo>
                  <a:cubicBezTo>
                    <a:pt x="3298984" y="343376"/>
                    <a:pt x="3300889" y="334804"/>
                    <a:pt x="3302794" y="327184"/>
                  </a:cubicBezTo>
                  <a:close/>
                  <a:moveTo>
                    <a:pt x="3279934" y="297656"/>
                  </a:moveTo>
                  <a:cubicBezTo>
                    <a:pt x="3279934" y="294799"/>
                    <a:pt x="3279934" y="291941"/>
                    <a:pt x="3280886" y="289084"/>
                  </a:cubicBezTo>
                  <a:cubicBezTo>
                    <a:pt x="3281839" y="280511"/>
                    <a:pt x="3282791" y="271939"/>
                    <a:pt x="3283744" y="263366"/>
                  </a:cubicBezTo>
                  <a:cubicBezTo>
                    <a:pt x="3283744" y="259556"/>
                    <a:pt x="3284696" y="255746"/>
                    <a:pt x="3284696" y="252889"/>
                  </a:cubicBezTo>
                  <a:cubicBezTo>
                    <a:pt x="3287554" y="258604"/>
                    <a:pt x="3290411" y="264319"/>
                    <a:pt x="3293269" y="270034"/>
                  </a:cubicBezTo>
                  <a:cubicBezTo>
                    <a:pt x="3292316" y="272891"/>
                    <a:pt x="3292316" y="274796"/>
                    <a:pt x="3291364" y="277654"/>
                  </a:cubicBezTo>
                  <a:cubicBezTo>
                    <a:pt x="3291364" y="279559"/>
                    <a:pt x="3290411" y="281464"/>
                    <a:pt x="3290411" y="283369"/>
                  </a:cubicBezTo>
                  <a:cubicBezTo>
                    <a:pt x="3289459" y="271939"/>
                    <a:pt x="3289459" y="264319"/>
                    <a:pt x="3289459" y="264319"/>
                  </a:cubicBezTo>
                  <a:cubicBezTo>
                    <a:pt x="3289459" y="264319"/>
                    <a:pt x="3285649" y="285274"/>
                    <a:pt x="3281839" y="317659"/>
                  </a:cubicBezTo>
                  <a:cubicBezTo>
                    <a:pt x="3281839" y="317659"/>
                    <a:pt x="3280886" y="317659"/>
                    <a:pt x="3280886" y="317659"/>
                  </a:cubicBezTo>
                  <a:cubicBezTo>
                    <a:pt x="3280886" y="317659"/>
                    <a:pt x="3280886" y="316706"/>
                    <a:pt x="3280886" y="316706"/>
                  </a:cubicBezTo>
                  <a:cubicBezTo>
                    <a:pt x="3280886" y="316706"/>
                    <a:pt x="3280886" y="315754"/>
                    <a:pt x="3279934" y="315754"/>
                  </a:cubicBezTo>
                  <a:cubicBezTo>
                    <a:pt x="3279934" y="314801"/>
                    <a:pt x="3278981" y="314801"/>
                    <a:pt x="3278981" y="313849"/>
                  </a:cubicBezTo>
                  <a:cubicBezTo>
                    <a:pt x="3278981" y="308134"/>
                    <a:pt x="3279934" y="302419"/>
                    <a:pt x="3279934" y="297656"/>
                  </a:cubicBezTo>
                  <a:close/>
                  <a:moveTo>
                    <a:pt x="3263741" y="295751"/>
                  </a:moveTo>
                  <a:cubicBezTo>
                    <a:pt x="3263741" y="294799"/>
                    <a:pt x="3263741" y="293846"/>
                    <a:pt x="3263741" y="293846"/>
                  </a:cubicBezTo>
                  <a:cubicBezTo>
                    <a:pt x="3263741" y="293846"/>
                    <a:pt x="3263741" y="294799"/>
                    <a:pt x="3263741" y="295751"/>
                  </a:cubicBezTo>
                  <a:cubicBezTo>
                    <a:pt x="3264694" y="295751"/>
                    <a:pt x="3264694" y="295751"/>
                    <a:pt x="3264694" y="296704"/>
                  </a:cubicBezTo>
                  <a:cubicBezTo>
                    <a:pt x="3263741" y="299561"/>
                    <a:pt x="3262789" y="303371"/>
                    <a:pt x="3262789" y="306229"/>
                  </a:cubicBezTo>
                  <a:cubicBezTo>
                    <a:pt x="3262789" y="302419"/>
                    <a:pt x="3263741" y="298609"/>
                    <a:pt x="3263741" y="295751"/>
                  </a:cubicBezTo>
                  <a:close/>
                  <a:moveTo>
                    <a:pt x="3232309" y="381476"/>
                  </a:moveTo>
                  <a:cubicBezTo>
                    <a:pt x="3232309" y="372904"/>
                    <a:pt x="3232309" y="365284"/>
                    <a:pt x="3232309" y="357664"/>
                  </a:cubicBezTo>
                  <a:cubicBezTo>
                    <a:pt x="3232309" y="357664"/>
                    <a:pt x="3232309" y="358616"/>
                    <a:pt x="3232309" y="358616"/>
                  </a:cubicBezTo>
                  <a:cubicBezTo>
                    <a:pt x="3232309" y="359569"/>
                    <a:pt x="3232309" y="360521"/>
                    <a:pt x="3233261" y="360521"/>
                  </a:cubicBezTo>
                  <a:cubicBezTo>
                    <a:pt x="3233261" y="367189"/>
                    <a:pt x="3233261" y="373856"/>
                    <a:pt x="3232309" y="381476"/>
                  </a:cubicBezTo>
                  <a:close/>
                  <a:moveTo>
                    <a:pt x="3239929" y="327184"/>
                  </a:moveTo>
                  <a:cubicBezTo>
                    <a:pt x="3240881" y="330994"/>
                    <a:pt x="3240881" y="335756"/>
                    <a:pt x="3241834" y="339566"/>
                  </a:cubicBezTo>
                  <a:cubicBezTo>
                    <a:pt x="3240881" y="337661"/>
                    <a:pt x="3239929" y="335756"/>
                    <a:pt x="3239929" y="333851"/>
                  </a:cubicBezTo>
                  <a:cubicBezTo>
                    <a:pt x="3239929" y="331946"/>
                    <a:pt x="3239929" y="330994"/>
                    <a:pt x="3239929" y="329089"/>
                  </a:cubicBezTo>
                  <a:cubicBezTo>
                    <a:pt x="3238976" y="328136"/>
                    <a:pt x="3239929" y="328136"/>
                    <a:pt x="3239929" y="327184"/>
                  </a:cubicBezTo>
                  <a:close/>
                  <a:moveTo>
                    <a:pt x="3234214" y="318611"/>
                  </a:moveTo>
                  <a:cubicBezTo>
                    <a:pt x="3235166" y="315754"/>
                    <a:pt x="3236119" y="312896"/>
                    <a:pt x="3237071" y="310039"/>
                  </a:cubicBezTo>
                  <a:cubicBezTo>
                    <a:pt x="3237071" y="311944"/>
                    <a:pt x="3238024" y="313849"/>
                    <a:pt x="3238024" y="314801"/>
                  </a:cubicBezTo>
                  <a:cubicBezTo>
                    <a:pt x="3238024" y="315754"/>
                    <a:pt x="3238024" y="315754"/>
                    <a:pt x="3238024" y="316706"/>
                  </a:cubicBezTo>
                  <a:cubicBezTo>
                    <a:pt x="3238024" y="316706"/>
                    <a:pt x="3238024" y="317659"/>
                    <a:pt x="3237071" y="317659"/>
                  </a:cubicBezTo>
                  <a:cubicBezTo>
                    <a:pt x="3237071" y="314801"/>
                    <a:pt x="3236119" y="311944"/>
                    <a:pt x="3237071" y="311944"/>
                  </a:cubicBezTo>
                  <a:cubicBezTo>
                    <a:pt x="3238024" y="311944"/>
                    <a:pt x="3237071" y="314801"/>
                    <a:pt x="3236119" y="319564"/>
                  </a:cubicBezTo>
                  <a:cubicBezTo>
                    <a:pt x="3235166" y="320516"/>
                    <a:pt x="3235166" y="321469"/>
                    <a:pt x="3234214" y="322421"/>
                  </a:cubicBezTo>
                  <a:cubicBezTo>
                    <a:pt x="3234214" y="321469"/>
                    <a:pt x="3233261" y="320516"/>
                    <a:pt x="3233261" y="319564"/>
                  </a:cubicBezTo>
                  <a:cubicBezTo>
                    <a:pt x="3234214" y="319564"/>
                    <a:pt x="3234214" y="319564"/>
                    <a:pt x="3234214" y="318611"/>
                  </a:cubicBezTo>
                  <a:close/>
                  <a:moveTo>
                    <a:pt x="3233261" y="286226"/>
                  </a:moveTo>
                  <a:cubicBezTo>
                    <a:pt x="3233261" y="287179"/>
                    <a:pt x="3233261" y="287179"/>
                    <a:pt x="3233261" y="288131"/>
                  </a:cubicBezTo>
                  <a:cubicBezTo>
                    <a:pt x="3233261" y="289084"/>
                    <a:pt x="3232309" y="289084"/>
                    <a:pt x="3232309" y="290036"/>
                  </a:cubicBezTo>
                  <a:cubicBezTo>
                    <a:pt x="3232309" y="287179"/>
                    <a:pt x="3232309" y="285274"/>
                    <a:pt x="3232309" y="282416"/>
                  </a:cubicBezTo>
                  <a:cubicBezTo>
                    <a:pt x="3232309" y="284321"/>
                    <a:pt x="3233261" y="285274"/>
                    <a:pt x="3233261" y="286226"/>
                  </a:cubicBezTo>
                  <a:close/>
                  <a:moveTo>
                    <a:pt x="3222784" y="285274"/>
                  </a:moveTo>
                  <a:cubicBezTo>
                    <a:pt x="3222784" y="281464"/>
                    <a:pt x="3222784" y="277654"/>
                    <a:pt x="3223736" y="273844"/>
                  </a:cubicBezTo>
                  <a:cubicBezTo>
                    <a:pt x="3224689" y="271939"/>
                    <a:pt x="3224689" y="270034"/>
                    <a:pt x="3224689" y="270034"/>
                  </a:cubicBezTo>
                  <a:cubicBezTo>
                    <a:pt x="3224689" y="270034"/>
                    <a:pt x="3224689" y="270034"/>
                    <a:pt x="3224689" y="270986"/>
                  </a:cubicBezTo>
                  <a:cubicBezTo>
                    <a:pt x="3225641" y="265271"/>
                    <a:pt x="3226594" y="259556"/>
                    <a:pt x="3227546" y="253841"/>
                  </a:cubicBezTo>
                  <a:cubicBezTo>
                    <a:pt x="3227546" y="253841"/>
                    <a:pt x="3227546" y="253841"/>
                    <a:pt x="3227546" y="253841"/>
                  </a:cubicBezTo>
                  <a:cubicBezTo>
                    <a:pt x="3226594" y="264319"/>
                    <a:pt x="3225641" y="277654"/>
                    <a:pt x="3223736" y="292894"/>
                  </a:cubicBezTo>
                  <a:cubicBezTo>
                    <a:pt x="3223736" y="292894"/>
                    <a:pt x="3223736" y="291941"/>
                    <a:pt x="3222784" y="291941"/>
                  </a:cubicBezTo>
                  <a:cubicBezTo>
                    <a:pt x="3222784" y="291941"/>
                    <a:pt x="3222784" y="291941"/>
                    <a:pt x="3222784" y="290989"/>
                  </a:cubicBezTo>
                  <a:cubicBezTo>
                    <a:pt x="3221831" y="289084"/>
                    <a:pt x="3221831" y="287179"/>
                    <a:pt x="3222784" y="285274"/>
                  </a:cubicBezTo>
                  <a:close/>
                  <a:moveTo>
                    <a:pt x="3217069" y="207169"/>
                  </a:moveTo>
                  <a:cubicBezTo>
                    <a:pt x="3218021" y="210979"/>
                    <a:pt x="3218974" y="214789"/>
                    <a:pt x="3219926" y="219551"/>
                  </a:cubicBezTo>
                  <a:cubicBezTo>
                    <a:pt x="3218021" y="225266"/>
                    <a:pt x="3217069" y="231934"/>
                    <a:pt x="3215164" y="238601"/>
                  </a:cubicBezTo>
                  <a:cubicBezTo>
                    <a:pt x="3215164" y="226219"/>
                    <a:pt x="3217069" y="215741"/>
                    <a:pt x="3217069" y="207169"/>
                  </a:cubicBezTo>
                  <a:close/>
                  <a:moveTo>
                    <a:pt x="3191351" y="249079"/>
                  </a:moveTo>
                  <a:cubicBezTo>
                    <a:pt x="3191351" y="242411"/>
                    <a:pt x="3192304" y="236696"/>
                    <a:pt x="3192304" y="232886"/>
                  </a:cubicBezTo>
                  <a:cubicBezTo>
                    <a:pt x="3193256" y="234791"/>
                    <a:pt x="3193256" y="235744"/>
                    <a:pt x="3194209" y="238601"/>
                  </a:cubicBezTo>
                  <a:cubicBezTo>
                    <a:pt x="3193256" y="247174"/>
                    <a:pt x="3192304" y="255746"/>
                    <a:pt x="3191351" y="265271"/>
                  </a:cubicBezTo>
                  <a:cubicBezTo>
                    <a:pt x="3191351" y="258604"/>
                    <a:pt x="3191351" y="253841"/>
                    <a:pt x="3191351" y="249079"/>
                  </a:cubicBezTo>
                  <a:close/>
                  <a:moveTo>
                    <a:pt x="3155156" y="313849"/>
                  </a:moveTo>
                  <a:cubicBezTo>
                    <a:pt x="3155156" y="315754"/>
                    <a:pt x="3156109" y="317659"/>
                    <a:pt x="3156109" y="320516"/>
                  </a:cubicBezTo>
                  <a:cubicBezTo>
                    <a:pt x="3156109" y="325279"/>
                    <a:pt x="3157061" y="330041"/>
                    <a:pt x="3158014" y="334804"/>
                  </a:cubicBezTo>
                  <a:cubicBezTo>
                    <a:pt x="3157061" y="341471"/>
                    <a:pt x="3155156" y="348139"/>
                    <a:pt x="3154204" y="354806"/>
                  </a:cubicBezTo>
                  <a:cubicBezTo>
                    <a:pt x="3153251" y="353854"/>
                    <a:pt x="3153251" y="352901"/>
                    <a:pt x="3152299" y="351949"/>
                  </a:cubicBezTo>
                  <a:cubicBezTo>
                    <a:pt x="3152299" y="350996"/>
                    <a:pt x="3152299" y="350044"/>
                    <a:pt x="3152299" y="350044"/>
                  </a:cubicBezTo>
                  <a:cubicBezTo>
                    <a:pt x="3152299" y="348139"/>
                    <a:pt x="3151346" y="347186"/>
                    <a:pt x="3151346" y="345281"/>
                  </a:cubicBezTo>
                  <a:cubicBezTo>
                    <a:pt x="3151346" y="345281"/>
                    <a:pt x="3151346" y="344329"/>
                    <a:pt x="3151346" y="344329"/>
                  </a:cubicBezTo>
                  <a:lnTo>
                    <a:pt x="3151346" y="338614"/>
                  </a:lnTo>
                  <a:cubicBezTo>
                    <a:pt x="3151346" y="329089"/>
                    <a:pt x="3153251" y="321469"/>
                    <a:pt x="3155156" y="313849"/>
                  </a:cubicBezTo>
                  <a:close/>
                  <a:moveTo>
                    <a:pt x="3139916" y="213836"/>
                  </a:moveTo>
                  <a:cubicBezTo>
                    <a:pt x="3140869" y="220504"/>
                    <a:pt x="3142774" y="228124"/>
                    <a:pt x="3143726" y="235744"/>
                  </a:cubicBezTo>
                  <a:cubicBezTo>
                    <a:pt x="3145631" y="246221"/>
                    <a:pt x="3147536" y="256699"/>
                    <a:pt x="3148489" y="267176"/>
                  </a:cubicBezTo>
                  <a:cubicBezTo>
                    <a:pt x="3146584" y="272891"/>
                    <a:pt x="3145631" y="278606"/>
                    <a:pt x="3143726" y="284321"/>
                  </a:cubicBezTo>
                  <a:cubicBezTo>
                    <a:pt x="3140869" y="251936"/>
                    <a:pt x="3138964" y="228124"/>
                    <a:pt x="3137059" y="216694"/>
                  </a:cubicBezTo>
                  <a:cubicBezTo>
                    <a:pt x="3138011" y="215741"/>
                    <a:pt x="3138964" y="214789"/>
                    <a:pt x="3139916" y="213836"/>
                  </a:cubicBezTo>
                  <a:close/>
                  <a:moveTo>
                    <a:pt x="3130391" y="337661"/>
                  </a:moveTo>
                  <a:cubicBezTo>
                    <a:pt x="3130391" y="336709"/>
                    <a:pt x="3130391" y="336709"/>
                    <a:pt x="3130391" y="335756"/>
                  </a:cubicBezTo>
                  <a:cubicBezTo>
                    <a:pt x="3130391" y="335756"/>
                    <a:pt x="3130391" y="335756"/>
                    <a:pt x="3130391" y="335756"/>
                  </a:cubicBezTo>
                  <a:cubicBezTo>
                    <a:pt x="3130391" y="336709"/>
                    <a:pt x="3130391" y="336709"/>
                    <a:pt x="3130391" y="337661"/>
                  </a:cubicBezTo>
                  <a:close/>
                  <a:moveTo>
                    <a:pt x="3130391" y="328136"/>
                  </a:moveTo>
                  <a:cubicBezTo>
                    <a:pt x="3130391" y="328136"/>
                    <a:pt x="3130391" y="327184"/>
                    <a:pt x="3130391" y="328136"/>
                  </a:cubicBezTo>
                  <a:cubicBezTo>
                    <a:pt x="3130391" y="327184"/>
                    <a:pt x="3130391" y="328136"/>
                    <a:pt x="3130391" y="328136"/>
                  </a:cubicBezTo>
                  <a:cubicBezTo>
                    <a:pt x="3130391" y="328136"/>
                    <a:pt x="3130391" y="328136"/>
                    <a:pt x="3130391" y="328136"/>
                  </a:cubicBezTo>
                  <a:close/>
                  <a:moveTo>
                    <a:pt x="3133249" y="276701"/>
                  </a:moveTo>
                  <a:cubicBezTo>
                    <a:pt x="3133249" y="276701"/>
                    <a:pt x="3133249" y="275749"/>
                    <a:pt x="3133249" y="276701"/>
                  </a:cubicBezTo>
                  <a:cubicBezTo>
                    <a:pt x="3131344" y="270034"/>
                    <a:pt x="3129439" y="264319"/>
                    <a:pt x="3128486" y="259556"/>
                  </a:cubicBezTo>
                  <a:cubicBezTo>
                    <a:pt x="3128486" y="254794"/>
                    <a:pt x="3128486" y="250031"/>
                    <a:pt x="3127534" y="246221"/>
                  </a:cubicBezTo>
                  <a:cubicBezTo>
                    <a:pt x="3131344" y="235744"/>
                    <a:pt x="3134201" y="228124"/>
                    <a:pt x="3135154" y="223361"/>
                  </a:cubicBezTo>
                  <a:cubicBezTo>
                    <a:pt x="3135154" y="235744"/>
                    <a:pt x="3134201" y="253841"/>
                    <a:pt x="3133249" y="276701"/>
                  </a:cubicBezTo>
                  <a:close/>
                  <a:moveTo>
                    <a:pt x="3130391" y="229076"/>
                  </a:moveTo>
                  <a:cubicBezTo>
                    <a:pt x="3132296" y="225266"/>
                    <a:pt x="3134201" y="222409"/>
                    <a:pt x="3136106" y="219551"/>
                  </a:cubicBezTo>
                  <a:cubicBezTo>
                    <a:pt x="3136106" y="220504"/>
                    <a:pt x="3136106" y="220504"/>
                    <a:pt x="3136106" y="221456"/>
                  </a:cubicBezTo>
                  <a:cubicBezTo>
                    <a:pt x="3134201" y="224314"/>
                    <a:pt x="3131344" y="229076"/>
                    <a:pt x="3127534" y="236696"/>
                  </a:cubicBezTo>
                  <a:cubicBezTo>
                    <a:pt x="3127534" y="235744"/>
                    <a:pt x="3127534" y="235744"/>
                    <a:pt x="3127534" y="234791"/>
                  </a:cubicBezTo>
                  <a:cubicBezTo>
                    <a:pt x="3128486" y="232886"/>
                    <a:pt x="3129439" y="230981"/>
                    <a:pt x="3130391" y="229076"/>
                  </a:cubicBezTo>
                  <a:close/>
                  <a:moveTo>
                    <a:pt x="3114199" y="290036"/>
                  </a:moveTo>
                  <a:cubicBezTo>
                    <a:pt x="3114199" y="289084"/>
                    <a:pt x="3113246" y="288131"/>
                    <a:pt x="3113246" y="287179"/>
                  </a:cubicBezTo>
                  <a:cubicBezTo>
                    <a:pt x="3113246" y="287179"/>
                    <a:pt x="3113246" y="287179"/>
                    <a:pt x="3113246" y="286226"/>
                  </a:cubicBezTo>
                  <a:cubicBezTo>
                    <a:pt x="3114199" y="284321"/>
                    <a:pt x="3114199" y="283369"/>
                    <a:pt x="3115151" y="281464"/>
                  </a:cubicBezTo>
                  <a:cubicBezTo>
                    <a:pt x="3114199" y="284321"/>
                    <a:pt x="3114199" y="287179"/>
                    <a:pt x="3114199" y="290036"/>
                  </a:cubicBezTo>
                  <a:close/>
                  <a:moveTo>
                    <a:pt x="3115151" y="257651"/>
                  </a:moveTo>
                  <a:cubicBezTo>
                    <a:pt x="3115151" y="256699"/>
                    <a:pt x="3116104" y="256699"/>
                    <a:pt x="3116104" y="255746"/>
                  </a:cubicBezTo>
                  <a:cubicBezTo>
                    <a:pt x="3116104" y="256699"/>
                    <a:pt x="3116104" y="257651"/>
                    <a:pt x="3115151" y="257651"/>
                  </a:cubicBezTo>
                  <a:cubicBezTo>
                    <a:pt x="3114199" y="261461"/>
                    <a:pt x="3111341" y="265271"/>
                    <a:pt x="3109436" y="270034"/>
                  </a:cubicBezTo>
                  <a:cubicBezTo>
                    <a:pt x="3111341" y="266224"/>
                    <a:pt x="3113246" y="261461"/>
                    <a:pt x="3115151" y="257651"/>
                  </a:cubicBezTo>
                  <a:close/>
                  <a:moveTo>
                    <a:pt x="3110389" y="292894"/>
                  </a:moveTo>
                  <a:cubicBezTo>
                    <a:pt x="3111341" y="297656"/>
                    <a:pt x="3112294" y="302419"/>
                    <a:pt x="3113246" y="309086"/>
                  </a:cubicBezTo>
                  <a:cubicBezTo>
                    <a:pt x="3113246" y="310039"/>
                    <a:pt x="3113246" y="310991"/>
                    <a:pt x="3114199" y="311944"/>
                  </a:cubicBezTo>
                  <a:cubicBezTo>
                    <a:pt x="3114199" y="314801"/>
                    <a:pt x="3114199" y="317659"/>
                    <a:pt x="3114199" y="321469"/>
                  </a:cubicBezTo>
                  <a:cubicBezTo>
                    <a:pt x="3114199" y="321469"/>
                    <a:pt x="3114199" y="320516"/>
                    <a:pt x="3114199" y="319564"/>
                  </a:cubicBezTo>
                  <a:cubicBezTo>
                    <a:pt x="3113246" y="315754"/>
                    <a:pt x="3112294" y="312896"/>
                    <a:pt x="3110389" y="309086"/>
                  </a:cubicBezTo>
                  <a:cubicBezTo>
                    <a:pt x="3110389" y="306229"/>
                    <a:pt x="3109436" y="303371"/>
                    <a:pt x="3109436" y="300514"/>
                  </a:cubicBezTo>
                  <a:cubicBezTo>
                    <a:pt x="3109436" y="300514"/>
                    <a:pt x="3109436" y="299561"/>
                    <a:pt x="3109436" y="299561"/>
                  </a:cubicBezTo>
                  <a:cubicBezTo>
                    <a:pt x="3108484" y="297656"/>
                    <a:pt x="3109436" y="295751"/>
                    <a:pt x="3110389" y="292894"/>
                  </a:cubicBezTo>
                  <a:close/>
                  <a:moveTo>
                    <a:pt x="3098006" y="350996"/>
                  </a:moveTo>
                  <a:cubicBezTo>
                    <a:pt x="3098006" y="350996"/>
                    <a:pt x="3098006" y="350996"/>
                    <a:pt x="3098006" y="350996"/>
                  </a:cubicBezTo>
                  <a:cubicBezTo>
                    <a:pt x="3098006" y="351949"/>
                    <a:pt x="3098006" y="352901"/>
                    <a:pt x="3098006" y="353854"/>
                  </a:cubicBezTo>
                  <a:cubicBezTo>
                    <a:pt x="3098006" y="353854"/>
                    <a:pt x="3098006" y="353854"/>
                    <a:pt x="3097054" y="354806"/>
                  </a:cubicBezTo>
                  <a:cubicBezTo>
                    <a:pt x="3097054" y="353854"/>
                    <a:pt x="3098006" y="351949"/>
                    <a:pt x="3098006" y="350996"/>
                  </a:cubicBezTo>
                  <a:close/>
                  <a:moveTo>
                    <a:pt x="3093244" y="377666"/>
                  </a:moveTo>
                  <a:cubicBezTo>
                    <a:pt x="3095149" y="372904"/>
                    <a:pt x="3097054" y="370046"/>
                    <a:pt x="3097054" y="370046"/>
                  </a:cubicBezTo>
                  <a:cubicBezTo>
                    <a:pt x="3097054" y="370046"/>
                    <a:pt x="3096101" y="371951"/>
                    <a:pt x="3094196" y="373856"/>
                  </a:cubicBezTo>
                  <a:cubicBezTo>
                    <a:pt x="3095149" y="368141"/>
                    <a:pt x="3096101" y="361474"/>
                    <a:pt x="3097054" y="355759"/>
                  </a:cubicBezTo>
                  <a:cubicBezTo>
                    <a:pt x="3097054" y="354806"/>
                    <a:pt x="3098006" y="354806"/>
                    <a:pt x="3098006" y="353854"/>
                  </a:cubicBezTo>
                  <a:cubicBezTo>
                    <a:pt x="3098006" y="359569"/>
                    <a:pt x="3098006" y="366236"/>
                    <a:pt x="3098006" y="371951"/>
                  </a:cubicBezTo>
                  <a:cubicBezTo>
                    <a:pt x="3098006" y="375761"/>
                    <a:pt x="3098006" y="379571"/>
                    <a:pt x="3098006" y="383381"/>
                  </a:cubicBezTo>
                  <a:lnTo>
                    <a:pt x="3095149" y="383381"/>
                  </a:lnTo>
                  <a:cubicBezTo>
                    <a:pt x="3095149" y="383381"/>
                    <a:pt x="3095149" y="383381"/>
                    <a:pt x="3095149" y="383381"/>
                  </a:cubicBezTo>
                  <a:cubicBezTo>
                    <a:pt x="3094196" y="381476"/>
                    <a:pt x="3094196" y="379571"/>
                    <a:pt x="3093244" y="378619"/>
                  </a:cubicBezTo>
                  <a:cubicBezTo>
                    <a:pt x="3093244" y="379571"/>
                    <a:pt x="3093244" y="378619"/>
                    <a:pt x="3093244" y="377666"/>
                  </a:cubicBezTo>
                  <a:close/>
                  <a:moveTo>
                    <a:pt x="3084671" y="293846"/>
                  </a:moveTo>
                  <a:cubicBezTo>
                    <a:pt x="3084671" y="288131"/>
                    <a:pt x="3085624" y="282416"/>
                    <a:pt x="3085624" y="276701"/>
                  </a:cubicBezTo>
                  <a:cubicBezTo>
                    <a:pt x="3085624" y="277654"/>
                    <a:pt x="3085624" y="277654"/>
                    <a:pt x="3085624" y="278606"/>
                  </a:cubicBezTo>
                  <a:cubicBezTo>
                    <a:pt x="3086576" y="281464"/>
                    <a:pt x="3087529" y="285274"/>
                    <a:pt x="3088481" y="289084"/>
                  </a:cubicBezTo>
                  <a:cubicBezTo>
                    <a:pt x="3087529" y="290036"/>
                    <a:pt x="3087529" y="290989"/>
                    <a:pt x="3086576" y="291941"/>
                  </a:cubicBezTo>
                  <a:cubicBezTo>
                    <a:pt x="3085624" y="292894"/>
                    <a:pt x="3084671" y="294799"/>
                    <a:pt x="3084671" y="296704"/>
                  </a:cubicBezTo>
                  <a:cubicBezTo>
                    <a:pt x="3084671" y="294799"/>
                    <a:pt x="3084671" y="294799"/>
                    <a:pt x="3084671" y="293846"/>
                  </a:cubicBezTo>
                  <a:close/>
                  <a:moveTo>
                    <a:pt x="3086576" y="348139"/>
                  </a:moveTo>
                  <a:cubicBezTo>
                    <a:pt x="3086576" y="349091"/>
                    <a:pt x="3086576" y="349091"/>
                    <a:pt x="3086576" y="350044"/>
                  </a:cubicBezTo>
                  <a:cubicBezTo>
                    <a:pt x="3085624" y="353854"/>
                    <a:pt x="3084671" y="357664"/>
                    <a:pt x="3083719" y="361474"/>
                  </a:cubicBezTo>
                  <a:cubicBezTo>
                    <a:pt x="3083719" y="360521"/>
                    <a:pt x="3083719" y="358616"/>
                    <a:pt x="3083719" y="357664"/>
                  </a:cubicBezTo>
                  <a:cubicBezTo>
                    <a:pt x="3084671" y="353854"/>
                    <a:pt x="3085624" y="350996"/>
                    <a:pt x="3086576" y="348139"/>
                  </a:cubicBezTo>
                  <a:close/>
                  <a:moveTo>
                    <a:pt x="3057049" y="235744"/>
                  </a:moveTo>
                  <a:cubicBezTo>
                    <a:pt x="3058001" y="227171"/>
                    <a:pt x="3058954" y="218599"/>
                    <a:pt x="3059906" y="210979"/>
                  </a:cubicBezTo>
                  <a:cubicBezTo>
                    <a:pt x="3060859" y="204311"/>
                    <a:pt x="3061811" y="197644"/>
                    <a:pt x="3062764" y="191929"/>
                  </a:cubicBezTo>
                  <a:cubicBezTo>
                    <a:pt x="3063716" y="195739"/>
                    <a:pt x="3065621" y="201454"/>
                    <a:pt x="3067526" y="209074"/>
                  </a:cubicBezTo>
                  <a:cubicBezTo>
                    <a:pt x="3067526" y="213836"/>
                    <a:pt x="3066574" y="217646"/>
                    <a:pt x="3066574" y="222409"/>
                  </a:cubicBezTo>
                  <a:cubicBezTo>
                    <a:pt x="3065621" y="231934"/>
                    <a:pt x="3064669" y="242411"/>
                    <a:pt x="3063716" y="253841"/>
                  </a:cubicBezTo>
                  <a:cubicBezTo>
                    <a:pt x="3062764" y="258604"/>
                    <a:pt x="3060859" y="263366"/>
                    <a:pt x="3059906" y="268129"/>
                  </a:cubicBezTo>
                  <a:cubicBezTo>
                    <a:pt x="3058954" y="262414"/>
                    <a:pt x="3058001" y="257651"/>
                    <a:pt x="3057049" y="252889"/>
                  </a:cubicBezTo>
                  <a:cubicBezTo>
                    <a:pt x="3057049" y="250984"/>
                    <a:pt x="3056096" y="250031"/>
                    <a:pt x="3056096" y="248126"/>
                  </a:cubicBezTo>
                  <a:cubicBezTo>
                    <a:pt x="3056096" y="244316"/>
                    <a:pt x="3056096" y="239554"/>
                    <a:pt x="3057049" y="235744"/>
                  </a:cubicBezTo>
                  <a:close/>
                  <a:moveTo>
                    <a:pt x="3002756" y="307181"/>
                  </a:moveTo>
                  <a:cubicBezTo>
                    <a:pt x="3002756" y="308134"/>
                    <a:pt x="3001804" y="309086"/>
                    <a:pt x="3001804" y="310039"/>
                  </a:cubicBezTo>
                  <a:cubicBezTo>
                    <a:pt x="3001804" y="308134"/>
                    <a:pt x="3002756" y="307181"/>
                    <a:pt x="3002756" y="305276"/>
                  </a:cubicBezTo>
                  <a:cubicBezTo>
                    <a:pt x="3004661" y="298609"/>
                    <a:pt x="3005614" y="292894"/>
                    <a:pt x="3006566" y="286226"/>
                  </a:cubicBezTo>
                  <a:cubicBezTo>
                    <a:pt x="3007519" y="287179"/>
                    <a:pt x="3007519" y="289084"/>
                    <a:pt x="3008471" y="290036"/>
                  </a:cubicBezTo>
                  <a:cubicBezTo>
                    <a:pt x="3006566" y="295751"/>
                    <a:pt x="3004661" y="301466"/>
                    <a:pt x="3002756" y="307181"/>
                  </a:cubicBezTo>
                  <a:close/>
                  <a:moveTo>
                    <a:pt x="3036094" y="249079"/>
                  </a:moveTo>
                  <a:cubicBezTo>
                    <a:pt x="3036094" y="254794"/>
                    <a:pt x="3036094" y="260509"/>
                    <a:pt x="3036094" y="266224"/>
                  </a:cubicBezTo>
                  <a:cubicBezTo>
                    <a:pt x="3035141" y="263366"/>
                    <a:pt x="3034189" y="260509"/>
                    <a:pt x="3033236" y="258604"/>
                  </a:cubicBezTo>
                  <a:cubicBezTo>
                    <a:pt x="3034189" y="255746"/>
                    <a:pt x="3035141" y="252889"/>
                    <a:pt x="3036094" y="249079"/>
                  </a:cubicBezTo>
                  <a:close/>
                  <a:moveTo>
                    <a:pt x="3030379" y="269081"/>
                  </a:moveTo>
                  <a:cubicBezTo>
                    <a:pt x="3030379" y="269081"/>
                    <a:pt x="3030379" y="270034"/>
                    <a:pt x="3030379" y="269081"/>
                  </a:cubicBezTo>
                  <a:cubicBezTo>
                    <a:pt x="3030379" y="270034"/>
                    <a:pt x="3030379" y="270034"/>
                    <a:pt x="3030379" y="269081"/>
                  </a:cubicBezTo>
                  <a:cubicBezTo>
                    <a:pt x="3030379" y="269081"/>
                    <a:pt x="3030379" y="269081"/>
                    <a:pt x="3030379" y="269081"/>
                  </a:cubicBezTo>
                  <a:close/>
                  <a:moveTo>
                    <a:pt x="3027521" y="353854"/>
                  </a:moveTo>
                  <a:cubicBezTo>
                    <a:pt x="3026569" y="356711"/>
                    <a:pt x="3024664" y="360521"/>
                    <a:pt x="3023711" y="364331"/>
                  </a:cubicBezTo>
                  <a:cubicBezTo>
                    <a:pt x="3021806" y="370046"/>
                    <a:pt x="3019901" y="376714"/>
                    <a:pt x="3017996" y="383381"/>
                  </a:cubicBezTo>
                  <a:cubicBezTo>
                    <a:pt x="3017996" y="384334"/>
                    <a:pt x="3017044" y="384334"/>
                    <a:pt x="3017044" y="385286"/>
                  </a:cubicBezTo>
                  <a:cubicBezTo>
                    <a:pt x="3016091" y="382429"/>
                    <a:pt x="3015139" y="379571"/>
                    <a:pt x="3015139" y="376714"/>
                  </a:cubicBezTo>
                  <a:cubicBezTo>
                    <a:pt x="3017044" y="372904"/>
                    <a:pt x="3018949" y="370046"/>
                    <a:pt x="3020854" y="366236"/>
                  </a:cubicBezTo>
                  <a:cubicBezTo>
                    <a:pt x="3023711" y="361474"/>
                    <a:pt x="3025616" y="357664"/>
                    <a:pt x="3028474" y="352901"/>
                  </a:cubicBezTo>
                  <a:cubicBezTo>
                    <a:pt x="3027521" y="352901"/>
                    <a:pt x="3027521" y="353854"/>
                    <a:pt x="3027521" y="353854"/>
                  </a:cubicBezTo>
                  <a:close/>
                  <a:moveTo>
                    <a:pt x="3021806" y="230029"/>
                  </a:moveTo>
                  <a:cubicBezTo>
                    <a:pt x="3022759" y="231934"/>
                    <a:pt x="3022759" y="235744"/>
                    <a:pt x="3024664" y="241459"/>
                  </a:cubicBezTo>
                  <a:cubicBezTo>
                    <a:pt x="3024664" y="241459"/>
                    <a:pt x="3024664" y="241459"/>
                    <a:pt x="3024664" y="241459"/>
                  </a:cubicBezTo>
                  <a:cubicBezTo>
                    <a:pt x="3022759" y="237649"/>
                    <a:pt x="3022759" y="233839"/>
                    <a:pt x="3021806" y="230029"/>
                  </a:cubicBezTo>
                  <a:cubicBezTo>
                    <a:pt x="3021806" y="230029"/>
                    <a:pt x="3021806" y="230029"/>
                    <a:pt x="3021806" y="230029"/>
                  </a:cubicBezTo>
                  <a:close/>
                  <a:moveTo>
                    <a:pt x="3020854" y="305276"/>
                  </a:moveTo>
                  <a:cubicBezTo>
                    <a:pt x="3020854" y="305276"/>
                    <a:pt x="3020854" y="305276"/>
                    <a:pt x="3020854" y="305276"/>
                  </a:cubicBezTo>
                  <a:cubicBezTo>
                    <a:pt x="3020854" y="306229"/>
                    <a:pt x="3020854" y="305276"/>
                    <a:pt x="3020854" y="305276"/>
                  </a:cubicBezTo>
                  <a:cubicBezTo>
                    <a:pt x="3020854" y="305276"/>
                    <a:pt x="3020854" y="305276"/>
                    <a:pt x="3020854" y="305276"/>
                  </a:cubicBezTo>
                  <a:close/>
                  <a:moveTo>
                    <a:pt x="3017996" y="317659"/>
                  </a:moveTo>
                  <a:cubicBezTo>
                    <a:pt x="3018949" y="321469"/>
                    <a:pt x="3020854" y="325279"/>
                    <a:pt x="3021806" y="329089"/>
                  </a:cubicBezTo>
                  <a:cubicBezTo>
                    <a:pt x="3022759" y="332899"/>
                    <a:pt x="3023711" y="336709"/>
                    <a:pt x="3025616" y="339566"/>
                  </a:cubicBezTo>
                  <a:cubicBezTo>
                    <a:pt x="3020854" y="345281"/>
                    <a:pt x="3016091" y="351949"/>
                    <a:pt x="3011329" y="359569"/>
                  </a:cubicBezTo>
                  <a:cubicBezTo>
                    <a:pt x="3011329" y="359569"/>
                    <a:pt x="3011329" y="359569"/>
                    <a:pt x="3011329" y="360521"/>
                  </a:cubicBezTo>
                  <a:cubicBezTo>
                    <a:pt x="3010376" y="357664"/>
                    <a:pt x="3009424" y="354806"/>
                    <a:pt x="3009424" y="351949"/>
                  </a:cubicBezTo>
                  <a:cubicBezTo>
                    <a:pt x="3011329" y="340519"/>
                    <a:pt x="3015139" y="329089"/>
                    <a:pt x="3017996" y="317659"/>
                  </a:cubicBezTo>
                  <a:close/>
                  <a:moveTo>
                    <a:pt x="3013234" y="257651"/>
                  </a:moveTo>
                  <a:cubicBezTo>
                    <a:pt x="3013234" y="258604"/>
                    <a:pt x="3013234" y="259556"/>
                    <a:pt x="3014186" y="261461"/>
                  </a:cubicBezTo>
                  <a:cubicBezTo>
                    <a:pt x="3014186" y="263366"/>
                    <a:pt x="3015139" y="266224"/>
                    <a:pt x="3015139" y="269081"/>
                  </a:cubicBezTo>
                  <a:cubicBezTo>
                    <a:pt x="3013234" y="273844"/>
                    <a:pt x="3012281" y="279559"/>
                    <a:pt x="3010376" y="284321"/>
                  </a:cubicBezTo>
                  <a:cubicBezTo>
                    <a:pt x="3010376" y="283369"/>
                    <a:pt x="3009424" y="283369"/>
                    <a:pt x="3009424" y="282416"/>
                  </a:cubicBezTo>
                  <a:cubicBezTo>
                    <a:pt x="3009424" y="281464"/>
                    <a:pt x="3008471" y="280511"/>
                    <a:pt x="3008471" y="279559"/>
                  </a:cubicBezTo>
                  <a:cubicBezTo>
                    <a:pt x="3008471" y="278606"/>
                    <a:pt x="3008471" y="277654"/>
                    <a:pt x="3009424" y="276701"/>
                  </a:cubicBezTo>
                  <a:cubicBezTo>
                    <a:pt x="3010376" y="270034"/>
                    <a:pt x="3011329" y="263366"/>
                    <a:pt x="3013234" y="257651"/>
                  </a:cubicBezTo>
                  <a:close/>
                  <a:moveTo>
                    <a:pt x="3008471" y="230029"/>
                  </a:moveTo>
                  <a:cubicBezTo>
                    <a:pt x="3009424" y="234791"/>
                    <a:pt x="3010376" y="239554"/>
                    <a:pt x="3010376" y="244316"/>
                  </a:cubicBezTo>
                  <a:cubicBezTo>
                    <a:pt x="3009424" y="246221"/>
                    <a:pt x="3008471" y="249079"/>
                    <a:pt x="3007519" y="250984"/>
                  </a:cubicBezTo>
                  <a:cubicBezTo>
                    <a:pt x="3005614" y="254794"/>
                    <a:pt x="3003709" y="259556"/>
                    <a:pt x="3001804" y="264319"/>
                  </a:cubicBezTo>
                  <a:cubicBezTo>
                    <a:pt x="3003709" y="251936"/>
                    <a:pt x="3005614" y="240506"/>
                    <a:pt x="3008471" y="230029"/>
                  </a:cubicBezTo>
                  <a:close/>
                  <a:moveTo>
                    <a:pt x="3003709" y="195739"/>
                  </a:moveTo>
                  <a:cubicBezTo>
                    <a:pt x="3003709" y="198596"/>
                    <a:pt x="3004661" y="202406"/>
                    <a:pt x="3004661" y="205264"/>
                  </a:cubicBezTo>
                  <a:cubicBezTo>
                    <a:pt x="3002756" y="210979"/>
                    <a:pt x="3000851" y="216694"/>
                    <a:pt x="2997994" y="223361"/>
                  </a:cubicBezTo>
                  <a:cubicBezTo>
                    <a:pt x="2993231" y="235744"/>
                    <a:pt x="2990374" y="248126"/>
                    <a:pt x="2986564" y="262414"/>
                  </a:cubicBezTo>
                  <a:cubicBezTo>
                    <a:pt x="2985611" y="265271"/>
                    <a:pt x="2985611" y="268129"/>
                    <a:pt x="2984659" y="270986"/>
                  </a:cubicBezTo>
                  <a:cubicBezTo>
                    <a:pt x="2984659" y="270986"/>
                    <a:pt x="2984659" y="270986"/>
                    <a:pt x="2984659" y="270986"/>
                  </a:cubicBezTo>
                  <a:cubicBezTo>
                    <a:pt x="2991326" y="243364"/>
                    <a:pt x="2997994" y="218599"/>
                    <a:pt x="3003709" y="195739"/>
                  </a:cubicBezTo>
                  <a:close/>
                  <a:moveTo>
                    <a:pt x="2974181" y="311944"/>
                  </a:moveTo>
                  <a:cubicBezTo>
                    <a:pt x="2976086" y="302419"/>
                    <a:pt x="2978944" y="292894"/>
                    <a:pt x="2980849" y="284321"/>
                  </a:cubicBezTo>
                  <a:cubicBezTo>
                    <a:pt x="2980849" y="284321"/>
                    <a:pt x="2980849" y="285274"/>
                    <a:pt x="2980849" y="285274"/>
                  </a:cubicBezTo>
                  <a:cubicBezTo>
                    <a:pt x="2978944" y="291941"/>
                    <a:pt x="2977991" y="299561"/>
                    <a:pt x="2976086" y="307181"/>
                  </a:cubicBezTo>
                  <a:cubicBezTo>
                    <a:pt x="2975134" y="313849"/>
                    <a:pt x="2973229" y="320516"/>
                    <a:pt x="2972276" y="327184"/>
                  </a:cubicBezTo>
                  <a:cubicBezTo>
                    <a:pt x="2971324" y="325279"/>
                    <a:pt x="2971324" y="324326"/>
                    <a:pt x="2970371" y="322421"/>
                  </a:cubicBezTo>
                  <a:cubicBezTo>
                    <a:pt x="2972276" y="318611"/>
                    <a:pt x="2973229" y="314801"/>
                    <a:pt x="2974181" y="311944"/>
                  </a:cubicBezTo>
                  <a:close/>
                  <a:moveTo>
                    <a:pt x="2964656" y="349091"/>
                  </a:moveTo>
                  <a:cubicBezTo>
                    <a:pt x="2965609" y="344329"/>
                    <a:pt x="2967514" y="339566"/>
                    <a:pt x="2968466" y="334804"/>
                  </a:cubicBezTo>
                  <a:cubicBezTo>
                    <a:pt x="2969419" y="337661"/>
                    <a:pt x="2970371" y="341471"/>
                    <a:pt x="2970371" y="344329"/>
                  </a:cubicBezTo>
                  <a:cubicBezTo>
                    <a:pt x="2970371" y="347186"/>
                    <a:pt x="2969419" y="350996"/>
                    <a:pt x="2969419" y="353854"/>
                  </a:cubicBezTo>
                  <a:cubicBezTo>
                    <a:pt x="2968466" y="361474"/>
                    <a:pt x="2967514" y="369094"/>
                    <a:pt x="2966561" y="377666"/>
                  </a:cubicBezTo>
                  <a:cubicBezTo>
                    <a:pt x="2965609" y="373856"/>
                    <a:pt x="2964656" y="369094"/>
                    <a:pt x="2963704" y="366236"/>
                  </a:cubicBezTo>
                  <a:cubicBezTo>
                    <a:pt x="2967514" y="350996"/>
                    <a:pt x="2969419" y="341471"/>
                    <a:pt x="2969419" y="341471"/>
                  </a:cubicBezTo>
                  <a:cubicBezTo>
                    <a:pt x="2969419" y="341471"/>
                    <a:pt x="2967514" y="344329"/>
                    <a:pt x="2964656" y="349091"/>
                  </a:cubicBezTo>
                  <a:close/>
                  <a:moveTo>
                    <a:pt x="2958941" y="383381"/>
                  </a:moveTo>
                  <a:cubicBezTo>
                    <a:pt x="2958941" y="383381"/>
                    <a:pt x="2958941" y="384334"/>
                    <a:pt x="2958941" y="383381"/>
                  </a:cubicBezTo>
                  <a:cubicBezTo>
                    <a:pt x="2958941" y="384334"/>
                    <a:pt x="2958941" y="384334"/>
                    <a:pt x="2958941" y="383381"/>
                  </a:cubicBezTo>
                  <a:cubicBezTo>
                    <a:pt x="2958941" y="384334"/>
                    <a:pt x="2958941" y="384334"/>
                    <a:pt x="2958941" y="383381"/>
                  </a:cubicBezTo>
                  <a:cubicBezTo>
                    <a:pt x="2958941" y="384334"/>
                    <a:pt x="2958941" y="383381"/>
                    <a:pt x="2958941" y="383381"/>
                  </a:cubicBezTo>
                  <a:close/>
                  <a:moveTo>
                    <a:pt x="2936081" y="284321"/>
                  </a:moveTo>
                  <a:cubicBezTo>
                    <a:pt x="2935129" y="280511"/>
                    <a:pt x="2935129" y="277654"/>
                    <a:pt x="2934176" y="273844"/>
                  </a:cubicBezTo>
                  <a:cubicBezTo>
                    <a:pt x="2935129" y="272891"/>
                    <a:pt x="2935129" y="271939"/>
                    <a:pt x="2936081" y="271939"/>
                  </a:cubicBezTo>
                  <a:cubicBezTo>
                    <a:pt x="2936081" y="276701"/>
                    <a:pt x="2936081" y="280511"/>
                    <a:pt x="2936081" y="284321"/>
                  </a:cubicBezTo>
                  <a:close/>
                  <a:moveTo>
                    <a:pt x="2936081" y="267176"/>
                  </a:moveTo>
                  <a:cubicBezTo>
                    <a:pt x="2936081" y="267176"/>
                    <a:pt x="2936081" y="267176"/>
                    <a:pt x="2936081" y="267176"/>
                  </a:cubicBezTo>
                  <a:cubicBezTo>
                    <a:pt x="2935129" y="268129"/>
                    <a:pt x="2935129" y="268129"/>
                    <a:pt x="2934176" y="269081"/>
                  </a:cubicBezTo>
                  <a:cubicBezTo>
                    <a:pt x="2935129" y="268129"/>
                    <a:pt x="2935129" y="266224"/>
                    <a:pt x="2936081" y="265271"/>
                  </a:cubicBezTo>
                  <a:cubicBezTo>
                    <a:pt x="2935129" y="265271"/>
                    <a:pt x="2936081" y="266224"/>
                    <a:pt x="2936081" y="267176"/>
                  </a:cubicBezTo>
                  <a:close/>
                  <a:moveTo>
                    <a:pt x="2929414" y="243364"/>
                  </a:moveTo>
                  <a:lnTo>
                    <a:pt x="2930366" y="243364"/>
                  </a:lnTo>
                  <a:lnTo>
                    <a:pt x="2933224" y="244316"/>
                  </a:lnTo>
                  <a:cubicBezTo>
                    <a:pt x="2933224" y="248126"/>
                    <a:pt x="2934176" y="251936"/>
                    <a:pt x="2934176" y="255746"/>
                  </a:cubicBezTo>
                  <a:cubicBezTo>
                    <a:pt x="2933224" y="257651"/>
                    <a:pt x="2932271" y="259556"/>
                    <a:pt x="2931319" y="261461"/>
                  </a:cubicBezTo>
                  <a:cubicBezTo>
                    <a:pt x="2930366" y="256699"/>
                    <a:pt x="2929414" y="251936"/>
                    <a:pt x="2927509" y="248126"/>
                  </a:cubicBezTo>
                  <a:cubicBezTo>
                    <a:pt x="2928461" y="246221"/>
                    <a:pt x="2929414" y="245269"/>
                    <a:pt x="2929414" y="243364"/>
                  </a:cubicBezTo>
                  <a:close/>
                  <a:moveTo>
                    <a:pt x="2917984" y="351949"/>
                  </a:moveTo>
                  <a:cubicBezTo>
                    <a:pt x="2917984" y="352901"/>
                    <a:pt x="2917984" y="352901"/>
                    <a:pt x="2918936" y="353854"/>
                  </a:cubicBezTo>
                  <a:cubicBezTo>
                    <a:pt x="2918936" y="356711"/>
                    <a:pt x="2919889" y="360521"/>
                    <a:pt x="2919889" y="363379"/>
                  </a:cubicBezTo>
                  <a:cubicBezTo>
                    <a:pt x="2920841" y="369094"/>
                    <a:pt x="2921794" y="374809"/>
                    <a:pt x="2922746" y="380524"/>
                  </a:cubicBezTo>
                  <a:cubicBezTo>
                    <a:pt x="2921794" y="380524"/>
                    <a:pt x="2921794" y="380524"/>
                    <a:pt x="2920841" y="380524"/>
                  </a:cubicBezTo>
                  <a:cubicBezTo>
                    <a:pt x="2918936" y="374809"/>
                    <a:pt x="2916079" y="368141"/>
                    <a:pt x="2913221" y="362426"/>
                  </a:cubicBezTo>
                  <a:cubicBezTo>
                    <a:pt x="2914174" y="358616"/>
                    <a:pt x="2916079" y="355759"/>
                    <a:pt x="2917984" y="351949"/>
                  </a:cubicBezTo>
                  <a:close/>
                  <a:moveTo>
                    <a:pt x="2904649" y="224314"/>
                  </a:moveTo>
                  <a:cubicBezTo>
                    <a:pt x="2904649" y="224314"/>
                    <a:pt x="2904649" y="224314"/>
                    <a:pt x="2904649" y="224314"/>
                  </a:cubicBezTo>
                  <a:cubicBezTo>
                    <a:pt x="2904649" y="228124"/>
                    <a:pt x="2903696" y="232886"/>
                    <a:pt x="2903696" y="237649"/>
                  </a:cubicBezTo>
                  <a:cubicBezTo>
                    <a:pt x="2903696" y="241459"/>
                    <a:pt x="2902744" y="245269"/>
                    <a:pt x="2902744" y="250031"/>
                  </a:cubicBezTo>
                  <a:cubicBezTo>
                    <a:pt x="2901791" y="245269"/>
                    <a:pt x="2901791" y="240506"/>
                    <a:pt x="2900839" y="235744"/>
                  </a:cubicBezTo>
                  <a:cubicBezTo>
                    <a:pt x="2901791" y="231934"/>
                    <a:pt x="2902744" y="228124"/>
                    <a:pt x="2904649" y="224314"/>
                  </a:cubicBezTo>
                  <a:close/>
                  <a:moveTo>
                    <a:pt x="2885599" y="294799"/>
                  </a:moveTo>
                  <a:cubicBezTo>
                    <a:pt x="2886551" y="290036"/>
                    <a:pt x="2887504" y="285274"/>
                    <a:pt x="2888456" y="280511"/>
                  </a:cubicBezTo>
                  <a:cubicBezTo>
                    <a:pt x="2888456" y="289084"/>
                    <a:pt x="2889409" y="298609"/>
                    <a:pt x="2889409" y="308134"/>
                  </a:cubicBezTo>
                  <a:cubicBezTo>
                    <a:pt x="2887504" y="304324"/>
                    <a:pt x="2886551" y="301466"/>
                    <a:pt x="2884646" y="297656"/>
                  </a:cubicBezTo>
                  <a:cubicBezTo>
                    <a:pt x="2884646" y="296704"/>
                    <a:pt x="2885599" y="295751"/>
                    <a:pt x="2885599" y="294799"/>
                  </a:cubicBezTo>
                  <a:close/>
                  <a:moveTo>
                    <a:pt x="2869406" y="301466"/>
                  </a:moveTo>
                  <a:cubicBezTo>
                    <a:pt x="2869406" y="302419"/>
                    <a:pt x="2869406" y="302419"/>
                    <a:pt x="2869406" y="301466"/>
                  </a:cubicBezTo>
                  <a:cubicBezTo>
                    <a:pt x="2869406" y="302419"/>
                    <a:pt x="2869406" y="302419"/>
                    <a:pt x="2869406" y="302419"/>
                  </a:cubicBezTo>
                  <a:cubicBezTo>
                    <a:pt x="2869406" y="303371"/>
                    <a:pt x="2868454" y="304324"/>
                    <a:pt x="2868454" y="305276"/>
                  </a:cubicBezTo>
                  <a:cubicBezTo>
                    <a:pt x="2864644" y="298609"/>
                    <a:pt x="2860834" y="290989"/>
                    <a:pt x="2856071" y="284321"/>
                  </a:cubicBezTo>
                  <a:cubicBezTo>
                    <a:pt x="2856071" y="283369"/>
                    <a:pt x="2855119" y="283369"/>
                    <a:pt x="2855119" y="282416"/>
                  </a:cubicBezTo>
                  <a:cubicBezTo>
                    <a:pt x="2856071" y="279559"/>
                    <a:pt x="2857024" y="276701"/>
                    <a:pt x="2857976" y="273844"/>
                  </a:cubicBezTo>
                  <a:cubicBezTo>
                    <a:pt x="2861786" y="283369"/>
                    <a:pt x="2865596" y="292894"/>
                    <a:pt x="2869406" y="301466"/>
                  </a:cubicBezTo>
                  <a:close/>
                  <a:moveTo>
                    <a:pt x="2851309" y="262414"/>
                  </a:moveTo>
                  <a:cubicBezTo>
                    <a:pt x="2851309" y="261461"/>
                    <a:pt x="2851309" y="260509"/>
                    <a:pt x="2851309" y="259556"/>
                  </a:cubicBezTo>
                  <a:cubicBezTo>
                    <a:pt x="2852261" y="262414"/>
                    <a:pt x="2853214" y="264319"/>
                    <a:pt x="2855119" y="267176"/>
                  </a:cubicBezTo>
                  <a:cubicBezTo>
                    <a:pt x="2855119" y="268129"/>
                    <a:pt x="2856071" y="268129"/>
                    <a:pt x="2856071" y="269081"/>
                  </a:cubicBezTo>
                  <a:cubicBezTo>
                    <a:pt x="2855119" y="270986"/>
                    <a:pt x="2853214" y="273844"/>
                    <a:pt x="2851309" y="276701"/>
                  </a:cubicBezTo>
                  <a:cubicBezTo>
                    <a:pt x="2851309" y="275749"/>
                    <a:pt x="2850356" y="275749"/>
                    <a:pt x="2850356" y="274796"/>
                  </a:cubicBezTo>
                  <a:cubicBezTo>
                    <a:pt x="2850356" y="270986"/>
                    <a:pt x="2851309" y="267176"/>
                    <a:pt x="2851309" y="262414"/>
                  </a:cubicBezTo>
                  <a:close/>
                  <a:moveTo>
                    <a:pt x="2848451" y="312896"/>
                  </a:moveTo>
                  <a:cubicBezTo>
                    <a:pt x="2848451" y="309086"/>
                    <a:pt x="2848451" y="306229"/>
                    <a:pt x="2848451" y="302419"/>
                  </a:cubicBezTo>
                  <a:cubicBezTo>
                    <a:pt x="2852261" y="310039"/>
                    <a:pt x="2857024" y="318611"/>
                    <a:pt x="2860834" y="327184"/>
                  </a:cubicBezTo>
                  <a:cubicBezTo>
                    <a:pt x="2858929" y="332899"/>
                    <a:pt x="2857024" y="338614"/>
                    <a:pt x="2856071" y="344329"/>
                  </a:cubicBezTo>
                  <a:cubicBezTo>
                    <a:pt x="2855119" y="348139"/>
                    <a:pt x="2854166" y="351949"/>
                    <a:pt x="2853214" y="355759"/>
                  </a:cubicBezTo>
                  <a:cubicBezTo>
                    <a:pt x="2852261" y="350996"/>
                    <a:pt x="2852261" y="346234"/>
                    <a:pt x="2851309" y="341471"/>
                  </a:cubicBezTo>
                  <a:cubicBezTo>
                    <a:pt x="2850356" y="332899"/>
                    <a:pt x="2849404" y="324326"/>
                    <a:pt x="2847499" y="316706"/>
                  </a:cubicBezTo>
                  <a:cubicBezTo>
                    <a:pt x="2848451" y="315754"/>
                    <a:pt x="2848451" y="313849"/>
                    <a:pt x="2848451" y="312896"/>
                  </a:cubicBezTo>
                  <a:close/>
                  <a:moveTo>
                    <a:pt x="2836069" y="226219"/>
                  </a:moveTo>
                  <a:cubicBezTo>
                    <a:pt x="2839879" y="234791"/>
                    <a:pt x="2843689" y="243364"/>
                    <a:pt x="2847499" y="251936"/>
                  </a:cubicBezTo>
                  <a:cubicBezTo>
                    <a:pt x="2846546" y="254794"/>
                    <a:pt x="2845594" y="257651"/>
                    <a:pt x="2844641" y="261461"/>
                  </a:cubicBezTo>
                  <a:cubicBezTo>
                    <a:pt x="2844641" y="262414"/>
                    <a:pt x="2843689" y="264319"/>
                    <a:pt x="2843689" y="266224"/>
                  </a:cubicBezTo>
                  <a:cubicBezTo>
                    <a:pt x="2841784" y="263366"/>
                    <a:pt x="2840831" y="261461"/>
                    <a:pt x="2838926" y="258604"/>
                  </a:cubicBezTo>
                  <a:cubicBezTo>
                    <a:pt x="2837974" y="249079"/>
                    <a:pt x="2836069" y="238601"/>
                    <a:pt x="2834164" y="229076"/>
                  </a:cubicBezTo>
                  <a:cubicBezTo>
                    <a:pt x="2836069" y="228124"/>
                    <a:pt x="2836069" y="227171"/>
                    <a:pt x="2836069" y="226219"/>
                  </a:cubicBezTo>
                  <a:close/>
                  <a:moveTo>
                    <a:pt x="2830354" y="305276"/>
                  </a:moveTo>
                  <a:cubicBezTo>
                    <a:pt x="2830354" y="308134"/>
                    <a:pt x="2830354" y="310039"/>
                    <a:pt x="2831306" y="312896"/>
                  </a:cubicBezTo>
                  <a:cubicBezTo>
                    <a:pt x="2831306" y="312896"/>
                    <a:pt x="2831306" y="312896"/>
                    <a:pt x="2831306" y="313849"/>
                  </a:cubicBezTo>
                  <a:cubicBezTo>
                    <a:pt x="2831306" y="311944"/>
                    <a:pt x="2831306" y="310039"/>
                    <a:pt x="2830354" y="308134"/>
                  </a:cubicBezTo>
                  <a:cubicBezTo>
                    <a:pt x="2830354" y="307181"/>
                    <a:pt x="2830354" y="306229"/>
                    <a:pt x="2830354" y="305276"/>
                  </a:cubicBezTo>
                  <a:close/>
                  <a:moveTo>
                    <a:pt x="2829401" y="292894"/>
                  </a:moveTo>
                  <a:cubicBezTo>
                    <a:pt x="2829401" y="294799"/>
                    <a:pt x="2829401" y="296704"/>
                    <a:pt x="2830354" y="299561"/>
                  </a:cubicBezTo>
                  <a:cubicBezTo>
                    <a:pt x="2830354" y="300514"/>
                    <a:pt x="2830354" y="300514"/>
                    <a:pt x="2829401" y="301466"/>
                  </a:cubicBezTo>
                  <a:cubicBezTo>
                    <a:pt x="2829401" y="300514"/>
                    <a:pt x="2829401" y="300514"/>
                    <a:pt x="2829401" y="299561"/>
                  </a:cubicBezTo>
                  <a:cubicBezTo>
                    <a:pt x="2828449" y="296704"/>
                    <a:pt x="2828449" y="294799"/>
                    <a:pt x="2829401" y="292894"/>
                  </a:cubicBezTo>
                  <a:close/>
                  <a:moveTo>
                    <a:pt x="2785586" y="268129"/>
                  </a:moveTo>
                  <a:cubicBezTo>
                    <a:pt x="2784634" y="269081"/>
                    <a:pt x="2783681" y="270034"/>
                    <a:pt x="2782729" y="271939"/>
                  </a:cubicBezTo>
                  <a:cubicBezTo>
                    <a:pt x="2782729" y="270986"/>
                    <a:pt x="2782729" y="270034"/>
                    <a:pt x="2782729" y="269081"/>
                  </a:cubicBezTo>
                  <a:cubicBezTo>
                    <a:pt x="2782729" y="268129"/>
                    <a:pt x="2782729" y="266224"/>
                    <a:pt x="2782729" y="265271"/>
                  </a:cubicBezTo>
                  <a:cubicBezTo>
                    <a:pt x="2783681" y="263366"/>
                    <a:pt x="2785586" y="260509"/>
                    <a:pt x="2786539" y="258604"/>
                  </a:cubicBezTo>
                  <a:cubicBezTo>
                    <a:pt x="2786539" y="259556"/>
                    <a:pt x="2786539" y="259556"/>
                    <a:pt x="2786539" y="260509"/>
                  </a:cubicBezTo>
                  <a:cubicBezTo>
                    <a:pt x="2785586" y="262414"/>
                    <a:pt x="2785586" y="265271"/>
                    <a:pt x="2785586" y="268129"/>
                  </a:cubicBezTo>
                  <a:close/>
                  <a:moveTo>
                    <a:pt x="2796064" y="268129"/>
                  </a:moveTo>
                  <a:cubicBezTo>
                    <a:pt x="2796064" y="267176"/>
                    <a:pt x="2796064" y="267176"/>
                    <a:pt x="2796064" y="268129"/>
                  </a:cubicBezTo>
                  <a:cubicBezTo>
                    <a:pt x="2797016" y="266224"/>
                    <a:pt x="2797969" y="264319"/>
                    <a:pt x="2798921" y="263366"/>
                  </a:cubicBezTo>
                  <a:cubicBezTo>
                    <a:pt x="2797969" y="264319"/>
                    <a:pt x="2797016" y="266224"/>
                    <a:pt x="2796064" y="268129"/>
                  </a:cubicBezTo>
                  <a:close/>
                  <a:moveTo>
                    <a:pt x="2803684" y="314801"/>
                  </a:moveTo>
                  <a:cubicBezTo>
                    <a:pt x="2803684" y="315754"/>
                    <a:pt x="2802731" y="317659"/>
                    <a:pt x="2802731" y="318611"/>
                  </a:cubicBezTo>
                  <a:cubicBezTo>
                    <a:pt x="2802731" y="320516"/>
                    <a:pt x="2801779" y="322421"/>
                    <a:pt x="2801779" y="325279"/>
                  </a:cubicBezTo>
                  <a:cubicBezTo>
                    <a:pt x="2800826" y="322421"/>
                    <a:pt x="2799874" y="320516"/>
                    <a:pt x="2798921" y="317659"/>
                  </a:cubicBezTo>
                  <a:cubicBezTo>
                    <a:pt x="2798921" y="316706"/>
                    <a:pt x="2798921" y="316706"/>
                    <a:pt x="2798921" y="315754"/>
                  </a:cubicBezTo>
                  <a:cubicBezTo>
                    <a:pt x="2798921" y="315754"/>
                    <a:pt x="2798921" y="315754"/>
                    <a:pt x="2798921" y="315754"/>
                  </a:cubicBezTo>
                  <a:cubicBezTo>
                    <a:pt x="2799874" y="311944"/>
                    <a:pt x="2800826" y="308134"/>
                    <a:pt x="2801779" y="304324"/>
                  </a:cubicBezTo>
                  <a:cubicBezTo>
                    <a:pt x="2802731" y="307181"/>
                    <a:pt x="2802731" y="310039"/>
                    <a:pt x="2803684" y="312896"/>
                  </a:cubicBezTo>
                  <a:cubicBezTo>
                    <a:pt x="2803684" y="313849"/>
                    <a:pt x="2803684" y="313849"/>
                    <a:pt x="2803684" y="314801"/>
                  </a:cubicBezTo>
                  <a:close/>
                  <a:moveTo>
                    <a:pt x="2810351" y="280511"/>
                  </a:moveTo>
                  <a:cubicBezTo>
                    <a:pt x="2808446" y="287179"/>
                    <a:pt x="2807494" y="294799"/>
                    <a:pt x="2805589" y="302419"/>
                  </a:cubicBezTo>
                  <a:cubicBezTo>
                    <a:pt x="2804636" y="301466"/>
                    <a:pt x="2804636" y="299561"/>
                    <a:pt x="2803684" y="298609"/>
                  </a:cubicBezTo>
                  <a:cubicBezTo>
                    <a:pt x="2803684" y="297656"/>
                    <a:pt x="2803684" y="297656"/>
                    <a:pt x="2802731" y="296704"/>
                  </a:cubicBezTo>
                  <a:cubicBezTo>
                    <a:pt x="2803684" y="292894"/>
                    <a:pt x="2804636" y="290036"/>
                    <a:pt x="2805589" y="287179"/>
                  </a:cubicBezTo>
                  <a:cubicBezTo>
                    <a:pt x="2806541" y="284321"/>
                    <a:pt x="2808446" y="280511"/>
                    <a:pt x="2809399" y="277654"/>
                  </a:cubicBezTo>
                  <a:cubicBezTo>
                    <a:pt x="2809399" y="276701"/>
                    <a:pt x="2810351" y="275749"/>
                    <a:pt x="2810351" y="275749"/>
                  </a:cubicBezTo>
                  <a:cubicBezTo>
                    <a:pt x="2811304" y="276701"/>
                    <a:pt x="2810351" y="278606"/>
                    <a:pt x="2810351" y="280511"/>
                  </a:cubicBezTo>
                  <a:close/>
                  <a:moveTo>
                    <a:pt x="2811304" y="276701"/>
                  </a:moveTo>
                  <a:cubicBezTo>
                    <a:pt x="2811304" y="275749"/>
                    <a:pt x="2811304" y="275749"/>
                    <a:pt x="2811304" y="274796"/>
                  </a:cubicBezTo>
                  <a:cubicBezTo>
                    <a:pt x="2812256" y="273844"/>
                    <a:pt x="2812256" y="271939"/>
                    <a:pt x="2813209" y="270986"/>
                  </a:cubicBezTo>
                  <a:cubicBezTo>
                    <a:pt x="2812256" y="272891"/>
                    <a:pt x="2812256" y="274796"/>
                    <a:pt x="2811304" y="276701"/>
                  </a:cubicBezTo>
                  <a:close/>
                  <a:moveTo>
                    <a:pt x="2812256" y="236696"/>
                  </a:moveTo>
                  <a:cubicBezTo>
                    <a:pt x="2810351" y="239554"/>
                    <a:pt x="2808446" y="243364"/>
                    <a:pt x="2806541" y="246221"/>
                  </a:cubicBezTo>
                  <a:cubicBezTo>
                    <a:pt x="2804636" y="248126"/>
                    <a:pt x="2802731" y="250031"/>
                    <a:pt x="2799874" y="251936"/>
                  </a:cubicBezTo>
                  <a:cubicBezTo>
                    <a:pt x="2797969" y="253841"/>
                    <a:pt x="2796064" y="255746"/>
                    <a:pt x="2794159" y="257651"/>
                  </a:cubicBezTo>
                  <a:cubicBezTo>
                    <a:pt x="2793206" y="252889"/>
                    <a:pt x="2792254" y="249079"/>
                    <a:pt x="2792254" y="245269"/>
                  </a:cubicBezTo>
                  <a:cubicBezTo>
                    <a:pt x="2793206" y="242411"/>
                    <a:pt x="2795111" y="240506"/>
                    <a:pt x="2796064" y="238601"/>
                  </a:cubicBezTo>
                  <a:cubicBezTo>
                    <a:pt x="2799874" y="231934"/>
                    <a:pt x="2802731" y="227171"/>
                    <a:pt x="2804636" y="224314"/>
                  </a:cubicBezTo>
                  <a:cubicBezTo>
                    <a:pt x="2807494" y="228124"/>
                    <a:pt x="2809399" y="232886"/>
                    <a:pt x="2812256" y="236696"/>
                  </a:cubicBezTo>
                  <a:close/>
                  <a:moveTo>
                    <a:pt x="2804636" y="223361"/>
                  </a:moveTo>
                  <a:cubicBezTo>
                    <a:pt x="2802731" y="225266"/>
                    <a:pt x="2798921" y="229076"/>
                    <a:pt x="2794159" y="235744"/>
                  </a:cubicBezTo>
                  <a:cubicBezTo>
                    <a:pt x="2793206" y="236696"/>
                    <a:pt x="2793206" y="237649"/>
                    <a:pt x="2792254" y="238601"/>
                  </a:cubicBezTo>
                  <a:cubicBezTo>
                    <a:pt x="2792254" y="238601"/>
                    <a:pt x="2792254" y="238601"/>
                    <a:pt x="2792254" y="238601"/>
                  </a:cubicBezTo>
                  <a:cubicBezTo>
                    <a:pt x="2794159" y="235744"/>
                    <a:pt x="2795111" y="232886"/>
                    <a:pt x="2796064" y="230981"/>
                  </a:cubicBezTo>
                  <a:cubicBezTo>
                    <a:pt x="2797969" y="226219"/>
                    <a:pt x="2800826" y="222409"/>
                    <a:pt x="2801779" y="219551"/>
                  </a:cubicBezTo>
                  <a:cubicBezTo>
                    <a:pt x="2802731" y="220504"/>
                    <a:pt x="2803684" y="222409"/>
                    <a:pt x="2804636" y="223361"/>
                  </a:cubicBezTo>
                  <a:close/>
                  <a:moveTo>
                    <a:pt x="2787491" y="196691"/>
                  </a:moveTo>
                  <a:cubicBezTo>
                    <a:pt x="2792254" y="203359"/>
                    <a:pt x="2796064" y="210026"/>
                    <a:pt x="2800826" y="217646"/>
                  </a:cubicBezTo>
                  <a:cubicBezTo>
                    <a:pt x="2798921" y="220504"/>
                    <a:pt x="2796064" y="224314"/>
                    <a:pt x="2792254" y="228124"/>
                  </a:cubicBezTo>
                  <a:cubicBezTo>
                    <a:pt x="2791301" y="229076"/>
                    <a:pt x="2790349" y="230029"/>
                    <a:pt x="2790349" y="230981"/>
                  </a:cubicBezTo>
                  <a:cubicBezTo>
                    <a:pt x="2789396" y="226219"/>
                    <a:pt x="2788444" y="222409"/>
                    <a:pt x="2787491" y="218599"/>
                  </a:cubicBezTo>
                  <a:cubicBezTo>
                    <a:pt x="2783681" y="205264"/>
                    <a:pt x="2781776" y="196691"/>
                    <a:pt x="2781776" y="196691"/>
                  </a:cubicBezTo>
                  <a:cubicBezTo>
                    <a:pt x="2781776" y="196691"/>
                    <a:pt x="2782729" y="204311"/>
                    <a:pt x="2783681" y="218599"/>
                  </a:cubicBezTo>
                  <a:cubicBezTo>
                    <a:pt x="2784634" y="224314"/>
                    <a:pt x="2784634" y="230981"/>
                    <a:pt x="2784634" y="237649"/>
                  </a:cubicBezTo>
                  <a:cubicBezTo>
                    <a:pt x="2783681" y="239554"/>
                    <a:pt x="2781776" y="241459"/>
                    <a:pt x="2780824" y="243364"/>
                  </a:cubicBezTo>
                  <a:cubicBezTo>
                    <a:pt x="2779871" y="227171"/>
                    <a:pt x="2779871" y="213836"/>
                    <a:pt x="2778919" y="204311"/>
                  </a:cubicBezTo>
                  <a:cubicBezTo>
                    <a:pt x="2777966" y="192881"/>
                    <a:pt x="2777966" y="186214"/>
                    <a:pt x="2777966" y="186214"/>
                  </a:cubicBezTo>
                  <a:cubicBezTo>
                    <a:pt x="2777966" y="186214"/>
                    <a:pt x="2777014" y="192881"/>
                    <a:pt x="2775109" y="204311"/>
                  </a:cubicBezTo>
                  <a:cubicBezTo>
                    <a:pt x="2775109" y="207169"/>
                    <a:pt x="2774156" y="210979"/>
                    <a:pt x="2774156" y="214789"/>
                  </a:cubicBezTo>
                  <a:cubicBezTo>
                    <a:pt x="2773204" y="206216"/>
                    <a:pt x="2772251" y="198596"/>
                    <a:pt x="2770346" y="190976"/>
                  </a:cubicBezTo>
                  <a:cubicBezTo>
                    <a:pt x="2770346" y="190024"/>
                    <a:pt x="2770346" y="190024"/>
                    <a:pt x="2770346" y="189071"/>
                  </a:cubicBezTo>
                  <a:cubicBezTo>
                    <a:pt x="2770346" y="188119"/>
                    <a:pt x="2770346" y="186214"/>
                    <a:pt x="2770346" y="185261"/>
                  </a:cubicBezTo>
                  <a:cubicBezTo>
                    <a:pt x="2769394" y="174784"/>
                    <a:pt x="2768441" y="168116"/>
                    <a:pt x="2768441" y="166211"/>
                  </a:cubicBezTo>
                  <a:cubicBezTo>
                    <a:pt x="2774156" y="174784"/>
                    <a:pt x="2779871" y="185261"/>
                    <a:pt x="2787491" y="196691"/>
                  </a:cubicBezTo>
                  <a:close/>
                  <a:moveTo>
                    <a:pt x="2767489" y="167164"/>
                  </a:moveTo>
                  <a:cubicBezTo>
                    <a:pt x="2767489" y="168116"/>
                    <a:pt x="2767489" y="169069"/>
                    <a:pt x="2767489" y="170974"/>
                  </a:cubicBezTo>
                  <a:cubicBezTo>
                    <a:pt x="2767489" y="169069"/>
                    <a:pt x="2767489" y="168116"/>
                    <a:pt x="2766536" y="166211"/>
                  </a:cubicBezTo>
                  <a:cubicBezTo>
                    <a:pt x="2767489" y="166211"/>
                    <a:pt x="2767489" y="166211"/>
                    <a:pt x="2767489" y="167164"/>
                  </a:cubicBezTo>
                  <a:close/>
                  <a:moveTo>
                    <a:pt x="2757964" y="342424"/>
                  </a:moveTo>
                  <a:cubicBezTo>
                    <a:pt x="2757011" y="340519"/>
                    <a:pt x="2756059" y="338614"/>
                    <a:pt x="2755106" y="336709"/>
                  </a:cubicBezTo>
                  <a:cubicBezTo>
                    <a:pt x="2756059" y="333851"/>
                    <a:pt x="2757964" y="331946"/>
                    <a:pt x="2758916" y="329089"/>
                  </a:cubicBezTo>
                  <a:cubicBezTo>
                    <a:pt x="2759869" y="330041"/>
                    <a:pt x="2759869" y="331946"/>
                    <a:pt x="2760821" y="332899"/>
                  </a:cubicBezTo>
                  <a:cubicBezTo>
                    <a:pt x="2759869" y="336709"/>
                    <a:pt x="2758916" y="339566"/>
                    <a:pt x="2757964" y="342424"/>
                  </a:cubicBezTo>
                  <a:close/>
                  <a:moveTo>
                    <a:pt x="2762726" y="327184"/>
                  </a:moveTo>
                  <a:cubicBezTo>
                    <a:pt x="2762726" y="328136"/>
                    <a:pt x="2761774" y="329089"/>
                    <a:pt x="2761774" y="330994"/>
                  </a:cubicBezTo>
                  <a:cubicBezTo>
                    <a:pt x="2760821" y="330041"/>
                    <a:pt x="2760821" y="329089"/>
                    <a:pt x="2759869" y="328136"/>
                  </a:cubicBezTo>
                  <a:cubicBezTo>
                    <a:pt x="2760821" y="327184"/>
                    <a:pt x="2760821" y="325279"/>
                    <a:pt x="2761774" y="324326"/>
                  </a:cubicBezTo>
                  <a:cubicBezTo>
                    <a:pt x="2762726" y="325279"/>
                    <a:pt x="2762726" y="326231"/>
                    <a:pt x="2762726" y="327184"/>
                  </a:cubicBezTo>
                  <a:cubicBezTo>
                    <a:pt x="2762726" y="327184"/>
                    <a:pt x="2762726" y="327184"/>
                    <a:pt x="2762726" y="327184"/>
                  </a:cubicBezTo>
                  <a:close/>
                  <a:moveTo>
                    <a:pt x="2762726" y="250031"/>
                  </a:moveTo>
                  <a:cubicBezTo>
                    <a:pt x="2762726" y="256699"/>
                    <a:pt x="2762726" y="263366"/>
                    <a:pt x="2762726" y="270034"/>
                  </a:cubicBezTo>
                  <a:cubicBezTo>
                    <a:pt x="2759869" y="273844"/>
                    <a:pt x="2757011" y="278606"/>
                    <a:pt x="2754154" y="282416"/>
                  </a:cubicBezTo>
                  <a:cubicBezTo>
                    <a:pt x="2754154" y="283369"/>
                    <a:pt x="2753201" y="283369"/>
                    <a:pt x="2753201" y="284321"/>
                  </a:cubicBezTo>
                  <a:cubicBezTo>
                    <a:pt x="2753201" y="283369"/>
                    <a:pt x="2752249" y="283369"/>
                    <a:pt x="2752249" y="282416"/>
                  </a:cubicBezTo>
                  <a:cubicBezTo>
                    <a:pt x="2752249" y="281464"/>
                    <a:pt x="2753201" y="280511"/>
                    <a:pt x="2753201" y="278606"/>
                  </a:cubicBezTo>
                  <a:cubicBezTo>
                    <a:pt x="2754154" y="274796"/>
                    <a:pt x="2755106" y="270986"/>
                    <a:pt x="2756059" y="267176"/>
                  </a:cubicBezTo>
                  <a:cubicBezTo>
                    <a:pt x="2757964" y="260509"/>
                    <a:pt x="2759869" y="255746"/>
                    <a:pt x="2761774" y="251936"/>
                  </a:cubicBezTo>
                  <a:cubicBezTo>
                    <a:pt x="2761774" y="251936"/>
                    <a:pt x="2761774" y="250031"/>
                    <a:pt x="2762726" y="250031"/>
                  </a:cubicBezTo>
                  <a:cubicBezTo>
                    <a:pt x="2762726" y="250031"/>
                    <a:pt x="2762726" y="250031"/>
                    <a:pt x="2762726" y="250031"/>
                  </a:cubicBezTo>
                  <a:close/>
                  <a:moveTo>
                    <a:pt x="2753201" y="250031"/>
                  </a:moveTo>
                  <a:cubicBezTo>
                    <a:pt x="2755106" y="242411"/>
                    <a:pt x="2756059" y="236696"/>
                    <a:pt x="2757011" y="230981"/>
                  </a:cubicBezTo>
                  <a:cubicBezTo>
                    <a:pt x="2758916" y="236696"/>
                    <a:pt x="2760821" y="242411"/>
                    <a:pt x="2762726" y="249079"/>
                  </a:cubicBezTo>
                  <a:cubicBezTo>
                    <a:pt x="2761774" y="250031"/>
                    <a:pt x="2761774" y="250984"/>
                    <a:pt x="2760821" y="252889"/>
                  </a:cubicBezTo>
                  <a:cubicBezTo>
                    <a:pt x="2758916" y="255746"/>
                    <a:pt x="2756059" y="260509"/>
                    <a:pt x="2752249" y="267176"/>
                  </a:cubicBezTo>
                  <a:cubicBezTo>
                    <a:pt x="2750344" y="270034"/>
                    <a:pt x="2749391" y="272891"/>
                    <a:pt x="2748439" y="275749"/>
                  </a:cubicBezTo>
                  <a:cubicBezTo>
                    <a:pt x="2748439" y="275749"/>
                    <a:pt x="2748439" y="274796"/>
                    <a:pt x="2747486" y="274796"/>
                  </a:cubicBezTo>
                  <a:cubicBezTo>
                    <a:pt x="2749391" y="265271"/>
                    <a:pt x="2751296" y="256699"/>
                    <a:pt x="2753201" y="250031"/>
                  </a:cubicBezTo>
                  <a:close/>
                  <a:moveTo>
                    <a:pt x="2749391" y="362426"/>
                  </a:moveTo>
                  <a:cubicBezTo>
                    <a:pt x="2748439" y="360521"/>
                    <a:pt x="2747486" y="359569"/>
                    <a:pt x="2746534" y="357664"/>
                  </a:cubicBezTo>
                  <a:cubicBezTo>
                    <a:pt x="2746534" y="356711"/>
                    <a:pt x="2746534" y="355759"/>
                    <a:pt x="2746534" y="354806"/>
                  </a:cubicBezTo>
                  <a:cubicBezTo>
                    <a:pt x="2747486" y="356711"/>
                    <a:pt x="2748439" y="359569"/>
                    <a:pt x="2749391" y="362426"/>
                  </a:cubicBezTo>
                  <a:close/>
                  <a:moveTo>
                    <a:pt x="2734151" y="258604"/>
                  </a:moveTo>
                  <a:cubicBezTo>
                    <a:pt x="2736056" y="262414"/>
                    <a:pt x="2737961" y="268129"/>
                    <a:pt x="2740819" y="273844"/>
                  </a:cubicBezTo>
                  <a:cubicBezTo>
                    <a:pt x="2738914" y="278606"/>
                    <a:pt x="2737009" y="284321"/>
                    <a:pt x="2735104" y="290036"/>
                  </a:cubicBezTo>
                  <a:cubicBezTo>
                    <a:pt x="2735104" y="288131"/>
                    <a:pt x="2734151" y="287179"/>
                    <a:pt x="2734151" y="287179"/>
                  </a:cubicBezTo>
                  <a:cubicBezTo>
                    <a:pt x="2734151" y="287179"/>
                    <a:pt x="2734151" y="289084"/>
                    <a:pt x="2734151" y="291941"/>
                  </a:cubicBezTo>
                  <a:cubicBezTo>
                    <a:pt x="2734151" y="291941"/>
                    <a:pt x="2734151" y="291941"/>
                    <a:pt x="2734151" y="291941"/>
                  </a:cubicBezTo>
                  <a:cubicBezTo>
                    <a:pt x="2733199" y="290989"/>
                    <a:pt x="2733199" y="290036"/>
                    <a:pt x="2732246" y="289084"/>
                  </a:cubicBezTo>
                  <a:cubicBezTo>
                    <a:pt x="2732246" y="288131"/>
                    <a:pt x="2731294" y="287179"/>
                    <a:pt x="2731294" y="286226"/>
                  </a:cubicBezTo>
                  <a:cubicBezTo>
                    <a:pt x="2733199" y="275749"/>
                    <a:pt x="2734151" y="266224"/>
                    <a:pt x="2734151" y="258604"/>
                  </a:cubicBezTo>
                  <a:close/>
                  <a:moveTo>
                    <a:pt x="2715101" y="290989"/>
                  </a:moveTo>
                  <a:cubicBezTo>
                    <a:pt x="2715101" y="284321"/>
                    <a:pt x="2715101" y="278606"/>
                    <a:pt x="2716054" y="273844"/>
                  </a:cubicBezTo>
                  <a:cubicBezTo>
                    <a:pt x="2717006" y="274796"/>
                    <a:pt x="2717006" y="276701"/>
                    <a:pt x="2717959" y="278606"/>
                  </a:cubicBezTo>
                  <a:cubicBezTo>
                    <a:pt x="2717006" y="287179"/>
                    <a:pt x="2717006" y="295751"/>
                    <a:pt x="2716054" y="304324"/>
                  </a:cubicBezTo>
                  <a:cubicBezTo>
                    <a:pt x="2716054" y="304324"/>
                    <a:pt x="2715101" y="303371"/>
                    <a:pt x="2715101" y="303371"/>
                  </a:cubicBezTo>
                  <a:cubicBezTo>
                    <a:pt x="2714149" y="298609"/>
                    <a:pt x="2715101" y="294799"/>
                    <a:pt x="2715101" y="290989"/>
                  </a:cubicBezTo>
                  <a:close/>
                  <a:moveTo>
                    <a:pt x="2705576" y="243364"/>
                  </a:moveTo>
                  <a:cubicBezTo>
                    <a:pt x="2705576" y="244316"/>
                    <a:pt x="2705576" y="246221"/>
                    <a:pt x="2704624" y="247174"/>
                  </a:cubicBezTo>
                  <a:lnTo>
                    <a:pt x="2703671" y="238601"/>
                  </a:lnTo>
                  <a:cubicBezTo>
                    <a:pt x="2704624" y="239554"/>
                    <a:pt x="2705576" y="241459"/>
                    <a:pt x="2705576" y="243364"/>
                  </a:cubicBezTo>
                  <a:close/>
                  <a:moveTo>
                    <a:pt x="2697956" y="312896"/>
                  </a:moveTo>
                  <a:cubicBezTo>
                    <a:pt x="2697956" y="312896"/>
                    <a:pt x="2697956" y="313849"/>
                    <a:pt x="2697956" y="313849"/>
                  </a:cubicBezTo>
                  <a:cubicBezTo>
                    <a:pt x="2697956" y="312896"/>
                    <a:pt x="2697956" y="311944"/>
                    <a:pt x="2697956" y="310991"/>
                  </a:cubicBezTo>
                  <a:lnTo>
                    <a:pt x="2697956" y="312896"/>
                  </a:lnTo>
                  <a:close/>
                  <a:moveTo>
                    <a:pt x="2664619" y="234791"/>
                  </a:moveTo>
                  <a:cubicBezTo>
                    <a:pt x="2665571" y="235744"/>
                    <a:pt x="2665571" y="237649"/>
                    <a:pt x="2666524" y="238601"/>
                  </a:cubicBezTo>
                  <a:cubicBezTo>
                    <a:pt x="2668429" y="253841"/>
                    <a:pt x="2670334" y="270034"/>
                    <a:pt x="2673191" y="287179"/>
                  </a:cubicBezTo>
                  <a:cubicBezTo>
                    <a:pt x="2672239" y="284321"/>
                    <a:pt x="2671286" y="282416"/>
                    <a:pt x="2670334" y="279559"/>
                  </a:cubicBezTo>
                  <a:cubicBezTo>
                    <a:pt x="2670334" y="279559"/>
                    <a:pt x="2670334" y="278606"/>
                    <a:pt x="2670334" y="278606"/>
                  </a:cubicBezTo>
                  <a:cubicBezTo>
                    <a:pt x="2670334" y="276701"/>
                    <a:pt x="2671286" y="276701"/>
                    <a:pt x="2671286" y="276701"/>
                  </a:cubicBezTo>
                  <a:cubicBezTo>
                    <a:pt x="2671286" y="276701"/>
                    <a:pt x="2671286" y="277654"/>
                    <a:pt x="2670334" y="278606"/>
                  </a:cubicBezTo>
                  <a:cubicBezTo>
                    <a:pt x="2669381" y="266224"/>
                    <a:pt x="2667476" y="255746"/>
                    <a:pt x="2664619" y="246221"/>
                  </a:cubicBezTo>
                  <a:cubicBezTo>
                    <a:pt x="2664619" y="244316"/>
                    <a:pt x="2663666" y="242411"/>
                    <a:pt x="2663666" y="240506"/>
                  </a:cubicBezTo>
                  <a:cubicBezTo>
                    <a:pt x="2663666" y="238601"/>
                    <a:pt x="2663666" y="236696"/>
                    <a:pt x="2664619" y="234791"/>
                  </a:cubicBezTo>
                  <a:close/>
                  <a:moveTo>
                    <a:pt x="2657951" y="339566"/>
                  </a:moveTo>
                  <a:cubicBezTo>
                    <a:pt x="2656999" y="338614"/>
                    <a:pt x="2656999" y="337661"/>
                    <a:pt x="2656046" y="336709"/>
                  </a:cubicBezTo>
                  <a:cubicBezTo>
                    <a:pt x="2656999" y="332899"/>
                    <a:pt x="2656999" y="329089"/>
                    <a:pt x="2657951" y="325279"/>
                  </a:cubicBezTo>
                  <a:cubicBezTo>
                    <a:pt x="2658904" y="330041"/>
                    <a:pt x="2657951" y="334804"/>
                    <a:pt x="2657951" y="339566"/>
                  </a:cubicBezTo>
                  <a:close/>
                  <a:moveTo>
                    <a:pt x="2654141" y="277654"/>
                  </a:moveTo>
                  <a:cubicBezTo>
                    <a:pt x="2656046" y="284321"/>
                    <a:pt x="2657951" y="291941"/>
                    <a:pt x="2659856" y="298609"/>
                  </a:cubicBezTo>
                  <a:cubicBezTo>
                    <a:pt x="2659856" y="298609"/>
                    <a:pt x="2659856" y="299561"/>
                    <a:pt x="2659856" y="299561"/>
                  </a:cubicBezTo>
                  <a:cubicBezTo>
                    <a:pt x="2657951" y="304324"/>
                    <a:pt x="2656046" y="310039"/>
                    <a:pt x="2653189" y="316706"/>
                  </a:cubicBezTo>
                  <a:cubicBezTo>
                    <a:pt x="2653189" y="317659"/>
                    <a:pt x="2652236" y="318611"/>
                    <a:pt x="2652236" y="319564"/>
                  </a:cubicBezTo>
                  <a:cubicBezTo>
                    <a:pt x="2651284" y="316706"/>
                    <a:pt x="2651284" y="313849"/>
                    <a:pt x="2650331" y="311944"/>
                  </a:cubicBezTo>
                  <a:cubicBezTo>
                    <a:pt x="2649379" y="308134"/>
                    <a:pt x="2648426" y="305276"/>
                    <a:pt x="2647474" y="301466"/>
                  </a:cubicBezTo>
                  <a:cubicBezTo>
                    <a:pt x="2649379" y="293846"/>
                    <a:pt x="2651284" y="286226"/>
                    <a:pt x="2654141" y="277654"/>
                  </a:cubicBezTo>
                  <a:close/>
                  <a:moveTo>
                    <a:pt x="2633186" y="283369"/>
                  </a:moveTo>
                  <a:cubicBezTo>
                    <a:pt x="2633186" y="284321"/>
                    <a:pt x="2633186" y="284321"/>
                    <a:pt x="2633186" y="285274"/>
                  </a:cubicBezTo>
                  <a:cubicBezTo>
                    <a:pt x="2633186" y="285274"/>
                    <a:pt x="2633186" y="286226"/>
                    <a:pt x="2633186" y="286226"/>
                  </a:cubicBezTo>
                  <a:cubicBezTo>
                    <a:pt x="2633186" y="287179"/>
                    <a:pt x="2632234" y="288131"/>
                    <a:pt x="2632234" y="290036"/>
                  </a:cubicBezTo>
                  <a:cubicBezTo>
                    <a:pt x="2633186" y="287179"/>
                    <a:pt x="2633186" y="285274"/>
                    <a:pt x="2633186" y="283369"/>
                  </a:cubicBezTo>
                  <a:close/>
                  <a:moveTo>
                    <a:pt x="2578894" y="242411"/>
                  </a:moveTo>
                  <a:cubicBezTo>
                    <a:pt x="2578894" y="242411"/>
                    <a:pt x="2578894" y="241459"/>
                    <a:pt x="2577941" y="241459"/>
                  </a:cubicBezTo>
                  <a:cubicBezTo>
                    <a:pt x="2578894" y="239554"/>
                    <a:pt x="2579846" y="237649"/>
                    <a:pt x="2580799" y="235744"/>
                  </a:cubicBezTo>
                  <a:cubicBezTo>
                    <a:pt x="2580799" y="235744"/>
                    <a:pt x="2580799" y="235744"/>
                    <a:pt x="2580799" y="235744"/>
                  </a:cubicBezTo>
                  <a:cubicBezTo>
                    <a:pt x="2580799" y="238601"/>
                    <a:pt x="2579846" y="240506"/>
                    <a:pt x="2578894" y="242411"/>
                  </a:cubicBezTo>
                  <a:close/>
                  <a:moveTo>
                    <a:pt x="2597944" y="275749"/>
                  </a:moveTo>
                  <a:cubicBezTo>
                    <a:pt x="2597944" y="275749"/>
                    <a:pt x="2597944" y="274796"/>
                    <a:pt x="2597944" y="274796"/>
                  </a:cubicBezTo>
                  <a:cubicBezTo>
                    <a:pt x="2597944" y="274796"/>
                    <a:pt x="2598896" y="275749"/>
                    <a:pt x="2597944" y="275749"/>
                  </a:cubicBezTo>
                  <a:cubicBezTo>
                    <a:pt x="2598896" y="275749"/>
                    <a:pt x="2597944" y="275749"/>
                    <a:pt x="2597944" y="275749"/>
                  </a:cubicBezTo>
                  <a:close/>
                  <a:moveTo>
                    <a:pt x="2616041" y="309086"/>
                  </a:moveTo>
                  <a:cubicBezTo>
                    <a:pt x="2615089" y="312896"/>
                    <a:pt x="2614136" y="315754"/>
                    <a:pt x="2613184" y="319564"/>
                  </a:cubicBezTo>
                  <a:cubicBezTo>
                    <a:pt x="2613184" y="318611"/>
                    <a:pt x="2613184" y="318611"/>
                    <a:pt x="2613184" y="318611"/>
                  </a:cubicBezTo>
                  <a:cubicBezTo>
                    <a:pt x="2613184" y="318611"/>
                    <a:pt x="2613184" y="319564"/>
                    <a:pt x="2613184" y="319564"/>
                  </a:cubicBezTo>
                  <a:cubicBezTo>
                    <a:pt x="2613184" y="319564"/>
                    <a:pt x="2613184" y="319564"/>
                    <a:pt x="2613184" y="319564"/>
                  </a:cubicBezTo>
                  <a:cubicBezTo>
                    <a:pt x="2609374" y="309086"/>
                    <a:pt x="2604611" y="298609"/>
                    <a:pt x="2600801" y="289084"/>
                  </a:cubicBezTo>
                  <a:cubicBezTo>
                    <a:pt x="2601754" y="287179"/>
                    <a:pt x="2602706" y="284321"/>
                    <a:pt x="2602706" y="282416"/>
                  </a:cubicBezTo>
                  <a:cubicBezTo>
                    <a:pt x="2605564" y="287179"/>
                    <a:pt x="2609374" y="292894"/>
                    <a:pt x="2612231" y="299561"/>
                  </a:cubicBezTo>
                  <a:cubicBezTo>
                    <a:pt x="2613184" y="302419"/>
                    <a:pt x="2615089" y="305276"/>
                    <a:pt x="2616041" y="308134"/>
                  </a:cubicBezTo>
                  <a:lnTo>
                    <a:pt x="2616041" y="309086"/>
                  </a:lnTo>
                  <a:lnTo>
                    <a:pt x="2616041" y="309086"/>
                  </a:lnTo>
                  <a:close/>
                  <a:moveTo>
                    <a:pt x="2604611" y="276701"/>
                  </a:moveTo>
                  <a:cubicBezTo>
                    <a:pt x="2605564" y="272891"/>
                    <a:pt x="2607469" y="270034"/>
                    <a:pt x="2608421" y="267176"/>
                  </a:cubicBezTo>
                  <a:cubicBezTo>
                    <a:pt x="2609374" y="271939"/>
                    <a:pt x="2612231" y="279559"/>
                    <a:pt x="2615089" y="290036"/>
                  </a:cubicBezTo>
                  <a:cubicBezTo>
                    <a:pt x="2611279" y="285274"/>
                    <a:pt x="2608421" y="280511"/>
                    <a:pt x="2604611" y="276701"/>
                  </a:cubicBezTo>
                  <a:close/>
                  <a:moveTo>
                    <a:pt x="2614136" y="276701"/>
                  </a:moveTo>
                  <a:cubicBezTo>
                    <a:pt x="2612231" y="271939"/>
                    <a:pt x="2610326" y="268129"/>
                    <a:pt x="2609374" y="266224"/>
                  </a:cubicBezTo>
                  <a:cubicBezTo>
                    <a:pt x="2610326" y="263366"/>
                    <a:pt x="2611279" y="260509"/>
                    <a:pt x="2612231" y="257651"/>
                  </a:cubicBezTo>
                  <a:cubicBezTo>
                    <a:pt x="2612231" y="263366"/>
                    <a:pt x="2613184" y="270034"/>
                    <a:pt x="2614136" y="276701"/>
                  </a:cubicBezTo>
                  <a:close/>
                  <a:moveTo>
                    <a:pt x="2606516" y="208121"/>
                  </a:moveTo>
                  <a:cubicBezTo>
                    <a:pt x="2607469" y="221456"/>
                    <a:pt x="2609374" y="235744"/>
                    <a:pt x="2611279" y="250984"/>
                  </a:cubicBezTo>
                  <a:cubicBezTo>
                    <a:pt x="2611279" y="250984"/>
                    <a:pt x="2611279" y="251936"/>
                    <a:pt x="2611279" y="251936"/>
                  </a:cubicBezTo>
                  <a:cubicBezTo>
                    <a:pt x="2608421" y="256699"/>
                    <a:pt x="2604611" y="263366"/>
                    <a:pt x="2600801" y="271939"/>
                  </a:cubicBezTo>
                  <a:cubicBezTo>
                    <a:pt x="2599849" y="270034"/>
                    <a:pt x="2598896" y="269081"/>
                    <a:pt x="2597944" y="268129"/>
                  </a:cubicBezTo>
                  <a:cubicBezTo>
                    <a:pt x="2596991" y="257651"/>
                    <a:pt x="2596039" y="247174"/>
                    <a:pt x="2595086" y="237649"/>
                  </a:cubicBezTo>
                  <a:cubicBezTo>
                    <a:pt x="2595086" y="234791"/>
                    <a:pt x="2594134" y="230981"/>
                    <a:pt x="2594134" y="228124"/>
                  </a:cubicBezTo>
                  <a:cubicBezTo>
                    <a:pt x="2598896" y="207169"/>
                    <a:pt x="2602706" y="190976"/>
                    <a:pt x="2605564" y="179546"/>
                  </a:cubicBezTo>
                  <a:cubicBezTo>
                    <a:pt x="2604611" y="188119"/>
                    <a:pt x="2605564" y="197644"/>
                    <a:pt x="2606516" y="208121"/>
                  </a:cubicBezTo>
                  <a:close/>
                  <a:moveTo>
                    <a:pt x="2586514" y="186214"/>
                  </a:moveTo>
                  <a:cubicBezTo>
                    <a:pt x="2591276" y="175736"/>
                    <a:pt x="2595086" y="167164"/>
                    <a:pt x="2598896" y="159544"/>
                  </a:cubicBezTo>
                  <a:cubicBezTo>
                    <a:pt x="2599849" y="157639"/>
                    <a:pt x="2600801" y="155734"/>
                    <a:pt x="2601754" y="153829"/>
                  </a:cubicBezTo>
                  <a:cubicBezTo>
                    <a:pt x="2602706" y="159544"/>
                    <a:pt x="2602706" y="166211"/>
                    <a:pt x="2603659" y="173831"/>
                  </a:cubicBezTo>
                  <a:cubicBezTo>
                    <a:pt x="2600801" y="182404"/>
                    <a:pt x="2596039" y="194786"/>
                    <a:pt x="2590324" y="210979"/>
                  </a:cubicBezTo>
                  <a:cubicBezTo>
                    <a:pt x="2589371" y="202406"/>
                    <a:pt x="2587466" y="194786"/>
                    <a:pt x="2586514" y="187166"/>
                  </a:cubicBezTo>
                  <a:cubicBezTo>
                    <a:pt x="2586514" y="187166"/>
                    <a:pt x="2586514" y="187166"/>
                    <a:pt x="2586514" y="186214"/>
                  </a:cubicBezTo>
                  <a:close/>
                  <a:moveTo>
                    <a:pt x="2584609" y="408146"/>
                  </a:moveTo>
                  <a:cubicBezTo>
                    <a:pt x="2584609" y="408146"/>
                    <a:pt x="2584609" y="409099"/>
                    <a:pt x="2584609" y="408146"/>
                  </a:cubicBezTo>
                  <a:cubicBezTo>
                    <a:pt x="2583656" y="403384"/>
                    <a:pt x="2582704" y="398621"/>
                    <a:pt x="2581751" y="393859"/>
                  </a:cubicBezTo>
                  <a:cubicBezTo>
                    <a:pt x="2582704" y="398621"/>
                    <a:pt x="2583656" y="403384"/>
                    <a:pt x="2584609" y="408146"/>
                  </a:cubicBezTo>
                  <a:close/>
                  <a:moveTo>
                    <a:pt x="2580799" y="199549"/>
                  </a:moveTo>
                  <a:cubicBezTo>
                    <a:pt x="2580799" y="208121"/>
                    <a:pt x="2581751" y="217646"/>
                    <a:pt x="2581751" y="228124"/>
                  </a:cubicBezTo>
                  <a:cubicBezTo>
                    <a:pt x="2580799" y="229076"/>
                    <a:pt x="2579846" y="230029"/>
                    <a:pt x="2578894" y="231934"/>
                  </a:cubicBezTo>
                  <a:cubicBezTo>
                    <a:pt x="2577941" y="232886"/>
                    <a:pt x="2576989" y="234791"/>
                    <a:pt x="2575084" y="236696"/>
                  </a:cubicBezTo>
                  <a:cubicBezTo>
                    <a:pt x="2574131" y="235744"/>
                    <a:pt x="2574131" y="234791"/>
                    <a:pt x="2573179" y="233839"/>
                  </a:cubicBezTo>
                  <a:cubicBezTo>
                    <a:pt x="2573179" y="231934"/>
                    <a:pt x="2573179" y="230981"/>
                    <a:pt x="2572226" y="229076"/>
                  </a:cubicBezTo>
                  <a:cubicBezTo>
                    <a:pt x="2572226" y="226219"/>
                    <a:pt x="2571274" y="222409"/>
                    <a:pt x="2571274" y="219551"/>
                  </a:cubicBezTo>
                  <a:cubicBezTo>
                    <a:pt x="2575084" y="211931"/>
                    <a:pt x="2577941" y="206216"/>
                    <a:pt x="2580799" y="199549"/>
                  </a:cubicBezTo>
                  <a:close/>
                  <a:moveTo>
                    <a:pt x="2569369" y="320516"/>
                  </a:moveTo>
                  <a:cubicBezTo>
                    <a:pt x="2569369" y="322421"/>
                    <a:pt x="2570321" y="325279"/>
                    <a:pt x="2570321" y="327184"/>
                  </a:cubicBezTo>
                  <a:cubicBezTo>
                    <a:pt x="2570321" y="328136"/>
                    <a:pt x="2570321" y="329089"/>
                    <a:pt x="2571274" y="330041"/>
                  </a:cubicBezTo>
                  <a:cubicBezTo>
                    <a:pt x="2568416" y="334804"/>
                    <a:pt x="2566511" y="339566"/>
                    <a:pt x="2563654" y="345281"/>
                  </a:cubicBezTo>
                  <a:cubicBezTo>
                    <a:pt x="2563654" y="344329"/>
                    <a:pt x="2562701" y="343376"/>
                    <a:pt x="2562701" y="342424"/>
                  </a:cubicBezTo>
                  <a:cubicBezTo>
                    <a:pt x="2565559" y="334804"/>
                    <a:pt x="2567464" y="328136"/>
                    <a:pt x="2569369" y="320516"/>
                  </a:cubicBezTo>
                  <a:close/>
                  <a:moveTo>
                    <a:pt x="2556034" y="262414"/>
                  </a:moveTo>
                  <a:cubicBezTo>
                    <a:pt x="2556986" y="258604"/>
                    <a:pt x="2558891" y="255746"/>
                    <a:pt x="2559844" y="251936"/>
                  </a:cubicBezTo>
                  <a:cubicBezTo>
                    <a:pt x="2559844" y="253841"/>
                    <a:pt x="2559844" y="255746"/>
                    <a:pt x="2560796" y="257651"/>
                  </a:cubicBezTo>
                  <a:cubicBezTo>
                    <a:pt x="2560796" y="258604"/>
                    <a:pt x="2559844" y="258604"/>
                    <a:pt x="2559844" y="259556"/>
                  </a:cubicBezTo>
                  <a:cubicBezTo>
                    <a:pt x="2557939" y="262414"/>
                    <a:pt x="2556034" y="266224"/>
                    <a:pt x="2554129" y="269081"/>
                  </a:cubicBezTo>
                  <a:cubicBezTo>
                    <a:pt x="2554129" y="266224"/>
                    <a:pt x="2555081" y="264319"/>
                    <a:pt x="2556034" y="262414"/>
                  </a:cubicBezTo>
                  <a:close/>
                  <a:moveTo>
                    <a:pt x="2561749" y="276701"/>
                  </a:moveTo>
                  <a:cubicBezTo>
                    <a:pt x="2561749" y="275749"/>
                    <a:pt x="2561749" y="275749"/>
                    <a:pt x="2562701" y="274796"/>
                  </a:cubicBezTo>
                  <a:cubicBezTo>
                    <a:pt x="2563654" y="278606"/>
                    <a:pt x="2563654" y="283369"/>
                    <a:pt x="2564606" y="287179"/>
                  </a:cubicBezTo>
                  <a:cubicBezTo>
                    <a:pt x="2562701" y="293846"/>
                    <a:pt x="2559844" y="301466"/>
                    <a:pt x="2557939" y="309086"/>
                  </a:cubicBezTo>
                  <a:cubicBezTo>
                    <a:pt x="2556986" y="310991"/>
                    <a:pt x="2556986" y="312896"/>
                    <a:pt x="2556034" y="313849"/>
                  </a:cubicBezTo>
                  <a:cubicBezTo>
                    <a:pt x="2555081" y="308134"/>
                    <a:pt x="2554129" y="302419"/>
                    <a:pt x="2553176" y="296704"/>
                  </a:cubicBezTo>
                  <a:cubicBezTo>
                    <a:pt x="2556034" y="290036"/>
                    <a:pt x="2558891" y="282416"/>
                    <a:pt x="2561749" y="276701"/>
                  </a:cubicBezTo>
                  <a:close/>
                  <a:moveTo>
                    <a:pt x="2538889" y="252889"/>
                  </a:moveTo>
                  <a:cubicBezTo>
                    <a:pt x="2539841" y="249079"/>
                    <a:pt x="2539841" y="245269"/>
                    <a:pt x="2540794" y="242411"/>
                  </a:cubicBezTo>
                  <a:cubicBezTo>
                    <a:pt x="2540794" y="241459"/>
                    <a:pt x="2541746" y="239554"/>
                    <a:pt x="2542699" y="238601"/>
                  </a:cubicBezTo>
                  <a:cubicBezTo>
                    <a:pt x="2543651" y="236696"/>
                    <a:pt x="2543651" y="234791"/>
                    <a:pt x="2544604" y="233839"/>
                  </a:cubicBezTo>
                  <a:cubicBezTo>
                    <a:pt x="2544604" y="237649"/>
                    <a:pt x="2543651" y="242411"/>
                    <a:pt x="2543651" y="248126"/>
                  </a:cubicBezTo>
                  <a:cubicBezTo>
                    <a:pt x="2543651" y="250984"/>
                    <a:pt x="2543651" y="253841"/>
                    <a:pt x="2542699" y="257651"/>
                  </a:cubicBezTo>
                  <a:cubicBezTo>
                    <a:pt x="2540794" y="261461"/>
                    <a:pt x="2539841" y="264319"/>
                    <a:pt x="2537936" y="268129"/>
                  </a:cubicBezTo>
                  <a:cubicBezTo>
                    <a:pt x="2537936" y="263366"/>
                    <a:pt x="2537936" y="257651"/>
                    <a:pt x="2538889" y="252889"/>
                  </a:cubicBezTo>
                  <a:close/>
                  <a:moveTo>
                    <a:pt x="2521744" y="475774"/>
                  </a:moveTo>
                  <a:cubicBezTo>
                    <a:pt x="2521744" y="478631"/>
                    <a:pt x="2522696" y="481489"/>
                    <a:pt x="2522696" y="484346"/>
                  </a:cubicBezTo>
                  <a:cubicBezTo>
                    <a:pt x="2521744" y="482441"/>
                    <a:pt x="2521744" y="481489"/>
                    <a:pt x="2520791" y="479584"/>
                  </a:cubicBezTo>
                  <a:cubicBezTo>
                    <a:pt x="2521744" y="478631"/>
                    <a:pt x="2521744" y="477679"/>
                    <a:pt x="2521744" y="475774"/>
                  </a:cubicBezTo>
                  <a:close/>
                  <a:moveTo>
                    <a:pt x="2514124" y="323374"/>
                  </a:moveTo>
                  <a:cubicBezTo>
                    <a:pt x="2514124" y="323374"/>
                    <a:pt x="2515076" y="323374"/>
                    <a:pt x="2514124" y="323374"/>
                  </a:cubicBezTo>
                  <a:cubicBezTo>
                    <a:pt x="2514124" y="325279"/>
                    <a:pt x="2513171" y="326231"/>
                    <a:pt x="2513171" y="328136"/>
                  </a:cubicBezTo>
                  <a:cubicBezTo>
                    <a:pt x="2513171" y="328136"/>
                    <a:pt x="2513171" y="328136"/>
                    <a:pt x="2513171" y="329089"/>
                  </a:cubicBezTo>
                  <a:cubicBezTo>
                    <a:pt x="2513171" y="326231"/>
                    <a:pt x="2514124" y="324326"/>
                    <a:pt x="2514124" y="323374"/>
                  </a:cubicBezTo>
                  <a:close/>
                  <a:moveTo>
                    <a:pt x="2509361" y="300514"/>
                  </a:moveTo>
                  <a:cubicBezTo>
                    <a:pt x="2509361" y="301466"/>
                    <a:pt x="2509361" y="301466"/>
                    <a:pt x="2508409" y="302419"/>
                  </a:cubicBezTo>
                  <a:cubicBezTo>
                    <a:pt x="2508409" y="302419"/>
                    <a:pt x="2508409" y="302419"/>
                    <a:pt x="2508409" y="302419"/>
                  </a:cubicBezTo>
                  <a:cubicBezTo>
                    <a:pt x="2508409" y="299561"/>
                    <a:pt x="2507456" y="297656"/>
                    <a:pt x="2507456" y="294799"/>
                  </a:cubicBezTo>
                  <a:cubicBezTo>
                    <a:pt x="2508409" y="296704"/>
                    <a:pt x="2509361" y="298609"/>
                    <a:pt x="2509361" y="300514"/>
                  </a:cubicBezTo>
                  <a:close/>
                  <a:moveTo>
                    <a:pt x="2496979" y="292894"/>
                  </a:moveTo>
                  <a:cubicBezTo>
                    <a:pt x="2497931" y="290989"/>
                    <a:pt x="2497931" y="290036"/>
                    <a:pt x="2497931" y="290036"/>
                  </a:cubicBezTo>
                  <a:cubicBezTo>
                    <a:pt x="2497931" y="290036"/>
                    <a:pt x="2497931" y="290989"/>
                    <a:pt x="2496979" y="290989"/>
                  </a:cubicBezTo>
                  <a:cubicBezTo>
                    <a:pt x="2496979" y="289084"/>
                    <a:pt x="2496979" y="286226"/>
                    <a:pt x="2497931" y="284321"/>
                  </a:cubicBezTo>
                  <a:cubicBezTo>
                    <a:pt x="2497931" y="278606"/>
                    <a:pt x="2498884" y="272891"/>
                    <a:pt x="2498884" y="269081"/>
                  </a:cubicBezTo>
                  <a:cubicBezTo>
                    <a:pt x="2498884" y="268129"/>
                    <a:pt x="2498884" y="267176"/>
                    <a:pt x="2498884" y="266224"/>
                  </a:cubicBezTo>
                  <a:cubicBezTo>
                    <a:pt x="2499836" y="270034"/>
                    <a:pt x="2500789" y="273844"/>
                    <a:pt x="2502694" y="277654"/>
                  </a:cubicBezTo>
                  <a:cubicBezTo>
                    <a:pt x="2502694" y="279559"/>
                    <a:pt x="2502694" y="281464"/>
                    <a:pt x="2502694" y="283369"/>
                  </a:cubicBezTo>
                  <a:cubicBezTo>
                    <a:pt x="2502694" y="288131"/>
                    <a:pt x="2501741" y="294799"/>
                    <a:pt x="2501741" y="302419"/>
                  </a:cubicBezTo>
                  <a:cubicBezTo>
                    <a:pt x="2501741" y="306229"/>
                    <a:pt x="2501741" y="310039"/>
                    <a:pt x="2501741" y="313849"/>
                  </a:cubicBezTo>
                  <a:cubicBezTo>
                    <a:pt x="2501741" y="317659"/>
                    <a:pt x="2500789" y="321469"/>
                    <a:pt x="2500789" y="325279"/>
                  </a:cubicBezTo>
                  <a:cubicBezTo>
                    <a:pt x="2500789" y="325279"/>
                    <a:pt x="2500789" y="326231"/>
                    <a:pt x="2500789" y="326231"/>
                  </a:cubicBezTo>
                  <a:cubicBezTo>
                    <a:pt x="2500789" y="322421"/>
                    <a:pt x="2499836" y="319564"/>
                    <a:pt x="2499836" y="315754"/>
                  </a:cubicBezTo>
                  <a:cubicBezTo>
                    <a:pt x="2499836" y="313849"/>
                    <a:pt x="2499836" y="311944"/>
                    <a:pt x="2499836" y="310039"/>
                  </a:cubicBezTo>
                  <a:cubicBezTo>
                    <a:pt x="2499836" y="305276"/>
                    <a:pt x="2500789" y="300514"/>
                    <a:pt x="2500789" y="297656"/>
                  </a:cubicBezTo>
                  <a:cubicBezTo>
                    <a:pt x="2500789" y="290989"/>
                    <a:pt x="2500789" y="286226"/>
                    <a:pt x="2500789" y="286226"/>
                  </a:cubicBezTo>
                  <a:cubicBezTo>
                    <a:pt x="2500789" y="286226"/>
                    <a:pt x="2498884" y="289084"/>
                    <a:pt x="2496979" y="292894"/>
                  </a:cubicBezTo>
                  <a:cubicBezTo>
                    <a:pt x="2496979" y="293846"/>
                    <a:pt x="2496979" y="293846"/>
                    <a:pt x="2496979" y="292894"/>
                  </a:cubicBezTo>
                  <a:close/>
                  <a:moveTo>
                    <a:pt x="2449354" y="334804"/>
                  </a:moveTo>
                  <a:cubicBezTo>
                    <a:pt x="2448401" y="332899"/>
                    <a:pt x="2448401" y="330041"/>
                    <a:pt x="2447449" y="328136"/>
                  </a:cubicBezTo>
                  <a:cubicBezTo>
                    <a:pt x="2448401" y="326231"/>
                    <a:pt x="2449354" y="323374"/>
                    <a:pt x="2450306" y="321469"/>
                  </a:cubicBezTo>
                  <a:cubicBezTo>
                    <a:pt x="2450306" y="321469"/>
                    <a:pt x="2450306" y="322421"/>
                    <a:pt x="2450306" y="322421"/>
                  </a:cubicBezTo>
                  <a:cubicBezTo>
                    <a:pt x="2450306" y="323374"/>
                    <a:pt x="2450306" y="323374"/>
                    <a:pt x="2451259" y="324326"/>
                  </a:cubicBezTo>
                  <a:cubicBezTo>
                    <a:pt x="2450306" y="327184"/>
                    <a:pt x="2449354" y="330994"/>
                    <a:pt x="2449354" y="334804"/>
                  </a:cubicBezTo>
                  <a:close/>
                  <a:moveTo>
                    <a:pt x="2450306" y="254794"/>
                  </a:moveTo>
                  <a:cubicBezTo>
                    <a:pt x="2450306" y="253841"/>
                    <a:pt x="2451259" y="252889"/>
                    <a:pt x="2451259" y="251936"/>
                  </a:cubicBezTo>
                  <a:cubicBezTo>
                    <a:pt x="2451259" y="251936"/>
                    <a:pt x="2451259" y="251936"/>
                    <a:pt x="2451259" y="250984"/>
                  </a:cubicBezTo>
                  <a:cubicBezTo>
                    <a:pt x="2451259" y="250984"/>
                    <a:pt x="2451259" y="251936"/>
                    <a:pt x="2451259" y="251936"/>
                  </a:cubicBezTo>
                  <a:cubicBezTo>
                    <a:pt x="2451259" y="252889"/>
                    <a:pt x="2451259" y="253841"/>
                    <a:pt x="2450306" y="254794"/>
                  </a:cubicBezTo>
                  <a:close/>
                  <a:moveTo>
                    <a:pt x="2452211" y="251936"/>
                  </a:moveTo>
                  <a:cubicBezTo>
                    <a:pt x="2452211" y="251936"/>
                    <a:pt x="2452211" y="250984"/>
                    <a:pt x="2451259" y="250984"/>
                  </a:cubicBezTo>
                  <a:cubicBezTo>
                    <a:pt x="2453164" y="246221"/>
                    <a:pt x="2454116" y="242411"/>
                    <a:pt x="2456021" y="238601"/>
                  </a:cubicBezTo>
                  <a:cubicBezTo>
                    <a:pt x="2457926" y="236696"/>
                    <a:pt x="2458879" y="233839"/>
                    <a:pt x="2460784" y="231934"/>
                  </a:cubicBezTo>
                  <a:cubicBezTo>
                    <a:pt x="2460784" y="232886"/>
                    <a:pt x="2459831" y="234791"/>
                    <a:pt x="2459831" y="235744"/>
                  </a:cubicBezTo>
                  <a:cubicBezTo>
                    <a:pt x="2458879" y="239554"/>
                    <a:pt x="2456974" y="243364"/>
                    <a:pt x="2456021" y="248126"/>
                  </a:cubicBezTo>
                  <a:cubicBezTo>
                    <a:pt x="2455069" y="248126"/>
                    <a:pt x="2454116" y="250031"/>
                    <a:pt x="2452211" y="251936"/>
                  </a:cubicBezTo>
                  <a:close/>
                  <a:moveTo>
                    <a:pt x="2457926" y="266224"/>
                  </a:moveTo>
                  <a:cubicBezTo>
                    <a:pt x="2457926" y="267176"/>
                    <a:pt x="2456974" y="267176"/>
                    <a:pt x="2456974" y="268129"/>
                  </a:cubicBezTo>
                  <a:cubicBezTo>
                    <a:pt x="2457926" y="267176"/>
                    <a:pt x="2457926" y="266224"/>
                    <a:pt x="2457926" y="266224"/>
                  </a:cubicBezTo>
                  <a:cubicBezTo>
                    <a:pt x="2457926" y="265271"/>
                    <a:pt x="2457926" y="266224"/>
                    <a:pt x="2457926" y="266224"/>
                  </a:cubicBezTo>
                  <a:close/>
                  <a:moveTo>
                    <a:pt x="2457926" y="374809"/>
                  </a:moveTo>
                  <a:cubicBezTo>
                    <a:pt x="2456974" y="371951"/>
                    <a:pt x="2456974" y="369094"/>
                    <a:pt x="2456021" y="367189"/>
                  </a:cubicBezTo>
                  <a:cubicBezTo>
                    <a:pt x="2456021" y="365284"/>
                    <a:pt x="2456021" y="364331"/>
                    <a:pt x="2456021" y="362426"/>
                  </a:cubicBezTo>
                  <a:cubicBezTo>
                    <a:pt x="2456021" y="355759"/>
                    <a:pt x="2456021" y="350044"/>
                    <a:pt x="2456021" y="344329"/>
                  </a:cubicBezTo>
                  <a:cubicBezTo>
                    <a:pt x="2456974" y="347186"/>
                    <a:pt x="2457926" y="350996"/>
                    <a:pt x="2458879" y="354806"/>
                  </a:cubicBezTo>
                  <a:cubicBezTo>
                    <a:pt x="2459831" y="361474"/>
                    <a:pt x="2458879" y="368141"/>
                    <a:pt x="2457926" y="374809"/>
                  </a:cubicBezTo>
                  <a:close/>
                  <a:moveTo>
                    <a:pt x="2456974" y="308134"/>
                  </a:moveTo>
                  <a:cubicBezTo>
                    <a:pt x="2456974" y="307181"/>
                    <a:pt x="2456974" y="306229"/>
                    <a:pt x="2456974" y="305276"/>
                  </a:cubicBezTo>
                  <a:cubicBezTo>
                    <a:pt x="2456974" y="304324"/>
                    <a:pt x="2457926" y="303371"/>
                    <a:pt x="2457926" y="302419"/>
                  </a:cubicBezTo>
                  <a:cubicBezTo>
                    <a:pt x="2458879" y="306229"/>
                    <a:pt x="2458879" y="310039"/>
                    <a:pt x="2459831" y="313849"/>
                  </a:cubicBezTo>
                  <a:cubicBezTo>
                    <a:pt x="2459831" y="314801"/>
                    <a:pt x="2459831" y="315754"/>
                    <a:pt x="2460784" y="317659"/>
                  </a:cubicBezTo>
                  <a:cubicBezTo>
                    <a:pt x="2458879" y="313849"/>
                    <a:pt x="2457926" y="310991"/>
                    <a:pt x="2456974" y="308134"/>
                  </a:cubicBezTo>
                  <a:close/>
                  <a:moveTo>
                    <a:pt x="2458879" y="290036"/>
                  </a:moveTo>
                  <a:cubicBezTo>
                    <a:pt x="2458879" y="289084"/>
                    <a:pt x="2459831" y="288131"/>
                    <a:pt x="2459831" y="287179"/>
                  </a:cubicBezTo>
                  <a:cubicBezTo>
                    <a:pt x="2460784" y="284321"/>
                    <a:pt x="2461736" y="280511"/>
                    <a:pt x="2463641" y="277654"/>
                  </a:cubicBezTo>
                  <a:cubicBezTo>
                    <a:pt x="2464594" y="278606"/>
                    <a:pt x="2464594" y="280511"/>
                    <a:pt x="2465546" y="281464"/>
                  </a:cubicBezTo>
                  <a:cubicBezTo>
                    <a:pt x="2463641" y="284321"/>
                    <a:pt x="2461736" y="287179"/>
                    <a:pt x="2458879" y="290036"/>
                  </a:cubicBezTo>
                  <a:close/>
                  <a:moveTo>
                    <a:pt x="2464594" y="305276"/>
                  </a:moveTo>
                  <a:cubicBezTo>
                    <a:pt x="2463641" y="301466"/>
                    <a:pt x="2462689" y="298609"/>
                    <a:pt x="2460784" y="295751"/>
                  </a:cubicBezTo>
                  <a:cubicBezTo>
                    <a:pt x="2460784" y="294799"/>
                    <a:pt x="2461736" y="293846"/>
                    <a:pt x="2462689" y="292894"/>
                  </a:cubicBezTo>
                  <a:cubicBezTo>
                    <a:pt x="2464594" y="290036"/>
                    <a:pt x="2465546" y="287179"/>
                    <a:pt x="2466499" y="285274"/>
                  </a:cubicBezTo>
                  <a:cubicBezTo>
                    <a:pt x="2465546" y="290989"/>
                    <a:pt x="2465546" y="297656"/>
                    <a:pt x="2464594" y="305276"/>
                  </a:cubicBezTo>
                  <a:close/>
                  <a:moveTo>
                    <a:pt x="2467451" y="274796"/>
                  </a:moveTo>
                  <a:cubicBezTo>
                    <a:pt x="2467451" y="273844"/>
                    <a:pt x="2466499" y="272891"/>
                    <a:pt x="2466499" y="272891"/>
                  </a:cubicBezTo>
                  <a:cubicBezTo>
                    <a:pt x="2467451" y="270986"/>
                    <a:pt x="2467451" y="270034"/>
                    <a:pt x="2468404" y="268129"/>
                  </a:cubicBezTo>
                  <a:cubicBezTo>
                    <a:pt x="2468404" y="270034"/>
                    <a:pt x="2467451" y="272891"/>
                    <a:pt x="2467451" y="274796"/>
                  </a:cubicBezTo>
                  <a:close/>
                  <a:moveTo>
                    <a:pt x="2471261" y="233839"/>
                  </a:moveTo>
                  <a:cubicBezTo>
                    <a:pt x="2471261" y="233839"/>
                    <a:pt x="2471261" y="237649"/>
                    <a:pt x="2470309" y="245269"/>
                  </a:cubicBezTo>
                  <a:cubicBezTo>
                    <a:pt x="2470309" y="245269"/>
                    <a:pt x="2470309" y="246221"/>
                    <a:pt x="2469356" y="246221"/>
                  </a:cubicBezTo>
                  <a:cubicBezTo>
                    <a:pt x="2466499" y="251936"/>
                    <a:pt x="2462689" y="256699"/>
                    <a:pt x="2459831" y="263366"/>
                  </a:cubicBezTo>
                  <a:cubicBezTo>
                    <a:pt x="2459831" y="262414"/>
                    <a:pt x="2458879" y="262414"/>
                    <a:pt x="2458879" y="261461"/>
                  </a:cubicBezTo>
                  <a:cubicBezTo>
                    <a:pt x="2459831" y="256699"/>
                    <a:pt x="2460784" y="250984"/>
                    <a:pt x="2461736" y="247174"/>
                  </a:cubicBezTo>
                  <a:cubicBezTo>
                    <a:pt x="2461736" y="246221"/>
                    <a:pt x="2462689" y="246221"/>
                    <a:pt x="2462689" y="245269"/>
                  </a:cubicBezTo>
                  <a:cubicBezTo>
                    <a:pt x="2466499" y="239554"/>
                    <a:pt x="2469356" y="234791"/>
                    <a:pt x="2472214" y="231934"/>
                  </a:cubicBezTo>
                  <a:cubicBezTo>
                    <a:pt x="2472214" y="231934"/>
                    <a:pt x="2472214" y="231934"/>
                    <a:pt x="2472214" y="231934"/>
                  </a:cubicBezTo>
                  <a:cubicBezTo>
                    <a:pt x="2472214" y="234791"/>
                    <a:pt x="2473166" y="237649"/>
                    <a:pt x="2473166" y="240506"/>
                  </a:cubicBezTo>
                  <a:cubicBezTo>
                    <a:pt x="2473166" y="241459"/>
                    <a:pt x="2472214" y="241459"/>
                    <a:pt x="2472214" y="242411"/>
                  </a:cubicBezTo>
                  <a:cubicBezTo>
                    <a:pt x="2472214" y="236696"/>
                    <a:pt x="2471261" y="233839"/>
                    <a:pt x="2471261" y="233839"/>
                  </a:cubicBezTo>
                  <a:close/>
                  <a:moveTo>
                    <a:pt x="2467451" y="211931"/>
                  </a:moveTo>
                  <a:cubicBezTo>
                    <a:pt x="2466499" y="212884"/>
                    <a:pt x="2466499" y="212884"/>
                    <a:pt x="2465546" y="213836"/>
                  </a:cubicBezTo>
                  <a:cubicBezTo>
                    <a:pt x="2465546" y="212884"/>
                    <a:pt x="2465546" y="212884"/>
                    <a:pt x="2466499" y="211931"/>
                  </a:cubicBezTo>
                  <a:cubicBezTo>
                    <a:pt x="2467451" y="210026"/>
                    <a:pt x="2467451" y="209074"/>
                    <a:pt x="2468404" y="208121"/>
                  </a:cubicBezTo>
                  <a:cubicBezTo>
                    <a:pt x="2468404" y="209074"/>
                    <a:pt x="2468404" y="210026"/>
                    <a:pt x="2468404" y="210979"/>
                  </a:cubicBezTo>
                  <a:cubicBezTo>
                    <a:pt x="2468404" y="210979"/>
                    <a:pt x="2468404" y="210979"/>
                    <a:pt x="2467451" y="211931"/>
                  </a:cubicBezTo>
                  <a:cubicBezTo>
                    <a:pt x="2468404" y="210979"/>
                    <a:pt x="2468404" y="210979"/>
                    <a:pt x="2467451" y="211931"/>
                  </a:cubicBezTo>
                  <a:cubicBezTo>
                    <a:pt x="2468404" y="210979"/>
                    <a:pt x="2467451" y="210979"/>
                    <a:pt x="2467451" y="211931"/>
                  </a:cubicBezTo>
                  <a:close/>
                  <a:moveTo>
                    <a:pt x="2470309" y="218599"/>
                  </a:moveTo>
                  <a:cubicBezTo>
                    <a:pt x="2471261" y="222409"/>
                    <a:pt x="2471261" y="226219"/>
                    <a:pt x="2472214" y="230029"/>
                  </a:cubicBezTo>
                  <a:cubicBezTo>
                    <a:pt x="2472214" y="230029"/>
                    <a:pt x="2472214" y="230029"/>
                    <a:pt x="2472214" y="230029"/>
                  </a:cubicBezTo>
                  <a:cubicBezTo>
                    <a:pt x="2470309" y="231934"/>
                    <a:pt x="2467451" y="234791"/>
                    <a:pt x="2463641" y="237649"/>
                  </a:cubicBezTo>
                  <a:cubicBezTo>
                    <a:pt x="2463641" y="236696"/>
                    <a:pt x="2463641" y="235744"/>
                    <a:pt x="2464594" y="234791"/>
                  </a:cubicBezTo>
                  <a:cubicBezTo>
                    <a:pt x="2465546" y="230981"/>
                    <a:pt x="2465546" y="227171"/>
                    <a:pt x="2466499" y="224314"/>
                  </a:cubicBezTo>
                  <a:cubicBezTo>
                    <a:pt x="2466499" y="224314"/>
                    <a:pt x="2466499" y="224314"/>
                    <a:pt x="2466499" y="224314"/>
                  </a:cubicBezTo>
                  <a:cubicBezTo>
                    <a:pt x="2467451" y="223361"/>
                    <a:pt x="2468404" y="220504"/>
                    <a:pt x="2470309" y="218599"/>
                  </a:cubicBezTo>
                  <a:close/>
                  <a:moveTo>
                    <a:pt x="2477929" y="223361"/>
                  </a:moveTo>
                  <a:cubicBezTo>
                    <a:pt x="2476976" y="219551"/>
                    <a:pt x="2476024" y="215741"/>
                    <a:pt x="2475071" y="212884"/>
                  </a:cubicBezTo>
                  <a:cubicBezTo>
                    <a:pt x="2476024" y="211931"/>
                    <a:pt x="2476976" y="210026"/>
                    <a:pt x="2477929" y="209074"/>
                  </a:cubicBezTo>
                  <a:cubicBezTo>
                    <a:pt x="2477929" y="211931"/>
                    <a:pt x="2477929" y="214789"/>
                    <a:pt x="2477929" y="217646"/>
                  </a:cubicBezTo>
                  <a:cubicBezTo>
                    <a:pt x="2477929" y="219551"/>
                    <a:pt x="2477929" y="221456"/>
                    <a:pt x="2477929" y="223361"/>
                  </a:cubicBezTo>
                  <a:close/>
                  <a:moveTo>
                    <a:pt x="2473166" y="206216"/>
                  </a:moveTo>
                  <a:cubicBezTo>
                    <a:pt x="2473166" y="205264"/>
                    <a:pt x="2472214" y="204311"/>
                    <a:pt x="2472214" y="203359"/>
                  </a:cubicBezTo>
                  <a:cubicBezTo>
                    <a:pt x="2472214" y="202406"/>
                    <a:pt x="2472214" y="202406"/>
                    <a:pt x="2471261" y="201454"/>
                  </a:cubicBezTo>
                  <a:cubicBezTo>
                    <a:pt x="2472214" y="199549"/>
                    <a:pt x="2473166" y="197644"/>
                    <a:pt x="2474119" y="195739"/>
                  </a:cubicBezTo>
                  <a:cubicBezTo>
                    <a:pt x="2475071" y="193834"/>
                    <a:pt x="2476976" y="190976"/>
                    <a:pt x="2477929" y="189071"/>
                  </a:cubicBezTo>
                  <a:cubicBezTo>
                    <a:pt x="2477929" y="192881"/>
                    <a:pt x="2477929" y="197644"/>
                    <a:pt x="2477929" y="201454"/>
                  </a:cubicBezTo>
                  <a:cubicBezTo>
                    <a:pt x="2476024" y="203359"/>
                    <a:pt x="2474119" y="205264"/>
                    <a:pt x="2473166" y="206216"/>
                  </a:cubicBezTo>
                  <a:close/>
                  <a:moveTo>
                    <a:pt x="2473166" y="255746"/>
                  </a:moveTo>
                  <a:cubicBezTo>
                    <a:pt x="2474119" y="254794"/>
                    <a:pt x="2474119" y="252889"/>
                    <a:pt x="2475071" y="251936"/>
                  </a:cubicBezTo>
                  <a:cubicBezTo>
                    <a:pt x="2476024" y="256699"/>
                    <a:pt x="2476024" y="261461"/>
                    <a:pt x="2476976" y="266224"/>
                  </a:cubicBezTo>
                  <a:cubicBezTo>
                    <a:pt x="2477929" y="274796"/>
                    <a:pt x="2478881" y="283369"/>
                    <a:pt x="2479834" y="292894"/>
                  </a:cubicBezTo>
                  <a:cubicBezTo>
                    <a:pt x="2479834" y="293846"/>
                    <a:pt x="2479834" y="295751"/>
                    <a:pt x="2479834" y="296704"/>
                  </a:cubicBezTo>
                  <a:cubicBezTo>
                    <a:pt x="2479834" y="296704"/>
                    <a:pt x="2479834" y="295751"/>
                    <a:pt x="2479834" y="295751"/>
                  </a:cubicBezTo>
                  <a:cubicBezTo>
                    <a:pt x="2477929" y="292894"/>
                    <a:pt x="2476976" y="290036"/>
                    <a:pt x="2475071" y="288131"/>
                  </a:cubicBezTo>
                  <a:cubicBezTo>
                    <a:pt x="2475071" y="275749"/>
                    <a:pt x="2474119" y="264319"/>
                    <a:pt x="2473166" y="255746"/>
                  </a:cubicBezTo>
                  <a:close/>
                  <a:moveTo>
                    <a:pt x="2481739" y="324326"/>
                  </a:moveTo>
                  <a:cubicBezTo>
                    <a:pt x="2481739" y="325279"/>
                    <a:pt x="2480786" y="325279"/>
                    <a:pt x="2480786" y="326231"/>
                  </a:cubicBezTo>
                  <a:cubicBezTo>
                    <a:pt x="2479834" y="330041"/>
                    <a:pt x="2477929" y="334804"/>
                    <a:pt x="2476024" y="340519"/>
                  </a:cubicBezTo>
                  <a:cubicBezTo>
                    <a:pt x="2476024" y="329089"/>
                    <a:pt x="2476024" y="317659"/>
                    <a:pt x="2476024" y="308134"/>
                  </a:cubicBezTo>
                  <a:cubicBezTo>
                    <a:pt x="2476024" y="308134"/>
                    <a:pt x="2476024" y="308134"/>
                    <a:pt x="2476024" y="308134"/>
                  </a:cubicBezTo>
                  <a:cubicBezTo>
                    <a:pt x="2476976" y="311944"/>
                    <a:pt x="2478881" y="314801"/>
                    <a:pt x="2479834" y="318611"/>
                  </a:cubicBezTo>
                  <a:cubicBezTo>
                    <a:pt x="2479834" y="319564"/>
                    <a:pt x="2480786" y="321469"/>
                    <a:pt x="2480786" y="322421"/>
                  </a:cubicBezTo>
                  <a:cubicBezTo>
                    <a:pt x="2480786" y="322421"/>
                    <a:pt x="2481739" y="323374"/>
                    <a:pt x="2481739" y="324326"/>
                  </a:cubicBezTo>
                  <a:cubicBezTo>
                    <a:pt x="2481739" y="324326"/>
                    <a:pt x="2481739" y="324326"/>
                    <a:pt x="2481739" y="324326"/>
                  </a:cubicBezTo>
                  <a:close/>
                  <a:moveTo>
                    <a:pt x="2436971" y="215741"/>
                  </a:moveTo>
                  <a:cubicBezTo>
                    <a:pt x="2440781" y="209074"/>
                    <a:pt x="2444591" y="202406"/>
                    <a:pt x="2447449" y="195739"/>
                  </a:cubicBezTo>
                  <a:cubicBezTo>
                    <a:pt x="2451259" y="190024"/>
                    <a:pt x="2454116" y="184309"/>
                    <a:pt x="2457926" y="178594"/>
                  </a:cubicBezTo>
                  <a:cubicBezTo>
                    <a:pt x="2464594" y="168116"/>
                    <a:pt x="2469356" y="157639"/>
                    <a:pt x="2475071" y="150971"/>
                  </a:cubicBezTo>
                  <a:cubicBezTo>
                    <a:pt x="2477929" y="146209"/>
                    <a:pt x="2480786" y="142399"/>
                    <a:pt x="2482691" y="138589"/>
                  </a:cubicBezTo>
                  <a:cubicBezTo>
                    <a:pt x="2481739" y="142399"/>
                    <a:pt x="2481739" y="148114"/>
                    <a:pt x="2480786" y="154781"/>
                  </a:cubicBezTo>
                  <a:cubicBezTo>
                    <a:pt x="2479834" y="162401"/>
                    <a:pt x="2479834" y="170974"/>
                    <a:pt x="2478881" y="181451"/>
                  </a:cubicBezTo>
                  <a:cubicBezTo>
                    <a:pt x="2476024" y="185261"/>
                    <a:pt x="2473166" y="189071"/>
                    <a:pt x="2470309" y="193834"/>
                  </a:cubicBezTo>
                  <a:cubicBezTo>
                    <a:pt x="2470309" y="193834"/>
                    <a:pt x="2470309" y="194786"/>
                    <a:pt x="2469356" y="194786"/>
                  </a:cubicBezTo>
                  <a:cubicBezTo>
                    <a:pt x="2466499" y="186214"/>
                    <a:pt x="2465546" y="181451"/>
                    <a:pt x="2465546" y="181451"/>
                  </a:cubicBezTo>
                  <a:cubicBezTo>
                    <a:pt x="2465546" y="181451"/>
                    <a:pt x="2466499" y="187166"/>
                    <a:pt x="2467451" y="197644"/>
                  </a:cubicBezTo>
                  <a:cubicBezTo>
                    <a:pt x="2465546" y="201454"/>
                    <a:pt x="2462689" y="205264"/>
                    <a:pt x="2460784" y="209074"/>
                  </a:cubicBezTo>
                  <a:cubicBezTo>
                    <a:pt x="2456021" y="216694"/>
                    <a:pt x="2452211" y="225266"/>
                    <a:pt x="2447449" y="234791"/>
                  </a:cubicBezTo>
                  <a:cubicBezTo>
                    <a:pt x="2443639" y="238601"/>
                    <a:pt x="2440781" y="243364"/>
                    <a:pt x="2436971" y="247174"/>
                  </a:cubicBezTo>
                  <a:cubicBezTo>
                    <a:pt x="2436971" y="248126"/>
                    <a:pt x="2436019" y="248126"/>
                    <a:pt x="2436019" y="249079"/>
                  </a:cubicBezTo>
                  <a:cubicBezTo>
                    <a:pt x="2436019" y="249079"/>
                    <a:pt x="2436019" y="249079"/>
                    <a:pt x="2436019" y="249079"/>
                  </a:cubicBezTo>
                  <a:cubicBezTo>
                    <a:pt x="2435066" y="240506"/>
                    <a:pt x="2434114" y="232886"/>
                    <a:pt x="2433161" y="225266"/>
                  </a:cubicBezTo>
                  <a:cubicBezTo>
                    <a:pt x="2433161" y="221456"/>
                    <a:pt x="2435066" y="218599"/>
                    <a:pt x="2436971" y="215741"/>
                  </a:cubicBezTo>
                  <a:close/>
                  <a:moveTo>
                    <a:pt x="2416016" y="313849"/>
                  </a:moveTo>
                  <a:cubicBezTo>
                    <a:pt x="2416016" y="313849"/>
                    <a:pt x="2416016" y="313849"/>
                    <a:pt x="2416016" y="313849"/>
                  </a:cubicBezTo>
                  <a:cubicBezTo>
                    <a:pt x="2415064" y="310039"/>
                    <a:pt x="2414111" y="307181"/>
                    <a:pt x="2413159" y="304324"/>
                  </a:cubicBezTo>
                  <a:cubicBezTo>
                    <a:pt x="2414111" y="303371"/>
                    <a:pt x="2414111" y="302419"/>
                    <a:pt x="2415064" y="301466"/>
                  </a:cubicBezTo>
                  <a:cubicBezTo>
                    <a:pt x="2415064" y="302419"/>
                    <a:pt x="2415064" y="302419"/>
                    <a:pt x="2415064" y="303371"/>
                  </a:cubicBezTo>
                  <a:cubicBezTo>
                    <a:pt x="2415064" y="306229"/>
                    <a:pt x="2416016" y="310039"/>
                    <a:pt x="2416016" y="313849"/>
                  </a:cubicBezTo>
                  <a:cubicBezTo>
                    <a:pt x="2416016" y="313849"/>
                    <a:pt x="2416016" y="313849"/>
                    <a:pt x="2416016" y="313849"/>
                  </a:cubicBezTo>
                  <a:close/>
                  <a:moveTo>
                    <a:pt x="2422684" y="288131"/>
                  </a:moveTo>
                  <a:cubicBezTo>
                    <a:pt x="2422684" y="290036"/>
                    <a:pt x="2422684" y="291941"/>
                    <a:pt x="2422684" y="293846"/>
                  </a:cubicBezTo>
                  <a:cubicBezTo>
                    <a:pt x="2421731" y="295751"/>
                    <a:pt x="2421731" y="297656"/>
                    <a:pt x="2420779" y="299561"/>
                  </a:cubicBezTo>
                  <a:cubicBezTo>
                    <a:pt x="2419826" y="297656"/>
                    <a:pt x="2419826" y="295751"/>
                    <a:pt x="2418874" y="293846"/>
                  </a:cubicBezTo>
                  <a:cubicBezTo>
                    <a:pt x="2419826" y="292894"/>
                    <a:pt x="2419826" y="291941"/>
                    <a:pt x="2420779" y="290989"/>
                  </a:cubicBezTo>
                  <a:cubicBezTo>
                    <a:pt x="2421731" y="290036"/>
                    <a:pt x="2421731" y="289084"/>
                    <a:pt x="2422684" y="288131"/>
                  </a:cubicBezTo>
                  <a:close/>
                  <a:moveTo>
                    <a:pt x="2414111" y="259556"/>
                  </a:moveTo>
                  <a:cubicBezTo>
                    <a:pt x="2416016" y="255746"/>
                    <a:pt x="2417921" y="251936"/>
                    <a:pt x="2419826" y="248126"/>
                  </a:cubicBezTo>
                  <a:cubicBezTo>
                    <a:pt x="2419826" y="253841"/>
                    <a:pt x="2420779" y="259556"/>
                    <a:pt x="2420779" y="266224"/>
                  </a:cubicBezTo>
                  <a:cubicBezTo>
                    <a:pt x="2417921" y="270034"/>
                    <a:pt x="2415064" y="273844"/>
                    <a:pt x="2412206" y="277654"/>
                  </a:cubicBezTo>
                  <a:cubicBezTo>
                    <a:pt x="2411254" y="276701"/>
                    <a:pt x="2411254" y="275749"/>
                    <a:pt x="2410301" y="273844"/>
                  </a:cubicBezTo>
                  <a:cubicBezTo>
                    <a:pt x="2409349" y="272891"/>
                    <a:pt x="2409349" y="271939"/>
                    <a:pt x="2408396" y="270986"/>
                  </a:cubicBezTo>
                  <a:cubicBezTo>
                    <a:pt x="2410301" y="268129"/>
                    <a:pt x="2412206" y="263366"/>
                    <a:pt x="2414111" y="259556"/>
                  </a:cubicBezTo>
                  <a:close/>
                  <a:moveTo>
                    <a:pt x="2406491" y="275749"/>
                  </a:moveTo>
                  <a:cubicBezTo>
                    <a:pt x="2406491" y="275749"/>
                    <a:pt x="2406491" y="275749"/>
                    <a:pt x="2406491" y="275749"/>
                  </a:cubicBezTo>
                  <a:cubicBezTo>
                    <a:pt x="2407444" y="277654"/>
                    <a:pt x="2408396" y="279559"/>
                    <a:pt x="2409349" y="282416"/>
                  </a:cubicBezTo>
                  <a:cubicBezTo>
                    <a:pt x="2408396" y="283369"/>
                    <a:pt x="2407444" y="285274"/>
                    <a:pt x="2406491" y="286226"/>
                  </a:cubicBezTo>
                  <a:cubicBezTo>
                    <a:pt x="2405539" y="284321"/>
                    <a:pt x="2405539" y="282416"/>
                    <a:pt x="2404586" y="280511"/>
                  </a:cubicBezTo>
                  <a:cubicBezTo>
                    <a:pt x="2405539" y="278606"/>
                    <a:pt x="2405539" y="276701"/>
                    <a:pt x="2406491" y="275749"/>
                  </a:cubicBezTo>
                  <a:close/>
                  <a:moveTo>
                    <a:pt x="2405539" y="317659"/>
                  </a:moveTo>
                  <a:cubicBezTo>
                    <a:pt x="2406491" y="321469"/>
                    <a:pt x="2407444" y="324326"/>
                    <a:pt x="2408396" y="328136"/>
                  </a:cubicBezTo>
                  <a:cubicBezTo>
                    <a:pt x="2408396" y="330041"/>
                    <a:pt x="2408396" y="331946"/>
                    <a:pt x="2408396" y="334804"/>
                  </a:cubicBezTo>
                  <a:cubicBezTo>
                    <a:pt x="2408396" y="333851"/>
                    <a:pt x="2407444" y="332899"/>
                    <a:pt x="2407444" y="332899"/>
                  </a:cubicBezTo>
                  <a:cubicBezTo>
                    <a:pt x="2407444" y="332899"/>
                    <a:pt x="2407444" y="335756"/>
                    <a:pt x="2407444" y="340519"/>
                  </a:cubicBezTo>
                  <a:cubicBezTo>
                    <a:pt x="2406491" y="344329"/>
                    <a:pt x="2405539" y="347186"/>
                    <a:pt x="2404586" y="350996"/>
                  </a:cubicBezTo>
                  <a:cubicBezTo>
                    <a:pt x="2403634" y="355759"/>
                    <a:pt x="2401729" y="359569"/>
                    <a:pt x="2400776" y="364331"/>
                  </a:cubicBezTo>
                  <a:cubicBezTo>
                    <a:pt x="2399824" y="357664"/>
                    <a:pt x="2398871" y="350044"/>
                    <a:pt x="2398871" y="343376"/>
                  </a:cubicBezTo>
                  <a:cubicBezTo>
                    <a:pt x="2398871" y="340519"/>
                    <a:pt x="2397919" y="336709"/>
                    <a:pt x="2397919" y="333851"/>
                  </a:cubicBezTo>
                  <a:cubicBezTo>
                    <a:pt x="2397919" y="332899"/>
                    <a:pt x="2397919" y="331946"/>
                    <a:pt x="2398871" y="330994"/>
                  </a:cubicBezTo>
                  <a:cubicBezTo>
                    <a:pt x="2399824" y="325279"/>
                    <a:pt x="2402681" y="321469"/>
                    <a:pt x="2405539" y="317659"/>
                  </a:cubicBezTo>
                  <a:close/>
                  <a:moveTo>
                    <a:pt x="2398871" y="291941"/>
                  </a:moveTo>
                  <a:cubicBezTo>
                    <a:pt x="2398871" y="292894"/>
                    <a:pt x="2399824" y="293846"/>
                    <a:pt x="2399824" y="295751"/>
                  </a:cubicBezTo>
                  <a:cubicBezTo>
                    <a:pt x="2397919" y="298609"/>
                    <a:pt x="2396014" y="300514"/>
                    <a:pt x="2394109" y="303371"/>
                  </a:cubicBezTo>
                  <a:cubicBezTo>
                    <a:pt x="2394109" y="303371"/>
                    <a:pt x="2394109" y="302419"/>
                    <a:pt x="2394109" y="302419"/>
                  </a:cubicBezTo>
                  <a:cubicBezTo>
                    <a:pt x="2396014" y="298609"/>
                    <a:pt x="2397919" y="295751"/>
                    <a:pt x="2398871" y="291941"/>
                  </a:cubicBezTo>
                  <a:close/>
                  <a:moveTo>
                    <a:pt x="2393156" y="267176"/>
                  </a:moveTo>
                  <a:cubicBezTo>
                    <a:pt x="2392204" y="268129"/>
                    <a:pt x="2392204" y="269081"/>
                    <a:pt x="2391251" y="270034"/>
                  </a:cubicBezTo>
                  <a:cubicBezTo>
                    <a:pt x="2390299" y="264319"/>
                    <a:pt x="2390299" y="259556"/>
                    <a:pt x="2389346" y="254794"/>
                  </a:cubicBezTo>
                  <a:cubicBezTo>
                    <a:pt x="2391251" y="258604"/>
                    <a:pt x="2392204" y="263366"/>
                    <a:pt x="2393156" y="267176"/>
                  </a:cubicBezTo>
                  <a:close/>
                  <a:moveTo>
                    <a:pt x="2351246" y="278606"/>
                  </a:moveTo>
                  <a:cubicBezTo>
                    <a:pt x="2351246" y="277654"/>
                    <a:pt x="2351246" y="277654"/>
                    <a:pt x="2351246" y="278606"/>
                  </a:cubicBezTo>
                  <a:lnTo>
                    <a:pt x="2351246" y="275749"/>
                  </a:lnTo>
                  <a:cubicBezTo>
                    <a:pt x="2351246" y="276701"/>
                    <a:pt x="2351246" y="277654"/>
                    <a:pt x="2351246" y="278606"/>
                  </a:cubicBezTo>
                  <a:close/>
                  <a:moveTo>
                    <a:pt x="2378869" y="295751"/>
                  </a:moveTo>
                  <a:cubicBezTo>
                    <a:pt x="2377916" y="298609"/>
                    <a:pt x="2376011" y="300514"/>
                    <a:pt x="2375059" y="303371"/>
                  </a:cubicBezTo>
                  <a:cubicBezTo>
                    <a:pt x="2375059" y="304324"/>
                    <a:pt x="2374106" y="304324"/>
                    <a:pt x="2374106" y="305276"/>
                  </a:cubicBezTo>
                  <a:cubicBezTo>
                    <a:pt x="2374106" y="305276"/>
                    <a:pt x="2374106" y="304324"/>
                    <a:pt x="2374106" y="304324"/>
                  </a:cubicBezTo>
                  <a:cubicBezTo>
                    <a:pt x="2376964" y="261461"/>
                    <a:pt x="2376011" y="231934"/>
                    <a:pt x="2376011" y="231934"/>
                  </a:cubicBezTo>
                  <a:cubicBezTo>
                    <a:pt x="2376011" y="231934"/>
                    <a:pt x="2372201" y="249079"/>
                    <a:pt x="2366486" y="277654"/>
                  </a:cubicBezTo>
                  <a:cubicBezTo>
                    <a:pt x="2365534" y="275749"/>
                    <a:pt x="2365534" y="273844"/>
                    <a:pt x="2364581" y="272891"/>
                  </a:cubicBezTo>
                  <a:cubicBezTo>
                    <a:pt x="2363629" y="270034"/>
                    <a:pt x="2362676" y="267176"/>
                    <a:pt x="2361724" y="264319"/>
                  </a:cubicBezTo>
                  <a:cubicBezTo>
                    <a:pt x="2361724" y="257651"/>
                    <a:pt x="2361724" y="250984"/>
                    <a:pt x="2361724" y="245269"/>
                  </a:cubicBezTo>
                  <a:lnTo>
                    <a:pt x="2365534" y="234791"/>
                  </a:lnTo>
                  <a:lnTo>
                    <a:pt x="2376011" y="211931"/>
                  </a:lnTo>
                  <a:cubicBezTo>
                    <a:pt x="2376011" y="221456"/>
                    <a:pt x="2376011" y="232886"/>
                    <a:pt x="2376011" y="244316"/>
                  </a:cubicBezTo>
                  <a:cubicBezTo>
                    <a:pt x="2376011" y="258604"/>
                    <a:pt x="2376011" y="274796"/>
                    <a:pt x="2376964" y="290989"/>
                  </a:cubicBezTo>
                  <a:cubicBezTo>
                    <a:pt x="2378869" y="292894"/>
                    <a:pt x="2378869" y="293846"/>
                    <a:pt x="2378869" y="295751"/>
                  </a:cubicBezTo>
                  <a:close/>
                  <a:moveTo>
                    <a:pt x="2362676" y="180499"/>
                  </a:moveTo>
                  <a:cubicBezTo>
                    <a:pt x="2364581" y="175736"/>
                    <a:pt x="2366486" y="170974"/>
                    <a:pt x="2368391" y="166211"/>
                  </a:cubicBezTo>
                  <a:cubicBezTo>
                    <a:pt x="2372201" y="157639"/>
                    <a:pt x="2375059" y="149066"/>
                    <a:pt x="2377916" y="140494"/>
                  </a:cubicBezTo>
                  <a:cubicBezTo>
                    <a:pt x="2377916" y="141446"/>
                    <a:pt x="2378869" y="142399"/>
                    <a:pt x="2378869" y="143351"/>
                  </a:cubicBezTo>
                  <a:cubicBezTo>
                    <a:pt x="2379821" y="146209"/>
                    <a:pt x="2379821" y="149066"/>
                    <a:pt x="2378869" y="152876"/>
                  </a:cubicBezTo>
                  <a:cubicBezTo>
                    <a:pt x="2377916" y="149066"/>
                    <a:pt x="2377916" y="147161"/>
                    <a:pt x="2377916" y="147161"/>
                  </a:cubicBezTo>
                  <a:cubicBezTo>
                    <a:pt x="2377916" y="147161"/>
                    <a:pt x="2377916" y="156686"/>
                    <a:pt x="2377916" y="173831"/>
                  </a:cubicBezTo>
                  <a:cubicBezTo>
                    <a:pt x="2377916" y="182404"/>
                    <a:pt x="2377916" y="191929"/>
                    <a:pt x="2377916" y="203359"/>
                  </a:cubicBezTo>
                  <a:cubicBezTo>
                    <a:pt x="2373154" y="210979"/>
                    <a:pt x="2368391" y="219551"/>
                    <a:pt x="2362676" y="227171"/>
                  </a:cubicBezTo>
                  <a:cubicBezTo>
                    <a:pt x="2361724" y="206216"/>
                    <a:pt x="2361724" y="190976"/>
                    <a:pt x="2360771" y="185261"/>
                  </a:cubicBezTo>
                  <a:cubicBezTo>
                    <a:pt x="2361724" y="183356"/>
                    <a:pt x="2361724" y="182404"/>
                    <a:pt x="2362676" y="180499"/>
                  </a:cubicBezTo>
                  <a:close/>
                  <a:moveTo>
                    <a:pt x="2340769" y="241459"/>
                  </a:moveTo>
                  <a:cubicBezTo>
                    <a:pt x="2341721" y="239554"/>
                    <a:pt x="2341721" y="237649"/>
                    <a:pt x="2342674" y="235744"/>
                  </a:cubicBezTo>
                  <a:cubicBezTo>
                    <a:pt x="2344579" y="230981"/>
                    <a:pt x="2345531" y="226219"/>
                    <a:pt x="2347436" y="221456"/>
                  </a:cubicBezTo>
                  <a:cubicBezTo>
                    <a:pt x="2352199" y="210026"/>
                    <a:pt x="2356009" y="198596"/>
                    <a:pt x="2359819" y="187166"/>
                  </a:cubicBezTo>
                  <a:cubicBezTo>
                    <a:pt x="2358866" y="194786"/>
                    <a:pt x="2356961" y="212884"/>
                    <a:pt x="2355056" y="236696"/>
                  </a:cubicBezTo>
                  <a:cubicBezTo>
                    <a:pt x="2354104" y="232886"/>
                    <a:pt x="2353151" y="230029"/>
                    <a:pt x="2353151" y="230029"/>
                  </a:cubicBezTo>
                  <a:cubicBezTo>
                    <a:pt x="2353151" y="230029"/>
                    <a:pt x="2354104" y="233839"/>
                    <a:pt x="2354104" y="241459"/>
                  </a:cubicBezTo>
                  <a:cubicBezTo>
                    <a:pt x="2351246" y="247174"/>
                    <a:pt x="2347436" y="253841"/>
                    <a:pt x="2344579" y="259556"/>
                  </a:cubicBezTo>
                  <a:cubicBezTo>
                    <a:pt x="2344579" y="259556"/>
                    <a:pt x="2344579" y="259556"/>
                    <a:pt x="2344579" y="259556"/>
                  </a:cubicBezTo>
                  <a:cubicBezTo>
                    <a:pt x="2342674" y="254794"/>
                    <a:pt x="2340769" y="250031"/>
                    <a:pt x="2339816" y="245269"/>
                  </a:cubicBezTo>
                  <a:lnTo>
                    <a:pt x="2340769" y="241459"/>
                  </a:lnTo>
                  <a:close/>
                  <a:moveTo>
                    <a:pt x="2344579" y="320516"/>
                  </a:moveTo>
                  <a:cubicBezTo>
                    <a:pt x="2342674" y="316706"/>
                    <a:pt x="2340769" y="313849"/>
                    <a:pt x="2339816" y="310991"/>
                  </a:cubicBezTo>
                  <a:lnTo>
                    <a:pt x="2339816" y="310039"/>
                  </a:lnTo>
                  <a:cubicBezTo>
                    <a:pt x="2341721" y="313849"/>
                    <a:pt x="2343626" y="317659"/>
                    <a:pt x="2344579" y="320516"/>
                  </a:cubicBezTo>
                  <a:close/>
                  <a:moveTo>
                    <a:pt x="2337911" y="317659"/>
                  </a:moveTo>
                  <a:cubicBezTo>
                    <a:pt x="2338864" y="320516"/>
                    <a:pt x="2339816" y="324326"/>
                    <a:pt x="2341721" y="327184"/>
                  </a:cubicBezTo>
                  <a:lnTo>
                    <a:pt x="2336959" y="321469"/>
                  </a:lnTo>
                  <a:lnTo>
                    <a:pt x="2337911" y="317659"/>
                  </a:lnTo>
                  <a:close/>
                  <a:moveTo>
                    <a:pt x="2332196" y="280511"/>
                  </a:moveTo>
                  <a:cubicBezTo>
                    <a:pt x="2332196" y="281464"/>
                    <a:pt x="2333149" y="282416"/>
                    <a:pt x="2333149" y="283369"/>
                  </a:cubicBezTo>
                  <a:cubicBezTo>
                    <a:pt x="2333149" y="282416"/>
                    <a:pt x="2332196" y="282416"/>
                    <a:pt x="2332196" y="281464"/>
                  </a:cubicBezTo>
                  <a:lnTo>
                    <a:pt x="2332196" y="280511"/>
                  </a:lnTo>
                  <a:close/>
                  <a:moveTo>
                    <a:pt x="2330291" y="289084"/>
                  </a:moveTo>
                  <a:cubicBezTo>
                    <a:pt x="2330291" y="290036"/>
                    <a:pt x="2331244" y="290989"/>
                    <a:pt x="2331244" y="290989"/>
                  </a:cubicBezTo>
                  <a:lnTo>
                    <a:pt x="2330291" y="292894"/>
                  </a:lnTo>
                  <a:cubicBezTo>
                    <a:pt x="2330291" y="291941"/>
                    <a:pt x="2329339" y="291941"/>
                    <a:pt x="2329339" y="290989"/>
                  </a:cubicBezTo>
                  <a:lnTo>
                    <a:pt x="2330291" y="289084"/>
                  </a:lnTo>
                  <a:close/>
                  <a:moveTo>
                    <a:pt x="2329339" y="293846"/>
                  </a:moveTo>
                  <a:lnTo>
                    <a:pt x="2329339" y="292894"/>
                  </a:lnTo>
                  <a:cubicBezTo>
                    <a:pt x="2329339" y="293846"/>
                    <a:pt x="2329339" y="293846"/>
                    <a:pt x="2330291" y="294799"/>
                  </a:cubicBezTo>
                  <a:lnTo>
                    <a:pt x="2328386" y="299561"/>
                  </a:lnTo>
                  <a:cubicBezTo>
                    <a:pt x="2328386" y="299561"/>
                    <a:pt x="2328386" y="299561"/>
                    <a:pt x="2328386" y="298609"/>
                  </a:cubicBezTo>
                  <a:lnTo>
                    <a:pt x="2329339" y="293846"/>
                  </a:lnTo>
                  <a:close/>
                  <a:moveTo>
                    <a:pt x="2313146" y="194786"/>
                  </a:moveTo>
                  <a:cubicBezTo>
                    <a:pt x="2314099" y="196691"/>
                    <a:pt x="2314099" y="199549"/>
                    <a:pt x="2315051" y="201454"/>
                  </a:cubicBezTo>
                  <a:cubicBezTo>
                    <a:pt x="2315051" y="202406"/>
                    <a:pt x="2316004" y="203359"/>
                    <a:pt x="2316004" y="205264"/>
                  </a:cubicBezTo>
                  <a:cubicBezTo>
                    <a:pt x="2315051" y="208121"/>
                    <a:pt x="2314099" y="211931"/>
                    <a:pt x="2314099" y="214789"/>
                  </a:cubicBezTo>
                  <a:cubicBezTo>
                    <a:pt x="2314099" y="214789"/>
                    <a:pt x="2314099" y="214789"/>
                    <a:pt x="2314099" y="214789"/>
                  </a:cubicBezTo>
                  <a:cubicBezTo>
                    <a:pt x="2313146" y="211931"/>
                    <a:pt x="2311241" y="210026"/>
                    <a:pt x="2310289" y="207169"/>
                  </a:cubicBezTo>
                  <a:cubicBezTo>
                    <a:pt x="2311241" y="202406"/>
                    <a:pt x="2312194" y="198596"/>
                    <a:pt x="2313146" y="194786"/>
                  </a:cubicBezTo>
                  <a:close/>
                  <a:moveTo>
                    <a:pt x="2304574" y="197644"/>
                  </a:moveTo>
                  <a:cubicBezTo>
                    <a:pt x="2304574" y="198596"/>
                    <a:pt x="2305526" y="199549"/>
                    <a:pt x="2305526" y="200501"/>
                  </a:cubicBezTo>
                  <a:cubicBezTo>
                    <a:pt x="2304574" y="202406"/>
                    <a:pt x="2304574" y="204311"/>
                    <a:pt x="2303621" y="205264"/>
                  </a:cubicBezTo>
                  <a:cubicBezTo>
                    <a:pt x="2304574" y="203359"/>
                    <a:pt x="2304574" y="200501"/>
                    <a:pt x="2304574" y="197644"/>
                  </a:cubicBezTo>
                  <a:close/>
                  <a:moveTo>
                    <a:pt x="2297906" y="272891"/>
                  </a:moveTo>
                  <a:cubicBezTo>
                    <a:pt x="2298859" y="267176"/>
                    <a:pt x="2298859" y="262414"/>
                    <a:pt x="2298859" y="256699"/>
                  </a:cubicBezTo>
                  <a:cubicBezTo>
                    <a:pt x="2298859" y="254794"/>
                    <a:pt x="2299811" y="252889"/>
                    <a:pt x="2299811" y="250984"/>
                  </a:cubicBezTo>
                  <a:cubicBezTo>
                    <a:pt x="2303621" y="236696"/>
                    <a:pt x="2306479" y="223361"/>
                    <a:pt x="2308384" y="211931"/>
                  </a:cubicBezTo>
                  <a:cubicBezTo>
                    <a:pt x="2308384" y="212884"/>
                    <a:pt x="2309336" y="214789"/>
                    <a:pt x="2309336" y="215741"/>
                  </a:cubicBezTo>
                  <a:cubicBezTo>
                    <a:pt x="2310289" y="217646"/>
                    <a:pt x="2310289" y="219551"/>
                    <a:pt x="2311241" y="221456"/>
                  </a:cubicBezTo>
                  <a:cubicBezTo>
                    <a:pt x="2311241" y="221456"/>
                    <a:pt x="2311241" y="221456"/>
                    <a:pt x="2311241" y="221456"/>
                  </a:cubicBezTo>
                  <a:cubicBezTo>
                    <a:pt x="2309336" y="231934"/>
                    <a:pt x="2306479" y="242411"/>
                    <a:pt x="2304574" y="253841"/>
                  </a:cubicBezTo>
                  <a:cubicBezTo>
                    <a:pt x="2302669" y="252889"/>
                    <a:pt x="2302669" y="251936"/>
                    <a:pt x="2302669" y="251936"/>
                  </a:cubicBezTo>
                  <a:cubicBezTo>
                    <a:pt x="2302669" y="251936"/>
                    <a:pt x="2303621" y="252889"/>
                    <a:pt x="2304574" y="253841"/>
                  </a:cubicBezTo>
                  <a:cubicBezTo>
                    <a:pt x="2302669" y="260509"/>
                    <a:pt x="2301716" y="268129"/>
                    <a:pt x="2299811" y="274796"/>
                  </a:cubicBezTo>
                  <a:cubicBezTo>
                    <a:pt x="2297906" y="283369"/>
                    <a:pt x="2296001" y="291941"/>
                    <a:pt x="2294096" y="300514"/>
                  </a:cubicBezTo>
                  <a:cubicBezTo>
                    <a:pt x="2296954" y="291941"/>
                    <a:pt x="2297906" y="282416"/>
                    <a:pt x="2297906" y="272891"/>
                  </a:cubicBezTo>
                  <a:close/>
                  <a:moveTo>
                    <a:pt x="2271236" y="369094"/>
                  </a:moveTo>
                  <a:cubicBezTo>
                    <a:pt x="2271236" y="371951"/>
                    <a:pt x="2271236" y="374809"/>
                    <a:pt x="2270284" y="376714"/>
                  </a:cubicBezTo>
                  <a:lnTo>
                    <a:pt x="2270284" y="376714"/>
                  </a:lnTo>
                  <a:cubicBezTo>
                    <a:pt x="2270284" y="375761"/>
                    <a:pt x="2270284" y="373856"/>
                    <a:pt x="2270284" y="372904"/>
                  </a:cubicBezTo>
                  <a:cubicBezTo>
                    <a:pt x="2270284" y="371951"/>
                    <a:pt x="2270284" y="370046"/>
                    <a:pt x="2271236" y="369094"/>
                  </a:cubicBezTo>
                  <a:close/>
                  <a:moveTo>
                    <a:pt x="2252186" y="297656"/>
                  </a:moveTo>
                  <a:cubicBezTo>
                    <a:pt x="2252186" y="302419"/>
                    <a:pt x="2251234" y="307181"/>
                    <a:pt x="2251234" y="311944"/>
                  </a:cubicBezTo>
                  <a:cubicBezTo>
                    <a:pt x="2251234" y="310991"/>
                    <a:pt x="2250281" y="310039"/>
                    <a:pt x="2250281" y="308134"/>
                  </a:cubicBezTo>
                  <a:cubicBezTo>
                    <a:pt x="2251234" y="305276"/>
                    <a:pt x="2252186" y="301466"/>
                    <a:pt x="2252186" y="297656"/>
                  </a:cubicBezTo>
                  <a:close/>
                  <a:moveTo>
                    <a:pt x="2215991" y="252889"/>
                  </a:moveTo>
                  <a:lnTo>
                    <a:pt x="2215991" y="256699"/>
                  </a:lnTo>
                  <a:cubicBezTo>
                    <a:pt x="2215991" y="256699"/>
                    <a:pt x="2215991" y="256699"/>
                    <a:pt x="2215991" y="256699"/>
                  </a:cubicBezTo>
                  <a:cubicBezTo>
                    <a:pt x="2215039" y="255746"/>
                    <a:pt x="2215991" y="254794"/>
                    <a:pt x="2215991" y="252889"/>
                  </a:cubicBezTo>
                  <a:close/>
                  <a:moveTo>
                    <a:pt x="2211229" y="281464"/>
                  </a:moveTo>
                  <a:cubicBezTo>
                    <a:pt x="2212181" y="273844"/>
                    <a:pt x="2213134" y="267176"/>
                    <a:pt x="2214086" y="260509"/>
                  </a:cubicBezTo>
                  <a:cubicBezTo>
                    <a:pt x="2214086" y="260509"/>
                    <a:pt x="2215039" y="261461"/>
                    <a:pt x="2215039" y="261461"/>
                  </a:cubicBezTo>
                  <a:lnTo>
                    <a:pt x="2215039" y="267176"/>
                  </a:lnTo>
                  <a:cubicBezTo>
                    <a:pt x="2214086" y="277654"/>
                    <a:pt x="2213134" y="289084"/>
                    <a:pt x="2212181" y="299561"/>
                  </a:cubicBezTo>
                  <a:cubicBezTo>
                    <a:pt x="2210276" y="302419"/>
                    <a:pt x="2208371" y="306229"/>
                    <a:pt x="2206466" y="309086"/>
                  </a:cubicBezTo>
                  <a:cubicBezTo>
                    <a:pt x="2208371" y="299561"/>
                    <a:pt x="2210276" y="290036"/>
                    <a:pt x="2211229" y="281464"/>
                  </a:cubicBezTo>
                  <a:close/>
                  <a:moveTo>
                    <a:pt x="2205514" y="337661"/>
                  </a:moveTo>
                  <a:cubicBezTo>
                    <a:pt x="2205514" y="338614"/>
                    <a:pt x="2204561" y="338614"/>
                    <a:pt x="2204561" y="339566"/>
                  </a:cubicBezTo>
                  <a:cubicBezTo>
                    <a:pt x="2204561" y="339566"/>
                    <a:pt x="2204561" y="339566"/>
                    <a:pt x="2204561" y="340519"/>
                  </a:cubicBezTo>
                  <a:cubicBezTo>
                    <a:pt x="2204561" y="339566"/>
                    <a:pt x="2204561" y="338614"/>
                    <a:pt x="2205514" y="337661"/>
                  </a:cubicBezTo>
                  <a:close/>
                  <a:moveTo>
                    <a:pt x="2183606" y="336709"/>
                  </a:moveTo>
                  <a:cubicBezTo>
                    <a:pt x="2183606" y="338614"/>
                    <a:pt x="2184559" y="341471"/>
                    <a:pt x="2185511" y="345281"/>
                  </a:cubicBezTo>
                  <a:cubicBezTo>
                    <a:pt x="2185511" y="347186"/>
                    <a:pt x="2184559" y="349091"/>
                    <a:pt x="2184559" y="350044"/>
                  </a:cubicBezTo>
                  <a:cubicBezTo>
                    <a:pt x="2184559" y="347186"/>
                    <a:pt x="2183606" y="343376"/>
                    <a:pt x="2183606" y="340519"/>
                  </a:cubicBezTo>
                  <a:cubicBezTo>
                    <a:pt x="2183606" y="339566"/>
                    <a:pt x="2183606" y="338614"/>
                    <a:pt x="2183606" y="337661"/>
                  </a:cubicBezTo>
                  <a:cubicBezTo>
                    <a:pt x="2182654" y="337661"/>
                    <a:pt x="2182654" y="337661"/>
                    <a:pt x="2183606" y="336709"/>
                  </a:cubicBezTo>
                  <a:close/>
                  <a:moveTo>
                    <a:pt x="2178844" y="345281"/>
                  </a:moveTo>
                  <a:cubicBezTo>
                    <a:pt x="2178844" y="349091"/>
                    <a:pt x="2178844" y="352901"/>
                    <a:pt x="2178844" y="357664"/>
                  </a:cubicBezTo>
                  <a:cubicBezTo>
                    <a:pt x="2177891" y="355759"/>
                    <a:pt x="2176939" y="352901"/>
                    <a:pt x="2175986" y="350996"/>
                  </a:cubicBezTo>
                  <a:cubicBezTo>
                    <a:pt x="2176939" y="348139"/>
                    <a:pt x="2177891" y="346234"/>
                    <a:pt x="2178844" y="345281"/>
                  </a:cubicBezTo>
                  <a:close/>
                  <a:moveTo>
                    <a:pt x="2150269" y="278606"/>
                  </a:moveTo>
                  <a:cubicBezTo>
                    <a:pt x="2155031" y="261461"/>
                    <a:pt x="2159794" y="246221"/>
                    <a:pt x="2162651" y="232886"/>
                  </a:cubicBezTo>
                  <a:cubicBezTo>
                    <a:pt x="2162651" y="233839"/>
                    <a:pt x="2162651" y="234791"/>
                    <a:pt x="2161699" y="235744"/>
                  </a:cubicBezTo>
                  <a:cubicBezTo>
                    <a:pt x="2160746" y="241459"/>
                    <a:pt x="2158841" y="248126"/>
                    <a:pt x="2157889" y="253841"/>
                  </a:cubicBezTo>
                  <a:cubicBezTo>
                    <a:pt x="2156936" y="260509"/>
                    <a:pt x="2155984" y="267176"/>
                    <a:pt x="2154079" y="274796"/>
                  </a:cubicBezTo>
                  <a:cubicBezTo>
                    <a:pt x="2153126" y="280511"/>
                    <a:pt x="2152174" y="287179"/>
                    <a:pt x="2151221" y="293846"/>
                  </a:cubicBezTo>
                  <a:cubicBezTo>
                    <a:pt x="2149316" y="290036"/>
                    <a:pt x="2148364" y="288131"/>
                    <a:pt x="2148364" y="288131"/>
                  </a:cubicBezTo>
                  <a:cubicBezTo>
                    <a:pt x="2148364" y="288131"/>
                    <a:pt x="2149316" y="290989"/>
                    <a:pt x="2150269" y="296704"/>
                  </a:cubicBezTo>
                  <a:cubicBezTo>
                    <a:pt x="2149316" y="302419"/>
                    <a:pt x="2148364" y="309086"/>
                    <a:pt x="2147411" y="314801"/>
                  </a:cubicBezTo>
                  <a:cubicBezTo>
                    <a:pt x="2143601" y="309086"/>
                    <a:pt x="2140744" y="305276"/>
                    <a:pt x="2140744" y="305276"/>
                  </a:cubicBezTo>
                  <a:cubicBezTo>
                    <a:pt x="2145506" y="296704"/>
                    <a:pt x="2147411" y="287179"/>
                    <a:pt x="2150269" y="278606"/>
                  </a:cubicBezTo>
                  <a:close/>
                  <a:moveTo>
                    <a:pt x="2142649" y="305276"/>
                  </a:moveTo>
                  <a:cubicBezTo>
                    <a:pt x="2142649" y="306229"/>
                    <a:pt x="2144554" y="310991"/>
                    <a:pt x="2148364" y="319564"/>
                  </a:cubicBezTo>
                  <a:cubicBezTo>
                    <a:pt x="2148364" y="319564"/>
                    <a:pt x="2148364" y="320516"/>
                    <a:pt x="2148364" y="320516"/>
                  </a:cubicBezTo>
                  <a:cubicBezTo>
                    <a:pt x="2148364" y="320516"/>
                    <a:pt x="2148364" y="321469"/>
                    <a:pt x="2148364" y="321469"/>
                  </a:cubicBezTo>
                  <a:cubicBezTo>
                    <a:pt x="2147411" y="328136"/>
                    <a:pt x="2146459" y="335756"/>
                    <a:pt x="2145506" y="343376"/>
                  </a:cubicBezTo>
                  <a:cubicBezTo>
                    <a:pt x="2143601" y="336709"/>
                    <a:pt x="2141696" y="330994"/>
                    <a:pt x="2139791" y="324326"/>
                  </a:cubicBezTo>
                  <a:cubicBezTo>
                    <a:pt x="2139791" y="323374"/>
                    <a:pt x="2138839" y="321469"/>
                    <a:pt x="2138839" y="320516"/>
                  </a:cubicBezTo>
                  <a:cubicBezTo>
                    <a:pt x="2138839" y="315754"/>
                    <a:pt x="2140744" y="310991"/>
                    <a:pt x="2142649" y="305276"/>
                  </a:cubicBezTo>
                  <a:close/>
                  <a:moveTo>
                    <a:pt x="2058829" y="353854"/>
                  </a:moveTo>
                  <a:cubicBezTo>
                    <a:pt x="2057876" y="357664"/>
                    <a:pt x="2056924" y="362426"/>
                    <a:pt x="2056924" y="366236"/>
                  </a:cubicBezTo>
                  <a:cubicBezTo>
                    <a:pt x="2056924" y="364331"/>
                    <a:pt x="2055971" y="363379"/>
                    <a:pt x="2055971" y="361474"/>
                  </a:cubicBezTo>
                  <a:cubicBezTo>
                    <a:pt x="2055019" y="358616"/>
                    <a:pt x="2055019" y="355759"/>
                    <a:pt x="2054066" y="352901"/>
                  </a:cubicBezTo>
                  <a:cubicBezTo>
                    <a:pt x="2054066" y="352901"/>
                    <a:pt x="2054066" y="352901"/>
                    <a:pt x="2054066" y="351949"/>
                  </a:cubicBezTo>
                  <a:cubicBezTo>
                    <a:pt x="2055971" y="347186"/>
                    <a:pt x="2057876" y="343376"/>
                    <a:pt x="2059781" y="338614"/>
                  </a:cubicBezTo>
                  <a:cubicBezTo>
                    <a:pt x="2059781" y="340519"/>
                    <a:pt x="2060734" y="341471"/>
                    <a:pt x="2060734" y="343376"/>
                  </a:cubicBezTo>
                  <a:cubicBezTo>
                    <a:pt x="2060734" y="347186"/>
                    <a:pt x="2059781" y="350044"/>
                    <a:pt x="2058829" y="353854"/>
                  </a:cubicBezTo>
                  <a:close/>
                  <a:moveTo>
                    <a:pt x="2081689" y="350044"/>
                  </a:moveTo>
                  <a:cubicBezTo>
                    <a:pt x="2080736" y="351949"/>
                    <a:pt x="2080736" y="352901"/>
                    <a:pt x="2079784" y="354806"/>
                  </a:cubicBezTo>
                  <a:cubicBezTo>
                    <a:pt x="2078831" y="351949"/>
                    <a:pt x="2078831" y="350044"/>
                    <a:pt x="2077879" y="347186"/>
                  </a:cubicBezTo>
                  <a:cubicBezTo>
                    <a:pt x="2077879" y="346234"/>
                    <a:pt x="2077879" y="345281"/>
                    <a:pt x="2077879" y="344329"/>
                  </a:cubicBezTo>
                  <a:cubicBezTo>
                    <a:pt x="2078831" y="345281"/>
                    <a:pt x="2079784" y="346234"/>
                    <a:pt x="2080736" y="348139"/>
                  </a:cubicBezTo>
                  <a:cubicBezTo>
                    <a:pt x="2080736" y="348139"/>
                    <a:pt x="2080736" y="349091"/>
                    <a:pt x="2081689" y="350044"/>
                  </a:cubicBezTo>
                  <a:cubicBezTo>
                    <a:pt x="2081689" y="350044"/>
                    <a:pt x="2081689" y="350044"/>
                    <a:pt x="2081689" y="350044"/>
                  </a:cubicBezTo>
                  <a:close/>
                  <a:moveTo>
                    <a:pt x="2081689" y="339566"/>
                  </a:moveTo>
                  <a:cubicBezTo>
                    <a:pt x="2081689" y="340519"/>
                    <a:pt x="2081689" y="341471"/>
                    <a:pt x="2081689" y="341471"/>
                  </a:cubicBezTo>
                  <a:cubicBezTo>
                    <a:pt x="2080736" y="340519"/>
                    <a:pt x="2079784" y="338614"/>
                    <a:pt x="2078831" y="337661"/>
                  </a:cubicBezTo>
                  <a:cubicBezTo>
                    <a:pt x="2078831" y="334804"/>
                    <a:pt x="2079784" y="331946"/>
                    <a:pt x="2079784" y="330041"/>
                  </a:cubicBezTo>
                  <a:cubicBezTo>
                    <a:pt x="2080736" y="332899"/>
                    <a:pt x="2081689" y="335756"/>
                    <a:pt x="2081689" y="339566"/>
                  </a:cubicBezTo>
                  <a:cubicBezTo>
                    <a:pt x="2081689" y="338614"/>
                    <a:pt x="2081689" y="338614"/>
                    <a:pt x="2081689" y="339566"/>
                  </a:cubicBezTo>
                  <a:close/>
                  <a:moveTo>
                    <a:pt x="2085499" y="290036"/>
                  </a:moveTo>
                  <a:cubicBezTo>
                    <a:pt x="2085499" y="295751"/>
                    <a:pt x="2084546" y="301466"/>
                    <a:pt x="2084546" y="307181"/>
                  </a:cubicBezTo>
                  <a:cubicBezTo>
                    <a:pt x="2084546" y="306229"/>
                    <a:pt x="2083594" y="305276"/>
                    <a:pt x="2083594" y="303371"/>
                  </a:cubicBezTo>
                  <a:cubicBezTo>
                    <a:pt x="2084546" y="292894"/>
                    <a:pt x="2085499" y="282416"/>
                    <a:pt x="2086451" y="273844"/>
                  </a:cubicBezTo>
                  <a:cubicBezTo>
                    <a:pt x="2086451" y="271939"/>
                    <a:pt x="2086451" y="269081"/>
                    <a:pt x="2087404" y="267176"/>
                  </a:cubicBezTo>
                  <a:cubicBezTo>
                    <a:pt x="2086451" y="274796"/>
                    <a:pt x="2085499" y="282416"/>
                    <a:pt x="2085499" y="290036"/>
                  </a:cubicBezTo>
                  <a:close/>
                  <a:moveTo>
                    <a:pt x="2089309" y="180499"/>
                  </a:moveTo>
                  <a:cubicBezTo>
                    <a:pt x="2089309" y="186214"/>
                    <a:pt x="2089309" y="192881"/>
                    <a:pt x="2089309" y="200501"/>
                  </a:cubicBezTo>
                  <a:cubicBezTo>
                    <a:pt x="2088356" y="197644"/>
                    <a:pt x="2086451" y="194786"/>
                    <a:pt x="2086451" y="192881"/>
                  </a:cubicBezTo>
                  <a:cubicBezTo>
                    <a:pt x="2087404" y="188119"/>
                    <a:pt x="2088356" y="184309"/>
                    <a:pt x="2089309" y="180499"/>
                  </a:cubicBezTo>
                  <a:close/>
                  <a:moveTo>
                    <a:pt x="2072164" y="241459"/>
                  </a:moveTo>
                  <a:cubicBezTo>
                    <a:pt x="2077879" y="223361"/>
                    <a:pt x="2082641" y="207169"/>
                    <a:pt x="2086451" y="193834"/>
                  </a:cubicBezTo>
                  <a:cubicBezTo>
                    <a:pt x="2087404" y="197644"/>
                    <a:pt x="2088356" y="201454"/>
                    <a:pt x="2090261" y="207169"/>
                  </a:cubicBezTo>
                  <a:cubicBezTo>
                    <a:pt x="2090261" y="207169"/>
                    <a:pt x="2090261" y="207169"/>
                    <a:pt x="2090261" y="208121"/>
                  </a:cubicBezTo>
                  <a:cubicBezTo>
                    <a:pt x="2087404" y="221456"/>
                    <a:pt x="2081689" y="244316"/>
                    <a:pt x="2075974" y="271939"/>
                  </a:cubicBezTo>
                  <a:cubicBezTo>
                    <a:pt x="2075021" y="274796"/>
                    <a:pt x="2075021" y="278606"/>
                    <a:pt x="2074069" y="282416"/>
                  </a:cubicBezTo>
                  <a:cubicBezTo>
                    <a:pt x="2072164" y="278606"/>
                    <a:pt x="2070259" y="274796"/>
                    <a:pt x="2068354" y="271939"/>
                  </a:cubicBezTo>
                  <a:cubicBezTo>
                    <a:pt x="2067401" y="270034"/>
                    <a:pt x="2066449" y="268129"/>
                    <a:pt x="2065496" y="266224"/>
                  </a:cubicBezTo>
                  <a:cubicBezTo>
                    <a:pt x="2067401" y="257651"/>
                    <a:pt x="2069306" y="249079"/>
                    <a:pt x="2072164" y="241459"/>
                  </a:cubicBezTo>
                  <a:close/>
                  <a:moveTo>
                    <a:pt x="2062639" y="270034"/>
                  </a:moveTo>
                  <a:cubicBezTo>
                    <a:pt x="2062639" y="270986"/>
                    <a:pt x="2063591" y="271939"/>
                    <a:pt x="2063591" y="272891"/>
                  </a:cubicBezTo>
                  <a:cubicBezTo>
                    <a:pt x="2065496" y="278606"/>
                    <a:pt x="2067401" y="285274"/>
                    <a:pt x="2069306" y="292894"/>
                  </a:cubicBezTo>
                  <a:cubicBezTo>
                    <a:pt x="2069306" y="293846"/>
                    <a:pt x="2069306" y="293846"/>
                    <a:pt x="2070259" y="294799"/>
                  </a:cubicBezTo>
                  <a:cubicBezTo>
                    <a:pt x="2069306" y="299561"/>
                    <a:pt x="2068354" y="305276"/>
                    <a:pt x="2067401" y="310039"/>
                  </a:cubicBezTo>
                  <a:cubicBezTo>
                    <a:pt x="2066449" y="308134"/>
                    <a:pt x="2066449" y="305276"/>
                    <a:pt x="2065496" y="303371"/>
                  </a:cubicBezTo>
                  <a:cubicBezTo>
                    <a:pt x="2063591" y="296704"/>
                    <a:pt x="2060734" y="290036"/>
                    <a:pt x="2058829" y="284321"/>
                  </a:cubicBezTo>
                  <a:cubicBezTo>
                    <a:pt x="2059781" y="279559"/>
                    <a:pt x="2061686" y="274796"/>
                    <a:pt x="2062639" y="270034"/>
                  </a:cubicBezTo>
                  <a:close/>
                  <a:moveTo>
                    <a:pt x="2053114" y="301466"/>
                  </a:moveTo>
                  <a:cubicBezTo>
                    <a:pt x="2053114" y="303371"/>
                    <a:pt x="2054066" y="304324"/>
                    <a:pt x="2054066" y="306229"/>
                  </a:cubicBezTo>
                  <a:cubicBezTo>
                    <a:pt x="2055019" y="310991"/>
                    <a:pt x="2055971" y="315754"/>
                    <a:pt x="2056924" y="320516"/>
                  </a:cubicBezTo>
                  <a:cubicBezTo>
                    <a:pt x="2056924" y="320516"/>
                    <a:pt x="2055971" y="320516"/>
                    <a:pt x="2055971" y="320516"/>
                  </a:cubicBezTo>
                  <a:cubicBezTo>
                    <a:pt x="2051209" y="318611"/>
                    <a:pt x="2049304" y="317659"/>
                    <a:pt x="2049304" y="317659"/>
                  </a:cubicBezTo>
                  <a:cubicBezTo>
                    <a:pt x="2049304" y="317659"/>
                    <a:pt x="2051209" y="319564"/>
                    <a:pt x="2055971" y="321469"/>
                  </a:cubicBezTo>
                  <a:cubicBezTo>
                    <a:pt x="2056924" y="321469"/>
                    <a:pt x="2056924" y="322421"/>
                    <a:pt x="2057876" y="322421"/>
                  </a:cubicBezTo>
                  <a:cubicBezTo>
                    <a:pt x="2058829" y="326231"/>
                    <a:pt x="2058829" y="329089"/>
                    <a:pt x="2059781" y="332899"/>
                  </a:cubicBezTo>
                  <a:cubicBezTo>
                    <a:pt x="2057876" y="335756"/>
                    <a:pt x="2055971" y="338614"/>
                    <a:pt x="2053114" y="342424"/>
                  </a:cubicBezTo>
                  <a:cubicBezTo>
                    <a:pt x="2052161" y="335756"/>
                    <a:pt x="2050256" y="328136"/>
                    <a:pt x="2049304" y="321469"/>
                  </a:cubicBezTo>
                  <a:cubicBezTo>
                    <a:pt x="2049304" y="319564"/>
                    <a:pt x="2049304" y="317659"/>
                    <a:pt x="2049304" y="315754"/>
                  </a:cubicBezTo>
                  <a:cubicBezTo>
                    <a:pt x="2050256" y="310991"/>
                    <a:pt x="2052161" y="305276"/>
                    <a:pt x="2053114" y="301466"/>
                  </a:cubicBezTo>
                  <a:close/>
                  <a:moveTo>
                    <a:pt x="2044541" y="260509"/>
                  </a:moveTo>
                  <a:cubicBezTo>
                    <a:pt x="2044541" y="260509"/>
                    <a:pt x="2044541" y="260509"/>
                    <a:pt x="2044541" y="260509"/>
                  </a:cubicBezTo>
                  <a:cubicBezTo>
                    <a:pt x="2044541" y="260509"/>
                    <a:pt x="2044541" y="259556"/>
                    <a:pt x="2044541" y="259556"/>
                  </a:cubicBezTo>
                  <a:cubicBezTo>
                    <a:pt x="2044541" y="259556"/>
                    <a:pt x="2044541" y="259556"/>
                    <a:pt x="2044541" y="260509"/>
                  </a:cubicBezTo>
                  <a:close/>
                  <a:moveTo>
                    <a:pt x="2019776" y="188119"/>
                  </a:moveTo>
                  <a:cubicBezTo>
                    <a:pt x="2019776" y="187166"/>
                    <a:pt x="2019776" y="186214"/>
                    <a:pt x="2019776" y="185261"/>
                  </a:cubicBezTo>
                  <a:cubicBezTo>
                    <a:pt x="2019776" y="182404"/>
                    <a:pt x="2020729" y="179546"/>
                    <a:pt x="2020729" y="177641"/>
                  </a:cubicBezTo>
                  <a:cubicBezTo>
                    <a:pt x="2020729" y="180499"/>
                    <a:pt x="2020729" y="184309"/>
                    <a:pt x="2020729" y="189071"/>
                  </a:cubicBezTo>
                  <a:cubicBezTo>
                    <a:pt x="2020729" y="197644"/>
                    <a:pt x="2021681" y="208121"/>
                    <a:pt x="2021681" y="220504"/>
                  </a:cubicBezTo>
                  <a:cubicBezTo>
                    <a:pt x="2021681" y="228124"/>
                    <a:pt x="2022634" y="235744"/>
                    <a:pt x="2023586" y="244316"/>
                  </a:cubicBezTo>
                  <a:cubicBezTo>
                    <a:pt x="2023586" y="245269"/>
                    <a:pt x="2022634" y="246221"/>
                    <a:pt x="2022634" y="247174"/>
                  </a:cubicBezTo>
                  <a:cubicBezTo>
                    <a:pt x="2020729" y="238601"/>
                    <a:pt x="2018824" y="230029"/>
                    <a:pt x="2016919" y="222409"/>
                  </a:cubicBezTo>
                  <a:cubicBezTo>
                    <a:pt x="2018824" y="209074"/>
                    <a:pt x="2018824" y="197644"/>
                    <a:pt x="2019776" y="188119"/>
                  </a:cubicBezTo>
                  <a:close/>
                  <a:moveTo>
                    <a:pt x="1999774" y="298609"/>
                  </a:moveTo>
                  <a:cubicBezTo>
                    <a:pt x="1999774" y="300514"/>
                    <a:pt x="1999774" y="302419"/>
                    <a:pt x="1999774" y="304324"/>
                  </a:cubicBezTo>
                  <a:cubicBezTo>
                    <a:pt x="1998821" y="306229"/>
                    <a:pt x="1998821" y="308134"/>
                    <a:pt x="1997869" y="310039"/>
                  </a:cubicBezTo>
                  <a:cubicBezTo>
                    <a:pt x="1998821" y="306229"/>
                    <a:pt x="1999774" y="302419"/>
                    <a:pt x="1999774" y="298609"/>
                  </a:cubicBezTo>
                  <a:close/>
                  <a:moveTo>
                    <a:pt x="1992154" y="349091"/>
                  </a:moveTo>
                  <a:cubicBezTo>
                    <a:pt x="1992154" y="351949"/>
                    <a:pt x="1992154" y="355759"/>
                    <a:pt x="1992154" y="359569"/>
                  </a:cubicBezTo>
                  <a:cubicBezTo>
                    <a:pt x="1992154" y="362426"/>
                    <a:pt x="1992154" y="366236"/>
                    <a:pt x="1992154" y="369094"/>
                  </a:cubicBezTo>
                  <a:cubicBezTo>
                    <a:pt x="1991201" y="370046"/>
                    <a:pt x="1990249" y="371951"/>
                    <a:pt x="1988344" y="373856"/>
                  </a:cubicBezTo>
                  <a:cubicBezTo>
                    <a:pt x="1990249" y="365284"/>
                    <a:pt x="1991201" y="356711"/>
                    <a:pt x="1992154" y="349091"/>
                  </a:cubicBezTo>
                  <a:close/>
                  <a:moveTo>
                    <a:pt x="1987391" y="381476"/>
                  </a:moveTo>
                  <a:cubicBezTo>
                    <a:pt x="1987391" y="381476"/>
                    <a:pt x="1987391" y="381476"/>
                    <a:pt x="1987391" y="381476"/>
                  </a:cubicBezTo>
                  <a:cubicBezTo>
                    <a:pt x="1989296" y="377666"/>
                    <a:pt x="1991201" y="374809"/>
                    <a:pt x="1992154" y="372904"/>
                  </a:cubicBezTo>
                  <a:cubicBezTo>
                    <a:pt x="1992154" y="374809"/>
                    <a:pt x="1992154" y="377666"/>
                    <a:pt x="1992154" y="379571"/>
                  </a:cubicBezTo>
                  <a:cubicBezTo>
                    <a:pt x="1992154" y="381476"/>
                    <a:pt x="1991201" y="384334"/>
                    <a:pt x="1991201" y="386239"/>
                  </a:cubicBezTo>
                  <a:cubicBezTo>
                    <a:pt x="1990249" y="391001"/>
                    <a:pt x="1989296" y="395764"/>
                    <a:pt x="1988344" y="400526"/>
                  </a:cubicBezTo>
                  <a:cubicBezTo>
                    <a:pt x="1988344" y="400526"/>
                    <a:pt x="1988344" y="399574"/>
                    <a:pt x="1988344" y="399574"/>
                  </a:cubicBezTo>
                  <a:cubicBezTo>
                    <a:pt x="1987391" y="397669"/>
                    <a:pt x="1986439" y="394811"/>
                    <a:pt x="1985486" y="392906"/>
                  </a:cubicBezTo>
                  <a:cubicBezTo>
                    <a:pt x="1986439" y="389096"/>
                    <a:pt x="1986439" y="385286"/>
                    <a:pt x="1987391" y="381476"/>
                  </a:cubicBezTo>
                  <a:close/>
                  <a:moveTo>
                    <a:pt x="1968341" y="290989"/>
                  </a:moveTo>
                  <a:cubicBezTo>
                    <a:pt x="1968341" y="292894"/>
                    <a:pt x="1968341" y="294799"/>
                    <a:pt x="1967389" y="297656"/>
                  </a:cubicBezTo>
                  <a:cubicBezTo>
                    <a:pt x="1967389" y="299561"/>
                    <a:pt x="1966436" y="302419"/>
                    <a:pt x="1966436" y="305276"/>
                  </a:cubicBezTo>
                  <a:cubicBezTo>
                    <a:pt x="1966436" y="309086"/>
                    <a:pt x="1965484" y="313849"/>
                    <a:pt x="1965484" y="318611"/>
                  </a:cubicBezTo>
                  <a:cubicBezTo>
                    <a:pt x="1965484" y="313849"/>
                    <a:pt x="1964531" y="309086"/>
                    <a:pt x="1964531" y="304324"/>
                  </a:cubicBezTo>
                  <a:cubicBezTo>
                    <a:pt x="1964531" y="303371"/>
                    <a:pt x="1964531" y="301466"/>
                    <a:pt x="1964531" y="300514"/>
                  </a:cubicBezTo>
                  <a:cubicBezTo>
                    <a:pt x="1965484" y="296704"/>
                    <a:pt x="1967389" y="293846"/>
                    <a:pt x="1968341" y="290989"/>
                  </a:cubicBezTo>
                  <a:close/>
                  <a:moveTo>
                    <a:pt x="1937861" y="310039"/>
                  </a:moveTo>
                  <a:cubicBezTo>
                    <a:pt x="1937861" y="307181"/>
                    <a:pt x="1937861" y="304324"/>
                    <a:pt x="1937861" y="302419"/>
                  </a:cubicBezTo>
                  <a:cubicBezTo>
                    <a:pt x="1937861" y="300514"/>
                    <a:pt x="1937861" y="297656"/>
                    <a:pt x="1937861" y="295751"/>
                  </a:cubicBezTo>
                  <a:cubicBezTo>
                    <a:pt x="1937861" y="299561"/>
                    <a:pt x="1938814" y="302419"/>
                    <a:pt x="1938814" y="306229"/>
                  </a:cubicBezTo>
                  <a:cubicBezTo>
                    <a:pt x="1938814" y="308134"/>
                    <a:pt x="1938814" y="309086"/>
                    <a:pt x="1937861" y="310039"/>
                  </a:cubicBezTo>
                  <a:close/>
                  <a:moveTo>
                    <a:pt x="1938814" y="272891"/>
                  </a:moveTo>
                  <a:cubicBezTo>
                    <a:pt x="1937861" y="270034"/>
                    <a:pt x="1937861" y="268129"/>
                    <a:pt x="1936909" y="266224"/>
                  </a:cubicBezTo>
                  <a:cubicBezTo>
                    <a:pt x="1936909" y="264319"/>
                    <a:pt x="1936909" y="262414"/>
                    <a:pt x="1936909" y="261461"/>
                  </a:cubicBezTo>
                  <a:cubicBezTo>
                    <a:pt x="1936909" y="256699"/>
                    <a:pt x="1936909" y="250984"/>
                    <a:pt x="1936909" y="246221"/>
                  </a:cubicBezTo>
                  <a:cubicBezTo>
                    <a:pt x="1936909" y="253841"/>
                    <a:pt x="1937861" y="263366"/>
                    <a:pt x="1938814" y="272891"/>
                  </a:cubicBezTo>
                  <a:close/>
                  <a:moveTo>
                    <a:pt x="1900714" y="338614"/>
                  </a:moveTo>
                  <a:cubicBezTo>
                    <a:pt x="1900714" y="336709"/>
                    <a:pt x="1900714" y="334804"/>
                    <a:pt x="1900714" y="333851"/>
                  </a:cubicBezTo>
                  <a:cubicBezTo>
                    <a:pt x="1901666" y="331946"/>
                    <a:pt x="1901666" y="330041"/>
                    <a:pt x="1902619" y="329089"/>
                  </a:cubicBezTo>
                  <a:cubicBezTo>
                    <a:pt x="1903571" y="328136"/>
                    <a:pt x="1904524" y="326231"/>
                    <a:pt x="1904524" y="325279"/>
                  </a:cubicBezTo>
                  <a:cubicBezTo>
                    <a:pt x="1902619" y="330041"/>
                    <a:pt x="1901666" y="333851"/>
                    <a:pt x="1900714" y="338614"/>
                  </a:cubicBezTo>
                  <a:close/>
                  <a:moveTo>
                    <a:pt x="1915954" y="436721"/>
                  </a:moveTo>
                  <a:cubicBezTo>
                    <a:pt x="1915954" y="435769"/>
                    <a:pt x="1915954" y="434816"/>
                    <a:pt x="1915954" y="433864"/>
                  </a:cubicBezTo>
                  <a:cubicBezTo>
                    <a:pt x="1915954" y="433864"/>
                    <a:pt x="1915954" y="434816"/>
                    <a:pt x="1916906" y="434816"/>
                  </a:cubicBezTo>
                  <a:cubicBezTo>
                    <a:pt x="1915954" y="435769"/>
                    <a:pt x="1915954" y="436721"/>
                    <a:pt x="1915954" y="436721"/>
                  </a:cubicBezTo>
                  <a:close/>
                  <a:moveTo>
                    <a:pt x="1920716" y="401479"/>
                  </a:moveTo>
                  <a:cubicBezTo>
                    <a:pt x="1920716" y="403384"/>
                    <a:pt x="1919764" y="405289"/>
                    <a:pt x="1919764" y="407194"/>
                  </a:cubicBezTo>
                  <a:cubicBezTo>
                    <a:pt x="1918811" y="406241"/>
                    <a:pt x="1918811" y="405289"/>
                    <a:pt x="1917859" y="404336"/>
                  </a:cubicBezTo>
                  <a:cubicBezTo>
                    <a:pt x="1918811" y="402431"/>
                    <a:pt x="1919764" y="400526"/>
                    <a:pt x="1919764" y="398621"/>
                  </a:cubicBezTo>
                  <a:cubicBezTo>
                    <a:pt x="1920716" y="399574"/>
                    <a:pt x="1920716" y="400526"/>
                    <a:pt x="1920716" y="401479"/>
                  </a:cubicBezTo>
                  <a:close/>
                  <a:moveTo>
                    <a:pt x="1917859" y="331946"/>
                  </a:moveTo>
                  <a:cubicBezTo>
                    <a:pt x="1918811" y="333851"/>
                    <a:pt x="1919764" y="335756"/>
                    <a:pt x="1919764" y="337661"/>
                  </a:cubicBezTo>
                  <a:cubicBezTo>
                    <a:pt x="1919764" y="337661"/>
                    <a:pt x="1919764" y="337661"/>
                    <a:pt x="1919764" y="337661"/>
                  </a:cubicBezTo>
                  <a:cubicBezTo>
                    <a:pt x="1919764" y="337661"/>
                    <a:pt x="1918811" y="338614"/>
                    <a:pt x="1918811" y="338614"/>
                  </a:cubicBezTo>
                  <a:cubicBezTo>
                    <a:pt x="1917859" y="339566"/>
                    <a:pt x="1916906" y="340519"/>
                    <a:pt x="1916906" y="342424"/>
                  </a:cubicBezTo>
                  <a:cubicBezTo>
                    <a:pt x="1916906" y="341471"/>
                    <a:pt x="1916906" y="341471"/>
                    <a:pt x="1916906" y="341471"/>
                  </a:cubicBezTo>
                  <a:cubicBezTo>
                    <a:pt x="1916906" y="341471"/>
                    <a:pt x="1916906" y="342424"/>
                    <a:pt x="1915954" y="344329"/>
                  </a:cubicBezTo>
                  <a:cubicBezTo>
                    <a:pt x="1915954" y="344329"/>
                    <a:pt x="1915001" y="345281"/>
                    <a:pt x="1915001" y="345281"/>
                  </a:cubicBezTo>
                  <a:cubicBezTo>
                    <a:pt x="1915954" y="340519"/>
                    <a:pt x="1916906" y="335756"/>
                    <a:pt x="1917859" y="331946"/>
                  </a:cubicBezTo>
                  <a:close/>
                  <a:moveTo>
                    <a:pt x="1919764" y="360521"/>
                  </a:moveTo>
                  <a:cubicBezTo>
                    <a:pt x="1919764" y="361474"/>
                    <a:pt x="1919764" y="362426"/>
                    <a:pt x="1919764" y="364331"/>
                  </a:cubicBezTo>
                  <a:cubicBezTo>
                    <a:pt x="1917859" y="367189"/>
                    <a:pt x="1916906" y="370999"/>
                    <a:pt x="1915001" y="373856"/>
                  </a:cubicBezTo>
                  <a:cubicBezTo>
                    <a:pt x="1913096" y="378619"/>
                    <a:pt x="1910239" y="383381"/>
                    <a:pt x="1908334" y="388144"/>
                  </a:cubicBezTo>
                  <a:cubicBezTo>
                    <a:pt x="1908334" y="388144"/>
                    <a:pt x="1907381" y="387191"/>
                    <a:pt x="1907381" y="387191"/>
                  </a:cubicBezTo>
                  <a:cubicBezTo>
                    <a:pt x="1907381" y="386239"/>
                    <a:pt x="1907381" y="386239"/>
                    <a:pt x="1907381" y="385286"/>
                  </a:cubicBezTo>
                  <a:cubicBezTo>
                    <a:pt x="1908334" y="383381"/>
                    <a:pt x="1909286" y="381476"/>
                    <a:pt x="1910239" y="380524"/>
                  </a:cubicBezTo>
                  <a:cubicBezTo>
                    <a:pt x="1913096" y="372904"/>
                    <a:pt x="1916906" y="366236"/>
                    <a:pt x="1919764" y="360521"/>
                  </a:cubicBezTo>
                  <a:close/>
                  <a:moveTo>
                    <a:pt x="1910239" y="299561"/>
                  </a:moveTo>
                  <a:cubicBezTo>
                    <a:pt x="1909286" y="301466"/>
                    <a:pt x="1909286" y="303371"/>
                    <a:pt x="1908334" y="305276"/>
                  </a:cubicBezTo>
                  <a:cubicBezTo>
                    <a:pt x="1908334" y="305276"/>
                    <a:pt x="1908334" y="305276"/>
                    <a:pt x="1908334" y="305276"/>
                  </a:cubicBezTo>
                  <a:cubicBezTo>
                    <a:pt x="1909286" y="302419"/>
                    <a:pt x="1910239" y="300514"/>
                    <a:pt x="1910239" y="299561"/>
                  </a:cubicBezTo>
                  <a:close/>
                  <a:moveTo>
                    <a:pt x="1906429" y="313849"/>
                  </a:moveTo>
                  <a:cubicBezTo>
                    <a:pt x="1907381" y="311944"/>
                    <a:pt x="1907381" y="310991"/>
                    <a:pt x="1908334" y="309086"/>
                  </a:cubicBezTo>
                  <a:cubicBezTo>
                    <a:pt x="1908334" y="309086"/>
                    <a:pt x="1908334" y="309086"/>
                    <a:pt x="1908334" y="310039"/>
                  </a:cubicBezTo>
                  <a:cubicBezTo>
                    <a:pt x="1907381" y="311944"/>
                    <a:pt x="1907381" y="313849"/>
                    <a:pt x="1906429" y="315754"/>
                  </a:cubicBezTo>
                  <a:cubicBezTo>
                    <a:pt x="1906429" y="315754"/>
                    <a:pt x="1905476" y="316706"/>
                    <a:pt x="1905476" y="316706"/>
                  </a:cubicBezTo>
                  <a:cubicBezTo>
                    <a:pt x="1905476" y="314801"/>
                    <a:pt x="1905476" y="314801"/>
                    <a:pt x="1906429" y="313849"/>
                  </a:cubicBezTo>
                  <a:close/>
                  <a:moveTo>
                    <a:pt x="1893094" y="259556"/>
                  </a:moveTo>
                  <a:cubicBezTo>
                    <a:pt x="1893094" y="258604"/>
                    <a:pt x="1894046" y="257651"/>
                    <a:pt x="1894046" y="256699"/>
                  </a:cubicBezTo>
                  <a:cubicBezTo>
                    <a:pt x="1894046" y="256699"/>
                    <a:pt x="1894999" y="256699"/>
                    <a:pt x="1894999" y="256699"/>
                  </a:cubicBezTo>
                  <a:cubicBezTo>
                    <a:pt x="1896904" y="257651"/>
                    <a:pt x="1897856" y="259556"/>
                    <a:pt x="1899761" y="260509"/>
                  </a:cubicBezTo>
                  <a:lnTo>
                    <a:pt x="1904524" y="275749"/>
                  </a:lnTo>
                  <a:cubicBezTo>
                    <a:pt x="1901666" y="283369"/>
                    <a:pt x="1898809" y="290036"/>
                    <a:pt x="1895951" y="297656"/>
                  </a:cubicBezTo>
                  <a:cubicBezTo>
                    <a:pt x="1894999" y="291941"/>
                    <a:pt x="1894999" y="286226"/>
                    <a:pt x="1894046" y="281464"/>
                  </a:cubicBezTo>
                  <a:cubicBezTo>
                    <a:pt x="1894046" y="277654"/>
                    <a:pt x="1893094" y="273844"/>
                    <a:pt x="1892141" y="270034"/>
                  </a:cubicBezTo>
                  <a:cubicBezTo>
                    <a:pt x="1892141" y="270986"/>
                    <a:pt x="1893094" y="271939"/>
                    <a:pt x="1893094" y="272891"/>
                  </a:cubicBezTo>
                  <a:cubicBezTo>
                    <a:pt x="1893094" y="269081"/>
                    <a:pt x="1892141" y="264319"/>
                    <a:pt x="1893094" y="259556"/>
                  </a:cubicBezTo>
                  <a:close/>
                  <a:moveTo>
                    <a:pt x="1841659" y="297656"/>
                  </a:moveTo>
                  <a:cubicBezTo>
                    <a:pt x="1841659" y="303371"/>
                    <a:pt x="1840706" y="308134"/>
                    <a:pt x="1840706" y="313849"/>
                  </a:cubicBezTo>
                  <a:cubicBezTo>
                    <a:pt x="1839754" y="307181"/>
                    <a:pt x="1839754" y="300514"/>
                    <a:pt x="1838801" y="294799"/>
                  </a:cubicBezTo>
                  <a:cubicBezTo>
                    <a:pt x="1838801" y="292894"/>
                    <a:pt x="1838801" y="291941"/>
                    <a:pt x="1838801" y="290989"/>
                  </a:cubicBezTo>
                  <a:cubicBezTo>
                    <a:pt x="1839754" y="292894"/>
                    <a:pt x="1840706" y="294799"/>
                    <a:pt x="1841659" y="297656"/>
                  </a:cubicBezTo>
                  <a:close/>
                  <a:moveTo>
                    <a:pt x="1822609" y="363379"/>
                  </a:moveTo>
                  <a:cubicBezTo>
                    <a:pt x="1823561" y="359569"/>
                    <a:pt x="1825466" y="356711"/>
                    <a:pt x="1826419" y="353854"/>
                  </a:cubicBezTo>
                  <a:cubicBezTo>
                    <a:pt x="1826419" y="357664"/>
                    <a:pt x="1826419" y="360521"/>
                    <a:pt x="1827371" y="364331"/>
                  </a:cubicBezTo>
                  <a:cubicBezTo>
                    <a:pt x="1826419" y="365284"/>
                    <a:pt x="1824514" y="367189"/>
                    <a:pt x="1823561" y="368141"/>
                  </a:cubicBezTo>
                  <a:cubicBezTo>
                    <a:pt x="1822609" y="366236"/>
                    <a:pt x="1822609" y="365284"/>
                    <a:pt x="1822609" y="363379"/>
                  </a:cubicBezTo>
                  <a:close/>
                  <a:moveTo>
                    <a:pt x="1828324" y="403384"/>
                  </a:moveTo>
                  <a:cubicBezTo>
                    <a:pt x="1828324" y="402431"/>
                    <a:pt x="1827371" y="401479"/>
                    <a:pt x="1827371" y="400526"/>
                  </a:cubicBezTo>
                  <a:cubicBezTo>
                    <a:pt x="1826419" y="393859"/>
                    <a:pt x="1825466" y="387191"/>
                    <a:pt x="1825466" y="381476"/>
                  </a:cubicBezTo>
                  <a:cubicBezTo>
                    <a:pt x="1826419" y="379571"/>
                    <a:pt x="1827371" y="378619"/>
                    <a:pt x="1828324" y="377666"/>
                  </a:cubicBezTo>
                  <a:cubicBezTo>
                    <a:pt x="1828324" y="385286"/>
                    <a:pt x="1828324" y="391954"/>
                    <a:pt x="1829276" y="399574"/>
                  </a:cubicBezTo>
                  <a:cubicBezTo>
                    <a:pt x="1828324" y="400526"/>
                    <a:pt x="1828324" y="402431"/>
                    <a:pt x="1828324" y="403384"/>
                  </a:cubicBezTo>
                  <a:close/>
                  <a:moveTo>
                    <a:pt x="1833086" y="339566"/>
                  </a:moveTo>
                  <a:cubicBezTo>
                    <a:pt x="1833086" y="339566"/>
                    <a:pt x="1833086" y="339566"/>
                    <a:pt x="1833086" y="339566"/>
                  </a:cubicBezTo>
                  <a:cubicBezTo>
                    <a:pt x="1833086" y="339566"/>
                    <a:pt x="1833086" y="340519"/>
                    <a:pt x="1833086" y="340519"/>
                  </a:cubicBezTo>
                  <a:cubicBezTo>
                    <a:pt x="1833086" y="340519"/>
                    <a:pt x="1833086" y="339566"/>
                    <a:pt x="1833086" y="339566"/>
                  </a:cubicBezTo>
                  <a:close/>
                  <a:moveTo>
                    <a:pt x="1824514" y="272891"/>
                  </a:moveTo>
                  <a:cubicBezTo>
                    <a:pt x="1824514" y="269081"/>
                    <a:pt x="1824514" y="266224"/>
                    <a:pt x="1824514" y="263366"/>
                  </a:cubicBezTo>
                  <a:cubicBezTo>
                    <a:pt x="1827371" y="269081"/>
                    <a:pt x="1831181" y="276701"/>
                    <a:pt x="1835944" y="285274"/>
                  </a:cubicBezTo>
                  <a:cubicBezTo>
                    <a:pt x="1835944" y="288131"/>
                    <a:pt x="1835944" y="290989"/>
                    <a:pt x="1834991" y="294799"/>
                  </a:cubicBezTo>
                  <a:cubicBezTo>
                    <a:pt x="1834991" y="302419"/>
                    <a:pt x="1834039" y="310991"/>
                    <a:pt x="1834039" y="320516"/>
                  </a:cubicBezTo>
                  <a:cubicBezTo>
                    <a:pt x="1834039" y="323374"/>
                    <a:pt x="1834039" y="327184"/>
                    <a:pt x="1834039" y="330994"/>
                  </a:cubicBezTo>
                  <a:cubicBezTo>
                    <a:pt x="1834039" y="330994"/>
                    <a:pt x="1833086" y="330994"/>
                    <a:pt x="1833086" y="331946"/>
                  </a:cubicBezTo>
                  <a:cubicBezTo>
                    <a:pt x="1833086" y="331946"/>
                    <a:pt x="1832134" y="332899"/>
                    <a:pt x="1832134" y="332899"/>
                  </a:cubicBezTo>
                  <a:cubicBezTo>
                    <a:pt x="1830229" y="326231"/>
                    <a:pt x="1829276" y="321469"/>
                    <a:pt x="1827371" y="316706"/>
                  </a:cubicBezTo>
                  <a:cubicBezTo>
                    <a:pt x="1825466" y="310991"/>
                    <a:pt x="1823561" y="306229"/>
                    <a:pt x="1822609" y="303371"/>
                  </a:cubicBezTo>
                  <a:cubicBezTo>
                    <a:pt x="1823561" y="292894"/>
                    <a:pt x="1823561" y="282416"/>
                    <a:pt x="1824514" y="272891"/>
                  </a:cubicBezTo>
                  <a:close/>
                  <a:moveTo>
                    <a:pt x="1822609" y="309086"/>
                  </a:moveTo>
                  <a:cubicBezTo>
                    <a:pt x="1822609" y="311944"/>
                    <a:pt x="1823561" y="314801"/>
                    <a:pt x="1823561" y="317659"/>
                  </a:cubicBezTo>
                  <a:cubicBezTo>
                    <a:pt x="1824514" y="323374"/>
                    <a:pt x="1824514" y="330994"/>
                    <a:pt x="1825466" y="338614"/>
                  </a:cubicBezTo>
                  <a:cubicBezTo>
                    <a:pt x="1825466" y="339566"/>
                    <a:pt x="1825466" y="340519"/>
                    <a:pt x="1825466" y="340519"/>
                  </a:cubicBezTo>
                  <a:cubicBezTo>
                    <a:pt x="1823561" y="342424"/>
                    <a:pt x="1822609" y="345281"/>
                    <a:pt x="1820704" y="348139"/>
                  </a:cubicBezTo>
                  <a:cubicBezTo>
                    <a:pt x="1820704" y="343376"/>
                    <a:pt x="1820704" y="337661"/>
                    <a:pt x="1820704" y="332899"/>
                  </a:cubicBezTo>
                  <a:cubicBezTo>
                    <a:pt x="1820704" y="332899"/>
                    <a:pt x="1820704" y="332899"/>
                    <a:pt x="1820704" y="331946"/>
                  </a:cubicBezTo>
                  <a:cubicBezTo>
                    <a:pt x="1821656" y="324326"/>
                    <a:pt x="1821656" y="316706"/>
                    <a:pt x="1822609" y="309086"/>
                  </a:cubicBezTo>
                  <a:close/>
                  <a:moveTo>
                    <a:pt x="1763554" y="411956"/>
                  </a:moveTo>
                  <a:cubicBezTo>
                    <a:pt x="1763554" y="410051"/>
                    <a:pt x="1762601" y="408146"/>
                    <a:pt x="1762601" y="406241"/>
                  </a:cubicBezTo>
                  <a:cubicBezTo>
                    <a:pt x="1762601" y="403384"/>
                    <a:pt x="1761649" y="400526"/>
                    <a:pt x="1761649" y="397669"/>
                  </a:cubicBezTo>
                  <a:cubicBezTo>
                    <a:pt x="1761649" y="397669"/>
                    <a:pt x="1761649" y="397669"/>
                    <a:pt x="1761649" y="397669"/>
                  </a:cubicBezTo>
                  <a:cubicBezTo>
                    <a:pt x="1762601" y="398621"/>
                    <a:pt x="1763554" y="399574"/>
                    <a:pt x="1764506" y="400526"/>
                  </a:cubicBezTo>
                  <a:cubicBezTo>
                    <a:pt x="1764506" y="404336"/>
                    <a:pt x="1764506" y="408146"/>
                    <a:pt x="1763554" y="411956"/>
                  </a:cubicBezTo>
                  <a:close/>
                  <a:moveTo>
                    <a:pt x="1766411" y="379571"/>
                  </a:moveTo>
                  <a:cubicBezTo>
                    <a:pt x="1766411" y="379571"/>
                    <a:pt x="1766411" y="379571"/>
                    <a:pt x="1766411" y="379571"/>
                  </a:cubicBezTo>
                  <a:cubicBezTo>
                    <a:pt x="1766411" y="378619"/>
                    <a:pt x="1766411" y="377666"/>
                    <a:pt x="1766411" y="377666"/>
                  </a:cubicBezTo>
                  <a:cubicBezTo>
                    <a:pt x="1766411" y="378619"/>
                    <a:pt x="1766411" y="379571"/>
                    <a:pt x="1766411" y="379571"/>
                  </a:cubicBezTo>
                  <a:close/>
                  <a:moveTo>
                    <a:pt x="1792129" y="251936"/>
                  </a:moveTo>
                  <a:lnTo>
                    <a:pt x="1802606" y="219551"/>
                  </a:lnTo>
                  <a:cubicBezTo>
                    <a:pt x="1802606" y="219551"/>
                    <a:pt x="1802606" y="219551"/>
                    <a:pt x="1802606" y="219551"/>
                  </a:cubicBezTo>
                  <a:cubicBezTo>
                    <a:pt x="1802606" y="237649"/>
                    <a:pt x="1801654" y="255746"/>
                    <a:pt x="1801654" y="274796"/>
                  </a:cubicBezTo>
                  <a:cubicBezTo>
                    <a:pt x="1801654" y="291941"/>
                    <a:pt x="1800701" y="309086"/>
                    <a:pt x="1800701" y="327184"/>
                  </a:cubicBezTo>
                  <a:cubicBezTo>
                    <a:pt x="1798796" y="321469"/>
                    <a:pt x="1796891" y="315754"/>
                    <a:pt x="1794034" y="310991"/>
                  </a:cubicBezTo>
                  <a:cubicBezTo>
                    <a:pt x="1792129" y="305276"/>
                    <a:pt x="1790224" y="299561"/>
                    <a:pt x="1788319" y="294799"/>
                  </a:cubicBezTo>
                  <a:cubicBezTo>
                    <a:pt x="1788319" y="293846"/>
                    <a:pt x="1787366" y="292894"/>
                    <a:pt x="1787366" y="292894"/>
                  </a:cubicBezTo>
                  <a:cubicBezTo>
                    <a:pt x="1787366" y="290989"/>
                    <a:pt x="1786414" y="289084"/>
                    <a:pt x="1786414" y="287179"/>
                  </a:cubicBezTo>
                  <a:cubicBezTo>
                    <a:pt x="1787366" y="284321"/>
                    <a:pt x="1788319" y="282416"/>
                    <a:pt x="1788319" y="279559"/>
                  </a:cubicBezTo>
                  <a:cubicBezTo>
                    <a:pt x="1788319" y="278606"/>
                    <a:pt x="1788319" y="277654"/>
                    <a:pt x="1787366" y="275749"/>
                  </a:cubicBezTo>
                  <a:cubicBezTo>
                    <a:pt x="1787366" y="274796"/>
                    <a:pt x="1785461" y="274796"/>
                    <a:pt x="1785461" y="274796"/>
                  </a:cubicBezTo>
                  <a:cubicBezTo>
                    <a:pt x="1785461" y="274796"/>
                    <a:pt x="1785461" y="274796"/>
                    <a:pt x="1785461" y="274796"/>
                  </a:cubicBezTo>
                  <a:lnTo>
                    <a:pt x="1792129" y="251936"/>
                  </a:lnTo>
                  <a:close/>
                  <a:moveTo>
                    <a:pt x="1785461" y="276701"/>
                  </a:moveTo>
                  <a:cubicBezTo>
                    <a:pt x="1785461" y="276701"/>
                    <a:pt x="1786414" y="277654"/>
                    <a:pt x="1786414" y="278606"/>
                  </a:cubicBezTo>
                  <a:cubicBezTo>
                    <a:pt x="1786414" y="279559"/>
                    <a:pt x="1786414" y="281464"/>
                    <a:pt x="1786414" y="282416"/>
                  </a:cubicBezTo>
                  <a:cubicBezTo>
                    <a:pt x="1785461" y="280511"/>
                    <a:pt x="1785461" y="278606"/>
                    <a:pt x="1785461" y="276701"/>
                  </a:cubicBezTo>
                  <a:cubicBezTo>
                    <a:pt x="1785461" y="276701"/>
                    <a:pt x="1785461" y="276701"/>
                    <a:pt x="1785461" y="276701"/>
                  </a:cubicBezTo>
                  <a:close/>
                  <a:moveTo>
                    <a:pt x="1776889" y="330994"/>
                  </a:moveTo>
                  <a:cubicBezTo>
                    <a:pt x="1779746" y="345281"/>
                    <a:pt x="1782604" y="360521"/>
                    <a:pt x="1785461" y="376714"/>
                  </a:cubicBezTo>
                  <a:cubicBezTo>
                    <a:pt x="1785461" y="379571"/>
                    <a:pt x="1786414" y="382429"/>
                    <a:pt x="1786414" y="385286"/>
                  </a:cubicBezTo>
                  <a:cubicBezTo>
                    <a:pt x="1785461" y="384334"/>
                    <a:pt x="1785461" y="383381"/>
                    <a:pt x="1784509" y="382429"/>
                  </a:cubicBezTo>
                  <a:cubicBezTo>
                    <a:pt x="1785461" y="377666"/>
                    <a:pt x="1785461" y="374809"/>
                    <a:pt x="1785461" y="374809"/>
                  </a:cubicBezTo>
                  <a:cubicBezTo>
                    <a:pt x="1785461" y="374809"/>
                    <a:pt x="1784509" y="376714"/>
                    <a:pt x="1783556" y="380524"/>
                  </a:cubicBezTo>
                  <a:cubicBezTo>
                    <a:pt x="1781651" y="376714"/>
                    <a:pt x="1778794" y="373856"/>
                    <a:pt x="1776889" y="370999"/>
                  </a:cubicBezTo>
                  <a:cubicBezTo>
                    <a:pt x="1776889" y="357664"/>
                    <a:pt x="1776889" y="346234"/>
                    <a:pt x="1776889" y="337661"/>
                  </a:cubicBezTo>
                  <a:cubicBezTo>
                    <a:pt x="1775936" y="334804"/>
                    <a:pt x="1775936" y="332899"/>
                    <a:pt x="1776889" y="330994"/>
                  </a:cubicBezTo>
                  <a:close/>
                  <a:moveTo>
                    <a:pt x="1755934" y="211931"/>
                  </a:moveTo>
                  <a:cubicBezTo>
                    <a:pt x="1756886" y="215741"/>
                    <a:pt x="1758791" y="223361"/>
                    <a:pt x="1761649" y="233839"/>
                  </a:cubicBezTo>
                  <a:cubicBezTo>
                    <a:pt x="1761649" y="234791"/>
                    <a:pt x="1762601" y="236696"/>
                    <a:pt x="1762601" y="238601"/>
                  </a:cubicBezTo>
                  <a:cubicBezTo>
                    <a:pt x="1761649" y="237649"/>
                    <a:pt x="1761649" y="235744"/>
                    <a:pt x="1760696" y="234791"/>
                  </a:cubicBezTo>
                  <a:cubicBezTo>
                    <a:pt x="1759744" y="232886"/>
                    <a:pt x="1759744" y="230981"/>
                    <a:pt x="1759744" y="230981"/>
                  </a:cubicBezTo>
                  <a:cubicBezTo>
                    <a:pt x="1759744" y="230981"/>
                    <a:pt x="1759744" y="231934"/>
                    <a:pt x="1759744" y="232886"/>
                  </a:cubicBezTo>
                  <a:cubicBezTo>
                    <a:pt x="1758791" y="230981"/>
                    <a:pt x="1757839" y="229076"/>
                    <a:pt x="1756886" y="227171"/>
                  </a:cubicBezTo>
                  <a:cubicBezTo>
                    <a:pt x="1755934" y="226219"/>
                    <a:pt x="1755934" y="225266"/>
                    <a:pt x="1754981" y="223361"/>
                  </a:cubicBezTo>
                  <a:cubicBezTo>
                    <a:pt x="1755934" y="219551"/>
                    <a:pt x="1755934" y="215741"/>
                    <a:pt x="1755934" y="211931"/>
                  </a:cubicBezTo>
                  <a:close/>
                  <a:moveTo>
                    <a:pt x="1754981" y="232886"/>
                  </a:moveTo>
                  <a:cubicBezTo>
                    <a:pt x="1754981" y="233839"/>
                    <a:pt x="1755934" y="234791"/>
                    <a:pt x="1755934" y="235744"/>
                  </a:cubicBezTo>
                  <a:cubicBezTo>
                    <a:pt x="1755934" y="236696"/>
                    <a:pt x="1754981" y="237649"/>
                    <a:pt x="1754981" y="240506"/>
                  </a:cubicBezTo>
                  <a:cubicBezTo>
                    <a:pt x="1754981" y="237649"/>
                    <a:pt x="1754981" y="234791"/>
                    <a:pt x="1754981" y="232886"/>
                  </a:cubicBezTo>
                  <a:close/>
                  <a:moveTo>
                    <a:pt x="1754029" y="281464"/>
                  </a:moveTo>
                  <a:cubicBezTo>
                    <a:pt x="1754029" y="270986"/>
                    <a:pt x="1754029" y="261461"/>
                    <a:pt x="1754981" y="252889"/>
                  </a:cubicBezTo>
                  <a:cubicBezTo>
                    <a:pt x="1755934" y="244316"/>
                    <a:pt x="1756886" y="238601"/>
                    <a:pt x="1756886" y="236696"/>
                  </a:cubicBezTo>
                  <a:cubicBezTo>
                    <a:pt x="1758791" y="242411"/>
                    <a:pt x="1761649" y="250031"/>
                    <a:pt x="1763554" y="256699"/>
                  </a:cubicBezTo>
                  <a:cubicBezTo>
                    <a:pt x="1764506" y="265271"/>
                    <a:pt x="1766411" y="274796"/>
                    <a:pt x="1768316" y="286226"/>
                  </a:cubicBezTo>
                  <a:cubicBezTo>
                    <a:pt x="1763554" y="298609"/>
                    <a:pt x="1758791" y="310991"/>
                    <a:pt x="1754981" y="322421"/>
                  </a:cubicBezTo>
                  <a:cubicBezTo>
                    <a:pt x="1754981" y="320516"/>
                    <a:pt x="1754981" y="318611"/>
                    <a:pt x="1754029" y="317659"/>
                  </a:cubicBezTo>
                  <a:cubicBezTo>
                    <a:pt x="1754029" y="317659"/>
                    <a:pt x="1754029" y="316706"/>
                    <a:pt x="1754029" y="316706"/>
                  </a:cubicBezTo>
                  <a:cubicBezTo>
                    <a:pt x="1754029" y="303371"/>
                    <a:pt x="1754029" y="291941"/>
                    <a:pt x="1754029" y="281464"/>
                  </a:cubicBezTo>
                  <a:close/>
                  <a:moveTo>
                    <a:pt x="1687354" y="295751"/>
                  </a:moveTo>
                  <a:cubicBezTo>
                    <a:pt x="1686401" y="302419"/>
                    <a:pt x="1685449" y="309086"/>
                    <a:pt x="1685449" y="314801"/>
                  </a:cubicBezTo>
                  <a:cubicBezTo>
                    <a:pt x="1685449" y="318611"/>
                    <a:pt x="1684496" y="321469"/>
                    <a:pt x="1684496" y="325279"/>
                  </a:cubicBezTo>
                  <a:cubicBezTo>
                    <a:pt x="1683544" y="320516"/>
                    <a:pt x="1682591" y="316706"/>
                    <a:pt x="1681639" y="311944"/>
                  </a:cubicBezTo>
                  <a:cubicBezTo>
                    <a:pt x="1681639" y="310039"/>
                    <a:pt x="1681639" y="309086"/>
                    <a:pt x="1681639" y="309086"/>
                  </a:cubicBezTo>
                  <a:cubicBezTo>
                    <a:pt x="1681639" y="309086"/>
                    <a:pt x="1681639" y="309086"/>
                    <a:pt x="1681639" y="310039"/>
                  </a:cubicBezTo>
                  <a:cubicBezTo>
                    <a:pt x="1681639" y="309086"/>
                    <a:pt x="1680686" y="307181"/>
                    <a:pt x="1680686" y="306229"/>
                  </a:cubicBezTo>
                  <a:cubicBezTo>
                    <a:pt x="1680686" y="305276"/>
                    <a:pt x="1680686" y="304324"/>
                    <a:pt x="1681639" y="303371"/>
                  </a:cubicBezTo>
                  <a:cubicBezTo>
                    <a:pt x="1682591" y="300514"/>
                    <a:pt x="1683544" y="297656"/>
                    <a:pt x="1684496" y="295751"/>
                  </a:cubicBezTo>
                  <a:cubicBezTo>
                    <a:pt x="1686401" y="290989"/>
                    <a:pt x="1687354" y="287179"/>
                    <a:pt x="1689259" y="282416"/>
                  </a:cubicBezTo>
                  <a:cubicBezTo>
                    <a:pt x="1687354" y="287179"/>
                    <a:pt x="1687354" y="291941"/>
                    <a:pt x="1687354" y="295751"/>
                  </a:cubicBezTo>
                  <a:close/>
                  <a:moveTo>
                    <a:pt x="1678781" y="276701"/>
                  </a:moveTo>
                  <a:cubicBezTo>
                    <a:pt x="1680686" y="266224"/>
                    <a:pt x="1682591" y="255746"/>
                    <a:pt x="1684496" y="245269"/>
                  </a:cubicBezTo>
                  <a:cubicBezTo>
                    <a:pt x="1685449" y="250031"/>
                    <a:pt x="1686401" y="254794"/>
                    <a:pt x="1686401" y="259556"/>
                  </a:cubicBezTo>
                  <a:cubicBezTo>
                    <a:pt x="1686401" y="262414"/>
                    <a:pt x="1686401" y="265271"/>
                    <a:pt x="1686401" y="268129"/>
                  </a:cubicBezTo>
                  <a:cubicBezTo>
                    <a:pt x="1686401" y="269081"/>
                    <a:pt x="1686401" y="270034"/>
                    <a:pt x="1686401" y="270986"/>
                  </a:cubicBezTo>
                  <a:cubicBezTo>
                    <a:pt x="1682591" y="276701"/>
                    <a:pt x="1679734" y="284321"/>
                    <a:pt x="1675924" y="292894"/>
                  </a:cubicBezTo>
                  <a:cubicBezTo>
                    <a:pt x="1675924" y="292894"/>
                    <a:pt x="1675924" y="291941"/>
                    <a:pt x="1675924" y="291941"/>
                  </a:cubicBezTo>
                  <a:cubicBezTo>
                    <a:pt x="1676876" y="287179"/>
                    <a:pt x="1677829" y="283369"/>
                    <a:pt x="1678781" y="278606"/>
                  </a:cubicBezTo>
                  <a:cubicBezTo>
                    <a:pt x="1679734" y="276701"/>
                    <a:pt x="1679734" y="275749"/>
                    <a:pt x="1679734" y="275749"/>
                  </a:cubicBezTo>
                  <a:cubicBezTo>
                    <a:pt x="1679734" y="275749"/>
                    <a:pt x="1679734" y="275749"/>
                    <a:pt x="1678781" y="276701"/>
                  </a:cubicBezTo>
                  <a:close/>
                  <a:moveTo>
                    <a:pt x="1677829" y="199549"/>
                  </a:moveTo>
                  <a:cubicBezTo>
                    <a:pt x="1677829" y="201454"/>
                    <a:pt x="1677829" y="202406"/>
                    <a:pt x="1678781" y="204311"/>
                  </a:cubicBezTo>
                  <a:cubicBezTo>
                    <a:pt x="1677829" y="207169"/>
                    <a:pt x="1676876" y="210979"/>
                    <a:pt x="1676876" y="213836"/>
                  </a:cubicBezTo>
                  <a:cubicBezTo>
                    <a:pt x="1676876" y="209074"/>
                    <a:pt x="1676876" y="204311"/>
                    <a:pt x="1677829" y="199549"/>
                  </a:cubicBezTo>
                  <a:close/>
                  <a:moveTo>
                    <a:pt x="1640681" y="226219"/>
                  </a:moveTo>
                  <a:cubicBezTo>
                    <a:pt x="1643539" y="233839"/>
                    <a:pt x="1646396" y="244316"/>
                    <a:pt x="1649254" y="254794"/>
                  </a:cubicBezTo>
                  <a:cubicBezTo>
                    <a:pt x="1651159" y="260509"/>
                    <a:pt x="1652111" y="267176"/>
                    <a:pt x="1654016" y="274796"/>
                  </a:cubicBezTo>
                  <a:cubicBezTo>
                    <a:pt x="1654016" y="276701"/>
                    <a:pt x="1653064" y="279559"/>
                    <a:pt x="1653064" y="281464"/>
                  </a:cubicBezTo>
                  <a:cubicBezTo>
                    <a:pt x="1653064" y="280511"/>
                    <a:pt x="1652111" y="279559"/>
                    <a:pt x="1652111" y="279559"/>
                  </a:cubicBezTo>
                  <a:cubicBezTo>
                    <a:pt x="1652111" y="279559"/>
                    <a:pt x="1652111" y="280511"/>
                    <a:pt x="1652111" y="282416"/>
                  </a:cubicBezTo>
                  <a:cubicBezTo>
                    <a:pt x="1651159" y="288131"/>
                    <a:pt x="1650206" y="293846"/>
                    <a:pt x="1649254" y="300514"/>
                  </a:cubicBezTo>
                  <a:cubicBezTo>
                    <a:pt x="1646396" y="293846"/>
                    <a:pt x="1644491" y="288131"/>
                    <a:pt x="1641634" y="281464"/>
                  </a:cubicBezTo>
                  <a:cubicBezTo>
                    <a:pt x="1642586" y="280511"/>
                    <a:pt x="1642586" y="280511"/>
                    <a:pt x="1643539" y="279559"/>
                  </a:cubicBezTo>
                  <a:cubicBezTo>
                    <a:pt x="1644491" y="278606"/>
                    <a:pt x="1646396" y="277654"/>
                    <a:pt x="1647349" y="277654"/>
                  </a:cubicBezTo>
                  <a:cubicBezTo>
                    <a:pt x="1651159" y="274796"/>
                    <a:pt x="1654016" y="273844"/>
                    <a:pt x="1654016" y="273844"/>
                  </a:cubicBezTo>
                  <a:cubicBezTo>
                    <a:pt x="1654016" y="273844"/>
                    <a:pt x="1652111" y="274796"/>
                    <a:pt x="1647349" y="276701"/>
                  </a:cubicBezTo>
                  <a:cubicBezTo>
                    <a:pt x="1646396" y="277654"/>
                    <a:pt x="1645444" y="277654"/>
                    <a:pt x="1643539" y="278606"/>
                  </a:cubicBezTo>
                  <a:cubicBezTo>
                    <a:pt x="1643539" y="278606"/>
                    <a:pt x="1642586" y="279559"/>
                    <a:pt x="1642586" y="279559"/>
                  </a:cubicBezTo>
                  <a:cubicBezTo>
                    <a:pt x="1642586" y="271939"/>
                    <a:pt x="1642586" y="263366"/>
                    <a:pt x="1642586" y="255746"/>
                  </a:cubicBezTo>
                  <a:cubicBezTo>
                    <a:pt x="1640681" y="246221"/>
                    <a:pt x="1640681" y="235744"/>
                    <a:pt x="1640681" y="226219"/>
                  </a:cubicBezTo>
                  <a:cubicBezTo>
                    <a:pt x="1639729" y="226219"/>
                    <a:pt x="1639729" y="226219"/>
                    <a:pt x="1640681" y="226219"/>
                  </a:cubicBezTo>
                  <a:close/>
                  <a:moveTo>
                    <a:pt x="1620679" y="348139"/>
                  </a:moveTo>
                  <a:cubicBezTo>
                    <a:pt x="1620679" y="349091"/>
                    <a:pt x="1620679" y="350044"/>
                    <a:pt x="1620679" y="351949"/>
                  </a:cubicBezTo>
                  <a:cubicBezTo>
                    <a:pt x="1620679" y="352901"/>
                    <a:pt x="1620679" y="353854"/>
                    <a:pt x="1620679" y="353854"/>
                  </a:cubicBezTo>
                  <a:cubicBezTo>
                    <a:pt x="1619726" y="354806"/>
                    <a:pt x="1619726" y="355759"/>
                    <a:pt x="1618774" y="356711"/>
                  </a:cubicBezTo>
                  <a:cubicBezTo>
                    <a:pt x="1619726" y="353854"/>
                    <a:pt x="1620679" y="350044"/>
                    <a:pt x="1620679" y="348139"/>
                  </a:cubicBezTo>
                  <a:close/>
                  <a:moveTo>
                    <a:pt x="1618774" y="311944"/>
                  </a:moveTo>
                  <a:cubicBezTo>
                    <a:pt x="1617821" y="312896"/>
                    <a:pt x="1617821" y="313849"/>
                    <a:pt x="1616869" y="315754"/>
                  </a:cubicBezTo>
                  <a:cubicBezTo>
                    <a:pt x="1613059" y="323374"/>
                    <a:pt x="1609249" y="332899"/>
                    <a:pt x="1605439" y="343376"/>
                  </a:cubicBezTo>
                  <a:cubicBezTo>
                    <a:pt x="1604486" y="345281"/>
                    <a:pt x="1603534" y="348139"/>
                    <a:pt x="1602581" y="350996"/>
                  </a:cubicBezTo>
                  <a:cubicBezTo>
                    <a:pt x="1602581" y="348139"/>
                    <a:pt x="1602581" y="345281"/>
                    <a:pt x="1602581" y="342424"/>
                  </a:cubicBezTo>
                  <a:cubicBezTo>
                    <a:pt x="1605439" y="334804"/>
                    <a:pt x="1609249" y="328136"/>
                    <a:pt x="1613059" y="321469"/>
                  </a:cubicBezTo>
                  <a:cubicBezTo>
                    <a:pt x="1614964" y="317659"/>
                    <a:pt x="1617821" y="313849"/>
                    <a:pt x="1619726" y="310039"/>
                  </a:cubicBezTo>
                  <a:cubicBezTo>
                    <a:pt x="1618774" y="310991"/>
                    <a:pt x="1618774" y="310991"/>
                    <a:pt x="1618774" y="311944"/>
                  </a:cubicBezTo>
                  <a:close/>
                  <a:moveTo>
                    <a:pt x="1610201" y="269081"/>
                  </a:moveTo>
                  <a:cubicBezTo>
                    <a:pt x="1612106" y="265271"/>
                    <a:pt x="1613059" y="261461"/>
                    <a:pt x="1614011" y="258604"/>
                  </a:cubicBezTo>
                  <a:cubicBezTo>
                    <a:pt x="1614964" y="256699"/>
                    <a:pt x="1615916" y="254794"/>
                    <a:pt x="1616869" y="252889"/>
                  </a:cubicBezTo>
                  <a:cubicBezTo>
                    <a:pt x="1616869" y="264319"/>
                    <a:pt x="1617821" y="277654"/>
                    <a:pt x="1617821" y="292894"/>
                  </a:cubicBezTo>
                  <a:cubicBezTo>
                    <a:pt x="1617821" y="292894"/>
                    <a:pt x="1617821" y="293846"/>
                    <a:pt x="1617821" y="293846"/>
                  </a:cubicBezTo>
                  <a:cubicBezTo>
                    <a:pt x="1616869" y="291941"/>
                    <a:pt x="1615916" y="290036"/>
                    <a:pt x="1614011" y="289084"/>
                  </a:cubicBezTo>
                  <a:cubicBezTo>
                    <a:pt x="1611154" y="284321"/>
                    <a:pt x="1608296" y="280511"/>
                    <a:pt x="1606391" y="277654"/>
                  </a:cubicBezTo>
                  <a:cubicBezTo>
                    <a:pt x="1608296" y="274796"/>
                    <a:pt x="1609249" y="271939"/>
                    <a:pt x="1610201" y="269081"/>
                  </a:cubicBezTo>
                  <a:close/>
                  <a:moveTo>
                    <a:pt x="1600676" y="297656"/>
                  </a:moveTo>
                  <a:cubicBezTo>
                    <a:pt x="1602581" y="290989"/>
                    <a:pt x="1604486" y="285274"/>
                    <a:pt x="1606391" y="279559"/>
                  </a:cubicBezTo>
                  <a:cubicBezTo>
                    <a:pt x="1607344" y="282416"/>
                    <a:pt x="1609249" y="286226"/>
                    <a:pt x="1611154" y="290989"/>
                  </a:cubicBezTo>
                  <a:cubicBezTo>
                    <a:pt x="1613059" y="294799"/>
                    <a:pt x="1614964" y="298609"/>
                    <a:pt x="1616869" y="303371"/>
                  </a:cubicBezTo>
                  <a:cubicBezTo>
                    <a:pt x="1613059" y="307181"/>
                    <a:pt x="1610201" y="312896"/>
                    <a:pt x="1606391" y="317659"/>
                  </a:cubicBezTo>
                  <a:cubicBezTo>
                    <a:pt x="1604486" y="320516"/>
                    <a:pt x="1602581" y="322421"/>
                    <a:pt x="1601629" y="325279"/>
                  </a:cubicBezTo>
                  <a:cubicBezTo>
                    <a:pt x="1601629" y="323374"/>
                    <a:pt x="1601629" y="321469"/>
                    <a:pt x="1600676" y="319564"/>
                  </a:cubicBezTo>
                  <a:cubicBezTo>
                    <a:pt x="1600676" y="314801"/>
                    <a:pt x="1599724" y="310039"/>
                    <a:pt x="1599724" y="305276"/>
                  </a:cubicBezTo>
                  <a:cubicBezTo>
                    <a:pt x="1599724" y="302419"/>
                    <a:pt x="1600676" y="300514"/>
                    <a:pt x="1600676" y="297656"/>
                  </a:cubicBezTo>
                  <a:close/>
                  <a:moveTo>
                    <a:pt x="1567339" y="315754"/>
                  </a:moveTo>
                  <a:cubicBezTo>
                    <a:pt x="1567339" y="320516"/>
                    <a:pt x="1568291" y="325279"/>
                    <a:pt x="1568291" y="330041"/>
                  </a:cubicBezTo>
                  <a:cubicBezTo>
                    <a:pt x="1567339" y="326231"/>
                    <a:pt x="1567339" y="323374"/>
                    <a:pt x="1566386" y="320516"/>
                  </a:cubicBezTo>
                  <a:cubicBezTo>
                    <a:pt x="1567339" y="319564"/>
                    <a:pt x="1567339" y="317659"/>
                    <a:pt x="1567339" y="315754"/>
                  </a:cubicBezTo>
                  <a:close/>
                  <a:moveTo>
                    <a:pt x="1547336" y="265271"/>
                  </a:moveTo>
                  <a:cubicBezTo>
                    <a:pt x="1547336" y="269081"/>
                    <a:pt x="1546384" y="271939"/>
                    <a:pt x="1546384" y="275749"/>
                  </a:cubicBezTo>
                  <a:cubicBezTo>
                    <a:pt x="1546384" y="274796"/>
                    <a:pt x="1545431" y="273844"/>
                    <a:pt x="1545431" y="272891"/>
                  </a:cubicBezTo>
                  <a:cubicBezTo>
                    <a:pt x="1546384" y="270986"/>
                    <a:pt x="1546384" y="268129"/>
                    <a:pt x="1547336" y="265271"/>
                  </a:cubicBezTo>
                  <a:close/>
                  <a:moveTo>
                    <a:pt x="1541621" y="286226"/>
                  </a:moveTo>
                  <a:cubicBezTo>
                    <a:pt x="1542574" y="289084"/>
                    <a:pt x="1543526" y="290989"/>
                    <a:pt x="1543526" y="293846"/>
                  </a:cubicBezTo>
                  <a:cubicBezTo>
                    <a:pt x="1543526" y="295751"/>
                    <a:pt x="1542574" y="298609"/>
                    <a:pt x="1542574" y="301466"/>
                  </a:cubicBezTo>
                  <a:cubicBezTo>
                    <a:pt x="1541621" y="298609"/>
                    <a:pt x="1540669" y="294799"/>
                    <a:pt x="1539716" y="291941"/>
                  </a:cubicBezTo>
                  <a:cubicBezTo>
                    <a:pt x="1540669" y="289084"/>
                    <a:pt x="1541621" y="288131"/>
                    <a:pt x="1541621" y="286226"/>
                  </a:cubicBezTo>
                  <a:close/>
                  <a:moveTo>
                    <a:pt x="1537811" y="271939"/>
                  </a:moveTo>
                  <a:cubicBezTo>
                    <a:pt x="1537811" y="273844"/>
                    <a:pt x="1538764" y="274796"/>
                    <a:pt x="1538764" y="276701"/>
                  </a:cubicBezTo>
                  <a:cubicBezTo>
                    <a:pt x="1537811" y="277654"/>
                    <a:pt x="1537811" y="278606"/>
                    <a:pt x="1536859" y="280511"/>
                  </a:cubicBezTo>
                  <a:cubicBezTo>
                    <a:pt x="1537811" y="276701"/>
                    <a:pt x="1537811" y="273844"/>
                    <a:pt x="1537811" y="271939"/>
                  </a:cubicBezTo>
                  <a:close/>
                  <a:moveTo>
                    <a:pt x="1533049" y="338614"/>
                  </a:moveTo>
                  <a:cubicBezTo>
                    <a:pt x="1533049" y="337661"/>
                    <a:pt x="1533049" y="336709"/>
                    <a:pt x="1533049" y="335756"/>
                  </a:cubicBezTo>
                  <a:cubicBezTo>
                    <a:pt x="1534001" y="340519"/>
                    <a:pt x="1534954" y="345281"/>
                    <a:pt x="1535906" y="350044"/>
                  </a:cubicBezTo>
                  <a:cubicBezTo>
                    <a:pt x="1536859" y="352901"/>
                    <a:pt x="1536859" y="354806"/>
                    <a:pt x="1536859" y="357664"/>
                  </a:cubicBezTo>
                  <a:cubicBezTo>
                    <a:pt x="1536859" y="359569"/>
                    <a:pt x="1536859" y="360521"/>
                    <a:pt x="1536859" y="362426"/>
                  </a:cubicBezTo>
                  <a:cubicBezTo>
                    <a:pt x="1536859" y="362426"/>
                    <a:pt x="1536859" y="362426"/>
                    <a:pt x="1536859" y="362426"/>
                  </a:cubicBezTo>
                  <a:cubicBezTo>
                    <a:pt x="1534954" y="356711"/>
                    <a:pt x="1533049" y="351949"/>
                    <a:pt x="1532096" y="346234"/>
                  </a:cubicBezTo>
                  <a:cubicBezTo>
                    <a:pt x="1533049" y="343376"/>
                    <a:pt x="1533049" y="341471"/>
                    <a:pt x="1533049" y="338614"/>
                  </a:cubicBezTo>
                  <a:close/>
                  <a:moveTo>
                    <a:pt x="1519714" y="270986"/>
                  </a:moveTo>
                  <a:cubicBezTo>
                    <a:pt x="1521619" y="279559"/>
                    <a:pt x="1523524" y="288131"/>
                    <a:pt x="1525429" y="297656"/>
                  </a:cubicBezTo>
                  <a:cubicBezTo>
                    <a:pt x="1525429" y="298609"/>
                    <a:pt x="1525429" y="299561"/>
                    <a:pt x="1524476" y="301466"/>
                  </a:cubicBezTo>
                  <a:cubicBezTo>
                    <a:pt x="1523524" y="306229"/>
                    <a:pt x="1522571" y="310991"/>
                    <a:pt x="1521619" y="315754"/>
                  </a:cubicBezTo>
                  <a:cubicBezTo>
                    <a:pt x="1520666" y="313849"/>
                    <a:pt x="1520666" y="311944"/>
                    <a:pt x="1519714" y="310991"/>
                  </a:cubicBezTo>
                  <a:cubicBezTo>
                    <a:pt x="1519714" y="295751"/>
                    <a:pt x="1518761" y="281464"/>
                    <a:pt x="1517809" y="268129"/>
                  </a:cubicBezTo>
                  <a:cubicBezTo>
                    <a:pt x="1519714" y="268129"/>
                    <a:pt x="1519714" y="269081"/>
                    <a:pt x="1519714" y="270986"/>
                  </a:cubicBezTo>
                  <a:close/>
                  <a:moveTo>
                    <a:pt x="1503521" y="302419"/>
                  </a:moveTo>
                  <a:cubicBezTo>
                    <a:pt x="1503521" y="306229"/>
                    <a:pt x="1503521" y="310039"/>
                    <a:pt x="1502569" y="313849"/>
                  </a:cubicBezTo>
                  <a:cubicBezTo>
                    <a:pt x="1502569" y="318611"/>
                    <a:pt x="1502569" y="324326"/>
                    <a:pt x="1502569" y="330041"/>
                  </a:cubicBezTo>
                  <a:cubicBezTo>
                    <a:pt x="1502569" y="330041"/>
                    <a:pt x="1502569" y="330041"/>
                    <a:pt x="1501616" y="329089"/>
                  </a:cubicBezTo>
                  <a:cubicBezTo>
                    <a:pt x="1500664" y="323374"/>
                    <a:pt x="1498759" y="317659"/>
                    <a:pt x="1497806" y="311944"/>
                  </a:cubicBezTo>
                  <a:cubicBezTo>
                    <a:pt x="1500664" y="309086"/>
                    <a:pt x="1502569" y="306229"/>
                    <a:pt x="1503521" y="302419"/>
                  </a:cubicBezTo>
                  <a:close/>
                  <a:moveTo>
                    <a:pt x="1477804" y="272891"/>
                  </a:moveTo>
                  <a:cubicBezTo>
                    <a:pt x="1477804" y="273844"/>
                    <a:pt x="1477804" y="273844"/>
                    <a:pt x="1477804" y="272891"/>
                  </a:cubicBezTo>
                  <a:cubicBezTo>
                    <a:pt x="1477804" y="275749"/>
                    <a:pt x="1477804" y="278606"/>
                    <a:pt x="1477804" y="282416"/>
                  </a:cubicBezTo>
                  <a:cubicBezTo>
                    <a:pt x="1477804" y="286226"/>
                    <a:pt x="1476851" y="290989"/>
                    <a:pt x="1476851" y="294799"/>
                  </a:cubicBezTo>
                  <a:cubicBezTo>
                    <a:pt x="1476851" y="294799"/>
                    <a:pt x="1476851" y="295751"/>
                    <a:pt x="1475899" y="295751"/>
                  </a:cubicBezTo>
                  <a:cubicBezTo>
                    <a:pt x="1475899" y="290989"/>
                    <a:pt x="1474946" y="286226"/>
                    <a:pt x="1474946" y="282416"/>
                  </a:cubicBezTo>
                  <a:cubicBezTo>
                    <a:pt x="1475899" y="279559"/>
                    <a:pt x="1476851" y="276701"/>
                    <a:pt x="1477804" y="272891"/>
                  </a:cubicBezTo>
                  <a:close/>
                  <a:moveTo>
                    <a:pt x="1461611" y="326231"/>
                  </a:moveTo>
                  <a:cubicBezTo>
                    <a:pt x="1461611" y="327184"/>
                    <a:pt x="1461611" y="327184"/>
                    <a:pt x="1461611" y="328136"/>
                  </a:cubicBezTo>
                  <a:cubicBezTo>
                    <a:pt x="1461611" y="329089"/>
                    <a:pt x="1460659" y="329089"/>
                    <a:pt x="1460659" y="330041"/>
                  </a:cubicBezTo>
                  <a:cubicBezTo>
                    <a:pt x="1460659" y="330041"/>
                    <a:pt x="1460659" y="330041"/>
                    <a:pt x="1460659" y="329089"/>
                  </a:cubicBezTo>
                  <a:cubicBezTo>
                    <a:pt x="1460659" y="328136"/>
                    <a:pt x="1460659" y="327184"/>
                    <a:pt x="1461611" y="326231"/>
                  </a:cubicBezTo>
                  <a:close/>
                  <a:moveTo>
                    <a:pt x="1457801" y="309086"/>
                  </a:moveTo>
                  <a:cubicBezTo>
                    <a:pt x="1456849" y="310039"/>
                    <a:pt x="1456849" y="310039"/>
                    <a:pt x="1457801" y="309086"/>
                  </a:cubicBezTo>
                  <a:cubicBezTo>
                    <a:pt x="1456849" y="307181"/>
                    <a:pt x="1456849" y="305276"/>
                    <a:pt x="1455896" y="302419"/>
                  </a:cubicBezTo>
                  <a:cubicBezTo>
                    <a:pt x="1455896" y="305276"/>
                    <a:pt x="1456849" y="307181"/>
                    <a:pt x="1457801" y="309086"/>
                  </a:cubicBezTo>
                  <a:close/>
                  <a:moveTo>
                    <a:pt x="1442561" y="328136"/>
                  </a:moveTo>
                  <a:cubicBezTo>
                    <a:pt x="1442561" y="324326"/>
                    <a:pt x="1442561" y="321469"/>
                    <a:pt x="1442561" y="318611"/>
                  </a:cubicBezTo>
                  <a:cubicBezTo>
                    <a:pt x="1443514" y="323374"/>
                    <a:pt x="1443514" y="329089"/>
                    <a:pt x="1444466" y="333851"/>
                  </a:cubicBezTo>
                  <a:cubicBezTo>
                    <a:pt x="1443514" y="332899"/>
                    <a:pt x="1443514" y="330994"/>
                    <a:pt x="1442561" y="330041"/>
                  </a:cubicBezTo>
                  <a:cubicBezTo>
                    <a:pt x="1442561" y="330041"/>
                    <a:pt x="1442561" y="329089"/>
                    <a:pt x="1442561" y="328136"/>
                  </a:cubicBezTo>
                  <a:close/>
                  <a:moveTo>
                    <a:pt x="1415891" y="281464"/>
                  </a:moveTo>
                  <a:cubicBezTo>
                    <a:pt x="1415891" y="284321"/>
                    <a:pt x="1415891" y="286226"/>
                    <a:pt x="1415891" y="289084"/>
                  </a:cubicBezTo>
                  <a:cubicBezTo>
                    <a:pt x="1415891" y="289084"/>
                    <a:pt x="1415891" y="289084"/>
                    <a:pt x="1415891" y="289084"/>
                  </a:cubicBezTo>
                  <a:cubicBezTo>
                    <a:pt x="1414939" y="288131"/>
                    <a:pt x="1413986" y="287179"/>
                    <a:pt x="1413034" y="286226"/>
                  </a:cubicBezTo>
                  <a:cubicBezTo>
                    <a:pt x="1414939" y="284321"/>
                    <a:pt x="1415891" y="282416"/>
                    <a:pt x="1415891" y="281464"/>
                  </a:cubicBezTo>
                  <a:close/>
                  <a:moveTo>
                    <a:pt x="1412081" y="290036"/>
                  </a:moveTo>
                  <a:cubicBezTo>
                    <a:pt x="1413034" y="290989"/>
                    <a:pt x="1413034" y="291941"/>
                    <a:pt x="1413986" y="292894"/>
                  </a:cubicBezTo>
                  <a:cubicBezTo>
                    <a:pt x="1414939" y="293846"/>
                    <a:pt x="1414939" y="294799"/>
                    <a:pt x="1415891" y="295751"/>
                  </a:cubicBezTo>
                  <a:cubicBezTo>
                    <a:pt x="1415891" y="297656"/>
                    <a:pt x="1415891" y="299561"/>
                    <a:pt x="1415891" y="300514"/>
                  </a:cubicBezTo>
                  <a:cubicBezTo>
                    <a:pt x="1413986" y="296704"/>
                    <a:pt x="1413034" y="293846"/>
                    <a:pt x="1412081" y="290036"/>
                  </a:cubicBezTo>
                  <a:cubicBezTo>
                    <a:pt x="1412081" y="290036"/>
                    <a:pt x="1412081" y="290036"/>
                    <a:pt x="1412081" y="290036"/>
                  </a:cubicBezTo>
                  <a:close/>
                  <a:moveTo>
                    <a:pt x="1383506" y="364331"/>
                  </a:moveTo>
                  <a:cubicBezTo>
                    <a:pt x="1383506" y="362426"/>
                    <a:pt x="1383506" y="360521"/>
                    <a:pt x="1382554" y="358616"/>
                  </a:cubicBezTo>
                  <a:cubicBezTo>
                    <a:pt x="1382554" y="358616"/>
                    <a:pt x="1382554" y="357664"/>
                    <a:pt x="1382554" y="357664"/>
                  </a:cubicBezTo>
                  <a:cubicBezTo>
                    <a:pt x="1382554" y="358616"/>
                    <a:pt x="1383506" y="360521"/>
                    <a:pt x="1383506" y="362426"/>
                  </a:cubicBezTo>
                  <a:cubicBezTo>
                    <a:pt x="1384459" y="363379"/>
                    <a:pt x="1384459" y="363379"/>
                    <a:pt x="1383506" y="364331"/>
                  </a:cubicBezTo>
                  <a:close/>
                  <a:moveTo>
                    <a:pt x="1386364" y="298609"/>
                  </a:moveTo>
                  <a:cubicBezTo>
                    <a:pt x="1386364" y="298609"/>
                    <a:pt x="1386364" y="298609"/>
                    <a:pt x="1386364" y="298609"/>
                  </a:cubicBezTo>
                  <a:cubicBezTo>
                    <a:pt x="1385411" y="296704"/>
                    <a:pt x="1385411" y="295751"/>
                    <a:pt x="1384459" y="293846"/>
                  </a:cubicBezTo>
                  <a:cubicBezTo>
                    <a:pt x="1385411" y="292894"/>
                    <a:pt x="1385411" y="291941"/>
                    <a:pt x="1386364" y="290989"/>
                  </a:cubicBezTo>
                  <a:cubicBezTo>
                    <a:pt x="1388269" y="289084"/>
                    <a:pt x="1389221" y="287179"/>
                    <a:pt x="1391126" y="286226"/>
                  </a:cubicBezTo>
                  <a:cubicBezTo>
                    <a:pt x="1389221" y="290036"/>
                    <a:pt x="1387316" y="293846"/>
                    <a:pt x="1386364" y="298609"/>
                  </a:cubicBezTo>
                  <a:close/>
                  <a:moveTo>
                    <a:pt x="1383506" y="287179"/>
                  </a:moveTo>
                  <a:cubicBezTo>
                    <a:pt x="1383506" y="287179"/>
                    <a:pt x="1382554" y="288131"/>
                    <a:pt x="1382554" y="288131"/>
                  </a:cubicBezTo>
                  <a:cubicBezTo>
                    <a:pt x="1380649" y="283369"/>
                    <a:pt x="1378744" y="278606"/>
                    <a:pt x="1376839" y="274796"/>
                  </a:cubicBezTo>
                  <a:cubicBezTo>
                    <a:pt x="1379696" y="262414"/>
                    <a:pt x="1382554" y="251936"/>
                    <a:pt x="1384459" y="242411"/>
                  </a:cubicBezTo>
                  <a:cubicBezTo>
                    <a:pt x="1385411" y="250031"/>
                    <a:pt x="1387316" y="263366"/>
                    <a:pt x="1390174" y="281464"/>
                  </a:cubicBezTo>
                  <a:cubicBezTo>
                    <a:pt x="1388269" y="283369"/>
                    <a:pt x="1386364" y="285274"/>
                    <a:pt x="1383506" y="287179"/>
                  </a:cubicBezTo>
                  <a:close/>
                  <a:moveTo>
                    <a:pt x="1391126" y="310991"/>
                  </a:moveTo>
                  <a:cubicBezTo>
                    <a:pt x="1392079" y="307181"/>
                    <a:pt x="1392079" y="303371"/>
                    <a:pt x="1393031" y="299561"/>
                  </a:cubicBezTo>
                  <a:cubicBezTo>
                    <a:pt x="1393031" y="299561"/>
                    <a:pt x="1393031" y="298609"/>
                    <a:pt x="1393031" y="298609"/>
                  </a:cubicBezTo>
                  <a:cubicBezTo>
                    <a:pt x="1393031" y="300514"/>
                    <a:pt x="1393984" y="303371"/>
                    <a:pt x="1393984" y="305276"/>
                  </a:cubicBezTo>
                  <a:cubicBezTo>
                    <a:pt x="1393984" y="308134"/>
                    <a:pt x="1392079" y="309086"/>
                    <a:pt x="1391126" y="310991"/>
                  </a:cubicBezTo>
                  <a:close/>
                  <a:moveTo>
                    <a:pt x="1397794" y="278606"/>
                  </a:moveTo>
                  <a:cubicBezTo>
                    <a:pt x="1397794" y="278606"/>
                    <a:pt x="1397794" y="278606"/>
                    <a:pt x="1397794" y="278606"/>
                  </a:cubicBezTo>
                  <a:cubicBezTo>
                    <a:pt x="1397794" y="278606"/>
                    <a:pt x="1397794" y="279559"/>
                    <a:pt x="1397794" y="279559"/>
                  </a:cubicBezTo>
                  <a:cubicBezTo>
                    <a:pt x="1397794" y="279559"/>
                    <a:pt x="1397794" y="279559"/>
                    <a:pt x="1397794" y="278606"/>
                  </a:cubicBezTo>
                  <a:cubicBezTo>
                    <a:pt x="1397794" y="278606"/>
                    <a:pt x="1397794" y="278606"/>
                    <a:pt x="1397794" y="278606"/>
                  </a:cubicBezTo>
                  <a:close/>
                  <a:moveTo>
                    <a:pt x="1397794" y="322421"/>
                  </a:moveTo>
                  <a:cubicBezTo>
                    <a:pt x="1398746" y="325279"/>
                    <a:pt x="1398746" y="328136"/>
                    <a:pt x="1399699" y="331946"/>
                  </a:cubicBezTo>
                  <a:cubicBezTo>
                    <a:pt x="1399699" y="332899"/>
                    <a:pt x="1399699" y="332899"/>
                    <a:pt x="1399699" y="333851"/>
                  </a:cubicBezTo>
                  <a:cubicBezTo>
                    <a:pt x="1398746" y="330994"/>
                    <a:pt x="1397794" y="328136"/>
                    <a:pt x="1396841" y="326231"/>
                  </a:cubicBezTo>
                  <a:cubicBezTo>
                    <a:pt x="1396841" y="324326"/>
                    <a:pt x="1396841" y="323374"/>
                    <a:pt x="1397794" y="322421"/>
                  </a:cubicBezTo>
                  <a:close/>
                  <a:moveTo>
                    <a:pt x="1387316" y="231934"/>
                  </a:moveTo>
                  <a:cubicBezTo>
                    <a:pt x="1389221" y="242411"/>
                    <a:pt x="1392079" y="255746"/>
                    <a:pt x="1395889" y="270986"/>
                  </a:cubicBezTo>
                  <a:cubicBezTo>
                    <a:pt x="1395889" y="271939"/>
                    <a:pt x="1395889" y="271939"/>
                    <a:pt x="1394936" y="272891"/>
                  </a:cubicBezTo>
                  <a:cubicBezTo>
                    <a:pt x="1390174" y="257651"/>
                    <a:pt x="1386364" y="246221"/>
                    <a:pt x="1384459" y="240506"/>
                  </a:cubicBezTo>
                  <a:cubicBezTo>
                    <a:pt x="1386364" y="237649"/>
                    <a:pt x="1387316" y="234791"/>
                    <a:pt x="1387316" y="231934"/>
                  </a:cubicBezTo>
                  <a:close/>
                  <a:moveTo>
                    <a:pt x="1380649" y="232886"/>
                  </a:moveTo>
                  <a:cubicBezTo>
                    <a:pt x="1382554" y="230029"/>
                    <a:pt x="1384459" y="227171"/>
                    <a:pt x="1386364" y="225266"/>
                  </a:cubicBezTo>
                  <a:cubicBezTo>
                    <a:pt x="1386364" y="225266"/>
                    <a:pt x="1386364" y="225266"/>
                    <a:pt x="1386364" y="225266"/>
                  </a:cubicBezTo>
                  <a:cubicBezTo>
                    <a:pt x="1382554" y="234791"/>
                    <a:pt x="1377791" y="247174"/>
                    <a:pt x="1372076" y="262414"/>
                  </a:cubicBezTo>
                  <a:cubicBezTo>
                    <a:pt x="1371124" y="260509"/>
                    <a:pt x="1371124" y="259556"/>
                    <a:pt x="1370171" y="257651"/>
                  </a:cubicBezTo>
                  <a:cubicBezTo>
                    <a:pt x="1369219" y="256699"/>
                    <a:pt x="1369219" y="255746"/>
                    <a:pt x="1369219" y="253841"/>
                  </a:cubicBezTo>
                  <a:cubicBezTo>
                    <a:pt x="1373029" y="245269"/>
                    <a:pt x="1376839" y="238601"/>
                    <a:pt x="1380649" y="232886"/>
                  </a:cubicBezTo>
                  <a:close/>
                  <a:moveTo>
                    <a:pt x="1356836" y="300514"/>
                  </a:moveTo>
                  <a:cubicBezTo>
                    <a:pt x="1356836" y="301466"/>
                    <a:pt x="1356836" y="301466"/>
                    <a:pt x="1356836" y="302419"/>
                  </a:cubicBezTo>
                  <a:cubicBezTo>
                    <a:pt x="1356836" y="303371"/>
                    <a:pt x="1356836" y="303371"/>
                    <a:pt x="1355884" y="304324"/>
                  </a:cubicBezTo>
                  <a:cubicBezTo>
                    <a:pt x="1355884" y="302419"/>
                    <a:pt x="1355884" y="301466"/>
                    <a:pt x="1355884" y="299561"/>
                  </a:cubicBezTo>
                  <a:cubicBezTo>
                    <a:pt x="1355884" y="299561"/>
                    <a:pt x="1356836" y="299561"/>
                    <a:pt x="1356836" y="300514"/>
                  </a:cubicBezTo>
                  <a:close/>
                  <a:moveTo>
                    <a:pt x="1339691" y="325279"/>
                  </a:moveTo>
                  <a:cubicBezTo>
                    <a:pt x="1339691" y="325279"/>
                    <a:pt x="1339691" y="324326"/>
                    <a:pt x="1339691" y="324326"/>
                  </a:cubicBezTo>
                  <a:cubicBezTo>
                    <a:pt x="1340644" y="322421"/>
                    <a:pt x="1341596" y="319564"/>
                    <a:pt x="1341596" y="317659"/>
                  </a:cubicBezTo>
                  <a:cubicBezTo>
                    <a:pt x="1341596" y="317659"/>
                    <a:pt x="1341596" y="317659"/>
                    <a:pt x="1341596" y="317659"/>
                  </a:cubicBezTo>
                  <a:cubicBezTo>
                    <a:pt x="1341596" y="322421"/>
                    <a:pt x="1341596" y="326231"/>
                    <a:pt x="1341596" y="330994"/>
                  </a:cubicBezTo>
                  <a:cubicBezTo>
                    <a:pt x="1341596" y="328136"/>
                    <a:pt x="1340644" y="326231"/>
                    <a:pt x="1339691" y="325279"/>
                  </a:cubicBezTo>
                  <a:close/>
                  <a:moveTo>
                    <a:pt x="1340644" y="226219"/>
                  </a:moveTo>
                  <a:cubicBezTo>
                    <a:pt x="1340644" y="225266"/>
                    <a:pt x="1340644" y="225266"/>
                    <a:pt x="1340644" y="226219"/>
                  </a:cubicBezTo>
                  <a:cubicBezTo>
                    <a:pt x="1341596" y="229076"/>
                    <a:pt x="1343501" y="232886"/>
                    <a:pt x="1344454" y="237649"/>
                  </a:cubicBezTo>
                  <a:cubicBezTo>
                    <a:pt x="1344454" y="239554"/>
                    <a:pt x="1344454" y="240506"/>
                    <a:pt x="1344454" y="242411"/>
                  </a:cubicBezTo>
                  <a:cubicBezTo>
                    <a:pt x="1344454" y="249079"/>
                    <a:pt x="1343501" y="256699"/>
                    <a:pt x="1343501" y="264319"/>
                  </a:cubicBezTo>
                  <a:cubicBezTo>
                    <a:pt x="1343501" y="267176"/>
                    <a:pt x="1343501" y="270034"/>
                    <a:pt x="1343501" y="272891"/>
                  </a:cubicBezTo>
                  <a:cubicBezTo>
                    <a:pt x="1341596" y="271939"/>
                    <a:pt x="1340644" y="270034"/>
                    <a:pt x="1339691" y="269081"/>
                  </a:cubicBezTo>
                  <a:cubicBezTo>
                    <a:pt x="1338739" y="252889"/>
                    <a:pt x="1339691" y="238601"/>
                    <a:pt x="1340644" y="226219"/>
                  </a:cubicBezTo>
                  <a:close/>
                  <a:moveTo>
                    <a:pt x="1337786" y="295751"/>
                  </a:moveTo>
                  <a:cubicBezTo>
                    <a:pt x="1337786" y="288131"/>
                    <a:pt x="1338739" y="279559"/>
                    <a:pt x="1338739" y="271939"/>
                  </a:cubicBezTo>
                  <a:cubicBezTo>
                    <a:pt x="1339691" y="272891"/>
                    <a:pt x="1341596" y="274796"/>
                    <a:pt x="1342549" y="276701"/>
                  </a:cubicBezTo>
                  <a:cubicBezTo>
                    <a:pt x="1342549" y="276701"/>
                    <a:pt x="1342549" y="276701"/>
                    <a:pt x="1342549" y="276701"/>
                  </a:cubicBezTo>
                  <a:cubicBezTo>
                    <a:pt x="1342549" y="279559"/>
                    <a:pt x="1342549" y="283369"/>
                    <a:pt x="1342549" y="286226"/>
                  </a:cubicBezTo>
                  <a:cubicBezTo>
                    <a:pt x="1340644" y="290036"/>
                    <a:pt x="1338739" y="292894"/>
                    <a:pt x="1337786" y="295751"/>
                  </a:cubicBezTo>
                  <a:cubicBezTo>
                    <a:pt x="1337786" y="296704"/>
                    <a:pt x="1337786" y="296704"/>
                    <a:pt x="1337786" y="296704"/>
                  </a:cubicBezTo>
                  <a:cubicBezTo>
                    <a:pt x="1337786" y="296704"/>
                    <a:pt x="1337786" y="295751"/>
                    <a:pt x="1337786" y="295751"/>
                  </a:cubicBezTo>
                  <a:close/>
                  <a:moveTo>
                    <a:pt x="1314926" y="320516"/>
                  </a:moveTo>
                  <a:cubicBezTo>
                    <a:pt x="1314926" y="320516"/>
                    <a:pt x="1314926" y="320516"/>
                    <a:pt x="1314926" y="320516"/>
                  </a:cubicBezTo>
                  <a:cubicBezTo>
                    <a:pt x="1314926" y="320516"/>
                    <a:pt x="1314926" y="320516"/>
                    <a:pt x="1314926" y="320516"/>
                  </a:cubicBezTo>
                  <a:cubicBezTo>
                    <a:pt x="1314926" y="320516"/>
                    <a:pt x="1314926" y="320516"/>
                    <a:pt x="1314926" y="320516"/>
                  </a:cubicBezTo>
                  <a:close/>
                  <a:moveTo>
                    <a:pt x="1311116" y="312896"/>
                  </a:moveTo>
                  <a:cubicBezTo>
                    <a:pt x="1311116" y="312896"/>
                    <a:pt x="1312069" y="313849"/>
                    <a:pt x="1311116" y="312896"/>
                  </a:cubicBezTo>
                  <a:cubicBezTo>
                    <a:pt x="1311116" y="313849"/>
                    <a:pt x="1311116" y="313849"/>
                    <a:pt x="1311116" y="314801"/>
                  </a:cubicBezTo>
                  <a:cubicBezTo>
                    <a:pt x="1311116" y="314801"/>
                    <a:pt x="1311116" y="314801"/>
                    <a:pt x="1311116" y="314801"/>
                  </a:cubicBezTo>
                  <a:cubicBezTo>
                    <a:pt x="1311116" y="313849"/>
                    <a:pt x="1311116" y="313849"/>
                    <a:pt x="1311116" y="312896"/>
                  </a:cubicBezTo>
                  <a:close/>
                  <a:moveTo>
                    <a:pt x="1242536" y="344329"/>
                  </a:moveTo>
                  <a:cubicBezTo>
                    <a:pt x="1241584" y="341471"/>
                    <a:pt x="1239679" y="339566"/>
                    <a:pt x="1238726" y="336709"/>
                  </a:cubicBezTo>
                  <a:cubicBezTo>
                    <a:pt x="1238726" y="328136"/>
                    <a:pt x="1238726" y="318611"/>
                    <a:pt x="1238726" y="310991"/>
                  </a:cubicBezTo>
                  <a:cubicBezTo>
                    <a:pt x="1238726" y="309086"/>
                    <a:pt x="1238726" y="308134"/>
                    <a:pt x="1238726" y="307181"/>
                  </a:cubicBezTo>
                  <a:cubicBezTo>
                    <a:pt x="1240631" y="317659"/>
                    <a:pt x="1241584" y="328136"/>
                    <a:pt x="1244441" y="339566"/>
                  </a:cubicBezTo>
                  <a:cubicBezTo>
                    <a:pt x="1244441" y="339566"/>
                    <a:pt x="1244441" y="340519"/>
                    <a:pt x="1244441" y="340519"/>
                  </a:cubicBezTo>
                  <a:cubicBezTo>
                    <a:pt x="1243489" y="341471"/>
                    <a:pt x="1242536" y="343376"/>
                    <a:pt x="1242536" y="344329"/>
                  </a:cubicBezTo>
                  <a:close/>
                  <a:moveTo>
                    <a:pt x="1279684" y="290989"/>
                  </a:moveTo>
                  <a:cubicBezTo>
                    <a:pt x="1279684" y="289084"/>
                    <a:pt x="1279684" y="286226"/>
                    <a:pt x="1279684" y="284321"/>
                  </a:cubicBezTo>
                  <a:cubicBezTo>
                    <a:pt x="1280636" y="285274"/>
                    <a:pt x="1280636" y="286226"/>
                    <a:pt x="1281589" y="287179"/>
                  </a:cubicBezTo>
                  <a:cubicBezTo>
                    <a:pt x="1280636" y="289084"/>
                    <a:pt x="1279684" y="290036"/>
                    <a:pt x="1279684" y="290989"/>
                  </a:cubicBezTo>
                  <a:close/>
                  <a:moveTo>
                    <a:pt x="1298734" y="332899"/>
                  </a:moveTo>
                  <a:cubicBezTo>
                    <a:pt x="1298734" y="332899"/>
                    <a:pt x="1298734" y="332899"/>
                    <a:pt x="1298734" y="332899"/>
                  </a:cubicBezTo>
                  <a:cubicBezTo>
                    <a:pt x="1298734" y="331946"/>
                    <a:pt x="1298734" y="331946"/>
                    <a:pt x="1298734" y="330994"/>
                  </a:cubicBezTo>
                  <a:cubicBezTo>
                    <a:pt x="1298734" y="331946"/>
                    <a:pt x="1298734" y="332899"/>
                    <a:pt x="1298734" y="332899"/>
                  </a:cubicBezTo>
                  <a:close/>
                  <a:moveTo>
                    <a:pt x="1295876" y="278606"/>
                  </a:moveTo>
                  <a:cubicBezTo>
                    <a:pt x="1298734" y="285274"/>
                    <a:pt x="1301591" y="291941"/>
                    <a:pt x="1305401" y="299561"/>
                  </a:cubicBezTo>
                  <a:cubicBezTo>
                    <a:pt x="1305401" y="299561"/>
                    <a:pt x="1305401" y="299561"/>
                    <a:pt x="1305401" y="300514"/>
                  </a:cubicBezTo>
                  <a:cubicBezTo>
                    <a:pt x="1305401" y="301466"/>
                    <a:pt x="1305401" y="302419"/>
                    <a:pt x="1304449" y="303371"/>
                  </a:cubicBezTo>
                  <a:cubicBezTo>
                    <a:pt x="1303496" y="300514"/>
                    <a:pt x="1301591" y="298609"/>
                    <a:pt x="1300639" y="295751"/>
                  </a:cubicBezTo>
                  <a:cubicBezTo>
                    <a:pt x="1298734" y="291941"/>
                    <a:pt x="1296829" y="288131"/>
                    <a:pt x="1293971" y="284321"/>
                  </a:cubicBezTo>
                  <a:cubicBezTo>
                    <a:pt x="1294924" y="282416"/>
                    <a:pt x="1295876" y="280511"/>
                    <a:pt x="1295876" y="278606"/>
                  </a:cubicBezTo>
                  <a:close/>
                  <a:moveTo>
                    <a:pt x="1299686" y="328136"/>
                  </a:moveTo>
                  <a:cubicBezTo>
                    <a:pt x="1299686" y="329089"/>
                    <a:pt x="1299686" y="329089"/>
                    <a:pt x="1299686" y="330041"/>
                  </a:cubicBezTo>
                  <a:cubicBezTo>
                    <a:pt x="1299686" y="330041"/>
                    <a:pt x="1298734" y="330994"/>
                    <a:pt x="1298734" y="331946"/>
                  </a:cubicBezTo>
                  <a:cubicBezTo>
                    <a:pt x="1296829" y="329089"/>
                    <a:pt x="1294924" y="326231"/>
                    <a:pt x="1293019" y="324326"/>
                  </a:cubicBezTo>
                  <a:cubicBezTo>
                    <a:pt x="1292066" y="322421"/>
                    <a:pt x="1290161" y="320516"/>
                    <a:pt x="1289209" y="318611"/>
                  </a:cubicBezTo>
                  <a:cubicBezTo>
                    <a:pt x="1289209" y="318611"/>
                    <a:pt x="1289209" y="318611"/>
                    <a:pt x="1289209" y="318611"/>
                  </a:cubicBezTo>
                  <a:cubicBezTo>
                    <a:pt x="1289209" y="314801"/>
                    <a:pt x="1289209" y="311944"/>
                    <a:pt x="1289209" y="309086"/>
                  </a:cubicBezTo>
                  <a:cubicBezTo>
                    <a:pt x="1289209" y="308134"/>
                    <a:pt x="1290161" y="306229"/>
                    <a:pt x="1290161" y="305276"/>
                  </a:cubicBezTo>
                  <a:cubicBezTo>
                    <a:pt x="1293019" y="311944"/>
                    <a:pt x="1296829" y="319564"/>
                    <a:pt x="1299686" y="328136"/>
                  </a:cubicBezTo>
                  <a:close/>
                  <a:moveTo>
                    <a:pt x="1289209" y="263366"/>
                  </a:moveTo>
                  <a:cubicBezTo>
                    <a:pt x="1288256" y="265271"/>
                    <a:pt x="1288256" y="266224"/>
                    <a:pt x="1287304" y="268129"/>
                  </a:cubicBezTo>
                  <a:cubicBezTo>
                    <a:pt x="1287304" y="265271"/>
                    <a:pt x="1287304" y="262414"/>
                    <a:pt x="1287304" y="259556"/>
                  </a:cubicBezTo>
                  <a:cubicBezTo>
                    <a:pt x="1287304" y="260509"/>
                    <a:pt x="1288256" y="262414"/>
                    <a:pt x="1289209" y="263366"/>
                  </a:cubicBezTo>
                  <a:close/>
                  <a:moveTo>
                    <a:pt x="1276826" y="238601"/>
                  </a:moveTo>
                  <a:cubicBezTo>
                    <a:pt x="1277779" y="239554"/>
                    <a:pt x="1277779" y="240506"/>
                    <a:pt x="1278731" y="242411"/>
                  </a:cubicBezTo>
                  <a:cubicBezTo>
                    <a:pt x="1280636" y="246221"/>
                    <a:pt x="1283494" y="251936"/>
                    <a:pt x="1286351" y="257651"/>
                  </a:cubicBezTo>
                  <a:cubicBezTo>
                    <a:pt x="1286351" y="260509"/>
                    <a:pt x="1285399" y="263366"/>
                    <a:pt x="1285399" y="267176"/>
                  </a:cubicBezTo>
                  <a:cubicBezTo>
                    <a:pt x="1282541" y="263366"/>
                    <a:pt x="1280636" y="259556"/>
                    <a:pt x="1277779" y="255746"/>
                  </a:cubicBezTo>
                  <a:cubicBezTo>
                    <a:pt x="1277779" y="250031"/>
                    <a:pt x="1276826" y="245269"/>
                    <a:pt x="1276826" y="242411"/>
                  </a:cubicBezTo>
                  <a:cubicBezTo>
                    <a:pt x="1276826" y="241459"/>
                    <a:pt x="1276826" y="239554"/>
                    <a:pt x="1276826" y="238601"/>
                  </a:cubicBezTo>
                  <a:close/>
                  <a:moveTo>
                    <a:pt x="1273016" y="271939"/>
                  </a:moveTo>
                  <a:cubicBezTo>
                    <a:pt x="1273016" y="271939"/>
                    <a:pt x="1273969" y="272891"/>
                    <a:pt x="1273969" y="272891"/>
                  </a:cubicBezTo>
                  <a:cubicBezTo>
                    <a:pt x="1273969" y="278606"/>
                    <a:pt x="1273016" y="284321"/>
                    <a:pt x="1273016" y="291941"/>
                  </a:cubicBezTo>
                  <a:cubicBezTo>
                    <a:pt x="1272064" y="290989"/>
                    <a:pt x="1272064" y="289084"/>
                    <a:pt x="1271111" y="288131"/>
                  </a:cubicBezTo>
                  <a:cubicBezTo>
                    <a:pt x="1271111" y="282416"/>
                    <a:pt x="1272064" y="276701"/>
                    <a:pt x="1273016" y="271939"/>
                  </a:cubicBezTo>
                  <a:close/>
                  <a:moveTo>
                    <a:pt x="1240631" y="229076"/>
                  </a:moveTo>
                  <a:cubicBezTo>
                    <a:pt x="1241584" y="226219"/>
                    <a:pt x="1243489" y="223361"/>
                    <a:pt x="1244441" y="220504"/>
                  </a:cubicBezTo>
                  <a:cubicBezTo>
                    <a:pt x="1247299" y="226219"/>
                    <a:pt x="1251109" y="230981"/>
                    <a:pt x="1253966" y="237649"/>
                  </a:cubicBezTo>
                  <a:cubicBezTo>
                    <a:pt x="1257776" y="244316"/>
                    <a:pt x="1260634" y="250031"/>
                    <a:pt x="1264444" y="257651"/>
                  </a:cubicBezTo>
                  <a:cubicBezTo>
                    <a:pt x="1265396" y="259556"/>
                    <a:pt x="1267301" y="262414"/>
                    <a:pt x="1268254" y="264319"/>
                  </a:cubicBezTo>
                  <a:cubicBezTo>
                    <a:pt x="1266349" y="270986"/>
                    <a:pt x="1264444" y="277654"/>
                    <a:pt x="1262539" y="286226"/>
                  </a:cubicBezTo>
                  <a:cubicBezTo>
                    <a:pt x="1259681" y="283369"/>
                    <a:pt x="1257776" y="280511"/>
                    <a:pt x="1254919" y="277654"/>
                  </a:cubicBezTo>
                  <a:cubicBezTo>
                    <a:pt x="1250156" y="268129"/>
                    <a:pt x="1246346" y="259556"/>
                    <a:pt x="1241584" y="251936"/>
                  </a:cubicBezTo>
                  <a:cubicBezTo>
                    <a:pt x="1239679" y="249079"/>
                    <a:pt x="1237774" y="246221"/>
                    <a:pt x="1235869" y="243364"/>
                  </a:cubicBezTo>
                  <a:cubicBezTo>
                    <a:pt x="1235869" y="243364"/>
                    <a:pt x="1235869" y="242411"/>
                    <a:pt x="1235869" y="242411"/>
                  </a:cubicBezTo>
                  <a:cubicBezTo>
                    <a:pt x="1237774" y="236696"/>
                    <a:pt x="1239679" y="232886"/>
                    <a:pt x="1240631" y="229076"/>
                  </a:cubicBezTo>
                  <a:close/>
                  <a:moveTo>
                    <a:pt x="1228249" y="304324"/>
                  </a:moveTo>
                  <a:cubicBezTo>
                    <a:pt x="1228249" y="298609"/>
                    <a:pt x="1227296" y="292894"/>
                    <a:pt x="1227296" y="288131"/>
                  </a:cubicBezTo>
                  <a:lnTo>
                    <a:pt x="1227296" y="281464"/>
                  </a:lnTo>
                  <a:cubicBezTo>
                    <a:pt x="1227296" y="280511"/>
                    <a:pt x="1228249" y="280511"/>
                    <a:pt x="1228249" y="279559"/>
                  </a:cubicBezTo>
                  <a:cubicBezTo>
                    <a:pt x="1228249" y="279559"/>
                    <a:pt x="1228249" y="278606"/>
                    <a:pt x="1228249" y="278606"/>
                  </a:cubicBezTo>
                  <a:cubicBezTo>
                    <a:pt x="1228249" y="278606"/>
                    <a:pt x="1229201" y="279559"/>
                    <a:pt x="1229201" y="279559"/>
                  </a:cubicBezTo>
                  <a:cubicBezTo>
                    <a:pt x="1230154" y="280511"/>
                    <a:pt x="1230154" y="282416"/>
                    <a:pt x="1231106" y="284321"/>
                  </a:cubicBezTo>
                  <a:cubicBezTo>
                    <a:pt x="1230154" y="290036"/>
                    <a:pt x="1229201" y="296704"/>
                    <a:pt x="1228249" y="304324"/>
                  </a:cubicBezTo>
                  <a:close/>
                  <a:moveTo>
                    <a:pt x="1232059" y="280511"/>
                  </a:moveTo>
                  <a:cubicBezTo>
                    <a:pt x="1232059" y="279559"/>
                    <a:pt x="1232059" y="279559"/>
                    <a:pt x="1232059" y="278606"/>
                  </a:cubicBezTo>
                  <a:cubicBezTo>
                    <a:pt x="1232059" y="277654"/>
                    <a:pt x="1231106" y="276701"/>
                    <a:pt x="1230154" y="275749"/>
                  </a:cubicBezTo>
                  <a:cubicBezTo>
                    <a:pt x="1229201" y="275749"/>
                    <a:pt x="1228249" y="274796"/>
                    <a:pt x="1227296" y="275749"/>
                  </a:cubicBezTo>
                  <a:cubicBezTo>
                    <a:pt x="1227296" y="275749"/>
                    <a:pt x="1227296" y="275749"/>
                    <a:pt x="1226344" y="275749"/>
                  </a:cubicBezTo>
                  <a:lnTo>
                    <a:pt x="1226344" y="269081"/>
                  </a:lnTo>
                  <a:cubicBezTo>
                    <a:pt x="1227296" y="270034"/>
                    <a:pt x="1228249" y="270986"/>
                    <a:pt x="1230154" y="272891"/>
                  </a:cubicBezTo>
                  <a:cubicBezTo>
                    <a:pt x="1231106" y="273844"/>
                    <a:pt x="1232059" y="274796"/>
                    <a:pt x="1233011" y="276701"/>
                  </a:cubicBezTo>
                  <a:cubicBezTo>
                    <a:pt x="1232059" y="278606"/>
                    <a:pt x="1232059" y="279559"/>
                    <a:pt x="1232059" y="280511"/>
                  </a:cubicBezTo>
                  <a:close/>
                  <a:moveTo>
                    <a:pt x="1230154" y="221456"/>
                  </a:moveTo>
                  <a:cubicBezTo>
                    <a:pt x="1232059" y="225266"/>
                    <a:pt x="1233011" y="229076"/>
                    <a:pt x="1233964" y="233839"/>
                  </a:cubicBezTo>
                  <a:cubicBezTo>
                    <a:pt x="1233964" y="233839"/>
                    <a:pt x="1233964" y="233839"/>
                    <a:pt x="1233964" y="233839"/>
                  </a:cubicBezTo>
                  <a:cubicBezTo>
                    <a:pt x="1233964" y="232886"/>
                    <a:pt x="1233011" y="230981"/>
                    <a:pt x="1233011" y="230029"/>
                  </a:cubicBezTo>
                  <a:cubicBezTo>
                    <a:pt x="1231106" y="226219"/>
                    <a:pt x="1230154" y="223361"/>
                    <a:pt x="1230154" y="221456"/>
                  </a:cubicBezTo>
                  <a:cubicBezTo>
                    <a:pt x="1229201" y="220504"/>
                    <a:pt x="1229201" y="220504"/>
                    <a:pt x="1230154" y="221456"/>
                  </a:cubicBezTo>
                  <a:close/>
                  <a:moveTo>
                    <a:pt x="1229201" y="257651"/>
                  </a:moveTo>
                  <a:cubicBezTo>
                    <a:pt x="1229201" y="257651"/>
                    <a:pt x="1229201" y="257651"/>
                    <a:pt x="1229201" y="257651"/>
                  </a:cubicBezTo>
                  <a:cubicBezTo>
                    <a:pt x="1229201" y="258604"/>
                    <a:pt x="1230154" y="258604"/>
                    <a:pt x="1230154" y="259556"/>
                  </a:cubicBezTo>
                  <a:cubicBezTo>
                    <a:pt x="1230154" y="260509"/>
                    <a:pt x="1230154" y="261461"/>
                    <a:pt x="1230154" y="262414"/>
                  </a:cubicBezTo>
                  <a:cubicBezTo>
                    <a:pt x="1231106" y="266224"/>
                    <a:pt x="1231106" y="270986"/>
                    <a:pt x="1232059" y="274796"/>
                  </a:cubicBezTo>
                  <a:cubicBezTo>
                    <a:pt x="1232059" y="274796"/>
                    <a:pt x="1232059" y="274796"/>
                    <a:pt x="1232059" y="274796"/>
                  </a:cubicBezTo>
                  <a:cubicBezTo>
                    <a:pt x="1231106" y="273844"/>
                    <a:pt x="1230154" y="272891"/>
                    <a:pt x="1229201" y="272891"/>
                  </a:cubicBezTo>
                  <a:cubicBezTo>
                    <a:pt x="1227296" y="270986"/>
                    <a:pt x="1225391" y="270034"/>
                    <a:pt x="1225391" y="269081"/>
                  </a:cubicBezTo>
                  <a:lnTo>
                    <a:pt x="1225391" y="265271"/>
                  </a:lnTo>
                  <a:cubicBezTo>
                    <a:pt x="1227296" y="263366"/>
                    <a:pt x="1228249" y="260509"/>
                    <a:pt x="1229201" y="257651"/>
                  </a:cubicBezTo>
                  <a:close/>
                  <a:moveTo>
                    <a:pt x="1226344" y="235744"/>
                  </a:moveTo>
                  <a:cubicBezTo>
                    <a:pt x="1227296" y="238601"/>
                    <a:pt x="1227296" y="241459"/>
                    <a:pt x="1228249" y="244316"/>
                  </a:cubicBezTo>
                  <a:cubicBezTo>
                    <a:pt x="1228249" y="245269"/>
                    <a:pt x="1227296" y="246221"/>
                    <a:pt x="1227296" y="246221"/>
                  </a:cubicBezTo>
                  <a:cubicBezTo>
                    <a:pt x="1226344" y="245269"/>
                    <a:pt x="1226344" y="245269"/>
                    <a:pt x="1225391" y="244316"/>
                  </a:cubicBezTo>
                  <a:lnTo>
                    <a:pt x="1225391" y="231934"/>
                  </a:lnTo>
                  <a:cubicBezTo>
                    <a:pt x="1225391" y="233839"/>
                    <a:pt x="1225391" y="234791"/>
                    <a:pt x="1226344" y="235744"/>
                  </a:cubicBezTo>
                  <a:close/>
                  <a:moveTo>
                    <a:pt x="1197769" y="293846"/>
                  </a:moveTo>
                  <a:cubicBezTo>
                    <a:pt x="1197769" y="292894"/>
                    <a:pt x="1198721" y="290989"/>
                    <a:pt x="1198721" y="290036"/>
                  </a:cubicBezTo>
                  <a:cubicBezTo>
                    <a:pt x="1198721" y="290989"/>
                    <a:pt x="1198721" y="290989"/>
                    <a:pt x="1198721" y="291941"/>
                  </a:cubicBezTo>
                  <a:cubicBezTo>
                    <a:pt x="1198721" y="293846"/>
                    <a:pt x="1199674" y="296704"/>
                    <a:pt x="1199674" y="299561"/>
                  </a:cubicBezTo>
                  <a:cubicBezTo>
                    <a:pt x="1198721" y="301466"/>
                    <a:pt x="1197769" y="304324"/>
                    <a:pt x="1196816" y="307181"/>
                  </a:cubicBezTo>
                  <a:cubicBezTo>
                    <a:pt x="1195864" y="304324"/>
                    <a:pt x="1195864" y="301466"/>
                    <a:pt x="1194911" y="299561"/>
                  </a:cubicBezTo>
                  <a:cubicBezTo>
                    <a:pt x="1195864" y="297656"/>
                    <a:pt x="1196816" y="295751"/>
                    <a:pt x="1197769" y="293846"/>
                  </a:cubicBezTo>
                  <a:close/>
                  <a:moveTo>
                    <a:pt x="1196816" y="459581"/>
                  </a:moveTo>
                  <a:lnTo>
                    <a:pt x="1196816" y="459581"/>
                  </a:lnTo>
                  <a:cubicBezTo>
                    <a:pt x="1195864" y="458629"/>
                    <a:pt x="1195864" y="457676"/>
                    <a:pt x="1195864" y="455771"/>
                  </a:cubicBezTo>
                  <a:cubicBezTo>
                    <a:pt x="1195864" y="456724"/>
                    <a:pt x="1195864" y="457676"/>
                    <a:pt x="1196816" y="459581"/>
                  </a:cubicBezTo>
                  <a:close/>
                  <a:moveTo>
                    <a:pt x="1190149" y="324326"/>
                  </a:moveTo>
                  <a:cubicBezTo>
                    <a:pt x="1190149" y="325279"/>
                    <a:pt x="1190149" y="325279"/>
                    <a:pt x="1190149" y="324326"/>
                  </a:cubicBezTo>
                  <a:cubicBezTo>
                    <a:pt x="1190149" y="323374"/>
                    <a:pt x="1190149" y="321469"/>
                    <a:pt x="1189196" y="320516"/>
                  </a:cubicBezTo>
                  <a:cubicBezTo>
                    <a:pt x="1190149" y="322421"/>
                    <a:pt x="1190149" y="323374"/>
                    <a:pt x="1190149" y="324326"/>
                  </a:cubicBezTo>
                  <a:close/>
                  <a:moveTo>
                    <a:pt x="1170146" y="270986"/>
                  </a:moveTo>
                  <a:cubicBezTo>
                    <a:pt x="1170146" y="270034"/>
                    <a:pt x="1170146" y="269081"/>
                    <a:pt x="1170146" y="268129"/>
                  </a:cubicBezTo>
                  <a:cubicBezTo>
                    <a:pt x="1170146" y="267176"/>
                    <a:pt x="1170146" y="265271"/>
                    <a:pt x="1170146" y="264319"/>
                  </a:cubicBezTo>
                  <a:cubicBezTo>
                    <a:pt x="1171099" y="253841"/>
                    <a:pt x="1172051" y="244316"/>
                    <a:pt x="1172051" y="235744"/>
                  </a:cubicBezTo>
                  <a:cubicBezTo>
                    <a:pt x="1173004" y="238601"/>
                    <a:pt x="1173956" y="241459"/>
                    <a:pt x="1174909" y="245269"/>
                  </a:cubicBezTo>
                  <a:cubicBezTo>
                    <a:pt x="1174909" y="249079"/>
                    <a:pt x="1175861" y="253841"/>
                    <a:pt x="1176814" y="260509"/>
                  </a:cubicBezTo>
                  <a:cubicBezTo>
                    <a:pt x="1177766" y="267176"/>
                    <a:pt x="1177766" y="275749"/>
                    <a:pt x="1177766" y="285274"/>
                  </a:cubicBezTo>
                  <a:cubicBezTo>
                    <a:pt x="1178719" y="291941"/>
                    <a:pt x="1177766" y="300514"/>
                    <a:pt x="1177766" y="308134"/>
                  </a:cubicBezTo>
                  <a:cubicBezTo>
                    <a:pt x="1177766" y="307181"/>
                    <a:pt x="1176814" y="306229"/>
                    <a:pt x="1176814" y="305276"/>
                  </a:cubicBezTo>
                  <a:cubicBezTo>
                    <a:pt x="1173956" y="298609"/>
                    <a:pt x="1171099" y="292894"/>
                    <a:pt x="1168241" y="287179"/>
                  </a:cubicBezTo>
                  <a:cubicBezTo>
                    <a:pt x="1169194" y="282416"/>
                    <a:pt x="1170146" y="275749"/>
                    <a:pt x="1170146" y="270986"/>
                  </a:cubicBezTo>
                  <a:close/>
                  <a:moveTo>
                    <a:pt x="1170146" y="309086"/>
                  </a:moveTo>
                  <a:cubicBezTo>
                    <a:pt x="1171099" y="312896"/>
                    <a:pt x="1173004" y="317659"/>
                    <a:pt x="1173956" y="321469"/>
                  </a:cubicBezTo>
                  <a:cubicBezTo>
                    <a:pt x="1173004" y="323374"/>
                    <a:pt x="1173004" y="325279"/>
                    <a:pt x="1172051" y="327184"/>
                  </a:cubicBezTo>
                  <a:cubicBezTo>
                    <a:pt x="1171099" y="325279"/>
                    <a:pt x="1171099" y="324326"/>
                    <a:pt x="1170146" y="322421"/>
                  </a:cubicBezTo>
                  <a:cubicBezTo>
                    <a:pt x="1170146" y="321469"/>
                    <a:pt x="1170146" y="319564"/>
                    <a:pt x="1170146" y="318611"/>
                  </a:cubicBezTo>
                  <a:cubicBezTo>
                    <a:pt x="1169194" y="313849"/>
                    <a:pt x="1169194" y="308134"/>
                    <a:pt x="1168241" y="303371"/>
                  </a:cubicBezTo>
                  <a:cubicBezTo>
                    <a:pt x="1168241" y="305276"/>
                    <a:pt x="1169194" y="307181"/>
                    <a:pt x="1170146" y="309086"/>
                  </a:cubicBezTo>
                  <a:close/>
                  <a:moveTo>
                    <a:pt x="1164431" y="236696"/>
                  </a:moveTo>
                  <a:cubicBezTo>
                    <a:pt x="1163479" y="242411"/>
                    <a:pt x="1162526" y="248126"/>
                    <a:pt x="1161574" y="253841"/>
                  </a:cubicBezTo>
                  <a:cubicBezTo>
                    <a:pt x="1161574" y="252889"/>
                    <a:pt x="1161574" y="252889"/>
                    <a:pt x="1161574" y="251936"/>
                  </a:cubicBezTo>
                  <a:cubicBezTo>
                    <a:pt x="1161574" y="251936"/>
                    <a:pt x="1161574" y="250984"/>
                    <a:pt x="1161574" y="250984"/>
                  </a:cubicBezTo>
                  <a:cubicBezTo>
                    <a:pt x="1162526" y="245269"/>
                    <a:pt x="1163479" y="240506"/>
                    <a:pt x="1164431" y="236696"/>
                  </a:cubicBezTo>
                  <a:close/>
                  <a:moveTo>
                    <a:pt x="1140619" y="290036"/>
                  </a:moveTo>
                  <a:cubicBezTo>
                    <a:pt x="1140619" y="290989"/>
                    <a:pt x="1139666" y="290989"/>
                    <a:pt x="1139666" y="291941"/>
                  </a:cubicBezTo>
                  <a:cubicBezTo>
                    <a:pt x="1138714" y="289084"/>
                    <a:pt x="1138714" y="286226"/>
                    <a:pt x="1137761" y="283369"/>
                  </a:cubicBezTo>
                  <a:cubicBezTo>
                    <a:pt x="1138714" y="286226"/>
                    <a:pt x="1139666" y="288131"/>
                    <a:pt x="1140619" y="290036"/>
                  </a:cubicBezTo>
                  <a:close/>
                  <a:moveTo>
                    <a:pt x="1114901" y="339566"/>
                  </a:moveTo>
                  <a:cubicBezTo>
                    <a:pt x="1115854" y="331946"/>
                    <a:pt x="1116806" y="323374"/>
                    <a:pt x="1117759" y="315754"/>
                  </a:cubicBezTo>
                  <a:cubicBezTo>
                    <a:pt x="1118711" y="318611"/>
                    <a:pt x="1118711" y="321469"/>
                    <a:pt x="1119664" y="325279"/>
                  </a:cubicBezTo>
                  <a:cubicBezTo>
                    <a:pt x="1120616" y="328136"/>
                    <a:pt x="1120616" y="331946"/>
                    <a:pt x="1121569" y="334804"/>
                  </a:cubicBezTo>
                  <a:cubicBezTo>
                    <a:pt x="1121569" y="336709"/>
                    <a:pt x="1120616" y="338614"/>
                    <a:pt x="1120616" y="341471"/>
                  </a:cubicBezTo>
                  <a:cubicBezTo>
                    <a:pt x="1120616" y="341471"/>
                    <a:pt x="1120616" y="341471"/>
                    <a:pt x="1120616" y="342424"/>
                  </a:cubicBezTo>
                  <a:cubicBezTo>
                    <a:pt x="1119664" y="344329"/>
                    <a:pt x="1118711" y="346234"/>
                    <a:pt x="1118711" y="348139"/>
                  </a:cubicBezTo>
                  <a:cubicBezTo>
                    <a:pt x="1117759" y="345281"/>
                    <a:pt x="1115854" y="343376"/>
                    <a:pt x="1114901" y="341471"/>
                  </a:cubicBezTo>
                  <a:cubicBezTo>
                    <a:pt x="1114901" y="340519"/>
                    <a:pt x="1114901" y="339566"/>
                    <a:pt x="1114901" y="339566"/>
                  </a:cubicBezTo>
                  <a:close/>
                  <a:moveTo>
                    <a:pt x="1111091" y="219551"/>
                  </a:moveTo>
                  <a:cubicBezTo>
                    <a:pt x="1111091" y="220504"/>
                    <a:pt x="1112044" y="221456"/>
                    <a:pt x="1112044" y="222409"/>
                  </a:cubicBezTo>
                  <a:cubicBezTo>
                    <a:pt x="1112044" y="225266"/>
                    <a:pt x="1112996" y="228124"/>
                    <a:pt x="1112996" y="230029"/>
                  </a:cubicBezTo>
                  <a:cubicBezTo>
                    <a:pt x="1112996" y="230029"/>
                    <a:pt x="1112996" y="230029"/>
                    <a:pt x="1112996" y="230029"/>
                  </a:cubicBezTo>
                  <a:cubicBezTo>
                    <a:pt x="1112996" y="226219"/>
                    <a:pt x="1112044" y="223361"/>
                    <a:pt x="1111091" y="219551"/>
                  </a:cubicBezTo>
                  <a:cubicBezTo>
                    <a:pt x="1111091" y="220504"/>
                    <a:pt x="1111091" y="219551"/>
                    <a:pt x="1111091" y="219551"/>
                  </a:cubicBezTo>
                  <a:close/>
                  <a:moveTo>
                    <a:pt x="1110139" y="217646"/>
                  </a:moveTo>
                  <a:cubicBezTo>
                    <a:pt x="1110139" y="217646"/>
                    <a:pt x="1110139" y="217646"/>
                    <a:pt x="1110139" y="217646"/>
                  </a:cubicBezTo>
                  <a:cubicBezTo>
                    <a:pt x="1110139" y="217646"/>
                    <a:pt x="1109186" y="216694"/>
                    <a:pt x="1109186" y="215741"/>
                  </a:cubicBezTo>
                  <a:cubicBezTo>
                    <a:pt x="1110139" y="216694"/>
                    <a:pt x="1110139" y="216694"/>
                    <a:pt x="1110139" y="217646"/>
                  </a:cubicBezTo>
                  <a:close/>
                  <a:moveTo>
                    <a:pt x="1101566" y="236696"/>
                  </a:moveTo>
                  <a:cubicBezTo>
                    <a:pt x="1104424" y="248126"/>
                    <a:pt x="1107281" y="262414"/>
                    <a:pt x="1111091" y="278606"/>
                  </a:cubicBezTo>
                  <a:cubicBezTo>
                    <a:pt x="1110139" y="283369"/>
                    <a:pt x="1109186" y="289084"/>
                    <a:pt x="1109186" y="293846"/>
                  </a:cubicBezTo>
                  <a:cubicBezTo>
                    <a:pt x="1108234" y="298609"/>
                    <a:pt x="1107281" y="304324"/>
                    <a:pt x="1106329" y="309086"/>
                  </a:cubicBezTo>
                  <a:cubicBezTo>
                    <a:pt x="1106329" y="309086"/>
                    <a:pt x="1106329" y="309086"/>
                    <a:pt x="1106329" y="308134"/>
                  </a:cubicBezTo>
                  <a:cubicBezTo>
                    <a:pt x="1105376" y="300514"/>
                    <a:pt x="1105376" y="295751"/>
                    <a:pt x="1105376" y="295751"/>
                  </a:cubicBezTo>
                  <a:cubicBezTo>
                    <a:pt x="1105376" y="295751"/>
                    <a:pt x="1105376" y="297656"/>
                    <a:pt x="1105376" y="300514"/>
                  </a:cubicBezTo>
                  <a:cubicBezTo>
                    <a:pt x="1103471" y="290989"/>
                    <a:pt x="1101566" y="282416"/>
                    <a:pt x="1099661" y="272891"/>
                  </a:cubicBezTo>
                  <a:cubicBezTo>
                    <a:pt x="1097756" y="265271"/>
                    <a:pt x="1096804" y="256699"/>
                    <a:pt x="1094899" y="249079"/>
                  </a:cubicBezTo>
                  <a:cubicBezTo>
                    <a:pt x="1096804" y="244316"/>
                    <a:pt x="1098709" y="240506"/>
                    <a:pt x="1101566" y="236696"/>
                  </a:cubicBezTo>
                  <a:close/>
                  <a:moveTo>
                    <a:pt x="1027271" y="325279"/>
                  </a:moveTo>
                  <a:cubicBezTo>
                    <a:pt x="1028224" y="319564"/>
                    <a:pt x="1029176" y="314801"/>
                    <a:pt x="1030129" y="310991"/>
                  </a:cubicBezTo>
                  <a:cubicBezTo>
                    <a:pt x="1031081" y="306229"/>
                    <a:pt x="1032986" y="301466"/>
                    <a:pt x="1034891" y="297656"/>
                  </a:cubicBezTo>
                  <a:cubicBezTo>
                    <a:pt x="1035844" y="293846"/>
                    <a:pt x="1037749" y="290989"/>
                    <a:pt x="1039654" y="288131"/>
                  </a:cubicBezTo>
                  <a:cubicBezTo>
                    <a:pt x="1040606" y="291941"/>
                    <a:pt x="1041559" y="295751"/>
                    <a:pt x="1042511" y="299561"/>
                  </a:cubicBezTo>
                  <a:cubicBezTo>
                    <a:pt x="1041559" y="301466"/>
                    <a:pt x="1040606" y="303371"/>
                    <a:pt x="1039654" y="305276"/>
                  </a:cubicBezTo>
                  <a:cubicBezTo>
                    <a:pt x="1034891" y="313849"/>
                    <a:pt x="1031081" y="322421"/>
                    <a:pt x="1028224" y="330994"/>
                  </a:cubicBezTo>
                  <a:cubicBezTo>
                    <a:pt x="1028224" y="329089"/>
                    <a:pt x="1028224" y="327184"/>
                    <a:pt x="1027271" y="325279"/>
                  </a:cubicBezTo>
                  <a:close/>
                  <a:moveTo>
                    <a:pt x="1040606" y="374809"/>
                  </a:moveTo>
                  <a:cubicBezTo>
                    <a:pt x="1040606" y="373856"/>
                    <a:pt x="1039654" y="371951"/>
                    <a:pt x="1039654" y="370999"/>
                  </a:cubicBezTo>
                  <a:cubicBezTo>
                    <a:pt x="1041559" y="366236"/>
                    <a:pt x="1043464" y="360521"/>
                    <a:pt x="1045369" y="355759"/>
                  </a:cubicBezTo>
                  <a:cubicBezTo>
                    <a:pt x="1046321" y="358616"/>
                    <a:pt x="1047274" y="361474"/>
                    <a:pt x="1047274" y="364331"/>
                  </a:cubicBezTo>
                  <a:cubicBezTo>
                    <a:pt x="1047274" y="371951"/>
                    <a:pt x="1047274" y="378619"/>
                    <a:pt x="1048226" y="386239"/>
                  </a:cubicBezTo>
                  <a:cubicBezTo>
                    <a:pt x="1046321" y="385286"/>
                    <a:pt x="1045369" y="384334"/>
                    <a:pt x="1044416" y="384334"/>
                  </a:cubicBezTo>
                  <a:cubicBezTo>
                    <a:pt x="1042511" y="381476"/>
                    <a:pt x="1041559" y="377666"/>
                    <a:pt x="1040606" y="374809"/>
                  </a:cubicBezTo>
                  <a:close/>
                  <a:moveTo>
                    <a:pt x="1046321" y="389096"/>
                  </a:moveTo>
                  <a:cubicBezTo>
                    <a:pt x="1047274" y="390049"/>
                    <a:pt x="1047274" y="390049"/>
                    <a:pt x="1048226" y="391001"/>
                  </a:cubicBezTo>
                  <a:cubicBezTo>
                    <a:pt x="1048226" y="391954"/>
                    <a:pt x="1048226" y="391954"/>
                    <a:pt x="1048226" y="392906"/>
                  </a:cubicBezTo>
                  <a:cubicBezTo>
                    <a:pt x="1047274" y="391954"/>
                    <a:pt x="1046321" y="390049"/>
                    <a:pt x="1046321" y="389096"/>
                  </a:cubicBezTo>
                  <a:close/>
                  <a:moveTo>
                    <a:pt x="1056799" y="292894"/>
                  </a:moveTo>
                  <a:cubicBezTo>
                    <a:pt x="1057751" y="289084"/>
                    <a:pt x="1059656" y="286226"/>
                    <a:pt x="1061561" y="282416"/>
                  </a:cubicBezTo>
                  <a:cubicBezTo>
                    <a:pt x="1063466" y="278606"/>
                    <a:pt x="1064419" y="274796"/>
                    <a:pt x="1066324" y="271939"/>
                  </a:cubicBezTo>
                  <a:cubicBezTo>
                    <a:pt x="1066324" y="272891"/>
                    <a:pt x="1066324" y="272891"/>
                    <a:pt x="1066324" y="273844"/>
                  </a:cubicBezTo>
                  <a:cubicBezTo>
                    <a:pt x="1066324" y="275749"/>
                    <a:pt x="1067276" y="276701"/>
                    <a:pt x="1067276" y="278606"/>
                  </a:cubicBezTo>
                  <a:cubicBezTo>
                    <a:pt x="1066324" y="280511"/>
                    <a:pt x="1064419" y="282416"/>
                    <a:pt x="1063466" y="285274"/>
                  </a:cubicBezTo>
                  <a:cubicBezTo>
                    <a:pt x="1061561" y="288131"/>
                    <a:pt x="1059656" y="291941"/>
                    <a:pt x="1057751" y="295751"/>
                  </a:cubicBezTo>
                  <a:cubicBezTo>
                    <a:pt x="1057751" y="294799"/>
                    <a:pt x="1056799" y="293846"/>
                    <a:pt x="1056799" y="292894"/>
                  </a:cubicBezTo>
                  <a:close/>
                  <a:moveTo>
                    <a:pt x="1059656" y="360521"/>
                  </a:moveTo>
                  <a:cubicBezTo>
                    <a:pt x="1059656" y="360521"/>
                    <a:pt x="1059656" y="359569"/>
                    <a:pt x="1059656" y="360521"/>
                  </a:cubicBezTo>
                  <a:cubicBezTo>
                    <a:pt x="1059656" y="359569"/>
                    <a:pt x="1059656" y="360521"/>
                    <a:pt x="1059656" y="360521"/>
                  </a:cubicBezTo>
                  <a:cubicBezTo>
                    <a:pt x="1059656" y="360521"/>
                    <a:pt x="1059656" y="360521"/>
                    <a:pt x="1059656" y="360521"/>
                  </a:cubicBezTo>
                  <a:close/>
                  <a:moveTo>
                    <a:pt x="1064419" y="383381"/>
                  </a:moveTo>
                  <a:cubicBezTo>
                    <a:pt x="1063466" y="381476"/>
                    <a:pt x="1063466" y="380524"/>
                    <a:pt x="1062514" y="379571"/>
                  </a:cubicBezTo>
                  <a:cubicBezTo>
                    <a:pt x="1062514" y="377666"/>
                    <a:pt x="1062514" y="376714"/>
                    <a:pt x="1063466" y="374809"/>
                  </a:cubicBezTo>
                  <a:cubicBezTo>
                    <a:pt x="1063466" y="375761"/>
                    <a:pt x="1064419" y="377666"/>
                    <a:pt x="1064419" y="378619"/>
                  </a:cubicBezTo>
                  <a:cubicBezTo>
                    <a:pt x="1064419" y="379571"/>
                    <a:pt x="1064419" y="379571"/>
                    <a:pt x="1064419" y="380524"/>
                  </a:cubicBezTo>
                  <a:cubicBezTo>
                    <a:pt x="1064419" y="382429"/>
                    <a:pt x="1065371" y="384334"/>
                    <a:pt x="1065371" y="386239"/>
                  </a:cubicBezTo>
                  <a:cubicBezTo>
                    <a:pt x="1065371" y="385286"/>
                    <a:pt x="1065371" y="384334"/>
                    <a:pt x="1064419" y="383381"/>
                  </a:cubicBezTo>
                  <a:close/>
                  <a:moveTo>
                    <a:pt x="1069181" y="330994"/>
                  </a:moveTo>
                  <a:cubicBezTo>
                    <a:pt x="1067276" y="325279"/>
                    <a:pt x="1065371" y="318611"/>
                    <a:pt x="1063466" y="312896"/>
                  </a:cubicBezTo>
                  <a:cubicBezTo>
                    <a:pt x="1065371" y="309086"/>
                    <a:pt x="1067276" y="304324"/>
                    <a:pt x="1069181" y="300514"/>
                  </a:cubicBezTo>
                  <a:cubicBezTo>
                    <a:pt x="1070134" y="308134"/>
                    <a:pt x="1069181" y="316706"/>
                    <a:pt x="1070134" y="326231"/>
                  </a:cubicBezTo>
                  <a:cubicBezTo>
                    <a:pt x="1069181" y="328136"/>
                    <a:pt x="1069181" y="329089"/>
                    <a:pt x="1069181" y="330994"/>
                  </a:cubicBezTo>
                  <a:close/>
                  <a:moveTo>
                    <a:pt x="1077754" y="262414"/>
                  </a:moveTo>
                  <a:cubicBezTo>
                    <a:pt x="1076801" y="263366"/>
                    <a:pt x="1076801" y="264319"/>
                    <a:pt x="1075849" y="264319"/>
                  </a:cubicBezTo>
                  <a:cubicBezTo>
                    <a:pt x="1074896" y="261461"/>
                    <a:pt x="1074896" y="259556"/>
                    <a:pt x="1073944" y="256699"/>
                  </a:cubicBezTo>
                  <a:lnTo>
                    <a:pt x="1074896" y="256699"/>
                  </a:lnTo>
                  <a:lnTo>
                    <a:pt x="1075849" y="256699"/>
                  </a:lnTo>
                  <a:cubicBezTo>
                    <a:pt x="1076801" y="259556"/>
                    <a:pt x="1077754" y="260509"/>
                    <a:pt x="1077754" y="262414"/>
                  </a:cubicBezTo>
                  <a:close/>
                  <a:moveTo>
                    <a:pt x="1045369" y="175736"/>
                  </a:moveTo>
                  <a:cubicBezTo>
                    <a:pt x="1048226" y="168116"/>
                    <a:pt x="1052036" y="160496"/>
                    <a:pt x="1054894" y="153829"/>
                  </a:cubicBezTo>
                  <a:cubicBezTo>
                    <a:pt x="1054894" y="154781"/>
                    <a:pt x="1054894" y="154781"/>
                    <a:pt x="1055846" y="155734"/>
                  </a:cubicBezTo>
                  <a:cubicBezTo>
                    <a:pt x="1056799" y="160496"/>
                    <a:pt x="1058704" y="166211"/>
                    <a:pt x="1059656" y="171926"/>
                  </a:cubicBezTo>
                  <a:cubicBezTo>
                    <a:pt x="1061561" y="178594"/>
                    <a:pt x="1063466" y="186214"/>
                    <a:pt x="1064419" y="193834"/>
                  </a:cubicBezTo>
                  <a:cubicBezTo>
                    <a:pt x="1066324" y="201454"/>
                    <a:pt x="1067276" y="208121"/>
                    <a:pt x="1069181" y="215741"/>
                  </a:cubicBezTo>
                  <a:cubicBezTo>
                    <a:pt x="1072039" y="228124"/>
                    <a:pt x="1073944" y="241459"/>
                    <a:pt x="1076801" y="253841"/>
                  </a:cubicBezTo>
                  <a:cubicBezTo>
                    <a:pt x="1075849" y="253841"/>
                    <a:pt x="1074896" y="252889"/>
                    <a:pt x="1074896" y="252889"/>
                  </a:cubicBezTo>
                  <a:cubicBezTo>
                    <a:pt x="1070134" y="230981"/>
                    <a:pt x="1067276" y="216694"/>
                    <a:pt x="1067276" y="216694"/>
                  </a:cubicBezTo>
                  <a:cubicBezTo>
                    <a:pt x="1067276" y="216694"/>
                    <a:pt x="1067276" y="232886"/>
                    <a:pt x="1068229" y="257651"/>
                  </a:cubicBezTo>
                  <a:cubicBezTo>
                    <a:pt x="1068229" y="258604"/>
                    <a:pt x="1067276" y="258604"/>
                    <a:pt x="1067276" y="259556"/>
                  </a:cubicBezTo>
                  <a:cubicBezTo>
                    <a:pt x="1065371" y="255746"/>
                    <a:pt x="1065371" y="252889"/>
                    <a:pt x="1065371" y="252889"/>
                  </a:cubicBezTo>
                  <a:cubicBezTo>
                    <a:pt x="1065371" y="252889"/>
                    <a:pt x="1065371" y="255746"/>
                    <a:pt x="1066324" y="261461"/>
                  </a:cubicBezTo>
                  <a:cubicBezTo>
                    <a:pt x="1062514" y="267176"/>
                    <a:pt x="1058704" y="272891"/>
                    <a:pt x="1055846" y="278606"/>
                  </a:cubicBezTo>
                  <a:cubicBezTo>
                    <a:pt x="1055846" y="279559"/>
                    <a:pt x="1054894" y="279559"/>
                    <a:pt x="1054894" y="280511"/>
                  </a:cubicBezTo>
                  <a:cubicBezTo>
                    <a:pt x="1054894" y="279559"/>
                    <a:pt x="1053941" y="278606"/>
                    <a:pt x="1053941" y="277654"/>
                  </a:cubicBezTo>
                  <a:cubicBezTo>
                    <a:pt x="1050131" y="266224"/>
                    <a:pt x="1046321" y="254794"/>
                    <a:pt x="1043464" y="245269"/>
                  </a:cubicBezTo>
                  <a:cubicBezTo>
                    <a:pt x="1040606" y="235744"/>
                    <a:pt x="1037749" y="227171"/>
                    <a:pt x="1035844" y="220504"/>
                  </a:cubicBezTo>
                  <a:cubicBezTo>
                    <a:pt x="1033939" y="215741"/>
                    <a:pt x="1032986" y="211931"/>
                    <a:pt x="1032034" y="209074"/>
                  </a:cubicBezTo>
                  <a:cubicBezTo>
                    <a:pt x="1034891" y="196691"/>
                    <a:pt x="1040606" y="186214"/>
                    <a:pt x="1045369" y="175736"/>
                  </a:cubicBezTo>
                  <a:close/>
                  <a:moveTo>
                    <a:pt x="1019651" y="267176"/>
                  </a:moveTo>
                  <a:cubicBezTo>
                    <a:pt x="1020604" y="251936"/>
                    <a:pt x="1022509" y="236696"/>
                    <a:pt x="1023461" y="221456"/>
                  </a:cubicBezTo>
                  <a:cubicBezTo>
                    <a:pt x="1023461" y="220504"/>
                    <a:pt x="1024414" y="219551"/>
                    <a:pt x="1024414" y="218599"/>
                  </a:cubicBezTo>
                  <a:cubicBezTo>
                    <a:pt x="1026319" y="229076"/>
                    <a:pt x="1028224" y="241459"/>
                    <a:pt x="1032034" y="253841"/>
                  </a:cubicBezTo>
                  <a:cubicBezTo>
                    <a:pt x="1033939" y="263366"/>
                    <a:pt x="1036796" y="272891"/>
                    <a:pt x="1038701" y="283369"/>
                  </a:cubicBezTo>
                  <a:cubicBezTo>
                    <a:pt x="1038701" y="283369"/>
                    <a:pt x="1038701" y="284321"/>
                    <a:pt x="1037749" y="284321"/>
                  </a:cubicBezTo>
                  <a:cubicBezTo>
                    <a:pt x="1035844" y="287179"/>
                    <a:pt x="1032986" y="290036"/>
                    <a:pt x="1031081" y="294799"/>
                  </a:cubicBezTo>
                  <a:cubicBezTo>
                    <a:pt x="1029176" y="298609"/>
                    <a:pt x="1027271" y="302419"/>
                    <a:pt x="1025366" y="306229"/>
                  </a:cubicBezTo>
                  <a:cubicBezTo>
                    <a:pt x="1024414" y="297656"/>
                    <a:pt x="1024414" y="290036"/>
                    <a:pt x="1023461" y="284321"/>
                  </a:cubicBezTo>
                  <a:cubicBezTo>
                    <a:pt x="1022509" y="274796"/>
                    <a:pt x="1022509" y="269081"/>
                    <a:pt x="1022509" y="269081"/>
                  </a:cubicBezTo>
                  <a:cubicBezTo>
                    <a:pt x="1022509" y="269081"/>
                    <a:pt x="1021556" y="274796"/>
                    <a:pt x="1019651" y="284321"/>
                  </a:cubicBezTo>
                  <a:cubicBezTo>
                    <a:pt x="1018699" y="291941"/>
                    <a:pt x="1016794" y="302419"/>
                    <a:pt x="1015841" y="314801"/>
                  </a:cubicBezTo>
                  <a:cubicBezTo>
                    <a:pt x="1015841" y="314801"/>
                    <a:pt x="1015841" y="315754"/>
                    <a:pt x="1015841" y="315754"/>
                  </a:cubicBezTo>
                  <a:cubicBezTo>
                    <a:pt x="1015841" y="315754"/>
                    <a:pt x="1015841" y="315754"/>
                    <a:pt x="1015841" y="315754"/>
                  </a:cubicBezTo>
                  <a:cubicBezTo>
                    <a:pt x="1020604" y="276701"/>
                    <a:pt x="1022509" y="251936"/>
                    <a:pt x="1022509" y="251936"/>
                  </a:cubicBezTo>
                  <a:cubicBezTo>
                    <a:pt x="1022509" y="251936"/>
                    <a:pt x="1021556" y="257651"/>
                    <a:pt x="1019651" y="267176"/>
                  </a:cubicBezTo>
                  <a:close/>
                  <a:moveTo>
                    <a:pt x="1011079" y="364331"/>
                  </a:moveTo>
                  <a:cubicBezTo>
                    <a:pt x="1011079" y="361474"/>
                    <a:pt x="1012031" y="358616"/>
                    <a:pt x="1012031" y="355759"/>
                  </a:cubicBezTo>
                  <a:cubicBezTo>
                    <a:pt x="1012984" y="350996"/>
                    <a:pt x="1012984" y="347186"/>
                    <a:pt x="1013936" y="342424"/>
                  </a:cubicBezTo>
                  <a:cubicBezTo>
                    <a:pt x="1013936" y="342424"/>
                    <a:pt x="1013936" y="342424"/>
                    <a:pt x="1013936" y="342424"/>
                  </a:cubicBezTo>
                  <a:cubicBezTo>
                    <a:pt x="1012984" y="349091"/>
                    <a:pt x="1012984" y="356711"/>
                    <a:pt x="1012031" y="364331"/>
                  </a:cubicBezTo>
                  <a:cubicBezTo>
                    <a:pt x="1012031" y="365284"/>
                    <a:pt x="1011079" y="365284"/>
                    <a:pt x="1011079" y="366236"/>
                  </a:cubicBezTo>
                  <a:cubicBezTo>
                    <a:pt x="1011079" y="366236"/>
                    <a:pt x="1011079" y="366236"/>
                    <a:pt x="1011079" y="366236"/>
                  </a:cubicBezTo>
                  <a:cubicBezTo>
                    <a:pt x="1011079" y="366236"/>
                    <a:pt x="1011079" y="365284"/>
                    <a:pt x="1011079" y="364331"/>
                  </a:cubicBezTo>
                  <a:close/>
                  <a:moveTo>
                    <a:pt x="1004411" y="257651"/>
                  </a:moveTo>
                  <a:cubicBezTo>
                    <a:pt x="1003459" y="265271"/>
                    <a:pt x="1002506" y="273844"/>
                    <a:pt x="1001554" y="281464"/>
                  </a:cubicBezTo>
                  <a:cubicBezTo>
                    <a:pt x="999649" y="277654"/>
                    <a:pt x="997744" y="273844"/>
                    <a:pt x="996791" y="271939"/>
                  </a:cubicBezTo>
                  <a:cubicBezTo>
                    <a:pt x="999649" y="268129"/>
                    <a:pt x="1001554" y="262414"/>
                    <a:pt x="1004411" y="257651"/>
                  </a:cubicBezTo>
                  <a:close/>
                  <a:moveTo>
                    <a:pt x="991076" y="283369"/>
                  </a:moveTo>
                  <a:cubicBezTo>
                    <a:pt x="992981" y="280511"/>
                    <a:pt x="994886" y="276701"/>
                    <a:pt x="995839" y="273844"/>
                  </a:cubicBezTo>
                  <a:cubicBezTo>
                    <a:pt x="996791" y="277654"/>
                    <a:pt x="997744" y="283369"/>
                    <a:pt x="999649" y="291941"/>
                  </a:cubicBezTo>
                  <a:cubicBezTo>
                    <a:pt x="998696" y="303371"/>
                    <a:pt x="996791" y="314801"/>
                    <a:pt x="995839" y="326231"/>
                  </a:cubicBezTo>
                  <a:cubicBezTo>
                    <a:pt x="994886" y="328136"/>
                    <a:pt x="994886" y="329089"/>
                    <a:pt x="993934" y="330994"/>
                  </a:cubicBezTo>
                  <a:cubicBezTo>
                    <a:pt x="992981" y="324326"/>
                    <a:pt x="992981" y="320516"/>
                    <a:pt x="992981" y="320516"/>
                  </a:cubicBezTo>
                  <a:cubicBezTo>
                    <a:pt x="992981" y="320516"/>
                    <a:pt x="992029" y="327184"/>
                    <a:pt x="991076" y="338614"/>
                  </a:cubicBezTo>
                  <a:cubicBezTo>
                    <a:pt x="991076" y="339566"/>
                    <a:pt x="990124" y="340519"/>
                    <a:pt x="990124" y="341471"/>
                  </a:cubicBezTo>
                  <a:cubicBezTo>
                    <a:pt x="987266" y="349091"/>
                    <a:pt x="984409" y="356711"/>
                    <a:pt x="981551" y="365284"/>
                  </a:cubicBezTo>
                  <a:cubicBezTo>
                    <a:pt x="981551" y="364331"/>
                    <a:pt x="981551" y="363379"/>
                    <a:pt x="980599" y="363379"/>
                  </a:cubicBezTo>
                  <a:cubicBezTo>
                    <a:pt x="979646" y="351949"/>
                    <a:pt x="978694" y="341471"/>
                    <a:pt x="977741" y="331946"/>
                  </a:cubicBezTo>
                  <a:cubicBezTo>
                    <a:pt x="976789" y="325279"/>
                    <a:pt x="976789" y="318611"/>
                    <a:pt x="975836" y="311944"/>
                  </a:cubicBezTo>
                  <a:cubicBezTo>
                    <a:pt x="980599" y="301466"/>
                    <a:pt x="986314" y="291941"/>
                    <a:pt x="991076" y="283369"/>
                  </a:cubicBezTo>
                  <a:close/>
                  <a:moveTo>
                    <a:pt x="960596" y="298609"/>
                  </a:moveTo>
                  <a:cubicBezTo>
                    <a:pt x="963454" y="291941"/>
                    <a:pt x="965359" y="286226"/>
                    <a:pt x="968216" y="280511"/>
                  </a:cubicBezTo>
                  <a:cubicBezTo>
                    <a:pt x="968216" y="284321"/>
                    <a:pt x="967264" y="289084"/>
                    <a:pt x="967264" y="294799"/>
                  </a:cubicBezTo>
                  <a:cubicBezTo>
                    <a:pt x="965359" y="297656"/>
                    <a:pt x="963454" y="301466"/>
                    <a:pt x="961549" y="304324"/>
                  </a:cubicBezTo>
                  <a:cubicBezTo>
                    <a:pt x="961549" y="304324"/>
                    <a:pt x="961549" y="304324"/>
                    <a:pt x="961549" y="303371"/>
                  </a:cubicBezTo>
                  <a:cubicBezTo>
                    <a:pt x="961549" y="302419"/>
                    <a:pt x="960596" y="302419"/>
                    <a:pt x="960596" y="301466"/>
                  </a:cubicBezTo>
                  <a:cubicBezTo>
                    <a:pt x="960596" y="299561"/>
                    <a:pt x="960596" y="299561"/>
                    <a:pt x="960596" y="298609"/>
                  </a:cubicBezTo>
                  <a:close/>
                  <a:moveTo>
                    <a:pt x="939641" y="258604"/>
                  </a:moveTo>
                  <a:cubicBezTo>
                    <a:pt x="939641" y="258604"/>
                    <a:pt x="939641" y="258604"/>
                    <a:pt x="939641" y="258604"/>
                  </a:cubicBezTo>
                  <a:cubicBezTo>
                    <a:pt x="941546" y="253841"/>
                    <a:pt x="942499" y="250031"/>
                    <a:pt x="943451" y="246221"/>
                  </a:cubicBezTo>
                  <a:cubicBezTo>
                    <a:pt x="943451" y="248126"/>
                    <a:pt x="943451" y="250031"/>
                    <a:pt x="943451" y="251936"/>
                  </a:cubicBezTo>
                  <a:cubicBezTo>
                    <a:pt x="942499" y="253841"/>
                    <a:pt x="941546" y="256699"/>
                    <a:pt x="939641" y="258604"/>
                  </a:cubicBezTo>
                  <a:lnTo>
                    <a:pt x="939641" y="258604"/>
                  </a:lnTo>
                  <a:close/>
                  <a:moveTo>
                    <a:pt x="944404" y="280511"/>
                  </a:moveTo>
                  <a:lnTo>
                    <a:pt x="943451" y="273844"/>
                  </a:lnTo>
                  <a:cubicBezTo>
                    <a:pt x="943451" y="272891"/>
                    <a:pt x="944404" y="271939"/>
                    <a:pt x="944404" y="270986"/>
                  </a:cubicBezTo>
                  <a:cubicBezTo>
                    <a:pt x="944404" y="270986"/>
                    <a:pt x="944404" y="271939"/>
                    <a:pt x="944404" y="271939"/>
                  </a:cubicBezTo>
                  <a:cubicBezTo>
                    <a:pt x="944404" y="272891"/>
                    <a:pt x="944404" y="274796"/>
                    <a:pt x="944404" y="275749"/>
                  </a:cubicBezTo>
                  <a:cubicBezTo>
                    <a:pt x="945356" y="277654"/>
                    <a:pt x="945356" y="279559"/>
                    <a:pt x="944404" y="280511"/>
                  </a:cubicBezTo>
                  <a:close/>
                  <a:moveTo>
                    <a:pt x="944404" y="270986"/>
                  </a:moveTo>
                  <a:cubicBezTo>
                    <a:pt x="944404" y="270986"/>
                    <a:pt x="944404" y="270986"/>
                    <a:pt x="944404" y="270986"/>
                  </a:cubicBezTo>
                  <a:cubicBezTo>
                    <a:pt x="945356" y="270986"/>
                    <a:pt x="945356" y="270986"/>
                    <a:pt x="944404" y="270986"/>
                  </a:cubicBezTo>
                  <a:cubicBezTo>
                    <a:pt x="945356" y="270986"/>
                    <a:pt x="944404" y="270986"/>
                    <a:pt x="944404" y="270986"/>
                  </a:cubicBezTo>
                  <a:close/>
                  <a:moveTo>
                    <a:pt x="933926" y="227171"/>
                  </a:moveTo>
                  <a:cubicBezTo>
                    <a:pt x="946309" y="185261"/>
                    <a:pt x="954881" y="153829"/>
                    <a:pt x="958691" y="138589"/>
                  </a:cubicBezTo>
                  <a:cubicBezTo>
                    <a:pt x="958691" y="141446"/>
                    <a:pt x="958691" y="143351"/>
                    <a:pt x="958691" y="146209"/>
                  </a:cubicBezTo>
                  <a:cubicBezTo>
                    <a:pt x="957739" y="159544"/>
                    <a:pt x="956786" y="179546"/>
                    <a:pt x="953929" y="203359"/>
                  </a:cubicBezTo>
                  <a:cubicBezTo>
                    <a:pt x="952976" y="215741"/>
                    <a:pt x="951071" y="228124"/>
                    <a:pt x="950119" y="242411"/>
                  </a:cubicBezTo>
                  <a:cubicBezTo>
                    <a:pt x="949166" y="243364"/>
                    <a:pt x="948214" y="245269"/>
                    <a:pt x="948214" y="246221"/>
                  </a:cubicBezTo>
                  <a:cubicBezTo>
                    <a:pt x="947261" y="244316"/>
                    <a:pt x="947261" y="241459"/>
                    <a:pt x="947261" y="240506"/>
                  </a:cubicBezTo>
                  <a:cubicBezTo>
                    <a:pt x="948214" y="235744"/>
                    <a:pt x="949166" y="233839"/>
                    <a:pt x="949166" y="233839"/>
                  </a:cubicBezTo>
                  <a:cubicBezTo>
                    <a:pt x="949166" y="233839"/>
                    <a:pt x="948214" y="235744"/>
                    <a:pt x="946309" y="238601"/>
                  </a:cubicBezTo>
                  <a:cubicBezTo>
                    <a:pt x="945356" y="232886"/>
                    <a:pt x="944404" y="230029"/>
                    <a:pt x="944404" y="230029"/>
                  </a:cubicBezTo>
                  <a:cubicBezTo>
                    <a:pt x="944404" y="230029"/>
                    <a:pt x="944404" y="233839"/>
                    <a:pt x="944404" y="241459"/>
                  </a:cubicBezTo>
                  <a:cubicBezTo>
                    <a:pt x="943451" y="244316"/>
                    <a:pt x="941546" y="248126"/>
                    <a:pt x="939641" y="251936"/>
                  </a:cubicBezTo>
                  <a:lnTo>
                    <a:pt x="938689" y="248126"/>
                  </a:lnTo>
                  <a:lnTo>
                    <a:pt x="936784" y="241459"/>
                  </a:lnTo>
                  <a:cubicBezTo>
                    <a:pt x="941546" y="226219"/>
                    <a:pt x="943451" y="217646"/>
                    <a:pt x="943451" y="217646"/>
                  </a:cubicBezTo>
                  <a:cubicBezTo>
                    <a:pt x="943451" y="217646"/>
                    <a:pt x="940594" y="224314"/>
                    <a:pt x="934879" y="235744"/>
                  </a:cubicBezTo>
                  <a:lnTo>
                    <a:pt x="932974" y="230029"/>
                  </a:lnTo>
                  <a:cubicBezTo>
                    <a:pt x="932974" y="230029"/>
                    <a:pt x="932974" y="228124"/>
                    <a:pt x="933926" y="227171"/>
                  </a:cubicBezTo>
                  <a:close/>
                  <a:moveTo>
                    <a:pt x="921544" y="452914"/>
                  </a:moveTo>
                  <a:cubicBezTo>
                    <a:pt x="921544" y="452914"/>
                    <a:pt x="920591" y="451961"/>
                    <a:pt x="920591" y="451961"/>
                  </a:cubicBezTo>
                  <a:cubicBezTo>
                    <a:pt x="920591" y="447199"/>
                    <a:pt x="920591" y="443389"/>
                    <a:pt x="919639" y="438626"/>
                  </a:cubicBezTo>
                  <a:cubicBezTo>
                    <a:pt x="920591" y="443389"/>
                    <a:pt x="921544" y="448151"/>
                    <a:pt x="921544" y="452914"/>
                  </a:cubicBezTo>
                  <a:close/>
                  <a:moveTo>
                    <a:pt x="912019" y="210979"/>
                  </a:moveTo>
                  <a:lnTo>
                    <a:pt x="915829" y="227171"/>
                  </a:lnTo>
                  <a:cubicBezTo>
                    <a:pt x="915829" y="228124"/>
                    <a:pt x="915829" y="229076"/>
                    <a:pt x="914876" y="230029"/>
                  </a:cubicBezTo>
                  <a:cubicBezTo>
                    <a:pt x="913924" y="231934"/>
                    <a:pt x="913924" y="234791"/>
                    <a:pt x="912971" y="236696"/>
                  </a:cubicBezTo>
                  <a:cubicBezTo>
                    <a:pt x="912971" y="235744"/>
                    <a:pt x="912019" y="233839"/>
                    <a:pt x="912019" y="232886"/>
                  </a:cubicBezTo>
                  <a:cubicBezTo>
                    <a:pt x="912019" y="231934"/>
                    <a:pt x="912019" y="230029"/>
                    <a:pt x="912019" y="228124"/>
                  </a:cubicBezTo>
                  <a:cubicBezTo>
                    <a:pt x="912019" y="222409"/>
                    <a:pt x="911066" y="216694"/>
                    <a:pt x="911066" y="210979"/>
                  </a:cubicBezTo>
                  <a:cubicBezTo>
                    <a:pt x="911066" y="209074"/>
                    <a:pt x="911066" y="206216"/>
                    <a:pt x="911066" y="204311"/>
                  </a:cubicBezTo>
                  <a:lnTo>
                    <a:pt x="912019" y="210979"/>
                  </a:lnTo>
                  <a:close/>
                  <a:moveTo>
                    <a:pt x="833914" y="333851"/>
                  </a:moveTo>
                  <a:cubicBezTo>
                    <a:pt x="833914" y="332899"/>
                    <a:pt x="833914" y="332899"/>
                    <a:pt x="834866" y="331946"/>
                  </a:cubicBezTo>
                  <a:cubicBezTo>
                    <a:pt x="834866" y="333851"/>
                    <a:pt x="834866" y="335756"/>
                    <a:pt x="834866" y="337661"/>
                  </a:cubicBezTo>
                  <a:cubicBezTo>
                    <a:pt x="834866" y="336709"/>
                    <a:pt x="833914" y="334804"/>
                    <a:pt x="833914" y="333851"/>
                  </a:cubicBezTo>
                  <a:close/>
                  <a:moveTo>
                    <a:pt x="847249" y="304324"/>
                  </a:moveTo>
                  <a:cubicBezTo>
                    <a:pt x="847249" y="303371"/>
                    <a:pt x="847249" y="302419"/>
                    <a:pt x="846296" y="301466"/>
                  </a:cubicBezTo>
                  <a:cubicBezTo>
                    <a:pt x="846296" y="300514"/>
                    <a:pt x="846296" y="300514"/>
                    <a:pt x="846296" y="299561"/>
                  </a:cubicBezTo>
                  <a:cubicBezTo>
                    <a:pt x="848201" y="294799"/>
                    <a:pt x="849154" y="290989"/>
                    <a:pt x="851059" y="286226"/>
                  </a:cubicBezTo>
                  <a:cubicBezTo>
                    <a:pt x="850106" y="292894"/>
                    <a:pt x="848201" y="298609"/>
                    <a:pt x="847249" y="304324"/>
                  </a:cubicBezTo>
                  <a:close/>
                  <a:moveTo>
                    <a:pt x="880586" y="300514"/>
                  </a:moveTo>
                  <a:cubicBezTo>
                    <a:pt x="878681" y="306229"/>
                    <a:pt x="877729" y="312896"/>
                    <a:pt x="876776" y="319564"/>
                  </a:cubicBezTo>
                  <a:cubicBezTo>
                    <a:pt x="874871" y="326231"/>
                    <a:pt x="873919" y="334804"/>
                    <a:pt x="872966" y="343376"/>
                  </a:cubicBezTo>
                  <a:cubicBezTo>
                    <a:pt x="872014" y="346234"/>
                    <a:pt x="870109" y="348139"/>
                    <a:pt x="869156" y="350996"/>
                  </a:cubicBezTo>
                  <a:cubicBezTo>
                    <a:pt x="869156" y="350996"/>
                    <a:pt x="868204" y="350044"/>
                    <a:pt x="868204" y="349091"/>
                  </a:cubicBezTo>
                  <a:cubicBezTo>
                    <a:pt x="868204" y="349091"/>
                    <a:pt x="868204" y="348139"/>
                    <a:pt x="867251" y="348139"/>
                  </a:cubicBezTo>
                  <a:cubicBezTo>
                    <a:pt x="867251" y="344329"/>
                    <a:pt x="867251" y="339566"/>
                    <a:pt x="867251" y="335756"/>
                  </a:cubicBezTo>
                  <a:cubicBezTo>
                    <a:pt x="867251" y="323374"/>
                    <a:pt x="867251" y="311944"/>
                    <a:pt x="866299" y="301466"/>
                  </a:cubicBezTo>
                  <a:cubicBezTo>
                    <a:pt x="866299" y="290989"/>
                    <a:pt x="864394" y="281464"/>
                    <a:pt x="863441" y="272891"/>
                  </a:cubicBezTo>
                  <a:cubicBezTo>
                    <a:pt x="862489" y="267176"/>
                    <a:pt x="862489" y="262414"/>
                    <a:pt x="861536" y="257651"/>
                  </a:cubicBezTo>
                  <a:cubicBezTo>
                    <a:pt x="861536" y="256699"/>
                    <a:pt x="861536" y="256699"/>
                    <a:pt x="862489" y="255746"/>
                  </a:cubicBezTo>
                  <a:cubicBezTo>
                    <a:pt x="862489" y="255746"/>
                    <a:pt x="862489" y="255746"/>
                    <a:pt x="862489" y="255746"/>
                  </a:cubicBezTo>
                  <a:cubicBezTo>
                    <a:pt x="867251" y="265271"/>
                    <a:pt x="871061" y="274796"/>
                    <a:pt x="876776" y="286226"/>
                  </a:cubicBezTo>
                  <a:cubicBezTo>
                    <a:pt x="878681" y="290036"/>
                    <a:pt x="880586" y="293846"/>
                    <a:pt x="881539" y="296704"/>
                  </a:cubicBezTo>
                  <a:cubicBezTo>
                    <a:pt x="881539" y="298609"/>
                    <a:pt x="881539" y="299561"/>
                    <a:pt x="880586" y="300514"/>
                  </a:cubicBezTo>
                  <a:close/>
                  <a:moveTo>
                    <a:pt x="885349" y="318611"/>
                  </a:moveTo>
                  <a:cubicBezTo>
                    <a:pt x="885349" y="318611"/>
                    <a:pt x="885349" y="319564"/>
                    <a:pt x="884396" y="319564"/>
                  </a:cubicBezTo>
                  <a:cubicBezTo>
                    <a:pt x="884396" y="319564"/>
                    <a:pt x="884396" y="320516"/>
                    <a:pt x="883444" y="320516"/>
                  </a:cubicBezTo>
                  <a:cubicBezTo>
                    <a:pt x="883444" y="313849"/>
                    <a:pt x="883444" y="308134"/>
                    <a:pt x="884396" y="303371"/>
                  </a:cubicBezTo>
                  <a:cubicBezTo>
                    <a:pt x="885349" y="305276"/>
                    <a:pt x="886301" y="308134"/>
                    <a:pt x="887254" y="310039"/>
                  </a:cubicBezTo>
                  <a:cubicBezTo>
                    <a:pt x="887254" y="312896"/>
                    <a:pt x="886301" y="315754"/>
                    <a:pt x="885349" y="318611"/>
                  </a:cubicBezTo>
                  <a:close/>
                  <a:moveTo>
                    <a:pt x="900589" y="246221"/>
                  </a:moveTo>
                  <a:cubicBezTo>
                    <a:pt x="900589" y="247174"/>
                    <a:pt x="899636" y="247174"/>
                    <a:pt x="900589" y="246221"/>
                  </a:cubicBezTo>
                  <a:cubicBezTo>
                    <a:pt x="899636" y="239554"/>
                    <a:pt x="898684" y="234791"/>
                    <a:pt x="898684" y="234791"/>
                  </a:cubicBezTo>
                  <a:cubicBezTo>
                    <a:pt x="898684" y="234791"/>
                    <a:pt x="898684" y="241459"/>
                    <a:pt x="897731" y="252889"/>
                  </a:cubicBezTo>
                  <a:cubicBezTo>
                    <a:pt x="897731" y="252889"/>
                    <a:pt x="897731" y="252889"/>
                    <a:pt x="897731" y="253841"/>
                  </a:cubicBezTo>
                  <a:cubicBezTo>
                    <a:pt x="895826" y="251936"/>
                    <a:pt x="894874" y="250031"/>
                    <a:pt x="894874" y="250031"/>
                  </a:cubicBezTo>
                  <a:cubicBezTo>
                    <a:pt x="894874" y="250031"/>
                    <a:pt x="895826" y="251936"/>
                    <a:pt x="897731" y="254794"/>
                  </a:cubicBezTo>
                  <a:cubicBezTo>
                    <a:pt x="897731" y="255746"/>
                    <a:pt x="897731" y="256699"/>
                    <a:pt x="897731" y="257651"/>
                  </a:cubicBezTo>
                  <a:cubicBezTo>
                    <a:pt x="897731" y="259556"/>
                    <a:pt x="897731" y="262414"/>
                    <a:pt x="896779" y="264319"/>
                  </a:cubicBezTo>
                  <a:cubicBezTo>
                    <a:pt x="896779" y="264319"/>
                    <a:pt x="896779" y="264319"/>
                    <a:pt x="896779" y="264319"/>
                  </a:cubicBezTo>
                  <a:cubicBezTo>
                    <a:pt x="896779" y="264319"/>
                    <a:pt x="896779" y="264319"/>
                    <a:pt x="896779" y="264319"/>
                  </a:cubicBezTo>
                  <a:cubicBezTo>
                    <a:pt x="896779" y="264319"/>
                    <a:pt x="896779" y="265271"/>
                    <a:pt x="896779" y="265271"/>
                  </a:cubicBezTo>
                  <a:cubicBezTo>
                    <a:pt x="896779" y="267176"/>
                    <a:pt x="896779" y="269081"/>
                    <a:pt x="896779" y="270986"/>
                  </a:cubicBezTo>
                  <a:cubicBezTo>
                    <a:pt x="896779" y="271939"/>
                    <a:pt x="896779" y="271939"/>
                    <a:pt x="896779" y="272891"/>
                  </a:cubicBezTo>
                  <a:cubicBezTo>
                    <a:pt x="896779" y="276701"/>
                    <a:pt x="895826" y="280511"/>
                    <a:pt x="895826" y="285274"/>
                  </a:cubicBezTo>
                  <a:cubicBezTo>
                    <a:pt x="895826" y="286226"/>
                    <a:pt x="895826" y="286226"/>
                    <a:pt x="895826" y="287179"/>
                  </a:cubicBezTo>
                  <a:cubicBezTo>
                    <a:pt x="893921" y="284321"/>
                    <a:pt x="892969" y="281464"/>
                    <a:pt x="891064" y="279559"/>
                  </a:cubicBezTo>
                  <a:cubicBezTo>
                    <a:pt x="885349" y="269081"/>
                    <a:pt x="879634" y="259556"/>
                    <a:pt x="873919" y="250984"/>
                  </a:cubicBezTo>
                  <a:cubicBezTo>
                    <a:pt x="872014" y="248126"/>
                    <a:pt x="871061" y="245269"/>
                    <a:pt x="869156" y="243364"/>
                  </a:cubicBezTo>
                  <a:cubicBezTo>
                    <a:pt x="869156" y="243364"/>
                    <a:pt x="869156" y="243364"/>
                    <a:pt x="869156" y="242411"/>
                  </a:cubicBezTo>
                  <a:cubicBezTo>
                    <a:pt x="872966" y="232886"/>
                    <a:pt x="875824" y="223361"/>
                    <a:pt x="878681" y="215741"/>
                  </a:cubicBezTo>
                  <a:cubicBezTo>
                    <a:pt x="881539" y="210979"/>
                    <a:pt x="884396" y="205264"/>
                    <a:pt x="887254" y="200501"/>
                  </a:cubicBezTo>
                  <a:lnTo>
                    <a:pt x="895826" y="223361"/>
                  </a:lnTo>
                  <a:lnTo>
                    <a:pt x="901541" y="240506"/>
                  </a:lnTo>
                  <a:cubicBezTo>
                    <a:pt x="900589" y="242411"/>
                    <a:pt x="900589" y="244316"/>
                    <a:pt x="900589" y="246221"/>
                  </a:cubicBezTo>
                  <a:close/>
                  <a:moveTo>
                    <a:pt x="891064" y="190976"/>
                  </a:moveTo>
                  <a:cubicBezTo>
                    <a:pt x="892016" y="190024"/>
                    <a:pt x="892969" y="188119"/>
                    <a:pt x="892969" y="187166"/>
                  </a:cubicBezTo>
                  <a:cubicBezTo>
                    <a:pt x="892969" y="189071"/>
                    <a:pt x="894874" y="194786"/>
                    <a:pt x="896779" y="202406"/>
                  </a:cubicBezTo>
                  <a:cubicBezTo>
                    <a:pt x="895826" y="199549"/>
                    <a:pt x="893921" y="195739"/>
                    <a:pt x="891064" y="190976"/>
                  </a:cubicBezTo>
                  <a:close/>
                  <a:moveTo>
                    <a:pt x="904399" y="181451"/>
                  </a:moveTo>
                  <a:cubicBezTo>
                    <a:pt x="904399" y="182404"/>
                    <a:pt x="904399" y="182404"/>
                    <a:pt x="904399" y="183356"/>
                  </a:cubicBezTo>
                  <a:cubicBezTo>
                    <a:pt x="904399" y="190976"/>
                    <a:pt x="903446" y="200501"/>
                    <a:pt x="903446" y="210979"/>
                  </a:cubicBezTo>
                  <a:cubicBezTo>
                    <a:pt x="903446" y="210979"/>
                    <a:pt x="903446" y="210026"/>
                    <a:pt x="903446" y="210026"/>
                  </a:cubicBezTo>
                  <a:cubicBezTo>
                    <a:pt x="898684" y="197644"/>
                    <a:pt x="894874" y="190024"/>
                    <a:pt x="894874" y="188119"/>
                  </a:cubicBezTo>
                  <a:cubicBezTo>
                    <a:pt x="897731" y="183356"/>
                    <a:pt x="900589" y="178594"/>
                    <a:pt x="903446" y="173831"/>
                  </a:cubicBezTo>
                  <a:lnTo>
                    <a:pt x="904399" y="181451"/>
                  </a:lnTo>
                  <a:close/>
                  <a:moveTo>
                    <a:pt x="888206" y="137636"/>
                  </a:moveTo>
                  <a:cubicBezTo>
                    <a:pt x="889159" y="135731"/>
                    <a:pt x="890111" y="134779"/>
                    <a:pt x="890111" y="132874"/>
                  </a:cubicBezTo>
                  <a:lnTo>
                    <a:pt x="898684" y="161449"/>
                  </a:lnTo>
                  <a:cubicBezTo>
                    <a:pt x="896779" y="163354"/>
                    <a:pt x="894874" y="166211"/>
                    <a:pt x="893921" y="168116"/>
                  </a:cubicBezTo>
                  <a:cubicBezTo>
                    <a:pt x="891064" y="171926"/>
                    <a:pt x="888206" y="175736"/>
                    <a:pt x="885349" y="180499"/>
                  </a:cubicBezTo>
                  <a:cubicBezTo>
                    <a:pt x="881539" y="174784"/>
                    <a:pt x="878681" y="169069"/>
                    <a:pt x="874871" y="163354"/>
                  </a:cubicBezTo>
                  <a:cubicBezTo>
                    <a:pt x="879634" y="154781"/>
                    <a:pt x="883444" y="146209"/>
                    <a:pt x="888206" y="137636"/>
                  </a:cubicBezTo>
                  <a:close/>
                  <a:moveTo>
                    <a:pt x="872966" y="169069"/>
                  </a:moveTo>
                  <a:lnTo>
                    <a:pt x="881539" y="188119"/>
                  </a:lnTo>
                  <a:cubicBezTo>
                    <a:pt x="880586" y="189071"/>
                    <a:pt x="879634" y="190976"/>
                    <a:pt x="878681" y="191929"/>
                  </a:cubicBezTo>
                  <a:cubicBezTo>
                    <a:pt x="871061" y="202406"/>
                    <a:pt x="864394" y="213836"/>
                    <a:pt x="856774" y="226219"/>
                  </a:cubicBezTo>
                  <a:cubicBezTo>
                    <a:pt x="854869" y="223361"/>
                    <a:pt x="852964" y="220504"/>
                    <a:pt x="851059" y="217646"/>
                  </a:cubicBezTo>
                  <a:cubicBezTo>
                    <a:pt x="858679" y="199549"/>
                    <a:pt x="865346" y="183356"/>
                    <a:pt x="872966" y="169069"/>
                  </a:cubicBezTo>
                  <a:close/>
                  <a:moveTo>
                    <a:pt x="847249" y="225266"/>
                  </a:moveTo>
                  <a:cubicBezTo>
                    <a:pt x="847249" y="224314"/>
                    <a:pt x="848201" y="223361"/>
                    <a:pt x="848201" y="223361"/>
                  </a:cubicBezTo>
                  <a:cubicBezTo>
                    <a:pt x="849154" y="226219"/>
                    <a:pt x="851059" y="229076"/>
                    <a:pt x="852011" y="232886"/>
                  </a:cubicBezTo>
                  <a:cubicBezTo>
                    <a:pt x="850106" y="236696"/>
                    <a:pt x="848201" y="239554"/>
                    <a:pt x="845344" y="243364"/>
                  </a:cubicBezTo>
                  <a:cubicBezTo>
                    <a:pt x="842486" y="248126"/>
                    <a:pt x="839629" y="252889"/>
                    <a:pt x="837724" y="256699"/>
                  </a:cubicBezTo>
                  <a:cubicBezTo>
                    <a:pt x="837724" y="254794"/>
                    <a:pt x="836771" y="252889"/>
                    <a:pt x="836771" y="250984"/>
                  </a:cubicBezTo>
                  <a:cubicBezTo>
                    <a:pt x="839629" y="242411"/>
                    <a:pt x="843439" y="233839"/>
                    <a:pt x="847249" y="225266"/>
                  </a:cubicBezTo>
                  <a:close/>
                  <a:moveTo>
                    <a:pt x="835819" y="195739"/>
                  </a:moveTo>
                  <a:cubicBezTo>
                    <a:pt x="835819" y="194786"/>
                    <a:pt x="835819" y="194786"/>
                    <a:pt x="835819" y="195739"/>
                  </a:cubicBezTo>
                  <a:cubicBezTo>
                    <a:pt x="836771" y="196691"/>
                    <a:pt x="838676" y="200501"/>
                    <a:pt x="840581" y="206216"/>
                  </a:cubicBezTo>
                  <a:cubicBezTo>
                    <a:pt x="838676" y="210979"/>
                    <a:pt x="835819" y="214789"/>
                    <a:pt x="833914" y="219551"/>
                  </a:cubicBezTo>
                  <a:cubicBezTo>
                    <a:pt x="833914" y="220504"/>
                    <a:pt x="832961" y="220504"/>
                    <a:pt x="832961" y="221456"/>
                  </a:cubicBezTo>
                  <a:cubicBezTo>
                    <a:pt x="833914" y="211931"/>
                    <a:pt x="834866" y="203359"/>
                    <a:pt x="835819" y="195739"/>
                  </a:cubicBezTo>
                  <a:close/>
                  <a:moveTo>
                    <a:pt x="826294" y="274796"/>
                  </a:moveTo>
                  <a:cubicBezTo>
                    <a:pt x="827246" y="273844"/>
                    <a:pt x="827246" y="271939"/>
                    <a:pt x="828199" y="270986"/>
                  </a:cubicBezTo>
                  <a:cubicBezTo>
                    <a:pt x="828199" y="271939"/>
                    <a:pt x="828199" y="272891"/>
                    <a:pt x="828199" y="272891"/>
                  </a:cubicBezTo>
                  <a:cubicBezTo>
                    <a:pt x="827246" y="273844"/>
                    <a:pt x="826294" y="275749"/>
                    <a:pt x="826294" y="276701"/>
                  </a:cubicBezTo>
                  <a:cubicBezTo>
                    <a:pt x="826294" y="275749"/>
                    <a:pt x="826294" y="274796"/>
                    <a:pt x="826294" y="274796"/>
                  </a:cubicBezTo>
                  <a:close/>
                  <a:moveTo>
                    <a:pt x="812006" y="448151"/>
                  </a:moveTo>
                  <a:cubicBezTo>
                    <a:pt x="812006" y="448151"/>
                    <a:pt x="812006" y="448151"/>
                    <a:pt x="812006" y="448151"/>
                  </a:cubicBezTo>
                  <a:cubicBezTo>
                    <a:pt x="812006" y="448151"/>
                    <a:pt x="812006" y="448151"/>
                    <a:pt x="812006" y="448151"/>
                  </a:cubicBezTo>
                  <a:cubicBezTo>
                    <a:pt x="812006" y="448151"/>
                    <a:pt x="812006" y="448151"/>
                    <a:pt x="812006" y="448151"/>
                  </a:cubicBezTo>
                  <a:close/>
                  <a:moveTo>
                    <a:pt x="785336" y="330041"/>
                  </a:moveTo>
                  <a:cubicBezTo>
                    <a:pt x="784384" y="329089"/>
                    <a:pt x="783431" y="327184"/>
                    <a:pt x="782479" y="325279"/>
                  </a:cubicBezTo>
                  <a:cubicBezTo>
                    <a:pt x="782479" y="321469"/>
                    <a:pt x="782479" y="318611"/>
                    <a:pt x="782479" y="315754"/>
                  </a:cubicBezTo>
                  <a:cubicBezTo>
                    <a:pt x="783431" y="319564"/>
                    <a:pt x="785336" y="322421"/>
                    <a:pt x="786289" y="326231"/>
                  </a:cubicBezTo>
                  <a:cubicBezTo>
                    <a:pt x="786289" y="328136"/>
                    <a:pt x="785336" y="329089"/>
                    <a:pt x="785336" y="330041"/>
                  </a:cubicBezTo>
                  <a:close/>
                  <a:moveTo>
                    <a:pt x="797719" y="271939"/>
                  </a:moveTo>
                  <a:cubicBezTo>
                    <a:pt x="799624" y="276701"/>
                    <a:pt x="801529" y="281464"/>
                    <a:pt x="803434" y="286226"/>
                  </a:cubicBezTo>
                  <a:cubicBezTo>
                    <a:pt x="803434" y="287179"/>
                    <a:pt x="802481" y="288131"/>
                    <a:pt x="802481" y="288131"/>
                  </a:cubicBezTo>
                  <a:cubicBezTo>
                    <a:pt x="799624" y="295751"/>
                    <a:pt x="796766" y="302419"/>
                    <a:pt x="792956" y="310039"/>
                  </a:cubicBezTo>
                  <a:cubicBezTo>
                    <a:pt x="792956" y="310039"/>
                    <a:pt x="792956" y="310039"/>
                    <a:pt x="792956" y="309086"/>
                  </a:cubicBezTo>
                  <a:cubicBezTo>
                    <a:pt x="791051" y="305276"/>
                    <a:pt x="789146" y="300514"/>
                    <a:pt x="787241" y="296704"/>
                  </a:cubicBezTo>
                  <a:cubicBezTo>
                    <a:pt x="790099" y="285274"/>
                    <a:pt x="792956" y="274796"/>
                    <a:pt x="795814" y="266224"/>
                  </a:cubicBezTo>
                  <a:cubicBezTo>
                    <a:pt x="796766" y="269081"/>
                    <a:pt x="796766" y="270034"/>
                    <a:pt x="797719" y="271939"/>
                  </a:cubicBezTo>
                  <a:close/>
                  <a:moveTo>
                    <a:pt x="790099" y="253841"/>
                  </a:moveTo>
                  <a:cubicBezTo>
                    <a:pt x="791051" y="255746"/>
                    <a:pt x="792004" y="258604"/>
                    <a:pt x="793909" y="261461"/>
                  </a:cubicBezTo>
                  <a:cubicBezTo>
                    <a:pt x="793909" y="261461"/>
                    <a:pt x="793909" y="261461"/>
                    <a:pt x="793909" y="262414"/>
                  </a:cubicBezTo>
                  <a:cubicBezTo>
                    <a:pt x="791051" y="269081"/>
                    <a:pt x="788194" y="276701"/>
                    <a:pt x="784384" y="286226"/>
                  </a:cubicBezTo>
                  <a:cubicBezTo>
                    <a:pt x="784384" y="282416"/>
                    <a:pt x="784384" y="277654"/>
                    <a:pt x="785336" y="273844"/>
                  </a:cubicBezTo>
                  <a:cubicBezTo>
                    <a:pt x="786289" y="267176"/>
                    <a:pt x="788194" y="260509"/>
                    <a:pt x="790099" y="253841"/>
                  </a:cubicBezTo>
                  <a:close/>
                  <a:moveTo>
                    <a:pt x="773906" y="236696"/>
                  </a:moveTo>
                  <a:cubicBezTo>
                    <a:pt x="774859" y="229076"/>
                    <a:pt x="775811" y="221456"/>
                    <a:pt x="776764" y="213836"/>
                  </a:cubicBezTo>
                  <a:cubicBezTo>
                    <a:pt x="778669" y="218599"/>
                    <a:pt x="781526" y="223361"/>
                    <a:pt x="783431" y="229076"/>
                  </a:cubicBezTo>
                  <a:cubicBezTo>
                    <a:pt x="782479" y="230981"/>
                    <a:pt x="781526" y="233839"/>
                    <a:pt x="780574" y="235744"/>
                  </a:cubicBezTo>
                  <a:cubicBezTo>
                    <a:pt x="778669" y="233839"/>
                    <a:pt x="777716" y="231934"/>
                    <a:pt x="777716" y="231934"/>
                  </a:cubicBezTo>
                  <a:cubicBezTo>
                    <a:pt x="777716" y="231934"/>
                    <a:pt x="778669" y="233839"/>
                    <a:pt x="780574" y="236696"/>
                  </a:cubicBezTo>
                  <a:cubicBezTo>
                    <a:pt x="778669" y="242411"/>
                    <a:pt x="775811" y="249079"/>
                    <a:pt x="773906" y="255746"/>
                  </a:cubicBezTo>
                  <a:cubicBezTo>
                    <a:pt x="773906" y="249079"/>
                    <a:pt x="773906" y="242411"/>
                    <a:pt x="773906" y="236696"/>
                  </a:cubicBezTo>
                  <a:close/>
                  <a:moveTo>
                    <a:pt x="724376" y="219551"/>
                  </a:moveTo>
                  <a:cubicBezTo>
                    <a:pt x="725329" y="212884"/>
                    <a:pt x="726281" y="207169"/>
                    <a:pt x="726281" y="203359"/>
                  </a:cubicBezTo>
                  <a:cubicBezTo>
                    <a:pt x="726281" y="210026"/>
                    <a:pt x="726281" y="218599"/>
                    <a:pt x="726281" y="229076"/>
                  </a:cubicBezTo>
                  <a:cubicBezTo>
                    <a:pt x="725329" y="226219"/>
                    <a:pt x="724376" y="224314"/>
                    <a:pt x="723424" y="223361"/>
                  </a:cubicBezTo>
                  <a:cubicBezTo>
                    <a:pt x="723424" y="222409"/>
                    <a:pt x="723424" y="220504"/>
                    <a:pt x="724376" y="219551"/>
                  </a:cubicBezTo>
                  <a:close/>
                  <a:moveTo>
                    <a:pt x="723424" y="224314"/>
                  </a:moveTo>
                  <a:cubicBezTo>
                    <a:pt x="723424" y="226219"/>
                    <a:pt x="724376" y="230029"/>
                    <a:pt x="724376" y="235744"/>
                  </a:cubicBezTo>
                  <a:cubicBezTo>
                    <a:pt x="725329" y="239554"/>
                    <a:pt x="725329" y="245269"/>
                    <a:pt x="726281" y="250984"/>
                  </a:cubicBezTo>
                  <a:cubicBezTo>
                    <a:pt x="726281" y="250984"/>
                    <a:pt x="726281" y="250984"/>
                    <a:pt x="726281" y="251936"/>
                  </a:cubicBezTo>
                  <a:cubicBezTo>
                    <a:pt x="726281" y="259556"/>
                    <a:pt x="726281" y="268129"/>
                    <a:pt x="727234" y="276701"/>
                  </a:cubicBezTo>
                  <a:cubicBezTo>
                    <a:pt x="727234" y="280511"/>
                    <a:pt x="727234" y="284321"/>
                    <a:pt x="727234" y="288131"/>
                  </a:cubicBezTo>
                  <a:cubicBezTo>
                    <a:pt x="726281" y="286226"/>
                    <a:pt x="726281" y="285274"/>
                    <a:pt x="725329" y="284321"/>
                  </a:cubicBezTo>
                  <a:cubicBezTo>
                    <a:pt x="722471" y="275749"/>
                    <a:pt x="720566" y="268129"/>
                    <a:pt x="717709" y="260509"/>
                  </a:cubicBezTo>
                  <a:cubicBezTo>
                    <a:pt x="719614" y="246221"/>
                    <a:pt x="721519" y="233839"/>
                    <a:pt x="723424" y="224314"/>
                  </a:cubicBezTo>
                  <a:close/>
                  <a:moveTo>
                    <a:pt x="710089" y="308134"/>
                  </a:moveTo>
                  <a:cubicBezTo>
                    <a:pt x="710089" y="311944"/>
                    <a:pt x="711041" y="315754"/>
                    <a:pt x="711041" y="320516"/>
                  </a:cubicBezTo>
                  <a:cubicBezTo>
                    <a:pt x="712946" y="336709"/>
                    <a:pt x="714851" y="354806"/>
                    <a:pt x="717709" y="373856"/>
                  </a:cubicBezTo>
                  <a:cubicBezTo>
                    <a:pt x="715804" y="378619"/>
                    <a:pt x="712946" y="384334"/>
                    <a:pt x="711041" y="389096"/>
                  </a:cubicBezTo>
                  <a:cubicBezTo>
                    <a:pt x="710089" y="387191"/>
                    <a:pt x="710089" y="385286"/>
                    <a:pt x="709136" y="383381"/>
                  </a:cubicBezTo>
                  <a:cubicBezTo>
                    <a:pt x="710089" y="379571"/>
                    <a:pt x="710089" y="375761"/>
                    <a:pt x="711041" y="372904"/>
                  </a:cubicBezTo>
                  <a:cubicBezTo>
                    <a:pt x="712946" y="359569"/>
                    <a:pt x="713899" y="352901"/>
                    <a:pt x="713899" y="352901"/>
                  </a:cubicBezTo>
                  <a:cubicBezTo>
                    <a:pt x="713899" y="352901"/>
                    <a:pt x="711994" y="360521"/>
                    <a:pt x="707231" y="372904"/>
                  </a:cubicBezTo>
                  <a:cubicBezTo>
                    <a:pt x="707231" y="373856"/>
                    <a:pt x="706279" y="374809"/>
                    <a:pt x="706279" y="374809"/>
                  </a:cubicBezTo>
                  <a:cubicBezTo>
                    <a:pt x="704374" y="369094"/>
                    <a:pt x="702469" y="363379"/>
                    <a:pt x="701516" y="357664"/>
                  </a:cubicBezTo>
                  <a:cubicBezTo>
                    <a:pt x="701516" y="357664"/>
                    <a:pt x="701516" y="357664"/>
                    <a:pt x="701516" y="357664"/>
                  </a:cubicBezTo>
                  <a:cubicBezTo>
                    <a:pt x="704374" y="339566"/>
                    <a:pt x="707231" y="323374"/>
                    <a:pt x="710089" y="308134"/>
                  </a:cubicBezTo>
                  <a:close/>
                  <a:moveTo>
                    <a:pt x="676751" y="253841"/>
                  </a:moveTo>
                  <a:cubicBezTo>
                    <a:pt x="676751" y="250984"/>
                    <a:pt x="676751" y="249079"/>
                    <a:pt x="676751" y="246221"/>
                  </a:cubicBezTo>
                  <a:cubicBezTo>
                    <a:pt x="677704" y="237649"/>
                    <a:pt x="678656" y="229076"/>
                    <a:pt x="679609" y="220504"/>
                  </a:cubicBezTo>
                  <a:cubicBezTo>
                    <a:pt x="680561" y="206216"/>
                    <a:pt x="681514" y="192881"/>
                    <a:pt x="682466" y="181451"/>
                  </a:cubicBezTo>
                  <a:cubicBezTo>
                    <a:pt x="682466" y="180499"/>
                    <a:pt x="682466" y="179546"/>
                    <a:pt x="682466" y="178594"/>
                  </a:cubicBezTo>
                  <a:cubicBezTo>
                    <a:pt x="687229" y="193834"/>
                    <a:pt x="691039" y="211931"/>
                    <a:pt x="696754" y="231934"/>
                  </a:cubicBezTo>
                  <a:cubicBezTo>
                    <a:pt x="699611" y="243364"/>
                    <a:pt x="702469" y="254794"/>
                    <a:pt x="705326" y="267176"/>
                  </a:cubicBezTo>
                  <a:cubicBezTo>
                    <a:pt x="704374" y="269081"/>
                    <a:pt x="704374" y="271939"/>
                    <a:pt x="703421" y="273844"/>
                  </a:cubicBezTo>
                  <a:cubicBezTo>
                    <a:pt x="700564" y="284321"/>
                    <a:pt x="697706" y="295751"/>
                    <a:pt x="694849" y="307181"/>
                  </a:cubicBezTo>
                  <a:cubicBezTo>
                    <a:pt x="693896" y="309086"/>
                    <a:pt x="693896" y="311944"/>
                    <a:pt x="692944" y="313849"/>
                  </a:cubicBezTo>
                  <a:cubicBezTo>
                    <a:pt x="691991" y="316706"/>
                    <a:pt x="691039" y="319564"/>
                    <a:pt x="690086" y="322421"/>
                  </a:cubicBezTo>
                  <a:cubicBezTo>
                    <a:pt x="684371" y="305276"/>
                    <a:pt x="679609" y="290036"/>
                    <a:pt x="673894" y="274796"/>
                  </a:cubicBezTo>
                  <a:cubicBezTo>
                    <a:pt x="675799" y="268129"/>
                    <a:pt x="676751" y="260509"/>
                    <a:pt x="676751" y="253841"/>
                  </a:cubicBezTo>
                  <a:close/>
                  <a:moveTo>
                    <a:pt x="668179" y="331946"/>
                  </a:moveTo>
                  <a:cubicBezTo>
                    <a:pt x="668179" y="330994"/>
                    <a:pt x="668179" y="330994"/>
                    <a:pt x="668179" y="330041"/>
                  </a:cubicBezTo>
                  <a:cubicBezTo>
                    <a:pt x="668179" y="331946"/>
                    <a:pt x="669131" y="332899"/>
                    <a:pt x="669131" y="334804"/>
                  </a:cubicBezTo>
                  <a:cubicBezTo>
                    <a:pt x="670084" y="338614"/>
                    <a:pt x="671036" y="342424"/>
                    <a:pt x="671989" y="346234"/>
                  </a:cubicBezTo>
                  <a:cubicBezTo>
                    <a:pt x="672941" y="350044"/>
                    <a:pt x="673894" y="354806"/>
                    <a:pt x="674846" y="359569"/>
                  </a:cubicBezTo>
                  <a:cubicBezTo>
                    <a:pt x="675799" y="363379"/>
                    <a:pt x="676751" y="367189"/>
                    <a:pt x="676751" y="370999"/>
                  </a:cubicBezTo>
                  <a:cubicBezTo>
                    <a:pt x="676751" y="371951"/>
                    <a:pt x="675799" y="372904"/>
                    <a:pt x="675799" y="373856"/>
                  </a:cubicBezTo>
                  <a:cubicBezTo>
                    <a:pt x="675799" y="374809"/>
                    <a:pt x="674846" y="375761"/>
                    <a:pt x="674846" y="377666"/>
                  </a:cubicBezTo>
                  <a:cubicBezTo>
                    <a:pt x="672941" y="374809"/>
                    <a:pt x="671989" y="370999"/>
                    <a:pt x="670084" y="368141"/>
                  </a:cubicBezTo>
                  <a:cubicBezTo>
                    <a:pt x="668179" y="364331"/>
                    <a:pt x="666274" y="361474"/>
                    <a:pt x="664369" y="358616"/>
                  </a:cubicBezTo>
                  <a:cubicBezTo>
                    <a:pt x="665321" y="349091"/>
                    <a:pt x="667226" y="340519"/>
                    <a:pt x="668179" y="331946"/>
                  </a:cubicBezTo>
                  <a:close/>
                  <a:moveTo>
                    <a:pt x="656749" y="266224"/>
                  </a:moveTo>
                  <a:cubicBezTo>
                    <a:pt x="656749" y="266224"/>
                    <a:pt x="656749" y="267176"/>
                    <a:pt x="656749" y="267176"/>
                  </a:cubicBezTo>
                  <a:cubicBezTo>
                    <a:pt x="656749" y="268129"/>
                    <a:pt x="656749" y="269081"/>
                    <a:pt x="656749" y="269081"/>
                  </a:cubicBezTo>
                  <a:cubicBezTo>
                    <a:pt x="656749" y="268129"/>
                    <a:pt x="656749" y="267176"/>
                    <a:pt x="656749" y="266224"/>
                  </a:cubicBezTo>
                  <a:close/>
                  <a:moveTo>
                    <a:pt x="608171" y="318611"/>
                  </a:moveTo>
                  <a:cubicBezTo>
                    <a:pt x="609124" y="305276"/>
                    <a:pt x="611029" y="291941"/>
                    <a:pt x="611981" y="279559"/>
                  </a:cubicBezTo>
                  <a:cubicBezTo>
                    <a:pt x="612934" y="282416"/>
                    <a:pt x="612934" y="285274"/>
                    <a:pt x="613886" y="288131"/>
                  </a:cubicBezTo>
                  <a:cubicBezTo>
                    <a:pt x="614839" y="301466"/>
                    <a:pt x="615791" y="314801"/>
                    <a:pt x="615791" y="327184"/>
                  </a:cubicBezTo>
                  <a:cubicBezTo>
                    <a:pt x="615791" y="329089"/>
                    <a:pt x="615791" y="330041"/>
                    <a:pt x="615791" y="331946"/>
                  </a:cubicBezTo>
                  <a:cubicBezTo>
                    <a:pt x="615791" y="333851"/>
                    <a:pt x="615791" y="335756"/>
                    <a:pt x="615791" y="337661"/>
                  </a:cubicBezTo>
                  <a:cubicBezTo>
                    <a:pt x="614839" y="336709"/>
                    <a:pt x="613886" y="334804"/>
                    <a:pt x="613886" y="333851"/>
                  </a:cubicBezTo>
                  <a:cubicBezTo>
                    <a:pt x="611981" y="330041"/>
                    <a:pt x="609124" y="325279"/>
                    <a:pt x="607219" y="321469"/>
                  </a:cubicBezTo>
                  <a:cubicBezTo>
                    <a:pt x="608171" y="320516"/>
                    <a:pt x="608171" y="319564"/>
                    <a:pt x="608171" y="318611"/>
                  </a:cubicBezTo>
                  <a:close/>
                  <a:moveTo>
                    <a:pt x="606266" y="341471"/>
                  </a:moveTo>
                  <a:cubicBezTo>
                    <a:pt x="609124" y="349091"/>
                    <a:pt x="612934" y="356711"/>
                    <a:pt x="615791" y="364331"/>
                  </a:cubicBezTo>
                  <a:cubicBezTo>
                    <a:pt x="615791" y="364331"/>
                    <a:pt x="615791" y="365284"/>
                    <a:pt x="615791" y="365284"/>
                  </a:cubicBezTo>
                  <a:cubicBezTo>
                    <a:pt x="614839" y="368141"/>
                    <a:pt x="612934" y="371951"/>
                    <a:pt x="611029" y="375761"/>
                  </a:cubicBezTo>
                  <a:cubicBezTo>
                    <a:pt x="610076" y="371951"/>
                    <a:pt x="609124" y="367189"/>
                    <a:pt x="608171" y="363379"/>
                  </a:cubicBezTo>
                  <a:cubicBezTo>
                    <a:pt x="607219" y="358616"/>
                    <a:pt x="606266" y="354806"/>
                    <a:pt x="605314" y="350996"/>
                  </a:cubicBezTo>
                  <a:cubicBezTo>
                    <a:pt x="605314" y="348139"/>
                    <a:pt x="605314" y="344329"/>
                    <a:pt x="606266" y="341471"/>
                  </a:cubicBezTo>
                  <a:close/>
                  <a:moveTo>
                    <a:pt x="606266" y="424339"/>
                  </a:moveTo>
                  <a:cubicBezTo>
                    <a:pt x="607219" y="427196"/>
                    <a:pt x="608171" y="430054"/>
                    <a:pt x="609124" y="433864"/>
                  </a:cubicBezTo>
                  <a:cubicBezTo>
                    <a:pt x="608171" y="434816"/>
                    <a:pt x="608171" y="435769"/>
                    <a:pt x="607219" y="436721"/>
                  </a:cubicBezTo>
                  <a:lnTo>
                    <a:pt x="601504" y="435769"/>
                  </a:lnTo>
                  <a:cubicBezTo>
                    <a:pt x="604361" y="432911"/>
                    <a:pt x="605314" y="428149"/>
                    <a:pt x="606266" y="424339"/>
                  </a:cubicBezTo>
                  <a:close/>
                  <a:moveTo>
                    <a:pt x="599599" y="401479"/>
                  </a:moveTo>
                  <a:cubicBezTo>
                    <a:pt x="599599" y="402431"/>
                    <a:pt x="599599" y="402431"/>
                    <a:pt x="599599" y="401479"/>
                  </a:cubicBezTo>
                  <a:cubicBezTo>
                    <a:pt x="599599" y="402431"/>
                    <a:pt x="599599" y="403384"/>
                    <a:pt x="599599" y="403384"/>
                  </a:cubicBezTo>
                  <a:cubicBezTo>
                    <a:pt x="599599" y="403384"/>
                    <a:pt x="599599" y="402431"/>
                    <a:pt x="599599" y="401479"/>
                  </a:cubicBezTo>
                  <a:close/>
                  <a:moveTo>
                    <a:pt x="587216" y="300514"/>
                  </a:moveTo>
                  <a:cubicBezTo>
                    <a:pt x="588169" y="303371"/>
                    <a:pt x="590074" y="307181"/>
                    <a:pt x="591979" y="310039"/>
                  </a:cubicBezTo>
                  <a:cubicBezTo>
                    <a:pt x="591979" y="311944"/>
                    <a:pt x="591026" y="314801"/>
                    <a:pt x="591026" y="316706"/>
                  </a:cubicBezTo>
                  <a:cubicBezTo>
                    <a:pt x="591026" y="316706"/>
                    <a:pt x="591026" y="316706"/>
                    <a:pt x="591026" y="316706"/>
                  </a:cubicBezTo>
                  <a:cubicBezTo>
                    <a:pt x="591026" y="317659"/>
                    <a:pt x="590074" y="318611"/>
                    <a:pt x="590074" y="319564"/>
                  </a:cubicBezTo>
                  <a:cubicBezTo>
                    <a:pt x="589121" y="316706"/>
                    <a:pt x="588169" y="313849"/>
                    <a:pt x="587216" y="311944"/>
                  </a:cubicBezTo>
                  <a:cubicBezTo>
                    <a:pt x="587216" y="308134"/>
                    <a:pt x="587216" y="303371"/>
                    <a:pt x="586264" y="299561"/>
                  </a:cubicBezTo>
                  <a:cubicBezTo>
                    <a:pt x="586264" y="299561"/>
                    <a:pt x="586264" y="299561"/>
                    <a:pt x="587216" y="300514"/>
                  </a:cubicBezTo>
                  <a:close/>
                  <a:moveTo>
                    <a:pt x="553879" y="257651"/>
                  </a:moveTo>
                  <a:cubicBezTo>
                    <a:pt x="554831" y="249079"/>
                    <a:pt x="554831" y="241459"/>
                    <a:pt x="555784" y="233839"/>
                  </a:cubicBezTo>
                  <a:cubicBezTo>
                    <a:pt x="556736" y="238601"/>
                    <a:pt x="557689" y="243364"/>
                    <a:pt x="558641" y="249079"/>
                  </a:cubicBezTo>
                  <a:cubicBezTo>
                    <a:pt x="557689" y="247174"/>
                    <a:pt x="556736" y="247174"/>
                    <a:pt x="556736" y="247174"/>
                  </a:cubicBezTo>
                  <a:cubicBezTo>
                    <a:pt x="556736" y="247174"/>
                    <a:pt x="557689" y="248126"/>
                    <a:pt x="558641" y="250984"/>
                  </a:cubicBezTo>
                  <a:cubicBezTo>
                    <a:pt x="561499" y="264319"/>
                    <a:pt x="565309" y="280511"/>
                    <a:pt x="570071" y="297656"/>
                  </a:cubicBezTo>
                  <a:cubicBezTo>
                    <a:pt x="570071" y="299561"/>
                    <a:pt x="571024" y="301466"/>
                    <a:pt x="571976" y="303371"/>
                  </a:cubicBezTo>
                  <a:cubicBezTo>
                    <a:pt x="571024" y="306229"/>
                    <a:pt x="570071" y="310039"/>
                    <a:pt x="569119" y="312896"/>
                  </a:cubicBezTo>
                  <a:cubicBezTo>
                    <a:pt x="567214" y="307181"/>
                    <a:pt x="566261" y="301466"/>
                    <a:pt x="564356" y="295751"/>
                  </a:cubicBezTo>
                  <a:cubicBezTo>
                    <a:pt x="560546" y="285274"/>
                    <a:pt x="557689" y="274796"/>
                    <a:pt x="553879" y="266224"/>
                  </a:cubicBezTo>
                  <a:cubicBezTo>
                    <a:pt x="553879" y="263366"/>
                    <a:pt x="553879" y="260509"/>
                    <a:pt x="553879" y="257651"/>
                  </a:cubicBezTo>
                  <a:close/>
                  <a:moveTo>
                    <a:pt x="551974" y="295751"/>
                  </a:moveTo>
                  <a:cubicBezTo>
                    <a:pt x="551974" y="294799"/>
                    <a:pt x="551974" y="294799"/>
                    <a:pt x="551974" y="295751"/>
                  </a:cubicBezTo>
                  <a:cubicBezTo>
                    <a:pt x="551974" y="295751"/>
                    <a:pt x="552926" y="297656"/>
                    <a:pt x="552926" y="298609"/>
                  </a:cubicBezTo>
                  <a:cubicBezTo>
                    <a:pt x="554831" y="304324"/>
                    <a:pt x="555784" y="310991"/>
                    <a:pt x="556736" y="317659"/>
                  </a:cubicBezTo>
                  <a:cubicBezTo>
                    <a:pt x="556736" y="318611"/>
                    <a:pt x="556736" y="319564"/>
                    <a:pt x="557689" y="321469"/>
                  </a:cubicBezTo>
                  <a:cubicBezTo>
                    <a:pt x="557689" y="321469"/>
                    <a:pt x="557689" y="321469"/>
                    <a:pt x="557689" y="322421"/>
                  </a:cubicBezTo>
                  <a:cubicBezTo>
                    <a:pt x="557689" y="323374"/>
                    <a:pt x="557689" y="324326"/>
                    <a:pt x="557689" y="326231"/>
                  </a:cubicBezTo>
                  <a:cubicBezTo>
                    <a:pt x="555784" y="319564"/>
                    <a:pt x="553879" y="312896"/>
                    <a:pt x="552926" y="306229"/>
                  </a:cubicBezTo>
                  <a:cubicBezTo>
                    <a:pt x="551974" y="301466"/>
                    <a:pt x="551974" y="298609"/>
                    <a:pt x="551974" y="295751"/>
                  </a:cubicBezTo>
                  <a:close/>
                  <a:moveTo>
                    <a:pt x="529114" y="290036"/>
                  </a:moveTo>
                  <a:cubicBezTo>
                    <a:pt x="529114" y="290036"/>
                    <a:pt x="529114" y="290989"/>
                    <a:pt x="529114" y="290036"/>
                  </a:cubicBezTo>
                  <a:cubicBezTo>
                    <a:pt x="529114" y="290989"/>
                    <a:pt x="529114" y="290989"/>
                    <a:pt x="529114" y="290036"/>
                  </a:cubicBezTo>
                  <a:cubicBezTo>
                    <a:pt x="529114" y="290989"/>
                    <a:pt x="529114" y="290036"/>
                    <a:pt x="529114" y="290036"/>
                  </a:cubicBezTo>
                  <a:close/>
                  <a:moveTo>
                    <a:pt x="522446" y="336709"/>
                  </a:moveTo>
                  <a:cubicBezTo>
                    <a:pt x="522446" y="333851"/>
                    <a:pt x="523399" y="331946"/>
                    <a:pt x="523399" y="329089"/>
                  </a:cubicBezTo>
                  <a:cubicBezTo>
                    <a:pt x="524351" y="331946"/>
                    <a:pt x="525304" y="333851"/>
                    <a:pt x="526256" y="336709"/>
                  </a:cubicBezTo>
                  <a:cubicBezTo>
                    <a:pt x="528161" y="341471"/>
                    <a:pt x="530066" y="346234"/>
                    <a:pt x="531019" y="350996"/>
                  </a:cubicBezTo>
                  <a:cubicBezTo>
                    <a:pt x="531019" y="358616"/>
                    <a:pt x="531019" y="366236"/>
                    <a:pt x="531971" y="374809"/>
                  </a:cubicBezTo>
                  <a:cubicBezTo>
                    <a:pt x="531971" y="384334"/>
                    <a:pt x="532924" y="393859"/>
                    <a:pt x="533876" y="403384"/>
                  </a:cubicBezTo>
                  <a:cubicBezTo>
                    <a:pt x="530066" y="397669"/>
                    <a:pt x="528161" y="394811"/>
                    <a:pt x="528161" y="394811"/>
                  </a:cubicBezTo>
                  <a:cubicBezTo>
                    <a:pt x="528161" y="394811"/>
                    <a:pt x="530066" y="400526"/>
                    <a:pt x="532924" y="410051"/>
                  </a:cubicBezTo>
                  <a:cubicBezTo>
                    <a:pt x="533876" y="411956"/>
                    <a:pt x="534829" y="414814"/>
                    <a:pt x="534829" y="417671"/>
                  </a:cubicBezTo>
                  <a:cubicBezTo>
                    <a:pt x="534829" y="421481"/>
                    <a:pt x="535781" y="426244"/>
                    <a:pt x="535781" y="430054"/>
                  </a:cubicBezTo>
                  <a:lnTo>
                    <a:pt x="523399" y="428149"/>
                  </a:lnTo>
                  <a:cubicBezTo>
                    <a:pt x="523399" y="428149"/>
                    <a:pt x="522446" y="427196"/>
                    <a:pt x="522446" y="427196"/>
                  </a:cubicBezTo>
                  <a:cubicBezTo>
                    <a:pt x="522446" y="426244"/>
                    <a:pt x="522446" y="424339"/>
                    <a:pt x="522446" y="423386"/>
                  </a:cubicBezTo>
                  <a:cubicBezTo>
                    <a:pt x="525304" y="414814"/>
                    <a:pt x="527209" y="410051"/>
                    <a:pt x="527209" y="410051"/>
                  </a:cubicBezTo>
                  <a:cubicBezTo>
                    <a:pt x="527209" y="410051"/>
                    <a:pt x="525304" y="412909"/>
                    <a:pt x="522446" y="418624"/>
                  </a:cubicBezTo>
                  <a:cubicBezTo>
                    <a:pt x="522446" y="413861"/>
                    <a:pt x="521494" y="409099"/>
                    <a:pt x="521494" y="405289"/>
                  </a:cubicBezTo>
                  <a:cubicBezTo>
                    <a:pt x="520541" y="392906"/>
                    <a:pt x="518636" y="380524"/>
                    <a:pt x="517684" y="369094"/>
                  </a:cubicBezTo>
                  <a:cubicBezTo>
                    <a:pt x="519589" y="356711"/>
                    <a:pt x="520541" y="347186"/>
                    <a:pt x="522446" y="336709"/>
                  </a:cubicBezTo>
                  <a:close/>
                  <a:moveTo>
                    <a:pt x="512921" y="271939"/>
                  </a:moveTo>
                  <a:cubicBezTo>
                    <a:pt x="511969" y="276701"/>
                    <a:pt x="511016" y="281464"/>
                    <a:pt x="509111" y="287179"/>
                  </a:cubicBezTo>
                  <a:cubicBezTo>
                    <a:pt x="509111" y="287179"/>
                    <a:pt x="509111" y="287179"/>
                    <a:pt x="509111" y="288131"/>
                  </a:cubicBezTo>
                  <a:cubicBezTo>
                    <a:pt x="508159" y="284321"/>
                    <a:pt x="508159" y="279559"/>
                    <a:pt x="507206" y="275749"/>
                  </a:cubicBezTo>
                  <a:cubicBezTo>
                    <a:pt x="507206" y="270986"/>
                    <a:pt x="508159" y="267176"/>
                    <a:pt x="508159" y="262414"/>
                  </a:cubicBezTo>
                  <a:lnTo>
                    <a:pt x="509111" y="262414"/>
                  </a:lnTo>
                  <a:cubicBezTo>
                    <a:pt x="511016" y="265271"/>
                    <a:pt x="511969" y="268129"/>
                    <a:pt x="512921" y="271939"/>
                  </a:cubicBezTo>
                  <a:close/>
                  <a:moveTo>
                    <a:pt x="497681" y="207169"/>
                  </a:moveTo>
                  <a:cubicBezTo>
                    <a:pt x="500539" y="217646"/>
                    <a:pt x="503396" y="230981"/>
                    <a:pt x="506254" y="245269"/>
                  </a:cubicBezTo>
                  <a:cubicBezTo>
                    <a:pt x="507206" y="249079"/>
                    <a:pt x="508159" y="252889"/>
                    <a:pt x="509111" y="256699"/>
                  </a:cubicBezTo>
                  <a:cubicBezTo>
                    <a:pt x="508159" y="256699"/>
                    <a:pt x="507206" y="256699"/>
                    <a:pt x="506254" y="256699"/>
                  </a:cubicBezTo>
                  <a:lnTo>
                    <a:pt x="505301" y="256699"/>
                  </a:lnTo>
                  <a:cubicBezTo>
                    <a:pt x="505301" y="256699"/>
                    <a:pt x="505301" y="256699"/>
                    <a:pt x="505301" y="256699"/>
                  </a:cubicBezTo>
                  <a:cubicBezTo>
                    <a:pt x="502444" y="238601"/>
                    <a:pt x="499586" y="220504"/>
                    <a:pt x="497681" y="207169"/>
                  </a:cubicBezTo>
                  <a:cubicBezTo>
                    <a:pt x="496729" y="207169"/>
                    <a:pt x="496729" y="207169"/>
                    <a:pt x="497681" y="207169"/>
                  </a:cubicBezTo>
                  <a:close/>
                  <a:moveTo>
                    <a:pt x="487204" y="419576"/>
                  </a:moveTo>
                  <a:cubicBezTo>
                    <a:pt x="487204" y="420529"/>
                    <a:pt x="486251" y="421481"/>
                    <a:pt x="486251" y="422434"/>
                  </a:cubicBezTo>
                  <a:lnTo>
                    <a:pt x="483394" y="422434"/>
                  </a:lnTo>
                  <a:cubicBezTo>
                    <a:pt x="483394" y="421481"/>
                    <a:pt x="483394" y="419576"/>
                    <a:pt x="483394" y="418624"/>
                  </a:cubicBezTo>
                  <a:cubicBezTo>
                    <a:pt x="483394" y="412909"/>
                    <a:pt x="482441" y="407194"/>
                    <a:pt x="481489" y="401479"/>
                  </a:cubicBezTo>
                  <a:cubicBezTo>
                    <a:pt x="483394" y="407194"/>
                    <a:pt x="485299" y="413861"/>
                    <a:pt x="487204" y="419576"/>
                  </a:cubicBezTo>
                  <a:close/>
                  <a:moveTo>
                    <a:pt x="437674" y="390049"/>
                  </a:moveTo>
                  <a:cubicBezTo>
                    <a:pt x="437674" y="390049"/>
                    <a:pt x="437674" y="390049"/>
                    <a:pt x="437674" y="390049"/>
                  </a:cubicBezTo>
                  <a:cubicBezTo>
                    <a:pt x="437674" y="389096"/>
                    <a:pt x="437674" y="389096"/>
                    <a:pt x="437674" y="388144"/>
                  </a:cubicBezTo>
                  <a:cubicBezTo>
                    <a:pt x="437674" y="388144"/>
                    <a:pt x="437674" y="388144"/>
                    <a:pt x="437674" y="388144"/>
                  </a:cubicBezTo>
                  <a:cubicBezTo>
                    <a:pt x="437674" y="389096"/>
                    <a:pt x="437674" y="390049"/>
                    <a:pt x="437674" y="390049"/>
                  </a:cubicBezTo>
                  <a:cubicBezTo>
                    <a:pt x="437674" y="391001"/>
                    <a:pt x="437674" y="390049"/>
                    <a:pt x="437674" y="390049"/>
                  </a:cubicBezTo>
                  <a:close/>
                  <a:moveTo>
                    <a:pt x="448151" y="362426"/>
                  </a:moveTo>
                  <a:cubicBezTo>
                    <a:pt x="447199" y="360521"/>
                    <a:pt x="446246" y="358616"/>
                    <a:pt x="446246" y="356711"/>
                  </a:cubicBezTo>
                  <a:cubicBezTo>
                    <a:pt x="447199" y="353854"/>
                    <a:pt x="448151" y="350044"/>
                    <a:pt x="449104" y="347186"/>
                  </a:cubicBezTo>
                  <a:cubicBezTo>
                    <a:pt x="448151" y="351949"/>
                    <a:pt x="448151" y="357664"/>
                    <a:pt x="448151" y="362426"/>
                  </a:cubicBezTo>
                  <a:close/>
                  <a:moveTo>
                    <a:pt x="436721" y="227171"/>
                  </a:moveTo>
                  <a:cubicBezTo>
                    <a:pt x="437674" y="233839"/>
                    <a:pt x="439579" y="239554"/>
                    <a:pt x="440531" y="246221"/>
                  </a:cubicBezTo>
                  <a:cubicBezTo>
                    <a:pt x="438626" y="242411"/>
                    <a:pt x="436721" y="238601"/>
                    <a:pt x="434816" y="234791"/>
                  </a:cubicBezTo>
                  <a:cubicBezTo>
                    <a:pt x="435769" y="231934"/>
                    <a:pt x="435769" y="230029"/>
                    <a:pt x="436721" y="227171"/>
                  </a:cubicBezTo>
                  <a:close/>
                  <a:moveTo>
                    <a:pt x="428149" y="280511"/>
                  </a:moveTo>
                  <a:cubicBezTo>
                    <a:pt x="430054" y="270986"/>
                    <a:pt x="431006" y="262414"/>
                    <a:pt x="431959" y="253841"/>
                  </a:cubicBezTo>
                  <a:cubicBezTo>
                    <a:pt x="431959" y="255746"/>
                    <a:pt x="432911" y="256699"/>
                    <a:pt x="432911" y="258604"/>
                  </a:cubicBezTo>
                  <a:cubicBezTo>
                    <a:pt x="434816" y="266224"/>
                    <a:pt x="436721" y="274796"/>
                    <a:pt x="438626" y="284321"/>
                  </a:cubicBezTo>
                  <a:cubicBezTo>
                    <a:pt x="438626" y="286226"/>
                    <a:pt x="439579" y="288131"/>
                    <a:pt x="439579" y="290036"/>
                  </a:cubicBezTo>
                  <a:cubicBezTo>
                    <a:pt x="434816" y="284321"/>
                    <a:pt x="432911" y="281464"/>
                    <a:pt x="432911" y="281464"/>
                  </a:cubicBezTo>
                  <a:cubicBezTo>
                    <a:pt x="432911" y="281464"/>
                    <a:pt x="435769" y="287179"/>
                    <a:pt x="439579" y="295751"/>
                  </a:cubicBezTo>
                  <a:cubicBezTo>
                    <a:pt x="440531" y="296704"/>
                    <a:pt x="440531" y="298609"/>
                    <a:pt x="441484" y="299561"/>
                  </a:cubicBezTo>
                  <a:cubicBezTo>
                    <a:pt x="442436" y="303371"/>
                    <a:pt x="443389" y="308134"/>
                    <a:pt x="443389" y="312896"/>
                  </a:cubicBezTo>
                  <a:cubicBezTo>
                    <a:pt x="444341" y="317659"/>
                    <a:pt x="445294" y="323374"/>
                    <a:pt x="446246" y="328136"/>
                  </a:cubicBezTo>
                  <a:cubicBezTo>
                    <a:pt x="446246" y="330994"/>
                    <a:pt x="447199" y="332899"/>
                    <a:pt x="447199" y="335756"/>
                  </a:cubicBezTo>
                  <a:cubicBezTo>
                    <a:pt x="446246" y="337661"/>
                    <a:pt x="445294" y="339566"/>
                    <a:pt x="445294" y="341471"/>
                  </a:cubicBezTo>
                  <a:cubicBezTo>
                    <a:pt x="444341" y="344329"/>
                    <a:pt x="443389" y="346234"/>
                    <a:pt x="442436" y="349091"/>
                  </a:cubicBezTo>
                  <a:cubicBezTo>
                    <a:pt x="439579" y="342424"/>
                    <a:pt x="437674" y="336709"/>
                    <a:pt x="434816" y="331946"/>
                  </a:cubicBezTo>
                  <a:cubicBezTo>
                    <a:pt x="434816" y="322421"/>
                    <a:pt x="434816" y="317659"/>
                    <a:pt x="434816" y="317659"/>
                  </a:cubicBezTo>
                  <a:cubicBezTo>
                    <a:pt x="434816" y="317659"/>
                    <a:pt x="433864" y="321469"/>
                    <a:pt x="432911" y="328136"/>
                  </a:cubicBezTo>
                  <a:cubicBezTo>
                    <a:pt x="430054" y="319564"/>
                    <a:pt x="426244" y="310991"/>
                    <a:pt x="423386" y="303371"/>
                  </a:cubicBezTo>
                  <a:cubicBezTo>
                    <a:pt x="426244" y="295751"/>
                    <a:pt x="427196" y="288131"/>
                    <a:pt x="428149" y="280511"/>
                  </a:cubicBezTo>
                  <a:close/>
                  <a:moveTo>
                    <a:pt x="418624" y="345281"/>
                  </a:moveTo>
                  <a:cubicBezTo>
                    <a:pt x="419576" y="337661"/>
                    <a:pt x="420529" y="330041"/>
                    <a:pt x="422434" y="322421"/>
                  </a:cubicBezTo>
                  <a:cubicBezTo>
                    <a:pt x="424339" y="328136"/>
                    <a:pt x="425291" y="333851"/>
                    <a:pt x="427196" y="339566"/>
                  </a:cubicBezTo>
                  <a:cubicBezTo>
                    <a:pt x="428149" y="343376"/>
                    <a:pt x="429101" y="347186"/>
                    <a:pt x="430054" y="350996"/>
                  </a:cubicBezTo>
                  <a:cubicBezTo>
                    <a:pt x="429101" y="354806"/>
                    <a:pt x="429101" y="358616"/>
                    <a:pt x="428149" y="362426"/>
                  </a:cubicBezTo>
                  <a:cubicBezTo>
                    <a:pt x="427196" y="360521"/>
                    <a:pt x="426244" y="358616"/>
                    <a:pt x="426244" y="356711"/>
                  </a:cubicBezTo>
                  <a:cubicBezTo>
                    <a:pt x="423386" y="349091"/>
                    <a:pt x="420529" y="344329"/>
                    <a:pt x="420529" y="344329"/>
                  </a:cubicBezTo>
                  <a:cubicBezTo>
                    <a:pt x="420529" y="344329"/>
                    <a:pt x="420529" y="349091"/>
                    <a:pt x="422434" y="357664"/>
                  </a:cubicBezTo>
                  <a:cubicBezTo>
                    <a:pt x="423386" y="361474"/>
                    <a:pt x="423386" y="367189"/>
                    <a:pt x="424339" y="372904"/>
                  </a:cubicBezTo>
                  <a:cubicBezTo>
                    <a:pt x="424339" y="374809"/>
                    <a:pt x="425291" y="375761"/>
                    <a:pt x="425291" y="377666"/>
                  </a:cubicBezTo>
                  <a:cubicBezTo>
                    <a:pt x="425291" y="376714"/>
                    <a:pt x="424339" y="375761"/>
                    <a:pt x="424339" y="375761"/>
                  </a:cubicBezTo>
                  <a:cubicBezTo>
                    <a:pt x="424339" y="375761"/>
                    <a:pt x="424339" y="374809"/>
                    <a:pt x="424339" y="374809"/>
                  </a:cubicBezTo>
                  <a:cubicBezTo>
                    <a:pt x="422434" y="367189"/>
                    <a:pt x="420529" y="359569"/>
                    <a:pt x="418624" y="351949"/>
                  </a:cubicBezTo>
                  <a:cubicBezTo>
                    <a:pt x="417671" y="349091"/>
                    <a:pt x="418624" y="347186"/>
                    <a:pt x="418624" y="345281"/>
                  </a:cubicBezTo>
                  <a:close/>
                  <a:moveTo>
                    <a:pt x="406241" y="261461"/>
                  </a:moveTo>
                  <a:cubicBezTo>
                    <a:pt x="408146" y="267176"/>
                    <a:pt x="410051" y="275749"/>
                    <a:pt x="411956" y="285274"/>
                  </a:cubicBezTo>
                  <a:cubicBezTo>
                    <a:pt x="410051" y="292894"/>
                    <a:pt x="409099" y="301466"/>
                    <a:pt x="407194" y="310039"/>
                  </a:cubicBezTo>
                  <a:cubicBezTo>
                    <a:pt x="406241" y="307181"/>
                    <a:pt x="406241" y="304324"/>
                    <a:pt x="405289" y="302419"/>
                  </a:cubicBezTo>
                  <a:cubicBezTo>
                    <a:pt x="406241" y="288131"/>
                    <a:pt x="406241" y="273844"/>
                    <a:pt x="406241" y="261461"/>
                  </a:cubicBezTo>
                  <a:close/>
                  <a:moveTo>
                    <a:pt x="382429" y="290036"/>
                  </a:moveTo>
                  <a:cubicBezTo>
                    <a:pt x="382429" y="290989"/>
                    <a:pt x="382429" y="292894"/>
                    <a:pt x="381476" y="293846"/>
                  </a:cubicBezTo>
                  <a:cubicBezTo>
                    <a:pt x="381476" y="290989"/>
                    <a:pt x="381476" y="288131"/>
                    <a:pt x="381476" y="285274"/>
                  </a:cubicBezTo>
                  <a:cubicBezTo>
                    <a:pt x="381476" y="287179"/>
                    <a:pt x="382429" y="288131"/>
                    <a:pt x="382429" y="290036"/>
                  </a:cubicBezTo>
                  <a:close/>
                  <a:moveTo>
                    <a:pt x="361474" y="394811"/>
                  </a:moveTo>
                  <a:cubicBezTo>
                    <a:pt x="361474" y="397669"/>
                    <a:pt x="361474" y="401479"/>
                    <a:pt x="361474" y="404336"/>
                  </a:cubicBezTo>
                  <a:cubicBezTo>
                    <a:pt x="361474" y="405289"/>
                    <a:pt x="361474" y="406241"/>
                    <a:pt x="361474" y="407194"/>
                  </a:cubicBezTo>
                  <a:cubicBezTo>
                    <a:pt x="359569" y="399574"/>
                    <a:pt x="357664" y="391001"/>
                    <a:pt x="354806" y="383381"/>
                  </a:cubicBezTo>
                  <a:cubicBezTo>
                    <a:pt x="354806" y="383381"/>
                    <a:pt x="354806" y="383381"/>
                    <a:pt x="354806" y="382429"/>
                  </a:cubicBezTo>
                  <a:cubicBezTo>
                    <a:pt x="353854" y="379571"/>
                    <a:pt x="353854" y="376714"/>
                    <a:pt x="352901" y="373856"/>
                  </a:cubicBezTo>
                  <a:cubicBezTo>
                    <a:pt x="355759" y="381476"/>
                    <a:pt x="358616" y="388144"/>
                    <a:pt x="361474" y="394811"/>
                  </a:cubicBezTo>
                  <a:close/>
                  <a:moveTo>
                    <a:pt x="347186" y="307181"/>
                  </a:moveTo>
                  <a:cubicBezTo>
                    <a:pt x="348139" y="309086"/>
                    <a:pt x="348139" y="310039"/>
                    <a:pt x="349091" y="311944"/>
                  </a:cubicBezTo>
                  <a:cubicBezTo>
                    <a:pt x="348139" y="310991"/>
                    <a:pt x="348139" y="310039"/>
                    <a:pt x="347186" y="309086"/>
                  </a:cubicBezTo>
                  <a:cubicBezTo>
                    <a:pt x="346234" y="309086"/>
                    <a:pt x="346234" y="308134"/>
                    <a:pt x="347186" y="307181"/>
                  </a:cubicBezTo>
                  <a:close/>
                  <a:moveTo>
                    <a:pt x="347186" y="429101"/>
                  </a:moveTo>
                  <a:cubicBezTo>
                    <a:pt x="347186" y="430054"/>
                    <a:pt x="348139" y="431959"/>
                    <a:pt x="348139" y="432911"/>
                  </a:cubicBezTo>
                  <a:lnTo>
                    <a:pt x="346234" y="432911"/>
                  </a:lnTo>
                  <a:cubicBezTo>
                    <a:pt x="346234" y="431006"/>
                    <a:pt x="346234" y="430054"/>
                    <a:pt x="347186" y="429101"/>
                  </a:cubicBezTo>
                  <a:close/>
                  <a:moveTo>
                    <a:pt x="310991" y="439579"/>
                  </a:moveTo>
                  <a:cubicBezTo>
                    <a:pt x="310991" y="434816"/>
                    <a:pt x="310991" y="429101"/>
                    <a:pt x="311944" y="424339"/>
                  </a:cubicBezTo>
                  <a:cubicBezTo>
                    <a:pt x="313849" y="429101"/>
                    <a:pt x="315754" y="433864"/>
                    <a:pt x="317659" y="438626"/>
                  </a:cubicBezTo>
                  <a:lnTo>
                    <a:pt x="310991" y="439579"/>
                  </a:lnTo>
                  <a:close/>
                  <a:moveTo>
                    <a:pt x="302419" y="230981"/>
                  </a:moveTo>
                  <a:cubicBezTo>
                    <a:pt x="303371" y="232886"/>
                    <a:pt x="303371" y="235744"/>
                    <a:pt x="304324" y="237649"/>
                  </a:cubicBezTo>
                  <a:cubicBezTo>
                    <a:pt x="305276" y="242411"/>
                    <a:pt x="306229" y="247174"/>
                    <a:pt x="307181" y="252889"/>
                  </a:cubicBezTo>
                  <a:cubicBezTo>
                    <a:pt x="303371" y="247174"/>
                    <a:pt x="300514" y="244316"/>
                    <a:pt x="300514" y="244316"/>
                  </a:cubicBezTo>
                  <a:cubicBezTo>
                    <a:pt x="300514" y="238601"/>
                    <a:pt x="301466" y="234791"/>
                    <a:pt x="302419" y="230981"/>
                  </a:cubicBezTo>
                  <a:close/>
                  <a:moveTo>
                    <a:pt x="295751" y="269081"/>
                  </a:moveTo>
                  <a:cubicBezTo>
                    <a:pt x="296704" y="264319"/>
                    <a:pt x="297656" y="262414"/>
                    <a:pt x="297656" y="262414"/>
                  </a:cubicBezTo>
                  <a:cubicBezTo>
                    <a:pt x="297656" y="262414"/>
                    <a:pt x="296704" y="263366"/>
                    <a:pt x="295751" y="265271"/>
                  </a:cubicBezTo>
                  <a:cubicBezTo>
                    <a:pt x="296704" y="260509"/>
                    <a:pt x="296704" y="256699"/>
                    <a:pt x="297656" y="251936"/>
                  </a:cubicBezTo>
                  <a:cubicBezTo>
                    <a:pt x="298609" y="249079"/>
                    <a:pt x="298609" y="246221"/>
                    <a:pt x="299561" y="243364"/>
                  </a:cubicBezTo>
                  <a:cubicBezTo>
                    <a:pt x="299561" y="244316"/>
                    <a:pt x="300514" y="245269"/>
                    <a:pt x="301466" y="247174"/>
                  </a:cubicBezTo>
                  <a:cubicBezTo>
                    <a:pt x="304324" y="254794"/>
                    <a:pt x="307181" y="262414"/>
                    <a:pt x="310039" y="270986"/>
                  </a:cubicBezTo>
                  <a:cubicBezTo>
                    <a:pt x="312896" y="285274"/>
                    <a:pt x="315754" y="298609"/>
                    <a:pt x="319564" y="312896"/>
                  </a:cubicBezTo>
                  <a:cubicBezTo>
                    <a:pt x="322421" y="328136"/>
                    <a:pt x="326231" y="343376"/>
                    <a:pt x="330041" y="358616"/>
                  </a:cubicBezTo>
                  <a:cubicBezTo>
                    <a:pt x="330041" y="359569"/>
                    <a:pt x="330041" y="360521"/>
                    <a:pt x="330041" y="362426"/>
                  </a:cubicBezTo>
                  <a:cubicBezTo>
                    <a:pt x="329089" y="375761"/>
                    <a:pt x="328136" y="390049"/>
                    <a:pt x="327184" y="404336"/>
                  </a:cubicBezTo>
                  <a:cubicBezTo>
                    <a:pt x="327184" y="404336"/>
                    <a:pt x="327184" y="404336"/>
                    <a:pt x="327184" y="404336"/>
                  </a:cubicBezTo>
                  <a:cubicBezTo>
                    <a:pt x="325279" y="400526"/>
                    <a:pt x="323374" y="396716"/>
                    <a:pt x="321469" y="392906"/>
                  </a:cubicBezTo>
                  <a:cubicBezTo>
                    <a:pt x="317659" y="382429"/>
                    <a:pt x="313849" y="371951"/>
                    <a:pt x="310991" y="362426"/>
                  </a:cubicBezTo>
                  <a:cubicBezTo>
                    <a:pt x="306229" y="347186"/>
                    <a:pt x="301466" y="332899"/>
                    <a:pt x="296704" y="318611"/>
                  </a:cubicBezTo>
                  <a:cubicBezTo>
                    <a:pt x="294799" y="312896"/>
                    <a:pt x="293846" y="308134"/>
                    <a:pt x="291941" y="302419"/>
                  </a:cubicBezTo>
                  <a:cubicBezTo>
                    <a:pt x="292894" y="290989"/>
                    <a:pt x="294799" y="279559"/>
                    <a:pt x="295751" y="269081"/>
                  </a:cubicBezTo>
                  <a:close/>
                  <a:moveTo>
                    <a:pt x="283369" y="378619"/>
                  </a:moveTo>
                  <a:cubicBezTo>
                    <a:pt x="283369" y="373856"/>
                    <a:pt x="284321" y="369094"/>
                    <a:pt x="284321" y="365284"/>
                  </a:cubicBezTo>
                  <a:cubicBezTo>
                    <a:pt x="284321" y="364331"/>
                    <a:pt x="284321" y="363379"/>
                    <a:pt x="285274" y="363379"/>
                  </a:cubicBezTo>
                  <a:cubicBezTo>
                    <a:pt x="289084" y="370999"/>
                    <a:pt x="291941" y="378619"/>
                    <a:pt x="295751" y="387191"/>
                  </a:cubicBezTo>
                  <a:cubicBezTo>
                    <a:pt x="297656" y="391954"/>
                    <a:pt x="300514" y="395764"/>
                    <a:pt x="302419" y="400526"/>
                  </a:cubicBezTo>
                  <a:cubicBezTo>
                    <a:pt x="302419" y="401479"/>
                    <a:pt x="303371" y="403384"/>
                    <a:pt x="303371" y="404336"/>
                  </a:cubicBezTo>
                  <a:cubicBezTo>
                    <a:pt x="302419" y="407194"/>
                    <a:pt x="302419" y="410051"/>
                    <a:pt x="301466" y="412909"/>
                  </a:cubicBezTo>
                  <a:cubicBezTo>
                    <a:pt x="299561" y="422434"/>
                    <a:pt x="297656" y="432911"/>
                    <a:pt x="295751" y="442436"/>
                  </a:cubicBezTo>
                  <a:lnTo>
                    <a:pt x="283369" y="444341"/>
                  </a:lnTo>
                  <a:cubicBezTo>
                    <a:pt x="282416" y="441484"/>
                    <a:pt x="282416" y="438626"/>
                    <a:pt x="281464" y="435769"/>
                  </a:cubicBezTo>
                  <a:cubicBezTo>
                    <a:pt x="281464" y="425291"/>
                    <a:pt x="281464" y="415766"/>
                    <a:pt x="281464" y="407194"/>
                  </a:cubicBezTo>
                  <a:cubicBezTo>
                    <a:pt x="281464" y="397669"/>
                    <a:pt x="282416" y="388144"/>
                    <a:pt x="283369" y="378619"/>
                  </a:cubicBezTo>
                  <a:close/>
                  <a:moveTo>
                    <a:pt x="237649" y="415766"/>
                  </a:moveTo>
                  <a:cubicBezTo>
                    <a:pt x="234791" y="409099"/>
                    <a:pt x="230981" y="402431"/>
                    <a:pt x="228124" y="395764"/>
                  </a:cubicBezTo>
                  <a:cubicBezTo>
                    <a:pt x="228124" y="391954"/>
                    <a:pt x="229076" y="387191"/>
                    <a:pt x="229076" y="383381"/>
                  </a:cubicBezTo>
                  <a:cubicBezTo>
                    <a:pt x="232886" y="391001"/>
                    <a:pt x="235744" y="398621"/>
                    <a:pt x="239554" y="406241"/>
                  </a:cubicBezTo>
                  <a:cubicBezTo>
                    <a:pt x="239554" y="410051"/>
                    <a:pt x="238601" y="412909"/>
                    <a:pt x="237649" y="415766"/>
                  </a:cubicBezTo>
                  <a:close/>
                  <a:moveTo>
                    <a:pt x="247174" y="431006"/>
                  </a:moveTo>
                  <a:cubicBezTo>
                    <a:pt x="247174" y="429101"/>
                    <a:pt x="247174" y="427196"/>
                    <a:pt x="248126" y="425291"/>
                  </a:cubicBezTo>
                  <a:cubicBezTo>
                    <a:pt x="248126" y="425291"/>
                    <a:pt x="248126" y="425291"/>
                    <a:pt x="248126" y="425291"/>
                  </a:cubicBezTo>
                  <a:cubicBezTo>
                    <a:pt x="248126" y="427196"/>
                    <a:pt x="247174" y="429101"/>
                    <a:pt x="247174" y="431006"/>
                  </a:cubicBezTo>
                  <a:close/>
                  <a:moveTo>
                    <a:pt x="264319" y="204311"/>
                  </a:moveTo>
                  <a:cubicBezTo>
                    <a:pt x="267176" y="195739"/>
                    <a:pt x="269081" y="189071"/>
                    <a:pt x="270986" y="185261"/>
                  </a:cubicBezTo>
                  <a:cubicBezTo>
                    <a:pt x="269081" y="194786"/>
                    <a:pt x="268129" y="204311"/>
                    <a:pt x="267176" y="214789"/>
                  </a:cubicBezTo>
                  <a:cubicBezTo>
                    <a:pt x="267176" y="212884"/>
                    <a:pt x="266224" y="211931"/>
                    <a:pt x="266224" y="210026"/>
                  </a:cubicBezTo>
                  <a:cubicBezTo>
                    <a:pt x="264319" y="207169"/>
                    <a:pt x="264319" y="206216"/>
                    <a:pt x="264319" y="204311"/>
                  </a:cubicBezTo>
                  <a:cubicBezTo>
                    <a:pt x="264319" y="204311"/>
                    <a:pt x="264319" y="204311"/>
                    <a:pt x="264319" y="204311"/>
                  </a:cubicBezTo>
                  <a:close/>
                  <a:moveTo>
                    <a:pt x="254794" y="235744"/>
                  </a:moveTo>
                  <a:cubicBezTo>
                    <a:pt x="256699" y="230029"/>
                    <a:pt x="257651" y="225266"/>
                    <a:pt x="258604" y="220504"/>
                  </a:cubicBezTo>
                  <a:cubicBezTo>
                    <a:pt x="259556" y="227171"/>
                    <a:pt x="260509" y="234791"/>
                    <a:pt x="261461" y="242411"/>
                  </a:cubicBezTo>
                  <a:cubicBezTo>
                    <a:pt x="261461" y="243364"/>
                    <a:pt x="261461" y="244316"/>
                    <a:pt x="262414" y="245269"/>
                  </a:cubicBezTo>
                  <a:cubicBezTo>
                    <a:pt x="261461" y="253841"/>
                    <a:pt x="260509" y="261461"/>
                    <a:pt x="260509" y="270034"/>
                  </a:cubicBezTo>
                  <a:cubicBezTo>
                    <a:pt x="259556" y="268129"/>
                    <a:pt x="258604" y="266224"/>
                    <a:pt x="257651" y="264319"/>
                  </a:cubicBezTo>
                  <a:cubicBezTo>
                    <a:pt x="254794" y="258604"/>
                    <a:pt x="252889" y="253841"/>
                    <a:pt x="250984" y="249079"/>
                  </a:cubicBezTo>
                  <a:cubicBezTo>
                    <a:pt x="252889" y="245269"/>
                    <a:pt x="253841" y="239554"/>
                    <a:pt x="254794" y="235744"/>
                  </a:cubicBezTo>
                  <a:close/>
                  <a:moveTo>
                    <a:pt x="245269" y="276701"/>
                  </a:moveTo>
                  <a:cubicBezTo>
                    <a:pt x="246221" y="270986"/>
                    <a:pt x="248126" y="265271"/>
                    <a:pt x="249079" y="260509"/>
                  </a:cubicBezTo>
                  <a:cubicBezTo>
                    <a:pt x="250031" y="262414"/>
                    <a:pt x="250031" y="265271"/>
                    <a:pt x="250984" y="268129"/>
                  </a:cubicBezTo>
                  <a:cubicBezTo>
                    <a:pt x="252889" y="275749"/>
                    <a:pt x="255746" y="284321"/>
                    <a:pt x="258604" y="292894"/>
                  </a:cubicBezTo>
                  <a:cubicBezTo>
                    <a:pt x="258604" y="293846"/>
                    <a:pt x="259556" y="294799"/>
                    <a:pt x="259556" y="294799"/>
                  </a:cubicBezTo>
                  <a:cubicBezTo>
                    <a:pt x="259556" y="295751"/>
                    <a:pt x="259556" y="296704"/>
                    <a:pt x="259556" y="297656"/>
                  </a:cubicBezTo>
                  <a:cubicBezTo>
                    <a:pt x="258604" y="310039"/>
                    <a:pt x="258604" y="321469"/>
                    <a:pt x="257651" y="333851"/>
                  </a:cubicBezTo>
                  <a:cubicBezTo>
                    <a:pt x="255746" y="325279"/>
                    <a:pt x="253841" y="317659"/>
                    <a:pt x="250984" y="309086"/>
                  </a:cubicBezTo>
                  <a:cubicBezTo>
                    <a:pt x="252889" y="304324"/>
                    <a:pt x="253841" y="301466"/>
                    <a:pt x="253841" y="301466"/>
                  </a:cubicBezTo>
                  <a:cubicBezTo>
                    <a:pt x="253841" y="301466"/>
                    <a:pt x="252889" y="303371"/>
                    <a:pt x="250984" y="307181"/>
                  </a:cubicBezTo>
                  <a:cubicBezTo>
                    <a:pt x="249079" y="299561"/>
                    <a:pt x="247174" y="291941"/>
                    <a:pt x="244316" y="284321"/>
                  </a:cubicBezTo>
                  <a:cubicBezTo>
                    <a:pt x="244316" y="281464"/>
                    <a:pt x="245269" y="279559"/>
                    <a:pt x="245269" y="276701"/>
                  </a:cubicBezTo>
                  <a:close/>
                  <a:moveTo>
                    <a:pt x="236696" y="325279"/>
                  </a:moveTo>
                  <a:cubicBezTo>
                    <a:pt x="236696" y="324326"/>
                    <a:pt x="236696" y="323374"/>
                    <a:pt x="237649" y="322421"/>
                  </a:cubicBezTo>
                  <a:cubicBezTo>
                    <a:pt x="237649" y="324326"/>
                    <a:pt x="238601" y="327184"/>
                    <a:pt x="238601" y="329089"/>
                  </a:cubicBezTo>
                  <a:cubicBezTo>
                    <a:pt x="237649" y="330994"/>
                    <a:pt x="236696" y="332899"/>
                    <a:pt x="235744" y="335756"/>
                  </a:cubicBezTo>
                  <a:cubicBezTo>
                    <a:pt x="235744" y="332899"/>
                    <a:pt x="235744" y="329089"/>
                    <a:pt x="236696" y="325279"/>
                  </a:cubicBezTo>
                  <a:close/>
                  <a:moveTo>
                    <a:pt x="234791" y="353854"/>
                  </a:moveTo>
                  <a:cubicBezTo>
                    <a:pt x="236696" y="348139"/>
                    <a:pt x="238601" y="342424"/>
                    <a:pt x="240506" y="337661"/>
                  </a:cubicBezTo>
                  <a:cubicBezTo>
                    <a:pt x="240506" y="339566"/>
                    <a:pt x="241459" y="340519"/>
                    <a:pt x="241459" y="342424"/>
                  </a:cubicBezTo>
                  <a:cubicBezTo>
                    <a:pt x="243364" y="352901"/>
                    <a:pt x="246221" y="362426"/>
                    <a:pt x="248126" y="372904"/>
                  </a:cubicBezTo>
                  <a:cubicBezTo>
                    <a:pt x="248126" y="374809"/>
                    <a:pt x="247174" y="376714"/>
                    <a:pt x="247174" y="378619"/>
                  </a:cubicBezTo>
                  <a:cubicBezTo>
                    <a:pt x="245269" y="375761"/>
                    <a:pt x="243364" y="371951"/>
                    <a:pt x="242411" y="369094"/>
                  </a:cubicBezTo>
                  <a:cubicBezTo>
                    <a:pt x="239554" y="364331"/>
                    <a:pt x="236696" y="359569"/>
                    <a:pt x="234791" y="353854"/>
                  </a:cubicBezTo>
                  <a:cubicBezTo>
                    <a:pt x="234791" y="354806"/>
                    <a:pt x="234791" y="353854"/>
                    <a:pt x="234791" y="353854"/>
                  </a:cubicBezTo>
                  <a:close/>
                  <a:moveTo>
                    <a:pt x="222409" y="297656"/>
                  </a:moveTo>
                  <a:cubicBezTo>
                    <a:pt x="224314" y="290036"/>
                    <a:pt x="226219" y="283369"/>
                    <a:pt x="227171" y="278606"/>
                  </a:cubicBezTo>
                  <a:cubicBezTo>
                    <a:pt x="227171" y="280511"/>
                    <a:pt x="228124" y="282416"/>
                    <a:pt x="228124" y="284321"/>
                  </a:cubicBezTo>
                  <a:cubicBezTo>
                    <a:pt x="229076" y="286226"/>
                    <a:pt x="229076" y="288131"/>
                    <a:pt x="230029" y="290989"/>
                  </a:cubicBezTo>
                  <a:cubicBezTo>
                    <a:pt x="227171" y="301466"/>
                    <a:pt x="225266" y="312896"/>
                    <a:pt x="222409" y="324326"/>
                  </a:cubicBezTo>
                  <a:cubicBezTo>
                    <a:pt x="222409" y="326231"/>
                    <a:pt x="221456" y="328136"/>
                    <a:pt x="221456" y="330041"/>
                  </a:cubicBezTo>
                  <a:cubicBezTo>
                    <a:pt x="221456" y="330041"/>
                    <a:pt x="221456" y="329089"/>
                    <a:pt x="220504" y="329089"/>
                  </a:cubicBezTo>
                  <a:cubicBezTo>
                    <a:pt x="219551" y="323374"/>
                    <a:pt x="219551" y="317659"/>
                    <a:pt x="218599" y="312896"/>
                  </a:cubicBezTo>
                  <a:cubicBezTo>
                    <a:pt x="220504" y="306229"/>
                    <a:pt x="221456" y="301466"/>
                    <a:pt x="222409" y="297656"/>
                  </a:cubicBezTo>
                  <a:close/>
                  <a:moveTo>
                    <a:pt x="169069" y="411956"/>
                  </a:moveTo>
                  <a:cubicBezTo>
                    <a:pt x="169069" y="411956"/>
                    <a:pt x="169069" y="412909"/>
                    <a:pt x="169069" y="412909"/>
                  </a:cubicBezTo>
                  <a:cubicBezTo>
                    <a:pt x="168116" y="407194"/>
                    <a:pt x="167164" y="401479"/>
                    <a:pt x="165259" y="396716"/>
                  </a:cubicBezTo>
                  <a:cubicBezTo>
                    <a:pt x="165259" y="389096"/>
                    <a:pt x="164306" y="382429"/>
                    <a:pt x="164306" y="375761"/>
                  </a:cubicBezTo>
                  <a:cubicBezTo>
                    <a:pt x="163354" y="365284"/>
                    <a:pt x="162401" y="354806"/>
                    <a:pt x="161449" y="345281"/>
                  </a:cubicBezTo>
                  <a:cubicBezTo>
                    <a:pt x="160496" y="336709"/>
                    <a:pt x="159544" y="329089"/>
                    <a:pt x="158591" y="321469"/>
                  </a:cubicBezTo>
                  <a:cubicBezTo>
                    <a:pt x="158591" y="322421"/>
                    <a:pt x="159544" y="322421"/>
                    <a:pt x="159544" y="323374"/>
                  </a:cubicBezTo>
                  <a:cubicBezTo>
                    <a:pt x="160496" y="325279"/>
                    <a:pt x="161449" y="326231"/>
                    <a:pt x="162401" y="328136"/>
                  </a:cubicBezTo>
                  <a:cubicBezTo>
                    <a:pt x="163354" y="342424"/>
                    <a:pt x="165259" y="359569"/>
                    <a:pt x="167164" y="376714"/>
                  </a:cubicBezTo>
                  <a:cubicBezTo>
                    <a:pt x="168116" y="385286"/>
                    <a:pt x="169069" y="393859"/>
                    <a:pt x="170021" y="402431"/>
                  </a:cubicBezTo>
                  <a:cubicBezTo>
                    <a:pt x="170021" y="405289"/>
                    <a:pt x="169069" y="408146"/>
                    <a:pt x="169069" y="411956"/>
                  </a:cubicBezTo>
                  <a:close/>
                  <a:moveTo>
                    <a:pt x="209074" y="350044"/>
                  </a:moveTo>
                  <a:cubicBezTo>
                    <a:pt x="209074" y="352901"/>
                    <a:pt x="209074" y="356711"/>
                    <a:pt x="209074" y="359569"/>
                  </a:cubicBezTo>
                  <a:cubicBezTo>
                    <a:pt x="208121" y="358616"/>
                    <a:pt x="208121" y="357664"/>
                    <a:pt x="207169" y="356711"/>
                  </a:cubicBezTo>
                  <a:cubicBezTo>
                    <a:pt x="208121" y="354806"/>
                    <a:pt x="209074" y="351949"/>
                    <a:pt x="209074" y="350044"/>
                  </a:cubicBezTo>
                  <a:close/>
                  <a:moveTo>
                    <a:pt x="170974" y="259556"/>
                  </a:moveTo>
                  <a:cubicBezTo>
                    <a:pt x="173831" y="264319"/>
                    <a:pt x="175736" y="270034"/>
                    <a:pt x="178594" y="274796"/>
                  </a:cubicBezTo>
                  <a:cubicBezTo>
                    <a:pt x="181451" y="280511"/>
                    <a:pt x="184309" y="286226"/>
                    <a:pt x="187166" y="291941"/>
                  </a:cubicBezTo>
                  <a:cubicBezTo>
                    <a:pt x="192881" y="304324"/>
                    <a:pt x="198596" y="316706"/>
                    <a:pt x="205264" y="330041"/>
                  </a:cubicBezTo>
                  <a:cubicBezTo>
                    <a:pt x="203359" y="333851"/>
                    <a:pt x="202406" y="338614"/>
                    <a:pt x="200501" y="343376"/>
                  </a:cubicBezTo>
                  <a:cubicBezTo>
                    <a:pt x="200501" y="343376"/>
                    <a:pt x="200501" y="342424"/>
                    <a:pt x="199549" y="342424"/>
                  </a:cubicBezTo>
                  <a:cubicBezTo>
                    <a:pt x="193834" y="330994"/>
                    <a:pt x="187166" y="320516"/>
                    <a:pt x="180499" y="310039"/>
                  </a:cubicBezTo>
                  <a:cubicBezTo>
                    <a:pt x="178594" y="301466"/>
                    <a:pt x="176689" y="296704"/>
                    <a:pt x="176689" y="296704"/>
                  </a:cubicBezTo>
                  <a:cubicBezTo>
                    <a:pt x="176689" y="296704"/>
                    <a:pt x="176689" y="299561"/>
                    <a:pt x="176689" y="305276"/>
                  </a:cubicBezTo>
                  <a:cubicBezTo>
                    <a:pt x="175736" y="303371"/>
                    <a:pt x="174784" y="301466"/>
                    <a:pt x="172879" y="299561"/>
                  </a:cubicBezTo>
                  <a:cubicBezTo>
                    <a:pt x="172879" y="299561"/>
                    <a:pt x="171926" y="298609"/>
                    <a:pt x="171926" y="298609"/>
                  </a:cubicBezTo>
                  <a:cubicBezTo>
                    <a:pt x="170974" y="291941"/>
                    <a:pt x="169069" y="285274"/>
                    <a:pt x="168116" y="279559"/>
                  </a:cubicBezTo>
                  <a:cubicBezTo>
                    <a:pt x="164306" y="262414"/>
                    <a:pt x="161449" y="247174"/>
                    <a:pt x="158591" y="235744"/>
                  </a:cubicBezTo>
                  <a:cubicBezTo>
                    <a:pt x="163354" y="243364"/>
                    <a:pt x="167164" y="250984"/>
                    <a:pt x="170974" y="259556"/>
                  </a:cubicBezTo>
                  <a:close/>
                  <a:moveTo>
                    <a:pt x="161449" y="307181"/>
                  </a:moveTo>
                  <a:cubicBezTo>
                    <a:pt x="159544" y="305276"/>
                    <a:pt x="157639" y="303371"/>
                    <a:pt x="156686" y="301466"/>
                  </a:cubicBezTo>
                  <a:cubicBezTo>
                    <a:pt x="156686" y="300514"/>
                    <a:pt x="156686" y="298609"/>
                    <a:pt x="155734" y="297656"/>
                  </a:cubicBezTo>
                  <a:cubicBezTo>
                    <a:pt x="156686" y="300514"/>
                    <a:pt x="158591" y="304324"/>
                    <a:pt x="161449" y="307181"/>
                  </a:cubicBezTo>
                  <a:close/>
                  <a:moveTo>
                    <a:pt x="130969" y="280511"/>
                  </a:moveTo>
                  <a:cubicBezTo>
                    <a:pt x="131921" y="281464"/>
                    <a:pt x="132874" y="282416"/>
                    <a:pt x="133826" y="284321"/>
                  </a:cubicBezTo>
                  <a:cubicBezTo>
                    <a:pt x="137636" y="289084"/>
                    <a:pt x="141446" y="294799"/>
                    <a:pt x="145256" y="301466"/>
                  </a:cubicBezTo>
                  <a:cubicBezTo>
                    <a:pt x="147161" y="304324"/>
                    <a:pt x="149066" y="307181"/>
                    <a:pt x="150971" y="310039"/>
                  </a:cubicBezTo>
                  <a:cubicBezTo>
                    <a:pt x="150971" y="318611"/>
                    <a:pt x="150019" y="329089"/>
                    <a:pt x="150019" y="341471"/>
                  </a:cubicBezTo>
                  <a:cubicBezTo>
                    <a:pt x="150019" y="341471"/>
                    <a:pt x="150019" y="340519"/>
                    <a:pt x="149066" y="339566"/>
                  </a:cubicBezTo>
                  <a:cubicBezTo>
                    <a:pt x="148114" y="335756"/>
                    <a:pt x="146209" y="331946"/>
                    <a:pt x="145256" y="328136"/>
                  </a:cubicBezTo>
                  <a:cubicBezTo>
                    <a:pt x="144304" y="324326"/>
                    <a:pt x="142399" y="321469"/>
                    <a:pt x="140494" y="317659"/>
                  </a:cubicBezTo>
                  <a:cubicBezTo>
                    <a:pt x="137636" y="310991"/>
                    <a:pt x="134779" y="306229"/>
                    <a:pt x="132874" y="301466"/>
                  </a:cubicBezTo>
                  <a:cubicBezTo>
                    <a:pt x="130969" y="296704"/>
                    <a:pt x="129064" y="292894"/>
                    <a:pt x="127159" y="290989"/>
                  </a:cubicBezTo>
                  <a:cubicBezTo>
                    <a:pt x="129064" y="287179"/>
                    <a:pt x="130016" y="283369"/>
                    <a:pt x="130969" y="280511"/>
                  </a:cubicBezTo>
                  <a:close/>
                  <a:moveTo>
                    <a:pt x="121444" y="318611"/>
                  </a:moveTo>
                  <a:cubicBezTo>
                    <a:pt x="123349" y="309086"/>
                    <a:pt x="124301" y="301466"/>
                    <a:pt x="127159" y="294799"/>
                  </a:cubicBezTo>
                  <a:cubicBezTo>
                    <a:pt x="127159" y="294799"/>
                    <a:pt x="127159" y="294799"/>
                    <a:pt x="127159" y="293846"/>
                  </a:cubicBezTo>
                  <a:cubicBezTo>
                    <a:pt x="128111" y="296704"/>
                    <a:pt x="128111" y="299561"/>
                    <a:pt x="129064" y="303371"/>
                  </a:cubicBezTo>
                  <a:cubicBezTo>
                    <a:pt x="130016" y="308134"/>
                    <a:pt x="131921" y="313849"/>
                    <a:pt x="133826" y="320516"/>
                  </a:cubicBezTo>
                  <a:cubicBezTo>
                    <a:pt x="135731" y="327184"/>
                    <a:pt x="137636" y="334804"/>
                    <a:pt x="138589" y="342424"/>
                  </a:cubicBezTo>
                  <a:cubicBezTo>
                    <a:pt x="140494" y="350996"/>
                    <a:pt x="141446" y="359569"/>
                    <a:pt x="143351" y="369094"/>
                  </a:cubicBezTo>
                  <a:cubicBezTo>
                    <a:pt x="145256" y="378619"/>
                    <a:pt x="146209" y="388144"/>
                    <a:pt x="148114" y="398621"/>
                  </a:cubicBezTo>
                  <a:cubicBezTo>
                    <a:pt x="148114" y="399574"/>
                    <a:pt x="148114" y="401479"/>
                    <a:pt x="149066" y="403384"/>
                  </a:cubicBezTo>
                  <a:cubicBezTo>
                    <a:pt x="149066" y="406241"/>
                    <a:pt x="149066" y="408146"/>
                    <a:pt x="149066" y="411004"/>
                  </a:cubicBezTo>
                  <a:cubicBezTo>
                    <a:pt x="149066" y="412909"/>
                    <a:pt x="149066" y="414814"/>
                    <a:pt x="149066" y="416719"/>
                  </a:cubicBezTo>
                  <a:cubicBezTo>
                    <a:pt x="145256" y="407194"/>
                    <a:pt x="142399" y="397669"/>
                    <a:pt x="138589" y="388144"/>
                  </a:cubicBezTo>
                  <a:cubicBezTo>
                    <a:pt x="135731" y="379571"/>
                    <a:pt x="132874" y="371951"/>
                    <a:pt x="129064" y="363379"/>
                  </a:cubicBezTo>
                  <a:cubicBezTo>
                    <a:pt x="130969" y="360521"/>
                    <a:pt x="131921" y="358616"/>
                    <a:pt x="131921" y="358616"/>
                  </a:cubicBezTo>
                  <a:cubicBezTo>
                    <a:pt x="131921" y="358616"/>
                    <a:pt x="130969" y="359569"/>
                    <a:pt x="129064" y="361474"/>
                  </a:cubicBezTo>
                  <a:cubicBezTo>
                    <a:pt x="127159" y="357664"/>
                    <a:pt x="126206" y="353854"/>
                    <a:pt x="124301" y="350044"/>
                  </a:cubicBezTo>
                  <a:cubicBezTo>
                    <a:pt x="124301" y="348139"/>
                    <a:pt x="125254" y="346234"/>
                    <a:pt x="125254" y="344329"/>
                  </a:cubicBezTo>
                  <a:cubicBezTo>
                    <a:pt x="128111" y="333851"/>
                    <a:pt x="129064" y="328136"/>
                    <a:pt x="129064" y="328136"/>
                  </a:cubicBezTo>
                  <a:cubicBezTo>
                    <a:pt x="129064" y="328136"/>
                    <a:pt x="126206" y="333851"/>
                    <a:pt x="121444" y="343376"/>
                  </a:cubicBezTo>
                  <a:cubicBezTo>
                    <a:pt x="121444" y="343376"/>
                    <a:pt x="121444" y="343376"/>
                    <a:pt x="121444" y="343376"/>
                  </a:cubicBezTo>
                  <a:cubicBezTo>
                    <a:pt x="121444" y="342424"/>
                    <a:pt x="121444" y="342424"/>
                    <a:pt x="120491" y="341471"/>
                  </a:cubicBezTo>
                  <a:cubicBezTo>
                    <a:pt x="119539" y="339566"/>
                    <a:pt x="118586" y="337661"/>
                    <a:pt x="117634" y="334804"/>
                  </a:cubicBezTo>
                  <a:cubicBezTo>
                    <a:pt x="119539" y="329089"/>
                    <a:pt x="120491" y="323374"/>
                    <a:pt x="121444" y="318611"/>
                  </a:cubicBezTo>
                  <a:close/>
                  <a:moveTo>
                    <a:pt x="116681" y="393859"/>
                  </a:moveTo>
                  <a:cubicBezTo>
                    <a:pt x="120491" y="402431"/>
                    <a:pt x="123349" y="411004"/>
                    <a:pt x="127159" y="419576"/>
                  </a:cubicBezTo>
                  <a:lnTo>
                    <a:pt x="113824" y="414814"/>
                  </a:lnTo>
                  <a:cubicBezTo>
                    <a:pt x="115729" y="408146"/>
                    <a:pt x="115729" y="400526"/>
                    <a:pt x="116681" y="393859"/>
                  </a:cubicBezTo>
                  <a:close/>
                  <a:moveTo>
                    <a:pt x="91916" y="341471"/>
                  </a:moveTo>
                  <a:cubicBezTo>
                    <a:pt x="91916" y="339566"/>
                    <a:pt x="92869" y="337661"/>
                    <a:pt x="92869" y="335756"/>
                  </a:cubicBezTo>
                  <a:cubicBezTo>
                    <a:pt x="93821" y="337661"/>
                    <a:pt x="93821" y="338614"/>
                    <a:pt x="94774" y="340519"/>
                  </a:cubicBezTo>
                  <a:cubicBezTo>
                    <a:pt x="97631" y="346234"/>
                    <a:pt x="99536" y="351949"/>
                    <a:pt x="102394" y="358616"/>
                  </a:cubicBezTo>
                  <a:cubicBezTo>
                    <a:pt x="100489" y="367189"/>
                    <a:pt x="98584" y="374809"/>
                    <a:pt x="96679" y="384334"/>
                  </a:cubicBezTo>
                  <a:cubicBezTo>
                    <a:pt x="95726" y="389096"/>
                    <a:pt x="94774" y="393859"/>
                    <a:pt x="94774" y="399574"/>
                  </a:cubicBezTo>
                  <a:cubicBezTo>
                    <a:pt x="94774" y="399574"/>
                    <a:pt x="93821" y="400526"/>
                    <a:pt x="93821" y="400526"/>
                  </a:cubicBezTo>
                  <a:cubicBezTo>
                    <a:pt x="92869" y="401479"/>
                    <a:pt x="91916" y="403384"/>
                    <a:pt x="90964" y="404336"/>
                  </a:cubicBezTo>
                  <a:cubicBezTo>
                    <a:pt x="90011" y="396716"/>
                    <a:pt x="89059" y="390049"/>
                    <a:pt x="88106" y="382429"/>
                  </a:cubicBezTo>
                  <a:cubicBezTo>
                    <a:pt x="87154" y="376714"/>
                    <a:pt x="86201" y="370999"/>
                    <a:pt x="85249" y="365284"/>
                  </a:cubicBezTo>
                  <a:cubicBezTo>
                    <a:pt x="87154" y="356711"/>
                    <a:pt x="89059" y="348139"/>
                    <a:pt x="91916" y="341471"/>
                  </a:cubicBezTo>
                  <a:close/>
                  <a:moveTo>
                    <a:pt x="72866" y="407194"/>
                  </a:moveTo>
                  <a:cubicBezTo>
                    <a:pt x="72866" y="408146"/>
                    <a:pt x="72866" y="408146"/>
                    <a:pt x="72866" y="409099"/>
                  </a:cubicBezTo>
                  <a:cubicBezTo>
                    <a:pt x="72866" y="409099"/>
                    <a:pt x="72866" y="409099"/>
                    <a:pt x="71914" y="409099"/>
                  </a:cubicBezTo>
                  <a:cubicBezTo>
                    <a:pt x="71914" y="408146"/>
                    <a:pt x="72866" y="408146"/>
                    <a:pt x="72866" y="407194"/>
                  </a:cubicBezTo>
                  <a:close/>
                </a:path>
              </a:pathLst>
            </a:custGeom>
            <a:solidFill>
              <a:schemeClr val="accent1"/>
            </a:solidFill>
            <a:ln w="9525" cap="flat">
              <a:noFill/>
              <a:prstDash val="solid"/>
              <a:miter/>
            </a:ln>
          </p:spPr>
          <p:txBody>
            <a:bodyPr rtlCol="0" anchor="ctr"/>
            <a:lstStyle/>
            <a:p>
              <a:pPr marL="0" marR="0" lvl="0" indent="0" algn="l" defTabSz="91378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Arial Unicode MS"/>
                <a:cs typeface="+mn-cs"/>
              </a:endParaRPr>
            </a:p>
          </p:txBody>
        </p:sp>
      </p:grpSp>
    </p:spTree>
    <p:extLst>
      <p:ext uri="{BB962C8B-B14F-4D97-AF65-F5344CB8AC3E}">
        <p14:creationId xmlns:p14="http://schemas.microsoft.com/office/powerpoint/2010/main" val="23602474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and Vertical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956376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4713DF-5F0F-4743-9E07-777DF8792DC1}"/>
              </a:ext>
            </a:extLst>
          </p:cNvPr>
          <p:cNvSpPr>
            <a:spLocks noGrp="1"/>
          </p:cNvSpPr>
          <p:nvPr>
            <p:ph type="title"/>
          </p:nvPr>
        </p:nvSpPr>
        <p:spPr>
          <a:xfrm>
            <a:off x="838201" y="365129"/>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68467662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3_Custom Layout">
    <p:bg>
      <p:bgPr>
        <a:solidFill>
          <a:schemeClr val="bg1">
            <a:alpha val="66000"/>
          </a:schemeClr>
        </a:solidFill>
        <a:effectLst/>
      </p:bgPr>
    </p:bg>
    <p:spTree>
      <p:nvGrpSpPr>
        <p:cNvPr id="1" name=""/>
        <p:cNvGrpSpPr/>
        <p:nvPr/>
      </p:nvGrpSpPr>
      <p:grpSpPr>
        <a:xfrm>
          <a:off x="0" y="0"/>
          <a:ext cx="0" cy="0"/>
          <a:chOff x="0" y="0"/>
          <a:chExt cx="0" cy="0"/>
        </a:xfrm>
      </p:grpSpPr>
      <p:pic>
        <p:nvPicPr>
          <p:cNvPr id="6" name="Picture 5" descr="A truck parked on the side of a road&#10;&#10;Description generated with high confidence">
            <a:extLst>
              <a:ext uri="{FF2B5EF4-FFF2-40B4-BE49-F238E27FC236}">
                <a16:creationId xmlns:a16="http://schemas.microsoft.com/office/drawing/2014/main" id="{A0DABE20-88FE-405F-8B2B-004B30F12F1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378" t="-128" r="5018" b="12435"/>
          <a:stretch/>
        </p:blipFill>
        <p:spPr>
          <a:xfrm>
            <a:off x="2" y="1084229"/>
            <a:ext cx="12192000" cy="4840020"/>
          </a:xfrm>
          <a:prstGeom prst="rect">
            <a:avLst/>
          </a:prstGeom>
        </p:spPr>
      </p:pic>
      <p:sp>
        <p:nvSpPr>
          <p:cNvPr id="7" name="Rectangle 6">
            <a:extLst>
              <a:ext uri="{FF2B5EF4-FFF2-40B4-BE49-F238E27FC236}">
                <a16:creationId xmlns:a16="http://schemas.microsoft.com/office/drawing/2014/main" id="{2C9E0808-8906-4E45-A3AD-2FBE1C73752F}"/>
              </a:ext>
            </a:extLst>
          </p:cNvPr>
          <p:cNvSpPr/>
          <p:nvPr userDrawn="1"/>
        </p:nvSpPr>
        <p:spPr>
          <a:xfrm>
            <a:off x="2" y="0"/>
            <a:ext cx="12192000" cy="6858000"/>
          </a:xfrm>
          <a:prstGeom prst="rect">
            <a:avLst/>
          </a:prstGeom>
          <a:solidFill>
            <a:schemeClr val="bg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63"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47771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99"/>
        <p:cNvGrpSpPr/>
        <p:nvPr/>
      </p:nvGrpSpPr>
      <p:grpSpPr>
        <a:xfrm>
          <a:off x="0" y="0"/>
          <a:ext cx="0" cy="0"/>
          <a:chOff x="0" y="0"/>
          <a:chExt cx="0" cy="0"/>
        </a:xfrm>
      </p:grpSpPr>
      <p:grpSp>
        <p:nvGrpSpPr>
          <p:cNvPr id="100" name="Google Shape;100;g91f7f3216c_0_167"/>
          <p:cNvGrpSpPr/>
          <p:nvPr/>
        </p:nvGrpSpPr>
        <p:grpSpPr>
          <a:xfrm>
            <a:off x="1" y="5504763"/>
            <a:ext cx="931900" cy="912876"/>
            <a:chOff x="0" y="3785672"/>
            <a:chExt cx="698925" cy="684657"/>
          </a:xfrm>
        </p:grpSpPr>
        <p:sp>
          <p:nvSpPr>
            <p:cNvPr id="101" name="Google Shape;101;g91f7f3216c_0_167"/>
            <p:cNvSpPr/>
            <p:nvPr/>
          </p:nvSpPr>
          <p:spPr>
            <a:xfrm rot="-5400000">
              <a:off x="0" y="3785672"/>
              <a:ext cx="544800" cy="544800"/>
            </a:xfrm>
            <a:prstGeom prst="diagStripe">
              <a:avLst>
                <a:gd name="adj" fmla="val 50000"/>
              </a:avLst>
            </a:prstGeom>
            <a:solidFill>
              <a:schemeClr val="lt1">
                <a:alpha val="962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2" name="Google Shape;102;g91f7f3216c_0_167"/>
            <p:cNvSpPr/>
            <p:nvPr/>
          </p:nvSpPr>
          <p:spPr>
            <a:xfrm flipH="1">
              <a:off x="154125" y="3925529"/>
              <a:ext cx="544800" cy="544800"/>
            </a:xfrm>
            <a:prstGeom prst="diagStripe">
              <a:avLst>
                <a:gd name="adj" fmla="val 50000"/>
              </a:avLst>
            </a:prstGeom>
            <a:solidFill>
              <a:schemeClr val="lt1">
                <a:alpha val="9620"/>
              </a:schemeClr>
            </a:solidFill>
            <a:ln>
              <a:noFill/>
            </a:ln>
          </p:spPr>
          <p:txBody>
            <a:bodyPr spcFirstLastPara="1" wrap="square" lIns="91425" tIns="91425" rIns="91425" bIns="91425"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103" name="Google Shape;103;g91f7f3216c_0_167"/>
          <p:cNvSpPr txBox="1">
            <a:spLocks noGrp="1"/>
          </p:cNvSpPr>
          <p:nvPr>
            <p:ph type="body" idx="1"/>
          </p:nvPr>
        </p:nvSpPr>
        <p:spPr>
          <a:xfrm>
            <a:off x="1083633" y="5740500"/>
            <a:ext cx="9248000" cy="698400"/>
          </a:xfrm>
          <a:prstGeom prst="rect">
            <a:avLst/>
          </a:prstGeom>
        </p:spPr>
        <p:txBody>
          <a:bodyPr spcFirstLastPara="1" wrap="square" lIns="91425" tIns="91425" rIns="91425" bIns="91425" anchor="ctr" anchorCtr="0">
            <a:noAutofit/>
          </a:bodyPr>
          <a:lstStyle>
            <a:lvl1pPr marL="609585" lvl="0" indent="-304792">
              <a:lnSpc>
                <a:spcPct val="100000"/>
              </a:lnSpc>
              <a:spcBef>
                <a:spcPts val="0"/>
              </a:spcBef>
              <a:spcAft>
                <a:spcPts val="0"/>
              </a:spcAft>
              <a:buSzPts val="1300"/>
              <a:buNone/>
              <a:defRPr/>
            </a:lvl1pPr>
          </a:lstStyle>
          <a:p>
            <a:endParaRPr/>
          </a:p>
        </p:txBody>
      </p:sp>
      <p:sp>
        <p:nvSpPr>
          <p:cNvPr id="104" name="Google Shape;104;g91f7f3216c_0_16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defTabSz="1219170">
              <a:buClr>
                <a:srgbClr val="000000"/>
              </a:buClr>
            </a:pPr>
            <a:fld id="{00000000-1234-1234-1234-123412341234}" type="slidenum">
              <a:rPr lang="en-GB" kern="0" smtClean="0">
                <a:solidFill>
                  <a:srgbClr val="FFFFFF"/>
                </a:solidFill>
              </a:rPr>
              <a:pPr defTabSz="1219170">
                <a:buClr>
                  <a:srgbClr val="000000"/>
                </a:buClr>
              </a:pPr>
              <a:t>‹#›</a:t>
            </a:fld>
            <a:endParaRPr lang="en-GB" kern="0">
              <a:solidFill>
                <a:srgbClr val="FFFFFF"/>
              </a:solidFill>
            </a:endParaRPr>
          </a:p>
        </p:txBody>
      </p:sp>
    </p:spTree>
    <p:extLst>
      <p:ext uri="{BB962C8B-B14F-4D97-AF65-F5344CB8AC3E}">
        <p14:creationId xmlns:p14="http://schemas.microsoft.com/office/powerpoint/2010/main" val="20614284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562710" y="1508400"/>
            <a:ext cx="11068061" cy="4590000"/>
          </a:xfrm>
          <a:prstGeom prst="rect">
            <a:avLst/>
          </a:prstGeom>
        </p:spPr>
        <p:txBody>
          <a:bodyPr lIns="0" tIns="0" rIns="0" bIns="0"/>
          <a:lstStyle>
            <a:lvl1pPr marL="0" indent="-172930">
              <a:buClr>
                <a:schemeClr val="tx2"/>
              </a:buClr>
              <a:buFont typeface="Arial" pitchFamily="34" charset="0"/>
              <a:buChar char="•"/>
              <a:tabLst/>
              <a:defRPr b="0"/>
            </a:lvl1pPr>
            <a:lvl2pPr marL="628257" indent="-228456">
              <a:buFont typeface="Arial" pitchFamily="34" charset="0"/>
              <a:buChar char="–"/>
              <a:defRPr/>
            </a:lvl2pPr>
            <a:lvl3pPr marL="1074068" indent="-228456">
              <a:defRPr/>
            </a:lvl3pPr>
            <a:lvl4pPr marL="1544370" indent="-228456">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30129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209825" y="1195952"/>
            <a:ext cx="11630487" cy="5112000"/>
          </a:xfrm>
          <a:prstGeom prst="rect">
            <a:avLst/>
          </a:prstGeom>
        </p:spPr>
        <p:txBody>
          <a:bodyPr lIns="97740" tIns="48870" rIns="97740" bIns="48870"/>
          <a:lstStyle>
            <a:lvl1pPr marL="152623" indent="-152623">
              <a:lnSpc>
                <a:spcPct val="114000"/>
              </a:lnSpc>
              <a:spcBef>
                <a:spcPts val="641"/>
              </a:spcBef>
              <a:buFont typeface="Arial" pitchFamily="34" charset="0"/>
              <a:buChar char="•"/>
              <a:defRPr sz="1600">
                <a:solidFill>
                  <a:schemeClr val="bg2"/>
                </a:solidFill>
              </a:defRPr>
            </a:lvl1pPr>
            <a:lvl2pPr>
              <a:lnSpc>
                <a:spcPct val="114000"/>
              </a:lnSpc>
              <a:spcBef>
                <a:spcPts val="641"/>
              </a:spcBef>
              <a:buFont typeface="Arial" pitchFamily="34" charset="0"/>
              <a:buChar char="•"/>
              <a:defRPr sz="1500">
                <a:solidFill>
                  <a:schemeClr val="bg2"/>
                </a:solidFill>
              </a:defRPr>
            </a:lvl2pPr>
            <a:lvl3pPr>
              <a:lnSpc>
                <a:spcPct val="114000"/>
              </a:lnSpc>
              <a:spcBef>
                <a:spcPts val="641"/>
              </a:spcBef>
              <a:buFont typeface="Arial" pitchFamily="34" charset="0"/>
              <a:buChar char="•"/>
              <a:defRPr sz="1400">
                <a:solidFill>
                  <a:schemeClr val="bg2"/>
                </a:solidFill>
              </a:defRPr>
            </a:lvl3pPr>
            <a:lvl4pPr>
              <a:lnSpc>
                <a:spcPct val="114000"/>
              </a:lnSpc>
              <a:spcBef>
                <a:spcPts val="641"/>
              </a:spcBef>
              <a:buFont typeface="Arial" pitchFamily="34" charset="0"/>
              <a:buChar char="•"/>
              <a:defRPr sz="1500">
                <a:solidFill>
                  <a:schemeClr val="bg2"/>
                </a:solidFill>
              </a:defRPr>
            </a:lvl4pPr>
            <a:lvl5pPr>
              <a:lnSpc>
                <a:spcPct val="114000"/>
              </a:lnSpc>
              <a:spcBef>
                <a:spcPts val="641"/>
              </a:spcBef>
              <a:buFont typeface="Arial" pitchFamily="34" charset="0"/>
              <a:buChar char="•"/>
              <a:defRPr>
                <a:solidFill>
                  <a:schemeClr val="bg2"/>
                </a:solidFill>
              </a:defRPr>
            </a:lvl5pPr>
          </a:lstStyle>
          <a:p>
            <a:pPr lvl="0"/>
            <a:r>
              <a:rPr lang="de-DE"/>
              <a:t>Textmasterformat bearbeiten</a:t>
            </a:r>
          </a:p>
          <a:p>
            <a:pPr lvl="1"/>
            <a:r>
              <a:rPr lang="de-DE"/>
              <a:t>Zweite Ebene</a:t>
            </a:r>
          </a:p>
        </p:txBody>
      </p:sp>
      <p:sp>
        <p:nvSpPr>
          <p:cNvPr id="5" name="Rectangle 2"/>
          <p:cNvSpPr>
            <a:spLocks noGrp="1" noChangeArrowheads="1"/>
          </p:cNvSpPr>
          <p:nvPr>
            <p:ph type="title"/>
          </p:nvPr>
        </p:nvSpPr>
        <p:spPr>
          <a:xfrm>
            <a:off x="222699" y="419524"/>
            <a:ext cx="9226612" cy="584727"/>
          </a:xfrm>
          <a:prstGeom prst="rect">
            <a:avLst/>
          </a:prstGeom>
        </p:spPr>
        <p:txBody>
          <a:bodyPr lIns="97740" tIns="48870" rIns="97740" bIns="48870"/>
          <a:lstStyle>
            <a:lvl1pPr marL="0" marR="0" indent="0" algn="l" defTabSz="956442" rtl="0" eaLnBrk="1" fontAlgn="base" latinLnBrk="0" hangingPunct="1">
              <a:lnSpc>
                <a:spcPct val="100000"/>
              </a:lnSpc>
              <a:spcBef>
                <a:spcPct val="0"/>
              </a:spcBef>
              <a:spcAft>
                <a:spcPct val="0"/>
              </a:spcAft>
              <a:buClrTx/>
              <a:buSzTx/>
              <a:buFontTx/>
              <a:buNone/>
              <a:tabLst/>
              <a:defRPr>
                <a:solidFill>
                  <a:schemeClr val="tx1"/>
                </a:solidFill>
              </a:defRPr>
            </a:lvl1pPr>
          </a:lstStyle>
          <a:p>
            <a:pPr eaLnBrk="1" hangingPunct="1"/>
            <a:r>
              <a:rPr lang="de-DE">
                <a:solidFill>
                  <a:srgbClr val="646864"/>
                </a:solidFill>
                <a:latin typeface="Calibri" pitchFamily="34" charset="0"/>
              </a:rPr>
              <a:t>Titelmasterformat durch Klicken bearbeiten</a:t>
            </a:r>
            <a:endParaRPr lang="de-DE" dirty="0">
              <a:solidFill>
                <a:srgbClr val="646864"/>
              </a:solidFill>
              <a:latin typeface="Calibri" pitchFamily="34" charset="0"/>
            </a:endParaRPr>
          </a:p>
        </p:txBody>
      </p:sp>
    </p:spTree>
    <p:extLst>
      <p:ext uri="{BB962C8B-B14F-4D97-AF65-F5344CB8AC3E}">
        <p14:creationId xmlns:p14="http://schemas.microsoft.com/office/powerpoint/2010/main" val="8037524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80862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
        <p:nvSpPr>
          <p:cNvPr id="5" name="Slide Number Placeholder 1"/>
          <p:cNvSpPr>
            <a:spLocks noGrp="1"/>
          </p:cNvSpPr>
          <p:nvPr>
            <p:ph type="sldNum" sz="quarter" idx="4"/>
          </p:nvPr>
        </p:nvSpPr>
        <p:spPr>
          <a:xfrm>
            <a:off x="203200" y="6498568"/>
            <a:ext cx="508000" cy="365124"/>
          </a:xfrm>
          <a:prstGeom prst="rect">
            <a:avLst/>
          </a:prstGeom>
        </p:spPr>
        <p:txBody>
          <a:bodyPr vert="horz" lIns="90566" tIns="45271" rIns="90566" bIns="45271" rtlCol="0" anchor="ctr"/>
          <a:lstStyle>
            <a:lvl1pPr algn="r">
              <a:defRPr sz="1200">
                <a:solidFill>
                  <a:schemeClr val="tx1"/>
                </a:solidFill>
              </a:defRPr>
            </a:lvl1pPr>
          </a:lstStyle>
          <a:p>
            <a:pPr defTabSz="905436">
              <a:defRPr/>
            </a:pPr>
            <a:fld id="{7422662C-4EA5-40CB-AF95-82CA1EC35BEA}" type="slidenum">
              <a:rPr lang="en-US" smtClean="0">
                <a:solidFill>
                  <a:srgbClr val="000000"/>
                </a:solidFill>
                <a:latin typeface="Arial"/>
              </a:rPr>
              <a:pPr defTabSz="905436">
                <a:defRPr/>
              </a:pPr>
              <a:t>‹#›</a:t>
            </a:fld>
            <a:endParaRPr lang="en-US" dirty="0">
              <a:solidFill>
                <a:srgbClr val="000000"/>
              </a:solidFill>
              <a:latin typeface="Arial"/>
            </a:endParaRPr>
          </a:p>
        </p:txBody>
      </p:sp>
    </p:spTree>
    <p:extLst>
      <p:ext uri="{BB962C8B-B14F-4D97-AF65-F5344CB8AC3E}">
        <p14:creationId xmlns:p14="http://schemas.microsoft.com/office/powerpoint/2010/main" val="310274912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209823" y="1195952"/>
            <a:ext cx="11630486" cy="5112000"/>
          </a:xfrm>
          <a:prstGeom prst="rect">
            <a:avLst/>
          </a:prstGeom>
        </p:spPr>
        <p:txBody>
          <a:bodyPr lIns="97740" tIns="48870" rIns="97740" bIns="48870"/>
          <a:lstStyle>
            <a:lvl1pPr marL="152673" indent="-152673">
              <a:lnSpc>
                <a:spcPct val="114000"/>
              </a:lnSpc>
              <a:spcBef>
                <a:spcPts val="641"/>
              </a:spcBef>
              <a:buFont typeface="Arial" pitchFamily="34" charset="0"/>
              <a:buChar char="•"/>
              <a:defRPr sz="1600">
                <a:solidFill>
                  <a:schemeClr val="bg2"/>
                </a:solidFill>
              </a:defRPr>
            </a:lvl1pPr>
            <a:lvl2pPr>
              <a:lnSpc>
                <a:spcPct val="114000"/>
              </a:lnSpc>
              <a:spcBef>
                <a:spcPts val="641"/>
              </a:spcBef>
              <a:buFont typeface="Arial" pitchFamily="34" charset="0"/>
              <a:buChar char="•"/>
              <a:defRPr sz="1500">
                <a:solidFill>
                  <a:schemeClr val="bg2"/>
                </a:solidFill>
              </a:defRPr>
            </a:lvl2pPr>
            <a:lvl3pPr>
              <a:lnSpc>
                <a:spcPct val="114000"/>
              </a:lnSpc>
              <a:spcBef>
                <a:spcPts val="641"/>
              </a:spcBef>
              <a:buFont typeface="Arial" pitchFamily="34" charset="0"/>
              <a:buChar char="•"/>
              <a:defRPr sz="1400">
                <a:solidFill>
                  <a:schemeClr val="bg2"/>
                </a:solidFill>
              </a:defRPr>
            </a:lvl3pPr>
            <a:lvl4pPr>
              <a:lnSpc>
                <a:spcPct val="114000"/>
              </a:lnSpc>
              <a:spcBef>
                <a:spcPts val="641"/>
              </a:spcBef>
              <a:buFont typeface="Arial" pitchFamily="34" charset="0"/>
              <a:buChar char="•"/>
              <a:defRPr sz="1500">
                <a:solidFill>
                  <a:schemeClr val="bg2"/>
                </a:solidFill>
              </a:defRPr>
            </a:lvl4pPr>
            <a:lvl5pPr>
              <a:lnSpc>
                <a:spcPct val="114000"/>
              </a:lnSpc>
              <a:spcBef>
                <a:spcPts val="641"/>
              </a:spcBef>
              <a:buFont typeface="Arial" pitchFamily="34" charset="0"/>
              <a:buChar char="•"/>
              <a:defRPr>
                <a:solidFill>
                  <a:schemeClr val="bg2"/>
                </a:solidFill>
              </a:defRPr>
            </a:lvl5pPr>
          </a:lstStyle>
          <a:p>
            <a:pPr lvl="0"/>
            <a:r>
              <a:rPr lang="de-DE"/>
              <a:t>Textmasterformat bearbeiten</a:t>
            </a:r>
          </a:p>
          <a:p>
            <a:pPr lvl="1"/>
            <a:r>
              <a:rPr lang="de-DE"/>
              <a:t>Zweite Ebene</a:t>
            </a:r>
          </a:p>
        </p:txBody>
      </p:sp>
      <p:sp>
        <p:nvSpPr>
          <p:cNvPr id="5" name="Rectangle 2"/>
          <p:cNvSpPr>
            <a:spLocks noGrp="1" noChangeArrowheads="1"/>
          </p:cNvSpPr>
          <p:nvPr>
            <p:ph type="title"/>
          </p:nvPr>
        </p:nvSpPr>
        <p:spPr>
          <a:xfrm>
            <a:off x="222698" y="419520"/>
            <a:ext cx="9226612" cy="584727"/>
          </a:xfrm>
          <a:prstGeom prst="rect">
            <a:avLst/>
          </a:prstGeom>
        </p:spPr>
        <p:txBody>
          <a:bodyPr lIns="97740" tIns="48870" rIns="97740" bIns="48870"/>
          <a:lstStyle>
            <a:lvl1pPr marL="0" marR="0" indent="0" algn="l" defTabSz="956753" rtl="0" eaLnBrk="1" fontAlgn="base" latinLnBrk="0" hangingPunct="1">
              <a:lnSpc>
                <a:spcPct val="100000"/>
              </a:lnSpc>
              <a:spcBef>
                <a:spcPct val="0"/>
              </a:spcBef>
              <a:spcAft>
                <a:spcPct val="0"/>
              </a:spcAft>
              <a:buClrTx/>
              <a:buSzTx/>
              <a:buFontTx/>
              <a:buNone/>
              <a:tabLst/>
              <a:defRPr>
                <a:solidFill>
                  <a:schemeClr val="tx1"/>
                </a:solidFill>
              </a:defRPr>
            </a:lvl1pPr>
          </a:lstStyle>
          <a:p>
            <a:pPr eaLnBrk="1" hangingPunct="1"/>
            <a:r>
              <a:rPr lang="de-DE">
                <a:solidFill>
                  <a:srgbClr val="646864"/>
                </a:solidFill>
                <a:latin typeface="Calibri" pitchFamily="34" charset="0"/>
              </a:rPr>
              <a:t>Titelmasterformat durch Klicken bearbeiten</a:t>
            </a:r>
            <a:endParaRPr lang="de-DE" dirty="0">
              <a:solidFill>
                <a:srgbClr val="646864"/>
              </a:solidFill>
              <a:latin typeface="Calibri" pitchFamily="34" charset="0"/>
            </a:endParaRPr>
          </a:p>
        </p:txBody>
      </p:sp>
    </p:spTree>
    <p:extLst>
      <p:ext uri="{BB962C8B-B14F-4D97-AF65-F5344CB8AC3E}">
        <p14:creationId xmlns:p14="http://schemas.microsoft.com/office/powerpoint/2010/main" val="147250919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20" y="1593"/>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p:cNvPicPr/>
                      <p:nvPr/>
                    </p:nvPicPr>
                    <p:blipFill>
                      <a:blip r:embed="rId4"/>
                      <a:stretch>
                        <a:fillRect/>
                      </a:stretch>
                    </p:blipFill>
                    <p:spPr>
                      <a:xfrm>
                        <a:off x="2120" y="1593"/>
                        <a:ext cx="2116"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
        <p:nvSpPr>
          <p:cNvPr id="5" name="Slide Number Placeholder 1"/>
          <p:cNvSpPr>
            <a:spLocks noGrp="1"/>
          </p:cNvSpPr>
          <p:nvPr>
            <p:ph type="sldNum" sz="quarter" idx="4"/>
          </p:nvPr>
        </p:nvSpPr>
        <p:spPr>
          <a:xfrm>
            <a:off x="203200" y="6498568"/>
            <a:ext cx="508000" cy="365124"/>
          </a:xfrm>
          <a:prstGeom prst="rect">
            <a:avLst/>
          </a:prstGeom>
        </p:spPr>
        <p:txBody>
          <a:bodyPr vert="horz" lIns="90566" tIns="45271" rIns="90566" bIns="45271" rtlCol="0" anchor="ctr"/>
          <a:lstStyle>
            <a:lvl1pPr algn="r">
              <a:defRPr sz="1200">
                <a:solidFill>
                  <a:schemeClr val="tx1"/>
                </a:solidFill>
              </a:defRPr>
            </a:lvl1pPr>
          </a:lstStyle>
          <a:p>
            <a:pPr defTabSz="905164">
              <a:defRPr/>
            </a:pPr>
            <a:fld id="{7422662C-4EA5-40CB-AF95-82CA1EC35BEA}" type="slidenum">
              <a:rPr lang="en-US" smtClean="0">
                <a:solidFill>
                  <a:srgbClr val="000000"/>
                </a:solidFill>
                <a:latin typeface="Arial"/>
              </a:rPr>
              <a:pPr defTabSz="905164">
                <a:defRPr/>
              </a:pPr>
              <a:t>‹#›</a:t>
            </a:fld>
            <a:endParaRPr lang="en-US" dirty="0">
              <a:solidFill>
                <a:srgbClr val="000000"/>
              </a:solidFill>
              <a:latin typeface="Arial"/>
            </a:endParaRPr>
          </a:p>
        </p:txBody>
      </p:sp>
    </p:spTree>
    <p:extLst>
      <p:ext uri="{BB962C8B-B14F-4D97-AF65-F5344CB8AC3E}">
        <p14:creationId xmlns:p14="http://schemas.microsoft.com/office/powerpoint/2010/main" val="189145752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4_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562710" y="1508400"/>
            <a:ext cx="11068061" cy="4590000"/>
          </a:xfrm>
          <a:prstGeom prst="rect">
            <a:avLst/>
          </a:prstGeom>
        </p:spPr>
        <p:txBody>
          <a:bodyPr lIns="0" tIns="0" rIns="0" bIns="0"/>
          <a:lstStyle>
            <a:lvl1pPr marL="0" indent="-172934">
              <a:buClr>
                <a:schemeClr val="tx2"/>
              </a:buClr>
              <a:buFont typeface="Arial" pitchFamily="34" charset="0"/>
              <a:buChar char="•"/>
              <a:tabLst/>
              <a:defRPr b="0"/>
            </a:lvl1pPr>
            <a:lvl2pPr marL="628272" indent="-228462">
              <a:buFont typeface="Arial" pitchFamily="34" charset="0"/>
              <a:buChar char="–"/>
              <a:defRPr/>
            </a:lvl2pPr>
            <a:lvl3pPr marL="1074094" indent="-228462">
              <a:defRPr/>
            </a:lvl3pPr>
            <a:lvl4pPr marL="1544409" indent="-228462">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120223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9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209823" y="1195952"/>
            <a:ext cx="11630486" cy="5112000"/>
          </a:xfrm>
          <a:prstGeom prst="rect">
            <a:avLst/>
          </a:prstGeom>
        </p:spPr>
        <p:txBody>
          <a:bodyPr lIns="97740" tIns="48870" rIns="97740" bIns="48870"/>
          <a:lstStyle>
            <a:lvl1pPr marL="152627" indent="-152627">
              <a:lnSpc>
                <a:spcPct val="114000"/>
              </a:lnSpc>
              <a:spcBef>
                <a:spcPts val="641"/>
              </a:spcBef>
              <a:buFont typeface="Arial" pitchFamily="34" charset="0"/>
              <a:buChar char="•"/>
              <a:defRPr sz="1600">
                <a:solidFill>
                  <a:schemeClr val="bg2"/>
                </a:solidFill>
              </a:defRPr>
            </a:lvl1pPr>
            <a:lvl2pPr>
              <a:lnSpc>
                <a:spcPct val="114000"/>
              </a:lnSpc>
              <a:spcBef>
                <a:spcPts val="641"/>
              </a:spcBef>
              <a:buFont typeface="Arial" pitchFamily="34" charset="0"/>
              <a:buChar char="•"/>
              <a:defRPr sz="1500">
                <a:solidFill>
                  <a:schemeClr val="bg2"/>
                </a:solidFill>
              </a:defRPr>
            </a:lvl2pPr>
            <a:lvl3pPr>
              <a:lnSpc>
                <a:spcPct val="114000"/>
              </a:lnSpc>
              <a:spcBef>
                <a:spcPts val="641"/>
              </a:spcBef>
              <a:buFont typeface="Arial" pitchFamily="34" charset="0"/>
              <a:buChar char="•"/>
              <a:defRPr sz="1400">
                <a:solidFill>
                  <a:schemeClr val="bg2"/>
                </a:solidFill>
              </a:defRPr>
            </a:lvl3pPr>
            <a:lvl4pPr>
              <a:lnSpc>
                <a:spcPct val="114000"/>
              </a:lnSpc>
              <a:spcBef>
                <a:spcPts val="641"/>
              </a:spcBef>
              <a:buFont typeface="Arial" pitchFamily="34" charset="0"/>
              <a:buChar char="•"/>
              <a:defRPr sz="1500">
                <a:solidFill>
                  <a:schemeClr val="bg2"/>
                </a:solidFill>
              </a:defRPr>
            </a:lvl4pPr>
            <a:lvl5pPr>
              <a:lnSpc>
                <a:spcPct val="114000"/>
              </a:lnSpc>
              <a:spcBef>
                <a:spcPts val="641"/>
              </a:spcBef>
              <a:buFont typeface="Arial" pitchFamily="34" charset="0"/>
              <a:buChar char="•"/>
              <a:defRPr>
                <a:solidFill>
                  <a:schemeClr val="bg2"/>
                </a:solidFill>
              </a:defRPr>
            </a:lvl5pPr>
          </a:lstStyle>
          <a:p>
            <a:pPr lvl="0"/>
            <a:r>
              <a:rPr lang="de-DE"/>
              <a:t>Textmasterformat bearbeiten</a:t>
            </a:r>
          </a:p>
          <a:p>
            <a:pPr lvl="1"/>
            <a:r>
              <a:rPr lang="de-DE"/>
              <a:t>Zweite Ebene</a:t>
            </a:r>
          </a:p>
        </p:txBody>
      </p:sp>
      <p:sp>
        <p:nvSpPr>
          <p:cNvPr id="5" name="Rectangle 2"/>
          <p:cNvSpPr>
            <a:spLocks noGrp="1" noChangeArrowheads="1"/>
          </p:cNvSpPr>
          <p:nvPr>
            <p:ph type="title"/>
          </p:nvPr>
        </p:nvSpPr>
        <p:spPr>
          <a:xfrm>
            <a:off x="222698" y="419522"/>
            <a:ext cx="9226612" cy="584727"/>
          </a:xfrm>
          <a:prstGeom prst="rect">
            <a:avLst/>
          </a:prstGeom>
        </p:spPr>
        <p:txBody>
          <a:bodyPr lIns="97740" tIns="48870" rIns="97740" bIns="48870"/>
          <a:lstStyle>
            <a:lvl1pPr marL="0" marR="0" indent="0" algn="l" defTabSz="956466" rtl="0" eaLnBrk="1" fontAlgn="base" latinLnBrk="0" hangingPunct="1">
              <a:lnSpc>
                <a:spcPct val="100000"/>
              </a:lnSpc>
              <a:spcBef>
                <a:spcPct val="0"/>
              </a:spcBef>
              <a:spcAft>
                <a:spcPct val="0"/>
              </a:spcAft>
              <a:buClrTx/>
              <a:buSzTx/>
              <a:buFontTx/>
              <a:buNone/>
              <a:tabLst/>
              <a:defRPr>
                <a:solidFill>
                  <a:schemeClr val="tx1"/>
                </a:solidFill>
              </a:defRPr>
            </a:lvl1pPr>
          </a:lstStyle>
          <a:p>
            <a:pPr eaLnBrk="1" hangingPunct="1"/>
            <a:r>
              <a:rPr lang="de-DE">
                <a:solidFill>
                  <a:srgbClr val="646864"/>
                </a:solidFill>
                <a:latin typeface="Calibri" pitchFamily="34" charset="0"/>
              </a:rPr>
              <a:t>Titelmasterformat durch Klicken bearbeiten</a:t>
            </a:r>
            <a:endParaRPr lang="de-DE" dirty="0">
              <a:solidFill>
                <a:srgbClr val="646864"/>
              </a:solidFill>
              <a:latin typeface="Calibri" pitchFamily="34" charset="0"/>
            </a:endParaRPr>
          </a:p>
        </p:txBody>
      </p:sp>
    </p:spTree>
    <p:extLst>
      <p:ext uri="{BB962C8B-B14F-4D97-AF65-F5344CB8AC3E}">
        <p14:creationId xmlns:p14="http://schemas.microsoft.com/office/powerpoint/2010/main" val="189568039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After Sales Support layou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9DA8F52-0771-4588-AEEA-7F7085F7673C}"/>
              </a:ext>
            </a:extLst>
          </p:cNvPr>
          <p:cNvSpPr/>
          <p:nvPr userDrawn="1"/>
        </p:nvSpPr>
        <p:spPr>
          <a:xfrm>
            <a:off x="-584" y="-13063"/>
            <a:ext cx="11273246" cy="774929"/>
          </a:xfrm>
          <a:prstGeom prst="rect">
            <a:avLst/>
          </a:prstGeom>
          <a:solidFill>
            <a:srgbClr val="1261A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IN" sz="1799" b="1"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8" name="Freeform: Shape 7">
            <a:extLst>
              <a:ext uri="{FF2B5EF4-FFF2-40B4-BE49-F238E27FC236}">
                <a16:creationId xmlns:a16="http://schemas.microsoft.com/office/drawing/2014/main" id="{D33C9E77-DFEA-493D-9B89-9C2E9E096699}"/>
              </a:ext>
            </a:extLst>
          </p:cNvPr>
          <p:cNvSpPr/>
          <p:nvPr userDrawn="1"/>
        </p:nvSpPr>
        <p:spPr>
          <a:xfrm flipH="1">
            <a:off x="12411" y="151"/>
            <a:ext cx="11260250" cy="758952"/>
          </a:xfrm>
          <a:custGeom>
            <a:avLst/>
            <a:gdLst>
              <a:gd name="connsiteX0" fmla="*/ 11390945 w 11390945"/>
              <a:gd name="connsiteY0" fmla="*/ 0 h 758952"/>
              <a:gd name="connsiteX1" fmla="*/ 7889446 w 11390945"/>
              <a:gd name="connsiteY1" fmla="*/ 0 h 758952"/>
              <a:gd name="connsiteX2" fmla="*/ 7733998 w 11390945"/>
              <a:gd name="connsiteY2" fmla="*/ 0 h 758952"/>
              <a:gd name="connsiteX3" fmla="*/ 0 w 11390945"/>
              <a:gd name="connsiteY3" fmla="*/ 0 h 758952"/>
              <a:gd name="connsiteX4" fmla="*/ 379476 w 11390945"/>
              <a:gd name="connsiteY4" fmla="*/ 379476 h 758952"/>
              <a:gd name="connsiteX5" fmla="*/ 0 w 11390945"/>
              <a:gd name="connsiteY5" fmla="*/ 758952 h 758952"/>
              <a:gd name="connsiteX6" fmla="*/ 7733998 w 11390945"/>
              <a:gd name="connsiteY6" fmla="*/ 758952 h 758952"/>
              <a:gd name="connsiteX7" fmla="*/ 7889446 w 11390945"/>
              <a:gd name="connsiteY7" fmla="*/ 758952 h 758952"/>
              <a:gd name="connsiteX8" fmla="*/ 11390945 w 11390945"/>
              <a:gd name="connsiteY8" fmla="*/ 758952 h 758952"/>
              <a:gd name="connsiteX9" fmla="*/ 11011469 w 11390945"/>
              <a:gd name="connsiteY9" fmla="*/ 379476 h 758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90945" h="758952">
                <a:moveTo>
                  <a:pt x="11390945" y="0"/>
                </a:moveTo>
                <a:lnTo>
                  <a:pt x="7889446" y="0"/>
                </a:lnTo>
                <a:lnTo>
                  <a:pt x="7733998" y="0"/>
                </a:lnTo>
                <a:lnTo>
                  <a:pt x="0" y="0"/>
                </a:lnTo>
                <a:lnTo>
                  <a:pt x="379476" y="379476"/>
                </a:lnTo>
                <a:lnTo>
                  <a:pt x="0" y="758952"/>
                </a:lnTo>
                <a:lnTo>
                  <a:pt x="7733998" y="758952"/>
                </a:lnTo>
                <a:lnTo>
                  <a:pt x="7889446" y="758952"/>
                </a:lnTo>
                <a:lnTo>
                  <a:pt x="11390945" y="758952"/>
                </a:lnTo>
                <a:lnTo>
                  <a:pt x="11011469" y="379476"/>
                </a:lnTo>
                <a:close/>
              </a:path>
            </a:pathLst>
          </a:custGeom>
          <a:solidFill>
            <a:srgbClr val="3895D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prstClr val="white"/>
              </a:solidFill>
              <a:effectLst/>
              <a:uLnTx/>
              <a:uFillTx/>
              <a:latin typeface="Century Gothic"/>
              <a:ea typeface="+mn-ea"/>
              <a:cs typeface="+mn-cs"/>
            </a:endParaRPr>
          </a:p>
        </p:txBody>
      </p:sp>
      <p:sp>
        <p:nvSpPr>
          <p:cNvPr id="17" name="Freeform: Shape 16">
            <a:extLst>
              <a:ext uri="{FF2B5EF4-FFF2-40B4-BE49-F238E27FC236}">
                <a16:creationId xmlns:a16="http://schemas.microsoft.com/office/drawing/2014/main" id="{67FD834C-461A-4BDB-9494-C23106E218F3}"/>
              </a:ext>
            </a:extLst>
          </p:cNvPr>
          <p:cNvSpPr/>
          <p:nvPr userDrawn="1"/>
        </p:nvSpPr>
        <p:spPr>
          <a:xfrm flipH="1">
            <a:off x="143105" y="585"/>
            <a:ext cx="12048895" cy="758952"/>
          </a:xfrm>
          <a:custGeom>
            <a:avLst/>
            <a:gdLst>
              <a:gd name="connsiteX0" fmla="*/ 9348131 w 9348131"/>
              <a:gd name="connsiteY0" fmla="*/ 0 h 758952"/>
              <a:gd name="connsiteX1" fmla="*/ 5971152 w 9348131"/>
              <a:gd name="connsiteY1" fmla="*/ 0 h 758952"/>
              <a:gd name="connsiteX2" fmla="*/ 5821232 w 9348131"/>
              <a:gd name="connsiteY2" fmla="*/ 0 h 758952"/>
              <a:gd name="connsiteX3" fmla="*/ 0 w 9348131"/>
              <a:gd name="connsiteY3" fmla="*/ 0 h 758952"/>
              <a:gd name="connsiteX4" fmla="*/ 0 w 9348131"/>
              <a:gd name="connsiteY4" fmla="*/ 758952 h 758952"/>
              <a:gd name="connsiteX5" fmla="*/ 5821232 w 9348131"/>
              <a:gd name="connsiteY5" fmla="*/ 758952 h 758952"/>
              <a:gd name="connsiteX6" fmla="*/ 5971152 w 9348131"/>
              <a:gd name="connsiteY6" fmla="*/ 758952 h 758952"/>
              <a:gd name="connsiteX7" fmla="*/ 9348131 w 9348131"/>
              <a:gd name="connsiteY7" fmla="*/ 758952 h 758952"/>
              <a:gd name="connsiteX8" fmla="*/ 8982150 w 9348131"/>
              <a:gd name="connsiteY8" fmla="*/ 379476 h 758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48131" h="758952">
                <a:moveTo>
                  <a:pt x="9348131" y="0"/>
                </a:moveTo>
                <a:lnTo>
                  <a:pt x="5971152" y="0"/>
                </a:lnTo>
                <a:lnTo>
                  <a:pt x="5821232" y="0"/>
                </a:lnTo>
                <a:lnTo>
                  <a:pt x="0" y="0"/>
                </a:lnTo>
                <a:lnTo>
                  <a:pt x="0" y="758952"/>
                </a:lnTo>
                <a:lnTo>
                  <a:pt x="5821232" y="758952"/>
                </a:lnTo>
                <a:lnTo>
                  <a:pt x="5971152" y="758952"/>
                </a:lnTo>
                <a:lnTo>
                  <a:pt x="9348131" y="758952"/>
                </a:lnTo>
                <a:lnTo>
                  <a:pt x="8982150" y="379476"/>
                </a:lnTo>
                <a:close/>
              </a:path>
            </a:pathLst>
          </a:custGeom>
          <a:solidFill>
            <a:srgbClr val="21BDE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prstClr val="white"/>
              </a:solidFill>
              <a:effectLst/>
              <a:uLnTx/>
              <a:uFillTx/>
              <a:latin typeface="Century Gothic"/>
              <a:ea typeface="+mn-ea"/>
              <a:cs typeface="+mn-cs"/>
            </a:endParaRPr>
          </a:p>
        </p:txBody>
      </p:sp>
      <p:sp>
        <p:nvSpPr>
          <p:cNvPr id="18" name="Text Placeholder 12">
            <a:extLst>
              <a:ext uri="{FF2B5EF4-FFF2-40B4-BE49-F238E27FC236}">
                <a16:creationId xmlns:a16="http://schemas.microsoft.com/office/drawing/2014/main" id="{CC41413E-78FD-4605-BB10-39040B3C9209}"/>
              </a:ext>
            </a:extLst>
          </p:cNvPr>
          <p:cNvSpPr>
            <a:spLocks noGrp="1"/>
          </p:cNvSpPr>
          <p:nvPr>
            <p:ph type="body" sz="quarter" idx="10"/>
          </p:nvPr>
        </p:nvSpPr>
        <p:spPr>
          <a:xfrm>
            <a:off x="511405" y="-13063"/>
            <a:ext cx="11129554" cy="761866"/>
          </a:xfrm>
        </p:spPr>
        <p:txBody>
          <a:bodyPr anchor="ctr">
            <a:normAutofit/>
          </a:bodyPr>
          <a:lstStyle>
            <a:lvl1pPr marL="0" indent="0">
              <a:buNone/>
              <a:defRPr sz="3199" b="1">
                <a:solidFill>
                  <a:schemeClr val="bg1"/>
                </a:solidFill>
                <a:latin typeface="Century Gothic" panose="020B0502020202020204" pitchFamily="34" charset="0"/>
              </a:defRPr>
            </a:lvl1pPr>
          </a:lstStyle>
          <a:p>
            <a:pPr lvl="0"/>
            <a:endParaRPr lang="en-IN" dirty="0"/>
          </a:p>
        </p:txBody>
      </p:sp>
      <p:pic>
        <p:nvPicPr>
          <p:cNvPr id="7" name="Picture 6">
            <a:extLst>
              <a:ext uri="{FF2B5EF4-FFF2-40B4-BE49-F238E27FC236}">
                <a16:creationId xmlns:a16="http://schemas.microsoft.com/office/drawing/2014/main" id="{68F43D8A-97BF-4795-A6E9-F3831848F1D1}"/>
              </a:ext>
            </a:extLst>
          </p:cNvPr>
          <p:cNvPicPr>
            <a:picLocks noChangeAspect="1"/>
          </p:cNvPicPr>
          <p:nvPr userDrawn="1"/>
        </p:nvPicPr>
        <p:blipFill>
          <a:blip r:embed="rId2">
            <a:biLevel thresh="25000"/>
            <a:extLst>
              <a:ext uri="{28A0092B-C50C-407E-A947-70E740481C1C}">
                <a14:useLocalDpi xmlns:a14="http://schemas.microsoft.com/office/drawing/2010/main"/>
              </a:ext>
            </a:extLst>
          </a:blip>
          <a:stretch>
            <a:fillRect/>
          </a:stretch>
        </p:blipFill>
        <p:spPr>
          <a:xfrm>
            <a:off x="11458842" y="67846"/>
            <a:ext cx="625622" cy="613110"/>
          </a:xfrm>
          <a:prstGeom prst="rect">
            <a:avLst/>
          </a:prstGeom>
        </p:spPr>
      </p:pic>
    </p:spTree>
    <p:extLst>
      <p:ext uri="{BB962C8B-B14F-4D97-AF65-F5344CB8AC3E}">
        <p14:creationId xmlns:p14="http://schemas.microsoft.com/office/powerpoint/2010/main" val="33747649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fld id="{E65D7EA5-2C5D-45CB-A802-9CED8CA3B0D6}" type="datetimeFigureOut">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2/1/2022</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C60D1B56-6946-4E8E-8F52-4CFB660B0662}" type="slidenum">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8700505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image" Target="../media/image1.emf"/><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theme" Target="../theme/theme10.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10" Type="http://schemas.openxmlformats.org/officeDocument/2006/relationships/slideLayout" Target="../slideLayouts/slideLayout172.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image" Target="../media/image1.emf"/><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theme" Target="../theme/theme11.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image" Target="../media/image1.emf"/><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theme" Target="../theme/theme12.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3" Type="http://schemas.openxmlformats.org/officeDocument/2006/relationships/slideLayout" Target="../slideLayouts/slideLayout213.xml"/><Relationship Id="rId21" Type="http://schemas.openxmlformats.org/officeDocument/2006/relationships/oleObject" Target="../embeddings/oleObject6.bin"/><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theme" Target="../theme/theme13.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10" Type="http://schemas.openxmlformats.org/officeDocument/2006/relationships/slideLayout" Target="../slideLayouts/slideLayout220.xml"/><Relationship Id="rId19" Type="http://schemas.openxmlformats.org/officeDocument/2006/relationships/slideLayout" Target="../slideLayouts/slideLayout229.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image" Target="../media/image8.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3" Type="http://schemas.openxmlformats.org/officeDocument/2006/relationships/slideLayout" Target="../slideLayouts/slideLayout232.xml"/><Relationship Id="rId7" Type="http://schemas.openxmlformats.org/officeDocument/2006/relationships/slideLayout" Target="../slideLayouts/slideLayout236.xml"/><Relationship Id="rId12" Type="http://schemas.openxmlformats.org/officeDocument/2006/relationships/slideLayout" Target="../slideLayouts/slideLayout241.xml"/><Relationship Id="rId2" Type="http://schemas.openxmlformats.org/officeDocument/2006/relationships/slideLayout" Target="../slideLayouts/slideLayout231.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5" Type="http://schemas.openxmlformats.org/officeDocument/2006/relationships/slideLayout" Target="../slideLayouts/slideLayout234.xml"/><Relationship Id="rId10" Type="http://schemas.openxmlformats.org/officeDocument/2006/relationships/slideLayout" Target="../slideLayouts/slideLayout239.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18" Type="http://schemas.openxmlformats.org/officeDocument/2006/relationships/theme" Target="../theme/theme15.xml"/><Relationship Id="rId3" Type="http://schemas.openxmlformats.org/officeDocument/2006/relationships/slideLayout" Target="../slideLayouts/slideLayout245.xml"/><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10" Type="http://schemas.openxmlformats.org/officeDocument/2006/relationships/slideLayout" Target="../slideLayouts/slideLayout252.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67.xml"/><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theme" Target="../theme/theme16.xml"/><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5" Type="http://schemas.openxmlformats.org/officeDocument/2006/relationships/slideLayout" Target="../slideLayouts/slideLayout264.xml"/><Relationship Id="rId10" Type="http://schemas.openxmlformats.org/officeDocument/2006/relationships/slideLayout" Target="../slideLayouts/slideLayout269.xml"/><Relationship Id="rId4" Type="http://schemas.openxmlformats.org/officeDocument/2006/relationships/slideLayout" Target="../slideLayouts/slideLayout263.xml"/><Relationship Id="rId9" Type="http://schemas.openxmlformats.org/officeDocument/2006/relationships/slideLayout" Target="../slideLayouts/slideLayout26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slideLayout" Target="../slideLayouts/slideLayout283.xml"/><Relationship Id="rId18" Type="http://schemas.openxmlformats.org/officeDocument/2006/relationships/slideLayout" Target="../slideLayouts/slideLayout288.xml"/><Relationship Id="rId26" Type="http://schemas.openxmlformats.org/officeDocument/2006/relationships/image" Target="../media/image3.emf"/><Relationship Id="rId3" Type="http://schemas.openxmlformats.org/officeDocument/2006/relationships/slideLayout" Target="../slideLayouts/slideLayout273.xml"/><Relationship Id="rId21" Type="http://schemas.openxmlformats.org/officeDocument/2006/relationships/slideLayout" Target="../slideLayouts/slideLayout291.xml"/><Relationship Id="rId7" Type="http://schemas.openxmlformats.org/officeDocument/2006/relationships/slideLayout" Target="../slideLayouts/slideLayout277.xml"/><Relationship Id="rId12" Type="http://schemas.openxmlformats.org/officeDocument/2006/relationships/slideLayout" Target="../slideLayouts/slideLayout282.xml"/><Relationship Id="rId17" Type="http://schemas.openxmlformats.org/officeDocument/2006/relationships/slideLayout" Target="../slideLayouts/slideLayout287.xml"/><Relationship Id="rId25" Type="http://schemas.openxmlformats.org/officeDocument/2006/relationships/theme" Target="../theme/theme17.xml"/><Relationship Id="rId2" Type="http://schemas.openxmlformats.org/officeDocument/2006/relationships/slideLayout" Target="../slideLayouts/slideLayout272.xml"/><Relationship Id="rId16" Type="http://schemas.openxmlformats.org/officeDocument/2006/relationships/slideLayout" Target="../slideLayouts/slideLayout286.xml"/><Relationship Id="rId20" Type="http://schemas.openxmlformats.org/officeDocument/2006/relationships/slideLayout" Target="../slideLayouts/slideLayout290.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slideLayout" Target="../slideLayouts/slideLayout281.xml"/><Relationship Id="rId24" Type="http://schemas.openxmlformats.org/officeDocument/2006/relationships/slideLayout" Target="../slideLayouts/slideLayout294.xml"/><Relationship Id="rId5" Type="http://schemas.openxmlformats.org/officeDocument/2006/relationships/slideLayout" Target="../slideLayouts/slideLayout275.xml"/><Relationship Id="rId15" Type="http://schemas.openxmlformats.org/officeDocument/2006/relationships/slideLayout" Target="../slideLayouts/slideLayout285.xml"/><Relationship Id="rId23" Type="http://schemas.openxmlformats.org/officeDocument/2006/relationships/slideLayout" Target="../slideLayouts/slideLayout293.xml"/><Relationship Id="rId10" Type="http://schemas.openxmlformats.org/officeDocument/2006/relationships/slideLayout" Target="../slideLayouts/slideLayout280.xml"/><Relationship Id="rId19" Type="http://schemas.openxmlformats.org/officeDocument/2006/relationships/slideLayout" Target="../slideLayouts/slideLayout289.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slideLayout" Target="../slideLayouts/slideLayout284.xml"/><Relationship Id="rId22" Type="http://schemas.openxmlformats.org/officeDocument/2006/relationships/slideLayout" Target="../slideLayouts/slideLayout292.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02.xml"/><Relationship Id="rId3" Type="http://schemas.openxmlformats.org/officeDocument/2006/relationships/slideLayout" Target="../slideLayouts/slideLayout297.xml"/><Relationship Id="rId7" Type="http://schemas.openxmlformats.org/officeDocument/2006/relationships/slideLayout" Target="../slideLayouts/slideLayout301.xml"/><Relationship Id="rId12" Type="http://schemas.openxmlformats.org/officeDocument/2006/relationships/theme" Target="../theme/theme18.xml"/><Relationship Id="rId2" Type="http://schemas.openxmlformats.org/officeDocument/2006/relationships/slideLayout" Target="../slideLayouts/slideLayout296.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5" Type="http://schemas.openxmlformats.org/officeDocument/2006/relationships/slideLayout" Target="../slideLayouts/slideLayout299.xml"/><Relationship Id="rId10" Type="http://schemas.openxmlformats.org/officeDocument/2006/relationships/slideLayout" Target="../slideLayouts/slideLayout304.xml"/><Relationship Id="rId4" Type="http://schemas.openxmlformats.org/officeDocument/2006/relationships/slideLayout" Target="../slideLayouts/slideLayout298.xml"/><Relationship Id="rId9" Type="http://schemas.openxmlformats.org/officeDocument/2006/relationships/slideLayout" Target="../slideLayouts/slideLayout30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heme" Target="../theme/theme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image" Target="../media/image3.emf"/><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theme" Target="../theme/theme4.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theme" Target="../theme/theme5.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theme" Target="../theme/theme6.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image" Target="../media/image3.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image" Target="../media/image1.emf"/><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theme" Target="../theme/theme7.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theme" Target="../theme/theme8.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image" Target="../media/image3.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21" Type="http://schemas.openxmlformats.org/officeDocument/2006/relationships/slideLayout" Target="../slideLayouts/slideLayout160.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image" Target="../media/image3.emf"/><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theme" Target="../theme/theme9.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5"/>
        <p:cNvGrpSpPr/>
        <p:nvPr/>
      </p:nvGrpSpPr>
      <p:grpSpPr>
        <a:xfrm>
          <a:off x="0" y="0"/>
          <a:ext cx="0" cy="0"/>
          <a:chOff x="0" y="0"/>
          <a:chExt cx="0" cy="0"/>
        </a:xfrm>
      </p:grpSpPr>
      <p:sp>
        <p:nvSpPr>
          <p:cNvPr id="6" name="Google Shape;6;g91f7f3216c_0_73"/>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lt1"/>
              </a:buClr>
              <a:buSzPts val="2800"/>
              <a:buFont typeface="Montserrat"/>
              <a:buNone/>
              <a:defRPr sz="2800">
                <a:solidFill>
                  <a:schemeClr val="lt1"/>
                </a:solidFill>
                <a:latin typeface="Montserrat"/>
                <a:ea typeface="Montserrat"/>
                <a:cs typeface="Montserrat"/>
                <a:sym typeface="Montserrat"/>
              </a:defRPr>
            </a:lvl1pPr>
            <a:lvl2pPr lvl="1">
              <a:spcBef>
                <a:spcPts val="0"/>
              </a:spcBef>
              <a:spcAft>
                <a:spcPts val="0"/>
              </a:spcAft>
              <a:buClr>
                <a:schemeClr val="lt1"/>
              </a:buClr>
              <a:buSzPts val="2800"/>
              <a:buFont typeface="Montserrat"/>
              <a:buNone/>
              <a:defRPr sz="2800">
                <a:solidFill>
                  <a:schemeClr val="lt1"/>
                </a:solidFill>
                <a:latin typeface="Montserrat"/>
                <a:ea typeface="Montserrat"/>
                <a:cs typeface="Montserrat"/>
                <a:sym typeface="Montserrat"/>
              </a:defRPr>
            </a:lvl2pPr>
            <a:lvl3pPr lvl="2">
              <a:spcBef>
                <a:spcPts val="0"/>
              </a:spcBef>
              <a:spcAft>
                <a:spcPts val="0"/>
              </a:spcAft>
              <a:buClr>
                <a:schemeClr val="lt1"/>
              </a:buClr>
              <a:buSzPts val="2800"/>
              <a:buFont typeface="Montserrat"/>
              <a:buNone/>
              <a:defRPr sz="2800">
                <a:solidFill>
                  <a:schemeClr val="lt1"/>
                </a:solidFill>
                <a:latin typeface="Montserrat"/>
                <a:ea typeface="Montserrat"/>
                <a:cs typeface="Montserrat"/>
                <a:sym typeface="Montserrat"/>
              </a:defRPr>
            </a:lvl3pPr>
            <a:lvl4pPr lvl="3">
              <a:spcBef>
                <a:spcPts val="0"/>
              </a:spcBef>
              <a:spcAft>
                <a:spcPts val="0"/>
              </a:spcAft>
              <a:buClr>
                <a:schemeClr val="lt1"/>
              </a:buClr>
              <a:buSzPts val="2800"/>
              <a:buFont typeface="Montserrat"/>
              <a:buNone/>
              <a:defRPr sz="2800">
                <a:solidFill>
                  <a:schemeClr val="lt1"/>
                </a:solidFill>
                <a:latin typeface="Montserrat"/>
                <a:ea typeface="Montserrat"/>
                <a:cs typeface="Montserrat"/>
                <a:sym typeface="Montserrat"/>
              </a:defRPr>
            </a:lvl4pPr>
            <a:lvl5pPr lvl="4">
              <a:spcBef>
                <a:spcPts val="0"/>
              </a:spcBef>
              <a:spcAft>
                <a:spcPts val="0"/>
              </a:spcAft>
              <a:buClr>
                <a:schemeClr val="lt1"/>
              </a:buClr>
              <a:buSzPts val="2800"/>
              <a:buFont typeface="Montserrat"/>
              <a:buNone/>
              <a:defRPr sz="2800">
                <a:solidFill>
                  <a:schemeClr val="lt1"/>
                </a:solidFill>
                <a:latin typeface="Montserrat"/>
                <a:ea typeface="Montserrat"/>
                <a:cs typeface="Montserrat"/>
                <a:sym typeface="Montserrat"/>
              </a:defRPr>
            </a:lvl5pPr>
            <a:lvl6pPr lvl="5">
              <a:spcBef>
                <a:spcPts val="0"/>
              </a:spcBef>
              <a:spcAft>
                <a:spcPts val="0"/>
              </a:spcAft>
              <a:buClr>
                <a:schemeClr val="lt1"/>
              </a:buClr>
              <a:buSzPts val="2800"/>
              <a:buFont typeface="Montserrat"/>
              <a:buNone/>
              <a:defRPr sz="2800">
                <a:solidFill>
                  <a:schemeClr val="lt1"/>
                </a:solidFill>
                <a:latin typeface="Montserrat"/>
                <a:ea typeface="Montserrat"/>
                <a:cs typeface="Montserrat"/>
                <a:sym typeface="Montserrat"/>
              </a:defRPr>
            </a:lvl6pPr>
            <a:lvl7pPr lvl="6">
              <a:spcBef>
                <a:spcPts val="0"/>
              </a:spcBef>
              <a:spcAft>
                <a:spcPts val="0"/>
              </a:spcAft>
              <a:buClr>
                <a:schemeClr val="lt1"/>
              </a:buClr>
              <a:buSzPts val="2800"/>
              <a:buFont typeface="Montserrat"/>
              <a:buNone/>
              <a:defRPr sz="2800">
                <a:solidFill>
                  <a:schemeClr val="lt1"/>
                </a:solidFill>
                <a:latin typeface="Montserrat"/>
                <a:ea typeface="Montserrat"/>
                <a:cs typeface="Montserrat"/>
                <a:sym typeface="Montserrat"/>
              </a:defRPr>
            </a:lvl7pPr>
            <a:lvl8pPr lvl="7">
              <a:spcBef>
                <a:spcPts val="0"/>
              </a:spcBef>
              <a:spcAft>
                <a:spcPts val="0"/>
              </a:spcAft>
              <a:buClr>
                <a:schemeClr val="lt1"/>
              </a:buClr>
              <a:buSzPts val="2800"/>
              <a:buFont typeface="Montserrat"/>
              <a:buNone/>
              <a:defRPr sz="2800">
                <a:solidFill>
                  <a:schemeClr val="lt1"/>
                </a:solidFill>
                <a:latin typeface="Montserrat"/>
                <a:ea typeface="Montserrat"/>
                <a:cs typeface="Montserrat"/>
                <a:sym typeface="Montserrat"/>
              </a:defRPr>
            </a:lvl8pPr>
            <a:lvl9pPr lvl="8">
              <a:spcBef>
                <a:spcPts val="0"/>
              </a:spcBef>
              <a:spcAft>
                <a:spcPts val="0"/>
              </a:spcAft>
              <a:buClr>
                <a:schemeClr val="lt1"/>
              </a:buClr>
              <a:buSzPts val="2800"/>
              <a:buFont typeface="Montserrat"/>
              <a:buNone/>
              <a:defRPr sz="2800">
                <a:solidFill>
                  <a:schemeClr val="lt1"/>
                </a:solidFill>
                <a:latin typeface="Montserrat"/>
                <a:ea typeface="Montserrat"/>
                <a:cs typeface="Montserrat"/>
                <a:sym typeface="Montserrat"/>
              </a:defRPr>
            </a:lvl9pPr>
          </a:lstStyle>
          <a:p>
            <a:endParaRPr/>
          </a:p>
        </p:txBody>
      </p:sp>
      <p:sp>
        <p:nvSpPr>
          <p:cNvPr id="7" name="Google Shape;7;g91f7f3216c_0_73"/>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457200" lvl="0" indent="-311150">
              <a:lnSpc>
                <a:spcPct val="115000"/>
              </a:lnSpc>
              <a:spcBef>
                <a:spcPts val="0"/>
              </a:spcBef>
              <a:spcAft>
                <a:spcPts val="0"/>
              </a:spcAft>
              <a:buClr>
                <a:schemeClr val="lt1"/>
              </a:buClr>
              <a:buSzPts val="1300"/>
              <a:buFont typeface="Lato"/>
              <a:buChar char="●"/>
              <a:defRPr sz="1300">
                <a:solidFill>
                  <a:schemeClr val="lt1"/>
                </a:solidFill>
                <a:latin typeface="Lato"/>
                <a:ea typeface="Lato"/>
                <a:cs typeface="Lato"/>
                <a:sym typeface="Lato"/>
              </a:defRPr>
            </a:lvl1pPr>
            <a:lvl2pPr marL="914400" lvl="1" indent="-298450">
              <a:lnSpc>
                <a:spcPct val="115000"/>
              </a:lnSpc>
              <a:spcBef>
                <a:spcPts val="1600"/>
              </a:spcBef>
              <a:spcAft>
                <a:spcPts val="0"/>
              </a:spcAft>
              <a:buClr>
                <a:schemeClr val="lt1"/>
              </a:buClr>
              <a:buSzPts val="1100"/>
              <a:buFont typeface="Lato"/>
              <a:buChar char="○"/>
              <a:defRPr sz="1100">
                <a:solidFill>
                  <a:schemeClr val="lt1"/>
                </a:solidFill>
                <a:latin typeface="Lato"/>
                <a:ea typeface="Lato"/>
                <a:cs typeface="Lato"/>
                <a:sym typeface="Lato"/>
              </a:defRPr>
            </a:lvl2pPr>
            <a:lvl3pPr marL="1371600" lvl="2" indent="-298450">
              <a:lnSpc>
                <a:spcPct val="115000"/>
              </a:lnSpc>
              <a:spcBef>
                <a:spcPts val="1600"/>
              </a:spcBef>
              <a:spcAft>
                <a:spcPts val="0"/>
              </a:spcAft>
              <a:buClr>
                <a:schemeClr val="lt1"/>
              </a:buClr>
              <a:buSzPts val="1100"/>
              <a:buFont typeface="Lato"/>
              <a:buChar char="■"/>
              <a:defRPr sz="1100">
                <a:solidFill>
                  <a:schemeClr val="lt1"/>
                </a:solidFill>
                <a:latin typeface="Lato"/>
                <a:ea typeface="Lato"/>
                <a:cs typeface="Lato"/>
                <a:sym typeface="Lato"/>
              </a:defRPr>
            </a:lvl3pPr>
            <a:lvl4pPr marL="1828800" lvl="3" indent="-298450">
              <a:lnSpc>
                <a:spcPct val="115000"/>
              </a:lnSpc>
              <a:spcBef>
                <a:spcPts val="1600"/>
              </a:spcBef>
              <a:spcAft>
                <a:spcPts val="0"/>
              </a:spcAft>
              <a:buClr>
                <a:schemeClr val="lt1"/>
              </a:buClr>
              <a:buSzPts val="1100"/>
              <a:buFont typeface="Lato"/>
              <a:buChar char="●"/>
              <a:defRPr sz="1100">
                <a:solidFill>
                  <a:schemeClr val="lt1"/>
                </a:solidFill>
                <a:latin typeface="Lato"/>
                <a:ea typeface="Lato"/>
                <a:cs typeface="Lato"/>
                <a:sym typeface="Lato"/>
              </a:defRPr>
            </a:lvl4pPr>
            <a:lvl5pPr marL="2286000" lvl="4" indent="-298450">
              <a:lnSpc>
                <a:spcPct val="115000"/>
              </a:lnSpc>
              <a:spcBef>
                <a:spcPts val="1600"/>
              </a:spcBef>
              <a:spcAft>
                <a:spcPts val="0"/>
              </a:spcAft>
              <a:buClr>
                <a:schemeClr val="lt1"/>
              </a:buClr>
              <a:buSzPts val="1100"/>
              <a:buFont typeface="Lato"/>
              <a:buChar char="○"/>
              <a:defRPr sz="1100">
                <a:solidFill>
                  <a:schemeClr val="lt1"/>
                </a:solidFill>
                <a:latin typeface="Lato"/>
                <a:ea typeface="Lato"/>
                <a:cs typeface="Lato"/>
                <a:sym typeface="Lato"/>
              </a:defRPr>
            </a:lvl5pPr>
            <a:lvl6pPr marL="2743200" lvl="5" indent="-298450">
              <a:lnSpc>
                <a:spcPct val="115000"/>
              </a:lnSpc>
              <a:spcBef>
                <a:spcPts val="1600"/>
              </a:spcBef>
              <a:spcAft>
                <a:spcPts val="0"/>
              </a:spcAft>
              <a:buClr>
                <a:schemeClr val="lt1"/>
              </a:buClr>
              <a:buSzPts val="1100"/>
              <a:buFont typeface="Lato"/>
              <a:buChar char="■"/>
              <a:defRPr sz="1100">
                <a:solidFill>
                  <a:schemeClr val="lt1"/>
                </a:solidFill>
                <a:latin typeface="Lato"/>
                <a:ea typeface="Lato"/>
                <a:cs typeface="Lato"/>
                <a:sym typeface="Lato"/>
              </a:defRPr>
            </a:lvl6pPr>
            <a:lvl7pPr marL="3200400" lvl="6" indent="-298450">
              <a:lnSpc>
                <a:spcPct val="115000"/>
              </a:lnSpc>
              <a:spcBef>
                <a:spcPts val="1600"/>
              </a:spcBef>
              <a:spcAft>
                <a:spcPts val="0"/>
              </a:spcAft>
              <a:buClr>
                <a:schemeClr val="lt1"/>
              </a:buClr>
              <a:buSzPts val="1100"/>
              <a:buFont typeface="Lato"/>
              <a:buChar char="●"/>
              <a:defRPr sz="1100">
                <a:solidFill>
                  <a:schemeClr val="lt1"/>
                </a:solidFill>
                <a:latin typeface="Lato"/>
                <a:ea typeface="Lato"/>
                <a:cs typeface="Lato"/>
                <a:sym typeface="Lato"/>
              </a:defRPr>
            </a:lvl7pPr>
            <a:lvl8pPr marL="3657600" lvl="7" indent="-298450">
              <a:lnSpc>
                <a:spcPct val="115000"/>
              </a:lnSpc>
              <a:spcBef>
                <a:spcPts val="1600"/>
              </a:spcBef>
              <a:spcAft>
                <a:spcPts val="0"/>
              </a:spcAft>
              <a:buClr>
                <a:schemeClr val="lt1"/>
              </a:buClr>
              <a:buSzPts val="1100"/>
              <a:buFont typeface="Lato"/>
              <a:buChar char="○"/>
              <a:defRPr sz="1100">
                <a:solidFill>
                  <a:schemeClr val="lt1"/>
                </a:solidFill>
                <a:latin typeface="Lato"/>
                <a:ea typeface="Lato"/>
                <a:cs typeface="Lato"/>
                <a:sym typeface="Lato"/>
              </a:defRPr>
            </a:lvl8pPr>
            <a:lvl9pPr marL="4114800" lvl="8" indent="-298450">
              <a:lnSpc>
                <a:spcPct val="115000"/>
              </a:lnSpc>
              <a:spcBef>
                <a:spcPts val="1600"/>
              </a:spcBef>
              <a:spcAft>
                <a:spcPts val="1600"/>
              </a:spcAft>
              <a:buClr>
                <a:schemeClr val="lt1"/>
              </a:buClr>
              <a:buSzPts val="1100"/>
              <a:buFont typeface="Lato"/>
              <a:buChar char="■"/>
              <a:defRPr sz="1100">
                <a:solidFill>
                  <a:schemeClr val="lt1"/>
                </a:solidFill>
                <a:latin typeface="Lato"/>
                <a:ea typeface="Lato"/>
                <a:cs typeface="Lato"/>
                <a:sym typeface="Lato"/>
              </a:defRPr>
            </a:lvl9pPr>
          </a:lstStyle>
          <a:p>
            <a:endParaRPr/>
          </a:p>
        </p:txBody>
      </p:sp>
      <p:sp>
        <p:nvSpPr>
          <p:cNvPr id="8" name="Google Shape;8;g91f7f3216c_0_73"/>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lgn="r">
              <a:buNone/>
              <a:defRPr sz="1333">
                <a:solidFill>
                  <a:schemeClr val="lt1"/>
                </a:solidFill>
                <a:latin typeface="Lato"/>
                <a:ea typeface="Lato"/>
                <a:cs typeface="Lato"/>
                <a:sym typeface="Lato"/>
              </a:defRPr>
            </a:lvl1pPr>
            <a:lvl2pPr lvl="1" algn="r">
              <a:buNone/>
              <a:defRPr sz="1333">
                <a:solidFill>
                  <a:schemeClr val="lt1"/>
                </a:solidFill>
                <a:latin typeface="Lato"/>
                <a:ea typeface="Lato"/>
                <a:cs typeface="Lato"/>
                <a:sym typeface="Lato"/>
              </a:defRPr>
            </a:lvl2pPr>
            <a:lvl3pPr lvl="2" algn="r">
              <a:buNone/>
              <a:defRPr sz="1333">
                <a:solidFill>
                  <a:schemeClr val="lt1"/>
                </a:solidFill>
                <a:latin typeface="Lato"/>
                <a:ea typeface="Lato"/>
                <a:cs typeface="Lato"/>
                <a:sym typeface="Lato"/>
              </a:defRPr>
            </a:lvl3pPr>
            <a:lvl4pPr lvl="3" algn="r">
              <a:buNone/>
              <a:defRPr sz="1333">
                <a:solidFill>
                  <a:schemeClr val="lt1"/>
                </a:solidFill>
                <a:latin typeface="Lato"/>
                <a:ea typeface="Lato"/>
                <a:cs typeface="Lato"/>
                <a:sym typeface="Lato"/>
              </a:defRPr>
            </a:lvl4pPr>
            <a:lvl5pPr lvl="4" algn="r">
              <a:buNone/>
              <a:defRPr sz="1333">
                <a:solidFill>
                  <a:schemeClr val="lt1"/>
                </a:solidFill>
                <a:latin typeface="Lato"/>
                <a:ea typeface="Lato"/>
                <a:cs typeface="Lato"/>
                <a:sym typeface="Lato"/>
              </a:defRPr>
            </a:lvl5pPr>
            <a:lvl6pPr lvl="5" algn="r">
              <a:buNone/>
              <a:defRPr sz="1333">
                <a:solidFill>
                  <a:schemeClr val="lt1"/>
                </a:solidFill>
                <a:latin typeface="Lato"/>
                <a:ea typeface="Lato"/>
                <a:cs typeface="Lato"/>
                <a:sym typeface="Lato"/>
              </a:defRPr>
            </a:lvl6pPr>
            <a:lvl7pPr lvl="6" algn="r">
              <a:buNone/>
              <a:defRPr sz="1333">
                <a:solidFill>
                  <a:schemeClr val="lt1"/>
                </a:solidFill>
                <a:latin typeface="Lato"/>
                <a:ea typeface="Lato"/>
                <a:cs typeface="Lato"/>
                <a:sym typeface="Lato"/>
              </a:defRPr>
            </a:lvl7pPr>
            <a:lvl8pPr lvl="7" algn="r">
              <a:buNone/>
              <a:defRPr sz="1333">
                <a:solidFill>
                  <a:schemeClr val="lt1"/>
                </a:solidFill>
                <a:latin typeface="Lato"/>
                <a:ea typeface="Lato"/>
                <a:cs typeface="Lato"/>
                <a:sym typeface="Lato"/>
              </a:defRPr>
            </a:lvl8pPr>
            <a:lvl9pPr lvl="8" algn="r">
              <a:buNone/>
              <a:defRPr sz="1333">
                <a:solidFill>
                  <a:schemeClr val="lt1"/>
                </a:solidFill>
                <a:latin typeface="Lato"/>
                <a:ea typeface="Lato"/>
                <a:cs typeface="Lato"/>
                <a:sym typeface="Lato"/>
              </a:defRPr>
            </a:lvl9pPr>
          </a:lstStyle>
          <a:p>
            <a:pPr defTabSz="1219170">
              <a:buClr>
                <a:srgbClr val="000000"/>
              </a:buClr>
            </a:pPr>
            <a:fld id="{00000000-1234-1234-1234-123412341234}" type="slidenum">
              <a:rPr lang="en-GB" kern="0" smtClean="0">
                <a:solidFill>
                  <a:srgbClr val="FFFFFF"/>
                </a:solidFill>
              </a:rPr>
              <a:pPr defTabSz="1219170">
                <a:buClr>
                  <a:srgbClr val="000000"/>
                </a:buClr>
              </a:pPr>
              <a:t>‹#›</a:t>
            </a:fld>
            <a:endParaRPr lang="en-GB" kern="0">
              <a:solidFill>
                <a:srgbClr val="FFFFFF"/>
              </a:solidFill>
            </a:endParaRPr>
          </a:p>
        </p:txBody>
      </p:sp>
    </p:spTree>
    <p:extLst>
      <p:ext uri="{BB962C8B-B14F-4D97-AF65-F5344CB8AC3E}">
        <p14:creationId xmlns:p14="http://schemas.microsoft.com/office/powerpoint/2010/main" val="2238638087"/>
      </p:ext>
    </p:extLst>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301752" y="0"/>
            <a:ext cx="9975849"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1301752" y="1600201"/>
            <a:ext cx="10280649" cy="452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eaLnBrk="1" fontAlgn="auto" hangingPunct="1">
              <a:spcBef>
                <a:spcPts val="0"/>
              </a:spcBef>
              <a:spcAft>
                <a:spcPts val="0"/>
              </a:spcAft>
              <a:defRPr sz="1600">
                <a:solidFill>
                  <a:schemeClr val="tx1">
                    <a:tint val="75000"/>
                  </a:schemeClr>
                </a:solidFill>
                <a:latin typeface="+mn-lt"/>
              </a:defRPr>
            </a:lvl1pPr>
          </a:lstStyle>
          <a:p>
            <a:pPr defTabSz="1219170">
              <a:defRPr/>
            </a:pPr>
            <a:fld id="{F683C5A1-85BA-4509-83D3-007F0A800CF8}"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eaLnBrk="1" fontAlgn="auto" hangingPunct="1">
              <a:spcBef>
                <a:spcPts val="0"/>
              </a:spcBef>
              <a:spcAft>
                <a:spcPts val="0"/>
              </a:spcAft>
              <a:defRPr sz="1600">
                <a:solidFill>
                  <a:schemeClr val="tx1">
                    <a:tint val="75000"/>
                  </a:schemeClr>
                </a:solidFill>
                <a:latin typeface="+mn-lt"/>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eaLnBrk="1" fontAlgn="auto" hangingPunct="1">
              <a:spcBef>
                <a:spcPts val="0"/>
              </a:spcBef>
              <a:spcAft>
                <a:spcPts val="0"/>
              </a:spcAft>
              <a:defRPr sz="1600">
                <a:solidFill>
                  <a:schemeClr val="tx1">
                    <a:tint val="75000"/>
                  </a:schemeClr>
                </a:solidFill>
                <a:latin typeface="+mn-lt"/>
              </a:defRPr>
            </a:lvl1pPr>
          </a:lstStyle>
          <a:p>
            <a:pPr defTabSz="1219170">
              <a:defRPr/>
            </a:pPr>
            <a:fld id="{731A0619-213C-4F41-A268-CDA8BE38AE0E}" type="slidenum">
              <a:rPr lang="en-US" smtClean="0">
                <a:solidFill>
                  <a:prstClr val="black">
                    <a:tint val="75000"/>
                  </a:prstClr>
                </a:solidFill>
              </a:rPr>
              <a:pPr defTabSz="1219170">
                <a:defRPr/>
              </a:pPr>
              <a:t>‹#›</a:t>
            </a:fld>
            <a:endParaRPr lang="en-US">
              <a:solidFill>
                <a:prstClr val="black">
                  <a:tint val="75000"/>
                </a:prstClr>
              </a:solidFill>
            </a:endParaRPr>
          </a:p>
        </p:txBody>
      </p:sp>
      <p:pic>
        <p:nvPicPr>
          <p:cNvPr id="1031" name="Picture 6"/>
          <p:cNvPicPr>
            <a:picLocks noChangeAspect="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11315701" y="273051"/>
            <a:ext cx="6223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91256661"/>
      </p:ext>
    </p:extLst>
  </p:cSld>
  <p:clrMap bg1="lt1" tx1="dk1" bg2="lt2" tx2="dk2" accent1="accent1" accent2="accent2" accent3="accent3" accent4="accent4" accent5="accent5" accent6="accent6" hlink="hlink" folHlink="folHlink"/>
  <p:sldLayoutIdLst>
    <p:sldLayoutId id="2147484667" r:id="rId1"/>
    <p:sldLayoutId id="2147484668" r:id="rId2"/>
    <p:sldLayoutId id="2147484669" r:id="rId3"/>
    <p:sldLayoutId id="2147484670" r:id="rId4"/>
    <p:sldLayoutId id="2147484671" r:id="rId5"/>
    <p:sldLayoutId id="2147484672" r:id="rId6"/>
    <p:sldLayoutId id="2147484673" r:id="rId7"/>
    <p:sldLayoutId id="2147484674" r:id="rId8"/>
    <p:sldLayoutId id="2147484675" r:id="rId9"/>
    <p:sldLayoutId id="2147484676" r:id="rId10"/>
    <p:sldLayoutId id="2147484677" r:id="rId11"/>
    <p:sldLayoutId id="2147484678" r:id="rId12"/>
    <p:sldLayoutId id="2147484679" r:id="rId13"/>
    <p:sldLayoutId id="2147484680" r:id="rId14"/>
    <p:sldLayoutId id="2147484681" r:id="rId15"/>
    <p:sldLayoutId id="2147484682" r:id="rId16"/>
  </p:sldLayoutIdLst>
  <p:txStyles>
    <p:titleStyle>
      <a:lvl1pPr algn="l" rtl="0" eaLnBrk="0" fontAlgn="base" hangingPunct="0">
        <a:spcBef>
          <a:spcPct val="0"/>
        </a:spcBef>
        <a:spcAft>
          <a:spcPct val="0"/>
        </a:spcAft>
        <a:defRPr sz="4267" kern="1200">
          <a:solidFill>
            <a:schemeClr val="tx1"/>
          </a:solidFill>
          <a:latin typeface="+mj-lt"/>
          <a:ea typeface="+mj-ea"/>
          <a:cs typeface="+mj-cs"/>
        </a:defRPr>
      </a:lvl1pPr>
      <a:lvl2pPr algn="l" rtl="0" eaLnBrk="0" fontAlgn="base" hangingPunct="0">
        <a:spcBef>
          <a:spcPct val="0"/>
        </a:spcBef>
        <a:spcAft>
          <a:spcPct val="0"/>
        </a:spcAft>
        <a:defRPr sz="4267">
          <a:solidFill>
            <a:schemeClr val="tx1"/>
          </a:solidFill>
          <a:latin typeface="Calibri" panose="020F0502020204030204" pitchFamily="34" charset="0"/>
        </a:defRPr>
      </a:lvl2pPr>
      <a:lvl3pPr algn="l" rtl="0" eaLnBrk="0" fontAlgn="base" hangingPunct="0">
        <a:spcBef>
          <a:spcPct val="0"/>
        </a:spcBef>
        <a:spcAft>
          <a:spcPct val="0"/>
        </a:spcAft>
        <a:defRPr sz="4267">
          <a:solidFill>
            <a:schemeClr val="tx1"/>
          </a:solidFill>
          <a:latin typeface="Calibri" panose="020F0502020204030204" pitchFamily="34" charset="0"/>
        </a:defRPr>
      </a:lvl3pPr>
      <a:lvl4pPr algn="l" rtl="0" eaLnBrk="0" fontAlgn="base" hangingPunct="0">
        <a:spcBef>
          <a:spcPct val="0"/>
        </a:spcBef>
        <a:spcAft>
          <a:spcPct val="0"/>
        </a:spcAft>
        <a:defRPr sz="4267">
          <a:solidFill>
            <a:schemeClr val="tx1"/>
          </a:solidFill>
          <a:latin typeface="Calibri" panose="020F0502020204030204" pitchFamily="34" charset="0"/>
        </a:defRPr>
      </a:lvl4pPr>
      <a:lvl5pPr algn="l" rtl="0" eaLnBrk="0" fontAlgn="base" hangingPunct="0">
        <a:spcBef>
          <a:spcPct val="0"/>
        </a:spcBef>
        <a:spcAft>
          <a:spcPct val="0"/>
        </a:spcAft>
        <a:defRPr sz="4267">
          <a:solidFill>
            <a:schemeClr val="tx1"/>
          </a:solidFill>
          <a:latin typeface="Calibri" panose="020F0502020204030204" pitchFamily="34" charset="0"/>
        </a:defRPr>
      </a:lvl5pPr>
      <a:lvl6pPr marL="609585" algn="l" rtl="0" fontAlgn="base">
        <a:spcBef>
          <a:spcPct val="0"/>
        </a:spcBef>
        <a:spcAft>
          <a:spcPct val="0"/>
        </a:spcAft>
        <a:defRPr sz="4267">
          <a:solidFill>
            <a:schemeClr val="tx1"/>
          </a:solidFill>
          <a:latin typeface="Calibri" panose="020F0502020204030204" pitchFamily="34" charset="0"/>
        </a:defRPr>
      </a:lvl6pPr>
      <a:lvl7pPr marL="1219170" algn="l" rtl="0" fontAlgn="base">
        <a:spcBef>
          <a:spcPct val="0"/>
        </a:spcBef>
        <a:spcAft>
          <a:spcPct val="0"/>
        </a:spcAft>
        <a:defRPr sz="4267">
          <a:solidFill>
            <a:schemeClr val="tx1"/>
          </a:solidFill>
          <a:latin typeface="Calibri" panose="020F0502020204030204" pitchFamily="34" charset="0"/>
        </a:defRPr>
      </a:lvl7pPr>
      <a:lvl8pPr marL="1828754" algn="l" rtl="0" fontAlgn="base">
        <a:spcBef>
          <a:spcPct val="0"/>
        </a:spcBef>
        <a:spcAft>
          <a:spcPct val="0"/>
        </a:spcAft>
        <a:defRPr sz="4267">
          <a:solidFill>
            <a:schemeClr val="tx1"/>
          </a:solidFill>
          <a:latin typeface="Calibri" panose="020F0502020204030204" pitchFamily="34" charset="0"/>
        </a:defRPr>
      </a:lvl8pPr>
      <a:lvl9pPr marL="2438339" algn="l" rtl="0" fontAlgn="base">
        <a:spcBef>
          <a:spcPct val="0"/>
        </a:spcBef>
        <a:spcAft>
          <a:spcPct val="0"/>
        </a:spcAft>
        <a:defRPr sz="4267">
          <a:solidFill>
            <a:schemeClr val="tx1"/>
          </a:solidFill>
          <a:latin typeface="Calibri" panose="020F050202020403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2667" kern="1200">
          <a:solidFill>
            <a:schemeClr val="tx1"/>
          </a:solidFill>
          <a:latin typeface="+mn-lt"/>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kern="1200">
          <a:solidFill>
            <a:schemeClr val="tx1"/>
          </a:solidFill>
          <a:latin typeface="+mn-lt"/>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133" kern="1200">
          <a:solidFill>
            <a:schemeClr val="tx1"/>
          </a:solidFill>
          <a:latin typeface="+mn-lt"/>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1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301752" y="0"/>
            <a:ext cx="9975849"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1301752" y="1600201"/>
            <a:ext cx="10280649" cy="452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eaLnBrk="1" fontAlgn="auto" hangingPunct="1">
              <a:spcBef>
                <a:spcPts val="0"/>
              </a:spcBef>
              <a:spcAft>
                <a:spcPts val="0"/>
              </a:spcAft>
              <a:defRPr sz="1600">
                <a:solidFill>
                  <a:schemeClr val="tx1">
                    <a:tint val="75000"/>
                  </a:schemeClr>
                </a:solidFill>
                <a:latin typeface="+mn-lt"/>
              </a:defRPr>
            </a:lvl1pPr>
          </a:lstStyle>
          <a:p>
            <a:pPr defTabSz="1219170">
              <a:defRPr/>
            </a:pPr>
            <a:fld id="{F683C5A1-85BA-4509-83D3-007F0A800CF8}"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eaLnBrk="1" fontAlgn="auto" hangingPunct="1">
              <a:spcBef>
                <a:spcPts val="0"/>
              </a:spcBef>
              <a:spcAft>
                <a:spcPts val="0"/>
              </a:spcAft>
              <a:defRPr sz="1600">
                <a:solidFill>
                  <a:schemeClr val="tx1">
                    <a:tint val="75000"/>
                  </a:schemeClr>
                </a:solidFill>
                <a:latin typeface="+mn-lt"/>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eaLnBrk="1" fontAlgn="auto" hangingPunct="1">
              <a:spcBef>
                <a:spcPts val="0"/>
              </a:spcBef>
              <a:spcAft>
                <a:spcPts val="0"/>
              </a:spcAft>
              <a:defRPr sz="1600">
                <a:solidFill>
                  <a:schemeClr val="tx1">
                    <a:tint val="75000"/>
                  </a:schemeClr>
                </a:solidFill>
                <a:latin typeface="+mn-lt"/>
              </a:defRPr>
            </a:lvl1pPr>
          </a:lstStyle>
          <a:p>
            <a:pPr defTabSz="1219170">
              <a:defRPr/>
            </a:pPr>
            <a:fld id="{731A0619-213C-4F41-A268-CDA8BE38AE0E}" type="slidenum">
              <a:rPr lang="en-US" smtClean="0">
                <a:solidFill>
                  <a:prstClr val="black">
                    <a:tint val="75000"/>
                  </a:prstClr>
                </a:solidFill>
              </a:rPr>
              <a:pPr defTabSz="1219170">
                <a:defRPr/>
              </a:pPr>
              <a:t>‹#›</a:t>
            </a:fld>
            <a:endParaRPr lang="en-US">
              <a:solidFill>
                <a:prstClr val="black">
                  <a:tint val="75000"/>
                </a:prstClr>
              </a:solidFill>
            </a:endParaRPr>
          </a:p>
        </p:txBody>
      </p:sp>
      <p:pic>
        <p:nvPicPr>
          <p:cNvPr id="1031" name="Picture 6"/>
          <p:cNvPicPr>
            <a:picLocks noChangeAspect="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11315701" y="273051"/>
            <a:ext cx="6223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16979544"/>
      </p:ext>
    </p:extLst>
  </p:cSld>
  <p:clrMap bg1="lt1" tx1="dk1" bg2="lt2" tx2="dk2" accent1="accent1" accent2="accent2" accent3="accent3" accent4="accent4" accent5="accent5" accent6="accent6" hlink="hlink" folHlink="folHlink"/>
  <p:sldLayoutIdLst>
    <p:sldLayoutId id="2147484684" r:id="rId1"/>
    <p:sldLayoutId id="2147484685" r:id="rId2"/>
    <p:sldLayoutId id="2147484686" r:id="rId3"/>
    <p:sldLayoutId id="2147484687" r:id="rId4"/>
    <p:sldLayoutId id="2147484688" r:id="rId5"/>
    <p:sldLayoutId id="2147484689" r:id="rId6"/>
    <p:sldLayoutId id="2147484690" r:id="rId7"/>
    <p:sldLayoutId id="2147484691" r:id="rId8"/>
    <p:sldLayoutId id="2147484692" r:id="rId9"/>
    <p:sldLayoutId id="2147484693" r:id="rId10"/>
    <p:sldLayoutId id="2147484694" r:id="rId11"/>
    <p:sldLayoutId id="2147484695" r:id="rId12"/>
    <p:sldLayoutId id="2147484696" r:id="rId13"/>
    <p:sldLayoutId id="2147484697" r:id="rId14"/>
    <p:sldLayoutId id="2147484698" r:id="rId15"/>
    <p:sldLayoutId id="2147484699" r:id="rId16"/>
  </p:sldLayoutIdLst>
  <p:txStyles>
    <p:titleStyle>
      <a:lvl1pPr algn="l" rtl="0" eaLnBrk="0" fontAlgn="base" hangingPunct="0">
        <a:spcBef>
          <a:spcPct val="0"/>
        </a:spcBef>
        <a:spcAft>
          <a:spcPct val="0"/>
        </a:spcAft>
        <a:defRPr sz="4267" kern="1200">
          <a:solidFill>
            <a:schemeClr val="tx1"/>
          </a:solidFill>
          <a:latin typeface="+mj-lt"/>
          <a:ea typeface="+mj-ea"/>
          <a:cs typeface="+mj-cs"/>
        </a:defRPr>
      </a:lvl1pPr>
      <a:lvl2pPr algn="l" rtl="0" eaLnBrk="0" fontAlgn="base" hangingPunct="0">
        <a:spcBef>
          <a:spcPct val="0"/>
        </a:spcBef>
        <a:spcAft>
          <a:spcPct val="0"/>
        </a:spcAft>
        <a:defRPr sz="4267">
          <a:solidFill>
            <a:schemeClr val="tx1"/>
          </a:solidFill>
          <a:latin typeface="Calibri" panose="020F0502020204030204" pitchFamily="34" charset="0"/>
        </a:defRPr>
      </a:lvl2pPr>
      <a:lvl3pPr algn="l" rtl="0" eaLnBrk="0" fontAlgn="base" hangingPunct="0">
        <a:spcBef>
          <a:spcPct val="0"/>
        </a:spcBef>
        <a:spcAft>
          <a:spcPct val="0"/>
        </a:spcAft>
        <a:defRPr sz="4267">
          <a:solidFill>
            <a:schemeClr val="tx1"/>
          </a:solidFill>
          <a:latin typeface="Calibri" panose="020F0502020204030204" pitchFamily="34" charset="0"/>
        </a:defRPr>
      </a:lvl3pPr>
      <a:lvl4pPr algn="l" rtl="0" eaLnBrk="0" fontAlgn="base" hangingPunct="0">
        <a:spcBef>
          <a:spcPct val="0"/>
        </a:spcBef>
        <a:spcAft>
          <a:spcPct val="0"/>
        </a:spcAft>
        <a:defRPr sz="4267">
          <a:solidFill>
            <a:schemeClr val="tx1"/>
          </a:solidFill>
          <a:latin typeface="Calibri" panose="020F0502020204030204" pitchFamily="34" charset="0"/>
        </a:defRPr>
      </a:lvl4pPr>
      <a:lvl5pPr algn="l" rtl="0" eaLnBrk="0" fontAlgn="base" hangingPunct="0">
        <a:spcBef>
          <a:spcPct val="0"/>
        </a:spcBef>
        <a:spcAft>
          <a:spcPct val="0"/>
        </a:spcAft>
        <a:defRPr sz="4267">
          <a:solidFill>
            <a:schemeClr val="tx1"/>
          </a:solidFill>
          <a:latin typeface="Calibri" panose="020F0502020204030204" pitchFamily="34" charset="0"/>
        </a:defRPr>
      </a:lvl5pPr>
      <a:lvl6pPr marL="609585" algn="l" rtl="0" fontAlgn="base">
        <a:spcBef>
          <a:spcPct val="0"/>
        </a:spcBef>
        <a:spcAft>
          <a:spcPct val="0"/>
        </a:spcAft>
        <a:defRPr sz="4267">
          <a:solidFill>
            <a:schemeClr val="tx1"/>
          </a:solidFill>
          <a:latin typeface="Calibri" panose="020F0502020204030204" pitchFamily="34" charset="0"/>
        </a:defRPr>
      </a:lvl6pPr>
      <a:lvl7pPr marL="1219170" algn="l" rtl="0" fontAlgn="base">
        <a:spcBef>
          <a:spcPct val="0"/>
        </a:spcBef>
        <a:spcAft>
          <a:spcPct val="0"/>
        </a:spcAft>
        <a:defRPr sz="4267">
          <a:solidFill>
            <a:schemeClr val="tx1"/>
          </a:solidFill>
          <a:latin typeface="Calibri" panose="020F0502020204030204" pitchFamily="34" charset="0"/>
        </a:defRPr>
      </a:lvl7pPr>
      <a:lvl8pPr marL="1828754" algn="l" rtl="0" fontAlgn="base">
        <a:spcBef>
          <a:spcPct val="0"/>
        </a:spcBef>
        <a:spcAft>
          <a:spcPct val="0"/>
        </a:spcAft>
        <a:defRPr sz="4267">
          <a:solidFill>
            <a:schemeClr val="tx1"/>
          </a:solidFill>
          <a:latin typeface="Calibri" panose="020F0502020204030204" pitchFamily="34" charset="0"/>
        </a:defRPr>
      </a:lvl8pPr>
      <a:lvl9pPr marL="2438339" algn="l" rtl="0" fontAlgn="base">
        <a:spcBef>
          <a:spcPct val="0"/>
        </a:spcBef>
        <a:spcAft>
          <a:spcPct val="0"/>
        </a:spcAft>
        <a:defRPr sz="4267">
          <a:solidFill>
            <a:schemeClr val="tx1"/>
          </a:solidFill>
          <a:latin typeface="Calibri" panose="020F050202020403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2667" kern="1200">
          <a:solidFill>
            <a:schemeClr val="tx1"/>
          </a:solidFill>
          <a:latin typeface="+mn-lt"/>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kern="1200">
          <a:solidFill>
            <a:schemeClr val="tx1"/>
          </a:solidFill>
          <a:latin typeface="+mn-lt"/>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133" kern="1200">
          <a:solidFill>
            <a:schemeClr val="tx1"/>
          </a:solidFill>
          <a:latin typeface="+mn-lt"/>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1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301752" y="0"/>
            <a:ext cx="9975849"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1301752" y="1600201"/>
            <a:ext cx="10280649" cy="452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eaLnBrk="1" fontAlgn="auto" hangingPunct="1">
              <a:spcBef>
                <a:spcPts val="0"/>
              </a:spcBef>
              <a:spcAft>
                <a:spcPts val="0"/>
              </a:spcAft>
              <a:defRPr sz="1600">
                <a:solidFill>
                  <a:schemeClr val="tx1">
                    <a:tint val="75000"/>
                  </a:schemeClr>
                </a:solidFill>
                <a:latin typeface="+mn-lt"/>
              </a:defRPr>
            </a:lvl1pPr>
          </a:lstStyle>
          <a:p>
            <a:pPr defTabSz="1219170">
              <a:defRPr/>
            </a:pPr>
            <a:fld id="{F683C5A1-85BA-4509-83D3-007F0A800CF8}"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eaLnBrk="1" fontAlgn="auto" hangingPunct="1">
              <a:spcBef>
                <a:spcPts val="0"/>
              </a:spcBef>
              <a:spcAft>
                <a:spcPts val="0"/>
              </a:spcAft>
              <a:defRPr sz="1600">
                <a:solidFill>
                  <a:schemeClr val="tx1">
                    <a:tint val="75000"/>
                  </a:schemeClr>
                </a:solidFill>
                <a:latin typeface="+mn-lt"/>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eaLnBrk="1" fontAlgn="auto" hangingPunct="1">
              <a:spcBef>
                <a:spcPts val="0"/>
              </a:spcBef>
              <a:spcAft>
                <a:spcPts val="0"/>
              </a:spcAft>
              <a:defRPr sz="1600">
                <a:solidFill>
                  <a:schemeClr val="tx1">
                    <a:tint val="75000"/>
                  </a:schemeClr>
                </a:solidFill>
                <a:latin typeface="+mn-lt"/>
              </a:defRPr>
            </a:lvl1pPr>
          </a:lstStyle>
          <a:p>
            <a:pPr defTabSz="1219170">
              <a:defRPr/>
            </a:pPr>
            <a:fld id="{731A0619-213C-4F41-A268-CDA8BE38AE0E}" type="slidenum">
              <a:rPr lang="en-US" smtClean="0">
                <a:solidFill>
                  <a:prstClr val="black">
                    <a:tint val="75000"/>
                  </a:prstClr>
                </a:solidFill>
              </a:rPr>
              <a:pPr defTabSz="1219170">
                <a:defRPr/>
              </a:pPr>
              <a:t>‹#›</a:t>
            </a:fld>
            <a:endParaRPr lang="en-US">
              <a:solidFill>
                <a:prstClr val="black">
                  <a:tint val="75000"/>
                </a:prstClr>
              </a:solidFill>
            </a:endParaRPr>
          </a:p>
        </p:txBody>
      </p:sp>
      <p:pic>
        <p:nvPicPr>
          <p:cNvPr id="1031" name="Picture 6"/>
          <p:cNvPicPr>
            <a:picLocks noChangeAspect="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11315701" y="273051"/>
            <a:ext cx="6223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93606720"/>
      </p:ext>
    </p:extLst>
  </p:cSld>
  <p:clrMap bg1="lt1" tx1="dk1" bg2="lt2" tx2="dk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Lst>
  <p:txStyles>
    <p:titleStyle>
      <a:lvl1pPr algn="l" rtl="0" eaLnBrk="0" fontAlgn="base" hangingPunct="0">
        <a:spcBef>
          <a:spcPct val="0"/>
        </a:spcBef>
        <a:spcAft>
          <a:spcPct val="0"/>
        </a:spcAft>
        <a:defRPr sz="4267" kern="1200">
          <a:solidFill>
            <a:schemeClr val="tx1"/>
          </a:solidFill>
          <a:latin typeface="+mj-lt"/>
          <a:ea typeface="+mj-ea"/>
          <a:cs typeface="+mj-cs"/>
        </a:defRPr>
      </a:lvl1pPr>
      <a:lvl2pPr algn="l" rtl="0" eaLnBrk="0" fontAlgn="base" hangingPunct="0">
        <a:spcBef>
          <a:spcPct val="0"/>
        </a:spcBef>
        <a:spcAft>
          <a:spcPct val="0"/>
        </a:spcAft>
        <a:defRPr sz="4267">
          <a:solidFill>
            <a:schemeClr val="tx1"/>
          </a:solidFill>
          <a:latin typeface="Calibri" panose="020F0502020204030204" pitchFamily="34" charset="0"/>
        </a:defRPr>
      </a:lvl2pPr>
      <a:lvl3pPr algn="l" rtl="0" eaLnBrk="0" fontAlgn="base" hangingPunct="0">
        <a:spcBef>
          <a:spcPct val="0"/>
        </a:spcBef>
        <a:spcAft>
          <a:spcPct val="0"/>
        </a:spcAft>
        <a:defRPr sz="4267">
          <a:solidFill>
            <a:schemeClr val="tx1"/>
          </a:solidFill>
          <a:latin typeface="Calibri" panose="020F0502020204030204" pitchFamily="34" charset="0"/>
        </a:defRPr>
      </a:lvl3pPr>
      <a:lvl4pPr algn="l" rtl="0" eaLnBrk="0" fontAlgn="base" hangingPunct="0">
        <a:spcBef>
          <a:spcPct val="0"/>
        </a:spcBef>
        <a:spcAft>
          <a:spcPct val="0"/>
        </a:spcAft>
        <a:defRPr sz="4267">
          <a:solidFill>
            <a:schemeClr val="tx1"/>
          </a:solidFill>
          <a:latin typeface="Calibri" panose="020F0502020204030204" pitchFamily="34" charset="0"/>
        </a:defRPr>
      </a:lvl4pPr>
      <a:lvl5pPr algn="l" rtl="0" eaLnBrk="0" fontAlgn="base" hangingPunct="0">
        <a:spcBef>
          <a:spcPct val="0"/>
        </a:spcBef>
        <a:spcAft>
          <a:spcPct val="0"/>
        </a:spcAft>
        <a:defRPr sz="4267">
          <a:solidFill>
            <a:schemeClr val="tx1"/>
          </a:solidFill>
          <a:latin typeface="Calibri" panose="020F0502020204030204" pitchFamily="34" charset="0"/>
        </a:defRPr>
      </a:lvl5pPr>
      <a:lvl6pPr marL="609585" algn="l" rtl="0" fontAlgn="base">
        <a:spcBef>
          <a:spcPct val="0"/>
        </a:spcBef>
        <a:spcAft>
          <a:spcPct val="0"/>
        </a:spcAft>
        <a:defRPr sz="4267">
          <a:solidFill>
            <a:schemeClr val="tx1"/>
          </a:solidFill>
          <a:latin typeface="Calibri" panose="020F0502020204030204" pitchFamily="34" charset="0"/>
        </a:defRPr>
      </a:lvl6pPr>
      <a:lvl7pPr marL="1219170" algn="l" rtl="0" fontAlgn="base">
        <a:spcBef>
          <a:spcPct val="0"/>
        </a:spcBef>
        <a:spcAft>
          <a:spcPct val="0"/>
        </a:spcAft>
        <a:defRPr sz="4267">
          <a:solidFill>
            <a:schemeClr val="tx1"/>
          </a:solidFill>
          <a:latin typeface="Calibri" panose="020F0502020204030204" pitchFamily="34" charset="0"/>
        </a:defRPr>
      </a:lvl7pPr>
      <a:lvl8pPr marL="1828754" algn="l" rtl="0" fontAlgn="base">
        <a:spcBef>
          <a:spcPct val="0"/>
        </a:spcBef>
        <a:spcAft>
          <a:spcPct val="0"/>
        </a:spcAft>
        <a:defRPr sz="4267">
          <a:solidFill>
            <a:schemeClr val="tx1"/>
          </a:solidFill>
          <a:latin typeface="Calibri" panose="020F0502020204030204" pitchFamily="34" charset="0"/>
        </a:defRPr>
      </a:lvl8pPr>
      <a:lvl9pPr marL="2438339" algn="l" rtl="0" fontAlgn="base">
        <a:spcBef>
          <a:spcPct val="0"/>
        </a:spcBef>
        <a:spcAft>
          <a:spcPct val="0"/>
        </a:spcAft>
        <a:defRPr sz="4267">
          <a:solidFill>
            <a:schemeClr val="tx1"/>
          </a:solidFill>
          <a:latin typeface="Calibri" panose="020F050202020403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2667" kern="1200">
          <a:solidFill>
            <a:schemeClr val="tx1"/>
          </a:solidFill>
          <a:latin typeface="+mn-lt"/>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kern="1200">
          <a:solidFill>
            <a:schemeClr val="tx1"/>
          </a:solidFill>
          <a:latin typeface="+mn-lt"/>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133" kern="1200">
          <a:solidFill>
            <a:schemeClr val="tx1"/>
          </a:solidFill>
          <a:latin typeface="+mn-lt"/>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1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9"/>
          <p:cNvGraphicFramePr>
            <a:graphicFrameLocks noChangeAspect="1"/>
          </p:cNvGraphicFramePr>
          <p:nvPr/>
        </p:nvGraphicFramePr>
        <p:xfrm>
          <a:off x="9753600" y="5030788"/>
          <a:ext cx="2438400" cy="1827212"/>
        </p:xfrm>
        <a:graphic>
          <a:graphicData uri="http://schemas.openxmlformats.org/presentationml/2006/ole">
            <mc:AlternateContent xmlns:mc="http://schemas.openxmlformats.org/markup-compatibility/2006">
              <mc:Choice xmlns:v="urn:schemas-microsoft-com:vml" Requires="v">
                <p:oleObj name="Image" r:id="rId21" imgW="12990476" imgH="9739683" progId="">
                  <p:embed/>
                </p:oleObj>
              </mc:Choice>
              <mc:Fallback>
                <p:oleObj name="Image" r:id="rId21" imgW="12990476" imgH="9739683" progId="">
                  <p:embed/>
                  <p:pic>
                    <p:nvPicPr>
                      <p:cNvPr id="1026" name="Object 9"/>
                      <p:cNvPicPr>
                        <a:picLocks noChangeAspect="1" noChangeArrowheads="1"/>
                      </p:cNvPicPr>
                      <p:nvPr/>
                    </p:nvPicPr>
                    <p:blipFill>
                      <a:blip r:embed="rId22">
                        <a:extLst>
                          <a:ext uri="{28A0092B-C50C-407E-A947-70E740481C1C}">
                            <a14:useLocalDpi xmlns:a14="http://schemas.microsoft.com/office/drawing/2010/main" val="0"/>
                          </a:ext>
                        </a:extLst>
                      </a:blip>
                      <a:srcRect l="80000" t="73351"/>
                      <a:stretch>
                        <a:fillRect/>
                      </a:stretch>
                    </p:blipFill>
                    <p:spPr bwMode="auto">
                      <a:xfrm>
                        <a:off x="9753600" y="5030788"/>
                        <a:ext cx="2438400" cy="1827212"/>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1028" name="Rectangle 2"/>
          <p:cNvSpPr>
            <a:spLocks noGrp="1" noChangeArrowheads="1"/>
          </p:cNvSpPr>
          <p:nvPr>
            <p:ph type="title"/>
          </p:nvPr>
        </p:nvSpPr>
        <p:spPr bwMode="auto">
          <a:xfrm>
            <a:off x="1320800" y="304800"/>
            <a:ext cx="78232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a:t>
            </a:r>
          </a:p>
        </p:txBody>
      </p:sp>
      <p:sp>
        <p:nvSpPr>
          <p:cNvPr id="1029" name="Rectangle 3"/>
          <p:cNvSpPr>
            <a:spLocks noGrp="1" noChangeArrowheads="1"/>
          </p:cNvSpPr>
          <p:nvPr>
            <p:ph type="body" idx="1"/>
          </p:nvPr>
        </p:nvSpPr>
        <p:spPr bwMode="auto">
          <a:xfrm>
            <a:off x="1320800" y="1371600"/>
            <a:ext cx="9042400"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noChangeArrowheads="1"/>
          </p:cNvSpPr>
          <p:nvPr>
            <p:ph type="sldNum" sz="quarter" idx="4"/>
          </p:nvPr>
        </p:nvSpPr>
        <p:spPr>
          <a:xfrm>
            <a:off x="11428275" y="6534150"/>
            <a:ext cx="763725" cy="323850"/>
          </a:xfrm>
          <a:prstGeom prst="rect">
            <a:avLst/>
          </a:prstGeom>
          <a:ln/>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5B38A799-DF3A-41FB-813B-D4B25A73A16B}" type="slidenum">
              <a:rPr kumimoji="0" lang="en-US" sz="1800" b="1" i="1" u="none" strike="noStrike" kern="1200" cap="none" spc="0" normalizeH="0" baseline="0" noProof="0">
                <a:ln>
                  <a:noFill/>
                </a:ln>
                <a:solidFill>
                  <a:srgbClr val="000000"/>
                </a:solidFill>
                <a:effectLst/>
                <a:uLnTx/>
                <a:uFillTx/>
                <a:latin typeface="Arial"/>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US" sz="1800" b="1" i="1"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53442486"/>
      </p:ext>
    </p:extLst>
  </p:cSld>
  <p:clrMap bg1="lt1" tx1="dk1" bg2="lt2" tx2="dk2" accent1="accent1" accent2="accent2" accent3="accent3" accent4="accent4" accent5="accent5" accent6="accent6" hlink="hlink" folHlink="folHlink"/>
  <p:sldLayoutIdLst>
    <p:sldLayoutId id="2147484718" r:id="rId1"/>
    <p:sldLayoutId id="2147484719" r:id="rId2"/>
    <p:sldLayoutId id="2147484720" r:id="rId3"/>
    <p:sldLayoutId id="2147484721" r:id="rId4"/>
    <p:sldLayoutId id="2147484722" r:id="rId5"/>
    <p:sldLayoutId id="2147484723" r:id="rId6"/>
    <p:sldLayoutId id="2147484724" r:id="rId7"/>
    <p:sldLayoutId id="2147484725" r:id="rId8"/>
    <p:sldLayoutId id="2147484726" r:id="rId9"/>
    <p:sldLayoutId id="2147484727" r:id="rId10"/>
    <p:sldLayoutId id="2147484728" r:id="rId11"/>
    <p:sldLayoutId id="2147484729" r:id="rId12"/>
    <p:sldLayoutId id="2147484730" r:id="rId13"/>
    <p:sldLayoutId id="2147484731" r:id="rId14"/>
    <p:sldLayoutId id="2147484732" r:id="rId15"/>
    <p:sldLayoutId id="2147484733" r:id="rId16"/>
    <p:sldLayoutId id="2147484734" r:id="rId17"/>
    <p:sldLayoutId id="2147484735" r:id="rId18"/>
    <p:sldLayoutId id="2147484736" r:id="rId19"/>
  </p:sldLayoutIdLst>
  <p:hf sldNum="0" hdr="0" ftr="0" dt="0"/>
  <p:txStyles>
    <p:titleStyle>
      <a:lvl1pPr algn="l" rtl="0" eaLnBrk="0" fontAlgn="base" hangingPunct="0">
        <a:spcBef>
          <a:spcPct val="0"/>
        </a:spcBef>
        <a:spcAft>
          <a:spcPct val="0"/>
        </a:spcAft>
        <a:defRPr sz="3200">
          <a:solidFill>
            <a:schemeClr val="tx1"/>
          </a:solidFill>
          <a:latin typeface="Calibri" pitchFamily="34" charset="0"/>
          <a:ea typeface="+mj-ea"/>
          <a:cs typeface="+mj-cs"/>
        </a:defRPr>
      </a:lvl1pPr>
      <a:lvl2pPr algn="l" rtl="0" eaLnBrk="0" fontAlgn="base" hangingPunct="0">
        <a:spcBef>
          <a:spcPct val="0"/>
        </a:spcBef>
        <a:spcAft>
          <a:spcPct val="0"/>
        </a:spcAft>
        <a:defRPr sz="3200">
          <a:solidFill>
            <a:schemeClr val="tx1"/>
          </a:solidFill>
          <a:latin typeface="Calibri" pitchFamily="34" charset="0"/>
        </a:defRPr>
      </a:lvl2pPr>
      <a:lvl3pPr algn="l" rtl="0" eaLnBrk="0" fontAlgn="base" hangingPunct="0">
        <a:spcBef>
          <a:spcPct val="0"/>
        </a:spcBef>
        <a:spcAft>
          <a:spcPct val="0"/>
        </a:spcAft>
        <a:defRPr sz="3200">
          <a:solidFill>
            <a:schemeClr val="tx1"/>
          </a:solidFill>
          <a:latin typeface="Calibri" pitchFamily="34" charset="0"/>
        </a:defRPr>
      </a:lvl3pPr>
      <a:lvl4pPr algn="l" rtl="0" eaLnBrk="0" fontAlgn="base" hangingPunct="0">
        <a:spcBef>
          <a:spcPct val="0"/>
        </a:spcBef>
        <a:spcAft>
          <a:spcPct val="0"/>
        </a:spcAft>
        <a:defRPr sz="3200">
          <a:solidFill>
            <a:schemeClr val="tx1"/>
          </a:solidFill>
          <a:latin typeface="Calibri" pitchFamily="34" charset="0"/>
        </a:defRPr>
      </a:lvl4pPr>
      <a:lvl5pPr algn="l" rtl="0" eaLnBrk="0" fontAlgn="base" hangingPunct="0">
        <a:spcBef>
          <a:spcPct val="0"/>
        </a:spcBef>
        <a:spcAft>
          <a:spcPct val="0"/>
        </a:spcAft>
        <a:defRPr sz="3200">
          <a:solidFill>
            <a:schemeClr val="tx1"/>
          </a:solidFill>
          <a:latin typeface="Calibri" pitchFamily="34" charset="0"/>
        </a:defRPr>
      </a:lvl5pPr>
      <a:lvl6pPr marL="457200" algn="l" rtl="0" fontAlgn="base">
        <a:spcBef>
          <a:spcPct val="0"/>
        </a:spcBef>
        <a:spcAft>
          <a:spcPct val="0"/>
        </a:spcAft>
        <a:defRPr sz="3600">
          <a:solidFill>
            <a:schemeClr val="bg1"/>
          </a:solidFill>
          <a:latin typeface="Arial" charset="0"/>
        </a:defRPr>
      </a:lvl6pPr>
      <a:lvl7pPr marL="914400" algn="l" rtl="0" fontAlgn="base">
        <a:spcBef>
          <a:spcPct val="0"/>
        </a:spcBef>
        <a:spcAft>
          <a:spcPct val="0"/>
        </a:spcAft>
        <a:defRPr sz="3600">
          <a:solidFill>
            <a:schemeClr val="bg1"/>
          </a:solidFill>
          <a:latin typeface="Arial" charset="0"/>
        </a:defRPr>
      </a:lvl7pPr>
      <a:lvl8pPr marL="1371600" algn="l" rtl="0" fontAlgn="base">
        <a:spcBef>
          <a:spcPct val="0"/>
        </a:spcBef>
        <a:spcAft>
          <a:spcPct val="0"/>
        </a:spcAft>
        <a:defRPr sz="3600">
          <a:solidFill>
            <a:schemeClr val="bg1"/>
          </a:solidFill>
          <a:latin typeface="Arial" charset="0"/>
        </a:defRPr>
      </a:lvl8pPr>
      <a:lvl9pPr marL="1828800" algn="l" rtl="0" fontAlgn="base">
        <a:spcBef>
          <a:spcPct val="0"/>
        </a:spcBef>
        <a:spcAft>
          <a:spcPct val="0"/>
        </a:spcAft>
        <a:defRPr sz="3600">
          <a:solidFill>
            <a:schemeClr val="bg1"/>
          </a:solidFill>
          <a:latin typeface="Arial" charset="0"/>
        </a:defRPr>
      </a:lvl9pPr>
    </p:titleStyle>
    <p:bodyStyle>
      <a:lvl1pPr marL="342900" indent="-342900" algn="l" rtl="0" eaLnBrk="0" fontAlgn="base" hangingPunct="0">
        <a:spcBef>
          <a:spcPct val="20000"/>
        </a:spcBef>
        <a:spcAft>
          <a:spcPct val="0"/>
        </a:spcAft>
        <a:buChar char="•"/>
        <a:defRPr sz="2600">
          <a:solidFill>
            <a:schemeClr val="tx1"/>
          </a:solidFill>
          <a:latin typeface="Calibri" pitchFamily="34" charset="0"/>
          <a:ea typeface="+mn-ea"/>
          <a:cs typeface="+mn-cs"/>
        </a:defRPr>
      </a:lvl1pPr>
      <a:lvl2pPr marL="742950" indent="-285750" algn="l" rtl="0" eaLnBrk="0" fontAlgn="base" hangingPunct="0">
        <a:spcBef>
          <a:spcPct val="20000"/>
        </a:spcBef>
        <a:spcAft>
          <a:spcPct val="0"/>
        </a:spcAft>
        <a:buChar char="–"/>
        <a:defRPr sz="2600">
          <a:solidFill>
            <a:schemeClr val="tx1"/>
          </a:solidFill>
          <a:latin typeface="Calibri" pitchFamily="34" charset="0"/>
        </a:defRPr>
      </a:lvl2pPr>
      <a:lvl3pPr marL="1143000" indent="-228600" algn="l" rtl="0" eaLnBrk="0" fontAlgn="base" hangingPunct="0">
        <a:spcBef>
          <a:spcPct val="20000"/>
        </a:spcBef>
        <a:spcAft>
          <a:spcPct val="0"/>
        </a:spcAft>
        <a:buChar char="•"/>
        <a:defRPr sz="2600">
          <a:solidFill>
            <a:schemeClr val="tx1"/>
          </a:solidFill>
          <a:latin typeface="Calibri" pitchFamily="34" charset="0"/>
        </a:defRPr>
      </a:lvl3pPr>
      <a:lvl4pPr marL="1600200" indent="-228600" algn="l" rtl="0" eaLnBrk="0" fontAlgn="base" hangingPunct="0">
        <a:spcBef>
          <a:spcPct val="20000"/>
        </a:spcBef>
        <a:spcAft>
          <a:spcPct val="0"/>
        </a:spcAft>
        <a:buChar char="–"/>
        <a:defRPr sz="2600">
          <a:solidFill>
            <a:schemeClr val="tx1"/>
          </a:solidFill>
          <a:latin typeface="Calibri" pitchFamily="34" charset="0"/>
        </a:defRPr>
      </a:lvl4pPr>
      <a:lvl5pPr marL="2057400" indent="-228600" algn="l" rtl="0" eaLnBrk="0" fontAlgn="base" hangingPunct="0">
        <a:spcBef>
          <a:spcPct val="20000"/>
        </a:spcBef>
        <a:spcAft>
          <a:spcPct val="0"/>
        </a:spcAft>
        <a:buChar char="»"/>
        <a:defRPr sz="2600">
          <a:solidFill>
            <a:schemeClr val="tx1"/>
          </a:solidFill>
          <a:latin typeface="Calibri" pitchFamily="34" charset="0"/>
        </a:defRPr>
      </a:lvl5pPr>
      <a:lvl6pPr marL="2514600" indent="-228600" algn="l" rtl="0" fontAlgn="base">
        <a:spcBef>
          <a:spcPct val="20000"/>
        </a:spcBef>
        <a:spcAft>
          <a:spcPct val="0"/>
        </a:spcAft>
        <a:buChar char="»"/>
        <a:defRPr sz="2600">
          <a:solidFill>
            <a:schemeClr val="tx1"/>
          </a:solidFill>
          <a:latin typeface="+mn-lt"/>
        </a:defRPr>
      </a:lvl6pPr>
      <a:lvl7pPr marL="2971800" indent="-228600" algn="l" rtl="0" fontAlgn="base">
        <a:spcBef>
          <a:spcPct val="20000"/>
        </a:spcBef>
        <a:spcAft>
          <a:spcPct val="0"/>
        </a:spcAft>
        <a:buChar char="»"/>
        <a:defRPr sz="2600">
          <a:solidFill>
            <a:schemeClr val="tx1"/>
          </a:solidFill>
          <a:latin typeface="+mn-lt"/>
        </a:defRPr>
      </a:lvl7pPr>
      <a:lvl8pPr marL="3429000" indent="-228600" algn="l" rtl="0" fontAlgn="base">
        <a:spcBef>
          <a:spcPct val="20000"/>
        </a:spcBef>
        <a:spcAft>
          <a:spcPct val="0"/>
        </a:spcAft>
        <a:buChar char="»"/>
        <a:defRPr sz="2600">
          <a:solidFill>
            <a:schemeClr val="tx1"/>
          </a:solidFill>
          <a:latin typeface="+mn-lt"/>
        </a:defRPr>
      </a:lvl8pPr>
      <a:lvl9pPr marL="3886200" indent="-228600" algn="l" rtl="0" fontAlgn="base">
        <a:spcBef>
          <a:spcPct val="20000"/>
        </a:spcBef>
        <a:spcAft>
          <a:spcPct val="0"/>
        </a:spcAft>
        <a:buChar char="»"/>
        <a:defRPr sz="2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E41318F-C72C-43DD-8235-6C0EE519A72E}"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C287607-390D-4A5C-A193-274F8115C7A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5534630"/>
      </p:ext>
    </p:extLst>
  </p:cSld>
  <p:clrMap bg1="lt1" tx1="dk1" bg2="lt2" tx2="dk2" accent1="accent1" accent2="accent2" accent3="accent3" accent4="accent4" accent5="accent5" accent6="accent6" hlink="hlink" folHlink="folHlink"/>
  <p:sldLayoutIdLst>
    <p:sldLayoutId id="2147484738" r:id="rId1"/>
    <p:sldLayoutId id="2147484739" r:id="rId2"/>
    <p:sldLayoutId id="2147484740" r:id="rId3"/>
    <p:sldLayoutId id="2147484741" r:id="rId4"/>
    <p:sldLayoutId id="2147484742" r:id="rId5"/>
    <p:sldLayoutId id="2147484743" r:id="rId6"/>
    <p:sldLayoutId id="2147484744" r:id="rId7"/>
    <p:sldLayoutId id="2147484745" r:id="rId8"/>
    <p:sldLayoutId id="2147484746" r:id="rId9"/>
    <p:sldLayoutId id="2147484747" r:id="rId10"/>
    <p:sldLayoutId id="2147484748" r:id="rId11"/>
    <p:sldLayoutId id="2147484749" r:id="rId12"/>
    <p:sldLayoutId id="214748475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07CBA7D-CFE7-4FD2-A92C-1398C1B4873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5631F08-5764-446E-9739-F2545FF85FE2}"/>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A7E3CD-5486-4FAF-9E73-B898EE76D8DE}"/>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fld id="{20C7F5A2-30E2-4D33-8D94-0F5F50F64D6D}"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2/1/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4ED61407-DA21-489C-BFE9-69A5AB83C3FF}"/>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FA0C075C-D820-4310-959C-FA760E911669}"/>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9386E278-4CEC-4A7E-B1F2-CC86BC75A26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8948665"/>
      </p:ext>
    </p:extLst>
  </p:cSld>
  <p:clrMap bg1="lt1" tx1="dk1" bg2="lt2" tx2="dk2" accent1="accent1" accent2="accent2" accent3="accent3" accent4="accent4" accent5="accent5" accent6="accent6" hlink="hlink" folHlink="folHlink"/>
  <p:sldLayoutIdLst>
    <p:sldLayoutId id="2147484752" r:id="rId1"/>
    <p:sldLayoutId id="2147484753" r:id="rId2"/>
    <p:sldLayoutId id="2147484754" r:id="rId3"/>
    <p:sldLayoutId id="2147484755" r:id="rId4"/>
    <p:sldLayoutId id="2147484756" r:id="rId5"/>
    <p:sldLayoutId id="2147484757" r:id="rId6"/>
    <p:sldLayoutId id="2147484758" r:id="rId7"/>
    <p:sldLayoutId id="2147484759" r:id="rId8"/>
    <p:sldLayoutId id="2147484760" r:id="rId9"/>
    <p:sldLayoutId id="2147484761" r:id="rId10"/>
    <p:sldLayoutId id="2147484762" r:id="rId11"/>
    <p:sldLayoutId id="2147484763" r:id="rId12"/>
    <p:sldLayoutId id="2147484764" r:id="rId13"/>
    <p:sldLayoutId id="2147484765" r:id="rId14"/>
    <p:sldLayoutId id="2147484778" r:id="rId15"/>
    <p:sldLayoutId id="2147484780" r:id="rId16"/>
    <p:sldLayoutId id="2147484781" r:id="rId17"/>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CC87D7B-1B7E-490F-9CCD-9035F479F90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C669A9A3-08FC-45CC-B7CA-7AE61BAD29BA}"/>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1CBE7E8-1B56-41AD-B49C-7088D4F9C2C3}"/>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BD6BD3AD-670E-414E-A585-622C85D2FAB7}"/>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65097F5-A083-43BE-866E-D8687F6373B9}"/>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7208705"/>
      </p:ext>
    </p:extLst>
  </p:cSld>
  <p:clrMap bg1="lt1" tx1="dk1" bg2="lt2" tx2="dk2" accent1="accent1" accent2="accent2" accent3="accent3" accent4="accent4" accent5="accent5" accent6="accent6" hlink="hlink" folHlink="folHlink"/>
  <p:sldLayoutIdLst>
    <p:sldLayoutId id="2147484783" r:id="rId1"/>
    <p:sldLayoutId id="2147484784" r:id="rId2"/>
    <p:sldLayoutId id="2147484785" r:id="rId3"/>
    <p:sldLayoutId id="2147484786" r:id="rId4"/>
    <p:sldLayoutId id="2147484787" r:id="rId5"/>
    <p:sldLayoutId id="2147484788" r:id="rId6"/>
    <p:sldLayoutId id="2147484789" r:id="rId7"/>
    <p:sldLayoutId id="2147484790" r:id="rId8"/>
    <p:sldLayoutId id="2147484791" r:id="rId9"/>
    <p:sldLayoutId id="2147484792" r:id="rId10"/>
    <p:sldLayoutId id="2147484793"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dirty="0"/>
              <a:t>Click to edit Master title</a:t>
            </a:r>
          </a:p>
        </p:txBody>
      </p:sp>
      <p:sp>
        <p:nvSpPr>
          <p:cNvPr id="13" name="Rectangle 3"/>
          <p:cNvSpPr>
            <a:spLocks noGrp="1" noChangeArrowheads="1"/>
          </p:cNvSpPr>
          <p:nvPr>
            <p:ph type="body" idx="1"/>
          </p:nvPr>
        </p:nvSpPr>
        <p:spPr bwMode="auto">
          <a:xfrm>
            <a:off x="431075" y="1371601"/>
            <a:ext cx="11051176" cy="4950817"/>
          </a:xfrm>
          <a:prstGeom prst="rect">
            <a:avLst/>
          </a:prstGeom>
          <a:noFill/>
          <a:ln w="9525">
            <a:noFill/>
            <a:miter lim="800000"/>
          </a:ln>
        </p:spPr>
        <p:txBody>
          <a:bodyPr vert="horz" wrap="square" lIns="91429" tIns="45715" rIns="91429" bIns="45715" numCol="1" anchor="t" anchorCtr="0" compatLnSpc="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lide Number Placeholder 1"/>
          <p:cNvSpPr>
            <a:spLocks noGrp="1"/>
          </p:cNvSpPr>
          <p:nvPr>
            <p:ph type="sldNum" sz="quarter" idx="4"/>
          </p:nvPr>
        </p:nvSpPr>
        <p:spPr>
          <a:xfrm>
            <a:off x="203200" y="6484921"/>
            <a:ext cx="508000" cy="365124"/>
          </a:xfrm>
          <a:prstGeom prst="rect">
            <a:avLst/>
          </a:prstGeom>
        </p:spPr>
        <p:txBody>
          <a:bodyPr vert="horz" lIns="90566" tIns="45271" rIns="90566" bIns="45271" rtlCol="0" anchor="ctr"/>
          <a:lstStyle>
            <a:lvl1pPr algn="r">
              <a:defRPr sz="1200">
                <a:solidFill>
                  <a:schemeClr val="tx1"/>
                </a:solidFill>
              </a:defRPr>
            </a:lvl1pPr>
          </a:lstStyle>
          <a:p>
            <a:pPr marL="0" marR="0" lvl="0" indent="0" algn="r" defTabSz="905216" rtl="0" eaLnBrk="1" fontAlgn="auto" latinLnBrk="0" hangingPunct="1">
              <a:lnSpc>
                <a:spcPct val="100000"/>
              </a:lnSpc>
              <a:spcBef>
                <a:spcPts val="0"/>
              </a:spcBef>
              <a:spcAft>
                <a:spcPts val="0"/>
              </a:spcAft>
              <a:buClrTx/>
              <a:buSzTx/>
              <a:buFontTx/>
              <a:buNone/>
              <a:tabLst/>
              <a:defRPr/>
            </a:pPr>
            <a:fld id="{7422662C-4EA5-40CB-AF95-82CA1EC35BEA}" type="slidenum">
              <a:rPr kumimoji="0" lang="en-US" sz="12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05216"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3FAB1B24-7340-46CA-AB5B-1F593ADB7AD8}"/>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a:off x="11437418" y="81578"/>
            <a:ext cx="621877" cy="621879"/>
          </a:xfrm>
          <a:prstGeom prst="rect">
            <a:avLst/>
          </a:prstGeom>
        </p:spPr>
      </p:pic>
    </p:spTree>
    <p:extLst>
      <p:ext uri="{BB962C8B-B14F-4D97-AF65-F5344CB8AC3E}">
        <p14:creationId xmlns:p14="http://schemas.microsoft.com/office/powerpoint/2010/main" val="346302484"/>
      </p:ext>
    </p:extLst>
  </p:cSld>
  <p:clrMap bg1="lt1" tx1="dk1" bg2="lt2" tx2="dk2" accent1="accent1" accent2="accent2" accent3="accent3" accent4="accent4" accent5="accent5" accent6="accent6" hlink="hlink" folHlink="folHlink"/>
  <p:sldLayoutIdLst>
    <p:sldLayoutId id="2147484795" r:id="rId1"/>
    <p:sldLayoutId id="2147484796" r:id="rId2"/>
    <p:sldLayoutId id="2147484797" r:id="rId3"/>
    <p:sldLayoutId id="2147484798" r:id="rId4"/>
    <p:sldLayoutId id="2147484799" r:id="rId5"/>
    <p:sldLayoutId id="2147484800" r:id="rId6"/>
    <p:sldLayoutId id="2147484801" r:id="rId7"/>
    <p:sldLayoutId id="2147484802" r:id="rId8"/>
    <p:sldLayoutId id="2147484803" r:id="rId9"/>
    <p:sldLayoutId id="2147484804" r:id="rId10"/>
    <p:sldLayoutId id="2147484805" r:id="rId11"/>
    <p:sldLayoutId id="2147484806" r:id="rId12"/>
    <p:sldLayoutId id="2147484807" r:id="rId13"/>
    <p:sldLayoutId id="2147484808" r:id="rId14"/>
    <p:sldLayoutId id="2147484809" r:id="rId15"/>
    <p:sldLayoutId id="2147484811" r:id="rId16"/>
    <p:sldLayoutId id="2147484813" r:id="rId17"/>
    <p:sldLayoutId id="2147484814" r:id="rId18"/>
    <p:sldLayoutId id="2147484815" r:id="rId19"/>
    <p:sldLayoutId id="2147484816" r:id="rId20"/>
    <p:sldLayoutId id="2147484828" r:id="rId21"/>
    <p:sldLayoutId id="2147484862" r:id="rId22"/>
    <p:sldLayoutId id="2147484873" r:id="rId23"/>
    <p:sldLayoutId id="2147484874" r:id="rId24"/>
  </p:sldLayoutIdLst>
  <p:txStyles>
    <p:titleStyle>
      <a:lvl1pPr algn="l" defTabSz="914104" rtl="0" eaLnBrk="1" latinLnBrk="0" hangingPunct="1">
        <a:lnSpc>
          <a:spcPct val="90000"/>
        </a:lnSpc>
        <a:spcBef>
          <a:spcPct val="0"/>
        </a:spcBef>
        <a:buNone/>
        <a:defRPr sz="3599" kern="1200">
          <a:solidFill>
            <a:schemeClr val="tx1"/>
          </a:solidFill>
          <a:latin typeface="+mn-lt"/>
          <a:ea typeface="+mj-ea"/>
          <a:cs typeface="+mj-cs"/>
        </a:defRPr>
      </a:lvl1pPr>
    </p:titleStyle>
    <p:bodyStyle>
      <a:lvl1pPr marL="228525" indent="-228525" algn="l" defTabSz="914104" rtl="0" eaLnBrk="1" latinLnBrk="0" hangingPunct="1">
        <a:lnSpc>
          <a:spcPct val="90000"/>
        </a:lnSpc>
        <a:spcBef>
          <a:spcPts val="1000"/>
        </a:spcBef>
        <a:buFont typeface="Arial" panose="020B0604020202020204" pitchFamily="34" charset="0"/>
        <a:buChar char="•"/>
        <a:defRPr sz="2399" kern="1200">
          <a:solidFill>
            <a:schemeClr val="tx1"/>
          </a:solidFill>
          <a:latin typeface="+mn-lt"/>
          <a:ea typeface="+mn-ea"/>
          <a:cs typeface="+mn-cs"/>
        </a:defRPr>
      </a:lvl1pPr>
      <a:lvl2pPr marL="685578" indent="-228525" algn="l" defTabSz="914104"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29" indent="-228525" algn="l" defTabSz="914104"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3pPr>
      <a:lvl4pPr marL="1599680" indent="-228525" algn="l" defTabSz="914104"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4pPr>
      <a:lvl5pPr marL="2056731" indent="-228525" algn="l" defTabSz="914104"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5pPr>
      <a:lvl6pPr marL="2513784"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834"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885"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938"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04" rtl="0" eaLnBrk="1" latinLnBrk="0" hangingPunct="1">
        <a:defRPr sz="1799" kern="1200">
          <a:solidFill>
            <a:schemeClr val="tx1"/>
          </a:solidFill>
          <a:latin typeface="+mn-lt"/>
          <a:ea typeface="+mn-ea"/>
          <a:cs typeface="+mn-cs"/>
        </a:defRPr>
      </a:lvl1pPr>
      <a:lvl2pPr marL="457051" algn="l" defTabSz="914104" rtl="0" eaLnBrk="1" latinLnBrk="0" hangingPunct="1">
        <a:defRPr sz="1799" kern="1200">
          <a:solidFill>
            <a:schemeClr val="tx1"/>
          </a:solidFill>
          <a:latin typeface="+mn-lt"/>
          <a:ea typeface="+mn-ea"/>
          <a:cs typeface="+mn-cs"/>
        </a:defRPr>
      </a:lvl2pPr>
      <a:lvl3pPr marL="914104" algn="l" defTabSz="914104" rtl="0" eaLnBrk="1" latinLnBrk="0" hangingPunct="1">
        <a:defRPr sz="1799" kern="1200">
          <a:solidFill>
            <a:schemeClr val="tx1"/>
          </a:solidFill>
          <a:latin typeface="+mn-lt"/>
          <a:ea typeface="+mn-ea"/>
          <a:cs typeface="+mn-cs"/>
        </a:defRPr>
      </a:lvl3pPr>
      <a:lvl4pPr marL="1371155" algn="l" defTabSz="914104" rtl="0" eaLnBrk="1" latinLnBrk="0" hangingPunct="1">
        <a:defRPr sz="1799" kern="1200">
          <a:solidFill>
            <a:schemeClr val="tx1"/>
          </a:solidFill>
          <a:latin typeface="+mn-lt"/>
          <a:ea typeface="+mn-ea"/>
          <a:cs typeface="+mn-cs"/>
        </a:defRPr>
      </a:lvl4pPr>
      <a:lvl5pPr marL="1828205" algn="l" defTabSz="914104" rtl="0" eaLnBrk="1" latinLnBrk="0" hangingPunct="1">
        <a:defRPr sz="1799" kern="1200">
          <a:solidFill>
            <a:schemeClr val="tx1"/>
          </a:solidFill>
          <a:latin typeface="+mn-lt"/>
          <a:ea typeface="+mn-ea"/>
          <a:cs typeface="+mn-cs"/>
        </a:defRPr>
      </a:lvl5pPr>
      <a:lvl6pPr marL="2285258" algn="l" defTabSz="914104" rtl="0" eaLnBrk="1" latinLnBrk="0" hangingPunct="1">
        <a:defRPr sz="1799" kern="1200">
          <a:solidFill>
            <a:schemeClr val="tx1"/>
          </a:solidFill>
          <a:latin typeface="+mn-lt"/>
          <a:ea typeface="+mn-ea"/>
          <a:cs typeface="+mn-cs"/>
        </a:defRPr>
      </a:lvl6pPr>
      <a:lvl7pPr marL="2742309" algn="l" defTabSz="914104" rtl="0" eaLnBrk="1" latinLnBrk="0" hangingPunct="1">
        <a:defRPr sz="1799" kern="1200">
          <a:solidFill>
            <a:schemeClr val="tx1"/>
          </a:solidFill>
          <a:latin typeface="+mn-lt"/>
          <a:ea typeface="+mn-ea"/>
          <a:cs typeface="+mn-cs"/>
        </a:defRPr>
      </a:lvl7pPr>
      <a:lvl8pPr marL="3199360" algn="l" defTabSz="914104" rtl="0" eaLnBrk="1" latinLnBrk="0" hangingPunct="1">
        <a:defRPr sz="1799" kern="1200">
          <a:solidFill>
            <a:schemeClr val="tx1"/>
          </a:solidFill>
          <a:latin typeface="+mn-lt"/>
          <a:ea typeface="+mn-ea"/>
          <a:cs typeface="+mn-cs"/>
        </a:defRPr>
      </a:lvl8pPr>
      <a:lvl9pPr marL="3656411" algn="l" defTabSz="914104" rtl="0" eaLnBrk="1" latinLnBrk="0" hangingPunct="1">
        <a:defRPr sz="1799"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CC87D7B-1B7E-490F-9CCD-9035F479F90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C669A9A3-08FC-45CC-B7CA-7AE61BAD29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1CBE7E8-1B56-41AD-B49C-7088D4F9C2C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A55EE52-38AB-4E69-B6EE-832CB1655CFB}" type="datetimeFigureOut">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1-12-2022</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BD6BD3AD-670E-414E-A585-622C85D2FAB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65097F5-A083-43BE-866E-D8687F6373B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D8D14DC-7CE8-4F81-B911-B3E5F0C9F6DD}"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7642701"/>
      </p:ext>
    </p:extLst>
  </p:cSld>
  <p:clrMap bg1="lt1" tx1="dk1" bg2="lt2" tx2="dk2" accent1="accent1" accent2="accent2" accent3="accent3" accent4="accent4" accent5="accent5" accent6="accent6" hlink="hlink" folHlink="folHlink"/>
  <p:sldLayoutIdLst>
    <p:sldLayoutId id="2147484908" r:id="rId1"/>
    <p:sldLayoutId id="2147484909" r:id="rId2"/>
    <p:sldLayoutId id="2147484910" r:id="rId3"/>
    <p:sldLayoutId id="2147484911" r:id="rId4"/>
    <p:sldLayoutId id="2147484912" r:id="rId5"/>
    <p:sldLayoutId id="2147484913" r:id="rId6"/>
    <p:sldLayoutId id="2147484914" r:id="rId7"/>
    <p:sldLayoutId id="2147484915" r:id="rId8"/>
    <p:sldLayoutId id="2147484916" r:id="rId9"/>
    <p:sldLayoutId id="2147484917" r:id="rId10"/>
    <p:sldLayoutId id="214748491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02328" y="267"/>
            <a:ext cx="9975273"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302326" y="1600201"/>
            <a:ext cx="10280073"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pPr defTabSz="1219170"/>
            <a:fld id="{FCDC3EC3-F503-4593-87FA-632892E2ED25}" type="datetimeFigureOut">
              <a:rPr lang="en-US" smtClean="0">
                <a:solidFill>
                  <a:prstClr val="black">
                    <a:tint val="75000"/>
                  </a:prstClr>
                </a:solidFill>
              </a:rPr>
              <a:pPr defTabSz="1219170"/>
              <a:t>12/1/2022</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pPr defTabSz="1219170"/>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pPr defTabSz="1219170"/>
            <a:fld id="{BA3D8712-1930-4307-AAF2-C718ECB8B04A}" type="slidenum">
              <a:rPr lang="en-US" smtClean="0">
                <a:solidFill>
                  <a:prstClr val="black">
                    <a:tint val="75000"/>
                  </a:prstClr>
                </a:solidFill>
              </a:rPr>
              <a:pPr defTabSz="1219170"/>
              <a:t>‹#›</a:t>
            </a:fld>
            <a:endParaRPr lang="en-US">
              <a:solidFill>
                <a:prstClr val="black">
                  <a:tint val="75000"/>
                </a:prstClr>
              </a:solidFill>
            </a:endParaRPr>
          </a:p>
        </p:txBody>
      </p:sp>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1315701" y="273051"/>
            <a:ext cx="622041" cy="609600"/>
          </a:xfrm>
          <a:prstGeom prst="rect">
            <a:avLst/>
          </a:prstGeom>
        </p:spPr>
      </p:pic>
    </p:spTree>
    <p:extLst>
      <p:ext uri="{BB962C8B-B14F-4D97-AF65-F5344CB8AC3E}">
        <p14:creationId xmlns:p14="http://schemas.microsoft.com/office/powerpoint/2010/main" val="322933211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1219170" rtl="0" eaLnBrk="1" latinLnBrk="0" hangingPunct="1">
        <a:spcBef>
          <a:spcPct val="0"/>
        </a:spcBef>
        <a:buNone/>
        <a:defRPr sz="42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133"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1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301752" y="0"/>
            <a:ext cx="9975849"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1301752" y="1600201"/>
            <a:ext cx="10280649" cy="452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eaLnBrk="1" fontAlgn="auto" hangingPunct="1">
              <a:spcBef>
                <a:spcPts val="0"/>
              </a:spcBef>
              <a:spcAft>
                <a:spcPts val="0"/>
              </a:spcAft>
              <a:defRPr sz="1600" smtClean="0">
                <a:solidFill>
                  <a:schemeClr val="tx1">
                    <a:tint val="75000"/>
                  </a:schemeClr>
                </a:solidFill>
                <a:latin typeface="+mn-lt"/>
              </a:defRPr>
            </a:lvl1pPr>
          </a:lstStyle>
          <a:p>
            <a:pPr defTabSz="1219170">
              <a:defRPr/>
            </a:pPr>
            <a:fld id="{1B5A3471-9503-4721-85B7-AADEBCF67F0A}"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eaLnBrk="1" fontAlgn="auto" hangingPunct="1">
              <a:spcBef>
                <a:spcPts val="0"/>
              </a:spcBef>
              <a:spcAft>
                <a:spcPts val="0"/>
              </a:spcAft>
              <a:defRPr sz="1600">
                <a:solidFill>
                  <a:schemeClr val="tx1">
                    <a:tint val="75000"/>
                  </a:schemeClr>
                </a:solidFill>
                <a:latin typeface="+mn-lt"/>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eaLnBrk="1" fontAlgn="auto" hangingPunct="1">
              <a:spcBef>
                <a:spcPts val="0"/>
              </a:spcBef>
              <a:spcAft>
                <a:spcPts val="0"/>
              </a:spcAft>
              <a:defRPr sz="1600" smtClean="0">
                <a:solidFill>
                  <a:schemeClr val="tx1">
                    <a:tint val="75000"/>
                  </a:schemeClr>
                </a:solidFill>
                <a:latin typeface="+mn-lt"/>
              </a:defRPr>
            </a:lvl1pPr>
          </a:lstStyle>
          <a:p>
            <a:pPr defTabSz="1219170">
              <a:defRPr/>
            </a:pPr>
            <a:fld id="{C6385CB6-7E55-4344-A15A-CA2029A1CBAC}" type="slidenum">
              <a:rPr lang="en-US" smtClean="0">
                <a:solidFill>
                  <a:prstClr val="black">
                    <a:tint val="75000"/>
                  </a:prstClr>
                </a:solidFill>
              </a:rPr>
              <a:pPr defTabSz="1219170">
                <a:defRPr/>
              </a:pPr>
              <a:t>‹#›</a:t>
            </a:fld>
            <a:endParaRPr lang="en-US">
              <a:solidFill>
                <a:prstClr val="black">
                  <a:tint val="75000"/>
                </a:prstClr>
              </a:solidFill>
            </a:endParaRPr>
          </a:p>
        </p:txBody>
      </p:sp>
      <p:pic>
        <p:nvPicPr>
          <p:cNvPr id="1031" name="Picture 6"/>
          <p:cNvPicPr>
            <a:picLocks noChangeAspect="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11315701" y="273051"/>
            <a:ext cx="6223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2515843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Lst>
  <p:txStyles>
    <p:titleStyle>
      <a:lvl1pPr algn="l" rtl="0" fontAlgn="base">
        <a:spcBef>
          <a:spcPct val="0"/>
        </a:spcBef>
        <a:spcAft>
          <a:spcPct val="0"/>
        </a:spcAft>
        <a:defRPr sz="4267" kern="1200">
          <a:solidFill>
            <a:schemeClr val="tx1"/>
          </a:solidFill>
          <a:latin typeface="+mj-lt"/>
          <a:ea typeface="+mj-ea"/>
          <a:cs typeface="+mj-cs"/>
        </a:defRPr>
      </a:lvl1pPr>
      <a:lvl2pPr algn="l" rtl="0" fontAlgn="base">
        <a:spcBef>
          <a:spcPct val="0"/>
        </a:spcBef>
        <a:spcAft>
          <a:spcPct val="0"/>
        </a:spcAft>
        <a:defRPr sz="4267">
          <a:solidFill>
            <a:schemeClr val="tx1"/>
          </a:solidFill>
          <a:latin typeface="Calibri" panose="020F0502020204030204" pitchFamily="34" charset="0"/>
        </a:defRPr>
      </a:lvl2pPr>
      <a:lvl3pPr algn="l" rtl="0" fontAlgn="base">
        <a:spcBef>
          <a:spcPct val="0"/>
        </a:spcBef>
        <a:spcAft>
          <a:spcPct val="0"/>
        </a:spcAft>
        <a:defRPr sz="4267">
          <a:solidFill>
            <a:schemeClr val="tx1"/>
          </a:solidFill>
          <a:latin typeface="Calibri" panose="020F0502020204030204" pitchFamily="34" charset="0"/>
        </a:defRPr>
      </a:lvl3pPr>
      <a:lvl4pPr algn="l" rtl="0" fontAlgn="base">
        <a:spcBef>
          <a:spcPct val="0"/>
        </a:spcBef>
        <a:spcAft>
          <a:spcPct val="0"/>
        </a:spcAft>
        <a:defRPr sz="4267">
          <a:solidFill>
            <a:schemeClr val="tx1"/>
          </a:solidFill>
          <a:latin typeface="Calibri" panose="020F0502020204030204" pitchFamily="34" charset="0"/>
        </a:defRPr>
      </a:lvl4pPr>
      <a:lvl5pPr algn="l" rtl="0" fontAlgn="base">
        <a:spcBef>
          <a:spcPct val="0"/>
        </a:spcBef>
        <a:spcAft>
          <a:spcPct val="0"/>
        </a:spcAft>
        <a:defRPr sz="4267">
          <a:solidFill>
            <a:schemeClr val="tx1"/>
          </a:solidFill>
          <a:latin typeface="Calibri" panose="020F0502020204030204" pitchFamily="34" charset="0"/>
        </a:defRPr>
      </a:lvl5pPr>
      <a:lvl6pPr marL="609585" algn="l" rtl="0" fontAlgn="base">
        <a:spcBef>
          <a:spcPct val="0"/>
        </a:spcBef>
        <a:spcAft>
          <a:spcPct val="0"/>
        </a:spcAft>
        <a:defRPr sz="4267">
          <a:solidFill>
            <a:schemeClr val="tx1"/>
          </a:solidFill>
          <a:latin typeface="Calibri" panose="020F0502020204030204" pitchFamily="34" charset="0"/>
        </a:defRPr>
      </a:lvl6pPr>
      <a:lvl7pPr marL="1219170" algn="l" rtl="0" fontAlgn="base">
        <a:spcBef>
          <a:spcPct val="0"/>
        </a:spcBef>
        <a:spcAft>
          <a:spcPct val="0"/>
        </a:spcAft>
        <a:defRPr sz="4267">
          <a:solidFill>
            <a:schemeClr val="tx1"/>
          </a:solidFill>
          <a:latin typeface="Calibri" panose="020F0502020204030204" pitchFamily="34" charset="0"/>
        </a:defRPr>
      </a:lvl7pPr>
      <a:lvl8pPr marL="1828754" algn="l" rtl="0" fontAlgn="base">
        <a:spcBef>
          <a:spcPct val="0"/>
        </a:spcBef>
        <a:spcAft>
          <a:spcPct val="0"/>
        </a:spcAft>
        <a:defRPr sz="4267">
          <a:solidFill>
            <a:schemeClr val="tx1"/>
          </a:solidFill>
          <a:latin typeface="Calibri" panose="020F0502020204030204" pitchFamily="34" charset="0"/>
        </a:defRPr>
      </a:lvl8pPr>
      <a:lvl9pPr marL="2438339" algn="l" rtl="0" fontAlgn="base">
        <a:spcBef>
          <a:spcPct val="0"/>
        </a:spcBef>
        <a:spcAft>
          <a:spcPct val="0"/>
        </a:spcAft>
        <a:defRPr sz="4267">
          <a:solidFill>
            <a:schemeClr val="tx1"/>
          </a:solidFill>
          <a:latin typeface="Calibri" panose="020F0502020204030204" pitchFamily="34" charset="0"/>
        </a:defRPr>
      </a:lvl9pPr>
    </p:titleStyle>
    <p:bodyStyle>
      <a:lvl1pPr marL="457189" indent="-457189" algn="l"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990575" indent="-380990" algn="l" rtl="0" fontAlgn="base">
        <a:spcBef>
          <a:spcPct val="20000"/>
        </a:spcBef>
        <a:spcAft>
          <a:spcPct val="0"/>
        </a:spcAft>
        <a:buFont typeface="Arial" panose="020B0604020202020204" pitchFamily="34" charset="0"/>
        <a:buChar char="–"/>
        <a:defRPr sz="2667" kern="1200">
          <a:solidFill>
            <a:schemeClr val="tx1"/>
          </a:solidFill>
          <a:latin typeface="+mn-lt"/>
          <a:ea typeface="+mn-ea"/>
          <a:cs typeface="+mn-cs"/>
        </a:defRPr>
      </a:lvl2pPr>
      <a:lvl3pPr marL="1523962" indent="-304792" algn="l" rtl="0" fontAlgn="base">
        <a:spcBef>
          <a:spcPct val="20000"/>
        </a:spcBef>
        <a:spcAft>
          <a:spcPct val="0"/>
        </a:spcAft>
        <a:buFont typeface="Arial" panose="020B0604020202020204" pitchFamily="34" charset="0"/>
        <a:buChar char="•"/>
        <a:defRPr kern="1200">
          <a:solidFill>
            <a:schemeClr val="tx1"/>
          </a:solidFill>
          <a:latin typeface="+mn-lt"/>
          <a:ea typeface="+mn-ea"/>
          <a:cs typeface="+mn-cs"/>
        </a:defRPr>
      </a:lvl3pPr>
      <a:lvl4pPr marL="2133547" indent="-304792" algn="l" rtl="0" fontAlgn="base">
        <a:spcBef>
          <a:spcPct val="20000"/>
        </a:spcBef>
        <a:spcAft>
          <a:spcPct val="0"/>
        </a:spcAft>
        <a:buFont typeface="Arial" panose="020B0604020202020204" pitchFamily="34" charset="0"/>
        <a:buChar char="–"/>
        <a:defRPr sz="2133" kern="1200">
          <a:solidFill>
            <a:schemeClr val="tx1"/>
          </a:solidFill>
          <a:latin typeface="+mn-lt"/>
          <a:ea typeface="+mn-ea"/>
          <a:cs typeface="+mn-cs"/>
        </a:defRPr>
      </a:lvl4pPr>
      <a:lvl5pPr marL="2743131" indent="-304792" algn="l" rtl="0" fontAlgn="base">
        <a:spcBef>
          <a:spcPct val="20000"/>
        </a:spcBef>
        <a:spcAft>
          <a:spcPct val="0"/>
        </a:spcAft>
        <a:buFont typeface="Arial" panose="020B0604020202020204" pitchFamily="34" charset="0"/>
        <a:buChar char="»"/>
        <a:defRPr sz="21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dirty="0"/>
              <a:t>Click to edit Master title</a:t>
            </a:r>
          </a:p>
        </p:txBody>
      </p:sp>
      <p:sp>
        <p:nvSpPr>
          <p:cNvPr id="13" name="Rectangle 3"/>
          <p:cNvSpPr>
            <a:spLocks noGrp="1" noChangeArrowheads="1"/>
          </p:cNvSpPr>
          <p:nvPr>
            <p:ph type="body" idx="1"/>
          </p:nvPr>
        </p:nvSpPr>
        <p:spPr bwMode="auto">
          <a:xfrm>
            <a:off x="431075" y="1371601"/>
            <a:ext cx="11051176" cy="4950817"/>
          </a:xfrm>
          <a:prstGeom prst="rect">
            <a:avLst/>
          </a:prstGeom>
          <a:noFill/>
          <a:ln w="9525">
            <a:noFill/>
            <a:miter lim="800000"/>
          </a:ln>
        </p:spPr>
        <p:txBody>
          <a:bodyPr vert="horz" wrap="square" lIns="91429" tIns="45715" rIns="91429" bIns="45715" numCol="1" anchor="t" anchorCtr="0" compatLnSpc="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lide Number Placeholder 1"/>
          <p:cNvSpPr>
            <a:spLocks noGrp="1"/>
          </p:cNvSpPr>
          <p:nvPr>
            <p:ph type="sldNum" sz="quarter" idx="4"/>
          </p:nvPr>
        </p:nvSpPr>
        <p:spPr>
          <a:xfrm>
            <a:off x="203200" y="6484921"/>
            <a:ext cx="508000" cy="365124"/>
          </a:xfrm>
          <a:prstGeom prst="rect">
            <a:avLst/>
          </a:prstGeom>
        </p:spPr>
        <p:txBody>
          <a:bodyPr vert="horz" lIns="90566" tIns="45271" rIns="90566" bIns="45271" rtlCol="0" anchor="ctr"/>
          <a:lstStyle>
            <a:lvl1pPr algn="r">
              <a:defRPr sz="1200">
                <a:solidFill>
                  <a:schemeClr val="tx1"/>
                </a:solidFill>
              </a:defRPr>
            </a:lvl1pPr>
          </a:lstStyle>
          <a:p>
            <a:pPr defTabSz="905216">
              <a:defRPr/>
            </a:pPr>
            <a:fld id="{7422662C-4EA5-40CB-AF95-82CA1EC35BEA}" type="slidenum">
              <a:rPr lang="en-US" smtClean="0">
                <a:solidFill>
                  <a:srgbClr val="000000"/>
                </a:solidFill>
                <a:latin typeface="Arial" panose="020B0604020202020204"/>
              </a:rPr>
              <a:pPr defTabSz="905216">
                <a:defRPr/>
              </a:pPr>
              <a:t>‹#›</a:t>
            </a:fld>
            <a:endParaRPr lang="en-US" dirty="0">
              <a:solidFill>
                <a:srgbClr val="000000"/>
              </a:solidFill>
              <a:latin typeface="Arial" panose="020B0604020202020204"/>
            </a:endParaRPr>
          </a:p>
        </p:txBody>
      </p:sp>
      <p:pic>
        <p:nvPicPr>
          <p:cNvPr id="7" name="Picture 6">
            <a:extLst>
              <a:ext uri="{FF2B5EF4-FFF2-40B4-BE49-F238E27FC236}">
                <a16:creationId xmlns:a16="http://schemas.microsoft.com/office/drawing/2014/main" id="{3FAB1B24-7340-46CA-AB5B-1F593ADB7AD8}"/>
              </a:ext>
            </a:extLst>
          </p:cNvPr>
          <p:cNvPicPr>
            <a:picLocks noChangeAspect="1"/>
          </p:cNvPicPr>
          <p:nvPr userDrawn="1"/>
        </p:nvPicPr>
        <p:blipFill>
          <a:blip r:embed="rId25">
            <a:extLst>
              <a:ext uri="{28A0092B-C50C-407E-A947-70E740481C1C}">
                <a14:useLocalDpi xmlns:a14="http://schemas.microsoft.com/office/drawing/2010/main"/>
              </a:ext>
            </a:extLst>
          </a:blip>
          <a:stretch>
            <a:fillRect/>
          </a:stretch>
        </p:blipFill>
        <p:spPr>
          <a:xfrm>
            <a:off x="11437418" y="81578"/>
            <a:ext cx="621877" cy="621879"/>
          </a:xfrm>
          <a:prstGeom prst="rect">
            <a:avLst/>
          </a:prstGeom>
        </p:spPr>
      </p:pic>
    </p:spTree>
    <p:extLst>
      <p:ext uri="{BB962C8B-B14F-4D97-AF65-F5344CB8AC3E}">
        <p14:creationId xmlns:p14="http://schemas.microsoft.com/office/powerpoint/2010/main" val="1248723603"/>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4919" r:id="rId4"/>
    <p:sldLayoutId id="2147483815" r:id="rId5"/>
    <p:sldLayoutId id="2147483816" r:id="rId6"/>
    <p:sldLayoutId id="2147483817" r:id="rId7"/>
    <p:sldLayoutId id="2147483818" r:id="rId8"/>
    <p:sldLayoutId id="2147483820" r:id="rId9"/>
    <p:sldLayoutId id="2147483821" r:id="rId10"/>
    <p:sldLayoutId id="2147483822" r:id="rId11"/>
    <p:sldLayoutId id="2147483823" r:id="rId12"/>
    <p:sldLayoutId id="2147483824" r:id="rId13"/>
    <p:sldLayoutId id="2147483825" r:id="rId14"/>
    <p:sldLayoutId id="2147483827" r:id="rId15"/>
    <p:sldLayoutId id="2147483829" r:id="rId16"/>
    <p:sldLayoutId id="2147483830" r:id="rId17"/>
    <p:sldLayoutId id="2147483831" r:id="rId18"/>
    <p:sldLayoutId id="2147483832" r:id="rId19"/>
    <p:sldLayoutId id="2147483844" r:id="rId20"/>
    <p:sldLayoutId id="2147483878" r:id="rId21"/>
    <p:sldLayoutId id="2147483889" r:id="rId22"/>
    <p:sldLayoutId id="2147483890" r:id="rId23"/>
  </p:sldLayoutIdLst>
  <p:txStyles>
    <p:titleStyle>
      <a:lvl1pPr algn="l" defTabSz="914104" rtl="0" eaLnBrk="1" latinLnBrk="0" hangingPunct="1">
        <a:lnSpc>
          <a:spcPct val="90000"/>
        </a:lnSpc>
        <a:spcBef>
          <a:spcPct val="0"/>
        </a:spcBef>
        <a:buNone/>
        <a:defRPr sz="3599" kern="1200">
          <a:solidFill>
            <a:schemeClr val="tx1"/>
          </a:solidFill>
          <a:latin typeface="+mn-lt"/>
          <a:ea typeface="+mj-ea"/>
          <a:cs typeface="+mj-cs"/>
        </a:defRPr>
      </a:lvl1pPr>
    </p:titleStyle>
    <p:bodyStyle>
      <a:lvl1pPr marL="228525" indent="-228525" algn="l" defTabSz="914104" rtl="0" eaLnBrk="1" latinLnBrk="0" hangingPunct="1">
        <a:lnSpc>
          <a:spcPct val="90000"/>
        </a:lnSpc>
        <a:spcBef>
          <a:spcPts val="1000"/>
        </a:spcBef>
        <a:buFont typeface="Arial" panose="020B0604020202020204" pitchFamily="34" charset="0"/>
        <a:buChar char="•"/>
        <a:defRPr sz="2399" kern="1200">
          <a:solidFill>
            <a:schemeClr val="tx1"/>
          </a:solidFill>
          <a:latin typeface="+mn-lt"/>
          <a:ea typeface="+mn-ea"/>
          <a:cs typeface="+mn-cs"/>
        </a:defRPr>
      </a:lvl1pPr>
      <a:lvl2pPr marL="685578" indent="-228525" algn="l" defTabSz="914104"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29" indent="-228525" algn="l" defTabSz="914104"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3pPr>
      <a:lvl4pPr marL="1599680" indent="-228525" algn="l" defTabSz="914104"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4pPr>
      <a:lvl5pPr marL="2056731" indent="-228525" algn="l" defTabSz="914104"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5pPr>
      <a:lvl6pPr marL="2513784"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834"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885"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938"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04" rtl="0" eaLnBrk="1" latinLnBrk="0" hangingPunct="1">
        <a:defRPr sz="1799" kern="1200">
          <a:solidFill>
            <a:schemeClr val="tx1"/>
          </a:solidFill>
          <a:latin typeface="+mn-lt"/>
          <a:ea typeface="+mn-ea"/>
          <a:cs typeface="+mn-cs"/>
        </a:defRPr>
      </a:lvl1pPr>
      <a:lvl2pPr marL="457051" algn="l" defTabSz="914104" rtl="0" eaLnBrk="1" latinLnBrk="0" hangingPunct="1">
        <a:defRPr sz="1799" kern="1200">
          <a:solidFill>
            <a:schemeClr val="tx1"/>
          </a:solidFill>
          <a:latin typeface="+mn-lt"/>
          <a:ea typeface="+mn-ea"/>
          <a:cs typeface="+mn-cs"/>
        </a:defRPr>
      </a:lvl2pPr>
      <a:lvl3pPr marL="914104" algn="l" defTabSz="914104" rtl="0" eaLnBrk="1" latinLnBrk="0" hangingPunct="1">
        <a:defRPr sz="1799" kern="1200">
          <a:solidFill>
            <a:schemeClr val="tx1"/>
          </a:solidFill>
          <a:latin typeface="+mn-lt"/>
          <a:ea typeface="+mn-ea"/>
          <a:cs typeface="+mn-cs"/>
        </a:defRPr>
      </a:lvl3pPr>
      <a:lvl4pPr marL="1371155" algn="l" defTabSz="914104" rtl="0" eaLnBrk="1" latinLnBrk="0" hangingPunct="1">
        <a:defRPr sz="1799" kern="1200">
          <a:solidFill>
            <a:schemeClr val="tx1"/>
          </a:solidFill>
          <a:latin typeface="+mn-lt"/>
          <a:ea typeface="+mn-ea"/>
          <a:cs typeface="+mn-cs"/>
        </a:defRPr>
      </a:lvl4pPr>
      <a:lvl5pPr marL="1828205" algn="l" defTabSz="914104" rtl="0" eaLnBrk="1" latinLnBrk="0" hangingPunct="1">
        <a:defRPr sz="1799" kern="1200">
          <a:solidFill>
            <a:schemeClr val="tx1"/>
          </a:solidFill>
          <a:latin typeface="+mn-lt"/>
          <a:ea typeface="+mn-ea"/>
          <a:cs typeface="+mn-cs"/>
        </a:defRPr>
      </a:lvl5pPr>
      <a:lvl6pPr marL="2285258" algn="l" defTabSz="914104" rtl="0" eaLnBrk="1" latinLnBrk="0" hangingPunct="1">
        <a:defRPr sz="1799" kern="1200">
          <a:solidFill>
            <a:schemeClr val="tx1"/>
          </a:solidFill>
          <a:latin typeface="+mn-lt"/>
          <a:ea typeface="+mn-ea"/>
          <a:cs typeface="+mn-cs"/>
        </a:defRPr>
      </a:lvl6pPr>
      <a:lvl7pPr marL="2742309" algn="l" defTabSz="914104" rtl="0" eaLnBrk="1" latinLnBrk="0" hangingPunct="1">
        <a:defRPr sz="1799" kern="1200">
          <a:solidFill>
            <a:schemeClr val="tx1"/>
          </a:solidFill>
          <a:latin typeface="+mn-lt"/>
          <a:ea typeface="+mn-ea"/>
          <a:cs typeface="+mn-cs"/>
        </a:defRPr>
      </a:lvl7pPr>
      <a:lvl8pPr marL="3199360" algn="l" defTabSz="914104" rtl="0" eaLnBrk="1" latinLnBrk="0" hangingPunct="1">
        <a:defRPr sz="1799" kern="1200">
          <a:solidFill>
            <a:schemeClr val="tx1"/>
          </a:solidFill>
          <a:latin typeface="+mn-lt"/>
          <a:ea typeface="+mn-ea"/>
          <a:cs typeface="+mn-cs"/>
        </a:defRPr>
      </a:lvl8pPr>
      <a:lvl9pPr marL="3656411" algn="l" defTabSz="914104"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838200" y="366185"/>
            <a:ext cx="10515600" cy="1325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1"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838200" y="6356351"/>
            <a:ext cx="2743200" cy="366183"/>
          </a:xfrm>
          <a:prstGeom prst="rect">
            <a:avLst/>
          </a:prstGeom>
        </p:spPr>
        <p:txBody>
          <a:bodyPr vert="horz" lIns="91440" tIns="45720" rIns="91440" bIns="45720" rtlCol="0" anchor="ctr"/>
          <a:lstStyle>
            <a:lvl1pPr algn="l" eaLnBrk="1" fontAlgn="auto" hangingPunct="1">
              <a:spcBef>
                <a:spcPts val="0"/>
              </a:spcBef>
              <a:spcAft>
                <a:spcPts val="0"/>
              </a:spcAft>
              <a:defRPr sz="1600" smtClean="0">
                <a:solidFill>
                  <a:schemeClr val="tx1">
                    <a:tint val="75000"/>
                  </a:schemeClr>
                </a:solidFill>
                <a:latin typeface="+mn-lt"/>
              </a:defRPr>
            </a:lvl1pPr>
          </a:lstStyle>
          <a:p>
            <a:pPr defTabSz="1219170">
              <a:defRPr/>
            </a:pPr>
            <a:fld id="{F21E04AB-F868-4FF9-8382-27156EAA2DC1}" type="datetimeFigureOut">
              <a:rPr lang="en-US" smtClean="0">
                <a:solidFill>
                  <a:prstClr val="black">
                    <a:tint val="75000"/>
                  </a:prstClr>
                </a:solidFill>
              </a:rPr>
              <a:pPr defTabSz="1219170">
                <a:defRPr/>
              </a:pPr>
              <a:t>12/1/2022</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1"/>
            <a:ext cx="4114800" cy="366183"/>
          </a:xfrm>
          <a:prstGeom prst="rect">
            <a:avLst/>
          </a:prstGeom>
        </p:spPr>
        <p:txBody>
          <a:bodyPr vert="horz" lIns="91440" tIns="45720" rIns="91440" bIns="45720" rtlCol="0" anchor="ctr"/>
          <a:lstStyle>
            <a:lvl1pPr algn="ctr" eaLnBrk="1" fontAlgn="auto" hangingPunct="1">
              <a:spcBef>
                <a:spcPts val="0"/>
              </a:spcBef>
              <a:spcAft>
                <a:spcPts val="0"/>
              </a:spcAft>
              <a:defRPr sz="1600">
                <a:solidFill>
                  <a:schemeClr val="tx1">
                    <a:tint val="75000"/>
                  </a:schemeClr>
                </a:solidFill>
                <a:latin typeface="+mn-lt"/>
              </a:defRPr>
            </a:lvl1pPr>
          </a:lstStyle>
          <a:p>
            <a:pPr defTabSz="121917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6183"/>
          </a:xfrm>
          <a:prstGeom prst="rect">
            <a:avLst/>
          </a:prstGeom>
        </p:spPr>
        <p:txBody>
          <a:bodyPr vert="horz" lIns="91440" tIns="45720" rIns="91440" bIns="45720" rtlCol="0" anchor="ctr"/>
          <a:lstStyle>
            <a:lvl1pPr algn="r" eaLnBrk="1" fontAlgn="auto" hangingPunct="1">
              <a:spcBef>
                <a:spcPts val="0"/>
              </a:spcBef>
              <a:spcAft>
                <a:spcPts val="0"/>
              </a:spcAft>
              <a:defRPr sz="1600" smtClean="0">
                <a:solidFill>
                  <a:schemeClr val="tx1">
                    <a:tint val="75000"/>
                  </a:schemeClr>
                </a:solidFill>
                <a:latin typeface="+mn-lt"/>
              </a:defRPr>
            </a:lvl1pPr>
          </a:lstStyle>
          <a:p>
            <a:pPr defTabSz="1219170">
              <a:defRPr/>
            </a:pPr>
            <a:fld id="{20E61C44-0B08-4FF6-9C7D-28BD5E6DD90A}" type="slidenum">
              <a:rPr lang="en-US" smtClean="0">
                <a:solidFill>
                  <a:prstClr val="black">
                    <a:tint val="75000"/>
                  </a:prstClr>
                </a:solidFill>
              </a:rPr>
              <a:pPr defTabSz="1219170">
                <a:defRPr/>
              </a:pPr>
              <a:t>‹#›</a:t>
            </a:fld>
            <a:endParaRPr lang="en-US">
              <a:solidFill>
                <a:prstClr val="black">
                  <a:tint val="75000"/>
                </a:prstClr>
              </a:solidFill>
            </a:endParaRPr>
          </a:p>
        </p:txBody>
      </p:sp>
    </p:spTree>
    <p:extLst>
      <p:ext uri="{BB962C8B-B14F-4D97-AF65-F5344CB8AC3E}">
        <p14:creationId xmlns:p14="http://schemas.microsoft.com/office/powerpoint/2010/main" val="3885903128"/>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Lst>
  <p:txStyles>
    <p:titleStyle>
      <a:lvl1pPr algn="l" rtl="0" fontAlgn="base">
        <a:lnSpc>
          <a:spcPct val="90000"/>
        </a:lnSpc>
        <a:spcBef>
          <a:spcPct val="0"/>
        </a:spcBef>
        <a:spcAft>
          <a:spcPct val="0"/>
        </a:spcAft>
        <a:defRPr sz="5867" kern="1200">
          <a:solidFill>
            <a:schemeClr val="tx1"/>
          </a:solidFill>
          <a:latin typeface="+mj-lt"/>
          <a:ea typeface="+mj-ea"/>
          <a:cs typeface="+mj-cs"/>
        </a:defRPr>
      </a:lvl1pPr>
      <a:lvl2pPr algn="l" rtl="0" fontAlgn="base">
        <a:lnSpc>
          <a:spcPct val="90000"/>
        </a:lnSpc>
        <a:spcBef>
          <a:spcPct val="0"/>
        </a:spcBef>
        <a:spcAft>
          <a:spcPct val="0"/>
        </a:spcAft>
        <a:defRPr sz="5867">
          <a:solidFill>
            <a:schemeClr val="tx1"/>
          </a:solidFill>
          <a:latin typeface="Calibri Light" panose="020F0302020204030204" pitchFamily="34" charset="0"/>
        </a:defRPr>
      </a:lvl2pPr>
      <a:lvl3pPr algn="l" rtl="0" fontAlgn="base">
        <a:lnSpc>
          <a:spcPct val="90000"/>
        </a:lnSpc>
        <a:spcBef>
          <a:spcPct val="0"/>
        </a:spcBef>
        <a:spcAft>
          <a:spcPct val="0"/>
        </a:spcAft>
        <a:defRPr sz="5867">
          <a:solidFill>
            <a:schemeClr val="tx1"/>
          </a:solidFill>
          <a:latin typeface="Calibri Light" panose="020F0302020204030204" pitchFamily="34" charset="0"/>
        </a:defRPr>
      </a:lvl3pPr>
      <a:lvl4pPr algn="l" rtl="0" fontAlgn="base">
        <a:lnSpc>
          <a:spcPct val="90000"/>
        </a:lnSpc>
        <a:spcBef>
          <a:spcPct val="0"/>
        </a:spcBef>
        <a:spcAft>
          <a:spcPct val="0"/>
        </a:spcAft>
        <a:defRPr sz="5867">
          <a:solidFill>
            <a:schemeClr val="tx1"/>
          </a:solidFill>
          <a:latin typeface="Calibri Light" panose="020F0302020204030204" pitchFamily="34" charset="0"/>
        </a:defRPr>
      </a:lvl4pPr>
      <a:lvl5pPr algn="l" rtl="0" fontAlgn="base">
        <a:lnSpc>
          <a:spcPct val="90000"/>
        </a:lnSpc>
        <a:spcBef>
          <a:spcPct val="0"/>
        </a:spcBef>
        <a:spcAft>
          <a:spcPct val="0"/>
        </a:spcAft>
        <a:defRPr sz="5867">
          <a:solidFill>
            <a:schemeClr val="tx1"/>
          </a:solidFill>
          <a:latin typeface="Calibri Light" panose="020F0302020204030204" pitchFamily="34" charset="0"/>
        </a:defRPr>
      </a:lvl5pPr>
      <a:lvl6pPr marL="609585" algn="l" rtl="0" fontAlgn="base">
        <a:lnSpc>
          <a:spcPct val="90000"/>
        </a:lnSpc>
        <a:spcBef>
          <a:spcPct val="0"/>
        </a:spcBef>
        <a:spcAft>
          <a:spcPct val="0"/>
        </a:spcAft>
        <a:defRPr sz="5867">
          <a:solidFill>
            <a:schemeClr val="tx1"/>
          </a:solidFill>
          <a:latin typeface="Calibri Light" panose="020F0302020204030204" pitchFamily="34" charset="0"/>
        </a:defRPr>
      </a:lvl6pPr>
      <a:lvl7pPr marL="1219170" algn="l" rtl="0" fontAlgn="base">
        <a:lnSpc>
          <a:spcPct val="90000"/>
        </a:lnSpc>
        <a:spcBef>
          <a:spcPct val="0"/>
        </a:spcBef>
        <a:spcAft>
          <a:spcPct val="0"/>
        </a:spcAft>
        <a:defRPr sz="5867">
          <a:solidFill>
            <a:schemeClr val="tx1"/>
          </a:solidFill>
          <a:latin typeface="Calibri Light" panose="020F0302020204030204" pitchFamily="34" charset="0"/>
        </a:defRPr>
      </a:lvl7pPr>
      <a:lvl8pPr marL="1828754" algn="l" rtl="0" fontAlgn="base">
        <a:lnSpc>
          <a:spcPct val="90000"/>
        </a:lnSpc>
        <a:spcBef>
          <a:spcPct val="0"/>
        </a:spcBef>
        <a:spcAft>
          <a:spcPct val="0"/>
        </a:spcAft>
        <a:defRPr sz="5867">
          <a:solidFill>
            <a:schemeClr val="tx1"/>
          </a:solidFill>
          <a:latin typeface="Calibri Light" panose="020F0302020204030204" pitchFamily="34" charset="0"/>
        </a:defRPr>
      </a:lvl8pPr>
      <a:lvl9pPr marL="2438339" algn="l" rtl="0" fontAlgn="base">
        <a:lnSpc>
          <a:spcPct val="90000"/>
        </a:lnSpc>
        <a:spcBef>
          <a:spcPct val="0"/>
        </a:spcBef>
        <a:spcAft>
          <a:spcPct val="0"/>
        </a:spcAft>
        <a:defRPr sz="5867">
          <a:solidFill>
            <a:schemeClr val="tx1"/>
          </a:solidFill>
          <a:latin typeface="Calibri Light" panose="020F0302020204030204" pitchFamily="34" charset="0"/>
        </a:defRPr>
      </a:lvl9pPr>
    </p:titleStyle>
    <p:bodyStyle>
      <a:lvl1pPr marL="304792" indent="-304792" algn="l" rtl="0" fontAlgn="base">
        <a:lnSpc>
          <a:spcPct val="90000"/>
        </a:lnSpc>
        <a:spcBef>
          <a:spcPts val="1333"/>
        </a:spcBef>
        <a:spcAft>
          <a:spcPct val="0"/>
        </a:spcAft>
        <a:buFont typeface="Arial" panose="020B0604020202020204" pitchFamily="34" charset="0"/>
        <a:buChar char="•"/>
        <a:defRPr sz="3733" kern="1200">
          <a:solidFill>
            <a:schemeClr val="tx1"/>
          </a:solidFill>
          <a:latin typeface="+mn-lt"/>
          <a:ea typeface="+mn-ea"/>
          <a:cs typeface="+mn-cs"/>
        </a:defRPr>
      </a:lvl1pPr>
      <a:lvl2pPr marL="914377" indent="-304792" algn="l" rtl="0" fontAlgn="base">
        <a:lnSpc>
          <a:spcPct val="90000"/>
        </a:lnSpc>
        <a:spcBef>
          <a:spcPts val="667"/>
        </a:spcBef>
        <a:spcAft>
          <a:spcPct val="0"/>
        </a:spcAft>
        <a:buFont typeface="Arial" panose="020B0604020202020204" pitchFamily="34" charset="0"/>
        <a:buChar char="•"/>
        <a:defRPr sz="3200" kern="1200">
          <a:solidFill>
            <a:schemeClr val="tx1"/>
          </a:solidFill>
          <a:latin typeface="+mn-lt"/>
          <a:ea typeface="+mn-ea"/>
          <a:cs typeface="+mn-cs"/>
        </a:defRPr>
      </a:lvl2pPr>
      <a:lvl3pPr marL="1523962" indent="-304792" algn="l" rtl="0" fontAlgn="base">
        <a:lnSpc>
          <a:spcPct val="90000"/>
        </a:lnSpc>
        <a:spcBef>
          <a:spcPts val="667"/>
        </a:spcBef>
        <a:spcAft>
          <a:spcPct val="0"/>
        </a:spcAft>
        <a:buFont typeface="Arial" panose="020B0604020202020204" pitchFamily="34" charset="0"/>
        <a:buChar char="•"/>
        <a:defRPr sz="2667" kern="1200">
          <a:solidFill>
            <a:schemeClr val="tx1"/>
          </a:solidFill>
          <a:latin typeface="+mn-lt"/>
          <a:ea typeface="+mn-ea"/>
          <a:cs typeface="+mn-cs"/>
        </a:defRPr>
      </a:lvl3pPr>
      <a:lvl4pPr marL="2133547" indent="-304792" algn="l" rtl="0" fontAlgn="base">
        <a:lnSpc>
          <a:spcPct val="90000"/>
        </a:lnSpc>
        <a:spcBef>
          <a:spcPts val="667"/>
        </a:spcBef>
        <a:spcAft>
          <a:spcPct val="0"/>
        </a:spcAft>
        <a:buFont typeface="Arial" panose="020B0604020202020204" pitchFamily="34" charset="0"/>
        <a:buChar char="•"/>
        <a:defRPr kern="1200">
          <a:solidFill>
            <a:schemeClr val="tx1"/>
          </a:solidFill>
          <a:latin typeface="+mn-lt"/>
          <a:ea typeface="+mn-ea"/>
          <a:cs typeface="+mn-cs"/>
        </a:defRPr>
      </a:lvl4pPr>
      <a:lvl5pPr marL="2743131" indent="-304792" algn="l" rtl="0" fontAlgn="base">
        <a:lnSpc>
          <a:spcPct val="90000"/>
        </a:lnSpc>
        <a:spcBef>
          <a:spcPts val="667"/>
        </a:spcBef>
        <a:spcAft>
          <a:spcPct val="0"/>
        </a:spcAft>
        <a:buFont typeface="Arial" panose="020B0604020202020204" pitchFamily="34" charset="0"/>
        <a:buChar char="•"/>
        <a:defRPr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dirty="0"/>
              <a:t>Click to edit Master title</a:t>
            </a:r>
          </a:p>
        </p:txBody>
      </p:sp>
      <p:sp>
        <p:nvSpPr>
          <p:cNvPr id="13" name="Rectangle 3"/>
          <p:cNvSpPr>
            <a:spLocks noGrp="1" noChangeArrowheads="1"/>
          </p:cNvSpPr>
          <p:nvPr>
            <p:ph type="body" idx="1"/>
          </p:nvPr>
        </p:nvSpPr>
        <p:spPr bwMode="auto">
          <a:xfrm>
            <a:off x="431075" y="1371601"/>
            <a:ext cx="11051176" cy="4950817"/>
          </a:xfrm>
          <a:prstGeom prst="rect">
            <a:avLst/>
          </a:prstGeom>
          <a:noFill/>
          <a:ln w="9525">
            <a:noFill/>
            <a:miter lim="800000"/>
          </a:ln>
        </p:spPr>
        <p:txBody>
          <a:bodyPr vert="horz" wrap="square" lIns="91429" tIns="45715" rIns="91429" bIns="45715" numCol="1" anchor="t" anchorCtr="0" compatLnSpc="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lide Number Placeholder 1"/>
          <p:cNvSpPr>
            <a:spLocks noGrp="1"/>
          </p:cNvSpPr>
          <p:nvPr>
            <p:ph type="sldNum" sz="quarter" idx="4"/>
          </p:nvPr>
        </p:nvSpPr>
        <p:spPr>
          <a:xfrm>
            <a:off x="203200" y="6484920"/>
            <a:ext cx="508000" cy="365124"/>
          </a:xfrm>
          <a:prstGeom prst="rect">
            <a:avLst/>
          </a:prstGeom>
        </p:spPr>
        <p:txBody>
          <a:bodyPr vert="horz" lIns="90566" tIns="45271" rIns="90566" bIns="45271" rtlCol="0" anchor="ctr"/>
          <a:lstStyle>
            <a:lvl1pPr algn="r">
              <a:defRPr sz="1200">
                <a:solidFill>
                  <a:schemeClr val="tx1"/>
                </a:solidFill>
              </a:defRPr>
            </a:lvl1pPr>
          </a:lstStyle>
          <a:p>
            <a:pPr defTabSz="905238">
              <a:defRPr/>
            </a:pPr>
            <a:fld id="{7422662C-4EA5-40CB-AF95-82CA1EC35BEA}" type="slidenum">
              <a:rPr lang="en-US" smtClean="0">
                <a:solidFill>
                  <a:srgbClr val="000000"/>
                </a:solidFill>
                <a:latin typeface="Arial" panose="020B0604020202020204"/>
              </a:rPr>
              <a:pPr defTabSz="905238">
                <a:defRPr/>
              </a:pPr>
              <a:t>‹#›</a:t>
            </a:fld>
            <a:endParaRPr lang="en-US" dirty="0">
              <a:solidFill>
                <a:srgbClr val="000000"/>
              </a:solidFill>
              <a:latin typeface="Arial" panose="020B0604020202020204"/>
            </a:endParaRPr>
          </a:p>
        </p:txBody>
      </p:sp>
      <p:pic>
        <p:nvPicPr>
          <p:cNvPr id="7" name="Picture 6">
            <a:extLst>
              <a:ext uri="{FF2B5EF4-FFF2-40B4-BE49-F238E27FC236}">
                <a16:creationId xmlns:a16="http://schemas.microsoft.com/office/drawing/2014/main" id="{3FAB1B24-7340-46CA-AB5B-1F593ADB7AD8}"/>
              </a:ext>
            </a:extLst>
          </p:cNvPr>
          <p:cNvPicPr>
            <a:picLocks noChangeAspect="1"/>
          </p:cNvPicPr>
          <p:nvPr userDrawn="1"/>
        </p:nvPicPr>
        <p:blipFill>
          <a:blip r:embed="rId27">
            <a:extLst>
              <a:ext uri="{28A0092B-C50C-407E-A947-70E740481C1C}">
                <a14:useLocalDpi xmlns:a14="http://schemas.microsoft.com/office/drawing/2010/main"/>
              </a:ext>
            </a:extLst>
          </a:blip>
          <a:stretch>
            <a:fillRect/>
          </a:stretch>
        </p:blipFill>
        <p:spPr>
          <a:xfrm>
            <a:off x="11437416" y="81577"/>
            <a:ext cx="621878" cy="621878"/>
          </a:xfrm>
          <a:prstGeom prst="rect">
            <a:avLst/>
          </a:prstGeom>
        </p:spPr>
      </p:pic>
    </p:spTree>
    <p:extLst>
      <p:ext uri="{BB962C8B-B14F-4D97-AF65-F5344CB8AC3E}">
        <p14:creationId xmlns:p14="http://schemas.microsoft.com/office/powerpoint/2010/main" val="327945131"/>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 id="2147483984" r:id="rId12"/>
    <p:sldLayoutId id="2147483985" r:id="rId13"/>
    <p:sldLayoutId id="2147483986" r:id="rId14"/>
    <p:sldLayoutId id="2147483987" r:id="rId15"/>
    <p:sldLayoutId id="2147483989" r:id="rId16"/>
    <p:sldLayoutId id="2147483991" r:id="rId17"/>
    <p:sldLayoutId id="2147483992" r:id="rId18"/>
    <p:sldLayoutId id="2147483993" r:id="rId19"/>
    <p:sldLayoutId id="2147483994" r:id="rId20"/>
    <p:sldLayoutId id="2147484006" r:id="rId21"/>
    <p:sldLayoutId id="2147484040" r:id="rId22"/>
    <p:sldLayoutId id="2147484051" r:id="rId23"/>
    <p:sldLayoutId id="2147484052" r:id="rId24"/>
    <p:sldLayoutId id="2147483814" r:id="rId25"/>
  </p:sldLayoutIdLst>
  <p:txStyles>
    <p:titleStyle>
      <a:lvl1pPr algn="l" defTabSz="914126" rtl="0" eaLnBrk="1" latinLnBrk="0" hangingPunct="1">
        <a:lnSpc>
          <a:spcPct val="90000"/>
        </a:lnSpc>
        <a:spcBef>
          <a:spcPct val="0"/>
        </a:spcBef>
        <a:buNone/>
        <a:defRPr sz="3599" kern="1200">
          <a:solidFill>
            <a:schemeClr val="tx1"/>
          </a:solidFill>
          <a:latin typeface="+mn-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3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301752" y="0"/>
            <a:ext cx="9975849"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1301752" y="1600201"/>
            <a:ext cx="10280649" cy="452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eaLnBrk="1" fontAlgn="auto" hangingPunct="1">
              <a:spcBef>
                <a:spcPts val="0"/>
              </a:spcBef>
              <a:spcAft>
                <a:spcPts val="0"/>
              </a:spcAft>
              <a:defRPr sz="1600" smtClean="0">
                <a:solidFill>
                  <a:schemeClr val="tx1">
                    <a:tint val="75000"/>
                  </a:schemeClr>
                </a:solidFill>
                <a:latin typeface="+mn-lt"/>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fld id="{1B5A3471-9503-4721-85B7-AADEBCF67F0A}" type="datetimeFigureOut">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2/1/2022</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eaLnBrk="1" fontAlgn="auto" hangingPunct="1">
              <a:spcBef>
                <a:spcPts val="0"/>
              </a:spcBef>
              <a:spcAft>
                <a:spcPts val="0"/>
              </a:spcAft>
              <a:defRPr sz="1600">
                <a:solidFill>
                  <a:schemeClr val="tx1">
                    <a:tint val="75000"/>
                  </a:schemeClr>
                </a:solidFill>
                <a:latin typeface="+mn-lt"/>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eaLnBrk="1" fontAlgn="auto" hangingPunct="1">
              <a:spcBef>
                <a:spcPts val="0"/>
              </a:spcBef>
              <a:spcAft>
                <a:spcPts val="0"/>
              </a:spcAft>
              <a:defRPr sz="1600" smtClean="0">
                <a:solidFill>
                  <a:schemeClr val="tx1">
                    <a:tint val="75000"/>
                  </a:schemeClr>
                </a:solidFill>
                <a:latin typeface="+mn-lt"/>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C6385CB6-7E55-4344-A15A-CA2029A1CBAC}" type="slidenum">
              <a:rPr kumimoji="0" lang="en-US" sz="16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1031" name="Picture 6"/>
          <p:cNvPicPr>
            <a:picLocks noChangeAspect="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11315701" y="273051"/>
            <a:ext cx="6223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84581635"/>
      </p:ext>
    </p:extLst>
  </p:cSld>
  <p:clrMap bg1="lt1" tx1="dk1" bg2="lt2" tx2="dk2" accent1="accent1" accent2="accent2" accent3="accent3" accent4="accent4" accent5="accent5" accent6="accent6" hlink="hlink" folHlink="folHlink"/>
  <p:sldLayoutIdLst>
    <p:sldLayoutId id="2147484213" r:id="rId1"/>
    <p:sldLayoutId id="2147484214" r:id="rId2"/>
    <p:sldLayoutId id="2147484215" r:id="rId3"/>
    <p:sldLayoutId id="2147484216" r:id="rId4"/>
    <p:sldLayoutId id="2147484217" r:id="rId5"/>
    <p:sldLayoutId id="2147484218" r:id="rId6"/>
    <p:sldLayoutId id="2147484219" r:id="rId7"/>
    <p:sldLayoutId id="2147484220" r:id="rId8"/>
    <p:sldLayoutId id="2147484221" r:id="rId9"/>
    <p:sldLayoutId id="2147484222" r:id="rId10"/>
    <p:sldLayoutId id="2147484223" r:id="rId11"/>
    <p:sldLayoutId id="2147484224" r:id="rId12"/>
    <p:sldLayoutId id="2147484225" r:id="rId13"/>
    <p:sldLayoutId id="2147484226" r:id="rId14"/>
    <p:sldLayoutId id="2147484227" r:id="rId15"/>
    <p:sldLayoutId id="2147484228" r:id="rId16"/>
  </p:sldLayoutIdLst>
  <p:txStyles>
    <p:titleStyle>
      <a:lvl1pPr algn="l" rtl="0" fontAlgn="base">
        <a:spcBef>
          <a:spcPct val="0"/>
        </a:spcBef>
        <a:spcAft>
          <a:spcPct val="0"/>
        </a:spcAft>
        <a:defRPr sz="4267" kern="1200">
          <a:solidFill>
            <a:schemeClr val="tx1"/>
          </a:solidFill>
          <a:latin typeface="+mj-lt"/>
          <a:ea typeface="+mj-ea"/>
          <a:cs typeface="+mj-cs"/>
        </a:defRPr>
      </a:lvl1pPr>
      <a:lvl2pPr algn="l" rtl="0" fontAlgn="base">
        <a:spcBef>
          <a:spcPct val="0"/>
        </a:spcBef>
        <a:spcAft>
          <a:spcPct val="0"/>
        </a:spcAft>
        <a:defRPr sz="4267">
          <a:solidFill>
            <a:schemeClr val="tx1"/>
          </a:solidFill>
          <a:latin typeface="Calibri" panose="020F0502020204030204" pitchFamily="34" charset="0"/>
        </a:defRPr>
      </a:lvl2pPr>
      <a:lvl3pPr algn="l" rtl="0" fontAlgn="base">
        <a:spcBef>
          <a:spcPct val="0"/>
        </a:spcBef>
        <a:spcAft>
          <a:spcPct val="0"/>
        </a:spcAft>
        <a:defRPr sz="4267">
          <a:solidFill>
            <a:schemeClr val="tx1"/>
          </a:solidFill>
          <a:latin typeface="Calibri" panose="020F0502020204030204" pitchFamily="34" charset="0"/>
        </a:defRPr>
      </a:lvl3pPr>
      <a:lvl4pPr algn="l" rtl="0" fontAlgn="base">
        <a:spcBef>
          <a:spcPct val="0"/>
        </a:spcBef>
        <a:spcAft>
          <a:spcPct val="0"/>
        </a:spcAft>
        <a:defRPr sz="4267">
          <a:solidFill>
            <a:schemeClr val="tx1"/>
          </a:solidFill>
          <a:latin typeface="Calibri" panose="020F0502020204030204" pitchFamily="34" charset="0"/>
        </a:defRPr>
      </a:lvl4pPr>
      <a:lvl5pPr algn="l" rtl="0" fontAlgn="base">
        <a:spcBef>
          <a:spcPct val="0"/>
        </a:spcBef>
        <a:spcAft>
          <a:spcPct val="0"/>
        </a:spcAft>
        <a:defRPr sz="4267">
          <a:solidFill>
            <a:schemeClr val="tx1"/>
          </a:solidFill>
          <a:latin typeface="Calibri" panose="020F0502020204030204" pitchFamily="34" charset="0"/>
        </a:defRPr>
      </a:lvl5pPr>
      <a:lvl6pPr marL="609585" algn="l" rtl="0" fontAlgn="base">
        <a:spcBef>
          <a:spcPct val="0"/>
        </a:spcBef>
        <a:spcAft>
          <a:spcPct val="0"/>
        </a:spcAft>
        <a:defRPr sz="4267">
          <a:solidFill>
            <a:schemeClr val="tx1"/>
          </a:solidFill>
          <a:latin typeface="Calibri" panose="020F0502020204030204" pitchFamily="34" charset="0"/>
        </a:defRPr>
      </a:lvl6pPr>
      <a:lvl7pPr marL="1219170" algn="l" rtl="0" fontAlgn="base">
        <a:spcBef>
          <a:spcPct val="0"/>
        </a:spcBef>
        <a:spcAft>
          <a:spcPct val="0"/>
        </a:spcAft>
        <a:defRPr sz="4267">
          <a:solidFill>
            <a:schemeClr val="tx1"/>
          </a:solidFill>
          <a:latin typeface="Calibri" panose="020F0502020204030204" pitchFamily="34" charset="0"/>
        </a:defRPr>
      </a:lvl7pPr>
      <a:lvl8pPr marL="1828754" algn="l" rtl="0" fontAlgn="base">
        <a:spcBef>
          <a:spcPct val="0"/>
        </a:spcBef>
        <a:spcAft>
          <a:spcPct val="0"/>
        </a:spcAft>
        <a:defRPr sz="4267">
          <a:solidFill>
            <a:schemeClr val="tx1"/>
          </a:solidFill>
          <a:latin typeface="Calibri" panose="020F0502020204030204" pitchFamily="34" charset="0"/>
        </a:defRPr>
      </a:lvl8pPr>
      <a:lvl9pPr marL="2438339" algn="l" rtl="0" fontAlgn="base">
        <a:spcBef>
          <a:spcPct val="0"/>
        </a:spcBef>
        <a:spcAft>
          <a:spcPct val="0"/>
        </a:spcAft>
        <a:defRPr sz="4267">
          <a:solidFill>
            <a:schemeClr val="tx1"/>
          </a:solidFill>
          <a:latin typeface="Calibri" panose="020F0502020204030204" pitchFamily="34" charset="0"/>
        </a:defRPr>
      </a:lvl9pPr>
    </p:titleStyle>
    <p:bodyStyle>
      <a:lvl1pPr marL="457189" indent="-457189" algn="l"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990575" indent="-380990" algn="l" rtl="0" fontAlgn="base">
        <a:spcBef>
          <a:spcPct val="20000"/>
        </a:spcBef>
        <a:spcAft>
          <a:spcPct val="0"/>
        </a:spcAft>
        <a:buFont typeface="Arial" panose="020B0604020202020204" pitchFamily="34" charset="0"/>
        <a:buChar char="–"/>
        <a:defRPr sz="2667" kern="1200">
          <a:solidFill>
            <a:schemeClr val="tx1"/>
          </a:solidFill>
          <a:latin typeface="+mn-lt"/>
          <a:ea typeface="+mn-ea"/>
          <a:cs typeface="+mn-cs"/>
        </a:defRPr>
      </a:lvl2pPr>
      <a:lvl3pPr marL="1523962" indent="-304792" algn="l" rtl="0" fontAlgn="base">
        <a:spcBef>
          <a:spcPct val="20000"/>
        </a:spcBef>
        <a:spcAft>
          <a:spcPct val="0"/>
        </a:spcAft>
        <a:buFont typeface="Arial" panose="020B0604020202020204" pitchFamily="34" charset="0"/>
        <a:buChar char="•"/>
        <a:defRPr kern="1200">
          <a:solidFill>
            <a:schemeClr val="tx1"/>
          </a:solidFill>
          <a:latin typeface="+mn-lt"/>
          <a:ea typeface="+mn-ea"/>
          <a:cs typeface="+mn-cs"/>
        </a:defRPr>
      </a:lvl3pPr>
      <a:lvl4pPr marL="2133547" indent="-304792" algn="l" rtl="0" fontAlgn="base">
        <a:spcBef>
          <a:spcPct val="20000"/>
        </a:spcBef>
        <a:spcAft>
          <a:spcPct val="0"/>
        </a:spcAft>
        <a:buFont typeface="Arial" panose="020B0604020202020204" pitchFamily="34" charset="0"/>
        <a:buChar char="–"/>
        <a:defRPr sz="2133" kern="1200">
          <a:solidFill>
            <a:schemeClr val="tx1"/>
          </a:solidFill>
          <a:latin typeface="+mn-lt"/>
          <a:ea typeface="+mn-ea"/>
          <a:cs typeface="+mn-cs"/>
        </a:defRPr>
      </a:lvl4pPr>
      <a:lvl5pPr marL="2743131" indent="-304792" algn="l" rtl="0" fontAlgn="base">
        <a:spcBef>
          <a:spcPct val="20000"/>
        </a:spcBef>
        <a:spcAft>
          <a:spcPct val="0"/>
        </a:spcAft>
        <a:buFont typeface="Arial" panose="020B0604020202020204" pitchFamily="34" charset="0"/>
        <a:buChar char="»"/>
        <a:defRPr sz="21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2"/>
          <p:cNvSpPr>
            <a:spLocks noGrp="1" noChangeArrowheads="1"/>
          </p:cNvSpPr>
          <p:nvPr>
            <p:ph type="title"/>
          </p:nvPr>
        </p:nvSpPr>
        <p:spPr bwMode="auto">
          <a:xfrm>
            <a:off x="457202"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dirty="0"/>
              <a:t>Click to edit Master title</a:t>
            </a:r>
          </a:p>
        </p:txBody>
      </p:sp>
      <p:sp>
        <p:nvSpPr>
          <p:cNvPr id="13" name="Rectangle 3"/>
          <p:cNvSpPr>
            <a:spLocks noGrp="1" noChangeArrowheads="1"/>
          </p:cNvSpPr>
          <p:nvPr>
            <p:ph type="body" idx="1"/>
          </p:nvPr>
        </p:nvSpPr>
        <p:spPr bwMode="auto">
          <a:xfrm>
            <a:off x="431075" y="1371603"/>
            <a:ext cx="11051176" cy="4950817"/>
          </a:xfrm>
          <a:prstGeom prst="rect">
            <a:avLst/>
          </a:prstGeom>
          <a:noFill/>
          <a:ln w="9525">
            <a:noFill/>
            <a:miter lim="800000"/>
          </a:ln>
        </p:spPr>
        <p:txBody>
          <a:bodyPr vert="horz" wrap="square" lIns="91429" tIns="45715" rIns="91429" bIns="45715" numCol="1" anchor="t" anchorCtr="0" compatLnSpc="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lide Number Placeholder 1"/>
          <p:cNvSpPr>
            <a:spLocks noGrp="1"/>
          </p:cNvSpPr>
          <p:nvPr>
            <p:ph type="sldNum" sz="quarter" idx="4"/>
          </p:nvPr>
        </p:nvSpPr>
        <p:spPr>
          <a:xfrm>
            <a:off x="203200" y="6484920"/>
            <a:ext cx="508000" cy="365124"/>
          </a:xfrm>
          <a:prstGeom prst="rect">
            <a:avLst/>
          </a:prstGeom>
        </p:spPr>
        <p:txBody>
          <a:bodyPr vert="horz" lIns="90566" tIns="45271" rIns="90566" bIns="45271" rtlCol="0" anchor="ctr"/>
          <a:lstStyle>
            <a:lvl1pPr algn="r">
              <a:defRPr sz="1200">
                <a:solidFill>
                  <a:schemeClr val="tx1"/>
                </a:solidFill>
              </a:defRPr>
            </a:lvl1pPr>
          </a:lstStyle>
          <a:p>
            <a:pPr defTabSz="904966">
              <a:defRPr/>
            </a:pPr>
            <a:fld id="{7422662C-4EA5-40CB-AF95-82CA1EC35BEA}" type="slidenum">
              <a:rPr lang="en-US" smtClean="0">
                <a:solidFill>
                  <a:srgbClr val="000000"/>
                </a:solidFill>
                <a:latin typeface="Arial" panose="020B0604020202020204"/>
              </a:rPr>
              <a:pPr defTabSz="904966">
                <a:defRPr/>
              </a:pPr>
              <a:t>‹#›</a:t>
            </a:fld>
            <a:endParaRPr lang="en-US" dirty="0">
              <a:solidFill>
                <a:srgbClr val="000000"/>
              </a:solidFill>
              <a:latin typeface="Arial" panose="020B0604020202020204"/>
            </a:endParaRPr>
          </a:p>
        </p:txBody>
      </p:sp>
      <p:pic>
        <p:nvPicPr>
          <p:cNvPr id="7" name="Picture 6">
            <a:extLst>
              <a:ext uri="{FF2B5EF4-FFF2-40B4-BE49-F238E27FC236}">
                <a16:creationId xmlns:a16="http://schemas.microsoft.com/office/drawing/2014/main" id="{3FAB1B24-7340-46CA-AB5B-1F593ADB7AD8}"/>
              </a:ext>
            </a:extLst>
          </p:cNvPr>
          <p:cNvPicPr>
            <a:picLocks noChangeAspect="1"/>
          </p:cNvPicPr>
          <p:nvPr userDrawn="1"/>
        </p:nvPicPr>
        <p:blipFill>
          <a:blip r:embed="rId27">
            <a:extLst>
              <a:ext uri="{28A0092B-C50C-407E-A947-70E740481C1C}">
                <a14:useLocalDpi xmlns:a14="http://schemas.microsoft.com/office/drawing/2010/main"/>
              </a:ext>
            </a:extLst>
          </a:blip>
          <a:stretch>
            <a:fillRect/>
          </a:stretch>
        </p:blipFill>
        <p:spPr>
          <a:xfrm>
            <a:off x="11437416" y="81577"/>
            <a:ext cx="621878" cy="621878"/>
          </a:xfrm>
          <a:prstGeom prst="rect">
            <a:avLst/>
          </a:prstGeom>
        </p:spPr>
      </p:pic>
    </p:spTree>
    <p:extLst>
      <p:ext uri="{BB962C8B-B14F-4D97-AF65-F5344CB8AC3E}">
        <p14:creationId xmlns:p14="http://schemas.microsoft.com/office/powerpoint/2010/main" val="2173845860"/>
      </p:ext>
    </p:extLst>
  </p:cSld>
  <p:clrMap bg1="lt1" tx1="dk1" bg2="lt2" tx2="dk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6" r:id="rId16"/>
    <p:sldLayoutId id="2147484298" r:id="rId17"/>
    <p:sldLayoutId id="2147484299" r:id="rId18"/>
    <p:sldLayoutId id="2147484300" r:id="rId19"/>
    <p:sldLayoutId id="2147484301" r:id="rId20"/>
    <p:sldLayoutId id="2147484313" r:id="rId21"/>
    <p:sldLayoutId id="2147484347" r:id="rId22"/>
    <p:sldLayoutId id="2147484358" r:id="rId23"/>
    <p:sldLayoutId id="2147484359" r:id="rId24"/>
    <p:sldLayoutId id="2147484392" r:id="rId25"/>
  </p:sldLayoutIdLst>
  <p:txStyles>
    <p:titleStyle>
      <a:lvl1pPr algn="l" defTabSz="913852" rtl="0" eaLnBrk="1" latinLnBrk="0" hangingPunct="1">
        <a:lnSpc>
          <a:spcPct val="90000"/>
        </a:lnSpc>
        <a:spcBef>
          <a:spcPct val="0"/>
        </a:spcBef>
        <a:buNone/>
        <a:defRPr sz="3598" kern="1200">
          <a:solidFill>
            <a:schemeClr val="tx1"/>
          </a:solidFill>
          <a:latin typeface="+mn-lt"/>
          <a:ea typeface="+mj-ea"/>
          <a:cs typeface="+mj-cs"/>
        </a:defRPr>
      </a:lvl1pPr>
    </p:titleStyle>
    <p:bodyStyle>
      <a:lvl1pPr marL="228462" indent="-228462" algn="l" defTabSz="913852" rtl="0" eaLnBrk="1" latinLnBrk="0" hangingPunct="1">
        <a:lnSpc>
          <a:spcPct val="90000"/>
        </a:lnSpc>
        <a:spcBef>
          <a:spcPts val="1000"/>
        </a:spcBef>
        <a:buFont typeface="Arial" panose="020B0604020202020204" pitchFamily="34" charset="0"/>
        <a:buChar char="•"/>
        <a:defRPr sz="2398" kern="1200">
          <a:solidFill>
            <a:schemeClr val="tx1"/>
          </a:solidFill>
          <a:latin typeface="+mn-lt"/>
          <a:ea typeface="+mn-ea"/>
          <a:cs typeface="+mn-cs"/>
        </a:defRPr>
      </a:lvl1pPr>
      <a:lvl2pPr marL="685388" indent="-228462" algn="l" defTabSz="913852" rtl="0" eaLnBrk="1" latinLnBrk="0" hangingPunct="1">
        <a:lnSpc>
          <a:spcPct val="90000"/>
        </a:lnSpc>
        <a:spcBef>
          <a:spcPts val="500"/>
        </a:spcBef>
        <a:buFont typeface="Arial" panose="020B0604020202020204" pitchFamily="34" charset="0"/>
        <a:buChar char="•"/>
        <a:defRPr sz="2398" kern="1200">
          <a:solidFill>
            <a:schemeClr val="tx1"/>
          </a:solidFill>
          <a:latin typeface="+mn-lt"/>
          <a:ea typeface="+mn-ea"/>
          <a:cs typeface="+mn-cs"/>
        </a:defRPr>
      </a:lvl2pPr>
      <a:lvl3pPr marL="1142314" indent="-228462" algn="l" defTabSz="913852" rtl="0" eaLnBrk="1" latinLnBrk="0" hangingPunct="1">
        <a:lnSpc>
          <a:spcPct val="90000"/>
        </a:lnSpc>
        <a:spcBef>
          <a:spcPts val="500"/>
        </a:spcBef>
        <a:buFont typeface="Arial" panose="020B0604020202020204" pitchFamily="34" charset="0"/>
        <a:buChar char="•"/>
        <a:defRPr sz="2398" kern="1200">
          <a:solidFill>
            <a:schemeClr val="tx1"/>
          </a:solidFill>
          <a:latin typeface="+mn-lt"/>
          <a:ea typeface="+mn-ea"/>
          <a:cs typeface="+mn-cs"/>
        </a:defRPr>
      </a:lvl3pPr>
      <a:lvl4pPr marL="1599240" indent="-228462" algn="l" defTabSz="913852" rtl="0" eaLnBrk="1" latinLnBrk="0" hangingPunct="1">
        <a:lnSpc>
          <a:spcPct val="90000"/>
        </a:lnSpc>
        <a:spcBef>
          <a:spcPts val="500"/>
        </a:spcBef>
        <a:buFont typeface="Arial" panose="020B0604020202020204" pitchFamily="34" charset="0"/>
        <a:buChar char="•"/>
        <a:defRPr sz="2398" kern="1200">
          <a:solidFill>
            <a:schemeClr val="tx1"/>
          </a:solidFill>
          <a:latin typeface="+mn-lt"/>
          <a:ea typeface="+mn-ea"/>
          <a:cs typeface="+mn-cs"/>
        </a:defRPr>
      </a:lvl4pPr>
      <a:lvl5pPr marL="2056166" indent="-228462" algn="l" defTabSz="913852" rtl="0" eaLnBrk="1" latinLnBrk="0" hangingPunct="1">
        <a:lnSpc>
          <a:spcPct val="90000"/>
        </a:lnSpc>
        <a:spcBef>
          <a:spcPts val="500"/>
        </a:spcBef>
        <a:buFont typeface="Arial" panose="020B0604020202020204" pitchFamily="34" charset="0"/>
        <a:buChar char="•"/>
        <a:defRPr sz="2398" kern="1200">
          <a:solidFill>
            <a:schemeClr val="tx1"/>
          </a:solidFill>
          <a:latin typeface="+mn-lt"/>
          <a:ea typeface="+mn-ea"/>
          <a:cs typeface="+mn-cs"/>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2"/>
          <p:cNvSpPr>
            <a:spLocks noGrp="1" noChangeArrowheads="1"/>
          </p:cNvSpPr>
          <p:nvPr>
            <p:ph type="title"/>
          </p:nvPr>
        </p:nvSpPr>
        <p:spPr bwMode="auto">
          <a:xfrm>
            <a:off x="457201" y="171451"/>
            <a:ext cx="7823200" cy="520876"/>
          </a:xfrm>
          <a:prstGeom prst="rect">
            <a:avLst/>
          </a:prstGeom>
          <a:noFill/>
          <a:ln w="9525">
            <a:noFill/>
            <a:miter lim="800000"/>
          </a:ln>
        </p:spPr>
        <p:txBody>
          <a:bodyPr vert="horz" wrap="square" lIns="91429" tIns="45715" rIns="91429" bIns="45715" numCol="1" anchor="ctr" anchorCtr="0" compatLnSpc="1"/>
          <a:lstStyle/>
          <a:p>
            <a:pPr lvl="0"/>
            <a:r>
              <a:rPr lang="en-US" dirty="0"/>
              <a:t>Click to edit Master title</a:t>
            </a:r>
          </a:p>
        </p:txBody>
      </p:sp>
      <p:sp>
        <p:nvSpPr>
          <p:cNvPr id="13" name="Rectangle 3"/>
          <p:cNvSpPr>
            <a:spLocks noGrp="1" noChangeArrowheads="1"/>
          </p:cNvSpPr>
          <p:nvPr>
            <p:ph type="body" idx="1"/>
          </p:nvPr>
        </p:nvSpPr>
        <p:spPr bwMode="auto">
          <a:xfrm>
            <a:off x="431075" y="1371601"/>
            <a:ext cx="11051176" cy="4950817"/>
          </a:xfrm>
          <a:prstGeom prst="rect">
            <a:avLst/>
          </a:prstGeom>
          <a:noFill/>
          <a:ln w="9525">
            <a:noFill/>
            <a:miter lim="800000"/>
          </a:ln>
        </p:spPr>
        <p:txBody>
          <a:bodyPr vert="horz" wrap="square" lIns="91429" tIns="45715" rIns="91429" bIns="45715" numCol="1" anchor="t" anchorCtr="0" compatLnSpc="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lide Number Placeholder 1"/>
          <p:cNvSpPr>
            <a:spLocks noGrp="1"/>
          </p:cNvSpPr>
          <p:nvPr>
            <p:ph type="sldNum" sz="quarter" idx="4"/>
          </p:nvPr>
        </p:nvSpPr>
        <p:spPr>
          <a:xfrm>
            <a:off x="203200" y="6484921"/>
            <a:ext cx="508000" cy="365124"/>
          </a:xfrm>
          <a:prstGeom prst="rect">
            <a:avLst/>
          </a:prstGeom>
        </p:spPr>
        <p:txBody>
          <a:bodyPr vert="horz" lIns="90566" tIns="45271" rIns="90566" bIns="45271" rtlCol="0" anchor="ctr"/>
          <a:lstStyle>
            <a:lvl1pPr algn="r">
              <a:defRPr sz="1200">
                <a:solidFill>
                  <a:schemeClr val="tx1"/>
                </a:solidFill>
              </a:defRPr>
            </a:lvl1pPr>
          </a:lstStyle>
          <a:p>
            <a:pPr marL="0" marR="0" lvl="0" indent="0" algn="r" defTabSz="905216" rtl="0" eaLnBrk="1" fontAlgn="auto" latinLnBrk="0" hangingPunct="1">
              <a:lnSpc>
                <a:spcPct val="100000"/>
              </a:lnSpc>
              <a:spcBef>
                <a:spcPts val="0"/>
              </a:spcBef>
              <a:spcAft>
                <a:spcPts val="0"/>
              </a:spcAft>
              <a:buClrTx/>
              <a:buSzTx/>
              <a:buFontTx/>
              <a:buNone/>
              <a:tabLst/>
              <a:defRPr/>
            </a:pPr>
            <a:fld id="{7422662C-4EA5-40CB-AF95-82CA1EC35BEA}" type="slidenum">
              <a:rPr kumimoji="0" lang="en-US" sz="12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05216"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3FAB1B24-7340-46CA-AB5B-1F593ADB7AD8}"/>
              </a:ext>
            </a:extLst>
          </p:cNvPr>
          <p:cNvPicPr>
            <a:picLocks noChangeAspect="1"/>
          </p:cNvPicPr>
          <p:nvPr userDrawn="1"/>
        </p:nvPicPr>
        <p:blipFill>
          <a:blip r:embed="rId25">
            <a:extLst>
              <a:ext uri="{28A0092B-C50C-407E-A947-70E740481C1C}">
                <a14:useLocalDpi xmlns:a14="http://schemas.microsoft.com/office/drawing/2010/main"/>
              </a:ext>
            </a:extLst>
          </a:blip>
          <a:stretch>
            <a:fillRect/>
          </a:stretch>
        </p:blipFill>
        <p:spPr>
          <a:xfrm>
            <a:off x="11437418" y="81578"/>
            <a:ext cx="621877" cy="621879"/>
          </a:xfrm>
          <a:prstGeom prst="rect">
            <a:avLst/>
          </a:prstGeom>
        </p:spPr>
      </p:pic>
    </p:spTree>
    <p:extLst>
      <p:ext uri="{BB962C8B-B14F-4D97-AF65-F5344CB8AC3E}">
        <p14:creationId xmlns:p14="http://schemas.microsoft.com/office/powerpoint/2010/main" val="1722558230"/>
      </p:ext>
    </p:extLst>
  </p:cSld>
  <p:clrMap bg1="lt1" tx1="dk1" bg2="lt2" tx2="dk2" accent1="accent1" accent2="accent2" accent3="accent3" accent4="accent4" accent5="accent5" accent6="accent6" hlink="hlink" folHlink="folHlink"/>
  <p:sldLayoutIdLst>
    <p:sldLayoutId id="2147484518" r:id="rId1"/>
    <p:sldLayoutId id="2147484519" r:id="rId2"/>
    <p:sldLayoutId id="2147484520" r:id="rId3"/>
    <p:sldLayoutId id="2147484521" r:id="rId4"/>
    <p:sldLayoutId id="2147484522" r:id="rId5"/>
    <p:sldLayoutId id="2147484523" r:id="rId6"/>
    <p:sldLayoutId id="2147484524" r:id="rId7"/>
    <p:sldLayoutId id="2147484525" r:id="rId8"/>
    <p:sldLayoutId id="2147484527" r:id="rId9"/>
    <p:sldLayoutId id="2147484528" r:id="rId10"/>
    <p:sldLayoutId id="2147484529" r:id="rId11"/>
    <p:sldLayoutId id="2147484530" r:id="rId12"/>
    <p:sldLayoutId id="2147484531" r:id="rId13"/>
    <p:sldLayoutId id="2147484532" r:id="rId14"/>
    <p:sldLayoutId id="2147484534" r:id="rId15"/>
    <p:sldLayoutId id="2147484536" r:id="rId16"/>
    <p:sldLayoutId id="2147484537" r:id="rId17"/>
    <p:sldLayoutId id="2147484538" r:id="rId18"/>
    <p:sldLayoutId id="2147484539" r:id="rId19"/>
    <p:sldLayoutId id="2147484551" r:id="rId20"/>
    <p:sldLayoutId id="2147484585" r:id="rId21"/>
    <p:sldLayoutId id="2147484596" r:id="rId22"/>
    <p:sldLayoutId id="2147484597" r:id="rId23"/>
  </p:sldLayoutIdLst>
  <p:txStyles>
    <p:titleStyle>
      <a:lvl1pPr algn="l" defTabSz="914104" rtl="0" eaLnBrk="1" latinLnBrk="0" hangingPunct="1">
        <a:lnSpc>
          <a:spcPct val="90000"/>
        </a:lnSpc>
        <a:spcBef>
          <a:spcPct val="0"/>
        </a:spcBef>
        <a:buNone/>
        <a:defRPr sz="3599" kern="1200">
          <a:solidFill>
            <a:schemeClr val="tx1"/>
          </a:solidFill>
          <a:latin typeface="+mn-lt"/>
          <a:ea typeface="+mj-ea"/>
          <a:cs typeface="+mj-cs"/>
        </a:defRPr>
      </a:lvl1pPr>
    </p:titleStyle>
    <p:bodyStyle>
      <a:lvl1pPr marL="228525" indent="-228525" algn="l" defTabSz="914104" rtl="0" eaLnBrk="1" latinLnBrk="0" hangingPunct="1">
        <a:lnSpc>
          <a:spcPct val="90000"/>
        </a:lnSpc>
        <a:spcBef>
          <a:spcPts val="1000"/>
        </a:spcBef>
        <a:buFont typeface="Arial" panose="020B0604020202020204" pitchFamily="34" charset="0"/>
        <a:buChar char="•"/>
        <a:defRPr sz="2399" kern="1200">
          <a:solidFill>
            <a:schemeClr val="tx1"/>
          </a:solidFill>
          <a:latin typeface="+mn-lt"/>
          <a:ea typeface="+mn-ea"/>
          <a:cs typeface="+mn-cs"/>
        </a:defRPr>
      </a:lvl1pPr>
      <a:lvl2pPr marL="685578" indent="-228525" algn="l" defTabSz="914104"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29" indent="-228525" algn="l" defTabSz="914104"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3pPr>
      <a:lvl4pPr marL="1599680" indent="-228525" algn="l" defTabSz="914104"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4pPr>
      <a:lvl5pPr marL="2056731" indent="-228525" algn="l" defTabSz="914104"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5pPr>
      <a:lvl6pPr marL="2513784"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834"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885"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938"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04" rtl="0" eaLnBrk="1" latinLnBrk="0" hangingPunct="1">
        <a:defRPr sz="1799" kern="1200">
          <a:solidFill>
            <a:schemeClr val="tx1"/>
          </a:solidFill>
          <a:latin typeface="+mn-lt"/>
          <a:ea typeface="+mn-ea"/>
          <a:cs typeface="+mn-cs"/>
        </a:defRPr>
      </a:lvl1pPr>
      <a:lvl2pPr marL="457051" algn="l" defTabSz="914104" rtl="0" eaLnBrk="1" latinLnBrk="0" hangingPunct="1">
        <a:defRPr sz="1799" kern="1200">
          <a:solidFill>
            <a:schemeClr val="tx1"/>
          </a:solidFill>
          <a:latin typeface="+mn-lt"/>
          <a:ea typeface="+mn-ea"/>
          <a:cs typeface="+mn-cs"/>
        </a:defRPr>
      </a:lvl2pPr>
      <a:lvl3pPr marL="914104" algn="l" defTabSz="914104" rtl="0" eaLnBrk="1" latinLnBrk="0" hangingPunct="1">
        <a:defRPr sz="1799" kern="1200">
          <a:solidFill>
            <a:schemeClr val="tx1"/>
          </a:solidFill>
          <a:latin typeface="+mn-lt"/>
          <a:ea typeface="+mn-ea"/>
          <a:cs typeface="+mn-cs"/>
        </a:defRPr>
      </a:lvl3pPr>
      <a:lvl4pPr marL="1371155" algn="l" defTabSz="914104" rtl="0" eaLnBrk="1" latinLnBrk="0" hangingPunct="1">
        <a:defRPr sz="1799" kern="1200">
          <a:solidFill>
            <a:schemeClr val="tx1"/>
          </a:solidFill>
          <a:latin typeface="+mn-lt"/>
          <a:ea typeface="+mn-ea"/>
          <a:cs typeface="+mn-cs"/>
        </a:defRPr>
      </a:lvl4pPr>
      <a:lvl5pPr marL="1828205" algn="l" defTabSz="914104" rtl="0" eaLnBrk="1" latinLnBrk="0" hangingPunct="1">
        <a:defRPr sz="1799" kern="1200">
          <a:solidFill>
            <a:schemeClr val="tx1"/>
          </a:solidFill>
          <a:latin typeface="+mn-lt"/>
          <a:ea typeface="+mn-ea"/>
          <a:cs typeface="+mn-cs"/>
        </a:defRPr>
      </a:lvl5pPr>
      <a:lvl6pPr marL="2285258" algn="l" defTabSz="914104" rtl="0" eaLnBrk="1" latinLnBrk="0" hangingPunct="1">
        <a:defRPr sz="1799" kern="1200">
          <a:solidFill>
            <a:schemeClr val="tx1"/>
          </a:solidFill>
          <a:latin typeface="+mn-lt"/>
          <a:ea typeface="+mn-ea"/>
          <a:cs typeface="+mn-cs"/>
        </a:defRPr>
      </a:lvl6pPr>
      <a:lvl7pPr marL="2742309" algn="l" defTabSz="914104" rtl="0" eaLnBrk="1" latinLnBrk="0" hangingPunct="1">
        <a:defRPr sz="1799" kern="1200">
          <a:solidFill>
            <a:schemeClr val="tx1"/>
          </a:solidFill>
          <a:latin typeface="+mn-lt"/>
          <a:ea typeface="+mn-ea"/>
          <a:cs typeface="+mn-cs"/>
        </a:defRPr>
      </a:lvl7pPr>
      <a:lvl8pPr marL="3199360" algn="l" defTabSz="914104" rtl="0" eaLnBrk="1" latinLnBrk="0" hangingPunct="1">
        <a:defRPr sz="1799" kern="1200">
          <a:solidFill>
            <a:schemeClr val="tx1"/>
          </a:solidFill>
          <a:latin typeface="+mn-lt"/>
          <a:ea typeface="+mn-ea"/>
          <a:cs typeface="+mn-cs"/>
        </a:defRPr>
      </a:lvl8pPr>
      <a:lvl9pPr marL="3656411" algn="l" defTabSz="914104"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microsoft.com/office/2007/relationships/hdphoto" Target="../media/hdphoto5.wdp"/><Relationship Id="rId5" Type="http://schemas.openxmlformats.org/officeDocument/2006/relationships/image" Target="../media/image32.png"/><Relationship Id="rId4" Type="http://schemas.microsoft.com/office/2007/relationships/hdphoto" Target="../media/hdphoto4.wdp"/></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15.png"/><Relationship Id="rId1" Type="http://schemas.openxmlformats.org/officeDocument/2006/relationships/slideLayout" Target="../slideLayouts/slideLayout14.xml"/><Relationship Id="rId6" Type="http://schemas.openxmlformats.org/officeDocument/2006/relationships/image" Target="../media/image17.png"/><Relationship Id="rId5" Type="http://schemas.microsoft.com/office/2007/relationships/hdphoto" Target="../media/hdphoto2.wdp"/><Relationship Id="rId4" Type="http://schemas.openxmlformats.org/officeDocument/2006/relationships/image" Target="../media/image16.png"/></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19.xml"/><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14.xml"/><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1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image" Target="../media/image51.jpeg"/><Relationship Id="rId3" Type="http://schemas.openxmlformats.org/officeDocument/2006/relationships/tags" Target="../tags/tag42.xml"/><Relationship Id="rId21" Type="http://schemas.openxmlformats.org/officeDocument/2006/relationships/image" Target="../media/image46.jpeg"/><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image" Target="../media/image50.jpeg"/><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notesSlide" Target="../notesSlides/notesSlide23.xml"/><Relationship Id="rId29" Type="http://schemas.openxmlformats.org/officeDocument/2006/relationships/image" Target="../media/image54.jpeg"/><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image" Target="../media/image49.jpeg"/><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image" Target="../media/image48.jpeg"/><Relationship Id="rId28" Type="http://schemas.openxmlformats.org/officeDocument/2006/relationships/image" Target="../media/image53.png"/><Relationship Id="rId10" Type="http://schemas.openxmlformats.org/officeDocument/2006/relationships/tags" Target="../tags/tag49.xml"/><Relationship Id="rId19" Type="http://schemas.openxmlformats.org/officeDocument/2006/relationships/slideLayout" Target="../slideLayouts/slideLayout14.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image" Target="../media/image47.jpeg"/><Relationship Id="rId27" Type="http://schemas.openxmlformats.org/officeDocument/2006/relationships/image" Target="../media/image52.jpeg"/></Relationships>
</file>

<file path=ppt/slides/_rels/slide2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30.xml.rels><?xml version="1.0" encoding="UTF-8" standalone="yes"?>
<Relationships xmlns="http://schemas.openxmlformats.org/package/2006/relationships"><Relationship Id="rId3" Type="http://schemas.openxmlformats.org/officeDocument/2006/relationships/image" Target="../media/image56.wmf"/><Relationship Id="rId2" Type="http://schemas.openxmlformats.org/officeDocument/2006/relationships/notesSlide" Target="../notesSlides/notesSlide25.xml"/><Relationship Id="rId1" Type="http://schemas.openxmlformats.org/officeDocument/2006/relationships/slideLayout" Target="../slideLayouts/slideLayout14.xml"/><Relationship Id="rId5" Type="http://schemas.openxmlformats.org/officeDocument/2006/relationships/image" Target="../media/image58.wmf"/><Relationship Id="rId4" Type="http://schemas.openxmlformats.org/officeDocument/2006/relationships/image" Target="../media/image57.w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6.xml"/><Relationship Id="rId1" Type="http://schemas.openxmlformats.org/officeDocument/2006/relationships/slideLayout" Target="../slideLayouts/slideLayout2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7.xml"/><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8.xml"/><Relationship Id="rId1" Type="http://schemas.openxmlformats.org/officeDocument/2006/relationships/slideLayout" Target="../slideLayouts/slideLayout244.xml"/></Relationships>
</file>

<file path=ppt/slides/_rels/slide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9.xml"/><Relationship Id="rId1" Type="http://schemas.openxmlformats.org/officeDocument/2006/relationships/slideLayout" Target="../slideLayouts/slideLayout244.xml"/></Relationships>
</file>

<file path=ppt/slides/_rels/slide4.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hyperlink" Target="http://www.eicherworld.com/" TargetMode="External"/><Relationship Id="rId18" Type="http://schemas.openxmlformats.org/officeDocument/2006/relationships/image" Target="../media/image22.jpeg"/><Relationship Id="rId3" Type="http://schemas.openxmlformats.org/officeDocument/2006/relationships/tags" Target="../tags/tag28.xml"/><Relationship Id="rId21" Type="http://schemas.openxmlformats.org/officeDocument/2006/relationships/image" Target="../media/image25.png"/><Relationship Id="rId7" Type="http://schemas.openxmlformats.org/officeDocument/2006/relationships/tags" Target="../tags/tag32.xml"/><Relationship Id="rId12" Type="http://schemas.openxmlformats.org/officeDocument/2006/relationships/image" Target="../media/image18.png"/><Relationship Id="rId17" Type="http://schemas.openxmlformats.org/officeDocument/2006/relationships/hyperlink" Target="http://i.pbase.com/u5/toyota15/upload/22322534.Isuzulogo.jpg" TargetMode="External"/><Relationship Id="rId2" Type="http://schemas.openxmlformats.org/officeDocument/2006/relationships/tags" Target="../tags/tag27.xml"/><Relationship Id="rId16" Type="http://schemas.openxmlformats.org/officeDocument/2006/relationships/image" Target="../media/image21.png"/><Relationship Id="rId20" Type="http://schemas.openxmlformats.org/officeDocument/2006/relationships/image" Target="../media/image24.jpeg"/><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slideLayout" Target="../slideLayouts/slideLayout25.xml"/><Relationship Id="rId24" Type="http://schemas.openxmlformats.org/officeDocument/2006/relationships/image" Target="../media/image28.jpeg"/><Relationship Id="rId5" Type="http://schemas.openxmlformats.org/officeDocument/2006/relationships/tags" Target="../tags/tag30.xml"/><Relationship Id="rId15" Type="http://schemas.openxmlformats.org/officeDocument/2006/relationships/image" Target="../media/image20.emf"/><Relationship Id="rId23" Type="http://schemas.openxmlformats.org/officeDocument/2006/relationships/image" Target="../media/image27.png"/><Relationship Id="rId10" Type="http://schemas.openxmlformats.org/officeDocument/2006/relationships/tags" Target="../tags/tag35.xml"/><Relationship Id="rId19" Type="http://schemas.openxmlformats.org/officeDocument/2006/relationships/image" Target="../media/image23.png"/><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image" Target="../media/image19.png"/><Relationship Id="rId22" Type="http://schemas.openxmlformats.org/officeDocument/2006/relationships/image" Target="../media/image26.jpeg"/></Relationships>
</file>

<file path=ppt/slides/_rels/slide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30.xml"/><Relationship Id="rId1" Type="http://schemas.openxmlformats.org/officeDocument/2006/relationships/slideLayout" Target="../slideLayouts/slideLayout244.xml"/></Relationships>
</file>

<file path=ppt/slides/_rels/slide4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31.xml"/><Relationship Id="rId1" Type="http://schemas.openxmlformats.org/officeDocument/2006/relationships/slideLayout" Target="../slideLayouts/slideLayout261.xml"/></Relationships>
</file>

<file path=ppt/slides/_rels/slide42.xml.rels><?xml version="1.0" encoding="UTF-8" standalone="yes"?>
<Relationships xmlns="http://schemas.openxmlformats.org/package/2006/relationships"><Relationship Id="rId8" Type="http://schemas.microsoft.com/office/2007/relationships/diagramDrawing" Target="../diagrams/drawing3.xml"/><Relationship Id="rId13" Type="http://schemas.microsoft.com/office/2007/relationships/diagramDrawing" Target="../diagrams/drawing4.xml"/><Relationship Id="rId3" Type="http://schemas.openxmlformats.org/officeDocument/2006/relationships/image" Target="../media/image3.emf"/><Relationship Id="rId7" Type="http://schemas.openxmlformats.org/officeDocument/2006/relationships/diagramColors" Target="../diagrams/colors3.xml"/><Relationship Id="rId12" Type="http://schemas.openxmlformats.org/officeDocument/2006/relationships/diagramColors" Target="../diagrams/colors4.xml"/><Relationship Id="rId2" Type="http://schemas.openxmlformats.org/officeDocument/2006/relationships/notesSlide" Target="../notesSlides/notesSlide32.xml"/><Relationship Id="rId1" Type="http://schemas.openxmlformats.org/officeDocument/2006/relationships/slideLayout" Target="../slideLayouts/slideLayout266.xml"/><Relationship Id="rId6" Type="http://schemas.openxmlformats.org/officeDocument/2006/relationships/diagramQuickStyle" Target="../diagrams/quickStyle3.xml"/><Relationship Id="rId11" Type="http://schemas.openxmlformats.org/officeDocument/2006/relationships/diagramQuickStyle" Target="../diagrams/quickStyle4.xml"/><Relationship Id="rId5" Type="http://schemas.openxmlformats.org/officeDocument/2006/relationships/diagramLayout" Target="../diagrams/layout3.xml"/><Relationship Id="rId15" Type="http://schemas.openxmlformats.org/officeDocument/2006/relationships/image" Target="../media/image60.png"/><Relationship Id="rId10" Type="http://schemas.openxmlformats.org/officeDocument/2006/relationships/diagramLayout" Target="../diagrams/layout4.xml"/><Relationship Id="rId4" Type="http://schemas.openxmlformats.org/officeDocument/2006/relationships/diagramData" Target="../diagrams/data3.xml"/><Relationship Id="rId9" Type="http://schemas.openxmlformats.org/officeDocument/2006/relationships/diagramData" Target="../diagrams/data4.xml"/><Relationship Id="rId14" Type="http://schemas.openxmlformats.org/officeDocument/2006/relationships/image" Target="../media/image59.png"/></Relationships>
</file>

<file path=ppt/slides/_rels/slide4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33.xml"/><Relationship Id="rId1" Type="http://schemas.openxmlformats.org/officeDocument/2006/relationships/slideLayout" Target="../slideLayouts/slideLayout261.xml"/><Relationship Id="rId4" Type="http://schemas.openxmlformats.org/officeDocument/2006/relationships/image" Target="../media/image61.jpeg"/></Relationships>
</file>

<file path=ppt/slides/_rels/slide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34.xml"/><Relationship Id="rId1" Type="http://schemas.openxmlformats.org/officeDocument/2006/relationships/slideLayout" Target="../slideLayouts/slideLayout261.xml"/><Relationship Id="rId4" Type="http://schemas.openxmlformats.org/officeDocument/2006/relationships/image" Target="../media/image62.png"/></Relationships>
</file>

<file path=ppt/slides/_rels/slide4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5.xml"/><Relationship Id="rId1" Type="http://schemas.openxmlformats.org/officeDocument/2006/relationships/slideLayout" Target="../slideLayouts/slideLayout279.xml"/></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6.xml"/><Relationship Id="rId1" Type="http://schemas.openxmlformats.org/officeDocument/2006/relationships/slideLayout" Target="../slideLayouts/slideLayout266.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7.xml"/><Relationship Id="rId1" Type="http://schemas.openxmlformats.org/officeDocument/2006/relationships/slideLayout" Target="../slideLayouts/slideLayout26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8.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3.emf"/><Relationship Id="rId1" Type="http://schemas.openxmlformats.org/officeDocument/2006/relationships/slideLayout" Target="../slideLayouts/slideLayout6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 Id="rId9" Type="http://schemas.openxmlformats.org/officeDocument/2006/relationships/image" Target="../media/image65.png"/></Relationships>
</file>

<file path=ppt/slides/_rels/slide4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38.xml"/><Relationship Id="rId1" Type="http://schemas.openxmlformats.org/officeDocument/2006/relationships/slideLayout" Target="../slideLayouts/slideLayout69.xml"/><Relationship Id="rId4" Type="http://schemas.openxmlformats.org/officeDocument/2006/relationships/image" Target="../media/image6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0.xml"/></Relationships>
</file>

<file path=ppt/slides/_rels/slide5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39.xml"/><Relationship Id="rId1" Type="http://schemas.openxmlformats.org/officeDocument/2006/relationships/slideLayout" Target="../slideLayouts/slideLayout35.xml"/></Relationships>
</file>

<file path=ppt/slides/_rels/slide52.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40.xml"/><Relationship Id="rId1" Type="http://schemas.openxmlformats.org/officeDocument/2006/relationships/slideLayout" Target="../slideLayouts/slideLayout3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6.png"/><Relationship Id="rId18" Type="http://schemas.openxmlformats.org/officeDocument/2006/relationships/image" Target="../media/image80.png"/><Relationship Id="rId3" Type="http://schemas.openxmlformats.org/officeDocument/2006/relationships/image" Target="../media/image69.png"/><Relationship Id="rId21" Type="http://schemas.openxmlformats.org/officeDocument/2006/relationships/image" Target="../media/image83.png"/><Relationship Id="rId7" Type="http://schemas.microsoft.com/office/2007/relationships/hdphoto" Target="../media/hdphoto6.wdp"/><Relationship Id="rId12" Type="http://schemas.microsoft.com/office/2007/relationships/hdphoto" Target="../media/hdphoto8.wdp"/><Relationship Id="rId17" Type="http://schemas.openxmlformats.org/officeDocument/2006/relationships/image" Target="../media/image79.png"/><Relationship Id="rId2" Type="http://schemas.openxmlformats.org/officeDocument/2006/relationships/notesSlide" Target="../notesSlides/notesSlide41.xml"/><Relationship Id="rId16" Type="http://schemas.openxmlformats.org/officeDocument/2006/relationships/image" Target="../media/image78.png"/><Relationship Id="rId20" Type="http://schemas.openxmlformats.org/officeDocument/2006/relationships/image" Target="../media/image82.png"/><Relationship Id="rId1" Type="http://schemas.openxmlformats.org/officeDocument/2006/relationships/slideLayout" Target="../slideLayouts/slideLayout14.xml"/><Relationship Id="rId6" Type="http://schemas.openxmlformats.org/officeDocument/2006/relationships/image" Target="../media/image72.png"/><Relationship Id="rId11" Type="http://schemas.openxmlformats.org/officeDocument/2006/relationships/image" Target="../media/image75.png"/><Relationship Id="rId5" Type="http://schemas.openxmlformats.org/officeDocument/2006/relationships/image" Target="../media/image71.png"/><Relationship Id="rId15" Type="http://schemas.microsoft.com/office/2007/relationships/hdphoto" Target="../media/hdphoto9.wdp"/><Relationship Id="rId10" Type="http://schemas.microsoft.com/office/2007/relationships/hdphoto" Target="../media/hdphoto7.wdp"/><Relationship Id="rId19" Type="http://schemas.openxmlformats.org/officeDocument/2006/relationships/image" Target="../media/image81.png"/><Relationship Id="rId4" Type="http://schemas.openxmlformats.org/officeDocument/2006/relationships/image" Target="../media/image70.png"/><Relationship Id="rId9" Type="http://schemas.openxmlformats.org/officeDocument/2006/relationships/image" Target="../media/image74.png"/><Relationship Id="rId14" Type="http://schemas.openxmlformats.org/officeDocument/2006/relationships/image" Target="../media/image77.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3" Type="http://schemas.openxmlformats.org/officeDocument/2006/relationships/image" Target="../media/image84.jpg"/><Relationship Id="rId2" Type="http://schemas.openxmlformats.org/officeDocument/2006/relationships/notesSlide" Target="../notesSlides/notesSlide42.xml"/><Relationship Id="rId1" Type="http://schemas.openxmlformats.org/officeDocument/2006/relationships/slideLayout" Target="../slideLayouts/slideLayout14.xml"/><Relationship Id="rId4" Type="http://schemas.openxmlformats.org/officeDocument/2006/relationships/image" Target="../media/image85.png"/></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4.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5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3.xml"/><Relationship Id="rId1" Type="http://schemas.openxmlformats.org/officeDocument/2006/relationships/slideLayout" Target="../slideLayouts/slideLayout14.xml"/><Relationship Id="rId4" Type="http://schemas.openxmlformats.org/officeDocument/2006/relationships/image" Target="../media/image87.png"/></Relationships>
</file>

<file path=ppt/slides/_rels/slide5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4.xml"/><Relationship Id="rId1" Type="http://schemas.openxmlformats.org/officeDocument/2006/relationships/slideLayout" Target="../slideLayouts/slideLayout14.xml"/><Relationship Id="rId5" Type="http://schemas.openxmlformats.org/officeDocument/2006/relationships/image" Target="../media/image89.png"/><Relationship Id="rId4" Type="http://schemas.microsoft.com/office/2007/relationships/hdphoto" Target="../media/hdphoto10.wdp"/></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45.xml"/><Relationship Id="rId1" Type="http://schemas.openxmlformats.org/officeDocument/2006/relationships/slideLayout" Target="../slideLayouts/slideLayout169.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jpeg"/></Relationships>
</file>

<file path=ppt/slides/_rels/slide61.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69.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62.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jpeg"/><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4.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64.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6.xml"/><Relationship Id="rId1" Type="http://schemas.openxmlformats.org/officeDocument/2006/relationships/slideLayout" Target="../slideLayouts/slideLayout14.xml"/><Relationship Id="rId5" Type="http://schemas.openxmlformats.org/officeDocument/2006/relationships/image" Target="../media/image100.png"/><Relationship Id="rId4" Type="http://schemas.microsoft.com/office/2007/relationships/hdphoto" Target="../media/hdphoto11.wdp"/></Relationships>
</file>

<file path=ppt/slides/_rels/slide6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7.xml"/><Relationship Id="rId1" Type="http://schemas.openxmlformats.org/officeDocument/2006/relationships/slideLayout" Target="../slideLayouts/slideLayout14.xml"/><Relationship Id="rId4" Type="http://schemas.microsoft.com/office/2007/relationships/hdphoto" Target="../media/hdphoto12.wdp"/></Relationships>
</file>

<file path=ppt/slides/_rels/slide67.xml.rels><?xml version="1.0" encoding="UTF-8" standalone="yes"?>
<Relationships xmlns="http://schemas.openxmlformats.org/package/2006/relationships"><Relationship Id="rId8" Type="http://schemas.openxmlformats.org/officeDocument/2006/relationships/diagramColors" Target="../diagrams/colors11.xml"/><Relationship Id="rId3" Type="http://schemas.openxmlformats.org/officeDocument/2006/relationships/image" Target="../media/image102.png"/><Relationship Id="rId7" Type="http://schemas.openxmlformats.org/officeDocument/2006/relationships/diagramQuickStyle" Target="../diagrams/quickStyle11.xml"/><Relationship Id="rId2" Type="http://schemas.openxmlformats.org/officeDocument/2006/relationships/notesSlide" Target="../notesSlides/notesSlide48.xml"/><Relationship Id="rId1" Type="http://schemas.openxmlformats.org/officeDocument/2006/relationships/slideLayout" Target="../slideLayouts/slideLayout14.xml"/><Relationship Id="rId6" Type="http://schemas.openxmlformats.org/officeDocument/2006/relationships/diagramLayout" Target="../diagrams/layout11.xml"/><Relationship Id="rId5" Type="http://schemas.openxmlformats.org/officeDocument/2006/relationships/diagramData" Target="../diagrams/data11.xml"/><Relationship Id="rId4" Type="http://schemas.openxmlformats.org/officeDocument/2006/relationships/image" Target="../media/image103.png"/><Relationship Id="rId9" Type="http://schemas.microsoft.com/office/2007/relationships/diagramDrawing" Target="../diagrams/drawing11.xml"/></Relationships>
</file>

<file path=ppt/slides/_rels/slide6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9.xml"/><Relationship Id="rId1" Type="http://schemas.openxmlformats.org/officeDocument/2006/relationships/slideLayout" Target="../slideLayouts/slideLayout14.xml"/><Relationship Id="rId4" Type="http://schemas.microsoft.com/office/2007/relationships/hdphoto" Target="../media/hdphoto13.wdp"/></Relationships>
</file>

<file path=ppt/slides/_rels/slide6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0.xml"/><Relationship Id="rId1" Type="http://schemas.openxmlformats.org/officeDocument/2006/relationships/slideLayout" Target="../slideLayouts/slideLayout19.xml"/><Relationship Id="rId4" Type="http://schemas.openxmlformats.org/officeDocument/2006/relationships/image" Target="../media/image10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51.xml"/><Relationship Id="rId1" Type="http://schemas.openxmlformats.org/officeDocument/2006/relationships/slideLayout" Target="../slideLayouts/slideLayout14.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3.xml"/><Relationship Id="rId1" Type="http://schemas.openxmlformats.org/officeDocument/2006/relationships/slideLayout" Target="../slideLayouts/slideLayout14.xml"/><Relationship Id="rId5" Type="http://schemas.openxmlformats.org/officeDocument/2006/relationships/image" Target="../media/image109.png"/><Relationship Id="rId4" Type="http://schemas.openxmlformats.org/officeDocument/2006/relationships/image" Target="../media/image108.png"/></Relationships>
</file>

<file path=ppt/slides/_rels/slide7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4.xml"/><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3" Type="http://schemas.openxmlformats.org/officeDocument/2006/relationships/image" Target="../media/image111.jpeg"/><Relationship Id="rId7" Type="http://schemas.microsoft.com/office/2007/relationships/hdphoto" Target="../media/hdphoto15.wdp"/><Relationship Id="rId2" Type="http://schemas.openxmlformats.org/officeDocument/2006/relationships/notesSlide" Target="../notesSlides/notesSlide55.xml"/><Relationship Id="rId1" Type="http://schemas.openxmlformats.org/officeDocument/2006/relationships/slideLayout" Target="../slideLayouts/slideLayout14.xml"/><Relationship Id="rId6" Type="http://schemas.openxmlformats.org/officeDocument/2006/relationships/image" Target="../media/image113.png"/><Relationship Id="rId5" Type="http://schemas.microsoft.com/office/2007/relationships/hdphoto" Target="../media/hdphoto14.wdp"/><Relationship Id="rId4" Type="http://schemas.openxmlformats.org/officeDocument/2006/relationships/image" Target="../media/image112.png"/></Relationships>
</file>

<file path=ppt/slides/_rels/slide7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14.xml"/><Relationship Id="rId5" Type="http://schemas.openxmlformats.org/officeDocument/2006/relationships/image" Target="../media/image117.png"/><Relationship Id="rId4" Type="http://schemas.openxmlformats.org/officeDocument/2006/relationships/image" Target="../media/image116.jpeg"/></Relationships>
</file>

<file path=ppt/slides/_rels/slide76.xml.rels><?xml version="1.0" encoding="UTF-8" standalone="yes"?>
<Relationships xmlns="http://schemas.openxmlformats.org/package/2006/relationships"><Relationship Id="rId8" Type="http://schemas.openxmlformats.org/officeDocument/2006/relationships/image" Target="../media/image123.jpeg"/><Relationship Id="rId13" Type="http://schemas.openxmlformats.org/officeDocument/2006/relationships/image" Target="../media/image127.jpeg"/><Relationship Id="rId3" Type="http://schemas.openxmlformats.org/officeDocument/2006/relationships/image" Target="../media/image118.png"/><Relationship Id="rId7" Type="http://schemas.openxmlformats.org/officeDocument/2006/relationships/image" Target="../media/image122.png"/><Relationship Id="rId12" Type="http://schemas.openxmlformats.org/officeDocument/2006/relationships/image" Target="../media/image126.png"/><Relationship Id="rId2" Type="http://schemas.openxmlformats.org/officeDocument/2006/relationships/notesSlide" Target="../notesSlides/notesSlide56.xml"/><Relationship Id="rId1" Type="http://schemas.openxmlformats.org/officeDocument/2006/relationships/slideLayout" Target="../slideLayouts/slideLayout14.xml"/><Relationship Id="rId6" Type="http://schemas.openxmlformats.org/officeDocument/2006/relationships/image" Target="../media/image121.png"/><Relationship Id="rId11" Type="http://schemas.openxmlformats.org/officeDocument/2006/relationships/image" Target="../media/image125.png"/><Relationship Id="rId5" Type="http://schemas.openxmlformats.org/officeDocument/2006/relationships/image" Target="../media/image120.jpeg"/><Relationship Id="rId10" Type="http://schemas.microsoft.com/office/2007/relationships/hdphoto" Target="../media/hdphoto16.wdp"/><Relationship Id="rId4" Type="http://schemas.openxmlformats.org/officeDocument/2006/relationships/image" Target="../media/image119.jpeg"/><Relationship Id="rId9" Type="http://schemas.openxmlformats.org/officeDocument/2006/relationships/image" Target="../media/image124.png"/><Relationship Id="rId14" Type="http://schemas.openxmlformats.org/officeDocument/2006/relationships/image" Target="../media/image128.png"/></Relationships>
</file>

<file path=ppt/slides/_rels/slide77.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3" Type="http://schemas.openxmlformats.org/officeDocument/2006/relationships/hyperlink" Target="../../../../Product-Training-material/ABS/MAV%20with%20ABS.MPG" TargetMode="External"/><Relationship Id="rId2" Type="http://schemas.openxmlformats.org/officeDocument/2006/relationships/notesSlide" Target="../notesSlides/notesSlide57.xml"/><Relationship Id="rId1" Type="http://schemas.openxmlformats.org/officeDocument/2006/relationships/slideLayout" Target="../slideLayouts/slideLayout19.xml"/><Relationship Id="rId5" Type="http://schemas.openxmlformats.org/officeDocument/2006/relationships/image" Target="../media/image131.png"/><Relationship Id="rId4" Type="http://schemas.openxmlformats.org/officeDocument/2006/relationships/image" Target="../media/image130.jpg"/></Relationships>
</file>

<file path=ppt/slides/_rels/slide79.xml.rels><?xml version="1.0" encoding="UTF-8" standalone="yes"?>
<Relationships xmlns="http://schemas.openxmlformats.org/package/2006/relationships"><Relationship Id="rId8" Type="http://schemas.openxmlformats.org/officeDocument/2006/relationships/image" Target="../media/image137.emf"/><Relationship Id="rId3" Type="http://schemas.openxmlformats.org/officeDocument/2006/relationships/image" Target="../media/image132.png"/><Relationship Id="rId7" Type="http://schemas.openxmlformats.org/officeDocument/2006/relationships/image" Target="../media/image136.png"/><Relationship Id="rId2" Type="http://schemas.openxmlformats.org/officeDocument/2006/relationships/notesSlide" Target="../notesSlides/notesSlide58.xml"/><Relationship Id="rId1" Type="http://schemas.openxmlformats.org/officeDocument/2006/relationships/slideLayout" Target="../slideLayouts/slideLayout14.xml"/><Relationship Id="rId6" Type="http://schemas.openxmlformats.org/officeDocument/2006/relationships/image" Target="../media/image135.png"/><Relationship Id="rId5" Type="http://schemas.openxmlformats.org/officeDocument/2006/relationships/image" Target="../media/image134.emf"/><Relationship Id="rId4" Type="http://schemas.openxmlformats.org/officeDocument/2006/relationships/image" Target="../media/image133.png"/></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38.xml"/><Relationship Id="rId7" Type="http://schemas.openxmlformats.org/officeDocument/2006/relationships/image" Target="../media/image29.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notesSlide" Target="../notesSlides/notesSlide3.xml"/><Relationship Id="rId5" Type="http://schemas.openxmlformats.org/officeDocument/2006/relationships/slideLayout" Target="../slideLayouts/slideLayout14.xml"/><Relationship Id="rId4" Type="http://schemas.openxmlformats.org/officeDocument/2006/relationships/tags" Target="../tags/tag39.xml"/></Relationships>
</file>

<file path=ppt/slides/_rels/slide8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59.xml"/><Relationship Id="rId1" Type="http://schemas.openxmlformats.org/officeDocument/2006/relationships/slideLayout" Target="../slideLayouts/slideLayout19.xml"/><Relationship Id="rId4" Type="http://schemas.openxmlformats.org/officeDocument/2006/relationships/image" Target="../media/image141.png"/></Relationships>
</file>

<file path=ppt/slides/_rels/slide8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19.xml"/><Relationship Id="rId5" Type="http://schemas.openxmlformats.org/officeDocument/2006/relationships/image" Target="../media/image145.png"/><Relationship Id="rId4" Type="http://schemas.openxmlformats.org/officeDocument/2006/relationships/image" Target="../media/image144.png"/></Relationships>
</file>

<file path=ppt/slides/_rels/slide83.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85.xml"/></Relationships>
</file>

<file path=ppt/slides/_rels/slide84.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201.xml"/><Relationship Id="rId4" Type="http://schemas.openxmlformats.org/officeDocument/2006/relationships/image" Target="../media/image149.png"/></Relationships>
</file>

<file path=ppt/slides/_rels/slide85.xml.rels><?xml version="1.0" encoding="UTF-8" standalone="yes"?>
<Relationships xmlns="http://schemas.openxmlformats.org/package/2006/relationships"><Relationship Id="rId3" Type="http://schemas.openxmlformats.org/officeDocument/2006/relationships/image" Target="cid:image001.png@01CF33A2.D78C04F0" TargetMode="External"/><Relationship Id="rId2" Type="http://schemas.openxmlformats.org/officeDocument/2006/relationships/image" Target="../media/image150.png"/><Relationship Id="rId1" Type="http://schemas.openxmlformats.org/officeDocument/2006/relationships/slideLayout" Target="../slideLayouts/slideLayout201.xml"/></Relationships>
</file>

<file path=ppt/slides/_rels/slide86.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60.xml"/><Relationship Id="rId1" Type="http://schemas.openxmlformats.org/officeDocument/2006/relationships/slideLayout" Target="../slideLayouts/slideLayout14.xml"/></Relationships>
</file>

<file path=ppt/slides/_rels/slide87.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61.xml"/><Relationship Id="rId1" Type="http://schemas.openxmlformats.org/officeDocument/2006/relationships/slideLayout" Target="../slideLayouts/slideLayout14.xml"/></Relationships>
</file>

<file path=ppt/slides/_rels/slide88.xml.rels><?xml version="1.0" encoding="UTF-8" standalone="yes"?>
<Relationships xmlns="http://schemas.openxmlformats.org/package/2006/relationships"><Relationship Id="rId8" Type="http://schemas.microsoft.com/office/2007/relationships/diagramDrawing" Target="../diagrams/drawing13.xml"/><Relationship Id="rId13" Type="http://schemas.openxmlformats.org/officeDocument/2006/relationships/image" Target="../media/image3.emf"/><Relationship Id="rId3" Type="http://schemas.openxmlformats.org/officeDocument/2006/relationships/image" Target="../media/image153.jpeg"/><Relationship Id="rId7" Type="http://schemas.openxmlformats.org/officeDocument/2006/relationships/diagramColors" Target="../diagrams/colors13.xml"/><Relationship Id="rId12" Type="http://schemas.openxmlformats.org/officeDocument/2006/relationships/image" Target="../media/image156.jpeg"/><Relationship Id="rId2" Type="http://schemas.openxmlformats.org/officeDocument/2006/relationships/notesSlide" Target="../notesSlides/notesSlide62.xml"/><Relationship Id="rId1" Type="http://schemas.openxmlformats.org/officeDocument/2006/relationships/slideLayout" Target="../slideLayouts/slideLayout213.xml"/><Relationship Id="rId6" Type="http://schemas.openxmlformats.org/officeDocument/2006/relationships/diagramQuickStyle" Target="../diagrams/quickStyle13.xml"/><Relationship Id="rId11" Type="http://schemas.microsoft.com/office/2007/relationships/hdphoto" Target="../media/hdphoto17.wdp"/><Relationship Id="rId5" Type="http://schemas.openxmlformats.org/officeDocument/2006/relationships/diagramLayout" Target="../diagrams/layout13.xml"/><Relationship Id="rId10" Type="http://schemas.openxmlformats.org/officeDocument/2006/relationships/image" Target="../media/image155.png"/><Relationship Id="rId4" Type="http://schemas.openxmlformats.org/officeDocument/2006/relationships/diagramData" Target="../diagrams/data13.xml"/><Relationship Id="rId9" Type="http://schemas.openxmlformats.org/officeDocument/2006/relationships/image" Target="../media/image154.png"/></Relationships>
</file>

<file path=ppt/slides/_rels/slide8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7.png"/><Relationship Id="rId1" Type="http://schemas.openxmlformats.org/officeDocument/2006/relationships/slideLayout" Target="../slideLayouts/slideLayout2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9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7.png"/><Relationship Id="rId1" Type="http://schemas.openxmlformats.org/officeDocument/2006/relationships/slideLayout" Target="../slideLayouts/slideLayout213.xml"/></Relationships>
</file>

<file path=ppt/slides/_rels/slide91.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63.xml"/><Relationship Id="rId1" Type="http://schemas.openxmlformats.org/officeDocument/2006/relationships/slideLayout" Target="../slideLayouts/slideLayout14.xml"/></Relationships>
</file>

<file path=ppt/slides/_rels/slide92.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64.xml"/><Relationship Id="rId1" Type="http://schemas.openxmlformats.org/officeDocument/2006/relationships/slideLayout" Target="../slideLayouts/slideLayout14.xml"/><Relationship Id="rId6" Type="http://schemas.openxmlformats.org/officeDocument/2006/relationships/image" Target="../media/image161.png"/><Relationship Id="rId5" Type="http://schemas.openxmlformats.org/officeDocument/2006/relationships/image" Target="../media/image160.png"/><Relationship Id="rId4" Type="http://schemas.microsoft.com/office/2007/relationships/hdphoto" Target="../media/hdphoto18.wdp"/></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236.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62.png"/><Relationship Id="rId5" Type="http://schemas.openxmlformats.org/officeDocument/2006/relationships/image" Target="../media/image3.emf"/><Relationship Id="rId4" Type="http://schemas.openxmlformats.org/officeDocument/2006/relationships/notesSlide" Target="../notesSlides/notesSlide65.xml"/></Relationships>
</file>

<file path=ppt/slides/_rels/slide9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66.xml"/><Relationship Id="rId1" Type="http://schemas.openxmlformats.org/officeDocument/2006/relationships/slideLayout" Target="../slideLayouts/slideLayout231.xml"/><Relationship Id="rId5" Type="http://schemas.openxmlformats.org/officeDocument/2006/relationships/image" Target="../media/image164.png"/><Relationship Id="rId4" Type="http://schemas.openxmlformats.org/officeDocument/2006/relationships/image" Target="../media/image163.png"/></Relationships>
</file>

<file path=ppt/slides/_rels/slide9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67.xml"/><Relationship Id="rId1" Type="http://schemas.openxmlformats.org/officeDocument/2006/relationships/slideLayout" Target="../slideLayouts/slideLayout231.xml"/><Relationship Id="rId5" Type="http://schemas.openxmlformats.org/officeDocument/2006/relationships/image" Target="../media/image166.emf"/><Relationship Id="rId4" Type="http://schemas.openxmlformats.org/officeDocument/2006/relationships/image" Target="../media/image16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38"/>
        <p:cNvGrpSpPr/>
        <p:nvPr/>
      </p:nvGrpSpPr>
      <p:grpSpPr>
        <a:xfrm>
          <a:off x="0" y="0"/>
          <a:ext cx="0" cy="0"/>
          <a:chOff x="0" y="0"/>
          <a:chExt cx="0" cy="0"/>
        </a:xfrm>
      </p:grpSpPr>
      <p:pic>
        <p:nvPicPr>
          <p:cNvPr id="7" name="Picture 2" descr="Image result for training icon"/>
          <p:cNvPicPr>
            <a:picLocks noChangeAspect="1" noChangeArrowheads="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19201" y="705544"/>
            <a:ext cx="3879273" cy="3879273"/>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p:cNvSpPr txBox="1"/>
          <p:nvPr/>
        </p:nvSpPr>
        <p:spPr>
          <a:xfrm>
            <a:off x="191655" y="4481947"/>
            <a:ext cx="7236691" cy="1569660"/>
          </a:xfrm>
          <a:prstGeom prst="rect">
            <a:avLst/>
          </a:prstGeom>
          <a:noFill/>
        </p:spPr>
        <p:txBody>
          <a:bodyPr wrap="square" rtlCol="0">
            <a:spAutoFit/>
          </a:bodyPr>
          <a:lstStyle/>
          <a:p>
            <a:pPr defTabSz="1219170"/>
            <a:r>
              <a:rPr lang="en-US" sz="9600" b="1" dirty="0">
                <a:solidFill>
                  <a:prstClr val="white"/>
                </a:solidFill>
                <a:latin typeface="Century Gothic" panose="020B0502020202020204" pitchFamily="34" charset="0"/>
                <a:cs typeface="Arial"/>
                <a:sym typeface="Arial"/>
              </a:rPr>
              <a:t>INDUCTION</a:t>
            </a:r>
          </a:p>
        </p:txBody>
      </p:sp>
      <p:sp>
        <p:nvSpPr>
          <p:cNvPr id="50" name="TextBox 49"/>
          <p:cNvSpPr txBox="1"/>
          <p:nvPr/>
        </p:nvSpPr>
        <p:spPr>
          <a:xfrm>
            <a:off x="6184604" y="5928844"/>
            <a:ext cx="4371710" cy="748988"/>
          </a:xfrm>
          <a:prstGeom prst="rect">
            <a:avLst/>
          </a:prstGeom>
          <a:noFill/>
        </p:spPr>
        <p:txBody>
          <a:bodyPr wrap="none" rtlCol="0">
            <a:spAutoFit/>
          </a:bodyPr>
          <a:lstStyle/>
          <a:p>
            <a:pPr defTabSz="1219170"/>
            <a:r>
              <a:rPr lang="en-US" sz="4267" b="1" dirty="0">
                <a:solidFill>
                  <a:srgbClr val="FFFFFF"/>
                </a:solidFill>
                <a:latin typeface="Century Gothic" panose="020B0502020202020204" pitchFamily="34" charset="0"/>
                <a:cs typeface="Arial"/>
                <a:sym typeface="Arial"/>
              </a:rPr>
              <a:t>SALES TRAINING</a:t>
            </a:r>
          </a:p>
        </p:txBody>
      </p:sp>
    </p:spTree>
    <p:extLst>
      <p:ext uri="{BB962C8B-B14F-4D97-AF65-F5344CB8AC3E}">
        <p14:creationId xmlns:p14="http://schemas.microsoft.com/office/powerpoint/2010/main" val="19371950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121467" y="47247"/>
            <a:ext cx="10464800"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ARCHITECTURE</a:t>
            </a:r>
          </a:p>
        </p:txBody>
      </p:sp>
      <p:sp>
        <p:nvSpPr>
          <p:cNvPr id="68" name="Rectangle 67"/>
          <p:cNvSpPr/>
          <p:nvPr/>
        </p:nvSpPr>
        <p:spPr>
          <a:xfrm>
            <a:off x="156829" y="1076138"/>
            <a:ext cx="11831971"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69" name="Rectangle 68"/>
          <p:cNvSpPr/>
          <p:nvPr/>
        </p:nvSpPr>
        <p:spPr>
          <a:xfrm>
            <a:off x="156829" y="1553654"/>
            <a:ext cx="11831971" cy="5112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891" marR="0" lvl="0" indent="-342891" algn="l" defTabSz="914377" rtl="0" eaLnBrk="1" fontAlgn="auto" latinLnBrk="0" hangingPunct="1">
              <a:lnSpc>
                <a:spcPct val="100000"/>
              </a:lnSpc>
              <a:spcBef>
                <a:spcPts val="0"/>
              </a:spcBef>
              <a:spcAft>
                <a:spcPts val="0"/>
              </a:spcAft>
              <a:buClrTx/>
              <a:buSzTx/>
              <a:buFontTx/>
              <a:buAutoNum type="arabicPeriod"/>
              <a:tabLst/>
              <a:defRPr/>
            </a:pPr>
            <a:endPar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342891" marR="0" lvl="0" indent="-342891" algn="l" defTabSz="914377" rtl="0" eaLnBrk="1" fontAlgn="auto" latinLnBrk="0" hangingPunct="1">
              <a:lnSpc>
                <a:spcPct val="100000"/>
              </a:lnSpc>
              <a:spcBef>
                <a:spcPts val="0"/>
              </a:spcBef>
              <a:spcAft>
                <a:spcPts val="0"/>
              </a:spcAft>
              <a:buClrTx/>
              <a:buSzTx/>
              <a:buFontTx/>
              <a:buAutoNum type="arabicPeriod"/>
              <a:tabLst/>
              <a:defRPr/>
            </a:pPr>
            <a:r>
              <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CONFIGURATION</a:t>
            </a:r>
          </a:p>
          <a:p>
            <a:pPr marL="342891" marR="0" lvl="0" indent="-342891" algn="l" defTabSz="914377" rtl="0" eaLnBrk="1" fontAlgn="auto" latinLnBrk="0" hangingPunct="1">
              <a:lnSpc>
                <a:spcPct val="100000"/>
              </a:lnSpc>
              <a:spcBef>
                <a:spcPts val="0"/>
              </a:spcBef>
              <a:spcAft>
                <a:spcPts val="0"/>
              </a:spcAft>
              <a:buClrTx/>
              <a:buSzTx/>
              <a:buFontTx/>
              <a:buAutoNum type="arabicPeriod"/>
              <a:tabLst/>
              <a:defRPr/>
            </a:pPr>
            <a:endPar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342891" marR="0" lvl="0" indent="-342891" algn="l" defTabSz="914377" rtl="0" eaLnBrk="1" fontAlgn="auto" latinLnBrk="0" hangingPunct="1">
              <a:lnSpc>
                <a:spcPct val="100000"/>
              </a:lnSpc>
              <a:spcBef>
                <a:spcPts val="0"/>
              </a:spcBef>
              <a:spcAft>
                <a:spcPts val="0"/>
              </a:spcAft>
              <a:buClrTx/>
              <a:buSzTx/>
              <a:buFontTx/>
              <a:buAutoNum type="arabicPeriod"/>
              <a:tabLst/>
              <a:defRPr/>
            </a:pPr>
            <a:r>
              <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CONTROLS</a:t>
            </a:r>
          </a:p>
          <a:p>
            <a:pPr marL="342891" marR="0" lvl="0" indent="-342891" algn="l" defTabSz="914377" rtl="0" eaLnBrk="1" fontAlgn="auto" latinLnBrk="0" hangingPunct="1">
              <a:lnSpc>
                <a:spcPct val="100000"/>
              </a:lnSpc>
              <a:spcBef>
                <a:spcPts val="0"/>
              </a:spcBef>
              <a:spcAft>
                <a:spcPts val="0"/>
              </a:spcAft>
              <a:buClrTx/>
              <a:buSzTx/>
              <a:buFontTx/>
              <a:buAutoNum type="arabicPeriod"/>
              <a:tabLst/>
              <a:defRPr/>
            </a:pPr>
            <a:endPar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342891" marR="0" lvl="0" indent="-342891" algn="l" defTabSz="914377" rtl="0" eaLnBrk="1" fontAlgn="auto" latinLnBrk="0" hangingPunct="1">
              <a:lnSpc>
                <a:spcPct val="100000"/>
              </a:lnSpc>
              <a:spcBef>
                <a:spcPts val="0"/>
              </a:spcBef>
              <a:spcAft>
                <a:spcPts val="0"/>
              </a:spcAft>
              <a:buClrTx/>
              <a:buSzTx/>
              <a:buFontTx/>
              <a:buAutoNum type="arabicPeriod"/>
              <a:tabLst/>
              <a:defRPr/>
            </a:pPr>
            <a:r>
              <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AXLES</a:t>
            </a:r>
          </a:p>
          <a:p>
            <a:pPr marL="342891" marR="0" lvl="0" indent="-342891" algn="l" defTabSz="914377" rtl="0" eaLnBrk="1" fontAlgn="auto" latinLnBrk="0" hangingPunct="1">
              <a:lnSpc>
                <a:spcPct val="100000"/>
              </a:lnSpc>
              <a:spcBef>
                <a:spcPts val="0"/>
              </a:spcBef>
              <a:spcAft>
                <a:spcPts val="0"/>
              </a:spcAft>
              <a:buClrTx/>
              <a:buSzTx/>
              <a:buFontTx/>
              <a:buAutoNum type="arabicPeriod"/>
              <a:tabLst/>
              <a:defRPr/>
            </a:pPr>
            <a:endPar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342891" marR="0" lvl="0" indent="-342891" algn="l" defTabSz="914377" rtl="0" eaLnBrk="1" fontAlgn="auto" latinLnBrk="0" hangingPunct="1">
              <a:lnSpc>
                <a:spcPct val="100000"/>
              </a:lnSpc>
              <a:spcBef>
                <a:spcPts val="0"/>
              </a:spcBef>
              <a:spcAft>
                <a:spcPts val="0"/>
              </a:spcAft>
              <a:buClrTx/>
              <a:buSzTx/>
              <a:buFontTx/>
              <a:buAutoNum type="arabicPeriod"/>
              <a:tabLst/>
              <a:defRPr/>
            </a:pPr>
            <a:r>
              <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SUSPENSION</a:t>
            </a:r>
          </a:p>
          <a:p>
            <a:pPr marL="342891" marR="0" lvl="0" indent="-342891" algn="l" defTabSz="914377" rtl="0" eaLnBrk="1" fontAlgn="auto" latinLnBrk="0" hangingPunct="1">
              <a:lnSpc>
                <a:spcPct val="100000"/>
              </a:lnSpc>
              <a:spcBef>
                <a:spcPts val="0"/>
              </a:spcBef>
              <a:spcAft>
                <a:spcPts val="0"/>
              </a:spcAft>
              <a:buClrTx/>
              <a:buSzTx/>
              <a:buFontTx/>
              <a:buAutoNum type="arabicPeriod"/>
              <a:tabLst/>
              <a:defRPr/>
            </a:pPr>
            <a:endPar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342891" marR="0" lvl="0" indent="-342891" algn="l" defTabSz="914377" rtl="0" eaLnBrk="1" fontAlgn="auto" latinLnBrk="0" hangingPunct="1">
              <a:lnSpc>
                <a:spcPct val="100000"/>
              </a:lnSpc>
              <a:spcBef>
                <a:spcPts val="0"/>
              </a:spcBef>
              <a:spcAft>
                <a:spcPts val="0"/>
              </a:spcAft>
              <a:buClrTx/>
              <a:buSzTx/>
              <a:buFontTx/>
              <a:buAutoNum type="arabicPeriod"/>
              <a:tabLst/>
              <a:defRPr/>
            </a:pPr>
            <a:r>
              <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FRAME</a:t>
            </a:r>
          </a:p>
          <a:p>
            <a:pPr marL="342891" marR="0" lvl="0" indent="-342891" algn="l" defTabSz="914377" rtl="0" eaLnBrk="1" fontAlgn="auto" latinLnBrk="0" hangingPunct="1">
              <a:lnSpc>
                <a:spcPct val="100000"/>
              </a:lnSpc>
              <a:spcBef>
                <a:spcPts val="0"/>
              </a:spcBef>
              <a:spcAft>
                <a:spcPts val="0"/>
              </a:spcAft>
              <a:buClrTx/>
              <a:buSzTx/>
              <a:buFontTx/>
              <a:buAutoNum type="arabicPeriod"/>
              <a:tabLst/>
              <a:defRPr/>
            </a:pPr>
            <a:endPar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342891" marR="0" lvl="0" indent="-342891" algn="l" defTabSz="914377" rtl="0" eaLnBrk="1" fontAlgn="auto" latinLnBrk="0" hangingPunct="1">
              <a:lnSpc>
                <a:spcPct val="100000"/>
              </a:lnSpc>
              <a:spcBef>
                <a:spcPts val="0"/>
              </a:spcBef>
              <a:spcAft>
                <a:spcPts val="0"/>
              </a:spcAft>
              <a:buClrTx/>
              <a:buSzTx/>
              <a:buFontTx/>
              <a:buAutoNum type="arabicPeriod"/>
              <a:tabLst/>
              <a:defRPr/>
            </a:pPr>
            <a:r>
              <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STEERING</a:t>
            </a:r>
          </a:p>
          <a:p>
            <a:pPr marL="342891" marR="0" lvl="0" indent="-342891" algn="l" defTabSz="914377" rtl="0" eaLnBrk="1" fontAlgn="auto" latinLnBrk="0" hangingPunct="1">
              <a:lnSpc>
                <a:spcPct val="100000"/>
              </a:lnSpc>
              <a:spcBef>
                <a:spcPts val="0"/>
              </a:spcBef>
              <a:spcAft>
                <a:spcPts val="0"/>
              </a:spcAft>
              <a:buClrTx/>
              <a:buSzTx/>
              <a:buFontTx/>
              <a:buAutoNum type="arabicPeriod"/>
              <a:tabLst/>
              <a:defRPr/>
            </a:pPr>
            <a:endPar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342891" marR="0" lvl="0" indent="-342891" algn="l" defTabSz="914377" rtl="0" eaLnBrk="1" fontAlgn="auto" latinLnBrk="0" hangingPunct="1">
              <a:lnSpc>
                <a:spcPct val="100000"/>
              </a:lnSpc>
              <a:spcBef>
                <a:spcPts val="0"/>
              </a:spcBef>
              <a:spcAft>
                <a:spcPts val="0"/>
              </a:spcAft>
              <a:buClrTx/>
              <a:buSzTx/>
              <a:buFontTx/>
              <a:buAutoNum type="arabicPeriod"/>
              <a:tabLst/>
              <a:defRPr/>
            </a:pPr>
            <a:r>
              <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ENGINE MOUNTING</a:t>
            </a:r>
          </a:p>
          <a:p>
            <a:pPr marL="342891" marR="0" lvl="0" indent="-342891" algn="l" defTabSz="914377" rtl="0" eaLnBrk="1" fontAlgn="auto" latinLnBrk="0" hangingPunct="1">
              <a:lnSpc>
                <a:spcPct val="100000"/>
              </a:lnSpc>
              <a:spcBef>
                <a:spcPts val="0"/>
              </a:spcBef>
              <a:spcAft>
                <a:spcPts val="0"/>
              </a:spcAft>
              <a:buClrTx/>
              <a:buSzTx/>
              <a:buFontTx/>
              <a:buAutoNum type="arabicPeriod"/>
              <a:tabLst/>
              <a:defRPr/>
            </a:pPr>
            <a:endPar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342891" marR="0" lvl="0" indent="-342891" algn="l" defTabSz="914377" rtl="0" eaLnBrk="1" fontAlgn="auto" latinLnBrk="0" hangingPunct="1">
              <a:lnSpc>
                <a:spcPct val="100000"/>
              </a:lnSpc>
              <a:spcBef>
                <a:spcPts val="0"/>
              </a:spcBef>
              <a:spcAft>
                <a:spcPts val="0"/>
              </a:spcAft>
              <a:buClrTx/>
              <a:buSzTx/>
              <a:buFontTx/>
              <a:buAutoNum type="arabicPeriod"/>
              <a:tabLst/>
              <a:defRPr/>
            </a:pPr>
            <a:r>
              <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BODY – COACH</a:t>
            </a:r>
          </a:p>
          <a:p>
            <a:pPr marL="342891" marR="0" lvl="0" indent="-342891" algn="l" defTabSz="914377" rtl="0" eaLnBrk="1" fontAlgn="auto" latinLnBrk="0" hangingPunct="1">
              <a:lnSpc>
                <a:spcPct val="100000"/>
              </a:lnSpc>
              <a:spcBef>
                <a:spcPts val="0"/>
              </a:spcBef>
              <a:spcAft>
                <a:spcPts val="0"/>
              </a:spcAft>
              <a:buClrTx/>
              <a:buSzTx/>
              <a:buFontTx/>
              <a:buAutoNum type="arabicPeriod"/>
              <a:tabLst/>
              <a:defRPr/>
            </a:pPr>
            <a:endPar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342891" marR="0" lvl="0" indent="-342891" algn="l" defTabSz="914377" rtl="0" eaLnBrk="1" fontAlgn="auto" latinLnBrk="0" hangingPunct="1">
              <a:lnSpc>
                <a:spcPct val="100000"/>
              </a:lnSpc>
              <a:spcBef>
                <a:spcPts val="0"/>
              </a:spcBef>
              <a:spcAft>
                <a:spcPts val="0"/>
              </a:spcAft>
              <a:buClrTx/>
              <a:buSzTx/>
              <a:buFontTx/>
              <a:buAutoNum type="arabicPeriod"/>
              <a:tabLst/>
              <a:defRPr/>
            </a:pPr>
            <a:r>
              <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BRAKING</a:t>
            </a:r>
          </a:p>
        </p:txBody>
      </p:sp>
    </p:spTree>
    <p:extLst>
      <p:ext uri="{BB962C8B-B14F-4D97-AF65-F5344CB8AC3E}">
        <p14:creationId xmlns:p14="http://schemas.microsoft.com/office/powerpoint/2010/main" val="5662639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121467" y="47247"/>
            <a:ext cx="10464800"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CONFIGURATION</a:t>
            </a:r>
          </a:p>
        </p:txBody>
      </p:sp>
      <p:sp>
        <p:nvSpPr>
          <p:cNvPr id="68" name="Rectangle 67"/>
          <p:cNvSpPr/>
          <p:nvPr/>
        </p:nvSpPr>
        <p:spPr>
          <a:xfrm>
            <a:off x="156829" y="1076138"/>
            <a:ext cx="11831971"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69" name="Rectangle 68"/>
          <p:cNvSpPr/>
          <p:nvPr/>
        </p:nvSpPr>
        <p:spPr>
          <a:xfrm>
            <a:off x="156829" y="1553654"/>
            <a:ext cx="11831971" cy="5112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grpSp>
        <p:nvGrpSpPr>
          <p:cNvPr id="6" name="Group 5"/>
          <p:cNvGrpSpPr/>
          <p:nvPr/>
        </p:nvGrpSpPr>
        <p:grpSpPr>
          <a:xfrm>
            <a:off x="2551739" y="2623795"/>
            <a:ext cx="7042151" cy="2971803"/>
            <a:chOff x="1143000" y="2286000"/>
            <a:chExt cx="7042150" cy="2971802"/>
          </a:xfrm>
        </p:grpSpPr>
        <p:sp>
          <p:nvSpPr>
            <p:cNvPr id="7" name="Rectangle 2"/>
            <p:cNvSpPr>
              <a:spLocks noChangeArrowheads="1"/>
            </p:cNvSpPr>
            <p:nvPr/>
          </p:nvSpPr>
          <p:spPr bwMode="auto">
            <a:xfrm>
              <a:off x="4664076" y="2346325"/>
              <a:ext cx="1165225" cy="42545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8" name="Oval 3"/>
            <p:cNvSpPr>
              <a:spLocks noChangeArrowheads="1"/>
            </p:cNvSpPr>
            <p:nvPr/>
          </p:nvSpPr>
          <p:spPr bwMode="auto">
            <a:xfrm>
              <a:off x="5300663" y="2771775"/>
              <a:ext cx="317500" cy="363538"/>
            </a:xfrm>
            <a:prstGeom prst="ellipse">
              <a:avLst/>
            </a:prstGeom>
            <a:solidFill>
              <a:schemeClr val="bg2"/>
            </a:solidFill>
            <a:ln w="28575">
              <a:solidFill>
                <a:schemeClr val="tx2"/>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9" name="Rectangle 4"/>
            <p:cNvSpPr>
              <a:spLocks noChangeArrowheads="1"/>
            </p:cNvSpPr>
            <p:nvPr/>
          </p:nvSpPr>
          <p:spPr bwMode="auto">
            <a:xfrm>
              <a:off x="5700714" y="4468813"/>
              <a:ext cx="1163637" cy="42545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1" name="Oval 5"/>
            <p:cNvSpPr>
              <a:spLocks noChangeArrowheads="1"/>
            </p:cNvSpPr>
            <p:nvPr/>
          </p:nvSpPr>
          <p:spPr bwMode="auto">
            <a:xfrm>
              <a:off x="6388100" y="4894265"/>
              <a:ext cx="317500" cy="363537"/>
            </a:xfrm>
            <a:prstGeom prst="ellipse">
              <a:avLst/>
            </a:prstGeom>
            <a:solidFill>
              <a:schemeClr val="bg2"/>
            </a:solidFill>
            <a:ln w="28575">
              <a:solidFill>
                <a:schemeClr val="tx2"/>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2" name="Rectangle 6"/>
            <p:cNvSpPr>
              <a:spLocks noChangeArrowheads="1"/>
            </p:cNvSpPr>
            <p:nvPr/>
          </p:nvSpPr>
          <p:spPr bwMode="auto">
            <a:xfrm>
              <a:off x="7023100" y="4468813"/>
              <a:ext cx="1162050" cy="42545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3" name="Oval 7"/>
            <p:cNvSpPr>
              <a:spLocks noChangeArrowheads="1"/>
            </p:cNvSpPr>
            <p:nvPr/>
          </p:nvSpPr>
          <p:spPr bwMode="auto">
            <a:xfrm>
              <a:off x="7129463" y="4894265"/>
              <a:ext cx="317500" cy="363537"/>
            </a:xfrm>
            <a:prstGeom prst="ellipse">
              <a:avLst/>
            </a:prstGeom>
            <a:solidFill>
              <a:schemeClr val="bg2"/>
            </a:solidFill>
            <a:ln w="28575">
              <a:solidFill>
                <a:schemeClr val="tx2"/>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4" name="Oval 8"/>
            <p:cNvSpPr>
              <a:spLocks noChangeArrowheads="1"/>
            </p:cNvSpPr>
            <p:nvPr/>
          </p:nvSpPr>
          <p:spPr bwMode="auto">
            <a:xfrm>
              <a:off x="7816851" y="4894265"/>
              <a:ext cx="315913" cy="363537"/>
            </a:xfrm>
            <a:prstGeom prst="ellipse">
              <a:avLst/>
            </a:prstGeom>
            <a:solidFill>
              <a:schemeClr val="bg2"/>
            </a:solidFill>
            <a:ln w="28575">
              <a:solidFill>
                <a:schemeClr val="tx2"/>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5" name="Line 9"/>
            <p:cNvSpPr>
              <a:spLocks noChangeShapeType="1"/>
            </p:cNvSpPr>
            <p:nvPr/>
          </p:nvSpPr>
          <p:spPr bwMode="auto">
            <a:xfrm>
              <a:off x="6864350" y="4833938"/>
              <a:ext cx="158750" cy="0"/>
            </a:xfrm>
            <a:prstGeom prst="line">
              <a:avLst/>
            </a:prstGeom>
            <a:noFill/>
            <a:ln w="76200">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6" name="Rectangle 10"/>
            <p:cNvSpPr>
              <a:spLocks noChangeArrowheads="1"/>
            </p:cNvSpPr>
            <p:nvPr/>
          </p:nvSpPr>
          <p:spPr bwMode="auto">
            <a:xfrm>
              <a:off x="5700713" y="3863977"/>
              <a:ext cx="846137" cy="60325"/>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7" name="Oval 11"/>
            <p:cNvSpPr>
              <a:spLocks noChangeArrowheads="1"/>
            </p:cNvSpPr>
            <p:nvPr/>
          </p:nvSpPr>
          <p:spPr bwMode="auto">
            <a:xfrm>
              <a:off x="6176963" y="3924300"/>
              <a:ext cx="317500" cy="363538"/>
            </a:xfrm>
            <a:prstGeom prst="ellipse">
              <a:avLst/>
            </a:prstGeom>
            <a:solidFill>
              <a:schemeClr val="bg2"/>
            </a:solidFill>
            <a:ln w="28575">
              <a:solidFill>
                <a:schemeClr val="tx2"/>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8" name="Rectangle 12"/>
            <p:cNvSpPr>
              <a:spLocks noChangeArrowheads="1"/>
            </p:cNvSpPr>
            <p:nvPr/>
          </p:nvSpPr>
          <p:spPr bwMode="auto">
            <a:xfrm>
              <a:off x="6019801" y="3741738"/>
              <a:ext cx="2062163" cy="61912"/>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9" name="Oval 13"/>
            <p:cNvSpPr>
              <a:spLocks noChangeArrowheads="1"/>
            </p:cNvSpPr>
            <p:nvPr/>
          </p:nvSpPr>
          <p:spPr bwMode="auto">
            <a:xfrm>
              <a:off x="7551738" y="3924300"/>
              <a:ext cx="317500" cy="363538"/>
            </a:xfrm>
            <a:prstGeom prst="ellipse">
              <a:avLst/>
            </a:prstGeom>
            <a:solidFill>
              <a:schemeClr val="bg2"/>
            </a:solidFill>
            <a:ln w="28575">
              <a:solidFill>
                <a:schemeClr val="tx2"/>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20" name="Rectangle 14"/>
            <p:cNvSpPr>
              <a:spLocks noChangeArrowheads="1"/>
            </p:cNvSpPr>
            <p:nvPr/>
          </p:nvSpPr>
          <p:spPr bwMode="auto">
            <a:xfrm>
              <a:off x="6653213" y="3803650"/>
              <a:ext cx="1376362" cy="12065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21" name="Line 15"/>
            <p:cNvSpPr>
              <a:spLocks noChangeShapeType="1"/>
            </p:cNvSpPr>
            <p:nvPr/>
          </p:nvSpPr>
          <p:spPr bwMode="auto">
            <a:xfrm>
              <a:off x="6176963" y="3803652"/>
              <a:ext cx="0" cy="60325"/>
            </a:xfrm>
            <a:prstGeom prst="line">
              <a:avLst/>
            </a:prstGeom>
            <a:noFill/>
            <a:ln w="76200">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22" name="Line 16"/>
            <p:cNvSpPr>
              <a:spLocks noChangeShapeType="1"/>
            </p:cNvSpPr>
            <p:nvPr/>
          </p:nvSpPr>
          <p:spPr bwMode="auto">
            <a:xfrm>
              <a:off x="2290763" y="2640015"/>
              <a:ext cx="0" cy="1627187"/>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23" name="Line 17"/>
            <p:cNvSpPr>
              <a:spLocks noChangeShapeType="1"/>
            </p:cNvSpPr>
            <p:nvPr/>
          </p:nvSpPr>
          <p:spPr bwMode="auto">
            <a:xfrm>
              <a:off x="4059238" y="3843338"/>
              <a:ext cx="392112"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24" name="Line 18"/>
            <p:cNvSpPr>
              <a:spLocks noChangeShapeType="1"/>
            </p:cNvSpPr>
            <p:nvPr/>
          </p:nvSpPr>
          <p:spPr bwMode="auto">
            <a:xfrm>
              <a:off x="4059239" y="4691063"/>
              <a:ext cx="327025"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25" name="Line 19"/>
            <p:cNvSpPr>
              <a:spLocks noChangeShapeType="1"/>
            </p:cNvSpPr>
            <p:nvPr/>
          </p:nvSpPr>
          <p:spPr bwMode="auto">
            <a:xfrm>
              <a:off x="4059238" y="3843340"/>
              <a:ext cx="0" cy="847725"/>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26" name="Line 20"/>
            <p:cNvSpPr>
              <a:spLocks noChangeShapeType="1"/>
            </p:cNvSpPr>
            <p:nvPr/>
          </p:nvSpPr>
          <p:spPr bwMode="auto">
            <a:xfrm>
              <a:off x="2290764" y="4267200"/>
              <a:ext cx="223837"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27" name="Text Box 21"/>
            <p:cNvSpPr txBox="1">
              <a:spLocks noChangeArrowheads="1"/>
            </p:cNvSpPr>
            <p:nvPr/>
          </p:nvSpPr>
          <p:spPr bwMode="auto">
            <a:xfrm>
              <a:off x="3349626" y="2498725"/>
              <a:ext cx="870751" cy="4001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l" defTabSz="914377"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RIGID</a:t>
              </a:r>
            </a:p>
          </p:txBody>
        </p:sp>
        <p:sp>
          <p:nvSpPr>
            <p:cNvPr id="28" name="Text Box 22"/>
            <p:cNvSpPr txBox="1">
              <a:spLocks noChangeArrowheads="1"/>
            </p:cNvSpPr>
            <p:nvPr/>
          </p:nvSpPr>
          <p:spPr bwMode="auto">
            <a:xfrm>
              <a:off x="4419601" y="3657600"/>
              <a:ext cx="744114" cy="4001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l" defTabSz="914377"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SEMI</a:t>
              </a:r>
            </a:p>
          </p:txBody>
        </p:sp>
        <p:sp>
          <p:nvSpPr>
            <p:cNvPr id="29" name="Text Box 23"/>
            <p:cNvSpPr txBox="1">
              <a:spLocks noChangeArrowheads="1"/>
            </p:cNvSpPr>
            <p:nvPr/>
          </p:nvSpPr>
          <p:spPr bwMode="auto">
            <a:xfrm>
              <a:off x="4387850" y="4476690"/>
              <a:ext cx="867545" cy="4001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l" defTabSz="914377"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FULLY</a:t>
              </a:r>
            </a:p>
          </p:txBody>
        </p:sp>
        <p:sp>
          <p:nvSpPr>
            <p:cNvPr id="30" name="Text Box 24"/>
            <p:cNvSpPr txBox="1">
              <a:spLocks noChangeArrowheads="1"/>
            </p:cNvSpPr>
            <p:nvPr/>
          </p:nvSpPr>
          <p:spPr bwMode="auto">
            <a:xfrm>
              <a:off x="2438400" y="4038600"/>
              <a:ext cx="1676400" cy="7078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l" defTabSz="914377"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ARTICULATED</a:t>
              </a:r>
            </a:p>
          </p:txBody>
        </p:sp>
        <p:sp>
          <p:nvSpPr>
            <p:cNvPr id="31" name="Line 25"/>
            <p:cNvSpPr>
              <a:spLocks noChangeShapeType="1"/>
            </p:cNvSpPr>
            <p:nvPr/>
          </p:nvSpPr>
          <p:spPr bwMode="auto">
            <a:xfrm>
              <a:off x="2290764" y="2640013"/>
              <a:ext cx="104775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32" name="Text Box 26"/>
            <p:cNvSpPr txBox="1">
              <a:spLocks noChangeArrowheads="1"/>
            </p:cNvSpPr>
            <p:nvPr/>
          </p:nvSpPr>
          <p:spPr bwMode="auto">
            <a:xfrm>
              <a:off x="1143000" y="3246438"/>
              <a:ext cx="1199367" cy="4001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l" defTabSz="914377"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VEHICLE</a:t>
              </a:r>
            </a:p>
          </p:txBody>
        </p:sp>
        <p:sp>
          <p:nvSpPr>
            <p:cNvPr id="33" name="Line 27"/>
            <p:cNvSpPr>
              <a:spLocks noChangeShapeType="1"/>
            </p:cNvSpPr>
            <p:nvPr/>
          </p:nvSpPr>
          <p:spPr bwMode="auto">
            <a:xfrm>
              <a:off x="4648200" y="2709863"/>
              <a:ext cx="11811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34" name="Line 28"/>
            <p:cNvSpPr>
              <a:spLocks noChangeShapeType="1"/>
            </p:cNvSpPr>
            <p:nvPr/>
          </p:nvSpPr>
          <p:spPr bwMode="auto">
            <a:xfrm>
              <a:off x="5695951" y="4833938"/>
              <a:ext cx="1179513"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35" name="Line 29"/>
            <p:cNvSpPr>
              <a:spLocks noChangeShapeType="1"/>
            </p:cNvSpPr>
            <p:nvPr/>
          </p:nvSpPr>
          <p:spPr bwMode="auto">
            <a:xfrm>
              <a:off x="7005638" y="4833938"/>
              <a:ext cx="1179512"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36" name="AutoShape 31"/>
            <p:cNvSpPr>
              <a:spLocks noChangeArrowheads="1"/>
            </p:cNvSpPr>
            <p:nvPr/>
          </p:nvSpPr>
          <p:spPr bwMode="auto">
            <a:xfrm>
              <a:off x="4321176" y="2286000"/>
              <a:ext cx="327025" cy="636588"/>
            </a:xfrm>
            <a:prstGeom prst="roundRect">
              <a:avLst>
                <a:gd name="adj" fmla="val 16667"/>
              </a:avLst>
            </a:prstGeom>
            <a:noFill/>
            <a:ln w="9525">
              <a:solidFill>
                <a:schemeClr val="tx2"/>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37" name="AutoShape 32"/>
            <p:cNvSpPr>
              <a:spLocks noChangeArrowheads="1"/>
            </p:cNvSpPr>
            <p:nvPr/>
          </p:nvSpPr>
          <p:spPr bwMode="auto">
            <a:xfrm>
              <a:off x="4256089" y="2498727"/>
              <a:ext cx="65087" cy="354013"/>
            </a:xfrm>
            <a:prstGeom prst="roundRect">
              <a:avLst>
                <a:gd name="adj" fmla="val 16667"/>
              </a:avLst>
            </a:prstGeom>
            <a:noFill/>
            <a:ln w="9525">
              <a:solidFill>
                <a:schemeClr val="tx2"/>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38" name="AutoShape 34"/>
            <p:cNvSpPr>
              <a:spLocks noChangeArrowheads="1"/>
            </p:cNvSpPr>
            <p:nvPr/>
          </p:nvSpPr>
          <p:spPr bwMode="auto">
            <a:xfrm>
              <a:off x="5370514" y="3417890"/>
              <a:ext cx="325437" cy="636587"/>
            </a:xfrm>
            <a:prstGeom prst="roundRect">
              <a:avLst>
                <a:gd name="adj" fmla="val 16667"/>
              </a:avLst>
            </a:prstGeom>
            <a:noFill/>
            <a:ln w="9525">
              <a:solidFill>
                <a:schemeClr val="tx2"/>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39" name="AutoShape 35"/>
            <p:cNvSpPr>
              <a:spLocks noChangeArrowheads="1"/>
            </p:cNvSpPr>
            <p:nvPr/>
          </p:nvSpPr>
          <p:spPr bwMode="auto">
            <a:xfrm>
              <a:off x="5303839" y="3630613"/>
              <a:ext cx="66675" cy="354012"/>
            </a:xfrm>
            <a:prstGeom prst="roundRect">
              <a:avLst>
                <a:gd name="adj" fmla="val 16667"/>
              </a:avLst>
            </a:prstGeom>
            <a:noFill/>
            <a:ln w="9525">
              <a:solidFill>
                <a:schemeClr val="tx2"/>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0" name="AutoShape 37"/>
            <p:cNvSpPr>
              <a:spLocks noChangeArrowheads="1"/>
            </p:cNvSpPr>
            <p:nvPr/>
          </p:nvSpPr>
          <p:spPr bwMode="auto">
            <a:xfrm>
              <a:off x="5370514" y="4408490"/>
              <a:ext cx="325437" cy="636587"/>
            </a:xfrm>
            <a:prstGeom prst="roundRect">
              <a:avLst>
                <a:gd name="adj" fmla="val 16667"/>
              </a:avLst>
            </a:prstGeom>
            <a:noFill/>
            <a:ln w="9525">
              <a:solidFill>
                <a:schemeClr val="tx2"/>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1" name="AutoShape 38"/>
            <p:cNvSpPr>
              <a:spLocks noChangeArrowheads="1"/>
            </p:cNvSpPr>
            <p:nvPr/>
          </p:nvSpPr>
          <p:spPr bwMode="auto">
            <a:xfrm>
              <a:off x="5303839" y="4621213"/>
              <a:ext cx="66675" cy="354012"/>
            </a:xfrm>
            <a:prstGeom prst="roundRect">
              <a:avLst>
                <a:gd name="adj" fmla="val 16667"/>
              </a:avLst>
            </a:prstGeom>
            <a:noFill/>
            <a:ln w="9525">
              <a:solidFill>
                <a:schemeClr val="tx2"/>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2" name="Oval 33"/>
            <p:cNvSpPr>
              <a:spLocks noChangeArrowheads="1"/>
            </p:cNvSpPr>
            <p:nvPr/>
          </p:nvSpPr>
          <p:spPr bwMode="auto">
            <a:xfrm>
              <a:off x="5449888" y="3903663"/>
              <a:ext cx="317500" cy="363537"/>
            </a:xfrm>
            <a:prstGeom prst="ellipse">
              <a:avLst/>
            </a:prstGeom>
            <a:solidFill>
              <a:schemeClr val="bg2"/>
            </a:solidFill>
            <a:ln w="28575">
              <a:solidFill>
                <a:schemeClr val="tx2"/>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3" name="Oval 36"/>
            <p:cNvSpPr>
              <a:spLocks noChangeArrowheads="1"/>
            </p:cNvSpPr>
            <p:nvPr/>
          </p:nvSpPr>
          <p:spPr bwMode="auto">
            <a:xfrm>
              <a:off x="5449888" y="4894265"/>
              <a:ext cx="317500" cy="363537"/>
            </a:xfrm>
            <a:prstGeom prst="ellipse">
              <a:avLst/>
            </a:prstGeom>
            <a:solidFill>
              <a:schemeClr val="bg2"/>
            </a:solidFill>
            <a:ln w="28575">
              <a:solidFill>
                <a:schemeClr val="tx2"/>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4" name="Oval 30"/>
            <p:cNvSpPr>
              <a:spLocks noChangeArrowheads="1"/>
            </p:cNvSpPr>
            <p:nvPr/>
          </p:nvSpPr>
          <p:spPr bwMode="auto">
            <a:xfrm>
              <a:off x="4402138" y="2771775"/>
              <a:ext cx="317500" cy="363538"/>
            </a:xfrm>
            <a:prstGeom prst="ellipse">
              <a:avLst/>
            </a:prstGeom>
            <a:solidFill>
              <a:schemeClr val="bg2"/>
            </a:solidFill>
            <a:ln w="28575">
              <a:solidFill>
                <a:schemeClr val="tx2"/>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grpSp>
    </p:spTree>
    <p:extLst>
      <p:ext uri="{BB962C8B-B14F-4D97-AF65-F5344CB8AC3E}">
        <p14:creationId xmlns:p14="http://schemas.microsoft.com/office/powerpoint/2010/main" val="23443439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121467" y="47247"/>
            <a:ext cx="10464800"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CONFIGURATION</a:t>
            </a:r>
          </a:p>
        </p:txBody>
      </p:sp>
      <p:sp>
        <p:nvSpPr>
          <p:cNvPr id="68" name="Rectangle 67"/>
          <p:cNvSpPr/>
          <p:nvPr/>
        </p:nvSpPr>
        <p:spPr>
          <a:xfrm>
            <a:off x="156829" y="1076138"/>
            <a:ext cx="5735971"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SINGLE AXLE TRACTOR</a:t>
            </a:r>
          </a:p>
        </p:txBody>
      </p:sp>
      <p:sp>
        <p:nvSpPr>
          <p:cNvPr id="69" name="Rectangle 68"/>
          <p:cNvSpPr/>
          <p:nvPr/>
        </p:nvSpPr>
        <p:spPr>
          <a:xfrm>
            <a:off x="156829" y="1553654"/>
            <a:ext cx="5735971" cy="5112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sp>
        <p:nvSpPr>
          <p:cNvPr id="45" name="Rectangle 44"/>
          <p:cNvSpPr/>
          <p:nvPr/>
        </p:nvSpPr>
        <p:spPr>
          <a:xfrm>
            <a:off x="6305563" y="1076138"/>
            <a:ext cx="5735971"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ULTI AXLE TRACTOR</a:t>
            </a:r>
          </a:p>
        </p:txBody>
      </p:sp>
      <p:sp>
        <p:nvSpPr>
          <p:cNvPr id="46" name="Rectangle 45"/>
          <p:cNvSpPr/>
          <p:nvPr/>
        </p:nvSpPr>
        <p:spPr>
          <a:xfrm>
            <a:off x="6305563" y="1553654"/>
            <a:ext cx="5735971" cy="5112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pic>
        <p:nvPicPr>
          <p:cNvPr id="47" name="Picture 5"/>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0" b="100000" l="627" r="100000"/>
                    </a14:imgEffect>
                  </a14:imgLayer>
                </a14:imgProps>
              </a:ext>
              <a:ext uri="{28A0092B-C50C-407E-A947-70E740481C1C}">
                <a14:useLocalDpi xmlns:a14="http://schemas.microsoft.com/office/drawing/2010/main" val="0"/>
              </a:ext>
            </a:extLst>
          </a:blip>
          <a:srcRect/>
          <a:stretch>
            <a:fillRect/>
          </a:stretch>
        </p:blipFill>
        <p:spPr bwMode="auto">
          <a:xfrm>
            <a:off x="195801" y="2209800"/>
            <a:ext cx="5595400" cy="3087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3"/>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6377016" y="2099200"/>
            <a:ext cx="5510184" cy="2800069"/>
          </a:xfrm>
          <a:prstGeom prst="rect">
            <a:avLst/>
          </a:prstGeom>
          <a:solidFill>
            <a:srgbClr val="F2F2F2"/>
          </a:solidFill>
          <a:ln>
            <a:noFill/>
          </a:ln>
          <a:effectLst/>
        </p:spPr>
      </p:pic>
    </p:spTree>
    <p:extLst>
      <p:ext uri="{BB962C8B-B14F-4D97-AF65-F5344CB8AC3E}">
        <p14:creationId xmlns:p14="http://schemas.microsoft.com/office/powerpoint/2010/main" val="2463107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121467" y="47247"/>
            <a:ext cx="10464800"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TYPES OF TRAILERS</a:t>
            </a:r>
          </a:p>
        </p:txBody>
      </p:sp>
      <p:pic>
        <p:nvPicPr>
          <p:cNvPr id="45" name="Picture 44"/>
          <p:cNvPicPr>
            <a:picLocks noChangeAspect="1"/>
          </p:cNvPicPr>
          <p:nvPr/>
        </p:nvPicPr>
        <p:blipFill>
          <a:blip r:embed="rId3"/>
          <a:stretch>
            <a:fillRect/>
          </a:stretch>
        </p:blipFill>
        <p:spPr>
          <a:xfrm>
            <a:off x="2770861" y="1739567"/>
            <a:ext cx="6881139" cy="4682133"/>
          </a:xfrm>
          <a:prstGeom prst="rect">
            <a:avLst/>
          </a:prstGeom>
        </p:spPr>
      </p:pic>
      <p:sp>
        <p:nvSpPr>
          <p:cNvPr id="2" name="TextBox 1"/>
          <p:cNvSpPr txBox="1"/>
          <p:nvPr/>
        </p:nvSpPr>
        <p:spPr>
          <a:xfrm>
            <a:off x="5793781" y="1740735"/>
            <a:ext cx="1419819" cy="406265"/>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LAT BED</a:t>
            </a:r>
          </a:p>
        </p:txBody>
      </p:sp>
    </p:spTree>
    <p:extLst>
      <p:ext uri="{BB962C8B-B14F-4D97-AF65-F5344CB8AC3E}">
        <p14:creationId xmlns:p14="http://schemas.microsoft.com/office/powerpoint/2010/main" val="34153205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121467" y="47247"/>
            <a:ext cx="10464800"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TYPES OF TIPPERS</a:t>
            </a:r>
          </a:p>
        </p:txBody>
      </p:sp>
      <p:pic>
        <p:nvPicPr>
          <p:cNvPr id="6" name="Picture 1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84960" y="857997"/>
            <a:ext cx="8717280" cy="5909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937778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121467" y="47247"/>
            <a:ext cx="10464800"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TRUCK BASIC: CONFIGURATION</a:t>
            </a:r>
          </a:p>
        </p:txBody>
      </p:sp>
      <p:sp>
        <p:nvSpPr>
          <p:cNvPr id="58" name="Text Box 40"/>
          <p:cNvSpPr txBox="1">
            <a:spLocks noChangeArrowheads="1"/>
          </p:cNvSpPr>
          <p:nvPr/>
        </p:nvSpPr>
        <p:spPr bwMode="auto">
          <a:xfrm>
            <a:off x="7164615" y="2454274"/>
            <a:ext cx="17526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Gothic720 BT" pitchFamily="34" charset="0"/>
              </a:defRPr>
            </a:lvl1pPr>
            <a:lvl2pPr marL="742950" indent="-285750" eaLnBrk="0" hangingPunct="0">
              <a:defRPr>
                <a:solidFill>
                  <a:schemeClr val="tx1"/>
                </a:solidFill>
                <a:latin typeface="Gothic720 BT" pitchFamily="34" charset="0"/>
              </a:defRPr>
            </a:lvl2pPr>
            <a:lvl3pPr marL="1143000" indent="-228600" eaLnBrk="0" hangingPunct="0">
              <a:defRPr>
                <a:solidFill>
                  <a:schemeClr val="tx1"/>
                </a:solidFill>
                <a:latin typeface="Gothic720 BT" pitchFamily="34" charset="0"/>
              </a:defRPr>
            </a:lvl3pPr>
            <a:lvl4pPr marL="1600200" indent="-228600" eaLnBrk="0" hangingPunct="0">
              <a:defRPr>
                <a:solidFill>
                  <a:schemeClr val="tx1"/>
                </a:solidFill>
                <a:latin typeface="Gothic720 BT" pitchFamily="34" charset="0"/>
              </a:defRPr>
            </a:lvl4pPr>
            <a:lvl5pPr marL="2057400" indent="-228600" eaLnBrk="0" hangingPunct="0">
              <a:defRPr>
                <a:solidFill>
                  <a:schemeClr val="tx1"/>
                </a:solidFill>
                <a:latin typeface="Gothic720 BT" pitchFamily="34" charset="0"/>
              </a:defRPr>
            </a:lvl5pPr>
            <a:lvl6pPr marL="2514600" indent="-228600" eaLnBrk="0" fontAlgn="base" hangingPunct="0">
              <a:spcBef>
                <a:spcPct val="0"/>
              </a:spcBef>
              <a:spcAft>
                <a:spcPct val="0"/>
              </a:spcAft>
              <a:defRPr>
                <a:solidFill>
                  <a:schemeClr val="tx1"/>
                </a:solidFill>
                <a:latin typeface="Gothic720 BT" pitchFamily="34" charset="0"/>
              </a:defRPr>
            </a:lvl6pPr>
            <a:lvl7pPr marL="2971800" indent="-228600" eaLnBrk="0" fontAlgn="base" hangingPunct="0">
              <a:spcBef>
                <a:spcPct val="0"/>
              </a:spcBef>
              <a:spcAft>
                <a:spcPct val="0"/>
              </a:spcAft>
              <a:defRPr>
                <a:solidFill>
                  <a:schemeClr val="tx1"/>
                </a:solidFill>
                <a:latin typeface="Gothic720 BT" pitchFamily="34" charset="0"/>
              </a:defRPr>
            </a:lvl7pPr>
            <a:lvl8pPr marL="3429000" indent="-228600" eaLnBrk="0" fontAlgn="base" hangingPunct="0">
              <a:spcBef>
                <a:spcPct val="0"/>
              </a:spcBef>
              <a:spcAft>
                <a:spcPct val="0"/>
              </a:spcAft>
              <a:defRPr>
                <a:solidFill>
                  <a:schemeClr val="tx1"/>
                </a:solidFill>
                <a:latin typeface="Gothic720 BT" pitchFamily="34" charset="0"/>
              </a:defRPr>
            </a:lvl8pPr>
            <a:lvl9pPr marL="3886200" indent="-228600" eaLnBrk="0" fontAlgn="base" hangingPunct="0">
              <a:spcBef>
                <a:spcPct val="0"/>
              </a:spcBef>
              <a:spcAft>
                <a:spcPct val="0"/>
              </a:spcAft>
              <a:defRPr>
                <a:solidFill>
                  <a:schemeClr val="tx1"/>
                </a:solidFill>
                <a:latin typeface="Gothic720 BT" pitchFamily="34" charset="0"/>
              </a:defRPr>
            </a:lvl9pPr>
          </a:lstStyle>
          <a:p>
            <a:pPr marL="0" marR="0" lvl="0" indent="0" algn="l" defTabSz="914377" rtl="0" eaLnBrk="1" fontAlgn="auto" latinLnBrk="0" hangingPunct="1">
              <a:lnSpc>
                <a:spcPct val="100000"/>
              </a:lnSpc>
              <a:spcBef>
                <a:spcPct val="50000"/>
              </a:spcBef>
              <a:spcAft>
                <a:spcPts val="0"/>
              </a:spcAft>
              <a:buClrTx/>
              <a:buSzTx/>
              <a:buFontTx/>
              <a:buNone/>
              <a:tabLst/>
              <a:defRPr/>
            </a:pPr>
            <a:r>
              <a:rPr kumimoji="0" lang="en-US" sz="5400" b="0" i="0" u="sng"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6</a:t>
            </a:r>
            <a:r>
              <a:rPr kumimoji="0" lang="en-US" sz="54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 x </a:t>
            </a:r>
            <a:r>
              <a:rPr kumimoji="0" lang="en-US" sz="5400" b="0" i="0" u="sng"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2</a:t>
            </a:r>
          </a:p>
        </p:txBody>
      </p:sp>
      <p:sp>
        <p:nvSpPr>
          <p:cNvPr id="59" name="Text Box 42"/>
          <p:cNvSpPr txBox="1">
            <a:spLocks noChangeArrowheads="1"/>
          </p:cNvSpPr>
          <p:nvPr/>
        </p:nvSpPr>
        <p:spPr bwMode="auto">
          <a:xfrm>
            <a:off x="6386285" y="4042341"/>
            <a:ext cx="14478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Gothic720 BT" pitchFamily="34" charset="0"/>
              </a:defRPr>
            </a:lvl1pPr>
            <a:lvl2pPr marL="742950" indent="-285750" eaLnBrk="0" hangingPunct="0">
              <a:defRPr>
                <a:solidFill>
                  <a:schemeClr val="tx1"/>
                </a:solidFill>
                <a:latin typeface="Gothic720 BT" pitchFamily="34" charset="0"/>
              </a:defRPr>
            </a:lvl2pPr>
            <a:lvl3pPr marL="1143000" indent="-228600" eaLnBrk="0" hangingPunct="0">
              <a:defRPr>
                <a:solidFill>
                  <a:schemeClr val="tx1"/>
                </a:solidFill>
                <a:latin typeface="Gothic720 BT" pitchFamily="34" charset="0"/>
              </a:defRPr>
            </a:lvl3pPr>
            <a:lvl4pPr marL="1600200" indent="-228600" eaLnBrk="0" hangingPunct="0">
              <a:defRPr>
                <a:solidFill>
                  <a:schemeClr val="tx1"/>
                </a:solidFill>
                <a:latin typeface="Gothic720 BT" pitchFamily="34" charset="0"/>
              </a:defRPr>
            </a:lvl4pPr>
            <a:lvl5pPr marL="2057400" indent="-228600" eaLnBrk="0" hangingPunct="0">
              <a:defRPr>
                <a:solidFill>
                  <a:schemeClr val="tx1"/>
                </a:solidFill>
                <a:latin typeface="Gothic720 BT" pitchFamily="34" charset="0"/>
              </a:defRPr>
            </a:lvl5pPr>
            <a:lvl6pPr marL="2514600" indent="-228600" eaLnBrk="0" fontAlgn="base" hangingPunct="0">
              <a:spcBef>
                <a:spcPct val="0"/>
              </a:spcBef>
              <a:spcAft>
                <a:spcPct val="0"/>
              </a:spcAft>
              <a:defRPr>
                <a:solidFill>
                  <a:schemeClr val="tx1"/>
                </a:solidFill>
                <a:latin typeface="Gothic720 BT" pitchFamily="34" charset="0"/>
              </a:defRPr>
            </a:lvl6pPr>
            <a:lvl7pPr marL="2971800" indent="-228600" eaLnBrk="0" fontAlgn="base" hangingPunct="0">
              <a:spcBef>
                <a:spcPct val="0"/>
              </a:spcBef>
              <a:spcAft>
                <a:spcPct val="0"/>
              </a:spcAft>
              <a:defRPr>
                <a:solidFill>
                  <a:schemeClr val="tx1"/>
                </a:solidFill>
                <a:latin typeface="Gothic720 BT" pitchFamily="34" charset="0"/>
              </a:defRPr>
            </a:lvl7pPr>
            <a:lvl8pPr marL="3429000" indent="-228600" eaLnBrk="0" fontAlgn="base" hangingPunct="0">
              <a:spcBef>
                <a:spcPct val="0"/>
              </a:spcBef>
              <a:spcAft>
                <a:spcPct val="0"/>
              </a:spcAft>
              <a:defRPr>
                <a:solidFill>
                  <a:schemeClr val="tx1"/>
                </a:solidFill>
                <a:latin typeface="Gothic720 BT" pitchFamily="34" charset="0"/>
              </a:defRPr>
            </a:lvl8pPr>
            <a:lvl9pPr marL="3886200" indent="-228600" eaLnBrk="0" fontAlgn="base" hangingPunct="0">
              <a:spcBef>
                <a:spcPct val="0"/>
              </a:spcBef>
              <a:spcAft>
                <a:spcPct val="0"/>
              </a:spcAft>
              <a:defRPr>
                <a:solidFill>
                  <a:schemeClr val="tx1"/>
                </a:solidFill>
                <a:latin typeface="Gothic720 BT" pitchFamily="34" charset="0"/>
              </a:defRPr>
            </a:lvl9pPr>
          </a:lstStyle>
          <a:p>
            <a:pPr marL="0" marR="0" lvl="0" indent="0" algn="l" defTabSz="914377" rtl="0" eaLnBrk="1" fontAlgn="auto" latinLnBrk="0" hangingPunct="1">
              <a:lnSpc>
                <a:spcPct val="100000"/>
              </a:lnSpc>
              <a:spcBef>
                <a:spcPct val="500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6 Wheel Ends</a:t>
            </a:r>
          </a:p>
        </p:txBody>
      </p:sp>
      <p:sp>
        <p:nvSpPr>
          <p:cNvPr id="60" name="Line 43"/>
          <p:cNvSpPr>
            <a:spLocks noChangeShapeType="1"/>
          </p:cNvSpPr>
          <p:nvPr/>
        </p:nvSpPr>
        <p:spPr bwMode="auto">
          <a:xfrm flipH="1">
            <a:off x="7023100" y="3271045"/>
            <a:ext cx="381000" cy="771295"/>
          </a:xfrm>
          <a:prstGeom prst="line">
            <a:avLst/>
          </a:prstGeom>
          <a:noFill/>
          <a:ln w="15875">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61" name="Text Box 44"/>
          <p:cNvSpPr txBox="1">
            <a:spLocks noChangeArrowheads="1"/>
          </p:cNvSpPr>
          <p:nvPr/>
        </p:nvSpPr>
        <p:spPr bwMode="auto">
          <a:xfrm>
            <a:off x="8176985" y="4172745"/>
            <a:ext cx="22098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Gothic720 BT" pitchFamily="34" charset="0"/>
              </a:defRPr>
            </a:lvl1pPr>
            <a:lvl2pPr marL="742950" indent="-285750" eaLnBrk="0" hangingPunct="0">
              <a:defRPr>
                <a:solidFill>
                  <a:schemeClr val="tx1"/>
                </a:solidFill>
                <a:latin typeface="Gothic720 BT" pitchFamily="34" charset="0"/>
              </a:defRPr>
            </a:lvl2pPr>
            <a:lvl3pPr marL="1143000" indent="-228600" eaLnBrk="0" hangingPunct="0">
              <a:defRPr>
                <a:solidFill>
                  <a:schemeClr val="tx1"/>
                </a:solidFill>
                <a:latin typeface="Gothic720 BT" pitchFamily="34" charset="0"/>
              </a:defRPr>
            </a:lvl3pPr>
            <a:lvl4pPr marL="1600200" indent="-228600" eaLnBrk="0" hangingPunct="0">
              <a:defRPr>
                <a:solidFill>
                  <a:schemeClr val="tx1"/>
                </a:solidFill>
                <a:latin typeface="Gothic720 BT" pitchFamily="34" charset="0"/>
              </a:defRPr>
            </a:lvl4pPr>
            <a:lvl5pPr marL="2057400" indent="-228600" eaLnBrk="0" hangingPunct="0">
              <a:defRPr>
                <a:solidFill>
                  <a:schemeClr val="tx1"/>
                </a:solidFill>
                <a:latin typeface="Gothic720 BT" pitchFamily="34" charset="0"/>
              </a:defRPr>
            </a:lvl5pPr>
            <a:lvl6pPr marL="2514600" indent="-228600" eaLnBrk="0" fontAlgn="base" hangingPunct="0">
              <a:spcBef>
                <a:spcPct val="0"/>
              </a:spcBef>
              <a:spcAft>
                <a:spcPct val="0"/>
              </a:spcAft>
              <a:defRPr>
                <a:solidFill>
                  <a:schemeClr val="tx1"/>
                </a:solidFill>
                <a:latin typeface="Gothic720 BT" pitchFamily="34" charset="0"/>
              </a:defRPr>
            </a:lvl6pPr>
            <a:lvl7pPr marL="2971800" indent="-228600" eaLnBrk="0" fontAlgn="base" hangingPunct="0">
              <a:spcBef>
                <a:spcPct val="0"/>
              </a:spcBef>
              <a:spcAft>
                <a:spcPct val="0"/>
              </a:spcAft>
              <a:defRPr>
                <a:solidFill>
                  <a:schemeClr val="tx1"/>
                </a:solidFill>
                <a:latin typeface="Gothic720 BT" pitchFamily="34" charset="0"/>
              </a:defRPr>
            </a:lvl7pPr>
            <a:lvl8pPr marL="3429000" indent="-228600" eaLnBrk="0" fontAlgn="base" hangingPunct="0">
              <a:spcBef>
                <a:spcPct val="0"/>
              </a:spcBef>
              <a:spcAft>
                <a:spcPct val="0"/>
              </a:spcAft>
              <a:defRPr>
                <a:solidFill>
                  <a:schemeClr val="tx1"/>
                </a:solidFill>
                <a:latin typeface="Gothic720 BT" pitchFamily="34" charset="0"/>
              </a:defRPr>
            </a:lvl8pPr>
            <a:lvl9pPr marL="3886200" indent="-228600" eaLnBrk="0" fontAlgn="base" hangingPunct="0">
              <a:spcBef>
                <a:spcPct val="0"/>
              </a:spcBef>
              <a:spcAft>
                <a:spcPct val="0"/>
              </a:spcAft>
              <a:defRPr>
                <a:solidFill>
                  <a:schemeClr val="tx1"/>
                </a:solidFill>
                <a:latin typeface="Gothic720 BT" pitchFamily="34" charset="0"/>
              </a:defRPr>
            </a:lvl9pPr>
          </a:lstStyle>
          <a:p>
            <a:pPr marL="0" marR="0" lvl="0" indent="0" algn="l" defTabSz="914377" rtl="0" eaLnBrk="1" fontAlgn="auto" latinLnBrk="0" hangingPunct="1">
              <a:lnSpc>
                <a:spcPct val="100000"/>
              </a:lnSpc>
              <a:spcBef>
                <a:spcPct val="500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2 Driven Wheel Ends</a:t>
            </a:r>
          </a:p>
        </p:txBody>
      </p:sp>
      <p:sp>
        <p:nvSpPr>
          <p:cNvPr id="62" name="Line 45"/>
          <p:cNvSpPr>
            <a:spLocks noChangeShapeType="1"/>
          </p:cNvSpPr>
          <p:nvPr/>
        </p:nvSpPr>
        <p:spPr bwMode="auto">
          <a:xfrm>
            <a:off x="8467223" y="3243263"/>
            <a:ext cx="364671" cy="808037"/>
          </a:xfrm>
          <a:prstGeom prst="line">
            <a:avLst/>
          </a:prstGeom>
          <a:noFill/>
          <a:ln w="15875">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grpSp>
        <p:nvGrpSpPr>
          <p:cNvPr id="63" name="Group 62"/>
          <p:cNvGrpSpPr/>
          <p:nvPr/>
        </p:nvGrpSpPr>
        <p:grpSpPr>
          <a:xfrm>
            <a:off x="2438400" y="2819401"/>
            <a:ext cx="3276600" cy="1536700"/>
            <a:chOff x="787400" y="1308100"/>
            <a:chExt cx="3276600" cy="1536700"/>
          </a:xfrm>
        </p:grpSpPr>
        <p:grpSp>
          <p:nvGrpSpPr>
            <p:cNvPr id="64" name="Group 63"/>
            <p:cNvGrpSpPr/>
            <p:nvPr/>
          </p:nvGrpSpPr>
          <p:grpSpPr>
            <a:xfrm>
              <a:off x="787400" y="1308100"/>
              <a:ext cx="3276600" cy="1536700"/>
              <a:chOff x="787400" y="1308100"/>
              <a:chExt cx="3276600" cy="1536700"/>
            </a:xfrm>
          </p:grpSpPr>
          <p:grpSp>
            <p:nvGrpSpPr>
              <p:cNvPr id="66" name="Group 797"/>
              <p:cNvGrpSpPr>
                <a:grpSpLocks/>
              </p:cNvGrpSpPr>
              <p:nvPr/>
            </p:nvGrpSpPr>
            <p:grpSpPr bwMode="auto">
              <a:xfrm>
                <a:off x="787400" y="1308100"/>
                <a:ext cx="3276600" cy="838200"/>
                <a:chOff x="3120" y="2448"/>
                <a:chExt cx="2064" cy="528"/>
              </a:xfrm>
            </p:grpSpPr>
            <p:grpSp>
              <p:nvGrpSpPr>
                <p:cNvPr id="75" name="Group 798"/>
                <p:cNvGrpSpPr>
                  <a:grpSpLocks/>
                </p:cNvGrpSpPr>
                <p:nvPr/>
              </p:nvGrpSpPr>
              <p:grpSpPr bwMode="auto">
                <a:xfrm>
                  <a:off x="3216" y="2640"/>
                  <a:ext cx="1248" cy="144"/>
                  <a:chOff x="624" y="4224"/>
                  <a:chExt cx="1248" cy="144"/>
                </a:xfrm>
              </p:grpSpPr>
              <p:sp>
                <p:nvSpPr>
                  <p:cNvPr id="102" name="Line 799"/>
                  <p:cNvSpPr>
                    <a:spLocks noChangeShapeType="1"/>
                  </p:cNvSpPr>
                  <p:nvPr/>
                </p:nvSpPr>
                <p:spPr bwMode="auto">
                  <a:xfrm>
                    <a:off x="912" y="4296"/>
                    <a:ext cx="960" cy="0"/>
                  </a:xfrm>
                  <a:prstGeom prst="line">
                    <a:avLst/>
                  </a:prstGeom>
                  <a:noFill/>
                  <a:ln w="28575">
                    <a:solidFill>
                      <a:srgbClr val="969696"/>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103" name="Rectangle 800"/>
                  <p:cNvSpPr>
                    <a:spLocks noChangeArrowheads="1"/>
                  </p:cNvSpPr>
                  <p:nvPr/>
                </p:nvSpPr>
                <p:spPr bwMode="auto">
                  <a:xfrm>
                    <a:off x="624" y="4224"/>
                    <a:ext cx="240" cy="144"/>
                  </a:xfrm>
                  <a:prstGeom prst="rect">
                    <a:avLst/>
                  </a:pr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104" name="AutoShape 801"/>
                  <p:cNvSpPr>
                    <a:spLocks noChangeArrowheads="1"/>
                  </p:cNvSpPr>
                  <p:nvPr/>
                </p:nvSpPr>
                <p:spPr bwMode="auto">
                  <a:xfrm rot="-5400000">
                    <a:off x="840" y="4248"/>
                    <a:ext cx="144" cy="96"/>
                  </a:xfrm>
                  <a:custGeom>
                    <a:avLst/>
                    <a:gdLst>
                      <a:gd name="T0" fmla="*/ 1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grpSp>
            <p:grpSp>
              <p:nvGrpSpPr>
                <p:cNvPr id="76" name="Group 802"/>
                <p:cNvGrpSpPr>
                  <a:grpSpLocks/>
                </p:cNvGrpSpPr>
                <p:nvPr/>
              </p:nvGrpSpPr>
              <p:grpSpPr bwMode="auto">
                <a:xfrm>
                  <a:off x="3120" y="2448"/>
                  <a:ext cx="2064" cy="528"/>
                  <a:chOff x="3120" y="1632"/>
                  <a:chExt cx="2064" cy="528"/>
                </a:xfrm>
              </p:grpSpPr>
              <p:sp>
                <p:nvSpPr>
                  <p:cNvPr id="77" name="Oval 803"/>
                  <p:cNvSpPr>
                    <a:spLocks noChangeArrowheads="1"/>
                  </p:cNvSpPr>
                  <p:nvPr/>
                </p:nvSpPr>
                <p:spPr bwMode="auto">
                  <a:xfrm>
                    <a:off x="4450" y="1849"/>
                    <a:ext cx="69" cy="88"/>
                  </a:xfrm>
                  <a:prstGeom prst="ellipse">
                    <a:avLst/>
                  </a:prstGeom>
                  <a:solidFill>
                    <a:schemeClr val="folHlink"/>
                  </a:solidFill>
                  <a:ln w="12700">
                    <a:solidFill>
                      <a:schemeClr val="accent2"/>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78" name="Rectangle 804"/>
                  <p:cNvSpPr>
                    <a:spLocks noChangeArrowheads="1"/>
                  </p:cNvSpPr>
                  <p:nvPr/>
                </p:nvSpPr>
                <p:spPr bwMode="auto">
                  <a:xfrm>
                    <a:off x="4473" y="1720"/>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79" name="Rectangle 805"/>
                  <p:cNvSpPr>
                    <a:spLocks noChangeArrowheads="1"/>
                  </p:cNvSpPr>
                  <p:nvPr/>
                </p:nvSpPr>
                <p:spPr bwMode="auto">
                  <a:xfrm>
                    <a:off x="3391" y="1720"/>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80" name="Rectangle 806"/>
                  <p:cNvSpPr>
                    <a:spLocks noChangeArrowheads="1"/>
                  </p:cNvSpPr>
                  <p:nvPr/>
                </p:nvSpPr>
                <p:spPr bwMode="auto">
                  <a:xfrm>
                    <a:off x="4752" y="1720"/>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81" name="Rectangle 807"/>
                  <p:cNvSpPr>
                    <a:spLocks noChangeArrowheads="1"/>
                  </p:cNvSpPr>
                  <p:nvPr/>
                </p:nvSpPr>
                <p:spPr bwMode="auto">
                  <a:xfrm>
                    <a:off x="3120" y="1790"/>
                    <a:ext cx="2064" cy="36"/>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82" name="Rectangle 808"/>
                  <p:cNvSpPr>
                    <a:spLocks noChangeArrowheads="1"/>
                  </p:cNvSpPr>
                  <p:nvPr/>
                </p:nvSpPr>
                <p:spPr bwMode="auto">
                  <a:xfrm>
                    <a:off x="3120" y="1966"/>
                    <a:ext cx="2064" cy="36"/>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83" name="Rectangle 809"/>
                  <p:cNvSpPr>
                    <a:spLocks noChangeArrowheads="1"/>
                  </p:cNvSpPr>
                  <p:nvPr/>
                </p:nvSpPr>
                <p:spPr bwMode="auto">
                  <a:xfrm>
                    <a:off x="3120" y="179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84" name="Rectangle 810"/>
                  <p:cNvSpPr>
                    <a:spLocks noChangeArrowheads="1"/>
                  </p:cNvSpPr>
                  <p:nvPr/>
                </p:nvSpPr>
                <p:spPr bwMode="auto">
                  <a:xfrm>
                    <a:off x="3602" y="179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85" name="Rectangle 811"/>
                  <p:cNvSpPr>
                    <a:spLocks noChangeArrowheads="1"/>
                  </p:cNvSpPr>
                  <p:nvPr/>
                </p:nvSpPr>
                <p:spPr bwMode="auto">
                  <a:xfrm>
                    <a:off x="3923" y="179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86" name="Rectangle 812"/>
                  <p:cNvSpPr>
                    <a:spLocks noChangeArrowheads="1"/>
                  </p:cNvSpPr>
                  <p:nvPr/>
                </p:nvSpPr>
                <p:spPr bwMode="auto">
                  <a:xfrm>
                    <a:off x="4358" y="179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87" name="Rectangle 813"/>
                  <p:cNvSpPr>
                    <a:spLocks noChangeArrowheads="1"/>
                  </p:cNvSpPr>
                  <p:nvPr/>
                </p:nvSpPr>
                <p:spPr bwMode="auto">
                  <a:xfrm>
                    <a:off x="4634" y="179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88" name="Rectangle 814"/>
                  <p:cNvSpPr>
                    <a:spLocks noChangeArrowheads="1"/>
                  </p:cNvSpPr>
                  <p:nvPr/>
                </p:nvSpPr>
                <p:spPr bwMode="auto">
                  <a:xfrm>
                    <a:off x="4886" y="179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89" name="Rectangle 815"/>
                  <p:cNvSpPr>
                    <a:spLocks noChangeArrowheads="1"/>
                  </p:cNvSpPr>
                  <p:nvPr/>
                </p:nvSpPr>
                <p:spPr bwMode="auto">
                  <a:xfrm>
                    <a:off x="5161" y="179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90" name="Rectangle 816"/>
                  <p:cNvSpPr>
                    <a:spLocks noChangeArrowheads="1"/>
                  </p:cNvSpPr>
                  <p:nvPr/>
                </p:nvSpPr>
                <p:spPr bwMode="auto">
                  <a:xfrm>
                    <a:off x="3120" y="1650"/>
                    <a:ext cx="69" cy="492"/>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91" name="AutoShape 817"/>
                  <p:cNvSpPr>
                    <a:spLocks noChangeArrowheads="1"/>
                  </p:cNvSpPr>
                  <p:nvPr/>
                </p:nvSpPr>
                <p:spPr bwMode="auto">
                  <a:xfrm rot="859363">
                    <a:off x="3326" y="1685"/>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92" name="AutoShape 818"/>
                  <p:cNvSpPr>
                    <a:spLocks noChangeArrowheads="1"/>
                  </p:cNvSpPr>
                  <p:nvPr/>
                </p:nvSpPr>
                <p:spPr bwMode="auto">
                  <a:xfrm rot="859363">
                    <a:off x="3326" y="2037"/>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93" name="AutoShape 819"/>
                  <p:cNvSpPr>
                    <a:spLocks noChangeArrowheads="1"/>
                  </p:cNvSpPr>
                  <p:nvPr/>
                </p:nvSpPr>
                <p:spPr bwMode="auto">
                  <a:xfrm>
                    <a:off x="4404" y="1708"/>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94" name="AutoShape 820"/>
                  <p:cNvSpPr>
                    <a:spLocks noChangeArrowheads="1"/>
                  </p:cNvSpPr>
                  <p:nvPr/>
                </p:nvSpPr>
                <p:spPr bwMode="auto">
                  <a:xfrm>
                    <a:off x="4404" y="2019"/>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95" name="AutoShape 821"/>
                  <p:cNvSpPr>
                    <a:spLocks noChangeArrowheads="1"/>
                  </p:cNvSpPr>
                  <p:nvPr/>
                </p:nvSpPr>
                <p:spPr bwMode="auto">
                  <a:xfrm>
                    <a:off x="4404" y="2090"/>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96" name="AutoShape 822"/>
                  <p:cNvSpPr>
                    <a:spLocks noChangeArrowheads="1"/>
                  </p:cNvSpPr>
                  <p:nvPr/>
                </p:nvSpPr>
                <p:spPr bwMode="auto">
                  <a:xfrm>
                    <a:off x="4404" y="1632"/>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97" name="AutoShape 823"/>
                  <p:cNvSpPr>
                    <a:spLocks noChangeArrowheads="1"/>
                  </p:cNvSpPr>
                  <p:nvPr/>
                </p:nvSpPr>
                <p:spPr bwMode="auto">
                  <a:xfrm>
                    <a:off x="4702" y="1708"/>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98" name="AutoShape 824"/>
                  <p:cNvSpPr>
                    <a:spLocks noChangeArrowheads="1"/>
                  </p:cNvSpPr>
                  <p:nvPr/>
                </p:nvSpPr>
                <p:spPr bwMode="auto">
                  <a:xfrm>
                    <a:off x="4702" y="2019"/>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99" name="AutoShape 825"/>
                  <p:cNvSpPr>
                    <a:spLocks noChangeArrowheads="1"/>
                  </p:cNvSpPr>
                  <p:nvPr/>
                </p:nvSpPr>
                <p:spPr bwMode="auto">
                  <a:xfrm>
                    <a:off x="4702" y="2090"/>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100" name="AutoShape 826"/>
                  <p:cNvSpPr>
                    <a:spLocks noChangeArrowheads="1"/>
                  </p:cNvSpPr>
                  <p:nvPr/>
                </p:nvSpPr>
                <p:spPr bwMode="auto">
                  <a:xfrm>
                    <a:off x="4702" y="1632"/>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101" name="Rectangle 827"/>
                  <p:cNvSpPr>
                    <a:spLocks noChangeArrowheads="1"/>
                  </p:cNvSpPr>
                  <p:nvPr/>
                </p:nvSpPr>
                <p:spPr bwMode="auto">
                  <a:xfrm>
                    <a:off x="3120" y="1650"/>
                    <a:ext cx="459" cy="492"/>
                  </a:xfrm>
                  <a:prstGeom prst="rect">
                    <a:avLst/>
                  </a:prstGeom>
                  <a:solidFill>
                    <a:srgbClr val="CCFFCC">
                      <a:alpha val="47842"/>
                    </a:srgbClr>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grpSp>
          </p:grpSp>
          <p:sp>
            <p:nvSpPr>
              <p:cNvPr id="67" name="Oval 66"/>
              <p:cNvSpPr>
                <a:spLocks noChangeArrowheads="1"/>
              </p:cNvSpPr>
              <p:nvPr/>
            </p:nvSpPr>
            <p:spPr bwMode="auto">
              <a:xfrm>
                <a:off x="990600" y="1841500"/>
                <a:ext cx="457200" cy="381000"/>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68" name="Oval 67"/>
              <p:cNvSpPr>
                <a:spLocks noChangeArrowheads="1"/>
              </p:cNvSpPr>
              <p:nvPr/>
            </p:nvSpPr>
            <p:spPr bwMode="auto">
              <a:xfrm>
                <a:off x="3200400" y="1841500"/>
                <a:ext cx="457200" cy="381000"/>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69" name="Oval 68"/>
              <p:cNvSpPr>
                <a:spLocks noChangeArrowheads="1"/>
              </p:cNvSpPr>
              <p:nvPr/>
            </p:nvSpPr>
            <p:spPr bwMode="auto">
              <a:xfrm>
                <a:off x="1574800" y="2540000"/>
                <a:ext cx="1524000" cy="304800"/>
              </a:xfrm>
              <a:prstGeom prst="ellipse">
                <a:avLst/>
              </a:prstGeom>
              <a:noFill/>
              <a:ln w="12700">
                <a:solidFill>
                  <a:srgbClr val="80808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33399"/>
                    </a:solidFill>
                    <a:effectLst/>
                    <a:uLnTx/>
                    <a:uFillTx/>
                    <a:latin typeface="Century Gothic" panose="020B0502020202020204" pitchFamily="34" charset="0"/>
                    <a:ea typeface="+mn-ea"/>
                    <a:cs typeface="Calibri" pitchFamily="34" charset="0"/>
                  </a:rPr>
                  <a:t>Wheel Ends</a:t>
                </a:r>
              </a:p>
            </p:txBody>
          </p:sp>
          <p:sp>
            <p:nvSpPr>
              <p:cNvPr id="70" name="Line 36"/>
              <p:cNvSpPr>
                <a:spLocks noChangeShapeType="1"/>
              </p:cNvSpPr>
              <p:nvPr/>
            </p:nvSpPr>
            <p:spPr bwMode="auto">
              <a:xfrm flipH="1" flipV="1">
                <a:off x="1371600" y="2222500"/>
                <a:ext cx="381000" cy="381000"/>
              </a:xfrm>
              <a:prstGeom prst="line">
                <a:avLst/>
              </a:prstGeom>
              <a:noFill/>
              <a:ln w="12700">
                <a:solidFill>
                  <a:srgbClr val="808080"/>
                </a:solidFill>
                <a:round/>
                <a:headEnd type="none" w="sm" len="sm"/>
                <a:tailEnd type="triangle" w="med" len="med"/>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71" name="Line 37"/>
              <p:cNvSpPr>
                <a:spLocks noChangeShapeType="1"/>
              </p:cNvSpPr>
              <p:nvPr/>
            </p:nvSpPr>
            <p:spPr bwMode="auto">
              <a:xfrm flipV="1">
                <a:off x="2895600" y="2146300"/>
                <a:ext cx="457200" cy="457200"/>
              </a:xfrm>
              <a:prstGeom prst="line">
                <a:avLst/>
              </a:prstGeom>
              <a:noFill/>
              <a:ln w="12700">
                <a:solidFill>
                  <a:srgbClr val="808080"/>
                </a:solidFill>
                <a:round/>
                <a:headEnd type="none" w="sm" len="sm"/>
                <a:tailEnd type="triangle" w="med" len="med"/>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72" name="Rectangle 71"/>
              <p:cNvSpPr>
                <a:spLocks noChangeArrowheads="1"/>
              </p:cNvSpPr>
              <p:nvPr/>
            </p:nvSpPr>
            <p:spPr bwMode="auto">
              <a:xfrm>
                <a:off x="1676400" y="1993900"/>
                <a:ext cx="990600" cy="381000"/>
              </a:xfrm>
              <a:prstGeom prst="rect">
                <a:avLst/>
              </a:prstGeom>
              <a:solidFill>
                <a:schemeClr val="bg1"/>
              </a:solidFill>
              <a:ln w="12700">
                <a:solidFill>
                  <a:srgbClr val="0000FF"/>
                </a:solidFill>
                <a:miter lim="800000"/>
                <a:headEnd type="none" w="sm" len="sm"/>
                <a:tailEnd type="none" w="sm" len="sm"/>
              </a:ln>
            </p:spPr>
            <p:txBody>
              <a:bodyPr wrap="none" anchor="ctr"/>
              <a:lstStyle/>
              <a:p>
                <a:pPr marL="0" marR="0" lvl="0" indent="0" algn="ctr" defTabSz="914377"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3CC"/>
                    </a:solidFill>
                    <a:effectLst/>
                    <a:uLnTx/>
                    <a:uFillTx/>
                    <a:latin typeface="Century Gothic" panose="020B0502020202020204" pitchFamily="34" charset="0"/>
                    <a:ea typeface="+mn-ea"/>
                    <a:cs typeface="Calibri" pitchFamily="34" charset="0"/>
                  </a:rPr>
                  <a:t>Driven or</a:t>
                </a:r>
              </a:p>
              <a:p>
                <a:pPr marL="0" marR="0" lvl="0" indent="0" algn="ctr" defTabSz="914377"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3CC"/>
                    </a:solidFill>
                    <a:effectLst/>
                    <a:uLnTx/>
                    <a:uFillTx/>
                    <a:latin typeface="Century Gothic" panose="020B0502020202020204" pitchFamily="34" charset="0"/>
                    <a:ea typeface="+mn-ea"/>
                    <a:cs typeface="Calibri" pitchFamily="34" charset="0"/>
                  </a:rPr>
                  <a:t>Live Axle</a:t>
                </a:r>
              </a:p>
            </p:txBody>
          </p:sp>
          <p:sp>
            <p:nvSpPr>
              <p:cNvPr id="73" name="Line 37"/>
              <p:cNvSpPr>
                <a:spLocks noChangeShapeType="1"/>
              </p:cNvSpPr>
              <p:nvPr/>
            </p:nvSpPr>
            <p:spPr bwMode="auto">
              <a:xfrm flipV="1">
                <a:off x="2590800" y="2103437"/>
                <a:ext cx="457200" cy="457200"/>
              </a:xfrm>
              <a:prstGeom prst="line">
                <a:avLst/>
              </a:prstGeom>
              <a:noFill/>
              <a:ln w="12700">
                <a:solidFill>
                  <a:srgbClr val="808080"/>
                </a:solidFill>
                <a:round/>
                <a:headEnd type="none" w="sm" len="sm"/>
                <a:tailEnd type="triangle" w="med" len="med"/>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74" name="Oval 34"/>
              <p:cNvSpPr>
                <a:spLocks noChangeArrowheads="1"/>
              </p:cNvSpPr>
              <p:nvPr/>
            </p:nvSpPr>
            <p:spPr bwMode="auto">
              <a:xfrm>
                <a:off x="2733675" y="1835944"/>
                <a:ext cx="457200" cy="381000"/>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grpSp>
        <p:sp>
          <p:nvSpPr>
            <p:cNvPr id="65" name="Line 39"/>
            <p:cNvSpPr>
              <a:spLocks noChangeShapeType="1"/>
            </p:cNvSpPr>
            <p:nvPr/>
          </p:nvSpPr>
          <p:spPr bwMode="auto">
            <a:xfrm flipV="1">
              <a:off x="2667000" y="1765300"/>
              <a:ext cx="228600" cy="228600"/>
            </a:xfrm>
            <a:prstGeom prst="line">
              <a:avLst/>
            </a:prstGeom>
            <a:noFill/>
            <a:ln w="19050">
              <a:solidFill>
                <a:srgbClr val="0000FF"/>
              </a:solidFill>
              <a:round/>
              <a:headEnd type="none" w="sm" len="sm"/>
              <a:tailEnd type="triangle" w="med" len="med"/>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grpSp>
    </p:spTree>
    <p:extLst>
      <p:ext uri="{BB962C8B-B14F-4D97-AF65-F5344CB8AC3E}">
        <p14:creationId xmlns:p14="http://schemas.microsoft.com/office/powerpoint/2010/main" val="38868684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121467" y="47247"/>
            <a:ext cx="10464800"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TRUCK BASIC: CONFIGURATION</a:t>
            </a:r>
          </a:p>
        </p:txBody>
      </p:sp>
      <p:sp>
        <p:nvSpPr>
          <p:cNvPr id="52" name="Rectangle 281"/>
          <p:cNvSpPr>
            <a:spLocks noChangeArrowheads="1"/>
          </p:cNvSpPr>
          <p:nvPr/>
        </p:nvSpPr>
        <p:spPr bwMode="auto">
          <a:xfrm>
            <a:off x="1936237" y="990601"/>
            <a:ext cx="8305800" cy="5593015"/>
          </a:xfrm>
          <a:prstGeom prst="rect">
            <a:avLst/>
          </a:prstGeom>
          <a:solidFill>
            <a:srgbClr val="E7E9EA"/>
          </a:solidFill>
          <a:ln w="12700">
            <a:solidFill>
              <a:srgbClr val="80808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53" name="Line 492"/>
          <p:cNvSpPr>
            <a:spLocks noChangeShapeType="1"/>
          </p:cNvSpPr>
          <p:nvPr/>
        </p:nvSpPr>
        <p:spPr bwMode="auto">
          <a:xfrm>
            <a:off x="1936237" y="1943099"/>
            <a:ext cx="8305800" cy="0"/>
          </a:xfrm>
          <a:prstGeom prst="line">
            <a:avLst/>
          </a:prstGeom>
          <a:noFill/>
          <a:ln w="12700">
            <a:solidFill>
              <a:srgbClr val="808080"/>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54" name="Line 493"/>
          <p:cNvSpPr>
            <a:spLocks noChangeShapeType="1"/>
          </p:cNvSpPr>
          <p:nvPr/>
        </p:nvSpPr>
        <p:spPr bwMode="auto">
          <a:xfrm>
            <a:off x="1936237" y="2844799"/>
            <a:ext cx="8305800" cy="0"/>
          </a:xfrm>
          <a:prstGeom prst="line">
            <a:avLst/>
          </a:prstGeom>
          <a:noFill/>
          <a:ln w="12700">
            <a:solidFill>
              <a:srgbClr val="808080"/>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55" name="Line 494"/>
          <p:cNvSpPr>
            <a:spLocks noChangeShapeType="1"/>
          </p:cNvSpPr>
          <p:nvPr/>
        </p:nvSpPr>
        <p:spPr bwMode="auto">
          <a:xfrm>
            <a:off x="1936237" y="3759199"/>
            <a:ext cx="8305800" cy="0"/>
          </a:xfrm>
          <a:prstGeom prst="line">
            <a:avLst/>
          </a:prstGeom>
          <a:noFill/>
          <a:ln w="12700">
            <a:solidFill>
              <a:srgbClr val="808080"/>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56" name="Line 495"/>
          <p:cNvSpPr>
            <a:spLocks noChangeShapeType="1"/>
          </p:cNvSpPr>
          <p:nvPr/>
        </p:nvSpPr>
        <p:spPr bwMode="auto">
          <a:xfrm>
            <a:off x="6127237" y="990602"/>
            <a:ext cx="0" cy="4752999"/>
          </a:xfrm>
          <a:prstGeom prst="line">
            <a:avLst/>
          </a:prstGeom>
          <a:noFill/>
          <a:ln w="12700">
            <a:solidFill>
              <a:srgbClr val="808080"/>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nvGrpSpPr>
          <p:cNvPr id="57" name="Group 56"/>
          <p:cNvGrpSpPr/>
          <p:nvPr/>
        </p:nvGrpSpPr>
        <p:grpSpPr>
          <a:xfrm>
            <a:off x="2376772" y="1055345"/>
            <a:ext cx="3359571" cy="781051"/>
            <a:chOff x="769034" y="485548"/>
            <a:chExt cx="3359571" cy="781050"/>
          </a:xfrm>
        </p:grpSpPr>
        <p:grpSp>
          <p:nvGrpSpPr>
            <p:cNvPr id="105" name="Group 760"/>
            <p:cNvGrpSpPr>
              <a:grpSpLocks/>
            </p:cNvGrpSpPr>
            <p:nvPr/>
          </p:nvGrpSpPr>
          <p:grpSpPr bwMode="auto">
            <a:xfrm>
              <a:off x="769034" y="485548"/>
              <a:ext cx="3276600" cy="781050"/>
              <a:chOff x="528" y="1890"/>
              <a:chExt cx="2064" cy="492"/>
            </a:xfrm>
          </p:grpSpPr>
          <p:grpSp>
            <p:nvGrpSpPr>
              <p:cNvPr id="107" name="Group 736"/>
              <p:cNvGrpSpPr>
                <a:grpSpLocks/>
              </p:cNvGrpSpPr>
              <p:nvPr/>
            </p:nvGrpSpPr>
            <p:grpSpPr bwMode="auto">
              <a:xfrm>
                <a:off x="624" y="2064"/>
                <a:ext cx="1248" cy="144"/>
                <a:chOff x="624" y="4224"/>
                <a:chExt cx="1248" cy="144"/>
              </a:xfrm>
            </p:grpSpPr>
            <p:sp>
              <p:nvSpPr>
                <p:cNvPr id="127" name="Line 737"/>
                <p:cNvSpPr>
                  <a:spLocks noChangeShapeType="1"/>
                </p:cNvSpPr>
                <p:nvPr/>
              </p:nvSpPr>
              <p:spPr bwMode="auto">
                <a:xfrm>
                  <a:off x="912" y="4296"/>
                  <a:ext cx="960" cy="0"/>
                </a:xfrm>
                <a:prstGeom prst="line">
                  <a:avLst/>
                </a:prstGeom>
                <a:noFill/>
                <a:ln w="28575">
                  <a:solidFill>
                    <a:srgbClr val="969696"/>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28" name="Rectangle 738"/>
                <p:cNvSpPr>
                  <a:spLocks noChangeArrowheads="1"/>
                </p:cNvSpPr>
                <p:nvPr/>
              </p:nvSpPr>
              <p:spPr bwMode="auto">
                <a:xfrm>
                  <a:off x="624" y="4224"/>
                  <a:ext cx="240" cy="144"/>
                </a:xfrm>
                <a:prstGeom prst="rect">
                  <a:avLst/>
                </a:pr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29" name="AutoShape 739"/>
                <p:cNvSpPr>
                  <a:spLocks noChangeArrowheads="1"/>
                </p:cNvSpPr>
                <p:nvPr/>
              </p:nvSpPr>
              <p:spPr bwMode="auto">
                <a:xfrm rot="-5400000">
                  <a:off x="840" y="4248"/>
                  <a:ext cx="144" cy="96"/>
                </a:xfrm>
                <a:custGeom>
                  <a:avLst/>
                  <a:gdLst>
                    <a:gd name="T0" fmla="*/ 1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grpSp>
            <p:nvGrpSpPr>
              <p:cNvPr id="108" name="Group 282"/>
              <p:cNvGrpSpPr>
                <a:grpSpLocks/>
              </p:cNvGrpSpPr>
              <p:nvPr/>
            </p:nvGrpSpPr>
            <p:grpSpPr bwMode="auto">
              <a:xfrm>
                <a:off x="528" y="1890"/>
                <a:ext cx="2064" cy="492"/>
                <a:chOff x="576" y="1026"/>
                <a:chExt cx="2064" cy="492"/>
              </a:xfrm>
            </p:grpSpPr>
            <p:sp>
              <p:nvSpPr>
                <p:cNvPr id="109" name="Oval 283"/>
                <p:cNvSpPr>
                  <a:spLocks noChangeArrowheads="1"/>
                </p:cNvSpPr>
                <p:nvPr/>
              </p:nvSpPr>
              <p:spPr bwMode="auto">
                <a:xfrm>
                  <a:off x="1906" y="1225"/>
                  <a:ext cx="69" cy="88"/>
                </a:xfrm>
                <a:prstGeom prst="ellipse">
                  <a:avLst/>
                </a:prstGeom>
                <a:solidFill>
                  <a:schemeClr val="folHlink"/>
                </a:solidFill>
                <a:ln w="12700">
                  <a:solidFill>
                    <a:schemeClr val="accent2"/>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10" name="Rectangle 284"/>
                <p:cNvSpPr>
                  <a:spLocks noChangeArrowheads="1"/>
                </p:cNvSpPr>
                <p:nvPr/>
              </p:nvSpPr>
              <p:spPr bwMode="auto">
                <a:xfrm>
                  <a:off x="1929" y="1096"/>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11" name="Rectangle 285"/>
                <p:cNvSpPr>
                  <a:spLocks noChangeArrowheads="1"/>
                </p:cNvSpPr>
                <p:nvPr/>
              </p:nvSpPr>
              <p:spPr bwMode="auto">
                <a:xfrm>
                  <a:off x="847" y="1096"/>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12" name="Rectangle 286"/>
                <p:cNvSpPr>
                  <a:spLocks noChangeArrowheads="1"/>
                </p:cNvSpPr>
                <p:nvPr/>
              </p:nvSpPr>
              <p:spPr bwMode="auto">
                <a:xfrm>
                  <a:off x="576" y="1166"/>
                  <a:ext cx="2064" cy="36"/>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13" name="Rectangle 287"/>
                <p:cNvSpPr>
                  <a:spLocks noChangeArrowheads="1"/>
                </p:cNvSpPr>
                <p:nvPr/>
              </p:nvSpPr>
              <p:spPr bwMode="auto">
                <a:xfrm>
                  <a:off x="576" y="1342"/>
                  <a:ext cx="2064" cy="36"/>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14" name="Rectangle 288"/>
                <p:cNvSpPr>
                  <a:spLocks noChangeArrowheads="1"/>
                </p:cNvSpPr>
                <p:nvPr/>
              </p:nvSpPr>
              <p:spPr bwMode="auto">
                <a:xfrm>
                  <a:off x="576" y="1166"/>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15" name="Rectangle 289"/>
                <p:cNvSpPr>
                  <a:spLocks noChangeArrowheads="1"/>
                </p:cNvSpPr>
                <p:nvPr/>
              </p:nvSpPr>
              <p:spPr bwMode="auto">
                <a:xfrm>
                  <a:off x="1058" y="1166"/>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16" name="Rectangle 290"/>
                <p:cNvSpPr>
                  <a:spLocks noChangeArrowheads="1"/>
                </p:cNvSpPr>
                <p:nvPr/>
              </p:nvSpPr>
              <p:spPr bwMode="auto">
                <a:xfrm>
                  <a:off x="1379" y="1166"/>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17" name="Rectangle 291"/>
                <p:cNvSpPr>
                  <a:spLocks noChangeArrowheads="1"/>
                </p:cNvSpPr>
                <p:nvPr/>
              </p:nvSpPr>
              <p:spPr bwMode="auto">
                <a:xfrm>
                  <a:off x="1814" y="1166"/>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18" name="Rectangle 292"/>
                <p:cNvSpPr>
                  <a:spLocks noChangeArrowheads="1"/>
                </p:cNvSpPr>
                <p:nvPr/>
              </p:nvSpPr>
              <p:spPr bwMode="auto">
                <a:xfrm>
                  <a:off x="2090" y="1166"/>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19" name="Rectangle 293"/>
                <p:cNvSpPr>
                  <a:spLocks noChangeArrowheads="1"/>
                </p:cNvSpPr>
                <p:nvPr/>
              </p:nvSpPr>
              <p:spPr bwMode="auto">
                <a:xfrm>
                  <a:off x="2342" y="1166"/>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20" name="Rectangle 294"/>
                <p:cNvSpPr>
                  <a:spLocks noChangeArrowheads="1"/>
                </p:cNvSpPr>
                <p:nvPr/>
              </p:nvSpPr>
              <p:spPr bwMode="auto">
                <a:xfrm>
                  <a:off x="2617" y="1166"/>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21" name="Rectangle 295"/>
                <p:cNvSpPr>
                  <a:spLocks noChangeArrowheads="1"/>
                </p:cNvSpPr>
                <p:nvPr/>
              </p:nvSpPr>
              <p:spPr bwMode="auto">
                <a:xfrm>
                  <a:off x="576" y="1026"/>
                  <a:ext cx="69" cy="492"/>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22" name="AutoShape 296"/>
                <p:cNvSpPr>
                  <a:spLocks noChangeArrowheads="1"/>
                </p:cNvSpPr>
                <p:nvPr/>
              </p:nvSpPr>
              <p:spPr bwMode="auto">
                <a:xfrm rot="859363">
                  <a:off x="782" y="1061"/>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23" name="AutoShape 297"/>
                <p:cNvSpPr>
                  <a:spLocks noChangeArrowheads="1"/>
                </p:cNvSpPr>
                <p:nvPr/>
              </p:nvSpPr>
              <p:spPr bwMode="auto">
                <a:xfrm rot="859363">
                  <a:off x="782" y="1413"/>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24" name="AutoShape 298"/>
                <p:cNvSpPr>
                  <a:spLocks noChangeArrowheads="1"/>
                </p:cNvSpPr>
                <p:nvPr/>
              </p:nvSpPr>
              <p:spPr bwMode="auto">
                <a:xfrm>
                  <a:off x="1860" y="1084"/>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25" name="AutoShape 299"/>
                <p:cNvSpPr>
                  <a:spLocks noChangeArrowheads="1"/>
                </p:cNvSpPr>
                <p:nvPr/>
              </p:nvSpPr>
              <p:spPr bwMode="auto">
                <a:xfrm>
                  <a:off x="1860" y="1395"/>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26" name="Rectangle 300"/>
                <p:cNvSpPr>
                  <a:spLocks noChangeArrowheads="1"/>
                </p:cNvSpPr>
                <p:nvPr/>
              </p:nvSpPr>
              <p:spPr bwMode="auto">
                <a:xfrm>
                  <a:off x="576" y="1026"/>
                  <a:ext cx="459" cy="492"/>
                </a:xfrm>
                <a:prstGeom prst="rect">
                  <a:avLst/>
                </a:prstGeom>
                <a:solidFill>
                  <a:srgbClr val="CCFFCC">
                    <a:alpha val="47842"/>
                  </a:srgbClr>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grpSp>
        <p:sp>
          <p:nvSpPr>
            <p:cNvPr id="106" name="Rectangle 496"/>
            <p:cNvSpPr>
              <a:spLocks noChangeArrowheads="1"/>
            </p:cNvSpPr>
            <p:nvPr/>
          </p:nvSpPr>
          <p:spPr bwMode="auto">
            <a:xfrm>
              <a:off x="3671405" y="567824"/>
              <a:ext cx="457200" cy="228600"/>
            </a:xfrm>
            <a:prstGeom prst="rect">
              <a:avLst/>
            </a:prstGeom>
            <a:solidFill>
              <a:srgbClr val="8D8F92"/>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ctr" defTabSz="914377" rtl="0" eaLnBrk="1" fontAlgn="auto" latinLnBrk="0" hangingPunct="1">
                <a:lnSpc>
                  <a:spcPct val="8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4x2</a:t>
              </a:r>
            </a:p>
          </p:txBody>
        </p:sp>
      </p:grpSp>
      <p:grpSp>
        <p:nvGrpSpPr>
          <p:cNvPr id="130" name="Group 129"/>
          <p:cNvGrpSpPr/>
          <p:nvPr/>
        </p:nvGrpSpPr>
        <p:grpSpPr>
          <a:xfrm>
            <a:off x="6508237" y="1066799"/>
            <a:ext cx="3505200" cy="838200"/>
            <a:chOff x="4768170" y="1304471"/>
            <a:chExt cx="3505200" cy="838200"/>
          </a:xfrm>
        </p:grpSpPr>
        <p:grpSp>
          <p:nvGrpSpPr>
            <p:cNvPr id="131" name="Group 761"/>
            <p:cNvGrpSpPr>
              <a:grpSpLocks/>
            </p:cNvGrpSpPr>
            <p:nvPr/>
          </p:nvGrpSpPr>
          <p:grpSpPr bwMode="auto">
            <a:xfrm>
              <a:off x="4768170" y="1304471"/>
              <a:ext cx="3276600" cy="838200"/>
              <a:chOff x="3120" y="1872"/>
              <a:chExt cx="2064" cy="528"/>
            </a:xfrm>
          </p:grpSpPr>
          <p:grpSp>
            <p:nvGrpSpPr>
              <p:cNvPr id="133" name="Group 748"/>
              <p:cNvGrpSpPr>
                <a:grpSpLocks/>
              </p:cNvGrpSpPr>
              <p:nvPr/>
            </p:nvGrpSpPr>
            <p:grpSpPr bwMode="auto">
              <a:xfrm>
                <a:off x="3216" y="2064"/>
                <a:ext cx="1248" cy="144"/>
                <a:chOff x="624" y="4224"/>
                <a:chExt cx="1248" cy="144"/>
              </a:xfrm>
            </p:grpSpPr>
            <p:sp>
              <p:nvSpPr>
                <p:cNvPr id="155" name="Line 749"/>
                <p:cNvSpPr>
                  <a:spLocks noChangeShapeType="1"/>
                </p:cNvSpPr>
                <p:nvPr/>
              </p:nvSpPr>
              <p:spPr bwMode="auto">
                <a:xfrm>
                  <a:off x="912" y="4296"/>
                  <a:ext cx="960" cy="0"/>
                </a:xfrm>
                <a:prstGeom prst="line">
                  <a:avLst/>
                </a:prstGeom>
                <a:noFill/>
                <a:ln w="28575">
                  <a:solidFill>
                    <a:srgbClr val="969696"/>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56" name="Rectangle 750"/>
                <p:cNvSpPr>
                  <a:spLocks noChangeArrowheads="1"/>
                </p:cNvSpPr>
                <p:nvPr/>
              </p:nvSpPr>
              <p:spPr bwMode="auto">
                <a:xfrm>
                  <a:off x="624" y="4224"/>
                  <a:ext cx="240" cy="144"/>
                </a:xfrm>
                <a:prstGeom prst="rect">
                  <a:avLst/>
                </a:pr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57" name="AutoShape 751"/>
                <p:cNvSpPr>
                  <a:spLocks noChangeArrowheads="1"/>
                </p:cNvSpPr>
                <p:nvPr/>
              </p:nvSpPr>
              <p:spPr bwMode="auto">
                <a:xfrm rot="-5400000">
                  <a:off x="840" y="4248"/>
                  <a:ext cx="144" cy="96"/>
                </a:xfrm>
                <a:custGeom>
                  <a:avLst/>
                  <a:gdLst>
                    <a:gd name="T0" fmla="*/ 1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grpSp>
            <p:nvGrpSpPr>
              <p:cNvPr id="134" name="Group 416"/>
              <p:cNvGrpSpPr>
                <a:grpSpLocks/>
              </p:cNvGrpSpPr>
              <p:nvPr/>
            </p:nvGrpSpPr>
            <p:grpSpPr bwMode="auto">
              <a:xfrm>
                <a:off x="3120" y="1872"/>
                <a:ext cx="2064" cy="528"/>
                <a:chOff x="3120" y="1008"/>
                <a:chExt cx="2064" cy="528"/>
              </a:xfrm>
            </p:grpSpPr>
            <p:sp>
              <p:nvSpPr>
                <p:cNvPr id="135" name="Oval 417"/>
                <p:cNvSpPr>
                  <a:spLocks noChangeArrowheads="1"/>
                </p:cNvSpPr>
                <p:nvPr/>
              </p:nvSpPr>
              <p:spPr bwMode="auto">
                <a:xfrm>
                  <a:off x="4450" y="1225"/>
                  <a:ext cx="69" cy="88"/>
                </a:xfrm>
                <a:prstGeom prst="ellipse">
                  <a:avLst/>
                </a:prstGeom>
                <a:solidFill>
                  <a:schemeClr val="folHlink"/>
                </a:solidFill>
                <a:ln w="12700">
                  <a:solidFill>
                    <a:schemeClr val="accent2"/>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36" name="Rectangle 418"/>
                <p:cNvSpPr>
                  <a:spLocks noChangeArrowheads="1"/>
                </p:cNvSpPr>
                <p:nvPr/>
              </p:nvSpPr>
              <p:spPr bwMode="auto">
                <a:xfrm>
                  <a:off x="4473" y="1096"/>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37" name="Rectangle 419"/>
                <p:cNvSpPr>
                  <a:spLocks noChangeArrowheads="1"/>
                </p:cNvSpPr>
                <p:nvPr/>
              </p:nvSpPr>
              <p:spPr bwMode="auto">
                <a:xfrm>
                  <a:off x="3391" y="1096"/>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38" name="Rectangle 420"/>
                <p:cNvSpPr>
                  <a:spLocks noChangeArrowheads="1"/>
                </p:cNvSpPr>
                <p:nvPr/>
              </p:nvSpPr>
              <p:spPr bwMode="auto">
                <a:xfrm>
                  <a:off x="3120" y="1166"/>
                  <a:ext cx="2064" cy="36"/>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39" name="Rectangle 421"/>
                <p:cNvSpPr>
                  <a:spLocks noChangeArrowheads="1"/>
                </p:cNvSpPr>
                <p:nvPr/>
              </p:nvSpPr>
              <p:spPr bwMode="auto">
                <a:xfrm>
                  <a:off x="3120" y="1342"/>
                  <a:ext cx="2064" cy="36"/>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40" name="Rectangle 422"/>
                <p:cNvSpPr>
                  <a:spLocks noChangeArrowheads="1"/>
                </p:cNvSpPr>
                <p:nvPr/>
              </p:nvSpPr>
              <p:spPr bwMode="auto">
                <a:xfrm>
                  <a:off x="3120" y="1166"/>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41" name="Rectangle 423"/>
                <p:cNvSpPr>
                  <a:spLocks noChangeArrowheads="1"/>
                </p:cNvSpPr>
                <p:nvPr/>
              </p:nvSpPr>
              <p:spPr bwMode="auto">
                <a:xfrm>
                  <a:off x="3602" y="1166"/>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42" name="Rectangle 424"/>
                <p:cNvSpPr>
                  <a:spLocks noChangeArrowheads="1"/>
                </p:cNvSpPr>
                <p:nvPr/>
              </p:nvSpPr>
              <p:spPr bwMode="auto">
                <a:xfrm>
                  <a:off x="3923" y="1166"/>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43" name="Rectangle 425"/>
                <p:cNvSpPr>
                  <a:spLocks noChangeArrowheads="1"/>
                </p:cNvSpPr>
                <p:nvPr/>
              </p:nvSpPr>
              <p:spPr bwMode="auto">
                <a:xfrm>
                  <a:off x="4358" y="1166"/>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44" name="Rectangle 426"/>
                <p:cNvSpPr>
                  <a:spLocks noChangeArrowheads="1"/>
                </p:cNvSpPr>
                <p:nvPr/>
              </p:nvSpPr>
              <p:spPr bwMode="auto">
                <a:xfrm>
                  <a:off x="4634" y="1166"/>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45" name="Rectangle 427"/>
                <p:cNvSpPr>
                  <a:spLocks noChangeArrowheads="1"/>
                </p:cNvSpPr>
                <p:nvPr/>
              </p:nvSpPr>
              <p:spPr bwMode="auto">
                <a:xfrm>
                  <a:off x="4886" y="1166"/>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46" name="Rectangle 428"/>
                <p:cNvSpPr>
                  <a:spLocks noChangeArrowheads="1"/>
                </p:cNvSpPr>
                <p:nvPr/>
              </p:nvSpPr>
              <p:spPr bwMode="auto">
                <a:xfrm>
                  <a:off x="5161" y="1166"/>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47" name="Rectangle 429"/>
                <p:cNvSpPr>
                  <a:spLocks noChangeArrowheads="1"/>
                </p:cNvSpPr>
                <p:nvPr/>
              </p:nvSpPr>
              <p:spPr bwMode="auto">
                <a:xfrm>
                  <a:off x="3120" y="1026"/>
                  <a:ext cx="69" cy="492"/>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48" name="AutoShape 430"/>
                <p:cNvSpPr>
                  <a:spLocks noChangeArrowheads="1"/>
                </p:cNvSpPr>
                <p:nvPr/>
              </p:nvSpPr>
              <p:spPr bwMode="auto">
                <a:xfrm rot="859363">
                  <a:off x="3326" y="1061"/>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49" name="AutoShape 431"/>
                <p:cNvSpPr>
                  <a:spLocks noChangeArrowheads="1"/>
                </p:cNvSpPr>
                <p:nvPr/>
              </p:nvSpPr>
              <p:spPr bwMode="auto">
                <a:xfrm rot="859363">
                  <a:off x="3326" y="1413"/>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50" name="AutoShape 432"/>
                <p:cNvSpPr>
                  <a:spLocks noChangeArrowheads="1"/>
                </p:cNvSpPr>
                <p:nvPr/>
              </p:nvSpPr>
              <p:spPr bwMode="auto">
                <a:xfrm>
                  <a:off x="4404" y="1084"/>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51" name="AutoShape 433"/>
                <p:cNvSpPr>
                  <a:spLocks noChangeArrowheads="1"/>
                </p:cNvSpPr>
                <p:nvPr/>
              </p:nvSpPr>
              <p:spPr bwMode="auto">
                <a:xfrm>
                  <a:off x="4404" y="1395"/>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52" name="AutoShape 434"/>
                <p:cNvSpPr>
                  <a:spLocks noChangeArrowheads="1"/>
                </p:cNvSpPr>
                <p:nvPr/>
              </p:nvSpPr>
              <p:spPr bwMode="auto">
                <a:xfrm>
                  <a:off x="4404" y="1466"/>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53" name="AutoShape 435"/>
                <p:cNvSpPr>
                  <a:spLocks noChangeArrowheads="1"/>
                </p:cNvSpPr>
                <p:nvPr/>
              </p:nvSpPr>
              <p:spPr bwMode="auto">
                <a:xfrm>
                  <a:off x="4404" y="1008"/>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54" name="Rectangle 436"/>
                <p:cNvSpPr>
                  <a:spLocks noChangeArrowheads="1"/>
                </p:cNvSpPr>
                <p:nvPr/>
              </p:nvSpPr>
              <p:spPr bwMode="auto">
                <a:xfrm>
                  <a:off x="3120" y="1026"/>
                  <a:ext cx="459" cy="492"/>
                </a:xfrm>
                <a:prstGeom prst="rect">
                  <a:avLst/>
                </a:prstGeom>
                <a:solidFill>
                  <a:srgbClr val="CCFFCC">
                    <a:alpha val="47842"/>
                  </a:srgbClr>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grpSp>
        <p:sp>
          <p:nvSpPr>
            <p:cNvPr id="132" name="Rectangle 497"/>
            <p:cNvSpPr>
              <a:spLocks noChangeArrowheads="1"/>
            </p:cNvSpPr>
            <p:nvPr/>
          </p:nvSpPr>
          <p:spPr bwMode="auto">
            <a:xfrm>
              <a:off x="7816170" y="1456871"/>
              <a:ext cx="457200" cy="228600"/>
            </a:xfrm>
            <a:prstGeom prst="rect">
              <a:avLst/>
            </a:prstGeom>
            <a:solidFill>
              <a:srgbClr val="8D8F92"/>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ctr" defTabSz="914377" rtl="0" eaLnBrk="1" fontAlgn="auto" latinLnBrk="0" hangingPunct="1">
                <a:lnSpc>
                  <a:spcPct val="8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4x2</a:t>
              </a:r>
            </a:p>
          </p:txBody>
        </p:sp>
      </p:grpSp>
      <p:grpSp>
        <p:nvGrpSpPr>
          <p:cNvPr id="158" name="Group 157"/>
          <p:cNvGrpSpPr/>
          <p:nvPr/>
        </p:nvGrpSpPr>
        <p:grpSpPr>
          <a:xfrm>
            <a:off x="6526496" y="4766833"/>
            <a:ext cx="3409677" cy="838200"/>
            <a:chOff x="2947255" y="5983085"/>
            <a:chExt cx="3409677" cy="838200"/>
          </a:xfrm>
        </p:grpSpPr>
        <p:grpSp>
          <p:nvGrpSpPr>
            <p:cNvPr id="159" name="Group 767"/>
            <p:cNvGrpSpPr>
              <a:grpSpLocks/>
            </p:cNvGrpSpPr>
            <p:nvPr/>
          </p:nvGrpSpPr>
          <p:grpSpPr bwMode="auto">
            <a:xfrm>
              <a:off x="2947255" y="5983085"/>
              <a:ext cx="3276600" cy="838200"/>
              <a:chOff x="3120" y="3600"/>
              <a:chExt cx="2064" cy="528"/>
            </a:xfrm>
          </p:grpSpPr>
          <p:grpSp>
            <p:nvGrpSpPr>
              <p:cNvPr id="161" name="Group 731"/>
              <p:cNvGrpSpPr>
                <a:grpSpLocks/>
              </p:cNvGrpSpPr>
              <p:nvPr/>
            </p:nvGrpSpPr>
            <p:grpSpPr bwMode="auto">
              <a:xfrm>
                <a:off x="3216" y="3792"/>
                <a:ext cx="1299" cy="144"/>
                <a:chOff x="624" y="3224"/>
                <a:chExt cx="1299" cy="144"/>
              </a:xfrm>
            </p:grpSpPr>
            <p:sp>
              <p:nvSpPr>
                <p:cNvPr id="195" name="Line 732"/>
                <p:cNvSpPr>
                  <a:spLocks noChangeShapeType="1"/>
                </p:cNvSpPr>
                <p:nvPr/>
              </p:nvSpPr>
              <p:spPr bwMode="auto">
                <a:xfrm>
                  <a:off x="912" y="3304"/>
                  <a:ext cx="1011" cy="0"/>
                </a:xfrm>
                <a:prstGeom prst="line">
                  <a:avLst/>
                </a:prstGeom>
                <a:noFill/>
                <a:ln w="28575">
                  <a:solidFill>
                    <a:srgbClr val="969696"/>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96" name="Rectangle 733"/>
                <p:cNvSpPr>
                  <a:spLocks noChangeArrowheads="1"/>
                </p:cNvSpPr>
                <p:nvPr/>
              </p:nvSpPr>
              <p:spPr bwMode="auto">
                <a:xfrm>
                  <a:off x="624" y="3224"/>
                  <a:ext cx="240" cy="144"/>
                </a:xfrm>
                <a:prstGeom prst="rect">
                  <a:avLst/>
                </a:pr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97" name="AutoShape 734"/>
                <p:cNvSpPr>
                  <a:spLocks noChangeArrowheads="1"/>
                </p:cNvSpPr>
                <p:nvPr/>
              </p:nvSpPr>
              <p:spPr bwMode="auto">
                <a:xfrm rot="-5400000">
                  <a:off x="840" y="3248"/>
                  <a:ext cx="144" cy="96"/>
                </a:xfrm>
                <a:custGeom>
                  <a:avLst/>
                  <a:gdLst>
                    <a:gd name="T0" fmla="*/ 1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grpSp>
          <p:grpSp>
            <p:nvGrpSpPr>
              <p:cNvPr id="162" name="Group 382"/>
              <p:cNvGrpSpPr>
                <a:grpSpLocks/>
              </p:cNvGrpSpPr>
              <p:nvPr/>
            </p:nvGrpSpPr>
            <p:grpSpPr bwMode="auto">
              <a:xfrm>
                <a:off x="3120" y="3600"/>
                <a:ext cx="2064" cy="528"/>
                <a:chOff x="672" y="3096"/>
                <a:chExt cx="4320" cy="720"/>
              </a:xfrm>
            </p:grpSpPr>
            <p:sp>
              <p:nvSpPr>
                <p:cNvPr id="163" name="Oval 384"/>
                <p:cNvSpPr>
                  <a:spLocks noChangeArrowheads="1"/>
                </p:cNvSpPr>
                <p:nvPr/>
              </p:nvSpPr>
              <p:spPr bwMode="auto">
                <a:xfrm>
                  <a:off x="3456" y="3392"/>
                  <a:ext cx="144" cy="120"/>
                </a:xfrm>
                <a:prstGeom prst="ellipse">
                  <a:avLst/>
                </a:prstGeom>
                <a:solidFill>
                  <a:srgbClr val="99CC00"/>
                </a:solidFill>
                <a:ln w="12700">
                  <a:solidFill>
                    <a:srgbClr val="333399"/>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64" name="Rectangle 385"/>
                <p:cNvSpPr>
                  <a:spLocks noChangeArrowheads="1"/>
                </p:cNvSpPr>
                <p:nvPr/>
              </p:nvSpPr>
              <p:spPr bwMode="auto">
                <a:xfrm>
                  <a:off x="3504" y="3216"/>
                  <a:ext cx="48" cy="480"/>
                </a:xfrm>
                <a:prstGeom prst="rect">
                  <a:avLst/>
                </a:prstGeom>
                <a:solidFill>
                  <a:srgbClr val="99CC00"/>
                </a:solidFill>
                <a:ln w="12700">
                  <a:solidFill>
                    <a:srgbClr val="333399"/>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65" name="Rectangle 386"/>
                <p:cNvSpPr>
                  <a:spLocks noChangeArrowheads="1"/>
                </p:cNvSpPr>
                <p:nvPr/>
              </p:nvSpPr>
              <p:spPr bwMode="auto">
                <a:xfrm>
                  <a:off x="2016" y="3216"/>
                  <a:ext cx="48" cy="480"/>
                </a:xfrm>
                <a:prstGeom prst="rect">
                  <a:avLst/>
                </a:prstGeom>
                <a:solidFill>
                  <a:srgbClr val="99CC00"/>
                </a:solidFill>
                <a:ln w="12700">
                  <a:solidFill>
                    <a:srgbClr val="333399"/>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66" name="Rectangle 387"/>
                <p:cNvSpPr>
                  <a:spLocks noChangeArrowheads="1"/>
                </p:cNvSpPr>
                <p:nvPr/>
              </p:nvSpPr>
              <p:spPr bwMode="auto">
                <a:xfrm>
                  <a:off x="1240" y="3216"/>
                  <a:ext cx="48" cy="480"/>
                </a:xfrm>
                <a:prstGeom prst="rect">
                  <a:avLst/>
                </a:prstGeom>
                <a:solidFill>
                  <a:srgbClr val="99CC00"/>
                </a:solidFill>
                <a:ln w="12700">
                  <a:solidFill>
                    <a:srgbClr val="333399"/>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67" name="Rectangle 388"/>
                <p:cNvSpPr>
                  <a:spLocks noChangeArrowheads="1"/>
                </p:cNvSpPr>
                <p:nvPr/>
              </p:nvSpPr>
              <p:spPr bwMode="auto">
                <a:xfrm>
                  <a:off x="4128" y="3216"/>
                  <a:ext cx="48" cy="480"/>
                </a:xfrm>
                <a:prstGeom prst="rect">
                  <a:avLst/>
                </a:prstGeom>
                <a:solidFill>
                  <a:srgbClr val="99CC00"/>
                </a:solidFill>
                <a:ln w="12700">
                  <a:solidFill>
                    <a:srgbClr val="333399"/>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68" name="Oval 389"/>
                <p:cNvSpPr>
                  <a:spLocks noChangeArrowheads="1"/>
                </p:cNvSpPr>
                <p:nvPr/>
              </p:nvSpPr>
              <p:spPr bwMode="auto">
                <a:xfrm>
                  <a:off x="2880" y="3264"/>
                  <a:ext cx="144" cy="144"/>
                </a:xfrm>
                <a:prstGeom prst="ellipse">
                  <a:avLst/>
                </a:prstGeom>
                <a:solidFill>
                  <a:srgbClr val="99CC00"/>
                </a:solidFill>
                <a:ln w="12700">
                  <a:solidFill>
                    <a:srgbClr val="333399"/>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69" name="Oval 390"/>
                <p:cNvSpPr>
                  <a:spLocks noChangeArrowheads="1"/>
                </p:cNvSpPr>
                <p:nvPr/>
              </p:nvSpPr>
              <p:spPr bwMode="auto">
                <a:xfrm>
                  <a:off x="2880" y="3504"/>
                  <a:ext cx="144" cy="144"/>
                </a:xfrm>
                <a:prstGeom prst="ellipse">
                  <a:avLst/>
                </a:prstGeom>
                <a:solidFill>
                  <a:srgbClr val="99CC00"/>
                </a:solidFill>
                <a:ln w="12700">
                  <a:solidFill>
                    <a:srgbClr val="333399"/>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70" name="Rectangle 391"/>
                <p:cNvSpPr>
                  <a:spLocks noChangeArrowheads="1"/>
                </p:cNvSpPr>
                <p:nvPr/>
              </p:nvSpPr>
              <p:spPr bwMode="auto">
                <a:xfrm>
                  <a:off x="672" y="3312"/>
                  <a:ext cx="4320" cy="48"/>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71" name="Rectangle 392"/>
                <p:cNvSpPr>
                  <a:spLocks noChangeArrowheads="1"/>
                </p:cNvSpPr>
                <p:nvPr/>
              </p:nvSpPr>
              <p:spPr bwMode="auto">
                <a:xfrm>
                  <a:off x="672" y="3552"/>
                  <a:ext cx="4320" cy="48"/>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72" name="Rectangle 393"/>
                <p:cNvSpPr>
                  <a:spLocks noChangeArrowheads="1"/>
                </p:cNvSpPr>
                <p:nvPr/>
              </p:nvSpPr>
              <p:spPr bwMode="auto">
                <a:xfrm>
                  <a:off x="672" y="3312"/>
                  <a:ext cx="48" cy="288"/>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73" name="Rectangle 394"/>
                <p:cNvSpPr>
                  <a:spLocks noChangeArrowheads="1"/>
                </p:cNvSpPr>
                <p:nvPr/>
              </p:nvSpPr>
              <p:spPr bwMode="auto">
                <a:xfrm>
                  <a:off x="1680" y="3312"/>
                  <a:ext cx="48" cy="288"/>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74" name="Rectangle 395"/>
                <p:cNvSpPr>
                  <a:spLocks noChangeArrowheads="1"/>
                </p:cNvSpPr>
                <p:nvPr/>
              </p:nvSpPr>
              <p:spPr bwMode="auto">
                <a:xfrm>
                  <a:off x="2352" y="3312"/>
                  <a:ext cx="48" cy="288"/>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75" name="Rectangle 396"/>
                <p:cNvSpPr>
                  <a:spLocks noChangeArrowheads="1"/>
                </p:cNvSpPr>
                <p:nvPr/>
              </p:nvSpPr>
              <p:spPr bwMode="auto">
                <a:xfrm>
                  <a:off x="3264" y="3312"/>
                  <a:ext cx="48" cy="288"/>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76" name="Rectangle 397"/>
                <p:cNvSpPr>
                  <a:spLocks noChangeArrowheads="1"/>
                </p:cNvSpPr>
                <p:nvPr/>
              </p:nvSpPr>
              <p:spPr bwMode="auto">
                <a:xfrm>
                  <a:off x="3840" y="3312"/>
                  <a:ext cx="48" cy="288"/>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77" name="Rectangle 398"/>
                <p:cNvSpPr>
                  <a:spLocks noChangeArrowheads="1"/>
                </p:cNvSpPr>
                <p:nvPr/>
              </p:nvSpPr>
              <p:spPr bwMode="auto">
                <a:xfrm>
                  <a:off x="4368" y="3312"/>
                  <a:ext cx="48" cy="288"/>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78" name="Rectangle 399"/>
                <p:cNvSpPr>
                  <a:spLocks noChangeArrowheads="1"/>
                </p:cNvSpPr>
                <p:nvPr/>
              </p:nvSpPr>
              <p:spPr bwMode="auto">
                <a:xfrm>
                  <a:off x="4944" y="3312"/>
                  <a:ext cx="48" cy="288"/>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79" name="Rectangle 400"/>
                <p:cNvSpPr>
                  <a:spLocks noChangeArrowheads="1"/>
                </p:cNvSpPr>
                <p:nvPr/>
              </p:nvSpPr>
              <p:spPr bwMode="auto">
                <a:xfrm>
                  <a:off x="672" y="3120"/>
                  <a:ext cx="144" cy="672"/>
                </a:xfrm>
                <a:prstGeom prst="rect">
                  <a:avLst/>
                </a:prstGeom>
                <a:noFill/>
                <a:ln w="12700">
                  <a:solidFill>
                    <a:srgbClr val="000000"/>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80" name="AutoShape 401"/>
                <p:cNvSpPr>
                  <a:spLocks noChangeArrowheads="1"/>
                </p:cNvSpPr>
                <p:nvPr/>
              </p:nvSpPr>
              <p:spPr bwMode="auto">
                <a:xfrm rot="859363">
                  <a:off x="1104" y="3168"/>
                  <a:ext cx="336" cy="96"/>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81" name="AutoShape 402"/>
                <p:cNvSpPr>
                  <a:spLocks noChangeArrowheads="1"/>
                </p:cNvSpPr>
                <p:nvPr/>
              </p:nvSpPr>
              <p:spPr bwMode="auto">
                <a:xfrm rot="859363">
                  <a:off x="1104" y="3648"/>
                  <a:ext cx="336" cy="96"/>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82" name="AutoShape 403"/>
                <p:cNvSpPr>
                  <a:spLocks noChangeArrowheads="1"/>
                </p:cNvSpPr>
                <p:nvPr/>
              </p:nvSpPr>
              <p:spPr bwMode="auto">
                <a:xfrm rot="859363">
                  <a:off x="1872" y="3168"/>
                  <a:ext cx="336" cy="96"/>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83" name="AutoShape 404"/>
                <p:cNvSpPr>
                  <a:spLocks noChangeArrowheads="1"/>
                </p:cNvSpPr>
                <p:nvPr/>
              </p:nvSpPr>
              <p:spPr bwMode="auto">
                <a:xfrm rot="859363">
                  <a:off x="1872" y="3648"/>
                  <a:ext cx="336" cy="96"/>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84" name="AutoShape 405"/>
                <p:cNvSpPr>
                  <a:spLocks noChangeArrowheads="1"/>
                </p:cNvSpPr>
                <p:nvPr/>
              </p:nvSpPr>
              <p:spPr bwMode="auto">
                <a:xfrm>
                  <a:off x="2784" y="3168"/>
                  <a:ext cx="336" cy="96"/>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85" name="AutoShape 406"/>
                <p:cNvSpPr>
                  <a:spLocks noChangeArrowheads="1"/>
                </p:cNvSpPr>
                <p:nvPr/>
              </p:nvSpPr>
              <p:spPr bwMode="auto">
                <a:xfrm>
                  <a:off x="2784" y="3648"/>
                  <a:ext cx="336" cy="96"/>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86" name="AutoShape 407"/>
                <p:cNvSpPr>
                  <a:spLocks noChangeArrowheads="1"/>
                </p:cNvSpPr>
                <p:nvPr/>
              </p:nvSpPr>
              <p:spPr bwMode="auto">
                <a:xfrm>
                  <a:off x="3360" y="3200"/>
                  <a:ext cx="336" cy="96"/>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87" name="AutoShape 408"/>
                <p:cNvSpPr>
                  <a:spLocks noChangeArrowheads="1"/>
                </p:cNvSpPr>
                <p:nvPr/>
              </p:nvSpPr>
              <p:spPr bwMode="auto">
                <a:xfrm>
                  <a:off x="3360" y="3624"/>
                  <a:ext cx="336" cy="96"/>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88" name="AutoShape 409"/>
                <p:cNvSpPr>
                  <a:spLocks noChangeArrowheads="1"/>
                </p:cNvSpPr>
                <p:nvPr/>
              </p:nvSpPr>
              <p:spPr bwMode="auto">
                <a:xfrm>
                  <a:off x="3360" y="3720"/>
                  <a:ext cx="336" cy="96"/>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89" name="AutoShape 410"/>
                <p:cNvSpPr>
                  <a:spLocks noChangeArrowheads="1"/>
                </p:cNvSpPr>
                <p:nvPr/>
              </p:nvSpPr>
              <p:spPr bwMode="auto">
                <a:xfrm>
                  <a:off x="3360" y="3096"/>
                  <a:ext cx="336" cy="96"/>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90" name="AutoShape 411"/>
                <p:cNvSpPr>
                  <a:spLocks noChangeArrowheads="1"/>
                </p:cNvSpPr>
                <p:nvPr/>
              </p:nvSpPr>
              <p:spPr bwMode="auto">
                <a:xfrm>
                  <a:off x="3984" y="3200"/>
                  <a:ext cx="336" cy="96"/>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91" name="AutoShape 412"/>
                <p:cNvSpPr>
                  <a:spLocks noChangeArrowheads="1"/>
                </p:cNvSpPr>
                <p:nvPr/>
              </p:nvSpPr>
              <p:spPr bwMode="auto">
                <a:xfrm>
                  <a:off x="3984" y="3624"/>
                  <a:ext cx="336" cy="96"/>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92" name="AutoShape 413"/>
                <p:cNvSpPr>
                  <a:spLocks noChangeArrowheads="1"/>
                </p:cNvSpPr>
                <p:nvPr/>
              </p:nvSpPr>
              <p:spPr bwMode="auto">
                <a:xfrm>
                  <a:off x="3984" y="3720"/>
                  <a:ext cx="336" cy="96"/>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93" name="AutoShape 414"/>
                <p:cNvSpPr>
                  <a:spLocks noChangeArrowheads="1"/>
                </p:cNvSpPr>
                <p:nvPr/>
              </p:nvSpPr>
              <p:spPr bwMode="auto">
                <a:xfrm>
                  <a:off x="3984" y="3096"/>
                  <a:ext cx="336" cy="96"/>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94" name="Rectangle 415"/>
                <p:cNvSpPr>
                  <a:spLocks noChangeArrowheads="1"/>
                </p:cNvSpPr>
                <p:nvPr/>
              </p:nvSpPr>
              <p:spPr bwMode="auto">
                <a:xfrm>
                  <a:off x="672" y="3120"/>
                  <a:ext cx="960" cy="672"/>
                </a:xfrm>
                <a:prstGeom prst="rect">
                  <a:avLst/>
                </a:prstGeom>
                <a:solidFill>
                  <a:srgbClr val="CCFFCC">
                    <a:alpha val="47842"/>
                  </a:srgbClr>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grpSp>
        </p:grpSp>
        <p:sp>
          <p:nvSpPr>
            <p:cNvPr id="160" name="Rectangle 503"/>
            <p:cNvSpPr>
              <a:spLocks noChangeArrowheads="1"/>
            </p:cNvSpPr>
            <p:nvPr/>
          </p:nvSpPr>
          <p:spPr bwMode="auto">
            <a:xfrm>
              <a:off x="5899732" y="6117705"/>
              <a:ext cx="457200" cy="228600"/>
            </a:xfrm>
            <a:prstGeom prst="rect">
              <a:avLst/>
            </a:prstGeom>
            <a:solidFill>
              <a:srgbClr val="8D8F92"/>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ctr" defTabSz="914377" rtl="0" eaLnBrk="1" fontAlgn="auto" latinLnBrk="0" hangingPunct="1">
                <a:lnSpc>
                  <a:spcPct val="8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10x2</a:t>
              </a:r>
            </a:p>
          </p:txBody>
        </p:sp>
      </p:grpSp>
      <p:sp>
        <p:nvSpPr>
          <p:cNvPr id="198" name="Line 492"/>
          <p:cNvSpPr>
            <a:spLocks noChangeShapeType="1"/>
          </p:cNvSpPr>
          <p:nvPr/>
        </p:nvSpPr>
        <p:spPr bwMode="auto">
          <a:xfrm>
            <a:off x="1925577" y="4724399"/>
            <a:ext cx="8305800" cy="0"/>
          </a:xfrm>
          <a:prstGeom prst="line">
            <a:avLst/>
          </a:prstGeom>
          <a:noFill/>
          <a:ln w="12700">
            <a:solidFill>
              <a:srgbClr val="808080"/>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99" name="Line 492"/>
          <p:cNvSpPr>
            <a:spLocks noChangeShapeType="1"/>
          </p:cNvSpPr>
          <p:nvPr/>
        </p:nvSpPr>
        <p:spPr bwMode="auto">
          <a:xfrm>
            <a:off x="1954945" y="5743599"/>
            <a:ext cx="8305800" cy="0"/>
          </a:xfrm>
          <a:prstGeom prst="line">
            <a:avLst/>
          </a:prstGeom>
          <a:noFill/>
          <a:ln w="12700">
            <a:solidFill>
              <a:srgbClr val="808080"/>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nvGrpSpPr>
          <p:cNvPr id="200" name="Group 199"/>
          <p:cNvGrpSpPr/>
          <p:nvPr/>
        </p:nvGrpSpPr>
        <p:grpSpPr>
          <a:xfrm>
            <a:off x="2375181" y="2004784"/>
            <a:ext cx="3486944" cy="838200"/>
            <a:chOff x="635114" y="5061631"/>
            <a:chExt cx="3486944" cy="838200"/>
          </a:xfrm>
        </p:grpSpPr>
        <p:grpSp>
          <p:nvGrpSpPr>
            <p:cNvPr id="201" name="Group 200"/>
            <p:cNvGrpSpPr/>
            <p:nvPr/>
          </p:nvGrpSpPr>
          <p:grpSpPr>
            <a:xfrm>
              <a:off x="635114" y="5061631"/>
              <a:ext cx="3276600" cy="838200"/>
              <a:chOff x="1253652" y="3937682"/>
              <a:chExt cx="3276600" cy="838200"/>
            </a:xfrm>
          </p:grpSpPr>
          <p:sp>
            <p:nvSpPr>
              <p:cNvPr id="203" name="Line 728"/>
              <p:cNvSpPr>
                <a:spLocks noChangeShapeType="1"/>
              </p:cNvSpPr>
              <p:nvPr/>
            </p:nvSpPr>
            <p:spPr bwMode="auto">
              <a:xfrm flipV="1">
                <a:off x="1756795" y="4370277"/>
                <a:ext cx="346869" cy="0"/>
              </a:xfrm>
              <a:prstGeom prst="line">
                <a:avLst/>
              </a:prstGeom>
              <a:noFill/>
              <a:ln w="28575">
                <a:solidFill>
                  <a:schemeClr val="accent4"/>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04" name="Oval 327"/>
              <p:cNvSpPr>
                <a:spLocks noChangeArrowheads="1"/>
              </p:cNvSpPr>
              <p:nvPr/>
            </p:nvSpPr>
            <p:spPr bwMode="auto">
              <a:xfrm>
                <a:off x="1647257" y="4286023"/>
                <a:ext cx="109538" cy="139700"/>
              </a:xfrm>
              <a:prstGeom prst="ellipse">
                <a:avLst/>
              </a:prstGeom>
              <a:solidFill>
                <a:srgbClr val="99CC00"/>
              </a:solidFill>
              <a:ln w="12700">
                <a:solidFill>
                  <a:srgbClr val="333399"/>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grpSp>
            <p:nvGrpSpPr>
              <p:cNvPr id="205" name="Group 764"/>
              <p:cNvGrpSpPr>
                <a:grpSpLocks/>
              </p:cNvGrpSpPr>
              <p:nvPr/>
            </p:nvGrpSpPr>
            <p:grpSpPr bwMode="auto">
              <a:xfrm>
                <a:off x="1253652" y="3937682"/>
                <a:ext cx="3276600" cy="838200"/>
                <a:chOff x="528" y="3024"/>
                <a:chExt cx="2064" cy="528"/>
              </a:xfrm>
            </p:grpSpPr>
            <p:grpSp>
              <p:nvGrpSpPr>
                <p:cNvPr id="206" name="Group 727"/>
                <p:cNvGrpSpPr>
                  <a:grpSpLocks/>
                </p:cNvGrpSpPr>
                <p:nvPr/>
              </p:nvGrpSpPr>
              <p:grpSpPr bwMode="auto">
                <a:xfrm>
                  <a:off x="1035" y="3233"/>
                  <a:ext cx="866" cy="144"/>
                  <a:chOff x="1035" y="3241"/>
                  <a:chExt cx="866" cy="144"/>
                </a:xfrm>
              </p:grpSpPr>
              <p:sp>
                <p:nvSpPr>
                  <p:cNvPr id="228" name="Line 728"/>
                  <p:cNvSpPr>
                    <a:spLocks noChangeShapeType="1"/>
                  </p:cNvSpPr>
                  <p:nvPr/>
                </p:nvSpPr>
                <p:spPr bwMode="auto">
                  <a:xfrm flipV="1">
                    <a:off x="1342" y="3305"/>
                    <a:ext cx="559" cy="9"/>
                  </a:xfrm>
                  <a:prstGeom prst="line">
                    <a:avLst/>
                  </a:prstGeom>
                  <a:noFill/>
                  <a:ln w="28575">
                    <a:solidFill>
                      <a:srgbClr val="969696"/>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29" name="Rectangle 729"/>
                  <p:cNvSpPr>
                    <a:spLocks noChangeArrowheads="1"/>
                  </p:cNvSpPr>
                  <p:nvPr/>
                </p:nvSpPr>
                <p:spPr bwMode="auto">
                  <a:xfrm>
                    <a:off x="1035" y="3241"/>
                    <a:ext cx="240" cy="144"/>
                  </a:xfrm>
                  <a:prstGeom prst="rect">
                    <a:avLst/>
                  </a:pr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30" name="AutoShape 730"/>
                  <p:cNvSpPr>
                    <a:spLocks noChangeArrowheads="1"/>
                  </p:cNvSpPr>
                  <p:nvPr/>
                </p:nvSpPr>
                <p:spPr bwMode="auto">
                  <a:xfrm rot="16200000">
                    <a:off x="1251" y="3265"/>
                    <a:ext cx="144" cy="96"/>
                  </a:xfrm>
                  <a:custGeom>
                    <a:avLst/>
                    <a:gdLst>
                      <a:gd name="T0" fmla="*/ 1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grpSp>
            <p:grpSp>
              <p:nvGrpSpPr>
                <p:cNvPr id="207" name="Group 324"/>
                <p:cNvGrpSpPr>
                  <a:grpSpLocks/>
                </p:cNvGrpSpPr>
                <p:nvPr/>
              </p:nvGrpSpPr>
              <p:grpSpPr bwMode="auto">
                <a:xfrm>
                  <a:off x="528" y="3024"/>
                  <a:ext cx="2064" cy="528"/>
                  <a:chOff x="576" y="2352"/>
                  <a:chExt cx="2064" cy="528"/>
                </a:xfrm>
              </p:grpSpPr>
              <p:sp>
                <p:nvSpPr>
                  <p:cNvPr id="208" name="Oval 327"/>
                  <p:cNvSpPr>
                    <a:spLocks noChangeArrowheads="1"/>
                  </p:cNvSpPr>
                  <p:nvPr/>
                </p:nvSpPr>
                <p:spPr bwMode="auto">
                  <a:xfrm>
                    <a:off x="1906" y="2569"/>
                    <a:ext cx="69" cy="88"/>
                  </a:xfrm>
                  <a:prstGeom prst="ellipse">
                    <a:avLst/>
                  </a:prstGeom>
                  <a:solidFill>
                    <a:srgbClr val="99CC00"/>
                  </a:solidFill>
                  <a:ln w="12700">
                    <a:solidFill>
                      <a:srgbClr val="333399"/>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09" name="Rectangle 328"/>
                  <p:cNvSpPr>
                    <a:spLocks noChangeArrowheads="1"/>
                  </p:cNvSpPr>
                  <p:nvPr/>
                </p:nvSpPr>
                <p:spPr bwMode="auto">
                  <a:xfrm>
                    <a:off x="1929" y="2440"/>
                    <a:ext cx="23" cy="352"/>
                  </a:xfrm>
                  <a:prstGeom prst="rect">
                    <a:avLst/>
                  </a:prstGeom>
                  <a:solidFill>
                    <a:srgbClr val="99CC00"/>
                  </a:solidFill>
                  <a:ln w="12700">
                    <a:solidFill>
                      <a:srgbClr val="333399"/>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10" name="Rectangle 329"/>
                  <p:cNvSpPr>
                    <a:spLocks noChangeArrowheads="1"/>
                  </p:cNvSpPr>
                  <p:nvPr/>
                </p:nvSpPr>
                <p:spPr bwMode="auto">
                  <a:xfrm>
                    <a:off x="847" y="2440"/>
                    <a:ext cx="23" cy="352"/>
                  </a:xfrm>
                  <a:prstGeom prst="rect">
                    <a:avLst/>
                  </a:prstGeom>
                  <a:solidFill>
                    <a:srgbClr val="99CC00"/>
                  </a:solidFill>
                  <a:ln w="12700">
                    <a:solidFill>
                      <a:srgbClr val="333399"/>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11" name="Rectangle 331"/>
                  <p:cNvSpPr>
                    <a:spLocks noChangeArrowheads="1"/>
                  </p:cNvSpPr>
                  <p:nvPr/>
                </p:nvSpPr>
                <p:spPr bwMode="auto">
                  <a:xfrm>
                    <a:off x="576" y="2510"/>
                    <a:ext cx="2064" cy="36"/>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12" name="Rectangle 332"/>
                  <p:cNvSpPr>
                    <a:spLocks noChangeArrowheads="1"/>
                  </p:cNvSpPr>
                  <p:nvPr/>
                </p:nvSpPr>
                <p:spPr bwMode="auto">
                  <a:xfrm>
                    <a:off x="576" y="2686"/>
                    <a:ext cx="2064" cy="36"/>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13" name="Rectangle 333"/>
                  <p:cNvSpPr>
                    <a:spLocks noChangeArrowheads="1"/>
                  </p:cNvSpPr>
                  <p:nvPr/>
                </p:nvSpPr>
                <p:spPr bwMode="auto">
                  <a:xfrm>
                    <a:off x="576"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14" name="Rectangle 334"/>
                  <p:cNvSpPr>
                    <a:spLocks noChangeArrowheads="1"/>
                  </p:cNvSpPr>
                  <p:nvPr/>
                </p:nvSpPr>
                <p:spPr bwMode="auto">
                  <a:xfrm>
                    <a:off x="1058"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15" name="Rectangle 335"/>
                  <p:cNvSpPr>
                    <a:spLocks noChangeArrowheads="1"/>
                  </p:cNvSpPr>
                  <p:nvPr/>
                </p:nvSpPr>
                <p:spPr bwMode="auto">
                  <a:xfrm>
                    <a:off x="1379"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16" name="Rectangle 336"/>
                  <p:cNvSpPr>
                    <a:spLocks noChangeArrowheads="1"/>
                  </p:cNvSpPr>
                  <p:nvPr/>
                </p:nvSpPr>
                <p:spPr bwMode="auto">
                  <a:xfrm>
                    <a:off x="1814"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17" name="Rectangle 337"/>
                  <p:cNvSpPr>
                    <a:spLocks noChangeArrowheads="1"/>
                  </p:cNvSpPr>
                  <p:nvPr/>
                </p:nvSpPr>
                <p:spPr bwMode="auto">
                  <a:xfrm>
                    <a:off x="2090"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18" name="Rectangle 338"/>
                  <p:cNvSpPr>
                    <a:spLocks noChangeArrowheads="1"/>
                  </p:cNvSpPr>
                  <p:nvPr/>
                </p:nvSpPr>
                <p:spPr bwMode="auto">
                  <a:xfrm>
                    <a:off x="2342"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19" name="Rectangle 339"/>
                  <p:cNvSpPr>
                    <a:spLocks noChangeArrowheads="1"/>
                  </p:cNvSpPr>
                  <p:nvPr/>
                </p:nvSpPr>
                <p:spPr bwMode="auto">
                  <a:xfrm>
                    <a:off x="2617"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20" name="Rectangle 340"/>
                  <p:cNvSpPr>
                    <a:spLocks noChangeArrowheads="1"/>
                  </p:cNvSpPr>
                  <p:nvPr/>
                </p:nvSpPr>
                <p:spPr bwMode="auto">
                  <a:xfrm>
                    <a:off x="576" y="2370"/>
                    <a:ext cx="69" cy="492"/>
                  </a:xfrm>
                  <a:prstGeom prst="rect">
                    <a:avLst/>
                  </a:prstGeom>
                  <a:noFill/>
                  <a:ln w="12700">
                    <a:solidFill>
                      <a:srgbClr val="000000"/>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21" name="AutoShape 341"/>
                  <p:cNvSpPr>
                    <a:spLocks noChangeArrowheads="1"/>
                  </p:cNvSpPr>
                  <p:nvPr/>
                </p:nvSpPr>
                <p:spPr bwMode="auto">
                  <a:xfrm rot="859363">
                    <a:off x="782" y="2405"/>
                    <a:ext cx="161" cy="70"/>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22" name="AutoShape 342"/>
                  <p:cNvSpPr>
                    <a:spLocks noChangeArrowheads="1"/>
                  </p:cNvSpPr>
                  <p:nvPr/>
                </p:nvSpPr>
                <p:spPr bwMode="auto">
                  <a:xfrm rot="859363">
                    <a:off x="782" y="2757"/>
                    <a:ext cx="161" cy="70"/>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23" name="AutoShape 343"/>
                  <p:cNvSpPr>
                    <a:spLocks noChangeArrowheads="1"/>
                  </p:cNvSpPr>
                  <p:nvPr/>
                </p:nvSpPr>
                <p:spPr bwMode="auto">
                  <a:xfrm>
                    <a:off x="1860" y="2428"/>
                    <a:ext cx="161" cy="71"/>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24" name="AutoShape 344"/>
                  <p:cNvSpPr>
                    <a:spLocks noChangeArrowheads="1"/>
                  </p:cNvSpPr>
                  <p:nvPr/>
                </p:nvSpPr>
                <p:spPr bwMode="auto">
                  <a:xfrm>
                    <a:off x="1860" y="2739"/>
                    <a:ext cx="161" cy="71"/>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25" name="AutoShape 345"/>
                  <p:cNvSpPr>
                    <a:spLocks noChangeArrowheads="1"/>
                  </p:cNvSpPr>
                  <p:nvPr/>
                </p:nvSpPr>
                <p:spPr bwMode="auto">
                  <a:xfrm>
                    <a:off x="1860" y="2810"/>
                    <a:ext cx="161" cy="70"/>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26" name="AutoShape 346"/>
                  <p:cNvSpPr>
                    <a:spLocks noChangeArrowheads="1"/>
                  </p:cNvSpPr>
                  <p:nvPr/>
                </p:nvSpPr>
                <p:spPr bwMode="auto">
                  <a:xfrm>
                    <a:off x="1860" y="2352"/>
                    <a:ext cx="161" cy="70"/>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27" name="Rectangle 351"/>
                  <p:cNvSpPr>
                    <a:spLocks noChangeArrowheads="1"/>
                  </p:cNvSpPr>
                  <p:nvPr/>
                </p:nvSpPr>
                <p:spPr bwMode="auto">
                  <a:xfrm>
                    <a:off x="577" y="2372"/>
                    <a:ext cx="459" cy="492"/>
                  </a:xfrm>
                  <a:prstGeom prst="rect">
                    <a:avLst/>
                  </a:prstGeom>
                  <a:solidFill>
                    <a:srgbClr val="CCFFCC">
                      <a:alpha val="47842"/>
                    </a:srgbClr>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grpSp>
          </p:grpSp>
        </p:grpSp>
        <p:sp>
          <p:nvSpPr>
            <p:cNvPr id="202" name="Rectangle 502"/>
            <p:cNvSpPr>
              <a:spLocks noChangeArrowheads="1"/>
            </p:cNvSpPr>
            <p:nvPr/>
          </p:nvSpPr>
          <p:spPr bwMode="auto">
            <a:xfrm>
              <a:off x="3664858" y="5261700"/>
              <a:ext cx="457200" cy="228600"/>
            </a:xfrm>
            <a:prstGeom prst="rect">
              <a:avLst/>
            </a:prstGeom>
            <a:solidFill>
              <a:srgbClr val="8D8F92"/>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ctr" defTabSz="914377" rtl="0" eaLnBrk="1" fontAlgn="auto" latinLnBrk="0" hangingPunct="1">
                <a:lnSpc>
                  <a:spcPct val="8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4x4</a:t>
              </a:r>
            </a:p>
          </p:txBody>
        </p:sp>
      </p:grpSp>
      <p:grpSp>
        <p:nvGrpSpPr>
          <p:cNvPr id="231" name="Group 230"/>
          <p:cNvGrpSpPr/>
          <p:nvPr/>
        </p:nvGrpSpPr>
        <p:grpSpPr>
          <a:xfrm>
            <a:off x="6515833" y="2003197"/>
            <a:ext cx="3429000" cy="838200"/>
            <a:chOff x="653370" y="2175508"/>
            <a:chExt cx="3429000" cy="838200"/>
          </a:xfrm>
        </p:grpSpPr>
        <p:grpSp>
          <p:nvGrpSpPr>
            <p:cNvPr id="232" name="Group 763"/>
            <p:cNvGrpSpPr>
              <a:grpSpLocks/>
            </p:cNvGrpSpPr>
            <p:nvPr/>
          </p:nvGrpSpPr>
          <p:grpSpPr bwMode="auto">
            <a:xfrm>
              <a:off x="653370" y="2175508"/>
              <a:ext cx="3276600" cy="838200"/>
              <a:chOff x="3120" y="2448"/>
              <a:chExt cx="2064" cy="528"/>
            </a:xfrm>
          </p:grpSpPr>
          <p:grpSp>
            <p:nvGrpSpPr>
              <p:cNvPr id="234" name="Group 752"/>
              <p:cNvGrpSpPr>
                <a:grpSpLocks/>
              </p:cNvGrpSpPr>
              <p:nvPr/>
            </p:nvGrpSpPr>
            <p:grpSpPr bwMode="auto">
              <a:xfrm>
                <a:off x="3216" y="2640"/>
                <a:ext cx="1248" cy="144"/>
                <a:chOff x="624" y="4224"/>
                <a:chExt cx="1248" cy="144"/>
              </a:xfrm>
            </p:grpSpPr>
            <p:sp>
              <p:nvSpPr>
                <p:cNvPr id="261" name="Line 753"/>
                <p:cNvSpPr>
                  <a:spLocks noChangeShapeType="1"/>
                </p:cNvSpPr>
                <p:nvPr/>
              </p:nvSpPr>
              <p:spPr bwMode="auto">
                <a:xfrm>
                  <a:off x="912" y="4296"/>
                  <a:ext cx="960" cy="0"/>
                </a:xfrm>
                <a:prstGeom prst="line">
                  <a:avLst/>
                </a:prstGeom>
                <a:noFill/>
                <a:ln w="28575">
                  <a:solidFill>
                    <a:srgbClr val="969696"/>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62" name="Rectangle 754"/>
                <p:cNvSpPr>
                  <a:spLocks noChangeArrowheads="1"/>
                </p:cNvSpPr>
                <p:nvPr/>
              </p:nvSpPr>
              <p:spPr bwMode="auto">
                <a:xfrm>
                  <a:off x="624" y="4224"/>
                  <a:ext cx="240" cy="144"/>
                </a:xfrm>
                <a:prstGeom prst="rect">
                  <a:avLst/>
                </a:pr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63" name="AutoShape 755"/>
                <p:cNvSpPr>
                  <a:spLocks noChangeArrowheads="1"/>
                </p:cNvSpPr>
                <p:nvPr/>
              </p:nvSpPr>
              <p:spPr bwMode="auto">
                <a:xfrm rot="-5400000">
                  <a:off x="840" y="4248"/>
                  <a:ext cx="144" cy="96"/>
                </a:xfrm>
                <a:custGeom>
                  <a:avLst/>
                  <a:gdLst>
                    <a:gd name="T0" fmla="*/ 1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grpSp>
            <p:nvGrpSpPr>
              <p:cNvPr id="235" name="Group 437"/>
              <p:cNvGrpSpPr>
                <a:grpSpLocks/>
              </p:cNvGrpSpPr>
              <p:nvPr/>
            </p:nvGrpSpPr>
            <p:grpSpPr bwMode="auto">
              <a:xfrm>
                <a:off x="3120" y="2448"/>
                <a:ext cx="2064" cy="528"/>
                <a:chOff x="3120" y="1632"/>
                <a:chExt cx="2064" cy="528"/>
              </a:xfrm>
            </p:grpSpPr>
            <p:sp>
              <p:nvSpPr>
                <p:cNvPr id="236" name="Oval 438"/>
                <p:cNvSpPr>
                  <a:spLocks noChangeArrowheads="1"/>
                </p:cNvSpPr>
                <p:nvPr/>
              </p:nvSpPr>
              <p:spPr bwMode="auto">
                <a:xfrm>
                  <a:off x="4450" y="1849"/>
                  <a:ext cx="69" cy="88"/>
                </a:xfrm>
                <a:prstGeom prst="ellipse">
                  <a:avLst/>
                </a:prstGeom>
                <a:solidFill>
                  <a:schemeClr val="folHlink"/>
                </a:solidFill>
                <a:ln w="12700">
                  <a:solidFill>
                    <a:schemeClr val="accent2"/>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37" name="Rectangle 439"/>
                <p:cNvSpPr>
                  <a:spLocks noChangeArrowheads="1"/>
                </p:cNvSpPr>
                <p:nvPr/>
              </p:nvSpPr>
              <p:spPr bwMode="auto">
                <a:xfrm>
                  <a:off x="4473" y="1720"/>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38" name="Rectangle 440"/>
                <p:cNvSpPr>
                  <a:spLocks noChangeArrowheads="1"/>
                </p:cNvSpPr>
                <p:nvPr/>
              </p:nvSpPr>
              <p:spPr bwMode="auto">
                <a:xfrm>
                  <a:off x="3391" y="1720"/>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39" name="Rectangle 441"/>
                <p:cNvSpPr>
                  <a:spLocks noChangeArrowheads="1"/>
                </p:cNvSpPr>
                <p:nvPr/>
              </p:nvSpPr>
              <p:spPr bwMode="auto">
                <a:xfrm>
                  <a:off x="4752" y="1720"/>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40" name="Rectangle 442"/>
                <p:cNvSpPr>
                  <a:spLocks noChangeArrowheads="1"/>
                </p:cNvSpPr>
                <p:nvPr/>
              </p:nvSpPr>
              <p:spPr bwMode="auto">
                <a:xfrm>
                  <a:off x="3120" y="1790"/>
                  <a:ext cx="2064" cy="36"/>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41" name="Rectangle 443"/>
                <p:cNvSpPr>
                  <a:spLocks noChangeArrowheads="1"/>
                </p:cNvSpPr>
                <p:nvPr/>
              </p:nvSpPr>
              <p:spPr bwMode="auto">
                <a:xfrm>
                  <a:off x="3120" y="1966"/>
                  <a:ext cx="2064" cy="36"/>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42" name="Rectangle 444"/>
                <p:cNvSpPr>
                  <a:spLocks noChangeArrowheads="1"/>
                </p:cNvSpPr>
                <p:nvPr/>
              </p:nvSpPr>
              <p:spPr bwMode="auto">
                <a:xfrm>
                  <a:off x="3120" y="179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43" name="Rectangle 445"/>
                <p:cNvSpPr>
                  <a:spLocks noChangeArrowheads="1"/>
                </p:cNvSpPr>
                <p:nvPr/>
              </p:nvSpPr>
              <p:spPr bwMode="auto">
                <a:xfrm>
                  <a:off x="3602" y="179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44" name="Rectangle 446"/>
                <p:cNvSpPr>
                  <a:spLocks noChangeArrowheads="1"/>
                </p:cNvSpPr>
                <p:nvPr/>
              </p:nvSpPr>
              <p:spPr bwMode="auto">
                <a:xfrm>
                  <a:off x="3923" y="179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45" name="Rectangle 447"/>
                <p:cNvSpPr>
                  <a:spLocks noChangeArrowheads="1"/>
                </p:cNvSpPr>
                <p:nvPr/>
              </p:nvSpPr>
              <p:spPr bwMode="auto">
                <a:xfrm>
                  <a:off x="4358" y="179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46" name="Rectangle 448"/>
                <p:cNvSpPr>
                  <a:spLocks noChangeArrowheads="1"/>
                </p:cNvSpPr>
                <p:nvPr/>
              </p:nvSpPr>
              <p:spPr bwMode="auto">
                <a:xfrm>
                  <a:off x="4634" y="179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47" name="Rectangle 449"/>
                <p:cNvSpPr>
                  <a:spLocks noChangeArrowheads="1"/>
                </p:cNvSpPr>
                <p:nvPr/>
              </p:nvSpPr>
              <p:spPr bwMode="auto">
                <a:xfrm>
                  <a:off x="4886" y="179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48" name="Rectangle 450"/>
                <p:cNvSpPr>
                  <a:spLocks noChangeArrowheads="1"/>
                </p:cNvSpPr>
                <p:nvPr/>
              </p:nvSpPr>
              <p:spPr bwMode="auto">
                <a:xfrm>
                  <a:off x="5161" y="179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49" name="Rectangle 451"/>
                <p:cNvSpPr>
                  <a:spLocks noChangeArrowheads="1"/>
                </p:cNvSpPr>
                <p:nvPr/>
              </p:nvSpPr>
              <p:spPr bwMode="auto">
                <a:xfrm>
                  <a:off x="3120" y="1650"/>
                  <a:ext cx="69" cy="492"/>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50" name="AutoShape 452"/>
                <p:cNvSpPr>
                  <a:spLocks noChangeArrowheads="1"/>
                </p:cNvSpPr>
                <p:nvPr/>
              </p:nvSpPr>
              <p:spPr bwMode="auto">
                <a:xfrm rot="859363">
                  <a:off x="3326" y="1685"/>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51" name="AutoShape 453"/>
                <p:cNvSpPr>
                  <a:spLocks noChangeArrowheads="1"/>
                </p:cNvSpPr>
                <p:nvPr/>
              </p:nvSpPr>
              <p:spPr bwMode="auto">
                <a:xfrm rot="859363">
                  <a:off x="3326" y="2037"/>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52" name="AutoShape 454"/>
                <p:cNvSpPr>
                  <a:spLocks noChangeArrowheads="1"/>
                </p:cNvSpPr>
                <p:nvPr/>
              </p:nvSpPr>
              <p:spPr bwMode="auto">
                <a:xfrm>
                  <a:off x="4404" y="1708"/>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53" name="AutoShape 455"/>
                <p:cNvSpPr>
                  <a:spLocks noChangeArrowheads="1"/>
                </p:cNvSpPr>
                <p:nvPr/>
              </p:nvSpPr>
              <p:spPr bwMode="auto">
                <a:xfrm>
                  <a:off x="4404" y="2019"/>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54" name="AutoShape 456"/>
                <p:cNvSpPr>
                  <a:spLocks noChangeArrowheads="1"/>
                </p:cNvSpPr>
                <p:nvPr/>
              </p:nvSpPr>
              <p:spPr bwMode="auto">
                <a:xfrm>
                  <a:off x="4404" y="2090"/>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55" name="AutoShape 457"/>
                <p:cNvSpPr>
                  <a:spLocks noChangeArrowheads="1"/>
                </p:cNvSpPr>
                <p:nvPr/>
              </p:nvSpPr>
              <p:spPr bwMode="auto">
                <a:xfrm>
                  <a:off x="4404" y="1632"/>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56" name="AutoShape 458"/>
                <p:cNvSpPr>
                  <a:spLocks noChangeArrowheads="1"/>
                </p:cNvSpPr>
                <p:nvPr/>
              </p:nvSpPr>
              <p:spPr bwMode="auto">
                <a:xfrm>
                  <a:off x="4702" y="1708"/>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57" name="AutoShape 459"/>
                <p:cNvSpPr>
                  <a:spLocks noChangeArrowheads="1"/>
                </p:cNvSpPr>
                <p:nvPr/>
              </p:nvSpPr>
              <p:spPr bwMode="auto">
                <a:xfrm>
                  <a:off x="4702" y="2019"/>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58" name="AutoShape 460"/>
                <p:cNvSpPr>
                  <a:spLocks noChangeArrowheads="1"/>
                </p:cNvSpPr>
                <p:nvPr/>
              </p:nvSpPr>
              <p:spPr bwMode="auto">
                <a:xfrm>
                  <a:off x="4702" y="2090"/>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59" name="AutoShape 461"/>
                <p:cNvSpPr>
                  <a:spLocks noChangeArrowheads="1"/>
                </p:cNvSpPr>
                <p:nvPr/>
              </p:nvSpPr>
              <p:spPr bwMode="auto">
                <a:xfrm>
                  <a:off x="4702" y="1632"/>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60" name="Rectangle 462"/>
                <p:cNvSpPr>
                  <a:spLocks noChangeArrowheads="1"/>
                </p:cNvSpPr>
                <p:nvPr/>
              </p:nvSpPr>
              <p:spPr bwMode="auto">
                <a:xfrm>
                  <a:off x="3120" y="1650"/>
                  <a:ext cx="459" cy="492"/>
                </a:xfrm>
                <a:prstGeom prst="rect">
                  <a:avLst/>
                </a:prstGeom>
                <a:solidFill>
                  <a:srgbClr val="CCFFCC">
                    <a:alpha val="47842"/>
                  </a:srgbClr>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grpSp>
        <p:sp>
          <p:nvSpPr>
            <p:cNvPr id="233" name="Rectangle 498"/>
            <p:cNvSpPr>
              <a:spLocks noChangeArrowheads="1"/>
            </p:cNvSpPr>
            <p:nvPr/>
          </p:nvSpPr>
          <p:spPr bwMode="auto">
            <a:xfrm>
              <a:off x="3625170" y="2371271"/>
              <a:ext cx="457200" cy="228600"/>
            </a:xfrm>
            <a:prstGeom prst="rect">
              <a:avLst/>
            </a:prstGeom>
            <a:solidFill>
              <a:srgbClr val="8D8F92"/>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ctr" defTabSz="914377" rtl="0" eaLnBrk="1" fontAlgn="auto" latinLnBrk="0" hangingPunct="1">
                <a:lnSpc>
                  <a:spcPct val="8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6x2</a:t>
              </a:r>
            </a:p>
          </p:txBody>
        </p:sp>
      </p:grpSp>
      <p:grpSp>
        <p:nvGrpSpPr>
          <p:cNvPr id="264" name="Group 263"/>
          <p:cNvGrpSpPr/>
          <p:nvPr/>
        </p:nvGrpSpPr>
        <p:grpSpPr>
          <a:xfrm>
            <a:off x="2393437" y="2895599"/>
            <a:ext cx="3429000" cy="838200"/>
            <a:chOff x="653370" y="3133271"/>
            <a:chExt cx="3429000" cy="838200"/>
          </a:xfrm>
        </p:grpSpPr>
        <p:grpSp>
          <p:nvGrpSpPr>
            <p:cNvPr id="265" name="Group 764"/>
            <p:cNvGrpSpPr>
              <a:grpSpLocks/>
            </p:cNvGrpSpPr>
            <p:nvPr/>
          </p:nvGrpSpPr>
          <p:grpSpPr bwMode="auto">
            <a:xfrm>
              <a:off x="653370" y="3133271"/>
              <a:ext cx="3276600" cy="838200"/>
              <a:chOff x="528" y="3024"/>
              <a:chExt cx="2064" cy="528"/>
            </a:xfrm>
          </p:grpSpPr>
          <p:grpSp>
            <p:nvGrpSpPr>
              <p:cNvPr id="267" name="Group 727"/>
              <p:cNvGrpSpPr>
                <a:grpSpLocks/>
              </p:cNvGrpSpPr>
              <p:nvPr/>
            </p:nvGrpSpPr>
            <p:grpSpPr bwMode="auto">
              <a:xfrm>
                <a:off x="624" y="3216"/>
                <a:ext cx="1584" cy="144"/>
                <a:chOff x="624" y="3224"/>
                <a:chExt cx="1584" cy="144"/>
              </a:xfrm>
            </p:grpSpPr>
            <p:sp>
              <p:nvSpPr>
                <p:cNvPr id="296" name="Line 728"/>
                <p:cNvSpPr>
                  <a:spLocks noChangeShapeType="1"/>
                </p:cNvSpPr>
                <p:nvPr/>
              </p:nvSpPr>
              <p:spPr bwMode="auto">
                <a:xfrm flipV="1">
                  <a:off x="912" y="3296"/>
                  <a:ext cx="1296" cy="8"/>
                </a:xfrm>
                <a:prstGeom prst="line">
                  <a:avLst/>
                </a:prstGeom>
                <a:noFill/>
                <a:ln w="28575">
                  <a:solidFill>
                    <a:srgbClr val="969696"/>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97" name="Rectangle 729"/>
                <p:cNvSpPr>
                  <a:spLocks noChangeArrowheads="1"/>
                </p:cNvSpPr>
                <p:nvPr/>
              </p:nvSpPr>
              <p:spPr bwMode="auto">
                <a:xfrm>
                  <a:off x="624" y="3224"/>
                  <a:ext cx="240" cy="144"/>
                </a:xfrm>
                <a:prstGeom prst="rect">
                  <a:avLst/>
                </a:pr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98" name="AutoShape 730"/>
                <p:cNvSpPr>
                  <a:spLocks noChangeArrowheads="1"/>
                </p:cNvSpPr>
                <p:nvPr/>
              </p:nvSpPr>
              <p:spPr bwMode="auto">
                <a:xfrm rot="-5400000">
                  <a:off x="840" y="3248"/>
                  <a:ext cx="144" cy="96"/>
                </a:xfrm>
                <a:custGeom>
                  <a:avLst/>
                  <a:gdLst>
                    <a:gd name="T0" fmla="*/ 1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grpSp>
            <p:nvGrpSpPr>
              <p:cNvPr id="268" name="Group 324"/>
              <p:cNvGrpSpPr>
                <a:grpSpLocks/>
              </p:cNvGrpSpPr>
              <p:nvPr/>
            </p:nvGrpSpPr>
            <p:grpSpPr bwMode="auto">
              <a:xfrm>
                <a:off x="528" y="3024"/>
                <a:ext cx="2064" cy="528"/>
                <a:chOff x="576" y="2352"/>
                <a:chExt cx="2064" cy="528"/>
              </a:xfrm>
            </p:grpSpPr>
            <p:sp>
              <p:nvSpPr>
                <p:cNvPr id="269" name="Line 325"/>
                <p:cNvSpPr>
                  <a:spLocks noChangeShapeType="1"/>
                </p:cNvSpPr>
                <p:nvPr/>
              </p:nvSpPr>
              <p:spPr bwMode="auto">
                <a:xfrm>
                  <a:off x="1952" y="2616"/>
                  <a:ext cx="288" cy="0"/>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70" name="Oval 326"/>
                <p:cNvSpPr>
                  <a:spLocks noChangeArrowheads="1"/>
                </p:cNvSpPr>
                <p:nvPr/>
              </p:nvSpPr>
              <p:spPr bwMode="auto">
                <a:xfrm>
                  <a:off x="2200" y="2569"/>
                  <a:ext cx="50" cy="88"/>
                </a:xfrm>
                <a:prstGeom prst="ellipse">
                  <a:avLst/>
                </a:prstGeom>
                <a:solidFill>
                  <a:schemeClr val="folHlink"/>
                </a:solidFill>
                <a:ln w="12700">
                  <a:solidFill>
                    <a:schemeClr val="accent2"/>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71" name="Oval 327"/>
                <p:cNvSpPr>
                  <a:spLocks noChangeArrowheads="1"/>
                </p:cNvSpPr>
                <p:nvPr/>
              </p:nvSpPr>
              <p:spPr bwMode="auto">
                <a:xfrm>
                  <a:off x="1906" y="2569"/>
                  <a:ext cx="69" cy="88"/>
                </a:xfrm>
                <a:prstGeom prst="ellipse">
                  <a:avLst/>
                </a:prstGeom>
                <a:solidFill>
                  <a:schemeClr val="folHlink"/>
                </a:solidFill>
                <a:ln w="12700">
                  <a:solidFill>
                    <a:schemeClr val="accent2"/>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72" name="Rectangle 328"/>
                <p:cNvSpPr>
                  <a:spLocks noChangeArrowheads="1"/>
                </p:cNvSpPr>
                <p:nvPr/>
              </p:nvSpPr>
              <p:spPr bwMode="auto">
                <a:xfrm>
                  <a:off x="1929" y="2440"/>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73" name="Rectangle 329"/>
                <p:cNvSpPr>
                  <a:spLocks noChangeArrowheads="1"/>
                </p:cNvSpPr>
                <p:nvPr/>
              </p:nvSpPr>
              <p:spPr bwMode="auto">
                <a:xfrm>
                  <a:off x="847" y="2440"/>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74" name="Rectangle 330"/>
                <p:cNvSpPr>
                  <a:spLocks noChangeArrowheads="1"/>
                </p:cNvSpPr>
                <p:nvPr/>
              </p:nvSpPr>
              <p:spPr bwMode="auto">
                <a:xfrm>
                  <a:off x="2227" y="2440"/>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75" name="Rectangle 331"/>
                <p:cNvSpPr>
                  <a:spLocks noChangeArrowheads="1"/>
                </p:cNvSpPr>
                <p:nvPr/>
              </p:nvSpPr>
              <p:spPr bwMode="auto">
                <a:xfrm>
                  <a:off x="576" y="2510"/>
                  <a:ext cx="2064" cy="36"/>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76" name="Rectangle 332"/>
                <p:cNvSpPr>
                  <a:spLocks noChangeArrowheads="1"/>
                </p:cNvSpPr>
                <p:nvPr/>
              </p:nvSpPr>
              <p:spPr bwMode="auto">
                <a:xfrm>
                  <a:off x="576" y="2686"/>
                  <a:ext cx="2064" cy="36"/>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77" name="Rectangle 333"/>
                <p:cNvSpPr>
                  <a:spLocks noChangeArrowheads="1"/>
                </p:cNvSpPr>
                <p:nvPr/>
              </p:nvSpPr>
              <p:spPr bwMode="auto">
                <a:xfrm>
                  <a:off x="576" y="251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78" name="Rectangle 334"/>
                <p:cNvSpPr>
                  <a:spLocks noChangeArrowheads="1"/>
                </p:cNvSpPr>
                <p:nvPr/>
              </p:nvSpPr>
              <p:spPr bwMode="auto">
                <a:xfrm>
                  <a:off x="1058" y="251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79" name="Rectangle 335"/>
                <p:cNvSpPr>
                  <a:spLocks noChangeArrowheads="1"/>
                </p:cNvSpPr>
                <p:nvPr/>
              </p:nvSpPr>
              <p:spPr bwMode="auto">
                <a:xfrm>
                  <a:off x="1379" y="251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80" name="Rectangle 336"/>
                <p:cNvSpPr>
                  <a:spLocks noChangeArrowheads="1"/>
                </p:cNvSpPr>
                <p:nvPr/>
              </p:nvSpPr>
              <p:spPr bwMode="auto">
                <a:xfrm>
                  <a:off x="1814" y="251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81" name="Rectangle 337"/>
                <p:cNvSpPr>
                  <a:spLocks noChangeArrowheads="1"/>
                </p:cNvSpPr>
                <p:nvPr/>
              </p:nvSpPr>
              <p:spPr bwMode="auto">
                <a:xfrm>
                  <a:off x="2090" y="251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82" name="Rectangle 338"/>
                <p:cNvSpPr>
                  <a:spLocks noChangeArrowheads="1"/>
                </p:cNvSpPr>
                <p:nvPr/>
              </p:nvSpPr>
              <p:spPr bwMode="auto">
                <a:xfrm>
                  <a:off x="2342" y="251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83" name="Rectangle 339"/>
                <p:cNvSpPr>
                  <a:spLocks noChangeArrowheads="1"/>
                </p:cNvSpPr>
                <p:nvPr/>
              </p:nvSpPr>
              <p:spPr bwMode="auto">
                <a:xfrm>
                  <a:off x="2617" y="251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84" name="Rectangle 340"/>
                <p:cNvSpPr>
                  <a:spLocks noChangeArrowheads="1"/>
                </p:cNvSpPr>
                <p:nvPr/>
              </p:nvSpPr>
              <p:spPr bwMode="auto">
                <a:xfrm>
                  <a:off x="576" y="2370"/>
                  <a:ext cx="69" cy="492"/>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85" name="AutoShape 341"/>
                <p:cNvSpPr>
                  <a:spLocks noChangeArrowheads="1"/>
                </p:cNvSpPr>
                <p:nvPr/>
              </p:nvSpPr>
              <p:spPr bwMode="auto">
                <a:xfrm rot="859363">
                  <a:off x="782" y="2405"/>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86" name="AutoShape 342"/>
                <p:cNvSpPr>
                  <a:spLocks noChangeArrowheads="1"/>
                </p:cNvSpPr>
                <p:nvPr/>
              </p:nvSpPr>
              <p:spPr bwMode="auto">
                <a:xfrm rot="859363">
                  <a:off x="782" y="2757"/>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87" name="AutoShape 343"/>
                <p:cNvSpPr>
                  <a:spLocks noChangeArrowheads="1"/>
                </p:cNvSpPr>
                <p:nvPr/>
              </p:nvSpPr>
              <p:spPr bwMode="auto">
                <a:xfrm>
                  <a:off x="1860" y="2428"/>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88" name="AutoShape 344"/>
                <p:cNvSpPr>
                  <a:spLocks noChangeArrowheads="1"/>
                </p:cNvSpPr>
                <p:nvPr/>
              </p:nvSpPr>
              <p:spPr bwMode="auto">
                <a:xfrm>
                  <a:off x="1860" y="2739"/>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89" name="AutoShape 345"/>
                <p:cNvSpPr>
                  <a:spLocks noChangeArrowheads="1"/>
                </p:cNvSpPr>
                <p:nvPr/>
              </p:nvSpPr>
              <p:spPr bwMode="auto">
                <a:xfrm>
                  <a:off x="1860" y="2810"/>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90" name="AutoShape 346"/>
                <p:cNvSpPr>
                  <a:spLocks noChangeArrowheads="1"/>
                </p:cNvSpPr>
                <p:nvPr/>
              </p:nvSpPr>
              <p:spPr bwMode="auto">
                <a:xfrm>
                  <a:off x="1860" y="2352"/>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91" name="AutoShape 347"/>
                <p:cNvSpPr>
                  <a:spLocks noChangeArrowheads="1"/>
                </p:cNvSpPr>
                <p:nvPr/>
              </p:nvSpPr>
              <p:spPr bwMode="auto">
                <a:xfrm>
                  <a:off x="2158" y="2428"/>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92" name="AutoShape 348"/>
                <p:cNvSpPr>
                  <a:spLocks noChangeArrowheads="1"/>
                </p:cNvSpPr>
                <p:nvPr/>
              </p:nvSpPr>
              <p:spPr bwMode="auto">
                <a:xfrm>
                  <a:off x="2158" y="2739"/>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93" name="AutoShape 349"/>
                <p:cNvSpPr>
                  <a:spLocks noChangeArrowheads="1"/>
                </p:cNvSpPr>
                <p:nvPr/>
              </p:nvSpPr>
              <p:spPr bwMode="auto">
                <a:xfrm>
                  <a:off x="2158" y="2810"/>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94" name="AutoShape 350"/>
                <p:cNvSpPr>
                  <a:spLocks noChangeArrowheads="1"/>
                </p:cNvSpPr>
                <p:nvPr/>
              </p:nvSpPr>
              <p:spPr bwMode="auto">
                <a:xfrm>
                  <a:off x="2158" y="2352"/>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95" name="Rectangle 351"/>
                <p:cNvSpPr>
                  <a:spLocks noChangeArrowheads="1"/>
                </p:cNvSpPr>
                <p:nvPr/>
              </p:nvSpPr>
              <p:spPr bwMode="auto">
                <a:xfrm>
                  <a:off x="576" y="2370"/>
                  <a:ext cx="459" cy="492"/>
                </a:xfrm>
                <a:prstGeom prst="rect">
                  <a:avLst/>
                </a:prstGeom>
                <a:solidFill>
                  <a:srgbClr val="CCFFCC">
                    <a:alpha val="47842"/>
                  </a:srgbClr>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grpSp>
        <p:sp>
          <p:nvSpPr>
            <p:cNvPr id="266" name="Rectangle 500"/>
            <p:cNvSpPr>
              <a:spLocks noChangeArrowheads="1"/>
            </p:cNvSpPr>
            <p:nvPr/>
          </p:nvSpPr>
          <p:spPr bwMode="auto">
            <a:xfrm>
              <a:off x="3625170" y="3285671"/>
              <a:ext cx="457200" cy="228600"/>
            </a:xfrm>
            <a:prstGeom prst="rect">
              <a:avLst/>
            </a:prstGeom>
            <a:solidFill>
              <a:srgbClr val="8D8F92"/>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ctr" defTabSz="914377" rtl="0" eaLnBrk="1" fontAlgn="auto" latinLnBrk="0" hangingPunct="1">
                <a:lnSpc>
                  <a:spcPct val="8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6x4</a:t>
              </a:r>
            </a:p>
          </p:txBody>
        </p:sp>
      </p:grpSp>
      <p:grpSp>
        <p:nvGrpSpPr>
          <p:cNvPr id="299" name="Group 298"/>
          <p:cNvGrpSpPr/>
          <p:nvPr/>
        </p:nvGrpSpPr>
        <p:grpSpPr>
          <a:xfrm>
            <a:off x="6543227" y="2895600"/>
            <a:ext cx="3504859" cy="838200"/>
            <a:chOff x="4768511" y="2218871"/>
            <a:chExt cx="3504859" cy="838200"/>
          </a:xfrm>
        </p:grpSpPr>
        <p:grpSp>
          <p:nvGrpSpPr>
            <p:cNvPr id="300" name="Group 299"/>
            <p:cNvGrpSpPr/>
            <p:nvPr/>
          </p:nvGrpSpPr>
          <p:grpSpPr>
            <a:xfrm>
              <a:off x="4768511" y="2218871"/>
              <a:ext cx="3276600" cy="838200"/>
              <a:chOff x="1253652" y="3937682"/>
              <a:chExt cx="3276600" cy="838200"/>
            </a:xfrm>
          </p:grpSpPr>
          <p:sp>
            <p:nvSpPr>
              <p:cNvPr id="302" name="Line 728"/>
              <p:cNvSpPr>
                <a:spLocks noChangeShapeType="1"/>
              </p:cNvSpPr>
              <p:nvPr/>
            </p:nvSpPr>
            <p:spPr bwMode="auto">
              <a:xfrm flipV="1">
                <a:off x="1756795" y="4370277"/>
                <a:ext cx="346869" cy="0"/>
              </a:xfrm>
              <a:prstGeom prst="line">
                <a:avLst/>
              </a:prstGeom>
              <a:noFill/>
              <a:ln w="28575">
                <a:solidFill>
                  <a:schemeClr val="accent4"/>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03" name="Oval 327"/>
              <p:cNvSpPr>
                <a:spLocks noChangeArrowheads="1"/>
              </p:cNvSpPr>
              <p:nvPr/>
            </p:nvSpPr>
            <p:spPr bwMode="auto">
              <a:xfrm>
                <a:off x="1647257" y="4286023"/>
                <a:ext cx="109538" cy="139700"/>
              </a:xfrm>
              <a:prstGeom prst="ellipse">
                <a:avLst/>
              </a:prstGeom>
              <a:solidFill>
                <a:srgbClr val="99CC00"/>
              </a:solidFill>
              <a:ln w="12700">
                <a:solidFill>
                  <a:srgbClr val="333399"/>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grpSp>
            <p:nvGrpSpPr>
              <p:cNvPr id="304" name="Group 764"/>
              <p:cNvGrpSpPr>
                <a:grpSpLocks/>
              </p:cNvGrpSpPr>
              <p:nvPr/>
            </p:nvGrpSpPr>
            <p:grpSpPr bwMode="auto">
              <a:xfrm>
                <a:off x="1253652" y="3937682"/>
                <a:ext cx="3276600" cy="838200"/>
                <a:chOff x="528" y="3024"/>
                <a:chExt cx="2064" cy="528"/>
              </a:xfrm>
            </p:grpSpPr>
            <p:grpSp>
              <p:nvGrpSpPr>
                <p:cNvPr id="305" name="Group 727"/>
                <p:cNvGrpSpPr>
                  <a:grpSpLocks/>
                </p:cNvGrpSpPr>
                <p:nvPr/>
              </p:nvGrpSpPr>
              <p:grpSpPr bwMode="auto">
                <a:xfrm>
                  <a:off x="1035" y="3233"/>
                  <a:ext cx="1172" cy="144"/>
                  <a:chOff x="1035" y="3241"/>
                  <a:chExt cx="1172" cy="144"/>
                </a:xfrm>
              </p:grpSpPr>
              <p:sp>
                <p:nvSpPr>
                  <p:cNvPr id="334" name="Line 728"/>
                  <p:cNvSpPr>
                    <a:spLocks noChangeShapeType="1"/>
                  </p:cNvSpPr>
                  <p:nvPr/>
                </p:nvSpPr>
                <p:spPr bwMode="auto">
                  <a:xfrm flipV="1">
                    <a:off x="1342" y="3296"/>
                    <a:ext cx="865" cy="4"/>
                  </a:xfrm>
                  <a:prstGeom prst="line">
                    <a:avLst/>
                  </a:prstGeom>
                  <a:noFill/>
                  <a:ln w="28575">
                    <a:solidFill>
                      <a:srgbClr val="969696"/>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35" name="Rectangle 729"/>
                  <p:cNvSpPr>
                    <a:spLocks noChangeArrowheads="1"/>
                  </p:cNvSpPr>
                  <p:nvPr/>
                </p:nvSpPr>
                <p:spPr bwMode="auto">
                  <a:xfrm>
                    <a:off x="1035" y="3241"/>
                    <a:ext cx="240" cy="144"/>
                  </a:xfrm>
                  <a:prstGeom prst="rect">
                    <a:avLst/>
                  </a:pr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36" name="AutoShape 730"/>
                  <p:cNvSpPr>
                    <a:spLocks noChangeArrowheads="1"/>
                  </p:cNvSpPr>
                  <p:nvPr/>
                </p:nvSpPr>
                <p:spPr bwMode="auto">
                  <a:xfrm rot="16200000">
                    <a:off x="1251" y="3265"/>
                    <a:ext cx="144" cy="96"/>
                  </a:xfrm>
                  <a:custGeom>
                    <a:avLst/>
                    <a:gdLst>
                      <a:gd name="T0" fmla="*/ 1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grpSp>
            <p:grpSp>
              <p:nvGrpSpPr>
                <p:cNvPr id="306" name="Group 324"/>
                <p:cNvGrpSpPr>
                  <a:grpSpLocks/>
                </p:cNvGrpSpPr>
                <p:nvPr/>
              </p:nvGrpSpPr>
              <p:grpSpPr bwMode="auto">
                <a:xfrm>
                  <a:off x="528" y="3024"/>
                  <a:ext cx="2064" cy="528"/>
                  <a:chOff x="576" y="2352"/>
                  <a:chExt cx="2064" cy="528"/>
                </a:xfrm>
              </p:grpSpPr>
              <p:sp>
                <p:nvSpPr>
                  <p:cNvPr id="307" name="Line 325"/>
                  <p:cNvSpPr>
                    <a:spLocks noChangeShapeType="1"/>
                  </p:cNvSpPr>
                  <p:nvPr/>
                </p:nvSpPr>
                <p:spPr bwMode="auto">
                  <a:xfrm>
                    <a:off x="1952" y="2616"/>
                    <a:ext cx="288" cy="0"/>
                  </a:xfrm>
                  <a:prstGeom prst="line">
                    <a:avLst/>
                  </a:prstGeom>
                  <a:noFill/>
                  <a:ln w="28575">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08" name="Oval 326"/>
                  <p:cNvSpPr>
                    <a:spLocks noChangeArrowheads="1"/>
                  </p:cNvSpPr>
                  <p:nvPr/>
                </p:nvSpPr>
                <p:spPr bwMode="auto">
                  <a:xfrm>
                    <a:off x="2200" y="2569"/>
                    <a:ext cx="50" cy="88"/>
                  </a:xfrm>
                  <a:prstGeom prst="ellipse">
                    <a:avLst/>
                  </a:prstGeom>
                  <a:solidFill>
                    <a:srgbClr val="99CC00"/>
                  </a:solidFill>
                  <a:ln w="12700">
                    <a:solidFill>
                      <a:srgbClr val="333399"/>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09" name="Oval 327"/>
                  <p:cNvSpPr>
                    <a:spLocks noChangeArrowheads="1"/>
                  </p:cNvSpPr>
                  <p:nvPr/>
                </p:nvSpPr>
                <p:spPr bwMode="auto">
                  <a:xfrm>
                    <a:off x="1906" y="2569"/>
                    <a:ext cx="69" cy="88"/>
                  </a:xfrm>
                  <a:prstGeom prst="ellipse">
                    <a:avLst/>
                  </a:prstGeom>
                  <a:solidFill>
                    <a:srgbClr val="99CC00"/>
                  </a:solidFill>
                  <a:ln w="12700">
                    <a:solidFill>
                      <a:srgbClr val="333399"/>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10" name="Rectangle 328"/>
                  <p:cNvSpPr>
                    <a:spLocks noChangeArrowheads="1"/>
                  </p:cNvSpPr>
                  <p:nvPr/>
                </p:nvSpPr>
                <p:spPr bwMode="auto">
                  <a:xfrm>
                    <a:off x="1929" y="2440"/>
                    <a:ext cx="23" cy="352"/>
                  </a:xfrm>
                  <a:prstGeom prst="rect">
                    <a:avLst/>
                  </a:prstGeom>
                  <a:solidFill>
                    <a:srgbClr val="99CC00"/>
                  </a:solidFill>
                  <a:ln w="12700">
                    <a:solidFill>
                      <a:srgbClr val="333399"/>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11" name="Rectangle 329"/>
                  <p:cNvSpPr>
                    <a:spLocks noChangeArrowheads="1"/>
                  </p:cNvSpPr>
                  <p:nvPr/>
                </p:nvSpPr>
                <p:spPr bwMode="auto">
                  <a:xfrm>
                    <a:off x="847" y="2440"/>
                    <a:ext cx="23" cy="352"/>
                  </a:xfrm>
                  <a:prstGeom prst="rect">
                    <a:avLst/>
                  </a:prstGeom>
                  <a:solidFill>
                    <a:srgbClr val="99CC00"/>
                  </a:solidFill>
                  <a:ln w="12700">
                    <a:solidFill>
                      <a:srgbClr val="333399"/>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12" name="Rectangle 330"/>
                  <p:cNvSpPr>
                    <a:spLocks noChangeArrowheads="1"/>
                  </p:cNvSpPr>
                  <p:nvPr/>
                </p:nvSpPr>
                <p:spPr bwMode="auto">
                  <a:xfrm>
                    <a:off x="2227" y="2440"/>
                    <a:ext cx="23" cy="352"/>
                  </a:xfrm>
                  <a:prstGeom prst="rect">
                    <a:avLst/>
                  </a:prstGeom>
                  <a:solidFill>
                    <a:srgbClr val="99CC00"/>
                  </a:solidFill>
                  <a:ln w="12700">
                    <a:solidFill>
                      <a:srgbClr val="333399"/>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13" name="Rectangle 331"/>
                  <p:cNvSpPr>
                    <a:spLocks noChangeArrowheads="1"/>
                  </p:cNvSpPr>
                  <p:nvPr/>
                </p:nvSpPr>
                <p:spPr bwMode="auto">
                  <a:xfrm>
                    <a:off x="576" y="2510"/>
                    <a:ext cx="2064" cy="36"/>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14" name="Rectangle 332"/>
                  <p:cNvSpPr>
                    <a:spLocks noChangeArrowheads="1"/>
                  </p:cNvSpPr>
                  <p:nvPr/>
                </p:nvSpPr>
                <p:spPr bwMode="auto">
                  <a:xfrm>
                    <a:off x="576" y="2686"/>
                    <a:ext cx="2064" cy="36"/>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15" name="Rectangle 333"/>
                  <p:cNvSpPr>
                    <a:spLocks noChangeArrowheads="1"/>
                  </p:cNvSpPr>
                  <p:nvPr/>
                </p:nvSpPr>
                <p:spPr bwMode="auto">
                  <a:xfrm>
                    <a:off x="576"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16" name="Rectangle 334"/>
                  <p:cNvSpPr>
                    <a:spLocks noChangeArrowheads="1"/>
                  </p:cNvSpPr>
                  <p:nvPr/>
                </p:nvSpPr>
                <p:spPr bwMode="auto">
                  <a:xfrm>
                    <a:off x="1058"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17" name="Rectangle 335"/>
                  <p:cNvSpPr>
                    <a:spLocks noChangeArrowheads="1"/>
                  </p:cNvSpPr>
                  <p:nvPr/>
                </p:nvSpPr>
                <p:spPr bwMode="auto">
                  <a:xfrm>
                    <a:off x="1379"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18" name="Rectangle 336"/>
                  <p:cNvSpPr>
                    <a:spLocks noChangeArrowheads="1"/>
                  </p:cNvSpPr>
                  <p:nvPr/>
                </p:nvSpPr>
                <p:spPr bwMode="auto">
                  <a:xfrm>
                    <a:off x="1814"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19" name="Rectangle 337"/>
                  <p:cNvSpPr>
                    <a:spLocks noChangeArrowheads="1"/>
                  </p:cNvSpPr>
                  <p:nvPr/>
                </p:nvSpPr>
                <p:spPr bwMode="auto">
                  <a:xfrm>
                    <a:off x="2090"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20" name="Rectangle 338"/>
                  <p:cNvSpPr>
                    <a:spLocks noChangeArrowheads="1"/>
                  </p:cNvSpPr>
                  <p:nvPr/>
                </p:nvSpPr>
                <p:spPr bwMode="auto">
                  <a:xfrm>
                    <a:off x="2342"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21" name="Rectangle 339"/>
                  <p:cNvSpPr>
                    <a:spLocks noChangeArrowheads="1"/>
                  </p:cNvSpPr>
                  <p:nvPr/>
                </p:nvSpPr>
                <p:spPr bwMode="auto">
                  <a:xfrm>
                    <a:off x="2617"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22" name="Rectangle 340"/>
                  <p:cNvSpPr>
                    <a:spLocks noChangeArrowheads="1"/>
                  </p:cNvSpPr>
                  <p:nvPr/>
                </p:nvSpPr>
                <p:spPr bwMode="auto">
                  <a:xfrm>
                    <a:off x="576" y="2370"/>
                    <a:ext cx="69" cy="492"/>
                  </a:xfrm>
                  <a:prstGeom prst="rect">
                    <a:avLst/>
                  </a:prstGeom>
                  <a:noFill/>
                  <a:ln w="12700">
                    <a:solidFill>
                      <a:srgbClr val="000000"/>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23" name="AutoShape 341"/>
                  <p:cNvSpPr>
                    <a:spLocks noChangeArrowheads="1"/>
                  </p:cNvSpPr>
                  <p:nvPr/>
                </p:nvSpPr>
                <p:spPr bwMode="auto">
                  <a:xfrm rot="859363">
                    <a:off x="782" y="2405"/>
                    <a:ext cx="161" cy="70"/>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24" name="AutoShape 342"/>
                  <p:cNvSpPr>
                    <a:spLocks noChangeArrowheads="1"/>
                  </p:cNvSpPr>
                  <p:nvPr/>
                </p:nvSpPr>
                <p:spPr bwMode="auto">
                  <a:xfrm rot="859363">
                    <a:off x="782" y="2757"/>
                    <a:ext cx="161" cy="70"/>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25" name="AutoShape 343"/>
                  <p:cNvSpPr>
                    <a:spLocks noChangeArrowheads="1"/>
                  </p:cNvSpPr>
                  <p:nvPr/>
                </p:nvSpPr>
                <p:spPr bwMode="auto">
                  <a:xfrm>
                    <a:off x="1860" y="2428"/>
                    <a:ext cx="161" cy="71"/>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26" name="AutoShape 344"/>
                  <p:cNvSpPr>
                    <a:spLocks noChangeArrowheads="1"/>
                  </p:cNvSpPr>
                  <p:nvPr/>
                </p:nvSpPr>
                <p:spPr bwMode="auto">
                  <a:xfrm>
                    <a:off x="1860" y="2739"/>
                    <a:ext cx="161" cy="71"/>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27" name="AutoShape 345"/>
                  <p:cNvSpPr>
                    <a:spLocks noChangeArrowheads="1"/>
                  </p:cNvSpPr>
                  <p:nvPr/>
                </p:nvSpPr>
                <p:spPr bwMode="auto">
                  <a:xfrm>
                    <a:off x="1860" y="2810"/>
                    <a:ext cx="161" cy="70"/>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28" name="AutoShape 346"/>
                  <p:cNvSpPr>
                    <a:spLocks noChangeArrowheads="1"/>
                  </p:cNvSpPr>
                  <p:nvPr/>
                </p:nvSpPr>
                <p:spPr bwMode="auto">
                  <a:xfrm>
                    <a:off x="1860" y="2352"/>
                    <a:ext cx="161" cy="70"/>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29" name="AutoShape 347"/>
                  <p:cNvSpPr>
                    <a:spLocks noChangeArrowheads="1"/>
                  </p:cNvSpPr>
                  <p:nvPr/>
                </p:nvSpPr>
                <p:spPr bwMode="auto">
                  <a:xfrm>
                    <a:off x="2158" y="2428"/>
                    <a:ext cx="161" cy="71"/>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30" name="AutoShape 348"/>
                  <p:cNvSpPr>
                    <a:spLocks noChangeArrowheads="1"/>
                  </p:cNvSpPr>
                  <p:nvPr/>
                </p:nvSpPr>
                <p:spPr bwMode="auto">
                  <a:xfrm>
                    <a:off x="2158" y="2739"/>
                    <a:ext cx="161" cy="71"/>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31" name="AutoShape 349"/>
                  <p:cNvSpPr>
                    <a:spLocks noChangeArrowheads="1"/>
                  </p:cNvSpPr>
                  <p:nvPr/>
                </p:nvSpPr>
                <p:spPr bwMode="auto">
                  <a:xfrm>
                    <a:off x="2158" y="2810"/>
                    <a:ext cx="161" cy="70"/>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32" name="AutoShape 350"/>
                  <p:cNvSpPr>
                    <a:spLocks noChangeArrowheads="1"/>
                  </p:cNvSpPr>
                  <p:nvPr/>
                </p:nvSpPr>
                <p:spPr bwMode="auto">
                  <a:xfrm>
                    <a:off x="2158" y="2352"/>
                    <a:ext cx="161" cy="70"/>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33" name="Rectangle 351"/>
                  <p:cNvSpPr>
                    <a:spLocks noChangeArrowheads="1"/>
                  </p:cNvSpPr>
                  <p:nvPr/>
                </p:nvSpPr>
                <p:spPr bwMode="auto">
                  <a:xfrm>
                    <a:off x="577" y="2369"/>
                    <a:ext cx="459" cy="492"/>
                  </a:xfrm>
                  <a:prstGeom prst="rect">
                    <a:avLst/>
                  </a:prstGeom>
                  <a:solidFill>
                    <a:srgbClr val="CCFFCC">
                      <a:alpha val="47842"/>
                    </a:srgbClr>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grpSp>
          </p:grpSp>
        </p:grpSp>
        <p:sp>
          <p:nvSpPr>
            <p:cNvPr id="301" name="Rectangle 499"/>
            <p:cNvSpPr>
              <a:spLocks noChangeArrowheads="1"/>
            </p:cNvSpPr>
            <p:nvPr/>
          </p:nvSpPr>
          <p:spPr bwMode="auto">
            <a:xfrm>
              <a:off x="7816170" y="2371271"/>
              <a:ext cx="457200" cy="228600"/>
            </a:xfrm>
            <a:prstGeom prst="rect">
              <a:avLst/>
            </a:prstGeom>
            <a:solidFill>
              <a:srgbClr val="8D8F92"/>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ctr" defTabSz="914377" rtl="0" eaLnBrk="1" fontAlgn="auto" latinLnBrk="0" hangingPunct="1">
                <a:lnSpc>
                  <a:spcPct val="8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6x6</a:t>
              </a:r>
            </a:p>
          </p:txBody>
        </p:sp>
      </p:grpSp>
      <p:grpSp>
        <p:nvGrpSpPr>
          <p:cNvPr id="337" name="Group 336"/>
          <p:cNvGrpSpPr/>
          <p:nvPr/>
        </p:nvGrpSpPr>
        <p:grpSpPr>
          <a:xfrm>
            <a:off x="2376768" y="3871244"/>
            <a:ext cx="3505200" cy="838200"/>
            <a:chOff x="4768170" y="3133271"/>
            <a:chExt cx="3505200" cy="838200"/>
          </a:xfrm>
        </p:grpSpPr>
        <p:grpSp>
          <p:nvGrpSpPr>
            <p:cNvPr id="338" name="Group 765"/>
            <p:cNvGrpSpPr>
              <a:grpSpLocks/>
            </p:cNvGrpSpPr>
            <p:nvPr/>
          </p:nvGrpSpPr>
          <p:grpSpPr bwMode="auto">
            <a:xfrm>
              <a:off x="4768170" y="3133271"/>
              <a:ext cx="3276600" cy="838200"/>
              <a:chOff x="3120" y="3024"/>
              <a:chExt cx="2064" cy="528"/>
            </a:xfrm>
          </p:grpSpPr>
          <p:grpSp>
            <p:nvGrpSpPr>
              <p:cNvPr id="340" name="Group 756"/>
              <p:cNvGrpSpPr>
                <a:grpSpLocks/>
              </p:cNvGrpSpPr>
              <p:nvPr/>
            </p:nvGrpSpPr>
            <p:grpSpPr bwMode="auto">
              <a:xfrm>
                <a:off x="3216" y="3216"/>
                <a:ext cx="1248" cy="144"/>
                <a:chOff x="624" y="4224"/>
                <a:chExt cx="1248" cy="144"/>
              </a:xfrm>
            </p:grpSpPr>
            <p:sp>
              <p:nvSpPr>
                <p:cNvPr id="371" name="Line 757"/>
                <p:cNvSpPr>
                  <a:spLocks noChangeShapeType="1"/>
                </p:cNvSpPr>
                <p:nvPr/>
              </p:nvSpPr>
              <p:spPr bwMode="auto">
                <a:xfrm>
                  <a:off x="912" y="4296"/>
                  <a:ext cx="960" cy="0"/>
                </a:xfrm>
                <a:prstGeom prst="line">
                  <a:avLst/>
                </a:prstGeom>
                <a:noFill/>
                <a:ln w="28575">
                  <a:solidFill>
                    <a:srgbClr val="969696"/>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72" name="Rectangle 758"/>
                <p:cNvSpPr>
                  <a:spLocks noChangeArrowheads="1"/>
                </p:cNvSpPr>
                <p:nvPr/>
              </p:nvSpPr>
              <p:spPr bwMode="auto">
                <a:xfrm>
                  <a:off x="624" y="4224"/>
                  <a:ext cx="240" cy="144"/>
                </a:xfrm>
                <a:prstGeom prst="rect">
                  <a:avLst/>
                </a:pr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73" name="AutoShape 759"/>
                <p:cNvSpPr>
                  <a:spLocks noChangeArrowheads="1"/>
                </p:cNvSpPr>
                <p:nvPr/>
              </p:nvSpPr>
              <p:spPr bwMode="auto">
                <a:xfrm rot="-5400000">
                  <a:off x="840" y="4248"/>
                  <a:ext cx="144" cy="96"/>
                </a:xfrm>
                <a:custGeom>
                  <a:avLst/>
                  <a:gdLst>
                    <a:gd name="T0" fmla="*/ 1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grpSp>
            <p:nvGrpSpPr>
              <p:cNvPr id="341" name="Group 352"/>
              <p:cNvGrpSpPr>
                <a:grpSpLocks/>
              </p:cNvGrpSpPr>
              <p:nvPr/>
            </p:nvGrpSpPr>
            <p:grpSpPr bwMode="auto">
              <a:xfrm>
                <a:off x="3120" y="3024"/>
                <a:ext cx="2064" cy="528"/>
                <a:chOff x="3120" y="2352"/>
                <a:chExt cx="2064" cy="528"/>
              </a:xfrm>
            </p:grpSpPr>
            <p:sp>
              <p:nvSpPr>
                <p:cNvPr id="342" name="Oval 353"/>
                <p:cNvSpPr>
                  <a:spLocks noChangeArrowheads="1"/>
                </p:cNvSpPr>
                <p:nvPr/>
              </p:nvSpPr>
              <p:spPr bwMode="auto">
                <a:xfrm>
                  <a:off x="4450" y="2569"/>
                  <a:ext cx="69" cy="88"/>
                </a:xfrm>
                <a:prstGeom prst="ellipse">
                  <a:avLst/>
                </a:prstGeom>
                <a:solidFill>
                  <a:schemeClr val="folHlink"/>
                </a:solidFill>
                <a:ln w="12700">
                  <a:solidFill>
                    <a:schemeClr val="accent2"/>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43" name="Rectangle 354"/>
                <p:cNvSpPr>
                  <a:spLocks noChangeArrowheads="1"/>
                </p:cNvSpPr>
                <p:nvPr/>
              </p:nvSpPr>
              <p:spPr bwMode="auto">
                <a:xfrm>
                  <a:off x="4473" y="2440"/>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44" name="Rectangle 355"/>
                <p:cNvSpPr>
                  <a:spLocks noChangeArrowheads="1"/>
                </p:cNvSpPr>
                <p:nvPr/>
              </p:nvSpPr>
              <p:spPr bwMode="auto">
                <a:xfrm>
                  <a:off x="3391" y="2440"/>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45" name="Rectangle 356"/>
                <p:cNvSpPr>
                  <a:spLocks noChangeArrowheads="1"/>
                </p:cNvSpPr>
                <p:nvPr/>
              </p:nvSpPr>
              <p:spPr bwMode="auto">
                <a:xfrm>
                  <a:off x="4768" y="2440"/>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46" name="Oval 357"/>
                <p:cNvSpPr>
                  <a:spLocks noChangeArrowheads="1"/>
                </p:cNvSpPr>
                <p:nvPr/>
              </p:nvSpPr>
              <p:spPr bwMode="auto">
                <a:xfrm>
                  <a:off x="4175" y="2475"/>
                  <a:ext cx="69" cy="106"/>
                </a:xfrm>
                <a:prstGeom prst="ellipse">
                  <a:avLst/>
                </a:prstGeom>
                <a:solidFill>
                  <a:schemeClr val="folHlink"/>
                </a:solidFill>
                <a:ln w="12700">
                  <a:solidFill>
                    <a:schemeClr val="accent2"/>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47" name="Oval 358"/>
                <p:cNvSpPr>
                  <a:spLocks noChangeArrowheads="1"/>
                </p:cNvSpPr>
                <p:nvPr/>
              </p:nvSpPr>
              <p:spPr bwMode="auto">
                <a:xfrm>
                  <a:off x="4175" y="2651"/>
                  <a:ext cx="69" cy="106"/>
                </a:xfrm>
                <a:prstGeom prst="ellipse">
                  <a:avLst/>
                </a:prstGeom>
                <a:solidFill>
                  <a:schemeClr val="folHlink"/>
                </a:solidFill>
                <a:ln w="12700">
                  <a:solidFill>
                    <a:schemeClr val="accent2"/>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48" name="Rectangle 359"/>
                <p:cNvSpPr>
                  <a:spLocks noChangeArrowheads="1"/>
                </p:cNvSpPr>
                <p:nvPr/>
              </p:nvSpPr>
              <p:spPr bwMode="auto">
                <a:xfrm>
                  <a:off x="3120" y="2510"/>
                  <a:ext cx="2064" cy="36"/>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49" name="Rectangle 360"/>
                <p:cNvSpPr>
                  <a:spLocks noChangeArrowheads="1"/>
                </p:cNvSpPr>
                <p:nvPr/>
              </p:nvSpPr>
              <p:spPr bwMode="auto">
                <a:xfrm>
                  <a:off x="3120" y="2686"/>
                  <a:ext cx="2064" cy="36"/>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50" name="Rectangle 361"/>
                <p:cNvSpPr>
                  <a:spLocks noChangeArrowheads="1"/>
                </p:cNvSpPr>
                <p:nvPr/>
              </p:nvSpPr>
              <p:spPr bwMode="auto">
                <a:xfrm>
                  <a:off x="3120" y="251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51" name="Rectangle 362"/>
                <p:cNvSpPr>
                  <a:spLocks noChangeArrowheads="1"/>
                </p:cNvSpPr>
                <p:nvPr/>
              </p:nvSpPr>
              <p:spPr bwMode="auto">
                <a:xfrm>
                  <a:off x="3602" y="251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52" name="Rectangle 363"/>
                <p:cNvSpPr>
                  <a:spLocks noChangeArrowheads="1"/>
                </p:cNvSpPr>
                <p:nvPr/>
              </p:nvSpPr>
              <p:spPr bwMode="auto">
                <a:xfrm>
                  <a:off x="3923" y="251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53" name="Rectangle 364"/>
                <p:cNvSpPr>
                  <a:spLocks noChangeArrowheads="1"/>
                </p:cNvSpPr>
                <p:nvPr/>
              </p:nvSpPr>
              <p:spPr bwMode="auto">
                <a:xfrm>
                  <a:off x="4358" y="251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54" name="Rectangle 365"/>
                <p:cNvSpPr>
                  <a:spLocks noChangeArrowheads="1"/>
                </p:cNvSpPr>
                <p:nvPr/>
              </p:nvSpPr>
              <p:spPr bwMode="auto">
                <a:xfrm>
                  <a:off x="4634" y="251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55" name="Rectangle 366"/>
                <p:cNvSpPr>
                  <a:spLocks noChangeArrowheads="1"/>
                </p:cNvSpPr>
                <p:nvPr/>
              </p:nvSpPr>
              <p:spPr bwMode="auto">
                <a:xfrm>
                  <a:off x="4886" y="251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56" name="Rectangle 367"/>
                <p:cNvSpPr>
                  <a:spLocks noChangeArrowheads="1"/>
                </p:cNvSpPr>
                <p:nvPr/>
              </p:nvSpPr>
              <p:spPr bwMode="auto">
                <a:xfrm>
                  <a:off x="5161" y="2510"/>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57" name="Rectangle 368"/>
                <p:cNvSpPr>
                  <a:spLocks noChangeArrowheads="1"/>
                </p:cNvSpPr>
                <p:nvPr/>
              </p:nvSpPr>
              <p:spPr bwMode="auto">
                <a:xfrm>
                  <a:off x="3120" y="2370"/>
                  <a:ext cx="69" cy="492"/>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58" name="AutoShape 369"/>
                <p:cNvSpPr>
                  <a:spLocks noChangeArrowheads="1"/>
                </p:cNvSpPr>
                <p:nvPr/>
              </p:nvSpPr>
              <p:spPr bwMode="auto">
                <a:xfrm rot="859363">
                  <a:off x="3326" y="2405"/>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59" name="AutoShape 370"/>
                <p:cNvSpPr>
                  <a:spLocks noChangeArrowheads="1"/>
                </p:cNvSpPr>
                <p:nvPr/>
              </p:nvSpPr>
              <p:spPr bwMode="auto">
                <a:xfrm rot="859363">
                  <a:off x="3326" y="2757"/>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60" name="AutoShape 371"/>
                <p:cNvSpPr>
                  <a:spLocks noChangeArrowheads="1"/>
                </p:cNvSpPr>
                <p:nvPr/>
              </p:nvSpPr>
              <p:spPr bwMode="auto">
                <a:xfrm>
                  <a:off x="4129" y="2405"/>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61" name="AutoShape 372"/>
                <p:cNvSpPr>
                  <a:spLocks noChangeArrowheads="1"/>
                </p:cNvSpPr>
                <p:nvPr/>
              </p:nvSpPr>
              <p:spPr bwMode="auto">
                <a:xfrm>
                  <a:off x="4129" y="2757"/>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62" name="AutoShape 373"/>
                <p:cNvSpPr>
                  <a:spLocks noChangeArrowheads="1"/>
                </p:cNvSpPr>
                <p:nvPr/>
              </p:nvSpPr>
              <p:spPr bwMode="auto">
                <a:xfrm>
                  <a:off x="4404" y="2428"/>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63" name="AutoShape 374"/>
                <p:cNvSpPr>
                  <a:spLocks noChangeArrowheads="1"/>
                </p:cNvSpPr>
                <p:nvPr/>
              </p:nvSpPr>
              <p:spPr bwMode="auto">
                <a:xfrm>
                  <a:off x="4404" y="2739"/>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64" name="AutoShape 375"/>
                <p:cNvSpPr>
                  <a:spLocks noChangeArrowheads="1"/>
                </p:cNvSpPr>
                <p:nvPr/>
              </p:nvSpPr>
              <p:spPr bwMode="auto">
                <a:xfrm>
                  <a:off x="4404" y="2810"/>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65" name="AutoShape 376"/>
                <p:cNvSpPr>
                  <a:spLocks noChangeArrowheads="1"/>
                </p:cNvSpPr>
                <p:nvPr/>
              </p:nvSpPr>
              <p:spPr bwMode="auto">
                <a:xfrm>
                  <a:off x="4404" y="2352"/>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66" name="AutoShape 377"/>
                <p:cNvSpPr>
                  <a:spLocks noChangeArrowheads="1"/>
                </p:cNvSpPr>
                <p:nvPr/>
              </p:nvSpPr>
              <p:spPr bwMode="auto">
                <a:xfrm>
                  <a:off x="4702" y="2428"/>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67" name="AutoShape 378"/>
                <p:cNvSpPr>
                  <a:spLocks noChangeArrowheads="1"/>
                </p:cNvSpPr>
                <p:nvPr/>
              </p:nvSpPr>
              <p:spPr bwMode="auto">
                <a:xfrm>
                  <a:off x="4702" y="2739"/>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68" name="AutoShape 379"/>
                <p:cNvSpPr>
                  <a:spLocks noChangeArrowheads="1"/>
                </p:cNvSpPr>
                <p:nvPr/>
              </p:nvSpPr>
              <p:spPr bwMode="auto">
                <a:xfrm>
                  <a:off x="4702" y="2810"/>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69" name="AutoShape 380"/>
                <p:cNvSpPr>
                  <a:spLocks noChangeArrowheads="1"/>
                </p:cNvSpPr>
                <p:nvPr/>
              </p:nvSpPr>
              <p:spPr bwMode="auto">
                <a:xfrm>
                  <a:off x="4702" y="2352"/>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70" name="Rectangle 381"/>
                <p:cNvSpPr>
                  <a:spLocks noChangeArrowheads="1"/>
                </p:cNvSpPr>
                <p:nvPr/>
              </p:nvSpPr>
              <p:spPr bwMode="auto">
                <a:xfrm>
                  <a:off x="3120" y="2370"/>
                  <a:ext cx="459" cy="492"/>
                </a:xfrm>
                <a:prstGeom prst="rect">
                  <a:avLst/>
                </a:prstGeom>
                <a:solidFill>
                  <a:srgbClr val="CCFFCC">
                    <a:alpha val="47842"/>
                  </a:srgbClr>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grpSp>
        <p:sp>
          <p:nvSpPr>
            <p:cNvPr id="339" name="Rectangle 501"/>
            <p:cNvSpPr>
              <a:spLocks noChangeArrowheads="1"/>
            </p:cNvSpPr>
            <p:nvPr/>
          </p:nvSpPr>
          <p:spPr bwMode="auto">
            <a:xfrm>
              <a:off x="7816170" y="3285671"/>
              <a:ext cx="457200" cy="228600"/>
            </a:xfrm>
            <a:prstGeom prst="rect">
              <a:avLst/>
            </a:prstGeom>
            <a:solidFill>
              <a:srgbClr val="8D8F92"/>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ctr" defTabSz="914377" rtl="0" eaLnBrk="1" fontAlgn="auto" latinLnBrk="0" hangingPunct="1">
                <a:lnSpc>
                  <a:spcPct val="8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8x2</a:t>
              </a:r>
            </a:p>
          </p:txBody>
        </p:sp>
      </p:grpSp>
      <p:grpSp>
        <p:nvGrpSpPr>
          <p:cNvPr id="374" name="Group 373"/>
          <p:cNvGrpSpPr/>
          <p:nvPr/>
        </p:nvGrpSpPr>
        <p:grpSpPr>
          <a:xfrm>
            <a:off x="6552347" y="3796632"/>
            <a:ext cx="3429000" cy="838200"/>
            <a:chOff x="653370" y="4047671"/>
            <a:chExt cx="3429000" cy="838200"/>
          </a:xfrm>
        </p:grpSpPr>
        <p:grpSp>
          <p:nvGrpSpPr>
            <p:cNvPr id="375" name="Group 766"/>
            <p:cNvGrpSpPr>
              <a:grpSpLocks/>
            </p:cNvGrpSpPr>
            <p:nvPr/>
          </p:nvGrpSpPr>
          <p:grpSpPr bwMode="auto">
            <a:xfrm>
              <a:off x="653370" y="4047671"/>
              <a:ext cx="3276600" cy="838200"/>
              <a:chOff x="528" y="3600"/>
              <a:chExt cx="2064" cy="528"/>
            </a:xfrm>
          </p:grpSpPr>
          <p:grpSp>
            <p:nvGrpSpPr>
              <p:cNvPr id="377" name="Group 744"/>
              <p:cNvGrpSpPr>
                <a:grpSpLocks/>
              </p:cNvGrpSpPr>
              <p:nvPr/>
            </p:nvGrpSpPr>
            <p:grpSpPr bwMode="auto">
              <a:xfrm>
                <a:off x="624" y="3792"/>
                <a:ext cx="1248" cy="144"/>
                <a:chOff x="624" y="4224"/>
                <a:chExt cx="1248" cy="144"/>
              </a:xfrm>
            </p:grpSpPr>
            <p:sp>
              <p:nvSpPr>
                <p:cNvPr id="407" name="Line 745"/>
                <p:cNvSpPr>
                  <a:spLocks noChangeShapeType="1"/>
                </p:cNvSpPr>
                <p:nvPr/>
              </p:nvSpPr>
              <p:spPr bwMode="auto">
                <a:xfrm>
                  <a:off x="912" y="4296"/>
                  <a:ext cx="960" cy="0"/>
                </a:xfrm>
                <a:prstGeom prst="line">
                  <a:avLst/>
                </a:prstGeom>
                <a:noFill/>
                <a:ln w="28575">
                  <a:solidFill>
                    <a:srgbClr val="969696"/>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08" name="Rectangle 746"/>
                <p:cNvSpPr>
                  <a:spLocks noChangeArrowheads="1"/>
                </p:cNvSpPr>
                <p:nvPr/>
              </p:nvSpPr>
              <p:spPr bwMode="auto">
                <a:xfrm>
                  <a:off x="624" y="4224"/>
                  <a:ext cx="240" cy="144"/>
                </a:xfrm>
                <a:prstGeom prst="rect">
                  <a:avLst/>
                </a:pr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09" name="AutoShape 747"/>
                <p:cNvSpPr>
                  <a:spLocks noChangeArrowheads="1"/>
                </p:cNvSpPr>
                <p:nvPr/>
              </p:nvSpPr>
              <p:spPr bwMode="auto">
                <a:xfrm rot="-5400000">
                  <a:off x="840" y="4248"/>
                  <a:ext cx="144" cy="96"/>
                </a:xfrm>
                <a:custGeom>
                  <a:avLst/>
                  <a:gdLst>
                    <a:gd name="T0" fmla="*/ 1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grpSp>
            <p:nvGrpSpPr>
              <p:cNvPr id="378" name="Group 463"/>
              <p:cNvGrpSpPr>
                <a:grpSpLocks/>
              </p:cNvGrpSpPr>
              <p:nvPr/>
            </p:nvGrpSpPr>
            <p:grpSpPr bwMode="auto">
              <a:xfrm>
                <a:off x="528" y="3600"/>
                <a:ext cx="2064" cy="528"/>
                <a:chOff x="576" y="3024"/>
                <a:chExt cx="2064" cy="528"/>
              </a:xfrm>
            </p:grpSpPr>
            <p:sp>
              <p:nvSpPr>
                <p:cNvPr id="379" name="Oval 464"/>
                <p:cNvSpPr>
                  <a:spLocks noChangeArrowheads="1"/>
                </p:cNvSpPr>
                <p:nvPr/>
              </p:nvSpPr>
              <p:spPr bwMode="auto">
                <a:xfrm>
                  <a:off x="1906" y="3241"/>
                  <a:ext cx="69" cy="88"/>
                </a:xfrm>
                <a:prstGeom prst="ellipse">
                  <a:avLst/>
                </a:prstGeom>
                <a:solidFill>
                  <a:schemeClr val="folHlink"/>
                </a:solidFill>
                <a:ln w="12700">
                  <a:solidFill>
                    <a:schemeClr val="accent2"/>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80" name="Rectangle 465"/>
                <p:cNvSpPr>
                  <a:spLocks noChangeArrowheads="1"/>
                </p:cNvSpPr>
                <p:nvPr/>
              </p:nvSpPr>
              <p:spPr bwMode="auto">
                <a:xfrm>
                  <a:off x="1929" y="3112"/>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81" name="Rectangle 466"/>
                <p:cNvSpPr>
                  <a:spLocks noChangeArrowheads="1"/>
                </p:cNvSpPr>
                <p:nvPr/>
              </p:nvSpPr>
              <p:spPr bwMode="auto">
                <a:xfrm>
                  <a:off x="1218" y="3112"/>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82" name="Rectangle 467"/>
                <p:cNvSpPr>
                  <a:spLocks noChangeArrowheads="1"/>
                </p:cNvSpPr>
                <p:nvPr/>
              </p:nvSpPr>
              <p:spPr bwMode="auto">
                <a:xfrm>
                  <a:off x="847" y="3112"/>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83" name="Rectangle 468"/>
                <p:cNvSpPr>
                  <a:spLocks noChangeArrowheads="1"/>
                </p:cNvSpPr>
                <p:nvPr/>
              </p:nvSpPr>
              <p:spPr bwMode="auto">
                <a:xfrm>
                  <a:off x="2224" y="3112"/>
                  <a:ext cx="23" cy="352"/>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84" name="Rectangle 469"/>
                <p:cNvSpPr>
                  <a:spLocks noChangeArrowheads="1"/>
                </p:cNvSpPr>
                <p:nvPr/>
              </p:nvSpPr>
              <p:spPr bwMode="auto">
                <a:xfrm>
                  <a:off x="576" y="3182"/>
                  <a:ext cx="2064" cy="36"/>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85" name="Rectangle 470"/>
                <p:cNvSpPr>
                  <a:spLocks noChangeArrowheads="1"/>
                </p:cNvSpPr>
                <p:nvPr/>
              </p:nvSpPr>
              <p:spPr bwMode="auto">
                <a:xfrm>
                  <a:off x="576" y="3358"/>
                  <a:ext cx="2064" cy="36"/>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86" name="Rectangle 471"/>
                <p:cNvSpPr>
                  <a:spLocks noChangeArrowheads="1"/>
                </p:cNvSpPr>
                <p:nvPr/>
              </p:nvSpPr>
              <p:spPr bwMode="auto">
                <a:xfrm>
                  <a:off x="576" y="3182"/>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87" name="Rectangle 472"/>
                <p:cNvSpPr>
                  <a:spLocks noChangeArrowheads="1"/>
                </p:cNvSpPr>
                <p:nvPr/>
              </p:nvSpPr>
              <p:spPr bwMode="auto">
                <a:xfrm>
                  <a:off x="1058" y="3182"/>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88" name="Rectangle 473"/>
                <p:cNvSpPr>
                  <a:spLocks noChangeArrowheads="1"/>
                </p:cNvSpPr>
                <p:nvPr/>
              </p:nvSpPr>
              <p:spPr bwMode="auto">
                <a:xfrm>
                  <a:off x="1379" y="3182"/>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89" name="Rectangle 474"/>
                <p:cNvSpPr>
                  <a:spLocks noChangeArrowheads="1"/>
                </p:cNvSpPr>
                <p:nvPr/>
              </p:nvSpPr>
              <p:spPr bwMode="auto">
                <a:xfrm>
                  <a:off x="1814" y="3182"/>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90" name="Rectangle 475"/>
                <p:cNvSpPr>
                  <a:spLocks noChangeArrowheads="1"/>
                </p:cNvSpPr>
                <p:nvPr/>
              </p:nvSpPr>
              <p:spPr bwMode="auto">
                <a:xfrm>
                  <a:off x="2090" y="3182"/>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91" name="Rectangle 476"/>
                <p:cNvSpPr>
                  <a:spLocks noChangeArrowheads="1"/>
                </p:cNvSpPr>
                <p:nvPr/>
              </p:nvSpPr>
              <p:spPr bwMode="auto">
                <a:xfrm>
                  <a:off x="2342" y="3182"/>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92" name="Rectangle 477"/>
                <p:cNvSpPr>
                  <a:spLocks noChangeArrowheads="1"/>
                </p:cNvSpPr>
                <p:nvPr/>
              </p:nvSpPr>
              <p:spPr bwMode="auto">
                <a:xfrm>
                  <a:off x="2617" y="3182"/>
                  <a:ext cx="23" cy="212"/>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93" name="Rectangle 478"/>
                <p:cNvSpPr>
                  <a:spLocks noChangeArrowheads="1"/>
                </p:cNvSpPr>
                <p:nvPr/>
              </p:nvSpPr>
              <p:spPr bwMode="auto">
                <a:xfrm>
                  <a:off x="576" y="3042"/>
                  <a:ext cx="69" cy="492"/>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94" name="AutoShape 479"/>
                <p:cNvSpPr>
                  <a:spLocks noChangeArrowheads="1"/>
                </p:cNvSpPr>
                <p:nvPr/>
              </p:nvSpPr>
              <p:spPr bwMode="auto">
                <a:xfrm rot="859363">
                  <a:off x="782" y="3077"/>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95" name="AutoShape 480"/>
                <p:cNvSpPr>
                  <a:spLocks noChangeArrowheads="1"/>
                </p:cNvSpPr>
                <p:nvPr/>
              </p:nvSpPr>
              <p:spPr bwMode="auto">
                <a:xfrm rot="859363">
                  <a:off x="782" y="3429"/>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96" name="AutoShape 481"/>
                <p:cNvSpPr>
                  <a:spLocks noChangeArrowheads="1"/>
                </p:cNvSpPr>
                <p:nvPr/>
              </p:nvSpPr>
              <p:spPr bwMode="auto">
                <a:xfrm rot="859363">
                  <a:off x="1149" y="3077"/>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97" name="AutoShape 482"/>
                <p:cNvSpPr>
                  <a:spLocks noChangeArrowheads="1"/>
                </p:cNvSpPr>
                <p:nvPr/>
              </p:nvSpPr>
              <p:spPr bwMode="auto">
                <a:xfrm rot="859363">
                  <a:off x="1149" y="3429"/>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98" name="AutoShape 483"/>
                <p:cNvSpPr>
                  <a:spLocks noChangeArrowheads="1"/>
                </p:cNvSpPr>
                <p:nvPr/>
              </p:nvSpPr>
              <p:spPr bwMode="auto">
                <a:xfrm>
                  <a:off x="1860" y="3100"/>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99" name="AutoShape 484"/>
                <p:cNvSpPr>
                  <a:spLocks noChangeArrowheads="1"/>
                </p:cNvSpPr>
                <p:nvPr/>
              </p:nvSpPr>
              <p:spPr bwMode="auto">
                <a:xfrm>
                  <a:off x="1860" y="3411"/>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00" name="AutoShape 485"/>
                <p:cNvSpPr>
                  <a:spLocks noChangeArrowheads="1"/>
                </p:cNvSpPr>
                <p:nvPr/>
              </p:nvSpPr>
              <p:spPr bwMode="auto">
                <a:xfrm>
                  <a:off x="1860" y="3482"/>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01" name="AutoShape 486"/>
                <p:cNvSpPr>
                  <a:spLocks noChangeArrowheads="1"/>
                </p:cNvSpPr>
                <p:nvPr/>
              </p:nvSpPr>
              <p:spPr bwMode="auto">
                <a:xfrm>
                  <a:off x="1860" y="3024"/>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02" name="AutoShape 487"/>
                <p:cNvSpPr>
                  <a:spLocks noChangeArrowheads="1"/>
                </p:cNvSpPr>
                <p:nvPr/>
              </p:nvSpPr>
              <p:spPr bwMode="auto">
                <a:xfrm>
                  <a:off x="2158" y="3100"/>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03" name="AutoShape 488"/>
                <p:cNvSpPr>
                  <a:spLocks noChangeArrowheads="1"/>
                </p:cNvSpPr>
                <p:nvPr/>
              </p:nvSpPr>
              <p:spPr bwMode="auto">
                <a:xfrm>
                  <a:off x="2158" y="3411"/>
                  <a:ext cx="161" cy="71"/>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04" name="AutoShape 489"/>
                <p:cNvSpPr>
                  <a:spLocks noChangeArrowheads="1"/>
                </p:cNvSpPr>
                <p:nvPr/>
              </p:nvSpPr>
              <p:spPr bwMode="auto">
                <a:xfrm>
                  <a:off x="2158" y="3482"/>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05" name="AutoShape 490"/>
                <p:cNvSpPr>
                  <a:spLocks noChangeArrowheads="1"/>
                </p:cNvSpPr>
                <p:nvPr/>
              </p:nvSpPr>
              <p:spPr bwMode="auto">
                <a:xfrm>
                  <a:off x="2158" y="3024"/>
                  <a:ext cx="161" cy="70"/>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06" name="Rectangle 491"/>
                <p:cNvSpPr>
                  <a:spLocks noChangeArrowheads="1"/>
                </p:cNvSpPr>
                <p:nvPr/>
              </p:nvSpPr>
              <p:spPr bwMode="auto">
                <a:xfrm>
                  <a:off x="576" y="3042"/>
                  <a:ext cx="459" cy="492"/>
                </a:xfrm>
                <a:prstGeom prst="rect">
                  <a:avLst/>
                </a:prstGeom>
                <a:solidFill>
                  <a:srgbClr val="CCFFCC">
                    <a:alpha val="47842"/>
                  </a:srgbClr>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grpSp>
        <p:sp>
          <p:nvSpPr>
            <p:cNvPr id="376" name="Rectangle 502"/>
            <p:cNvSpPr>
              <a:spLocks noChangeArrowheads="1"/>
            </p:cNvSpPr>
            <p:nvPr/>
          </p:nvSpPr>
          <p:spPr bwMode="auto">
            <a:xfrm>
              <a:off x="3625170" y="4200071"/>
              <a:ext cx="457200" cy="228600"/>
            </a:xfrm>
            <a:prstGeom prst="rect">
              <a:avLst/>
            </a:prstGeom>
            <a:solidFill>
              <a:srgbClr val="8D8F92"/>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ctr" defTabSz="914377" rtl="0" eaLnBrk="1" fontAlgn="auto" latinLnBrk="0" hangingPunct="1">
                <a:lnSpc>
                  <a:spcPct val="8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8x2</a:t>
              </a:r>
            </a:p>
          </p:txBody>
        </p:sp>
      </p:grpSp>
      <p:grpSp>
        <p:nvGrpSpPr>
          <p:cNvPr id="410" name="Group 409"/>
          <p:cNvGrpSpPr/>
          <p:nvPr/>
        </p:nvGrpSpPr>
        <p:grpSpPr>
          <a:xfrm>
            <a:off x="2393442" y="4850971"/>
            <a:ext cx="3528857" cy="838200"/>
            <a:chOff x="4820713" y="5083063"/>
            <a:chExt cx="3528857" cy="838200"/>
          </a:xfrm>
        </p:grpSpPr>
        <p:grpSp>
          <p:nvGrpSpPr>
            <p:cNvPr id="411" name="Group 410"/>
            <p:cNvGrpSpPr/>
            <p:nvPr/>
          </p:nvGrpSpPr>
          <p:grpSpPr>
            <a:xfrm>
              <a:off x="4820713" y="5083063"/>
              <a:ext cx="3276600" cy="838200"/>
              <a:chOff x="4720546" y="838200"/>
              <a:chExt cx="3276600" cy="838200"/>
            </a:xfrm>
          </p:grpSpPr>
          <p:sp>
            <p:nvSpPr>
              <p:cNvPr id="413" name="Line 325"/>
              <p:cNvSpPr>
                <a:spLocks noChangeShapeType="1"/>
              </p:cNvSpPr>
              <p:nvPr/>
            </p:nvSpPr>
            <p:spPr bwMode="auto">
              <a:xfrm>
                <a:off x="6913677" y="1257933"/>
                <a:ext cx="457200" cy="0"/>
              </a:xfrm>
              <a:prstGeom prst="line">
                <a:avLst/>
              </a:prstGeom>
              <a:noFill/>
              <a:ln w="28575">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14" name="Oval 326"/>
              <p:cNvSpPr>
                <a:spLocks noChangeArrowheads="1"/>
              </p:cNvSpPr>
              <p:nvPr/>
            </p:nvSpPr>
            <p:spPr bwMode="auto">
              <a:xfrm>
                <a:off x="7307377" y="1183321"/>
                <a:ext cx="79375" cy="139700"/>
              </a:xfrm>
              <a:prstGeom prst="ellipse">
                <a:avLst/>
              </a:prstGeom>
              <a:solidFill>
                <a:srgbClr val="99CC00"/>
              </a:solidFill>
              <a:ln w="12700">
                <a:solidFill>
                  <a:srgbClr val="333399"/>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grpSp>
            <p:nvGrpSpPr>
              <p:cNvPr id="415" name="Group 765"/>
              <p:cNvGrpSpPr>
                <a:grpSpLocks/>
              </p:cNvGrpSpPr>
              <p:nvPr/>
            </p:nvGrpSpPr>
            <p:grpSpPr bwMode="auto">
              <a:xfrm>
                <a:off x="4720546" y="838200"/>
                <a:ext cx="3276600" cy="838200"/>
                <a:chOff x="3120" y="3024"/>
                <a:chExt cx="2064" cy="528"/>
              </a:xfrm>
            </p:grpSpPr>
            <p:grpSp>
              <p:nvGrpSpPr>
                <p:cNvPr id="416" name="Group 756"/>
                <p:cNvGrpSpPr>
                  <a:grpSpLocks/>
                </p:cNvGrpSpPr>
                <p:nvPr/>
              </p:nvGrpSpPr>
              <p:grpSpPr bwMode="auto">
                <a:xfrm>
                  <a:off x="3216" y="3216"/>
                  <a:ext cx="1248" cy="144"/>
                  <a:chOff x="624" y="4224"/>
                  <a:chExt cx="1248" cy="144"/>
                </a:xfrm>
              </p:grpSpPr>
              <p:sp>
                <p:nvSpPr>
                  <p:cNvPr id="447" name="Line 757"/>
                  <p:cNvSpPr>
                    <a:spLocks noChangeShapeType="1"/>
                  </p:cNvSpPr>
                  <p:nvPr/>
                </p:nvSpPr>
                <p:spPr bwMode="auto">
                  <a:xfrm>
                    <a:off x="912" y="4296"/>
                    <a:ext cx="960" cy="0"/>
                  </a:xfrm>
                  <a:prstGeom prst="line">
                    <a:avLst/>
                  </a:prstGeom>
                  <a:noFill/>
                  <a:ln w="28575">
                    <a:solidFill>
                      <a:srgbClr val="969696"/>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48" name="Rectangle 758"/>
                  <p:cNvSpPr>
                    <a:spLocks noChangeArrowheads="1"/>
                  </p:cNvSpPr>
                  <p:nvPr/>
                </p:nvSpPr>
                <p:spPr bwMode="auto">
                  <a:xfrm>
                    <a:off x="624" y="4224"/>
                    <a:ext cx="240" cy="144"/>
                  </a:xfrm>
                  <a:prstGeom prst="rect">
                    <a:avLst/>
                  </a:pr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49" name="AutoShape 759"/>
                  <p:cNvSpPr>
                    <a:spLocks noChangeArrowheads="1"/>
                  </p:cNvSpPr>
                  <p:nvPr/>
                </p:nvSpPr>
                <p:spPr bwMode="auto">
                  <a:xfrm rot="-5400000">
                    <a:off x="840" y="4248"/>
                    <a:ext cx="144" cy="96"/>
                  </a:xfrm>
                  <a:custGeom>
                    <a:avLst/>
                    <a:gdLst>
                      <a:gd name="T0" fmla="*/ 1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grpSp>
            <p:grpSp>
              <p:nvGrpSpPr>
                <p:cNvPr id="417" name="Group 352"/>
                <p:cNvGrpSpPr>
                  <a:grpSpLocks/>
                </p:cNvGrpSpPr>
                <p:nvPr/>
              </p:nvGrpSpPr>
              <p:grpSpPr bwMode="auto">
                <a:xfrm>
                  <a:off x="3120" y="3024"/>
                  <a:ext cx="2064" cy="528"/>
                  <a:chOff x="3120" y="2352"/>
                  <a:chExt cx="2064" cy="528"/>
                </a:xfrm>
              </p:grpSpPr>
              <p:sp>
                <p:nvSpPr>
                  <p:cNvPr id="418" name="Oval 353"/>
                  <p:cNvSpPr>
                    <a:spLocks noChangeArrowheads="1"/>
                  </p:cNvSpPr>
                  <p:nvPr/>
                </p:nvSpPr>
                <p:spPr bwMode="auto">
                  <a:xfrm>
                    <a:off x="4450" y="2569"/>
                    <a:ext cx="69" cy="88"/>
                  </a:xfrm>
                  <a:prstGeom prst="ellipse">
                    <a:avLst/>
                  </a:prstGeom>
                  <a:solidFill>
                    <a:srgbClr val="99CC00"/>
                  </a:solidFill>
                  <a:ln w="12700">
                    <a:solidFill>
                      <a:srgbClr val="333399"/>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19" name="Rectangle 354"/>
                  <p:cNvSpPr>
                    <a:spLocks noChangeArrowheads="1"/>
                  </p:cNvSpPr>
                  <p:nvPr/>
                </p:nvSpPr>
                <p:spPr bwMode="auto">
                  <a:xfrm>
                    <a:off x="4473" y="2440"/>
                    <a:ext cx="23" cy="352"/>
                  </a:xfrm>
                  <a:prstGeom prst="rect">
                    <a:avLst/>
                  </a:prstGeom>
                  <a:solidFill>
                    <a:srgbClr val="99CC00"/>
                  </a:solidFill>
                  <a:ln w="12700">
                    <a:solidFill>
                      <a:srgbClr val="333399"/>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20" name="Rectangle 355"/>
                  <p:cNvSpPr>
                    <a:spLocks noChangeArrowheads="1"/>
                  </p:cNvSpPr>
                  <p:nvPr/>
                </p:nvSpPr>
                <p:spPr bwMode="auto">
                  <a:xfrm>
                    <a:off x="3391" y="2440"/>
                    <a:ext cx="23" cy="352"/>
                  </a:xfrm>
                  <a:prstGeom prst="rect">
                    <a:avLst/>
                  </a:prstGeom>
                  <a:solidFill>
                    <a:srgbClr val="99CC00"/>
                  </a:solidFill>
                  <a:ln w="12700">
                    <a:solidFill>
                      <a:srgbClr val="333399"/>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21" name="Rectangle 356"/>
                  <p:cNvSpPr>
                    <a:spLocks noChangeArrowheads="1"/>
                  </p:cNvSpPr>
                  <p:nvPr/>
                </p:nvSpPr>
                <p:spPr bwMode="auto">
                  <a:xfrm>
                    <a:off x="4768" y="2440"/>
                    <a:ext cx="23" cy="352"/>
                  </a:xfrm>
                  <a:prstGeom prst="rect">
                    <a:avLst/>
                  </a:prstGeom>
                  <a:solidFill>
                    <a:srgbClr val="99CC00"/>
                  </a:solidFill>
                  <a:ln w="12700">
                    <a:solidFill>
                      <a:srgbClr val="333399"/>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22" name="Oval 357"/>
                  <p:cNvSpPr>
                    <a:spLocks noChangeArrowheads="1"/>
                  </p:cNvSpPr>
                  <p:nvPr/>
                </p:nvSpPr>
                <p:spPr bwMode="auto">
                  <a:xfrm>
                    <a:off x="4175" y="2475"/>
                    <a:ext cx="69" cy="106"/>
                  </a:xfrm>
                  <a:prstGeom prst="ellipse">
                    <a:avLst/>
                  </a:prstGeom>
                  <a:solidFill>
                    <a:srgbClr val="99CC00"/>
                  </a:solidFill>
                  <a:ln w="12700">
                    <a:solidFill>
                      <a:srgbClr val="333399"/>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23" name="Oval 358"/>
                  <p:cNvSpPr>
                    <a:spLocks noChangeArrowheads="1"/>
                  </p:cNvSpPr>
                  <p:nvPr/>
                </p:nvSpPr>
                <p:spPr bwMode="auto">
                  <a:xfrm>
                    <a:off x="4175" y="2651"/>
                    <a:ext cx="69" cy="106"/>
                  </a:xfrm>
                  <a:prstGeom prst="ellipse">
                    <a:avLst/>
                  </a:prstGeom>
                  <a:solidFill>
                    <a:srgbClr val="99CC00"/>
                  </a:solidFill>
                  <a:ln w="12700">
                    <a:solidFill>
                      <a:srgbClr val="333399"/>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24" name="Rectangle 359"/>
                  <p:cNvSpPr>
                    <a:spLocks noChangeArrowheads="1"/>
                  </p:cNvSpPr>
                  <p:nvPr/>
                </p:nvSpPr>
                <p:spPr bwMode="auto">
                  <a:xfrm>
                    <a:off x="3120" y="2510"/>
                    <a:ext cx="2064" cy="36"/>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25" name="Rectangle 360"/>
                  <p:cNvSpPr>
                    <a:spLocks noChangeArrowheads="1"/>
                  </p:cNvSpPr>
                  <p:nvPr/>
                </p:nvSpPr>
                <p:spPr bwMode="auto">
                  <a:xfrm>
                    <a:off x="3120" y="2686"/>
                    <a:ext cx="2064" cy="36"/>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26" name="Rectangle 361"/>
                  <p:cNvSpPr>
                    <a:spLocks noChangeArrowheads="1"/>
                  </p:cNvSpPr>
                  <p:nvPr/>
                </p:nvSpPr>
                <p:spPr bwMode="auto">
                  <a:xfrm>
                    <a:off x="3120"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27" name="Rectangle 362"/>
                  <p:cNvSpPr>
                    <a:spLocks noChangeArrowheads="1"/>
                  </p:cNvSpPr>
                  <p:nvPr/>
                </p:nvSpPr>
                <p:spPr bwMode="auto">
                  <a:xfrm>
                    <a:off x="3602"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28" name="Rectangle 363"/>
                  <p:cNvSpPr>
                    <a:spLocks noChangeArrowheads="1"/>
                  </p:cNvSpPr>
                  <p:nvPr/>
                </p:nvSpPr>
                <p:spPr bwMode="auto">
                  <a:xfrm>
                    <a:off x="3923"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29" name="Rectangle 364"/>
                  <p:cNvSpPr>
                    <a:spLocks noChangeArrowheads="1"/>
                  </p:cNvSpPr>
                  <p:nvPr/>
                </p:nvSpPr>
                <p:spPr bwMode="auto">
                  <a:xfrm>
                    <a:off x="4358"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30" name="Rectangle 365"/>
                  <p:cNvSpPr>
                    <a:spLocks noChangeArrowheads="1"/>
                  </p:cNvSpPr>
                  <p:nvPr/>
                </p:nvSpPr>
                <p:spPr bwMode="auto">
                  <a:xfrm>
                    <a:off x="4634"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31" name="Rectangle 366"/>
                  <p:cNvSpPr>
                    <a:spLocks noChangeArrowheads="1"/>
                  </p:cNvSpPr>
                  <p:nvPr/>
                </p:nvSpPr>
                <p:spPr bwMode="auto">
                  <a:xfrm>
                    <a:off x="4886"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32" name="Rectangle 367"/>
                  <p:cNvSpPr>
                    <a:spLocks noChangeArrowheads="1"/>
                  </p:cNvSpPr>
                  <p:nvPr/>
                </p:nvSpPr>
                <p:spPr bwMode="auto">
                  <a:xfrm>
                    <a:off x="5161" y="2510"/>
                    <a:ext cx="23" cy="212"/>
                  </a:xfrm>
                  <a:prstGeom prst="rect">
                    <a:avLst/>
                  </a:prstGeom>
                  <a:solidFill>
                    <a:srgbClr val="FFFFFF"/>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33" name="Rectangle 368"/>
                  <p:cNvSpPr>
                    <a:spLocks noChangeArrowheads="1"/>
                  </p:cNvSpPr>
                  <p:nvPr/>
                </p:nvSpPr>
                <p:spPr bwMode="auto">
                  <a:xfrm>
                    <a:off x="3120" y="2370"/>
                    <a:ext cx="69" cy="492"/>
                  </a:xfrm>
                  <a:prstGeom prst="rect">
                    <a:avLst/>
                  </a:prstGeom>
                  <a:noFill/>
                  <a:ln w="12700">
                    <a:solidFill>
                      <a:srgbClr val="000000"/>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34" name="AutoShape 369"/>
                  <p:cNvSpPr>
                    <a:spLocks noChangeArrowheads="1"/>
                  </p:cNvSpPr>
                  <p:nvPr/>
                </p:nvSpPr>
                <p:spPr bwMode="auto">
                  <a:xfrm rot="859363">
                    <a:off x="3326" y="2405"/>
                    <a:ext cx="161" cy="70"/>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35" name="AutoShape 370"/>
                  <p:cNvSpPr>
                    <a:spLocks noChangeArrowheads="1"/>
                  </p:cNvSpPr>
                  <p:nvPr/>
                </p:nvSpPr>
                <p:spPr bwMode="auto">
                  <a:xfrm rot="859363">
                    <a:off x="3326" y="2757"/>
                    <a:ext cx="161" cy="70"/>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36" name="AutoShape 371"/>
                  <p:cNvSpPr>
                    <a:spLocks noChangeArrowheads="1"/>
                  </p:cNvSpPr>
                  <p:nvPr/>
                </p:nvSpPr>
                <p:spPr bwMode="auto">
                  <a:xfrm>
                    <a:off x="4129" y="2405"/>
                    <a:ext cx="161" cy="70"/>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37" name="AutoShape 372"/>
                  <p:cNvSpPr>
                    <a:spLocks noChangeArrowheads="1"/>
                  </p:cNvSpPr>
                  <p:nvPr/>
                </p:nvSpPr>
                <p:spPr bwMode="auto">
                  <a:xfrm>
                    <a:off x="4129" y="2757"/>
                    <a:ext cx="161" cy="70"/>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38" name="AutoShape 373"/>
                  <p:cNvSpPr>
                    <a:spLocks noChangeArrowheads="1"/>
                  </p:cNvSpPr>
                  <p:nvPr/>
                </p:nvSpPr>
                <p:spPr bwMode="auto">
                  <a:xfrm>
                    <a:off x="4404" y="2428"/>
                    <a:ext cx="161" cy="71"/>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39" name="AutoShape 374"/>
                  <p:cNvSpPr>
                    <a:spLocks noChangeArrowheads="1"/>
                  </p:cNvSpPr>
                  <p:nvPr/>
                </p:nvSpPr>
                <p:spPr bwMode="auto">
                  <a:xfrm>
                    <a:off x="4404" y="2739"/>
                    <a:ext cx="161" cy="71"/>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40" name="AutoShape 375"/>
                  <p:cNvSpPr>
                    <a:spLocks noChangeArrowheads="1"/>
                  </p:cNvSpPr>
                  <p:nvPr/>
                </p:nvSpPr>
                <p:spPr bwMode="auto">
                  <a:xfrm>
                    <a:off x="4404" y="2810"/>
                    <a:ext cx="161" cy="70"/>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41" name="AutoShape 376"/>
                  <p:cNvSpPr>
                    <a:spLocks noChangeArrowheads="1"/>
                  </p:cNvSpPr>
                  <p:nvPr/>
                </p:nvSpPr>
                <p:spPr bwMode="auto">
                  <a:xfrm>
                    <a:off x="4404" y="2352"/>
                    <a:ext cx="161" cy="70"/>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42" name="AutoShape 377"/>
                  <p:cNvSpPr>
                    <a:spLocks noChangeArrowheads="1"/>
                  </p:cNvSpPr>
                  <p:nvPr/>
                </p:nvSpPr>
                <p:spPr bwMode="auto">
                  <a:xfrm>
                    <a:off x="4702" y="2428"/>
                    <a:ext cx="161" cy="71"/>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43" name="AutoShape 378"/>
                  <p:cNvSpPr>
                    <a:spLocks noChangeArrowheads="1"/>
                  </p:cNvSpPr>
                  <p:nvPr/>
                </p:nvSpPr>
                <p:spPr bwMode="auto">
                  <a:xfrm>
                    <a:off x="4702" y="2739"/>
                    <a:ext cx="161" cy="71"/>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44" name="AutoShape 379"/>
                  <p:cNvSpPr>
                    <a:spLocks noChangeArrowheads="1"/>
                  </p:cNvSpPr>
                  <p:nvPr/>
                </p:nvSpPr>
                <p:spPr bwMode="auto">
                  <a:xfrm>
                    <a:off x="4702" y="2810"/>
                    <a:ext cx="161" cy="70"/>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45" name="AutoShape 380"/>
                  <p:cNvSpPr>
                    <a:spLocks noChangeArrowheads="1"/>
                  </p:cNvSpPr>
                  <p:nvPr/>
                </p:nvSpPr>
                <p:spPr bwMode="auto">
                  <a:xfrm>
                    <a:off x="4702" y="2352"/>
                    <a:ext cx="161" cy="70"/>
                  </a:xfrm>
                  <a:prstGeom prst="roundRect">
                    <a:avLst>
                      <a:gd name="adj" fmla="val 16667"/>
                    </a:avLst>
                  </a:prstGeom>
                  <a:solidFill>
                    <a:srgbClr val="FFFFFF"/>
                  </a:solidFill>
                  <a:ln w="9525">
                    <a:solidFill>
                      <a:srgbClr val="000000"/>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46" name="Rectangle 381"/>
                  <p:cNvSpPr>
                    <a:spLocks noChangeArrowheads="1"/>
                  </p:cNvSpPr>
                  <p:nvPr/>
                </p:nvSpPr>
                <p:spPr bwMode="auto">
                  <a:xfrm>
                    <a:off x="3120" y="2370"/>
                    <a:ext cx="459" cy="492"/>
                  </a:xfrm>
                  <a:prstGeom prst="rect">
                    <a:avLst/>
                  </a:prstGeom>
                  <a:solidFill>
                    <a:srgbClr val="CCFFCC">
                      <a:alpha val="47842"/>
                    </a:srgbClr>
                  </a:solidFill>
                  <a:ln w="12700">
                    <a:solidFill>
                      <a:srgbClr val="000000"/>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itchFamily="34" charset="0"/>
                      <a:ea typeface="+mn-ea"/>
                      <a:cs typeface="Calibri" pitchFamily="34" charset="0"/>
                    </a:endParaRPr>
                  </a:p>
                </p:txBody>
              </p:sp>
            </p:grpSp>
          </p:grpSp>
        </p:grpSp>
        <p:sp>
          <p:nvSpPr>
            <p:cNvPr id="412" name="Rectangle 503"/>
            <p:cNvSpPr>
              <a:spLocks noChangeArrowheads="1"/>
            </p:cNvSpPr>
            <p:nvPr/>
          </p:nvSpPr>
          <p:spPr bwMode="auto">
            <a:xfrm>
              <a:off x="7892370" y="5244420"/>
              <a:ext cx="457200" cy="228600"/>
            </a:xfrm>
            <a:prstGeom prst="rect">
              <a:avLst/>
            </a:prstGeom>
            <a:solidFill>
              <a:srgbClr val="8D8F92"/>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ctr" defTabSz="914377" rtl="0" eaLnBrk="1" fontAlgn="auto" latinLnBrk="0" hangingPunct="1">
                <a:lnSpc>
                  <a:spcPct val="8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8x4</a:t>
              </a:r>
            </a:p>
          </p:txBody>
        </p:sp>
      </p:grpSp>
      <p:grpSp>
        <p:nvGrpSpPr>
          <p:cNvPr id="450" name="Group 449"/>
          <p:cNvGrpSpPr/>
          <p:nvPr/>
        </p:nvGrpSpPr>
        <p:grpSpPr>
          <a:xfrm>
            <a:off x="4442900" y="5737165"/>
            <a:ext cx="3581400" cy="838200"/>
            <a:chOff x="4768170" y="4047671"/>
            <a:chExt cx="3581400" cy="838200"/>
          </a:xfrm>
        </p:grpSpPr>
        <p:grpSp>
          <p:nvGrpSpPr>
            <p:cNvPr id="451" name="Group 767"/>
            <p:cNvGrpSpPr>
              <a:grpSpLocks/>
            </p:cNvGrpSpPr>
            <p:nvPr/>
          </p:nvGrpSpPr>
          <p:grpSpPr bwMode="auto">
            <a:xfrm>
              <a:off x="4768170" y="4047671"/>
              <a:ext cx="3276600" cy="838200"/>
              <a:chOff x="3120" y="3600"/>
              <a:chExt cx="2064" cy="528"/>
            </a:xfrm>
          </p:grpSpPr>
          <p:grpSp>
            <p:nvGrpSpPr>
              <p:cNvPr id="453" name="Group 731"/>
              <p:cNvGrpSpPr>
                <a:grpSpLocks/>
              </p:cNvGrpSpPr>
              <p:nvPr/>
            </p:nvGrpSpPr>
            <p:grpSpPr bwMode="auto">
              <a:xfrm>
                <a:off x="3216" y="3792"/>
                <a:ext cx="1584" cy="144"/>
                <a:chOff x="624" y="3224"/>
                <a:chExt cx="1584" cy="144"/>
              </a:xfrm>
            </p:grpSpPr>
            <p:sp>
              <p:nvSpPr>
                <p:cNvPr id="488" name="Line 732"/>
                <p:cNvSpPr>
                  <a:spLocks noChangeShapeType="1"/>
                </p:cNvSpPr>
                <p:nvPr/>
              </p:nvSpPr>
              <p:spPr bwMode="auto">
                <a:xfrm flipV="1">
                  <a:off x="912" y="3296"/>
                  <a:ext cx="1296" cy="8"/>
                </a:xfrm>
                <a:prstGeom prst="line">
                  <a:avLst/>
                </a:prstGeom>
                <a:noFill/>
                <a:ln w="28575">
                  <a:solidFill>
                    <a:srgbClr val="969696"/>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89" name="Rectangle 733"/>
                <p:cNvSpPr>
                  <a:spLocks noChangeArrowheads="1"/>
                </p:cNvSpPr>
                <p:nvPr/>
              </p:nvSpPr>
              <p:spPr bwMode="auto">
                <a:xfrm>
                  <a:off x="624" y="3224"/>
                  <a:ext cx="240" cy="144"/>
                </a:xfrm>
                <a:prstGeom prst="rect">
                  <a:avLst/>
                </a:pr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90" name="AutoShape 734"/>
                <p:cNvSpPr>
                  <a:spLocks noChangeArrowheads="1"/>
                </p:cNvSpPr>
                <p:nvPr/>
              </p:nvSpPr>
              <p:spPr bwMode="auto">
                <a:xfrm rot="-5400000">
                  <a:off x="840" y="3248"/>
                  <a:ext cx="144" cy="96"/>
                </a:xfrm>
                <a:custGeom>
                  <a:avLst/>
                  <a:gdLst>
                    <a:gd name="T0" fmla="*/ 1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969696"/>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grpSp>
            <p:nvGrpSpPr>
              <p:cNvPr id="454" name="Group 382"/>
              <p:cNvGrpSpPr>
                <a:grpSpLocks/>
              </p:cNvGrpSpPr>
              <p:nvPr/>
            </p:nvGrpSpPr>
            <p:grpSpPr bwMode="auto">
              <a:xfrm>
                <a:off x="3120" y="3600"/>
                <a:ext cx="2064" cy="528"/>
                <a:chOff x="672" y="3096"/>
                <a:chExt cx="4320" cy="720"/>
              </a:xfrm>
            </p:grpSpPr>
            <p:sp>
              <p:nvSpPr>
                <p:cNvPr id="455" name="Oval 383"/>
                <p:cNvSpPr>
                  <a:spLocks noChangeArrowheads="1"/>
                </p:cNvSpPr>
                <p:nvPr/>
              </p:nvSpPr>
              <p:spPr bwMode="auto">
                <a:xfrm>
                  <a:off x="4072" y="3392"/>
                  <a:ext cx="104" cy="120"/>
                </a:xfrm>
                <a:prstGeom prst="ellipse">
                  <a:avLst/>
                </a:prstGeom>
                <a:solidFill>
                  <a:schemeClr val="folHlink"/>
                </a:solidFill>
                <a:ln w="12700">
                  <a:solidFill>
                    <a:schemeClr val="accent2"/>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56" name="Oval 384"/>
                <p:cNvSpPr>
                  <a:spLocks noChangeArrowheads="1"/>
                </p:cNvSpPr>
                <p:nvPr/>
              </p:nvSpPr>
              <p:spPr bwMode="auto">
                <a:xfrm>
                  <a:off x="3456" y="3392"/>
                  <a:ext cx="144" cy="120"/>
                </a:xfrm>
                <a:prstGeom prst="ellipse">
                  <a:avLst/>
                </a:prstGeom>
                <a:solidFill>
                  <a:schemeClr val="folHlink"/>
                </a:solidFill>
                <a:ln w="12700">
                  <a:solidFill>
                    <a:schemeClr val="accent2"/>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57" name="Rectangle 385"/>
                <p:cNvSpPr>
                  <a:spLocks noChangeArrowheads="1"/>
                </p:cNvSpPr>
                <p:nvPr/>
              </p:nvSpPr>
              <p:spPr bwMode="auto">
                <a:xfrm>
                  <a:off x="3504" y="3216"/>
                  <a:ext cx="48" cy="480"/>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58" name="Rectangle 386"/>
                <p:cNvSpPr>
                  <a:spLocks noChangeArrowheads="1"/>
                </p:cNvSpPr>
                <p:nvPr/>
              </p:nvSpPr>
              <p:spPr bwMode="auto">
                <a:xfrm>
                  <a:off x="2016" y="3216"/>
                  <a:ext cx="48" cy="480"/>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59" name="Rectangle 387"/>
                <p:cNvSpPr>
                  <a:spLocks noChangeArrowheads="1"/>
                </p:cNvSpPr>
                <p:nvPr/>
              </p:nvSpPr>
              <p:spPr bwMode="auto">
                <a:xfrm>
                  <a:off x="1240" y="3216"/>
                  <a:ext cx="48" cy="480"/>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60" name="Rectangle 388"/>
                <p:cNvSpPr>
                  <a:spLocks noChangeArrowheads="1"/>
                </p:cNvSpPr>
                <p:nvPr/>
              </p:nvSpPr>
              <p:spPr bwMode="auto">
                <a:xfrm>
                  <a:off x="4128" y="3216"/>
                  <a:ext cx="48" cy="480"/>
                </a:xfrm>
                <a:prstGeom prst="rect">
                  <a:avLst/>
                </a:prstGeom>
                <a:solidFill>
                  <a:schemeClr val="folHlink"/>
                </a:solidFill>
                <a:ln w="12700">
                  <a:solidFill>
                    <a:schemeClr val="accent2"/>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61" name="Oval 389"/>
                <p:cNvSpPr>
                  <a:spLocks noChangeArrowheads="1"/>
                </p:cNvSpPr>
                <p:nvPr/>
              </p:nvSpPr>
              <p:spPr bwMode="auto">
                <a:xfrm>
                  <a:off x="2880" y="3264"/>
                  <a:ext cx="144" cy="144"/>
                </a:xfrm>
                <a:prstGeom prst="ellipse">
                  <a:avLst/>
                </a:prstGeom>
                <a:solidFill>
                  <a:schemeClr val="folHlink"/>
                </a:solidFill>
                <a:ln w="12700">
                  <a:solidFill>
                    <a:schemeClr val="accent2"/>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62" name="Oval 390"/>
                <p:cNvSpPr>
                  <a:spLocks noChangeArrowheads="1"/>
                </p:cNvSpPr>
                <p:nvPr/>
              </p:nvSpPr>
              <p:spPr bwMode="auto">
                <a:xfrm>
                  <a:off x="2880" y="3504"/>
                  <a:ext cx="144" cy="144"/>
                </a:xfrm>
                <a:prstGeom prst="ellipse">
                  <a:avLst/>
                </a:prstGeom>
                <a:solidFill>
                  <a:schemeClr val="folHlink"/>
                </a:solidFill>
                <a:ln w="12700">
                  <a:solidFill>
                    <a:schemeClr val="accent2"/>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63" name="Rectangle 391"/>
                <p:cNvSpPr>
                  <a:spLocks noChangeArrowheads="1"/>
                </p:cNvSpPr>
                <p:nvPr/>
              </p:nvSpPr>
              <p:spPr bwMode="auto">
                <a:xfrm>
                  <a:off x="672" y="3312"/>
                  <a:ext cx="4320" cy="48"/>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64" name="Rectangle 392"/>
                <p:cNvSpPr>
                  <a:spLocks noChangeArrowheads="1"/>
                </p:cNvSpPr>
                <p:nvPr/>
              </p:nvSpPr>
              <p:spPr bwMode="auto">
                <a:xfrm>
                  <a:off x="672" y="3552"/>
                  <a:ext cx="4320" cy="48"/>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65" name="Rectangle 393"/>
                <p:cNvSpPr>
                  <a:spLocks noChangeArrowheads="1"/>
                </p:cNvSpPr>
                <p:nvPr/>
              </p:nvSpPr>
              <p:spPr bwMode="auto">
                <a:xfrm>
                  <a:off x="672" y="3312"/>
                  <a:ext cx="48" cy="288"/>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66" name="Rectangle 394"/>
                <p:cNvSpPr>
                  <a:spLocks noChangeArrowheads="1"/>
                </p:cNvSpPr>
                <p:nvPr/>
              </p:nvSpPr>
              <p:spPr bwMode="auto">
                <a:xfrm>
                  <a:off x="1680" y="3312"/>
                  <a:ext cx="48" cy="288"/>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67" name="Rectangle 395"/>
                <p:cNvSpPr>
                  <a:spLocks noChangeArrowheads="1"/>
                </p:cNvSpPr>
                <p:nvPr/>
              </p:nvSpPr>
              <p:spPr bwMode="auto">
                <a:xfrm>
                  <a:off x="2352" y="3312"/>
                  <a:ext cx="48" cy="288"/>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68" name="Rectangle 396"/>
                <p:cNvSpPr>
                  <a:spLocks noChangeArrowheads="1"/>
                </p:cNvSpPr>
                <p:nvPr/>
              </p:nvSpPr>
              <p:spPr bwMode="auto">
                <a:xfrm>
                  <a:off x="3264" y="3312"/>
                  <a:ext cx="48" cy="288"/>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69" name="Rectangle 397"/>
                <p:cNvSpPr>
                  <a:spLocks noChangeArrowheads="1"/>
                </p:cNvSpPr>
                <p:nvPr/>
              </p:nvSpPr>
              <p:spPr bwMode="auto">
                <a:xfrm>
                  <a:off x="3840" y="3312"/>
                  <a:ext cx="48" cy="288"/>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70" name="Rectangle 398"/>
                <p:cNvSpPr>
                  <a:spLocks noChangeArrowheads="1"/>
                </p:cNvSpPr>
                <p:nvPr/>
              </p:nvSpPr>
              <p:spPr bwMode="auto">
                <a:xfrm>
                  <a:off x="4368" y="3312"/>
                  <a:ext cx="48" cy="288"/>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71" name="Rectangle 399"/>
                <p:cNvSpPr>
                  <a:spLocks noChangeArrowheads="1"/>
                </p:cNvSpPr>
                <p:nvPr/>
              </p:nvSpPr>
              <p:spPr bwMode="auto">
                <a:xfrm>
                  <a:off x="4944" y="3312"/>
                  <a:ext cx="48" cy="288"/>
                </a:xfrm>
                <a:prstGeom prst="rect">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72" name="Rectangle 400"/>
                <p:cNvSpPr>
                  <a:spLocks noChangeArrowheads="1"/>
                </p:cNvSpPr>
                <p:nvPr/>
              </p:nvSpPr>
              <p:spPr bwMode="auto">
                <a:xfrm>
                  <a:off x="672" y="3120"/>
                  <a:ext cx="144" cy="672"/>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73" name="AutoShape 401"/>
                <p:cNvSpPr>
                  <a:spLocks noChangeArrowheads="1"/>
                </p:cNvSpPr>
                <p:nvPr/>
              </p:nvSpPr>
              <p:spPr bwMode="auto">
                <a:xfrm rot="859363">
                  <a:off x="1104" y="3168"/>
                  <a:ext cx="336" cy="96"/>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74" name="AutoShape 402"/>
                <p:cNvSpPr>
                  <a:spLocks noChangeArrowheads="1"/>
                </p:cNvSpPr>
                <p:nvPr/>
              </p:nvSpPr>
              <p:spPr bwMode="auto">
                <a:xfrm rot="859363">
                  <a:off x="1104" y="3648"/>
                  <a:ext cx="336" cy="96"/>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75" name="AutoShape 403"/>
                <p:cNvSpPr>
                  <a:spLocks noChangeArrowheads="1"/>
                </p:cNvSpPr>
                <p:nvPr/>
              </p:nvSpPr>
              <p:spPr bwMode="auto">
                <a:xfrm rot="859363">
                  <a:off x="1872" y="3168"/>
                  <a:ext cx="336" cy="96"/>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76" name="AutoShape 404"/>
                <p:cNvSpPr>
                  <a:spLocks noChangeArrowheads="1"/>
                </p:cNvSpPr>
                <p:nvPr/>
              </p:nvSpPr>
              <p:spPr bwMode="auto">
                <a:xfrm rot="859363">
                  <a:off x="1872" y="3648"/>
                  <a:ext cx="336" cy="96"/>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77" name="AutoShape 405"/>
                <p:cNvSpPr>
                  <a:spLocks noChangeArrowheads="1"/>
                </p:cNvSpPr>
                <p:nvPr/>
              </p:nvSpPr>
              <p:spPr bwMode="auto">
                <a:xfrm>
                  <a:off x="2784" y="3168"/>
                  <a:ext cx="336" cy="96"/>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78" name="AutoShape 406"/>
                <p:cNvSpPr>
                  <a:spLocks noChangeArrowheads="1"/>
                </p:cNvSpPr>
                <p:nvPr/>
              </p:nvSpPr>
              <p:spPr bwMode="auto">
                <a:xfrm>
                  <a:off x="2784" y="3648"/>
                  <a:ext cx="336" cy="96"/>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79" name="AutoShape 407"/>
                <p:cNvSpPr>
                  <a:spLocks noChangeArrowheads="1"/>
                </p:cNvSpPr>
                <p:nvPr/>
              </p:nvSpPr>
              <p:spPr bwMode="auto">
                <a:xfrm>
                  <a:off x="3360" y="3200"/>
                  <a:ext cx="336" cy="96"/>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80" name="AutoShape 408"/>
                <p:cNvSpPr>
                  <a:spLocks noChangeArrowheads="1"/>
                </p:cNvSpPr>
                <p:nvPr/>
              </p:nvSpPr>
              <p:spPr bwMode="auto">
                <a:xfrm>
                  <a:off x="3360" y="3624"/>
                  <a:ext cx="336" cy="96"/>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81" name="AutoShape 409"/>
                <p:cNvSpPr>
                  <a:spLocks noChangeArrowheads="1"/>
                </p:cNvSpPr>
                <p:nvPr/>
              </p:nvSpPr>
              <p:spPr bwMode="auto">
                <a:xfrm>
                  <a:off x="3360" y="3720"/>
                  <a:ext cx="336" cy="96"/>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82" name="AutoShape 410"/>
                <p:cNvSpPr>
                  <a:spLocks noChangeArrowheads="1"/>
                </p:cNvSpPr>
                <p:nvPr/>
              </p:nvSpPr>
              <p:spPr bwMode="auto">
                <a:xfrm>
                  <a:off x="3360" y="3096"/>
                  <a:ext cx="336" cy="96"/>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83" name="AutoShape 411"/>
                <p:cNvSpPr>
                  <a:spLocks noChangeArrowheads="1"/>
                </p:cNvSpPr>
                <p:nvPr/>
              </p:nvSpPr>
              <p:spPr bwMode="auto">
                <a:xfrm>
                  <a:off x="3984" y="3200"/>
                  <a:ext cx="336" cy="96"/>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84" name="AutoShape 412"/>
                <p:cNvSpPr>
                  <a:spLocks noChangeArrowheads="1"/>
                </p:cNvSpPr>
                <p:nvPr/>
              </p:nvSpPr>
              <p:spPr bwMode="auto">
                <a:xfrm>
                  <a:off x="3984" y="3624"/>
                  <a:ext cx="336" cy="96"/>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85" name="AutoShape 413"/>
                <p:cNvSpPr>
                  <a:spLocks noChangeArrowheads="1"/>
                </p:cNvSpPr>
                <p:nvPr/>
              </p:nvSpPr>
              <p:spPr bwMode="auto">
                <a:xfrm>
                  <a:off x="3984" y="3720"/>
                  <a:ext cx="336" cy="96"/>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86" name="AutoShape 414"/>
                <p:cNvSpPr>
                  <a:spLocks noChangeArrowheads="1"/>
                </p:cNvSpPr>
                <p:nvPr/>
              </p:nvSpPr>
              <p:spPr bwMode="auto">
                <a:xfrm>
                  <a:off x="3984" y="3096"/>
                  <a:ext cx="336" cy="96"/>
                </a:xfrm>
                <a:prstGeom prst="roundRect">
                  <a:avLst>
                    <a:gd name="adj" fmla="val 16667"/>
                  </a:avLst>
                </a:prstGeom>
                <a:solidFill>
                  <a:schemeClr val="bg1"/>
                </a:solidFill>
                <a:ln w="9525">
                  <a:solidFill>
                    <a:schemeClr val="tx1"/>
                  </a:solidFill>
                  <a:round/>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487" name="Rectangle 415"/>
                <p:cNvSpPr>
                  <a:spLocks noChangeArrowheads="1"/>
                </p:cNvSpPr>
                <p:nvPr/>
              </p:nvSpPr>
              <p:spPr bwMode="auto">
                <a:xfrm>
                  <a:off x="672" y="3120"/>
                  <a:ext cx="960" cy="672"/>
                </a:xfrm>
                <a:prstGeom prst="rect">
                  <a:avLst/>
                </a:prstGeom>
                <a:solidFill>
                  <a:srgbClr val="CCFFCC">
                    <a:alpha val="47842"/>
                  </a:srgbClr>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grpSp>
        <p:sp>
          <p:nvSpPr>
            <p:cNvPr id="452" name="Rectangle 503"/>
            <p:cNvSpPr>
              <a:spLocks noChangeArrowheads="1"/>
            </p:cNvSpPr>
            <p:nvPr/>
          </p:nvSpPr>
          <p:spPr bwMode="auto">
            <a:xfrm>
              <a:off x="7892370" y="4200071"/>
              <a:ext cx="457200" cy="228600"/>
            </a:xfrm>
            <a:prstGeom prst="rect">
              <a:avLst/>
            </a:prstGeom>
            <a:solidFill>
              <a:srgbClr val="8D8F92"/>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ctr" defTabSz="914377" rtl="0" eaLnBrk="1" fontAlgn="auto" latinLnBrk="0" hangingPunct="1">
                <a:lnSpc>
                  <a:spcPct val="8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10x4</a:t>
              </a:r>
            </a:p>
          </p:txBody>
        </p:sp>
      </p:grpSp>
    </p:spTree>
    <p:extLst>
      <p:ext uri="{BB962C8B-B14F-4D97-AF65-F5344CB8AC3E}">
        <p14:creationId xmlns:p14="http://schemas.microsoft.com/office/powerpoint/2010/main" val="12067479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121467" y="47247"/>
            <a:ext cx="10464800"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CATEGORIZATION BY AXLES</a:t>
            </a:r>
          </a:p>
        </p:txBody>
      </p:sp>
      <p:grpSp>
        <p:nvGrpSpPr>
          <p:cNvPr id="491" name="Group 490"/>
          <p:cNvGrpSpPr/>
          <p:nvPr/>
        </p:nvGrpSpPr>
        <p:grpSpPr>
          <a:xfrm>
            <a:off x="3839537" y="1107590"/>
            <a:ext cx="5046774" cy="5527674"/>
            <a:chOff x="3302000" y="1219203"/>
            <a:chExt cx="5046775" cy="5527674"/>
          </a:xfrm>
        </p:grpSpPr>
        <p:sp>
          <p:nvSpPr>
            <p:cNvPr id="492" name="Rectangle 491"/>
            <p:cNvSpPr>
              <a:spLocks noChangeArrowheads="1"/>
            </p:cNvSpPr>
            <p:nvPr/>
          </p:nvSpPr>
          <p:spPr bwMode="auto">
            <a:xfrm>
              <a:off x="4568826" y="1252538"/>
              <a:ext cx="860425" cy="21431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93" name="Oval 492"/>
            <p:cNvSpPr>
              <a:spLocks noChangeAspect="1" noChangeArrowheads="1"/>
            </p:cNvSpPr>
            <p:nvPr/>
          </p:nvSpPr>
          <p:spPr bwMode="auto">
            <a:xfrm>
              <a:off x="5089525" y="1552577"/>
              <a:ext cx="211138" cy="169863"/>
            </a:xfrm>
            <a:prstGeom prst="ellipse">
              <a:avLst/>
            </a:prstGeom>
            <a:solidFill>
              <a:schemeClr val="tx1"/>
            </a:solidFill>
            <a:ln w="2857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94" name="Line 6"/>
            <p:cNvSpPr>
              <a:spLocks noChangeShapeType="1"/>
            </p:cNvSpPr>
            <p:nvPr/>
          </p:nvSpPr>
          <p:spPr bwMode="auto">
            <a:xfrm>
              <a:off x="4546601" y="1422400"/>
              <a:ext cx="8731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95" name="Oval 494"/>
            <p:cNvSpPr>
              <a:spLocks noChangeArrowheads="1"/>
            </p:cNvSpPr>
            <p:nvPr/>
          </p:nvSpPr>
          <p:spPr bwMode="auto">
            <a:xfrm>
              <a:off x="4371976" y="1560515"/>
              <a:ext cx="212725" cy="166687"/>
            </a:xfrm>
            <a:prstGeom prst="ellipse">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96" name="AutoShape 8"/>
            <p:cNvSpPr>
              <a:spLocks noChangeArrowheads="1"/>
            </p:cNvSpPr>
            <p:nvPr/>
          </p:nvSpPr>
          <p:spPr bwMode="auto">
            <a:xfrm>
              <a:off x="4313238" y="1244602"/>
              <a:ext cx="239712" cy="295275"/>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97" name="AutoShape 9"/>
            <p:cNvSpPr>
              <a:spLocks noChangeArrowheads="1"/>
            </p:cNvSpPr>
            <p:nvPr/>
          </p:nvSpPr>
          <p:spPr bwMode="auto">
            <a:xfrm>
              <a:off x="4264026" y="1328738"/>
              <a:ext cx="49213" cy="163512"/>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98" name="Rectangle 497"/>
            <p:cNvSpPr>
              <a:spLocks noChangeArrowheads="1"/>
            </p:cNvSpPr>
            <p:nvPr/>
          </p:nvSpPr>
          <p:spPr bwMode="auto">
            <a:xfrm>
              <a:off x="4132263" y="2667002"/>
              <a:ext cx="1333500" cy="2190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99" name="Oval 498"/>
            <p:cNvSpPr>
              <a:spLocks noChangeArrowheads="1"/>
            </p:cNvSpPr>
            <p:nvPr/>
          </p:nvSpPr>
          <p:spPr bwMode="auto">
            <a:xfrm>
              <a:off x="4738688" y="2963863"/>
              <a:ext cx="212725" cy="169862"/>
            </a:xfrm>
            <a:prstGeom prst="ellipse">
              <a:avLst/>
            </a:prstGeom>
            <a:solidFill>
              <a:schemeClr val="tx1"/>
            </a:solidFill>
            <a:ln w="2857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00" name="Line 12"/>
            <p:cNvSpPr>
              <a:spLocks noChangeShapeType="1"/>
            </p:cNvSpPr>
            <p:nvPr/>
          </p:nvSpPr>
          <p:spPr bwMode="auto">
            <a:xfrm>
              <a:off x="4106863" y="2833688"/>
              <a:ext cx="13589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01" name="Oval 500"/>
            <p:cNvSpPr>
              <a:spLocks noChangeArrowheads="1"/>
            </p:cNvSpPr>
            <p:nvPr/>
          </p:nvSpPr>
          <p:spPr bwMode="auto">
            <a:xfrm>
              <a:off x="5078414" y="2963863"/>
              <a:ext cx="212725" cy="169862"/>
            </a:xfrm>
            <a:prstGeom prst="ellipse">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02" name="Oval 501"/>
            <p:cNvSpPr>
              <a:spLocks noChangeArrowheads="1"/>
            </p:cNvSpPr>
            <p:nvPr/>
          </p:nvSpPr>
          <p:spPr bwMode="auto">
            <a:xfrm>
              <a:off x="3924301" y="2970213"/>
              <a:ext cx="212725" cy="169862"/>
            </a:xfrm>
            <a:prstGeom prst="ellipse">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03" name="AutoShape 15"/>
            <p:cNvSpPr>
              <a:spLocks noChangeArrowheads="1"/>
            </p:cNvSpPr>
            <p:nvPr/>
          </p:nvSpPr>
          <p:spPr bwMode="auto">
            <a:xfrm>
              <a:off x="3865563" y="2655888"/>
              <a:ext cx="241300" cy="296862"/>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04" name="AutoShape 16"/>
            <p:cNvSpPr>
              <a:spLocks noChangeArrowheads="1"/>
            </p:cNvSpPr>
            <p:nvPr/>
          </p:nvSpPr>
          <p:spPr bwMode="auto">
            <a:xfrm>
              <a:off x="3816351" y="2738438"/>
              <a:ext cx="49213" cy="16510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05" name="Rectangle 504"/>
            <p:cNvSpPr>
              <a:spLocks noChangeArrowheads="1"/>
            </p:cNvSpPr>
            <p:nvPr/>
          </p:nvSpPr>
          <p:spPr bwMode="auto">
            <a:xfrm>
              <a:off x="4111625" y="4391027"/>
              <a:ext cx="1333500" cy="22066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06" name="Oval 505"/>
            <p:cNvSpPr>
              <a:spLocks noChangeArrowheads="1"/>
            </p:cNvSpPr>
            <p:nvPr/>
          </p:nvSpPr>
          <p:spPr bwMode="auto">
            <a:xfrm>
              <a:off x="4816476" y="4638677"/>
              <a:ext cx="211138" cy="168275"/>
            </a:xfrm>
            <a:prstGeom prst="ellipse">
              <a:avLst/>
            </a:prstGeom>
            <a:solidFill>
              <a:schemeClr val="tx1"/>
            </a:solidFill>
            <a:ln w="2857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07" name="Line 19"/>
            <p:cNvSpPr>
              <a:spLocks noChangeShapeType="1"/>
            </p:cNvSpPr>
            <p:nvPr/>
          </p:nvSpPr>
          <p:spPr bwMode="auto">
            <a:xfrm>
              <a:off x="4038601" y="4560888"/>
              <a:ext cx="14065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08" name="Oval 507"/>
            <p:cNvSpPr>
              <a:spLocks noChangeArrowheads="1"/>
            </p:cNvSpPr>
            <p:nvPr/>
          </p:nvSpPr>
          <p:spPr bwMode="auto">
            <a:xfrm>
              <a:off x="5106989" y="4638677"/>
              <a:ext cx="211137" cy="168275"/>
            </a:xfrm>
            <a:prstGeom prst="ellipse">
              <a:avLst/>
            </a:prstGeom>
            <a:solidFill>
              <a:schemeClr val="tx1"/>
            </a:solidFill>
            <a:ln w="2857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09" name="Oval 508"/>
            <p:cNvSpPr>
              <a:spLocks noChangeArrowheads="1"/>
            </p:cNvSpPr>
            <p:nvPr/>
          </p:nvSpPr>
          <p:spPr bwMode="auto">
            <a:xfrm>
              <a:off x="3917950" y="4640263"/>
              <a:ext cx="212725" cy="169862"/>
            </a:xfrm>
            <a:prstGeom prst="ellipse">
              <a:avLst/>
            </a:prstGeom>
            <a:solidFill>
              <a:schemeClr val="tx1"/>
            </a:solidFill>
            <a:ln w="2857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10" name="AutoShape 22"/>
            <p:cNvSpPr>
              <a:spLocks noChangeArrowheads="1"/>
            </p:cNvSpPr>
            <p:nvPr/>
          </p:nvSpPr>
          <p:spPr bwMode="auto">
            <a:xfrm>
              <a:off x="3873500" y="4368802"/>
              <a:ext cx="217488" cy="269875"/>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11" name="AutoShape 23"/>
            <p:cNvSpPr>
              <a:spLocks noChangeArrowheads="1"/>
            </p:cNvSpPr>
            <p:nvPr/>
          </p:nvSpPr>
          <p:spPr bwMode="auto">
            <a:xfrm>
              <a:off x="3829050" y="4445002"/>
              <a:ext cx="44450" cy="149225"/>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12" name="Rectangle 511"/>
            <p:cNvSpPr>
              <a:spLocks noChangeArrowheads="1"/>
            </p:cNvSpPr>
            <p:nvPr/>
          </p:nvSpPr>
          <p:spPr bwMode="auto">
            <a:xfrm>
              <a:off x="4568826" y="1954213"/>
              <a:ext cx="860425" cy="21431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13" name="Oval 512"/>
            <p:cNvSpPr>
              <a:spLocks noChangeAspect="1" noChangeArrowheads="1"/>
            </p:cNvSpPr>
            <p:nvPr/>
          </p:nvSpPr>
          <p:spPr bwMode="auto">
            <a:xfrm>
              <a:off x="5089525" y="2254252"/>
              <a:ext cx="211138" cy="168275"/>
            </a:xfrm>
            <a:prstGeom prst="ellipse">
              <a:avLst/>
            </a:prstGeom>
            <a:solidFill>
              <a:schemeClr val="tx1"/>
            </a:solidFill>
            <a:ln w="2857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14" name="Line 26"/>
            <p:cNvSpPr>
              <a:spLocks noChangeShapeType="1"/>
            </p:cNvSpPr>
            <p:nvPr/>
          </p:nvSpPr>
          <p:spPr bwMode="auto">
            <a:xfrm>
              <a:off x="4546601" y="2124075"/>
              <a:ext cx="8731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15" name="Oval 514"/>
            <p:cNvSpPr>
              <a:spLocks noChangeArrowheads="1"/>
            </p:cNvSpPr>
            <p:nvPr/>
          </p:nvSpPr>
          <p:spPr bwMode="auto">
            <a:xfrm>
              <a:off x="4371976" y="2262190"/>
              <a:ext cx="212725" cy="166687"/>
            </a:xfrm>
            <a:prstGeom prst="ellipse">
              <a:avLst/>
            </a:prstGeom>
            <a:solidFill>
              <a:schemeClr val="tx1"/>
            </a:solidFill>
            <a:ln w="2857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16" name="AutoShape 28"/>
            <p:cNvSpPr>
              <a:spLocks noChangeArrowheads="1"/>
            </p:cNvSpPr>
            <p:nvPr/>
          </p:nvSpPr>
          <p:spPr bwMode="auto">
            <a:xfrm>
              <a:off x="4313238" y="1946277"/>
              <a:ext cx="239712" cy="295275"/>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17" name="AutoShape 29"/>
            <p:cNvSpPr>
              <a:spLocks noChangeArrowheads="1"/>
            </p:cNvSpPr>
            <p:nvPr/>
          </p:nvSpPr>
          <p:spPr bwMode="auto">
            <a:xfrm>
              <a:off x="4264026" y="2028826"/>
              <a:ext cx="49213" cy="163513"/>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18" name="Rectangle 517"/>
            <p:cNvSpPr>
              <a:spLocks noChangeArrowheads="1"/>
            </p:cNvSpPr>
            <p:nvPr/>
          </p:nvSpPr>
          <p:spPr bwMode="auto">
            <a:xfrm>
              <a:off x="4152900" y="3563938"/>
              <a:ext cx="1331913" cy="22066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19" name="Oval 518"/>
            <p:cNvSpPr>
              <a:spLocks noChangeArrowheads="1"/>
            </p:cNvSpPr>
            <p:nvPr/>
          </p:nvSpPr>
          <p:spPr bwMode="auto">
            <a:xfrm>
              <a:off x="4757739" y="3862388"/>
              <a:ext cx="212725" cy="169862"/>
            </a:xfrm>
            <a:prstGeom prst="ellipse">
              <a:avLst/>
            </a:prstGeom>
            <a:solidFill>
              <a:schemeClr val="tx1"/>
            </a:solidFill>
            <a:ln w="2857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20" name="Line 32"/>
            <p:cNvSpPr>
              <a:spLocks noChangeShapeType="1"/>
            </p:cNvSpPr>
            <p:nvPr/>
          </p:nvSpPr>
          <p:spPr bwMode="auto">
            <a:xfrm>
              <a:off x="4127500" y="3732213"/>
              <a:ext cx="135731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21" name="Oval 520"/>
            <p:cNvSpPr>
              <a:spLocks noChangeArrowheads="1"/>
            </p:cNvSpPr>
            <p:nvPr/>
          </p:nvSpPr>
          <p:spPr bwMode="auto">
            <a:xfrm>
              <a:off x="5097463" y="3862388"/>
              <a:ext cx="212725" cy="169862"/>
            </a:xfrm>
            <a:prstGeom prst="ellipse">
              <a:avLst/>
            </a:prstGeom>
            <a:solidFill>
              <a:schemeClr val="tx1"/>
            </a:solidFill>
            <a:ln w="2857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22" name="Oval 521"/>
            <p:cNvSpPr>
              <a:spLocks noChangeArrowheads="1"/>
            </p:cNvSpPr>
            <p:nvPr/>
          </p:nvSpPr>
          <p:spPr bwMode="auto">
            <a:xfrm>
              <a:off x="3944938" y="3867152"/>
              <a:ext cx="211137" cy="169863"/>
            </a:xfrm>
            <a:prstGeom prst="ellipse">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23" name="AutoShape 35"/>
            <p:cNvSpPr>
              <a:spLocks noChangeArrowheads="1"/>
            </p:cNvSpPr>
            <p:nvPr/>
          </p:nvSpPr>
          <p:spPr bwMode="auto">
            <a:xfrm>
              <a:off x="3886201" y="3554415"/>
              <a:ext cx="239713" cy="295275"/>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24" name="AutoShape 36"/>
            <p:cNvSpPr>
              <a:spLocks noChangeArrowheads="1"/>
            </p:cNvSpPr>
            <p:nvPr/>
          </p:nvSpPr>
          <p:spPr bwMode="auto">
            <a:xfrm>
              <a:off x="3836988" y="3635375"/>
              <a:ext cx="49212" cy="16510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25" name="Text Box 37"/>
            <p:cNvSpPr txBox="1">
              <a:spLocks noChangeArrowheads="1"/>
            </p:cNvSpPr>
            <p:nvPr/>
          </p:nvSpPr>
          <p:spPr bwMode="auto">
            <a:xfrm>
              <a:off x="5572728" y="1219203"/>
              <a:ext cx="625491" cy="400110"/>
            </a:xfrm>
            <a:prstGeom prst="rect">
              <a:avLst/>
            </a:prstGeom>
            <a:solidFill>
              <a:schemeClr val="bg1"/>
            </a:solidFill>
            <a:ln w="9525">
              <a:solidFill>
                <a:schemeClr val="tx1"/>
              </a:solidFill>
              <a:miter lim="800000"/>
              <a:headEnd/>
              <a:tailEnd/>
            </a:ln>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4X2</a:t>
              </a:r>
            </a:p>
          </p:txBody>
        </p:sp>
        <p:sp>
          <p:nvSpPr>
            <p:cNvPr id="526" name="Text Box 38"/>
            <p:cNvSpPr txBox="1">
              <a:spLocks noChangeArrowheads="1"/>
            </p:cNvSpPr>
            <p:nvPr/>
          </p:nvSpPr>
          <p:spPr bwMode="auto">
            <a:xfrm>
              <a:off x="5564789" y="1920876"/>
              <a:ext cx="625491" cy="400110"/>
            </a:xfrm>
            <a:prstGeom prst="rect">
              <a:avLst/>
            </a:prstGeom>
            <a:solidFill>
              <a:schemeClr val="bg1"/>
            </a:solidFill>
            <a:ln w="9525">
              <a:solidFill>
                <a:schemeClr val="tx1"/>
              </a:solidFill>
              <a:miter lim="800000"/>
              <a:headEnd/>
              <a:tailEnd/>
            </a:ln>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4X4</a:t>
              </a:r>
            </a:p>
          </p:txBody>
        </p:sp>
        <p:sp>
          <p:nvSpPr>
            <p:cNvPr id="527" name="Text Box 39"/>
            <p:cNvSpPr txBox="1">
              <a:spLocks noChangeArrowheads="1"/>
            </p:cNvSpPr>
            <p:nvPr/>
          </p:nvSpPr>
          <p:spPr bwMode="auto">
            <a:xfrm>
              <a:off x="5599713" y="2627315"/>
              <a:ext cx="625491" cy="400110"/>
            </a:xfrm>
            <a:prstGeom prst="rect">
              <a:avLst/>
            </a:prstGeom>
            <a:solidFill>
              <a:schemeClr val="bg1"/>
            </a:solidFill>
            <a:ln w="9525">
              <a:solidFill>
                <a:schemeClr val="tx1"/>
              </a:solidFill>
              <a:miter lim="800000"/>
              <a:headEnd/>
              <a:tailEnd/>
            </a:ln>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6X2</a:t>
              </a:r>
            </a:p>
          </p:txBody>
        </p:sp>
        <p:sp>
          <p:nvSpPr>
            <p:cNvPr id="528" name="Text Box 40"/>
            <p:cNvSpPr txBox="1">
              <a:spLocks noChangeArrowheads="1"/>
            </p:cNvSpPr>
            <p:nvPr/>
          </p:nvSpPr>
          <p:spPr bwMode="auto">
            <a:xfrm>
              <a:off x="5577489" y="3525840"/>
              <a:ext cx="625491" cy="400110"/>
            </a:xfrm>
            <a:prstGeom prst="rect">
              <a:avLst/>
            </a:prstGeom>
            <a:solidFill>
              <a:schemeClr val="bg1"/>
            </a:solidFill>
            <a:ln w="9525">
              <a:solidFill>
                <a:schemeClr val="tx1"/>
              </a:solidFill>
              <a:miter lim="800000"/>
              <a:headEnd/>
              <a:tailEnd/>
            </a:ln>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6X4</a:t>
              </a:r>
            </a:p>
          </p:txBody>
        </p:sp>
        <p:sp>
          <p:nvSpPr>
            <p:cNvPr id="529" name="Text Box 41"/>
            <p:cNvSpPr txBox="1">
              <a:spLocks noChangeArrowheads="1"/>
            </p:cNvSpPr>
            <p:nvPr/>
          </p:nvSpPr>
          <p:spPr bwMode="auto">
            <a:xfrm>
              <a:off x="5577489" y="4335466"/>
              <a:ext cx="625491" cy="400110"/>
            </a:xfrm>
            <a:prstGeom prst="rect">
              <a:avLst/>
            </a:prstGeom>
            <a:solidFill>
              <a:schemeClr val="bg1"/>
            </a:solidFill>
            <a:ln w="9525">
              <a:solidFill>
                <a:schemeClr val="tx1"/>
              </a:solidFill>
              <a:miter lim="800000"/>
              <a:headEnd/>
              <a:tailEnd/>
            </a:ln>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6X6</a:t>
              </a:r>
            </a:p>
          </p:txBody>
        </p:sp>
        <p:sp>
          <p:nvSpPr>
            <p:cNvPr id="530" name="Text Box 42"/>
            <p:cNvSpPr txBox="1">
              <a:spLocks noChangeArrowheads="1"/>
            </p:cNvSpPr>
            <p:nvPr/>
          </p:nvSpPr>
          <p:spPr bwMode="auto">
            <a:xfrm>
              <a:off x="5596537" y="5668966"/>
              <a:ext cx="625491" cy="400110"/>
            </a:xfrm>
            <a:prstGeom prst="rect">
              <a:avLst/>
            </a:prstGeom>
            <a:solidFill>
              <a:schemeClr val="bg1"/>
            </a:solidFill>
            <a:ln w="9525">
              <a:solidFill>
                <a:schemeClr val="tx1"/>
              </a:solidFill>
              <a:miter lim="800000"/>
              <a:headEnd/>
              <a:tailEnd/>
            </a:ln>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8X8</a:t>
              </a:r>
            </a:p>
          </p:txBody>
        </p:sp>
        <p:sp>
          <p:nvSpPr>
            <p:cNvPr id="531" name="AutoShape 43"/>
            <p:cNvSpPr>
              <a:spLocks/>
            </p:cNvSpPr>
            <p:nvPr/>
          </p:nvSpPr>
          <p:spPr bwMode="auto">
            <a:xfrm>
              <a:off x="6705601" y="2713040"/>
              <a:ext cx="238125" cy="3735387"/>
            </a:xfrm>
            <a:prstGeom prst="rightBracket">
              <a:avLst>
                <a:gd name="adj" fmla="val 15396"/>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32" name="Text Box 44"/>
            <p:cNvSpPr txBox="1">
              <a:spLocks noChangeArrowheads="1"/>
            </p:cNvSpPr>
            <p:nvPr/>
          </p:nvSpPr>
          <p:spPr bwMode="auto">
            <a:xfrm>
              <a:off x="7418712" y="4368802"/>
              <a:ext cx="930063" cy="40011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M A V</a:t>
              </a:r>
            </a:p>
          </p:txBody>
        </p:sp>
        <p:sp>
          <p:nvSpPr>
            <p:cNvPr id="533" name="Oval 532"/>
            <p:cNvSpPr>
              <a:spLocks noChangeArrowheads="1"/>
            </p:cNvSpPr>
            <p:nvPr/>
          </p:nvSpPr>
          <p:spPr bwMode="auto">
            <a:xfrm>
              <a:off x="4803775" y="5276852"/>
              <a:ext cx="209550" cy="168275"/>
            </a:xfrm>
            <a:prstGeom prst="ellipse">
              <a:avLst/>
            </a:prstGeom>
            <a:solidFill>
              <a:schemeClr val="tx1"/>
            </a:solidFill>
            <a:ln w="2857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34" name="Rectangle 533"/>
            <p:cNvSpPr>
              <a:spLocks noChangeArrowheads="1"/>
            </p:cNvSpPr>
            <p:nvPr/>
          </p:nvSpPr>
          <p:spPr bwMode="auto">
            <a:xfrm>
              <a:off x="3675063" y="5026025"/>
              <a:ext cx="1757362" cy="21113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35" name="Line 47"/>
            <p:cNvSpPr>
              <a:spLocks noChangeShapeType="1"/>
            </p:cNvSpPr>
            <p:nvPr/>
          </p:nvSpPr>
          <p:spPr bwMode="auto">
            <a:xfrm>
              <a:off x="3579813" y="5187950"/>
              <a:ext cx="185261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36" name="AutoShape 48"/>
            <p:cNvSpPr>
              <a:spLocks noChangeArrowheads="1"/>
            </p:cNvSpPr>
            <p:nvPr/>
          </p:nvSpPr>
          <p:spPr bwMode="auto">
            <a:xfrm>
              <a:off x="3362326" y="5003802"/>
              <a:ext cx="284163" cy="258763"/>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37" name="AutoShape 49"/>
            <p:cNvSpPr>
              <a:spLocks noChangeArrowheads="1"/>
            </p:cNvSpPr>
            <p:nvPr/>
          </p:nvSpPr>
          <p:spPr bwMode="auto">
            <a:xfrm>
              <a:off x="3302000" y="5076827"/>
              <a:ext cx="60325" cy="144463"/>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38" name="Text Box 50"/>
            <p:cNvSpPr txBox="1">
              <a:spLocks noChangeArrowheads="1"/>
            </p:cNvSpPr>
            <p:nvPr/>
          </p:nvSpPr>
          <p:spPr bwMode="auto">
            <a:xfrm>
              <a:off x="5580712" y="4976815"/>
              <a:ext cx="593432" cy="400110"/>
            </a:xfrm>
            <a:prstGeom prst="rect">
              <a:avLst/>
            </a:prstGeom>
            <a:solidFill>
              <a:schemeClr val="bg1"/>
            </a:solidFill>
            <a:ln w="9525">
              <a:solidFill>
                <a:schemeClr val="tx1"/>
              </a:solidFill>
              <a:miter lim="800000"/>
              <a:headEnd/>
              <a:tailEnd/>
            </a:ln>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8x2</a:t>
              </a:r>
            </a:p>
          </p:txBody>
        </p:sp>
        <p:sp>
          <p:nvSpPr>
            <p:cNvPr id="539" name="Oval 538"/>
            <p:cNvSpPr>
              <a:spLocks noChangeArrowheads="1"/>
            </p:cNvSpPr>
            <p:nvPr/>
          </p:nvSpPr>
          <p:spPr bwMode="auto">
            <a:xfrm>
              <a:off x="3830638" y="5280027"/>
              <a:ext cx="212725" cy="168275"/>
            </a:xfrm>
            <a:prstGeom prst="ellipse">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40" name="Oval 539"/>
            <p:cNvSpPr>
              <a:spLocks noChangeArrowheads="1"/>
            </p:cNvSpPr>
            <p:nvPr/>
          </p:nvSpPr>
          <p:spPr bwMode="auto">
            <a:xfrm>
              <a:off x="5084764" y="5280027"/>
              <a:ext cx="212725" cy="168275"/>
            </a:xfrm>
            <a:prstGeom prst="ellipse">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41" name="Oval 540"/>
            <p:cNvSpPr>
              <a:spLocks noChangeArrowheads="1"/>
            </p:cNvSpPr>
            <p:nvPr/>
          </p:nvSpPr>
          <p:spPr bwMode="auto">
            <a:xfrm>
              <a:off x="3473451" y="5280027"/>
              <a:ext cx="214313" cy="168275"/>
            </a:xfrm>
            <a:prstGeom prst="ellipse">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42" name="Oval 541"/>
            <p:cNvSpPr>
              <a:spLocks noChangeArrowheads="1"/>
            </p:cNvSpPr>
            <p:nvPr/>
          </p:nvSpPr>
          <p:spPr bwMode="auto">
            <a:xfrm>
              <a:off x="4803775" y="5902327"/>
              <a:ext cx="209550" cy="168275"/>
            </a:xfrm>
            <a:prstGeom prst="ellipse">
              <a:avLst/>
            </a:prstGeom>
            <a:solidFill>
              <a:schemeClr val="tx1"/>
            </a:solidFill>
            <a:ln w="2857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43" name="Rectangle 542"/>
            <p:cNvSpPr>
              <a:spLocks noChangeArrowheads="1"/>
            </p:cNvSpPr>
            <p:nvPr/>
          </p:nvSpPr>
          <p:spPr bwMode="auto">
            <a:xfrm>
              <a:off x="3675063" y="5649915"/>
              <a:ext cx="1757362" cy="2127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44" name="Line 56"/>
            <p:cNvSpPr>
              <a:spLocks noChangeShapeType="1"/>
            </p:cNvSpPr>
            <p:nvPr/>
          </p:nvSpPr>
          <p:spPr bwMode="auto">
            <a:xfrm>
              <a:off x="3579813" y="5813425"/>
              <a:ext cx="185261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45" name="AutoShape 57"/>
            <p:cNvSpPr>
              <a:spLocks noChangeArrowheads="1"/>
            </p:cNvSpPr>
            <p:nvPr/>
          </p:nvSpPr>
          <p:spPr bwMode="auto">
            <a:xfrm>
              <a:off x="3362326" y="5629275"/>
              <a:ext cx="284163" cy="26035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46" name="AutoShape 58"/>
            <p:cNvSpPr>
              <a:spLocks noChangeArrowheads="1"/>
            </p:cNvSpPr>
            <p:nvPr/>
          </p:nvSpPr>
          <p:spPr bwMode="auto">
            <a:xfrm>
              <a:off x="3302000" y="5702302"/>
              <a:ext cx="60325" cy="144463"/>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47" name="Oval 546"/>
            <p:cNvSpPr>
              <a:spLocks noChangeArrowheads="1"/>
            </p:cNvSpPr>
            <p:nvPr/>
          </p:nvSpPr>
          <p:spPr bwMode="auto">
            <a:xfrm>
              <a:off x="3830638" y="5905502"/>
              <a:ext cx="212725" cy="168275"/>
            </a:xfrm>
            <a:prstGeom prst="ellipse">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48" name="Oval 547"/>
            <p:cNvSpPr>
              <a:spLocks noChangeArrowheads="1"/>
            </p:cNvSpPr>
            <p:nvPr/>
          </p:nvSpPr>
          <p:spPr bwMode="auto">
            <a:xfrm>
              <a:off x="5084764" y="5905502"/>
              <a:ext cx="212725" cy="168275"/>
            </a:xfrm>
            <a:prstGeom prst="ellipse">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49" name="Oval 548"/>
            <p:cNvSpPr>
              <a:spLocks noChangeArrowheads="1"/>
            </p:cNvSpPr>
            <p:nvPr/>
          </p:nvSpPr>
          <p:spPr bwMode="auto">
            <a:xfrm>
              <a:off x="3473451" y="5905502"/>
              <a:ext cx="214313" cy="168275"/>
            </a:xfrm>
            <a:prstGeom prst="ellipse">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50" name="Oval 549"/>
            <p:cNvSpPr>
              <a:spLocks noChangeArrowheads="1"/>
            </p:cNvSpPr>
            <p:nvPr/>
          </p:nvSpPr>
          <p:spPr bwMode="auto">
            <a:xfrm>
              <a:off x="5086350" y="5895977"/>
              <a:ext cx="211138" cy="168275"/>
            </a:xfrm>
            <a:prstGeom prst="ellipse">
              <a:avLst/>
            </a:prstGeom>
            <a:solidFill>
              <a:schemeClr val="tx1"/>
            </a:solidFill>
            <a:ln w="2857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51" name="Oval 550"/>
            <p:cNvSpPr>
              <a:spLocks noChangeArrowheads="1"/>
            </p:cNvSpPr>
            <p:nvPr/>
          </p:nvSpPr>
          <p:spPr bwMode="auto">
            <a:xfrm>
              <a:off x="3816350" y="5895977"/>
              <a:ext cx="211138" cy="168275"/>
            </a:xfrm>
            <a:prstGeom prst="ellipse">
              <a:avLst/>
            </a:prstGeom>
            <a:solidFill>
              <a:schemeClr val="tx1"/>
            </a:solidFill>
            <a:ln w="2857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52" name="Oval 551"/>
            <p:cNvSpPr>
              <a:spLocks noChangeArrowheads="1"/>
            </p:cNvSpPr>
            <p:nvPr/>
          </p:nvSpPr>
          <p:spPr bwMode="auto">
            <a:xfrm>
              <a:off x="3490914" y="5895977"/>
              <a:ext cx="211137" cy="168275"/>
            </a:xfrm>
            <a:prstGeom prst="ellipse">
              <a:avLst/>
            </a:prstGeom>
            <a:solidFill>
              <a:schemeClr val="tx1"/>
            </a:solidFill>
            <a:ln w="2857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53" name="Text Box 42"/>
            <p:cNvSpPr txBox="1">
              <a:spLocks noChangeArrowheads="1"/>
            </p:cNvSpPr>
            <p:nvPr/>
          </p:nvSpPr>
          <p:spPr bwMode="auto">
            <a:xfrm>
              <a:off x="5602826" y="6243641"/>
              <a:ext cx="768159" cy="400110"/>
            </a:xfrm>
            <a:prstGeom prst="rect">
              <a:avLst/>
            </a:prstGeom>
            <a:solidFill>
              <a:schemeClr val="bg1"/>
            </a:solidFill>
            <a:ln w="9525">
              <a:solidFill>
                <a:schemeClr val="tx1"/>
              </a:solidFill>
              <a:miter lim="800000"/>
              <a:headEnd/>
              <a:tailEnd/>
            </a:ln>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10X2</a:t>
              </a:r>
            </a:p>
          </p:txBody>
        </p:sp>
        <p:sp>
          <p:nvSpPr>
            <p:cNvPr id="554" name="Oval 54"/>
            <p:cNvSpPr>
              <a:spLocks noChangeArrowheads="1"/>
            </p:cNvSpPr>
            <p:nvPr/>
          </p:nvSpPr>
          <p:spPr bwMode="auto">
            <a:xfrm>
              <a:off x="4848226" y="6575427"/>
              <a:ext cx="209550" cy="168275"/>
            </a:xfrm>
            <a:prstGeom prst="ellipse">
              <a:avLst/>
            </a:prstGeom>
            <a:solidFill>
              <a:schemeClr val="tx1"/>
            </a:solidFill>
            <a:ln w="2857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55" name="Rectangle 55"/>
            <p:cNvSpPr>
              <a:spLocks noChangeArrowheads="1"/>
            </p:cNvSpPr>
            <p:nvPr/>
          </p:nvSpPr>
          <p:spPr bwMode="auto">
            <a:xfrm>
              <a:off x="3719513" y="6323015"/>
              <a:ext cx="1757362" cy="2127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56" name="Line 56"/>
            <p:cNvSpPr>
              <a:spLocks noChangeShapeType="1"/>
            </p:cNvSpPr>
            <p:nvPr/>
          </p:nvSpPr>
          <p:spPr bwMode="auto">
            <a:xfrm>
              <a:off x="3624263" y="6486525"/>
              <a:ext cx="185261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57" name="AutoShape 57"/>
            <p:cNvSpPr>
              <a:spLocks noChangeArrowheads="1"/>
            </p:cNvSpPr>
            <p:nvPr/>
          </p:nvSpPr>
          <p:spPr bwMode="auto">
            <a:xfrm>
              <a:off x="3406776" y="6302375"/>
              <a:ext cx="284163" cy="26035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58" name="AutoShape 58"/>
            <p:cNvSpPr>
              <a:spLocks noChangeArrowheads="1"/>
            </p:cNvSpPr>
            <p:nvPr/>
          </p:nvSpPr>
          <p:spPr bwMode="auto">
            <a:xfrm>
              <a:off x="3346450" y="6375402"/>
              <a:ext cx="60325" cy="144463"/>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59" name="Oval 59"/>
            <p:cNvSpPr>
              <a:spLocks noChangeArrowheads="1"/>
            </p:cNvSpPr>
            <p:nvPr/>
          </p:nvSpPr>
          <p:spPr bwMode="auto">
            <a:xfrm>
              <a:off x="3875089" y="6578602"/>
              <a:ext cx="212725" cy="168275"/>
            </a:xfrm>
            <a:prstGeom prst="ellipse">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60" name="Oval 60"/>
            <p:cNvSpPr>
              <a:spLocks noChangeArrowheads="1"/>
            </p:cNvSpPr>
            <p:nvPr/>
          </p:nvSpPr>
          <p:spPr bwMode="auto">
            <a:xfrm>
              <a:off x="5129214" y="6578602"/>
              <a:ext cx="212725" cy="168275"/>
            </a:xfrm>
            <a:prstGeom prst="ellipse">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61" name="Oval 61"/>
            <p:cNvSpPr>
              <a:spLocks noChangeArrowheads="1"/>
            </p:cNvSpPr>
            <p:nvPr/>
          </p:nvSpPr>
          <p:spPr bwMode="auto">
            <a:xfrm>
              <a:off x="3517900" y="6578602"/>
              <a:ext cx="214313" cy="168275"/>
            </a:xfrm>
            <a:prstGeom prst="ellipse">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62" name="Oval 62"/>
            <p:cNvSpPr>
              <a:spLocks noChangeArrowheads="1"/>
            </p:cNvSpPr>
            <p:nvPr/>
          </p:nvSpPr>
          <p:spPr bwMode="auto">
            <a:xfrm>
              <a:off x="5130801" y="6569077"/>
              <a:ext cx="211138" cy="168275"/>
            </a:xfrm>
            <a:prstGeom prst="ellipse">
              <a:avLst/>
            </a:prstGeom>
            <a:solidFill>
              <a:schemeClr val="bg1"/>
            </a:solidFill>
            <a:ln w="2857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63" name="Oval 63"/>
            <p:cNvSpPr>
              <a:spLocks noChangeArrowheads="1"/>
            </p:cNvSpPr>
            <p:nvPr/>
          </p:nvSpPr>
          <p:spPr bwMode="auto">
            <a:xfrm>
              <a:off x="3860800" y="6569077"/>
              <a:ext cx="211138" cy="168275"/>
            </a:xfrm>
            <a:prstGeom prst="ellipse">
              <a:avLst/>
            </a:prstGeom>
            <a:solidFill>
              <a:schemeClr val="bg1"/>
            </a:solidFill>
            <a:ln w="2857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64" name="Oval 64"/>
            <p:cNvSpPr>
              <a:spLocks noChangeArrowheads="1"/>
            </p:cNvSpPr>
            <p:nvPr/>
          </p:nvSpPr>
          <p:spPr bwMode="auto">
            <a:xfrm>
              <a:off x="3535364" y="6569077"/>
              <a:ext cx="211137" cy="168275"/>
            </a:xfrm>
            <a:prstGeom prst="ellipse">
              <a:avLst/>
            </a:prstGeom>
            <a:solidFill>
              <a:schemeClr val="bg1"/>
            </a:solidFill>
            <a:ln w="2857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65" name="Oval 62"/>
            <p:cNvSpPr>
              <a:spLocks noChangeArrowheads="1"/>
            </p:cNvSpPr>
            <p:nvPr/>
          </p:nvSpPr>
          <p:spPr bwMode="auto">
            <a:xfrm>
              <a:off x="4565651" y="6578602"/>
              <a:ext cx="211138" cy="168275"/>
            </a:xfrm>
            <a:prstGeom prst="ellipse">
              <a:avLst/>
            </a:prstGeom>
            <a:solidFill>
              <a:schemeClr val="bg1"/>
            </a:solidFill>
            <a:ln w="2857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grpSp>
    </p:spTree>
    <p:extLst>
      <p:ext uri="{BB962C8B-B14F-4D97-AF65-F5344CB8AC3E}">
        <p14:creationId xmlns:p14="http://schemas.microsoft.com/office/powerpoint/2010/main" val="28025042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121467" y="47247"/>
            <a:ext cx="10464800"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COACH CLASSIFICATION BY FLOOR</a:t>
            </a:r>
          </a:p>
        </p:txBody>
      </p:sp>
      <p:sp>
        <p:nvSpPr>
          <p:cNvPr id="79" name="Text Box 2"/>
          <p:cNvSpPr txBox="1">
            <a:spLocks noChangeArrowheads="1"/>
          </p:cNvSpPr>
          <p:nvPr/>
        </p:nvSpPr>
        <p:spPr bwMode="auto">
          <a:xfrm>
            <a:off x="1954808" y="1234591"/>
            <a:ext cx="164019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SINGLE DECK</a:t>
            </a:r>
          </a:p>
        </p:txBody>
      </p:sp>
      <p:sp>
        <p:nvSpPr>
          <p:cNvPr id="80" name="Text Box 3"/>
          <p:cNvSpPr txBox="1">
            <a:spLocks noChangeArrowheads="1"/>
          </p:cNvSpPr>
          <p:nvPr/>
        </p:nvSpPr>
        <p:spPr bwMode="auto">
          <a:xfrm>
            <a:off x="1872918" y="5622439"/>
            <a:ext cx="17540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DOUBLE DECK</a:t>
            </a:r>
          </a:p>
        </p:txBody>
      </p:sp>
      <p:grpSp>
        <p:nvGrpSpPr>
          <p:cNvPr id="81" name="Group 4"/>
          <p:cNvGrpSpPr>
            <a:grpSpLocks/>
          </p:cNvGrpSpPr>
          <p:nvPr/>
        </p:nvGrpSpPr>
        <p:grpSpPr bwMode="auto">
          <a:xfrm>
            <a:off x="4338640" y="5049840"/>
            <a:ext cx="3143251" cy="1212851"/>
            <a:chOff x="2128" y="2304"/>
            <a:chExt cx="3639" cy="1152"/>
          </a:xfrm>
        </p:grpSpPr>
        <p:sp>
          <p:nvSpPr>
            <p:cNvPr id="82" name="AutoShape 5"/>
            <p:cNvSpPr>
              <a:spLocks noChangeArrowheads="1"/>
            </p:cNvSpPr>
            <p:nvPr/>
          </p:nvSpPr>
          <p:spPr bwMode="auto">
            <a:xfrm>
              <a:off x="2232" y="2304"/>
              <a:ext cx="3483" cy="1152"/>
            </a:xfrm>
            <a:prstGeom prst="roundRect">
              <a:avLst>
                <a:gd name="adj" fmla="val 16667"/>
              </a:avLst>
            </a:prstGeom>
            <a:gradFill rotWithShape="0">
              <a:gsLst>
                <a:gs pos="0">
                  <a:srgbClr val="FF0000"/>
                </a:gs>
                <a:gs pos="50000">
                  <a:srgbClr val="FFFFFF"/>
                </a:gs>
                <a:gs pos="100000">
                  <a:srgbClr val="FF0000"/>
                </a:gs>
              </a:gsLst>
              <a:lin ang="5400000" scaled="1"/>
            </a:gra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83" name="AutoShape 6"/>
            <p:cNvSpPr>
              <a:spLocks noChangeArrowheads="1"/>
            </p:cNvSpPr>
            <p:nvPr/>
          </p:nvSpPr>
          <p:spPr bwMode="auto">
            <a:xfrm rot="5400000">
              <a:off x="2981" y="3053"/>
              <a:ext cx="480" cy="230"/>
            </a:xfrm>
            <a:prstGeom prst="roundRect">
              <a:avLst>
                <a:gd name="adj" fmla="val 16667"/>
              </a:avLst>
            </a:prstGeom>
            <a:solidFill>
              <a:srgbClr val="FFFFFF"/>
            </a:solidFill>
            <a:ln w="9525">
              <a:solidFill>
                <a:schemeClr val="tx1"/>
              </a:solidFill>
              <a:round/>
              <a:headEnd/>
              <a:tailEnd/>
            </a:ln>
          </p:spPr>
          <p:txBody>
            <a:bodyPr rot="10800000" vert="eaVert" wrap="none" anchor="ctr"/>
            <a:lstStyle/>
            <a:p>
              <a:pPr marL="0" marR="0" lvl="0" indent="0" algn="ctr" defTabSz="914377" rtl="0" eaLnBrk="0" fontAlgn="auto" latinLnBrk="0" hangingPunct="0">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84" name="Line 9"/>
            <p:cNvSpPr>
              <a:spLocks noChangeShapeType="1"/>
            </p:cNvSpPr>
            <p:nvPr/>
          </p:nvSpPr>
          <p:spPr bwMode="auto">
            <a:xfrm>
              <a:off x="2232" y="2736"/>
              <a:ext cx="348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grpSp>
          <p:nvGrpSpPr>
            <p:cNvPr id="85" name="Group 10"/>
            <p:cNvGrpSpPr>
              <a:grpSpLocks/>
            </p:cNvGrpSpPr>
            <p:nvPr/>
          </p:nvGrpSpPr>
          <p:grpSpPr bwMode="auto">
            <a:xfrm>
              <a:off x="2344" y="2432"/>
              <a:ext cx="3219" cy="160"/>
              <a:chOff x="1399" y="2720"/>
              <a:chExt cx="2971" cy="160"/>
            </a:xfrm>
          </p:grpSpPr>
          <p:grpSp>
            <p:nvGrpSpPr>
              <p:cNvPr id="99" name="Group 11"/>
              <p:cNvGrpSpPr>
                <a:grpSpLocks/>
              </p:cNvGrpSpPr>
              <p:nvPr/>
            </p:nvGrpSpPr>
            <p:grpSpPr bwMode="auto">
              <a:xfrm>
                <a:off x="1399" y="2720"/>
                <a:ext cx="2971" cy="160"/>
                <a:chOff x="1399" y="2720"/>
                <a:chExt cx="2971" cy="160"/>
              </a:xfrm>
            </p:grpSpPr>
            <p:sp>
              <p:nvSpPr>
                <p:cNvPr id="101" name="AutoShape 12"/>
                <p:cNvSpPr>
                  <a:spLocks noChangeArrowheads="1"/>
                </p:cNvSpPr>
                <p:nvPr/>
              </p:nvSpPr>
              <p:spPr bwMode="auto">
                <a:xfrm>
                  <a:off x="2422" y="2720"/>
                  <a:ext cx="425"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02" name="AutoShape 13"/>
                <p:cNvSpPr>
                  <a:spLocks noChangeArrowheads="1"/>
                </p:cNvSpPr>
                <p:nvPr/>
              </p:nvSpPr>
              <p:spPr bwMode="auto">
                <a:xfrm>
                  <a:off x="2918" y="2720"/>
                  <a:ext cx="425"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03" name="AutoShape 14"/>
                <p:cNvSpPr>
                  <a:spLocks noChangeArrowheads="1"/>
                </p:cNvSpPr>
                <p:nvPr/>
              </p:nvSpPr>
              <p:spPr bwMode="auto">
                <a:xfrm>
                  <a:off x="3414" y="2720"/>
                  <a:ext cx="425"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04" name="AutoShape 15"/>
                <p:cNvSpPr>
                  <a:spLocks noChangeArrowheads="1"/>
                </p:cNvSpPr>
                <p:nvPr/>
              </p:nvSpPr>
              <p:spPr bwMode="auto">
                <a:xfrm>
                  <a:off x="3945" y="2720"/>
                  <a:ext cx="425"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05" name="AutoShape 16"/>
                <p:cNvSpPr>
                  <a:spLocks noChangeArrowheads="1"/>
                </p:cNvSpPr>
                <p:nvPr/>
              </p:nvSpPr>
              <p:spPr bwMode="auto">
                <a:xfrm>
                  <a:off x="1927" y="2720"/>
                  <a:ext cx="425"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06" name="AutoShape 17"/>
                <p:cNvSpPr>
                  <a:spLocks noChangeArrowheads="1"/>
                </p:cNvSpPr>
                <p:nvPr/>
              </p:nvSpPr>
              <p:spPr bwMode="auto">
                <a:xfrm>
                  <a:off x="1399" y="2720"/>
                  <a:ext cx="425"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grpSp>
          <p:sp>
            <p:nvSpPr>
              <p:cNvPr id="100" name="AutoShape 18"/>
              <p:cNvSpPr>
                <a:spLocks noChangeArrowheads="1"/>
              </p:cNvSpPr>
              <p:nvPr/>
            </p:nvSpPr>
            <p:spPr bwMode="auto">
              <a:xfrm>
                <a:off x="1927" y="2720"/>
                <a:ext cx="425"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grpSp>
        <p:sp>
          <p:nvSpPr>
            <p:cNvPr id="86" name="AutoShape 19"/>
            <p:cNvSpPr>
              <a:spLocks noChangeArrowheads="1"/>
            </p:cNvSpPr>
            <p:nvPr/>
          </p:nvSpPr>
          <p:spPr bwMode="auto">
            <a:xfrm>
              <a:off x="3480" y="2976"/>
              <a:ext cx="460"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87" name="AutoShape 20"/>
            <p:cNvSpPr>
              <a:spLocks noChangeArrowheads="1"/>
            </p:cNvSpPr>
            <p:nvPr/>
          </p:nvSpPr>
          <p:spPr bwMode="auto">
            <a:xfrm>
              <a:off x="4000" y="2976"/>
              <a:ext cx="460"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88" name="AutoShape 21"/>
            <p:cNvSpPr>
              <a:spLocks noChangeArrowheads="1"/>
            </p:cNvSpPr>
            <p:nvPr/>
          </p:nvSpPr>
          <p:spPr bwMode="auto">
            <a:xfrm>
              <a:off x="4527" y="2976"/>
              <a:ext cx="461"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89" name="AutoShape 22"/>
            <p:cNvSpPr>
              <a:spLocks noChangeArrowheads="1"/>
            </p:cNvSpPr>
            <p:nvPr/>
          </p:nvSpPr>
          <p:spPr bwMode="auto">
            <a:xfrm>
              <a:off x="5091" y="2976"/>
              <a:ext cx="461"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90" name="AutoShape 23"/>
            <p:cNvSpPr>
              <a:spLocks noChangeArrowheads="1"/>
            </p:cNvSpPr>
            <p:nvPr/>
          </p:nvSpPr>
          <p:spPr bwMode="auto">
            <a:xfrm>
              <a:off x="2552" y="2976"/>
              <a:ext cx="460"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91" name="Line 24"/>
            <p:cNvSpPr>
              <a:spLocks noChangeShapeType="1"/>
            </p:cNvSpPr>
            <p:nvPr/>
          </p:nvSpPr>
          <p:spPr bwMode="auto">
            <a:xfrm>
              <a:off x="2232" y="3216"/>
              <a:ext cx="83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92" name="Line 25"/>
            <p:cNvSpPr>
              <a:spLocks noChangeShapeType="1"/>
            </p:cNvSpPr>
            <p:nvPr/>
          </p:nvSpPr>
          <p:spPr bwMode="auto">
            <a:xfrm>
              <a:off x="3324" y="3216"/>
              <a:ext cx="2391"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93" name="AutoShape 26"/>
            <p:cNvSpPr>
              <a:spLocks noChangeArrowheads="1"/>
            </p:cNvSpPr>
            <p:nvPr/>
          </p:nvSpPr>
          <p:spPr bwMode="auto">
            <a:xfrm>
              <a:off x="2284" y="2976"/>
              <a:ext cx="208" cy="144"/>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94" name="AutoShape 27"/>
            <p:cNvSpPr>
              <a:spLocks noChangeArrowheads="1"/>
            </p:cNvSpPr>
            <p:nvPr/>
          </p:nvSpPr>
          <p:spPr bwMode="auto">
            <a:xfrm>
              <a:off x="2180" y="3120"/>
              <a:ext cx="52" cy="144"/>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95" name="Rectangle 28"/>
            <p:cNvSpPr>
              <a:spLocks noChangeArrowheads="1"/>
            </p:cNvSpPr>
            <p:nvPr/>
          </p:nvSpPr>
          <p:spPr bwMode="auto">
            <a:xfrm>
              <a:off x="2128" y="3312"/>
              <a:ext cx="208" cy="96"/>
            </a:xfrm>
            <a:prstGeom prst="rect">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96" name="Rectangle 29"/>
            <p:cNvSpPr>
              <a:spLocks noChangeArrowheads="1"/>
            </p:cNvSpPr>
            <p:nvPr/>
          </p:nvSpPr>
          <p:spPr bwMode="auto">
            <a:xfrm>
              <a:off x="5559" y="3264"/>
              <a:ext cx="208" cy="96"/>
            </a:xfrm>
            <a:prstGeom prst="rect">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97" name="AutoShape 30"/>
            <p:cNvSpPr>
              <a:spLocks noChangeArrowheads="1"/>
            </p:cNvSpPr>
            <p:nvPr/>
          </p:nvSpPr>
          <p:spPr bwMode="auto">
            <a:xfrm flipH="1" flipV="1">
              <a:off x="3792" y="3264"/>
              <a:ext cx="416" cy="96"/>
            </a:xfrm>
            <a:prstGeom prst="chevron">
              <a:avLst>
                <a:gd name="adj" fmla="val 108333"/>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98" name="AutoShape 31"/>
            <p:cNvSpPr>
              <a:spLocks noChangeArrowheads="1"/>
            </p:cNvSpPr>
            <p:nvPr/>
          </p:nvSpPr>
          <p:spPr bwMode="auto">
            <a:xfrm flipH="1" flipV="1">
              <a:off x="2388" y="3264"/>
              <a:ext cx="364" cy="96"/>
            </a:xfrm>
            <a:prstGeom prst="chevron">
              <a:avLst>
                <a:gd name="adj" fmla="val 94792"/>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grpSp>
      <p:grpSp>
        <p:nvGrpSpPr>
          <p:cNvPr id="107" name="Group 33"/>
          <p:cNvGrpSpPr>
            <a:grpSpLocks/>
          </p:cNvGrpSpPr>
          <p:nvPr/>
        </p:nvGrpSpPr>
        <p:grpSpPr bwMode="auto">
          <a:xfrm>
            <a:off x="4197357" y="1219202"/>
            <a:ext cx="2836863" cy="641351"/>
            <a:chOff x="2145" y="1248"/>
            <a:chExt cx="3327" cy="640"/>
          </a:xfrm>
        </p:grpSpPr>
        <p:sp>
          <p:nvSpPr>
            <p:cNvPr id="108" name="AutoShape 34"/>
            <p:cNvSpPr>
              <a:spLocks noChangeArrowheads="1"/>
            </p:cNvSpPr>
            <p:nvPr/>
          </p:nvSpPr>
          <p:spPr bwMode="auto">
            <a:xfrm>
              <a:off x="2197" y="1248"/>
              <a:ext cx="3223" cy="640"/>
            </a:xfrm>
            <a:prstGeom prst="roundRect">
              <a:avLst>
                <a:gd name="adj" fmla="val 16667"/>
              </a:avLst>
            </a:prstGeom>
            <a:gradFill rotWithShape="0">
              <a:gsLst>
                <a:gs pos="0">
                  <a:srgbClr val="FF0000"/>
                </a:gs>
                <a:gs pos="50000">
                  <a:srgbClr val="FFFFFF"/>
                </a:gs>
                <a:gs pos="100000">
                  <a:srgbClr val="FF0000"/>
                </a:gs>
              </a:gsLst>
              <a:lin ang="5400000" scaled="1"/>
            </a:gra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09" name="AutoShape 35"/>
            <p:cNvSpPr>
              <a:spLocks noChangeArrowheads="1"/>
            </p:cNvSpPr>
            <p:nvPr/>
          </p:nvSpPr>
          <p:spPr bwMode="auto">
            <a:xfrm rot="5400000">
              <a:off x="2687" y="1453"/>
              <a:ext cx="480" cy="229"/>
            </a:xfrm>
            <a:prstGeom prst="roundRect">
              <a:avLst>
                <a:gd name="adj" fmla="val 16667"/>
              </a:avLst>
            </a:prstGeom>
            <a:solidFill>
              <a:srgbClr val="FFFFFF"/>
            </a:solidFill>
            <a:ln w="9525">
              <a:solidFill>
                <a:schemeClr val="tx1"/>
              </a:solidFill>
              <a:round/>
              <a:headEnd/>
              <a:tailEnd/>
            </a:ln>
          </p:spPr>
          <p:txBody>
            <a:bodyPr rot="10800000" vert="eaVert" wrap="none" anchor="ctr"/>
            <a:lstStyle/>
            <a:p>
              <a:pPr marL="0" marR="0" lvl="0" indent="0" algn="ctr" defTabSz="914377" rtl="0" eaLnBrk="0" fontAlgn="auto" latinLnBrk="0" hangingPunct="0">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10" name="AutoShape 36"/>
            <p:cNvSpPr>
              <a:spLocks noChangeArrowheads="1"/>
            </p:cNvSpPr>
            <p:nvPr/>
          </p:nvSpPr>
          <p:spPr bwMode="auto">
            <a:xfrm>
              <a:off x="3158" y="1328"/>
              <a:ext cx="459"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11" name="AutoShape 37"/>
            <p:cNvSpPr>
              <a:spLocks noChangeArrowheads="1"/>
            </p:cNvSpPr>
            <p:nvPr/>
          </p:nvSpPr>
          <p:spPr bwMode="auto">
            <a:xfrm>
              <a:off x="3695" y="1328"/>
              <a:ext cx="459"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12" name="AutoShape 38"/>
            <p:cNvSpPr>
              <a:spLocks noChangeArrowheads="1"/>
            </p:cNvSpPr>
            <p:nvPr/>
          </p:nvSpPr>
          <p:spPr bwMode="auto">
            <a:xfrm>
              <a:off x="4232" y="1328"/>
              <a:ext cx="460"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13" name="AutoShape 39"/>
            <p:cNvSpPr>
              <a:spLocks noChangeArrowheads="1"/>
            </p:cNvSpPr>
            <p:nvPr/>
          </p:nvSpPr>
          <p:spPr bwMode="auto">
            <a:xfrm>
              <a:off x="2389" y="1328"/>
              <a:ext cx="346"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14" name="AutoShape 40"/>
            <p:cNvSpPr>
              <a:spLocks noChangeArrowheads="1"/>
            </p:cNvSpPr>
            <p:nvPr/>
          </p:nvSpPr>
          <p:spPr bwMode="auto">
            <a:xfrm>
              <a:off x="4806" y="1328"/>
              <a:ext cx="462"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15" name="Line 43"/>
            <p:cNvSpPr>
              <a:spLocks noChangeShapeType="1"/>
            </p:cNvSpPr>
            <p:nvPr/>
          </p:nvSpPr>
          <p:spPr bwMode="auto">
            <a:xfrm flipH="1">
              <a:off x="2197" y="1536"/>
              <a:ext cx="62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16" name="Line 44"/>
            <p:cNvSpPr>
              <a:spLocks noChangeShapeType="1"/>
            </p:cNvSpPr>
            <p:nvPr/>
          </p:nvSpPr>
          <p:spPr bwMode="auto">
            <a:xfrm>
              <a:off x="3029" y="1536"/>
              <a:ext cx="2391"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17" name="AutoShape 45"/>
            <p:cNvSpPr>
              <a:spLocks noChangeArrowheads="1"/>
            </p:cNvSpPr>
            <p:nvPr/>
          </p:nvSpPr>
          <p:spPr bwMode="auto">
            <a:xfrm>
              <a:off x="2145" y="1584"/>
              <a:ext cx="52" cy="144"/>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18" name="Rectangle 46"/>
            <p:cNvSpPr>
              <a:spLocks noChangeArrowheads="1"/>
            </p:cNvSpPr>
            <p:nvPr/>
          </p:nvSpPr>
          <p:spPr bwMode="auto">
            <a:xfrm>
              <a:off x="2145" y="1776"/>
              <a:ext cx="208" cy="96"/>
            </a:xfrm>
            <a:prstGeom prst="rect">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19" name="Rectangle 47"/>
            <p:cNvSpPr>
              <a:spLocks noChangeArrowheads="1"/>
            </p:cNvSpPr>
            <p:nvPr/>
          </p:nvSpPr>
          <p:spPr bwMode="auto">
            <a:xfrm>
              <a:off x="5264" y="1776"/>
              <a:ext cx="208" cy="96"/>
            </a:xfrm>
            <a:prstGeom prst="rect">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20" name="AutoShape 48"/>
            <p:cNvSpPr>
              <a:spLocks noChangeArrowheads="1"/>
            </p:cNvSpPr>
            <p:nvPr/>
          </p:nvSpPr>
          <p:spPr bwMode="auto">
            <a:xfrm flipH="1">
              <a:off x="3757" y="1632"/>
              <a:ext cx="468" cy="96"/>
            </a:xfrm>
            <a:prstGeom prst="chevron">
              <a:avLst>
                <a:gd name="adj" fmla="val 121875"/>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21" name="AutoShape 49"/>
            <p:cNvSpPr>
              <a:spLocks noChangeArrowheads="1"/>
            </p:cNvSpPr>
            <p:nvPr/>
          </p:nvSpPr>
          <p:spPr bwMode="auto">
            <a:xfrm flipH="1">
              <a:off x="2301" y="1632"/>
              <a:ext cx="468" cy="96"/>
            </a:xfrm>
            <a:prstGeom prst="chevron">
              <a:avLst>
                <a:gd name="adj" fmla="val 121875"/>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grpSp>
      <p:grpSp>
        <p:nvGrpSpPr>
          <p:cNvPr id="122" name="Group 50"/>
          <p:cNvGrpSpPr>
            <a:grpSpLocks/>
          </p:cNvGrpSpPr>
          <p:nvPr/>
        </p:nvGrpSpPr>
        <p:grpSpPr bwMode="auto">
          <a:xfrm>
            <a:off x="4316417" y="2800351"/>
            <a:ext cx="5932487" cy="838200"/>
            <a:chOff x="1905" y="1764"/>
            <a:chExt cx="4047" cy="528"/>
          </a:xfrm>
        </p:grpSpPr>
        <p:grpSp>
          <p:nvGrpSpPr>
            <p:cNvPr id="123" name="Group 51"/>
            <p:cNvGrpSpPr>
              <a:grpSpLocks/>
            </p:cNvGrpSpPr>
            <p:nvPr/>
          </p:nvGrpSpPr>
          <p:grpSpPr bwMode="auto">
            <a:xfrm>
              <a:off x="1905" y="1825"/>
              <a:ext cx="1935" cy="445"/>
              <a:chOff x="2145" y="1248"/>
              <a:chExt cx="3327" cy="640"/>
            </a:xfrm>
          </p:grpSpPr>
          <p:sp>
            <p:nvSpPr>
              <p:cNvPr id="158" name="AutoShape 52"/>
              <p:cNvSpPr>
                <a:spLocks noChangeArrowheads="1"/>
              </p:cNvSpPr>
              <p:nvPr/>
            </p:nvSpPr>
            <p:spPr bwMode="auto">
              <a:xfrm>
                <a:off x="2197" y="1248"/>
                <a:ext cx="3223" cy="640"/>
              </a:xfrm>
              <a:prstGeom prst="roundRect">
                <a:avLst>
                  <a:gd name="adj" fmla="val 16667"/>
                </a:avLst>
              </a:prstGeom>
              <a:gradFill rotWithShape="0">
                <a:gsLst>
                  <a:gs pos="0">
                    <a:srgbClr val="FF0000"/>
                  </a:gs>
                  <a:gs pos="50000">
                    <a:srgbClr val="FFFFFF"/>
                  </a:gs>
                  <a:gs pos="100000">
                    <a:srgbClr val="FF0000"/>
                  </a:gs>
                </a:gsLst>
                <a:lin ang="5400000" scaled="1"/>
              </a:gra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59" name="AutoShape 53"/>
              <p:cNvSpPr>
                <a:spLocks noChangeArrowheads="1"/>
              </p:cNvSpPr>
              <p:nvPr/>
            </p:nvSpPr>
            <p:spPr bwMode="auto">
              <a:xfrm rot="5400000">
                <a:off x="2687" y="1453"/>
                <a:ext cx="480" cy="229"/>
              </a:xfrm>
              <a:prstGeom prst="roundRect">
                <a:avLst>
                  <a:gd name="adj" fmla="val 16667"/>
                </a:avLst>
              </a:prstGeom>
              <a:solidFill>
                <a:srgbClr val="FFFFFF"/>
              </a:solidFill>
              <a:ln w="9525">
                <a:solidFill>
                  <a:schemeClr val="tx1"/>
                </a:solidFill>
                <a:round/>
                <a:headEnd/>
                <a:tailEnd/>
              </a:ln>
            </p:spPr>
            <p:txBody>
              <a:bodyPr rot="10800000" vert="eaVert" wrap="none" anchor="ctr"/>
              <a:lstStyle/>
              <a:p>
                <a:pPr marL="0" marR="0" lvl="0" indent="0" algn="ctr" defTabSz="914377" rtl="0" eaLnBrk="0" fontAlgn="auto" latinLnBrk="0" hangingPunct="0">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60" name="AutoShape 54"/>
              <p:cNvSpPr>
                <a:spLocks noChangeArrowheads="1"/>
              </p:cNvSpPr>
              <p:nvPr/>
            </p:nvSpPr>
            <p:spPr bwMode="auto">
              <a:xfrm>
                <a:off x="3158" y="1328"/>
                <a:ext cx="459"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61" name="AutoShape 55"/>
              <p:cNvSpPr>
                <a:spLocks noChangeArrowheads="1"/>
              </p:cNvSpPr>
              <p:nvPr/>
            </p:nvSpPr>
            <p:spPr bwMode="auto">
              <a:xfrm>
                <a:off x="3695" y="1328"/>
                <a:ext cx="459"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62" name="AutoShape 56"/>
              <p:cNvSpPr>
                <a:spLocks noChangeArrowheads="1"/>
              </p:cNvSpPr>
              <p:nvPr/>
            </p:nvSpPr>
            <p:spPr bwMode="auto">
              <a:xfrm>
                <a:off x="4232" y="1328"/>
                <a:ext cx="460"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63" name="AutoShape 57"/>
              <p:cNvSpPr>
                <a:spLocks noChangeArrowheads="1"/>
              </p:cNvSpPr>
              <p:nvPr/>
            </p:nvSpPr>
            <p:spPr bwMode="auto">
              <a:xfrm>
                <a:off x="2389" y="1328"/>
                <a:ext cx="346"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64" name="AutoShape 58"/>
              <p:cNvSpPr>
                <a:spLocks noChangeArrowheads="1"/>
              </p:cNvSpPr>
              <p:nvPr/>
            </p:nvSpPr>
            <p:spPr bwMode="auto">
              <a:xfrm>
                <a:off x="4806" y="1328"/>
                <a:ext cx="462" cy="16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65" name="Line 61"/>
              <p:cNvSpPr>
                <a:spLocks noChangeShapeType="1"/>
              </p:cNvSpPr>
              <p:nvPr/>
            </p:nvSpPr>
            <p:spPr bwMode="auto">
              <a:xfrm flipH="1">
                <a:off x="2197" y="1536"/>
                <a:ext cx="62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66" name="Line 62"/>
              <p:cNvSpPr>
                <a:spLocks noChangeShapeType="1"/>
              </p:cNvSpPr>
              <p:nvPr/>
            </p:nvSpPr>
            <p:spPr bwMode="auto">
              <a:xfrm>
                <a:off x="3029" y="1536"/>
                <a:ext cx="2391"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67" name="AutoShape 63"/>
              <p:cNvSpPr>
                <a:spLocks noChangeArrowheads="1"/>
              </p:cNvSpPr>
              <p:nvPr/>
            </p:nvSpPr>
            <p:spPr bwMode="auto">
              <a:xfrm>
                <a:off x="2145" y="1584"/>
                <a:ext cx="52" cy="144"/>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68" name="Rectangle 64"/>
              <p:cNvSpPr>
                <a:spLocks noChangeArrowheads="1"/>
              </p:cNvSpPr>
              <p:nvPr/>
            </p:nvSpPr>
            <p:spPr bwMode="auto">
              <a:xfrm>
                <a:off x="2145" y="1776"/>
                <a:ext cx="208" cy="96"/>
              </a:xfrm>
              <a:prstGeom prst="rect">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69" name="Rectangle 65"/>
              <p:cNvSpPr>
                <a:spLocks noChangeArrowheads="1"/>
              </p:cNvSpPr>
              <p:nvPr/>
            </p:nvSpPr>
            <p:spPr bwMode="auto">
              <a:xfrm>
                <a:off x="5264" y="1776"/>
                <a:ext cx="208" cy="96"/>
              </a:xfrm>
              <a:prstGeom prst="rect">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70" name="AutoShape 66"/>
              <p:cNvSpPr>
                <a:spLocks noChangeArrowheads="1"/>
              </p:cNvSpPr>
              <p:nvPr/>
            </p:nvSpPr>
            <p:spPr bwMode="auto">
              <a:xfrm flipH="1">
                <a:off x="3757" y="1632"/>
                <a:ext cx="468" cy="96"/>
              </a:xfrm>
              <a:prstGeom prst="chevron">
                <a:avLst>
                  <a:gd name="adj" fmla="val 121875"/>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71" name="AutoShape 67"/>
              <p:cNvSpPr>
                <a:spLocks noChangeArrowheads="1"/>
              </p:cNvSpPr>
              <p:nvPr/>
            </p:nvSpPr>
            <p:spPr bwMode="auto">
              <a:xfrm flipH="1">
                <a:off x="2301" y="1632"/>
                <a:ext cx="468" cy="96"/>
              </a:xfrm>
              <a:prstGeom prst="chevron">
                <a:avLst>
                  <a:gd name="adj" fmla="val 121875"/>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grpSp>
        <p:sp>
          <p:nvSpPr>
            <p:cNvPr id="124" name="AutoShape 68"/>
            <p:cNvSpPr>
              <a:spLocks noChangeArrowheads="1"/>
            </p:cNvSpPr>
            <p:nvPr/>
          </p:nvSpPr>
          <p:spPr bwMode="auto">
            <a:xfrm>
              <a:off x="4047" y="1824"/>
              <a:ext cx="1875" cy="445"/>
            </a:xfrm>
            <a:prstGeom prst="roundRect">
              <a:avLst>
                <a:gd name="adj" fmla="val 16667"/>
              </a:avLst>
            </a:prstGeom>
            <a:gradFill rotWithShape="0">
              <a:gsLst>
                <a:gs pos="0">
                  <a:srgbClr val="FF0000"/>
                </a:gs>
                <a:gs pos="50000">
                  <a:srgbClr val="FFFFFF"/>
                </a:gs>
                <a:gs pos="100000">
                  <a:srgbClr val="FF0000"/>
                </a:gs>
              </a:gsLst>
              <a:lin ang="5400000" scaled="1"/>
            </a:gra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25" name="AutoShape 69"/>
            <p:cNvSpPr>
              <a:spLocks noChangeArrowheads="1"/>
            </p:cNvSpPr>
            <p:nvPr/>
          </p:nvSpPr>
          <p:spPr bwMode="auto">
            <a:xfrm rot="5400000">
              <a:off x="4305" y="1980"/>
              <a:ext cx="333" cy="133"/>
            </a:xfrm>
            <a:prstGeom prst="roundRect">
              <a:avLst>
                <a:gd name="adj" fmla="val 16667"/>
              </a:avLst>
            </a:prstGeom>
            <a:solidFill>
              <a:srgbClr val="FFFFFF"/>
            </a:solidFill>
            <a:ln w="9525">
              <a:solidFill>
                <a:schemeClr val="tx1"/>
              </a:solidFill>
              <a:round/>
              <a:headEnd/>
              <a:tailEnd/>
            </a:ln>
          </p:spPr>
          <p:txBody>
            <a:bodyPr rot="10800000" vert="eaVert" wrap="none" anchor="ctr"/>
            <a:lstStyle/>
            <a:p>
              <a:pPr marL="0" marR="0" lvl="0" indent="0" algn="ctr" defTabSz="914377" rtl="0" eaLnBrk="0" fontAlgn="auto" latinLnBrk="0" hangingPunct="0">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26" name="AutoShape 70"/>
            <p:cNvSpPr>
              <a:spLocks noChangeArrowheads="1"/>
            </p:cNvSpPr>
            <p:nvPr/>
          </p:nvSpPr>
          <p:spPr bwMode="auto">
            <a:xfrm>
              <a:off x="4606" y="1880"/>
              <a:ext cx="267" cy="111"/>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27" name="AutoShape 71"/>
            <p:cNvSpPr>
              <a:spLocks noChangeArrowheads="1"/>
            </p:cNvSpPr>
            <p:nvPr/>
          </p:nvSpPr>
          <p:spPr bwMode="auto">
            <a:xfrm>
              <a:off x="4918" y="1880"/>
              <a:ext cx="267" cy="111"/>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28" name="AutoShape 72"/>
            <p:cNvSpPr>
              <a:spLocks noChangeArrowheads="1"/>
            </p:cNvSpPr>
            <p:nvPr/>
          </p:nvSpPr>
          <p:spPr bwMode="auto">
            <a:xfrm>
              <a:off x="5231" y="1880"/>
              <a:ext cx="267" cy="111"/>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29" name="AutoShape 73"/>
            <p:cNvSpPr>
              <a:spLocks noChangeArrowheads="1"/>
            </p:cNvSpPr>
            <p:nvPr/>
          </p:nvSpPr>
          <p:spPr bwMode="auto">
            <a:xfrm>
              <a:off x="4159" y="1880"/>
              <a:ext cx="201" cy="111"/>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30" name="AutoShape 74"/>
            <p:cNvSpPr>
              <a:spLocks noChangeArrowheads="1"/>
            </p:cNvSpPr>
            <p:nvPr/>
          </p:nvSpPr>
          <p:spPr bwMode="auto">
            <a:xfrm>
              <a:off x="5565" y="1880"/>
              <a:ext cx="268" cy="111"/>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31" name="Line 76"/>
            <p:cNvSpPr>
              <a:spLocks noChangeShapeType="1"/>
            </p:cNvSpPr>
            <p:nvPr/>
          </p:nvSpPr>
          <p:spPr bwMode="auto">
            <a:xfrm flipH="1">
              <a:off x="4047" y="2024"/>
              <a:ext cx="3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32" name="Line 77"/>
            <p:cNvSpPr>
              <a:spLocks noChangeShapeType="1"/>
            </p:cNvSpPr>
            <p:nvPr/>
          </p:nvSpPr>
          <p:spPr bwMode="auto">
            <a:xfrm>
              <a:off x="4531" y="2024"/>
              <a:ext cx="1391"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33" name="Rectangle 78"/>
            <p:cNvSpPr>
              <a:spLocks noChangeArrowheads="1"/>
            </p:cNvSpPr>
            <p:nvPr/>
          </p:nvSpPr>
          <p:spPr bwMode="auto">
            <a:xfrm>
              <a:off x="5831" y="2191"/>
              <a:ext cx="121" cy="67"/>
            </a:xfrm>
            <a:prstGeom prst="rect">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34" name="AutoShape 79"/>
            <p:cNvSpPr>
              <a:spLocks noChangeArrowheads="1"/>
            </p:cNvSpPr>
            <p:nvPr/>
          </p:nvSpPr>
          <p:spPr bwMode="auto">
            <a:xfrm flipH="1">
              <a:off x="4955" y="2091"/>
              <a:ext cx="272" cy="66"/>
            </a:xfrm>
            <a:prstGeom prst="chevron">
              <a:avLst>
                <a:gd name="adj" fmla="val 103030"/>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35" name="AutoShape 80"/>
            <p:cNvSpPr>
              <a:spLocks noChangeArrowheads="1"/>
            </p:cNvSpPr>
            <p:nvPr/>
          </p:nvSpPr>
          <p:spPr bwMode="auto">
            <a:xfrm flipH="1">
              <a:off x="4108" y="2091"/>
              <a:ext cx="272" cy="66"/>
            </a:xfrm>
            <a:prstGeom prst="chevron">
              <a:avLst>
                <a:gd name="adj" fmla="val 103030"/>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grpSp>
          <p:nvGrpSpPr>
            <p:cNvPr id="136" name="Group 81"/>
            <p:cNvGrpSpPr>
              <a:grpSpLocks/>
            </p:cNvGrpSpPr>
            <p:nvPr/>
          </p:nvGrpSpPr>
          <p:grpSpPr bwMode="auto">
            <a:xfrm>
              <a:off x="3756" y="1764"/>
              <a:ext cx="372" cy="528"/>
              <a:chOff x="744" y="1776"/>
              <a:chExt cx="372" cy="528"/>
            </a:xfrm>
          </p:grpSpPr>
          <p:grpSp>
            <p:nvGrpSpPr>
              <p:cNvPr id="137" name="Group 82"/>
              <p:cNvGrpSpPr>
                <a:grpSpLocks/>
              </p:cNvGrpSpPr>
              <p:nvPr/>
            </p:nvGrpSpPr>
            <p:grpSpPr bwMode="auto">
              <a:xfrm>
                <a:off x="744" y="1776"/>
                <a:ext cx="156" cy="528"/>
                <a:chOff x="816" y="1776"/>
                <a:chExt cx="394" cy="528"/>
              </a:xfrm>
            </p:grpSpPr>
            <p:sp>
              <p:nvSpPr>
                <p:cNvPr id="152" name="AutoShape 83"/>
                <p:cNvSpPr>
                  <a:spLocks noChangeArrowheads="1"/>
                </p:cNvSpPr>
                <p:nvPr/>
              </p:nvSpPr>
              <p:spPr bwMode="auto">
                <a:xfrm>
                  <a:off x="1089" y="2057"/>
                  <a:ext cx="30" cy="10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53" name="Rectangle 84"/>
                <p:cNvSpPr>
                  <a:spLocks noChangeArrowheads="1"/>
                </p:cNvSpPr>
                <p:nvPr/>
              </p:nvSpPr>
              <p:spPr bwMode="auto">
                <a:xfrm>
                  <a:off x="1089" y="2191"/>
                  <a:ext cx="121" cy="67"/>
                </a:xfrm>
                <a:prstGeom prst="rect">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54" name="AutoShape 85"/>
                <p:cNvSpPr>
                  <a:spLocks noChangeArrowheads="1"/>
                </p:cNvSpPr>
                <p:nvPr/>
              </p:nvSpPr>
              <p:spPr bwMode="auto">
                <a:xfrm rot="-5400000">
                  <a:off x="600" y="1992"/>
                  <a:ext cx="528" cy="96"/>
                </a:xfrm>
                <a:prstGeom prst="hexagon">
                  <a:avLst>
                    <a:gd name="adj" fmla="val 137500"/>
                    <a:gd name="vf" fmla="val 115470"/>
                  </a:avLst>
                </a:prstGeom>
                <a:solidFill>
                  <a:srgbClr val="00FF00"/>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55" name="AutoShape 86"/>
                <p:cNvSpPr>
                  <a:spLocks noChangeArrowheads="1"/>
                </p:cNvSpPr>
                <p:nvPr/>
              </p:nvSpPr>
              <p:spPr bwMode="auto">
                <a:xfrm rot="-5400000">
                  <a:off x="696" y="1992"/>
                  <a:ext cx="528" cy="96"/>
                </a:xfrm>
                <a:prstGeom prst="hexagon">
                  <a:avLst>
                    <a:gd name="adj" fmla="val 137500"/>
                    <a:gd name="vf" fmla="val 115470"/>
                  </a:avLst>
                </a:prstGeom>
                <a:solidFill>
                  <a:srgbClr val="00FF00"/>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56" name="AutoShape 87"/>
                <p:cNvSpPr>
                  <a:spLocks noChangeArrowheads="1"/>
                </p:cNvSpPr>
                <p:nvPr/>
              </p:nvSpPr>
              <p:spPr bwMode="auto">
                <a:xfrm rot="-5400000">
                  <a:off x="792" y="1992"/>
                  <a:ext cx="528" cy="96"/>
                </a:xfrm>
                <a:prstGeom prst="hexagon">
                  <a:avLst>
                    <a:gd name="adj" fmla="val 137500"/>
                    <a:gd name="vf" fmla="val 115470"/>
                  </a:avLst>
                </a:prstGeom>
                <a:solidFill>
                  <a:srgbClr val="00FF00"/>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57" name="AutoShape 88"/>
                <p:cNvSpPr>
                  <a:spLocks noChangeArrowheads="1"/>
                </p:cNvSpPr>
                <p:nvPr/>
              </p:nvSpPr>
              <p:spPr bwMode="auto">
                <a:xfrm rot="-5400000">
                  <a:off x="888" y="1992"/>
                  <a:ext cx="528" cy="96"/>
                </a:xfrm>
                <a:prstGeom prst="hexagon">
                  <a:avLst>
                    <a:gd name="adj" fmla="val 137500"/>
                    <a:gd name="vf" fmla="val 115470"/>
                  </a:avLst>
                </a:prstGeom>
                <a:solidFill>
                  <a:srgbClr val="00FF00"/>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grpSp>
          <p:grpSp>
            <p:nvGrpSpPr>
              <p:cNvPr id="138" name="Group 89"/>
              <p:cNvGrpSpPr>
                <a:grpSpLocks/>
              </p:cNvGrpSpPr>
              <p:nvPr/>
            </p:nvGrpSpPr>
            <p:grpSpPr bwMode="auto">
              <a:xfrm>
                <a:off x="888" y="1776"/>
                <a:ext cx="156" cy="528"/>
                <a:chOff x="816" y="1776"/>
                <a:chExt cx="394" cy="528"/>
              </a:xfrm>
            </p:grpSpPr>
            <p:sp>
              <p:nvSpPr>
                <p:cNvPr id="146" name="AutoShape 90"/>
                <p:cNvSpPr>
                  <a:spLocks noChangeArrowheads="1"/>
                </p:cNvSpPr>
                <p:nvPr/>
              </p:nvSpPr>
              <p:spPr bwMode="auto">
                <a:xfrm>
                  <a:off x="1089" y="2057"/>
                  <a:ext cx="30" cy="10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47" name="Rectangle 91"/>
                <p:cNvSpPr>
                  <a:spLocks noChangeArrowheads="1"/>
                </p:cNvSpPr>
                <p:nvPr/>
              </p:nvSpPr>
              <p:spPr bwMode="auto">
                <a:xfrm>
                  <a:off x="1089" y="2191"/>
                  <a:ext cx="121" cy="67"/>
                </a:xfrm>
                <a:prstGeom prst="rect">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48" name="AutoShape 92"/>
                <p:cNvSpPr>
                  <a:spLocks noChangeArrowheads="1"/>
                </p:cNvSpPr>
                <p:nvPr/>
              </p:nvSpPr>
              <p:spPr bwMode="auto">
                <a:xfrm rot="-5400000">
                  <a:off x="600" y="1992"/>
                  <a:ext cx="528" cy="96"/>
                </a:xfrm>
                <a:prstGeom prst="hexagon">
                  <a:avLst>
                    <a:gd name="adj" fmla="val 137500"/>
                    <a:gd name="vf" fmla="val 115470"/>
                  </a:avLst>
                </a:prstGeom>
                <a:solidFill>
                  <a:srgbClr val="00FF00"/>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49" name="AutoShape 93"/>
                <p:cNvSpPr>
                  <a:spLocks noChangeArrowheads="1"/>
                </p:cNvSpPr>
                <p:nvPr/>
              </p:nvSpPr>
              <p:spPr bwMode="auto">
                <a:xfrm rot="-5400000">
                  <a:off x="696" y="1992"/>
                  <a:ext cx="528" cy="96"/>
                </a:xfrm>
                <a:prstGeom prst="hexagon">
                  <a:avLst>
                    <a:gd name="adj" fmla="val 137500"/>
                    <a:gd name="vf" fmla="val 115470"/>
                  </a:avLst>
                </a:prstGeom>
                <a:solidFill>
                  <a:srgbClr val="00FF00"/>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50" name="AutoShape 94"/>
                <p:cNvSpPr>
                  <a:spLocks noChangeArrowheads="1"/>
                </p:cNvSpPr>
                <p:nvPr/>
              </p:nvSpPr>
              <p:spPr bwMode="auto">
                <a:xfrm rot="-5400000">
                  <a:off x="792" y="1992"/>
                  <a:ext cx="528" cy="96"/>
                </a:xfrm>
                <a:prstGeom prst="hexagon">
                  <a:avLst>
                    <a:gd name="adj" fmla="val 137500"/>
                    <a:gd name="vf" fmla="val 115470"/>
                  </a:avLst>
                </a:prstGeom>
                <a:solidFill>
                  <a:srgbClr val="00FF00"/>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51" name="AutoShape 95"/>
                <p:cNvSpPr>
                  <a:spLocks noChangeArrowheads="1"/>
                </p:cNvSpPr>
                <p:nvPr/>
              </p:nvSpPr>
              <p:spPr bwMode="auto">
                <a:xfrm rot="-5400000">
                  <a:off x="888" y="1992"/>
                  <a:ext cx="528" cy="96"/>
                </a:xfrm>
                <a:prstGeom prst="hexagon">
                  <a:avLst>
                    <a:gd name="adj" fmla="val 137500"/>
                    <a:gd name="vf" fmla="val 115470"/>
                  </a:avLst>
                </a:prstGeom>
                <a:solidFill>
                  <a:srgbClr val="00FF00"/>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grpSp>
          <p:grpSp>
            <p:nvGrpSpPr>
              <p:cNvPr id="139" name="Group 96"/>
              <p:cNvGrpSpPr>
                <a:grpSpLocks/>
              </p:cNvGrpSpPr>
              <p:nvPr/>
            </p:nvGrpSpPr>
            <p:grpSpPr bwMode="auto">
              <a:xfrm>
                <a:off x="960" y="1776"/>
                <a:ext cx="156" cy="528"/>
                <a:chOff x="816" y="1776"/>
                <a:chExt cx="394" cy="528"/>
              </a:xfrm>
            </p:grpSpPr>
            <p:sp>
              <p:nvSpPr>
                <p:cNvPr id="140" name="AutoShape 97"/>
                <p:cNvSpPr>
                  <a:spLocks noChangeArrowheads="1"/>
                </p:cNvSpPr>
                <p:nvPr/>
              </p:nvSpPr>
              <p:spPr bwMode="auto">
                <a:xfrm>
                  <a:off x="1089" y="2057"/>
                  <a:ext cx="30" cy="10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41" name="Rectangle 98"/>
                <p:cNvSpPr>
                  <a:spLocks noChangeArrowheads="1"/>
                </p:cNvSpPr>
                <p:nvPr/>
              </p:nvSpPr>
              <p:spPr bwMode="auto">
                <a:xfrm>
                  <a:off x="1089" y="2191"/>
                  <a:ext cx="121" cy="67"/>
                </a:xfrm>
                <a:prstGeom prst="rect">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42" name="AutoShape 99"/>
                <p:cNvSpPr>
                  <a:spLocks noChangeArrowheads="1"/>
                </p:cNvSpPr>
                <p:nvPr/>
              </p:nvSpPr>
              <p:spPr bwMode="auto">
                <a:xfrm rot="-5400000">
                  <a:off x="600" y="1992"/>
                  <a:ext cx="528" cy="96"/>
                </a:xfrm>
                <a:prstGeom prst="hexagon">
                  <a:avLst>
                    <a:gd name="adj" fmla="val 137500"/>
                    <a:gd name="vf" fmla="val 115470"/>
                  </a:avLst>
                </a:prstGeom>
                <a:solidFill>
                  <a:srgbClr val="00FF00"/>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43" name="AutoShape 100"/>
                <p:cNvSpPr>
                  <a:spLocks noChangeArrowheads="1"/>
                </p:cNvSpPr>
                <p:nvPr/>
              </p:nvSpPr>
              <p:spPr bwMode="auto">
                <a:xfrm rot="-5400000">
                  <a:off x="696" y="1992"/>
                  <a:ext cx="528" cy="96"/>
                </a:xfrm>
                <a:prstGeom prst="hexagon">
                  <a:avLst>
                    <a:gd name="adj" fmla="val 137500"/>
                    <a:gd name="vf" fmla="val 115470"/>
                  </a:avLst>
                </a:prstGeom>
                <a:solidFill>
                  <a:srgbClr val="00FF00"/>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44" name="AutoShape 101"/>
                <p:cNvSpPr>
                  <a:spLocks noChangeArrowheads="1"/>
                </p:cNvSpPr>
                <p:nvPr/>
              </p:nvSpPr>
              <p:spPr bwMode="auto">
                <a:xfrm rot="-5400000">
                  <a:off x="792" y="1992"/>
                  <a:ext cx="528" cy="96"/>
                </a:xfrm>
                <a:prstGeom prst="hexagon">
                  <a:avLst>
                    <a:gd name="adj" fmla="val 137500"/>
                    <a:gd name="vf" fmla="val 115470"/>
                  </a:avLst>
                </a:prstGeom>
                <a:solidFill>
                  <a:srgbClr val="00FF00"/>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45" name="AutoShape 102"/>
                <p:cNvSpPr>
                  <a:spLocks noChangeArrowheads="1"/>
                </p:cNvSpPr>
                <p:nvPr/>
              </p:nvSpPr>
              <p:spPr bwMode="auto">
                <a:xfrm rot="-5400000">
                  <a:off x="888" y="1992"/>
                  <a:ext cx="528" cy="96"/>
                </a:xfrm>
                <a:prstGeom prst="hexagon">
                  <a:avLst>
                    <a:gd name="adj" fmla="val 137500"/>
                    <a:gd name="vf" fmla="val 115470"/>
                  </a:avLst>
                </a:prstGeom>
                <a:solidFill>
                  <a:srgbClr val="00FF00"/>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grpSp>
        </p:grpSp>
      </p:grpSp>
      <p:sp>
        <p:nvSpPr>
          <p:cNvPr id="172" name="Text Box 103"/>
          <p:cNvSpPr txBox="1">
            <a:spLocks noChangeArrowheads="1"/>
          </p:cNvSpPr>
          <p:nvPr/>
        </p:nvSpPr>
        <p:spPr bwMode="auto">
          <a:xfrm>
            <a:off x="1926231" y="2848596"/>
            <a:ext cx="164019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SINGLE DECK</a:t>
            </a:r>
          </a:p>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VESTIBULE</a:t>
            </a:r>
          </a:p>
        </p:txBody>
      </p:sp>
      <p:sp>
        <p:nvSpPr>
          <p:cNvPr id="173" name="Oval 28"/>
          <p:cNvSpPr>
            <a:spLocks noChangeArrowheads="1"/>
          </p:cNvSpPr>
          <p:nvPr/>
        </p:nvSpPr>
        <p:spPr bwMode="auto">
          <a:xfrm>
            <a:off x="6662743" y="3505202"/>
            <a:ext cx="193675" cy="198439"/>
          </a:xfrm>
          <a:prstGeom prst="ellipse">
            <a:avLst/>
          </a:prstGeom>
          <a:solidFill>
            <a:schemeClr val="tx1"/>
          </a:solidFill>
          <a:ln w="28575">
            <a:solidFill>
              <a:schemeClr val="bg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74" name="Oval 28"/>
          <p:cNvSpPr>
            <a:spLocks noChangeArrowheads="1"/>
          </p:cNvSpPr>
          <p:nvPr/>
        </p:nvSpPr>
        <p:spPr bwMode="auto">
          <a:xfrm>
            <a:off x="9728204" y="3505201"/>
            <a:ext cx="193675" cy="196851"/>
          </a:xfrm>
          <a:prstGeom prst="ellipse">
            <a:avLst/>
          </a:prstGeom>
          <a:solidFill>
            <a:schemeClr val="tx1"/>
          </a:solidFill>
          <a:ln w="28575">
            <a:solidFill>
              <a:schemeClr val="bg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75" name="Oval 28"/>
          <p:cNvSpPr>
            <a:spLocks noChangeArrowheads="1"/>
          </p:cNvSpPr>
          <p:nvPr/>
        </p:nvSpPr>
        <p:spPr bwMode="auto">
          <a:xfrm>
            <a:off x="4618043" y="3486149"/>
            <a:ext cx="193675" cy="196851"/>
          </a:xfrm>
          <a:prstGeom prst="ellipse">
            <a:avLst/>
          </a:prstGeom>
          <a:solidFill>
            <a:schemeClr val="tx1"/>
          </a:solidFill>
          <a:ln w="28575">
            <a:solidFill>
              <a:schemeClr val="bg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76" name="Oval 28"/>
          <p:cNvSpPr>
            <a:spLocks noChangeArrowheads="1"/>
          </p:cNvSpPr>
          <p:nvPr/>
        </p:nvSpPr>
        <p:spPr bwMode="auto">
          <a:xfrm>
            <a:off x="4456115" y="1746249"/>
            <a:ext cx="192087" cy="196851"/>
          </a:xfrm>
          <a:prstGeom prst="ellipse">
            <a:avLst/>
          </a:prstGeom>
          <a:solidFill>
            <a:schemeClr val="tx1"/>
          </a:solidFill>
          <a:ln w="28575">
            <a:solidFill>
              <a:schemeClr val="bg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77" name="Oval 28"/>
          <p:cNvSpPr>
            <a:spLocks noChangeArrowheads="1"/>
          </p:cNvSpPr>
          <p:nvPr/>
        </p:nvSpPr>
        <p:spPr bwMode="auto">
          <a:xfrm>
            <a:off x="6521455" y="1762125"/>
            <a:ext cx="193675" cy="196851"/>
          </a:xfrm>
          <a:prstGeom prst="ellipse">
            <a:avLst/>
          </a:prstGeom>
          <a:solidFill>
            <a:schemeClr val="tx1"/>
          </a:solidFill>
          <a:ln w="28575">
            <a:solidFill>
              <a:schemeClr val="bg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78" name="Oval 28"/>
          <p:cNvSpPr>
            <a:spLocks noChangeArrowheads="1"/>
          </p:cNvSpPr>
          <p:nvPr/>
        </p:nvSpPr>
        <p:spPr bwMode="auto">
          <a:xfrm>
            <a:off x="6951665" y="6157916"/>
            <a:ext cx="193675" cy="198437"/>
          </a:xfrm>
          <a:prstGeom prst="ellipse">
            <a:avLst/>
          </a:prstGeom>
          <a:solidFill>
            <a:schemeClr val="tx1"/>
          </a:solidFill>
          <a:ln w="28575">
            <a:solidFill>
              <a:schemeClr val="bg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79" name="Oval 28"/>
          <p:cNvSpPr>
            <a:spLocks noChangeArrowheads="1"/>
          </p:cNvSpPr>
          <p:nvPr/>
        </p:nvSpPr>
        <p:spPr bwMode="auto">
          <a:xfrm>
            <a:off x="4683129" y="6154743"/>
            <a:ext cx="193675" cy="198437"/>
          </a:xfrm>
          <a:prstGeom prst="ellipse">
            <a:avLst/>
          </a:prstGeom>
          <a:solidFill>
            <a:schemeClr val="tx1"/>
          </a:solidFill>
          <a:ln w="28575">
            <a:solidFill>
              <a:schemeClr val="bg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Tree>
    <p:extLst>
      <p:ext uri="{BB962C8B-B14F-4D97-AF65-F5344CB8AC3E}">
        <p14:creationId xmlns:p14="http://schemas.microsoft.com/office/powerpoint/2010/main" val="22050472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2" y="-5"/>
            <a:ext cx="9895667"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121467" y="47247"/>
            <a:ext cx="10464800"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COACH CLASSIFICATION BY DOOR/ENTRY</a:t>
            </a:r>
          </a:p>
        </p:txBody>
      </p:sp>
      <p:sp>
        <p:nvSpPr>
          <p:cNvPr id="180" name="TextBox 179"/>
          <p:cNvSpPr txBox="1"/>
          <p:nvPr/>
        </p:nvSpPr>
        <p:spPr>
          <a:xfrm>
            <a:off x="2946401" y="1188942"/>
            <a:ext cx="1662023" cy="58477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FOH – WB</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Door</a:t>
            </a:r>
          </a:p>
        </p:txBody>
      </p:sp>
      <p:sp>
        <p:nvSpPr>
          <p:cNvPr id="181" name="TextBox 180"/>
          <p:cNvSpPr txBox="1"/>
          <p:nvPr/>
        </p:nvSpPr>
        <p:spPr>
          <a:xfrm>
            <a:off x="2944127" y="2435438"/>
            <a:ext cx="1662023" cy="58477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FOH – ROH</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Door</a:t>
            </a:r>
          </a:p>
        </p:txBody>
      </p:sp>
      <p:sp>
        <p:nvSpPr>
          <p:cNvPr id="182" name="TextBox 181"/>
          <p:cNvSpPr txBox="1"/>
          <p:nvPr/>
        </p:nvSpPr>
        <p:spPr>
          <a:xfrm>
            <a:off x="2938439" y="3730838"/>
            <a:ext cx="1662023" cy="58477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WB – ROH</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Door</a:t>
            </a:r>
          </a:p>
        </p:txBody>
      </p:sp>
      <p:sp>
        <p:nvSpPr>
          <p:cNvPr id="183" name="TextBox 182"/>
          <p:cNvSpPr txBox="1"/>
          <p:nvPr/>
        </p:nvSpPr>
        <p:spPr>
          <a:xfrm>
            <a:off x="2938438" y="5048176"/>
            <a:ext cx="1662023" cy="83099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BRTS – Bus Rapid Transit System</a:t>
            </a:r>
          </a:p>
        </p:txBody>
      </p:sp>
      <p:pic>
        <p:nvPicPr>
          <p:cNvPr id="184" name="Picture 2" descr="C:\Users\mohanapriya.g.ASHOKLEYLAND\Desktop\Untitled.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651" t="11482" r="4197" b="16986"/>
          <a:stretch/>
        </p:blipFill>
        <p:spPr bwMode="auto">
          <a:xfrm>
            <a:off x="4782558" y="4987545"/>
            <a:ext cx="4609348" cy="819275"/>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b="84085"/>
          <a:stretch/>
        </p:blipFill>
        <p:spPr bwMode="auto">
          <a:xfrm rot="10800000">
            <a:off x="4783091" y="1184785"/>
            <a:ext cx="4606331" cy="824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6"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t="26387" r="4037" b="57061"/>
          <a:stretch/>
        </p:blipFill>
        <p:spPr bwMode="auto">
          <a:xfrm rot="10800000">
            <a:off x="4783083" y="2366739"/>
            <a:ext cx="4606336" cy="857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7"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t="51924" r="6089" b="30359"/>
          <a:stretch/>
        </p:blipFill>
        <p:spPr bwMode="auto">
          <a:xfrm rot="10800000">
            <a:off x="4783085" y="3632199"/>
            <a:ext cx="4606332" cy="917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567950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3563788-5CAC-4721-B2C3-BAC19F07A127}"/>
              </a:ext>
            </a:extLst>
          </p:cNvPr>
          <p:cNvGrpSpPr/>
          <p:nvPr/>
        </p:nvGrpSpPr>
        <p:grpSpPr>
          <a:xfrm>
            <a:off x="3607876" y="1242150"/>
            <a:ext cx="4976249" cy="4743020"/>
            <a:chOff x="5925999" y="1981199"/>
            <a:chExt cx="8531681" cy="8131812"/>
          </a:xfrm>
        </p:grpSpPr>
        <p:sp>
          <p:nvSpPr>
            <p:cNvPr id="5" name="Figure">
              <a:extLst>
                <a:ext uri="{FF2B5EF4-FFF2-40B4-BE49-F238E27FC236}">
                  <a16:creationId xmlns:a16="http://schemas.microsoft.com/office/drawing/2014/main" id="{F966BAE9-FDB3-44B3-A24A-C5A8E322D491}"/>
                </a:ext>
              </a:extLst>
            </p:cNvPr>
            <p:cNvSpPr/>
            <p:nvPr/>
          </p:nvSpPr>
          <p:spPr>
            <a:xfrm>
              <a:off x="10339613" y="1981201"/>
              <a:ext cx="1382759" cy="212217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lnTo>
                    <a:pt x="10800" y="0"/>
                  </a:lnTo>
                  <a:close/>
                </a:path>
              </a:pathLst>
            </a:custGeom>
            <a:gradFill flip="none" rotWithShape="1">
              <a:gsLst>
                <a:gs pos="50000">
                  <a:srgbClr val="A2B969"/>
                </a:gs>
                <a:gs pos="79000">
                  <a:srgbClr val="A2B969">
                    <a:lumMod val="50000"/>
                  </a:srgbClr>
                </a:gs>
                <a:gs pos="100000">
                  <a:srgbClr val="A2B969">
                    <a:lumMod val="50000"/>
                  </a:srgbClr>
                </a:gs>
              </a:gsLst>
              <a:lin ang="10800000" scaled="0"/>
              <a:tileRect/>
            </a:gra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sz="3000" b="0" i="0" u="none" strike="noStrike" kern="0" cap="none" spc="0" normalizeH="0" baseline="0" noProof="0">
                <a:ln>
                  <a:noFill/>
                </a:ln>
                <a:effectLst>
                  <a:outerShdw blurRad="38100" dist="12700" dir="5400000" rotWithShape="0">
                    <a:srgbClr val="000000">
                      <a:alpha val="50000"/>
                    </a:srgbClr>
                  </a:outerShdw>
                </a:effectLst>
                <a:uLnTx/>
                <a:uFillTx/>
              </a:endParaRPr>
            </a:p>
          </p:txBody>
        </p:sp>
        <p:sp>
          <p:nvSpPr>
            <p:cNvPr id="6" name="Triangle">
              <a:extLst>
                <a:ext uri="{FF2B5EF4-FFF2-40B4-BE49-F238E27FC236}">
                  <a16:creationId xmlns:a16="http://schemas.microsoft.com/office/drawing/2014/main" id="{87EE7BD5-D1D1-47B8-A6ED-F7EF3B2BC874}"/>
                </a:ext>
              </a:extLst>
            </p:cNvPr>
            <p:cNvSpPr/>
            <p:nvPr/>
          </p:nvSpPr>
          <p:spPr>
            <a:xfrm>
              <a:off x="10188662" y="7986706"/>
              <a:ext cx="1807942" cy="2125034"/>
            </a:xfrm>
            <a:custGeom>
              <a:avLst/>
              <a:gdLst/>
              <a:ahLst/>
              <a:cxnLst>
                <a:cxn ang="0">
                  <a:pos x="wd2" y="hd2"/>
                </a:cxn>
                <a:cxn ang="5400000">
                  <a:pos x="wd2" y="hd2"/>
                </a:cxn>
                <a:cxn ang="10800000">
                  <a:pos x="wd2" y="hd2"/>
                </a:cxn>
                <a:cxn ang="16200000">
                  <a:pos x="wd2" y="hd2"/>
                </a:cxn>
              </a:cxnLst>
              <a:rect l="0" t="0" r="r" b="b"/>
              <a:pathLst>
                <a:path w="21600" h="21600" extrusionOk="0">
                  <a:moveTo>
                    <a:pt x="13351" y="0"/>
                  </a:moveTo>
                  <a:lnTo>
                    <a:pt x="0" y="8253"/>
                  </a:lnTo>
                  <a:lnTo>
                    <a:pt x="21600" y="21600"/>
                  </a:lnTo>
                  <a:close/>
                </a:path>
              </a:pathLst>
            </a:custGeom>
            <a:gradFill flip="none" rotWithShape="1">
              <a:gsLst>
                <a:gs pos="54000">
                  <a:srgbClr val="FFCC4C"/>
                </a:gs>
                <a:gs pos="70000">
                  <a:srgbClr val="FFCC4C">
                    <a:lumMod val="50000"/>
                  </a:srgbClr>
                </a:gs>
                <a:gs pos="100000">
                  <a:srgbClr val="FFCC4C">
                    <a:lumMod val="50000"/>
                  </a:srgbClr>
                </a:gs>
              </a:gsLst>
              <a:lin ang="13800000" scaled="0"/>
              <a:tileRect/>
            </a:gra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sz="3000" b="0" i="0" u="none" strike="noStrike" kern="0" cap="none" spc="0" normalizeH="0" baseline="0" noProof="0">
                <a:ln>
                  <a:noFill/>
                </a:ln>
                <a:effectLst>
                  <a:outerShdw blurRad="38100" dist="12700" dir="5400000" rotWithShape="0">
                    <a:srgbClr val="000000">
                      <a:alpha val="50000"/>
                    </a:srgbClr>
                  </a:outerShdw>
                </a:effectLst>
                <a:uLnTx/>
                <a:uFillTx/>
              </a:endParaRPr>
            </a:p>
          </p:txBody>
        </p:sp>
        <p:sp>
          <p:nvSpPr>
            <p:cNvPr id="7" name="Figure">
              <a:extLst>
                <a:ext uri="{FF2B5EF4-FFF2-40B4-BE49-F238E27FC236}">
                  <a16:creationId xmlns:a16="http://schemas.microsoft.com/office/drawing/2014/main" id="{CE5FF59A-71B7-4B9B-9A9B-49170A3BB2DB}"/>
                </a:ext>
              </a:extLst>
            </p:cNvPr>
            <p:cNvSpPr/>
            <p:nvPr/>
          </p:nvSpPr>
          <p:spPr>
            <a:xfrm>
              <a:off x="7025999" y="7004956"/>
              <a:ext cx="1807942" cy="2109470"/>
            </a:xfrm>
            <a:custGeom>
              <a:avLst/>
              <a:gdLst/>
              <a:ahLst/>
              <a:cxnLst>
                <a:cxn ang="0">
                  <a:pos x="wd2" y="hd2"/>
                </a:cxn>
                <a:cxn ang="5400000">
                  <a:pos x="wd2" y="hd2"/>
                </a:cxn>
                <a:cxn ang="10800000">
                  <a:pos x="wd2" y="hd2"/>
                </a:cxn>
                <a:cxn ang="16200000">
                  <a:pos x="wd2" y="hd2"/>
                </a:cxn>
              </a:cxnLst>
              <a:rect l="0" t="0" r="r" b="b"/>
              <a:pathLst>
                <a:path w="21600" h="21600" extrusionOk="0">
                  <a:moveTo>
                    <a:pt x="21600" y="8245"/>
                  </a:moveTo>
                  <a:lnTo>
                    <a:pt x="8239" y="0"/>
                  </a:lnTo>
                  <a:lnTo>
                    <a:pt x="0" y="21600"/>
                  </a:lnTo>
                  <a:lnTo>
                    <a:pt x="0" y="21600"/>
                  </a:lnTo>
                  <a:close/>
                </a:path>
              </a:pathLst>
            </a:custGeom>
            <a:gradFill flip="none" rotWithShape="1">
              <a:gsLst>
                <a:gs pos="49000">
                  <a:srgbClr val="F7931F"/>
                </a:gs>
                <a:gs pos="62000">
                  <a:srgbClr val="F7931F">
                    <a:lumMod val="50000"/>
                  </a:srgbClr>
                </a:gs>
                <a:gs pos="100000">
                  <a:srgbClr val="F7931F">
                    <a:lumMod val="50000"/>
                  </a:srgbClr>
                </a:gs>
              </a:gsLst>
              <a:lin ang="2400000" scaled="0"/>
              <a:tileRect/>
            </a:gra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effectLst>
                  <a:outerShdw blurRad="38100" dist="12700" dir="5400000" rotWithShape="0">
                    <a:srgbClr val="000000">
                      <a:alpha val="50000"/>
                    </a:srgbClr>
                  </a:outerShdw>
                </a:effectLst>
                <a:uLnTx/>
                <a:uFillTx/>
              </a:endParaRPr>
            </a:p>
          </p:txBody>
        </p:sp>
        <p:sp>
          <p:nvSpPr>
            <p:cNvPr id="8" name="Triangle">
              <a:extLst>
                <a:ext uri="{FF2B5EF4-FFF2-40B4-BE49-F238E27FC236}">
                  <a16:creationId xmlns:a16="http://schemas.microsoft.com/office/drawing/2014/main" id="{3189613D-F8A4-4C04-B210-2C87E1C42395}"/>
                </a:ext>
              </a:extLst>
            </p:cNvPr>
            <p:cNvSpPr/>
            <p:nvPr/>
          </p:nvSpPr>
          <p:spPr>
            <a:xfrm>
              <a:off x="12258038" y="5715000"/>
              <a:ext cx="2197099" cy="129159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120" y="21600"/>
                  </a:lnTo>
                  <a:lnTo>
                    <a:pt x="21600" y="0"/>
                  </a:lnTo>
                  <a:close/>
                </a:path>
              </a:pathLst>
            </a:custGeom>
            <a:gradFill flip="none" rotWithShape="1">
              <a:gsLst>
                <a:gs pos="61000">
                  <a:srgbClr val="3A5C84"/>
                </a:gs>
                <a:gs pos="79000">
                  <a:srgbClr val="3A5C84">
                    <a:lumMod val="50000"/>
                  </a:srgbClr>
                </a:gs>
                <a:gs pos="100000">
                  <a:srgbClr val="3A5C84">
                    <a:lumMod val="50000"/>
                  </a:srgbClr>
                </a:gs>
              </a:gsLst>
              <a:lin ang="9600000" scaled="0"/>
              <a:tileRect/>
            </a:gra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sz="3000" b="0" i="0" u="none" strike="noStrike" kern="0" cap="none" spc="0" normalizeH="0" baseline="0" noProof="0">
                <a:ln>
                  <a:noFill/>
                </a:ln>
                <a:effectLst>
                  <a:outerShdw blurRad="38100" dist="12700" dir="5400000" rotWithShape="0">
                    <a:srgbClr val="000000">
                      <a:alpha val="50000"/>
                    </a:srgbClr>
                  </a:outerShdw>
                </a:effectLst>
                <a:uLnTx/>
                <a:uFillTx/>
              </a:endParaRPr>
            </a:p>
          </p:txBody>
        </p:sp>
        <p:sp>
          <p:nvSpPr>
            <p:cNvPr id="9" name="Figure">
              <a:extLst>
                <a:ext uri="{FF2B5EF4-FFF2-40B4-BE49-F238E27FC236}">
                  <a16:creationId xmlns:a16="http://schemas.microsoft.com/office/drawing/2014/main" id="{414CE10B-CDD7-4A10-A6B8-3A320F6F8335}"/>
                </a:ext>
              </a:extLst>
            </p:cNvPr>
            <p:cNvSpPr/>
            <p:nvPr/>
          </p:nvSpPr>
          <p:spPr>
            <a:xfrm>
              <a:off x="8229599" y="1981199"/>
              <a:ext cx="2802891" cy="4409441"/>
            </a:xfrm>
            <a:custGeom>
              <a:avLst/>
              <a:gdLst/>
              <a:ahLst/>
              <a:cxnLst>
                <a:cxn ang="0">
                  <a:pos x="wd2" y="hd2"/>
                </a:cxn>
                <a:cxn ang="5400000">
                  <a:pos x="wd2" y="hd2"/>
                </a:cxn>
                <a:cxn ang="10800000">
                  <a:pos x="wd2" y="hd2"/>
                </a:cxn>
                <a:cxn ang="16200000">
                  <a:pos x="wd2" y="hd2"/>
                </a:cxn>
              </a:cxnLst>
              <a:rect l="0" t="0" r="r" b="b"/>
              <a:pathLst>
                <a:path w="21600" h="21600" extrusionOk="0">
                  <a:moveTo>
                    <a:pt x="10560" y="21600"/>
                  </a:moveTo>
                  <a:lnTo>
                    <a:pt x="21600" y="0"/>
                  </a:lnTo>
                  <a:lnTo>
                    <a:pt x="8544" y="0"/>
                  </a:lnTo>
                  <a:lnTo>
                    <a:pt x="0" y="16723"/>
                  </a:lnTo>
                  <a:close/>
                </a:path>
              </a:pathLst>
            </a:custGeom>
            <a:gradFill flip="none" rotWithShape="1">
              <a:gsLst>
                <a:gs pos="73000">
                  <a:srgbClr val="F7931F"/>
                </a:gs>
                <a:gs pos="87000">
                  <a:srgbClr val="F7931F">
                    <a:lumMod val="50000"/>
                  </a:srgbClr>
                </a:gs>
                <a:gs pos="100000">
                  <a:srgbClr val="F7931F">
                    <a:lumMod val="50000"/>
                  </a:srgbClr>
                </a:gs>
              </a:gsLst>
              <a:lin ang="7200000" scaled="0"/>
              <a:tileRect/>
            </a:gra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sz="3000" b="0" i="0" u="none" strike="noStrike" kern="0" cap="none" spc="0" normalizeH="0" baseline="0" noProof="0">
                <a:ln>
                  <a:noFill/>
                </a:ln>
                <a:effectLst>
                  <a:outerShdw blurRad="38100" dist="12700" dir="5400000" rotWithShape="0">
                    <a:srgbClr val="000000">
                      <a:alpha val="50000"/>
                    </a:srgbClr>
                  </a:outerShdw>
                </a:effectLst>
                <a:uLnTx/>
                <a:uFillTx/>
              </a:endParaRPr>
            </a:p>
          </p:txBody>
        </p:sp>
        <p:sp>
          <p:nvSpPr>
            <p:cNvPr id="10" name="Figure">
              <a:extLst>
                <a:ext uri="{FF2B5EF4-FFF2-40B4-BE49-F238E27FC236}">
                  <a16:creationId xmlns:a16="http://schemas.microsoft.com/office/drawing/2014/main" id="{3B36D7BA-66E4-4E15-9715-DD3BDF951B0D}"/>
                </a:ext>
              </a:extLst>
            </p:cNvPr>
            <p:cNvSpPr/>
            <p:nvPr/>
          </p:nvSpPr>
          <p:spPr>
            <a:xfrm>
              <a:off x="10540997" y="5702299"/>
              <a:ext cx="2848322" cy="441071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040" y="21600"/>
                  </a:lnTo>
                  <a:lnTo>
                    <a:pt x="21600" y="16718"/>
                  </a:lnTo>
                  <a:lnTo>
                    <a:pt x="13056" y="0"/>
                  </a:lnTo>
                  <a:close/>
                </a:path>
              </a:pathLst>
            </a:custGeom>
            <a:gradFill flip="none" rotWithShape="1">
              <a:gsLst>
                <a:gs pos="84000">
                  <a:srgbClr val="A2B969"/>
                </a:gs>
                <a:gs pos="100000">
                  <a:srgbClr val="A2B969">
                    <a:lumMod val="50000"/>
                  </a:srgbClr>
                </a:gs>
              </a:gsLst>
              <a:lin ang="15600000" scaled="0"/>
              <a:tileRect/>
            </a:gra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sz="3000" b="0" i="0" u="none" strike="noStrike" kern="0" cap="none" spc="0" normalizeH="0" baseline="0" noProof="0">
                <a:ln>
                  <a:noFill/>
                </a:ln>
                <a:effectLst>
                  <a:outerShdw blurRad="38100" dist="12700" dir="5400000" rotWithShape="0">
                    <a:srgbClr val="000000">
                      <a:alpha val="50000"/>
                    </a:srgbClr>
                  </a:outerShdw>
                </a:effectLst>
                <a:uLnTx/>
                <a:uFillTx/>
              </a:endParaRPr>
            </a:p>
          </p:txBody>
        </p:sp>
        <p:sp>
          <p:nvSpPr>
            <p:cNvPr id="11" name="Figure">
              <a:extLst>
                <a:ext uri="{FF2B5EF4-FFF2-40B4-BE49-F238E27FC236}">
                  <a16:creationId xmlns:a16="http://schemas.microsoft.com/office/drawing/2014/main" id="{636EBF5F-EAED-4507-9CC4-10086A726F0D}"/>
                </a:ext>
              </a:extLst>
            </p:cNvPr>
            <p:cNvSpPr/>
            <p:nvPr/>
          </p:nvSpPr>
          <p:spPr>
            <a:xfrm>
              <a:off x="9817099" y="4102100"/>
              <a:ext cx="4640581" cy="161163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9165" y="0"/>
                  </a:lnTo>
                  <a:lnTo>
                    <a:pt x="2441" y="0"/>
                  </a:lnTo>
                  <a:close/>
                </a:path>
              </a:pathLst>
            </a:custGeom>
            <a:gradFill flip="none" rotWithShape="1">
              <a:gsLst>
                <a:gs pos="73000">
                  <a:srgbClr val="4CC1EF"/>
                </a:gs>
                <a:gs pos="87000">
                  <a:srgbClr val="4CC1EF">
                    <a:lumMod val="50000"/>
                  </a:srgbClr>
                </a:gs>
                <a:gs pos="100000">
                  <a:srgbClr val="4CC1EF">
                    <a:lumMod val="50000"/>
                  </a:srgbClr>
                </a:gs>
              </a:gsLst>
              <a:lin ang="12000000" scaled="0"/>
              <a:tileRect/>
            </a:gra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sz="3000" b="0" i="0" u="none" strike="noStrike" kern="0" cap="none" spc="0" normalizeH="0" baseline="0" noProof="0">
                <a:ln>
                  <a:noFill/>
                </a:ln>
                <a:effectLst>
                  <a:outerShdw blurRad="38100" dist="12700" dir="5400000" rotWithShape="0">
                    <a:srgbClr val="000000">
                      <a:alpha val="50000"/>
                    </a:srgbClr>
                  </a:outerShdw>
                </a:effectLst>
                <a:uLnTx/>
                <a:uFillTx/>
              </a:endParaRPr>
            </a:p>
          </p:txBody>
        </p:sp>
        <p:sp>
          <p:nvSpPr>
            <p:cNvPr id="12" name="Figure">
              <a:extLst>
                <a:ext uri="{FF2B5EF4-FFF2-40B4-BE49-F238E27FC236}">
                  <a16:creationId xmlns:a16="http://schemas.microsoft.com/office/drawing/2014/main" id="{A3C71FEC-CB0D-4A9D-B9B8-8FF38D004CD8}"/>
                </a:ext>
              </a:extLst>
            </p:cNvPr>
            <p:cNvSpPr/>
            <p:nvPr/>
          </p:nvSpPr>
          <p:spPr>
            <a:xfrm>
              <a:off x="5925999" y="4102100"/>
              <a:ext cx="4274823" cy="3708401"/>
            </a:xfrm>
            <a:custGeom>
              <a:avLst/>
              <a:gdLst/>
              <a:ahLst/>
              <a:cxnLst>
                <a:cxn ang="0">
                  <a:pos x="wd2" y="hd2"/>
                </a:cxn>
                <a:cxn ang="5400000">
                  <a:pos x="wd2" y="hd2"/>
                </a:cxn>
                <a:cxn ang="10800000">
                  <a:pos x="wd2" y="hd2"/>
                </a:cxn>
                <a:cxn ang="16200000">
                  <a:pos x="wd2" y="hd2"/>
                </a:cxn>
              </a:cxnLst>
              <a:rect l="0" t="0" r="r" b="b"/>
              <a:pathLst>
                <a:path w="21600" h="21600" extrusionOk="0">
                  <a:moveTo>
                    <a:pt x="21600" y="15820"/>
                  </a:moveTo>
                  <a:lnTo>
                    <a:pt x="2645" y="0"/>
                  </a:lnTo>
                  <a:lnTo>
                    <a:pt x="0" y="9355"/>
                  </a:lnTo>
                  <a:lnTo>
                    <a:pt x="14674" y="21600"/>
                  </a:lnTo>
                  <a:close/>
                </a:path>
              </a:pathLst>
            </a:custGeom>
            <a:solidFill>
              <a:srgbClr val="FFCC4C"/>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effectLst>
                  <a:outerShdw blurRad="38100" dist="12700" dir="5400000" rotWithShape="0">
                    <a:srgbClr val="000000">
                      <a:alpha val="50000"/>
                    </a:srgbClr>
                  </a:outerShdw>
                </a:effectLst>
                <a:uLnTx/>
                <a:uFillTx/>
              </a:endParaRPr>
            </a:p>
          </p:txBody>
        </p:sp>
        <p:sp>
          <p:nvSpPr>
            <p:cNvPr id="13" name="Figure">
              <a:extLst>
                <a:ext uri="{FF2B5EF4-FFF2-40B4-BE49-F238E27FC236}">
                  <a16:creationId xmlns:a16="http://schemas.microsoft.com/office/drawing/2014/main" id="{43AE372C-9267-4CDF-9A42-0270B6E1967C}"/>
                </a:ext>
              </a:extLst>
            </p:cNvPr>
            <p:cNvSpPr/>
            <p:nvPr/>
          </p:nvSpPr>
          <p:spPr>
            <a:xfrm>
              <a:off x="7023099" y="6388100"/>
              <a:ext cx="4274822" cy="3722371"/>
            </a:xfrm>
            <a:custGeom>
              <a:avLst/>
              <a:gdLst/>
              <a:ahLst/>
              <a:cxnLst>
                <a:cxn ang="0">
                  <a:pos x="wd2" y="hd2"/>
                </a:cxn>
                <a:cxn ang="5400000">
                  <a:pos x="wd2" y="hd2"/>
                </a:cxn>
                <a:cxn ang="10800000">
                  <a:pos x="wd2" y="hd2"/>
                </a:cxn>
                <a:cxn ang="16200000">
                  <a:pos x="wd2" y="hd2"/>
                </a:cxn>
              </a:cxnLst>
              <a:rect l="0" t="0" r="r" b="b"/>
              <a:pathLst>
                <a:path w="21600" h="21600" extrusionOk="0">
                  <a:moveTo>
                    <a:pt x="18956" y="0"/>
                  </a:moveTo>
                  <a:lnTo>
                    <a:pt x="0" y="15815"/>
                  </a:lnTo>
                  <a:lnTo>
                    <a:pt x="6924" y="21600"/>
                  </a:lnTo>
                  <a:lnTo>
                    <a:pt x="21600" y="9352"/>
                  </a:lnTo>
                  <a:close/>
                </a:path>
              </a:pathLst>
            </a:custGeom>
            <a:solidFill>
              <a:srgbClr val="3A5C84"/>
            </a:soli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sz="3000" b="0" i="0" u="none" strike="noStrike" kern="0" cap="none" spc="0" normalizeH="0" baseline="0" noProof="0">
                <a:ln>
                  <a:noFill/>
                </a:ln>
                <a:effectLst>
                  <a:outerShdw blurRad="38100" dist="12700" dir="5400000" rotWithShape="0">
                    <a:srgbClr val="000000">
                      <a:alpha val="50000"/>
                    </a:srgbClr>
                  </a:outerShdw>
                </a:effectLst>
                <a:uLnTx/>
                <a:uFillTx/>
              </a:endParaRPr>
            </a:p>
          </p:txBody>
        </p:sp>
        <p:sp>
          <p:nvSpPr>
            <p:cNvPr id="14" name="Triangle">
              <a:extLst>
                <a:ext uri="{FF2B5EF4-FFF2-40B4-BE49-F238E27FC236}">
                  <a16:creationId xmlns:a16="http://schemas.microsoft.com/office/drawing/2014/main" id="{129AB4FD-E2D1-4FAA-9B4C-7E662FE2FDF2}"/>
                </a:ext>
              </a:extLst>
            </p:cNvPr>
            <p:cNvSpPr/>
            <p:nvPr/>
          </p:nvSpPr>
          <p:spPr>
            <a:xfrm>
              <a:off x="6451599" y="4102099"/>
              <a:ext cx="2200912" cy="1294131"/>
            </a:xfrm>
            <a:custGeom>
              <a:avLst/>
              <a:gdLst/>
              <a:ahLst/>
              <a:cxnLst>
                <a:cxn ang="0">
                  <a:pos x="wd2" y="hd2"/>
                </a:cxn>
                <a:cxn ang="5400000">
                  <a:pos x="wd2" y="hd2"/>
                </a:cxn>
                <a:cxn ang="10800000">
                  <a:pos x="wd2" y="hd2"/>
                </a:cxn>
                <a:cxn ang="16200000">
                  <a:pos x="wd2" y="hd2"/>
                </a:cxn>
              </a:cxnLst>
              <a:rect l="0" t="0" r="r" b="b"/>
              <a:pathLst>
                <a:path w="21600" h="21600" extrusionOk="0">
                  <a:moveTo>
                    <a:pt x="17474" y="21600"/>
                  </a:moveTo>
                  <a:lnTo>
                    <a:pt x="21600" y="0"/>
                  </a:lnTo>
                  <a:lnTo>
                    <a:pt x="0" y="0"/>
                  </a:lnTo>
                  <a:close/>
                </a:path>
              </a:pathLst>
            </a:custGeom>
            <a:gradFill flip="none" rotWithShape="1">
              <a:gsLst>
                <a:gs pos="45000">
                  <a:srgbClr val="4CC1EF"/>
                </a:gs>
                <a:gs pos="55000">
                  <a:srgbClr val="4CC1EF">
                    <a:lumMod val="50000"/>
                  </a:srgbClr>
                </a:gs>
                <a:gs pos="100000">
                  <a:srgbClr val="4CC1EF">
                    <a:lumMod val="50000"/>
                  </a:srgbClr>
                </a:gs>
              </a:gsLst>
              <a:lin ang="7200000" scaled="0"/>
              <a:tileRect/>
            </a:gradFill>
            <a:ln w="12700">
              <a:miter lim="400000"/>
            </a:ln>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sz="3000" b="0" i="0" u="none" strike="noStrike" kern="0" cap="none" spc="0" normalizeH="0" baseline="0" noProof="0">
                <a:ln>
                  <a:noFill/>
                </a:ln>
                <a:effectLst>
                  <a:outerShdw blurRad="38100" dist="12700" dir="5400000" rotWithShape="0">
                    <a:srgbClr val="000000">
                      <a:alpha val="50000"/>
                    </a:srgbClr>
                  </a:outerShdw>
                </a:effectLst>
                <a:uLnTx/>
                <a:uFillTx/>
              </a:endParaRPr>
            </a:p>
          </p:txBody>
        </p:sp>
      </p:grpSp>
      <p:sp>
        <p:nvSpPr>
          <p:cNvPr id="26" name="Rectangle: Top Corners Snipped 4"/>
          <p:cNvSpPr/>
          <p:nvPr/>
        </p:nvSpPr>
        <p:spPr>
          <a:xfrm rot="10800000">
            <a:off x="609599" y="-1"/>
            <a:ext cx="5283200" cy="1027521"/>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27" name="TextBox 26"/>
          <p:cNvSpPr txBox="1"/>
          <p:nvPr/>
        </p:nvSpPr>
        <p:spPr>
          <a:xfrm>
            <a:off x="1615178" y="15230"/>
            <a:ext cx="3113353" cy="913007"/>
          </a:xfrm>
          <a:prstGeom prst="rect">
            <a:avLst/>
          </a:prstGeom>
          <a:noFill/>
        </p:spPr>
        <p:txBody>
          <a:bodyPr wrap="none" rtlCol="0">
            <a:spAutoFit/>
          </a:bodyPr>
          <a:lstStyle/>
          <a:p>
            <a:pPr defTabSz="1219170"/>
            <a:r>
              <a:rPr lang="en-US" sz="5333" b="1" dirty="0">
                <a:solidFill>
                  <a:prstClr val="black"/>
                </a:solidFill>
                <a:latin typeface="Century Gothic" panose="020B0502020202020204" pitchFamily="34" charset="0"/>
              </a:rPr>
              <a:t>AGENDA</a:t>
            </a:r>
          </a:p>
        </p:txBody>
      </p:sp>
      <p:sp>
        <p:nvSpPr>
          <p:cNvPr id="28" name="TextBox 27"/>
          <p:cNvSpPr txBox="1"/>
          <p:nvPr/>
        </p:nvSpPr>
        <p:spPr>
          <a:xfrm>
            <a:off x="537994" y="2626042"/>
            <a:ext cx="3102796" cy="646331"/>
          </a:xfrm>
          <a:prstGeom prst="rect">
            <a:avLst/>
          </a:prstGeom>
          <a:noFill/>
        </p:spPr>
        <p:txBody>
          <a:bodyPr wrap="square" rtlCol="0">
            <a:spAutoFit/>
          </a:bodyPr>
          <a:lstStyle/>
          <a:p>
            <a:pPr lvl="0" algn="ctr">
              <a:defRPr/>
            </a:pPr>
            <a:r>
              <a:rPr lang="en-US" b="1" dirty="0">
                <a:solidFill>
                  <a:schemeClr val="bg1">
                    <a:lumMod val="50000"/>
                  </a:schemeClr>
                </a:solidFill>
                <a:latin typeface="Century Gothic" panose="020B0502020202020204" pitchFamily="34" charset="0"/>
              </a:rPr>
              <a:t>9 POINT DEMO &amp;</a:t>
            </a:r>
          </a:p>
          <a:p>
            <a:pPr lvl="0" algn="ctr">
              <a:defRPr/>
            </a:pPr>
            <a:r>
              <a:rPr lang="en-US" b="1" dirty="0">
                <a:solidFill>
                  <a:schemeClr val="bg1">
                    <a:lumMod val="50000"/>
                  </a:schemeClr>
                </a:solidFill>
                <a:latin typeface="Century Gothic" panose="020B0502020202020204" pitchFamily="34" charset="0"/>
              </a:rPr>
              <a:t>SALES PROCESS OVERVIEW</a:t>
            </a:r>
          </a:p>
        </p:txBody>
      </p:sp>
      <p:sp>
        <p:nvSpPr>
          <p:cNvPr id="29" name="TextBox 28"/>
          <p:cNvSpPr txBox="1"/>
          <p:nvPr/>
        </p:nvSpPr>
        <p:spPr>
          <a:xfrm>
            <a:off x="6636803" y="974967"/>
            <a:ext cx="3637057" cy="646331"/>
          </a:xfrm>
          <a:prstGeom prst="rect">
            <a:avLst/>
          </a:prstGeom>
          <a:noFill/>
        </p:spPr>
        <p:txBody>
          <a:bodyPr wrap="square" rtlCol="0">
            <a:spAutoFit/>
          </a:bodyPr>
          <a:lstStyle/>
          <a:p>
            <a:pPr lvl="0" algn="ctr">
              <a:defRPr/>
            </a:pPr>
            <a:r>
              <a:rPr lang="en-US" b="1" dirty="0">
                <a:solidFill>
                  <a:schemeClr val="bg1">
                    <a:lumMod val="50000"/>
                  </a:schemeClr>
                </a:solidFill>
                <a:latin typeface="Century Gothic" panose="020B0502020202020204" pitchFamily="34" charset="0"/>
              </a:rPr>
              <a:t>AL OVERVIEW &amp; UNDERSTANDING CV INDUSTRY</a:t>
            </a:r>
          </a:p>
        </p:txBody>
      </p:sp>
      <p:sp>
        <p:nvSpPr>
          <p:cNvPr id="30" name="TextBox 29"/>
          <p:cNvSpPr txBox="1"/>
          <p:nvPr/>
        </p:nvSpPr>
        <p:spPr>
          <a:xfrm>
            <a:off x="8184653" y="2817089"/>
            <a:ext cx="3102796" cy="646331"/>
          </a:xfrm>
          <a:prstGeom prst="rect">
            <a:avLst/>
          </a:prstGeom>
          <a:noFill/>
        </p:spPr>
        <p:txBody>
          <a:bodyPr wrap="square" rtlCol="0">
            <a:spAutoFit/>
          </a:bodyPr>
          <a:lstStyle/>
          <a:p>
            <a:pPr lvl="0" algn="ctr">
              <a:defRPr/>
            </a:pPr>
            <a:r>
              <a:rPr lang="en-US" b="1" dirty="0">
                <a:solidFill>
                  <a:schemeClr val="tx1">
                    <a:lumMod val="95000"/>
                    <a:lumOff val="5000"/>
                  </a:schemeClr>
                </a:solidFill>
                <a:latin typeface="Century Gothic" panose="020B0502020202020204" pitchFamily="34" charset="0"/>
              </a:rPr>
              <a:t>BASIC AUTOMOBILE TECHNOLOGY</a:t>
            </a:r>
          </a:p>
        </p:txBody>
      </p:sp>
      <p:sp>
        <p:nvSpPr>
          <p:cNvPr id="31" name="TextBox 30"/>
          <p:cNvSpPr txBox="1"/>
          <p:nvPr/>
        </p:nvSpPr>
        <p:spPr>
          <a:xfrm>
            <a:off x="7736811" y="5185641"/>
            <a:ext cx="3102796" cy="369332"/>
          </a:xfrm>
          <a:prstGeom prst="rect">
            <a:avLst/>
          </a:prstGeom>
          <a:noFill/>
        </p:spPr>
        <p:txBody>
          <a:bodyPr wrap="square" rtlCol="0">
            <a:spAutoFit/>
          </a:bodyPr>
          <a:lstStyle/>
          <a:p>
            <a:pPr lvl="0" algn="ctr">
              <a:defRPr/>
            </a:pPr>
            <a:r>
              <a:rPr lang="en-US" b="1" dirty="0">
                <a:solidFill>
                  <a:schemeClr val="bg1">
                    <a:lumMod val="50000"/>
                  </a:schemeClr>
                </a:solidFill>
                <a:latin typeface="Century Gothic" panose="020B0502020202020204" pitchFamily="34" charset="0"/>
              </a:rPr>
              <a:t>BSVI TECHNOLOGY</a:t>
            </a:r>
          </a:p>
        </p:txBody>
      </p:sp>
      <p:sp>
        <p:nvSpPr>
          <p:cNvPr id="32" name="TextBox 31"/>
          <p:cNvSpPr txBox="1"/>
          <p:nvPr/>
        </p:nvSpPr>
        <p:spPr>
          <a:xfrm>
            <a:off x="1246601" y="5315982"/>
            <a:ext cx="310279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rPr>
              <a:t>AFTER SALES SUPPORT</a:t>
            </a:r>
          </a:p>
        </p:txBody>
      </p:sp>
      <p:sp>
        <p:nvSpPr>
          <p:cNvPr id="33" name="Freeform: Shape 48">
            <a:extLst>
              <a:ext uri="{FF2B5EF4-FFF2-40B4-BE49-F238E27FC236}">
                <a16:creationId xmlns:a16="http://schemas.microsoft.com/office/drawing/2014/main" id="{47F1A36C-6D4E-42C9-A7A7-CE16FEFAA2C8}"/>
              </a:ext>
            </a:extLst>
          </p:cNvPr>
          <p:cNvSpPr/>
          <p:nvPr/>
        </p:nvSpPr>
        <p:spPr>
          <a:xfrm>
            <a:off x="7809380" y="2628624"/>
            <a:ext cx="375273" cy="606210"/>
          </a:xfrm>
          <a:custGeom>
            <a:avLst/>
            <a:gdLst>
              <a:gd name="connsiteX0" fmla="*/ 185738 w 495300"/>
              <a:gd name="connsiteY0" fmla="*/ 742950 h 800100"/>
              <a:gd name="connsiteX1" fmla="*/ 309563 w 495300"/>
              <a:gd name="connsiteY1" fmla="*/ 742950 h 800100"/>
              <a:gd name="connsiteX2" fmla="*/ 247651 w 495300"/>
              <a:gd name="connsiteY2" fmla="*/ 800100 h 800100"/>
              <a:gd name="connsiteX3" fmla="*/ 185738 w 495300"/>
              <a:gd name="connsiteY3" fmla="*/ 742950 h 800100"/>
              <a:gd name="connsiteX4" fmla="*/ 152400 w 495300"/>
              <a:gd name="connsiteY4" fmla="*/ 647700 h 800100"/>
              <a:gd name="connsiteX5" fmla="*/ 342900 w 495300"/>
              <a:gd name="connsiteY5" fmla="*/ 647700 h 800100"/>
              <a:gd name="connsiteX6" fmla="*/ 371475 w 495300"/>
              <a:gd name="connsiteY6" fmla="*/ 676275 h 800100"/>
              <a:gd name="connsiteX7" fmla="*/ 342900 w 495300"/>
              <a:gd name="connsiteY7" fmla="*/ 704850 h 800100"/>
              <a:gd name="connsiteX8" fmla="*/ 152400 w 495300"/>
              <a:gd name="connsiteY8" fmla="*/ 704850 h 800100"/>
              <a:gd name="connsiteX9" fmla="*/ 123825 w 495300"/>
              <a:gd name="connsiteY9" fmla="*/ 676275 h 800100"/>
              <a:gd name="connsiteX10" fmla="*/ 152400 w 495300"/>
              <a:gd name="connsiteY10" fmla="*/ 647700 h 800100"/>
              <a:gd name="connsiteX11" fmla="*/ 152400 w 495300"/>
              <a:gd name="connsiteY11" fmla="*/ 552450 h 800100"/>
              <a:gd name="connsiteX12" fmla="*/ 342900 w 495300"/>
              <a:gd name="connsiteY12" fmla="*/ 552450 h 800100"/>
              <a:gd name="connsiteX13" fmla="*/ 371475 w 495300"/>
              <a:gd name="connsiteY13" fmla="*/ 581025 h 800100"/>
              <a:gd name="connsiteX14" fmla="*/ 342900 w 495300"/>
              <a:gd name="connsiteY14" fmla="*/ 609600 h 800100"/>
              <a:gd name="connsiteX15" fmla="*/ 152400 w 495300"/>
              <a:gd name="connsiteY15" fmla="*/ 609600 h 800100"/>
              <a:gd name="connsiteX16" fmla="*/ 123825 w 495300"/>
              <a:gd name="connsiteY16" fmla="*/ 581025 h 800100"/>
              <a:gd name="connsiteX17" fmla="*/ 152400 w 495300"/>
              <a:gd name="connsiteY17" fmla="*/ 552450 h 800100"/>
              <a:gd name="connsiteX18" fmla="*/ 248602 w 495300"/>
              <a:gd name="connsiteY18" fmla="*/ 56197 h 800100"/>
              <a:gd name="connsiteX19" fmla="*/ 58103 w 495300"/>
              <a:gd name="connsiteY19" fmla="*/ 244793 h 800100"/>
              <a:gd name="connsiteX20" fmla="*/ 58103 w 495300"/>
              <a:gd name="connsiteY20" fmla="*/ 252413 h 800100"/>
              <a:gd name="connsiteX21" fmla="*/ 71438 w 495300"/>
              <a:gd name="connsiteY21" fmla="*/ 319088 h 800100"/>
              <a:gd name="connsiteX22" fmla="*/ 103823 w 495300"/>
              <a:gd name="connsiteY22" fmla="*/ 371475 h 800100"/>
              <a:gd name="connsiteX23" fmla="*/ 159068 w 495300"/>
              <a:gd name="connsiteY23" fmla="*/ 457200 h 800100"/>
              <a:gd name="connsiteX24" fmla="*/ 247650 w 495300"/>
              <a:gd name="connsiteY24" fmla="*/ 457200 h 800100"/>
              <a:gd name="connsiteX25" fmla="*/ 337185 w 495300"/>
              <a:gd name="connsiteY25" fmla="*/ 457200 h 800100"/>
              <a:gd name="connsiteX26" fmla="*/ 392430 w 495300"/>
              <a:gd name="connsiteY26" fmla="*/ 371475 h 800100"/>
              <a:gd name="connsiteX27" fmla="*/ 424815 w 495300"/>
              <a:gd name="connsiteY27" fmla="*/ 319088 h 800100"/>
              <a:gd name="connsiteX28" fmla="*/ 438150 w 495300"/>
              <a:gd name="connsiteY28" fmla="*/ 252413 h 800100"/>
              <a:gd name="connsiteX29" fmla="*/ 439103 w 495300"/>
              <a:gd name="connsiteY29" fmla="*/ 252413 h 800100"/>
              <a:gd name="connsiteX30" fmla="*/ 439103 w 495300"/>
              <a:gd name="connsiteY30" fmla="*/ 244793 h 800100"/>
              <a:gd name="connsiteX31" fmla="*/ 248602 w 495300"/>
              <a:gd name="connsiteY31" fmla="*/ 56197 h 800100"/>
              <a:gd name="connsiteX32" fmla="*/ 247650 w 495300"/>
              <a:gd name="connsiteY32" fmla="*/ 0 h 800100"/>
              <a:gd name="connsiteX33" fmla="*/ 495300 w 495300"/>
              <a:gd name="connsiteY33" fmla="*/ 244793 h 800100"/>
              <a:gd name="connsiteX34" fmla="*/ 495300 w 495300"/>
              <a:gd name="connsiteY34" fmla="*/ 253365 h 800100"/>
              <a:gd name="connsiteX35" fmla="*/ 478155 w 495300"/>
              <a:gd name="connsiteY35" fmla="*/ 339090 h 800100"/>
              <a:gd name="connsiteX36" fmla="*/ 435292 w 495300"/>
              <a:gd name="connsiteY36" fmla="*/ 409575 h 800100"/>
              <a:gd name="connsiteX37" fmla="*/ 377190 w 495300"/>
              <a:gd name="connsiteY37" fmla="*/ 503873 h 800100"/>
              <a:gd name="connsiteX38" fmla="*/ 360045 w 495300"/>
              <a:gd name="connsiteY38" fmla="*/ 514350 h 800100"/>
              <a:gd name="connsiteX39" fmla="*/ 135255 w 495300"/>
              <a:gd name="connsiteY39" fmla="*/ 514350 h 800100"/>
              <a:gd name="connsiteX40" fmla="*/ 118110 w 495300"/>
              <a:gd name="connsiteY40" fmla="*/ 503873 h 800100"/>
              <a:gd name="connsiteX41" fmla="*/ 60007 w 495300"/>
              <a:gd name="connsiteY41" fmla="*/ 409575 h 800100"/>
              <a:gd name="connsiteX42" fmla="*/ 17145 w 495300"/>
              <a:gd name="connsiteY42" fmla="*/ 339090 h 800100"/>
              <a:gd name="connsiteX43" fmla="*/ 0 w 495300"/>
              <a:gd name="connsiteY43" fmla="*/ 253365 h 800100"/>
              <a:gd name="connsiteX44" fmla="*/ 0 w 495300"/>
              <a:gd name="connsiteY44" fmla="*/ 244793 h 800100"/>
              <a:gd name="connsiteX45" fmla="*/ 247650 w 495300"/>
              <a:gd name="connsiteY45" fmla="*/ 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95300" h="800100">
                <a:moveTo>
                  <a:pt x="185738" y="742950"/>
                </a:moveTo>
                <a:lnTo>
                  <a:pt x="309563" y="742950"/>
                </a:lnTo>
                <a:cubicBezTo>
                  <a:pt x="306706" y="775335"/>
                  <a:pt x="280036" y="800100"/>
                  <a:pt x="247651" y="800100"/>
                </a:cubicBezTo>
                <a:cubicBezTo>
                  <a:pt x="215265" y="800100"/>
                  <a:pt x="188595" y="775335"/>
                  <a:pt x="185738" y="742950"/>
                </a:cubicBezTo>
                <a:close/>
                <a:moveTo>
                  <a:pt x="152400" y="647700"/>
                </a:moveTo>
                <a:lnTo>
                  <a:pt x="342900" y="647700"/>
                </a:lnTo>
                <a:cubicBezTo>
                  <a:pt x="359093" y="647700"/>
                  <a:pt x="371475" y="660083"/>
                  <a:pt x="371475" y="676275"/>
                </a:cubicBezTo>
                <a:cubicBezTo>
                  <a:pt x="371475" y="692467"/>
                  <a:pt x="359093" y="704850"/>
                  <a:pt x="342900" y="704850"/>
                </a:cubicBezTo>
                <a:lnTo>
                  <a:pt x="152400" y="704850"/>
                </a:lnTo>
                <a:cubicBezTo>
                  <a:pt x="136207" y="704850"/>
                  <a:pt x="123825" y="692467"/>
                  <a:pt x="123825" y="676275"/>
                </a:cubicBezTo>
                <a:cubicBezTo>
                  <a:pt x="123825" y="660083"/>
                  <a:pt x="136207" y="647700"/>
                  <a:pt x="152400" y="647700"/>
                </a:cubicBezTo>
                <a:close/>
                <a:moveTo>
                  <a:pt x="152400" y="552450"/>
                </a:moveTo>
                <a:lnTo>
                  <a:pt x="342900" y="552450"/>
                </a:lnTo>
                <a:cubicBezTo>
                  <a:pt x="359093" y="552450"/>
                  <a:pt x="371475" y="564833"/>
                  <a:pt x="371475" y="581025"/>
                </a:cubicBezTo>
                <a:cubicBezTo>
                  <a:pt x="371475" y="597217"/>
                  <a:pt x="359093" y="609600"/>
                  <a:pt x="342900" y="609600"/>
                </a:cubicBezTo>
                <a:lnTo>
                  <a:pt x="152400" y="609600"/>
                </a:lnTo>
                <a:cubicBezTo>
                  <a:pt x="136207" y="609600"/>
                  <a:pt x="123825" y="597217"/>
                  <a:pt x="123825" y="581025"/>
                </a:cubicBezTo>
                <a:cubicBezTo>
                  <a:pt x="123825" y="564833"/>
                  <a:pt x="136207" y="552450"/>
                  <a:pt x="152400" y="552450"/>
                </a:cubicBezTo>
                <a:close/>
                <a:moveTo>
                  <a:pt x="248602" y="56197"/>
                </a:moveTo>
                <a:cubicBezTo>
                  <a:pt x="144780" y="57150"/>
                  <a:pt x="60007" y="140970"/>
                  <a:pt x="58103" y="244793"/>
                </a:cubicBezTo>
                <a:lnTo>
                  <a:pt x="58103" y="252413"/>
                </a:lnTo>
                <a:cubicBezTo>
                  <a:pt x="59055" y="275273"/>
                  <a:pt x="62865" y="298133"/>
                  <a:pt x="71438" y="319088"/>
                </a:cubicBezTo>
                <a:cubicBezTo>
                  <a:pt x="79057" y="338138"/>
                  <a:pt x="90488" y="356235"/>
                  <a:pt x="103823" y="371475"/>
                </a:cubicBezTo>
                <a:cubicBezTo>
                  <a:pt x="124777" y="398145"/>
                  <a:pt x="143827" y="426720"/>
                  <a:pt x="159068" y="457200"/>
                </a:cubicBezTo>
                <a:lnTo>
                  <a:pt x="247650" y="457200"/>
                </a:lnTo>
                <a:lnTo>
                  <a:pt x="337185" y="457200"/>
                </a:lnTo>
                <a:cubicBezTo>
                  <a:pt x="351473" y="426720"/>
                  <a:pt x="370523" y="398145"/>
                  <a:pt x="392430" y="371475"/>
                </a:cubicBezTo>
                <a:cubicBezTo>
                  <a:pt x="406717" y="356235"/>
                  <a:pt x="417195" y="338138"/>
                  <a:pt x="424815" y="319088"/>
                </a:cubicBezTo>
                <a:cubicBezTo>
                  <a:pt x="432435" y="298133"/>
                  <a:pt x="437198" y="275273"/>
                  <a:pt x="438150" y="252413"/>
                </a:cubicBezTo>
                <a:lnTo>
                  <a:pt x="439103" y="252413"/>
                </a:lnTo>
                <a:lnTo>
                  <a:pt x="439103" y="244793"/>
                </a:lnTo>
                <a:cubicBezTo>
                  <a:pt x="437198" y="140018"/>
                  <a:pt x="352425" y="57150"/>
                  <a:pt x="248602" y="56197"/>
                </a:cubicBezTo>
                <a:close/>
                <a:moveTo>
                  <a:pt x="247650" y="0"/>
                </a:moveTo>
                <a:cubicBezTo>
                  <a:pt x="382905" y="952"/>
                  <a:pt x="492442" y="109538"/>
                  <a:pt x="495300" y="244793"/>
                </a:cubicBezTo>
                <a:lnTo>
                  <a:pt x="495300" y="253365"/>
                </a:lnTo>
                <a:cubicBezTo>
                  <a:pt x="494348" y="282893"/>
                  <a:pt x="488633" y="311468"/>
                  <a:pt x="478155" y="339090"/>
                </a:cubicBezTo>
                <a:cubicBezTo>
                  <a:pt x="468630" y="364808"/>
                  <a:pt x="453390" y="388620"/>
                  <a:pt x="435292" y="409575"/>
                </a:cubicBezTo>
                <a:cubicBezTo>
                  <a:pt x="412433" y="434340"/>
                  <a:pt x="387668" y="482918"/>
                  <a:pt x="377190" y="503873"/>
                </a:cubicBezTo>
                <a:cubicBezTo>
                  <a:pt x="374333" y="510540"/>
                  <a:pt x="367665" y="514350"/>
                  <a:pt x="360045" y="514350"/>
                </a:cubicBezTo>
                <a:lnTo>
                  <a:pt x="135255" y="514350"/>
                </a:lnTo>
                <a:cubicBezTo>
                  <a:pt x="127635" y="514350"/>
                  <a:pt x="120968" y="510540"/>
                  <a:pt x="118110" y="503873"/>
                </a:cubicBezTo>
                <a:cubicBezTo>
                  <a:pt x="107632" y="482918"/>
                  <a:pt x="82868" y="434340"/>
                  <a:pt x="60007" y="409575"/>
                </a:cubicBezTo>
                <a:cubicBezTo>
                  <a:pt x="41910" y="388620"/>
                  <a:pt x="27622" y="364808"/>
                  <a:pt x="17145" y="339090"/>
                </a:cubicBezTo>
                <a:cubicBezTo>
                  <a:pt x="6668" y="311468"/>
                  <a:pt x="953" y="282893"/>
                  <a:pt x="0" y="253365"/>
                </a:cubicBezTo>
                <a:lnTo>
                  <a:pt x="0" y="244793"/>
                </a:lnTo>
                <a:cubicBezTo>
                  <a:pt x="2857" y="109538"/>
                  <a:pt x="112395" y="952"/>
                  <a:pt x="247650" y="0"/>
                </a:cubicBezTo>
                <a:close/>
              </a:path>
            </a:pathLst>
          </a:custGeom>
          <a:solidFill>
            <a:srgbClr val="000000">
              <a:alpha val="70000"/>
            </a:srgbClr>
          </a:solidFill>
          <a:ln w="9525" cap="flat">
            <a:noFill/>
            <a:prstDash val="solid"/>
            <a:miter/>
          </a:ln>
        </p:spPr>
        <p:txBody>
          <a:bodyPr rtlCol="0" anchor="ctr"/>
          <a:lstStyle/>
          <a:p>
            <a:endParaRPr lang="en-US"/>
          </a:p>
        </p:txBody>
      </p:sp>
      <p:sp>
        <p:nvSpPr>
          <p:cNvPr id="34" name="Freeform: Shape 49">
            <a:extLst>
              <a:ext uri="{FF2B5EF4-FFF2-40B4-BE49-F238E27FC236}">
                <a16:creationId xmlns:a16="http://schemas.microsoft.com/office/drawing/2014/main" id="{8F43DAB6-48D6-44A8-AE0D-ECFFBD0D6210}"/>
              </a:ext>
            </a:extLst>
          </p:cNvPr>
          <p:cNvSpPr/>
          <p:nvPr/>
        </p:nvSpPr>
        <p:spPr>
          <a:xfrm>
            <a:off x="5695494" y="1386700"/>
            <a:ext cx="571032" cy="571754"/>
          </a:xfrm>
          <a:custGeom>
            <a:avLst/>
            <a:gdLst>
              <a:gd name="connsiteX0" fmla="*/ 211461 w 753670"/>
              <a:gd name="connsiteY0" fmla="*/ 141928 h 754623"/>
              <a:gd name="connsiteX1" fmla="*/ 230511 w 753670"/>
              <a:gd name="connsiteY1" fmla="*/ 155263 h 754623"/>
              <a:gd name="connsiteX2" fmla="*/ 269563 w 753670"/>
              <a:gd name="connsiteY2" fmla="*/ 364813 h 754623"/>
              <a:gd name="connsiteX3" fmla="*/ 326713 w 753670"/>
              <a:gd name="connsiteY3" fmla="*/ 213366 h 754623"/>
              <a:gd name="connsiteX4" fmla="*/ 338143 w 753670"/>
              <a:gd name="connsiteY4" fmla="*/ 202888 h 754623"/>
              <a:gd name="connsiteX5" fmla="*/ 359098 w 753670"/>
              <a:gd name="connsiteY5" fmla="*/ 214318 h 754623"/>
              <a:gd name="connsiteX6" fmla="*/ 389578 w 753670"/>
              <a:gd name="connsiteY6" fmla="*/ 320046 h 754623"/>
              <a:gd name="connsiteX7" fmla="*/ 425773 w 753670"/>
              <a:gd name="connsiteY7" fmla="*/ 280993 h 754623"/>
              <a:gd name="connsiteX8" fmla="*/ 438156 w 753670"/>
              <a:gd name="connsiteY8" fmla="*/ 273373 h 754623"/>
              <a:gd name="connsiteX9" fmla="*/ 492448 w 753670"/>
              <a:gd name="connsiteY9" fmla="*/ 273373 h 754623"/>
              <a:gd name="connsiteX10" fmla="*/ 493401 w 753670"/>
              <a:gd name="connsiteY10" fmla="*/ 273373 h 754623"/>
              <a:gd name="connsiteX11" fmla="*/ 493401 w 753670"/>
              <a:gd name="connsiteY11" fmla="*/ 311473 h 754623"/>
              <a:gd name="connsiteX12" fmla="*/ 446728 w 753670"/>
              <a:gd name="connsiteY12" fmla="*/ 311473 h 754623"/>
              <a:gd name="connsiteX13" fmla="*/ 395293 w 753670"/>
              <a:gd name="connsiteY13" fmla="*/ 364813 h 754623"/>
              <a:gd name="connsiteX14" fmla="*/ 387673 w 753670"/>
              <a:gd name="connsiteY14" fmla="*/ 369575 h 754623"/>
              <a:gd name="connsiteX15" fmla="*/ 366718 w 753670"/>
              <a:gd name="connsiteY15" fmla="*/ 358146 h 754623"/>
              <a:gd name="connsiteX16" fmla="*/ 341953 w 753670"/>
              <a:gd name="connsiteY16" fmla="*/ 272421 h 754623"/>
              <a:gd name="connsiteX17" fmla="*/ 280993 w 753670"/>
              <a:gd name="connsiteY17" fmla="*/ 432441 h 754623"/>
              <a:gd name="connsiteX18" fmla="*/ 264800 w 753670"/>
              <a:gd name="connsiteY18" fmla="*/ 442918 h 754623"/>
              <a:gd name="connsiteX19" fmla="*/ 262896 w 753670"/>
              <a:gd name="connsiteY19" fmla="*/ 442918 h 754623"/>
              <a:gd name="connsiteX20" fmla="*/ 247656 w 753670"/>
              <a:gd name="connsiteY20" fmla="*/ 429583 h 754623"/>
              <a:gd name="connsiteX21" fmla="*/ 209555 w 753670"/>
              <a:gd name="connsiteY21" fmla="*/ 224795 h 754623"/>
              <a:gd name="connsiteX22" fmla="*/ 185743 w 753670"/>
              <a:gd name="connsiteY22" fmla="*/ 297186 h 754623"/>
              <a:gd name="connsiteX23" fmla="*/ 169551 w 753670"/>
              <a:gd name="connsiteY23" fmla="*/ 311473 h 754623"/>
              <a:gd name="connsiteX24" fmla="*/ 82873 w 753670"/>
              <a:gd name="connsiteY24" fmla="*/ 311473 h 754623"/>
              <a:gd name="connsiteX25" fmla="*/ 82873 w 753670"/>
              <a:gd name="connsiteY25" fmla="*/ 273373 h 754623"/>
              <a:gd name="connsiteX26" fmla="*/ 157168 w 753670"/>
              <a:gd name="connsiteY26" fmla="*/ 273373 h 754623"/>
              <a:gd name="connsiteX27" fmla="*/ 198126 w 753670"/>
              <a:gd name="connsiteY27" fmla="*/ 153358 h 754623"/>
              <a:gd name="connsiteX28" fmla="*/ 211461 w 753670"/>
              <a:gd name="connsiteY28" fmla="*/ 141928 h 754623"/>
              <a:gd name="connsiteX29" fmla="*/ 287660 w 753670"/>
              <a:gd name="connsiteY29" fmla="*/ 59060 h 754623"/>
              <a:gd name="connsiteX30" fmla="*/ 59060 w 753670"/>
              <a:gd name="connsiteY30" fmla="*/ 287660 h 754623"/>
              <a:gd name="connsiteX31" fmla="*/ 287660 w 753670"/>
              <a:gd name="connsiteY31" fmla="*/ 516260 h 754623"/>
              <a:gd name="connsiteX32" fmla="*/ 516260 w 753670"/>
              <a:gd name="connsiteY32" fmla="*/ 287660 h 754623"/>
              <a:gd name="connsiteX33" fmla="*/ 287660 w 753670"/>
              <a:gd name="connsiteY33" fmla="*/ 59060 h 754623"/>
              <a:gd name="connsiteX34" fmla="*/ 287660 w 753670"/>
              <a:gd name="connsiteY34" fmla="*/ 5 h 754623"/>
              <a:gd name="connsiteX35" fmla="*/ 573410 w 753670"/>
              <a:gd name="connsiteY35" fmla="*/ 288613 h 754623"/>
              <a:gd name="connsiteX36" fmla="*/ 514355 w 753670"/>
              <a:gd name="connsiteY36" fmla="*/ 461968 h 754623"/>
              <a:gd name="connsiteX37" fmla="*/ 557218 w 753670"/>
              <a:gd name="connsiteY37" fmla="*/ 503878 h 754623"/>
              <a:gd name="connsiteX38" fmla="*/ 616273 w 753670"/>
              <a:gd name="connsiteY38" fmla="*/ 521975 h 754623"/>
              <a:gd name="connsiteX39" fmla="*/ 734383 w 753670"/>
              <a:gd name="connsiteY39" fmla="*/ 641038 h 754623"/>
              <a:gd name="connsiteX40" fmla="*/ 734383 w 753670"/>
              <a:gd name="connsiteY40" fmla="*/ 735335 h 754623"/>
              <a:gd name="connsiteX41" fmla="*/ 640085 w 753670"/>
              <a:gd name="connsiteY41" fmla="*/ 735335 h 754623"/>
              <a:gd name="connsiteX42" fmla="*/ 521023 w 753670"/>
              <a:gd name="connsiteY42" fmla="*/ 616273 h 754623"/>
              <a:gd name="connsiteX43" fmla="*/ 502925 w 753670"/>
              <a:gd name="connsiteY43" fmla="*/ 556265 h 754623"/>
              <a:gd name="connsiteX44" fmla="*/ 461015 w 753670"/>
              <a:gd name="connsiteY44" fmla="*/ 514355 h 754623"/>
              <a:gd name="connsiteX45" fmla="*/ 285755 w 753670"/>
              <a:gd name="connsiteY45" fmla="*/ 573410 h 754623"/>
              <a:gd name="connsiteX46" fmla="*/ 5 w 753670"/>
              <a:gd name="connsiteY46" fmla="*/ 285755 h 754623"/>
              <a:gd name="connsiteX47" fmla="*/ 287660 w 753670"/>
              <a:gd name="connsiteY47" fmla="*/ 5 h 75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53670" h="754623">
                <a:moveTo>
                  <a:pt x="211461" y="141928"/>
                </a:moveTo>
                <a:cubicBezTo>
                  <a:pt x="220033" y="140023"/>
                  <a:pt x="228606" y="145738"/>
                  <a:pt x="230511" y="155263"/>
                </a:cubicBezTo>
                <a:lnTo>
                  <a:pt x="269563" y="364813"/>
                </a:lnTo>
                <a:lnTo>
                  <a:pt x="326713" y="213366"/>
                </a:lnTo>
                <a:cubicBezTo>
                  <a:pt x="328618" y="207651"/>
                  <a:pt x="333381" y="204793"/>
                  <a:pt x="338143" y="202888"/>
                </a:cubicBezTo>
                <a:cubicBezTo>
                  <a:pt x="346716" y="200030"/>
                  <a:pt x="356241" y="205745"/>
                  <a:pt x="359098" y="214318"/>
                </a:cubicBezTo>
                <a:lnTo>
                  <a:pt x="389578" y="320046"/>
                </a:lnTo>
                <a:lnTo>
                  <a:pt x="425773" y="280993"/>
                </a:lnTo>
                <a:cubicBezTo>
                  <a:pt x="428631" y="277183"/>
                  <a:pt x="433393" y="274325"/>
                  <a:pt x="438156" y="273373"/>
                </a:cubicBezTo>
                <a:lnTo>
                  <a:pt x="492448" y="273373"/>
                </a:lnTo>
                <a:lnTo>
                  <a:pt x="493401" y="273373"/>
                </a:lnTo>
                <a:lnTo>
                  <a:pt x="493401" y="311473"/>
                </a:lnTo>
                <a:lnTo>
                  <a:pt x="446728" y="311473"/>
                </a:lnTo>
                <a:lnTo>
                  <a:pt x="395293" y="364813"/>
                </a:lnTo>
                <a:cubicBezTo>
                  <a:pt x="393388" y="366718"/>
                  <a:pt x="390531" y="368623"/>
                  <a:pt x="387673" y="369575"/>
                </a:cubicBezTo>
                <a:cubicBezTo>
                  <a:pt x="378148" y="372433"/>
                  <a:pt x="369576" y="366718"/>
                  <a:pt x="366718" y="358146"/>
                </a:cubicBezTo>
                <a:lnTo>
                  <a:pt x="341953" y="272421"/>
                </a:lnTo>
                <a:lnTo>
                  <a:pt x="280993" y="432441"/>
                </a:lnTo>
                <a:cubicBezTo>
                  <a:pt x="278136" y="439108"/>
                  <a:pt x="271468" y="442918"/>
                  <a:pt x="264800" y="442918"/>
                </a:cubicBezTo>
                <a:lnTo>
                  <a:pt x="262896" y="442918"/>
                </a:lnTo>
                <a:cubicBezTo>
                  <a:pt x="255275" y="442918"/>
                  <a:pt x="248608" y="437203"/>
                  <a:pt x="247656" y="429583"/>
                </a:cubicBezTo>
                <a:lnTo>
                  <a:pt x="209555" y="224795"/>
                </a:lnTo>
                <a:lnTo>
                  <a:pt x="185743" y="297186"/>
                </a:lnTo>
                <a:cubicBezTo>
                  <a:pt x="183838" y="304805"/>
                  <a:pt x="177171" y="310521"/>
                  <a:pt x="169551" y="311473"/>
                </a:cubicBezTo>
                <a:lnTo>
                  <a:pt x="82873" y="311473"/>
                </a:lnTo>
                <a:lnTo>
                  <a:pt x="82873" y="273373"/>
                </a:lnTo>
                <a:lnTo>
                  <a:pt x="157168" y="273373"/>
                </a:lnTo>
                <a:lnTo>
                  <a:pt x="198126" y="153358"/>
                </a:lnTo>
                <a:cubicBezTo>
                  <a:pt x="200983" y="147643"/>
                  <a:pt x="205746" y="142880"/>
                  <a:pt x="211461" y="141928"/>
                </a:cubicBezTo>
                <a:close/>
                <a:moveTo>
                  <a:pt x="287660" y="59060"/>
                </a:moveTo>
                <a:cubicBezTo>
                  <a:pt x="160978" y="59060"/>
                  <a:pt x="59060" y="160978"/>
                  <a:pt x="59060" y="287660"/>
                </a:cubicBezTo>
                <a:cubicBezTo>
                  <a:pt x="59060" y="414343"/>
                  <a:pt x="160978" y="516260"/>
                  <a:pt x="287660" y="516260"/>
                </a:cubicBezTo>
                <a:cubicBezTo>
                  <a:pt x="413390" y="516260"/>
                  <a:pt x="516260" y="413390"/>
                  <a:pt x="516260" y="287660"/>
                </a:cubicBezTo>
                <a:cubicBezTo>
                  <a:pt x="516260" y="160978"/>
                  <a:pt x="414343" y="59060"/>
                  <a:pt x="287660" y="59060"/>
                </a:cubicBezTo>
                <a:close/>
                <a:moveTo>
                  <a:pt x="287660" y="5"/>
                </a:moveTo>
                <a:cubicBezTo>
                  <a:pt x="445775" y="958"/>
                  <a:pt x="574363" y="129545"/>
                  <a:pt x="573410" y="288613"/>
                </a:cubicBezTo>
                <a:cubicBezTo>
                  <a:pt x="573410" y="351478"/>
                  <a:pt x="552455" y="412438"/>
                  <a:pt x="514355" y="461968"/>
                </a:cubicBezTo>
                <a:lnTo>
                  <a:pt x="557218" y="503878"/>
                </a:lnTo>
                <a:cubicBezTo>
                  <a:pt x="578173" y="499115"/>
                  <a:pt x="601033" y="506735"/>
                  <a:pt x="616273" y="521975"/>
                </a:cubicBezTo>
                <a:lnTo>
                  <a:pt x="734383" y="641038"/>
                </a:lnTo>
                <a:cubicBezTo>
                  <a:pt x="760100" y="666755"/>
                  <a:pt x="760100" y="709618"/>
                  <a:pt x="734383" y="735335"/>
                </a:cubicBezTo>
                <a:cubicBezTo>
                  <a:pt x="708665" y="761053"/>
                  <a:pt x="665803" y="761053"/>
                  <a:pt x="640085" y="735335"/>
                </a:cubicBezTo>
                <a:lnTo>
                  <a:pt x="521023" y="616273"/>
                </a:lnTo>
                <a:cubicBezTo>
                  <a:pt x="505783" y="600080"/>
                  <a:pt x="499115" y="578173"/>
                  <a:pt x="502925" y="556265"/>
                </a:cubicBezTo>
                <a:lnTo>
                  <a:pt x="461015" y="514355"/>
                </a:lnTo>
                <a:cubicBezTo>
                  <a:pt x="410533" y="552455"/>
                  <a:pt x="348620" y="573410"/>
                  <a:pt x="285755" y="573410"/>
                </a:cubicBezTo>
                <a:cubicBezTo>
                  <a:pt x="127640" y="572458"/>
                  <a:pt x="-947" y="443870"/>
                  <a:pt x="5" y="285755"/>
                </a:cubicBezTo>
                <a:cubicBezTo>
                  <a:pt x="958" y="127640"/>
                  <a:pt x="129545" y="-947"/>
                  <a:pt x="287660" y="5"/>
                </a:cubicBezTo>
                <a:close/>
              </a:path>
            </a:pathLst>
          </a:custGeom>
          <a:solidFill>
            <a:schemeClr val="tx1">
              <a:alpha val="70000"/>
            </a:schemeClr>
          </a:solidFill>
          <a:ln w="9525" cap="flat">
            <a:noFill/>
            <a:prstDash val="solid"/>
            <a:miter/>
          </a:ln>
        </p:spPr>
        <p:txBody>
          <a:bodyPr rtlCol="0" anchor="ctr"/>
          <a:lstStyle/>
          <a:p>
            <a:endParaRPr lang="en-US"/>
          </a:p>
        </p:txBody>
      </p:sp>
      <p:pic>
        <p:nvPicPr>
          <p:cNvPr id="2" name="Picture 1"/>
          <p:cNvPicPr>
            <a:picLocks noChangeAspect="1"/>
          </p:cNvPicPr>
          <p:nvPr/>
        </p:nvPicPr>
        <p:blipFill>
          <a:blip r:embed="rId2">
            <a:extLst>
              <a:ext uri="{BEBA8EAE-BF5A-486C-A8C5-ECC9F3942E4B}">
                <a14:imgProps xmlns:a14="http://schemas.microsoft.com/office/drawing/2010/main">
                  <a14:imgLayer r:embed="rId3">
                    <a14:imgEffect>
                      <a14:backgroundRemoval t="3008" b="93233" l="3817" r="89313">
                        <a14:foregroundMark x1="42748" y1="18045" x2="42748" y2="18045"/>
                        <a14:foregroundMark x1="23664" y1="3759" x2="23664" y2="3759"/>
                        <a14:foregroundMark x1="17557" y1="60150" x2="17557" y2="60150"/>
                        <a14:foregroundMark x1="25191" y1="78947" x2="25191" y2="78947"/>
                        <a14:foregroundMark x1="3817" y1="73684" x2="3817" y2="73684"/>
                        <a14:foregroundMark x1="57252" y1="81203" x2="57252" y2="81203"/>
                        <a14:foregroundMark x1="74046" y1="93233" x2="74046" y2="93233"/>
                      </a14:backgroundRemoval>
                    </a14:imgEffect>
                  </a14:imgLayer>
                </a14:imgProps>
              </a:ext>
            </a:extLst>
          </a:blip>
          <a:stretch>
            <a:fillRect/>
          </a:stretch>
        </p:blipFill>
        <p:spPr>
          <a:xfrm>
            <a:off x="7066993" y="4787535"/>
            <a:ext cx="742387" cy="753722"/>
          </a:xfrm>
          <a:prstGeom prst="rect">
            <a:avLst/>
          </a:prstGeom>
        </p:spPr>
      </p:pic>
      <p:pic>
        <p:nvPicPr>
          <p:cNvPr id="3" name="Picture 2"/>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foregroundMark x1="40860" y1="16129" x2="40860" y2="16129"/>
                        <a14:foregroundMark x1="19355" y1="46237" x2="19355" y2="46237"/>
                      </a14:backgroundRemoval>
                    </a14:imgEffect>
                  </a14:imgLayer>
                </a14:imgProps>
              </a:ext>
            </a:extLst>
          </a:blip>
          <a:stretch>
            <a:fillRect/>
          </a:stretch>
        </p:blipFill>
        <p:spPr>
          <a:xfrm>
            <a:off x="4590014" y="5169324"/>
            <a:ext cx="662648" cy="662648"/>
          </a:xfrm>
          <a:prstGeom prst="rect">
            <a:avLst/>
          </a:prstGeom>
        </p:spPr>
      </p:pic>
      <p:pic>
        <p:nvPicPr>
          <p:cNvPr id="15" name="Picture 14"/>
          <p:cNvPicPr>
            <a:picLocks noChangeAspect="1"/>
          </p:cNvPicPr>
          <p:nvPr/>
        </p:nvPicPr>
        <p:blipFill>
          <a:blip r:embed="rId6">
            <a:biLevel thresh="75000"/>
            <a:extLst>
              <a:ext uri="{BEBA8EAE-BF5A-486C-A8C5-ECC9F3942E4B}">
                <a14:imgProps xmlns:a14="http://schemas.microsoft.com/office/drawing/2010/main">
                  <a14:imgLayer r:embed="rId7">
                    <a14:imgEffect>
                      <a14:backgroundRemoval t="4372" b="97268" l="9135" r="92308">
                        <a14:foregroundMark x1="85096" y1="53005" x2="85096" y2="53005"/>
                        <a14:foregroundMark x1="13942" y1="53005" x2="13942" y2="53005"/>
                        <a14:foregroundMark x1="46154" y1="4372" x2="46154" y2="4372"/>
                        <a14:foregroundMark x1="92308" y1="59016" x2="92308" y2="59016"/>
                        <a14:foregroundMark x1="51923" y1="97268" x2="51923" y2="97268"/>
                        <a14:foregroundMark x1="55288" y1="43716" x2="55288" y2="43716"/>
                        <a14:foregroundMark x1="42788" y1="53005" x2="42788" y2="53005"/>
                        <a14:foregroundMark x1="38462" y1="34426" x2="38462" y2="34426"/>
                        <a14:foregroundMark x1="65865" y1="63388" x2="65865" y2="63388"/>
                        <a14:foregroundMark x1="54808" y1="59016" x2="54808" y2="59016"/>
                      </a14:backgroundRemoval>
                    </a14:imgEffect>
                    <a14:imgEffect>
                      <a14:saturation sat="0"/>
                    </a14:imgEffect>
                  </a14:imgLayer>
                </a14:imgProps>
              </a:ext>
            </a:extLst>
          </a:blip>
          <a:stretch>
            <a:fillRect/>
          </a:stretch>
        </p:blipFill>
        <p:spPr>
          <a:xfrm>
            <a:off x="3721742" y="2817089"/>
            <a:ext cx="684382" cy="602125"/>
          </a:xfrm>
          <a:prstGeom prst="rect">
            <a:avLst/>
          </a:prstGeom>
        </p:spPr>
      </p:pic>
    </p:spTree>
    <p:extLst>
      <p:ext uri="{BB962C8B-B14F-4D97-AF65-F5344CB8AC3E}">
        <p14:creationId xmlns:p14="http://schemas.microsoft.com/office/powerpoint/2010/main" val="40352157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149507" name="TextBox 3"/>
          <p:cNvSpPr txBox="1">
            <a:spLocks noChangeArrowheads="1"/>
          </p:cNvSpPr>
          <p:nvPr/>
        </p:nvSpPr>
        <p:spPr bwMode="auto">
          <a:xfrm>
            <a:off x="858764" y="44451"/>
            <a:ext cx="463941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24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0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16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9pPr>
          </a:lstStyle>
          <a:p>
            <a:pPr eaLnBrk="1" hangingPunct="1">
              <a:spcBef>
                <a:spcPct val="0"/>
              </a:spcBef>
              <a:buFontTx/>
              <a:buNone/>
            </a:pPr>
            <a:r>
              <a:rPr lang="en-IN" altLang="en-US" sz="3600" b="1" dirty="0">
                <a:latin typeface="Century Gothic" panose="020B0502020202020204" pitchFamily="34" charset="0"/>
              </a:rPr>
              <a:t> OTHER DIMENSIONS</a:t>
            </a:r>
            <a:endParaRPr lang="en-US" altLang="en-US" sz="3600" b="1" dirty="0">
              <a:latin typeface="Century Gothic" panose="020B0502020202020204" pitchFamily="34" charset="0"/>
            </a:endParaRPr>
          </a:p>
        </p:txBody>
      </p:sp>
      <p:pic>
        <p:nvPicPr>
          <p:cNvPr id="149508" name="Picture 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0134" y="1507067"/>
            <a:ext cx="7393517" cy="422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
            <a:extLst>
              <a:ext uri="{FF2B5EF4-FFF2-40B4-BE49-F238E27FC236}">
                <a16:creationId xmlns:a16="http://schemas.microsoft.com/office/drawing/2014/main" id="{48C07D6F-A90A-496F-AF8A-F6F638D6D77F}"/>
              </a:ext>
            </a:extLst>
          </p:cNvPr>
          <p:cNvPicPr>
            <a:picLocks noChangeAspect="1" noChangeArrowheads="1"/>
          </p:cNvPicPr>
          <p:nvPr/>
        </p:nvPicPr>
        <p:blipFill>
          <a:blip r:embed="rId4"/>
          <a:srcRect/>
          <a:stretch>
            <a:fillRect/>
          </a:stretch>
        </p:blipFill>
        <p:spPr bwMode="auto">
          <a:xfrm>
            <a:off x="7801903" y="1253612"/>
            <a:ext cx="4286251" cy="4586749"/>
          </a:xfrm>
          <a:prstGeom prst="rect">
            <a:avLst/>
          </a:prstGeom>
          <a:ln>
            <a:headEnd/>
            <a:tailEnd/>
          </a:ln>
          <a:effectLst>
            <a:innerShdw blurRad="114300">
              <a:prstClr val="black"/>
            </a:innerShdw>
          </a:effectLst>
        </p:spPr>
        <p:style>
          <a:lnRef idx="2">
            <a:schemeClr val="accent1"/>
          </a:lnRef>
          <a:fillRef idx="1">
            <a:schemeClr val="lt1"/>
          </a:fillRef>
          <a:effectRef idx="0">
            <a:schemeClr val="accent1"/>
          </a:effectRef>
          <a:fontRef idx="minor">
            <a:schemeClr val="dk1"/>
          </a:fontRef>
        </p:style>
      </p:pic>
    </p:spTree>
    <p:extLst>
      <p:ext uri="{BB962C8B-B14F-4D97-AF65-F5344CB8AC3E}">
        <p14:creationId xmlns:p14="http://schemas.microsoft.com/office/powerpoint/2010/main" val="1830537887"/>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2" y="-5"/>
            <a:ext cx="9895667"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121467" y="47247"/>
            <a:ext cx="10464800"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LEADING DIMENSIONS</a:t>
            </a:r>
          </a:p>
        </p:txBody>
      </p:sp>
      <p:sp>
        <p:nvSpPr>
          <p:cNvPr id="3" name="Rectangle 2"/>
          <p:cNvSpPr/>
          <p:nvPr/>
        </p:nvSpPr>
        <p:spPr>
          <a:xfrm>
            <a:off x="-17310" y="1295400"/>
            <a:ext cx="830111" cy="5562600"/>
          </a:xfrm>
          <a:prstGeom prst="rect">
            <a:avLst/>
          </a:prstGeom>
          <a:solidFill>
            <a:srgbClr val="E61A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733" b="1"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5" name="Isosceles Triangle 4"/>
          <p:cNvSpPr/>
          <p:nvPr/>
        </p:nvSpPr>
        <p:spPr>
          <a:xfrm>
            <a:off x="-812800" y="590952"/>
            <a:ext cx="1625599" cy="711200"/>
          </a:xfrm>
          <a:prstGeom prst="triangle">
            <a:avLst/>
          </a:prstGeom>
          <a:solidFill>
            <a:srgbClr val="E61A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6" name="Rectangle 5"/>
          <p:cNvSpPr/>
          <p:nvPr/>
        </p:nvSpPr>
        <p:spPr>
          <a:xfrm>
            <a:off x="1013432" y="1323709"/>
            <a:ext cx="5387369" cy="4568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Calibri" pitchFamily="34" charset="0"/>
              </a:rPr>
              <a:t>WHEEL BASE</a:t>
            </a:r>
          </a:p>
        </p:txBody>
      </p:sp>
      <p:sp>
        <p:nvSpPr>
          <p:cNvPr id="11" name="Rectangle 10"/>
          <p:cNvSpPr/>
          <p:nvPr/>
        </p:nvSpPr>
        <p:spPr>
          <a:xfrm>
            <a:off x="1013432" y="1950769"/>
            <a:ext cx="5387369" cy="4568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Calibri" pitchFamily="34" charset="0"/>
              </a:rPr>
              <a:t>FRONT OVER HANG</a:t>
            </a:r>
          </a:p>
        </p:txBody>
      </p:sp>
      <p:sp>
        <p:nvSpPr>
          <p:cNvPr id="15" name="Rectangle 14"/>
          <p:cNvSpPr/>
          <p:nvPr/>
        </p:nvSpPr>
        <p:spPr>
          <a:xfrm>
            <a:off x="1013432" y="2577829"/>
            <a:ext cx="5387369" cy="4568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Calibri" pitchFamily="34" charset="0"/>
              </a:rPr>
              <a:t>REAR OVER HANG</a:t>
            </a:r>
          </a:p>
        </p:txBody>
      </p:sp>
      <p:sp>
        <p:nvSpPr>
          <p:cNvPr id="16" name="Rectangle 15"/>
          <p:cNvSpPr/>
          <p:nvPr/>
        </p:nvSpPr>
        <p:spPr>
          <a:xfrm>
            <a:off x="1013432" y="3204889"/>
            <a:ext cx="5387369" cy="4568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Calibri" pitchFamily="34" charset="0"/>
              </a:rPr>
              <a:t>OVERALL LENGTH</a:t>
            </a:r>
          </a:p>
        </p:txBody>
      </p:sp>
      <p:sp>
        <p:nvSpPr>
          <p:cNvPr id="17" name="Rectangle 16"/>
          <p:cNvSpPr/>
          <p:nvPr/>
        </p:nvSpPr>
        <p:spPr>
          <a:xfrm>
            <a:off x="1013432" y="3831949"/>
            <a:ext cx="5387369" cy="4568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Calibri" pitchFamily="34" charset="0"/>
              </a:rPr>
              <a:t>FRONT TRACK </a:t>
            </a:r>
          </a:p>
        </p:txBody>
      </p:sp>
      <p:sp>
        <p:nvSpPr>
          <p:cNvPr id="18" name="Rectangle 17"/>
          <p:cNvSpPr/>
          <p:nvPr/>
        </p:nvSpPr>
        <p:spPr>
          <a:xfrm>
            <a:off x="1013432" y="4459009"/>
            <a:ext cx="5387369" cy="4568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Calibri" pitchFamily="34" charset="0"/>
              </a:rPr>
              <a:t>REAR TRACK</a:t>
            </a:r>
          </a:p>
        </p:txBody>
      </p:sp>
      <p:sp>
        <p:nvSpPr>
          <p:cNvPr id="19" name="Rectangle 18"/>
          <p:cNvSpPr/>
          <p:nvPr/>
        </p:nvSpPr>
        <p:spPr>
          <a:xfrm>
            <a:off x="1013432" y="5086069"/>
            <a:ext cx="5387369" cy="4568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Calibri" pitchFamily="34" charset="0"/>
              </a:rPr>
              <a:t>MINIMUM GROUND CLEARANCE</a:t>
            </a:r>
          </a:p>
        </p:txBody>
      </p:sp>
      <p:sp>
        <p:nvSpPr>
          <p:cNvPr id="20" name="Rectangle 19"/>
          <p:cNvSpPr/>
          <p:nvPr/>
        </p:nvSpPr>
        <p:spPr>
          <a:xfrm>
            <a:off x="1013432" y="5713129"/>
            <a:ext cx="5387369" cy="4568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Calibri" pitchFamily="34" charset="0"/>
              </a:rPr>
              <a:t>ANGLE OF APPROACH</a:t>
            </a:r>
          </a:p>
        </p:txBody>
      </p:sp>
      <p:sp>
        <p:nvSpPr>
          <p:cNvPr id="21" name="Rectangle 20"/>
          <p:cNvSpPr/>
          <p:nvPr/>
        </p:nvSpPr>
        <p:spPr>
          <a:xfrm>
            <a:off x="1013432" y="6340189"/>
            <a:ext cx="5387369" cy="4568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Calibri" pitchFamily="34" charset="0"/>
              </a:rPr>
              <a:t>ANGLE OF DEPARTURE</a:t>
            </a:r>
          </a:p>
        </p:txBody>
      </p:sp>
      <p:sp>
        <p:nvSpPr>
          <p:cNvPr id="22" name="Rectangle 21"/>
          <p:cNvSpPr/>
          <p:nvPr/>
        </p:nvSpPr>
        <p:spPr>
          <a:xfrm>
            <a:off x="110833" y="1320661"/>
            <a:ext cx="601649" cy="456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1</a:t>
            </a:r>
          </a:p>
        </p:txBody>
      </p:sp>
      <p:sp>
        <p:nvSpPr>
          <p:cNvPr id="23" name="Rectangle 22"/>
          <p:cNvSpPr/>
          <p:nvPr/>
        </p:nvSpPr>
        <p:spPr>
          <a:xfrm>
            <a:off x="110833" y="1947721"/>
            <a:ext cx="601649" cy="456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a:t>
            </a:r>
          </a:p>
        </p:txBody>
      </p:sp>
      <p:sp>
        <p:nvSpPr>
          <p:cNvPr id="24" name="Rectangle 23"/>
          <p:cNvSpPr/>
          <p:nvPr/>
        </p:nvSpPr>
        <p:spPr>
          <a:xfrm>
            <a:off x="110833" y="2574781"/>
            <a:ext cx="601649" cy="456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3</a:t>
            </a:r>
          </a:p>
        </p:txBody>
      </p:sp>
      <p:sp>
        <p:nvSpPr>
          <p:cNvPr id="25" name="Rectangle 24"/>
          <p:cNvSpPr/>
          <p:nvPr/>
        </p:nvSpPr>
        <p:spPr>
          <a:xfrm>
            <a:off x="110833" y="3201841"/>
            <a:ext cx="601649" cy="456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a:t>
            </a:r>
          </a:p>
        </p:txBody>
      </p:sp>
      <p:sp>
        <p:nvSpPr>
          <p:cNvPr id="26" name="Rectangle 25"/>
          <p:cNvSpPr/>
          <p:nvPr/>
        </p:nvSpPr>
        <p:spPr>
          <a:xfrm>
            <a:off x="110833" y="3828901"/>
            <a:ext cx="601649" cy="456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5</a:t>
            </a:r>
          </a:p>
        </p:txBody>
      </p:sp>
      <p:sp>
        <p:nvSpPr>
          <p:cNvPr id="27" name="Rectangle 26"/>
          <p:cNvSpPr/>
          <p:nvPr/>
        </p:nvSpPr>
        <p:spPr>
          <a:xfrm>
            <a:off x="110833" y="4455961"/>
            <a:ext cx="601649" cy="456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6</a:t>
            </a:r>
          </a:p>
        </p:txBody>
      </p:sp>
      <p:sp>
        <p:nvSpPr>
          <p:cNvPr id="28" name="Rectangle 27"/>
          <p:cNvSpPr/>
          <p:nvPr/>
        </p:nvSpPr>
        <p:spPr>
          <a:xfrm>
            <a:off x="110833" y="5083021"/>
            <a:ext cx="601649" cy="456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7</a:t>
            </a:r>
          </a:p>
        </p:txBody>
      </p:sp>
      <p:sp>
        <p:nvSpPr>
          <p:cNvPr id="29" name="Rectangle 28"/>
          <p:cNvSpPr/>
          <p:nvPr/>
        </p:nvSpPr>
        <p:spPr>
          <a:xfrm>
            <a:off x="110833" y="5710081"/>
            <a:ext cx="601649" cy="456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8</a:t>
            </a:r>
          </a:p>
        </p:txBody>
      </p:sp>
      <p:sp>
        <p:nvSpPr>
          <p:cNvPr id="30" name="Rectangle 29"/>
          <p:cNvSpPr/>
          <p:nvPr/>
        </p:nvSpPr>
        <p:spPr>
          <a:xfrm>
            <a:off x="110833" y="6337141"/>
            <a:ext cx="601649" cy="456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9</a:t>
            </a:r>
          </a:p>
        </p:txBody>
      </p:sp>
      <p:sp>
        <p:nvSpPr>
          <p:cNvPr id="32" name="Rectangle 31"/>
          <p:cNvSpPr/>
          <p:nvPr/>
        </p:nvSpPr>
        <p:spPr>
          <a:xfrm>
            <a:off x="6579569" y="1320661"/>
            <a:ext cx="1200727" cy="4568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WB</a:t>
            </a:r>
          </a:p>
        </p:txBody>
      </p:sp>
      <p:sp>
        <p:nvSpPr>
          <p:cNvPr id="33" name="Rectangle 32"/>
          <p:cNvSpPr/>
          <p:nvPr/>
        </p:nvSpPr>
        <p:spPr>
          <a:xfrm>
            <a:off x="6579569" y="1947721"/>
            <a:ext cx="1200727" cy="4568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OH</a:t>
            </a:r>
          </a:p>
        </p:txBody>
      </p:sp>
      <p:sp>
        <p:nvSpPr>
          <p:cNvPr id="34" name="Rectangle 33"/>
          <p:cNvSpPr/>
          <p:nvPr/>
        </p:nvSpPr>
        <p:spPr>
          <a:xfrm>
            <a:off x="6579569" y="2574781"/>
            <a:ext cx="1200727" cy="4568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OH</a:t>
            </a:r>
          </a:p>
        </p:txBody>
      </p:sp>
      <p:sp>
        <p:nvSpPr>
          <p:cNvPr id="35" name="Rectangle 34"/>
          <p:cNvSpPr/>
          <p:nvPr/>
        </p:nvSpPr>
        <p:spPr>
          <a:xfrm>
            <a:off x="6579569" y="3201841"/>
            <a:ext cx="1200727" cy="4568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OL</a:t>
            </a:r>
          </a:p>
        </p:txBody>
      </p:sp>
      <p:sp>
        <p:nvSpPr>
          <p:cNvPr id="36" name="Rectangle 35"/>
          <p:cNvSpPr/>
          <p:nvPr/>
        </p:nvSpPr>
        <p:spPr>
          <a:xfrm>
            <a:off x="6579569" y="3828901"/>
            <a:ext cx="1200727" cy="4568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T</a:t>
            </a:r>
          </a:p>
        </p:txBody>
      </p:sp>
      <p:sp>
        <p:nvSpPr>
          <p:cNvPr id="37" name="Rectangle 36"/>
          <p:cNvSpPr/>
          <p:nvPr/>
        </p:nvSpPr>
        <p:spPr>
          <a:xfrm>
            <a:off x="6579569" y="4455961"/>
            <a:ext cx="1200727" cy="4568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T</a:t>
            </a:r>
          </a:p>
        </p:txBody>
      </p:sp>
      <p:sp>
        <p:nvSpPr>
          <p:cNvPr id="38" name="Rectangle 37"/>
          <p:cNvSpPr/>
          <p:nvPr/>
        </p:nvSpPr>
        <p:spPr>
          <a:xfrm>
            <a:off x="6579569" y="5083021"/>
            <a:ext cx="1200727" cy="4568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GC</a:t>
            </a:r>
          </a:p>
        </p:txBody>
      </p:sp>
      <p:sp>
        <p:nvSpPr>
          <p:cNvPr id="39" name="Rectangle 38"/>
          <p:cNvSpPr/>
          <p:nvPr/>
        </p:nvSpPr>
        <p:spPr>
          <a:xfrm>
            <a:off x="6579569" y="5710081"/>
            <a:ext cx="1200727" cy="4568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A</a:t>
            </a:r>
          </a:p>
        </p:txBody>
      </p:sp>
      <p:sp>
        <p:nvSpPr>
          <p:cNvPr id="40" name="Rectangle 39"/>
          <p:cNvSpPr/>
          <p:nvPr/>
        </p:nvSpPr>
        <p:spPr>
          <a:xfrm>
            <a:off x="6579569" y="6337141"/>
            <a:ext cx="1200727" cy="4568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D</a:t>
            </a:r>
          </a:p>
        </p:txBody>
      </p:sp>
    </p:spTree>
    <p:extLst>
      <p:ext uri="{BB962C8B-B14F-4D97-AF65-F5344CB8AC3E}">
        <p14:creationId xmlns:p14="http://schemas.microsoft.com/office/powerpoint/2010/main" val="23552138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2" y="-5"/>
            <a:ext cx="9895667"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121467" y="47247"/>
            <a:ext cx="10464800"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LEADING DIMENSIONS</a:t>
            </a:r>
          </a:p>
        </p:txBody>
      </p:sp>
      <p:sp>
        <p:nvSpPr>
          <p:cNvPr id="12" name="Rectangle 11"/>
          <p:cNvSpPr/>
          <p:nvPr/>
        </p:nvSpPr>
        <p:spPr>
          <a:xfrm>
            <a:off x="156829" y="1076138"/>
            <a:ext cx="11933571"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Calibri" pitchFamily="34" charset="0"/>
              </a:rPr>
              <a:t>SINGLE AXLE VEHICLES</a:t>
            </a:r>
          </a:p>
        </p:txBody>
      </p:sp>
      <p:sp>
        <p:nvSpPr>
          <p:cNvPr id="13" name="Rectangle 12"/>
          <p:cNvSpPr/>
          <p:nvPr/>
        </p:nvSpPr>
        <p:spPr>
          <a:xfrm>
            <a:off x="156829" y="1553654"/>
            <a:ext cx="5735971" cy="5112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4" name="Rectangle 13"/>
          <p:cNvSpPr/>
          <p:nvPr/>
        </p:nvSpPr>
        <p:spPr>
          <a:xfrm>
            <a:off x="6006960" y="1540471"/>
            <a:ext cx="6059385" cy="5112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pic>
        <p:nvPicPr>
          <p:cNvPr id="8" name="Picture 7"/>
          <p:cNvPicPr>
            <a:picLocks noChangeAspect="1"/>
          </p:cNvPicPr>
          <p:nvPr/>
        </p:nvPicPr>
        <p:blipFill>
          <a:blip r:embed="rId3"/>
          <a:stretch>
            <a:fillRect/>
          </a:stretch>
        </p:blipFill>
        <p:spPr>
          <a:xfrm>
            <a:off x="629870" y="1691008"/>
            <a:ext cx="4789889" cy="1941485"/>
          </a:xfrm>
          <a:prstGeom prst="rect">
            <a:avLst/>
          </a:prstGeom>
        </p:spPr>
      </p:pic>
      <p:grpSp>
        <p:nvGrpSpPr>
          <p:cNvPr id="9" name="Group 8"/>
          <p:cNvGrpSpPr/>
          <p:nvPr/>
        </p:nvGrpSpPr>
        <p:grpSpPr>
          <a:xfrm>
            <a:off x="7620001" y="1708787"/>
            <a:ext cx="3688081" cy="4708165"/>
            <a:chOff x="6096000" y="2057400"/>
            <a:chExt cx="3048001" cy="3537313"/>
          </a:xfrm>
        </p:grpSpPr>
        <p:grpSp>
          <p:nvGrpSpPr>
            <p:cNvPr id="11" name="Group 18"/>
            <p:cNvGrpSpPr>
              <a:grpSpLocks/>
            </p:cNvGrpSpPr>
            <p:nvPr/>
          </p:nvGrpSpPr>
          <p:grpSpPr bwMode="auto">
            <a:xfrm>
              <a:off x="6411914" y="2794002"/>
              <a:ext cx="1785937" cy="898525"/>
              <a:chOff x="4512" y="1392"/>
              <a:chExt cx="576" cy="336"/>
            </a:xfrm>
          </p:grpSpPr>
          <p:sp>
            <p:nvSpPr>
              <p:cNvPr id="36" name="Line 19"/>
              <p:cNvSpPr>
                <a:spLocks noChangeShapeType="1"/>
              </p:cNvSpPr>
              <p:nvPr/>
            </p:nvSpPr>
            <p:spPr bwMode="auto">
              <a:xfrm rot="16200000" flipV="1">
                <a:off x="4602" y="1550"/>
                <a:ext cx="50" cy="58"/>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Line 20"/>
              <p:cNvSpPr>
                <a:spLocks noChangeShapeType="1"/>
              </p:cNvSpPr>
              <p:nvPr/>
            </p:nvSpPr>
            <p:spPr bwMode="auto">
              <a:xfrm flipV="1">
                <a:off x="4944" y="1554"/>
                <a:ext cx="58" cy="5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Line 21"/>
              <p:cNvSpPr>
                <a:spLocks noChangeShapeType="1"/>
              </p:cNvSpPr>
              <p:nvPr/>
            </p:nvSpPr>
            <p:spPr bwMode="auto">
              <a:xfrm>
                <a:off x="4656" y="1604"/>
                <a:ext cx="292"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Line 22"/>
              <p:cNvSpPr>
                <a:spLocks noChangeShapeType="1"/>
              </p:cNvSpPr>
              <p:nvPr/>
            </p:nvSpPr>
            <p:spPr bwMode="auto">
              <a:xfrm>
                <a:off x="4570" y="1554"/>
                <a:ext cx="28"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Line 23"/>
              <p:cNvSpPr>
                <a:spLocks noChangeShapeType="1"/>
              </p:cNvSpPr>
              <p:nvPr/>
            </p:nvSpPr>
            <p:spPr bwMode="auto">
              <a:xfrm>
                <a:off x="5002" y="1554"/>
                <a:ext cx="28"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AutoShape 24"/>
              <p:cNvSpPr>
                <a:spLocks noChangeArrowheads="1"/>
              </p:cNvSpPr>
              <p:nvPr/>
            </p:nvSpPr>
            <p:spPr bwMode="auto">
              <a:xfrm>
                <a:off x="5030" y="1392"/>
                <a:ext cx="58" cy="336"/>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sp>
            <p:nvSpPr>
              <p:cNvPr id="42" name="AutoShape 25"/>
              <p:cNvSpPr>
                <a:spLocks noChangeArrowheads="1"/>
              </p:cNvSpPr>
              <p:nvPr/>
            </p:nvSpPr>
            <p:spPr bwMode="auto">
              <a:xfrm>
                <a:off x="4512" y="1392"/>
                <a:ext cx="58" cy="336"/>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grpSp>
        <p:sp>
          <p:nvSpPr>
            <p:cNvPr id="15" name="Line 26"/>
            <p:cNvSpPr>
              <a:spLocks noChangeShapeType="1"/>
            </p:cNvSpPr>
            <p:nvPr/>
          </p:nvSpPr>
          <p:spPr bwMode="auto">
            <a:xfrm>
              <a:off x="6515100" y="2057400"/>
              <a:ext cx="0" cy="71913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Line 27"/>
            <p:cNvSpPr>
              <a:spLocks noChangeShapeType="1"/>
            </p:cNvSpPr>
            <p:nvPr/>
          </p:nvSpPr>
          <p:spPr bwMode="auto">
            <a:xfrm>
              <a:off x="8091488" y="2057400"/>
              <a:ext cx="0" cy="71913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Line 28"/>
            <p:cNvSpPr>
              <a:spLocks noChangeShapeType="1"/>
            </p:cNvSpPr>
            <p:nvPr/>
          </p:nvSpPr>
          <p:spPr bwMode="auto">
            <a:xfrm>
              <a:off x="6515100" y="2614613"/>
              <a:ext cx="1576388" cy="0"/>
            </a:xfrm>
            <a:prstGeom prst="line">
              <a:avLst/>
            </a:prstGeom>
            <a:noFill/>
            <a:ln w="9525">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Line 29"/>
            <p:cNvSpPr>
              <a:spLocks noChangeShapeType="1"/>
            </p:cNvSpPr>
            <p:nvPr/>
          </p:nvSpPr>
          <p:spPr bwMode="auto">
            <a:xfrm>
              <a:off x="6515100" y="3783013"/>
              <a:ext cx="0" cy="15287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Line 30"/>
            <p:cNvSpPr>
              <a:spLocks noChangeShapeType="1"/>
            </p:cNvSpPr>
            <p:nvPr/>
          </p:nvSpPr>
          <p:spPr bwMode="auto">
            <a:xfrm>
              <a:off x="8091488" y="3783013"/>
              <a:ext cx="0" cy="15287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Line 31"/>
            <p:cNvSpPr>
              <a:spLocks noChangeShapeType="1"/>
            </p:cNvSpPr>
            <p:nvPr/>
          </p:nvSpPr>
          <p:spPr bwMode="auto">
            <a:xfrm>
              <a:off x="6515100" y="4233863"/>
              <a:ext cx="1576388" cy="0"/>
            </a:xfrm>
            <a:prstGeom prst="line">
              <a:avLst/>
            </a:prstGeom>
            <a:noFill/>
            <a:ln w="9525">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Line 32"/>
            <p:cNvSpPr>
              <a:spLocks noChangeShapeType="1"/>
            </p:cNvSpPr>
            <p:nvPr/>
          </p:nvSpPr>
          <p:spPr bwMode="auto">
            <a:xfrm>
              <a:off x="6307139" y="3692525"/>
              <a:ext cx="283686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Line 33"/>
            <p:cNvSpPr>
              <a:spLocks noChangeShapeType="1"/>
            </p:cNvSpPr>
            <p:nvPr/>
          </p:nvSpPr>
          <p:spPr bwMode="auto">
            <a:xfrm>
              <a:off x="7354888" y="3333752"/>
              <a:ext cx="0" cy="358775"/>
            </a:xfrm>
            <a:prstGeom prst="line">
              <a:avLst/>
            </a:prstGeom>
            <a:noFill/>
            <a:ln w="3175">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Text Box 40"/>
            <p:cNvSpPr txBox="1">
              <a:spLocks noChangeArrowheads="1"/>
            </p:cNvSpPr>
            <p:nvPr/>
          </p:nvSpPr>
          <p:spPr bwMode="auto">
            <a:xfrm>
              <a:off x="7174491" y="2324027"/>
              <a:ext cx="303643" cy="20811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itchFamily="34" charset="0"/>
                  <a:ea typeface="+mn-ea"/>
                  <a:cs typeface="+mn-cs"/>
                </a:rPr>
                <a:t>F T</a:t>
              </a:r>
            </a:p>
          </p:txBody>
        </p:sp>
        <p:sp>
          <p:nvSpPr>
            <p:cNvPr id="24" name="Text Box 41"/>
            <p:cNvSpPr txBox="1">
              <a:spLocks noChangeArrowheads="1"/>
            </p:cNvSpPr>
            <p:nvPr/>
          </p:nvSpPr>
          <p:spPr bwMode="auto">
            <a:xfrm>
              <a:off x="7019660" y="3924225"/>
              <a:ext cx="375182" cy="20811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itchFamily="34" charset="0"/>
                  <a:ea typeface="+mn-ea"/>
                  <a:cs typeface="+mn-cs"/>
                </a:rPr>
                <a:t>  R T</a:t>
              </a:r>
            </a:p>
          </p:txBody>
        </p:sp>
        <p:grpSp>
          <p:nvGrpSpPr>
            <p:cNvPr id="25" name="Group 42"/>
            <p:cNvGrpSpPr>
              <a:grpSpLocks/>
            </p:cNvGrpSpPr>
            <p:nvPr/>
          </p:nvGrpSpPr>
          <p:grpSpPr bwMode="auto">
            <a:xfrm>
              <a:off x="6096000" y="4413246"/>
              <a:ext cx="3048000" cy="1181467"/>
              <a:chOff x="3774" y="2745"/>
              <a:chExt cx="1507" cy="631"/>
            </a:xfrm>
          </p:grpSpPr>
          <p:sp>
            <p:nvSpPr>
              <p:cNvPr id="26" name="Line 43"/>
              <p:cNvSpPr>
                <a:spLocks noChangeShapeType="1"/>
              </p:cNvSpPr>
              <p:nvPr/>
            </p:nvSpPr>
            <p:spPr bwMode="auto">
              <a:xfrm>
                <a:off x="3774" y="3225"/>
                <a:ext cx="1507"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AutoShape 44"/>
              <p:cNvSpPr>
                <a:spLocks noChangeArrowheads="1"/>
              </p:cNvSpPr>
              <p:nvPr/>
            </p:nvSpPr>
            <p:spPr bwMode="auto">
              <a:xfrm>
                <a:off x="3840" y="2745"/>
                <a:ext cx="85" cy="48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sp>
            <p:nvSpPr>
              <p:cNvPr id="28" name="AutoShape 45"/>
              <p:cNvSpPr>
                <a:spLocks noChangeArrowheads="1"/>
              </p:cNvSpPr>
              <p:nvPr/>
            </p:nvSpPr>
            <p:spPr bwMode="auto">
              <a:xfrm>
                <a:off x="4000" y="2745"/>
                <a:ext cx="85" cy="48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sp>
            <p:nvSpPr>
              <p:cNvPr id="29" name="AutoShape 46"/>
              <p:cNvSpPr>
                <a:spLocks noChangeArrowheads="1"/>
              </p:cNvSpPr>
              <p:nvPr/>
            </p:nvSpPr>
            <p:spPr bwMode="auto">
              <a:xfrm>
                <a:off x="4657" y="2745"/>
                <a:ext cx="86" cy="48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sp>
            <p:nvSpPr>
              <p:cNvPr id="30" name="AutoShape 47"/>
              <p:cNvSpPr>
                <a:spLocks noChangeArrowheads="1"/>
              </p:cNvSpPr>
              <p:nvPr/>
            </p:nvSpPr>
            <p:spPr bwMode="auto">
              <a:xfrm>
                <a:off x="4810" y="2745"/>
                <a:ext cx="86" cy="480"/>
              </a:xfrm>
              <a:prstGeom prst="roundRect">
                <a:avLst>
                  <a:gd name="adj" fmla="val 16667"/>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sp>
            <p:nvSpPr>
              <p:cNvPr id="31" name="Oval 48"/>
              <p:cNvSpPr>
                <a:spLocks noChangeArrowheads="1"/>
              </p:cNvSpPr>
              <p:nvPr/>
            </p:nvSpPr>
            <p:spPr bwMode="auto">
              <a:xfrm>
                <a:off x="4302" y="2937"/>
                <a:ext cx="147" cy="144"/>
              </a:xfrm>
              <a:prstGeom prst="ellipse">
                <a:avLst/>
              </a:prstGeom>
              <a:solidFill>
                <a:srgbClr val="FFFFFF"/>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sp>
            <p:nvSpPr>
              <p:cNvPr id="32" name="Rectangle 49"/>
              <p:cNvSpPr>
                <a:spLocks noChangeArrowheads="1"/>
              </p:cNvSpPr>
              <p:nvPr/>
            </p:nvSpPr>
            <p:spPr bwMode="auto">
              <a:xfrm>
                <a:off x="4449" y="2985"/>
                <a:ext cx="208" cy="48"/>
              </a:xfrm>
              <a:prstGeom prst="rect">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sp>
            <p:nvSpPr>
              <p:cNvPr id="33" name="Rectangle 50"/>
              <p:cNvSpPr>
                <a:spLocks noChangeArrowheads="1"/>
              </p:cNvSpPr>
              <p:nvPr/>
            </p:nvSpPr>
            <p:spPr bwMode="auto">
              <a:xfrm>
                <a:off x="4085" y="2985"/>
                <a:ext cx="212" cy="48"/>
              </a:xfrm>
              <a:prstGeom prst="rect">
                <a:avLst/>
              </a:prstGeom>
              <a:solidFill>
                <a:srgbClr val="FFFF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sp>
            <p:nvSpPr>
              <p:cNvPr id="34" name="Line 51"/>
              <p:cNvSpPr>
                <a:spLocks noChangeShapeType="1"/>
              </p:cNvSpPr>
              <p:nvPr/>
            </p:nvSpPr>
            <p:spPr bwMode="auto">
              <a:xfrm>
                <a:off x="4397" y="3081"/>
                <a:ext cx="0" cy="144"/>
              </a:xfrm>
              <a:prstGeom prst="line">
                <a:avLst/>
              </a:prstGeom>
              <a:noFill/>
              <a:ln w="3175">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Text Box 52"/>
              <p:cNvSpPr txBox="1">
                <a:spLocks noChangeArrowheads="1"/>
              </p:cNvSpPr>
              <p:nvPr/>
            </p:nvSpPr>
            <p:spPr bwMode="auto">
              <a:xfrm>
                <a:off x="4227" y="3265"/>
                <a:ext cx="232" cy="11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itchFamily="34" charset="0"/>
                    <a:ea typeface="+mn-ea"/>
                    <a:cs typeface="+mn-cs"/>
                  </a:rPr>
                  <a:t>M G C</a:t>
                </a:r>
              </a:p>
            </p:txBody>
          </p:sp>
        </p:grpSp>
      </p:grpSp>
      <p:pic>
        <p:nvPicPr>
          <p:cNvPr id="43" name="Picture 42"/>
          <p:cNvPicPr>
            <a:picLocks noChangeAspect="1"/>
          </p:cNvPicPr>
          <p:nvPr/>
        </p:nvPicPr>
        <p:blipFill rotWithShape="1">
          <a:blip r:embed="rId4"/>
          <a:srcRect b="51439"/>
          <a:stretch/>
        </p:blipFill>
        <p:spPr>
          <a:xfrm>
            <a:off x="998867" y="3776943"/>
            <a:ext cx="4267251" cy="1379259"/>
          </a:xfrm>
          <a:prstGeom prst="rect">
            <a:avLst/>
          </a:prstGeom>
        </p:spPr>
      </p:pic>
      <p:pic>
        <p:nvPicPr>
          <p:cNvPr id="44" name="Picture 43"/>
          <p:cNvPicPr>
            <a:picLocks noChangeAspect="1"/>
          </p:cNvPicPr>
          <p:nvPr/>
        </p:nvPicPr>
        <p:blipFill rotWithShape="1">
          <a:blip r:embed="rId4"/>
          <a:srcRect t="66586"/>
          <a:stretch/>
        </p:blipFill>
        <p:spPr>
          <a:xfrm>
            <a:off x="1301406" y="5410216"/>
            <a:ext cx="4935033" cy="1097549"/>
          </a:xfrm>
          <a:prstGeom prst="rect">
            <a:avLst/>
          </a:prstGeom>
        </p:spPr>
      </p:pic>
    </p:spTree>
    <p:extLst>
      <p:ext uri="{BB962C8B-B14F-4D97-AF65-F5344CB8AC3E}">
        <p14:creationId xmlns:p14="http://schemas.microsoft.com/office/powerpoint/2010/main" val="25959141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2" y="-5"/>
            <a:ext cx="9895667"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121467" y="47247"/>
            <a:ext cx="10464800"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LEADING DIMENSIONS</a:t>
            </a:r>
          </a:p>
        </p:txBody>
      </p:sp>
      <p:sp>
        <p:nvSpPr>
          <p:cNvPr id="12" name="Rectangle 11"/>
          <p:cNvSpPr/>
          <p:nvPr/>
        </p:nvSpPr>
        <p:spPr>
          <a:xfrm>
            <a:off x="156829" y="1076138"/>
            <a:ext cx="11933571"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Calibri" pitchFamily="34" charset="0"/>
              </a:rPr>
              <a:t>MULTI AXLE VEHICLES</a:t>
            </a:r>
          </a:p>
        </p:txBody>
      </p:sp>
      <p:sp>
        <p:nvSpPr>
          <p:cNvPr id="14" name="Rectangle 13"/>
          <p:cNvSpPr/>
          <p:nvPr/>
        </p:nvSpPr>
        <p:spPr>
          <a:xfrm>
            <a:off x="156831" y="1540471"/>
            <a:ext cx="11909515" cy="5112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pic>
        <p:nvPicPr>
          <p:cNvPr id="45" name="Picture 44"/>
          <p:cNvPicPr>
            <a:picLocks noChangeAspect="1"/>
          </p:cNvPicPr>
          <p:nvPr/>
        </p:nvPicPr>
        <p:blipFill rotWithShape="1">
          <a:blip r:embed="rId3"/>
          <a:srcRect r="29092" b="49100"/>
          <a:stretch/>
        </p:blipFill>
        <p:spPr>
          <a:xfrm>
            <a:off x="3213569" y="1794567"/>
            <a:ext cx="5820092" cy="2390487"/>
          </a:xfrm>
          <a:prstGeom prst="rect">
            <a:avLst/>
          </a:prstGeom>
        </p:spPr>
      </p:pic>
      <p:pic>
        <p:nvPicPr>
          <p:cNvPr id="46" name="Picture 45"/>
          <p:cNvPicPr>
            <a:picLocks noChangeAspect="1"/>
          </p:cNvPicPr>
          <p:nvPr/>
        </p:nvPicPr>
        <p:blipFill rotWithShape="1">
          <a:blip r:embed="rId3"/>
          <a:srcRect t="63455" r="29092"/>
          <a:stretch/>
        </p:blipFill>
        <p:spPr>
          <a:xfrm>
            <a:off x="2706709" y="4649388"/>
            <a:ext cx="6433313" cy="1897145"/>
          </a:xfrm>
          <a:prstGeom prst="rect">
            <a:avLst/>
          </a:prstGeom>
        </p:spPr>
      </p:pic>
    </p:spTree>
    <p:extLst>
      <p:ext uri="{BB962C8B-B14F-4D97-AF65-F5344CB8AC3E}">
        <p14:creationId xmlns:p14="http://schemas.microsoft.com/office/powerpoint/2010/main" val="30517653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2" y="-5"/>
            <a:ext cx="9895667"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121467" y="47247"/>
            <a:ext cx="10464800"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LEADING DIMENSIONS</a:t>
            </a:r>
          </a:p>
        </p:txBody>
      </p:sp>
      <p:sp>
        <p:nvSpPr>
          <p:cNvPr id="12" name="Rectangle 11"/>
          <p:cNvSpPr/>
          <p:nvPr/>
        </p:nvSpPr>
        <p:spPr>
          <a:xfrm>
            <a:off x="156829" y="1076138"/>
            <a:ext cx="11933571"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Calibri" pitchFamily="34" charset="0"/>
              </a:rPr>
              <a:t>FLOOR HEIGHT</a:t>
            </a:r>
          </a:p>
        </p:txBody>
      </p:sp>
      <p:sp>
        <p:nvSpPr>
          <p:cNvPr id="14" name="Rectangle 13"/>
          <p:cNvSpPr/>
          <p:nvPr/>
        </p:nvSpPr>
        <p:spPr>
          <a:xfrm>
            <a:off x="156832" y="1540471"/>
            <a:ext cx="11933569" cy="5112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pic>
        <p:nvPicPr>
          <p:cNvPr id="6" name="Picture 5"/>
          <p:cNvPicPr>
            <a:picLocks noChangeAspect="1"/>
          </p:cNvPicPr>
          <p:nvPr/>
        </p:nvPicPr>
        <p:blipFill rotWithShape="1">
          <a:blip r:embed="rId3"/>
          <a:srcRect t="14373"/>
          <a:stretch/>
        </p:blipFill>
        <p:spPr>
          <a:xfrm>
            <a:off x="1462197" y="1651623"/>
            <a:ext cx="9594204" cy="4908335"/>
          </a:xfrm>
          <a:prstGeom prst="rect">
            <a:avLst/>
          </a:prstGeom>
        </p:spPr>
      </p:pic>
    </p:spTree>
    <p:extLst>
      <p:ext uri="{BB962C8B-B14F-4D97-AF65-F5344CB8AC3E}">
        <p14:creationId xmlns:p14="http://schemas.microsoft.com/office/powerpoint/2010/main" val="1939381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2" y="-5"/>
            <a:ext cx="9895667"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121467" y="47247"/>
            <a:ext cx="10464800"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LEADING DIMENSIONS</a:t>
            </a:r>
          </a:p>
        </p:txBody>
      </p:sp>
      <p:sp>
        <p:nvSpPr>
          <p:cNvPr id="12" name="Rectangle 11"/>
          <p:cNvSpPr/>
          <p:nvPr/>
        </p:nvSpPr>
        <p:spPr>
          <a:xfrm>
            <a:off x="156829" y="1076138"/>
            <a:ext cx="4516771"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Calibri" pitchFamily="34" charset="0"/>
              </a:rPr>
              <a:t>FLOOR HEIGHT</a:t>
            </a:r>
          </a:p>
        </p:txBody>
      </p:sp>
      <p:sp>
        <p:nvSpPr>
          <p:cNvPr id="14" name="Rectangle 13"/>
          <p:cNvSpPr/>
          <p:nvPr/>
        </p:nvSpPr>
        <p:spPr>
          <a:xfrm>
            <a:off x="156832" y="1540471"/>
            <a:ext cx="4516769" cy="5112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sp>
        <p:nvSpPr>
          <p:cNvPr id="7" name="Rectangle 6"/>
          <p:cNvSpPr/>
          <p:nvPr/>
        </p:nvSpPr>
        <p:spPr>
          <a:xfrm>
            <a:off x="4759766" y="1076138"/>
            <a:ext cx="7315201"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Calibri" pitchFamily="34" charset="0"/>
              </a:rPr>
              <a:t>PLATFORMS</a:t>
            </a:r>
          </a:p>
        </p:txBody>
      </p:sp>
      <p:sp>
        <p:nvSpPr>
          <p:cNvPr id="8" name="Rectangle 7"/>
          <p:cNvSpPr/>
          <p:nvPr/>
        </p:nvSpPr>
        <p:spPr>
          <a:xfrm>
            <a:off x="4759769" y="1540471"/>
            <a:ext cx="7315199" cy="5112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pic>
        <p:nvPicPr>
          <p:cNvPr id="9" name="Picture 4"/>
          <p:cNvPicPr>
            <a:picLocks noChangeAspect="1" noChangeArrowheads="1"/>
          </p:cNvPicPr>
          <p:nvPr/>
        </p:nvPicPr>
        <p:blipFill>
          <a:blip r:embed="rId3"/>
          <a:srcRect/>
          <a:stretch>
            <a:fillRect/>
          </a:stretch>
        </p:blipFill>
        <p:spPr bwMode="auto">
          <a:xfrm>
            <a:off x="488962" y="1690948"/>
            <a:ext cx="1907005" cy="1021611"/>
          </a:xfrm>
          <a:prstGeom prst="rect">
            <a:avLst/>
          </a:prstGeom>
          <a:noFill/>
          <a:ln w="9525">
            <a:noFill/>
            <a:miter lim="800000"/>
            <a:headEnd/>
            <a:tailEnd/>
          </a:ln>
          <a:effectLst/>
        </p:spPr>
      </p:pic>
      <p:sp>
        <p:nvSpPr>
          <p:cNvPr id="11" name="TextBox 10"/>
          <p:cNvSpPr txBox="1"/>
          <p:nvPr/>
        </p:nvSpPr>
        <p:spPr>
          <a:xfrm>
            <a:off x="2534464" y="1690949"/>
            <a:ext cx="914400" cy="3693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E + 0</a:t>
            </a:r>
          </a:p>
        </p:txBody>
      </p:sp>
      <p:pic>
        <p:nvPicPr>
          <p:cNvPr id="13" name="Picture 5"/>
          <p:cNvPicPr>
            <a:picLocks noChangeAspect="1" noChangeArrowheads="1"/>
          </p:cNvPicPr>
          <p:nvPr/>
        </p:nvPicPr>
        <p:blipFill>
          <a:blip r:embed="rId4"/>
          <a:srcRect/>
          <a:stretch>
            <a:fillRect/>
          </a:stretch>
        </p:blipFill>
        <p:spPr bwMode="auto">
          <a:xfrm>
            <a:off x="488963" y="2708490"/>
            <a:ext cx="1907004" cy="1225932"/>
          </a:xfrm>
          <a:prstGeom prst="rect">
            <a:avLst/>
          </a:prstGeom>
          <a:noFill/>
          <a:ln w="9525">
            <a:noFill/>
            <a:miter lim="800000"/>
            <a:headEnd/>
            <a:tailEnd/>
          </a:ln>
          <a:effectLst/>
        </p:spPr>
      </p:pic>
      <p:sp>
        <p:nvSpPr>
          <p:cNvPr id="15" name="TextBox 14"/>
          <p:cNvSpPr txBox="1"/>
          <p:nvPr/>
        </p:nvSpPr>
        <p:spPr>
          <a:xfrm>
            <a:off x="2534464" y="2785998"/>
            <a:ext cx="914400" cy="3693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E + 1</a:t>
            </a:r>
          </a:p>
        </p:txBody>
      </p:sp>
      <p:pic>
        <p:nvPicPr>
          <p:cNvPr id="16" name="Picture 6"/>
          <p:cNvPicPr>
            <a:picLocks noChangeAspect="1" noChangeArrowheads="1"/>
          </p:cNvPicPr>
          <p:nvPr/>
        </p:nvPicPr>
        <p:blipFill>
          <a:blip r:embed="rId5"/>
          <a:srcRect/>
          <a:stretch>
            <a:fillRect/>
          </a:stretch>
        </p:blipFill>
        <p:spPr bwMode="auto">
          <a:xfrm>
            <a:off x="488962" y="3924069"/>
            <a:ext cx="1907005" cy="1294040"/>
          </a:xfrm>
          <a:prstGeom prst="rect">
            <a:avLst/>
          </a:prstGeom>
          <a:noFill/>
          <a:ln w="9525">
            <a:noFill/>
            <a:miter lim="800000"/>
            <a:headEnd/>
            <a:tailEnd/>
          </a:ln>
          <a:effectLst/>
        </p:spPr>
      </p:pic>
      <p:sp>
        <p:nvSpPr>
          <p:cNvPr id="17" name="TextBox 16"/>
          <p:cNvSpPr txBox="1"/>
          <p:nvPr/>
        </p:nvSpPr>
        <p:spPr>
          <a:xfrm>
            <a:off x="2534464" y="3958978"/>
            <a:ext cx="914400" cy="3693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E + 2</a:t>
            </a:r>
          </a:p>
        </p:txBody>
      </p:sp>
      <p:pic>
        <p:nvPicPr>
          <p:cNvPr id="18" name="Picture 7"/>
          <p:cNvPicPr>
            <a:picLocks noChangeAspect="1" noChangeArrowheads="1"/>
          </p:cNvPicPr>
          <p:nvPr/>
        </p:nvPicPr>
        <p:blipFill>
          <a:blip r:embed="rId6" cstate="print"/>
          <a:srcRect/>
          <a:stretch>
            <a:fillRect/>
          </a:stretch>
        </p:blipFill>
        <p:spPr bwMode="auto">
          <a:xfrm>
            <a:off x="488963" y="5205704"/>
            <a:ext cx="1907004" cy="1249417"/>
          </a:xfrm>
          <a:prstGeom prst="rect">
            <a:avLst/>
          </a:prstGeom>
          <a:noFill/>
          <a:ln w="9525">
            <a:noFill/>
            <a:miter lim="800000"/>
            <a:headEnd/>
            <a:tailEnd/>
          </a:ln>
          <a:effectLst/>
        </p:spPr>
      </p:pic>
      <p:sp>
        <p:nvSpPr>
          <p:cNvPr id="19" name="TextBox 18"/>
          <p:cNvSpPr txBox="1"/>
          <p:nvPr/>
        </p:nvSpPr>
        <p:spPr>
          <a:xfrm>
            <a:off x="2534464" y="5240806"/>
            <a:ext cx="914400" cy="3693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E + 3</a:t>
            </a:r>
          </a:p>
        </p:txBody>
      </p:sp>
      <p:sp>
        <p:nvSpPr>
          <p:cNvPr id="2" name="TextBox 1"/>
          <p:cNvSpPr txBox="1"/>
          <p:nvPr/>
        </p:nvSpPr>
        <p:spPr>
          <a:xfrm>
            <a:off x="2474214" y="2160472"/>
            <a:ext cx="973343" cy="33855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Century Gothic" panose="020B0502020202020204" pitchFamily="34" charset="0"/>
                <a:ea typeface="+mn-ea"/>
                <a:cs typeface="+mn-cs"/>
              </a:rPr>
              <a:t>400 mm</a:t>
            </a:r>
          </a:p>
        </p:txBody>
      </p:sp>
      <p:sp>
        <p:nvSpPr>
          <p:cNvPr id="20" name="TextBox 19"/>
          <p:cNvSpPr txBox="1"/>
          <p:nvPr/>
        </p:nvSpPr>
        <p:spPr>
          <a:xfrm>
            <a:off x="2415215" y="3103390"/>
            <a:ext cx="2100255" cy="584775"/>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400 mm +250 mm)</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Century Gothic" panose="020B0502020202020204" pitchFamily="34" charset="0"/>
                <a:ea typeface="+mn-ea"/>
                <a:cs typeface="+mn-cs"/>
              </a:rPr>
              <a:t>650 mm</a:t>
            </a:r>
          </a:p>
        </p:txBody>
      </p:sp>
      <p:sp>
        <p:nvSpPr>
          <p:cNvPr id="21" name="TextBox 20"/>
          <p:cNvSpPr txBox="1"/>
          <p:nvPr/>
        </p:nvSpPr>
        <p:spPr>
          <a:xfrm>
            <a:off x="2431978" y="4408519"/>
            <a:ext cx="2100255" cy="584775"/>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650 mm +250 mm)</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Century Gothic" panose="020B0502020202020204" pitchFamily="34" charset="0"/>
                <a:ea typeface="+mn-ea"/>
                <a:cs typeface="+mn-cs"/>
              </a:rPr>
              <a:t>900 mm</a:t>
            </a:r>
          </a:p>
        </p:txBody>
      </p:sp>
      <p:sp>
        <p:nvSpPr>
          <p:cNvPr id="22" name="TextBox 21"/>
          <p:cNvSpPr txBox="1"/>
          <p:nvPr/>
        </p:nvSpPr>
        <p:spPr>
          <a:xfrm>
            <a:off x="2448741" y="5744515"/>
            <a:ext cx="2100255" cy="584775"/>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900 mm +250 mm)</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Century Gothic" panose="020B0502020202020204" pitchFamily="34" charset="0"/>
                <a:ea typeface="+mn-ea"/>
                <a:cs typeface="+mn-cs"/>
              </a:rPr>
              <a:t>1150 mm</a:t>
            </a:r>
          </a:p>
        </p:txBody>
      </p:sp>
      <p:pic>
        <p:nvPicPr>
          <p:cNvPr id="23" name="Picture 3"/>
          <p:cNvPicPr>
            <a:picLocks noChangeAspect="1" noChangeArrowheads="1"/>
          </p:cNvPicPr>
          <p:nvPr/>
        </p:nvPicPr>
        <p:blipFill rotWithShape="1">
          <a:blip r:embed="rId7"/>
          <a:srcRect l="5238" t="467" r="473" b="54891"/>
          <a:stretch/>
        </p:blipFill>
        <p:spPr bwMode="auto">
          <a:xfrm>
            <a:off x="5723032" y="1540471"/>
            <a:ext cx="5388667" cy="2449252"/>
          </a:xfrm>
          <a:prstGeom prst="rect">
            <a:avLst/>
          </a:prstGeom>
          <a:noFill/>
          <a:ln w="9525">
            <a:noFill/>
            <a:miter lim="800000"/>
            <a:headEnd/>
            <a:tailEnd/>
          </a:ln>
          <a:effectLst/>
        </p:spPr>
      </p:pic>
      <p:sp>
        <p:nvSpPr>
          <p:cNvPr id="3" name="Rectangle 2"/>
          <p:cNvSpPr/>
          <p:nvPr/>
        </p:nvSpPr>
        <p:spPr>
          <a:xfrm>
            <a:off x="4759765" y="6360068"/>
            <a:ext cx="7315201" cy="29248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AVEMENT</a:t>
            </a:r>
          </a:p>
        </p:txBody>
      </p:sp>
      <p:sp>
        <p:nvSpPr>
          <p:cNvPr id="5" name="Rectangle 4"/>
          <p:cNvSpPr/>
          <p:nvPr/>
        </p:nvSpPr>
        <p:spPr>
          <a:xfrm>
            <a:off x="4758477" y="5744515"/>
            <a:ext cx="1423121" cy="6096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E+0</a:t>
            </a:r>
          </a:p>
        </p:txBody>
      </p:sp>
      <p:grpSp>
        <p:nvGrpSpPr>
          <p:cNvPr id="29" name="Group 28"/>
          <p:cNvGrpSpPr/>
          <p:nvPr/>
        </p:nvGrpSpPr>
        <p:grpSpPr>
          <a:xfrm>
            <a:off x="5317745" y="5729082"/>
            <a:ext cx="837090" cy="625033"/>
            <a:chOff x="3988306" y="4296811"/>
            <a:chExt cx="627817" cy="468775"/>
          </a:xfrm>
        </p:grpSpPr>
        <p:cxnSp>
          <p:nvCxnSpPr>
            <p:cNvPr id="25" name="Straight Arrow Connector 24"/>
            <p:cNvCxnSpPr/>
            <p:nvPr/>
          </p:nvCxnSpPr>
          <p:spPr>
            <a:xfrm>
              <a:off x="4027978" y="4296811"/>
              <a:ext cx="0" cy="468775"/>
            </a:xfrm>
            <a:prstGeom prst="straightConnector1">
              <a:avLst/>
            </a:prstGeom>
            <a:ln w="190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3988306" y="4408087"/>
              <a:ext cx="627817" cy="22309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00 mm</a:t>
              </a:r>
            </a:p>
          </p:txBody>
        </p:sp>
      </p:grpSp>
      <p:sp>
        <p:nvSpPr>
          <p:cNvPr id="30" name="Rectangle 29"/>
          <p:cNvSpPr/>
          <p:nvPr/>
        </p:nvSpPr>
        <p:spPr>
          <a:xfrm>
            <a:off x="6228028" y="5747491"/>
            <a:ext cx="1794029" cy="6096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E+0</a:t>
            </a:r>
          </a:p>
        </p:txBody>
      </p:sp>
      <p:sp>
        <p:nvSpPr>
          <p:cNvPr id="27" name="Rectangle 26"/>
          <p:cNvSpPr/>
          <p:nvPr/>
        </p:nvSpPr>
        <p:spPr>
          <a:xfrm>
            <a:off x="6228028" y="5405243"/>
            <a:ext cx="1794029" cy="31282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50 mm</a:t>
            </a:r>
          </a:p>
        </p:txBody>
      </p:sp>
      <p:grpSp>
        <p:nvGrpSpPr>
          <p:cNvPr id="31" name="Group 30"/>
          <p:cNvGrpSpPr/>
          <p:nvPr/>
        </p:nvGrpSpPr>
        <p:grpSpPr>
          <a:xfrm>
            <a:off x="7233987" y="5405246"/>
            <a:ext cx="874727" cy="915112"/>
            <a:chOff x="4058496" y="4127532"/>
            <a:chExt cx="656045" cy="686334"/>
          </a:xfrm>
        </p:grpSpPr>
        <p:cxnSp>
          <p:nvCxnSpPr>
            <p:cNvPr id="32" name="Straight Arrow Connector 31"/>
            <p:cNvCxnSpPr/>
            <p:nvPr/>
          </p:nvCxnSpPr>
          <p:spPr>
            <a:xfrm>
              <a:off x="4119406" y="4127532"/>
              <a:ext cx="0" cy="686334"/>
            </a:xfrm>
            <a:prstGeom prst="straightConnector1">
              <a:avLst/>
            </a:prstGeom>
            <a:ln w="190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4058496" y="4408916"/>
              <a:ext cx="656045" cy="384673"/>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650 mm</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E+1)</a:t>
              </a:r>
            </a:p>
          </p:txBody>
        </p:sp>
      </p:grpSp>
      <p:sp>
        <p:nvSpPr>
          <p:cNvPr id="34" name="Rectangle 33"/>
          <p:cNvSpPr/>
          <p:nvPr/>
        </p:nvSpPr>
        <p:spPr>
          <a:xfrm>
            <a:off x="8068488" y="5420221"/>
            <a:ext cx="1794029" cy="933895"/>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E+1</a:t>
            </a:r>
          </a:p>
        </p:txBody>
      </p:sp>
      <p:sp>
        <p:nvSpPr>
          <p:cNvPr id="36" name="Rectangle 35"/>
          <p:cNvSpPr/>
          <p:nvPr/>
        </p:nvSpPr>
        <p:spPr>
          <a:xfrm>
            <a:off x="8068488" y="5071493"/>
            <a:ext cx="1794029" cy="31282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50 mm</a:t>
            </a:r>
          </a:p>
        </p:txBody>
      </p:sp>
      <p:grpSp>
        <p:nvGrpSpPr>
          <p:cNvPr id="37" name="Group 36"/>
          <p:cNvGrpSpPr/>
          <p:nvPr/>
        </p:nvGrpSpPr>
        <p:grpSpPr>
          <a:xfrm>
            <a:off x="9042331" y="5041575"/>
            <a:ext cx="874727" cy="1339815"/>
            <a:chOff x="4034212" y="3875669"/>
            <a:chExt cx="656045" cy="1004861"/>
          </a:xfrm>
        </p:grpSpPr>
        <p:cxnSp>
          <p:nvCxnSpPr>
            <p:cNvPr id="38" name="Straight Arrow Connector 37"/>
            <p:cNvCxnSpPr/>
            <p:nvPr/>
          </p:nvCxnSpPr>
          <p:spPr>
            <a:xfrm>
              <a:off x="4084681" y="3875669"/>
              <a:ext cx="0" cy="1004861"/>
            </a:xfrm>
            <a:prstGeom prst="straightConnector1">
              <a:avLst/>
            </a:prstGeom>
            <a:ln w="190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4034212" y="4263394"/>
              <a:ext cx="656045" cy="384673"/>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900 mm</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E+2)</a:t>
              </a:r>
            </a:p>
          </p:txBody>
        </p:sp>
      </p:grpSp>
      <p:sp>
        <p:nvSpPr>
          <p:cNvPr id="40" name="Rectangle 39"/>
          <p:cNvSpPr/>
          <p:nvPr/>
        </p:nvSpPr>
        <p:spPr>
          <a:xfrm>
            <a:off x="9908948" y="5071493"/>
            <a:ext cx="1794029" cy="1303263"/>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E+2</a:t>
            </a:r>
          </a:p>
        </p:txBody>
      </p:sp>
      <p:sp>
        <p:nvSpPr>
          <p:cNvPr id="41" name="Rectangle 40"/>
          <p:cNvSpPr/>
          <p:nvPr/>
        </p:nvSpPr>
        <p:spPr>
          <a:xfrm>
            <a:off x="9908948" y="4739689"/>
            <a:ext cx="1794029" cy="31282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50 mm</a:t>
            </a:r>
          </a:p>
        </p:txBody>
      </p:sp>
      <p:grpSp>
        <p:nvGrpSpPr>
          <p:cNvPr id="42" name="Group 41"/>
          <p:cNvGrpSpPr/>
          <p:nvPr/>
        </p:nvGrpSpPr>
        <p:grpSpPr>
          <a:xfrm>
            <a:off x="10881281" y="4740676"/>
            <a:ext cx="938847" cy="1621176"/>
            <a:chOff x="4011062" y="3723858"/>
            <a:chExt cx="704135" cy="1215882"/>
          </a:xfrm>
        </p:grpSpPr>
        <p:cxnSp>
          <p:nvCxnSpPr>
            <p:cNvPr id="43" name="Straight Arrow Connector 42"/>
            <p:cNvCxnSpPr/>
            <p:nvPr/>
          </p:nvCxnSpPr>
          <p:spPr>
            <a:xfrm>
              <a:off x="4084681" y="3723858"/>
              <a:ext cx="0" cy="1215882"/>
            </a:xfrm>
            <a:prstGeom prst="straightConnector1">
              <a:avLst/>
            </a:prstGeom>
            <a:ln w="190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4011062" y="4263394"/>
              <a:ext cx="704135" cy="384673"/>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1150 mm</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E+3)</a:t>
              </a:r>
            </a:p>
          </p:txBody>
        </p:sp>
      </p:grpSp>
      <p:sp>
        <p:nvSpPr>
          <p:cNvPr id="6" name="TextBox 5"/>
          <p:cNvSpPr txBox="1"/>
          <p:nvPr/>
        </p:nvSpPr>
        <p:spPr>
          <a:xfrm>
            <a:off x="5201260" y="5243941"/>
            <a:ext cx="309700" cy="379656"/>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E</a:t>
            </a:r>
          </a:p>
        </p:txBody>
      </p:sp>
      <p:sp>
        <p:nvSpPr>
          <p:cNvPr id="45" name="TextBox 44"/>
          <p:cNvSpPr txBox="1"/>
          <p:nvPr/>
        </p:nvSpPr>
        <p:spPr>
          <a:xfrm>
            <a:off x="6811885" y="4976919"/>
            <a:ext cx="771365" cy="379656"/>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E+1)</a:t>
            </a:r>
          </a:p>
        </p:txBody>
      </p:sp>
      <p:sp>
        <p:nvSpPr>
          <p:cNvPr id="46" name="TextBox 45"/>
          <p:cNvSpPr txBox="1"/>
          <p:nvPr/>
        </p:nvSpPr>
        <p:spPr>
          <a:xfrm>
            <a:off x="8666602" y="4653213"/>
            <a:ext cx="771365" cy="379656"/>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E+2)</a:t>
            </a:r>
          </a:p>
        </p:txBody>
      </p:sp>
      <p:sp>
        <p:nvSpPr>
          <p:cNvPr id="47" name="TextBox 46"/>
          <p:cNvSpPr txBox="1"/>
          <p:nvPr/>
        </p:nvSpPr>
        <p:spPr>
          <a:xfrm>
            <a:off x="10505889" y="4327044"/>
            <a:ext cx="771365" cy="379656"/>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E+3)</a:t>
            </a:r>
          </a:p>
        </p:txBody>
      </p:sp>
    </p:spTree>
    <p:extLst>
      <p:ext uri="{BB962C8B-B14F-4D97-AF65-F5344CB8AC3E}">
        <p14:creationId xmlns:p14="http://schemas.microsoft.com/office/powerpoint/2010/main" val="42818056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2" y="-5"/>
            <a:ext cx="9895667"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121467" y="47247"/>
            <a:ext cx="10464800"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LEADING DIMENSIONS</a:t>
            </a:r>
          </a:p>
        </p:txBody>
      </p:sp>
      <p:sp>
        <p:nvSpPr>
          <p:cNvPr id="12" name="Rectangle 11"/>
          <p:cNvSpPr/>
          <p:nvPr/>
        </p:nvSpPr>
        <p:spPr>
          <a:xfrm>
            <a:off x="156829" y="1076138"/>
            <a:ext cx="11933571"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Calibri" pitchFamily="34" charset="0"/>
              </a:rPr>
              <a:t>TRACTOR  FIFTH WHEEL COUPLING KING PIN OFFSET</a:t>
            </a:r>
          </a:p>
        </p:txBody>
      </p:sp>
      <p:sp>
        <p:nvSpPr>
          <p:cNvPr id="14" name="Rectangle 13"/>
          <p:cNvSpPr/>
          <p:nvPr/>
        </p:nvSpPr>
        <p:spPr>
          <a:xfrm>
            <a:off x="156832" y="1540471"/>
            <a:ext cx="11933569" cy="5112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grpSp>
        <p:nvGrpSpPr>
          <p:cNvPr id="62" name="Group 4"/>
          <p:cNvGrpSpPr>
            <a:grpSpLocks/>
          </p:cNvGrpSpPr>
          <p:nvPr/>
        </p:nvGrpSpPr>
        <p:grpSpPr bwMode="auto">
          <a:xfrm>
            <a:off x="3352800" y="2004805"/>
            <a:ext cx="6396037" cy="1750881"/>
            <a:chOff x="937" y="1248"/>
            <a:chExt cx="4363" cy="1313"/>
          </a:xfrm>
        </p:grpSpPr>
        <p:sp>
          <p:nvSpPr>
            <p:cNvPr id="63" name="Rectangle 8"/>
            <p:cNvSpPr>
              <a:spLocks noChangeArrowheads="1"/>
            </p:cNvSpPr>
            <p:nvPr/>
          </p:nvSpPr>
          <p:spPr bwMode="auto">
            <a:xfrm>
              <a:off x="1256" y="1608"/>
              <a:ext cx="1529" cy="69"/>
            </a:xfrm>
            <a:prstGeom prst="rect">
              <a:avLst/>
            </a:prstGeom>
            <a:solidFill>
              <a:schemeClr val="tx2">
                <a:lumMod val="75000"/>
              </a:schemeClr>
            </a:solidFill>
            <a:ln w="9525">
              <a:solidFill>
                <a:schemeClr val="tx2"/>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64" name="AutoShape 5"/>
            <p:cNvSpPr>
              <a:spLocks noChangeArrowheads="1"/>
            </p:cNvSpPr>
            <p:nvPr/>
          </p:nvSpPr>
          <p:spPr bwMode="auto">
            <a:xfrm>
              <a:off x="1033" y="1248"/>
              <a:ext cx="359" cy="528"/>
            </a:xfrm>
            <a:prstGeom prst="roundRect">
              <a:avLst>
                <a:gd name="adj" fmla="val 16667"/>
              </a:avLst>
            </a:prstGeom>
            <a:solidFill>
              <a:srgbClr val="FF0000"/>
            </a:solidFill>
            <a:ln w="9525">
              <a:solidFill>
                <a:schemeClr val="tx2"/>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65" name="Line 6"/>
            <p:cNvSpPr>
              <a:spLocks noChangeShapeType="1"/>
            </p:cNvSpPr>
            <p:nvPr/>
          </p:nvSpPr>
          <p:spPr bwMode="auto">
            <a:xfrm>
              <a:off x="2077" y="1674"/>
              <a:ext cx="0" cy="887"/>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66" name="Rectangle 7"/>
            <p:cNvSpPr>
              <a:spLocks noChangeArrowheads="1"/>
            </p:cNvSpPr>
            <p:nvPr/>
          </p:nvSpPr>
          <p:spPr bwMode="auto">
            <a:xfrm>
              <a:off x="949" y="1485"/>
              <a:ext cx="84" cy="243"/>
            </a:xfrm>
            <a:prstGeom prst="rect">
              <a:avLst/>
            </a:prstGeom>
            <a:solidFill>
              <a:schemeClr val="bg1"/>
            </a:solidFill>
            <a:ln w="9525">
              <a:solidFill>
                <a:schemeClr val="tx2"/>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67" name="Line 9"/>
            <p:cNvSpPr>
              <a:spLocks noChangeShapeType="1"/>
            </p:cNvSpPr>
            <p:nvPr/>
          </p:nvSpPr>
          <p:spPr bwMode="auto">
            <a:xfrm>
              <a:off x="2085" y="1531"/>
              <a:ext cx="0" cy="47"/>
            </a:xfrm>
            <a:prstGeom prst="line">
              <a:avLst/>
            </a:prstGeom>
            <a:noFill/>
            <a:ln w="76200">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68" name="Oval 10"/>
            <p:cNvSpPr>
              <a:spLocks noChangeArrowheads="1"/>
            </p:cNvSpPr>
            <p:nvPr/>
          </p:nvSpPr>
          <p:spPr bwMode="auto">
            <a:xfrm>
              <a:off x="1117" y="1672"/>
              <a:ext cx="323" cy="336"/>
            </a:xfrm>
            <a:prstGeom prst="ellipse">
              <a:avLst/>
            </a:prstGeom>
            <a:solidFill>
              <a:srgbClr val="FFFF00"/>
            </a:solidFill>
            <a:ln w="28575">
              <a:solidFill>
                <a:schemeClr val="tx2"/>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69" name="Oval 11"/>
            <p:cNvSpPr>
              <a:spLocks noChangeArrowheads="1"/>
            </p:cNvSpPr>
            <p:nvPr/>
          </p:nvSpPr>
          <p:spPr bwMode="auto">
            <a:xfrm>
              <a:off x="2312" y="1662"/>
              <a:ext cx="324" cy="335"/>
            </a:xfrm>
            <a:prstGeom prst="ellipse">
              <a:avLst/>
            </a:prstGeom>
            <a:solidFill>
              <a:srgbClr val="FFFF00"/>
            </a:solidFill>
            <a:ln w="28575">
              <a:solidFill>
                <a:schemeClr val="tx2"/>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70" name="Oval 12"/>
            <p:cNvSpPr>
              <a:spLocks noChangeArrowheads="1"/>
            </p:cNvSpPr>
            <p:nvPr/>
          </p:nvSpPr>
          <p:spPr bwMode="auto">
            <a:xfrm>
              <a:off x="2433" y="1781"/>
              <a:ext cx="83" cy="95"/>
            </a:xfrm>
            <a:prstGeom prst="ellipse">
              <a:avLst/>
            </a:prstGeom>
            <a:solidFill>
              <a:schemeClr val="tx1"/>
            </a:solidFill>
            <a:ln w="9525">
              <a:solidFill>
                <a:schemeClr val="tx2"/>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71" name="Oval 13"/>
            <p:cNvSpPr>
              <a:spLocks noChangeArrowheads="1"/>
            </p:cNvSpPr>
            <p:nvPr/>
          </p:nvSpPr>
          <p:spPr bwMode="auto">
            <a:xfrm>
              <a:off x="1230" y="1793"/>
              <a:ext cx="84" cy="95"/>
            </a:xfrm>
            <a:prstGeom prst="ellipse">
              <a:avLst/>
            </a:prstGeom>
            <a:solidFill>
              <a:schemeClr val="tx1"/>
            </a:solidFill>
            <a:ln w="9525">
              <a:solidFill>
                <a:schemeClr val="tx2"/>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72" name="Text Box 14"/>
            <p:cNvSpPr txBox="1">
              <a:spLocks noChangeArrowheads="1"/>
            </p:cNvSpPr>
            <p:nvPr/>
          </p:nvSpPr>
          <p:spPr bwMode="auto">
            <a:xfrm>
              <a:off x="2587" y="2057"/>
              <a:ext cx="1225" cy="254"/>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uLnTx/>
                  <a:uFillTx/>
                  <a:latin typeface="Century Gothic" panose="020B0502020202020204" pitchFamily="34" charset="0"/>
                  <a:ea typeface="+mn-ea"/>
                  <a:cs typeface="Calibri" pitchFamily="34" charset="0"/>
                </a:rPr>
                <a:t>KING PIN OFFSET</a:t>
              </a:r>
            </a:p>
          </p:txBody>
        </p:sp>
        <p:sp>
          <p:nvSpPr>
            <p:cNvPr id="73" name="Line 15"/>
            <p:cNvSpPr>
              <a:spLocks noChangeShapeType="1"/>
            </p:cNvSpPr>
            <p:nvPr/>
          </p:nvSpPr>
          <p:spPr bwMode="auto">
            <a:xfrm>
              <a:off x="1680" y="2448"/>
              <a:ext cx="377" cy="0"/>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74" name="Line 16"/>
            <p:cNvSpPr>
              <a:spLocks noChangeShapeType="1"/>
            </p:cNvSpPr>
            <p:nvPr/>
          </p:nvSpPr>
          <p:spPr bwMode="auto">
            <a:xfrm flipH="1">
              <a:off x="2516" y="2448"/>
              <a:ext cx="375" cy="0"/>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75" name="Line 17"/>
            <p:cNvSpPr>
              <a:spLocks noChangeShapeType="1"/>
            </p:cNvSpPr>
            <p:nvPr/>
          </p:nvSpPr>
          <p:spPr bwMode="auto">
            <a:xfrm>
              <a:off x="2474" y="1890"/>
              <a:ext cx="0" cy="660"/>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76" name="Line 18"/>
            <p:cNvSpPr>
              <a:spLocks noChangeShapeType="1"/>
            </p:cNvSpPr>
            <p:nvPr/>
          </p:nvSpPr>
          <p:spPr bwMode="auto">
            <a:xfrm flipH="1">
              <a:off x="937" y="1344"/>
              <a:ext cx="96" cy="144"/>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77" name="Rectangle 19"/>
            <p:cNvSpPr>
              <a:spLocks noChangeArrowheads="1"/>
            </p:cNvSpPr>
            <p:nvPr/>
          </p:nvSpPr>
          <p:spPr bwMode="auto">
            <a:xfrm>
              <a:off x="1081" y="1308"/>
              <a:ext cx="192" cy="192"/>
            </a:xfrm>
            <a:prstGeom prst="rect">
              <a:avLst/>
            </a:prstGeom>
            <a:solidFill>
              <a:srgbClr val="FFFFFF"/>
            </a:solidFill>
            <a:ln w="9525">
              <a:solidFill>
                <a:schemeClr val="tx2"/>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78" name="Rectangle 20"/>
            <p:cNvSpPr>
              <a:spLocks noChangeArrowheads="1"/>
            </p:cNvSpPr>
            <p:nvPr/>
          </p:nvSpPr>
          <p:spPr bwMode="auto">
            <a:xfrm>
              <a:off x="1104" y="1344"/>
              <a:ext cx="144" cy="144"/>
            </a:xfrm>
            <a:prstGeom prst="rect">
              <a:avLst/>
            </a:prstGeom>
            <a:solidFill>
              <a:srgbClr val="000099"/>
            </a:solidFill>
            <a:ln w="9525">
              <a:solidFill>
                <a:schemeClr val="tx2"/>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79" name="Rectangle 21"/>
            <p:cNvSpPr>
              <a:spLocks noChangeArrowheads="1"/>
            </p:cNvSpPr>
            <p:nvPr/>
          </p:nvSpPr>
          <p:spPr bwMode="auto">
            <a:xfrm rot="156240">
              <a:off x="1831" y="1502"/>
              <a:ext cx="3449" cy="50"/>
            </a:xfrm>
            <a:prstGeom prst="rect">
              <a:avLst/>
            </a:prstGeom>
            <a:solidFill>
              <a:schemeClr val="bg1">
                <a:lumMod val="75000"/>
              </a:schemeClr>
            </a:solidFill>
            <a:ln w="9525">
              <a:no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80" name="Rectangle 22"/>
            <p:cNvSpPr>
              <a:spLocks noChangeArrowheads="1"/>
            </p:cNvSpPr>
            <p:nvPr/>
          </p:nvSpPr>
          <p:spPr bwMode="auto">
            <a:xfrm rot="156240">
              <a:off x="2889" y="1531"/>
              <a:ext cx="2411" cy="174"/>
            </a:xfrm>
            <a:prstGeom prst="rect">
              <a:avLst/>
            </a:prstGeom>
            <a:solidFill>
              <a:schemeClr val="bg1">
                <a:lumMod val="75000"/>
              </a:schemeClr>
            </a:solidFill>
            <a:ln w="9525">
              <a:no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81" name="Line 23"/>
            <p:cNvSpPr>
              <a:spLocks noChangeShapeType="1"/>
            </p:cNvSpPr>
            <p:nvPr/>
          </p:nvSpPr>
          <p:spPr bwMode="auto">
            <a:xfrm rot="156240">
              <a:off x="2094" y="1483"/>
              <a:ext cx="0" cy="47"/>
            </a:xfrm>
            <a:prstGeom prst="line">
              <a:avLst/>
            </a:prstGeom>
            <a:noFill/>
            <a:ln w="762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82" name="Oval 24"/>
            <p:cNvSpPr>
              <a:spLocks noChangeArrowheads="1"/>
            </p:cNvSpPr>
            <p:nvPr/>
          </p:nvSpPr>
          <p:spPr bwMode="auto">
            <a:xfrm rot="156240">
              <a:off x="4226" y="1683"/>
              <a:ext cx="324" cy="337"/>
            </a:xfrm>
            <a:prstGeom prst="ellipse">
              <a:avLst/>
            </a:prstGeom>
            <a:solidFill>
              <a:srgbClr val="FFFF00"/>
            </a:solidFill>
            <a:ln w="28575">
              <a:solidFill>
                <a:schemeClr val="tx2"/>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83" name="Oval 25"/>
            <p:cNvSpPr>
              <a:spLocks noChangeArrowheads="1"/>
            </p:cNvSpPr>
            <p:nvPr/>
          </p:nvSpPr>
          <p:spPr bwMode="auto">
            <a:xfrm rot="156240">
              <a:off x="4682" y="1680"/>
              <a:ext cx="325" cy="335"/>
            </a:xfrm>
            <a:prstGeom prst="ellipse">
              <a:avLst/>
            </a:prstGeom>
            <a:solidFill>
              <a:srgbClr val="FFFF00"/>
            </a:solidFill>
            <a:ln w="28575">
              <a:solidFill>
                <a:schemeClr val="tx2"/>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84" name="Oval 26"/>
            <p:cNvSpPr>
              <a:spLocks noChangeArrowheads="1"/>
            </p:cNvSpPr>
            <p:nvPr/>
          </p:nvSpPr>
          <p:spPr bwMode="auto">
            <a:xfrm rot="156240">
              <a:off x="4339" y="1812"/>
              <a:ext cx="83" cy="95"/>
            </a:xfrm>
            <a:prstGeom prst="ellipse">
              <a:avLst/>
            </a:prstGeom>
            <a:solidFill>
              <a:schemeClr val="tx1"/>
            </a:solidFill>
            <a:ln w="9525">
              <a:solidFill>
                <a:schemeClr val="tx2"/>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85" name="Oval 27"/>
            <p:cNvSpPr>
              <a:spLocks noChangeArrowheads="1"/>
            </p:cNvSpPr>
            <p:nvPr/>
          </p:nvSpPr>
          <p:spPr bwMode="auto">
            <a:xfrm rot="156240">
              <a:off x="4798" y="1808"/>
              <a:ext cx="84" cy="95"/>
            </a:xfrm>
            <a:prstGeom prst="ellipse">
              <a:avLst/>
            </a:prstGeom>
            <a:solidFill>
              <a:schemeClr val="tx1"/>
            </a:solidFill>
            <a:ln w="9525">
              <a:solidFill>
                <a:schemeClr val="tx2"/>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86" name="AutoShape 28"/>
            <p:cNvSpPr>
              <a:spLocks noChangeArrowheads="1"/>
            </p:cNvSpPr>
            <p:nvPr/>
          </p:nvSpPr>
          <p:spPr bwMode="auto">
            <a:xfrm>
              <a:off x="1728" y="1488"/>
              <a:ext cx="672" cy="96"/>
            </a:xfrm>
            <a:prstGeom prst="rtTriangle">
              <a:avLst/>
            </a:prstGeom>
            <a:solidFill>
              <a:srgbClr val="00B0F0"/>
            </a:solidFill>
            <a:ln w="9525">
              <a:solidFill>
                <a:schemeClr val="tx2"/>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grpSp>
      <p:sp>
        <p:nvSpPr>
          <p:cNvPr id="87" name="Text Box 3"/>
          <p:cNvSpPr txBox="1">
            <a:spLocks noChangeArrowheads="1"/>
          </p:cNvSpPr>
          <p:nvPr/>
        </p:nvSpPr>
        <p:spPr bwMode="auto">
          <a:xfrm>
            <a:off x="454359" y="4692809"/>
            <a:ext cx="9828307" cy="1733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marL="4476750" indent="-4476750" eaLnBrk="0" hangingPunct="0">
              <a:tabLst>
                <a:tab pos="1047750" algn="l"/>
                <a:tab pos="3905250" algn="l"/>
                <a:tab pos="4476750" algn="l"/>
              </a:tabLst>
              <a:defRPr b="1" i="1">
                <a:solidFill>
                  <a:schemeClr val="tx1"/>
                </a:solidFill>
                <a:latin typeface="Arial" pitchFamily="34" charset="0"/>
              </a:defRPr>
            </a:lvl1pPr>
            <a:lvl2pPr marL="742950" indent="-285750" eaLnBrk="0" hangingPunct="0">
              <a:tabLst>
                <a:tab pos="1047750" algn="l"/>
                <a:tab pos="3905250" algn="l"/>
                <a:tab pos="4476750" algn="l"/>
              </a:tabLst>
              <a:defRPr b="1" i="1">
                <a:solidFill>
                  <a:schemeClr val="tx1"/>
                </a:solidFill>
                <a:latin typeface="Arial" pitchFamily="34" charset="0"/>
              </a:defRPr>
            </a:lvl2pPr>
            <a:lvl3pPr marL="1143000" indent="-228600" eaLnBrk="0" hangingPunct="0">
              <a:tabLst>
                <a:tab pos="1047750" algn="l"/>
                <a:tab pos="3905250" algn="l"/>
                <a:tab pos="4476750" algn="l"/>
              </a:tabLst>
              <a:defRPr b="1" i="1">
                <a:solidFill>
                  <a:schemeClr val="tx1"/>
                </a:solidFill>
                <a:latin typeface="Arial" pitchFamily="34" charset="0"/>
              </a:defRPr>
            </a:lvl3pPr>
            <a:lvl4pPr marL="1600200" indent="-228600" eaLnBrk="0" hangingPunct="0">
              <a:tabLst>
                <a:tab pos="1047750" algn="l"/>
                <a:tab pos="3905250" algn="l"/>
                <a:tab pos="4476750" algn="l"/>
              </a:tabLst>
              <a:defRPr b="1" i="1">
                <a:solidFill>
                  <a:schemeClr val="tx1"/>
                </a:solidFill>
                <a:latin typeface="Arial" pitchFamily="34" charset="0"/>
              </a:defRPr>
            </a:lvl4pPr>
            <a:lvl5pPr marL="2057400" indent="-228600" eaLnBrk="0" hangingPunct="0">
              <a:tabLst>
                <a:tab pos="1047750" algn="l"/>
                <a:tab pos="3905250" algn="l"/>
                <a:tab pos="4476750" algn="l"/>
              </a:tabLst>
              <a:defRPr b="1" i="1">
                <a:solidFill>
                  <a:schemeClr val="tx1"/>
                </a:solidFill>
                <a:latin typeface="Arial" pitchFamily="34" charset="0"/>
              </a:defRPr>
            </a:lvl5pPr>
            <a:lvl6pPr marL="2514600" indent="-228600" eaLnBrk="0" fontAlgn="base" hangingPunct="0">
              <a:spcBef>
                <a:spcPct val="0"/>
              </a:spcBef>
              <a:spcAft>
                <a:spcPct val="0"/>
              </a:spcAft>
              <a:tabLst>
                <a:tab pos="1047750" algn="l"/>
                <a:tab pos="3905250" algn="l"/>
                <a:tab pos="4476750" algn="l"/>
              </a:tabLst>
              <a:defRPr b="1" i="1">
                <a:solidFill>
                  <a:schemeClr val="tx1"/>
                </a:solidFill>
                <a:latin typeface="Arial" pitchFamily="34" charset="0"/>
              </a:defRPr>
            </a:lvl6pPr>
            <a:lvl7pPr marL="2971800" indent="-228600" eaLnBrk="0" fontAlgn="base" hangingPunct="0">
              <a:spcBef>
                <a:spcPct val="0"/>
              </a:spcBef>
              <a:spcAft>
                <a:spcPct val="0"/>
              </a:spcAft>
              <a:tabLst>
                <a:tab pos="1047750" algn="l"/>
                <a:tab pos="3905250" algn="l"/>
                <a:tab pos="4476750" algn="l"/>
              </a:tabLst>
              <a:defRPr b="1" i="1">
                <a:solidFill>
                  <a:schemeClr val="tx1"/>
                </a:solidFill>
                <a:latin typeface="Arial" pitchFamily="34" charset="0"/>
              </a:defRPr>
            </a:lvl7pPr>
            <a:lvl8pPr marL="3429000" indent="-228600" eaLnBrk="0" fontAlgn="base" hangingPunct="0">
              <a:spcBef>
                <a:spcPct val="0"/>
              </a:spcBef>
              <a:spcAft>
                <a:spcPct val="0"/>
              </a:spcAft>
              <a:tabLst>
                <a:tab pos="1047750" algn="l"/>
                <a:tab pos="3905250" algn="l"/>
                <a:tab pos="4476750" algn="l"/>
              </a:tabLst>
              <a:defRPr b="1" i="1">
                <a:solidFill>
                  <a:schemeClr val="tx1"/>
                </a:solidFill>
                <a:latin typeface="Arial" pitchFamily="34" charset="0"/>
              </a:defRPr>
            </a:lvl8pPr>
            <a:lvl9pPr marL="3886200" indent="-228600" eaLnBrk="0" fontAlgn="base" hangingPunct="0">
              <a:spcBef>
                <a:spcPct val="0"/>
              </a:spcBef>
              <a:spcAft>
                <a:spcPct val="0"/>
              </a:spcAft>
              <a:tabLst>
                <a:tab pos="1047750" algn="l"/>
                <a:tab pos="3905250" algn="l"/>
                <a:tab pos="4476750" algn="l"/>
              </a:tabLst>
              <a:defRPr b="1" i="1">
                <a:solidFill>
                  <a:schemeClr val="tx1"/>
                </a:solidFill>
                <a:latin typeface="Arial" pitchFamily="34" charset="0"/>
              </a:defRPr>
            </a:lvl9pPr>
          </a:lstStyle>
          <a:p>
            <a:pPr marL="4476639" marR="0" lvl="0" indent="-4476639" algn="l" defTabSz="914377" rtl="0" eaLnBrk="0" fontAlgn="auto" latinLnBrk="0" hangingPunct="0">
              <a:lnSpc>
                <a:spcPct val="100000"/>
              </a:lnSpc>
              <a:spcBef>
                <a:spcPts val="0"/>
              </a:spcBef>
              <a:spcAft>
                <a:spcPts val="0"/>
              </a:spcAft>
              <a:buClrTx/>
              <a:buSzTx/>
              <a:buFontTx/>
              <a:buNone/>
              <a:tabLst>
                <a:tab pos="1047724" algn="l"/>
                <a:tab pos="3905153" algn="l"/>
                <a:tab pos="4476639" algn="l"/>
              </a:tabLst>
              <a:defRPr/>
            </a:pPr>
            <a:r>
              <a:rPr kumimoji="0" lang="en-US" sz="2133" b="1" i="0" u="sng"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NOTE </a:t>
            </a:r>
            <a:r>
              <a:rPr kumimoji="0" lang="en-US" sz="21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a:t>
            </a:r>
          </a:p>
          <a:p>
            <a:pPr marL="4476639" marR="0" lvl="0" indent="-4476639" algn="l" defTabSz="914377" rtl="0" eaLnBrk="0" fontAlgn="auto" latinLnBrk="0" hangingPunct="0">
              <a:lnSpc>
                <a:spcPct val="100000"/>
              </a:lnSpc>
              <a:spcBef>
                <a:spcPts val="0"/>
              </a:spcBef>
              <a:spcAft>
                <a:spcPts val="0"/>
              </a:spcAft>
              <a:buClrTx/>
              <a:buSzTx/>
              <a:buFontTx/>
              <a:buNone/>
              <a:tabLst>
                <a:tab pos="1047724" algn="l"/>
                <a:tab pos="3905153" algn="l"/>
                <a:tab pos="4476639" algn="l"/>
              </a:tabLst>
              <a:defRPr/>
            </a:pPr>
            <a:endParaRPr kumimoji="0" lang="en-US" sz="2133" b="1" i="0" u="sng"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a:p>
            <a:pPr marL="4476639" marR="0" lvl="0" indent="-4476639" algn="l" defTabSz="914377" rtl="0" eaLnBrk="0" fontAlgn="auto" latinLnBrk="0" hangingPunct="0">
              <a:lnSpc>
                <a:spcPct val="100000"/>
              </a:lnSpc>
              <a:spcBef>
                <a:spcPts val="0"/>
              </a:spcBef>
              <a:spcAft>
                <a:spcPts val="0"/>
              </a:spcAft>
              <a:buClrTx/>
              <a:buSzTx/>
              <a:buFontTx/>
              <a:buNone/>
              <a:tabLst>
                <a:tab pos="1047724" algn="l"/>
                <a:tab pos="2592853" algn="l"/>
                <a:tab pos="3905153" algn="l"/>
              </a:tabLst>
              <a:defRPr/>
            </a:pPr>
            <a:r>
              <a:rPr kumimoji="0" lang="en-US" sz="2133"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Excessive offset  -  More </a:t>
            </a:r>
            <a:r>
              <a:rPr kumimoji="0" lang="en-US" sz="2133"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Calibri" pitchFamily="34" charset="0"/>
              </a:rPr>
              <a:t>front Tyre wear &amp; hard steering</a:t>
            </a:r>
          </a:p>
          <a:p>
            <a:pPr marL="4476639" marR="0" lvl="0" indent="-4476639" algn="l" defTabSz="914377" rtl="0" eaLnBrk="0" fontAlgn="auto" latinLnBrk="0" hangingPunct="0">
              <a:lnSpc>
                <a:spcPct val="100000"/>
              </a:lnSpc>
              <a:spcBef>
                <a:spcPts val="0"/>
              </a:spcBef>
              <a:spcAft>
                <a:spcPts val="0"/>
              </a:spcAft>
              <a:buClrTx/>
              <a:buSzTx/>
              <a:buFontTx/>
              <a:buNone/>
              <a:tabLst>
                <a:tab pos="1047724" algn="l"/>
                <a:tab pos="3905153" algn="l"/>
                <a:tab pos="4476639" algn="l"/>
              </a:tabLst>
              <a:defRPr/>
            </a:pPr>
            <a:endParaRPr kumimoji="0" lang="en-US" sz="2133"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a:p>
            <a:pPr marL="4476639" marR="0" lvl="0" indent="-4476639" algn="l" defTabSz="914377" rtl="0" eaLnBrk="0" fontAlgn="auto" latinLnBrk="0" hangingPunct="0">
              <a:lnSpc>
                <a:spcPct val="100000"/>
              </a:lnSpc>
              <a:spcBef>
                <a:spcPts val="0"/>
              </a:spcBef>
              <a:spcAft>
                <a:spcPts val="0"/>
              </a:spcAft>
              <a:buClrTx/>
              <a:buSzTx/>
              <a:buFontTx/>
              <a:buNone/>
              <a:tabLst>
                <a:tab pos="1047724" algn="l"/>
                <a:tab pos="3905153" algn="l"/>
                <a:tab pos="4476639" algn="l"/>
              </a:tabLst>
              <a:defRPr/>
            </a:pPr>
            <a:r>
              <a:rPr kumimoji="0" lang="en-US" sz="2133"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Less offset  -  More </a:t>
            </a:r>
            <a:r>
              <a:rPr kumimoji="0" lang="en-US" sz="2133"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Calibri" pitchFamily="34" charset="0"/>
              </a:rPr>
              <a:t>rear Tyre wear &amp; too free a steering</a:t>
            </a:r>
          </a:p>
        </p:txBody>
      </p:sp>
    </p:spTree>
    <p:extLst>
      <p:ext uri="{BB962C8B-B14F-4D97-AF65-F5344CB8AC3E}">
        <p14:creationId xmlns:p14="http://schemas.microsoft.com/office/powerpoint/2010/main" val="5736331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2" y="-5"/>
            <a:ext cx="9895667"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121467" y="47247"/>
            <a:ext cx="10464800"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WEIGHT RATING</a:t>
            </a:r>
          </a:p>
        </p:txBody>
      </p:sp>
      <p:sp>
        <p:nvSpPr>
          <p:cNvPr id="12" name="Rectangle 11"/>
          <p:cNvSpPr/>
          <p:nvPr/>
        </p:nvSpPr>
        <p:spPr>
          <a:xfrm>
            <a:off x="156829" y="1076138"/>
            <a:ext cx="11933571"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Calibri" pitchFamily="34" charset="0"/>
              </a:rPr>
              <a:t>GROSS VEHICLE WEIGHT</a:t>
            </a:r>
          </a:p>
        </p:txBody>
      </p:sp>
      <p:sp>
        <p:nvSpPr>
          <p:cNvPr id="14" name="Rectangle 13"/>
          <p:cNvSpPr/>
          <p:nvPr/>
        </p:nvSpPr>
        <p:spPr>
          <a:xfrm>
            <a:off x="156832" y="1540471"/>
            <a:ext cx="11933569" cy="5112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grpSp>
        <p:nvGrpSpPr>
          <p:cNvPr id="7" name="Group 2"/>
          <p:cNvGrpSpPr>
            <a:grpSpLocks/>
          </p:cNvGrpSpPr>
          <p:nvPr/>
        </p:nvGrpSpPr>
        <p:grpSpPr bwMode="auto">
          <a:xfrm>
            <a:off x="1821490" y="2021000"/>
            <a:ext cx="8640763" cy="3536950"/>
            <a:chOff x="168" y="606"/>
            <a:chExt cx="5443" cy="2228"/>
          </a:xfrm>
        </p:grpSpPr>
        <p:sp>
          <p:nvSpPr>
            <p:cNvPr id="8" name="Rectangle 3"/>
            <p:cNvSpPr>
              <a:spLocks noChangeArrowheads="1"/>
            </p:cNvSpPr>
            <p:nvPr/>
          </p:nvSpPr>
          <p:spPr bwMode="auto">
            <a:xfrm>
              <a:off x="532" y="1824"/>
              <a:ext cx="310" cy="624"/>
            </a:xfrm>
            <a:prstGeom prst="rect">
              <a:avLst/>
            </a:prstGeom>
            <a:solidFill>
              <a:srgbClr val="339933"/>
            </a:solidFill>
            <a:ln w="9525">
              <a:solidFill>
                <a:schemeClr val="bg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9" name="Text Box 4"/>
            <p:cNvSpPr txBox="1">
              <a:spLocks noChangeArrowheads="1"/>
            </p:cNvSpPr>
            <p:nvPr/>
          </p:nvSpPr>
          <p:spPr bwMode="auto">
            <a:xfrm>
              <a:off x="1124" y="606"/>
              <a:ext cx="3102"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GROSS VEHICLE WEIGHT</a:t>
              </a:r>
            </a:p>
          </p:txBody>
        </p:sp>
        <p:sp>
          <p:nvSpPr>
            <p:cNvPr id="11" name="Line 5"/>
            <p:cNvSpPr>
              <a:spLocks noChangeShapeType="1"/>
            </p:cNvSpPr>
            <p:nvPr/>
          </p:nvSpPr>
          <p:spPr bwMode="auto">
            <a:xfrm>
              <a:off x="4067" y="1488"/>
              <a:ext cx="753"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13" name="Line 6"/>
            <p:cNvSpPr>
              <a:spLocks noChangeShapeType="1"/>
            </p:cNvSpPr>
            <p:nvPr/>
          </p:nvSpPr>
          <p:spPr bwMode="auto">
            <a:xfrm flipH="1">
              <a:off x="1906" y="1776"/>
              <a:ext cx="388"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15" name="Line 7"/>
            <p:cNvSpPr>
              <a:spLocks noChangeShapeType="1"/>
            </p:cNvSpPr>
            <p:nvPr/>
          </p:nvSpPr>
          <p:spPr bwMode="auto">
            <a:xfrm flipH="1">
              <a:off x="1862" y="2064"/>
              <a:ext cx="698"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16" name="Line 8"/>
            <p:cNvSpPr>
              <a:spLocks noChangeShapeType="1"/>
            </p:cNvSpPr>
            <p:nvPr/>
          </p:nvSpPr>
          <p:spPr bwMode="auto">
            <a:xfrm flipH="1" flipV="1">
              <a:off x="3345" y="2185"/>
              <a:ext cx="337" cy="468"/>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7" name="Line 9"/>
            <p:cNvSpPr>
              <a:spLocks noChangeShapeType="1"/>
            </p:cNvSpPr>
            <p:nvPr/>
          </p:nvSpPr>
          <p:spPr bwMode="auto">
            <a:xfrm rot="16200000">
              <a:off x="4554" y="1530"/>
              <a:ext cx="0" cy="62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18" name="Text Box 10"/>
            <p:cNvSpPr txBox="1">
              <a:spLocks noChangeArrowheads="1"/>
            </p:cNvSpPr>
            <p:nvPr/>
          </p:nvSpPr>
          <p:spPr bwMode="auto">
            <a:xfrm>
              <a:off x="4892" y="1955"/>
              <a:ext cx="628"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CHASSIS</a:t>
              </a:r>
            </a:p>
          </p:txBody>
        </p:sp>
        <p:sp>
          <p:nvSpPr>
            <p:cNvPr id="19" name="Text Box 11"/>
            <p:cNvSpPr txBox="1">
              <a:spLocks noChangeArrowheads="1"/>
            </p:cNvSpPr>
            <p:nvPr/>
          </p:nvSpPr>
          <p:spPr bwMode="auto">
            <a:xfrm>
              <a:off x="1315" y="1938"/>
              <a:ext cx="517"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CABIN</a:t>
              </a:r>
            </a:p>
          </p:txBody>
        </p:sp>
        <p:sp>
          <p:nvSpPr>
            <p:cNvPr id="20" name="Text Box 12"/>
            <p:cNvSpPr txBox="1">
              <a:spLocks noChangeArrowheads="1"/>
            </p:cNvSpPr>
            <p:nvPr/>
          </p:nvSpPr>
          <p:spPr bwMode="auto">
            <a:xfrm>
              <a:off x="4967" y="1746"/>
              <a:ext cx="476"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BODY</a:t>
              </a:r>
            </a:p>
          </p:txBody>
        </p:sp>
        <p:sp>
          <p:nvSpPr>
            <p:cNvPr id="21" name="Text Box 13"/>
            <p:cNvSpPr txBox="1">
              <a:spLocks noChangeArrowheads="1"/>
            </p:cNvSpPr>
            <p:nvPr/>
          </p:nvSpPr>
          <p:spPr bwMode="auto">
            <a:xfrm>
              <a:off x="4882" y="1360"/>
              <a:ext cx="72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PAYLOAD</a:t>
              </a:r>
            </a:p>
          </p:txBody>
        </p:sp>
        <p:sp>
          <p:nvSpPr>
            <p:cNvPr id="22" name="Line 14"/>
            <p:cNvSpPr>
              <a:spLocks noChangeShapeType="1"/>
            </p:cNvSpPr>
            <p:nvPr/>
          </p:nvSpPr>
          <p:spPr bwMode="auto">
            <a:xfrm>
              <a:off x="4200" y="2064"/>
              <a:ext cx="709"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grpSp>
          <p:nvGrpSpPr>
            <p:cNvPr id="23" name="Group 15"/>
            <p:cNvGrpSpPr>
              <a:grpSpLocks/>
            </p:cNvGrpSpPr>
            <p:nvPr/>
          </p:nvGrpSpPr>
          <p:grpSpPr bwMode="auto">
            <a:xfrm>
              <a:off x="2249" y="1392"/>
              <a:ext cx="1993" cy="912"/>
              <a:chOff x="2436" y="1392"/>
              <a:chExt cx="2158" cy="912"/>
            </a:xfrm>
          </p:grpSpPr>
          <p:sp>
            <p:nvSpPr>
              <p:cNvPr id="30" name="AutoShape 16"/>
              <p:cNvSpPr>
                <a:spLocks noChangeArrowheads="1"/>
              </p:cNvSpPr>
              <p:nvPr/>
            </p:nvSpPr>
            <p:spPr bwMode="auto">
              <a:xfrm>
                <a:off x="2868" y="1440"/>
                <a:ext cx="1632" cy="720"/>
              </a:xfrm>
              <a:prstGeom prst="roundRect">
                <a:avLst>
                  <a:gd name="adj" fmla="val 16667"/>
                </a:avLst>
              </a:prstGeom>
              <a:solidFill>
                <a:srgbClr val="FF9900"/>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grpSp>
            <p:nvGrpSpPr>
              <p:cNvPr id="31" name="Group 17"/>
              <p:cNvGrpSpPr>
                <a:grpSpLocks/>
              </p:cNvGrpSpPr>
              <p:nvPr/>
            </p:nvGrpSpPr>
            <p:grpSpPr bwMode="auto">
              <a:xfrm>
                <a:off x="2436" y="1584"/>
                <a:ext cx="2158" cy="720"/>
                <a:chOff x="3746" y="1536"/>
                <a:chExt cx="2158" cy="768"/>
              </a:xfrm>
            </p:grpSpPr>
            <p:grpSp>
              <p:nvGrpSpPr>
                <p:cNvPr id="41" name="Group 18"/>
                <p:cNvGrpSpPr>
                  <a:grpSpLocks/>
                </p:cNvGrpSpPr>
                <p:nvPr/>
              </p:nvGrpSpPr>
              <p:grpSpPr bwMode="auto">
                <a:xfrm>
                  <a:off x="4184" y="2010"/>
                  <a:ext cx="328" cy="294"/>
                  <a:chOff x="4128" y="2430"/>
                  <a:chExt cx="440" cy="450"/>
                </a:xfrm>
              </p:grpSpPr>
              <p:sp>
                <p:nvSpPr>
                  <p:cNvPr id="60" name="Oval 19"/>
                  <p:cNvSpPr>
                    <a:spLocks noChangeArrowheads="1"/>
                  </p:cNvSpPr>
                  <p:nvPr/>
                </p:nvSpPr>
                <p:spPr bwMode="auto">
                  <a:xfrm>
                    <a:off x="4128" y="2430"/>
                    <a:ext cx="440" cy="450"/>
                  </a:xfrm>
                  <a:prstGeom prst="ellipse">
                    <a:avLst/>
                  </a:prstGeom>
                  <a:solidFill>
                    <a:schemeClr val="tx1"/>
                  </a:solidFill>
                  <a:ln w="28575">
                    <a:solidFill>
                      <a:schemeClr val="bg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61" name="Oval 20"/>
                  <p:cNvSpPr>
                    <a:spLocks noChangeArrowheads="1"/>
                  </p:cNvSpPr>
                  <p:nvPr/>
                </p:nvSpPr>
                <p:spPr bwMode="auto">
                  <a:xfrm>
                    <a:off x="4260" y="2588"/>
                    <a:ext cx="154" cy="142"/>
                  </a:xfrm>
                  <a:prstGeom prst="ellipse">
                    <a:avLst/>
                  </a:prstGeom>
                  <a:noFill/>
                  <a:ln w="9525">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grpSp>
            <p:sp>
              <p:nvSpPr>
                <p:cNvPr id="42" name="AutoShape 21"/>
                <p:cNvSpPr>
                  <a:spLocks noChangeArrowheads="1"/>
                </p:cNvSpPr>
                <p:nvPr/>
              </p:nvSpPr>
              <p:spPr bwMode="auto">
                <a:xfrm>
                  <a:off x="3792" y="1824"/>
                  <a:ext cx="432" cy="336"/>
                </a:xfrm>
                <a:prstGeom prst="roundRect">
                  <a:avLst>
                    <a:gd name="adj" fmla="val 16667"/>
                  </a:avLst>
                </a:prstGeom>
                <a:solidFill>
                  <a:srgbClr val="6699FF"/>
                </a:solidFill>
                <a:ln w="9525">
                  <a:solidFill>
                    <a:schemeClr val="bg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43" name="AutoShape 22"/>
                <p:cNvSpPr>
                  <a:spLocks noChangeArrowheads="1"/>
                </p:cNvSpPr>
                <p:nvPr/>
              </p:nvSpPr>
              <p:spPr bwMode="auto">
                <a:xfrm>
                  <a:off x="3924" y="1560"/>
                  <a:ext cx="252" cy="264"/>
                </a:xfrm>
                <a:prstGeom prst="roundRect">
                  <a:avLst>
                    <a:gd name="adj" fmla="val 16667"/>
                  </a:avLst>
                </a:prstGeom>
                <a:gradFill rotWithShape="0">
                  <a:gsLst>
                    <a:gs pos="0">
                      <a:srgbClr val="333399"/>
                    </a:gs>
                    <a:gs pos="100000">
                      <a:srgbClr val="FFFFFF"/>
                    </a:gs>
                  </a:gsLst>
                  <a:lin ang="2700000" scaled="1"/>
                </a:gradFill>
                <a:ln w="9525">
                  <a:solidFill>
                    <a:schemeClr val="bg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44" name="AutoShape 23"/>
                <p:cNvSpPr>
                  <a:spLocks noChangeArrowheads="1"/>
                </p:cNvSpPr>
                <p:nvPr/>
              </p:nvSpPr>
              <p:spPr bwMode="auto">
                <a:xfrm>
                  <a:off x="3746" y="2016"/>
                  <a:ext cx="94" cy="139"/>
                </a:xfrm>
                <a:prstGeom prst="roundRect">
                  <a:avLst>
                    <a:gd name="adj" fmla="val 16667"/>
                  </a:avLst>
                </a:prstGeom>
                <a:solidFill>
                  <a:schemeClr val="tx2"/>
                </a:solidFill>
                <a:ln w="76200" cmpd="tri">
                  <a:solidFill>
                    <a:schemeClr val="bg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45" name="Line 24"/>
                <p:cNvSpPr>
                  <a:spLocks noChangeShapeType="1"/>
                </p:cNvSpPr>
                <p:nvPr/>
              </p:nvSpPr>
              <p:spPr bwMode="auto">
                <a:xfrm>
                  <a:off x="4263" y="2046"/>
                  <a:ext cx="1641"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46" name="Rectangle 25"/>
                <p:cNvSpPr>
                  <a:spLocks noChangeArrowheads="1"/>
                </p:cNvSpPr>
                <p:nvPr/>
              </p:nvSpPr>
              <p:spPr bwMode="auto">
                <a:xfrm>
                  <a:off x="3936" y="1872"/>
                  <a:ext cx="234" cy="193"/>
                </a:xfrm>
                <a:prstGeom prst="rect">
                  <a:avLst/>
                </a:prstGeom>
                <a:solidFill>
                  <a:srgbClr val="6699FF"/>
                </a:solidFill>
                <a:ln w="9525">
                  <a:solidFill>
                    <a:schemeClr val="bg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grpSp>
              <p:nvGrpSpPr>
                <p:cNvPr id="47" name="Group 26"/>
                <p:cNvGrpSpPr>
                  <a:grpSpLocks/>
                </p:cNvGrpSpPr>
                <p:nvPr/>
              </p:nvGrpSpPr>
              <p:grpSpPr bwMode="auto">
                <a:xfrm>
                  <a:off x="5370" y="1968"/>
                  <a:ext cx="342" cy="336"/>
                  <a:chOff x="5370" y="2030"/>
                  <a:chExt cx="445" cy="450"/>
                </a:xfrm>
              </p:grpSpPr>
              <p:sp>
                <p:nvSpPr>
                  <p:cNvPr id="58" name="Oval 27"/>
                  <p:cNvSpPr>
                    <a:spLocks noChangeArrowheads="1"/>
                  </p:cNvSpPr>
                  <p:nvPr/>
                </p:nvSpPr>
                <p:spPr bwMode="auto">
                  <a:xfrm>
                    <a:off x="5370" y="2030"/>
                    <a:ext cx="445" cy="450"/>
                  </a:xfrm>
                  <a:prstGeom prst="ellipse">
                    <a:avLst/>
                  </a:prstGeom>
                  <a:solidFill>
                    <a:schemeClr val="tx1"/>
                  </a:solidFill>
                  <a:ln w="28575">
                    <a:solidFill>
                      <a:schemeClr val="bg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59" name="Oval 28"/>
                  <p:cNvSpPr>
                    <a:spLocks noChangeArrowheads="1"/>
                  </p:cNvSpPr>
                  <p:nvPr/>
                </p:nvSpPr>
                <p:spPr bwMode="auto">
                  <a:xfrm>
                    <a:off x="5520" y="2196"/>
                    <a:ext cx="154" cy="142"/>
                  </a:xfrm>
                  <a:prstGeom prst="ellipse">
                    <a:avLst/>
                  </a:prstGeom>
                  <a:noFill/>
                  <a:ln w="9525">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grpSp>
            <p:sp>
              <p:nvSpPr>
                <p:cNvPr id="48" name="Rectangle 29"/>
                <p:cNvSpPr>
                  <a:spLocks noChangeArrowheads="1"/>
                </p:cNvSpPr>
                <p:nvPr/>
              </p:nvSpPr>
              <p:spPr bwMode="auto">
                <a:xfrm>
                  <a:off x="4227" y="1776"/>
                  <a:ext cx="1641" cy="288"/>
                </a:xfrm>
                <a:prstGeom prst="rect">
                  <a:avLst/>
                </a:prstGeom>
                <a:solidFill>
                  <a:schemeClr val="bg1"/>
                </a:solidFill>
                <a:ln w="9525">
                  <a:solidFill>
                    <a:schemeClr val="tx2"/>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49" name="Line 30"/>
                <p:cNvSpPr>
                  <a:spLocks noChangeShapeType="1"/>
                </p:cNvSpPr>
                <p:nvPr/>
              </p:nvSpPr>
              <p:spPr bwMode="auto">
                <a:xfrm>
                  <a:off x="4248" y="1860"/>
                  <a:ext cx="163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50" name="Line 31"/>
                <p:cNvSpPr>
                  <a:spLocks noChangeShapeType="1"/>
                </p:cNvSpPr>
                <p:nvPr/>
              </p:nvSpPr>
              <p:spPr bwMode="auto">
                <a:xfrm>
                  <a:off x="4260" y="1932"/>
                  <a:ext cx="163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51" name="Line 32"/>
                <p:cNvSpPr>
                  <a:spLocks noChangeShapeType="1"/>
                </p:cNvSpPr>
                <p:nvPr/>
              </p:nvSpPr>
              <p:spPr bwMode="auto">
                <a:xfrm>
                  <a:off x="4248" y="2004"/>
                  <a:ext cx="163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52" name="Line 33"/>
                <p:cNvSpPr>
                  <a:spLocks noChangeShapeType="1"/>
                </p:cNvSpPr>
                <p:nvPr/>
              </p:nvSpPr>
              <p:spPr bwMode="auto">
                <a:xfrm flipV="1">
                  <a:off x="3888" y="1536"/>
                  <a:ext cx="48" cy="288"/>
                </a:xfrm>
                <a:prstGeom prst="line">
                  <a:avLst/>
                </a:prstGeom>
                <a:noFill/>
                <a:ln w="76200">
                  <a:solidFill>
                    <a:srgbClr val="6699FF"/>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53" name="Line 34"/>
                <p:cNvSpPr>
                  <a:spLocks noChangeShapeType="1"/>
                </p:cNvSpPr>
                <p:nvPr/>
              </p:nvSpPr>
              <p:spPr bwMode="auto">
                <a:xfrm>
                  <a:off x="3924" y="1548"/>
                  <a:ext cx="288" cy="0"/>
                </a:xfrm>
                <a:prstGeom prst="line">
                  <a:avLst/>
                </a:prstGeom>
                <a:noFill/>
                <a:ln w="76200">
                  <a:solidFill>
                    <a:srgbClr val="6699FF"/>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54" name="Line 35"/>
                <p:cNvSpPr>
                  <a:spLocks noChangeShapeType="1"/>
                </p:cNvSpPr>
                <p:nvPr/>
              </p:nvSpPr>
              <p:spPr bwMode="auto">
                <a:xfrm>
                  <a:off x="4188" y="1536"/>
                  <a:ext cx="0" cy="288"/>
                </a:xfrm>
                <a:prstGeom prst="line">
                  <a:avLst/>
                </a:prstGeom>
                <a:noFill/>
                <a:ln w="76200">
                  <a:solidFill>
                    <a:srgbClr val="6699FF"/>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55" name="Line 36"/>
                <p:cNvSpPr>
                  <a:spLocks noChangeShapeType="1"/>
                </p:cNvSpPr>
                <p:nvPr/>
              </p:nvSpPr>
              <p:spPr bwMode="auto">
                <a:xfrm>
                  <a:off x="4248" y="1788"/>
                  <a:ext cx="163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56" name="Oval 37"/>
                <p:cNvSpPr>
                  <a:spLocks noChangeArrowheads="1"/>
                </p:cNvSpPr>
                <p:nvPr/>
              </p:nvSpPr>
              <p:spPr bwMode="auto">
                <a:xfrm>
                  <a:off x="5784" y="2064"/>
                  <a:ext cx="96" cy="96"/>
                </a:xfrm>
                <a:prstGeom prst="ellipse">
                  <a:avLst/>
                </a:prstGeom>
                <a:solidFill>
                  <a:schemeClr val="bg1"/>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57" name="Rectangle 38"/>
                <p:cNvSpPr>
                  <a:spLocks noChangeArrowheads="1"/>
                </p:cNvSpPr>
                <p:nvPr/>
              </p:nvSpPr>
              <p:spPr bwMode="auto">
                <a:xfrm>
                  <a:off x="4224" y="2112"/>
                  <a:ext cx="1632" cy="48"/>
                </a:xfrm>
                <a:prstGeom prst="rect">
                  <a:avLst/>
                </a:prstGeom>
                <a:solidFill>
                  <a:schemeClr val="bg1"/>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grpSp>
          <p:sp>
            <p:nvSpPr>
              <p:cNvPr id="32" name="Line 39"/>
              <p:cNvSpPr>
                <a:spLocks noChangeShapeType="1"/>
              </p:cNvSpPr>
              <p:nvPr/>
            </p:nvSpPr>
            <p:spPr bwMode="auto">
              <a:xfrm>
                <a:off x="3252" y="1392"/>
                <a:ext cx="0" cy="432"/>
              </a:xfrm>
              <a:prstGeom prst="line">
                <a:avLst/>
              </a:prstGeom>
              <a:noFill/>
              <a:ln w="76200">
                <a:solidFill>
                  <a:srgbClr val="33CC33"/>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33" name="Line 40"/>
              <p:cNvSpPr>
                <a:spLocks noChangeShapeType="1"/>
              </p:cNvSpPr>
              <p:nvPr/>
            </p:nvSpPr>
            <p:spPr bwMode="auto">
              <a:xfrm>
                <a:off x="3876" y="1392"/>
                <a:ext cx="0" cy="432"/>
              </a:xfrm>
              <a:prstGeom prst="line">
                <a:avLst/>
              </a:prstGeom>
              <a:noFill/>
              <a:ln w="76200">
                <a:solidFill>
                  <a:srgbClr val="33CC33"/>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34" name="Line 41"/>
              <p:cNvSpPr>
                <a:spLocks noChangeShapeType="1"/>
              </p:cNvSpPr>
              <p:nvPr/>
            </p:nvSpPr>
            <p:spPr bwMode="auto">
              <a:xfrm>
                <a:off x="2916" y="1632"/>
                <a:ext cx="1536" cy="0"/>
              </a:xfrm>
              <a:prstGeom prst="line">
                <a:avLst/>
              </a:prstGeom>
              <a:noFill/>
              <a:ln w="57150">
                <a:solidFill>
                  <a:srgbClr val="33CC33"/>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35" name="Rectangle 42"/>
              <p:cNvSpPr>
                <a:spLocks noChangeArrowheads="1"/>
              </p:cNvSpPr>
              <p:nvPr/>
            </p:nvSpPr>
            <p:spPr bwMode="auto">
              <a:xfrm>
                <a:off x="3444" y="2064"/>
                <a:ext cx="528" cy="132"/>
              </a:xfrm>
              <a:prstGeom prst="rect">
                <a:avLst/>
              </a:prstGeom>
              <a:solidFill>
                <a:srgbClr val="FF3300"/>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36" name="Oval 43"/>
              <p:cNvSpPr>
                <a:spLocks noChangeArrowheads="1"/>
              </p:cNvSpPr>
              <p:nvPr/>
            </p:nvSpPr>
            <p:spPr bwMode="auto">
              <a:xfrm>
                <a:off x="2724" y="1632"/>
                <a:ext cx="96" cy="144"/>
              </a:xfrm>
              <a:prstGeom prst="ellipse">
                <a:avLst/>
              </a:prstGeom>
              <a:solidFill>
                <a:srgbClr val="FFFFCC"/>
              </a:solidFill>
              <a:ln w="9525">
                <a:solidFill>
                  <a:schemeClr val="tx1"/>
                </a:solidFill>
                <a:round/>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37" name="Rectangle 44"/>
              <p:cNvSpPr>
                <a:spLocks noChangeArrowheads="1"/>
              </p:cNvSpPr>
              <p:nvPr/>
            </p:nvSpPr>
            <p:spPr bwMode="auto">
              <a:xfrm>
                <a:off x="2700" y="1776"/>
                <a:ext cx="144" cy="96"/>
              </a:xfrm>
              <a:prstGeom prst="rect">
                <a:avLst/>
              </a:prstGeom>
              <a:solidFill>
                <a:srgbClr val="FFFFCC"/>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38" name="Rectangle 45"/>
              <p:cNvSpPr>
                <a:spLocks noChangeArrowheads="1"/>
              </p:cNvSpPr>
              <p:nvPr/>
            </p:nvSpPr>
            <p:spPr bwMode="auto">
              <a:xfrm>
                <a:off x="2916" y="2016"/>
                <a:ext cx="1632" cy="96"/>
              </a:xfrm>
              <a:prstGeom prst="rect">
                <a:avLst/>
              </a:prstGeom>
              <a:solidFill>
                <a:schemeClr val="hlink"/>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39" name="Rectangle 46"/>
              <p:cNvSpPr>
                <a:spLocks noChangeArrowheads="1"/>
              </p:cNvSpPr>
              <p:nvPr/>
            </p:nvSpPr>
            <p:spPr bwMode="auto">
              <a:xfrm>
                <a:off x="3204" y="2016"/>
                <a:ext cx="48" cy="96"/>
              </a:xfrm>
              <a:prstGeom prst="rect">
                <a:avLst/>
              </a:prstGeom>
              <a:solidFill>
                <a:schemeClr val="bg1"/>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40" name="Rectangle 47"/>
              <p:cNvSpPr>
                <a:spLocks noChangeArrowheads="1"/>
              </p:cNvSpPr>
              <p:nvPr/>
            </p:nvSpPr>
            <p:spPr bwMode="auto">
              <a:xfrm>
                <a:off x="4068" y="2016"/>
                <a:ext cx="48" cy="96"/>
              </a:xfrm>
              <a:prstGeom prst="rect">
                <a:avLst/>
              </a:prstGeom>
              <a:solidFill>
                <a:schemeClr val="bg1"/>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grpSp>
        <p:sp>
          <p:nvSpPr>
            <p:cNvPr id="24" name="Text Box 48"/>
            <p:cNvSpPr txBox="1">
              <a:spLocks noChangeArrowheads="1"/>
            </p:cNvSpPr>
            <p:nvPr/>
          </p:nvSpPr>
          <p:spPr bwMode="auto">
            <a:xfrm>
              <a:off x="3538" y="2621"/>
              <a:ext cx="393"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FUEL</a:t>
              </a:r>
            </a:p>
          </p:txBody>
        </p:sp>
        <p:sp>
          <p:nvSpPr>
            <p:cNvPr id="25" name="Text Box 49"/>
            <p:cNvSpPr txBox="1">
              <a:spLocks noChangeArrowheads="1"/>
            </p:cNvSpPr>
            <p:nvPr/>
          </p:nvSpPr>
          <p:spPr bwMode="auto">
            <a:xfrm>
              <a:off x="1389" y="1657"/>
              <a:ext cx="560"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DRIVER</a:t>
              </a:r>
            </a:p>
          </p:txBody>
        </p:sp>
        <p:sp>
          <p:nvSpPr>
            <p:cNvPr id="26" name="Rectangle 50"/>
            <p:cNvSpPr>
              <a:spLocks noChangeArrowheads="1"/>
            </p:cNvSpPr>
            <p:nvPr/>
          </p:nvSpPr>
          <p:spPr bwMode="auto">
            <a:xfrm>
              <a:off x="1596" y="2304"/>
              <a:ext cx="3368" cy="144"/>
            </a:xfrm>
            <a:prstGeom prst="rect">
              <a:avLst/>
            </a:prstGeom>
            <a:solidFill>
              <a:srgbClr val="CC0000"/>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27" name="Line 51"/>
            <p:cNvSpPr>
              <a:spLocks noChangeShapeType="1"/>
            </p:cNvSpPr>
            <p:nvPr/>
          </p:nvSpPr>
          <p:spPr bwMode="auto">
            <a:xfrm>
              <a:off x="355" y="2448"/>
              <a:ext cx="5185"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28" name="Rectangle 52"/>
            <p:cNvSpPr>
              <a:spLocks noChangeArrowheads="1"/>
            </p:cNvSpPr>
            <p:nvPr/>
          </p:nvSpPr>
          <p:spPr bwMode="auto">
            <a:xfrm>
              <a:off x="604" y="1953"/>
              <a:ext cx="177" cy="144"/>
            </a:xfrm>
            <a:prstGeom prst="rect">
              <a:avLst/>
            </a:prstGeom>
            <a:solidFill>
              <a:srgbClr val="6699FF"/>
            </a:solidFill>
            <a:ln w="9525">
              <a:solidFill>
                <a:schemeClr val="tx1"/>
              </a:solidFill>
              <a:miter lim="800000"/>
              <a:headEnd/>
              <a:tailEnd/>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endParaRPr>
            </a:p>
          </p:txBody>
        </p:sp>
        <p:sp>
          <p:nvSpPr>
            <p:cNvPr id="29" name="Text Box 53"/>
            <p:cNvSpPr txBox="1">
              <a:spLocks noChangeArrowheads="1"/>
            </p:cNvSpPr>
            <p:nvPr/>
          </p:nvSpPr>
          <p:spPr bwMode="auto">
            <a:xfrm>
              <a:off x="168" y="2514"/>
              <a:ext cx="965"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Weigh bridge</a:t>
              </a:r>
            </a:p>
          </p:txBody>
        </p:sp>
      </p:grpSp>
    </p:spTree>
    <p:extLst>
      <p:ext uri="{BB962C8B-B14F-4D97-AF65-F5344CB8AC3E}">
        <p14:creationId xmlns:p14="http://schemas.microsoft.com/office/powerpoint/2010/main" val="4583186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p:cNvSpPr/>
          <p:nvPr/>
        </p:nvSpPr>
        <p:spPr>
          <a:xfrm>
            <a:off x="156832" y="1431640"/>
            <a:ext cx="11933569" cy="53025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sp>
        <p:nvSpPr>
          <p:cNvPr id="4" name="Rectangle: Top Corners Snipped 3"/>
          <p:cNvSpPr/>
          <p:nvPr/>
        </p:nvSpPr>
        <p:spPr>
          <a:xfrm rot="10800000">
            <a:off x="975532" y="-5"/>
            <a:ext cx="9895667"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044300" y="47248"/>
            <a:ext cx="10464800" cy="7078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TRUCK BASIC TECHNICAL PARAMETERS</a:t>
            </a:r>
          </a:p>
        </p:txBody>
      </p:sp>
      <p:sp>
        <p:nvSpPr>
          <p:cNvPr id="12" name="Rectangle 11"/>
          <p:cNvSpPr/>
          <p:nvPr/>
        </p:nvSpPr>
        <p:spPr>
          <a:xfrm>
            <a:off x="156829" y="1076138"/>
            <a:ext cx="11933571" cy="34794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Calibri" pitchFamily="34" charset="0"/>
              </a:rPr>
              <a:t>POINTS TO REMEMBER</a:t>
            </a:r>
          </a:p>
        </p:txBody>
      </p:sp>
      <p:pic>
        <p:nvPicPr>
          <p:cNvPr id="6" name="Picture 5" descr="airbrak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10057" y="5950673"/>
            <a:ext cx="904875"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untitled"/>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45853" y="3359872"/>
            <a:ext cx="2209800" cy="1441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a:spLocks noChangeArrowheads="1"/>
          </p:cNvSpPr>
          <p:nvPr>
            <p:custDataLst>
              <p:tags r:id="rId1"/>
            </p:custDataLst>
          </p:nvPr>
        </p:nvSpPr>
        <p:spPr bwMode="gray">
          <a:xfrm>
            <a:off x="201380" y="1516787"/>
            <a:ext cx="2660651" cy="204787"/>
          </a:xfrm>
          <a:prstGeom prst="rect">
            <a:avLst/>
          </a:prstGeom>
          <a:solidFill>
            <a:srgbClr val="E7E9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279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itchFamily="34" charset="0"/>
                <a:ea typeface="+mn-ea"/>
                <a:cs typeface="Calibri" pitchFamily="34" charset="0"/>
              </a:rPr>
              <a:t>Engine Power</a:t>
            </a:r>
          </a:p>
        </p:txBody>
      </p:sp>
      <p:sp>
        <p:nvSpPr>
          <p:cNvPr id="9" name="AutoShape 6"/>
          <p:cNvSpPr>
            <a:spLocks noChangeArrowheads="1"/>
          </p:cNvSpPr>
          <p:nvPr>
            <p:custDataLst>
              <p:tags r:id="rId2"/>
            </p:custDataLst>
          </p:nvPr>
        </p:nvSpPr>
        <p:spPr bwMode="auto">
          <a:xfrm>
            <a:off x="190267" y="1516787"/>
            <a:ext cx="2667000" cy="1690687"/>
          </a:xfrm>
          <a:prstGeom prst="homePlate">
            <a:avLst>
              <a:gd name="adj" fmla="val 0"/>
            </a:avLst>
          </a:prstGeom>
          <a:noFill/>
          <a:ln w="9525" algn="ctr">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lIns="89991" tIns="341964" rIns="4679504" bIns="0"/>
          <a:lstStyle/>
          <a:p>
            <a:pPr marL="177796" marR="0" lvl="0" indent="-177796" algn="l" defTabSz="809605" rtl="0" eaLnBrk="0" fontAlgn="auto" latinLnBrk="0" hangingPunct="0">
              <a:lnSpc>
                <a:spcPct val="80000"/>
              </a:lnSpc>
              <a:spcBef>
                <a:spcPct val="35000"/>
              </a:spcBef>
              <a:spcAft>
                <a:spcPts val="0"/>
              </a:spcAft>
              <a:buClr>
                <a:srgbClr val="003366"/>
              </a:buClr>
              <a:buSzPct val="120000"/>
              <a:buFontTx/>
              <a:buNone/>
              <a:tabLst>
                <a:tab pos="1698583" algn="l"/>
              </a:tabLst>
              <a:defRPr/>
            </a:pPr>
            <a:endParaRPr kumimoji="0" lang="en-US" sz="1400" b="1"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1" name="Rectangle 10"/>
          <p:cNvSpPr>
            <a:spLocks noChangeArrowheads="1"/>
          </p:cNvSpPr>
          <p:nvPr>
            <p:custDataLst>
              <p:tags r:id="rId3"/>
            </p:custDataLst>
          </p:nvPr>
        </p:nvSpPr>
        <p:spPr bwMode="gray">
          <a:xfrm>
            <a:off x="4468569" y="1516787"/>
            <a:ext cx="2660651" cy="204787"/>
          </a:xfrm>
          <a:prstGeom prst="rect">
            <a:avLst/>
          </a:prstGeom>
          <a:solidFill>
            <a:srgbClr val="E7E9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279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itchFamily="34" charset="0"/>
                <a:ea typeface="+mn-ea"/>
                <a:cs typeface="Calibri" pitchFamily="34" charset="0"/>
              </a:rPr>
              <a:t>Engine Torque</a:t>
            </a:r>
          </a:p>
        </p:txBody>
      </p:sp>
      <p:sp>
        <p:nvSpPr>
          <p:cNvPr id="13" name="AutoShape 8"/>
          <p:cNvSpPr>
            <a:spLocks noChangeArrowheads="1"/>
          </p:cNvSpPr>
          <p:nvPr>
            <p:custDataLst>
              <p:tags r:id="rId4"/>
            </p:custDataLst>
          </p:nvPr>
        </p:nvSpPr>
        <p:spPr bwMode="auto">
          <a:xfrm>
            <a:off x="4457453" y="1516787"/>
            <a:ext cx="2667000" cy="1690687"/>
          </a:xfrm>
          <a:prstGeom prst="homePlate">
            <a:avLst>
              <a:gd name="adj" fmla="val 0"/>
            </a:avLst>
          </a:prstGeom>
          <a:noFill/>
          <a:ln w="9525" algn="ctr">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lIns="89991" tIns="341964" rIns="4679504" bIns="0"/>
          <a:lstStyle/>
          <a:p>
            <a:pPr marL="177796" marR="0" lvl="0" indent="-177796" algn="l" defTabSz="809605" rtl="0" eaLnBrk="0" fontAlgn="auto" latinLnBrk="0" hangingPunct="0">
              <a:lnSpc>
                <a:spcPct val="80000"/>
              </a:lnSpc>
              <a:spcBef>
                <a:spcPct val="35000"/>
              </a:spcBef>
              <a:spcAft>
                <a:spcPts val="0"/>
              </a:spcAft>
              <a:buClr>
                <a:srgbClr val="003366"/>
              </a:buClr>
              <a:buSzPct val="120000"/>
              <a:buFontTx/>
              <a:buNone/>
              <a:tabLst>
                <a:tab pos="1698583" algn="l"/>
              </a:tabLst>
              <a:defRPr/>
            </a:pPr>
            <a:endParaRPr kumimoji="0" lang="en-US" sz="1400" b="1"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4" name="Rectangle 13"/>
          <p:cNvSpPr>
            <a:spLocks noChangeArrowheads="1"/>
          </p:cNvSpPr>
          <p:nvPr>
            <p:custDataLst>
              <p:tags r:id="rId5"/>
            </p:custDataLst>
          </p:nvPr>
        </p:nvSpPr>
        <p:spPr bwMode="gray">
          <a:xfrm>
            <a:off x="9265225" y="1516787"/>
            <a:ext cx="2660651" cy="204787"/>
          </a:xfrm>
          <a:prstGeom prst="rect">
            <a:avLst/>
          </a:prstGeom>
          <a:solidFill>
            <a:srgbClr val="E7E9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279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itchFamily="34" charset="0"/>
                <a:ea typeface="+mn-ea"/>
                <a:cs typeface="Calibri" pitchFamily="34" charset="0"/>
              </a:rPr>
              <a:t>Gear Box (Transmission) </a:t>
            </a:r>
          </a:p>
        </p:txBody>
      </p:sp>
      <p:sp>
        <p:nvSpPr>
          <p:cNvPr id="15" name="AutoShape 10"/>
          <p:cNvSpPr>
            <a:spLocks noChangeArrowheads="1"/>
          </p:cNvSpPr>
          <p:nvPr>
            <p:custDataLst>
              <p:tags r:id="rId6"/>
            </p:custDataLst>
          </p:nvPr>
        </p:nvSpPr>
        <p:spPr bwMode="auto">
          <a:xfrm>
            <a:off x="9254111" y="1516787"/>
            <a:ext cx="2667000" cy="1690687"/>
          </a:xfrm>
          <a:prstGeom prst="homePlate">
            <a:avLst>
              <a:gd name="adj" fmla="val 0"/>
            </a:avLst>
          </a:prstGeom>
          <a:noFill/>
          <a:ln w="9525" algn="ctr">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lIns="89991" tIns="341964" rIns="4679504" bIns="0"/>
          <a:lstStyle/>
          <a:p>
            <a:pPr marL="177796" marR="0" lvl="0" indent="-177796" algn="l" defTabSz="809605" rtl="0" eaLnBrk="0" fontAlgn="auto" latinLnBrk="0" hangingPunct="0">
              <a:lnSpc>
                <a:spcPct val="80000"/>
              </a:lnSpc>
              <a:spcBef>
                <a:spcPct val="35000"/>
              </a:spcBef>
              <a:spcAft>
                <a:spcPts val="0"/>
              </a:spcAft>
              <a:buClr>
                <a:srgbClr val="003366"/>
              </a:buClr>
              <a:buSzPct val="120000"/>
              <a:buFontTx/>
              <a:buNone/>
              <a:tabLst>
                <a:tab pos="1698583" algn="l"/>
              </a:tabLst>
              <a:defRPr/>
            </a:pPr>
            <a:endParaRPr kumimoji="0" lang="en-US" sz="1400" b="1"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6" name="Rectangle 15"/>
          <p:cNvSpPr>
            <a:spLocks noChangeArrowheads="1"/>
          </p:cNvSpPr>
          <p:nvPr>
            <p:custDataLst>
              <p:tags r:id="rId7"/>
            </p:custDataLst>
          </p:nvPr>
        </p:nvSpPr>
        <p:spPr bwMode="gray">
          <a:xfrm>
            <a:off x="201380" y="3269387"/>
            <a:ext cx="2660651" cy="204787"/>
          </a:xfrm>
          <a:prstGeom prst="rect">
            <a:avLst/>
          </a:prstGeom>
          <a:solidFill>
            <a:srgbClr val="E7E9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279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itchFamily="34" charset="0"/>
                <a:ea typeface="+mn-ea"/>
                <a:cs typeface="Calibri" pitchFamily="34" charset="0"/>
              </a:rPr>
              <a:t>Gradeability (Climbing Ability)</a:t>
            </a:r>
          </a:p>
        </p:txBody>
      </p:sp>
      <p:sp>
        <p:nvSpPr>
          <p:cNvPr id="17" name="AutoShape 12"/>
          <p:cNvSpPr>
            <a:spLocks noChangeArrowheads="1"/>
          </p:cNvSpPr>
          <p:nvPr>
            <p:custDataLst>
              <p:tags r:id="rId8"/>
            </p:custDataLst>
          </p:nvPr>
        </p:nvSpPr>
        <p:spPr bwMode="auto">
          <a:xfrm>
            <a:off x="190267" y="3269387"/>
            <a:ext cx="2667000" cy="1690687"/>
          </a:xfrm>
          <a:prstGeom prst="homePlate">
            <a:avLst>
              <a:gd name="adj" fmla="val 0"/>
            </a:avLst>
          </a:prstGeom>
          <a:noFill/>
          <a:ln w="9525" algn="ctr">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lIns="89991" tIns="341964" rIns="4679504" bIns="0"/>
          <a:lstStyle/>
          <a:p>
            <a:pPr marL="177796" marR="0" lvl="0" indent="-177796" algn="l" defTabSz="809605" rtl="0" eaLnBrk="0" fontAlgn="auto" latinLnBrk="0" hangingPunct="0">
              <a:lnSpc>
                <a:spcPct val="80000"/>
              </a:lnSpc>
              <a:spcBef>
                <a:spcPct val="35000"/>
              </a:spcBef>
              <a:spcAft>
                <a:spcPts val="0"/>
              </a:spcAft>
              <a:buClr>
                <a:srgbClr val="003366"/>
              </a:buClr>
              <a:buSzPct val="120000"/>
              <a:buFontTx/>
              <a:buNone/>
              <a:tabLst>
                <a:tab pos="1698583" algn="l"/>
              </a:tabLst>
              <a:defRPr/>
            </a:pPr>
            <a:endParaRPr kumimoji="0" lang="en-US" sz="1400" b="1"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18" name="Rectangle 17"/>
          <p:cNvSpPr>
            <a:spLocks noChangeArrowheads="1"/>
          </p:cNvSpPr>
          <p:nvPr>
            <p:custDataLst>
              <p:tags r:id="rId9"/>
            </p:custDataLst>
          </p:nvPr>
        </p:nvSpPr>
        <p:spPr bwMode="gray">
          <a:xfrm>
            <a:off x="4468569" y="3269387"/>
            <a:ext cx="2660651" cy="204787"/>
          </a:xfrm>
          <a:prstGeom prst="rect">
            <a:avLst/>
          </a:prstGeom>
          <a:solidFill>
            <a:srgbClr val="E7E9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279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itchFamily="34" charset="0"/>
                <a:ea typeface="+mn-ea"/>
                <a:cs typeface="Calibri" pitchFamily="34" charset="0"/>
              </a:rPr>
              <a:t>Pickup (Acceleration) </a:t>
            </a:r>
          </a:p>
        </p:txBody>
      </p:sp>
      <p:sp>
        <p:nvSpPr>
          <p:cNvPr id="19" name="AutoShape 14"/>
          <p:cNvSpPr>
            <a:spLocks noChangeArrowheads="1"/>
          </p:cNvSpPr>
          <p:nvPr>
            <p:custDataLst>
              <p:tags r:id="rId10"/>
            </p:custDataLst>
          </p:nvPr>
        </p:nvSpPr>
        <p:spPr bwMode="auto">
          <a:xfrm>
            <a:off x="4457453" y="3269387"/>
            <a:ext cx="2667000" cy="1690687"/>
          </a:xfrm>
          <a:prstGeom prst="homePlate">
            <a:avLst>
              <a:gd name="adj" fmla="val 0"/>
            </a:avLst>
          </a:prstGeom>
          <a:noFill/>
          <a:ln w="9525" algn="ctr">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lIns="89991" tIns="341964" rIns="4679504" bIns="0"/>
          <a:lstStyle/>
          <a:p>
            <a:pPr marL="177796" marR="0" lvl="0" indent="-177796" algn="l" defTabSz="809605" rtl="0" eaLnBrk="0" fontAlgn="auto" latinLnBrk="0" hangingPunct="0">
              <a:lnSpc>
                <a:spcPct val="80000"/>
              </a:lnSpc>
              <a:spcBef>
                <a:spcPct val="35000"/>
              </a:spcBef>
              <a:spcAft>
                <a:spcPts val="0"/>
              </a:spcAft>
              <a:buClr>
                <a:srgbClr val="003366"/>
              </a:buClr>
              <a:buSzPct val="120000"/>
              <a:buFontTx/>
              <a:buNone/>
              <a:tabLst>
                <a:tab pos="1698583" algn="l"/>
              </a:tabLst>
              <a:defRPr/>
            </a:pPr>
            <a:endParaRPr kumimoji="0" lang="en-US" sz="1400" b="1"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0" name="Rectangle 19"/>
          <p:cNvSpPr>
            <a:spLocks noChangeArrowheads="1"/>
          </p:cNvSpPr>
          <p:nvPr>
            <p:custDataLst>
              <p:tags r:id="rId11"/>
            </p:custDataLst>
          </p:nvPr>
        </p:nvSpPr>
        <p:spPr bwMode="gray">
          <a:xfrm>
            <a:off x="9265225" y="3269387"/>
            <a:ext cx="2660651" cy="204787"/>
          </a:xfrm>
          <a:prstGeom prst="rect">
            <a:avLst/>
          </a:prstGeom>
          <a:solidFill>
            <a:srgbClr val="E7E9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279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itchFamily="34" charset="0"/>
                <a:ea typeface="+mn-ea"/>
                <a:cs typeface="Calibri" pitchFamily="34" charset="0"/>
              </a:rPr>
              <a:t>Clutch Disc</a:t>
            </a:r>
          </a:p>
        </p:txBody>
      </p:sp>
      <p:sp>
        <p:nvSpPr>
          <p:cNvPr id="21" name="AutoShape 16"/>
          <p:cNvSpPr>
            <a:spLocks noChangeArrowheads="1"/>
          </p:cNvSpPr>
          <p:nvPr>
            <p:custDataLst>
              <p:tags r:id="rId12"/>
            </p:custDataLst>
          </p:nvPr>
        </p:nvSpPr>
        <p:spPr bwMode="auto">
          <a:xfrm>
            <a:off x="9254111" y="3269387"/>
            <a:ext cx="2667000" cy="1690687"/>
          </a:xfrm>
          <a:prstGeom prst="homePlate">
            <a:avLst>
              <a:gd name="adj" fmla="val 0"/>
            </a:avLst>
          </a:prstGeom>
          <a:noFill/>
          <a:ln w="9525" algn="ctr">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lIns="89991" tIns="341964" rIns="4679504" bIns="0"/>
          <a:lstStyle/>
          <a:p>
            <a:pPr marL="177796" marR="0" lvl="0" indent="-177796" algn="l" defTabSz="809605" rtl="0" eaLnBrk="0" fontAlgn="auto" latinLnBrk="0" hangingPunct="0">
              <a:lnSpc>
                <a:spcPct val="80000"/>
              </a:lnSpc>
              <a:spcBef>
                <a:spcPct val="35000"/>
              </a:spcBef>
              <a:spcAft>
                <a:spcPts val="0"/>
              </a:spcAft>
              <a:buClr>
                <a:srgbClr val="003366"/>
              </a:buClr>
              <a:buSzPct val="120000"/>
              <a:buFontTx/>
              <a:buNone/>
              <a:tabLst>
                <a:tab pos="1698583" algn="l"/>
              </a:tabLst>
              <a:defRPr/>
            </a:pPr>
            <a:endParaRPr kumimoji="0" lang="en-US" sz="1400" b="1"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2" name="Rectangle 21"/>
          <p:cNvSpPr>
            <a:spLocks noChangeArrowheads="1"/>
          </p:cNvSpPr>
          <p:nvPr>
            <p:custDataLst>
              <p:tags r:id="rId13"/>
            </p:custDataLst>
          </p:nvPr>
        </p:nvSpPr>
        <p:spPr bwMode="gray">
          <a:xfrm>
            <a:off x="201380" y="5021987"/>
            <a:ext cx="2660651" cy="204787"/>
          </a:xfrm>
          <a:prstGeom prst="rect">
            <a:avLst/>
          </a:prstGeom>
          <a:solidFill>
            <a:srgbClr val="E7E9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279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itchFamily="34" charset="0"/>
                <a:ea typeface="+mn-ea"/>
                <a:cs typeface="Calibri" pitchFamily="34" charset="0"/>
              </a:rPr>
              <a:t>Turning Circle Diameter (TCD)</a:t>
            </a:r>
          </a:p>
        </p:txBody>
      </p:sp>
      <p:sp>
        <p:nvSpPr>
          <p:cNvPr id="23" name="AutoShape 18"/>
          <p:cNvSpPr>
            <a:spLocks noChangeArrowheads="1"/>
          </p:cNvSpPr>
          <p:nvPr>
            <p:custDataLst>
              <p:tags r:id="rId14"/>
            </p:custDataLst>
          </p:nvPr>
        </p:nvSpPr>
        <p:spPr bwMode="auto">
          <a:xfrm>
            <a:off x="190267" y="5021987"/>
            <a:ext cx="2667000" cy="1690687"/>
          </a:xfrm>
          <a:prstGeom prst="homePlate">
            <a:avLst>
              <a:gd name="adj" fmla="val 0"/>
            </a:avLst>
          </a:prstGeom>
          <a:noFill/>
          <a:ln w="9525" algn="ctr">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lIns="89991" tIns="341964" rIns="4679504" bIns="0"/>
          <a:lstStyle/>
          <a:p>
            <a:pPr marL="177796" marR="0" lvl="0" indent="-177796" algn="l" defTabSz="809605" rtl="0" eaLnBrk="0" fontAlgn="auto" latinLnBrk="0" hangingPunct="0">
              <a:lnSpc>
                <a:spcPct val="80000"/>
              </a:lnSpc>
              <a:spcBef>
                <a:spcPct val="35000"/>
              </a:spcBef>
              <a:spcAft>
                <a:spcPts val="0"/>
              </a:spcAft>
              <a:buClr>
                <a:srgbClr val="003366"/>
              </a:buClr>
              <a:buSzPct val="120000"/>
              <a:buFontTx/>
              <a:buNone/>
              <a:tabLst>
                <a:tab pos="1698583" algn="l"/>
              </a:tabLst>
              <a:defRPr/>
            </a:pPr>
            <a:endParaRPr kumimoji="0" lang="en-US" sz="1400" b="1"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4" name="Rectangle 23"/>
          <p:cNvSpPr>
            <a:spLocks noChangeArrowheads="1"/>
          </p:cNvSpPr>
          <p:nvPr>
            <p:custDataLst>
              <p:tags r:id="rId15"/>
            </p:custDataLst>
          </p:nvPr>
        </p:nvSpPr>
        <p:spPr bwMode="gray">
          <a:xfrm>
            <a:off x="4468569" y="5021987"/>
            <a:ext cx="2660651" cy="204787"/>
          </a:xfrm>
          <a:prstGeom prst="rect">
            <a:avLst/>
          </a:prstGeom>
          <a:solidFill>
            <a:srgbClr val="E7E9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279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itchFamily="34" charset="0"/>
                <a:ea typeface="+mn-ea"/>
                <a:cs typeface="Calibri" pitchFamily="34" charset="0"/>
              </a:rPr>
              <a:t>Air Brake</a:t>
            </a:r>
          </a:p>
        </p:txBody>
      </p:sp>
      <p:sp>
        <p:nvSpPr>
          <p:cNvPr id="25" name="AutoShape 20"/>
          <p:cNvSpPr>
            <a:spLocks noChangeArrowheads="1"/>
          </p:cNvSpPr>
          <p:nvPr>
            <p:custDataLst>
              <p:tags r:id="rId16"/>
            </p:custDataLst>
          </p:nvPr>
        </p:nvSpPr>
        <p:spPr bwMode="auto">
          <a:xfrm>
            <a:off x="4457453" y="5021987"/>
            <a:ext cx="2667000" cy="1690687"/>
          </a:xfrm>
          <a:prstGeom prst="homePlate">
            <a:avLst>
              <a:gd name="adj" fmla="val 0"/>
            </a:avLst>
          </a:prstGeom>
          <a:noFill/>
          <a:ln w="9525" algn="ctr">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lIns="89991" tIns="341964" rIns="4679504" bIns="0"/>
          <a:lstStyle/>
          <a:p>
            <a:pPr marL="177796" marR="0" lvl="0" indent="-177796" algn="l" defTabSz="809605" rtl="0" eaLnBrk="0" fontAlgn="auto" latinLnBrk="0" hangingPunct="0">
              <a:lnSpc>
                <a:spcPct val="80000"/>
              </a:lnSpc>
              <a:spcBef>
                <a:spcPct val="35000"/>
              </a:spcBef>
              <a:spcAft>
                <a:spcPts val="0"/>
              </a:spcAft>
              <a:buClr>
                <a:srgbClr val="003366"/>
              </a:buClr>
              <a:buSzPct val="120000"/>
              <a:buFontTx/>
              <a:buNone/>
              <a:tabLst>
                <a:tab pos="1698583" algn="l"/>
              </a:tabLst>
              <a:defRPr/>
            </a:pPr>
            <a:endParaRPr kumimoji="0" lang="en-US" sz="1400" b="1"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26" name="Rectangle 25"/>
          <p:cNvSpPr>
            <a:spLocks noChangeArrowheads="1"/>
          </p:cNvSpPr>
          <p:nvPr>
            <p:custDataLst>
              <p:tags r:id="rId17"/>
            </p:custDataLst>
          </p:nvPr>
        </p:nvSpPr>
        <p:spPr bwMode="gray">
          <a:xfrm>
            <a:off x="9265225" y="5021987"/>
            <a:ext cx="2660651" cy="204787"/>
          </a:xfrm>
          <a:prstGeom prst="rect">
            <a:avLst/>
          </a:prstGeom>
          <a:solidFill>
            <a:srgbClr val="E7E9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279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itchFamily="34" charset="0"/>
                <a:ea typeface="+mn-ea"/>
                <a:cs typeface="Calibri" pitchFamily="34" charset="0"/>
              </a:rPr>
              <a:t>Loading Span (Deck Length) </a:t>
            </a:r>
          </a:p>
        </p:txBody>
      </p:sp>
      <p:sp>
        <p:nvSpPr>
          <p:cNvPr id="27" name="AutoShape 22"/>
          <p:cNvSpPr>
            <a:spLocks noChangeArrowheads="1"/>
          </p:cNvSpPr>
          <p:nvPr>
            <p:custDataLst>
              <p:tags r:id="rId18"/>
            </p:custDataLst>
          </p:nvPr>
        </p:nvSpPr>
        <p:spPr bwMode="auto">
          <a:xfrm>
            <a:off x="9254111" y="5021987"/>
            <a:ext cx="2667000" cy="1690687"/>
          </a:xfrm>
          <a:prstGeom prst="homePlate">
            <a:avLst>
              <a:gd name="adj" fmla="val 0"/>
            </a:avLst>
          </a:prstGeom>
          <a:noFill/>
          <a:ln w="9525" algn="ctr">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lIns="89991" tIns="341964" rIns="4679504" bIns="0"/>
          <a:lstStyle/>
          <a:p>
            <a:pPr marL="177796" marR="0" lvl="0" indent="-177796" algn="l" defTabSz="809605" rtl="0" eaLnBrk="0" fontAlgn="auto" latinLnBrk="0" hangingPunct="0">
              <a:lnSpc>
                <a:spcPct val="80000"/>
              </a:lnSpc>
              <a:spcBef>
                <a:spcPct val="35000"/>
              </a:spcBef>
              <a:spcAft>
                <a:spcPts val="0"/>
              </a:spcAft>
              <a:buClr>
                <a:srgbClr val="003366"/>
              </a:buClr>
              <a:buSzPct val="120000"/>
              <a:buFontTx/>
              <a:buNone/>
              <a:tabLst>
                <a:tab pos="1698583" algn="l"/>
              </a:tabLst>
              <a:defRPr/>
            </a:pPr>
            <a:endParaRPr kumimoji="0" lang="en-US" sz="1400" b="1"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pic>
        <p:nvPicPr>
          <p:cNvPr id="28" name="Picture 27" descr="10617d1060677259-code-problems-help-plz-mb-engine-jpg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69653" y="2440708"/>
            <a:ext cx="7620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28"/>
          <p:cNvSpPr>
            <a:spLocks noChangeArrowheads="1"/>
          </p:cNvSpPr>
          <p:nvPr/>
        </p:nvSpPr>
        <p:spPr bwMode="auto">
          <a:xfrm>
            <a:off x="217253" y="1759671"/>
            <a:ext cx="25908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tIns="0" bIns="0"/>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itchFamily="34" charset="0"/>
                <a:ea typeface="+mn-ea"/>
                <a:cs typeface="Calibri" pitchFamily="34" charset="0"/>
              </a:rPr>
              <a:t>Power </a:t>
            </a:r>
            <a:r>
              <a:rPr kumimoji="0" lang="en-US" sz="1200" b="0" i="0" u="none" strike="noStrike" kern="1200" cap="none" spc="0" normalizeH="0" baseline="0" noProof="0">
                <a:ln>
                  <a:noFill/>
                </a:ln>
                <a:solidFill>
                  <a:srgbClr val="000000"/>
                </a:solidFill>
                <a:effectLst/>
                <a:uLnTx/>
                <a:uFillTx/>
                <a:latin typeface="Calibri" pitchFamily="34" charset="0"/>
                <a:ea typeface="+mn-ea"/>
                <a:cs typeface="Calibri" pitchFamily="34" charset="0"/>
              </a:rPr>
              <a:t>– </a:t>
            </a:r>
            <a:r>
              <a:rPr kumimoji="0" lang="en-US" sz="900" b="0" i="0" u="none" strike="noStrike" kern="1200" cap="none" spc="0" normalizeH="0" baseline="0" noProof="0">
                <a:ln>
                  <a:noFill/>
                </a:ln>
                <a:solidFill>
                  <a:srgbClr val="000000"/>
                </a:solidFill>
                <a:effectLst/>
                <a:uLnTx/>
                <a:uFillTx/>
                <a:latin typeface="Calibri" pitchFamily="34" charset="0"/>
                <a:ea typeface="+mn-ea"/>
                <a:cs typeface="Calibri" pitchFamily="34" charset="0"/>
              </a:rPr>
              <a:t>Unit of Measurement</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itchFamily="34" charset="0"/>
                <a:ea typeface="+mn-ea"/>
                <a:cs typeface="Calibri" pitchFamily="34" charset="0"/>
              </a:rPr>
              <a:t>HP</a:t>
            </a:r>
            <a:r>
              <a:rPr kumimoji="0" lang="en-US" sz="1200" b="0" i="0" u="none" strike="noStrike" kern="1200" cap="none" spc="0" normalizeH="0" baseline="0" noProof="0">
                <a:ln>
                  <a:noFill/>
                </a:ln>
                <a:solidFill>
                  <a:srgbClr val="000000"/>
                </a:solidFill>
                <a:effectLst/>
                <a:uLnTx/>
                <a:uFillTx/>
                <a:latin typeface="Calibri" pitchFamily="34" charset="0"/>
                <a:ea typeface="+mn-ea"/>
                <a:cs typeface="Calibri" pitchFamily="34" charset="0"/>
              </a:rPr>
              <a:t> </a:t>
            </a:r>
            <a:r>
              <a:rPr kumimoji="0" lang="en-US" sz="1200" b="0" i="0" u="none" strike="noStrike" kern="1200" cap="none" spc="0" normalizeH="0" baseline="0" noProof="0">
                <a:ln>
                  <a:noFill/>
                </a:ln>
                <a:solidFill>
                  <a:srgbClr val="000000"/>
                </a:solidFill>
                <a:effectLst/>
                <a:uLnTx/>
                <a:uFillTx/>
                <a:latin typeface="Calibri" pitchFamily="34" charset="0"/>
                <a:ea typeface="+mn-ea"/>
                <a:cs typeface="Calibri" pitchFamily="34" charset="0"/>
                <a:sym typeface="Wingdings" pitchFamily="2" charset="2"/>
              </a:rPr>
              <a:t> Horse Power       </a:t>
            </a:r>
            <a:r>
              <a:rPr kumimoji="0" lang="en-US" sz="1200" b="1" i="0" u="none" strike="noStrike" kern="1200" cap="none" spc="0" normalizeH="0" baseline="0" noProof="0">
                <a:ln>
                  <a:noFill/>
                </a:ln>
                <a:solidFill>
                  <a:srgbClr val="000000"/>
                </a:solidFill>
                <a:effectLst/>
                <a:uLnTx/>
                <a:uFillTx/>
                <a:latin typeface="Calibri" pitchFamily="34" charset="0"/>
                <a:ea typeface="+mn-ea"/>
                <a:cs typeface="Calibri" pitchFamily="34" charset="0"/>
                <a:sym typeface="Wingdings" pitchFamily="2" charset="2"/>
              </a:rPr>
              <a:t>Kw</a:t>
            </a:r>
            <a:r>
              <a:rPr kumimoji="0" lang="en-US" sz="1200" b="0" i="0" u="none" strike="noStrike" kern="1200" cap="none" spc="0" normalizeH="0" baseline="0" noProof="0">
                <a:ln>
                  <a:noFill/>
                </a:ln>
                <a:solidFill>
                  <a:srgbClr val="000000"/>
                </a:solidFill>
                <a:effectLst/>
                <a:uLnTx/>
                <a:uFillTx/>
                <a:latin typeface="Calibri" pitchFamily="34" charset="0"/>
                <a:ea typeface="+mn-ea"/>
                <a:cs typeface="Calibri" pitchFamily="34" charset="0"/>
                <a:sym typeface="Wingdings" pitchFamily="2" charset="2"/>
              </a:rPr>
              <a:t>  Kilowat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itchFamily="34" charset="0"/>
                <a:ea typeface="+mn-ea"/>
                <a:cs typeface="Calibri" pitchFamily="34" charset="0"/>
                <a:sym typeface="Wingdings" pitchFamily="2" charset="2"/>
              </a:rPr>
              <a:t>	(Energy Rate Transfer)</a:t>
            </a:r>
          </a:p>
        </p:txBody>
      </p:sp>
      <p:sp>
        <p:nvSpPr>
          <p:cNvPr id="30" name="Rectangle 29"/>
          <p:cNvSpPr>
            <a:spLocks noChangeArrowheads="1"/>
          </p:cNvSpPr>
          <p:nvPr/>
        </p:nvSpPr>
        <p:spPr bwMode="auto">
          <a:xfrm>
            <a:off x="1360253" y="2445472"/>
            <a:ext cx="1447800"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tIns="0" bIns="0"/>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1 Kw = 1.34 HP</a:t>
            </a:r>
          </a:p>
          <a:p>
            <a:pPr marL="0" marR="0" lvl="0" indent="0" algn="l" defTabSz="914377" rtl="0" eaLnBrk="1" fontAlgn="auto" latinLnBrk="0" hangingPunct="1">
              <a:lnSpc>
                <a:spcPct val="12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endParaRPr>
          </a:p>
          <a:p>
            <a:pPr marL="0" marR="0" lvl="0" indent="0" algn="l" defTabSz="914377"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PS-</a:t>
            </a:r>
            <a:r>
              <a:rPr kumimoji="0" lang="en-US" sz="1000" b="0" i="0" u="none" strike="noStrike" kern="1200" cap="none" spc="0" normalizeH="0" baseline="0" noProof="0" dirty="0" err="1">
                <a:ln>
                  <a:noFill/>
                </a:ln>
                <a:solidFill>
                  <a:srgbClr val="000000"/>
                </a:solidFill>
                <a:effectLst/>
                <a:uLnTx/>
                <a:uFillTx/>
                <a:latin typeface="Calibri" pitchFamily="34" charset="0"/>
                <a:ea typeface="+mn-ea"/>
                <a:cs typeface="Calibri" pitchFamily="34" charset="0"/>
              </a:rPr>
              <a:t>pferdestärke</a:t>
            </a:r>
            <a:endParaRPr kumimoji="0" lang="en-US" sz="10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endParaRPr>
          </a:p>
          <a:p>
            <a:pPr marL="0" marR="0" lvl="0" indent="0" algn="l" defTabSz="914377"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Brake HP  (Obsolete)</a:t>
            </a:r>
          </a:p>
        </p:txBody>
      </p:sp>
      <p:sp>
        <p:nvSpPr>
          <p:cNvPr id="31" name="Line 26"/>
          <p:cNvSpPr>
            <a:spLocks noChangeShapeType="1"/>
          </p:cNvSpPr>
          <p:nvPr/>
        </p:nvSpPr>
        <p:spPr bwMode="auto">
          <a:xfrm>
            <a:off x="217253" y="2369271"/>
            <a:ext cx="2590800" cy="0"/>
          </a:xfrm>
          <a:prstGeom prst="line">
            <a:avLst/>
          </a:prstGeom>
          <a:noFill/>
          <a:ln w="12700">
            <a:solidFill>
              <a:srgbClr val="808080"/>
            </a:solidFill>
            <a:prstDash val="dash"/>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2" name="Line 27"/>
          <p:cNvSpPr>
            <a:spLocks noChangeShapeType="1"/>
          </p:cNvSpPr>
          <p:nvPr/>
        </p:nvSpPr>
        <p:spPr bwMode="auto">
          <a:xfrm>
            <a:off x="1284053" y="2750271"/>
            <a:ext cx="1524000" cy="0"/>
          </a:xfrm>
          <a:prstGeom prst="line">
            <a:avLst/>
          </a:prstGeom>
          <a:noFill/>
          <a:ln w="12700">
            <a:solidFill>
              <a:srgbClr val="808080"/>
            </a:solidFill>
            <a:prstDash val="dash"/>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3" name="Rectangle 32"/>
          <p:cNvSpPr>
            <a:spLocks noChangeArrowheads="1"/>
          </p:cNvSpPr>
          <p:nvPr/>
        </p:nvSpPr>
        <p:spPr bwMode="auto">
          <a:xfrm>
            <a:off x="4533653" y="1759671"/>
            <a:ext cx="25908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tIns="0" bIns="0"/>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Torque</a:t>
            </a:r>
            <a:r>
              <a:rPr kumimoji="0" lang="en-US" sz="9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 –</a:t>
            </a:r>
            <a:r>
              <a:rPr kumimoji="0" lang="en-US" sz="10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 </a:t>
            </a:r>
            <a:r>
              <a:rPr kumimoji="0" lang="en-US" sz="9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Unit of measurement</a:t>
            </a:r>
            <a:endParaRPr kumimoji="0" lang="en-US" sz="9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sym typeface="Wingdings" pitchFamily="2" charset="2"/>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000000"/>
                </a:solidFill>
                <a:effectLst/>
                <a:uLnTx/>
                <a:uFillTx/>
                <a:latin typeface="Calibri" pitchFamily="34" charset="0"/>
                <a:ea typeface="+mn-ea"/>
                <a:cs typeface="Calibri" pitchFamily="34" charset="0"/>
                <a:sym typeface="Wingdings" pitchFamily="2" charset="2"/>
              </a:rPr>
              <a:t>Kgm</a:t>
            </a:r>
            <a:r>
              <a:rPr kumimoji="0" lang="en-US" sz="12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sym typeface="Wingdings" pitchFamily="2" charset="2"/>
              </a:rPr>
              <a:t>  Kilogram Meter      Rotational</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sym typeface="Wingdings" pitchFamily="2" charset="2"/>
              </a:rPr>
              <a:t>Nm</a:t>
            </a:r>
            <a:r>
              <a:rPr kumimoji="0" lang="en-US" sz="12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sym typeface="Wingdings" pitchFamily="2" charset="2"/>
              </a:rPr>
              <a:t>  Newton Meter             Force</a:t>
            </a:r>
            <a:endParaRPr kumimoji="0" lang="en-US" sz="12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34" name="Rectangle 33"/>
          <p:cNvSpPr>
            <a:spLocks noChangeArrowheads="1"/>
          </p:cNvSpPr>
          <p:nvPr/>
        </p:nvSpPr>
        <p:spPr bwMode="auto">
          <a:xfrm>
            <a:off x="5448053" y="2445471"/>
            <a:ext cx="14478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tIns="0" bIns="0"/>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itchFamily="34" charset="0"/>
                <a:ea typeface="+mn-ea"/>
                <a:cs typeface="Calibri" pitchFamily="34" charset="0"/>
              </a:rPr>
              <a:t>1 Kgm = 9.81 Nm</a:t>
            </a:r>
          </a:p>
        </p:txBody>
      </p:sp>
      <p:sp>
        <p:nvSpPr>
          <p:cNvPr id="35" name="Line 30"/>
          <p:cNvSpPr>
            <a:spLocks noChangeShapeType="1"/>
          </p:cNvSpPr>
          <p:nvPr/>
        </p:nvSpPr>
        <p:spPr bwMode="auto">
          <a:xfrm>
            <a:off x="4533653" y="2369271"/>
            <a:ext cx="2590800" cy="0"/>
          </a:xfrm>
          <a:prstGeom prst="line">
            <a:avLst/>
          </a:prstGeom>
          <a:noFill/>
          <a:ln w="12700">
            <a:solidFill>
              <a:srgbClr val="808080"/>
            </a:solidFill>
            <a:prstDash val="dash"/>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36" name="Line 31"/>
          <p:cNvSpPr>
            <a:spLocks noChangeShapeType="1"/>
          </p:cNvSpPr>
          <p:nvPr/>
        </p:nvSpPr>
        <p:spPr bwMode="auto">
          <a:xfrm>
            <a:off x="5295653" y="2750271"/>
            <a:ext cx="1828800" cy="0"/>
          </a:xfrm>
          <a:prstGeom prst="line">
            <a:avLst/>
          </a:prstGeom>
          <a:noFill/>
          <a:ln w="12700">
            <a:solidFill>
              <a:srgbClr val="808080"/>
            </a:solidFill>
            <a:prstDash val="dash"/>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pic>
        <p:nvPicPr>
          <p:cNvPr id="37" name="Picture 36" descr="torque_power_curve_zonda_f"/>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533653" y="2445474"/>
            <a:ext cx="685800"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Rectangle 37"/>
          <p:cNvSpPr>
            <a:spLocks noChangeArrowheads="1"/>
          </p:cNvSpPr>
          <p:nvPr/>
        </p:nvSpPr>
        <p:spPr bwMode="auto">
          <a:xfrm>
            <a:off x="5295653" y="2750271"/>
            <a:ext cx="14478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tIns="0" bIns="0"/>
          <a:lstStyle/>
          <a:p>
            <a:pPr marL="0" marR="0" lvl="0" indent="0" algn="l" defTabSz="914377"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Flat Torque: </a:t>
            </a:r>
            <a:r>
              <a:rPr kumimoji="0" lang="en-US" sz="10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RPM range at </a:t>
            </a:r>
          </a:p>
          <a:p>
            <a:pPr marL="0" marR="0" lvl="0" indent="0" algn="l" defTabSz="914377"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which the torque is  almost flat</a:t>
            </a:r>
          </a:p>
        </p:txBody>
      </p:sp>
      <p:sp>
        <p:nvSpPr>
          <p:cNvPr id="39" name="AutoShape 34"/>
          <p:cNvSpPr>
            <a:spLocks noChangeArrowheads="1"/>
          </p:cNvSpPr>
          <p:nvPr/>
        </p:nvSpPr>
        <p:spPr bwMode="auto">
          <a:xfrm>
            <a:off x="6237268" y="1985889"/>
            <a:ext cx="736600" cy="304800"/>
          </a:xfrm>
          <a:prstGeom prst="bracketPair">
            <a:avLst>
              <a:gd name="adj" fmla="val 16667"/>
            </a:avLst>
          </a:prstGeom>
          <a:noFill/>
          <a:ln w="3175">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pic>
        <p:nvPicPr>
          <p:cNvPr id="40" name="Picture 39" descr="QJ506_Synchronous_Transmission_Truck_"/>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374760" y="1835874"/>
            <a:ext cx="838200" cy="6048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Rectangle 40"/>
          <p:cNvSpPr>
            <a:spLocks noChangeArrowheads="1"/>
          </p:cNvSpPr>
          <p:nvPr/>
        </p:nvSpPr>
        <p:spPr bwMode="auto">
          <a:xfrm>
            <a:off x="10517760" y="1835871"/>
            <a:ext cx="1143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tIns="0" bIns="0"/>
          <a:lstStyle/>
          <a:p>
            <a:pPr marL="0" marR="0" lvl="0" indent="0" algn="ctr" defTabSz="914377" rtl="0" eaLnBrk="1" fontAlgn="auto" latinLnBrk="0" hangingPunct="1">
              <a:lnSpc>
                <a:spcPct val="12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itchFamily="34" charset="0"/>
                <a:ea typeface="+mn-ea"/>
                <a:cs typeface="Calibri" pitchFamily="34" charset="0"/>
              </a:rPr>
              <a:t>Gears </a:t>
            </a:r>
            <a:r>
              <a:rPr kumimoji="0" lang="en-US" sz="1200" b="1" i="0" u="sng" strike="noStrike" kern="1200" cap="none" spc="0" normalizeH="0" baseline="0" noProof="0" dirty="0" err="1">
                <a:ln>
                  <a:noFill/>
                </a:ln>
                <a:solidFill>
                  <a:srgbClr val="000000"/>
                </a:solidFill>
                <a:effectLst/>
                <a:uLnTx/>
                <a:uFillTx/>
                <a:latin typeface="Calibri" pitchFamily="34" charset="0"/>
                <a:ea typeface="+mn-ea"/>
                <a:cs typeface="Calibri" pitchFamily="34" charset="0"/>
              </a:rPr>
              <a:t>Nos</a:t>
            </a:r>
            <a:endParaRPr kumimoji="0" lang="en-US" sz="1200" b="1" i="0" u="sng" strike="noStrike" kern="1200" cap="none" spc="0" normalizeH="0" baseline="0" noProof="0" dirty="0">
              <a:ln>
                <a:noFill/>
              </a:ln>
              <a:solidFill>
                <a:srgbClr val="000000"/>
              </a:solidFill>
              <a:effectLst/>
              <a:uLnTx/>
              <a:uFillTx/>
              <a:latin typeface="Calibri" pitchFamily="34" charset="0"/>
              <a:ea typeface="+mn-ea"/>
              <a:cs typeface="Calibri" pitchFamily="34" charset="0"/>
            </a:endParaRPr>
          </a:p>
          <a:p>
            <a:pPr marL="0" marR="0" lvl="0" indent="0" algn="ctr" defTabSz="914377"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     5, 6, 9</a:t>
            </a:r>
            <a:endParaRPr kumimoji="0" lang="en-US" sz="10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endParaRPr>
          </a:p>
        </p:txBody>
      </p:sp>
      <p:pic>
        <p:nvPicPr>
          <p:cNvPr id="42" name="Picture 41" descr="Truck-Spare-Parts-Clutch-Pressure-Plat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374760" y="3604347"/>
            <a:ext cx="762000"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Rectangle 42"/>
          <p:cNvSpPr>
            <a:spLocks noChangeArrowheads="1"/>
          </p:cNvSpPr>
          <p:nvPr/>
        </p:nvSpPr>
        <p:spPr bwMode="auto">
          <a:xfrm>
            <a:off x="10060560" y="2445471"/>
            <a:ext cx="1143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tIns="0" bIns="0"/>
          <a:lstStyle/>
          <a:p>
            <a:pPr marL="0" marR="0" lvl="0" indent="0" algn="ctr" defTabSz="914377" rtl="0" eaLnBrk="1" fontAlgn="auto" latinLnBrk="0" hangingPunct="1">
              <a:lnSpc>
                <a:spcPct val="12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itchFamily="34" charset="0"/>
                <a:ea typeface="+mn-ea"/>
                <a:cs typeface="Calibri" pitchFamily="34" charset="0"/>
              </a:rPr>
              <a:t>Gears Box Types</a:t>
            </a:r>
          </a:p>
          <a:p>
            <a:pPr marL="0" marR="0" lvl="0" indent="0" algn="ctr" defTabSz="914377"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S5.36, S6.36, 9S1110</a:t>
            </a:r>
          </a:p>
          <a:p>
            <a:pPr marL="0" marR="0" lvl="0" indent="0" algn="ctr" defTabSz="914377"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Represents Torque Capacity)</a:t>
            </a:r>
            <a:endParaRPr kumimoji="0" lang="en-US" sz="10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45" name="Rectangle 44"/>
          <p:cNvSpPr>
            <a:spLocks noChangeArrowheads="1"/>
          </p:cNvSpPr>
          <p:nvPr/>
        </p:nvSpPr>
        <p:spPr bwMode="auto">
          <a:xfrm>
            <a:off x="10365360" y="3588471"/>
            <a:ext cx="1143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tIns="0" bIns="0"/>
          <a:lstStyle/>
          <a:p>
            <a:pPr marL="0" marR="0" lvl="0" indent="0" algn="ctr" defTabSz="914377" rtl="0" eaLnBrk="1" fontAlgn="auto" latinLnBrk="0" hangingPunct="1">
              <a:lnSpc>
                <a:spcPct val="12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itchFamily="34" charset="0"/>
                <a:ea typeface="+mn-ea"/>
                <a:cs typeface="Calibri" pitchFamily="34" charset="0"/>
              </a:rPr>
              <a:t>Clutch Types</a:t>
            </a:r>
          </a:p>
          <a:p>
            <a:pPr marL="0" marR="0" lvl="0" indent="0" algn="ctr" defTabSz="914377"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     Organic or Ceramic</a:t>
            </a:r>
            <a:endParaRPr kumimoji="0" lang="en-US" sz="10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46" name="Rectangle 45"/>
          <p:cNvSpPr>
            <a:spLocks noChangeArrowheads="1"/>
          </p:cNvSpPr>
          <p:nvPr/>
        </p:nvSpPr>
        <p:spPr bwMode="auto">
          <a:xfrm>
            <a:off x="10212960" y="4121871"/>
            <a:ext cx="1143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tIns="0" bIns="0"/>
          <a:lstStyle/>
          <a:p>
            <a:pPr marL="0" marR="0" lvl="0" indent="0" algn="ctr" defTabSz="914377" rtl="0" eaLnBrk="1" fontAlgn="auto" latinLnBrk="0" hangingPunct="1">
              <a:lnSpc>
                <a:spcPct val="12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itchFamily="34" charset="0"/>
                <a:ea typeface="+mn-ea"/>
                <a:cs typeface="Calibri" pitchFamily="34" charset="0"/>
              </a:rPr>
              <a:t>Clutch </a:t>
            </a:r>
            <a:r>
              <a:rPr kumimoji="0" lang="en-US" sz="1200" b="1" i="0" u="sng" strike="noStrike" kern="1200" cap="none" spc="0" normalizeH="0" baseline="0" noProof="0" dirty="0" err="1">
                <a:ln>
                  <a:noFill/>
                </a:ln>
                <a:solidFill>
                  <a:srgbClr val="000000"/>
                </a:solidFill>
                <a:effectLst/>
                <a:uLnTx/>
                <a:uFillTx/>
                <a:latin typeface="Calibri" pitchFamily="34" charset="0"/>
                <a:ea typeface="+mn-ea"/>
                <a:cs typeface="Calibri" pitchFamily="34" charset="0"/>
              </a:rPr>
              <a:t>Dia</a:t>
            </a:r>
            <a:r>
              <a:rPr kumimoji="0" lang="en-US" sz="1200" b="1" i="0" u="sng" strike="noStrike" kern="1200" cap="none" spc="0" normalizeH="0" baseline="0" noProof="0" dirty="0">
                <a:ln>
                  <a:noFill/>
                </a:ln>
                <a:solidFill>
                  <a:srgbClr val="000000"/>
                </a:solidFill>
                <a:effectLst/>
                <a:uLnTx/>
                <a:uFillTx/>
                <a:latin typeface="Calibri" pitchFamily="34" charset="0"/>
                <a:ea typeface="+mn-ea"/>
                <a:cs typeface="Calibri" pitchFamily="34" charset="0"/>
              </a:rPr>
              <a:t> (mm)</a:t>
            </a:r>
          </a:p>
          <a:p>
            <a:pPr marL="0" marR="0" lvl="0" indent="0" algn="ctr" defTabSz="914377"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310, 330, 352, 380….</a:t>
            </a:r>
          </a:p>
          <a:p>
            <a:pPr marL="0" marR="0" lvl="0" indent="0" algn="ctr" defTabSz="914377"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Represents outer diameter)</a:t>
            </a:r>
            <a:endParaRPr kumimoji="0" lang="en-US" sz="10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47" name="Rectangle 46"/>
          <p:cNvSpPr>
            <a:spLocks noChangeArrowheads="1"/>
          </p:cNvSpPr>
          <p:nvPr/>
        </p:nvSpPr>
        <p:spPr bwMode="auto">
          <a:xfrm>
            <a:off x="4838453" y="4502871"/>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tIns="0" bIns="0"/>
          <a:lstStyle/>
          <a:p>
            <a:pPr marL="0" marR="0" lvl="0" indent="0" algn="ctr" defTabSz="914377"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Quick Speeding Up Ability </a:t>
            </a:r>
          </a:p>
          <a:p>
            <a:pPr marL="0" marR="0" lvl="0" indent="0" algn="ctr" defTabSz="914377"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Time taken from 0 km/h to 30… km/h)</a:t>
            </a:r>
            <a:endParaRPr kumimoji="0" lang="en-US" sz="9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endParaRPr>
          </a:p>
        </p:txBody>
      </p:sp>
      <p:pic>
        <p:nvPicPr>
          <p:cNvPr id="48" name="Picture 47" descr="untitled"/>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914653" y="3559896"/>
            <a:ext cx="1295400"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AutoShape 43"/>
          <p:cNvSpPr>
            <a:spLocks noChangeArrowheads="1"/>
          </p:cNvSpPr>
          <p:nvPr/>
        </p:nvSpPr>
        <p:spPr bwMode="auto">
          <a:xfrm>
            <a:off x="5981453" y="4198071"/>
            <a:ext cx="76200" cy="76200"/>
          </a:xfrm>
          <a:prstGeom prst="rightArrow">
            <a:avLst>
              <a:gd name="adj1" fmla="val 50000"/>
              <a:gd name="adj2" fmla="val 25000"/>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50" name="AutoShape 44"/>
          <p:cNvSpPr>
            <a:spLocks noChangeArrowheads="1"/>
          </p:cNvSpPr>
          <p:nvPr/>
        </p:nvSpPr>
        <p:spPr bwMode="auto">
          <a:xfrm>
            <a:off x="6133853" y="4159971"/>
            <a:ext cx="152400" cy="152400"/>
          </a:xfrm>
          <a:prstGeom prst="rightArrow">
            <a:avLst>
              <a:gd name="adj1" fmla="val 50000"/>
              <a:gd name="adj2" fmla="val 25000"/>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51" name="AutoShape 45"/>
          <p:cNvSpPr>
            <a:spLocks noChangeArrowheads="1"/>
          </p:cNvSpPr>
          <p:nvPr/>
        </p:nvSpPr>
        <p:spPr bwMode="auto">
          <a:xfrm>
            <a:off x="6362453" y="4121871"/>
            <a:ext cx="228600" cy="228600"/>
          </a:xfrm>
          <a:prstGeom prst="rightArrow">
            <a:avLst>
              <a:gd name="adj1" fmla="val 50000"/>
              <a:gd name="adj2" fmla="val 41667"/>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52" name="AutoShape 46"/>
          <p:cNvSpPr>
            <a:spLocks noChangeArrowheads="1"/>
          </p:cNvSpPr>
          <p:nvPr/>
        </p:nvSpPr>
        <p:spPr bwMode="auto">
          <a:xfrm>
            <a:off x="6667253" y="4071071"/>
            <a:ext cx="304800" cy="304800"/>
          </a:xfrm>
          <a:prstGeom prst="rightArrow">
            <a:avLst>
              <a:gd name="adj1" fmla="val 50000"/>
              <a:gd name="adj2" fmla="val 41667"/>
            </a:avLst>
          </a:prstGeom>
          <a:solidFill>
            <a:schemeClr val="bg1"/>
          </a:solidFill>
          <a:ln w="12700">
            <a:solidFill>
              <a:schemeClr val="tx1"/>
            </a:solidFill>
            <a:miter lim="800000"/>
            <a:headEnd type="none" w="sm" len="sm"/>
            <a:tailEnd type="none" w="sm" len="sm"/>
          </a:ln>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pic>
        <p:nvPicPr>
          <p:cNvPr id="53" name="Picture 52" descr="13a-outside-turning-circl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93453" y="5341071"/>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Rectangle 53"/>
          <p:cNvSpPr>
            <a:spLocks noChangeArrowheads="1"/>
          </p:cNvSpPr>
          <p:nvPr/>
        </p:nvSpPr>
        <p:spPr bwMode="auto">
          <a:xfrm>
            <a:off x="1550753" y="5188671"/>
            <a:ext cx="1143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tIns="0" bIns="0"/>
          <a:lstStyle/>
          <a:p>
            <a:pPr marL="0" marR="0" lvl="0" indent="0" algn="ctr" defTabSz="914377" rtl="0" eaLnBrk="1" fontAlgn="auto" latinLnBrk="0" hangingPunct="1">
              <a:lnSpc>
                <a:spcPct val="110000"/>
              </a:lnSpc>
              <a:spcBef>
                <a:spcPts val="0"/>
              </a:spcBef>
              <a:spcAft>
                <a:spcPts val="0"/>
              </a:spcAft>
              <a:buClrTx/>
              <a:buSzTx/>
              <a:buFontTx/>
              <a:buNone/>
              <a:tabLst/>
              <a:defRPr/>
            </a:pPr>
            <a:r>
              <a:rPr kumimoji="0" lang="en-US" sz="1400" b="0" i="0" u="sng" strike="noStrike" kern="1200" cap="none" spc="0" normalizeH="0" baseline="0" noProof="0" dirty="0">
                <a:ln>
                  <a:noFill/>
                </a:ln>
                <a:solidFill>
                  <a:srgbClr val="000000"/>
                </a:solidFill>
                <a:effectLst/>
                <a:uLnTx/>
                <a:uFillTx/>
                <a:latin typeface="Calibri" pitchFamily="34" charset="0"/>
                <a:ea typeface="+mn-ea"/>
                <a:cs typeface="Calibri" pitchFamily="34" charset="0"/>
              </a:rPr>
              <a:t>Turning Ability</a:t>
            </a:r>
          </a:p>
          <a:p>
            <a:pPr marL="0" marR="0" lvl="0" indent="0" algn="ctr" defTabSz="914377"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U-Turn / Steep Turn</a:t>
            </a:r>
            <a:endParaRPr kumimoji="0" lang="en-US" sz="7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55" name="Rectangle 54"/>
          <p:cNvSpPr>
            <a:spLocks noChangeArrowheads="1"/>
          </p:cNvSpPr>
          <p:nvPr/>
        </p:nvSpPr>
        <p:spPr bwMode="auto">
          <a:xfrm>
            <a:off x="1523767" y="5569671"/>
            <a:ext cx="16002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tIns="0" bIns="0"/>
          <a:lstStyle/>
          <a:p>
            <a:pPr marL="0" marR="0" lvl="0" indent="0" algn="l" defTabSz="914377" rtl="0" eaLnBrk="1" fontAlgn="auto" latinLnBrk="0" hangingPunct="1">
              <a:lnSpc>
                <a:spcPct val="110000"/>
              </a:lnSpc>
              <a:spcBef>
                <a:spcPts val="0"/>
              </a:spcBef>
              <a:spcAft>
                <a:spcPts val="0"/>
              </a:spcAft>
              <a:buClrTx/>
              <a:buSzTx/>
              <a:buFontTx/>
              <a:buNone/>
              <a:tabLst/>
              <a:defRPr/>
            </a:pPr>
            <a:r>
              <a:rPr kumimoji="0" lang="en-US" sz="1400" b="0" i="0" u="sng" strike="noStrike" kern="1200" cap="none" spc="0" normalizeH="0" baseline="0" noProof="0" dirty="0">
                <a:ln>
                  <a:noFill/>
                </a:ln>
                <a:solidFill>
                  <a:srgbClr val="000000"/>
                </a:solidFill>
                <a:effectLst/>
                <a:uLnTx/>
                <a:uFillTx/>
                <a:latin typeface="Calibri" pitchFamily="34" charset="0"/>
                <a:ea typeface="+mn-ea"/>
                <a:cs typeface="Calibri" pitchFamily="34" charset="0"/>
              </a:rPr>
              <a:t>Small TCD</a:t>
            </a:r>
          </a:p>
          <a:p>
            <a:pPr marL="0" marR="0" lvl="0" indent="0" algn="l" defTabSz="914377" rtl="0" eaLnBrk="1" fontAlgn="auto" latinLnBrk="0" hangingPunct="1">
              <a:lnSpc>
                <a:spcPct val="110000"/>
              </a:lnSpc>
              <a:spcBef>
                <a:spcPts val="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Ease in ‘U’ turning </a:t>
            </a:r>
          </a:p>
          <a:p>
            <a:pPr marL="0" marR="0" lvl="0" indent="0" algn="l" defTabSz="914377" rtl="0" eaLnBrk="1" fontAlgn="auto" latinLnBrk="0" hangingPunct="1">
              <a:lnSpc>
                <a:spcPct val="110000"/>
              </a:lnSpc>
              <a:spcBef>
                <a:spcPts val="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Enter narrow lanes</a:t>
            </a:r>
          </a:p>
          <a:p>
            <a:pPr marL="0" marR="0" lvl="0" indent="0" algn="l" defTabSz="914377" rtl="0" eaLnBrk="1" fontAlgn="auto" latinLnBrk="0" hangingPunct="1">
              <a:lnSpc>
                <a:spcPct val="110000"/>
              </a:lnSpc>
              <a:spcBef>
                <a:spcPts val="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Easy Maneuverability</a:t>
            </a:r>
          </a:p>
          <a:p>
            <a:pPr marL="0" marR="0" lvl="0" indent="0" algn="l" defTabSz="914377" rtl="0" eaLnBrk="1" fontAlgn="auto" latinLnBrk="0" hangingPunct="1">
              <a:lnSpc>
                <a:spcPct val="110000"/>
              </a:lnSpc>
              <a:spcBef>
                <a:spcPts val="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Less forwarding and </a:t>
            </a:r>
          </a:p>
          <a:p>
            <a:pPr marL="0" marR="0" lvl="0" indent="0" algn="l" defTabSz="914377"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reversing</a:t>
            </a:r>
            <a:endParaRPr kumimoji="0" lang="en-US" sz="7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endParaRPr>
          </a:p>
        </p:txBody>
      </p:sp>
      <p:pic>
        <p:nvPicPr>
          <p:cNvPr id="56" name="Picture 55" descr="untitled"/>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533655" y="5341071"/>
            <a:ext cx="331788"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Rectangle 56"/>
          <p:cNvSpPr>
            <a:spLocks noChangeArrowheads="1"/>
          </p:cNvSpPr>
          <p:nvPr/>
        </p:nvSpPr>
        <p:spPr bwMode="auto">
          <a:xfrm>
            <a:off x="5067053" y="5341071"/>
            <a:ext cx="1905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tIns="0" bIns="0"/>
          <a:lstStyle/>
          <a:p>
            <a:pPr marL="0" marR="0" lvl="0" indent="0" algn="ctr" defTabSz="914377" rtl="0" eaLnBrk="1" fontAlgn="auto" latinLnBrk="0" hangingPunct="1">
              <a:lnSpc>
                <a:spcPct val="90000"/>
              </a:lnSpc>
              <a:spcBef>
                <a:spcPts val="0"/>
              </a:spcBef>
              <a:spcAft>
                <a:spcPts val="0"/>
              </a:spcAft>
              <a:buClrTx/>
              <a:buSzTx/>
              <a:buFont typeface="Wingdings" pitchFamily="2" charset="2"/>
              <a:buChar char="à"/>
              <a:tabLst/>
              <a:defRPr/>
            </a:pPr>
            <a:r>
              <a:rPr kumimoji="0" lang="en-US" sz="1400" b="0" i="0" u="none" strike="noStrike" kern="1200" cap="none" spc="0" normalizeH="0" baseline="0" noProof="0">
                <a:ln>
                  <a:noFill/>
                </a:ln>
                <a:solidFill>
                  <a:srgbClr val="000000"/>
                </a:solidFill>
                <a:effectLst/>
                <a:uLnTx/>
                <a:uFillTx/>
                <a:latin typeface="Calibri" pitchFamily="34" charset="0"/>
                <a:ea typeface="+mn-ea"/>
                <a:cs typeface="Calibri" pitchFamily="34" charset="0"/>
              </a:rPr>
              <a:t>Brake system working </a:t>
            </a:r>
          </a:p>
          <a:p>
            <a:pPr marL="0" marR="0" lvl="0" indent="0" algn="ctr" defTabSz="91437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itchFamily="34" charset="0"/>
                <a:ea typeface="+mn-ea"/>
                <a:cs typeface="Calibri" pitchFamily="34" charset="0"/>
              </a:rPr>
              <a:t>with Air Pressure</a:t>
            </a:r>
            <a:endParaRPr kumimoji="0" lang="en-US" sz="9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58" name="Rectangle 57"/>
          <p:cNvSpPr>
            <a:spLocks noChangeArrowheads="1"/>
          </p:cNvSpPr>
          <p:nvPr/>
        </p:nvSpPr>
        <p:spPr bwMode="auto">
          <a:xfrm>
            <a:off x="4914653" y="5798271"/>
            <a:ext cx="1905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tIns="0" bIns="0"/>
          <a:lstStyle/>
          <a:p>
            <a:pPr marL="0" marR="0" lvl="0" indent="0" algn="l" defTabSz="914377" rtl="0" eaLnBrk="1" fontAlgn="auto" latinLnBrk="0" hangingPunct="1">
              <a:lnSpc>
                <a:spcPct val="110000"/>
              </a:lnSpc>
              <a:spcBef>
                <a:spcPts val="0"/>
              </a:spcBef>
              <a:spcAft>
                <a:spcPts val="0"/>
              </a:spcAft>
              <a:buClrTx/>
              <a:buSzTx/>
              <a:buFontTx/>
              <a:buNone/>
              <a:tabLst/>
              <a:defRPr/>
            </a:pPr>
            <a:r>
              <a:rPr kumimoji="0" lang="en-US" sz="1200" b="1" i="0" u="sng" strike="noStrike" kern="1200" cap="none" spc="0" normalizeH="0" baseline="0" noProof="0">
                <a:ln>
                  <a:noFill/>
                </a:ln>
                <a:solidFill>
                  <a:srgbClr val="000000"/>
                </a:solidFill>
                <a:effectLst/>
                <a:uLnTx/>
                <a:uFillTx/>
                <a:latin typeface="Calibri" pitchFamily="34" charset="0"/>
                <a:ea typeface="+mn-ea"/>
                <a:cs typeface="Calibri" pitchFamily="34" charset="0"/>
              </a:rPr>
              <a:t>Other Brake Type</a:t>
            </a:r>
          </a:p>
          <a:p>
            <a:pPr marL="0" marR="0" lvl="0" indent="0" algn="l" defTabSz="914377" rtl="0" eaLnBrk="1" fontAlgn="auto" latinLnBrk="0" hangingPunct="1">
              <a:lnSpc>
                <a:spcPct val="110000"/>
              </a:lnSpc>
              <a:spcBef>
                <a:spcPts val="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Calibri" pitchFamily="34" charset="0"/>
                <a:ea typeface="+mn-ea"/>
                <a:cs typeface="Calibri" pitchFamily="34" charset="0"/>
              </a:rPr>
              <a:t>Hydraulic Brake</a:t>
            </a:r>
          </a:p>
          <a:p>
            <a:pPr marL="0" marR="0" lvl="0" indent="0" algn="l" defTabSz="914377"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itchFamily="34" charset="0"/>
                <a:ea typeface="+mn-ea"/>
                <a:cs typeface="Calibri" pitchFamily="34" charset="0"/>
              </a:rPr>
              <a:t>(System Works</a:t>
            </a:r>
          </a:p>
          <a:p>
            <a:pPr marL="0" marR="0" lvl="0" indent="0" algn="l" defTabSz="914377"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itchFamily="34" charset="0"/>
                <a:ea typeface="+mn-ea"/>
                <a:cs typeface="Calibri" pitchFamily="34" charset="0"/>
              </a:rPr>
              <a:t>with brake oil)</a:t>
            </a:r>
          </a:p>
        </p:txBody>
      </p:sp>
      <p:grpSp>
        <p:nvGrpSpPr>
          <p:cNvPr id="59" name="Group 58"/>
          <p:cNvGrpSpPr>
            <a:grpSpLocks/>
          </p:cNvGrpSpPr>
          <p:nvPr/>
        </p:nvGrpSpPr>
        <p:grpSpPr bwMode="auto">
          <a:xfrm>
            <a:off x="9679560" y="5874466"/>
            <a:ext cx="1752600" cy="813326"/>
            <a:chOff x="884" y="3340"/>
            <a:chExt cx="627" cy="287"/>
          </a:xfrm>
        </p:grpSpPr>
        <p:sp>
          <p:nvSpPr>
            <p:cNvPr id="60" name="Rectangle 59"/>
            <p:cNvSpPr>
              <a:spLocks noChangeArrowheads="1"/>
            </p:cNvSpPr>
            <p:nvPr/>
          </p:nvSpPr>
          <p:spPr bwMode="gray">
            <a:xfrm>
              <a:off x="1014" y="3340"/>
              <a:ext cx="497" cy="137"/>
            </a:xfrm>
            <a:prstGeom prst="rect">
              <a:avLst/>
            </a:prstGeom>
            <a:solidFill>
              <a:srgbClr val="E7E9EA"/>
            </a:solidFill>
            <a:ln w="9525">
              <a:solidFill>
                <a:srgbClr val="000000"/>
              </a:solidFill>
              <a:miter lim="800000"/>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61" name="Rectangle 60"/>
            <p:cNvSpPr>
              <a:spLocks noChangeArrowheads="1"/>
            </p:cNvSpPr>
            <p:nvPr/>
          </p:nvSpPr>
          <p:spPr bwMode="gray">
            <a:xfrm>
              <a:off x="1010" y="3485"/>
              <a:ext cx="501" cy="41"/>
            </a:xfrm>
            <a:prstGeom prst="rect">
              <a:avLst/>
            </a:prstGeom>
            <a:solidFill>
              <a:srgbClr val="FFFFFF"/>
            </a:solidFill>
            <a:ln w="9525">
              <a:solidFill>
                <a:srgbClr val="000000"/>
              </a:solidFill>
              <a:miter lim="800000"/>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62" name="Rectangle 61"/>
            <p:cNvSpPr>
              <a:spLocks noChangeArrowheads="1"/>
            </p:cNvSpPr>
            <p:nvPr/>
          </p:nvSpPr>
          <p:spPr bwMode="gray">
            <a:xfrm>
              <a:off x="884" y="3354"/>
              <a:ext cx="120" cy="172"/>
            </a:xfrm>
            <a:prstGeom prst="rect">
              <a:avLst/>
            </a:prstGeom>
            <a:solidFill>
              <a:srgbClr val="FFFFFF"/>
            </a:solidFill>
            <a:ln w="9525">
              <a:solidFill>
                <a:srgbClr val="000000"/>
              </a:solidFill>
              <a:miter lim="800000"/>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63" name="Oval 62"/>
            <p:cNvSpPr>
              <a:spLocks noChangeAspect="1" noChangeArrowheads="1"/>
            </p:cNvSpPr>
            <p:nvPr/>
          </p:nvSpPr>
          <p:spPr bwMode="gray">
            <a:xfrm>
              <a:off x="943" y="3441"/>
              <a:ext cx="93" cy="183"/>
            </a:xfrm>
            <a:prstGeom prst="ellipse">
              <a:avLst/>
            </a:prstGeom>
            <a:solidFill>
              <a:schemeClr val="bg1"/>
            </a:solidFill>
            <a:ln w="9525">
              <a:solidFill>
                <a:schemeClr val="tx1"/>
              </a:solidFill>
              <a:round/>
              <a:headEnd/>
              <a:tailEnd/>
            </a:ln>
          </p:spPr>
          <p:txBody>
            <a:bodyPr wrap="non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64" name="Oval 63"/>
            <p:cNvSpPr>
              <a:spLocks noChangeAspect="1" noChangeArrowheads="1"/>
            </p:cNvSpPr>
            <p:nvPr/>
          </p:nvSpPr>
          <p:spPr bwMode="gray">
            <a:xfrm>
              <a:off x="1262" y="3441"/>
              <a:ext cx="93" cy="183"/>
            </a:xfrm>
            <a:prstGeom prst="ellipse">
              <a:avLst/>
            </a:prstGeom>
            <a:solidFill>
              <a:schemeClr val="bg1"/>
            </a:solidFill>
            <a:ln w="9525">
              <a:solidFill>
                <a:schemeClr val="tx1"/>
              </a:solidFill>
              <a:round/>
              <a:headEnd/>
              <a:tailEnd/>
            </a:ln>
          </p:spPr>
          <p:txBody>
            <a:bodyPr wrap="non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65" name="Oval 64"/>
            <p:cNvSpPr>
              <a:spLocks noChangeAspect="1" noChangeArrowheads="1"/>
            </p:cNvSpPr>
            <p:nvPr/>
          </p:nvSpPr>
          <p:spPr bwMode="gray">
            <a:xfrm>
              <a:off x="1145" y="3444"/>
              <a:ext cx="82" cy="183"/>
            </a:xfrm>
            <a:prstGeom prst="ellipse">
              <a:avLst/>
            </a:prstGeom>
            <a:solidFill>
              <a:schemeClr val="bg1"/>
            </a:solidFill>
            <a:ln w="9525">
              <a:solidFill>
                <a:schemeClr val="tx1"/>
              </a:solidFill>
              <a:round/>
              <a:headEnd/>
              <a:tailEnd/>
            </a:ln>
          </p:spPr>
          <p:txBody>
            <a:bodyPr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66" name="Oval 65"/>
            <p:cNvSpPr>
              <a:spLocks noChangeAspect="1" noChangeArrowheads="1"/>
            </p:cNvSpPr>
            <p:nvPr/>
          </p:nvSpPr>
          <p:spPr bwMode="gray">
            <a:xfrm>
              <a:off x="1377" y="3444"/>
              <a:ext cx="82" cy="183"/>
            </a:xfrm>
            <a:prstGeom prst="ellipse">
              <a:avLst/>
            </a:prstGeom>
            <a:solidFill>
              <a:schemeClr val="bg1"/>
            </a:solidFill>
            <a:ln w="9525">
              <a:solidFill>
                <a:schemeClr val="tx1"/>
              </a:solidFill>
              <a:round/>
              <a:headEnd/>
              <a:tailEnd/>
            </a:ln>
          </p:spPr>
          <p:txBody>
            <a:bodyPr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sp>
        <p:nvSpPr>
          <p:cNvPr id="67" name="Line 61"/>
          <p:cNvSpPr>
            <a:spLocks noChangeShapeType="1"/>
          </p:cNvSpPr>
          <p:nvPr/>
        </p:nvSpPr>
        <p:spPr bwMode="auto">
          <a:xfrm flipH="1">
            <a:off x="10022460" y="5696671"/>
            <a:ext cx="0" cy="15240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68" name="Line 62"/>
          <p:cNvSpPr>
            <a:spLocks noChangeShapeType="1"/>
          </p:cNvSpPr>
          <p:nvPr/>
        </p:nvSpPr>
        <p:spPr bwMode="auto">
          <a:xfrm flipH="1">
            <a:off x="11432160" y="5696671"/>
            <a:ext cx="0" cy="15240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69" name="Line 63"/>
          <p:cNvSpPr>
            <a:spLocks noChangeShapeType="1"/>
          </p:cNvSpPr>
          <p:nvPr/>
        </p:nvSpPr>
        <p:spPr bwMode="auto">
          <a:xfrm flipV="1">
            <a:off x="10047860" y="5772871"/>
            <a:ext cx="1371600" cy="0"/>
          </a:xfrm>
          <a:prstGeom prst="line">
            <a:avLst/>
          </a:prstGeom>
          <a:noFill/>
          <a:ln w="12700">
            <a:solidFill>
              <a:schemeClr val="tx1"/>
            </a:solidFill>
            <a:round/>
            <a:headEnd type="triangle" w="sm" len="sm"/>
            <a:tailEnd type="triangl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70" name="Rectangle 69"/>
          <p:cNvSpPr>
            <a:spLocks noChangeArrowheads="1"/>
          </p:cNvSpPr>
          <p:nvPr/>
        </p:nvSpPr>
        <p:spPr bwMode="auto">
          <a:xfrm>
            <a:off x="9831960" y="5341071"/>
            <a:ext cx="1752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tIns="0" bIns="0"/>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itchFamily="34" charset="0"/>
                <a:ea typeface="+mn-ea"/>
                <a:cs typeface="Calibri" pitchFamily="34" charset="0"/>
              </a:rPr>
              <a:t>Length of chassis available behind</a:t>
            </a:r>
          </a:p>
          <a:p>
            <a:pPr marL="0" marR="0" lvl="0" indent="0" algn="ctr" defTabSz="91437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itchFamily="34" charset="0"/>
                <a:ea typeface="+mn-ea"/>
                <a:cs typeface="Calibri" pitchFamily="34" charset="0"/>
              </a:rPr>
              <a:t>Cabin for Load body</a:t>
            </a:r>
            <a:endParaRPr kumimoji="0" lang="en-US" sz="10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71" name="Rectangle 68"/>
          <p:cNvSpPr>
            <a:spLocks noChangeArrowheads="1"/>
          </p:cNvSpPr>
          <p:nvPr/>
        </p:nvSpPr>
        <p:spPr bwMode="auto">
          <a:xfrm>
            <a:off x="445853" y="4807671"/>
            <a:ext cx="19812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itchFamily="34" charset="0"/>
                <a:ea typeface="+mn-ea"/>
                <a:cs typeface="Calibri" pitchFamily="34" charset="0"/>
              </a:rPr>
              <a:t>E.g.:  45 Deg </a:t>
            </a:r>
            <a:r>
              <a:rPr kumimoji="0" lang="en-US" sz="900" b="0" i="0" u="none" strike="noStrike" kern="1200" cap="none" spc="0" normalizeH="0" baseline="0" noProof="0">
                <a:ln>
                  <a:noFill/>
                </a:ln>
                <a:solidFill>
                  <a:srgbClr val="000000"/>
                </a:solidFill>
                <a:effectLst/>
                <a:uLnTx/>
                <a:uFillTx/>
                <a:latin typeface="Calibri" pitchFamily="34" charset="0"/>
                <a:ea typeface="+mn-ea"/>
                <a:cs typeface="Calibri" pitchFamily="34" charset="0"/>
                <a:sym typeface="Wingdings" pitchFamily="2" charset="2"/>
              </a:rPr>
              <a:t> (Tan 45) = 100%</a:t>
            </a:r>
            <a:endParaRPr kumimoji="0" lang="en-US" sz="9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29594894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2" y="-5"/>
            <a:ext cx="9895667"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044300" y="47247"/>
            <a:ext cx="10464800" cy="7078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HOMOLOGATION</a:t>
            </a:r>
          </a:p>
        </p:txBody>
      </p:sp>
      <p:sp>
        <p:nvSpPr>
          <p:cNvPr id="12" name="Rectangle 11"/>
          <p:cNvSpPr/>
          <p:nvPr/>
        </p:nvSpPr>
        <p:spPr>
          <a:xfrm>
            <a:off x="156829" y="1076138"/>
            <a:ext cx="11933571" cy="52406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Homologation is the mandatory requirement to make the vehicle worthy for that Nation’s road condition</a:t>
            </a:r>
            <a:endParaRPr kumimoji="0" lang="en-US" sz="1733"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73" name="Rectangle 72"/>
          <p:cNvSpPr/>
          <p:nvPr/>
        </p:nvSpPr>
        <p:spPr>
          <a:xfrm>
            <a:off x="156832" y="1600200"/>
            <a:ext cx="11933569" cy="51339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pic>
        <p:nvPicPr>
          <p:cNvPr id="22"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656" y="2413000"/>
            <a:ext cx="11283221" cy="3953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855965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Top Corners Snipped 1"/>
          <p:cNvSpPr/>
          <p:nvPr/>
        </p:nvSpPr>
        <p:spPr>
          <a:xfrm rot="10800000">
            <a:off x="609600" y="1"/>
            <a:ext cx="8026400" cy="783167"/>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Rectangle 2"/>
          <p:cNvSpPr/>
          <p:nvPr/>
        </p:nvSpPr>
        <p:spPr>
          <a:xfrm>
            <a:off x="812801" y="-14817"/>
            <a:ext cx="7624233" cy="72813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V INDUSTRY CLASSIFICATION</a:t>
            </a:r>
          </a:p>
        </p:txBody>
      </p:sp>
      <p:sp>
        <p:nvSpPr>
          <p:cNvPr id="23" name="Rectangle 22">
            <a:extLst>
              <a:ext uri="{FF2B5EF4-FFF2-40B4-BE49-F238E27FC236}">
                <a16:creationId xmlns:a16="http://schemas.microsoft.com/office/drawing/2014/main" id="{F9EF26D0-1898-43E4-AA3F-AADCEE1CB220}"/>
              </a:ext>
            </a:extLst>
          </p:cNvPr>
          <p:cNvSpPr/>
          <p:nvPr/>
        </p:nvSpPr>
        <p:spPr>
          <a:xfrm>
            <a:off x="196851" y="4502151"/>
            <a:ext cx="975783" cy="416983"/>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V</a:t>
            </a:r>
          </a:p>
        </p:txBody>
      </p:sp>
      <p:sp>
        <p:nvSpPr>
          <p:cNvPr id="24" name="Rectangle 23">
            <a:extLst>
              <a:ext uri="{FF2B5EF4-FFF2-40B4-BE49-F238E27FC236}">
                <a16:creationId xmlns:a16="http://schemas.microsoft.com/office/drawing/2014/main" id="{B96FB224-8C47-4D2C-A5E7-6329DC8912DE}"/>
              </a:ext>
            </a:extLst>
          </p:cNvPr>
          <p:cNvSpPr/>
          <p:nvPr/>
        </p:nvSpPr>
        <p:spPr>
          <a:xfrm>
            <a:off x="1363133" y="4495800"/>
            <a:ext cx="975784" cy="416984"/>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GOODS</a:t>
            </a:r>
          </a:p>
        </p:txBody>
      </p:sp>
      <p:sp>
        <p:nvSpPr>
          <p:cNvPr id="25" name="Rectangle 24">
            <a:extLst>
              <a:ext uri="{FF2B5EF4-FFF2-40B4-BE49-F238E27FC236}">
                <a16:creationId xmlns:a16="http://schemas.microsoft.com/office/drawing/2014/main" id="{7CD0F056-85D0-464D-9257-2099906747E6}"/>
              </a:ext>
            </a:extLst>
          </p:cNvPr>
          <p:cNvSpPr/>
          <p:nvPr/>
        </p:nvSpPr>
        <p:spPr>
          <a:xfrm>
            <a:off x="2520951" y="4508500"/>
            <a:ext cx="975783" cy="416984"/>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GVW</a:t>
            </a:r>
          </a:p>
        </p:txBody>
      </p:sp>
      <p:sp>
        <p:nvSpPr>
          <p:cNvPr id="26" name="Rectangle 25">
            <a:extLst>
              <a:ext uri="{FF2B5EF4-FFF2-40B4-BE49-F238E27FC236}">
                <a16:creationId xmlns:a16="http://schemas.microsoft.com/office/drawing/2014/main" id="{8FD73BF3-C6CE-429F-B15E-450D662048FD}"/>
              </a:ext>
            </a:extLst>
          </p:cNvPr>
          <p:cNvSpPr/>
          <p:nvPr/>
        </p:nvSpPr>
        <p:spPr>
          <a:xfrm>
            <a:off x="3930651" y="2897718"/>
            <a:ext cx="1341967" cy="416983"/>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IGID</a:t>
            </a:r>
          </a:p>
        </p:txBody>
      </p:sp>
      <p:sp>
        <p:nvSpPr>
          <p:cNvPr id="27" name="Rectangle 26">
            <a:extLst>
              <a:ext uri="{FF2B5EF4-FFF2-40B4-BE49-F238E27FC236}">
                <a16:creationId xmlns:a16="http://schemas.microsoft.com/office/drawing/2014/main" id="{2714A378-7036-49B3-87D5-D9E5672047E9}"/>
              </a:ext>
            </a:extLst>
          </p:cNvPr>
          <p:cNvSpPr/>
          <p:nvPr/>
        </p:nvSpPr>
        <p:spPr>
          <a:xfrm>
            <a:off x="4064000" y="5721351"/>
            <a:ext cx="1339851" cy="416983"/>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RTICULATED (TT)</a:t>
            </a:r>
          </a:p>
        </p:txBody>
      </p:sp>
      <p:sp>
        <p:nvSpPr>
          <p:cNvPr id="28" name="Rectangle 27">
            <a:extLst>
              <a:ext uri="{FF2B5EF4-FFF2-40B4-BE49-F238E27FC236}">
                <a16:creationId xmlns:a16="http://schemas.microsoft.com/office/drawing/2014/main" id="{516B177E-B16A-478E-839E-332EC7AE9C35}"/>
              </a:ext>
            </a:extLst>
          </p:cNvPr>
          <p:cNvSpPr/>
          <p:nvPr/>
        </p:nvSpPr>
        <p:spPr>
          <a:xfrm>
            <a:off x="8373534" y="1056218"/>
            <a:ext cx="1337733" cy="258233"/>
          </a:xfrm>
          <a:prstGeom prst="rect">
            <a:avLst/>
          </a:prstGeom>
          <a:solidFill>
            <a:schemeClr val="tx2">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SCV</a:t>
            </a:r>
          </a:p>
        </p:txBody>
      </p:sp>
      <p:sp>
        <p:nvSpPr>
          <p:cNvPr id="29" name="Rectangle 28">
            <a:extLst>
              <a:ext uri="{FF2B5EF4-FFF2-40B4-BE49-F238E27FC236}">
                <a16:creationId xmlns:a16="http://schemas.microsoft.com/office/drawing/2014/main" id="{1FD2D299-9711-4BFB-A0A0-DB480482033C}"/>
              </a:ext>
            </a:extLst>
          </p:cNvPr>
          <p:cNvSpPr/>
          <p:nvPr/>
        </p:nvSpPr>
        <p:spPr>
          <a:xfrm>
            <a:off x="8373534" y="1617134"/>
            <a:ext cx="1337733" cy="260351"/>
          </a:xfrm>
          <a:prstGeom prst="rect">
            <a:avLst/>
          </a:prstGeom>
          <a:solidFill>
            <a:schemeClr val="tx2">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LCV</a:t>
            </a:r>
          </a:p>
        </p:txBody>
      </p:sp>
      <p:sp>
        <p:nvSpPr>
          <p:cNvPr id="30" name="Rectangle 29">
            <a:extLst>
              <a:ext uri="{FF2B5EF4-FFF2-40B4-BE49-F238E27FC236}">
                <a16:creationId xmlns:a16="http://schemas.microsoft.com/office/drawing/2014/main" id="{F9F730F7-8E31-4E24-946B-FFEA461A1C45}"/>
              </a:ext>
            </a:extLst>
          </p:cNvPr>
          <p:cNvSpPr/>
          <p:nvPr/>
        </p:nvSpPr>
        <p:spPr>
          <a:xfrm>
            <a:off x="8373534" y="2178051"/>
            <a:ext cx="1337733" cy="260349"/>
          </a:xfrm>
          <a:prstGeom prst="rect">
            <a:avLst/>
          </a:prstGeom>
          <a:solidFill>
            <a:schemeClr val="tx2">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ICV</a:t>
            </a:r>
          </a:p>
        </p:txBody>
      </p:sp>
      <p:sp>
        <p:nvSpPr>
          <p:cNvPr id="31" name="Rectangle 30">
            <a:extLst>
              <a:ext uri="{FF2B5EF4-FFF2-40B4-BE49-F238E27FC236}">
                <a16:creationId xmlns:a16="http://schemas.microsoft.com/office/drawing/2014/main" id="{27AEE80A-E777-4AFE-9827-4748CD49CE09}"/>
              </a:ext>
            </a:extLst>
          </p:cNvPr>
          <p:cNvSpPr/>
          <p:nvPr/>
        </p:nvSpPr>
        <p:spPr>
          <a:xfrm>
            <a:off x="6100233" y="1706033"/>
            <a:ext cx="1329267" cy="416984"/>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TWO AXLE</a:t>
            </a:r>
          </a:p>
        </p:txBody>
      </p:sp>
      <p:sp>
        <p:nvSpPr>
          <p:cNvPr id="35" name="Rectangle 34">
            <a:extLst>
              <a:ext uri="{FF2B5EF4-FFF2-40B4-BE49-F238E27FC236}">
                <a16:creationId xmlns:a16="http://schemas.microsoft.com/office/drawing/2014/main" id="{1500A622-5F23-4AD6-8E5C-7BE531490304}"/>
              </a:ext>
            </a:extLst>
          </p:cNvPr>
          <p:cNvSpPr/>
          <p:nvPr/>
        </p:nvSpPr>
        <p:spPr>
          <a:xfrm>
            <a:off x="6100233" y="3922185"/>
            <a:ext cx="1339851" cy="416983"/>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ULTI AXLE</a:t>
            </a:r>
          </a:p>
        </p:txBody>
      </p:sp>
      <p:sp>
        <p:nvSpPr>
          <p:cNvPr id="36" name="Rectangle 35">
            <a:extLst>
              <a:ext uri="{FF2B5EF4-FFF2-40B4-BE49-F238E27FC236}">
                <a16:creationId xmlns:a16="http://schemas.microsoft.com/office/drawing/2014/main" id="{EDDC1790-4DFA-49BC-8506-59AFE6389384}"/>
              </a:ext>
            </a:extLst>
          </p:cNvPr>
          <p:cNvSpPr/>
          <p:nvPr/>
        </p:nvSpPr>
        <p:spPr>
          <a:xfrm>
            <a:off x="8373534" y="2732618"/>
            <a:ext cx="1337733" cy="260349"/>
          </a:xfrm>
          <a:prstGeom prst="rect">
            <a:avLst/>
          </a:prstGeom>
          <a:solidFill>
            <a:schemeClr val="tx2">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HAULAGE</a:t>
            </a:r>
          </a:p>
        </p:txBody>
      </p:sp>
      <p:cxnSp>
        <p:nvCxnSpPr>
          <p:cNvPr id="37" name="Straight Arrow Connector 36">
            <a:extLst>
              <a:ext uri="{FF2B5EF4-FFF2-40B4-BE49-F238E27FC236}">
                <a16:creationId xmlns:a16="http://schemas.microsoft.com/office/drawing/2014/main" id="{F9FD5129-9705-443A-8626-9A4962ED9025}"/>
              </a:ext>
            </a:extLst>
          </p:cNvPr>
          <p:cNvCxnSpPr>
            <a:stCxn id="31" idx="3"/>
            <a:endCxn id="28" idx="1"/>
          </p:cNvCxnSpPr>
          <p:nvPr/>
        </p:nvCxnSpPr>
        <p:spPr>
          <a:xfrm flipV="1">
            <a:off x="7429501" y="1185334"/>
            <a:ext cx="944033" cy="72813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9720FB01-D71C-475C-8DE3-399244413B62}"/>
              </a:ext>
            </a:extLst>
          </p:cNvPr>
          <p:cNvCxnSpPr>
            <a:endCxn id="36" idx="1"/>
          </p:cNvCxnSpPr>
          <p:nvPr/>
        </p:nvCxnSpPr>
        <p:spPr>
          <a:xfrm>
            <a:off x="7440085" y="2078567"/>
            <a:ext cx="933449" cy="78316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E8F15835-E375-439B-BBCB-BF910E042C8E}"/>
              </a:ext>
            </a:extLst>
          </p:cNvPr>
          <p:cNvCxnSpPr>
            <a:endCxn id="30" idx="1"/>
          </p:cNvCxnSpPr>
          <p:nvPr/>
        </p:nvCxnSpPr>
        <p:spPr>
          <a:xfrm>
            <a:off x="7440085" y="2063751"/>
            <a:ext cx="933449" cy="24553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B696267F-EA3E-4E91-9960-57BA590E94E4}"/>
              </a:ext>
            </a:extLst>
          </p:cNvPr>
          <p:cNvCxnSpPr>
            <a:endCxn id="29" idx="1"/>
          </p:cNvCxnSpPr>
          <p:nvPr/>
        </p:nvCxnSpPr>
        <p:spPr>
          <a:xfrm flipV="1">
            <a:off x="7440085" y="1746251"/>
            <a:ext cx="933449" cy="31961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2BB654CD-9D7F-437A-9510-174951090B7F}"/>
              </a:ext>
            </a:extLst>
          </p:cNvPr>
          <p:cNvSpPr/>
          <p:nvPr/>
        </p:nvSpPr>
        <p:spPr>
          <a:xfrm>
            <a:off x="9891185" y="1049867"/>
            <a:ext cx="2171700" cy="262467"/>
          </a:xfrm>
          <a:prstGeom prst="rect">
            <a:avLst/>
          </a:prstGeom>
          <a:solidFill>
            <a:srgbClr val="00B0F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UPTO – 3.5 T</a:t>
            </a:r>
          </a:p>
        </p:txBody>
      </p:sp>
      <p:sp>
        <p:nvSpPr>
          <p:cNvPr id="42" name="Rectangle 41">
            <a:extLst>
              <a:ext uri="{FF2B5EF4-FFF2-40B4-BE49-F238E27FC236}">
                <a16:creationId xmlns:a16="http://schemas.microsoft.com/office/drawing/2014/main" id="{43C0CAA4-81F9-4110-AE5A-2ADD1B9399E3}"/>
              </a:ext>
            </a:extLst>
          </p:cNvPr>
          <p:cNvSpPr/>
          <p:nvPr/>
        </p:nvSpPr>
        <p:spPr>
          <a:xfrm>
            <a:off x="9891185" y="1617134"/>
            <a:ext cx="2171700" cy="260351"/>
          </a:xfrm>
          <a:prstGeom prst="rect">
            <a:avLst/>
          </a:prstGeom>
          <a:solidFill>
            <a:srgbClr val="00B0F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3.5 T – 7.5 T</a:t>
            </a:r>
          </a:p>
        </p:txBody>
      </p:sp>
      <p:sp>
        <p:nvSpPr>
          <p:cNvPr id="43" name="Rectangle 42">
            <a:extLst>
              <a:ext uri="{FF2B5EF4-FFF2-40B4-BE49-F238E27FC236}">
                <a16:creationId xmlns:a16="http://schemas.microsoft.com/office/drawing/2014/main" id="{A2300883-9288-410D-9F41-23A31D1B2385}"/>
              </a:ext>
            </a:extLst>
          </p:cNvPr>
          <p:cNvSpPr/>
          <p:nvPr/>
        </p:nvSpPr>
        <p:spPr>
          <a:xfrm>
            <a:off x="9891185" y="2178051"/>
            <a:ext cx="2171700" cy="596900"/>
          </a:xfrm>
          <a:prstGeom prst="rect">
            <a:avLst/>
          </a:prstGeom>
          <a:solidFill>
            <a:srgbClr val="00B0F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7.5 T -19T</a:t>
            </a:r>
          </a:p>
        </p:txBody>
      </p:sp>
      <p:sp>
        <p:nvSpPr>
          <p:cNvPr id="44" name="Rectangle 43">
            <a:extLst>
              <a:ext uri="{FF2B5EF4-FFF2-40B4-BE49-F238E27FC236}">
                <a16:creationId xmlns:a16="http://schemas.microsoft.com/office/drawing/2014/main" id="{BED1CB5F-AD90-4A6E-8505-C90FE11233B2}"/>
              </a:ext>
            </a:extLst>
          </p:cNvPr>
          <p:cNvSpPr/>
          <p:nvPr/>
        </p:nvSpPr>
        <p:spPr>
          <a:xfrm>
            <a:off x="8373534" y="3477684"/>
            <a:ext cx="1337733" cy="260349"/>
          </a:xfrm>
          <a:prstGeom prst="rect">
            <a:avLst/>
          </a:prstGeom>
          <a:solidFill>
            <a:schemeClr val="tx2">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6 X 2/6 X 4</a:t>
            </a:r>
          </a:p>
        </p:txBody>
      </p:sp>
      <p:sp>
        <p:nvSpPr>
          <p:cNvPr id="45" name="Rectangle 44">
            <a:extLst>
              <a:ext uri="{FF2B5EF4-FFF2-40B4-BE49-F238E27FC236}">
                <a16:creationId xmlns:a16="http://schemas.microsoft.com/office/drawing/2014/main" id="{D38E2383-26CA-4F99-88E8-CA8D197E6D25}"/>
              </a:ext>
            </a:extLst>
          </p:cNvPr>
          <p:cNvSpPr/>
          <p:nvPr/>
        </p:nvSpPr>
        <p:spPr>
          <a:xfrm>
            <a:off x="8373534" y="4040718"/>
            <a:ext cx="1337733" cy="258233"/>
          </a:xfrm>
          <a:prstGeom prst="rect">
            <a:avLst/>
          </a:prstGeom>
          <a:solidFill>
            <a:schemeClr val="tx2">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8 X 2</a:t>
            </a:r>
          </a:p>
        </p:txBody>
      </p:sp>
      <p:sp>
        <p:nvSpPr>
          <p:cNvPr id="46" name="Rectangle 45">
            <a:extLst>
              <a:ext uri="{FF2B5EF4-FFF2-40B4-BE49-F238E27FC236}">
                <a16:creationId xmlns:a16="http://schemas.microsoft.com/office/drawing/2014/main" id="{A941AEDC-34BC-4FBF-AAA0-B8B0EB51CB41}"/>
              </a:ext>
            </a:extLst>
          </p:cNvPr>
          <p:cNvSpPr/>
          <p:nvPr/>
        </p:nvSpPr>
        <p:spPr>
          <a:xfrm>
            <a:off x="8373534" y="4601634"/>
            <a:ext cx="1337733" cy="258233"/>
          </a:xfrm>
          <a:prstGeom prst="rect">
            <a:avLst/>
          </a:prstGeom>
          <a:solidFill>
            <a:schemeClr val="tx2">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10 X 2</a:t>
            </a:r>
          </a:p>
        </p:txBody>
      </p:sp>
      <p:cxnSp>
        <p:nvCxnSpPr>
          <p:cNvPr id="59" name="Straight Arrow Connector 58">
            <a:extLst>
              <a:ext uri="{FF2B5EF4-FFF2-40B4-BE49-F238E27FC236}">
                <a16:creationId xmlns:a16="http://schemas.microsoft.com/office/drawing/2014/main" id="{A14A3A83-C831-4F97-A0CF-A9B02CC43A40}"/>
              </a:ext>
            </a:extLst>
          </p:cNvPr>
          <p:cNvCxnSpPr>
            <a:endCxn id="44" idx="1"/>
          </p:cNvCxnSpPr>
          <p:nvPr/>
        </p:nvCxnSpPr>
        <p:spPr>
          <a:xfrm flipV="1">
            <a:off x="7440085" y="3608918"/>
            <a:ext cx="933449" cy="65616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8B436AB1-E269-4202-BDD5-08B4BC2C2E53}"/>
              </a:ext>
            </a:extLst>
          </p:cNvPr>
          <p:cNvCxnSpPr>
            <a:endCxn id="46" idx="1"/>
          </p:cNvCxnSpPr>
          <p:nvPr/>
        </p:nvCxnSpPr>
        <p:spPr>
          <a:xfrm>
            <a:off x="7418917" y="4265084"/>
            <a:ext cx="954616" cy="46566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0B7A2AA0-062F-4BEE-B897-4A7FA6FEDDC1}"/>
              </a:ext>
            </a:extLst>
          </p:cNvPr>
          <p:cNvCxnSpPr>
            <a:endCxn id="45" idx="1"/>
          </p:cNvCxnSpPr>
          <p:nvPr/>
        </p:nvCxnSpPr>
        <p:spPr>
          <a:xfrm flipV="1">
            <a:off x="7440085" y="4169834"/>
            <a:ext cx="933449" cy="889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BBDFBD30-B5E6-44C9-8501-8B582F0E7AD6}"/>
              </a:ext>
            </a:extLst>
          </p:cNvPr>
          <p:cNvSpPr/>
          <p:nvPr/>
        </p:nvSpPr>
        <p:spPr>
          <a:xfrm>
            <a:off x="9891185" y="3477685"/>
            <a:ext cx="2171700" cy="264583"/>
          </a:xfrm>
          <a:prstGeom prst="rect">
            <a:avLst/>
          </a:prstGeom>
          <a:solidFill>
            <a:srgbClr val="00B0F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6/28/31 T</a:t>
            </a:r>
          </a:p>
        </p:txBody>
      </p:sp>
      <p:sp>
        <p:nvSpPr>
          <p:cNvPr id="63" name="Rectangle 62">
            <a:extLst>
              <a:ext uri="{FF2B5EF4-FFF2-40B4-BE49-F238E27FC236}">
                <a16:creationId xmlns:a16="http://schemas.microsoft.com/office/drawing/2014/main" id="{BBC57976-9236-4B68-B4E6-42C70DB88F2A}"/>
              </a:ext>
            </a:extLst>
          </p:cNvPr>
          <p:cNvSpPr/>
          <p:nvPr/>
        </p:nvSpPr>
        <p:spPr>
          <a:xfrm>
            <a:off x="9891185" y="4034367"/>
            <a:ext cx="2171700" cy="262467"/>
          </a:xfrm>
          <a:prstGeom prst="rect">
            <a:avLst/>
          </a:prstGeom>
          <a:solidFill>
            <a:srgbClr val="00B0F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35/41 T</a:t>
            </a:r>
          </a:p>
        </p:txBody>
      </p:sp>
      <p:sp>
        <p:nvSpPr>
          <p:cNvPr id="64" name="Rectangle 63">
            <a:extLst>
              <a:ext uri="{FF2B5EF4-FFF2-40B4-BE49-F238E27FC236}">
                <a16:creationId xmlns:a16="http://schemas.microsoft.com/office/drawing/2014/main" id="{EA535074-F14C-4E26-9DB6-42F9EA921969}"/>
              </a:ext>
            </a:extLst>
          </p:cNvPr>
          <p:cNvSpPr/>
          <p:nvPr/>
        </p:nvSpPr>
        <p:spPr>
          <a:xfrm>
            <a:off x="9891185" y="4601633"/>
            <a:ext cx="2171700" cy="262467"/>
          </a:xfrm>
          <a:prstGeom prst="rect">
            <a:avLst/>
          </a:prstGeom>
          <a:solidFill>
            <a:srgbClr val="00B0F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42/48 T</a:t>
            </a:r>
          </a:p>
        </p:txBody>
      </p:sp>
      <p:sp>
        <p:nvSpPr>
          <p:cNvPr id="65" name="Rectangle 64">
            <a:extLst>
              <a:ext uri="{FF2B5EF4-FFF2-40B4-BE49-F238E27FC236}">
                <a16:creationId xmlns:a16="http://schemas.microsoft.com/office/drawing/2014/main" id="{4E8C3263-DEB2-47A9-B330-284B402A8B31}"/>
              </a:ext>
            </a:extLst>
          </p:cNvPr>
          <p:cNvSpPr/>
          <p:nvPr/>
        </p:nvSpPr>
        <p:spPr>
          <a:xfrm>
            <a:off x="8373534" y="5325534"/>
            <a:ext cx="1337733" cy="258233"/>
          </a:xfrm>
          <a:prstGeom prst="rect">
            <a:avLst/>
          </a:prstGeom>
          <a:solidFill>
            <a:schemeClr val="tx2">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T</a:t>
            </a:r>
          </a:p>
        </p:txBody>
      </p:sp>
      <p:sp>
        <p:nvSpPr>
          <p:cNvPr id="66" name="Rectangle 65">
            <a:extLst>
              <a:ext uri="{FF2B5EF4-FFF2-40B4-BE49-F238E27FC236}">
                <a16:creationId xmlns:a16="http://schemas.microsoft.com/office/drawing/2014/main" id="{B369F8ED-CA4B-43A6-9F1B-182E52E61D3B}"/>
              </a:ext>
            </a:extLst>
          </p:cNvPr>
          <p:cNvSpPr/>
          <p:nvPr/>
        </p:nvSpPr>
        <p:spPr>
          <a:xfrm>
            <a:off x="8373534" y="5882218"/>
            <a:ext cx="1337733" cy="260349"/>
          </a:xfrm>
          <a:prstGeom prst="rect">
            <a:avLst/>
          </a:prstGeom>
          <a:solidFill>
            <a:schemeClr val="tx2">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T</a:t>
            </a:r>
          </a:p>
        </p:txBody>
      </p:sp>
      <p:sp>
        <p:nvSpPr>
          <p:cNvPr id="67" name="Rectangle 66">
            <a:extLst>
              <a:ext uri="{FF2B5EF4-FFF2-40B4-BE49-F238E27FC236}">
                <a16:creationId xmlns:a16="http://schemas.microsoft.com/office/drawing/2014/main" id="{1B63E85E-2673-42FE-811E-82ACC913B005}"/>
              </a:ext>
            </a:extLst>
          </p:cNvPr>
          <p:cNvSpPr/>
          <p:nvPr/>
        </p:nvSpPr>
        <p:spPr>
          <a:xfrm>
            <a:off x="8373534" y="6438901"/>
            <a:ext cx="1337733" cy="260351"/>
          </a:xfrm>
          <a:prstGeom prst="rect">
            <a:avLst/>
          </a:prstGeom>
          <a:solidFill>
            <a:schemeClr val="tx2">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T</a:t>
            </a:r>
          </a:p>
        </p:txBody>
      </p:sp>
      <p:sp>
        <p:nvSpPr>
          <p:cNvPr id="68" name="Rectangle 67">
            <a:extLst>
              <a:ext uri="{FF2B5EF4-FFF2-40B4-BE49-F238E27FC236}">
                <a16:creationId xmlns:a16="http://schemas.microsoft.com/office/drawing/2014/main" id="{3DC8C6BF-9475-412D-A6B9-22460BAA22A0}"/>
              </a:ext>
            </a:extLst>
          </p:cNvPr>
          <p:cNvSpPr/>
          <p:nvPr/>
        </p:nvSpPr>
        <p:spPr>
          <a:xfrm>
            <a:off x="9891185" y="5323417"/>
            <a:ext cx="2171700" cy="262467"/>
          </a:xfrm>
          <a:prstGeom prst="rect">
            <a:avLst/>
          </a:prstGeom>
          <a:solidFill>
            <a:srgbClr val="00B0F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39.5 T-42 T</a:t>
            </a:r>
          </a:p>
        </p:txBody>
      </p:sp>
      <p:sp>
        <p:nvSpPr>
          <p:cNvPr id="69" name="Rectangle 68">
            <a:extLst>
              <a:ext uri="{FF2B5EF4-FFF2-40B4-BE49-F238E27FC236}">
                <a16:creationId xmlns:a16="http://schemas.microsoft.com/office/drawing/2014/main" id="{5F7020BE-FD54-4007-8381-FF9E7D3E3D0A}"/>
              </a:ext>
            </a:extLst>
          </p:cNvPr>
          <p:cNvSpPr/>
          <p:nvPr/>
        </p:nvSpPr>
        <p:spPr>
          <a:xfrm>
            <a:off x="9891185" y="5875867"/>
            <a:ext cx="2171700" cy="262467"/>
          </a:xfrm>
          <a:prstGeom prst="rect">
            <a:avLst/>
          </a:prstGeom>
          <a:solidFill>
            <a:srgbClr val="00B0F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44/45.5 T</a:t>
            </a:r>
          </a:p>
        </p:txBody>
      </p:sp>
      <p:sp>
        <p:nvSpPr>
          <p:cNvPr id="70" name="Rectangle 69">
            <a:extLst>
              <a:ext uri="{FF2B5EF4-FFF2-40B4-BE49-F238E27FC236}">
                <a16:creationId xmlns:a16="http://schemas.microsoft.com/office/drawing/2014/main" id="{8BC96FFE-36CC-4025-8BE3-36C2459AE5FE}"/>
              </a:ext>
            </a:extLst>
          </p:cNvPr>
          <p:cNvSpPr/>
          <p:nvPr/>
        </p:nvSpPr>
        <p:spPr>
          <a:xfrm>
            <a:off x="9891185" y="6430433"/>
            <a:ext cx="2171700" cy="262467"/>
          </a:xfrm>
          <a:prstGeom prst="rect">
            <a:avLst/>
          </a:prstGeom>
          <a:solidFill>
            <a:srgbClr val="00B0F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52/54/55 T</a:t>
            </a:r>
          </a:p>
        </p:txBody>
      </p:sp>
      <p:cxnSp>
        <p:nvCxnSpPr>
          <p:cNvPr id="71" name="Straight Arrow Connector 70">
            <a:extLst>
              <a:ext uri="{FF2B5EF4-FFF2-40B4-BE49-F238E27FC236}">
                <a16:creationId xmlns:a16="http://schemas.microsoft.com/office/drawing/2014/main" id="{73120C5C-9F2E-4A55-9FF2-BB1EAD191050}"/>
              </a:ext>
            </a:extLst>
          </p:cNvPr>
          <p:cNvCxnSpPr>
            <a:endCxn id="31" idx="1"/>
          </p:cNvCxnSpPr>
          <p:nvPr/>
        </p:nvCxnSpPr>
        <p:spPr>
          <a:xfrm flipV="1">
            <a:off x="5272617" y="1913467"/>
            <a:ext cx="827616" cy="145415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67C869B1-D33F-4D7F-B351-6B01CF05FD08}"/>
              </a:ext>
            </a:extLst>
          </p:cNvPr>
          <p:cNvCxnSpPr>
            <a:endCxn id="35" idx="1"/>
          </p:cNvCxnSpPr>
          <p:nvPr/>
        </p:nvCxnSpPr>
        <p:spPr>
          <a:xfrm>
            <a:off x="5262033" y="3304118"/>
            <a:ext cx="838200" cy="8255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DBE3E183-092E-492D-ABC8-47BB84FE4958}"/>
              </a:ext>
            </a:extLst>
          </p:cNvPr>
          <p:cNvCxnSpPr>
            <a:endCxn id="66" idx="1"/>
          </p:cNvCxnSpPr>
          <p:nvPr/>
        </p:nvCxnSpPr>
        <p:spPr>
          <a:xfrm flipV="1">
            <a:off x="5397501" y="6011334"/>
            <a:ext cx="2976033" cy="7196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721FE37C-F496-447B-AC5C-9119D76F1F01}"/>
              </a:ext>
            </a:extLst>
          </p:cNvPr>
          <p:cNvCxnSpPr>
            <a:endCxn id="65" idx="1"/>
          </p:cNvCxnSpPr>
          <p:nvPr/>
        </p:nvCxnSpPr>
        <p:spPr>
          <a:xfrm flipV="1">
            <a:off x="5397501" y="5454651"/>
            <a:ext cx="2976033" cy="61171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A24625C3-6F6C-44BA-A4D1-85AA960BCA60}"/>
              </a:ext>
            </a:extLst>
          </p:cNvPr>
          <p:cNvCxnSpPr>
            <a:endCxn id="67" idx="1"/>
          </p:cNvCxnSpPr>
          <p:nvPr/>
        </p:nvCxnSpPr>
        <p:spPr>
          <a:xfrm>
            <a:off x="5420784" y="6070601"/>
            <a:ext cx="2952749" cy="49741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0D2F1230-8FFA-4AFE-8337-F1D632A9FED5}"/>
              </a:ext>
            </a:extLst>
          </p:cNvPr>
          <p:cNvCxnSpPr>
            <a:endCxn id="26" idx="2"/>
          </p:cNvCxnSpPr>
          <p:nvPr/>
        </p:nvCxnSpPr>
        <p:spPr>
          <a:xfrm flipV="1">
            <a:off x="3496734" y="3314701"/>
            <a:ext cx="1104900" cy="157268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A4D1D932-1F7D-42CD-AD42-EDBA0D3CD552}"/>
              </a:ext>
            </a:extLst>
          </p:cNvPr>
          <p:cNvCxnSpPr>
            <a:endCxn id="27" idx="0"/>
          </p:cNvCxnSpPr>
          <p:nvPr/>
        </p:nvCxnSpPr>
        <p:spPr>
          <a:xfrm>
            <a:off x="3486152" y="4887385"/>
            <a:ext cx="1248833" cy="83396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52607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2" y="-5"/>
            <a:ext cx="9895667"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044300" y="47247"/>
            <a:ext cx="10464800" cy="748988"/>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4267"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DGMS</a:t>
            </a:r>
          </a:p>
        </p:txBody>
      </p:sp>
      <p:sp>
        <p:nvSpPr>
          <p:cNvPr id="12" name="Rectangle 11"/>
          <p:cNvSpPr/>
          <p:nvPr/>
        </p:nvSpPr>
        <p:spPr>
          <a:xfrm>
            <a:off x="156829" y="1076138"/>
            <a:ext cx="11933571" cy="52406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DGMS - Directorate General of Mining &amp; Safety</a:t>
            </a:r>
            <a:endParaRPr kumimoji="0" lang="en-US" sz="1733"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pic>
        <p:nvPicPr>
          <p:cNvPr id="7" name="Picture 3"/>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6400" y="1877993"/>
            <a:ext cx="2987896" cy="2074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8" name="Picture 6"/>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39529" y="1877993"/>
            <a:ext cx="3108104" cy="2074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9" name="Line 8"/>
          <p:cNvSpPr>
            <a:spLocks noChangeShapeType="1"/>
          </p:cNvSpPr>
          <p:nvPr/>
        </p:nvSpPr>
        <p:spPr bwMode="auto">
          <a:xfrm flipV="1">
            <a:off x="6011119" y="3139115"/>
            <a:ext cx="540501" cy="1364019"/>
          </a:xfrm>
          <a:prstGeom prst="line">
            <a:avLst/>
          </a:prstGeom>
          <a:noFill/>
          <a:ln w="25400">
            <a:solidFill>
              <a:srgbClr val="0000FF"/>
            </a:solidFill>
            <a:round/>
            <a:headEnd type="none" w="sm" len="sm"/>
            <a:tailEnd type="stealth" w="med" len="lg"/>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11" name="Picture 5"/>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94500" y="1970993"/>
            <a:ext cx="2866195" cy="1981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2" name="Rectangle 1"/>
          <p:cNvSpPr/>
          <p:nvPr/>
        </p:nvSpPr>
        <p:spPr>
          <a:xfrm>
            <a:off x="366544" y="4719200"/>
            <a:ext cx="3003329" cy="1898084"/>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Calibri" pitchFamily="34" charset="0"/>
              </a:rPr>
              <a:t>The </a:t>
            </a:r>
            <a:r>
              <a:rPr kumimoji="0" lang="en-US" sz="21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Calibri" pitchFamily="34" charset="0"/>
              </a:rPr>
              <a:t>full extension of canopy </a:t>
            </a:r>
            <a:r>
              <a:rPr kumimoji="0" lang="en-US" sz="1867"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Calibri" pitchFamily="34" charset="0"/>
              </a:rPr>
              <a:t>in U-Truck Tippers for Mining purpose to safe guard the drivers / cabin roof at mining locations</a:t>
            </a:r>
            <a:endParaRPr kumimoji="0" lang="en-US" sz="1867"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3" name="Rectangle 2"/>
          <p:cNvSpPr/>
          <p:nvPr/>
        </p:nvSpPr>
        <p:spPr>
          <a:xfrm>
            <a:off x="4739529" y="4677081"/>
            <a:ext cx="3108104" cy="995209"/>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Calibri" pitchFamily="34" charset="0"/>
              </a:rPr>
              <a:t>Propeller shaft guard </a:t>
            </a:r>
            <a:r>
              <a:rPr kumimoji="0" lang="en-US" sz="1867"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Calibri" pitchFamily="34" charset="0"/>
              </a:rPr>
              <a:t>will be provided in U-Truck Mining Tippers</a:t>
            </a:r>
            <a:r>
              <a:rPr kumimoji="0" lang="en-US" sz="1867" b="0" i="0" u="none" strike="noStrike" kern="1200" cap="none" spc="0" normalizeH="0" baseline="0" noProof="0" dirty="0">
                <a:ln>
                  <a:noFill/>
                </a:ln>
                <a:solidFill>
                  <a:srgbClr val="0000FF"/>
                </a:solidFill>
                <a:effectLst/>
                <a:uLnTx/>
                <a:uFillTx/>
                <a:latin typeface="Century Gothic" panose="020B0502020202020204" pitchFamily="34" charset="0"/>
                <a:ea typeface="+mn-ea"/>
                <a:cs typeface="Calibri" pitchFamily="34" charset="0"/>
              </a:rPr>
              <a:t>.</a:t>
            </a:r>
          </a:p>
        </p:txBody>
      </p:sp>
      <p:sp>
        <p:nvSpPr>
          <p:cNvPr id="5" name="Rectangle 4"/>
          <p:cNvSpPr/>
          <p:nvPr/>
        </p:nvSpPr>
        <p:spPr>
          <a:xfrm>
            <a:off x="8732841" y="4677082"/>
            <a:ext cx="3281211" cy="1569853"/>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Calibri" pitchFamily="34" charset="0"/>
              </a:rPr>
              <a:t>Blind Spot Mirror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Calibri" pitchFamily="34" charset="0"/>
              </a:rPr>
              <a:t>Blind spot mirrors as shown in the image are provided in all U-Truck Mining Tippers.</a:t>
            </a:r>
          </a:p>
        </p:txBody>
      </p:sp>
      <p:sp>
        <p:nvSpPr>
          <p:cNvPr id="6" name="Rectangle 5"/>
          <p:cNvSpPr/>
          <p:nvPr/>
        </p:nvSpPr>
        <p:spPr>
          <a:xfrm>
            <a:off x="366543" y="6634495"/>
            <a:ext cx="2874811" cy="577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14"/>
          <p:cNvSpPr/>
          <p:nvPr/>
        </p:nvSpPr>
        <p:spPr>
          <a:xfrm>
            <a:off x="4839295" y="6634495"/>
            <a:ext cx="2874811" cy="577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15"/>
          <p:cNvSpPr/>
          <p:nvPr/>
        </p:nvSpPr>
        <p:spPr>
          <a:xfrm>
            <a:off x="9042400" y="6634495"/>
            <a:ext cx="2874811" cy="577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3070055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101600" y="1524000"/>
            <a:ext cx="2626784" cy="685800"/>
          </a:xfrm>
          <a:prstGeom prst="rect">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GVW of a vehicle depends upon</a:t>
            </a:r>
          </a:p>
        </p:txBody>
      </p:sp>
      <p:sp>
        <p:nvSpPr>
          <p:cNvPr id="33" name="Rectangle 32"/>
          <p:cNvSpPr/>
          <p:nvPr/>
        </p:nvSpPr>
        <p:spPr>
          <a:xfrm>
            <a:off x="101600" y="2878667"/>
            <a:ext cx="2626784" cy="1217084"/>
          </a:xfrm>
          <a:prstGeom prst="rect">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228594" marR="0" lvl="0" indent="-228594"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o of Axles</a:t>
            </a:r>
          </a:p>
          <a:p>
            <a:pPr marL="228594" marR="0" lvl="0" indent="-228594"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apacity of Axle</a:t>
            </a:r>
          </a:p>
          <a:p>
            <a:pPr marL="228594" marR="0" lvl="0" indent="-228594"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o/Size of Tyres</a:t>
            </a:r>
          </a:p>
        </p:txBody>
      </p:sp>
      <p:sp>
        <p:nvSpPr>
          <p:cNvPr id="34" name="Rectangle 33"/>
          <p:cNvSpPr/>
          <p:nvPr/>
        </p:nvSpPr>
        <p:spPr>
          <a:xfrm>
            <a:off x="101600" y="4821767"/>
            <a:ext cx="2626784" cy="685800"/>
          </a:xfrm>
          <a:prstGeom prst="rect">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ombination of such Axle</a:t>
            </a:r>
          </a:p>
        </p:txBody>
      </p:sp>
      <p:sp>
        <p:nvSpPr>
          <p:cNvPr id="3" name="Arrow: Down 2"/>
          <p:cNvSpPr/>
          <p:nvPr/>
        </p:nvSpPr>
        <p:spPr>
          <a:xfrm>
            <a:off x="1172634" y="2194985"/>
            <a:ext cx="484717" cy="656167"/>
          </a:xfrm>
          <a:prstGeom prst="down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35" name="Arrow: Down 34"/>
          <p:cNvSpPr/>
          <p:nvPr/>
        </p:nvSpPr>
        <p:spPr>
          <a:xfrm>
            <a:off x="1168400" y="4165601"/>
            <a:ext cx="484717" cy="656167"/>
          </a:xfrm>
          <a:prstGeom prst="down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8" name="Rectangle: Rounded Corners 7"/>
          <p:cNvSpPr/>
          <p:nvPr/>
        </p:nvSpPr>
        <p:spPr>
          <a:xfrm>
            <a:off x="3312585" y="3968751"/>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36" name="Rectangle: Rounded Corners 35"/>
          <p:cNvSpPr/>
          <p:nvPr/>
        </p:nvSpPr>
        <p:spPr>
          <a:xfrm>
            <a:off x="3312585" y="2973918"/>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9" name="Rectangle 8"/>
          <p:cNvSpPr/>
          <p:nvPr/>
        </p:nvSpPr>
        <p:spPr>
          <a:xfrm>
            <a:off x="3657601" y="3172884"/>
            <a:ext cx="74084"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37" name="Rectangle: Rounded Corners 36"/>
          <p:cNvSpPr/>
          <p:nvPr/>
        </p:nvSpPr>
        <p:spPr>
          <a:xfrm>
            <a:off x="4878918" y="3968751"/>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38" name="Rectangle: Rounded Corners 37"/>
          <p:cNvSpPr/>
          <p:nvPr/>
        </p:nvSpPr>
        <p:spPr>
          <a:xfrm>
            <a:off x="4878918" y="2973918"/>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39" name="Rectangle 38"/>
          <p:cNvSpPr/>
          <p:nvPr/>
        </p:nvSpPr>
        <p:spPr>
          <a:xfrm>
            <a:off x="5223934" y="3172884"/>
            <a:ext cx="74084"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40" name="Rectangle: Rounded Corners 39"/>
          <p:cNvSpPr/>
          <p:nvPr/>
        </p:nvSpPr>
        <p:spPr>
          <a:xfrm>
            <a:off x="4878918" y="2741085"/>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41" name="Rectangle: Rounded Corners 40"/>
          <p:cNvSpPr/>
          <p:nvPr/>
        </p:nvSpPr>
        <p:spPr>
          <a:xfrm>
            <a:off x="4878918" y="4191001"/>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43" name="Rectangle: Rounded Corners 42"/>
          <p:cNvSpPr/>
          <p:nvPr/>
        </p:nvSpPr>
        <p:spPr>
          <a:xfrm>
            <a:off x="6396567" y="3968751"/>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44" name="Rectangle: Rounded Corners 43"/>
          <p:cNvSpPr/>
          <p:nvPr/>
        </p:nvSpPr>
        <p:spPr>
          <a:xfrm>
            <a:off x="6396567" y="2973918"/>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45" name="Rectangle 44"/>
          <p:cNvSpPr/>
          <p:nvPr/>
        </p:nvSpPr>
        <p:spPr>
          <a:xfrm>
            <a:off x="6741584" y="3172884"/>
            <a:ext cx="76200"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46" name="Rectangle: Rounded Corners 45"/>
          <p:cNvSpPr/>
          <p:nvPr/>
        </p:nvSpPr>
        <p:spPr>
          <a:xfrm>
            <a:off x="6396567" y="2741085"/>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47" name="Rectangle: Rounded Corners 46"/>
          <p:cNvSpPr/>
          <p:nvPr/>
        </p:nvSpPr>
        <p:spPr>
          <a:xfrm>
            <a:off x="6396567" y="4191001"/>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48" name="Rectangle: Rounded Corners 47"/>
          <p:cNvSpPr/>
          <p:nvPr/>
        </p:nvSpPr>
        <p:spPr>
          <a:xfrm>
            <a:off x="7533218" y="3968751"/>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49" name="Rectangle: Rounded Corners 48"/>
          <p:cNvSpPr/>
          <p:nvPr/>
        </p:nvSpPr>
        <p:spPr>
          <a:xfrm>
            <a:off x="7533218" y="2973918"/>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50" name="Rectangle 49"/>
          <p:cNvSpPr/>
          <p:nvPr/>
        </p:nvSpPr>
        <p:spPr>
          <a:xfrm>
            <a:off x="7878234" y="3172884"/>
            <a:ext cx="74084"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51" name="Rectangle: Rounded Corners 50"/>
          <p:cNvSpPr/>
          <p:nvPr/>
        </p:nvSpPr>
        <p:spPr>
          <a:xfrm>
            <a:off x="7533218" y="2741085"/>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52" name="Rectangle: Rounded Corners 51"/>
          <p:cNvSpPr/>
          <p:nvPr/>
        </p:nvSpPr>
        <p:spPr>
          <a:xfrm>
            <a:off x="7533218" y="4191001"/>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55" name="Rectangle: Rounded Corners 54"/>
          <p:cNvSpPr/>
          <p:nvPr/>
        </p:nvSpPr>
        <p:spPr>
          <a:xfrm>
            <a:off x="8885767" y="3943351"/>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56" name="Rectangle: Rounded Corners 55"/>
          <p:cNvSpPr/>
          <p:nvPr/>
        </p:nvSpPr>
        <p:spPr>
          <a:xfrm>
            <a:off x="8885767" y="2948518"/>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57" name="Rectangle 56"/>
          <p:cNvSpPr/>
          <p:nvPr/>
        </p:nvSpPr>
        <p:spPr>
          <a:xfrm>
            <a:off x="9230784" y="3147484"/>
            <a:ext cx="74083"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58" name="Rectangle: Rounded Corners 57"/>
          <p:cNvSpPr/>
          <p:nvPr/>
        </p:nvSpPr>
        <p:spPr>
          <a:xfrm>
            <a:off x="8885767" y="2715685"/>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59" name="Rectangle: Rounded Corners 58"/>
          <p:cNvSpPr/>
          <p:nvPr/>
        </p:nvSpPr>
        <p:spPr>
          <a:xfrm>
            <a:off x="8885767" y="4167718"/>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60" name="Rectangle: Rounded Corners 59"/>
          <p:cNvSpPr/>
          <p:nvPr/>
        </p:nvSpPr>
        <p:spPr>
          <a:xfrm>
            <a:off x="9952567" y="3943351"/>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61" name="Rectangle: Rounded Corners 60"/>
          <p:cNvSpPr/>
          <p:nvPr/>
        </p:nvSpPr>
        <p:spPr>
          <a:xfrm>
            <a:off x="9952567" y="2948518"/>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62" name="Rectangle 61"/>
          <p:cNvSpPr/>
          <p:nvPr/>
        </p:nvSpPr>
        <p:spPr>
          <a:xfrm>
            <a:off x="10297584" y="3147484"/>
            <a:ext cx="74083"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63" name="Rectangle: Rounded Corners 62"/>
          <p:cNvSpPr/>
          <p:nvPr/>
        </p:nvSpPr>
        <p:spPr>
          <a:xfrm>
            <a:off x="9952567" y="2715685"/>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64" name="Rectangle: Rounded Corners 63"/>
          <p:cNvSpPr/>
          <p:nvPr/>
        </p:nvSpPr>
        <p:spPr>
          <a:xfrm>
            <a:off x="9952567" y="4167718"/>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65" name="Rectangle: Rounded Corners 64"/>
          <p:cNvSpPr/>
          <p:nvPr/>
        </p:nvSpPr>
        <p:spPr>
          <a:xfrm>
            <a:off x="10972800" y="3943351"/>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66" name="Rectangle: Rounded Corners 65"/>
          <p:cNvSpPr/>
          <p:nvPr/>
        </p:nvSpPr>
        <p:spPr>
          <a:xfrm>
            <a:off x="10972800" y="2948518"/>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67" name="Rectangle 66"/>
          <p:cNvSpPr/>
          <p:nvPr/>
        </p:nvSpPr>
        <p:spPr>
          <a:xfrm>
            <a:off x="11317817" y="3147484"/>
            <a:ext cx="74083"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68" name="Rectangle: Rounded Corners 67"/>
          <p:cNvSpPr/>
          <p:nvPr/>
        </p:nvSpPr>
        <p:spPr>
          <a:xfrm>
            <a:off x="10972800" y="2715685"/>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69" name="Rectangle: Rounded Corners 68"/>
          <p:cNvSpPr/>
          <p:nvPr/>
        </p:nvSpPr>
        <p:spPr>
          <a:xfrm>
            <a:off x="10972800" y="4167718"/>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 name="Oval 11"/>
          <p:cNvSpPr/>
          <p:nvPr/>
        </p:nvSpPr>
        <p:spPr>
          <a:xfrm>
            <a:off x="4457700" y="2264833"/>
            <a:ext cx="8467" cy="260985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71" name="Oval 70"/>
          <p:cNvSpPr/>
          <p:nvPr/>
        </p:nvSpPr>
        <p:spPr>
          <a:xfrm>
            <a:off x="6015567" y="2209800"/>
            <a:ext cx="8467" cy="260985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72" name="Oval 71"/>
          <p:cNvSpPr/>
          <p:nvPr/>
        </p:nvSpPr>
        <p:spPr>
          <a:xfrm>
            <a:off x="8716433" y="2237318"/>
            <a:ext cx="8467" cy="260984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20" name="TextBox 19"/>
          <p:cNvSpPr txBox="1"/>
          <p:nvPr/>
        </p:nvSpPr>
        <p:spPr>
          <a:xfrm>
            <a:off x="3399367" y="1809751"/>
            <a:ext cx="590226" cy="300210"/>
          </a:xfrm>
          <a:prstGeom prst="rect">
            <a:avLst/>
          </a:prstGeom>
          <a:noFill/>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ront</a:t>
            </a:r>
          </a:p>
        </p:txBody>
      </p:sp>
      <p:sp>
        <p:nvSpPr>
          <p:cNvPr id="73" name="TextBox 72"/>
          <p:cNvSpPr txBox="1"/>
          <p:nvPr/>
        </p:nvSpPr>
        <p:spPr>
          <a:xfrm>
            <a:off x="5037667" y="1809751"/>
            <a:ext cx="566181" cy="300210"/>
          </a:xfrm>
          <a:prstGeom prst="rect">
            <a:avLst/>
          </a:prstGeom>
          <a:noFill/>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ear</a:t>
            </a:r>
          </a:p>
        </p:txBody>
      </p:sp>
      <p:sp>
        <p:nvSpPr>
          <p:cNvPr id="74" name="TextBox 73"/>
          <p:cNvSpPr txBox="1"/>
          <p:nvPr/>
        </p:nvSpPr>
        <p:spPr>
          <a:xfrm>
            <a:off x="6673851" y="1809751"/>
            <a:ext cx="712054" cy="300210"/>
          </a:xfrm>
          <a:prstGeom prst="rect">
            <a:avLst/>
          </a:prstGeom>
          <a:noFill/>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ear 2</a:t>
            </a:r>
          </a:p>
        </p:txBody>
      </p:sp>
      <p:sp>
        <p:nvSpPr>
          <p:cNvPr id="75" name="TextBox 74"/>
          <p:cNvSpPr txBox="1"/>
          <p:nvPr/>
        </p:nvSpPr>
        <p:spPr>
          <a:xfrm>
            <a:off x="10003367" y="1809751"/>
            <a:ext cx="712054" cy="300210"/>
          </a:xfrm>
          <a:prstGeom prst="rect">
            <a:avLst/>
          </a:prstGeom>
          <a:noFill/>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ear 3</a:t>
            </a:r>
          </a:p>
        </p:txBody>
      </p:sp>
      <p:cxnSp>
        <p:nvCxnSpPr>
          <p:cNvPr id="4" name="Straight Connector 3"/>
          <p:cNvCxnSpPr>
            <a:endCxn id="50" idx="1"/>
          </p:cNvCxnSpPr>
          <p:nvPr/>
        </p:nvCxnSpPr>
        <p:spPr>
          <a:xfrm>
            <a:off x="6836833" y="3570817"/>
            <a:ext cx="1041400" cy="0"/>
          </a:xfrm>
          <a:prstGeom prst="line">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9294284" y="3566584"/>
            <a:ext cx="1041400" cy="0"/>
          </a:xfrm>
          <a:prstGeom prst="line">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0399185" y="3577167"/>
            <a:ext cx="950383" cy="0"/>
          </a:xfrm>
          <a:prstGeom prst="line">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0274" name="TextBox 1"/>
          <p:cNvSpPr txBox="1">
            <a:spLocks noChangeArrowheads="1"/>
          </p:cNvSpPr>
          <p:nvPr/>
        </p:nvSpPr>
        <p:spPr bwMode="auto">
          <a:xfrm>
            <a:off x="6775451" y="2362200"/>
            <a:ext cx="1266693"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altLang="en-US" sz="1333"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Tandem Axle</a:t>
            </a:r>
          </a:p>
        </p:txBody>
      </p:sp>
      <p:sp>
        <p:nvSpPr>
          <p:cNvPr id="180275" name="TextBox 77"/>
          <p:cNvSpPr txBox="1">
            <a:spLocks noChangeArrowheads="1"/>
          </p:cNvSpPr>
          <p:nvPr/>
        </p:nvSpPr>
        <p:spPr bwMode="auto">
          <a:xfrm>
            <a:off x="9952567" y="2296584"/>
            <a:ext cx="1130438"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altLang="en-US" sz="1333"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Tridem Axle</a:t>
            </a:r>
          </a:p>
        </p:txBody>
      </p:sp>
      <p:sp>
        <p:nvSpPr>
          <p:cNvPr id="79" name="Rectangle 78"/>
          <p:cNvSpPr/>
          <p:nvPr/>
        </p:nvSpPr>
        <p:spPr>
          <a:xfrm>
            <a:off x="3297767" y="5124451"/>
            <a:ext cx="785284" cy="4191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7T</a:t>
            </a:r>
          </a:p>
        </p:txBody>
      </p:sp>
      <p:sp>
        <p:nvSpPr>
          <p:cNvPr id="80" name="Rectangle 79"/>
          <p:cNvSpPr/>
          <p:nvPr/>
        </p:nvSpPr>
        <p:spPr>
          <a:xfrm>
            <a:off x="4775201" y="5124451"/>
            <a:ext cx="1045633" cy="4191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11.5T</a:t>
            </a:r>
          </a:p>
        </p:txBody>
      </p:sp>
      <p:sp>
        <p:nvSpPr>
          <p:cNvPr id="81" name="Rectangle 80"/>
          <p:cNvSpPr/>
          <p:nvPr/>
        </p:nvSpPr>
        <p:spPr>
          <a:xfrm>
            <a:off x="6817785" y="5124451"/>
            <a:ext cx="950383" cy="4191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1 T</a:t>
            </a:r>
          </a:p>
        </p:txBody>
      </p:sp>
      <p:sp>
        <p:nvSpPr>
          <p:cNvPr id="82" name="Rectangle 81"/>
          <p:cNvSpPr/>
          <p:nvPr/>
        </p:nvSpPr>
        <p:spPr>
          <a:xfrm>
            <a:off x="10003367" y="5088467"/>
            <a:ext cx="952500" cy="4191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7 T</a:t>
            </a:r>
          </a:p>
        </p:txBody>
      </p:sp>
      <p:sp>
        <p:nvSpPr>
          <p:cNvPr id="84" name="Rectangle: Top Corners Snipped 83">
            <a:extLst>
              <a:ext uri="{FF2B5EF4-FFF2-40B4-BE49-F238E27FC236}">
                <a16:creationId xmlns:a16="http://schemas.microsoft.com/office/drawing/2014/main" id="{0880DD1F-F6E7-41B5-9D1E-B747008A8528}"/>
              </a:ext>
            </a:extLst>
          </p:cNvPr>
          <p:cNvSpPr/>
          <p:nvPr/>
        </p:nvSpPr>
        <p:spPr>
          <a:xfrm rot="10800000">
            <a:off x="975784" y="0"/>
            <a:ext cx="9895416" cy="821267"/>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80281" name="TextBox 84"/>
          <p:cNvSpPr txBox="1">
            <a:spLocks noChangeArrowheads="1"/>
          </p:cNvSpPr>
          <p:nvPr/>
        </p:nvSpPr>
        <p:spPr bwMode="auto">
          <a:xfrm>
            <a:off x="1121833" y="46567"/>
            <a:ext cx="10464800" cy="666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altLang="en-US" sz="3733" b="1"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BASIC TERMINOLOGIES – AXLE &amp; LOAD</a:t>
            </a:r>
          </a:p>
        </p:txBody>
      </p:sp>
    </p:spTree>
    <p:extLst>
      <p:ext uri="{BB962C8B-B14F-4D97-AF65-F5344CB8AC3E}">
        <p14:creationId xmlns:p14="http://schemas.microsoft.com/office/powerpoint/2010/main" val="16137503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Parallelogram 69"/>
          <p:cNvSpPr/>
          <p:nvPr/>
        </p:nvSpPr>
        <p:spPr>
          <a:xfrm>
            <a:off x="-146051" y="2266951"/>
            <a:ext cx="1392768" cy="554567"/>
          </a:xfrm>
          <a:prstGeom prst="parallelogram">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6X2</a:t>
            </a:r>
          </a:p>
        </p:txBody>
      </p:sp>
      <p:sp>
        <p:nvSpPr>
          <p:cNvPr id="71" name="Parallelogram 70"/>
          <p:cNvSpPr/>
          <p:nvPr/>
        </p:nvSpPr>
        <p:spPr>
          <a:xfrm>
            <a:off x="-146051" y="5628218"/>
            <a:ext cx="1392768" cy="554567"/>
          </a:xfrm>
          <a:prstGeom prst="parallelogram">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6X4</a:t>
            </a:r>
          </a:p>
        </p:txBody>
      </p:sp>
      <p:sp>
        <p:nvSpPr>
          <p:cNvPr id="72" name="Rectangle 71"/>
          <p:cNvSpPr/>
          <p:nvPr/>
        </p:nvSpPr>
        <p:spPr>
          <a:xfrm>
            <a:off x="3094567" y="2440518"/>
            <a:ext cx="4178300" cy="46990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75" name="Rectangle 74"/>
          <p:cNvSpPr/>
          <p:nvPr/>
        </p:nvSpPr>
        <p:spPr>
          <a:xfrm>
            <a:off x="3556001" y="2269067"/>
            <a:ext cx="82551"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2" name="Rectangle 1"/>
          <p:cNvSpPr/>
          <p:nvPr/>
        </p:nvSpPr>
        <p:spPr>
          <a:xfrm>
            <a:off x="3314701" y="2499784"/>
            <a:ext cx="412751" cy="33654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3" name="Isosceles Triangle 2"/>
          <p:cNvSpPr/>
          <p:nvPr/>
        </p:nvSpPr>
        <p:spPr>
          <a:xfrm rot="5400000">
            <a:off x="3656542" y="2566459"/>
            <a:ext cx="334433" cy="20531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97" name="Rectangle 96"/>
          <p:cNvSpPr/>
          <p:nvPr/>
        </p:nvSpPr>
        <p:spPr>
          <a:xfrm>
            <a:off x="5530851" y="2266951"/>
            <a:ext cx="82549"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99" name="Rectangle: Rounded Corners 98"/>
          <p:cNvSpPr/>
          <p:nvPr/>
        </p:nvSpPr>
        <p:spPr>
          <a:xfrm>
            <a:off x="3234267" y="3071285"/>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0" name="Rectangle: Rounded Corners 99"/>
          <p:cNvSpPr/>
          <p:nvPr/>
        </p:nvSpPr>
        <p:spPr>
          <a:xfrm>
            <a:off x="3219452" y="2065867"/>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1" name="Rectangle: Rounded Corners 100"/>
          <p:cNvSpPr/>
          <p:nvPr/>
        </p:nvSpPr>
        <p:spPr>
          <a:xfrm>
            <a:off x="5198533" y="3071285"/>
            <a:ext cx="755651"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2" name="Rectangle: Rounded Corners 101"/>
          <p:cNvSpPr/>
          <p:nvPr/>
        </p:nvSpPr>
        <p:spPr>
          <a:xfrm>
            <a:off x="5183718" y="2065867"/>
            <a:ext cx="755649"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3" name="Rectangle: Rounded Corners 102"/>
          <p:cNvSpPr/>
          <p:nvPr/>
        </p:nvSpPr>
        <p:spPr>
          <a:xfrm>
            <a:off x="5183718" y="1858434"/>
            <a:ext cx="755649" cy="201084"/>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4" name="Rectangle: Rounded Corners 103"/>
          <p:cNvSpPr/>
          <p:nvPr/>
        </p:nvSpPr>
        <p:spPr>
          <a:xfrm>
            <a:off x="5198533" y="3291418"/>
            <a:ext cx="755651"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5" name="Rectangle 104"/>
          <p:cNvSpPr/>
          <p:nvPr/>
        </p:nvSpPr>
        <p:spPr>
          <a:xfrm>
            <a:off x="6614584" y="2266951"/>
            <a:ext cx="82549"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6" name="Rectangle: Rounded Corners 105"/>
          <p:cNvSpPr/>
          <p:nvPr/>
        </p:nvSpPr>
        <p:spPr>
          <a:xfrm>
            <a:off x="6280152" y="3071285"/>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7" name="Rectangle: Rounded Corners 106"/>
          <p:cNvSpPr/>
          <p:nvPr/>
        </p:nvSpPr>
        <p:spPr>
          <a:xfrm>
            <a:off x="6267452" y="2065867"/>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8" name="Rectangle: Rounded Corners 107"/>
          <p:cNvSpPr/>
          <p:nvPr/>
        </p:nvSpPr>
        <p:spPr>
          <a:xfrm>
            <a:off x="6267452" y="1858434"/>
            <a:ext cx="755649" cy="201084"/>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9" name="Rectangle: Rounded Corners 108"/>
          <p:cNvSpPr/>
          <p:nvPr/>
        </p:nvSpPr>
        <p:spPr>
          <a:xfrm>
            <a:off x="6280152" y="3291418"/>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8" name="Oval 7"/>
          <p:cNvSpPr/>
          <p:nvPr/>
        </p:nvSpPr>
        <p:spPr>
          <a:xfrm>
            <a:off x="5427133" y="2493434"/>
            <a:ext cx="289984" cy="319617"/>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10" name="Rectangle 109"/>
          <p:cNvSpPr/>
          <p:nvPr/>
        </p:nvSpPr>
        <p:spPr>
          <a:xfrm>
            <a:off x="3888318" y="2637367"/>
            <a:ext cx="1686983" cy="4656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11" name="Rectangle 110"/>
          <p:cNvSpPr/>
          <p:nvPr/>
        </p:nvSpPr>
        <p:spPr>
          <a:xfrm>
            <a:off x="3236384" y="1092201"/>
            <a:ext cx="787400" cy="34501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7T</a:t>
            </a:r>
          </a:p>
        </p:txBody>
      </p:sp>
      <p:sp>
        <p:nvSpPr>
          <p:cNvPr id="112" name="Rectangle 111"/>
          <p:cNvSpPr/>
          <p:nvPr/>
        </p:nvSpPr>
        <p:spPr>
          <a:xfrm>
            <a:off x="5784851" y="1092200"/>
            <a:ext cx="950383" cy="34713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1 T</a:t>
            </a:r>
          </a:p>
        </p:txBody>
      </p:sp>
      <p:sp>
        <p:nvSpPr>
          <p:cNvPr id="182296" name="TextBox 8"/>
          <p:cNvSpPr txBox="1">
            <a:spLocks noChangeArrowheads="1"/>
          </p:cNvSpPr>
          <p:nvPr/>
        </p:nvSpPr>
        <p:spPr bwMode="auto">
          <a:xfrm>
            <a:off x="10238318" y="2264834"/>
            <a:ext cx="1210588"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altLang="en-US" sz="44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28 T</a:t>
            </a:r>
          </a:p>
        </p:txBody>
      </p:sp>
      <p:sp>
        <p:nvSpPr>
          <p:cNvPr id="10" name="TextBox 9"/>
          <p:cNvSpPr txBox="1"/>
          <p:nvPr/>
        </p:nvSpPr>
        <p:spPr>
          <a:xfrm>
            <a:off x="5118101" y="3488267"/>
            <a:ext cx="1039067" cy="300210"/>
          </a:xfrm>
          <a:prstGeom prst="rect">
            <a:avLst/>
          </a:prstGeom>
          <a:noFill/>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rive Axle</a:t>
            </a:r>
          </a:p>
        </p:txBody>
      </p:sp>
      <p:sp>
        <p:nvSpPr>
          <p:cNvPr id="113" name="Rectangle 112"/>
          <p:cNvSpPr/>
          <p:nvPr/>
        </p:nvSpPr>
        <p:spPr>
          <a:xfrm>
            <a:off x="3109385" y="5113867"/>
            <a:ext cx="4178300" cy="46778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14" name="Rectangle 113"/>
          <p:cNvSpPr/>
          <p:nvPr/>
        </p:nvSpPr>
        <p:spPr>
          <a:xfrm>
            <a:off x="3570818" y="4940300"/>
            <a:ext cx="80433"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15" name="Rectangle 114"/>
          <p:cNvSpPr/>
          <p:nvPr/>
        </p:nvSpPr>
        <p:spPr>
          <a:xfrm>
            <a:off x="3329518" y="5173134"/>
            <a:ext cx="410633" cy="33655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16" name="Isosceles Triangle 115"/>
          <p:cNvSpPr/>
          <p:nvPr/>
        </p:nvSpPr>
        <p:spPr>
          <a:xfrm rot="5400000">
            <a:off x="3669242" y="5239810"/>
            <a:ext cx="334433" cy="20531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17" name="Rectangle 116"/>
          <p:cNvSpPr/>
          <p:nvPr/>
        </p:nvSpPr>
        <p:spPr>
          <a:xfrm>
            <a:off x="5543551" y="4940300"/>
            <a:ext cx="82549"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18" name="Rectangle: Rounded Corners 117"/>
          <p:cNvSpPr/>
          <p:nvPr/>
        </p:nvSpPr>
        <p:spPr>
          <a:xfrm>
            <a:off x="3246967" y="5742518"/>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19" name="Rectangle: Rounded Corners 118"/>
          <p:cNvSpPr/>
          <p:nvPr/>
        </p:nvSpPr>
        <p:spPr>
          <a:xfrm>
            <a:off x="3234267" y="4739218"/>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0" name="Rectangle: Rounded Corners 119"/>
          <p:cNvSpPr/>
          <p:nvPr/>
        </p:nvSpPr>
        <p:spPr>
          <a:xfrm>
            <a:off x="5211233" y="5742518"/>
            <a:ext cx="755651"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1" name="Rectangle: Rounded Corners 120"/>
          <p:cNvSpPr/>
          <p:nvPr/>
        </p:nvSpPr>
        <p:spPr>
          <a:xfrm>
            <a:off x="5196418" y="4739218"/>
            <a:ext cx="755649"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2" name="Rectangle: Rounded Corners 121"/>
          <p:cNvSpPr/>
          <p:nvPr/>
        </p:nvSpPr>
        <p:spPr>
          <a:xfrm>
            <a:off x="5196418" y="4531785"/>
            <a:ext cx="755649"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3" name="Rectangle: Rounded Corners 122"/>
          <p:cNvSpPr/>
          <p:nvPr/>
        </p:nvSpPr>
        <p:spPr>
          <a:xfrm>
            <a:off x="5211233" y="5964767"/>
            <a:ext cx="755651"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4" name="Rectangle 123"/>
          <p:cNvSpPr/>
          <p:nvPr/>
        </p:nvSpPr>
        <p:spPr>
          <a:xfrm>
            <a:off x="6627284" y="4940300"/>
            <a:ext cx="82549"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5" name="Rectangle: Rounded Corners 124"/>
          <p:cNvSpPr/>
          <p:nvPr/>
        </p:nvSpPr>
        <p:spPr>
          <a:xfrm>
            <a:off x="6294967" y="5742518"/>
            <a:ext cx="755651"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6" name="Rectangle: Rounded Corners 125"/>
          <p:cNvSpPr/>
          <p:nvPr/>
        </p:nvSpPr>
        <p:spPr>
          <a:xfrm>
            <a:off x="6280152" y="4739218"/>
            <a:ext cx="755649"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7" name="Rectangle: Rounded Corners 126"/>
          <p:cNvSpPr/>
          <p:nvPr/>
        </p:nvSpPr>
        <p:spPr>
          <a:xfrm>
            <a:off x="6280152" y="4531785"/>
            <a:ext cx="755649"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8" name="Rectangle: Rounded Corners 127"/>
          <p:cNvSpPr/>
          <p:nvPr/>
        </p:nvSpPr>
        <p:spPr>
          <a:xfrm>
            <a:off x="6294967" y="5964767"/>
            <a:ext cx="755651"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9" name="Oval 128"/>
          <p:cNvSpPr/>
          <p:nvPr/>
        </p:nvSpPr>
        <p:spPr>
          <a:xfrm>
            <a:off x="5439834" y="5166784"/>
            <a:ext cx="292100" cy="319616"/>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30" name="Rectangle 129"/>
          <p:cNvSpPr/>
          <p:nvPr/>
        </p:nvSpPr>
        <p:spPr>
          <a:xfrm>
            <a:off x="3901018" y="5310718"/>
            <a:ext cx="1686983" cy="4444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82316" name="TextBox 132"/>
          <p:cNvSpPr txBox="1">
            <a:spLocks noChangeArrowheads="1"/>
          </p:cNvSpPr>
          <p:nvPr/>
        </p:nvSpPr>
        <p:spPr bwMode="auto">
          <a:xfrm>
            <a:off x="10238318" y="4781552"/>
            <a:ext cx="1210588"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altLang="en-US" sz="44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28 T</a:t>
            </a:r>
          </a:p>
        </p:txBody>
      </p:sp>
      <p:sp>
        <p:nvSpPr>
          <p:cNvPr id="134" name="TextBox 133"/>
          <p:cNvSpPr txBox="1"/>
          <p:nvPr/>
        </p:nvSpPr>
        <p:spPr>
          <a:xfrm>
            <a:off x="5005918" y="6258984"/>
            <a:ext cx="1138767" cy="300210"/>
          </a:xfrm>
          <a:prstGeom prst="rect">
            <a:avLst/>
          </a:prstGeom>
          <a:noFill/>
        </p:spPr>
        <p:txBody>
          <a:bodyP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rive Axle</a:t>
            </a:r>
          </a:p>
        </p:txBody>
      </p:sp>
      <p:sp>
        <p:nvSpPr>
          <p:cNvPr id="135" name="TextBox 134"/>
          <p:cNvSpPr txBox="1"/>
          <p:nvPr/>
        </p:nvSpPr>
        <p:spPr>
          <a:xfrm>
            <a:off x="6176434" y="6254751"/>
            <a:ext cx="1039067" cy="300210"/>
          </a:xfrm>
          <a:prstGeom prst="rect">
            <a:avLst/>
          </a:prstGeom>
          <a:noFill/>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rive Axle</a:t>
            </a:r>
          </a:p>
        </p:txBody>
      </p:sp>
      <p:sp>
        <p:nvSpPr>
          <p:cNvPr id="50" name="Oval 49"/>
          <p:cNvSpPr/>
          <p:nvPr/>
        </p:nvSpPr>
        <p:spPr>
          <a:xfrm>
            <a:off x="6523567" y="5173134"/>
            <a:ext cx="292100" cy="319617"/>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cxnSp>
        <p:nvCxnSpPr>
          <p:cNvPr id="51" name="Straight Connector 50"/>
          <p:cNvCxnSpPr/>
          <p:nvPr/>
        </p:nvCxnSpPr>
        <p:spPr>
          <a:xfrm>
            <a:off x="5640917" y="5342467"/>
            <a:ext cx="1041400" cy="0"/>
          </a:xfrm>
          <a:prstGeom prst="line">
            <a:avLst/>
          </a:prstGeom>
          <a:ln w="38100">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80295CDF-B8C7-45B9-A16E-06FFD30125D0}"/>
              </a:ext>
            </a:extLst>
          </p:cNvPr>
          <p:cNvSpPr/>
          <p:nvPr/>
        </p:nvSpPr>
        <p:spPr>
          <a:xfrm>
            <a:off x="3202517" y="3901017"/>
            <a:ext cx="787400" cy="34501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7T</a:t>
            </a:r>
          </a:p>
        </p:txBody>
      </p:sp>
      <p:sp>
        <p:nvSpPr>
          <p:cNvPr id="55" name="Rectangle 54">
            <a:extLst>
              <a:ext uri="{FF2B5EF4-FFF2-40B4-BE49-F238E27FC236}">
                <a16:creationId xmlns:a16="http://schemas.microsoft.com/office/drawing/2014/main" id="{9636964F-E3FF-4845-9784-C04C0C8E7CC8}"/>
              </a:ext>
            </a:extLst>
          </p:cNvPr>
          <p:cNvSpPr/>
          <p:nvPr/>
        </p:nvSpPr>
        <p:spPr>
          <a:xfrm>
            <a:off x="5750985" y="3901018"/>
            <a:ext cx="950383" cy="34713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1 T</a:t>
            </a:r>
          </a:p>
        </p:txBody>
      </p:sp>
      <p:sp>
        <p:nvSpPr>
          <p:cNvPr id="63" name="Rectangle: Top Corners Snipped 62">
            <a:extLst>
              <a:ext uri="{FF2B5EF4-FFF2-40B4-BE49-F238E27FC236}">
                <a16:creationId xmlns:a16="http://schemas.microsoft.com/office/drawing/2014/main" id="{83AE35F3-36CB-420E-A7F3-60F0828D729E}"/>
              </a:ext>
            </a:extLst>
          </p:cNvPr>
          <p:cNvSpPr/>
          <p:nvPr/>
        </p:nvSpPr>
        <p:spPr>
          <a:xfrm rot="10800000">
            <a:off x="975784" y="0"/>
            <a:ext cx="9895416" cy="821267"/>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82324" name="TextBox 63"/>
          <p:cNvSpPr txBox="1">
            <a:spLocks noChangeArrowheads="1"/>
          </p:cNvSpPr>
          <p:nvPr/>
        </p:nvSpPr>
        <p:spPr bwMode="auto">
          <a:xfrm>
            <a:off x="1121833" y="46567"/>
            <a:ext cx="10464800" cy="666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altLang="en-US" sz="3733" b="1"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BASIC TERMINOLOGIES – AXLE &amp; LOAD</a:t>
            </a:r>
          </a:p>
        </p:txBody>
      </p:sp>
      <p:sp>
        <p:nvSpPr>
          <p:cNvPr id="4" name="Rectangle 3">
            <a:extLst>
              <a:ext uri="{FF2B5EF4-FFF2-40B4-BE49-F238E27FC236}">
                <a16:creationId xmlns:a16="http://schemas.microsoft.com/office/drawing/2014/main" id="{FE330C65-9DD0-4A36-9920-5C42327E0DEF}"/>
              </a:ext>
            </a:extLst>
          </p:cNvPr>
          <p:cNvSpPr/>
          <p:nvPr/>
        </p:nvSpPr>
        <p:spPr>
          <a:xfrm>
            <a:off x="-33867" y="3742267"/>
            <a:ext cx="12225867" cy="93133"/>
          </a:xfrm>
          <a:prstGeom prst="rect">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1672646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Parallelogram 69"/>
          <p:cNvSpPr/>
          <p:nvPr/>
        </p:nvSpPr>
        <p:spPr>
          <a:xfrm>
            <a:off x="-146051" y="2139951"/>
            <a:ext cx="1703917" cy="554567"/>
          </a:xfrm>
          <a:prstGeom prst="parallelogram">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8X2</a:t>
            </a:r>
          </a:p>
        </p:txBody>
      </p:sp>
      <p:sp>
        <p:nvSpPr>
          <p:cNvPr id="71" name="Parallelogram 70"/>
          <p:cNvSpPr/>
          <p:nvPr/>
        </p:nvSpPr>
        <p:spPr>
          <a:xfrm>
            <a:off x="-146051" y="5685367"/>
            <a:ext cx="1703917" cy="554567"/>
          </a:xfrm>
          <a:prstGeom prst="parallelogram">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8X2 LA</a:t>
            </a:r>
          </a:p>
        </p:txBody>
      </p:sp>
      <p:sp>
        <p:nvSpPr>
          <p:cNvPr id="72" name="Rectangle 71"/>
          <p:cNvSpPr/>
          <p:nvPr/>
        </p:nvSpPr>
        <p:spPr>
          <a:xfrm>
            <a:off x="3094567" y="2313518"/>
            <a:ext cx="4940300" cy="46990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75" name="Rectangle 74"/>
          <p:cNvSpPr/>
          <p:nvPr/>
        </p:nvSpPr>
        <p:spPr>
          <a:xfrm>
            <a:off x="3556001" y="2142067"/>
            <a:ext cx="82551"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2" name="Rectangle 1"/>
          <p:cNvSpPr/>
          <p:nvPr/>
        </p:nvSpPr>
        <p:spPr>
          <a:xfrm>
            <a:off x="3314701" y="2372784"/>
            <a:ext cx="412751" cy="33654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3" name="Isosceles Triangle 2"/>
          <p:cNvSpPr/>
          <p:nvPr/>
        </p:nvSpPr>
        <p:spPr>
          <a:xfrm rot="5400000">
            <a:off x="3656542" y="2439459"/>
            <a:ext cx="334433" cy="20531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97" name="Rectangle 96"/>
          <p:cNvSpPr/>
          <p:nvPr/>
        </p:nvSpPr>
        <p:spPr>
          <a:xfrm>
            <a:off x="6085418" y="2116667"/>
            <a:ext cx="82549"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99" name="Rectangle: Rounded Corners 98"/>
          <p:cNvSpPr/>
          <p:nvPr/>
        </p:nvSpPr>
        <p:spPr>
          <a:xfrm>
            <a:off x="3234267" y="2944285"/>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0" name="Rectangle: Rounded Corners 99"/>
          <p:cNvSpPr/>
          <p:nvPr/>
        </p:nvSpPr>
        <p:spPr>
          <a:xfrm>
            <a:off x="3219452" y="1938867"/>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1" name="Rectangle: Rounded Corners 100"/>
          <p:cNvSpPr/>
          <p:nvPr/>
        </p:nvSpPr>
        <p:spPr>
          <a:xfrm>
            <a:off x="5753100" y="2921001"/>
            <a:ext cx="755651"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2" name="Rectangle: Rounded Corners 101"/>
          <p:cNvSpPr/>
          <p:nvPr/>
        </p:nvSpPr>
        <p:spPr>
          <a:xfrm>
            <a:off x="5738285" y="1915585"/>
            <a:ext cx="755649"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3" name="Rectangle: Rounded Corners 102"/>
          <p:cNvSpPr/>
          <p:nvPr/>
        </p:nvSpPr>
        <p:spPr>
          <a:xfrm>
            <a:off x="5738285" y="1710267"/>
            <a:ext cx="755649"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4" name="Rectangle: Rounded Corners 103"/>
          <p:cNvSpPr/>
          <p:nvPr/>
        </p:nvSpPr>
        <p:spPr>
          <a:xfrm>
            <a:off x="5753100" y="3141134"/>
            <a:ext cx="755651"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5" name="Rectangle 104"/>
          <p:cNvSpPr/>
          <p:nvPr/>
        </p:nvSpPr>
        <p:spPr>
          <a:xfrm>
            <a:off x="7169151" y="2116667"/>
            <a:ext cx="82549"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6" name="Rectangle: Rounded Corners 105"/>
          <p:cNvSpPr/>
          <p:nvPr/>
        </p:nvSpPr>
        <p:spPr>
          <a:xfrm>
            <a:off x="6834718" y="2921001"/>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7" name="Rectangle: Rounded Corners 106"/>
          <p:cNvSpPr/>
          <p:nvPr/>
        </p:nvSpPr>
        <p:spPr>
          <a:xfrm>
            <a:off x="6822018" y="1915585"/>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8" name="Rectangle: Rounded Corners 107"/>
          <p:cNvSpPr/>
          <p:nvPr/>
        </p:nvSpPr>
        <p:spPr>
          <a:xfrm>
            <a:off x="6822018" y="1710267"/>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9" name="Rectangle: Rounded Corners 108"/>
          <p:cNvSpPr/>
          <p:nvPr/>
        </p:nvSpPr>
        <p:spPr>
          <a:xfrm>
            <a:off x="6834718" y="3141134"/>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8" name="Oval 7"/>
          <p:cNvSpPr/>
          <p:nvPr/>
        </p:nvSpPr>
        <p:spPr>
          <a:xfrm>
            <a:off x="5981700" y="2343151"/>
            <a:ext cx="289984" cy="321733"/>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11" name="Rectangle 110"/>
          <p:cNvSpPr/>
          <p:nvPr/>
        </p:nvSpPr>
        <p:spPr>
          <a:xfrm>
            <a:off x="3194051" y="1100667"/>
            <a:ext cx="787400" cy="31538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7T</a:t>
            </a:r>
          </a:p>
        </p:txBody>
      </p:sp>
      <p:sp>
        <p:nvSpPr>
          <p:cNvPr id="112" name="Rectangle 111"/>
          <p:cNvSpPr/>
          <p:nvPr/>
        </p:nvSpPr>
        <p:spPr>
          <a:xfrm>
            <a:off x="6068485" y="1087967"/>
            <a:ext cx="1265767" cy="31538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1 T</a:t>
            </a:r>
          </a:p>
        </p:txBody>
      </p:sp>
      <p:sp>
        <p:nvSpPr>
          <p:cNvPr id="183320" name="TextBox 8"/>
          <p:cNvSpPr txBox="1">
            <a:spLocks noChangeArrowheads="1"/>
          </p:cNvSpPr>
          <p:nvPr/>
        </p:nvSpPr>
        <p:spPr bwMode="auto">
          <a:xfrm>
            <a:off x="8788400" y="2137834"/>
            <a:ext cx="1210588"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altLang="en-US" sz="44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35 T</a:t>
            </a:r>
          </a:p>
        </p:txBody>
      </p:sp>
      <p:sp>
        <p:nvSpPr>
          <p:cNvPr id="10" name="TextBox 9"/>
          <p:cNvSpPr txBox="1"/>
          <p:nvPr/>
        </p:nvSpPr>
        <p:spPr>
          <a:xfrm>
            <a:off x="5454651" y="3337984"/>
            <a:ext cx="1039067" cy="300210"/>
          </a:xfrm>
          <a:prstGeom prst="rect">
            <a:avLst/>
          </a:prstGeom>
          <a:noFill/>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rive Axle</a:t>
            </a:r>
          </a:p>
        </p:txBody>
      </p:sp>
      <p:sp>
        <p:nvSpPr>
          <p:cNvPr id="113" name="Rectangle 112"/>
          <p:cNvSpPr/>
          <p:nvPr/>
        </p:nvSpPr>
        <p:spPr>
          <a:xfrm>
            <a:off x="3039534" y="5425018"/>
            <a:ext cx="4995333" cy="46990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14" name="Rectangle 113"/>
          <p:cNvSpPr/>
          <p:nvPr/>
        </p:nvSpPr>
        <p:spPr>
          <a:xfrm>
            <a:off x="3500967" y="5253567"/>
            <a:ext cx="82551"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15" name="Rectangle 114"/>
          <p:cNvSpPr/>
          <p:nvPr/>
        </p:nvSpPr>
        <p:spPr>
          <a:xfrm>
            <a:off x="3259667" y="5486401"/>
            <a:ext cx="412751" cy="33443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16" name="Isosceles Triangle 115"/>
          <p:cNvSpPr/>
          <p:nvPr/>
        </p:nvSpPr>
        <p:spPr>
          <a:xfrm rot="5400000">
            <a:off x="3601509" y="5550959"/>
            <a:ext cx="334433" cy="20531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17" name="Rectangle 116"/>
          <p:cNvSpPr/>
          <p:nvPr/>
        </p:nvSpPr>
        <p:spPr>
          <a:xfrm>
            <a:off x="6098118" y="5251451"/>
            <a:ext cx="82549"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18" name="Rectangle: Rounded Corners 117"/>
          <p:cNvSpPr/>
          <p:nvPr/>
        </p:nvSpPr>
        <p:spPr>
          <a:xfrm>
            <a:off x="3177118" y="6055785"/>
            <a:ext cx="757767"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19" name="Rectangle: Rounded Corners 118"/>
          <p:cNvSpPr/>
          <p:nvPr/>
        </p:nvSpPr>
        <p:spPr>
          <a:xfrm>
            <a:off x="3164418" y="5050367"/>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0" name="Rectangle: Rounded Corners 119"/>
          <p:cNvSpPr/>
          <p:nvPr/>
        </p:nvSpPr>
        <p:spPr>
          <a:xfrm>
            <a:off x="5765800" y="6055785"/>
            <a:ext cx="755651"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1" name="Rectangle: Rounded Corners 120"/>
          <p:cNvSpPr/>
          <p:nvPr/>
        </p:nvSpPr>
        <p:spPr>
          <a:xfrm>
            <a:off x="5753100" y="5050367"/>
            <a:ext cx="755651"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2" name="Rectangle: Rounded Corners 121"/>
          <p:cNvSpPr/>
          <p:nvPr/>
        </p:nvSpPr>
        <p:spPr>
          <a:xfrm>
            <a:off x="5753100" y="4845051"/>
            <a:ext cx="755651"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3" name="Rectangle: Rounded Corners 122"/>
          <p:cNvSpPr/>
          <p:nvPr/>
        </p:nvSpPr>
        <p:spPr>
          <a:xfrm>
            <a:off x="5765800" y="6278034"/>
            <a:ext cx="755651"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4" name="Rectangle 123"/>
          <p:cNvSpPr/>
          <p:nvPr/>
        </p:nvSpPr>
        <p:spPr>
          <a:xfrm>
            <a:off x="7181851" y="5251451"/>
            <a:ext cx="82549"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5" name="Rectangle: Rounded Corners 124"/>
          <p:cNvSpPr/>
          <p:nvPr/>
        </p:nvSpPr>
        <p:spPr>
          <a:xfrm>
            <a:off x="6849533" y="6055785"/>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6" name="Rectangle: Rounded Corners 125"/>
          <p:cNvSpPr/>
          <p:nvPr/>
        </p:nvSpPr>
        <p:spPr>
          <a:xfrm>
            <a:off x="6834718" y="5050367"/>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7" name="Rectangle: Rounded Corners 126"/>
          <p:cNvSpPr/>
          <p:nvPr/>
        </p:nvSpPr>
        <p:spPr>
          <a:xfrm>
            <a:off x="6834718" y="4845051"/>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8" name="Rectangle: Rounded Corners 127"/>
          <p:cNvSpPr/>
          <p:nvPr/>
        </p:nvSpPr>
        <p:spPr>
          <a:xfrm>
            <a:off x="6849533" y="6278034"/>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29" name="Oval 128"/>
          <p:cNvSpPr/>
          <p:nvPr/>
        </p:nvSpPr>
        <p:spPr>
          <a:xfrm>
            <a:off x="5994401" y="5477934"/>
            <a:ext cx="292100" cy="321733"/>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30" name="Rectangle 129"/>
          <p:cNvSpPr/>
          <p:nvPr/>
        </p:nvSpPr>
        <p:spPr>
          <a:xfrm>
            <a:off x="3746501" y="5621867"/>
            <a:ext cx="2247900" cy="4656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83340" name="TextBox 132"/>
          <p:cNvSpPr txBox="1">
            <a:spLocks noChangeArrowheads="1"/>
          </p:cNvSpPr>
          <p:nvPr/>
        </p:nvSpPr>
        <p:spPr bwMode="auto">
          <a:xfrm>
            <a:off x="8788400" y="5238752"/>
            <a:ext cx="1210588"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altLang="en-US" sz="44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35 T</a:t>
            </a:r>
          </a:p>
        </p:txBody>
      </p:sp>
      <p:sp>
        <p:nvSpPr>
          <p:cNvPr id="134" name="TextBox 133"/>
          <p:cNvSpPr txBox="1"/>
          <p:nvPr/>
        </p:nvSpPr>
        <p:spPr>
          <a:xfrm>
            <a:off x="5598584" y="6498167"/>
            <a:ext cx="1615016" cy="300210"/>
          </a:xfrm>
          <a:prstGeom prst="rect">
            <a:avLst/>
          </a:prstGeom>
          <a:noFill/>
        </p:spPr>
        <p:txBody>
          <a:bodyP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rive Axle</a:t>
            </a:r>
          </a:p>
        </p:txBody>
      </p:sp>
      <p:sp>
        <p:nvSpPr>
          <p:cNvPr id="50" name="Rectangle 49"/>
          <p:cNvSpPr/>
          <p:nvPr/>
        </p:nvSpPr>
        <p:spPr>
          <a:xfrm>
            <a:off x="3898900" y="2514601"/>
            <a:ext cx="2245784" cy="4656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51" name="Rectangle 50"/>
          <p:cNvSpPr/>
          <p:nvPr/>
        </p:nvSpPr>
        <p:spPr>
          <a:xfrm>
            <a:off x="4847167" y="5253567"/>
            <a:ext cx="82551"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54" name="Rectangle: Rounded Corners 53"/>
          <p:cNvSpPr/>
          <p:nvPr/>
        </p:nvSpPr>
        <p:spPr>
          <a:xfrm>
            <a:off x="4523318" y="6055785"/>
            <a:ext cx="755649" cy="198967"/>
          </a:xfrm>
          <a:prstGeom prst="roundRect">
            <a:avLst/>
          </a:prstGeom>
          <a:solidFill>
            <a:srgbClr val="FFFF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55" name="Rectangle: Rounded Corners 54"/>
          <p:cNvSpPr/>
          <p:nvPr/>
        </p:nvSpPr>
        <p:spPr>
          <a:xfrm>
            <a:off x="4510618" y="5050367"/>
            <a:ext cx="755649" cy="198967"/>
          </a:xfrm>
          <a:prstGeom prst="roundRect">
            <a:avLst/>
          </a:prstGeom>
          <a:solidFill>
            <a:srgbClr val="FFFF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56" name="Rectangle 55"/>
          <p:cNvSpPr/>
          <p:nvPr/>
        </p:nvSpPr>
        <p:spPr>
          <a:xfrm>
            <a:off x="4660901" y="2129367"/>
            <a:ext cx="82551"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57" name="Rectangle: Rounded Corners 56"/>
          <p:cNvSpPr/>
          <p:nvPr/>
        </p:nvSpPr>
        <p:spPr>
          <a:xfrm>
            <a:off x="4337052" y="2931585"/>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58" name="Rectangle: Rounded Corners 57"/>
          <p:cNvSpPr/>
          <p:nvPr/>
        </p:nvSpPr>
        <p:spPr>
          <a:xfrm>
            <a:off x="4324352" y="1926167"/>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59" name="TextBox 58"/>
          <p:cNvSpPr txBox="1"/>
          <p:nvPr/>
        </p:nvSpPr>
        <p:spPr>
          <a:xfrm>
            <a:off x="4442885" y="6356351"/>
            <a:ext cx="829073" cy="300210"/>
          </a:xfrm>
          <a:prstGeom prst="rect">
            <a:avLst/>
          </a:prstGeom>
          <a:noFill/>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ift Axle</a:t>
            </a:r>
          </a:p>
        </p:txBody>
      </p:sp>
      <p:sp>
        <p:nvSpPr>
          <p:cNvPr id="60" name="Rectangle 59"/>
          <p:cNvSpPr/>
          <p:nvPr/>
        </p:nvSpPr>
        <p:spPr>
          <a:xfrm>
            <a:off x="4434417" y="1107017"/>
            <a:ext cx="787400" cy="31326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7T</a:t>
            </a:r>
          </a:p>
        </p:txBody>
      </p:sp>
      <p:sp>
        <p:nvSpPr>
          <p:cNvPr id="64" name="Rectangle 63">
            <a:extLst>
              <a:ext uri="{FF2B5EF4-FFF2-40B4-BE49-F238E27FC236}">
                <a16:creationId xmlns:a16="http://schemas.microsoft.com/office/drawing/2014/main" id="{AEF10CCE-0E7D-4080-A63F-11BD2F789A9F}"/>
              </a:ext>
            </a:extLst>
          </p:cNvPr>
          <p:cNvSpPr/>
          <p:nvPr/>
        </p:nvSpPr>
        <p:spPr>
          <a:xfrm>
            <a:off x="3200400" y="4127500"/>
            <a:ext cx="787400" cy="31538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7T</a:t>
            </a:r>
          </a:p>
        </p:txBody>
      </p:sp>
      <p:sp>
        <p:nvSpPr>
          <p:cNvPr id="65" name="Rectangle 64">
            <a:extLst>
              <a:ext uri="{FF2B5EF4-FFF2-40B4-BE49-F238E27FC236}">
                <a16:creationId xmlns:a16="http://schemas.microsoft.com/office/drawing/2014/main" id="{5CB71F6A-86AF-42E6-BE9A-124E87C1A351}"/>
              </a:ext>
            </a:extLst>
          </p:cNvPr>
          <p:cNvSpPr/>
          <p:nvPr/>
        </p:nvSpPr>
        <p:spPr>
          <a:xfrm>
            <a:off x="6072717" y="4114800"/>
            <a:ext cx="1267883" cy="31326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1 T</a:t>
            </a:r>
          </a:p>
        </p:txBody>
      </p:sp>
      <p:sp>
        <p:nvSpPr>
          <p:cNvPr id="66" name="Rectangle 65">
            <a:extLst>
              <a:ext uri="{FF2B5EF4-FFF2-40B4-BE49-F238E27FC236}">
                <a16:creationId xmlns:a16="http://schemas.microsoft.com/office/drawing/2014/main" id="{51136B84-635B-4F68-BBC4-6D17BE6061F1}"/>
              </a:ext>
            </a:extLst>
          </p:cNvPr>
          <p:cNvSpPr/>
          <p:nvPr/>
        </p:nvSpPr>
        <p:spPr>
          <a:xfrm>
            <a:off x="4440767" y="4131733"/>
            <a:ext cx="787400" cy="31538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7T</a:t>
            </a:r>
          </a:p>
        </p:txBody>
      </p:sp>
      <p:sp>
        <p:nvSpPr>
          <p:cNvPr id="78" name="Rectangle: Top Corners Snipped 77">
            <a:extLst>
              <a:ext uri="{FF2B5EF4-FFF2-40B4-BE49-F238E27FC236}">
                <a16:creationId xmlns:a16="http://schemas.microsoft.com/office/drawing/2014/main" id="{44936350-1D63-41E5-93CB-2A512ED98867}"/>
              </a:ext>
            </a:extLst>
          </p:cNvPr>
          <p:cNvSpPr/>
          <p:nvPr/>
        </p:nvSpPr>
        <p:spPr>
          <a:xfrm rot="10800000">
            <a:off x="975784" y="0"/>
            <a:ext cx="9895416" cy="821267"/>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83355" name="TextBox 78"/>
          <p:cNvSpPr txBox="1">
            <a:spLocks noChangeArrowheads="1"/>
          </p:cNvSpPr>
          <p:nvPr/>
        </p:nvSpPr>
        <p:spPr bwMode="auto">
          <a:xfrm>
            <a:off x="1121833" y="46567"/>
            <a:ext cx="10464800" cy="666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altLang="en-US" sz="3733" b="1"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BASIC TERMINOLOGIES – AXLE &amp; LOAD</a:t>
            </a:r>
          </a:p>
        </p:txBody>
      </p:sp>
      <p:sp>
        <p:nvSpPr>
          <p:cNvPr id="80" name="Rectangle 79">
            <a:extLst>
              <a:ext uri="{FF2B5EF4-FFF2-40B4-BE49-F238E27FC236}">
                <a16:creationId xmlns:a16="http://schemas.microsoft.com/office/drawing/2014/main" id="{640360F7-C2CA-45C2-A270-8E634A802907}"/>
              </a:ext>
            </a:extLst>
          </p:cNvPr>
          <p:cNvSpPr/>
          <p:nvPr/>
        </p:nvSpPr>
        <p:spPr>
          <a:xfrm>
            <a:off x="-33867" y="3640667"/>
            <a:ext cx="12225867" cy="93133"/>
          </a:xfrm>
          <a:prstGeom prst="rect">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5685358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Parallelogram 69"/>
          <p:cNvSpPr/>
          <p:nvPr/>
        </p:nvSpPr>
        <p:spPr>
          <a:xfrm>
            <a:off x="-146051" y="3668185"/>
            <a:ext cx="1587501" cy="554567"/>
          </a:xfrm>
          <a:prstGeom prst="parallelogram">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10X2</a:t>
            </a:r>
          </a:p>
        </p:txBody>
      </p:sp>
      <p:sp>
        <p:nvSpPr>
          <p:cNvPr id="72" name="Rectangle 71"/>
          <p:cNvSpPr/>
          <p:nvPr/>
        </p:nvSpPr>
        <p:spPr>
          <a:xfrm>
            <a:off x="3094568" y="3843867"/>
            <a:ext cx="5693833" cy="46778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75" name="Rectangle 74"/>
          <p:cNvSpPr/>
          <p:nvPr/>
        </p:nvSpPr>
        <p:spPr>
          <a:xfrm>
            <a:off x="3556001" y="3670300"/>
            <a:ext cx="82551"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2" name="Rectangle 1"/>
          <p:cNvSpPr/>
          <p:nvPr/>
        </p:nvSpPr>
        <p:spPr>
          <a:xfrm>
            <a:off x="3314701" y="3903134"/>
            <a:ext cx="412751" cy="33443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3" name="Isosceles Triangle 2"/>
          <p:cNvSpPr/>
          <p:nvPr/>
        </p:nvSpPr>
        <p:spPr>
          <a:xfrm rot="5400000">
            <a:off x="3657601" y="3968751"/>
            <a:ext cx="332316" cy="20531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97" name="Rectangle 96"/>
          <p:cNvSpPr/>
          <p:nvPr/>
        </p:nvSpPr>
        <p:spPr>
          <a:xfrm>
            <a:off x="7048501" y="3644900"/>
            <a:ext cx="82551" cy="797984"/>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99" name="Rectangle: Rounded Corners 98"/>
          <p:cNvSpPr/>
          <p:nvPr/>
        </p:nvSpPr>
        <p:spPr>
          <a:xfrm>
            <a:off x="3234267" y="4472518"/>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0" name="Rectangle: Rounded Corners 99"/>
          <p:cNvSpPr/>
          <p:nvPr/>
        </p:nvSpPr>
        <p:spPr>
          <a:xfrm>
            <a:off x="3219452" y="3469218"/>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1" name="Rectangle: Rounded Corners 100"/>
          <p:cNvSpPr/>
          <p:nvPr/>
        </p:nvSpPr>
        <p:spPr>
          <a:xfrm>
            <a:off x="6716185" y="4449234"/>
            <a:ext cx="755649"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2" name="Rectangle: Rounded Corners 101"/>
          <p:cNvSpPr/>
          <p:nvPr/>
        </p:nvSpPr>
        <p:spPr>
          <a:xfrm>
            <a:off x="6701367" y="3445934"/>
            <a:ext cx="755651"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3" name="Rectangle: Rounded Corners 102"/>
          <p:cNvSpPr/>
          <p:nvPr/>
        </p:nvSpPr>
        <p:spPr>
          <a:xfrm>
            <a:off x="6701367" y="3238501"/>
            <a:ext cx="755651"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4" name="Rectangle: Rounded Corners 103"/>
          <p:cNvSpPr/>
          <p:nvPr/>
        </p:nvSpPr>
        <p:spPr>
          <a:xfrm>
            <a:off x="6716185" y="4671485"/>
            <a:ext cx="755649" cy="198967"/>
          </a:xfrm>
          <a:prstGeom prst="roundRect">
            <a:avLst/>
          </a:prstGeom>
          <a:solidFill>
            <a:srgbClr val="C000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5" name="Rectangle 104"/>
          <p:cNvSpPr/>
          <p:nvPr/>
        </p:nvSpPr>
        <p:spPr>
          <a:xfrm>
            <a:off x="8132234" y="3644900"/>
            <a:ext cx="82551" cy="797984"/>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6" name="Rectangle: Rounded Corners 105"/>
          <p:cNvSpPr/>
          <p:nvPr/>
        </p:nvSpPr>
        <p:spPr>
          <a:xfrm>
            <a:off x="7799918" y="4449234"/>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7" name="Rectangle: Rounded Corners 106"/>
          <p:cNvSpPr/>
          <p:nvPr/>
        </p:nvSpPr>
        <p:spPr>
          <a:xfrm>
            <a:off x="7785100" y="3445934"/>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8" name="Rectangle: Rounded Corners 107"/>
          <p:cNvSpPr/>
          <p:nvPr/>
        </p:nvSpPr>
        <p:spPr>
          <a:xfrm>
            <a:off x="7785100" y="3238501"/>
            <a:ext cx="755651"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09" name="Rectangle: Rounded Corners 108"/>
          <p:cNvSpPr/>
          <p:nvPr/>
        </p:nvSpPr>
        <p:spPr>
          <a:xfrm>
            <a:off x="7799918" y="4671485"/>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8" name="Oval 7"/>
          <p:cNvSpPr/>
          <p:nvPr/>
        </p:nvSpPr>
        <p:spPr>
          <a:xfrm>
            <a:off x="6944785" y="3873501"/>
            <a:ext cx="289983" cy="319617"/>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111" name="Rectangle 110"/>
          <p:cNvSpPr/>
          <p:nvPr/>
        </p:nvSpPr>
        <p:spPr>
          <a:xfrm>
            <a:off x="3158067" y="2332567"/>
            <a:ext cx="787400" cy="4191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7T</a:t>
            </a:r>
          </a:p>
        </p:txBody>
      </p:sp>
      <p:sp>
        <p:nvSpPr>
          <p:cNvPr id="112" name="Rectangle 111"/>
          <p:cNvSpPr/>
          <p:nvPr/>
        </p:nvSpPr>
        <p:spPr>
          <a:xfrm>
            <a:off x="6826251" y="2332567"/>
            <a:ext cx="1532467" cy="4191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1 T</a:t>
            </a:r>
          </a:p>
        </p:txBody>
      </p:sp>
      <p:sp>
        <p:nvSpPr>
          <p:cNvPr id="184342" name="TextBox 8"/>
          <p:cNvSpPr txBox="1">
            <a:spLocks noChangeArrowheads="1"/>
          </p:cNvSpPr>
          <p:nvPr/>
        </p:nvSpPr>
        <p:spPr bwMode="auto">
          <a:xfrm>
            <a:off x="9687984" y="3668185"/>
            <a:ext cx="1210588"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altLang="en-US" sz="4400" b="1"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42 T</a:t>
            </a:r>
          </a:p>
        </p:txBody>
      </p:sp>
      <p:sp>
        <p:nvSpPr>
          <p:cNvPr id="10" name="TextBox 9"/>
          <p:cNvSpPr txBox="1"/>
          <p:nvPr/>
        </p:nvSpPr>
        <p:spPr>
          <a:xfrm>
            <a:off x="6538385" y="4866217"/>
            <a:ext cx="1039067" cy="300210"/>
          </a:xfrm>
          <a:prstGeom prst="rect">
            <a:avLst/>
          </a:prstGeom>
          <a:noFill/>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rive Axle</a:t>
            </a:r>
          </a:p>
        </p:txBody>
      </p:sp>
      <p:sp>
        <p:nvSpPr>
          <p:cNvPr id="50" name="Rectangle 49"/>
          <p:cNvSpPr/>
          <p:nvPr/>
        </p:nvSpPr>
        <p:spPr>
          <a:xfrm>
            <a:off x="3742267" y="4044952"/>
            <a:ext cx="3289300" cy="4444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56" name="Rectangle 55"/>
          <p:cNvSpPr/>
          <p:nvPr/>
        </p:nvSpPr>
        <p:spPr>
          <a:xfrm>
            <a:off x="4660901" y="3657600"/>
            <a:ext cx="82551" cy="797984"/>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57" name="Rectangle: Rounded Corners 56"/>
          <p:cNvSpPr/>
          <p:nvPr/>
        </p:nvSpPr>
        <p:spPr>
          <a:xfrm>
            <a:off x="4337052" y="4459818"/>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58" name="Rectangle: Rounded Corners 57"/>
          <p:cNvSpPr/>
          <p:nvPr/>
        </p:nvSpPr>
        <p:spPr>
          <a:xfrm>
            <a:off x="4324352" y="3456518"/>
            <a:ext cx="755649" cy="198967"/>
          </a:xfrm>
          <a:prstGeom prst="roundRect">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63" name="Rectangle 62"/>
          <p:cNvSpPr/>
          <p:nvPr/>
        </p:nvSpPr>
        <p:spPr>
          <a:xfrm>
            <a:off x="4309534" y="2332567"/>
            <a:ext cx="785284" cy="4191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7T</a:t>
            </a:r>
          </a:p>
        </p:txBody>
      </p:sp>
      <p:sp>
        <p:nvSpPr>
          <p:cNvPr id="83" name="Rectangle 82"/>
          <p:cNvSpPr/>
          <p:nvPr/>
        </p:nvSpPr>
        <p:spPr>
          <a:xfrm>
            <a:off x="5877984" y="3649133"/>
            <a:ext cx="82549" cy="795867"/>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84" name="Rectangle: Rounded Corners 83"/>
          <p:cNvSpPr/>
          <p:nvPr/>
        </p:nvSpPr>
        <p:spPr>
          <a:xfrm>
            <a:off x="5554133" y="4451351"/>
            <a:ext cx="755651" cy="198967"/>
          </a:xfrm>
          <a:prstGeom prst="roundRect">
            <a:avLst/>
          </a:prstGeom>
          <a:solidFill>
            <a:srgbClr val="FFFF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85" name="Rectangle: Rounded Corners 84"/>
          <p:cNvSpPr/>
          <p:nvPr/>
        </p:nvSpPr>
        <p:spPr>
          <a:xfrm>
            <a:off x="5541433" y="3448051"/>
            <a:ext cx="755651" cy="198967"/>
          </a:xfrm>
          <a:prstGeom prst="roundRect">
            <a:avLst/>
          </a:prstGeom>
          <a:solidFill>
            <a:srgbClr val="FFFF00"/>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86" name="Rectangle 85"/>
          <p:cNvSpPr/>
          <p:nvPr/>
        </p:nvSpPr>
        <p:spPr>
          <a:xfrm>
            <a:off x="5524500" y="2332567"/>
            <a:ext cx="787400" cy="4191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7T</a:t>
            </a:r>
          </a:p>
        </p:txBody>
      </p:sp>
      <p:sp>
        <p:nvSpPr>
          <p:cNvPr id="42" name="Rectangle: Top Corners Snipped 41">
            <a:extLst>
              <a:ext uri="{FF2B5EF4-FFF2-40B4-BE49-F238E27FC236}">
                <a16:creationId xmlns:a16="http://schemas.microsoft.com/office/drawing/2014/main" id="{12CD5A79-ED20-4017-9C75-07C6A77454E1}"/>
              </a:ext>
            </a:extLst>
          </p:cNvPr>
          <p:cNvSpPr/>
          <p:nvPr/>
        </p:nvSpPr>
        <p:spPr>
          <a:xfrm rot="10800000">
            <a:off x="975784" y="0"/>
            <a:ext cx="9895416" cy="821267"/>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84354" name="TextBox 42"/>
          <p:cNvSpPr txBox="1">
            <a:spLocks noChangeArrowheads="1"/>
          </p:cNvSpPr>
          <p:nvPr/>
        </p:nvSpPr>
        <p:spPr bwMode="auto">
          <a:xfrm>
            <a:off x="1121833" y="46567"/>
            <a:ext cx="10464800" cy="666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altLang="en-US" sz="3733" b="1"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BASIC TERMINOLOGIES – AXLE &amp; LOAD</a:t>
            </a:r>
          </a:p>
        </p:txBody>
      </p:sp>
    </p:spTree>
    <p:extLst>
      <p:ext uri="{BB962C8B-B14F-4D97-AF65-F5344CB8AC3E}">
        <p14:creationId xmlns:p14="http://schemas.microsoft.com/office/powerpoint/2010/main" val="30115233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609594" y="-5"/>
            <a:ext cx="8459673" cy="978397"/>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p:cNvSpPr txBox="1"/>
          <p:nvPr/>
        </p:nvSpPr>
        <p:spPr>
          <a:xfrm>
            <a:off x="687125" y="124413"/>
            <a:ext cx="8073044" cy="666786"/>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BASIC AUTOMOTIVE TECHNOLOGY</a:t>
            </a:r>
            <a:endParaRPr kumimoji="0" lang="en-US" sz="37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2" name="Rectangle 1"/>
          <p:cNvSpPr/>
          <p:nvPr/>
        </p:nvSpPr>
        <p:spPr>
          <a:xfrm>
            <a:off x="77525" y="1397000"/>
            <a:ext cx="6120075" cy="5283200"/>
          </a:xfrm>
          <a:prstGeom prst="rect">
            <a:avLst/>
          </a:prstGeom>
          <a:solidFill>
            <a:schemeClr val="accent5">
              <a:lumMod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733"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HIS SECTION IS SPLIT INTO </a:t>
            </a:r>
            <a:r>
              <a:rPr kumimoji="0" lang="en-US" sz="18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 </a:t>
            </a:r>
            <a:endParaRPr kumimoji="0" lang="en-US" sz="37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733"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DIFFERENT PARTS </a:t>
            </a:r>
          </a:p>
        </p:txBody>
      </p:sp>
      <p:sp>
        <p:nvSpPr>
          <p:cNvPr id="49" name="Rectangle 48"/>
          <p:cNvSpPr/>
          <p:nvPr/>
        </p:nvSpPr>
        <p:spPr>
          <a:xfrm>
            <a:off x="6299200" y="4140200"/>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rPr>
              <a:t>AGGREGATES</a:t>
            </a:r>
          </a:p>
        </p:txBody>
      </p:sp>
      <p:sp>
        <p:nvSpPr>
          <p:cNvPr id="50" name="Rectangle 49"/>
          <p:cNvSpPr/>
          <p:nvPr/>
        </p:nvSpPr>
        <p:spPr>
          <a:xfrm>
            <a:off x="6299200" y="5461000"/>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rPr>
              <a:t>AGGREGATE MATRIX</a:t>
            </a:r>
          </a:p>
        </p:txBody>
      </p:sp>
      <p:sp>
        <p:nvSpPr>
          <p:cNvPr id="51" name="Rectangle 50"/>
          <p:cNvSpPr/>
          <p:nvPr/>
        </p:nvSpPr>
        <p:spPr>
          <a:xfrm>
            <a:off x="6299200" y="2781300"/>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RODUCT MATRIX</a:t>
            </a:r>
          </a:p>
        </p:txBody>
      </p:sp>
      <p:sp>
        <p:nvSpPr>
          <p:cNvPr id="6" name="Rectangle 5"/>
          <p:cNvSpPr/>
          <p:nvPr/>
        </p:nvSpPr>
        <p:spPr>
          <a:xfrm>
            <a:off x="6299200" y="1435571"/>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rPr>
              <a:t>ARCHITECTURE &amp; APPLICATION</a:t>
            </a:r>
          </a:p>
        </p:txBody>
      </p:sp>
    </p:spTree>
    <p:extLst>
      <p:ext uri="{BB962C8B-B14F-4D97-AF65-F5344CB8AC3E}">
        <p14:creationId xmlns:p14="http://schemas.microsoft.com/office/powerpoint/2010/main" val="27644476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784" y="0"/>
            <a:ext cx="9895416" cy="821267"/>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85347" name="TextBox 9"/>
          <p:cNvSpPr txBox="1">
            <a:spLocks noChangeArrowheads="1"/>
          </p:cNvSpPr>
          <p:nvPr/>
        </p:nvSpPr>
        <p:spPr bwMode="auto">
          <a:xfrm>
            <a:off x="1121833" y="46567"/>
            <a:ext cx="10464800" cy="666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5800">
              <a:defRPr>
                <a:solidFill>
                  <a:schemeClr val="tx1"/>
                </a:solidFill>
                <a:latin typeface="Calibri" panose="020F0502020204030204" pitchFamily="34" charset="0"/>
              </a:defRPr>
            </a:lvl1pPr>
            <a:lvl2pPr marL="742950" indent="-285750" defTabSz="685800">
              <a:defRPr>
                <a:solidFill>
                  <a:schemeClr val="tx1"/>
                </a:solidFill>
                <a:latin typeface="Calibri" panose="020F0502020204030204" pitchFamily="34" charset="0"/>
              </a:defRPr>
            </a:lvl2pPr>
            <a:lvl3pPr marL="1143000" indent="-228600" defTabSz="685800">
              <a:defRPr>
                <a:solidFill>
                  <a:schemeClr val="tx1"/>
                </a:solidFill>
                <a:latin typeface="Calibri" panose="020F0502020204030204" pitchFamily="34" charset="0"/>
              </a:defRPr>
            </a:lvl3pPr>
            <a:lvl4pPr marL="1600200" indent="-228600" defTabSz="685800">
              <a:defRPr>
                <a:solidFill>
                  <a:schemeClr val="tx1"/>
                </a:solidFill>
                <a:latin typeface="Calibri" panose="020F0502020204030204" pitchFamily="34" charset="0"/>
              </a:defRPr>
            </a:lvl4pPr>
            <a:lvl5pPr marL="2057400" indent="-228600" defTabSz="685800">
              <a:defRPr>
                <a:solidFill>
                  <a:schemeClr val="tx1"/>
                </a:solidFill>
                <a:latin typeface="Calibri" panose="020F0502020204030204" pitchFamily="34" charset="0"/>
              </a:defRPr>
            </a:lvl5pPr>
            <a:lvl6pPr marL="2514600" indent="-228600" defTabSz="685800" fontAlgn="base">
              <a:spcBef>
                <a:spcPct val="0"/>
              </a:spcBef>
              <a:spcAft>
                <a:spcPct val="0"/>
              </a:spcAft>
              <a:defRPr>
                <a:solidFill>
                  <a:schemeClr val="tx1"/>
                </a:solidFill>
                <a:latin typeface="Calibri" panose="020F0502020204030204" pitchFamily="34" charset="0"/>
              </a:defRPr>
            </a:lvl6pPr>
            <a:lvl7pPr marL="2971800" indent="-228600" defTabSz="685800" fontAlgn="base">
              <a:spcBef>
                <a:spcPct val="0"/>
              </a:spcBef>
              <a:spcAft>
                <a:spcPct val="0"/>
              </a:spcAft>
              <a:defRPr>
                <a:solidFill>
                  <a:schemeClr val="tx1"/>
                </a:solidFill>
                <a:latin typeface="Calibri" panose="020F0502020204030204" pitchFamily="34" charset="0"/>
              </a:defRPr>
            </a:lvl7pPr>
            <a:lvl8pPr marL="3429000" indent="-228600" defTabSz="685800" fontAlgn="base">
              <a:spcBef>
                <a:spcPct val="0"/>
              </a:spcBef>
              <a:spcAft>
                <a:spcPct val="0"/>
              </a:spcAft>
              <a:defRPr>
                <a:solidFill>
                  <a:schemeClr val="tx1"/>
                </a:solidFill>
                <a:latin typeface="Calibri" panose="020F0502020204030204" pitchFamily="34" charset="0"/>
              </a:defRPr>
            </a:lvl8pPr>
            <a:lvl9pPr marL="3886200" indent="-228600" defTabSz="685800" fontAlgn="base">
              <a:spcBef>
                <a:spcPct val="0"/>
              </a:spcBef>
              <a:spcAft>
                <a:spcPct val="0"/>
              </a:spcAft>
              <a:defRPr>
                <a:solidFill>
                  <a:schemeClr val="tx1"/>
                </a:solidFill>
                <a:latin typeface="Calibri" panose="020F0502020204030204" pitchFamily="34" charset="0"/>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altLang="en-US" sz="3733" b="1"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PRODUCT RANGE</a:t>
            </a:r>
          </a:p>
        </p:txBody>
      </p:sp>
      <p:graphicFrame>
        <p:nvGraphicFramePr>
          <p:cNvPr id="8" name="Diagram 7"/>
          <p:cNvGraphicFramePr/>
          <p:nvPr/>
        </p:nvGraphicFramePr>
        <p:xfrm>
          <a:off x="250176" y="1092201"/>
          <a:ext cx="11433824" cy="54864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225394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2" y="-5"/>
            <a:ext cx="9895667"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121467" y="47247"/>
            <a:ext cx="10464800"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PRODUCT COVERAGE</a:t>
            </a:r>
          </a:p>
        </p:txBody>
      </p:sp>
      <p:graphicFrame>
        <p:nvGraphicFramePr>
          <p:cNvPr id="5" name="Diagram 4"/>
          <p:cNvGraphicFramePr/>
          <p:nvPr/>
        </p:nvGraphicFramePr>
        <p:xfrm>
          <a:off x="812800" y="1397000"/>
          <a:ext cx="10972800" cy="4775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90068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9B914AA-1A45-4276-A7F6-30AD60DF0AA1}"/>
              </a:ext>
            </a:extLst>
          </p:cNvPr>
          <p:cNvSpPr/>
          <p:nvPr/>
        </p:nvSpPr>
        <p:spPr>
          <a:xfrm>
            <a:off x="42127" y="1337073"/>
            <a:ext cx="12017168" cy="67507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dirty="0">
                <a:ln>
                  <a:noFill/>
                </a:ln>
                <a:solidFill>
                  <a:prstClr val="white"/>
                </a:solidFill>
                <a:effectLst/>
                <a:uLnTx/>
                <a:uFillTx/>
                <a:latin typeface="Calibri" panose="020F0502020204030204"/>
                <a:ea typeface="+mn-ea"/>
                <a:cs typeface="+mn-cs"/>
              </a:rPr>
              <a:t>HAULAGE RANGE</a:t>
            </a:r>
          </a:p>
        </p:txBody>
      </p:sp>
      <p:sp>
        <p:nvSpPr>
          <p:cNvPr id="7" name="Parallelogram 6">
            <a:extLst>
              <a:ext uri="{FF2B5EF4-FFF2-40B4-BE49-F238E27FC236}">
                <a16:creationId xmlns:a16="http://schemas.microsoft.com/office/drawing/2014/main" id="{761964C5-704A-4262-A5F4-F7FCCE75F08C}"/>
              </a:ext>
            </a:extLst>
          </p:cNvPr>
          <p:cNvSpPr/>
          <p:nvPr/>
        </p:nvSpPr>
        <p:spPr>
          <a:xfrm>
            <a:off x="-50398" y="53394"/>
            <a:ext cx="9711843" cy="542559"/>
          </a:xfrm>
          <a:prstGeom prst="parallelogram">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arallelogram 7">
            <a:extLst>
              <a:ext uri="{FF2B5EF4-FFF2-40B4-BE49-F238E27FC236}">
                <a16:creationId xmlns:a16="http://schemas.microsoft.com/office/drawing/2014/main" id="{1B90ED6E-F537-42DA-97D0-357848DEBB1B}"/>
              </a:ext>
            </a:extLst>
          </p:cNvPr>
          <p:cNvSpPr/>
          <p:nvPr/>
        </p:nvSpPr>
        <p:spPr>
          <a:xfrm>
            <a:off x="-149898" y="-20088"/>
            <a:ext cx="9711843" cy="573128"/>
          </a:xfrm>
          <a:prstGeom prst="parallelogram">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HAULAGE &amp; MAV RANGE</a:t>
            </a:r>
          </a:p>
        </p:txBody>
      </p:sp>
      <p:sp>
        <p:nvSpPr>
          <p:cNvPr id="3" name="Rectangle 2">
            <a:extLst>
              <a:ext uri="{FF2B5EF4-FFF2-40B4-BE49-F238E27FC236}">
                <a16:creationId xmlns:a16="http://schemas.microsoft.com/office/drawing/2014/main" id="{2E3E1634-95D6-4E59-A6CB-3CAD3E7E5BFD}"/>
              </a:ext>
            </a:extLst>
          </p:cNvPr>
          <p:cNvSpPr/>
          <p:nvPr/>
        </p:nvSpPr>
        <p:spPr>
          <a:xfrm>
            <a:off x="42127" y="1156584"/>
            <a:ext cx="12017168" cy="67507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35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HAULAGE &amp; MAV</a:t>
            </a:r>
            <a:r>
              <a:rPr kumimoji="0" lang="en-US" sz="3599"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r>
              <a:rPr kumimoji="0" lang="en-US" sz="35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RANGE</a:t>
            </a:r>
          </a:p>
        </p:txBody>
      </p:sp>
      <p:pic>
        <p:nvPicPr>
          <p:cNvPr id="106" name="Picture 105">
            <a:extLst>
              <a:ext uri="{FF2B5EF4-FFF2-40B4-BE49-F238E27FC236}">
                <a16:creationId xmlns:a16="http://schemas.microsoft.com/office/drawing/2014/main" id="{35C7D51A-23FE-4310-9C62-F3BFAA23855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437418" y="80705"/>
            <a:ext cx="621879" cy="622040"/>
          </a:xfrm>
          <a:prstGeom prst="rect">
            <a:avLst/>
          </a:prstGeom>
        </p:spPr>
      </p:pic>
      <p:cxnSp>
        <p:nvCxnSpPr>
          <p:cNvPr id="76" name="Straight Connector 75">
            <a:extLst>
              <a:ext uri="{FF2B5EF4-FFF2-40B4-BE49-F238E27FC236}">
                <a16:creationId xmlns:a16="http://schemas.microsoft.com/office/drawing/2014/main" id="{69A358BF-7006-4748-81D1-F83FE96DDC44}"/>
              </a:ext>
            </a:extLst>
          </p:cNvPr>
          <p:cNvCxnSpPr/>
          <p:nvPr/>
        </p:nvCxnSpPr>
        <p:spPr>
          <a:xfrm>
            <a:off x="9637553" y="4142515"/>
            <a:ext cx="218079" cy="6396"/>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0885CA7-4312-49D8-BBA1-F001CF30ED80}"/>
              </a:ext>
            </a:extLst>
          </p:cNvPr>
          <p:cNvCxnSpPr/>
          <p:nvPr/>
        </p:nvCxnSpPr>
        <p:spPr>
          <a:xfrm>
            <a:off x="9636225" y="5406087"/>
            <a:ext cx="218079" cy="6396"/>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8721259" y="6473850"/>
            <a:ext cx="3477234" cy="30777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U and N cabin comes with AC option</a:t>
            </a:r>
          </a:p>
        </p:txBody>
      </p:sp>
      <p:sp>
        <p:nvSpPr>
          <p:cNvPr id="19" name="Rectangle 18">
            <a:extLst>
              <a:ext uri="{FF2B5EF4-FFF2-40B4-BE49-F238E27FC236}">
                <a16:creationId xmlns:a16="http://schemas.microsoft.com/office/drawing/2014/main" id="{3068FB00-AEA1-4A09-AEA2-0783AA61BDF3}"/>
              </a:ext>
            </a:extLst>
          </p:cNvPr>
          <p:cNvSpPr/>
          <p:nvPr/>
        </p:nvSpPr>
        <p:spPr>
          <a:xfrm>
            <a:off x="38602" y="3022453"/>
            <a:ext cx="1088505" cy="3867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9" name="Rectangle 8">
            <a:extLst>
              <a:ext uri="{FF2B5EF4-FFF2-40B4-BE49-F238E27FC236}">
                <a16:creationId xmlns:a16="http://schemas.microsoft.com/office/drawing/2014/main" id="{D45D1B39-E66C-48C8-9FED-F245CF760E00}"/>
              </a:ext>
            </a:extLst>
          </p:cNvPr>
          <p:cNvSpPr/>
          <p:nvPr/>
        </p:nvSpPr>
        <p:spPr>
          <a:xfrm>
            <a:off x="38602" y="2897461"/>
            <a:ext cx="1088505" cy="38670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X2</a:t>
            </a:r>
          </a:p>
        </p:txBody>
      </p:sp>
      <p:sp>
        <p:nvSpPr>
          <p:cNvPr id="26" name="Rectangle 25">
            <a:extLst>
              <a:ext uri="{FF2B5EF4-FFF2-40B4-BE49-F238E27FC236}">
                <a16:creationId xmlns:a16="http://schemas.microsoft.com/office/drawing/2014/main" id="{5052F7C3-14A3-48FB-A607-024418549C36}"/>
              </a:ext>
            </a:extLst>
          </p:cNvPr>
          <p:cNvSpPr/>
          <p:nvPr/>
        </p:nvSpPr>
        <p:spPr>
          <a:xfrm>
            <a:off x="201337" y="3861486"/>
            <a:ext cx="947415" cy="46125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27" name="Rectangle 26">
            <a:extLst>
              <a:ext uri="{FF2B5EF4-FFF2-40B4-BE49-F238E27FC236}">
                <a16:creationId xmlns:a16="http://schemas.microsoft.com/office/drawing/2014/main" id="{853B5DD4-D975-495D-A3E1-8AED76CA70A4}"/>
              </a:ext>
            </a:extLst>
          </p:cNvPr>
          <p:cNvSpPr/>
          <p:nvPr/>
        </p:nvSpPr>
        <p:spPr>
          <a:xfrm>
            <a:off x="201337" y="3746687"/>
            <a:ext cx="947415" cy="46125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1920</a:t>
            </a:r>
            <a:r>
              <a:rPr kumimoji="0" lang="en-US" sz="11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p>
        </p:txBody>
      </p:sp>
      <p:sp>
        <p:nvSpPr>
          <p:cNvPr id="87" name="Oval 86">
            <a:extLst>
              <a:ext uri="{FF2B5EF4-FFF2-40B4-BE49-F238E27FC236}">
                <a16:creationId xmlns:a16="http://schemas.microsoft.com/office/drawing/2014/main" id="{3E628115-08B8-4FAE-A6E9-937A673EB79E}"/>
              </a:ext>
            </a:extLst>
          </p:cNvPr>
          <p:cNvSpPr/>
          <p:nvPr/>
        </p:nvSpPr>
        <p:spPr>
          <a:xfrm>
            <a:off x="546009" y="3607205"/>
            <a:ext cx="127235" cy="149275"/>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7" name="Straight Connector 106">
            <a:extLst>
              <a:ext uri="{FF2B5EF4-FFF2-40B4-BE49-F238E27FC236}">
                <a16:creationId xmlns:a16="http://schemas.microsoft.com/office/drawing/2014/main" id="{970740E1-E6D3-4DFA-8454-AD176103391A}"/>
              </a:ext>
            </a:extLst>
          </p:cNvPr>
          <p:cNvCxnSpPr>
            <a:cxnSpLocks/>
          </p:cNvCxnSpPr>
          <p:nvPr/>
        </p:nvCxnSpPr>
        <p:spPr>
          <a:xfrm flipH="1">
            <a:off x="596927" y="3409157"/>
            <a:ext cx="12808" cy="354787"/>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58C49890-7813-4D19-920D-C963E4BCDFA1}"/>
              </a:ext>
            </a:extLst>
          </p:cNvPr>
          <p:cNvCxnSpPr>
            <a:cxnSpLocks/>
          </p:cNvCxnSpPr>
          <p:nvPr/>
        </p:nvCxnSpPr>
        <p:spPr>
          <a:xfrm flipH="1">
            <a:off x="36892" y="3306208"/>
            <a:ext cx="1538" cy="766307"/>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7B14240F-F1E2-4D7A-8BED-C45B864726C7}"/>
              </a:ext>
            </a:extLst>
          </p:cNvPr>
          <p:cNvCxnSpPr>
            <a:cxnSpLocks/>
          </p:cNvCxnSpPr>
          <p:nvPr/>
        </p:nvCxnSpPr>
        <p:spPr>
          <a:xfrm>
            <a:off x="20188" y="4072515"/>
            <a:ext cx="217123" cy="0"/>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sp>
        <p:nvSpPr>
          <p:cNvPr id="204" name="Oval 203">
            <a:extLst>
              <a:ext uri="{FF2B5EF4-FFF2-40B4-BE49-F238E27FC236}">
                <a16:creationId xmlns:a16="http://schemas.microsoft.com/office/drawing/2014/main" id="{96AFDE2C-E60A-4141-958F-BAE606E6AE01}"/>
              </a:ext>
            </a:extLst>
          </p:cNvPr>
          <p:cNvSpPr/>
          <p:nvPr/>
        </p:nvSpPr>
        <p:spPr>
          <a:xfrm>
            <a:off x="122212" y="3991429"/>
            <a:ext cx="112193" cy="178243"/>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8" name="Group 47"/>
          <p:cNvGrpSpPr/>
          <p:nvPr/>
        </p:nvGrpSpPr>
        <p:grpSpPr>
          <a:xfrm>
            <a:off x="360232" y="2011989"/>
            <a:ext cx="445243" cy="928825"/>
            <a:chOff x="360232" y="2011988"/>
            <a:chExt cx="445242" cy="928825"/>
          </a:xfrm>
        </p:grpSpPr>
        <p:sp>
          <p:nvSpPr>
            <p:cNvPr id="45" name="Isosceles Triangle 44"/>
            <p:cNvSpPr/>
            <p:nvPr/>
          </p:nvSpPr>
          <p:spPr>
            <a:xfrm flipV="1">
              <a:off x="360232" y="2011988"/>
              <a:ext cx="445242" cy="221605"/>
            </a:xfrm>
            <a:prstGeom prst="triangle">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7" name="Straight Connector 46"/>
            <p:cNvCxnSpPr/>
            <p:nvPr/>
          </p:nvCxnSpPr>
          <p:spPr>
            <a:xfrm>
              <a:off x="582853" y="2210559"/>
              <a:ext cx="1" cy="730254"/>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a:off x="2465749" y="1995511"/>
            <a:ext cx="1088652" cy="3161285"/>
            <a:chOff x="2288296" y="2008691"/>
            <a:chExt cx="1088652" cy="3161285"/>
          </a:xfrm>
        </p:grpSpPr>
        <p:sp>
          <p:nvSpPr>
            <p:cNvPr id="20" name="Rectangle 19">
              <a:extLst>
                <a:ext uri="{FF2B5EF4-FFF2-40B4-BE49-F238E27FC236}">
                  <a16:creationId xmlns:a16="http://schemas.microsoft.com/office/drawing/2014/main" id="{290CB94D-E085-40CC-BA4C-FFE76D7B7D68}"/>
                </a:ext>
              </a:extLst>
            </p:cNvPr>
            <p:cNvSpPr/>
            <p:nvPr/>
          </p:nvSpPr>
          <p:spPr>
            <a:xfrm>
              <a:off x="2298571" y="3120059"/>
              <a:ext cx="1057609" cy="34875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21" name="Rectangle 20">
              <a:extLst>
                <a:ext uri="{FF2B5EF4-FFF2-40B4-BE49-F238E27FC236}">
                  <a16:creationId xmlns:a16="http://schemas.microsoft.com/office/drawing/2014/main" id="{4879366F-2FA9-4DDE-803D-33B5ED9115FF}"/>
                </a:ext>
              </a:extLst>
            </p:cNvPr>
            <p:cNvSpPr/>
            <p:nvPr/>
          </p:nvSpPr>
          <p:spPr>
            <a:xfrm>
              <a:off x="2298572" y="2874747"/>
              <a:ext cx="1057609" cy="43971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6X2</a:t>
              </a:r>
            </a:p>
          </p:txBody>
        </p:sp>
        <p:cxnSp>
          <p:nvCxnSpPr>
            <p:cNvPr id="56" name="Straight Connector 55">
              <a:extLst>
                <a:ext uri="{FF2B5EF4-FFF2-40B4-BE49-F238E27FC236}">
                  <a16:creationId xmlns:a16="http://schemas.microsoft.com/office/drawing/2014/main" id="{58C49890-7813-4D19-920D-C963E4BCDFA1}"/>
                </a:ext>
              </a:extLst>
            </p:cNvPr>
            <p:cNvCxnSpPr>
              <a:cxnSpLocks/>
            </p:cNvCxnSpPr>
            <p:nvPr/>
          </p:nvCxnSpPr>
          <p:spPr>
            <a:xfrm>
              <a:off x="2295420" y="3280308"/>
              <a:ext cx="9064" cy="1614336"/>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89357F5-6589-4BF4-AADD-E310770E7A46}"/>
                </a:ext>
              </a:extLst>
            </p:cNvPr>
            <p:cNvCxnSpPr/>
            <p:nvPr/>
          </p:nvCxnSpPr>
          <p:spPr>
            <a:xfrm>
              <a:off x="2306351" y="3891878"/>
              <a:ext cx="191253" cy="5235"/>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A9E75CD9-FD80-4861-919C-033136D1201B}"/>
                </a:ext>
              </a:extLst>
            </p:cNvPr>
            <p:cNvSpPr/>
            <p:nvPr/>
          </p:nvSpPr>
          <p:spPr>
            <a:xfrm>
              <a:off x="2390053" y="3827531"/>
              <a:ext cx="109142" cy="152954"/>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Rectangle 108">
              <a:extLst>
                <a:ext uri="{FF2B5EF4-FFF2-40B4-BE49-F238E27FC236}">
                  <a16:creationId xmlns:a16="http://schemas.microsoft.com/office/drawing/2014/main" id="{72B79E2C-EB80-448E-BF09-7B9E10B31E26}"/>
                </a:ext>
              </a:extLst>
            </p:cNvPr>
            <p:cNvSpPr/>
            <p:nvPr/>
          </p:nvSpPr>
          <p:spPr>
            <a:xfrm>
              <a:off x="2481480" y="4881391"/>
              <a:ext cx="872105" cy="28858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13" name="Rectangle 112">
              <a:extLst>
                <a:ext uri="{FF2B5EF4-FFF2-40B4-BE49-F238E27FC236}">
                  <a16:creationId xmlns:a16="http://schemas.microsoft.com/office/drawing/2014/main" id="{782EC558-7C9C-45F0-BFB5-0022EF17B6AB}"/>
                </a:ext>
              </a:extLst>
            </p:cNvPr>
            <p:cNvSpPr/>
            <p:nvPr/>
          </p:nvSpPr>
          <p:spPr>
            <a:xfrm>
              <a:off x="2481480" y="4765225"/>
              <a:ext cx="872105" cy="28858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825</a:t>
              </a:r>
            </a:p>
          </p:txBody>
        </p:sp>
        <p:cxnSp>
          <p:nvCxnSpPr>
            <p:cNvPr id="119" name="Straight Connector 118">
              <a:extLst>
                <a:ext uri="{FF2B5EF4-FFF2-40B4-BE49-F238E27FC236}">
                  <a16:creationId xmlns:a16="http://schemas.microsoft.com/office/drawing/2014/main" id="{7B14240F-F1E2-4D7A-8BED-C45B864726C7}"/>
                </a:ext>
              </a:extLst>
            </p:cNvPr>
            <p:cNvCxnSpPr>
              <a:cxnSpLocks/>
            </p:cNvCxnSpPr>
            <p:nvPr/>
          </p:nvCxnSpPr>
          <p:spPr>
            <a:xfrm>
              <a:off x="2288296" y="4895491"/>
              <a:ext cx="191253" cy="5235"/>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96AFDE2C-E60A-4141-958F-BAE606E6AE01}"/>
                </a:ext>
              </a:extLst>
            </p:cNvPr>
            <p:cNvSpPr/>
            <p:nvPr/>
          </p:nvSpPr>
          <p:spPr>
            <a:xfrm>
              <a:off x="2371998" y="4831145"/>
              <a:ext cx="109142" cy="152954"/>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Rectangle 89">
              <a:extLst>
                <a:ext uri="{FF2B5EF4-FFF2-40B4-BE49-F238E27FC236}">
                  <a16:creationId xmlns:a16="http://schemas.microsoft.com/office/drawing/2014/main" id="{87B8DACF-9EC8-4E57-A94C-517A44001AB8}"/>
                </a:ext>
              </a:extLst>
            </p:cNvPr>
            <p:cNvSpPr/>
            <p:nvPr/>
          </p:nvSpPr>
          <p:spPr>
            <a:xfrm>
              <a:off x="2510679" y="3750618"/>
              <a:ext cx="866269" cy="4927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91" name="Rectangle 90">
              <a:extLst>
                <a:ext uri="{FF2B5EF4-FFF2-40B4-BE49-F238E27FC236}">
                  <a16:creationId xmlns:a16="http://schemas.microsoft.com/office/drawing/2014/main" id="{0C4D403F-BFE9-41E7-A1A5-102918BF717F}"/>
                </a:ext>
              </a:extLst>
            </p:cNvPr>
            <p:cNvSpPr/>
            <p:nvPr/>
          </p:nvSpPr>
          <p:spPr>
            <a:xfrm>
              <a:off x="2510679" y="3634452"/>
              <a:ext cx="866269" cy="49278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820 </a:t>
              </a:r>
            </a:p>
          </p:txBody>
        </p:sp>
        <p:grpSp>
          <p:nvGrpSpPr>
            <p:cNvPr id="208" name="Group 207"/>
            <p:cNvGrpSpPr/>
            <p:nvPr/>
          </p:nvGrpSpPr>
          <p:grpSpPr>
            <a:xfrm>
              <a:off x="2610343" y="2008691"/>
              <a:ext cx="445242" cy="928825"/>
              <a:chOff x="360232" y="2011988"/>
              <a:chExt cx="445242" cy="928825"/>
            </a:xfrm>
          </p:grpSpPr>
          <p:sp>
            <p:nvSpPr>
              <p:cNvPr id="209" name="Isosceles Triangle 208"/>
              <p:cNvSpPr/>
              <p:nvPr/>
            </p:nvSpPr>
            <p:spPr>
              <a:xfrm flipV="1">
                <a:off x="360232" y="2011988"/>
                <a:ext cx="445242" cy="221605"/>
              </a:xfrm>
              <a:prstGeom prst="triangle">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10" name="Straight Connector 209"/>
              <p:cNvCxnSpPr/>
              <p:nvPr/>
            </p:nvCxnSpPr>
            <p:spPr>
              <a:xfrm>
                <a:off x="582853" y="2210559"/>
                <a:ext cx="1" cy="730254"/>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grpSp>
      </p:grpSp>
      <p:grpSp>
        <p:nvGrpSpPr>
          <p:cNvPr id="50" name="Group 49"/>
          <p:cNvGrpSpPr/>
          <p:nvPr/>
        </p:nvGrpSpPr>
        <p:grpSpPr>
          <a:xfrm>
            <a:off x="1266721" y="1995511"/>
            <a:ext cx="1033892" cy="2579667"/>
            <a:chOff x="3516241" y="2008691"/>
            <a:chExt cx="1033892" cy="2579666"/>
          </a:xfrm>
        </p:grpSpPr>
        <p:sp>
          <p:nvSpPr>
            <p:cNvPr id="168" name="Rectangle 167">
              <a:extLst>
                <a:ext uri="{FF2B5EF4-FFF2-40B4-BE49-F238E27FC236}">
                  <a16:creationId xmlns:a16="http://schemas.microsoft.com/office/drawing/2014/main" id="{3068FB00-AEA1-4A09-AEA2-0783AA61BDF3}"/>
                </a:ext>
              </a:extLst>
            </p:cNvPr>
            <p:cNvSpPr/>
            <p:nvPr/>
          </p:nvSpPr>
          <p:spPr>
            <a:xfrm>
              <a:off x="3516241" y="3019226"/>
              <a:ext cx="939703" cy="44324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69" name="Rectangle 168">
              <a:extLst>
                <a:ext uri="{FF2B5EF4-FFF2-40B4-BE49-F238E27FC236}">
                  <a16:creationId xmlns:a16="http://schemas.microsoft.com/office/drawing/2014/main" id="{D45D1B39-E66C-48C8-9FED-F245CF760E00}"/>
                </a:ext>
              </a:extLst>
            </p:cNvPr>
            <p:cNvSpPr/>
            <p:nvPr/>
          </p:nvSpPr>
          <p:spPr>
            <a:xfrm>
              <a:off x="3516241" y="2875960"/>
              <a:ext cx="939703" cy="44324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25000" noProof="0" dirty="0">
                <a:ln>
                  <a:noFill/>
                </a:ln>
                <a:solidFill>
                  <a:prstClr val="white"/>
                </a:solidFill>
                <a:effectLst/>
                <a:uLnTx/>
                <a:uFillTx/>
                <a:latin typeface="Century Gothic" panose="020B0502020202020204" pitchFamily="34" charset="0"/>
                <a:ea typeface="+mn-ea"/>
                <a:cs typeface="+mn-cs"/>
              </a:endParaRPr>
            </a:p>
          </p:txBody>
        </p:sp>
        <p:sp>
          <p:nvSpPr>
            <p:cNvPr id="170" name="Rectangle 169">
              <a:extLst>
                <a:ext uri="{FF2B5EF4-FFF2-40B4-BE49-F238E27FC236}">
                  <a16:creationId xmlns:a16="http://schemas.microsoft.com/office/drawing/2014/main" id="{5052F7C3-14A3-48FB-A607-024418549C36}"/>
                </a:ext>
              </a:extLst>
            </p:cNvPr>
            <p:cNvSpPr/>
            <p:nvPr/>
          </p:nvSpPr>
          <p:spPr>
            <a:xfrm>
              <a:off x="3592384" y="3980618"/>
              <a:ext cx="843491" cy="60773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71" name="Rectangle 170">
              <a:extLst>
                <a:ext uri="{FF2B5EF4-FFF2-40B4-BE49-F238E27FC236}">
                  <a16:creationId xmlns:a16="http://schemas.microsoft.com/office/drawing/2014/main" id="{853B5DD4-D975-495D-A3E1-8AED76CA70A4}"/>
                </a:ext>
              </a:extLst>
            </p:cNvPr>
            <p:cNvSpPr/>
            <p:nvPr/>
          </p:nvSpPr>
          <p:spPr>
            <a:xfrm>
              <a:off x="3592384" y="3849037"/>
              <a:ext cx="843491" cy="60773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620 STLA</a:t>
              </a:r>
              <a:r>
                <a:rPr kumimoji="0" lang="en-US" sz="11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p>
          </p:txBody>
        </p:sp>
        <p:sp>
          <p:nvSpPr>
            <p:cNvPr id="173" name="Oval 172">
              <a:extLst>
                <a:ext uri="{FF2B5EF4-FFF2-40B4-BE49-F238E27FC236}">
                  <a16:creationId xmlns:a16="http://schemas.microsoft.com/office/drawing/2014/main" id="{3E628115-08B8-4FAE-A6E9-937A673EB79E}"/>
                </a:ext>
              </a:extLst>
            </p:cNvPr>
            <p:cNvSpPr/>
            <p:nvPr/>
          </p:nvSpPr>
          <p:spPr>
            <a:xfrm>
              <a:off x="3927697" y="3704756"/>
              <a:ext cx="145004" cy="151667"/>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74" name="Straight Connector 173">
              <a:extLst>
                <a:ext uri="{FF2B5EF4-FFF2-40B4-BE49-F238E27FC236}">
                  <a16:creationId xmlns:a16="http://schemas.microsoft.com/office/drawing/2014/main" id="{970740E1-E6D3-4DFA-8454-AD176103391A}"/>
                </a:ext>
              </a:extLst>
            </p:cNvPr>
            <p:cNvCxnSpPr>
              <a:cxnSpLocks/>
            </p:cNvCxnSpPr>
            <p:nvPr/>
          </p:nvCxnSpPr>
          <p:spPr>
            <a:xfrm flipH="1">
              <a:off x="3998242" y="3462467"/>
              <a:ext cx="11057" cy="406656"/>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54" name="TextBox 153"/>
            <p:cNvSpPr txBox="1"/>
            <p:nvPr/>
          </p:nvSpPr>
          <p:spPr>
            <a:xfrm>
              <a:off x="3542948" y="2899045"/>
              <a:ext cx="1007185" cy="553998"/>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6X2</a:t>
              </a:r>
              <a:r>
                <a:rPr kumimoji="0" lang="en-US" sz="9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LA</a:t>
              </a:r>
              <a:endParaRPr kumimoji="0" lang="en-US" sz="2800" b="1" i="0" u="none" strike="noStrike" kern="1200" cap="none" spc="0" normalizeH="0" baseline="-25000" noProof="0" dirty="0">
                <a:ln>
                  <a:noFill/>
                </a:ln>
                <a:solidFill>
                  <a:prstClr val="white"/>
                </a:solidFill>
                <a:effectLst/>
                <a:uLnTx/>
                <a:uFillTx/>
                <a:latin typeface="Century Gothic" panose="020B0502020202020204" pitchFamily="34" charset="0"/>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11" name="Group 210"/>
            <p:cNvGrpSpPr/>
            <p:nvPr/>
          </p:nvGrpSpPr>
          <p:grpSpPr>
            <a:xfrm>
              <a:off x="3765993" y="2008691"/>
              <a:ext cx="445242" cy="928825"/>
              <a:chOff x="360232" y="2011988"/>
              <a:chExt cx="445242" cy="928825"/>
            </a:xfrm>
          </p:grpSpPr>
          <p:sp>
            <p:nvSpPr>
              <p:cNvPr id="212" name="Isosceles Triangle 211"/>
              <p:cNvSpPr/>
              <p:nvPr/>
            </p:nvSpPr>
            <p:spPr>
              <a:xfrm flipV="1">
                <a:off x="360232" y="2011988"/>
                <a:ext cx="445242" cy="221605"/>
              </a:xfrm>
              <a:prstGeom prst="triangle">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13" name="Straight Connector 212"/>
              <p:cNvCxnSpPr/>
              <p:nvPr/>
            </p:nvCxnSpPr>
            <p:spPr>
              <a:xfrm>
                <a:off x="582853" y="2210559"/>
                <a:ext cx="1" cy="730254"/>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grpSp>
      </p:grpSp>
      <p:grpSp>
        <p:nvGrpSpPr>
          <p:cNvPr id="58" name="Group 57"/>
          <p:cNvGrpSpPr/>
          <p:nvPr/>
        </p:nvGrpSpPr>
        <p:grpSpPr>
          <a:xfrm>
            <a:off x="6490641" y="1994506"/>
            <a:ext cx="1331688" cy="4650933"/>
            <a:chOff x="7037759" y="2007989"/>
            <a:chExt cx="1331688" cy="4650933"/>
          </a:xfrm>
        </p:grpSpPr>
        <p:sp>
          <p:nvSpPr>
            <p:cNvPr id="22" name="Rectangle 21">
              <a:extLst>
                <a:ext uri="{FF2B5EF4-FFF2-40B4-BE49-F238E27FC236}">
                  <a16:creationId xmlns:a16="http://schemas.microsoft.com/office/drawing/2014/main" id="{4FEA2D1B-4EB3-4F3B-B3BC-B154673DFE7D}"/>
                </a:ext>
              </a:extLst>
            </p:cNvPr>
            <p:cNvSpPr/>
            <p:nvPr/>
          </p:nvSpPr>
          <p:spPr>
            <a:xfrm>
              <a:off x="7043824" y="3017938"/>
              <a:ext cx="1299417" cy="41680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23" name="Rectangle 22">
              <a:extLst>
                <a:ext uri="{FF2B5EF4-FFF2-40B4-BE49-F238E27FC236}">
                  <a16:creationId xmlns:a16="http://schemas.microsoft.com/office/drawing/2014/main" id="{29486637-2F93-4BB1-988B-AB73EC8CAF44}"/>
                </a:ext>
              </a:extLst>
            </p:cNvPr>
            <p:cNvSpPr/>
            <p:nvPr/>
          </p:nvSpPr>
          <p:spPr>
            <a:xfrm>
              <a:off x="7043824" y="2871350"/>
              <a:ext cx="1299417" cy="41680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8X2</a:t>
              </a:r>
            </a:p>
          </p:txBody>
        </p:sp>
        <p:cxnSp>
          <p:nvCxnSpPr>
            <p:cNvPr id="54" name="Straight Connector 53">
              <a:extLst>
                <a:ext uri="{FF2B5EF4-FFF2-40B4-BE49-F238E27FC236}">
                  <a16:creationId xmlns:a16="http://schemas.microsoft.com/office/drawing/2014/main" id="{A6E47126-C85C-411F-83DE-7288114B3FF2}"/>
                </a:ext>
              </a:extLst>
            </p:cNvPr>
            <p:cNvCxnSpPr>
              <a:cxnSpLocks/>
            </p:cNvCxnSpPr>
            <p:nvPr/>
          </p:nvCxnSpPr>
          <p:spPr>
            <a:xfrm>
              <a:off x="7052706" y="3386989"/>
              <a:ext cx="1496" cy="2996426"/>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EFA3BF1-1854-424D-8B79-B823D84C12F2}"/>
                </a:ext>
              </a:extLst>
            </p:cNvPr>
            <p:cNvCxnSpPr/>
            <p:nvPr/>
          </p:nvCxnSpPr>
          <p:spPr>
            <a:xfrm>
              <a:off x="7050925" y="4148034"/>
              <a:ext cx="231077" cy="6606"/>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D0B78FE-9A4F-4358-AC70-ECFE1F58F92A}"/>
                </a:ext>
              </a:extLst>
            </p:cNvPr>
            <p:cNvCxnSpPr>
              <a:cxnSpLocks/>
            </p:cNvCxnSpPr>
            <p:nvPr/>
          </p:nvCxnSpPr>
          <p:spPr>
            <a:xfrm>
              <a:off x="7037759" y="4899311"/>
              <a:ext cx="228164" cy="1597"/>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F414F78-EB52-4186-80FF-682F4ED7825A}"/>
                </a:ext>
              </a:extLst>
            </p:cNvPr>
            <p:cNvCxnSpPr>
              <a:cxnSpLocks/>
            </p:cNvCxnSpPr>
            <p:nvPr/>
          </p:nvCxnSpPr>
          <p:spPr>
            <a:xfrm>
              <a:off x="7056309" y="5642509"/>
              <a:ext cx="228164" cy="1597"/>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E91C1A96-35C8-4B5C-8B70-B91A238CE171}"/>
                </a:ext>
              </a:extLst>
            </p:cNvPr>
            <p:cNvCxnSpPr>
              <a:cxnSpLocks/>
            </p:cNvCxnSpPr>
            <p:nvPr/>
          </p:nvCxnSpPr>
          <p:spPr>
            <a:xfrm>
              <a:off x="7050322" y="6369992"/>
              <a:ext cx="272637" cy="7250"/>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sp>
          <p:nvSpPr>
            <p:cNvPr id="124" name="Oval 123">
              <a:extLst>
                <a:ext uri="{FF2B5EF4-FFF2-40B4-BE49-F238E27FC236}">
                  <a16:creationId xmlns:a16="http://schemas.microsoft.com/office/drawing/2014/main" id="{9088C0F1-1B8A-435B-B1FB-7E2B8B7E4B57}"/>
                </a:ext>
              </a:extLst>
            </p:cNvPr>
            <p:cNvSpPr/>
            <p:nvPr/>
          </p:nvSpPr>
          <p:spPr>
            <a:xfrm>
              <a:off x="7174160" y="4058134"/>
              <a:ext cx="131868" cy="193012"/>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5" name="Oval 124">
              <a:extLst>
                <a:ext uri="{FF2B5EF4-FFF2-40B4-BE49-F238E27FC236}">
                  <a16:creationId xmlns:a16="http://schemas.microsoft.com/office/drawing/2014/main" id="{09D56BE3-324E-4231-AB2F-BE784F86D5E0}"/>
                </a:ext>
              </a:extLst>
            </p:cNvPr>
            <p:cNvSpPr/>
            <p:nvPr/>
          </p:nvSpPr>
          <p:spPr>
            <a:xfrm>
              <a:off x="7183541" y="4776205"/>
              <a:ext cx="145563" cy="210260"/>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Oval 125">
              <a:extLst>
                <a:ext uri="{FF2B5EF4-FFF2-40B4-BE49-F238E27FC236}">
                  <a16:creationId xmlns:a16="http://schemas.microsoft.com/office/drawing/2014/main" id="{8E6C9EB0-DF2C-4847-BE80-F0368C464898}"/>
                </a:ext>
              </a:extLst>
            </p:cNvPr>
            <p:cNvSpPr/>
            <p:nvPr/>
          </p:nvSpPr>
          <p:spPr>
            <a:xfrm>
              <a:off x="7177364" y="5524154"/>
              <a:ext cx="131868" cy="193012"/>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Oval 126">
              <a:extLst>
                <a:ext uri="{FF2B5EF4-FFF2-40B4-BE49-F238E27FC236}">
                  <a16:creationId xmlns:a16="http://schemas.microsoft.com/office/drawing/2014/main" id="{8C8D263F-E827-48A0-9E1D-604A84A40974}"/>
                </a:ext>
              </a:extLst>
            </p:cNvPr>
            <p:cNvSpPr/>
            <p:nvPr/>
          </p:nvSpPr>
          <p:spPr>
            <a:xfrm>
              <a:off x="7189745" y="6286909"/>
              <a:ext cx="131868" cy="193012"/>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2" name="Rectangle 131">
              <a:extLst>
                <a:ext uri="{FF2B5EF4-FFF2-40B4-BE49-F238E27FC236}">
                  <a16:creationId xmlns:a16="http://schemas.microsoft.com/office/drawing/2014/main" id="{F6C23A04-F209-44BF-8285-6B124396E4E4}"/>
                </a:ext>
              </a:extLst>
            </p:cNvPr>
            <p:cNvSpPr/>
            <p:nvPr/>
          </p:nvSpPr>
          <p:spPr>
            <a:xfrm>
              <a:off x="7315011" y="6300918"/>
              <a:ext cx="1043612" cy="35800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3" name="Rectangle 132">
              <a:extLst>
                <a:ext uri="{FF2B5EF4-FFF2-40B4-BE49-F238E27FC236}">
                  <a16:creationId xmlns:a16="http://schemas.microsoft.com/office/drawing/2014/main" id="{36372595-5F37-45B6-B84B-9687D25A0204}"/>
                </a:ext>
              </a:extLst>
            </p:cNvPr>
            <p:cNvSpPr/>
            <p:nvPr/>
          </p:nvSpPr>
          <p:spPr>
            <a:xfrm>
              <a:off x="7315011" y="6154330"/>
              <a:ext cx="1043612" cy="3580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3525 </a:t>
              </a:r>
              <a:r>
                <a:rPr kumimoji="0" lang="en-US" sz="1051"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LA)</a:t>
              </a:r>
            </a:p>
          </p:txBody>
        </p:sp>
        <p:sp>
          <p:nvSpPr>
            <p:cNvPr id="134" name="Rectangle 133">
              <a:extLst>
                <a:ext uri="{FF2B5EF4-FFF2-40B4-BE49-F238E27FC236}">
                  <a16:creationId xmlns:a16="http://schemas.microsoft.com/office/drawing/2014/main" id="{ABE63E96-A163-47CD-AB49-E3E2854FA358}"/>
                </a:ext>
              </a:extLst>
            </p:cNvPr>
            <p:cNvSpPr/>
            <p:nvPr/>
          </p:nvSpPr>
          <p:spPr>
            <a:xfrm>
              <a:off x="7319894" y="5532781"/>
              <a:ext cx="1043612" cy="35800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5" name="Rectangle 134">
              <a:extLst>
                <a:ext uri="{FF2B5EF4-FFF2-40B4-BE49-F238E27FC236}">
                  <a16:creationId xmlns:a16="http://schemas.microsoft.com/office/drawing/2014/main" id="{5C11752A-57B8-4BED-AB1C-FB0B5E0D9748}"/>
                </a:ext>
              </a:extLst>
            </p:cNvPr>
            <p:cNvSpPr/>
            <p:nvPr/>
          </p:nvSpPr>
          <p:spPr>
            <a:xfrm>
              <a:off x="7319894" y="5386193"/>
              <a:ext cx="1043612" cy="3580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3525</a:t>
              </a:r>
              <a:endPar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6" name="Rectangle 135">
              <a:extLst>
                <a:ext uri="{FF2B5EF4-FFF2-40B4-BE49-F238E27FC236}">
                  <a16:creationId xmlns:a16="http://schemas.microsoft.com/office/drawing/2014/main" id="{2AC1F1E6-AEBB-4594-9903-3C29822E1132}"/>
                </a:ext>
              </a:extLst>
            </p:cNvPr>
            <p:cNvSpPr/>
            <p:nvPr/>
          </p:nvSpPr>
          <p:spPr>
            <a:xfrm>
              <a:off x="7307865" y="4692790"/>
              <a:ext cx="1061582" cy="6218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7" name="Rectangle 136">
              <a:extLst>
                <a:ext uri="{FF2B5EF4-FFF2-40B4-BE49-F238E27FC236}">
                  <a16:creationId xmlns:a16="http://schemas.microsoft.com/office/drawing/2014/main" id="{4673ED1C-B908-4894-91A9-4D0979155F19}"/>
                </a:ext>
              </a:extLst>
            </p:cNvPr>
            <p:cNvSpPr/>
            <p:nvPr/>
          </p:nvSpPr>
          <p:spPr>
            <a:xfrm>
              <a:off x="7307865" y="4546200"/>
              <a:ext cx="1061582" cy="62183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3520 (LA)</a:t>
              </a:r>
            </a:p>
          </p:txBody>
        </p:sp>
        <p:sp>
          <p:nvSpPr>
            <p:cNvPr id="138" name="Rectangle 137">
              <a:extLst>
                <a:ext uri="{FF2B5EF4-FFF2-40B4-BE49-F238E27FC236}">
                  <a16:creationId xmlns:a16="http://schemas.microsoft.com/office/drawing/2014/main" id="{25CB2C08-5156-4031-AC8B-D4EFA3179CAF}"/>
                </a:ext>
              </a:extLst>
            </p:cNvPr>
            <p:cNvSpPr/>
            <p:nvPr/>
          </p:nvSpPr>
          <p:spPr>
            <a:xfrm>
              <a:off x="7313012" y="3865073"/>
              <a:ext cx="1056435" cy="62183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9" name="Rectangle 138">
              <a:extLst>
                <a:ext uri="{FF2B5EF4-FFF2-40B4-BE49-F238E27FC236}">
                  <a16:creationId xmlns:a16="http://schemas.microsoft.com/office/drawing/2014/main" id="{4202A598-50AD-4D8C-B9C9-9A3E071B10CF}"/>
                </a:ext>
              </a:extLst>
            </p:cNvPr>
            <p:cNvSpPr/>
            <p:nvPr/>
          </p:nvSpPr>
          <p:spPr>
            <a:xfrm>
              <a:off x="7313012" y="3718484"/>
              <a:ext cx="1056435" cy="62183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3520 (TS) </a:t>
              </a:r>
            </a:p>
          </p:txBody>
        </p:sp>
        <p:grpSp>
          <p:nvGrpSpPr>
            <p:cNvPr id="220" name="Group 219"/>
            <p:cNvGrpSpPr/>
            <p:nvPr/>
          </p:nvGrpSpPr>
          <p:grpSpPr>
            <a:xfrm>
              <a:off x="7470911" y="2007989"/>
              <a:ext cx="445242" cy="928825"/>
              <a:chOff x="360232" y="2011988"/>
              <a:chExt cx="445242" cy="928825"/>
            </a:xfrm>
          </p:grpSpPr>
          <p:sp>
            <p:nvSpPr>
              <p:cNvPr id="221" name="Isosceles Triangle 220"/>
              <p:cNvSpPr/>
              <p:nvPr/>
            </p:nvSpPr>
            <p:spPr>
              <a:xfrm flipV="1">
                <a:off x="360232" y="2011988"/>
                <a:ext cx="445242" cy="221605"/>
              </a:xfrm>
              <a:prstGeom prst="triangle">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22" name="Straight Connector 221"/>
              <p:cNvCxnSpPr/>
              <p:nvPr/>
            </p:nvCxnSpPr>
            <p:spPr>
              <a:xfrm>
                <a:off x="582853" y="2210559"/>
                <a:ext cx="1" cy="730254"/>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grpSp>
      </p:grpSp>
      <p:grpSp>
        <p:nvGrpSpPr>
          <p:cNvPr id="234" name="Group 233"/>
          <p:cNvGrpSpPr/>
          <p:nvPr/>
        </p:nvGrpSpPr>
        <p:grpSpPr>
          <a:xfrm>
            <a:off x="7985663" y="2007990"/>
            <a:ext cx="1159171" cy="2489733"/>
            <a:chOff x="8430032" y="2007598"/>
            <a:chExt cx="1159170" cy="2489733"/>
          </a:xfrm>
        </p:grpSpPr>
        <p:sp>
          <p:nvSpPr>
            <p:cNvPr id="159" name="Rectangle 158">
              <a:extLst>
                <a:ext uri="{FF2B5EF4-FFF2-40B4-BE49-F238E27FC236}">
                  <a16:creationId xmlns:a16="http://schemas.microsoft.com/office/drawing/2014/main" id="{3068FB00-AEA1-4A09-AEA2-0783AA61BDF3}"/>
                </a:ext>
              </a:extLst>
            </p:cNvPr>
            <p:cNvSpPr/>
            <p:nvPr/>
          </p:nvSpPr>
          <p:spPr>
            <a:xfrm>
              <a:off x="8430032" y="2992796"/>
              <a:ext cx="1143943" cy="41354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60" name="Rectangle 159">
              <a:extLst>
                <a:ext uri="{FF2B5EF4-FFF2-40B4-BE49-F238E27FC236}">
                  <a16:creationId xmlns:a16="http://schemas.microsoft.com/office/drawing/2014/main" id="{D45D1B39-E66C-48C8-9FED-F245CF760E00}"/>
                </a:ext>
              </a:extLst>
            </p:cNvPr>
            <p:cNvSpPr/>
            <p:nvPr/>
          </p:nvSpPr>
          <p:spPr>
            <a:xfrm>
              <a:off x="8430032" y="2859131"/>
              <a:ext cx="1143943" cy="41354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25000" noProof="0" dirty="0">
                <a:ln>
                  <a:noFill/>
                </a:ln>
                <a:solidFill>
                  <a:prstClr val="white"/>
                </a:solidFill>
                <a:effectLst/>
                <a:uLnTx/>
                <a:uFillTx/>
                <a:latin typeface="Century Gothic" panose="020B0502020202020204" pitchFamily="34" charset="0"/>
                <a:ea typeface="+mn-ea"/>
                <a:cs typeface="+mn-cs"/>
              </a:endParaRPr>
            </a:p>
          </p:txBody>
        </p:sp>
        <p:sp>
          <p:nvSpPr>
            <p:cNvPr id="161" name="Rectangle 160">
              <a:extLst>
                <a:ext uri="{FF2B5EF4-FFF2-40B4-BE49-F238E27FC236}">
                  <a16:creationId xmlns:a16="http://schemas.microsoft.com/office/drawing/2014/main" id="{5052F7C3-14A3-48FB-A607-024418549C36}"/>
                </a:ext>
              </a:extLst>
            </p:cNvPr>
            <p:cNvSpPr/>
            <p:nvPr/>
          </p:nvSpPr>
          <p:spPr>
            <a:xfrm>
              <a:off x="8522724" y="3889764"/>
              <a:ext cx="1026819" cy="56701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62" name="Rectangle 161">
              <a:extLst>
                <a:ext uri="{FF2B5EF4-FFF2-40B4-BE49-F238E27FC236}">
                  <a16:creationId xmlns:a16="http://schemas.microsoft.com/office/drawing/2014/main" id="{853B5DD4-D975-495D-A3E1-8AED76CA70A4}"/>
                </a:ext>
              </a:extLst>
            </p:cNvPr>
            <p:cNvSpPr/>
            <p:nvPr/>
          </p:nvSpPr>
          <p:spPr>
            <a:xfrm>
              <a:off x="8522724" y="3767000"/>
              <a:ext cx="1026819" cy="56701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120</a:t>
              </a:r>
              <a:r>
                <a:rPr kumimoji="0" lang="en-US" sz="11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p>
          </p:txBody>
        </p:sp>
        <p:sp>
          <p:nvSpPr>
            <p:cNvPr id="164" name="Oval 163">
              <a:extLst>
                <a:ext uri="{FF2B5EF4-FFF2-40B4-BE49-F238E27FC236}">
                  <a16:creationId xmlns:a16="http://schemas.microsoft.com/office/drawing/2014/main" id="{3E628115-08B8-4FAE-A6E9-937A673EB79E}"/>
                </a:ext>
              </a:extLst>
            </p:cNvPr>
            <p:cNvSpPr/>
            <p:nvPr/>
          </p:nvSpPr>
          <p:spPr>
            <a:xfrm>
              <a:off x="8956014" y="3610145"/>
              <a:ext cx="121558" cy="175595"/>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65" name="Straight Connector 164">
              <a:extLst>
                <a:ext uri="{FF2B5EF4-FFF2-40B4-BE49-F238E27FC236}">
                  <a16:creationId xmlns:a16="http://schemas.microsoft.com/office/drawing/2014/main" id="{970740E1-E6D3-4DFA-8454-AD176103391A}"/>
                </a:ext>
              </a:extLst>
            </p:cNvPr>
            <p:cNvCxnSpPr>
              <a:cxnSpLocks/>
            </p:cNvCxnSpPr>
            <p:nvPr/>
          </p:nvCxnSpPr>
          <p:spPr>
            <a:xfrm flipH="1">
              <a:off x="9016794" y="3406335"/>
              <a:ext cx="13461" cy="379405"/>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6" name="TextBox 165"/>
            <p:cNvSpPr txBox="1"/>
            <p:nvPr/>
          </p:nvSpPr>
          <p:spPr>
            <a:xfrm>
              <a:off x="8555981" y="2823890"/>
              <a:ext cx="987175" cy="553998"/>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8X2</a:t>
              </a:r>
              <a:r>
                <a:rPr kumimoji="0" lang="en-US" sz="9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DTLA</a:t>
              </a:r>
              <a:endParaRPr kumimoji="0" lang="en-US" sz="2800" b="1" i="0" u="none" strike="noStrike" kern="1200" cap="none" spc="0" normalizeH="0" baseline="-25000" noProof="0" dirty="0">
                <a:ln>
                  <a:noFill/>
                </a:ln>
                <a:solidFill>
                  <a:prstClr val="white"/>
                </a:solidFill>
                <a:effectLst/>
                <a:uLnTx/>
                <a:uFillTx/>
                <a:latin typeface="Century Gothic" panose="020B0502020202020204" pitchFamily="34" charset="0"/>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1" name="Rectangle 150"/>
            <p:cNvSpPr/>
            <p:nvPr/>
          </p:nvSpPr>
          <p:spPr>
            <a:xfrm>
              <a:off x="8468518" y="3719618"/>
              <a:ext cx="1120684" cy="777713"/>
            </a:xfrm>
            <a:prstGeom prst="rect">
              <a:avLst/>
            </a:prstGeom>
            <a:noFill/>
            <a:ln w="28575">
              <a:solidFill>
                <a:srgbClr val="20386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23" name="Group 222"/>
            <p:cNvGrpSpPr/>
            <p:nvPr/>
          </p:nvGrpSpPr>
          <p:grpSpPr>
            <a:xfrm>
              <a:off x="8794172" y="2007598"/>
              <a:ext cx="445242" cy="928825"/>
              <a:chOff x="360232" y="2011988"/>
              <a:chExt cx="445242" cy="928825"/>
            </a:xfrm>
          </p:grpSpPr>
          <p:sp>
            <p:nvSpPr>
              <p:cNvPr id="224" name="Isosceles Triangle 223"/>
              <p:cNvSpPr/>
              <p:nvPr/>
            </p:nvSpPr>
            <p:spPr>
              <a:xfrm flipV="1">
                <a:off x="360232" y="2011988"/>
                <a:ext cx="445242" cy="221605"/>
              </a:xfrm>
              <a:prstGeom prst="triangle">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25" name="Straight Connector 224"/>
              <p:cNvCxnSpPr/>
              <p:nvPr/>
            </p:nvCxnSpPr>
            <p:spPr>
              <a:xfrm>
                <a:off x="582853" y="2210559"/>
                <a:ext cx="1" cy="730254"/>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grpSp>
      </p:grpSp>
      <p:grpSp>
        <p:nvGrpSpPr>
          <p:cNvPr id="236" name="Group 235"/>
          <p:cNvGrpSpPr/>
          <p:nvPr/>
        </p:nvGrpSpPr>
        <p:grpSpPr>
          <a:xfrm>
            <a:off x="9401402" y="2007990"/>
            <a:ext cx="1205988" cy="3682559"/>
            <a:chOff x="9649791" y="2007989"/>
            <a:chExt cx="1205988" cy="3682558"/>
          </a:xfrm>
        </p:grpSpPr>
        <p:sp>
          <p:nvSpPr>
            <p:cNvPr id="24" name="Rectangle 23">
              <a:extLst>
                <a:ext uri="{FF2B5EF4-FFF2-40B4-BE49-F238E27FC236}">
                  <a16:creationId xmlns:a16="http://schemas.microsoft.com/office/drawing/2014/main" id="{6F869F0F-4B30-48D9-8D64-8BD5785C08AF}"/>
                </a:ext>
              </a:extLst>
            </p:cNvPr>
            <p:cNvSpPr/>
            <p:nvPr/>
          </p:nvSpPr>
          <p:spPr>
            <a:xfrm>
              <a:off x="9655118" y="2999872"/>
              <a:ext cx="1161123" cy="40026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25" name="Rectangle 24">
              <a:extLst>
                <a:ext uri="{FF2B5EF4-FFF2-40B4-BE49-F238E27FC236}">
                  <a16:creationId xmlns:a16="http://schemas.microsoft.com/office/drawing/2014/main" id="{D082C337-6AE5-4BD8-B982-9A14B38464BB}"/>
                </a:ext>
              </a:extLst>
            </p:cNvPr>
            <p:cNvSpPr/>
            <p:nvPr/>
          </p:nvSpPr>
          <p:spPr>
            <a:xfrm>
              <a:off x="9655118" y="2857933"/>
              <a:ext cx="1161123" cy="40026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10X2</a:t>
              </a:r>
            </a:p>
          </p:txBody>
        </p:sp>
        <p:cxnSp>
          <p:nvCxnSpPr>
            <p:cNvPr id="68" name="Straight Connector 67">
              <a:extLst>
                <a:ext uri="{FF2B5EF4-FFF2-40B4-BE49-F238E27FC236}">
                  <a16:creationId xmlns:a16="http://schemas.microsoft.com/office/drawing/2014/main" id="{E7811583-5D8C-49B7-9897-9EFC9939BA20}"/>
                </a:ext>
              </a:extLst>
            </p:cNvPr>
            <p:cNvCxnSpPr>
              <a:cxnSpLocks/>
            </p:cNvCxnSpPr>
            <p:nvPr/>
          </p:nvCxnSpPr>
          <p:spPr>
            <a:xfrm flipH="1">
              <a:off x="9649791" y="3378581"/>
              <a:ext cx="2215" cy="2027506"/>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94" name="Oval 93">
              <a:extLst>
                <a:ext uri="{FF2B5EF4-FFF2-40B4-BE49-F238E27FC236}">
                  <a16:creationId xmlns:a16="http://schemas.microsoft.com/office/drawing/2014/main" id="{5408DC51-A0BF-4432-B49C-A76180B70566}"/>
                </a:ext>
              </a:extLst>
            </p:cNvPr>
            <p:cNvSpPr/>
            <p:nvPr/>
          </p:nvSpPr>
          <p:spPr>
            <a:xfrm>
              <a:off x="9718643" y="4063216"/>
              <a:ext cx="124451" cy="186890"/>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Oval 94">
              <a:extLst>
                <a:ext uri="{FF2B5EF4-FFF2-40B4-BE49-F238E27FC236}">
                  <a16:creationId xmlns:a16="http://schemas.microsoft.com/office/drawing/2014/main" id="{1B4E97C2-FBA8-4F80-BED3-25B2BEE99CC1}"/>
                </a:ext>
              </a:extLst>
            </p:cNvPr>
            <p:cNvSpPr/>
            <p:nvPr/>
          </p:nvSpPr>
          <p:spPr>
            <a:xfrm>
              <a:off x="9735391" y="5303584"/>
              <a:ext cx="124451" cy="186890"/>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1F7C6683-AF22-4716-AEA6-625E37A0DD89}"/>
                </a:ext>
              </a:extLst>
            </p:cNvPr>
            <p:cNvSpPr/>
            <p:nvPr/>
          </p:nvSpPr>
          <p:spPr>
            <a:xfrm>
              <a:off x="9864777" y="3914254"/>
              <a:ext cx="991001" cy="60211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23" name="Rectangle 122">
              <a:extLst>
                <a:ext uri="{FF2B5EF4-FFF2-40B4-BE49-F238E27FC236}">
                  <a16:creationId xmlns:a16="http://schemas.microsoft.com/office/drawing/2014/main" id="{21B22C87-C546-473B-B107-24A45F97F7CE}"/>
                </a:ext>
              </a:extLst>
            </p:cNvPr>
            <p:cNvSpPr/>
            <p:nvPr/>
          </p:nvSpPr>
          <p:spPr>
            <a:xfrm>
              <a:off x="9864777" y="3772314"/>
              <a:ext cx="991001" cy="60211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220 </a:t>
              </a:r>
            </a:p>
          </p:txBody>
        </p:sp>
        <p:sp>
          <p:nvSpPr>
            <p:cNvPr id="130" name="Rectangle 129">
              <a:extLst>
                <a:ext uri="{FF2B5EF4-FFF2-40B4-BE49-F238E27FC236}">
                  <a16:creationId xmlns:a16="http://schemas.microsoft.com/office/drawing/2014/main" id="{70A1A72A-5973-46F7-B754-1B332A4515E7}"/>
                </a:ext>
              </a:extLst>
            </p:cNvPr>
            <p:cNvSpPr/>
            <p:nvPr/>
          </p:nvSpPr>
          <p:spPr>
            <a:xfrm>
              <a:off x="9870868" y="5343899"/>
              <a:ext cx="984911" cy="34664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1" name="Rectangle 130">
              <a:extLst>
                <a:ext uri="{FF2B5EF4-FFF2-40B4-BE49-F238E27FC236}">
                  <a16:creationId xmlns:a16="http://schemas.microsoft.com/office/drawing/2014/main" id="{D75F3ED6-7C12-49E2-A3B2-52855F677B8D}"/>
                </a:ext>
              </a:extLst>
            </p:cNvPr>
            <p:cNvSpPr/>
            <p:nvPr/>
          </p:nvSpPr>
          <p:spPr>
            <a:xfrm>
              <a:off x="9870868" y="5201960"/>
              <a:ext cx="984911" cy="34664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225</a:t>
              </a:r>
            </a:p>
          </p:txBody>
        </p:sp>
        <p:grpSp>
          <p:nvGrpSpPr>
            <p:cNvPr id="226" name="Group 225"/>
            <p:cNvGrpSpPr/>
            <p:nvPr/>
          </p:nvGrpSpPr>
          <p:grpSpPr>
            <a:xfrm>
              <a:off x="10034787" y="2007989"/>
              <a:ext cx="445242" cy="928825"/>
              <a:chOff x="360232" y="2011988"/>
              <a:chExt cx="445242" cy="928825"/>
            </a:xfrm>
          </p:grpSpPr>
          <p:sp>
            <p:nvSpPr>
              <p:cNvPr id="227" name="Isosceles Triangle 226"/>
              <p:cNvSpPr/>
              <p:nvPr/>
            </p:nvSpPr>
            <p:spPr>
              <a:xfrm flipV="1">
                <a:off x="360232" y="2011988"/>
                <a:ext cx="445242" cy="221605"/>
              </a:xfrm>
              <a:prstGeom prst="triangle">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28" name="Straight Connector 227"/>
              <p:cNvCxnSpPr/>
              <p:nvPr/>
            </p:nvCxnSpPr>
            <p:spPr>
              <a:xfrm>
                <a:off x="582853" y="2210559"/>
                <a:ext cx="1" cy="730254"/>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grpSp>
      </p:grpSp>
      <p:grpSp>
        <p:nvGrpSpPr>
          <p:cNvPr id="235" name="Group 234"/>
          <p:cNvGrpSpPr/>
          <p:nvPr/>
        </p:nvGrpSpPr>
        <p:grpSpPr>
          <a:xfrm>
            <a:off x="10806299" y="1982554"/>
            <a:ext cx="1242827" cy="3718943"/>
            <a:chOff x="10909730" y="1995510"/>
            <a:chExt cx="1242826" cy="3718943"/>
          </a:xfrm>
        </p:grpSpPr>
        <p:sp>
          <p:nvSpPr>
            <p:cNvPr id="101" name="Rectangle 100">
              <a:extLst>
                <a:ext uri="{FF2B5EF4-FFF2-40B4-BE49-F238E27FC236}">
                  <a16:creationId xmlns:a16="http://schemas.microsoft.com/office/drawing/2014/main" id="{19AE5684-3BA1-4570-B510-301A73996CA4}"/>
                </a:ext>
              </a:extLst>
            </p:cNvPr>
            <p:cNvSpPr/>
            <p:nvPr/>
          </p:nvSpPr>
          <p:spPr>
            <a:xfrm>
              <a:off x="10911284" y="3013266"/>
              <a:ext cx="1241272" cy="39225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02" name="Rectangle 101">
              <a:extLst>
                <a:ext uri="{FF2B5EF4-FFF2-40B4-BE49-F238E27FC236}">
                  <a16:creationId xmlns:a16="http://schemas.microsoft.com/office/drawing/2014/main" id="{7B4E96F4-DF9A-4DCB-8E57-CDFA1507320C}"/>
                </a:ext>
              </a:extLst>
            </p:cNvPr>
            <p:cNvSpPr/>
            <p:nvPr/>
          </p:nvSpPr>
          <p:spPr>
            <a:xfrm>
              <a:off x="10911284" y="2874166"/>
              <a:ext cx="1241272" cy="39225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10X2</a:t>
              </a:r>
              <a:r>
                <a:rPr kumimoji="0" lang="en-US" sz="9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DTLA</a:t>
              </a:r>
              <a:endPar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103" name="Straight Connector 102">
              <a:extLst>
                <a:ext uri="{FF2B5EF4-FFF2-40B4-BE49-F238E27FC236}">
                  <a16:creationId xmlns:a16="http://schemas.microsoft.com/office/drawing/2014/main" id="{90A0706A-E683-44ED-91EC-D87531BE916A}"/>
                </a:ext>
              </a:extLst>
            </p:cNvPr>
            <p:cNvCxnSpPr>
              <a:cxnSpLocks/>
            </p:cNvCxnSpPr>
            <p:nvPr/>
          </p:nvCxnSpPr>
          <p:spPr>
            <a:xfrm flipH="1">
              <a:off x="10921527" y="3345902"/>
              <a:ext cx="3086" cy="2104096"/>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31579CD0-3F96-4D85-8617-4FC9B05F3632}"/>
                </a:ext>
              </a:extLst>
            </p:cNvPr>
            <p:cNvSpPr/>
            <p:nvPr/>
          </p:nvSpPr>
          <p:spPr>
            <a:xfrm>
              <a:off x="11108796" y="5356126"/>
              <a:ext cx="1043760" cy="35832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05" name="Rectangle 104">
              <a:extLst>
                <a:ext uri="{FF2B5EF4-FFF2-40B4-BE49-F238E27FC236}">
                  <a16:creationId xmlns:a16="http://schemas.microsoft.com/office/drawing/2014/main" id="{7EABC5AB-94DD-4342-AC3F-ACE8D25C1444}"/>
                </a:ext>
              </a:extLst>
            </p:cNvPr>
            <p:cNvSpPr/>
            <p:nvPr/>
          </p:nvSpPr>
          <p:spPr>
            <a:xfrm>
              <a:off x="11108796" y="5217025"/>
              <a:ext cx="1043760" cy="35832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825 </a:t>
              </a:r>
            </a:p>
          </p:txBody>
        </p:sp>
        <p:cxnSp>
          <p:nvCxnSpPr>
            <p:cNvPr id="108" name="Straight Connector 107">
              <a:extLst>
                <a:ext uri="{FF2B5EF4-FFF2-40B4-BE49-F238E27FC236}">
                  <a16:creationId xmlns:a16="http://schemas.microsoft.com/office/drawing/2014/main" id="{3B4C563D-C217-4436-BEE3-4D56725A17B7}"/>
                </a:ext>
              </a:extLst>
            </p:cNvPr>
            <p:cNvCxnSpPr/>
            <p:nvPr/>
          </p:nvCxnSpPr>
          <p:spPr>
            <a:xfrm>
              <a:off x="10909730" y="5432250"/>
              <a:ext cx="226301" cy="6269"/>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CAEB5377-CF80-44AD-98E0-CFB146A98985}"/>
                </a:ext>
              </a:extLst>
            </p:cNvPr>
            <p:cNvSpPr/>
            <p:nvPr/>
          </p:nvSpPr>
          <p:spPr>
            <a:xfrm>
              <a:off x="11003283" y="5327773"/>
              <a:ext cx="129143" cy="183153"/>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29" name="Group 228"/>
            <p:cNvGrpSpPr/>
            <p:nvPr/>
          </p:nvGrpSpPr>
          <p:grpSpPr>
            <a:xfrm>
              <a:off x="11367832" y="1995510"/>
              <a:ext cx="445242" cy="928825"/>
              <a:chOff x="360232" y="2011988"/>
              <a:chExt cx="445242" cy="928825"/>
            </a:xfrm>
          </p:grpSpPr>
          <p:sp>
            <p:nvSpPr>
              <p:cNvPr id="230" name="Isosceles Triangle 229"/>
              <p:cNvSpPr/>
              <p:nvPr/>
            </p:nvSpPr>
            <p:spPr>
              <a:xfrm flipV="1">
                <a:off x="360232" y="2011988"/>
                <a:ext cx="445242" cy="221605"/>
              </a:xfrm>
              <a:prstGeom prst="triangle">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31" name="Straight Connector 230"/>
              <p:cNvCxnSpPr/>
              <p:nvPr/>
            </p:nvCxnSpPr>
            <p:spPr>
              <a:xfrm>
                <a:off x="582853" y="2210559"/>
                <a:ext cx="1" cy="730254"/>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grpSp>
      </p:grpSp>
      <p:grpSp>
        <p:nvGrpSpPr>
          <p:cNvPr id="57" name="Group 56"/>
          <p:cNvGrpSpPr/>
          <p:nvPr/>
        </p:nvGrpSpPr>
        <p:grpSpPr>
          <a:xfrm>
            <a:off x="5047933" y="1995511"/>
            <a:ext cx="1241939" cy="3706960"/>
            <a:chOff x="5739343" y="1995510"/>
            <a:chExt cx="1241939" cy="3706960"/>
          </a:xfrm>
        </p:grpSpPr>
        <p:sp>
          <p:nvSpPr>
            <p:cNvPr id="73" name="Rectangle 72">
              <a:extLst>
                <a:ext uri="{FF2B5EF4-FFF2-40B4-BE49-F238E27FC236}">
                  <a16:creationId xmlns:a16="http://schemas.microsoft.com/office/drawing/2014/main" id="{5BB45A69-88AD-4B5C-93EC-DE6BD2F13D22}"/>
                </a:ext>
              </a:extLst>
            </p:cNvPr>
            <p:cNvSpPr/>
            <p:nvPr/>
          </p:nvSpPr>
          <p:spPr>
            <a:xfrm>
              <a:off x="5739343" y="3030128"/>
              <a:ext cx="1191230" cy="42866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74" name="Rectangle 73">
              <a:extLst>
                <a:ext uri="{FF2B5EF4-FFF2-40B4-BE49-F238E27FC236}">
                  <a16:creationId xmlns:a16="http://schemas.microsoft.com/office/drawing/2014/main" id="{276BFC33-F256-47C0-8326-215B35D9AF8E}"/>
                </a:ext>
              </a:extLst>
            </p:cNvPr>
            <p:cNvSpPr/>
            <p:nvPr/>
          </p:nvSpPr>
          <p:spPr>
            <a:xfrm>
              <a:off x="5739343" y="2887347"/>
              <a:ext cx="1191230" cy="42866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6X4</a:t>
              </a:r>
            </a:p>
          </p:txBody>
        </p:sp>
        <p:cxnSp>
          <p:nvCxnSpPr>
            <p:cNvPr id="97" name="Straight Connector 96">
              <a:extLst>
                <a:ext uri="{FF2B5EF4-FFF2-40B4-BE49-F238E27FC236}">
                  <a16:creationId xmlns:a16="http://schemas.microsoft.com/office/drawing/2014/main" id="{4873A548-2DCF-4536-A98B-716BEC771D15}"/>
                </a:ext>
              </a:extLst>
            </p:cNvPr>
            <p:cNvCxnSpPr/>
            <p:nvPr/>
          </p:nvCxnSpPr>
          <p:spPr>
            <a:xfrm>
              <a:off x="5747122" y="4137528"/>
              <a:ext cx="216211" cy="6434"/>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sp>
          <p:nvSpPr>
            <p:cNvPr id="100" name="Oval 99">
              <a:extLst>
                <a:ext uri="{FF2B5EF4-FFF2-40B4-BE49-F238E27FC236}">
                  <a16:creationId xmlns:a16="http://schemas.microsoft.com/office/drawing/2014/main" id="{1268B64E-1543-4A60-A1E3-AB1F9D94A025}"/>
                </a:ext>
              </a:extLst>
            </p:cNvPr>
            <p:cNvSpPr/>
            <p:nvPr/>
          </p:nvSpPr>
          <p:spPr>
            <a:xfrm>
              <a:off x="5841746" y="4058438"/>
              <a:ext cx="123385" cy="188000"/>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Rectangle 114">
              <a:extLst>
                <a:ext uri="{FF2B5EF4-FFF2-40B4-BE49-F238E27FC236}">
                  <a16:creationId xmlns:a16="http://schemas.microsoft.com/office/drawing/2014/main" id="{5D9C00AB-38BA-4186-BE18-06C0F567C1FA}"/>
                </a:ext>
              </a:extLst>
            </p:cNvPr>
            <p:cNvSpPr/>
            <p:nvPr/>
          </p:nvSpPr>
          <p:spPr>
            <a:xfrm>
              <a:off x="5997042" y="5353763"/>
              <a:ext cx="976472" cy="34870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16" name="Rectangle 115">
              <a:extLst>
                <a:ext uri="{FF2B5EF4-FFF2-40B4-BE49-F238E27FC236}">
                  <a16:creationId xmlns:a16="http://schemas.microsoft.com/office/drawing/2014/main" id="{57360D81-24E5-4691-A2E3-3B89947D06D9}"/>
                </a:ext>
              </a:extLst>
            </p:cNvPr>
            <p:cNvSpPr/>
            <p:nvPr/>
          </p:nvSpPr>
          <p:spPr>
            <a:xfrm>
              <a:off x="5997042" y="5210981"/>
              <a:ext cx="976472" cy="34870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825</a:t>
              </a:r>
            </a:p>
          </p:txBody>
        </p:sp>
        <p:cxnSp>
          <p:nvCxnSpPr>
            <p:cNvPr id="117" name="Straight Connector 116">
              <a:extLst>
                <a:ext uri="{FF2B5EF4-FFF2-40B4-BE49-F238E27FC236}">
                  <a16:creationId xmlns:a16="http://schemas.microsoft.com/office/drawing/2014/main" id="{E11E7623-D2BF-44FA-8288-0F108D316502}"/>
                </a:ext>
              </a:extLst>
            </p:cNvPr>
            <p:cNvCxnSpPr>
              <a:cxnSpLocks/>
            </p:cNvCxnSpPr>
            <p:nvPr/>
          </p:nvCxnSpPr>
          <p:spPr>
            <a:xfrm>
              <a:off x="5742270" y="5401589"/>
              <a:ext cx="216211" cy="6434"/>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sp>
          <p:nvSpPr>
            <p:cNvPr id="118" name="Oval 117">
              <a:extLst>
                <a:ext uri="{FF2B5EF4-FFF2-40B4-BE49-F238E27FC236}">
                  <a16:creationId xmlns:a16="http://schemas.microsoft.com/office/drawing/2014/main" id="{529B190D-BD64-4629-89A6-5EF890E3D300}"/>
                </a:ext>
              </a:extLst>
            </p:cNvPr>
            <p:cNvSpPr/>
            <p:nvPr/>
          </p:nvSpPr>
          <p:spPr>
            <a:xfrm>
              <a:off x="5894075" y="5295331"/>
              <a:ext cx="123385" cy="188000"/>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2" name="Rectangle 91">
              <a:extLst>
                <a:ext uri="{FF2B5EF4-FFF2-40B4-BE49-F238E27FC236}">
                  <a16:creationId xmlns:a16="http://schemas.microsoft.com/office/drawing/2014/main" id="{C169E99F-C46B-4AFF-9729-35FF969097C1}"/>
                </a:ext>
              </a:extLst>
            </p:cNvPr>
            <p:cNvSpPr/>
            <p:nvPr/>
          </p:nvSpPr>
          <p:spPr>
            <a:xfrm>
              <a:off x="5963332" y="3960651"/>
              <a:ext cx="1017950" cy="60569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93" name="Rectangle 92">
              <a:extLst>
                <a:ext uri="{FF2B5EF4-FFF2-40B4-BE49-F238E27FC236}">
                  <a16:creationId xmlns:a16="http://schemas.microsoft.com/office/drawing/2014/main" id="{FD7E7FC8-28B1-4D28-951C-9A815209B0AB}"/>
                </a:ext>
              </a:extLst>
            </p:cNvPr>
            <p:cNvSpPr/>
            <p:nvPr/>
          </p:nvSpPr>
          <p:spPr>
            <a:xfrm>
              <a:off x="5963332" y="3817868"/>
              <a:ext cx="1017950" cy="60569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820 </a:t>
              </a:r>
            </a:p>
          </p:txBody>
        </p:sp>
        <p:grpSp>
          <p:nvGrpSpPr>
            <p:cNvPr id="217" name="Group 216"/>
            <p:cNvGrpSpPr/>
            <p:nvPr/>
          </p:nvGrpSpPr>
          <p:grpSpPr>
            <a:xfrm>
              <a:off x="6111290" y="1995510"/>
              <a:ext cx="445242" cy="928825"/>
              <a:chOff x="360232" y="2011988"/>
              <a:chExt cx="445242" cy="928825"/>
            </a:xfrm>
          </p:grpSpPr>
          <p:sp>
            <p:nvSpPr>
              <p:cNvPr id="218" name="Isosceles Triangle 217"/>
              <p:cNvSpPr/>
              <p:nvPr/>
            </p:nvSpPr>
            <p:spPr>
              <a:xfrm flipV="1">
                <a:off x="360232" y="2011988"/>
                <a:ext cx="445242" cy="221605"/>
              </a:xfrm>
              <a:prstGeom prst="triangle">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19" name="Straight Connector 218"/>
              <p:cNvCxnSpPr/>
              <p:nvPr/>
            </p:nvCxnSpPr>
            <p:spPr>
              <a:xfrm>
                <a:off x="582853" y="2210559"/>
                <a:ext cx="1" cy="730254"/>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grpSp>
        <p:cxnSp>
          <p:nvCxnSpPr>
            <p:cNvPr id="96" name="Straight Connector 95">
              <a:extLst>
                <a:ext uri="{FF2B5EF4-FFF2-40B4-BE49-F238E27FC236}">
                  <a16:creationId xmlns:a16="http://schemas.microsoft.com/office/drawing/2014/main" id="{FB9D72C9-6F19-4BD9-B262-DB06BB440C84}"/>
                </a:ext>
              </a:extLst>
            </p:cNvPr>
            <p:cNvCxnSpPr>
              <a:cxnSpLocks/>
            </p:cNvCxnSpPr>
            <p:nvPr/>
          </p:nvCxnSpPr>
          <p:spPr>
            <a:xfrm flipH="1">
              <a:off x="5748585" y="3391250"/>
              <a:ext cx="668" cy="2010339"/>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a:off x="3704981" y="1982554"/>
            <a:ext cx="1179351" cy="2592624"/>
            <a:chOff x="4554098" y="1995510"/>
            <a:chExt cx="1179351" cy="2592624"/>
          </a:xfrm>
        </p:grpSpPr>
        <p:sp>
          <p:nvSpPr>
            <p:cNvPr id="129" name="Rectangle 128">
              <a:extLst>
                <a:ext uri="{FF2B5EF4-FFF2-40B4-BE49-F238E27FC236}">
                  <a16:creationId xmlns:a16="http://schemas.microsoft.com/office/drawing/2014/main" id="{3068FB00-AEA1-4A09-AEA2-0783AA61BDF3}"/>
                </a:ext>
              </a:extLst>
            </p:cNvPr>
            <p:cNvSpPr/>
            <p:nvPr/>
          </p:nvSpPr>
          <p:spPr>
            <a:xfrm>
              <a:off x="4554098" y="3028374"/>
              <a:ext cx="1133591" cy="4374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40" name="Rectangle 139">
              <a:extLst>
                <a:ext uri="{FF2B5EF4-FFF2-40B4-BE49-F238E27FC236}">
                  <a16:creationId xmlns:a16="http://schemas.microsoft.com/office/drawing/2014/main" id="{D45D1B39-E66C-48C8-9FED-F245CF760E00}"/>
                </a:ext>
              </a:extLst>
            </p:cNvPr>
            <p:cNvSpPr/>
            <p:nvPr/>
          </p:nvSpPr>
          <p:spPr>
            <a:xfrm>
              <a:off x="4554098" y="2886970"/>
              <a:ext cx="1133591" cy="43748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25000" noProof="0" dirty="0">
                <a:ln>
                  <a:noFill/>
                </a:ln>
                <a:solidFill>
                  <a:prstClr val="white"/>
                </a:solidFill>
                <a:effectLst/>
                <a:uLnTx/>
                <a:uFillTx/>
                <a:latin typeface="Century Gothic" panose="020B0502020202020204" pitchFamily="34" charset="0"/>
                <a:ea typeface="+mn-ea"/>
                <a:cs typeface="+mn-cs"/>
              </a:endParaRPr>
            </a:p>
          </p:txBody>
        </p:sp>
        <p:sp>
          <p:nvSpPr>
            <p:cNvPr id="141" name="Rectangle 140">
              <a:extLst>
                <a:ext uri="{FF2B5EF4-FFF2-40B4-BE49-F238E27FC236}">
                  <a16:creationId xmlns:a16="http://schemas.microsoft.com/office/drawing/2014/main" id="{5052F7C3-14A3-48FB-A607-024418549C36}"/>
                </a:ext>
              </a:extLst>
            </p:cNvPr>
            <p:cNvSpPr/>
            <p:nvPr/>
          </p:nvSpPr>
          <p:spPr>
            <a:xfrm>
              <a:off x="4645951" y="3977274"/>
              <a:ext cx="1017527" cy="59984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42" name="Rectangle 141">
              <a:extLst>
                <a:ext uri="{FF2B5EF4-FFF2-40B4-BE49-F238E27FC236}">
                  <a16:creationId xmlns:a16="http://schemas.microsoft.com/office/drawing/2014/main" id="{853B5DD4-D975-495D-A3E1-8AED76CA70A4}"/>
                </a:ext>
              </a:extLst>
            </p:cNvPr>
            <p:cNvSpPr/>
            <p:nvPr/>
          </p:nvSpPr>
          <p:spPr>
            <a:xfrm>
              <a:off x="4645951" y="3847403"/>
              <a:ext cx="1017527" cy="59984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3120</a:t>
              </a:r>
              <a:r>
                <a:rPr kumimoji="0" lang="en-US" sz="11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p>
          </p:txBody>
        </p:sp>
        <p:sp>
          <p:nvSpPr>
            <p:cNvPr id="144" name="Oval 143">
              <a:extLst>
                <a:ext uri="{FF2B5EF4-FFF2-40B4-BE49-F238E27FC236}">
                  <a16:creationId xmlns:a16="http://schemas.microsoft.com/office/drawing/2014/main" id="{3E628115-08B8-4FAE-A6E9-937A673EB79E}"/>
                </a:ext>
              </a:extLst>
            </p:cNvPr>
            <p:cNvSpPr/>
            <p:nvPr/>
          </p:nvSpPr>
          <p:spPr>
            <a:xfrm>
              <a:off x="5075320" y="3681466"/>
              <a:ext cx="120458" cy="185761"/>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45" name="Straight Connector 144">
              <a:extLst>
                <a:ext uri="{FF2B5EF4-FFF2-40B4-BE49-F238E27FC236}">
                  <a16:creationId xmlns:a16="http://schemas.microsoft.com/office/drawing/2014/main" id="{970740E1-E6D3-4DFA-8454-AD176103391A}"/>
                </a:ext>
              </a:extLst>
            </p:cNvPr>
            <p:cNvCxnSpPr>
              <a:cxnSpLocks/>
            </p:cNvCxnSpPr>
            <p:nvPr/>
          </p:nvCxnSpPr>
          <p:spPr>
            <a:xfrm flipH="1">
              <a:off x="5135550" y="3465856"/>
              <a:ext cx="13339" cy="401372"/>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755207" y="2873761"/>
              <a:ext cx="978242" cy="553998"/>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6X2</a:t>
              </a:r>
              <a:r>
                <a:rPr kumimoji="0" lang="en-US" sz="9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DTLA</a:t>
              </a:r>
              <a:endParaRPr kumimoji="0" lang="en-US" sz="2800" b="1" i="0" u="none" strike="noStrike" kern="1200" cap="none" spc="0" normalizeH="0" baseline="-25000" noProof="0" dirty="0">
                <a:ln>
                  <a:noFill/>
                </a:ln>
                <a:solidFill>
                  <a:prstClr val="white"/>
                </a:solidFill>
                <a:effectLst/>
                <a:uLnTx/>
                <a:uFillTx/>
                <a:latin typeface="Century Gothic" panose="020B0502020202020204" pitchFamily="34" charset="0"/>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14" name="Group 213"/>
            <p:cNvGrpSpPr/>
            <p:nvPr/>
          </p:nvGrpSpPr>
          <p:grpSpPr>
            <a:xfrm>
              <a:off x="4947279" y="1995510"/>
              <a:ext cx="445242" cy="928825"/>
              <a:chOff x="360232" y="2011988"/>
              <a:chExt cx="445242" cy="928825"/>
            </a:xfrm>
          </p:grpSpPr>
          <p:sp>
            <p:nvSpPr>
              <p:cNvPr id="215" name="Isosceles Triangle 214"/>
              <p:cNvSpPr/>
              <p:nvPr/>
            </p:nvSpPr>
            <p:spPr>
              <a:xfrm flipV="1">
                <a:off x="360232" y="2011988"/>
                <a:ext cx="445242" cy="221605"/>
              </a:xfrm>
              <a:prstGeom prst="triangle">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16" name="Straight Connector 215"/>
              <p:cNvCxnSpPr/>
              <p:nvPr/>
            </p:nvCxnSpPr>
            <p:spPr>
              <a:xfrm>
                <a:off x="582853" y="2210559"/>
                <a:ext cx="1" cy="730254"/>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grpSp>
        <p:sp>
          <p:nvSpPr>
            <p:cNvPr id="232" name="Rectangle 231"/>
            <p:cNvSpPr/>
            <p:nvPr/>
          </p:nvSpPr>
          <p:spPr>
            <a:xfrm>
              <a:off x="4595535" y="3810421"/>
              <a:ext cx="1120684" cy="777713"/>
            </a:xfrm>
            <a:prstGeom prst="rect">
              <a:avLst/>
            </a:prstGeom>
            <a:noFill/>
            <a:ln w="28575">
              <a:solidFill>
                <a:srgbClr val="20386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33" name="Rectangle 232"/>
          <p:cNvSpPr/>
          <p:nvPr/>
        </p:nvSpPr>
        <p:spPr>
          <a:xfrm>
            <a:off x="1273746" y="3796798"/>
            <a:ext cx="964904" cy="825640"/>
          </a:xfrm>
          <a:prstGeom prst="rect">
            <a:avLst/>
          </a:prstGeom>
          <a:noFill/>
          <a:ln w="28575">
            <a:solidFill>
              <a:srgbClr val="20386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49837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9B914AA-1A45-4276-A7F6-30AD60DF0AA1}"/>
              </a:ext>
            </a:extLst>
          </p:cNvPr>
          <p:cNvSpPr/>
          <p:nvPr/>
        </p:nvSpPr>
        <p:spPr>
          <a:xfrm>
            <a:off x="42127" y="1337073"/>
            <a:ext cx="12017168" cy="67507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dirty="0">
                <a:ln>
                  <a:noFill/>
                </a:ln>
                <a:solidFill>
                  <a:prstClr val="white"/>
                </a:solidFill>
                <a:effectLst/>
                <a:uLnTx/>
                <a:uFillTx/>
                <a:latin typeface="Calibri" panose="020F0502020204030204"/>
                <a:ea typeface="+mn-ea"/>
                <a:cs typeface="+mn-cs"/>
              </a:rPr>
              <a:t>HAULAGE RANGE</a:t>
            </a:r>
          </a:p>
        </p:txBody>
      </p:sp>
      <p:sp>
        <p:nvSpPr>
          <p:cNvPr id="7" name="Parallelogram 6">
            <a:extLst>
              <a:ext uri="{FF2B5EF4-FFF2-40B4-BE49-F238E27FC236}">
                <a16:creationId xmlns:a16="http://schemas.microsoft.com/office/drawing/2014/main" id="{761964C5-704A-4262-A5F4-F7FCCE75F08C}"/>
              </a:ext>
            </a:extLst>
          </p:cNvPr>
          <p:cNvSpPr/>
          <p:nvPr/>
        </p:nvSpPr>
        <p:spPr>
          <a:xfrm>
            <a:off x="-50398" y="53394"/>
            <a:ext cx="9711843" cy="542559"/>
          </a:xfrm>
          <a:prstGeom prst="parallelogram">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arallelogram 7">
            <a:extLst>
              <a:ext uri="{FF2B5EF4-FFF2-40B4-BE49-F238E27FC236}">
                <a16:creationId xmlns:a16="http://schemas.microsoft.com/office/drawing/2014/main" id="{1B90ED6E-F537-42DA-97D0-357848DEBB1B}"/>
              </a:ext>
            </a:extLst>
          </p:cNvPr>
          <p:cNvSpPr/>
          <p:nvPr/>
        </p:nvSpPr>
        <p:spPr>
          <a:xfrm>
            <a:off x="-149898" y="-20088"/>
            <a:ext cx="9711843" cy="573128"/>
          </a:xfrm>
          <a:prstGeom prst="parallelogram">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HAULAGE</a:t>
            </a:r>
          </a:p>
        </p:txBody>
      </p:sp>
      <p:sp>
        <p:nvSpPr>
          <p:cNvPr id="3" name="Rectangle 2">
            <a:extLst>
              <a:ext uri="{FF2B5EF4-FFF2-40B4-BE49-F238E27FC236}">
                <a16:creationId xmlns:a16="http://schemas.microsoft.com/office/drawing/2014/main" id="{2E3E1634-95D6-4E59-A6CB-3CAD3E7E5BFD}"/>
              </a:ext>
            </a:extLst>
          </p:cNvPr>
          <p:cNvSpPr/>
          <p:nvPr/>
        </p:nvSpPr>
        <p:spPr>
          <a:xfrm>
            <a:off x="42127" y="1156584"/>
            <a:ext cx="12017168" cy="67507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35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NON-AVTR models</a:t>
            </a:r>
          </a:p>
        </p:txBody>
      </p:sp>
      <p:pic>
        <p:nvPicPr>
          <p:cNvPr id="106" name="Picture 105">
            <a:extLst>
              <a:ext uri="{FF2B5EF4-FFF2-40B4-BE49-F238E27FC236}">
                <a16:creationId xmlns:a16="http://schemas.microsoft.com/office/drawing/2014/main" id="{35C7D51A-23FE-4310-9C62-F3BFAA23855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437418" y="80705"/>
            <a:ext cx="621879" cy="622040"/>
          </a:xfrm>
          <a:prstGeom prst="rect">
            <a:avLst/>
          </a:prstGeom>
        </p:spPr>
      </p:pic>
      <p:sp>
        <p:nvSpPr>
          <p:cNvPr id="147" name="TextBox 146"/>
          <p:cNvSpPr txBox="1"/>
          <p:nvPr/>
        </p:nvSpPr>
        <p:spPr>
          <a:xfrm>
            <a:off x="101600" y="6519446"/>
            <a:ext cx="2710678" cy="30777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1916 Cowl is with H4 engines </a:t>
            </a:r>
          </a:p>
        </p:txBody>
      </p:sp>
      <p:sp>
        <p:nvSpPr>
          <p:cNvPr id="19" name="Rectangle 18">
            <a:extLst>
              <a:ext uri="{FF2B5EF4-FFF2-40B4-BE49-F238E27FC236}">
                <a16:creationId xmlns:a16="http://schemas.microsoft.com/office/drawing/2014/main" id="{3068FB00-AEA1-4A09-AEA2-0783AA61BDF3}"/>
              </a:ext>
            </a:extLst>
          </p:cNvPr>
          <p:cNvSpPr/>
          <p:nvPr/>
        </p:nvSpPr>
        <p:spPr>
          <a:xfrm>
            <a:off x="3915081" y="3023053"/>
            <a:ext cx="1088505" cy="3867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9" name="Rectangle 8">
            <a:extLst>
              <a:ext uri="{FF2B5EF4-FFF2-40B4-BE49-F238E27FC236}">
                <a16:creationId xmlns:a16="http://schemas.microsoft.com/office/drawing/2014/main" id="{D45D1B39-E66C-48C8-9FED-F245CF760E00}"/>
              </a:ext>
            </a:extLst>
          </p:cNvPr>
          <p:cNvSpPr/>
          <p:nvPr/>
        </p:nvSpPr>
        <p:spPr>
          <a:xfrm>
            <a:off x="3915081" y="2898061"/>
            <a:ext cx="1088505" cy="38670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X2</a:t>
            </a:r>
          </a:p>
        </p:txBody>
      </p:sp>
      <p:grpSp>
        <p:nvGrpSpPr>
          <p:cNvPr id="2" name="Group 1"/>
          <p:cNvGrpSpPr/>
          <p:nvPr/>
        </p:nvGrpSpPr>
        <p:grpSpPr>
          <a:xfrm>
            <a:off x="4124819" y="4708022"/>
            <a:ext cx="890485" cy="575021"/>
            <a:chOff x="276290" y="4880237"/>
            <a:chExt cx="995806" cy="611175"/>
          </a:xfrm>
        </p:grpSpPr>
        <p:sp>
          <p:nvSpPr>
            <p:cNvPr id="198" name="Rectangle 197">
              <a:extLst>
                <a:ext uri="{FF2B5EF4-FFF2-40B4-BE49-F238E27FC236}">
                  <a16:creationId xmlns:a16="http://schemas.microsoft.com/office/drawing/2014/main" id="{87B8DACF-9EC8-4E57-A94C-517A44001AB8}"/>
                </a:ext>
              </a:extLst>
            </p:cNvPr>
            <p:cNvSpPr/>
            <p:nvPr/>
          </p:nvSpPr>
          <p:spPr>
            <a:xfrm>
              <a:off x="276290" y="4881049"/>
              <a:ext cx="995806" cy="61036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99" name="Rectangle 198">
              <a:extLst>
                <a:ext uri="{FF2B5EF4-FFF2-40B4-BE49-F238E27FC236}">
                  <a16:creationId xmlns:a16="http://schemas.microsoft.com/office/drawing/2014/main" id="{0C4D403F-BFE9-41E7-A1A5-102918BF717F}"/>
                </a:ext>
              </a:extLst>
            </p:cNvPr>
            <p:cNvSpPr/>
            <p:nvPr/>
          </p:nvSpPr>
          <p:spPr>
            <a:xfrm>
              <a:off x="276290" y="4880237"/>
              <a:ext cx="995806" cy="45459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1920 Boss</a:t>
              </a:r>
            </a:p>
          </p:txBody>
        </p:sp>
      </p:grpSp>
      <p:cxnSp>
        <p:nvCxnSpPr>
          <p:cNvPr id="200" name="Straight Connector 199">
            <a:extLst>
              <a:ext uri="{FF2B5EF4-FFF2-40B4-BE49-F238E27FC236}">
                <a16:creationId xmlns:a16="http://schemas.microsoft.com/office/drawing/2014/main" id="{58C49890-7813-4D19-920D-C963E4BCDFA1}"/>
              </a:ext>
            </a:extLst>
          </p:cNvPr>
          <p:cNvCxnSpPr>
            <a:cxnSpLocks/>
          </p:cNvCxnSpPr>
          <p:nvPr/>
        </p:nvCxnSpPr>
        <p:spPr>
          <a:xfrm flipH="1">
            <a:off x="3910741" y="3306808"/>
            <a:ext cx="4167" cy="1666717"/>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7B14240F-F1E2-4D7A-8BED-C45B864726C7}"/>
              </a:ext>
            </a:extLst>
          </p:cNvPr>
          <p:cNvCxnSpPr>
            <a:cxnSpLocks/>
          </p:cNvCxnSpPr>
          <p:nvPr/>
        </p:nvCxnSpPr>
        <p:spPr>
          <a:xfrm>
            <a:off x="3888501" y="4957371"/>
            <a:ext cx="217123" cy="0"/>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sp>
        <p:nvSpPr>
          <p:cNvPr id="202" name="Oval 201">
            <a:extLst>
              <a:ext uri="{FF2B5EF4-FFF2-40B4-BE49-F238E27FC236}">
                <a16:creationId xmlns:a16="http://schemas.microsoft.com/office/drawing/2014/main" id="{96AFDE2C-E60A-4141-958F-BAE606E6AE01}"/>
              </a:ext>
            </a:extLst>
          </p:cNvPr>
          <p:cNvSpPr/>
          <p:nvPr/>
        </p:nvSpPr>
        <p:spPr>
          <a:xfrm>
            <a:off x="4001881" y="4876285"/>
            <a:ext cx="112193" cy="178243"/>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9" name="Rectangle 148"/>
          <p:cNvSpPr/>
          <p:nvPr/>
        </p:nvSpPr>
        <p:spPr>
          <a:xfrm>
            <a:off x="4052639" y="4635995"/>
            <a:ext cx="998175" cy="722539"/>
          </a:xfrm>
          <a:prstGeom prst="rect">
            <a:avLst/>
          </a:prstGeom>
          <a:noFill/>
          <a:ln w="28575">
            <a:solidFill>
              <a:srgbClr val="20386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8" name="Group 47"/>
          <p:cNvGrpSpPr/>
          <p:nvPr/>
        </p:nvGrpSpPr>
        <p:grpSpPr>
          <a:xfrm>
            <a:off x="4236711" y="2012589"/>
            <a:ext cx="445243" cy="928825"/>
            <a:chOff x="360232" y="2011988"/>
            <a:chExt cx="445242" cy="928825"/>
          </a:xfrm>
        </p:grpSpPr>
        <p:sp>
          <p:nvSpPr>
            <p:cNvPr id="45" name="Isosceles Triangle 44"/>
            <p:cNvSpPr/>
            <p:nvPr/>
          </p:nvSpPr>
          <p:spPr>
            <a:xfrm flipV="1">
              <a:off x="360232" y="2011988"/>
              <a:ext cx="445242" cy="221605"/>
            </a:xfrm>
            <a:prstGeom prst="triangle">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7" name="Straight Connector 46"/>
            <p:cNvCxnSpPr/>
            <p:nvPr/>
          </p:nvCxnSpPr>
          <p:spPr>
            <a:xfrm>
              <a:off x="582853" y="2210559"/>
              <a:ext cx="1" cy="730254"/>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grpSp>
      <p:grpSp>
        <p:nvGrpSpPr>
          <p:cNvPr id="52" name="Group 51"/>
          <p:cNvGrpSpPr/>
          <p:nvPr/>
        </p:nvGrpSpPr>
        <p:grpSpPr>
          <a:xfrm>
            <a:off x="5872085" y="1999651"/>
            <a:ext cx="1138315" cy="4291047"/>
            <a:chOff x="1178120" y="1999051"/>
            <a:chExt cx="1138315" cy="4291046"/>
          </a:xfrm>
        </p:grpSpPr>
        <p:sp>
          <p:nvSpPr>
            <p:cNvPr id="181" name="Rectangle 180">
              <a:extLst>
                <a:ext uri="{FF2B5EF4-FFF2-40B4-BE49-F238E27FC236}">
                  <a16:creationId xmlns:a16="http://schemas.microsoft.com/office/drawing/2014/main" id="{290CB94D-E085-40CC-BA4C-FFE76D7B7D68}"/>
                </a:ext>
              </a:extLst>
            </p:cNvPr>
            <p:cNvSpPr/>
            <p:nvPr/>
          </p:nvSpPr>
          <p:spPr>
            <a:xfrm>
              <a:off x="1189404" y="3031520"/>
              <a:ext cx="1061292" cy="43376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82" name="Rectangle 181">
              <a:extLst>
                <a:ext uri="{FF2B5EF4-FFF2-40B4-BE49-F238E27FC236}">
                  <a16:creationId xmlns:a16="http://schemas.microsoft.com/office/drawing/2014/main" id="{4879366F-2FA9-4DDE-803D-33B5ED9115FF}"/>
                </a:ext>
              </a:extLst>
            </p:cNvPr>
            <p:cNvSpPr/>
            <p:nvPr/>
          </p:nvSpPr>
          <p:spPr>
            <a:xfrm>
              <a:off x="1189404" y="2887040"/>
              <a:ext cx="1061292" cy="43376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X2</a:t>
              </a:r>
              <a:r>
                <a:rPr kumimoji="0" lang="en-US" sz="1051"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OWL</a:t>
              </a: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183" name="Straight Connector 182">
              <a:extLst>
                <a:ext uri="{FF2B5EF4-FFF2-40B4-BE49-F238E27FC236}">
                  <a16:creationId xmlns:a16="http://schemas.microsoft.com/office/drawing/2014/main" id="{58C49890-7813-4D19-920D-C963E4BCDFA1}"/>
                </a:ext>
              </a:extLst>
            </p:cNvPr>
            <p:cNvCxnSpPr>
              <a:cxnSpLocks/>
            </p:cNvCxnSpPr>
            <p:nvPr/>
          </p:nvCxnSpPr>
          <p:spPr>
            <a:xfrm flipH="1">
              <a:off x="1186713" y="3445967"/>
              <a:ext cx="4068" cy="2424434"/>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789357F5-6589-4BF4-AADD-E310770E7A46}"/>
                </a:ext>
              </a:extLst>
            </p:cNvPr>
            <p:cNvCxnSpPr/>
            <p:nvPr/>
          </p:nvCxnSpPr>
          <p:spPr>
            <a:xfrm>
              <a:off x="1197210" y="4152096"/>
              <a:ext cx="191919" cy="6511"/>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sp>
          <p:nvSpPr>
            <p:cNvPr id="187" name="Oval 186">
              <a:extLst>
                <a:ext uri="{FF2B5EF4-FFF2-40B4-BE49-F238E27FC236}">
                  <a16:creationId xmlns:a16="http://schemas.microsoft.com/office/drawing/2014/main" id="{A9E75CD9-FD80-4861-919C-033136D1201B}"/>
                </a:ext>
              </a:extLst>
            </p:cNvPr>
            <p:cNvSpPr/>
            <p:nvPr/>
          </p:nvSpPr>
          <p:spPr>
            <a:xfrm>
              <a:off x="1281203" y="4072065"/>
              <a:ext cx="109523" cy="190236"/>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8" name="Rectangle 187">
              <a:extLst>
                <a:ext uri="{FF2B5EF4-FFF2-40B4-BE49-F238E27FC236}">
                  <a16:creationId xmlns:a16="http://schemas.microsoft.com/office/drawing/2014/main" id="{72B79E2C-EB80-448E-BF09-7B9E10B31E26}"/>
                </a:ext>
              </a:extLst>
            </p:cNvPr>
            <p:cNvSpPr/>
            <p:nvPr/>
          </p:nvSpPr>
          <p:spPr>
            <a:xfrm>
              <a:off x="1380755" y="5032130"/>
              <a:ext cx="875142" cy="35892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89" name="Rectangle 188">
              <a:extLst>
                <a:ext uri="{FF2B5EF4-FFF2-40B4-BE49-F238E27FC236}">
                  <a16:creationId xmlns:a16="http://schemas.microsoft.com/office/drawing/2014/main" id="{782EC558-7C9C-45F0-BFB5-0022EF17B6AB}"/>
                </a:ext>
              </a:extLst>
            </p:cNvPr>
            <p:cNvSpPr/>
            <p:nvPr/>
          </p:nvSpPr>
          <p:spPr>
            <a:xfrm>
              <a:off x="1380756" y="4799582"/>
              <a:ext cx="875143" cy="44699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1916</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COWL</a:t>
              </a:r>
            </a:p>
          </p:txBody>
        </p:sp>
        <p:cxnSp>
          <p:nvCxnSpPr>
            <p:cNvPr id="190" name="Straight Connector 189">
              <a:extLst>
                <a:ext uri="{FF2B5EF4-FFF2-40B4-BE49-F238E27FC236}">
                  <a16:creationId xmlns:a16="http://schemas.microsoft.com/office/drawing/2014/main" id="{7B14240F-F1E2-4D7A-8BED-C45B864726C7}"/>
                </a:ext>
              </a:extLst>
            </p:cNvPr>
            <p:cNvCxnSpPr>
              <a:cxnSpLocks/>
            </p:cNvCxnSpPr>
            <p:nvPr/>
          </p:nvCxnSpPr>
          <p:spPr>
            <a:xfrm>
              <a:off x="1193720" y="5059771"/>
              <a:ext cx="191919" cy="6511"/>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sp>
          <p:nvSpPr>
            <p:cNvPr id="191" name="Oval 190">
              <a:extLst>
                <a:ext uri="{FF2B5EF4-FFF2-40B4-BE49-F238E27FC236}">
                  <a16:creationId xmlns:a16="http://schemas.microsoft.com/office/drawing/2014/main" id="{96AFDE2C-E60A-4141-958F-BAE606E6AE01}"/>
                </a:ext>
              </a:extLst>
            </p:cNvPr>
            <p:cNvSpPr/>
            <p:nvPr/>
          </p:nvSpPr>
          <p:spPr>
            <a:xfrm>
              <a:off x="1288799" y="4979740"/>
              <a:ext cx="109523" cy="190236"/>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2" name="Rectangle 191">
              <a:extLst>
                <a:ext uri="{FF2B5EF4-FFF2-40B4-BE49-F238E27FC236}">
                  <a16:creationId xmlns:a16="http://schemas.microsoft.com/office/drawing/2014/main" id="{87B8DACF-9EC8-4E57-A94C-517A44001AB8}"/>
                </a:ext>
              </a:extLst>
            </p:cNvPr>
            <p:cNvSpPr/>
            <p:nvPr/>
          </p:nvSpPr>
          <p:spPr>
            <a:xfrm>
              <a:off x="1381142" y="3950299"/>
              <a:ext cx="869286" cy="61289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93" name="Rectangle 192">
              <a:extLst>
                <a:ext uri="{FF2B5EF4-FFF2-40B4-BE49-F238E27FC236}">
                  <a16:creationId xmlns:a16="http://schemas.microsoft.com/office/drawing/2014/main" id="{0C4D403F-BFE9-41E7-A1A5-102918BF717F}"/>
                </a:ext>
              </a:extLst>
            </p:cNvPr>
            <p:cNvSpPr/>
            <p:nvPr/>
          </p:nvSpPr>
          <p:spPr>
            <a:xfrm>
              <a:off x="1381142" y="3949483"/>
              <a:ext cx="869286" cy="456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162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OWL </a:t>
              </a:r>
            </a:p>
          </p:txBody>
        </p:sp>
        <p:sp>
          <p:nvSpPr>
            <p:cNvPr id="194" name="Rectangle 193">
              <a:extLst>
                <a:ext uri="{FF2B5EF4-FFF2-40B4-BE49-F238E27FC236}">
                  <a16:creationId xmlns:a16="http://schemas.microsoft.com/office/drawing/2014/main" id="{72B79E2C-EB80-448E-BF09-7B9E10B31E26}"/>
                </a:ext>
              </a:extLst>
            </p:cNvPr>
            <p:cNvSpPr/>
            <p:nvPr/>
          </p:nvSpPr>
          <p:spPr>
            <a:xfrm>
              <a:off x="1394479" y="5827525"/>
              <a:ext cx="875142" cy="35892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95" name="Rectangle 194">
              <a:extLst>
                <a:ext uri="{FF2B5EF4-FFF2-40B4-BE49-F238E27FC236}">
                  <a16:creationId xmlns:a16="http://schemas.microsoft.com/office/drawing/2014/main" id="{782EC558-7C9C-45F0-BFB5-0022EF17B6AB}"/>
                </a:ext>
              </a:extLst>
            </p:cNvPr>
            <p:cNvSpPr/>
            <p:nvPr/>
          </p:nvSpPr>
          <p:spPr>
            <a:xfrm>
              <a:off x="1394479" y="5594977"/>
              <a:ext cx="875143" cy="44699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192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COWL</a:t>
              </a:r>
            </a:p>
          </p:txBody>
        </p:sp>
        <p:cxnSp>
          <p:nvCxnSpPr>
            <p:cNvPr id="196" name="Straight Connector 195">
              <a:extLst>
                <a:ext uri="{FF2B5EF4-FFF2-40B4-BE49-F238E27FC236}">
                  <a16:creationId xmlns:a16="http://schemas.microsoft.com/office/drawing/2014/main" id="{7B14240F-F1E2-4D7A-8BED-C45B864726C7}"/>
                </a:ext>
              </a:extLst>
            </p:cNvPr>
            <p:cNvCxnSpPr>
              <a:cxnSpLocks/>
            </p:cNvCxnSpPr>
            <p:nvPr/>
          </p:nvCxnSpPr>
          <p:spPr>
            <a:xfrm>
              <a:off x="1178120" y="5870401"/>
              <a:ext cx="211953" cy="0"/>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sp>
          <p:nvSpPr>
            <p:cNvPr id="197" name="Oval 196">
              <a:extLst>
                <a:ext uri="{FF2B5EF4-FFF2-40B4-BE49-F238E27FC236}">
                  <a16:creationId xmlns:a16="http://schemas.microsoft.com/office/drawing/2014/main" id="{96AFDE2C-E60A-4141-958F-BAE606E6AE01}"/>
                </a:ext>
              </a:extLst>
            </p:cNvPr>
            <p:cNvSpPr/>
            <p:nvPr/>
          </p:nvSpPr>
          <p:spPr>
            <a:xfrm>
              <a:off x="1288799" y="5783859"/>
              <a:ext cx="109523" cy="190236"/>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0" name="Rectangle 149"/>
            <p:cNvSpPr/>
            <p:nvPr/>
          </p:nvSpPr>
          <p:spPr>
            <a:xfrm>
              <a:off x="1327233" y="3865439"/>
              <a:ext cx="989202" cy="2424658"/>
            </a:xfrm>
            <a:prstGeom prst="rect">
              <a:avLst/>
            </a:prstGeom>
            <a:noFill/>
            <a:ln w="28575">
              <a:solidFill>
                <a:srgbClr val="20386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05" name="Group 204"/>
            <p:cNvGrpSpPr/>
            <p:nvPr/>
          </p:nvGrpSpPr>
          <p:grpSpPr>
            <a:xfrm>
              <a:off x="1539723" y="1999051"/>
              <a:ext cx="445242" cy="928825"/>
              <a:chOff x="360232" y="2011988"/>
              <a:chExt cx="445242" cy="928825"/>
            </a:xfrm>
          </p:grpSpPr>
          <p:sp>
            <p:nvSpPr>
              <p:cNvPr id="206" name="Isosceles Triangle 205"/>
              <p:cNvSpPr/>
              <p:nvPr/>
            </p:nvSpPr>
            <p:spPr>
              <a:xfrm flipV="1">
                <a:off x="360232" y="2011988"/>
                <a:ext cx="445242" cy="221605"/>
              </a:xfrm>
              <a:prstGeom prst="triangle">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07" name="Straight Connector 206"/>
              <p:cNvCxnSpPr/>
              <p:nvPr/>
            </p:nvCxnSpPr>
            <p:spPr>
              <a:xfrm>
                <a:off x="582853" y="2210559"/>
                <a:ext cx="1" cy="730254"/>
              </a:xfrm>
              <a:prstGeom prst="line">
                <a:avLst/>
              </a:prstGeom>
              <a:ln w="28575">
                <a:solidFill>
                  <a:srgbClr val="203864"/>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0062697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609601" y="1"/>
            <a:ext cx="9055100" cy="977900"/>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40">
              <a:defRPr/>
            </a:pPr>
            <a:endParaRPr lang="en-US" sz="2400">
              <a:solidFill>
                <a:prstClr val="white"/>
              </a:solidFill>
              <a:latin typeface="Calibri"/>
            </a:endParaRPr>
          </a:p>
        </p:txBody>
      </p:sp>
      <p:sp>
        <p:nvSpPr>
          <p:cNvPr id="122883" name="TextBox 4"/>
          <p:cNvSpPr txBox="1">
            <a:spLocks noChangeArrowheads="1"/>
          </p:cNvSpPr>
          <p:nvPr/>
        </p:nvSpPr>
        <p:spPr bwMode="auto">
          <a:xfrm>
            <a:off x="687917" y="124884"/>
            <a:ext cx="8989962" cy="666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fontAlgn="base">
              <a:spcBef>
                <a:spcPct val="0"/>
              </a:spcBef>
              <a:spcAft>
                <a:spcPct val="0"/>
              </a:spcAft>
              <a:defRPr>
                <a:solidFill>
                  <a:schemeClr val="tx1"/>
                </a:solidFill>
                <a:latin typeface="Calibri" panose="020F0502020204030204" pitchFamily="34" charset="0"/>
              </a:defRPr>
            </a:lvl6pPr>
            <a:lvl7pPr marL="2971800" indent="-228600" defTabSz="912813" fontAlgn="base">
              <a:spcBef>
                <a:spcPct val="0"/>
              </a:spcBef>
              <a:spcAft>
                <a:spcPct val="0"/>
              </a:spcAft>
              <a:defRPr>
                <a:solidFill>
                  <a:schemeClr val="tx1"/>
                </a:solidFill>
                <a:latin typeface="Calibri" panose="020F0502020204030204" pitchFamily="34" charset="0"/>
              </a:defRPr>
            </a:lvl7pPr>
            <a:lvl8pPr marL="3429000" indent="-228600" defTabSz="912813" fontAlgn="base">
              <a:spcBef>
                <a:spcPct val="0"/>
              </a:spcBef>
              <a:spcAft>
                <a:spcPct val="0"/>
              </a:spcAft>
              <a:defRPr>
                <a:solidFill>
                  <a:schemeClr val="tx1"/>
                </a:solidFill>
                <a:latin typeface="Calibri" panose="020F0502020204030204" pitchFamily="34" charset="0"/>
              </a:defRPr>
            </a:lvl8pPr>
            <a:lvl9pPr marL="3886200" indent="-228600" defTabSz="912813" fontAlgn="base">
              <a:spcBef>
                <a:spcPct val="0"/>
              </a:spcBef>
              <a:spcAft>
                <a:spcPct val="0"/>
              </a:spcAft>
              <a:defRPr>
                <a:solidFill>
                  <a:schemeClr val="tx1"/>
                </a:solidFill>
                <a:latin typeface="Calibri" panose="020F0502020204030204" pitchFamily="34" charset="0"/>
              </a:defRPr>
            </a:lvl9pPr>
          </a:lstStyle>
          <a:p>
            <a:pPr defTabSz="1217054" fontAlgn="base">
              <a:spcBef>
                <a:spcPct val="0"/>
              </a:spcBef>
              <a:spcAft>
                <a:spcPct val="0"/>
              </a:spcAft>
            </a:pPr>
            <a:r>
              <a:rPr lang="en-US" altLang="en-US" sz="3733" b="1">
                <a:solidFill>
                  <a:srgbClr val="000000"/>
                </a:solidFill>
                <a:latin typeface="Century Gothic" panose="020B0502020202020204" pitchFamily="34" charset="0"/>
              </a:rPr>
              <a:t>VARIOUS CV PLAYERS OVER THE YEARS</a:t>
            </a:r>
          </a:p>
        </p:txBody>
      </p:sp>
      <p:grpSp>
        <p:nvGrpSpPr>
          <p:cNvPr id="122884" name="Group 1"/>
          <p:cNvGrpSpPr>
            <a:grpSpLocks/>
          </p:cNvGrpSpPr>
          <p:nvPr/>
        </p:nvGrpSpPr>
        <p:grpSpPr bwMode="auto">
          <a:xfrm>
            <a:off x="1090084" y="1193801"/>
            <a:ext cx="10085916" cy="5295900"/>
            <a:chOff x="1392930" y="1057076"/>
            <a:chExt cx="7564279" cy="3972127"/>
          </a:xfrm>
        </p:grpSpPr>
        <p:sp>
          <p:nvSpPr>
            <p:cNvPr id="34" name="Oval 33"/>
            <p:cNvSpPr/>
            <p:nvPr/>
          </p:nvSpPr>
          <p:spPr bwMode="auto">
            <a:xfrm>
              <a:off x="6728406" y="2308090"/>
              <a:ext cx="2228803" cy="2228963"/>
            </a:xfrm>
            <a:prstGeom prst="ellipse">
              <a:avLst/>
            </a:prstGeom>
            <a:solidFill>
              <a:schemeClr val="bg1">
                <a:lumMod val="85000"/>
              </a:schemeClr>
            </a:solidFill>
            <a:ln w="9525" cap="flat" cmpd="sng" algn="ctr">
              <a:noFill/>
              <a:prstDash val="solid"/>
              <a:round/>
              <a:headEnd type="none" w="med" len="med"/>
              <a:tailEnd type="none" w="med" len="med"/>
            </a:ln>
            <a:effectLst/>
          </p:spPr>
          <p:txBody>
            <a:bodyPr lIns="91440" tIns="45720" rIns="91440" bIns="45720"/>
            <a:lstStyle/>
            <a:p>
              <a:pPr defTabSz="1219140" fontAlgn="base">
                <a:spcBef>
                  <a:spcPct val="0"/>
                </a:spcBef>
                <a:spcAft>
                  <a:spcPct val="0"/>
                </a:spcAft>
                <a:defRPr/>
              </a:pPr>
              <a:endParaRPr lang="en-US">
                <a:solidFill>
                  <a:srgbClr val="000000"/>
                </a:solidFill>
                <a:latin typeface="Century Gothic" panose="020B0502020202020204" pitchFamily="34" charset="0"/>
              </a:endParaRPr>
            </a:p>
          </p:txBody>
        </p:sp>
        <p:sp>
          <p:nvSpPr>
            <p:cNvPr id="35" name="Oval 34"/>
            <p:cNvSpPr/>
            <p:nvPr/>
          </p:nvSpPr>
          <p:spPr bwMode="auto">
            <a:xfrm>
              <a:off x="1507228" y="2868506"/>
              <a:ext cx="1111227" cy="1109718"/>
            </a:xfrm>
            <a:prstGeom prst="ellipse">
              <a:avLst/>
            </a:prstGeom>
            <a:solidFill>
              <a:schemeClr val="bg1">
                <a:lumMod val="85000"/>
              </a:schemeClr>
            </a:solidFill>
            <a:ln w="9525" cap="flat" cmpd="sng" algn="ctr">
              <a:noFill/>
              <a:prstDash val="solid"/>
              <a:round/>
              <a:headEnd type="none" w="med" len="med"/>
              <a:tailEnd type="none" w="med" len="med"/>
            </a:ln>
            <a:effectLst/>
          </p:spPr>
          <p:txBody>
            <a:bodyPr lIns="91440" tIns="45720" rIns="91440" bIns="45720"/>
            <a:lstStyle/>
            <a:p>
              <a:pPr defTabSz="1219140" fontAlgn="base">
                <a:spcBef>
                  <a:spcPct val="0"/>
                </a:spcBef>
                <a:spcAft>
                  <a:spcPct val="0"/>
                </a:spcAft>
                <a:defRPr/>
              </a:pPr>
              <a:endParaRPr lang="en-US">
                <a:solidFill>
                  <a:srgbClr val="000000"/>
                </a:solidFill>
                <a:latin typeface="Century Gothic" panose="020B0502020202020204" pitchFamily="34" charset="0"/>
              </a:endParaRPr>
            </a:p>
          </p:txBody>
        </p:sp>
        <p:sp>
          <p:nvSpPr>
            <p:cNvPr id="36" name="Oval 35"/>
            <p:cNvSpPr/>
            <p:nvPr/>
          </p:nvSpPr>
          <p:spPr bwMode="auto">
            <a:xfrm>
              <a:off x="3677294" y="2377943"/>
              <a:ext cx="2093869" cy="2090844"/>
            </a:xfrm>
            <a:prstGeom prst="ellipse">
              <a:avLst/>
            </a:prstGeom>
            <a:solidFill>
              <a:schemeClr val="bg1">
                <a:lumMod val="85000"/>
              </a:schemeClr>
            </a:solidFill>
            <a:ln w="9525" cap="flat" cmpd="sng" algn="ctr">
              <a:noFill/>
              <a:prstDash val="solid"/>
              <a:round/>
              <a:headEnd type="none" w="med" len="med"/>
              <a:tailEnd type="none" w="med" len="med"/>
            </a:ln>
            <a:effectLst/>
          </p:spPr>
          <p:txBody>
            <a:bodyPr lIns="91440" tIns="45720" rIns="91440" bIns="45720"/>
            <a:lstStyle/>
            <a:p>
              <a:pPr defTabSz="1219140" fontAlgn="base">
                <a:spcBef>
                  <a:spcPct val="0"/>
                </a:spcBef>
                <a:spcAft>
                  <a:spcPct val="0"/>
                </a:spcAft>
                <a:defRPr/>
              </a:pPr>
              <a:endParaRPr lang="en-US">
                <a:solidFill>
                  <a:srgbClr val="000000"/>
                </a:solidFill>
                <a:latin typeface="Century Gothic" panose="020B0502020202020204" pitchFamily="34" charset="0"/>
              </a:endParaRPr>
            </a:p>
          </p:txBody>
        </p:sp>
        <p:sp>
          <p:nvSpPr>
            <p:cNvPr id="37" name="Chevron 3"/>
            <p:cNvSpPr/>
            <p:nvPr/>
          </p:nvSpPr>
          <p:spPr bwMode="auto">
            <a:xfrm>
              <a:off x="1392930" y="1085652"/>
              <a:ext cx="1543018" cy="628682"/>
            </a:xfrm>
            <a:prstGeom prst="chevron">
              <a:avLst>
                <a:gd name="adj" fmla="val 20655"/>
              </a:avLst>
            </a:prstGeom>
            <a:solidFill>
              <a:schemeClr val="tx1">
                <a:lumMod val="75000"/>
                <a:lumOff val="25000"/>
              </a:schemeClr>
            </a:solidFill>
            <a:ln w="9525" cap="flat" cmpd="sng" algn="ctr">
              <a:noFill/>
              <a:prstDash val="solid"/>
              <a:round/>
              <a:headEnd type="none" w="med" len="med"/>
              <a:tailEnd type="none" w="med" len="med"/>
            </a:ln>
            <a:effectLst/>
          </p:spPr>
          <p:txBody>
            <a:bodyPr lIns="91440" tIns="45720" rIns="91440" bIns="45720" anchor="ctr"/>
            <a:lstStyle/>
            <a:p>
              <a:pPr algn="ctr" defTabSz="1219140" fontAlgn="base">
                <a:spcBef>
                  <a:spcPct val="0"/>
                </a:spcBef>
                <a:spcAft>
                  <a:spcPct val="0"/>
                </a:spcAft>
                <a:defRPr/>
              </a:pPr>
              <a:r>
                <a:rPr lang="en-US" sz="2400">
                  <a:solidFill>
                    <a:prstClr val="white"/>
                  </a:solidFill>
                  <a:latin typeface="Century Gothic" panose="020B0502020202020204" pitchFamily="34" charset="0"/>
                  <a:cs typeface="Calibri" pitchFamily="34" charset="0"/>
                </a:rPr>
                <a:t>&lt;1997</a:t>
              </a:r>
            </a:p>
          </p:txBody>
        </p:sp>
        <p:pic>
          <p:nvPicPr>
            <p:cNvPr id="122889" name="Picture 77"/>
            <p:cNvPicPr>
              <a:picLocks noChangeAspect="1" noChangeArrowheads="1"/>
            </p:cNvPicPr>
            <p:nvPr>
              <p:custDataLst>
                <p:tags r:id="rId1"/>
              </p:custDataLst>
            </p:nvPr>
          </p:nvPicPr>
          <p:blipFill>
            <a:blip r:embed="rId12">
              <a:extLst>
                <a:ext uri="{28A0092B-C50C-407E-A947-70E740481C1C}">
                  <a14:useLocalDpi xmlns:a14="http://schemas.microsoft.com/office/drawing/2010/main" val="0"/>
                </a:ext>
              </a:extLst>
            </a:blip>
            <a:srcRect/>
            <a:stretch>
              <a:fillRect/>
            </a:stretch>
          </p:blipFill>
          <p:spPr bwMode="auto">
            <a:xfrm>
              <a:off x="1904285" y="3093855"/>
              <a:ext cx="316895" cy="2578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90" name="Picture 56" descr="EicherLogo">
              <a:hlinkClick r:id="rId13"/>
            </p:cNvPr>
            <p:cNvPicPr>
              <a:picLocks noChangeAspect="1" noChangeArrowheads="1"/>
            </p:cNvPicPr>
            <p:nvPr>
              <p:custDataLst>
                <p:tags r:id="rId2"/>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4539991" y="3450560"/>
              <a:ext cx="398478" cy="202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91" name="Picture 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141685" y="3824775"/>
              <a:ext cx="601203" cy="270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92" name="Picture 69" descr="Hino-logo"/>
            <p:cNvPicPr>
              <a:picLocks noChangeAspect="1" noChangeArrowheads="1"/>
            </p:cNvPicPr>
            <p:nvPr>
              <p:custDataLst>
                <p:tags r:id="rId3"/>
              </p:custDataLst>
            </p:nvPr>
          </p:nvPicPr>
          <p:blipFill>
            <a:blip r:embed="rId16">
              <a:extLst>
                <a:ext uri="{28A0092B-C50C-407E-A947-70E740481C1C}">
                  <a14:useLocalDpi xmlns:a14="http://schemas.microsoft.com/office/drawing/2010/main" val="0"/>
                </a:ext>
              </a:extLst>
            </a:blip>
            <a:srcRect/>
            <a:stretch>
              <a:fillRect/>
            </a:stretch>
          </p:blipFill>
          <p:spPr bwMode="auto">
            <a:xfrm>
              <a:off x="7563054" y="4057653"/>
              <a:ext cx="376452" cy="385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93" name="Picture 70" descr="22322534">
              <a:hlinkClick r:id="rId17"/>
            </p:cNvPr>
            <p:cNvPicPr>
              <a:picLocks noChangeAspect="1" noChangeArrowheads="1"/>
            </p:cNvPicPr>
            <p:nvPr>
              <p:custDataLst>
                <p:tags r:id="rId4"/>
              </p:custDataLst>
            </p:nvPr>
          </p:nvPicPr>
          <p:blipFill>
            <a:blip r:embed="rId18">
              <a:extLst>
                <a:ext uri="{28A0092B-C50C-407E-A947-70E740481C1C}">
                  <a14:useLocalDpi xmlns:a14="http://schemas.microsoft.com/office/drawing/2010/main" val="0"/>
                </a:ext>
              </a:extLst>
            </a:blip>
            <a:srcRect/>
            <a:stretch>
              <a:fillRect/>
            </a:stretch>
          </p:blipFill>
          <p:spPr bwMode="auto">
            <a:xfrm>
              <a:off x="7920082" y="3844989"/>
              <a:ext cx="603422" cy="112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94" name="Picture 90"/>
            <p:cNvPicPr>
              <a:picLocks noChangeAspect="1" noChangeArrowheads="1"/>
            </p:cNvPicPr>
            <p:nvPr>
              <p:custDataLst>
                <p:tags r:id="rId5"/>
              </p:custDataLst>
            </p:nvPr>
          </p:nvPicPr>
          <p:blipFill>
            <a:blip r:embed="rId19">
              <a:extLst>
                <a:ext uri="{28A0092B-C50C-407E-A947-70E740481C1C}">
                  <a14:useLocalDpi xmlns:a14="http://schemas.microsoft.com/office/drawing/2010/main" val="0"/>
                </a:ext>
              </a:extLst>
            </a:blip>
            <a:srcRect/>
            <a:stretch>
              <a:fillRect/>
            </a:stretch>
          </p:blipFill>
          <p:spPr bwMode="auto">
            <a:xfrm>
              <a:off x="6922583" y="3374318"/>
              <a:ext cx="692928" cy="21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95" name="Picture 15" descr="Mahindra%20Navistar"/>
            <p:cNvPicPr>
              <a:picLocks noChangeAspect="1" noChangeArrowheads="1"/>
            </p:cNvPicPr>
            <p:nvPr>
              <p:custDataLst>
                <p:tags r:id="rId6"/>
              </p:custDataLst>
            </p:nvPr>
          </p:nvPicPr>
          <p:blipFill>
            <a:blip r:embed="rId20">
              <a:extLst>
                <a:ext uri="{28A0092B-C50C-407E-A947-70E740481C1C}">
                  <a14:useLocalDpi xmlns:a14="http://schemas.microsoft.com/office/drawing/2010/main" val="0"/>
                </a:ext>
              </a:extLst>
            </a:blip>
            <a:srcRect/>
            <a:stretch>
              <a:fillRect/>
            </a:stretch>
          </p:blipFill>
          <p:spPr bwMode="auto">
            <a:xfrm>
              <a:off x="7020583" y="3725481"/>
              <a:ext cx="622226" cy="217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96" name="Picture 3" descr="C:\Documents and Settings\Dutt Vishnu\My Documents\Proposal\Mahindra\Logo\AsiaWorksMotorLtdLogo.gif"/>
            <p:cNvPicPr>
              <a:picLocks noChangeAspect="1" noChangeArrowheads="1"/>
            </p:cNvPicPr>
            <p:nvPr>
              <p:custDataLst>
                <p:tags r:id="rId7"/>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4987308" y="3865381"/>
              <a:ext cx="366252" cy="187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97" name="Picture 5" descr="C:\Documents and Settings\Dutt Vishnu\My Documents\Proposal\Mahindra\Logo\bd1a8b07-881d-4799-ab42-8d6835ba2848_VECV%20Logo%20with%20descriptor%20copy%20copy.jpg"/>
            <p:cNvPicPr>
              <a:picLocks noChangeAspect="1" noChangeArrowheads="1"/>
            </p:cNvPicPr>
            <p:nvPr>
              <p:custDataLst>
                <p:tags r:id="rId8"/>
              </p:custDataLst>
            </p:nvPr>
          </p:nvPicPr>
          <p:blipFill>
            <a:blip r:embed="rId22">
              <a:extLst>
                <a:ext uri="{28A0092B-C50C-407E-A947-70E740481C1C}">
                  <a14:useLocalDpi xmlns:a14="http://schemas.microsoft.com/office/drawing/2010/main" val="0"/>
                </a:ext>
              </a:extLst>
            </a:blip>
            <a:srcRect/>
            <a:stretch>
              <a:fillRect/>
            </a:stretch>
          </p:blipFill>
          <p:spPr bwMode="auto">
            <a:xfrm>
              <a:off x="7374108" y="3126224"/>
              <a:ext cx="1411654" cy="187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22898" name="Picture 4" descr="Home"/>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527045" y="3413004"/>
              <a:ext cx="1092482" cy="140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99" name="Picture 2" descr="https://encrypted-tbn0.gstatic.com/images?q=tbn:ANd9GcT5On2LQInKQX8aUXlGM80f2FljA9Jv5yQ25J6s9KZLRZrGeaOqAfVhTE7f"/>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8095544" y="3429004"/>
              <a:ext cx="461620" cy="306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00" name="Picture 77"/>
            <p:cNvPicPr>
              <a:picLocks noChangeAspect="1" noChangeArrowheads="1"/>
            </p:cNvPicPr>
            <p:nvPr>
              <p:custDataLst>
                <p:tags r:id="rId9"/>
              </p:custDataLst>
            </p:nvPr>
          </p:nvPicPr>
          <p:blipFill>
            <a:blip r:embed="rId12">
              <a:extLst>
                <a:ext uri="{28A0092B-C50C-407E-A947-70E740481C1C}">
                  <a14:useLocalDpi xmlns:a14="http://schemas.microsoft.com/office/drawing/2010/main" val="0"/>
                </a:ext>
              </a:extLst>
            </a:blip>
            <a:srcRect/>
            <a:stretch>
              <a:fillRect/>
            </a:stretch>
          </p:blipFill>
          <p:spPr bwMode="auto">
            <a:xfrm>
              <a:off x="4520156" y="2593280"/>
              <a:ext cx="512387" cy="416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01" name="Picture 4" descr="Ho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023132" y="3110068"/>
              <a:ext cx="1552196" cy="19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02" name="Picture 77"/>
            <p:cNvPicPr>
              <a:picLocks noChangeAspect="1" noChangeArrowheads="1"/>
            </p:cNvPicPr>
            <p:nvPr>
              <p:custDataLst>
                <p:tags r:id="rId10"/>
              </p:custDataLst>
            </p:nvPr>
          </p:nvPicPr>
          <p:blipFill>
            <a:blip r:embed="rId12">
              <a:extLst>
                <a:ext uri="{28A0092B-C50C-407E-A947-70E740481C1C}">
                  <a14:useLocalDpi xmlns:a14="http://schemas.microsoft.com/office/drawing/2010/main" val="0"/>
                </a:ext>
              </a:extLst>
            </a:blip>
            <a:srcRect/>
            <a:stretch>
              <a:fillRect/>
            </a:stretch>
          </p:blipFill>
          <p:spPr bwMode="auto">
            <a:xfrm>
              <a:off x="7518675" y="2478979"/>
              <a:ext cx="512387" cy="416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03" name="Picture 4" descr="Ho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975186" y="2895874"/>
              <a:ext cx="1552196" cy="19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2904" name="Straight Connector 52"/>
            <p:cNvCxnSpPr>
              <a:cxnSpLocks noChangeShapeType="1"/>
            </p:cNvCxnSpPr>
            <p:nvPr/>
          </p:nvCxnSpPr>
          <p:spPr bwMode="auto">
            <a:xfrm>
              <a:off x="3146952" y="1057076"/>
              <a:ext cx="0" cy="3930167"/>
            </a:xfrm>
            <a:prstGeom prst="line">
              <a:avLst/>
            </a:prstGeom>
            <a:noFill/>
            <a:ln w="9525" algn="ctr">
              <a:solidFill>
                <a:schemeClr val="tx1"/>
              </a:solidFill>
              <a:prstDash val="sysDash"/>
              <a:round/>
              <a:headEnd/>
              <a:tailEnd/>
            </a:ln>
          </p:spPr>
        </p:cxnSp>
        <p:cxnSp>
          <p:nvCxnSpPr>
            <p:cNvPr id="122905" name="Straight Connector 53"/>
            <p:cNvCxnSpPr>
              <a:cxnSpLocks noChangeShapeType="1"/>
            </p:cNvCxnSpPr>
            <p:nvPr/>
          </p:nvCxnSpPr>
          <p:spPr bwMode="auto">
            <a:xfrm>
              <a:off x="6402519" y="1099036"/>
              <a:ext cx="0" cy="3930167"/>
            </a:xfrm>
            <a:prstGeom prst="line">
              <a:avLst/>
            </a:prstGeom>
            <a:noFill/>
            <a:ln w="9525" algn="ctr">
              <a:solidFill>
                <a:schemeClr val="tx1"/>
              </a:solidFill>
              <a:prstDash val="sysDash"/>
              <a:round/>
              <a:headEnd/>
              <a:tailEnd/>
            </a:ln>
          </p:spPr>
        </p:cxnSp>
        <p:sp>
          <p:nvSpPr>
            <p:cNvPr id="56" name="Chevron 36"/>
            <p:cNvSpPr/>
            <p:nvPr/>
          </p:nvSpPr>
          <p:spPr bwMode="auto">
            <a:xfrm>
              <a:off x="3620145" y="1085652"/>
              <a:ext cx="2230391" cy="628682"/>
            </a:xfrm>
            <a:prstGeom prst="chevron">
              <a:avLst>
                <a:gd name="adj" fmla="val 20655"/>
              </a:avLst>
            </a:prstGeom>
            <a:solidFill>
              <a:schemeClr val="tx1">
                <a:lumMod val="75000"/>
                <a:lumOff val="25000"/>
              </a:schemeClr>
            </a:solidFill>
            <a:ln w="9525" cap="flat" cmpd="sng" algn="ctr">
              <a:noFill/>
              <a:prstDash val="solid"/>
              <a:round/>
              <a:headEnd type="none" w="med" len="med"/>
              <a:tailEnd type="none" w="med" len="med"/>
            </a:ln>
            <a:effectLst/>
          </p:spPr>
          <p:txBody>
            <a:bodyPr lIns="91440" tIns="45720" rIns="91440" bIns="45720" anchor="ctr"/>
            <a:lstStyle/>
            <a:p>
              <a:pPr algn="ctr" defTabSz="1219140" fontAlgn="base">
                <a:spcBef>
                  <a:spcPct val="0"/>
                </a:spcBef>
                <a:spcAft>
                  <a:spcPct val="0"/>
                </a:spcAft>
                <a:defRPr/>
              </a:pPr>
              <a:r>
                <a:rPr lang="en-US" sz="2400" dirty="0">
                  <a:solidFill>
                    <a:prstClr val="white"/>
                  </a:solidFill>
                  <a:latin typeface="Century Gothic" panose="020B0502020202020204" pitchFamily="34" charset="0"/>
                  <a:cs typeface="Calibri" pitchFamily="34" charset="0"/>
                </a:rPr>
                <a:t>1997 - 2010</a:t>
              </a:r>
            </a:p>
          </p:txBody>
        </p:sp>
        <p:sp>
          <p:nvSpPr>
            <p:cNvPr id="57" name="Chevron 37"/>
            <p:cNvSpPr/>
            <p:nvPr/>
          </p:nvSpPr>
          <p:spPr bwMode="auto">
            <a:xfrm>
              <a:off x="6671257" y="1085652"/>
              <a:ext cx="2228803" cy="628682"/>
            </a:xfrm>
            <a:prstGeom prst="chevron">
              <a:avLst>
                <a:gd name="adj" fmla="val 20655"/>
              </a:avLst>
            </a:prstGeom>
            <a:solidFill>
              <a:schemeClr val="tx1">
                <a:lumMod val="75000"/>
                <a:lumOff val="25000"/>
              </a:schemeClr>
            </a:solidFill>
            <a:ln w="9525" cap="flat" cmpd="sng" algn="ctr">
              <a:noFill/>
              <a:prstDash val="solid"/>
              <a:round/>
              <a:headEnd type="none" w="med" len="med"/>
              <a:tailEnd type="none" w="med" len="med"/>
            </a:ln>
            <a:effectLst/>
          </p:spPr>
          <p:txBody>
            <a:bodyPr lIns="91440" tIns="45720" rIns="91440" bIns="45720" anchor="ctr"/>
            <a:lstStyle/>
            <a:p>
              <a:pPr algn="ctr" defTabSz="1219140" fontAlgn="base">
                <a:spcBef>
                  <a:spcPct val="0"/>
                </a:spcBef>
                <a:spcAft>
                  <a:spcPct val="0"/>
                </a:spcAft>
                <a:defRPr/>
              </a:pPr>
              <a:r>
                <a:rPr lang="en-US" sz="2400" dirty="0">
                  <a:solidFill>
                    <a:prstClr val="white"/>
                  </a:solidFill>
                  <a:latin typeface="Century Gothic" panose="020B0502020202020204" pitchFamily="34" charset="0"/>
                  <a:cs typeface="Calibri" pitchFamily="34" charset="0"/>
                </a:rPr>
                <a:t>2010 - 2019</a:t>
              </a:r>
            </a:p>
          </p:txBody>
        </p:sp>
        <p:sp>
          <p:nvSpPr>
            <p:cNvPr id="122908" name="TextBox 2"/>
            <p:cNvSpPr txBox="1">
              <a:spLocks noChangeArrowheads="1"/>
            </p:cNvSpPr>
            <p:nvPr/>
          </p:nvSpPr>
          <p:spPr bwMode="auto">
            <a:xfrm>
              <a:off x="3934348" y="4684969"/>
              <a:ext cx="1567945" cy="284756"/>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fontAlgn="base">
                <a:spcBef>
                  <a:spcPct val="0"/>
                </a:spcBef>
                <a:spcAft>
                  <a:spcPct val="0"/>
                </a:spcAft>
                <a:defRPr>
                  <a:solidFill>
                    <a:schemeClr val="tx1"/>
                  </a:solidFill>
                  <a:latin typeface="Calibri" panose="020F0502020204030204" pitchFamily="34" charset="0"/>
                </a:defRPr>
              </a:lvl6pPr>
              <a:lvl7pPr marL="2971800" indent="-228600" defTabSz="912813" fontAlgn="base">
                <a:spcBef>
                  <a:spcPct val="0"/>
                </a:spcBef>
                <a:spcAft>
                  <a:spcPct val="0"/>
                </a:spcAft>
                <a:defRPr>
                  <a:solidFill>
                    <a:schemeClr val="tx1"/>
                  </a:solidFill>
                  <a:latin typeface="Calibri" panose="020F0502020204030204" pitchFamily="34" charset="0"/>
                </a:defRPr>
              </a:lvl7pPr>
              <a:lvl8pPr marL="3429000" indent="-228600" defTabSz="912813" fontAlgn="base">
                <a:spcBef>
                  <a:spcPct val="0"/>
                </a:spcBef>
                <a:spcAft>
                  <a:spcPct val="0"/>
                </a:spcAft>
                <a:defRPr>
                  <a:solidFill>
                    <a:schemeClr val="tx1"/>
                  </a:solidFill>
                  <a:latin typeface="Calibri" panose="020F0502020204030204" pitchFamily="34" charset="0"/>
                </a:defRPr>
              </a:lvl8pPr>
              <a:lvl9pPr marL="3886200" indent="-228600" defTabSz="912813" fontAlgn="base">
                <a:spcBef>
                  <a:spcPct val="0"/>
                </a:spcBef>
                <a:spcAft>
                  <a:spcPct val="0"/>
                </a:spcAft>
                <a:defRPr>
                  <a:solidFill>
                    <a:schemeClr val="tx1"/>
                  </a:solidFill>
                  <a:latin typeface="Calibri" panose="020F0502020204030204" pitchFamily="34" charset="0"/>
                </a:defRPr>
              </a:lvl9pPr>
            </a:lstStyle>
            <a:p>
              <a:pPr defTabSz="1217054" fontAlgn="base">
                <a:spcBef>
                  <a:spcPct val="0"/>
                </a:spcBef>
                <a:spcAft>
                  <a:spcPct val="0"/>
                </a:spcAft>
              </a:pPr>
              <a:r>
                <a:rPr lang="en-US" altLang="en-US" sz="1867" b="1">
                  <a:solidFill>
                    <a:srgbClr val="FFFFFF"/>
                  </a:solidFill>
                  <a:latin typeface="Century Gothic" panose="020B0502020202020204" pitchFamily="34" charset="0"/>
                </a:rPr>
                <a:t>3 NEW ENTRANTS</a:t>
              </a:r>
            </a:p>
          </p:txBody>
        </p:sp>
        <p:sp>
          <p:nvSpPr>
            <p:cNvPr id="122909" name="TextBox 60"/>
            <p:cNvSpPr txBox="1">
              <a:spLocks noChangeArrowheads="1"/>
            </p:cNvSpPr>
            <p:nvPr/>
          </p:nvSpPr>
          <p:spPr bwMode="auto">
            <a:xfrm>
              <a:off x="7014428" y="4687690"/>
              <a:ext cx="1567945" cy="284756"/>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fontAlgn="base">
                <a:spcBef>
                  <a:spcPct val="0"/>
                </a:spcBef>
                <a:spcAft>
                  <a:spcPct val="0"/>
                </a:spcAft>
                <a:defRPr>
                  <a:solidFill>
                    <a:schemeClr val="tx1"/>
                  </a:solidFill>
                  <a:latin typeface="Calibri" panose="020F0502020204030204" pitchFamily="34" charset="0"/>
                </a:defRPr>
              </a:lvl6pPr>
              <a:lvl7pPr marL="2971800" indent="-228600" defTabSz="912813" fontAlgn="base">
                <a:spcBef>
                  <a:spcPct val="0"/>
                </a:spcBef>
                <a:spcAft>
                  <a:spcPct val="0"/>
                </a:spcAft>
                <a:defRPr>
                  <a:solidFill>
                    <a:schemeClr val="tx1"/>
                  </a:solidFill>
                  <a:latin typeface="Calibri" panose="020F0502020204030204" pitchFamily="34" charset="0"/>
                </a:defRPr>
              </a:lvl7pPr>
              <a:lvl8pPr marL="3429000" indent="-228600" defTabSz="912813" fontAlgn="base">
                <a:spcBef>
                  <a:spcPct val="0"/>
                </a:spcBef>
                <a:spcAft>
                  <a:spcPct val="0"/>
                </a:spcAft>
                <a:defRPr>
                  <a:solidFill>
                    <a:schemeClr val="tx1"/>
                  </a:solidFill>
                  <a:latin typeface="Calibri" panose="020F0502020204030204" pitchFamily="34" charset="0"/>
                </a:defRPr>
              </a:lvl8pPr>
              <a:lvl9pPr marL="3886200" indent="-228600" defTabSz="912813" fontAlgn="base">
                <a:spcBef>
                  <a:spcPct val="0"/>
                </a:spcBef>
                <a:spcAft>
                  <a:spcPct val="0"/>
                </a:spcAft>
                <a:defRPr>
                  <a:solidFill>
                    <a:schemeClr val="tx1"/>
                  </a:solidFill>
                  <a:latin typeface="Calibri" panose="020F0502020204030204" pitchFamily="34" charset="0"/>
                </a:defRPr>
              </a:lvl9pPr>
            </a:lstStyle>
            <a:p>
              <a:pPr defTabSz="1217054" fontAlgn="base">
                <a:spcBef>
                  <a:spcPct val="0"/>
                </a:spcBef>
                <a:spcAft>
                  <a:spcPct val="0"/>
                </a:spcAft>
              </a:pPr>
              <a:r>
                <a:rPr lang="en-US" altLang="en-US" sz="1867" b="1">
                  <a:solidFill>
                    <a:srgbClr val="FFFFFF"/>
                  </a:solidFill>
                  <a:latin typeface="Century Gothic" panose="020B0502020202020204" pitchFamily="34" charset="0"/>
                </a:rPr>
                <a:t>7 NEW ENTRANTS</a:t>
              </a:r>
            </a:p>
          </p:txBody>
        </p:sp>
      </p:grpSp>
    </p:spTree>
    <p:extLst>
      <p:ext uri="{BB962C8B-B14F-4D97-AF65-F5344CB8AC3E}">
        <p14:creationId xmlns:p14="http://schemas.microsoft.com/office/powerpoint/2010/main" val="249159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9" name="Straight Connector 68">
            <a:extLst>
              <a:ext uri="{FF2B5EF4-FFF2-40B4-BE49-F238E27FC236}">
                <a16:creationId xmlns:a16="http://schemas.microsoft.com/office/drawing/2014/main" id="{F64C62E5-CB21-4485-BD0F-A75235E2F948}"/>
              </a:ext>
            </a:extLst>
          </p:cNvPr>
          <p:cNvCxnSpPr>
            <a:cxnSpLocks/>
          </p:cNvCxnSpPr>
          <p:nvPr/>
        </p:nvCxnSpPr>
        <p:spPr>
          <a:xfrm>
            <a:off x="9138537" y="5189170"/>
            <a:ext cx="377927" cy="11503"/>
          </a:xfrm>
          <a:prstGeom prst="line">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49B914AA-1A45-4276-A7F6-30AD60DF0AA1}"/>
              </a:ext>
            </a:extLst>
          </p:cNvPr>
          <p:cNvSpPr/>
          <p:nvPr/>
        </p:nvSpPr>
        <p:spPr>
          <a:xfrm>
            <a:off x="1298759" y="1114324"/>
            <a:ext cx="10138659" cy="67507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dirty="0">
                <a:ln>
                  <a:noFill/>
                </a:ln>
                <a:solidFill>
                  <a:prstClr val="white"/>
                </a:solidFill>
                <a:effectLst/>
                <a:uLnTx/>
                <a:uFillTx/>
                <a:latin typeface="Calibri" panose="020F0502020204030204"/>
                <a:ea typeface="+mn-ea"/>
                <a:cs typeface="+mn-cs"/>
              </a:rPr>
              <a:t>HAULAGE RANGE</a:t>
            </a:r>
          </a:p>
        </p:txBody>
      </p:sp>
      <p:sp>
        <p:nvSpPr>
          <p:cNvPr id="7" name="Parallelogram 6">
            <a:extLst>
              <a:ext uri="{FF2B5EF4-FFF2-40B4-BE49-F238E27FC236}">
                <a16:creationId xmlns:a16="http://schemas.microsoft.com/office/drawing/2014/main" id="{761964C5-704A-4262-A5F4-F7FCCE75F08C}"/>
              </a:ext>
            </a:extLst>
          </p:cNvPr>
          <p:cNvSpPr/>
          <p:nvPr/>
        </p:nvSpPr>
        <p:spPr>
          <a:xfrm>
            <a:off x="-89587" y="105646"/>
            <a:ext cx="9711843" cy="542559"/>
          </a:xfrm>
          <a:prstGeom prst="parallelogram">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arallelogram 7">
            <a:extLst>
              <a:ext uri="{FF2B5EF4-FFF2-40B4-BE49-F238E27FC236}">
                <a16:creationId xmlns:a16="http://schemas.microsoft.com/office/drawing/2014/main" id="{1B90ED6E-F537-42DA-97D0-357848DEBB1B}"/>
              </a:ext>
            </a:extLst>
          </p:cNvPr>
          <p:cNvSpPr/>
          <p:nvPr/>
        </p:nvSpPr>
        <p:spPr>
          <a:xfrm>
            <a:off x="-149898" y="-20088"/>
            <a:ext cx="9711843" cy="573128"/>
          </a:xfrm>
          <a:prstGeom prst="parallelogram">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RACTOR RANGE</a:t>
            </a:r>
          </a:p>
        </p:txBody>
      </p:sp>
      <p:sp>
        <p:nvSpPr>
          <p:cNvPr id="3" name="Rectangle 2">
            <a:extLst>
              <a:ext uri="{FF2B5EF4-FFF2-40B4-BE49-F238E27FC236}">
                <a16:creationId xmlns:a16="http://schemas.microsoft.com/office/drawing/2014/main" id="{2E3E1634-95D6-4E59-A6CB-3CAD3E7E5BFD}"/>
              </a:ext>
            </a:extLst>
          </p:cNvPr>
          <p:cNvSpPr/>
          <p:nvPr/>
        </p:nvSpPr>
        <p:spPr>
          <a:xfrm>
            <a:off x="1298759" y="933834"/>
            <a:ext cx="10138659" cy="675073"/>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35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RACTOR RANGE</a:t>
            </a:r>
          </a:p>
        </p:txBody>
      </p:sp>
      <p:sp>
        <p:nvSpPr>
          <p:cNvPr id="13" name="Rectangle 12">
            <a:extLst>
              <a:ext uri="{FF2B5EF4-FFF2-40B4-BE49-F238E27FC236}">
                <a16:creationId xmlns:a16="http://schemas.microsoft.com/office/drawing/2014/main" id="{E9F24660-C86F-40AA-AEA7-DAFDB08DD080}"/>
              </a:ext>
            </a:extLst>
          </p:cNvPr>
          <p:cNvSpPr/>
          <p:nvPr/>
        </p:nvSpPr>
        <p:spPr>
          <a:xfrm>
            <a:off x="4019029" y="1775613"/>
            <a:ext cx="731331" cy="168769"/>
          </a:xfrm>
          <a:prstGeom prst="rect">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5FD69FF7-2FF1-442F-9902-200D4D085B24}"/>
              </a:ext>
            </a:extLst>
          </p:cNvPr>
          <p:cNvSpPr/>
          <p:nvPr/>
        </p:nvSpPr>
        <p:spPr>
          <a:xfrm>
            <a:off x="9683935" y="1762932"/>
            <a:ext cx="731331" cy="168769"/>
          </a:xfrm>
          <a:prstGeom prst="rect">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290CB94D-E085-40CC-BA4C-FFE76D7B7D68}"/>
              </a:ext>
            </a:extLst>
          </p:cNvPr>
          <p:cNvSpPr/>
          <p:nvPr/>
        </p:nvSpPr>
        <p:spPr>
          <a:xfrm>
            <a:off x="3477341" y="2808145"/>
            <a:ext cx="1800195" cy="548497"/>
          </a:xfrm>
          <a:prstGeom prst="rect">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5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21" name="Rectangle 20">
            <a:extLst>
              <a:ext uri="{FF2B5EF4-FFF2-40B4-BE49-F238E27FC236}">
                <a16:creationId xmlns:a16="http://schemas.microsoft.com/office/drawing/2014/main" id="{4879366F-2FA9-4DDE-803D-33B5ED9115FF}"/>
              </a:ext>
            </a:extLst>
          </p:cNvPr>
          <p:cNvSpPr/>
          <p:nvPr/>
        </p:nvSpPr>
        <p:spPr>
          <a:xfrm>
            <a:off x="3477341" y="2665484"/>
            <a:ext cx="1800195" cy="548497"/>
          </a:xfrm>
          <a:prstGeom prst="rect">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35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X2</a:t>
            </a:r>
          </a:p>
        </p:txBody>
      </p:sp>
      <p:sp>
        <p:nvSpPr>
          <p:cNvPr id="22" name="Rectangle 21">
            <a:extLst>
              <a:ext uri="{FF2B5EF4-FFF2-40B4-BE49-F238E27FC236}">
                <a16:creationId xmlns:a16="http://schemas.microsoft.com/office/drawing/2014/main" id="{4FEA2D1B-4EB3-4F3B-B3BC-B154673DFE7D}"/>
              </a:ext>
            </a:extLst>
          </p:cNvPr>
          <p:cNvSpPr/>
          <p:nvPr/>
        </p:nvSpPr>
        <p:spPr>
          <a:xfrm>
            <a:off x="9138536" y="2797645"/>
            <a:ext cx="1800195" cy="54849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5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23" name="Rectangle 22">
            <a:extLst>
              <a:ext uri="{FF2B5EF4-FFF2-40B4-BE49-F238E27FC236}">
                <a16:creationId xmlns:a16="http://schemas.microsoft.com/office/drawing/2014/main" id="{29486637-2F93-4BB1-988B-AB73EC8CAF44}"/>
              </a:ext>
            </a:extLst>
          </p:cNvPr>
          <p:cNvSpPr/>
          <p:nvPr/>
        </p:nvSpPr>
        <p:spPr>
          <a:xfrm>
            <a:off x="9138536" y="2654984"/>
            <a:ext cx="1800195" cy="548497"/>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35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6X4</a:t>
            </a:r>
          </a:p>
        </p:txBody>
      </p:sp>
      <p:cxnSp>
        <p:nvCxnSpPr>
          <p:cNvPr id="81" name="Straight Connector 80">
            <a:extLst>
              <a:ext uri="{FF2B5EF4-FFF2-40B4-BE49-F238E27FC236}">
                <a16:creationId xmlns:a16="http://schemas.microsoft.com/office/drawing/2014/main" id="{C03F06CE-4D8E-4BFF-AB96-755A01FF9C2C}"/>
              </a:ext>
            </a:extLst>
          </p:cNvPr>
          <p:cNvCxnSpPr>
            <a:cxnSpLocks/>
          </p:cNvCxnSpPr>
          <p:nvPr/>
        </p:nvCxnSpPr>
        <p:spPr>
          <a:xfrm>
            <a:off x="4390612" y="1941181"/>
            <a:ext cx="0" cy="703523"/>
          </a:xfrm>
          <a:prstGeom prst="line">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id="{AAA75808-F6CE-4712-8180-AA453382B7FB}"/>
              </a:ext>
            </a:extLst>
          </p:cNvPr>
          <p:cNvSpPr/>
          <p:nvPr/>
        </p:nvSpPr>
        <p:spPr>
          <a:xfrm>
            <a:off x="4288784" y="2475941"/>
            <a:ext cx="185933" cy="187841"/>
          </a:xfrm>
          <a:prstGeom prst="ellipse">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83" name="Straight Connector 82">
            <a:extLst>
              <a:ext uri="{FF2B5EF4-FFF2-40B4-BE49-F238E27FC236}">
                <a16:creationId xmlns:a16="http://schemas.microsoft.com/office/drawing/2014/main" id="{8078DF15-98DC-42F9-A9DB-7CA43AEC0D83}"/>
              </a:ext>
            </a:extLst>
          </p:cNvPr>
          <p:cNvCxnSpPr>
            <a:cxnSpLocks/>
          </p:cNvCxnSpPr>
          <p:nvPr/>
        </p:nvCxnSpPr>
        <p:spPr>
          <a:xfrm>
            <a:off x="10041012" y="1924665"/>
            <a:ext cx="0" cy="703523"/>
          </a:xfrm>
          <a:prstGeom prst="line">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84" name="Oval 83">
            <a:extLst>
              <a:ext uri="{FF2B5EF4-FFF2-40B4-BE49-F238E27FC236}">
                <a16:creationId xmlns:a16="http://schemas.microsoft.com/office/drawing/2014/main" id="{FFB3DE90-29A6-4D1A-A31A-AB941AD9E779}"/>
              </a:ext>
            </a:extLst>
          </p:cNvPr>
          <p:cNvSpPr/>
          <p:nvPr/>
        </p:nvSpPr>
        <p:spPr>
          <a:xfrm>
            <a:off x="9946462" y="2480677"/>
            <a:ext cx="185933" cy="187841"/>
          </a:xfrm>
          <a:prstGeom prst="ellipse">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8" name="Picture 37">
            <a:extLst>
              <a:ext uri="{FF2B5EF4-FFF2-40B4-BE49-F238E27FC236}">
                <a16:creationId xmlns:a16="http://schemas.microsoft.com/office/drawing/2014/main" id="{E2342DA1-22B0-4326-B7D6-39D2CC0E201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437418" y="80705"/>
            <a:ext cx="621879" cy="622040"/>
          </a:xfrm>
          <a:prstGeom prst="rect">
            <a:avLst/>
          </a:prstGeom>
        </p:spPr>
      </p:pic>
      <p:sp>
        <p:nvSpPr>
          <p:cNvPr id="67" name="Oval 66">
            <a:extLst>
              <a:ext uri="{FF2B5EF4-FFF2-40B4-BE49-F238E27FC236}">
                <a16:creationId xmlns:a16="http://schemas.microsoft.com/office/drawing/2014/main" id="{2F7B276A-DBEB-4383-8832-161A62FA1D64}"/>
              </a:ext>
            </a:extLst>
          </p:cNvPr>
          <p:cNvSpPr/>
          <p:nvPr/>
        </p:nvSpPr>
        <p:spPr>
          <a:xfrm>
            <a:off x="9307211" y="5106753"/>
            <a:ext cx="185933" cy="187841"/>
          </a:xfrm>
          <a:prstGeom prst="ellipse">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8" name="Straight Connector 67">
            <a:extLst>
              <a:ext uri="{FF2B5EF4-FFF2-40B4-BE49-F238E27FC236}">
                <a16:creationId xmlns:a16="http://schemas.microsoft.com/office/drawing/2014/main" id="{BF73150A-147F-4B38-922F-2619A9030EAA}"/>
              </a:ext>
            </a:extLst>
          </p:cNvPr>
          <p:cNvCxnSpPr>
            <a:cxnSpLocks/>
          </p:cNvCxnSpPr>
          <p:nvPr/>
        </p:nvCxnSpPr>
        <p:spPr>
          <a:xfrm>
            <a:off x="9152391" y="3266539"/>
            <a:ext cx="0" cy="1940499"/>
          </a:xfrm>
          <a:prstGeom prst="line">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2005323" y="3429001"/>
            <a:ext cx="2354259" cy="664159"/>
            <a:chOff x="1496167" y="2801633"/>
            <a:chExt cx="1765694" cy="547931"/>
          </a:xfrm>
        </p:grpSpPr>
        <p:cxnSp>
          <p:nvCxnSpPr>
            <p:cNvPr id="63" name="Straight Connector 62">
              <a:extLst>
                <a:ext uri="{FF2B5EF4-FFF2-40B4-BE49-F238E27FC236}">
                  <a16:creationId xmlns:a16="http://schemas.microsoft.com/office/drawing/2014/main" id="{48D34942-0DFD-46FB-A329-928371B7BA31}"/>
                </a:ext>
              </a:extLst>
            </p:cNvPr>
            <p:cNvCxnSpPr>
              <a:cxnSpLocks/>
            </p:cNvCxnSpPr>
            <p:nvPr/>
          </p:nvCxnSpPr>
          <p:spPr>
            <a:xfrm>
              <a:off x="2769407" y="3054750"/>
              <a:ext cx="492454" cy="0"/>
            </a:xfrm>
            <a:prstGeom prst="line">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66" name="Oval 65">
              <a:extLst>
                <a:ext uri="{FF2B5EF4-FFF2-40B4-BE49-F238E27FC236}">
                  <a16:creationId xmlns:a16="http://schemas.microsoft.com/office/drawing/2014/main" id="{8059863E-9F3E-4819-9A84-B8C3D5D9F27B}"/>
                </a:ext>
              </a:extLst>
            </p:cNvPr>
            <p:cNvSpPr/>
            <p:nvPr/>
          </p:nvSpPr>
          <p:spPr>
            <a:xfrm>
              <a:off x="2684359" y="2978928"/>
              <a:ext cx="139450" cy="140881"/>
            </a:xfrm>
            <a:prstGeom prst="ellipse">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269C6CDF-3712-4334-AC41-6A508E576A02}"/>
                </a:ext>
              </a:extLst>
            </p:cNvPr>
            <p:cNvSpPr/>
            <p:nvPr/>
          </p:nvSpPr>
          <p:spPr>
            <a:xfrm>
              <a:off x="1496167" y="2908629"/>
              <a:ext cx="1188191" cy="440935"/>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5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39" name="Rectangle 38">
              <a:extLst>
                <a:ext uri="{FF2B5EF4-FFF2-40B4-BE49-F238E27FC236}">
                  <a16:creationId xmlns:a16="http://schemas.microsoft.com/office/drawing/2014/main" id="{A604FDBA-D520-4259-9505-BC68635A26E7}"/>
                </a:ext>
              </a:extLst>
            </p:cNvPr>
            <p:cNvSpPr/>
            <p:nvPr/>
          </p:nvSpPr>
          <p:spPr>
            <a:xfrm>
              <a:off x="1496167" y="2801633"/>
              <a:ext cx="1188191" cy="44093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020</a:t>
              </a: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p>
          </p:txBody>
        </p:sp>
      </p:grpSp>
      <p:sp>
        <p:nvSpPr>
          <p:cNvPr id="47" name="Rectangle 46">
            <a:extLst>
              <a:ext uri="{FF2B5EF4-FFF2-40B4-BE49-F238E27FC236}">
                <a16:creationId xmlns:a16="http://schemas.microsoft.com/office/drawing/2014/main" id="{ECB8C496-5133-4D09-B79D-E6B45DEBA7AF}"/>
              </a:ext>
            </a:extLst>
          </p:cNvPr>
          <p:cNvSpPr/>
          <p:nvPr/>
        </p:nvSpPr>
        <p:spPr>
          <a:xfrm>
            <a:off x="9493143" y="5000637"/>
            <a:ext cx="1661245" cy="58791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5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48" name="Rectangle 47">
            <a:extLst>
              <a:ext uri="{FF2B5EF4-FFF2-40B4-BE49-F238E27FC236}">
                <a16:creationId xmlns:a16="http://schemas.microsoft.com/office/drawing/2014/main" id="{189171E4-E9F9-41B0-BFB6-F0221D24AC68}"/>
              </a:ext>
            </a:extLst>
          </p:cNvPr>
          <p:cNvSpPr/>
          <p:nvPr/>
        </p:nvSpPr>
        <p:spPr>
          <a:xfrm>
            <a:off x="9493145" y="4857974"/>
            <a:ext cx="1661244" cy="587913"/>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5525</a:t>
            </a: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endParaRPr kumimoji="0" lang="en-US" sz="1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32" name="Straight Connector 31">
            <a:extLst>
              <a:ext uri="{FF2B5EF4-FFF2-40B4-BE49-F238E27FC236}">
                <a16:creationId xmlns:a16="http://schemas.microsoft.com/office/drawing/2014/main" id="{CFA7ECB9-8C49-492A-96BB-0FE38DDAE9B1}"/>
              </a:ext>
            </a:extLst>
          </p:cNvPr>
          <p:cNvCxnSpPr>
            <a:cxnSpLocks/>
          </p:cNvCxnSpPr>
          <p:nvPr/>
        </p:nvCxnSpPr>
        <p:spPr>
          <a:xfrm>
            <a:off x="4359582" y="3362219"/>
            <a:ext cx="3421" cy="2962835"/>
          </a:xfrm>
          <a:prstGeom prst="line">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378DD247-8416-461B-BF92-741C2D7801C4}"/>
              </a:ext>
            </a:extLst>
          </p:cNvPr>
          <p:cNvSpPr/>
          <p:nvPr/>
        </p:nvSpPr>
        <p:spPr>
          <a:xfrm>
            <a:off x="5041786" y="4489024"/>
            <a:ext cx="1612639" cy="58791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5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44" name="Rectangle 43">
            <a:extLst>
              <a:ext uri="{FF2B5EF4-FFF2-40B4-BE49-F238E27FC236}">
                <a16:creationId xmlns:a16="http://schemas.microsoft.com/office/drawing/2014/main" id="{83A74350-A364-4736-B5E9-BAA85C98AD1D}"/>
              </a:ext>
            </a:extLst>
          </p:cNvPr>
          <p:cNvSpPr/>
          <p:nvPr/>
        </p:nvSpPr>
        <p:spPr>
          <a:xfrm>
            <a:off x="5041787" y="4346361"/>
            <a:ext cx="1612637" cy="587913"/>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5225</a:t>
            </a: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p>
        </p:txBody>
      </p:sp>
      <p:cxnSp>
        <p:nvCxnSpPr>
          <p:cNvPr id="45" name="Straight Connector 44">
            <a:extLst>
              <a:ext uri="{FF2B5EF4-FFF2-40B4-BE49-F238E27FC236}">
                <a16:creationId xmlns:a16="http://schemas.microsoft.com/office/drawing/2014/main" id="{E4A710C3-C406-4B89-9FB1-4F6C46EFCAB5}"/>
              </a:ext>
            </a:extLst>
          </p:cNvPr>
          <p:cNvCxnSpPr>
            <a:cxnSpLocks/>
          </p:cNvCxnSpPr>
          <p:nvPr/>
        </p:nvCxnSpPr>
        <p:spPr>
          <a:xfrm>
            <a:off x="4345752" y="4614059"/>
            <a:ext cx="656605" cy="0"/>
          </a:xfrm>
          <a:prstGeom prst="line">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3979B455-E4CD-437F-9A78-F57B65F6BF2E}"/>
              </a:ext>
            </a:extLst>
          </p:cNvPr>
          <p:cNvSpPr/>
          <p:nvPr/>
        </p:nvSpPr>
        <p:spPr>
          <a:xfrm>
            <a:off x="4864196" y="4491104"/>
            <a:ext cx="185933" cy="187841"/>
          </a:xfrm>
          <a:prstGeom prst="ellipse">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p:cNvGrpSpPr/>
          <p:nvPr/>
        </p:nvGrpSpPr>
        <p:grpSpPr>
          <a:xfrm>
            <a:off x="1979874" y="4278262"/>
            <a:ext cx="2388177" cy="730575"/>
            <a:chOff x="1975679" y="4875982"/>
            <a:chExt cx="2388177" cy="730575"/>
          </a:xfrm>
        </p:grpSpPr>
        <p:sp>
          <p:nvSpPr>
            <p:cNvPr id="34" name="Oval 33">
              <a:extLst>
                <a:ext uri="{FF2B5EF4-FFF2-40B4-BE49-F238E27FC236}">
                  <a16:creationId xmlns:a16="http://schemas.microsoft.com/office/drawing/2014/main" id="{BDE42735-5B8B-4A4C-9D98-80BBD1E6F315}"/>
                </a:ext>
              </a:extLst>
            </p:cNvPr>
            <p:cNvSpPr/>
            <p:nvPr/>
          </p:nvSpPr>
          <p:spPr>
            <a:xfrm>
              <a:off x="3572760" y="5155656"/>
              <a:ext cx="185933" cy="187841"/>
            </a:xfrm>
            <a:prstGeom prst="ellipse">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E1416B4B-A418-4DC9-A73C-94DF7309565C}"/>
                </a:ext>
              </a:extLst>
            </p:cNvPr>
            <p:cNvSpPr/>
            <p:nvPr/>
          </p:nvSpPr>
          <p:spPr>
            <a:xfrm>
              <a:off x="1975679" y="5018644"/>
              <a:ext cx="1612638" cy="58791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5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42" name="Rectangle 41">
              <a:extLst>
                <a:ext uri="{FF2B5EF4-FFF2-40B4-BE49-F238E27FC236}">
                  <a16:creationId xmlns:a16="http://schemas.microsoft.com/office/drawing/2014/main" id="{1C76F8C6-7E62-4A8B-9CC0-55F385E6ACA3}"/>
                </a:ext>
              </a:extLst>
            </p:cNvPr>
            <p:cNvSpPr/>
            <p:nvPr/>
          </p:nvSpPr>
          <p:spPr>
            <a:xfrm>
              <a:off x="1975680" y="4875982"/>
              <a:ext cx="1612637" cy="587913"/>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220</a:t>
              </a: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p>
          </p:txBody>
        </p:sp>
        <p:cxnSp>
          <p:nvCxnSpPr>
            <p:cNvPr id="50" name="Straight Connector 49">
              <a:extLst>
                <a:ext uri="{FF2B5EF4-FFF2-40B4-BE49-F238E27FC236}">
                  <a16:creationId xmlns:a16="http://schemas.microsoft.com/office/drawing/2014/main" id="{48D34942-0DFD-46FB-A329-928371B7BA31}"/>
                </a:ext>
              </a:extLst>
            </p:cNvPr>
            <p:cNvCxnSpPr>
              <a:cxnSpLocks/>
            </p:cNvCxnSpPr>
            <p:nvPr/>
          </p:nvCxnSpPr>
          <p:spPr>
            <a:xfrm>
              <a:off x="3707251" y="5261634"/>
              <a:ext cx="656605" cy="0"/>
            </a:xfrm>
            <a:prstGeom prst="line">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grpSp>
      <p:sp>
        <p:nvSpPr>
          <p:cNvPr id="51" name="Rectangle 50">
            <a:extLst>
              <a:ext uri="{FF2B5EF4-FFF2-40B4-BE49-F238E27FC236}">
                <a16:creationId xmlns:a16="http://schemas.microsoft.com/office/drawing/2014/main" id="{378DD247-8416-461B-BF92-741C2D7801C4}"/>
              </a:ext>
            </a:extLst>
          </p:cNvPr>
          <p:cNvSpPr/>
          <p:nvPr/>
        </p:nvSpPr>
        <p:spPr>
          <a:xfrm>
            <a:off x="5041785" y="5342453"/>
            <a:ext cx="1612639" cy="58791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5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52" name="Rectangle 51">
            <a:extLst>
              <a:ext uri="{FF2B5EF4-FFF2-40B4-BE49-F238E27FC236}">
                <a16:creationId xmlns:a16="http://schemas.microsoft.com/office/drawing/2014/main" id="{83A74350-A364-4736-B5E9-BAA85C98AD1D}"/>
              </a:ext>
            </a:extLst>
          </p:cNvPr>
          <p:cNvSpPr/>
          <p:nvPr/>
        </p:nvSpPr>
        <p:spPr>
          <a:xfrm>
            <a:off x="5041786" y="5199790"/>
            <a:ext cx="1612637" cy="587913"/>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5425</a:t>
            </a: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p>
        </p:txBody>
      </p:sp>
      <p:sp>
        <p:nvSpPr>
          <p:cNvPr id="54" name="Oval 53">
            <a:extLst>
              <a:ext uri="{FF2B5EF4-FFF2-40B4-BE49-F238E27FC236}">
                <a16:creationId xmlns:a16="http://schemas.microsoft.com/office/drawing/2014/main" id="{3979B455-E4CD-437F-9A78-F57B65F6BF2E}"/>
              </a:ext>
            </a:extLst>
          </p:cNvPr>
          <p:cNvSpPr/>
          <p:nvPr/>
        </p:nvSpPr>
        <p:spPr>
          <a:xfrm>
            <a:off x="4864196" y="5372242"/>
            <a:ext cx="185933" cy="187841"/>
          </a:xfrm>
          <a:prstGeom prst="ellipse">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5" name="Straight Connector 54">
            <a:extLst>
              <a:ext uri="{FF2B5EF4-FFF2-40B4-BE49-F238E27FC236}">
                <a16:creationId xmlns:a16="http://schemas.microsoft.com/office/drawing/2014/main" id="{E4A710C3-C406-4B89-9FB1-4F6C46EFCAB5}"/>
              </a:ext>
            </a:extLst>
          </p:cNvPr>
          <p:cNvCxnSpPr>
            <a:cxnSpLocks/>
          </p:cNvCxnSpPr>
          <p:nvPr/>
        </p:nvCxnSpPr>
        <p:spPr>
          <a:xfrm>
            <a:off x="4332690" y="5467711"/>
            <a:ext cx="656605" cy="0"/>
          </a:xfrm>
          <a:prstGeom prst="line">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4978400" y="4278262"/>
            <a:ext cx="1796432" cy="2552028"/>
          </a:xfrm>
          <a:prstGeom prst="rect">
            <a:avLst/>
          </a:prstGeom>
          <a:noFill/>
          <a:ln w="28575">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TextBox 39"/>
          <p:cNvSpPr txBox="1"/>
          <p:nvPr/>
        </p:nvSpPr>
        <p:spPr>
          <a:xfrm>
            <a:off x="8714765" y="6414656"/>
            <a:ext cx="3477234" cy="30777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U and N cabin comes with AC option</a:t>
            </a:r>
          </a:p>
        </p:txBody>
      </p:sp>
      <p:sp>
        <p:nvSpPr>
          <p:cNvPr id="41" name="Rectangle 40">
            <a:extLst>
              <a:ext uri="{FF2B5EF4-FFF2-40B4-BE49-F238E27FC236}">
                <a16:creationId xmlns:a16="http://schemas.microsoft.com/office/drawing/2014/main" id="{378DD247-8416-461B-BF92-741C2D7801C4}"/>
              </a:ext>
            </a:extLst>
          </p:cNvPr>
          <p:cNvSpPr/>
          <p:nvPr/>
        </p:nvSpPr>
        <p:spPr>
          <a:xfrm>
            <a:off x="5025261" y="6172085"/>
            <a:ext cx="1612639" cy="58791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5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46" name="Rectangle 45">
            <a:extLst>
              <a:ext uri="{FF2B5EF4-FFF2-40B4-BE49-F238E27FC236}">
                <a16:creationId xmlns:a16="http://schemas.microsoft.com/office/drawing/2014/main" id="{83A74350-A364-4736-B5E9-BAA85C98AD1D}"/>
              </a:ext>
            </a:extLst>
          </p:cNvPr>
          <p:cNvSpPr/>
          <p:nvPr/>
        </p:nvSpPr>
        <p:spPr>
          <a:xfrm>
            <a:off x="5025262" y="6029422"/>
            <a:ext cx="1612637" cy="587913"/>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5525</a:t>
            </a: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p>
        </p:txBody>
      </p:sp>
      <p:sp>
        <p:nvSpPr>
          <p:cNvPr id="53" name="Oval 52">
            <a:extLst>
              <a:ext uri="{FF2B5EF4-FFF2-40B4-BE49-F238E27FC236}">
                <a16:creationId xmlns:a16="http://schemas.microsoft.com/office/drawing/2014/main" id="{3979B455-E4CD-437F-9A78-F57B65F6BF2E}"/>
              </a:ext>
            </a:extLst>
          </p:cNvPr>
          <p:cNvSpPr/>
          <p:nvPr/>
        </p:nvSpPr>
        <p:spPr>
          <a:xfrm>
            <a:off x="4847672" y="6229585"/>
            <a:ext cx="185933" cy="187841"/>
          </a:xfrm>
          <a:prstGeom prst="ellipse">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6" name="Straight Connector 55">
            <a:extLst>
              <a:ext uri="{FF2B5EF4-FFF2-40B4-BE49-F238E27FC236}">
                <a16:creationId xmlns:a16="http://schemas.microsoft.com/office/drawing/2014/main" id="{E4A710C3-C406-4B89-9FB1-4F6C46EFCAB5}"/>
              </a:ext>
            </a:extLst>
          </p:cNvPr>
          <p:cNvCxnSpPr>
            <a:cxnSpLocks/>
          </p:cNvCxnSpPr>
          <p:nvPr/>
        </p:nvCxnSpPr>
        <p:spPr>
          <a:xfrm>
            <a:off x="4343876" y="6325053"/>
            <a:ext cx="656605" cy="0"/>
          </a:xfrm>
          <a:prstGeom prst="line">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grpSp>
        <p:nvGrpSpPr>
          <p:cNvPr id="57" name="Group 56"/>
          <p:cNvGrpSpPr/>
          <p:nvPr/>
        </p:nvGrpSpPr>
        <p:grpSpPr>
          <a:xfrm>
            <a:off x="1957958" y="5101642"/>
            <a:ext cx="2388177" cy="664159"/>
            <a:chOff x="1975679" y="4875982"/>
            <a:chExt cx="2388177" cy="730575"/>
          </a:xfrm>
        </p:grpSpPr>
        <p:sp>
          <p:nvSpPr>
            <p:cNvPr id="58" name="Oval 57">
              <a:extLst>
                <a:ext uri="{FF2B5EF4-FFF2-40B4-BE49-F238E27FC236}">
                  <a16:creationId xmlns:a16="http://schemas.microsoft.com/office/drawing/2014/main" id="{BDE42735-5B8B-4A4C-9D98-80BBD1E6F315}"/>
                </a:ext>
              </a:extLst>
            </p:cNvPr>
            <p:cNvSpPr/>
            <p:nvPr/>
          </p:nvSpPr>
          <p:spPr>
            <a:xfrm>
              <a:off x="3572760" y="5155656"/>
              <a:ext cx="185933" cy="187841"/>
            </a:xfrm>
            <a:prstGeom prst="ellipse">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Rectangle 58">
              <a:extLst>
                <a:ext uri="{FF2B5EF4-FFF2-40B4-BE49-F238E27FC236}">
                  <a16:creationId xmlns:a16="http://schemas.microsoft.com/office/drawing/2014/main" id="{E1416B4B-A418-4DC9-A73C-94DF7309565C}"/>
                </a:ext>
              </a:extLst>
            </p:cNvPr>
            <p:cNvSpPr/>
            <p:nvPr/>
          </p:nvSpPr>
          <p:spPr>
            <a:xfrm>
              <a:off x="1975679" y="5018644"/>
              <a:ext cx="1612638" cy="58791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5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60" name="Rectangle 59">
              <a:extLst>
                <a:ext uri="{FF2B5EF4-FFF2-40B4-BE49-F238E27FC236}">
                  <a16:creationId xmlns:a16="http://schemas.microsoft.com/office/drawing/2014/main" id="{1C76F8C6-7E62-4A8B-9CC0-55F385E6ACA3}"/>
                </a:ext>
              </a:extLst>
            </p:cNvPr>
            <p:cNvSpPr/>
            <p:nvPr/>
          </p:nvSpPr>
          <p:spPr>
            <a:xfrm>
              <a:off x="1975680" y="4875982"/>
              <a:ext cx="1612637" cy="587913"/>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420</a:t>
              </a: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p>
          </p:txBody>
        </p:sp>
        <p:cxnSp>
          <p:nvCxnSpPr>
            <p:cNvPr id="61" name="Straight Connector 60">
              <a:extLst>
                <a:ext uri="{FF2B5EF4-FFF2-40B4-BE49-F238E27FC236}">
                  <a16:creationId xmlns:a16="http://schemas.microsoft.com/office/drawing/2014/main" id="{48D34942-0DFD-46FB-A329-928371B7BA31}"/>
                </a:ext>
              </a:extLst>
            </p:cNvPr>
            <p:cNvCxnSpPr>
              <a:cxnSpLocks/>
            </p:cNvCxnSpPr>
            <p:nvPr/>
          </p:nvCxnSpPr>
          <p:spPr>
            <a:xfrm>
              <a:off x="3707251" y="5261634"/>
              <a:ext cx="656605" cy="0"/>
            </a:xfrm>
            <a:prstGeom prst="line">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1971405" y="5969001"/>
            <a:ext cx="2388177" cy="664159"/>
            <a:chOff x="1975679" y="4875982"/>
            <a:chExt cx="2388177" cy="730575"/>
          </a:xfrm>
        </p:grpSpPr>
        <p:sp>
          <p:nvSpPr>
            <p:cNvPr id="64" name="Oval 63">
              <a:extLst>
                <a:ext uri="{FF2B5EF4-FFF2-40B4-BE49-F238E27FC236}">
                  <a16:creationId xmlns:a16="http://schemas.microsoft.com/office/drawing/2014/main" id="{BDE42735-5B8B-4A4C-9D98-80BBD1E6F315}"/>
                </a:ext>
              </a:extLst>
            </p:cNvPr>
            <p:cNvSpPr/>
            <p:nvPr/>
          </p:nvSpPr>
          <p:spPr>
            <a:xfrm>
              <a:off x="3572760" y="5155656"/>
              <a:ext cx="185933" cy="187841"/>
            </a:xfrm>
            <a:prstGeom prst="ellipse">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E1416B4B-A418-4DC9-A73C-94DF7309565C}"/>
                </a:ext>
              </a:extLst>
            </p:cNvPr>
            <p:cNvSpPr/>
            <p:nvPr/>
          </p:nvSpPr>
          <p:spPr>
            <a:xfrm>
              <a:off x="1975679" y="5018644"/>
              <a:ext cx="1612638" cy="58791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5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70" name="Rectangle 69">
              <a:extLst>
                <a:ext uri="{FF2B5EF4-FFF2-40B4-BE49-F238E27FC236}">
                  <a16:creationId xmlns:a16="http://schemas.microsoft.com/office/drawing/2014/main" id="{1C76F8C6-7E62-4A8B-9CC0-55F385E6ACA3}"/>
                </a:ext>
              </a:extLst>
            </p:cNvPr>
            <p:cNvSpPr/>
            <p:nvPr/>
          </p:nvSpPr>
          <p:spPr>
            <a:xfrm>
              <a:off x="1975680" y="4875982"/>
              <a:ext cx="1612637" cy="587913"/>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620</a:t>
              </a: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p>
          </p:txBody>
        </p:sp>
        <p:cxnSp>
          <p:nvCxnSpPr>
            <p:cNvPr id="71" name="Straight Connector 70">
              <a:extLst>
                <a:ext uri="{FF2B5EF4-FFF2-40B4-BE49-F238E27FC236}">
                  <a16:creationId xmlns:a16="http://schemas.microsoft.com/office/drawing/2014/main" id="{48D34942-0DFD-46FB-A329-928371B7BA31}"/>
                </a:ext>
              </a:extLst>
            </p:cNvPr>
            <p:cNvCxnSpPr>
              <a:cxnSpLocks/>
            </p:cNvCxnSpPr>
            <p:nvPr/>
          </p:nvCxnSpPr>
          <p:spPr>
            <a:xfrm>
              <a:off x="3707251" y="5261634"/>
              <a:ext cx="656605" cy="0"/>
            </a:xfrm>
            <a:prstGeom prst="line">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grpSp>
      <p:sp>
        <p:nvSpPr>
          <p:cNvPr id="72" name="Rectangle 71"/>
          <p:cNvSpPr/>
          <p:nvPr/>
        </p:nvSpPr>
        <p:spPr>
          <a:xfrm>
            <a:off x="1843241" y="4215850"/>
            <a:ext cx="1796432" cy="1585973"/>
          </a:xfrm>
          <a:prstGeom prst="rect">
            <a:avLst/>
          </a:prstGeom>
          <a:noFill/>
          <a:ln w="28575">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8878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9B914AA-1A45-4276-A7F6-30AD60DF0AA1}"/>
              </a:ext>
            </a:extLst>
          </p:cNvPr>
          <p:cNvSpPr/>
          <p:nvPr/>
        </p:nvSpPr>
        <p:spPr>
          <a:xfrm>
            <a:off x="147624" y="1239969"/>
            <a:ext cx="11913160" cy="67507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dirty="0">
                <a:ln>
                  <a:noFill/>
                </a:ln>
                <a:solidFill>
                  <a:prstClr val="white"/>
                </a:solidFill>
                <a:effectLst/>
                <a:uLnTx/>
                <a:uFillTx/>
                <a:latin typeface="Calibri" panose="020F0502020204030204"/>
                <a:ea typeface="+mn-ea"/>
                <a:cs typeface="+mn-cs"/>
              </a:rPr>
              <a:t>HAULAGE RANGE</a:t>
            </a:r>
          </a:p>
        </p:txBody>
      </p:sp>
      <p:sp>
        <p:nvSpPr>
          <p:cNvPr id="7" name="Parallelogram 6">
            <a:extLst>
              <a:ext uri="{FF2B5EF4-FFF2-40B4-BE49-F238E27FC236}">
                <a16:creationId xmlns:a16="http://schemas.microsoft.com/office/drawing/2014/main" id="{761964C5-704A-4262-A5F4-F7FCCE75F08C}"/>
              </a:ext>
            </a:extLst>
          </p:cNvPr>
          <p:cNvSpPr/>
          <p:nvPr/>
        </p:nvSpPr>
        <p:spPr>
          <a:xfrm>
            <a:off x="-63098" y="116894"/>
            <a:ext cx="9711843" cy="542559"/>
          </a:xfrm>
          <a:prstGeom prst="parallelogram">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arallelogram 7">
            <a:extLst>
              <a:ext uri="{FF2B5EF4-FFF2-40B4-BE49-F238E27FC236}">
                <a16:creationId xmlns:a16="http://schemas.microsoft.com/office/drawing/2014/main" id="{1B90ED6E-F537-42DA-97D0-357848DEBB1B}"/>
              </a:ext>
            </a:extLst>
          </p:cNvPr>
          <p:cNvSpPr/>
          <p:nvPr/>
        </p:nvSpPr>
        <p:spPr>
          <a:xfrm>
            <a:off x="-149898" y="-20088"/>
            <a:ext cx="9711843" cy="573128"/>
          </a:xfrm>
          <a:prstGeom prst="parallelogram">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IPPER RANGE</a:t>
            </a:r>
          </a:p>
        </p:txBody>
      </p:sp>
      <p:sp>
        <p:nvSpPr>
          <p:cNvPr id="3" name="Rectangle 2">
            <a:extLst>
              <a:ext uri="{FF2B5EF4-FFF2-40B4-BE49-F238E27FC236}">
                <a16:creationId xmlns:a16="http://schemas.microsoft.com/office/drawing/2014/main" id="{2E3E1634-95D6-4E59-A6CB-3CAD3E7E5BFD}"/>
              </a:ext>
            </a:extLst>
          </p:cNvPr>
          <p:cNvSpPr/>
          <p:nvPr/>
        </p:nvSpPr>
        <p:spPr>
          <a:xfrm>
            <a:off x="147624" y="1059481"/>
            <a:ext cx="11913160" cy="675073"/>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35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IPPER RANGE</a:t>
            </a:r>
          </a:p>
        </p:txBody>
      </p:sp>
      <p:pic>
        <p:nvPicPr>
          <p:cNvPr id="99" name="Picture 98">
            <a:extLst>
              <a:ext uri="{FF2B5EF4-FFF2-40B4-BE49-F238E27FC236}">
                <a16:creationId xmlns:a16="http://schemas.microsoft.com/office/drawing/2014/main" id="{D36469D5-DB12-4086-85F9-D43322EFAB2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437418" y="80705"/>
            <a:ext cx="621879" cy="622040"/>
          </a:xfrm>
          <a:prstGeom prst="rect">
            <a:avLst/>
          </a:prstGeom>
        </p:spPr>
      </p:pic>
      <p:sp>
        <p:nvSpPr>
          <p:cNvPr id="19" name="Rectangle 18">
            <a:extLst>
              <a:ext uri="{FF2B5EF4-FFF2-40B4-BE49-F238E27FC236}">
                <a16:creationId xmlns:a16="http://schemas.microsoft.com/office/drawing/2014/main" id="{3068FB00-AEA1-4A09-AEA2-0783AA61BDF3}"/>
              </a:ext>
            </a:extLst>
          </p:cNvPr>
          <p:cNvSpPr/>
          <p:nvPr/>
        </p:nvSpPr>
        <p:spPr>
          <a:xfrm>
            <a:off x="81473" y="2973523"/>
            <a:ext cx="1277329" cy="568199"/>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4" name="Rectangle 3">
            <a:extLst>
              <a:ext uri="{FF2B5EF4-FFF2-40B4-BE49-F238E27FC236}">
                <a16:creationId xmlns:a16="http://schemas.microsoft.com/office/drawing/2014/main" id="{FE6E6FBA-9FC8-4F17-BA95-0DE60A808F35}"/>
              </a:ext>
            </a:extLst>
          </p:cNvPr>
          <p:cNvSpPr/>
          <p:nvPr/>
        </p:nvSpPr>
        <p:spPr>
          <a:xfrm>
            <a:off x="460677" y="1911522"/>
            <a:ext cx="518915" cy="174831"/>
          </a:xfrm>
          <a:prstGeom prst="rect">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D45D1B39-E66C-48C8-9FED-F245CF760E00}"/>
              </a:ext>
            </a:extLst>
          </p:cNvPr>
          <p:cNvSpPr/>
          <p:nvPr/>
        </p:nvSpPr>
        <p:spPr>
          <a:xfrm>
            <a:off x="81473" y="2825737"/>
            <a:ext cx="1277329" cy="568199"/>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X2</a:t>
            </a:r>
          </a:p>
        </p:txBody>
      </p:sp>
      <p:cxnSp>
        <p:nvCxnSpPr>
          <p:cNvPr id="49" name="Straight Connector 48">
            <a:extLst>
              <a:ext uri="{FF2B5EF4-FFF2-40B4-BE49-F238E27FC236}">
                <a16:creationId xmlns:a16="http://schemas.microsoft.com/office/drawing/2014/main" id="{A268F996-A766-463B-B704-8CC4A6A7C42C}"/>
              </a:ext>
            </a:extLst>
          </p:cNvPr>
          <p:cNvCxnSpPr>
            <a:cxnSpLocks/>
          </p:cNvCxnSpPr>
          <p:nvPr/>
        </p:nvCxnSpPr>
        <p:spPr>
          <a:xfrm flipH="1">
            <a:off x="81472" y="3527151"/>
            <a:ext cx="9979" cy="1198895"/>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031E777-A60F-4A89-A9BD-CF437B95F4C0}"/>
              </a:ext>
            </a:extLst>
          </p:cNvPr>
          <p:cNvCxnSpPr>
            <a:cxnSpLocks/>
          </p:cNvCxnSpPr>
          <p:nvPr/>
        </p:nvCxnSpPr>
        <p:spPr>
          <a:xfrm>
            <a:off x="72160" y="4726045"/>
            <a:ext cx="233240" cy="577"/>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F91FECC-064C-48D7-AFED-A7A04A4838D2}"/>
              </a:ext>
            </a:extLst>
          </p:cNvPr>
          <p:cNvCxnSpPr>
            <a:cxnSpLocks/>
          </p:cNvCxnSpPr>
          <p:nvPr/>
        </p:nvCxnSpPr>
        <p:spPr>
          <a:xfrm>
            <a:off x="713484" y="2078733"/>
            <a:ext cx="0" cy="728792"/>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15F19E3F-44D4-4A1B-89E6-9C7E18F8F998}"/>
              </a:ext>
            </a:extLst>
          </p:cNvPr>
          <p:cNvSpPr/>
          <p:nvPr/>
        </p:nvSpPr>
        <p:spPr>
          <a:xfrm>
            <a:off x="643926" y="2634243"/>
            <a:ext cx="131929" cy="194588"/>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Oval 86">
            <a:extLst>
              <a:ext uri="{FF2B5EF4-FFF2-40B4-BE49-F238E27FC236}">
                <a16:creationId xmlns:a16="http://schemas.microsoft.com/office/drawing/2014/main" id="{3E628115-08B8-4FAE-A6E9-937A673EB79E}"/>
              </a:ext>
            </a:extLst>
          </p:cNvPr>
          <p:cNvSpPr/>
          <p:nvPr/>
        </p:nvSpPr>
        <p:spPr>
          <a:xfrm>
            <a:off x="181922" y="4645620"/>
            <a:ext cx="133103" cy="177717"/>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Rectangle 107">
            <a:extLst>
              <a:ext uri="{FF2B5EF4-FFF2-40B4-BE49-F238E27FC236}">
                <a16:creationId xmlns:a16="http://schemas.microsoft.com/office/drawing/2014/main" id="{0494C419-47FC-4685-8D1E-45F78D629725}"/>
              </a:ext>
            </a:extLst>
          </p:cNvPr>
          <p:cNvSpPr/>
          <p:nvPr/>
        </p:nvSpPr>
        <p:spPr>
          <a:xfrm>
            <a:off x="330650" y="4508847"/>
            <a:ext cx="986815" cy="62691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09" name="Rectangle 108">
            <a:extLst>
              <a:ext uri="{FF2B5EF4-FFF2-40B4-BE49-F238E27FC236}">
                <a16:creationId xmlns:a16="http://schemas.microsoft.com/office/drawing/2014/main" id="{0BFA0F78-E450-4D5E-A6F0-80DB81825EAC}"/>
              </a:ext>
            </a:extLst>
          </p:cNvPr>
          <p:cNvSpPr/>
          <p:nvPr/>
        </p:nvSpPr>
        <p:spPr>
          <a:xfrm>
            <a:off x="330650" y="4361060"/>
            <a:ext cx="986815" cy="626915"/>
          </a:xfrm>
          <a:prstGeom prst="rect">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1920</a:t>
            </a:r>
            <a:endPar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 name="Rectangle 12">
            <a:extLst>
              <a:ext uri="{FF2B5EF4-FFF2-40B4-BE49-F238E27FC236}">
                <a16:creationId xmlns:a16="http://schemas.microsoft.com/office/drawing/2014/main" id="{E9F24660-C86F-40AA-AEA7-DAFDB08DD080}"/>
              </a:ext>
            </a:extLst>
          </p:cNvPr>
          <p:cNvSpPr/>
          <p:nvPr/>
        </p:nvSpPr>
        <p:spPr>
          <a:xfrm>
            <a:off x="1965245" y="1913535"/>
            <a:ext cx="493584" cy="203864"/>
          </a:xfrm>
          <a:prstGeom prst="rect">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290CB94D-E085-40CC-BA4C-FFE76D7B7D68}"/>
              </a:ext>
            </a:extLst>
          </p:cNvPr>
          <p:cNvSpPr/>
          <p:nvPr/>
        </p:nvSpPr>
        <p:spPr>
          <a:xfrm>
            <a:off x="1587615" y="2987452"/>
            <a:ext cx="1253508" cy="531069"/>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21" name="Rectangle 20">
            <a:extLst>
              <a:ext uri="{FF2B5EF4-FFF2-40B4-BE49-F238E27FC236}">
                <a16:creationId xmlns:a16="http://schemas.microsoft.com/office/drawing/2014/main" id="{4879366F-2FA9-4DDE-803D-33B5ED9115FF}"/>
              </a:ext>
            </a:extLst>
          </p:cNvPr>
          <p:cNvSpPr/>
          <p:nvPr/>
        </p:nvSpPr>
        <p:spPr>
          <a:xfrm>
            <a:off x="1587615" y="2849323"/>
            <a:ext cx="1253508" cy="531069"/>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6X4</a:t>
            </a:r>
          </a:p>
        </p:txBody>
      </p:sp>
      <p:cxnSp>
        <p:nvCxnSpPr>
          <p:cNvPr id="56" name="Straight Connector 55">
            <a:extLst>
              <a:ext uri="{FF2B5EF4-FFF2-40B4-BE49-F238E27FC236}">
                <a16:creationId xmlns:a16="http://schemas.microsoft.com/office/drawing/2014/main" id="{58C49890-7813-4D19-920D-C963E4BCDFA1}"/>
              </a:ext>
            </a:extLst>
          </p:cNvPr>
          <p:cNvCxnSpPr>
            <a:cxnSpLocks/>
          </p:cNvCxnSpPr>
          <p:nvPr/>
        </p:nvCxnSpPr>
        <p:spPr>
          <a:xfrm flipH="1">
            <a:off x="1595687" y="3514567"/>
            <a:ext cx="1720" cy="2933560"/>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89357F5-6589-4BF4-AADD-E310770E7A46}"/>
              </a:ext>
            </a:extLst>
          </p:cNvPr>
          <p:cNvCxnSpPr/>
          <p:nvPr/>
        </p:nvCxnSpPr>
        <p:spPr>
          <a:xfrm>
            <a:off x="1584351" y="4588905"/>
            <a:ext cx="226872" cy="6225"/>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03F06CE-4D8E-4BFF-AB96-755A01FF9C2C}"/>
              </a:ext>
            </a:extLst>
          </p:cNvPr>
          <p:cNvCxnSpPr>
            <a:cxnSpLocks/>
            <a:stCxn id="13" idx="2"/>
          </p:cNvCxnSpPr>
          <p:nvPr/>
        </p:nvCxnSpPr>
        <p:spPr>
          <a:xfrm>
            <a:off x="2212037" y="2117398"/>
            <a:ext cx="11504" cy="711807"/>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id="{AAA75808-F6CE-4712-8180-AA453382B7FB}"/>
              </a:ext>
            </a:extLst>
          </p:cNvPr>
          <p:cNvSpPr/>
          <p:nvPr/>
        </p:nvSpPr>
        <p:spPr>
          <a:xfrm>
            <a:off x="2152636" y="2665804"/>
            <a:ext cx="129469" cy="181873"/>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Oval 87">
            <a:extLst>
              <a:ext uri="{FF2B5EF4-FFF2-40B4-BE49-F238E27FC236}">
                <a16:creationId xmlns:a16="http://schemas.microsoft.com/office/drawing/2014/main" id="{A9E75CD9-FD80-4861-919C-033136D1201B}"/>
              </a:ext>
            </a:extLst>
          </p:cNvPr>
          <p:cNvSpPr/>
          <p:nvPr/>
        </p:nvSpPr>
        <p:spPr>
          <a:xfrm>
            <a:off x="1683642" y="4512393"/>
            <a:ext cx="129469" cy="181873"/>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Rectangle 109">
            <a:extLst>
              <a:ext uri="{FF2B5EF4-FFF2-40B4-BE49-F238E27FC236}">
                <a16:creationId xmlns:a16="http://schemas.microsoft.com/office/drawing/2014/main" id="{BAF43F78-AC14-4F48-9FD1-556E2A372545}"/>
              </a:ext>
            </a:extLst>
          </p:cNvPr>
          <p:cNvSpPr/>
          <p:nvPr/>
        </p:nvSpPr>
        <p:spPr>
          <a:xfrm>
            <a:off x="1824408" y="4402772"/>
            <a:ext cx="968413" cy="58594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11" name="Rectangle 110">
            <a:extLst>
              <a:ext uri="{FF2B5EF4-FFF2-40B4-BE49-F238E27FC236}">
                <a16:creationId xmlns:a16="http://schemas.microsoft.com/office/drawing/2014/main" id="{7E395921-460D-4AE4-B1BB-636A4C095F2F}"/>
              </a:ext>
            </a:extLst>
          </p:cNvPr>
          <p:cNvSpPr/>
          <p:nvPr/>
        </p:nvSpPr>
        <p:spPr>
          <a:xfrm>
            <a:off x="1824408" y="4264644"/>
            <a:ext cx="968413" cy="585949"/>
          </a:xfrm>
          <a:prstGeom prst="rect">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820 </a:t>
            </a:r>
          </a:p>
        </p:txBody>
      </p:sp>
      <p:grpSp>
        <p:nvGrpSpPr>
          <p:cNvPr id="6" name="Group 5"/>
          <p:cNvGrpSpPr/>
          <p:nvPr/>
        </p:nvGrpSpPr>
        <p:grpSpPr>
          <a:xfrm>
            <a:off x="1595687" y="5261359"/>
            <a:ext cx="1280325" cy="481275"/>
            <a:chOff x="1595686" y="5537125"/>
            <a:chExt cx="1280325" cy="481275"/>
          </a:xfrm>
        </p:grpSpPr>
        <p:cxnSp>
          <p:nvCxnSpPr>
            <p:cNvPr id="58" name="Straight Connector 57">
              <a:extLst>
                <a:ext uri="{FF2B5EF4-FFF2-40B4-BE49-F238E27FC236}">
                  <a16:creationId xmlns:a16="http://schemas.microsoft.com/office/drawing/2014/main" id="{CB4D2C49-59E2-40BC-B109-71E7B2C1E9F8}"/>
                </a:ext>
              </a:extLst>
            </p:cNvPr>
            <p:cNvCxnSpPr/>
            <p:nvPr/>
          </p:nvCxnSpPr>
          <p:spPr>
            <a:xfrm>
              <a:off x="1595686" y="5749991"/>
              <a:ext cx="226872" cy="6225"/>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C0773859-D6B7-4E4D-8CCB-8891EA6A72FC}"/>
                </a:ext>
              </a:extLst>
            </p:cNvPr>
            <p:cNvSpPr/>
            <p:nvPr/>
          </p:nvSpPr>
          <p:spPr>
            <a:xfrm>
              <a:off x="1702321" y="5655527"/>
              <a:ext cx="129469" cy="181873"/>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id="{88E0760D-9E3E-49DE-9743-E026AEA611E2}"/>
                </a:ext>
              </a:extLst>
            </p:cNvPr>
            <p:cNvSpPr/>
            <p:nvPr/>
          </p:nvSpPr>
          <p:spPr>
            <a:xfrm>
              <a:off x="1841489" y="5675253"/>
              <a:ext cx="1034522" cy="343147"/>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13" name="Rectangle 112">
              <a:extLst>
                <a:ext uri="{FF2B5EF4-FFF2-40B4-BE49-F238E27FC236}">
                  <a16:creationId xmlns:a16="http://schemas.microsoft.com/office/drawing/2014/main" id="{C26CEC0C-749E-45C3-BCD6-FA0483175D76}"/>
                </a:ext>
              </a:extLst>
            </p:cNvPr>
            <p:cNvSpPr/>
            <p:nvPr/>
          </p:nvSpPr>
          <p:spPr>
            <a:xfrm>
              <a:off x="1841489" y="5537125"/>
              <a:ext cx="1034522" cy="343147"/>
            </a:xfrm>
            <a:prstGeom prst="rect">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825</a:t>
              </a:r>
            </a:p>
          </p:txBody>
        </p:sp>
      </p:grpSp>
      <p:sp>
        <p:nvSpPr>
          <p:cNvPr id="79" name="Rectangle 78">
            <a:extLst>
              <a:ext uri="{FF2B5EF4-FFF2-40B4-BE49-F238E27FC236}">
                <a16:creationId xmlns:a16="http://schemas.microsoft.com/office/drawing/2014/main" id="{8A4DB3F0-C993-4A67-A9AD-33ED1B37C2B1}"/>
              </a:ext>
            </a:extLst>
          </p:cNvPr>
          <p:cNvSpPr/>
          <p:nvPr/>
        </p:nvSpPr>
        <p:spPr>
          <a:xfrm>
            <a:off x="6926392" y="1903595"/>
            <a:ext cx="513925" cy="169200"/>
          </a:xfrm>
          <a:prstGeom prst="rect">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Rectangle 84">
            <a:extLst>
              <a:ext uri="{FF2B5EF4-FFF2-40B4-BE49-F238E27FC236}">
                <a16:creationId xmlns:a16="http://schemas.microsoft.com/office/drawing/2014/main" id="{C926DD37-E57D-4A16-AD19-3F3181F75637}"/>
              </a:ext>
            </a:extLst>
          </p:cNvPr>
          <p:cNvSpPr/>
          <p:nvPr/>
        </p:nvSpPr>
        <p:spPr>
          <a:xfrm>
            <a:off x="6543124" y="2940953"/>
            <a:ext cx="1265045" cy="549899"/>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86" name="Rectangle 85">
            <a:extLst>
              <a:ext uri="{FF2B5EF4-FFF2-40B4-BE49-F238E27FC236}">
                <a16:creationId xmlns:a16="http://schemas.microsoft.com/office/drawing/2014/main" id="{D5ADBBB9-868B-4754-9235-2826389ED8DC}"/>
              </a:ext>
            </a:extLst>
          </p:cNvPr>
          <p:cNvSpPr/>
          <p:nvPr/>
        </p:nvSpPr>
        <p:spPr>
          <a:xfrm>
            <a:off x="6543124" y="2797927"/>
            <a:ext cx="1265045" cy="549899"/>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10X2</a:t>
            </a:r>
          </a:p>
        </p:txBody>
      </p:sp>
      <p:cxnSp>
        <p:nvCxnSpPr>
          <p:cNvPr id="94" name="Straight Connector 93">
            <a:extLst>
              <a:ext uri="{FF2B5EF4-FFF2-40B4-BE49-F238E27FC236}">
                <a16:creationId xmlns:a16="http://schemas.microsoft.com/office/drawing/2014/main" id="{24281881-C9AB-4ABF-920F-1A495A4BF737}"/>
              </a:ext>
            </a:extLst>
          </p:cNvPr>
          <p:cNvCxnSpPr>
            <a:cxnSpLocks/>
          </p:cNvCxnSpPr>
          <p:nvPr/>
        </p:nvCxnSpPr>
        <p:spPr>
          <a:xfrm>
            <a:off x="6554920" y="3486186"/>
            <a:ext cx="8549" cy="2467625"/>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4349DAD-3FC5-4004-976C-E3D454914904}"/>
              </a:ext>
            </a:extLst>
          </p:cNvPr>
          <p:cNvCxnSpPr/>
          <p:nvPr/>
        </p:nvCxnSpPr>
        <p:spPr>
          <a:xfrm>
            <a:off x="6553952" y="4705576"/>
            <a:ext cx="228960" cy="6445"/>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1FEC339-5E54-4A46-A4EE-5EA6C0190E47}"/>
              </a:ext>
            </a:extLst>
          </p:cNvPr>
          <p:cNvCxnSpPr>
            <a:cxnSpLocks/>
          </p:cNvCxnSpPr>
          <p:nvPr/>
        </p:nvCxnSpPr>
        <p:spPr>
          <a:xfrm>
            <a:off x="7177319" y="2065742"/>
            <a:ext cx="0" cy="705321"/>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sp>
        <p:nvSpPr>
          <p:cNvPr id="97" name="Oval 96">
            <a:extLst>
              <a:ext uri="{FF2B5EF4-FFF2-40B4-BE49-F238E27FC236}">
                <a16:creationId xmlns:a16="http://schemas.microsoft.com/office/drawing/2014/main" id="{772CB39E-18DF-409E-80D5-032511A4893B}"/>
              </a:ext>
            </a:extLst>
          </p:cNvPr>
          <p:cNvSpPr/>
          <p:nvPr/>
        </p:nvSpPr>
        <p:spPr>
          <a:xfrm>
            <a:off x="7110875" y="2623176"/>
            <a:ext cx="130660" cy="188321"/>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8" name="Oval 97">
            <a:extLst>
              <a:ext uri="{FF2B5EF4-FFF2-40B4-BE49-F238E27FC236}">
                <a16:creationId xmlns:a16="http://schemas.microsoft.com/office/drawing/2014/main" id="{40FA593E-F4F0-475B-BAC0-A52C7403A9A2}"/>
              </a:ext>
            </a:extLst>
          </p:cNvPr>
          <p:cNvSpPr/>
          <p:nvPr/>
        </p:nvSpPr>
        <p:spPr>
          <a:xfrm>
            <a:off x="6661675" y="4615236"/>
            <a:ext cx="130660" cy="188321"/>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Oval 101">
            <a:extLst>
              <a:ext uri="{FF2B5EF4-FFF2-40B4-BE49-F238E27FC236}">
                <a16:creationId xmlns:a16="http://schemas.microsoft.com/office/drawing/2014/main" id="{543C4D77-F69C-4554-AE20-01ADF7DD8DCA}"/>
              </a:ext>
            </a:extLst>
          </p:cNvPr>
          <p:cNvSpPr/>
          <p:nvPr/>
        </p:nvSpPr>
        <p:spPr>
          <a:xfrm>
            <a:off x="6695907" y="5829781"/>
            <a:ext cx="130660" cy="188321"/>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3" name="Straight Connector 102">
            <a:extLst>
              <a:ext uri="{FF2B5EF4-FFF2-40B4-BE49-F238E27FC236}">
                <a16:creationId xmlns:a16="http://schemas.microsoft.com/office/drawing/2014/main" id="{63F8A4A7-2999-4DA4-B1D1-14A8F4B45732}"/>
              </a:ext>
            </a:extLst>
          </p:cNvPr>
          <p:cNvCxnSpPr/>
          <p:nvPr/>
        </p:nvCxnSpPr>
        <p:spPr>
          <a:xfrm>
            <a:off x="6565664" y="5932580"/>
            <a:ext cx="228960" cy="6445"/>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3A0DE1F8-BFC1-42D8-A75E-3A0991E5CEFD}"/>
              </a:ext>
            </a:extLst>
          </p:cNvPr>
          <p:cNvSpPr/>
          <p:nvPr/>
        </p:nvSpPr>
        <p:spPr>
          <a:xfrm>
            <a:off x="6791102" y="4500191"/>
            <a:ext cx="977327" cy="606727"/>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21" name="Rectangle 120">
            <a:extLst>
              <a:ext uri="{FF2B5EF4-FFF2-40B4-BE49-F238E27FC236}">
                <a16:creationId xmlns:a16="http://schemas.microsoft.com/office/drawing/2014/main" id="{88C2E08F-63DA-4DF2-90E5-63BAA857E6D3}"/>
              </a:ext>
            </a:extLst>
          </p:cNvPr>
          <p:cNvSpPr/>
          <p:nvPr/>
        </p:nvSpPr>
        <p:spPr>
          <a:xfrm>
            <a:off x="6791102" y="4357166"/>
            <a:ext cx="977327" cy="606727"/>
          </a:xfrm>
          <a:prstGeom prst="rect">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220 </a:t>
            </a:r>
          </a:p>
        </p:txBody>
      </p:sp>
      <p:sp>
        <p:nvSpPr>
          <p:cNvPr id="122" name="Rectangle 121">
            <a:extLst>
              <a:ext uri="{FF2B5EF4-FFF2-40B4-BE49-F238E27FC236}">
                <a16:creationId xmlns:a16="http://schemas.microsoft.com/office/drawing/2014/main" id="{BBFC4AEA-7998-4E70-90F4-F4277EA05CD7}"/>
              </a:ext>
            </a:extLst>
          </p:cNvPr>
          <p:cNvSpPr/>
          <p:nvPr/>
        </p:nvSpPr>
        <p:spPr>
          <a:xfrm>
            <a:off x="6829137" y="5752187"/>
            <a:ext cx="1034051" cy="34930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23" name="Rectangle 122">
            <a:extLst>
              <a:ext uri="{FF2B5EF4-FFF2-40B4-BE49-F238E27FC236}">
                <a16:creationId xmlns:a16="http://schemas.microsoft.com/office/drawing/2014/main" id="{777DBD76-FE81-4DE2-9742-4EF357D0C967}"/>
              </a:ext>
            </a:extLst>
          </p:cNvPr>
          <p:cNvSpPr/>
          <p:nvPr/>
        </p:nvSpPr>
        <p:spPr>
          <a:xfrm>
            <a:off x="6829137" y="5609163"/>
            <a:ext cx="1034051" cy="349304"/>
          </a:xfrm>
          <a:prstGeom prst="rect">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225</a:t>
            </a:r>
          </a:p>
        </p:txBody>
      </p:sp>
      <p:sp>
        <p:nvSpPr>
          <p:cNvPr id="44" name="Rectangle 43">
            <a:extLst>
              <a:ext uri="{FF2B5EF4-FFF2-40B4-BE49-F238E27FC236}">
                <a16:creationId xmlns:a16="http://schemas.microsoft.com/office/drawing/2014/main" id="{8195D7CF-A6E4-4A77-834C-494E38640B30}"/>
              </a:ext>
            </a:extLst>
          </p:cNvPr>
          <p:cNvSpPr/>
          <p:nvPr/>
        </p:nvSpPr>
        <p:spPr>
          <a:xfrm>
            <a:off x="8850671" y="1899883"/>
            <a:ext cx="534183" cy="167485"/>
          </a:xfrm>
          <a:prstGeom prst="rect">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Rectangle 44">
            <a:extLst>
              <a:ext uri="{FF2B5EF4-FFF2-40B4-BE49-F238E27FC236}">
                <a16:creationId xmlns:a16="http://schemas.microsoft.com/office/drawing/2014/main" id="{EC5E1E37-4DAA-4C7D-B7D6-3E963E25BE12}"/>
              </a:ext>
            </a:extLst>
          </p:cNvPr>
          <p:cNvSpPr/>
          <p:nvPr/>
        </p:nvSpPr>
        <p:spPr>
          <a:xfrm>
            <a:off x="8452296" y="2926726"/>
            <a:ext cx="1314909" cy="54432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46" name="Rectangle 45">
            <a:extLst>
              <a:ext uri="{FF2B5EF4-FFF2-40B4-BE49-F238E27FC236}">
                <a16:creationId xmlns:a16="http://schemas.microsoft.com/office/drawing/2014/main" id="{A36CC7D2-F8E2-4D32-9D88-D939C45395F4}"/>
              </a:ext>
            </a:extLst>
          </p:cNvPr>
          <p:cNvSpPr/>
          <p:nvPr/>
        </p:nvSpPr>
        <p:spPr>
          <a:xfrm>
            <a:off x="8452296" y="2785148"/>
            <a:ext cx="1314909" cy="544325"/>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10X4</a:t>
            </a:r>
          </a:p>
        </p:txBody>
      </p:sp>
      <p:cxnSp>
        <p:nvCxnSpPr>
          <p:cNvPr id="53" name="Straight Connector 52">
            <a:extLst>
              <a:ext uri="{FF2B5EF4-FFF2-40B4-BE49-F238E27FC236}">
                <a16:creationId xmlns:a16="http://schemas.microsoft.com/office/drawing/2014/main" id="{FBB95959-35A6-4B41-A737-002B9B0A560C}"/>
              </a:ext>
            </a:extLst>
          </p:cNvPr>
          <p:cNvCxnSpPr>
            <a:cxnSpLocks/>
          </p:cNvCxnSpPr>
          <p:nvPr/>
        </p:nvCxnSpPr>
        <p:spPr>
          <a:xfrm>
            <a:off x="8464555" y="3466431"/>
            <a:ext cx="9888" cy="2415915"/>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C03EA1F9-289C-4081-81D0-AB83A8E3DE48}"/>
              </a:ext>
            </a:extLst>
          </p:cNvPr>
          <p:cNvCxnSpPr/>
          <p:nvPr/>
        </p:nvCxnSpPr>
        <p:spPr>
          <a:xfrm>
            <a:off x="8447617" y="4673461"/>
            <a:ext cx="237984" cy="6380"/>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B1F4234-DF60-4423-A70A-6481599BC662}"/>
              </a:ext>
            </a:extLst>
          </p:cNvPr>
          <p:cNvCxnSpPr>
            <a:cxnSpLocks/>
          </p:cNvCxnSpPr>
          <p:nvPr/>
        </p:nvCxnSpPr>
        <p:spPr>
          <a:xfrm>
            <a:off x="9111489" y="2060387"/>
            <a:ext cx="0" cy="698171"/>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0707B9E0-F466-4C1A-82E3-92A09B4AF927}"/>
              </a:ext>
            </a:extLst>
          </p:cNvPr>
          <p:cNvSpPr/>
          <p:nvPr/>
        </p:nvSpPr>
        <p:spPr>
          <a:xfrm>
            <a:off x="9042425" y="2612169"/>
            <a:ext cx="135811" cy="186412"/>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107AC72F-F5B7-4C8B-943F-3B8176777CD6}"/>
              </a:ext>
            </a:extLst>
          </p:cNvPr>
          <p:cNvSpPr/>
          <p:nvPr/>
        </p:nvSpPr>
        <p:spPr>
          <a:xfrm>
            <a:off x="8559585" y="4584035"/>
            <a:ext cx="135811" cy="186412"/>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6" name="Straight Connector 105">
            <a:extLst>
              <a:ext uri="{FF2B5EF4-FFF2-40B4-BE49-F238E27FC236}">
                <a16:creationId xmlns:a16="http://schemas.microsoft.com/office/drawing/2014/main" id="{06346ED2-4F8D-412F-A1F6-9A74C6DA76C9}"/>
              </a:ext>
            </a:extLst>
          </p:cNvPr>
          <p:cNvCxnSpPr/>
          <p:nvPr/>
        </p:nvCxnSpPr>
        <p:spPr>
          <a:xfrm>
            <a:off x="8456044" y="5875966"/>
            <a:ext cx="237984" cy="6380"/>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74E5C4EC-058F-4E80-967A-9196E7CCC891}"/>
              </a:ext>
            </a:extLst>
          </p:cNvPr>
          <p:cNvSpPr/>
          <p:nvPr/>
        </p:nvSpPr>
        <p:spPr>
          <a:xfrm>
            <a:off x="8611101" y="5786539"/>
            <a:ext cx="135811" cy="186412"/>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4" name="Rectangle 123">
            <a:extLst>
              <a:ext uri="{FF2B5EF4-FFF2-40B4-BE49-F238E27FC236}">
                <a16:creationId xmlns:a16="http://schemas.microsoft.com/office/drawing/2014/main" id="{193F13AF-A317-4F62-9CA2-72715B377E38}"/>
              </a:ext>
            </a:extLst>
          </p:cNvPr>
          <p:cNvSpPr/>
          <p:nvPr/>
        </p:nvSpPr>
        <p:spPr>
          <a:xfrm>
            <a:off x="8707377" y="4515940"/>
            <a:ext cx="1015848" cy="6005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25" name="Rectangle 124">
            <a:extLst>
              <a:ext uri="{FF2B5EF4-FFF2-40B4-BE49-F238E27FC236}">
                <a16:creationId xmlns:a16="http://schemas.microsoft.com/office/drawing/2014/main" id="{5E895FA0-6FAF-4390-8876-9D53FD7FE6E9}"/>
              </a:ext>
            </a:extLst>
          </p:cNvPr>
          <p:cNvSpPr/>
          <p:nvPr/>
        </p:nvSpPr>
        <p:spPr>
          <a:xfrm>
            <a:off x="8707377" y="4374363"/>
            <a:ext cx="1015848" cy="600576"/>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220 </a:t>
            </a:r>
          </a:p>
        </p:txBody>
      </p:sp>
      <p:sp>
        <p:nvSpPr>
          <p:cNvPr id="126" name="Rectangle 125">
            <a:extLst>
              <a:ext uri="{FF2B5EF4-FFF2-40B4-BE49-F238E27FC236}">
                <a16:creationId xmlns:a16="http://schemas.microsoft.com/office/drawing/2014/main" id="{449897F5-23F1-4D60-A86A-3B5A584D3263}"/>
              </a:ext>
            </a:extLst>
          </p:cNvPr>
          <p:cNvSpPr/>
          <p:nvPr/>
        </p:nvSpPr>
        <p:spPr>
          <a:xfrm>
            <a:off x="8746913" y="5755245"/>
            <a:ext cx="1074809" cy="34576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27" name="Rectangle 126">
            <a:extLst>
              <a:ext uri="{FF2B5EF4-FFF2-40B4-BE49-F238E27FC236}">
                <a16:creationId xmlns:a16="http://schemas.microsoft.com/office/drawing/2014/main" id="{854F6B73-DD60-44DA-AF02-456CB767E639}"/>
              </a:ext>
            </a:extLst>
          </p:cNvPr>
          <p:cNvSpPr/>
          <p:nvPr/>
        </p:nvSpPr>
        <p:spPr>
          <a:xfrm>
            <a:off x="8746913" y="5613669"/>
            <a:ext cx="1074809" cy="345763"/>
          </a:xfrm>
          <a:prstGeom prst="rect">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225</a:t>
            </a:r>
          </a:p>
        </p:txBody>
      </p:sp>
      <p:sp>
        <p:nvSpPr>
          <p:cNvPr id="57" name="Rectangle 56">
            <a:extLst>
              <a:ext uri="{FF2B5EF4-FFF2-40B4-BE49-F238E27FC236}">
                <a16:creationId xmlns:a16="http://schemas.microsoft.com/office/drawing/2014/main" id="{75ACB103-E05E-42E6-8DA5-7AF2D4568E14}"/>
              </a:ext>
            </a:extLst>
          </p:cNvPr>
          <p:cNvSpPr/>
          <p:nvPr/>
        </p:nvSpPr>
        <p:spPr>
          <a:xfrm>
            <a:off x="3538092" y="1899884"/>
            <a:ext cx="579753" cy="175233"/>
          </a:xfrm>
          <a:prstGeom prst="rect">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A6159396-DA0A-4B52-81AE-2C03C0E10252}"/>
              </a:ext>
            </a:extLst>
          </p:cNvPr>
          <p:cNvSpPr/>
          <p:nvPr/>
        </p:nvSpPr>
        <p:spPr>
          <a:xfrm>
            <a:off x="3105731" y="2974228"/>
            <a:ext cx="1427083" cy="56950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66" name="Rectangle 65">
            <a:extLst>
              <a:ext uri="{FF2B5EF4-FFF2-40B4-BE49-F238E27FC236}">
                <a16:creationId xmlns:a16="http://schemas.microsoft.com/office/drawing/2014/main" id="{B6CA4ECF-4134-41BC-ABAA-AD962B1711E8}"/>
              </a:ext>
            </a:extLst>
          </p:cNvPr>
          <p:cNvSpPr/>
          <p:nvPr/>
        </p:nvSpPr>
        <p:spPr>
          <a:xfrm>
            <a:off x="3105731" y="2826101"/>
            <a:ext cx="1427083" cy="569505"/>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71" name="Straight Connector 70">
            <a:extLst>
              <a:ext uri="{FF2B5EF4-FFF2-40B4-BE49-F238E27FC236}">
                <a16:creationId xmlns:a16="http://schemas.microsoft.com/office/drawing/2014/main" id="{EE50FA42-D251-490B-957B-842E3CE03706}"/>
              </a:ext>
            </a:extLst>
          </p:cNvPr>
          <p:cNvCxnSpPr>
            <a:cxnSpLocks/>
          </p:cNvCxnSpPr>
          <p:nvPr/>
        </p:nvCxnSpPr>
        <p:spPr>
          <a:xfrm flipH="1">
            <a:off x="3117423" y="3498442"/>
            <a:ext cx="6307" cy="1258359"/>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64E8382-95EC-4152-B6F3-166A67564E78}"/>
              </a:ext>
            </a:extLst>
          </p:cNvPr>
          <p:cNvCxnSpPr/>
          <p:nvPr/>
        </p:nvCxnSpPr>
        <p:spPr>
          <a:xfrm>
            <a:off x="3112995" y="4756797"/>
            <a:ext cx="258287" cy="6675"/>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9EEED479-1B96-4CB8-A7A0-329D1261344F}"/>
              </a:ext>
            </a:extLst>
          </p:cNvPr>
          <p:cNvCxnSpPr>
            <a:cxnSpLocks/>
          </p:cNvCxnSpPr>
          <p:nvPr/>
        </p:nvCxnSpPr>
        <p:spPr>
          <a:xfrm>
            <a:off x="3821159" y="2067811"/>
            <a:ext cx="0" cy="730468"/>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9411F1C5-BACA-4ADC-B950-E1ECA27F7B33}"/>
              </a:ext>
            </a:extLst>
          </p:cNvPr>
          <p:cNvSpPr/>
          <p:nvPr/>
        </p:nvSpPr>
        <p:spPr>
          <a:xfrm>
            <a:off x="3746206" y="2645119"/>
            <a:ext cx="147396" cy="195036"/>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Oval 75">
            <a:extLst>
              <a:ext uri="{FF2B5EF4-FFF2-40B4-BE49-F238E27FC236}">
                <a16:creationId xmlns:a16="http://schemas.microsoft.com/office/drawing/2014/main" id="{346CA232-15BB-47CA-9056-58096ADB754C}"/>
              </a:ext>
            </a:extLst>
          </p:cNvPr>
          <p:cNvSpPr/>
          <p:nvPr/>
        </p:nvSpPr>
        <p:spPr>
          <a:xfrm>
            <a:off x="3234515" y="4663237"/>
            <a:ext cx="147396" cy="195036"/>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Rectangle 113">
            <a:extLst>
              <a:ext uri="{FF2B5EF4-FFF2-40B4-BE49-F238E27FC236}">
                <a16:creationId xmlns:a16="http://schemas.microsoft.com/office/drawing/2014/main" id="{143B1197-35F9-4A87-B8D5-38A41C98006F}"/>
              </a:ext>
            </a:extLst>
          </p:cNvPr>
          <p:cNvSpPr/>
          <p:nvPr/>
        </p:nvSpPr>
        <p:spPr>
          <a:xfrm>
            <a:off x="3395216" y="4544092"/>
            <a:ext cx="1102509" cy="628357"/>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15" name="Rectangle 114">
            <a:extLst>
              <a:ext uri="{FF2B5EF4-FFF2-40B4-BE49-F238E27FC236}">
                <a16:creationId xmlns:a16="http://schemas.microsoft.com/office/drawing/2014/main" id="{7C156A9A-0CD9-4FEB-B302-46BE6039AFCB}"/>
              </a:ext>
            </a:extLst>
          </p:cNvPr>
          <p:cNvSpPr/>
          <p:nvPr/>
        </p:nvSpPr>
        <p:spPr>
          <a:xfrm>
            <a:off x="3395216" y="4395967"/>
            <a:ext cx="1102509" cy="628357"/>
          </a:xfrm>
          <a:prstGeom prst="rect">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3520 </a:t>
            </a:r>
          </a:p>
        </p:txBody>
      </p:sp>
      <p:sp>
        <p:nvSpPr>
          <p:cNvPr id="17" name="TextBox 16"/>
          <p:cNvSpPr txBox="1"/>
          <p:nvPr/>
        </p:nvSpPr>
        <p:spPr>
          <a:xfrm>
            <a:off x="3185456" y="2867976"/>
            <a:ext cx="1354858" cy="52322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8X2 LA</a:t>
            </a:r>
          </a:p>
        </p:txBody>
      </p:sp>
      <p:cxnSp>
        <p:nvCxnSpPr>
          <p:cNvPr id="54" name="Straight Connector 53">
            <a:extLst>
              <a:ext uri="{FF2B5EF4-FFF2-40B4-BE49-F238E27FC236}">
                <a16:creationId xmlns:a16="http://schemas.microsoft.com/office/drawing/2014/main" id="{A6E47126-C85C-411F-83DE-7288114B3FF2}"/>
              </a:ext>
            </a:extLst>
          </p:cNvPr>
          <p:cNvCxnSpPr>
            <a:cxnSpLocks/>
          </p:cNvCxnSpPr>
          <p:nvPr/>
        </p:nvCxnSpPr>
        <p:spPr>
          <a:xfrm flipH="1">
            <a:off x="4766389" y="3516611"/>
            <a:ext cx="1" cy="2485667"/>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5FD69FF7-2FF1-442F-9902-200D4D085B24}"/>
              </a:ext>
            </a:extLst>
          </p:cNvPr>
          <p:cNvSpPr/>
          <p:nvPr/>
        </p:nvSpPr>
        <p:spPr>
          <a:xfrm>
            <a:off x="5165284" y="1899883"/>
            <a:ext cx="538627" cy="195973"/>
          </a:xfrm>
          <a:prstGeom prst="rect">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4FEA2D1B-4EB3-4F3B-B3BC-B154673DFE7D}"/>
              </a:ext>
            </a:extLst>
          </p:cNvPr>
          <p:cNvSpPr/>
          <p:nvPr/>
        </p:nvSpPr>
        <p:spPr>
          <a:xfrm>
            <a:off x="4763596" y="2970480"/>
            <a:ext cx="1325848" cy="55399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23" name="Rectangle 22">
            <a:extLst>
              <a:ext uri="{FF2B5EF4-FFF2-40B4-BE49-F238E27FC236}">
                <a16:creationId xmlns:a16="http://schemas.microsoft.com/office/drawing/2014/main" id="{29486637-2F93-4BB1-988B-AB73EC8CAF44}"/>
              </a:ext>
            </a:extLst>
          </p:cNvPr>
          <p:cNvSpPr/>
          <p:nvPr/>
        </p:nvSpPr>
        <p:spPr>
          <a:xfrm>
            <a:off x="4763596" y="2826388"/>
            <a:ext cx="1325848" cy="553995"/>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60" name="Straight Connector 59">
            <a:extLst>
              <a:ext uri="{FF2B5EF4-FFF2-40B4-BE49-F238E27FC236}">
                <a16:creationId xmlns:a16="http://schemas.microsoft.com/office/drawing/2014/main" id="{0EFA3BF1-1854-424D-8B79-B823D84C12F2}"/>
              </a:ext>
            </a:extLst>
          </p:cNvPr>
          <p:cNvCxnSpPr/>
          <p:nvPr/>
        </p:nvCxnSpPr>
        <p:spPr>
          <a:xfrm>
            <a:off x="4757438" y="4686087"/>
            <a:ext cx="239965" cy="6493"/>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D0B78FE-9A4F-4358-AC70-ECFE1F58F92A}"/>
              </a:ext>
            </a:extLst>
          </p:cNvPr>
          <p:cNvCxnSpPr>
            <a:cxnSpLocks/>
          </p:cNvCxnSpPr>
          <p:nvPr/>
        </p:nvCxnSpPr>
        <p:spPr>
          <a:xfrm flipV="1">
            <a:off x="4766719" y="6006456"/>
            <a:ext cx="239965" cy="737"/>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078DF15-98DC-42F9-A9DB-7CA43AEC0D83}"/>
              </a:ext>
            </a:extLst>
          </p:cNvPr>
          <p:cNvCxnSpPr>
            <a:cxnSpLocks/>
          </p:cNvCxnSpPr>
          <p:nvPr/>
        </p:nvCxnSpPr>
        <p:spPr>
          <a:xfrm>
            <a:off x="5428272" y="2088750"/>
            <a:ext cx="0" cy="710575"/>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sp>
        <p:nvSpPr>
          <p:cNvPr id="84" name="Oval 83">
            <a:extLst>
              <a:ext uri="{FF2B5EF4-FFF2-40B4-BE49-F238E27FC236}">
                <a16:creationId xmlns:a16="http://schemas.microsoft.com/office/drawing/2014/main" id="{FFB3DE90-29A6-4D1A-A31A-AB941AD9E779}"/>
              </a:ext>
            </a:extLst>
          </p:cNvPr>
          <p:cNvSpPr/>
          <p:nvPr/>
        </p:nvSpPr>
        <p:spPr>
          <a:xfrm>
            <a:off x="5358637" y="2650336"/>
            <a:ext cx="136939" cy="189723"/>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Oval 89">
            <a:extLst>
              <a:ext uri="{FF2B5EF4-FFF2-40B4-BE49-F238E27FC236}">
                <a16:creationId xmlns:a16="http://schemas.microsoft.com/office/drawing/2014/main" id="{600F3873-990D-48CE-AE3D-842D8A5C18B1}"/>
              </a:ext>
            </a:extLst>
          </p:cNvPr>
          <p:cNvSpPr/>
          <p:nvPr/>
        </p:nvSpPr>
        <p:spPr>
          <a:xfrm>
            <a:off x="4870339" y="4595073"/>
            <a:ext cx="136939" cy="189723"/>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Oval 90">
            <a:extLst>
              <a:ext uri="{FF2B5EF4-FFF2-40B4-BE49-F238E27FC236}">
                <a16:creationId xmlns:a16="http://schemas.microsoft.com/office/drawing/2014/main" id="{3115B994-E208-41AD-A87C-49712CDDCD69}"/>
              </a:ext>
            </a:extLst>
          </p:cNvPr>
          <p:cNvSpPr/>
          <p:nvPr/>
        </p:nvSpPr>
        <p:spPr>
          <a:xfrm>
            <a:off x="4892745" y="5897921"/>
            <a:ext cx="136939" cy="211267"/>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 name="Rectangle 115">
            <a:extLst>
              <a:ext uri="{FF2B5EF4-FFF2-40B4-BE49-F238E27FC236}">
                <a16:creationId xmlns:a16="http://schemas.microsoft.com/office/drawing/2014/main" id="{50CD4F65-F096-4839-9112-B56A7E565B40}"/>
              </a:ext>
            </a:extLst>
          </p:cNvPr>
          <p:cNvSpPr/>
          <p:nvPr/>
        </p:nvSpPr>
        <p:spPr>
          <a:xfrm>
            <a:off x="5013535" y="4529058"/>
            <a:ext cx="1024300" cy="61124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17" name="Rectangle 116">
            <a:extLst>
              <a:ext uri="{FF2B5EF4-FFF2-40B4-BE49-F238E27FC236}">
                <a16:creationId xmlns:a16="http://schemas.microsoft.com/office/drawing/2014/main" id="{A4ABE7FB-AE1B-4B4D-A502-A29488F51305}"/>
              </a:ext>
            </a:extLst>
          </p:cNvPr>
          <p:cNvSpPr/>
          <p:nvPr/>
        </p:nvSpPr>
        <p:spPr>
          <a:xfrm>
            <a:off x="5013535" y="4384966"/>
            <a:ext cx="1024300" cy="611245"/>
          </a:xfrm>
          <a:prstGeom prst="rect">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3520  </a:t>
            </a:r>
          </a:p>
        </p:txBody>
      </p:sp>
      <p:sp>
        <p:nvSpPr>
          <p:cNvPr id="118" name="Rectangle 117">
            <a:extLst>
              <a:ext uri="{FF2B5EF4-FFF2-40B4-BE49-F238E27FC236}">
                <a16:creationId xmlns:a16="http://schemas.microsoft.com/office/drawing/2014/main" id="{0696D21C-F6E5-4A0A-BF37-47D435D7AB3D}"/>
              </a:ext>
            </a:extLst>
          </p:cNvPr>
          <p:cNvSpPr/>
          <p:nvPr/>
        </p:nvSpPr>
        <p:spPr>
          <a:xfrm>
            <a:off x="5029687" y="5867334"/>
            <a:ext cx="1083751" cy="35190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19" name="Rectangle 118">
            <a:extLst>
              <a:ext uri="{FF2B5EF4-FFF2-40B4-BE49-F238E27FC236}">
                <a16:creationId xmlns:a16="http://schemas.microsoft.com/office/drawing/2014/main" id="{175CB095-459F-4109-9577-BDB14FC7EB3A}"/>
              </a:ext>
            </a:extLst>
          </p:cNvPr>
          <p:cNvSpPr/>
          <p:nvPr/>
        </p:nvSpPr>
        <p:spPr>
          <a:xfrm>
            <a:off x="5029687" y="5723244"/>
            <a:ext cx="1083751" cy="351905"/>
          </a:xfrm>
          <a:prstGeom prst="rect">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3525</a:t>
            </a:r>
            <a:endPar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33" name="TextBox 132"/>
          <p:cNvSpPr txBox="1"/>
          <p:nvPr/>
        </p:nvSpPr>
        <p:spPr>
          <a:xfrm>
            <a:off x="4850751" y="2861339"/>
            <a:ext cx="1266693" cy="52322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8X4 TS</a:t>
            </a:r>
          </a:p>
        </p:txBody>
      </p:sp>
      <p:sp>
        <p:nvSpPr>
          <p:cNvPr id="5" name="TextBox 4"/>
          <p:cNvSpPr txBox="1"/>
          <p:nvPr/>
        </p:nvSpPr>
        <p:spPr>
          <a:xfrm>
            <a:off x="8721259" y="6473850"/>
            <a:ext cx="3477234" cy="30777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U and N cabin comes with AC option</a:t>
            </a:r>
          </a:p>
        </p:txBody>
      </p:sp>
      <p:sp>
        <p:nvSpPr>
          <p:cNvPr id="139" name="Rectangle 138">
            <a:extLst>
              <a:ext uri="{FF2B5EF4-FFF2-40B4-BE49-F238E27FC236}">
                <a16:creationId xmlns:a16="http://schemas.microsoft.com/office/drawing/2014/main" id="{75ACB103-E05E-42E6-8DA5-7AF2D4568E14}"/>
              </a:ext>
            </a:extLst>
          </p:cNvPr>
          <p:cNvSpPr/>
          <p:nvPr/>
        </p:nvSpPr>
        <p:spPr>
          <a:xfrm>
            <a:off x="10630791" y="1889269"/>
            <a:ext cx="604013" cy="175843"/>
          </a:xfrm>
          <a:prstGeom prst="rect">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0" name="Rectangle 139">
            <a:extLst>
              <a:ext uri="{FF2B5EF4-FFF2-40B4-BE49-F238E27FC236}">
                <a16:creationId xmlns:a16="http://schemas.microsoft.com/office/drawing/2014/main" id="{A6159396-DA0A-4B52-81AE-2C03C0E10252}"/>
              </a:ext>
            </a:extLst>
          </p:cNvPr>
          <p:cNvSpPr/>
          <p:nvPr/>
        </p:nvSpPr>
        <p:spPr>
          <a:xfrm>
            <a:off x="10180339" y="2967353"/>
            <a:ext cx="1486800" cy="571487"/>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41" name="Rectangle 140">
            <a:extLst>
              <a:ext uri="{FF2B5EF4-FFF2-40B4-BE49-F238E27FC236}">
                <a16:creationId xmlns:a16="http://schemas.microsoft.com/office/drawing/2014/main" id="{B6CA4ECF-4134-41BC-ABAA-AD962B1711E8}"/>
              </a:ext>
            </a:extLst>
          </p:cNvPr>
          <p:cNvSpPr/>
          <p:nvPr/>
        </p:nvSpPr>
        <p:spPr>
          <a:xfrm>
            <a:off x="10180339" y="2818711"/>
            <a:ext cx="1486800" cy="57148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142" name="Straight Connector 141">
            <a:extLst>
              <a:ext uri="{FF2B5EF4-FFF2-40B4-BE49-F238E27FC236}">
                <a16:creationId xmlns:a16="http://schemas.microsoft.com/office/drawing/2014/main" id="{EE50FA42-D251-490B-957B-842E3CE03706}"/>
              </a:ext>
            </a:extLst>
          </p:cNvPr>
          <p:cNvCxnSpPr>
            <a:cxnSpLocks/>
          </p:cNvCxnSpPr>
          <p:nvPr/>
        </p:nvCxnSpPr>
        <p:spPr>
          <a:xfrm flipH="1">
            <a:off x="10183851" y="3493391"/>
            <a:ext cx="15237" cy="2439189"/>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864E8382-95EC-4152-B6F3-166A67564E78}"/>
              </a:ext>
            </a:extLst>
          </p:cNvPr>
          <p:cNvCxnSpPr/>
          <p:nvPr/>
        </p:nvCxnSpPr>
        <p:spPr>
          <a:xfrm>
            <a:off x="10187906" y="4756125"/>
            <a:ext cx="269095" cy="6699"/>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9EEED479-1B96-4CB8-A7A0-329D1261344F}"/>
              </a:ext>
            </a:extLst>
          </p:cNvPr>
          <p:cNvCxnSpPr>
            <a:cxnSpLocks/>
          </p:cNvCxnSpPr>
          <p:nvPr/>
        </p:nvCxnSpPr>
        <p:spPr>
          <a:xfrm>
            <a:off x="10925703" y="2057781"/>
            <a:ext cx="0" cy="733011"/>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sp>
        <p:nvSpPr>
          <p:cNvPr id="145" name="Oval 144">
            <a:extLst>
              <a:ext uri="{FF2B5EF4-FFF2-40B4-BE49-F238E27FC236}">
                <a16:creationId xmlns:a16="http://schemas.microsoft.com/office/drawing/2014/main" id="{9411F1C5-BACA-4ADC-B950-E1ECA27F7B33}"/>
              </a:ext>
            </a:extLst>
          </p:cNvPr>
          <p:cNvSpPr/>
          <p:nvPr/>
        </p:nvSpPr>
        <p:spPr>
          <a:xfrm>
            <a:off x="10847614" y="2637097"/>
            <a:ext cx="153564" cy="195715"/>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 name="Oval 145">
            <a:extLst>
              <a:ext uri="{FF2B5EF4-FFF2-40B4-BE49-F238E27FC236}">
                <a16:creationId xmlns:a16="http://schemas.microsoft.com/office/drawing/2014/main" id="{346CA232-15BB-47CA-9056-58096ADB754C}"/>
              </a:ext>
            </a:extLst>
          </p:cNvPr>
          <p:cNvSpPr/>
          <p:nvPr/>
        </p:nvSpPr>
        <p:spPr>
          <a:xfrm>
            <a:off x="10314511" y="4662237"/>
            <a:ext cx="153564" cy="195715"/>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143B1197-35F9-4A87-B8D5-38A41C98006F}"/>
              </a:ext>
            </a:extLst>
          </p:cNvPr>
          <p:cNvSpPr/>
          <p:nvPr/>
        </p:nvSpPr>
        <p:spPr>
          <a:xfrm>
            <a:off x="10481936" y="4542681"/>
            <a:ext cx="1148645" cy="63054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48" name="Rectangle 147">
            <a:extLst>
              <a:ext uri="{FF2B5EF4-FFF2-40B4-BE49-F238E27FC236}">
                <a16:creationId xmlns:a16="http://schemas.microsoft.com/office/drawing/2014/main" id="{7C156A9A-0CD9-4FEB-B302-46BE6039AFCB}"/>
              </a:ext>
            </a:extLst>
          </p:cNvPr>
          <p:cNvSpPr/>
          <p:nvPr/>
        </p:nvSpPr>
        <p:spPr>
          <a:xfrm>
            <a:off x="10481936" y="4394040"/>
            <a:ext cx="1148645" cy="630545"/>
          </a:xfrm>
          <a:prstGeom prst="rect">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825 </a:t>
            </a:r>
          </a:p>
        </p:txBody>
      </p:sp>
      <p:sp>
        <p:nvSpPr>
          <p:cNvPr id="149" name="Rectangle 148"/>
          <p:cNvSpPr/>
          <p:nvPr/>
        </p:nvSpPr>
        <p:spPr>
          <a:xfrm>
            <a:off x="10393700" y="4243503"/>
            <a:ext cx="1322288" cy="1043824"/>
          </a:xfrm>
          <a:prstGeom prst="rect">
            <a:avLst/>
          </a:prstGeom>
          <a:noFill/>
          <a:ln w="28575">
            <a:solidFill>
              <a:srgbClr val="52525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8" name="TextBox 137"/>
          <p:cNvSpPr txBox="1"/>
          <p:nvPr/>
        </p:nvSpPr>
        <p:spPr>
          <a:xfrm>
            <a:off x="10090075" y="2823948"/>
            <a:ext cx="1707519" cy="46166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10X4 DTLA</a:t>
            </a:r>
          </a:p>
        </p:txBody>
      </p:sp>
      <p:cxnSp>
        <p:nvCxnSpPr>
          <p:cNvPr id="136" name="Straight Connector 135">
            <a:extLst>
              <a:ext uri="{FF2B5EF4-FFF2-40B4-BE49-F238E27FC236}">
                <a16:creationId xmlns:a16="http://schemas.microsoft.com/office/drawing/2014/main" id="{864E8382-95EC-4152-B6F3-166A67564E78}"/>
              </a:ext>
            </a:extLst>
          </p:cNvPr>
          <p:cNvCxnSpPr/>
          <p:nvPr/>
        </p:nvCxnSpPr>
        <p:spPr>
          <a:xfrm>
            <a:off x="10191965" y="5928960"/>
            <a:ext cx="269095" cy="6699"/>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sp>
        <p:nvSpPr>
          <p:cNvPr id="137" name="Oval 136">
            <a:extLst>
              <a:ext uri="{FF2B5EF4-FFF2-40B4-BE49-F238E27FC236}">
                <a16:creationId xmlns:a16="http://schemas.microsoft.com/office/drawing/2014/main" id="{346CA232-15BB-47CA-9056-58096ADB754C}"/>
              </a:ext>
            </a:extLst>
          </p:cNvPr>
          <p:cNvSpPr/>
          <p:nvPr/>
        </p:nvSpPr>
        <p:spPr>
          <a:xfrm>
            <a:off x="10318571" y="5825547"/>
            <a:ext cx="153564" cy="195715"/>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0" name="Rectangle 149">
            <a:extLst>
              <a:ext uri="{FF2B5EF4-FFF2-40B4-BE49-F238E27FC236}">
                <a16:creationId xmlns:a16="http://schemas.microsoft.com/office/drawing/2014/main" id="{143B1197-35F9-4A87-B8D5-38A41C98006F}"/>
              </a:ext>
            </a:extLst>
          </p:cNvPr>
          <p:cNvSpPr/>
          <p:nvPr/>
        </p:nvSpPr>
        <p:spPr>
          <a:xfrm>
            <a:off x="10485996" y="5705989"/>
            <a:ext cx="1148645" cy="63054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51" name="Rectangle 150">
            <a:extLst>
              <a:ext uri="{FF2B5EF4-FFF2-40B4-BE49-F238E27FC236}">
                <a16:creationId xmlns:a16="http://schemas.microsoft.com/office/drawing/2014/main" id="{7C156A9A-0CD9-4FEB-B302-46BE6039AFCB}"/>
              </a:ext>
            </a:extLst>
          </p:cNvPr>
          <p:cNvSpPr/>
          <p:nvPr/>
        </p:nvSpPr>
        <p:spPr>
          <a:xfrm>
            <a:off x="10485996" y="5557349"/>
            <a:ext cx="1148645" cy="630545"/>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825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BOGIE</a:t>
            </a:r>
          </a:p>
        </p:txBody>
      </p:sp>
      <p:sp>
        <p:nvSpPr>
          <p:cNvPr id="152" name="Rectangle 151"/>
          <p:cNvSpPr/>
          <p:nvPr/>
        </p:nvSpPr>
        <p:spPr>
          <a:xfrm>
            <a:off x="10397759" y="5406812"/>
            <a:ext cx="1322288" cy="1043824"/>
          </a:xfrm>
          <a:prstGeom prst="rect">
            <a:avLst/>
          </a:prstGeom>
          <a:noFill/>
          <a:ln w="28575">
            <a:solidFill>
              <a:srgbClr val="52525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Rectangle 103">
            <a:extLst>
              <a:ext uri="{FF2B5EF4-FFF2-40B4-BE49-F238E27FC236}">
                <a16:creationId xmlns:a16="http://schemas.microsoft.com/office/drawing/2014/main" id="{88E0760D-9E3E-49DE-9743-E026AEA611E2}"/>
              </a:ext>
            </a:extLst>
          </p:cNvPr>
          <p:cNvSpPr/>
          <p:nvPr/>
        </p:nvSpPr>
        <p:spPr>
          <a:xfrm>
            <a:off x="1843671" y="6383585"/>
            <a:ext cx="1034523" cy="343147"/>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05" name="Rectangle 104">
            <a:extLst>
              <a:ext uri="{FF2B5EF4-FFF2-40B4-BE49-F238E27FC236}">
                <a16:creationId xmlns:a16="http://schemas.microsoft.com/office/drawing/2014/main" id="{C26CEC0C-749E-45C3-BCD6-FA0483175D76}"/>
              </a:ext>
            </a:extLst>
          </p:cNvPr>
          <p:cNvSpPr/>
          <p:nvPr/>
        </p:nvSpPr>
        <p:spPr>
          <a:xfrm>
            <a:off x="1843671" y="6002278"/>
            <a:ext cx="1034523" cy="586327"/>
          </a:xfrm>
          <a:prstGeom prst="rect">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825 AMT</a:t>
            </a:r>
          </a:p>
        </p:txBody>
      </p:sp>
      <p:cxnSp>
        <p:nvCxnSpPr>
          <p:cNvPr id="128" name="Straight Connector 127">
            <a:extLst>
              <a:ext uri="{FF2B5EF4-FFF2-40B4-BE49-F238E27FC236}">
                <a16:creationId xmlns:a16="http://schemas.microsoft.com/office/drawing/2014/main" id="{CB4D2C49-59E2-40BC-B109-71E7B2C1E9F8}"/>
              </a:ext>
            </a:extLst>
          </p:cNvPr>
          <p:cNvCxnSpPr/>
          <p:nvPr/>
        </p:nvCxnSpPr>
        <p:spPr>
          <a:xfrm>
            <a:off x="1604393" y="6433613"/>
            <a:ext cx="226872" cy="6225"/>
          </a:xfrm>
          <a:prstGeom prst="line">
            <a:avLst/>
          </a:prstGeom>
          <a:ln w="28575">
            <a:solidFill>
              <a:srgbClr val="525252"/>
            </a:solidFill>
          </a:ln>
        </p:spPr>
        <p:style>
          <a:lnRef idx="1">
            <a:schemeClr val="accent1"/>
          </a:lnRef>
          <a:fillRef idx="0">
            <a:schemeClr val="accent1"/>
          </a:fillRef>
          <a:effectRef idx="0">
            <a:schemeClr val="accent1"/>
          </a:effectRef>
          <a:fontRef idx="minor">
            <a:schemeClr val="tx1"/>
          </a:fontRef>
        </p:style>
      </p:cxnSp>
      <p:sp>
        <p:nvSpPr>
          <p:cNvPr id="129" name="Oval 128">
            <a:extLst>
              <a:ext uri="{FF2B5EF4-FFF2-40B4-BE49-F238E27FC236}">
                <a16:creationId xmlns:a16="http://schemas.microsoft.com/office/drawing/2014/main" id="{C0773859-D6B7-4E4D-8CCB-8891EA6A72FC}"/>
              </a:ext>
            </a:extLst>
          </p:cNvPr>
          <p:cNvSpPr/>
          <p:nvPr/>
        </p:nvSpPr>
        <p:spPr>
          <a:xfrm>
            <a:off x="1711028" y="6339149"/>
            <a:ext cx="129469" cy="181873"/>
          </a:xfrm>
          <a:prstGeom prst="ellipse">
            <a:avLst/>
          </a:prstGeom>
          <a:solidFill>
            <a:schemeClr val="accent3">
              <a:lumMod val="50000"/>
            </a:schemeClr>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0" name="Rectangle 129"/>
          <p:cNvSpPr/>
          <p:nvPr/>
        </p:nvSpPr>
        <p:spPr>
          <a:xfrm>
            <a:off x="1786778" y="5953649"/>
            <a:ext cx="1145591" cy="827977"/>
          </a:xfrm>
          <a:prstGeom prst="rect">
            <a:avLst/>
          </a:prstGeom>
          <a:noFill/>
          <a:ln w="28575">
            <a:solidFill>
              <a:srgbClr val="52525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06077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E42C2D4-2319-4124-B35C-620BDC9D3D9B}"/>
              </a:ext>
            </a:extLst>
          </p:cNvPr>
          <p:cNvSpPr txBox="1"/>
          <p:nvPr/>
        </p:nvSpPr>
        <p:spPr>
          <a:xfrm>
            <a:off x="718638" y="862149"/>
            <a:ext cx="10464802"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404040"/>
                </a:solidFill>
                <a:effectLst/>
                <a:uLnTx/>
                <a:uFillTx/>
                <a:latin typeface="Tw Cen MT" panose="020B0602020104020603"/>
                <a:ea typeface="+mn-ea"/>
                <a:cs typeface="+mn-cs"/>
              </a:rPr>
              <a:t>HIGH HORSE POWER TIPPER VARIANTS</a:t>
            </a:r>
          </a:p>
        </p:txBody>
      </p:sp>
      <p:grpSp>
        <p:nvGrpSpPr>
          <p:cNvPr id="86" name="Group 85"/>
          <p:cNvGrpSpPr/>
          <p:nvPr/>
        </p:nvGrpSpPr>
        <p:grpSpPr>
          <a:xfrm>
            <a:off x="11194869" y="0"/>
            <a:ext cx="997131" cy="862149"/>
            <a:chOff x="11194869" y="0"/>
            <a:chExt cx="997131" cy="862149"/>
          </a:xfrm>
        </p:grpSpPr>
        <p:sp>
          <p:nvSpPr>
            <p:cNvPr id="87" name="Rectangle 86"/>
            <p:cNvSpPr/>
            <p:nvPr/>
          </p:nvSpPr>
          <p:spPr>
            <a:xfrm>
              <a:off x="11194869" y="0"/>
              <a:ext cx="997131" cy="8621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8" name="Picture 87">
              <a:extLst>
                <a:ext uri="{FF2B5EF4-FFF2-40B4-BE49-F238E27FC236}">
                  <a16:creationId xmlns:a16="http://schemas.microsoft.com/office/drawing/2014/main" id="{FC0F1AEE-0123-4A96-9788-AA9DA403417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437417" y="109734"/>
              <a:ext cx="621878" cy="622040"/>
            </a:xfrm>
            <a:prstGeom prst="rect">
              <a:avLst/>
            </a:prstGeom>
          </p:spPr>
        </p:pic>
      </p:grpSp>
      <p:graphicFrame>
        <p:nvGraphicFramePr>
          <p:cNvPr id="71" name="Diagram 70"/>
          <p:cNvGraphicFramePr/>
          <p:nvPr/>
        </p:nvGraphicFramePr>
        <p:xfrm>
          <a:off x="1357707" y="1253088"/>
          <a:ext cx="5191241" cy="535411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2" name="Diagram 71"/>
          <p:cNvGraphicFramePr/>
          <p:nvPr/>
        </p:nvGraphicFramePr>
        <p:xfrm>
          <a:off x="6728285" y="1354592"/>
          <a:ext cx="4955874" cy="537863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73" name="Picture 72"/>
          <p:cNvPicPr>
            <a:picLocks noChangeAspect="1"/>
          </p:cNvPicPr>
          <p:nvPr/>
        </p:nvPicPr>
        <p:blipFill rotWithShape="1">
          <a:blip r:embed="rId14" cstate="print">
            <a:extLst>
              <a:ext uri="{28A0092B-C50C-407E-A947-70E740481C1C}">
                <a14:useLocalDpi xmlns:a14="http://schemas.microsoft.com/office/drawing/2010/main" val="0"/>
              </a:ext>
            </a:extLst>
          </a:blip>
          <a:srcRect l="22768" t="14287" r="20312" b="10714"/>
          <a:stretch/>
        </p:blipFill>
        <p:spPr>
          <a:xfrm>
            <a:off x="2273849" y="1430791"/>
            <a:ext cx="1077106" cy="798325"/>
          </a:xfrm>
          <a:prstGeom prst="rect">
            <a:avLst/>
          </a:prstGeom>
        </p:spPr>
      </p:pic>
      <p:pic>
        <p:nvPicPr>
          <p:cNvPr id="74" name="Picture 73"/>
          <p:cNvPicPr>
            <a:picLocks noChangeAspect="1"/>
          </p:cNvPicPr>
          <p:nvPr/>
        </p:nvPicPr>
        <p:blipFill rotWithShape="1">
          <a:blip r:embed="rId15" cstate="print">
            <a:extLst>
              <a:ext uri="{28A0092B-C50C-407E-A947-70E740481C1C}">
                <a14:useLocalDpi xmlns:a14="http://schemas.microsoft.com/office/drawing/2010/main" val="0"/>
              </a:ext>
            </a:extLst>
          </a:blip>
          <a:srcRect l="9000" t="20000" r="22001" b="17143"/>
          <a:stretch/>
        </p:blipFill>
        <p:spPr>
          <a:xfrm>
            <a:off x="7430691" y="1659121"/>
            <a:ext cx="1197983" cy="818497"/>
          </a:xfrm>
          <a:prstGeom prst="rect">
            <a:avLst/>
          </a:prstGeom>
        </p:spPr>
      </p:pic>
      <p:sp>
        <p:nvSpPr>
          <p:cNvPr id="3" name="TextBox 2"/>
          <p:cNvSpPr txBox="1"/>
          <p:nvPr/>
        </p:nvSpPr>
        <p:spPr>
          <a:xfrm>
            <a:off x="358219" y="1793621"/>
            <a:ext cx="90680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MODEL</a:t>
            </a:r>
          </a:p>
        </p:txBody>
      </p:sp>
      <p:sp>
        <p:nvSpPr>
          <p:cNvPr id="27" name="TextBox 26"/>
          <p:cNvSpPr txBox="1"/>
          <p:nvPr/>
        </p:nvSpPr>
        <p:spPr>
          <a:xfrm>
            <a:off x="154186" y="2756065"/>
            <a:ext cx="162078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APPLICATION</a:t>
            </a:r>
          </a:p>
        </p:txBody>
      </p:sp>
      <p:sp>
        <p:nvSpPr>
          <p:cNvPr id="28" name="TextBox 27"/>
          <p:cNvSpPr txBox="1"/>
          <p:nvPr/>
        </p:nvSpPr>
        <p:spPr>
          <a:xfrm>
            <a:off x="0" y="3747477"/>
            <a:ext cx="162078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BODY TYPE</a:t>
            </a:r>
          </a:p>
        </p:txBody>
      </p:sp>
      <p:sp>
        <p:nvSpPr>
          <p:cNvPr id="29" name="TextBox 28"/>
          <p:cNvSpPr txBox="1"/>
          <p:nvPr/>
        </p:nvSpPr>
        <p:spPr>
          <a:xfrm>
            <a:off x="0" y="4781629"/>
            <a:ext cx="162078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TYRE</a:t>
            </a:r>
          </a:p>
        </p:txBody>
      </p:sp>
      <p:sp>
        <p:nvSpPr>
          <p:cNvPr id="30" name="TextBox 29"/>
          <p:cNvSpPr txBox="1"/>
          <p:nvPr/>
        </p:nvSpPr>
        <p:spPr>
          <a:xfrm>
            <a:off x="0" y="5814042"/>
            <a:ext cx="162078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MATERIALS</a:t>
            </a:r>
          </a:p>
        </p:txBody>
      </p:sp>
      <p:sp>
        <p:nvSpPr>
          <p:cNvPr id="31" name="TextBox 30"/>
          <p:cNvSpPr txBox="1"/>
          <p:nvPr/>
        </p:nvSpPr>
        <p:spPr>
          <a:xfrm>
            <a:off x="4542143" y="1962898"/>
            <a:ext cx="90680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6X4</a:t>
            </a:r>
          </a:p>
        </p:txBody>
      </p:sp>
      <p:sp>
        <p:nvSpPr>
          <p:cNvPr id="32" name="TextBox 31"/>
          <p:cNvSpPr txBox="1"/>
          <p:nvPr/>
        </p:nvSpPr>
        <p:spPr>
          <a:xfrm>
            <a:off x="9733384" y="2113366"/>
            <a:ext cx="90680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8X4</a:t>
            </a:r>
          </a:p>
        </p:txBody>
      </p:sp>
      <p:sp>
        <p:nvSpPr>
          <p:cNvPr id="8" name="Oval 7"/>
          <p:cNvSpPr/>
          <p:nvPr/>
        </p:nvSpPr>
        <p:spPr>
          <a:xfrm>
            <a:off x="6625980" y="1895067"/>
            <a:ext cx="37785" cy="4718921"/>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Parallelogram 32">
            <a:extLst>
              <a:ext uri="{FF2B5EF4-FFF2-40B4-BE49-F238E27FC236}">
                <a16:creationId xmlns:a16="http://schemas.microsoft.com/office/drawing/2014/main" id="{761964C5-704A-4262-A5F4-F7FCCE75F08C}"/>
              </a:ext>
            </a:extLst>
          </p:cNvPr>
          <p:cNvSpPr/>
          <p:nvPr/>
        </p:nvSpPr>
        <p:spPr>
          <a:xfrm>
            <a:off x="-63098" y="116894"/>
            <a:ext cx="9711843" cy="542559"/>
          </a:xfrm>
          <a:prstGeom prst="parallelogram">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Parallelogram 33">
            <a:extLst>
              <a:ext uri="{FF2B5EF4-FFF2-40B4-BE49-F238E27FC236}">
                <a16:creationId xmlns:a16="http://schemas.microsoft.com/office/drawing/2014/main" id="{1B90ED6E-F537-42DA-97D0-357848DEBB1B}"/>
              </a:ext>
            </a:extLst>
          </p:cNvPr>
          <p:cNvSpPr/>
          <p:nvPr/>
        </p:nvSpPr>
        <p:spPr>
          <a:xfrm>
            <a:off x="-149898" y="-20088"/>
            <a:ext cx="9711843" cy="573128"/>
          </a:xfrm>
          <a:prstGeom prst="parallelogram">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IPPER RANGE- HHPT</a:t>
            </a:r>
          </a:p>
        </p:txBody>
      </p:sp>
    </p:spTree>
    <p:extLst>
      <p:ext uri="{BB962C8B-B14F-4D97-AF65-F5344CB8AC3E}">
        <p14:creationId xmlns:p14="http://schemas.microsoft.com/office/powerpoint/2010/main" val="13465594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arallelogram 6">
            <a:extLst>
              <a:ext uri="{FF2B5EF4-FFF2-40B4-BE49-F238E27FC236}">
                <a16:creationId xmlns:a16="http://schemas.microsoft.com/office/drawing/2014/main" id="{761964C5-704A-4262-A5F4-F7FCCE75F08C}"/>
              </a:ext>
            </a:extLst>
          </p:cNvPr>
          <p:cNvSpPr/>
          <p:nvPr/>
        </p:nvSpPr>
        <p:spPr>
          <a:xfrm>
            <a:off x="-63098" y="116894"/>
            <a:ext cx="9711843" cy="542559"/>
          </a:xfrm>
          <a:prstGeom prst="parallelogram">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arallelogram 7">
            <a:extLst>
              <a:ext uri="{FF2B5EF4-FFF2-40B4-BE49-F238E27FC236}">
                <a16:creationId xmlns:a16="http://schemas.microsoft.com/office/drawing/2014/main" id="{1B90ED6E-F537-42DA-97D0-357848DEBB1B}"/>
              </a:ext>
            </a:extLst>
          </p:cNvPr>
          <p:cNvSpPr/>
          <p:nvPr/>
        </p:nvSpPr>
        <p:spPr>
          <a:xfrm>
            <a:off x="-149898" y="-20088"/>
            <a:ext cx="9711843" cy="573128"/>
          </a:xfrm>
          <a:prstGeom prst="parallelogram">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IPPER RANGE- RMC</a:t>
            </a:r>
          </a:p>
        </p:txBody>
      </p:sp>
      <p:pic>
        <p:nvPicPr>
          <p:cNvPr id="99" name="Picture 98">
            <a:extLst>
              <a:ext uri="{FF2B5EF4-FFF2-40B4-BE49-F238E27FC236}">
                <a16:creationId xmlns:a16="http://schemas.microsoft.com/office/drawing/2014/main" id="{D36469D5-DB12-4086-85F9-D43322EFAB2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437418" y="80705"/>
            <a:ext cx="621879" cy="622040"/>
          </a:xfrm>
          <a:prstGeom prst="rect">
            <a:avLst/>
          </a:prstGeom>
        </p:spPr>
      </p:pic>
      <p:pic>
        <p:nvPicPr>
          <p:cNvPr id="131" name="40986cbd-0fbe-44db-99b7-4942dba4ce74" descr="Image">
            <a:extLst>
              <a:ext uri="{FF2B5EF4-FFF2-40B4-BE49-F238E27FC236}">
                <a16:creationId xmlns:a16="http://schemas.microsoft.com/office/drawing/2014/main" id="{15460560-2766-4957-A4A1-3D59146CE44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5456" t="40129" r="13489" b="24912"/>
          <a:stretch/>
        </p:blipFill>
        <p:spPr bwMode="auto">
          <a:xfrm>
            <a:off x="878114" y="1549599"/>
            <a:ext cx="9937931" cy="4906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3876840" y="919966"/>
            <a:ext cx="428675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6 X 4 -2825, 8 X 4 - 3525</a:t>
            </a:r>
          </a:p>
        </p:txBody>
      </p:sp>
    </p:spTree>
    <p:extLst>
      <p:ext uri="{BB962C8B-B14F-4D97-AF65-F5344CB8AC3E}">
        <p14:creationId xmlns:p14="http://schemas.microsoft.com/office/powerpoint/2010/main" val="39533932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arallelogram 6">
            <a:extLst>
              <a:ext uri="{FF2B5EF4-FFF2-40B4-BE49-F238E27FC236}">
                <a16:creationId xmlns:a16="http://schemas.microsoft.com/office/drawing/2014/main" id="{761964C5-704A-4262-A5F4-F7FCCE75F08C}"/>
              </a:ext>
            </a:extLst>
          </p:cNvPr>
          <p:cNvSpPr/>
          <p:nvPr/>
        </p:nvSpPr>
        <p:spPr>
          <a:xfrm>
            <a:off x="-63098" y="116894"/>
            <a:ext cx="9711843" cy="542559"/>
          </a:xfrm>
          <a:prstGeom prst="parallelogram">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arallelogram 7">
            <a:extLst>
              <a:ext uri="{FF2B5EF4-FFF2-40B4-BE49-F238E27FC236}">
                <a16:creationId xmlns:a16="http://schemas.microsoft.com/office/drawing/2014/main" id="{1B90ED6E-F537-42DA-97D0-357848DEBB1B}"/>
              </a:ext>
            </a:extLst>
          </p:cNvPr>
          <p:cNvSpPr/>
          <p:nvPr/>
        </p:nvSpPr>
        <p:spPr>
          <a:xfrm>
            <a:off x="-149898" y="-20088"/>
            <a:ext cx="9711843" cy="573128"/>
          </a:xfrm>
          <a:prstGeom prst="parallelogram">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OL APPLICATIONS</a:t>
            </a:r>
          </a:p>
        </p:txBody>
      </p:sp>
      <p:pic>
        <p:nvPicPr>
          <p:cNvPr id="99" name="Picture 98">
            <a:extLst>
              <a:ext uri="{FF2B5EF4-FFF2-40B4-BE49-F238E27FC236}">
                <a16:creationId xmlns:a16="http://schemas.microsoft.com/office/drawing/2014/main" id="{D36469D5-DB12-4086-85F9-D43322EFAB2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437418" y="80705"/>
            <a:ext cx="621879" cy="622040"/>
          </a:xfrm>
          <a:prstGeom prst="rect">
            <a:avLst/>
          </a:prstGeom>
        </p:spPr>
      </p:pic>
      <p:pic>
        <p:nvPicPr>
          <p:cNvPr id="4" name="Picture 3"/>
          <p:cNvPicPr>
            <a:picLocks noChangeAspect="1"/>
          </p:cNvPicPr>
          <p:nvPr/>
        </p:nvPicPr>
        <p:blipFill>
          <a:blip r:embed="rId4"/>
          <a:stretch>
            <a:fillRect/>
          </a:stretch>
        </p:blipFill>
        <p:spPr>
          <a:xfrm>
            <a:off x="192016" y="1217135"/>
            <a:ext cx="11867281" cy="2402497"/>
          </a:xfrm>
          <a:prstGeom prst="rect">
            <a:avLst/>
          </a:prstGeom>
        </p:spPr>
      </p:pic>
    </p:spTree>
    <p:extLst>
      <p:ext uri="{BB962C8B-B14F-4D97-AF65-F5344CB8AC3E}">
        <p14:creationId xmlns:p14="http://schemas.microsoft.com/office/powerpoint/2010/main" val="40326400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5"/>
          <p:cNvSpPr/>
          <p:nvPr/>
        </p:nvSpPr>
        <p:spPr>
          <a:xfrm>
            <a:off x="-131112" y="93828"/>
            <a:ext cx="10423947" cy="543651"/>
          </a:xfrm>
          <a:prstGeom prst="parallelogram">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Parallelogram 4"/>
          <p:cNvSpPr/>
          <p:nvPr/>
        </p:nvSpPr>
        <p:spPr>
          <a:xfrm>
            <a:off x="-263815" y="897"/>
            <a:ext cx="10423947" cy="574281"/>
          </a:xfrm>
          <a:prstGeom prst="parallelogram">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prstClr val="white"/>
                </a:solidFill>
                <a:effectLst/>
                <a:uLnTx/>
                <a:uFillTx/>
                <a:latin typeface="Century Gothic" panose="020B0502020202020204" pitchFamily="34" charset="0"/>
                <a:ea typeface="+mn-ea"/>
                <a:cs typeface="+mn-cs"/>
              </a:rPr>
              <a:t>ecomet</a:t>
            </a:r>
            <a:r>
              <a:rPr kumimoji="0" lang="en-US" sz="3200" b="1" i="0" u="none" strike="noStrike" kern="1200" cap="none" spc="0" normalizeH="0" baseline="30000" noProof="0" dirty="0" err="1">
                <a:ln>
                  <a:noFill/>
                </a:ln>
                <a:solidFill>
                  <a:prstClr val="white"/>
                </a:solidFill>
                <a:effectLst/>
                <a:uLnTx/>
                <a:uFillTx/>
                <a:latin typeface="Century Gothic" panose="020B0502020202020204" pitchFamily="34" charset="0"/>
                <a:ea typeface="+mn-ea"/>
                <a:cs typeface="+mn-cs"/>
              </a:rPr>
              <a:t>STAR</a:t>
            </a:r>
            <a:r>
              <a:rPr kumimoji="0" lang="en-US" sz="31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PRODUCT RANGE</a:t>
            </a:r>
          </a:p>
        </p:txBody>
      </p:sp>
      <p:pic>
        <p:nvPicPr>
          <p:cNvPr id="159" name="Picture 158"/>
          <p:cNvPicPr>
            <a:picLocks noChangeAspect="1"/>
          </p:cNvPicPr>
          <p:nvPr/>
        </p:nvPicPr>
        <p:blipFill>
          <a:blip r:embed="rId3"/>
          <a:stretch>
            <a:fillRect/>
          </a:stretch>
        </p:blipFill>
        <p:spPr>
          <a:xfrm>
            <a:off x="101600" y="812800"/>
            <a:ext cx="11887200" cy="6045200"/>
          </a:xfrm>
          <a:prstGeom prst="rect">
            <a:avLst/>
          </a:prstGeom>
        </p:spPr>
      </p:pic>
    </p:spTree>
    <p:extLst>
      <p:ext uri="{BB962C8B-B14F-4D97-AF65-F5344CB8AC3E}">
        <p14:creationId xmlns:p14="http://schemas.microsoft.com/office/powerpoint/2010/main" val="27242500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5"/>
          <p:cNvSpPr/>
          <p:nvPr/>
        </p:nvSpPr>
        <p:spPr>
          <a:xfrm>
            <a:off x="-129491" y="94698"/>
            <a:ext cx="10421232" cy="543508"/>
          </a:xfrm>
          <a:prstGeom prst="parallelogram">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51"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5" name="Parallelogram 4"/>
          <p:cNvSpPr/>
          <p:nvPr/>
        </p:nvSpPr>
        <p:spPr>
          <a:xfrm>
            <a:off x="-262159" y="1791"/>
            <a:ext cx="10421232" cy="574131"/>
          </a:xfrm>
          <a:prstGeom prst="parallelogram">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051" rtl="0" eaLnBrk="1" fontAlgn="auto" latinLnBrk="0" hangingPunct="1">
              <a:lnSpc>
                <a:spcPct val="100000"/>
              </a:lnSpc>
              <a:spcBef>
                <a:spcPts val="0"/>
              </a:spcBef>
              <a:spcAft>
                <a:spcPts val="600"/>
              </a:spcAft>
              <a:buClrTx/>
              <a:buSzTx/>
              <a:buFontTx/>
              <a:buNone/>
              <a:tabLst/>
              <a:defRPr/>
            </a:pPr>
            <a:r>
              <a:rPr kumimoji="0" lang="en-US" sz="31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ICV CNG PRODUCT RANGE</a:t>
            </a:r>
          </a:p>
        </p:txBody>
      </p:sp>
      <p:graphicFrame>
        <p:nvGraphicFramePr>
          <p:cNvPr id="7" name="Diagram 6">
            <a:extLst>
              <a:ext uri="{FF2B5EF4-FFF2-40B4-BE49-F238E27FC236}">
                <a16:creationId xmlns:a16="http://schemas.microsoft.com/office/drawing/2014/main" id="{B1F08D70-81D2-4B2E-B39C-607DD5CD8130}"/>
              </a:ext>
            </a:extLst>
          </p:cNvPr>
          <p:cNvGraphicFramePr/>
          <p:nvPr/>
        </p:nvGraphicFramePr>
        <p:xfrm>
          <a:off x="1309630" y="883517"/>
          <a:ext cx="8849447" cy="57077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99E9759B-5B64-4CCB-AF86-AA78E25F410F}"/>
              </a:ext>
            </a:extLst>
          </p:cNvPr>
          <p:cNvSpPr/>
          <p:nvPr/>
        </p:nvSpPr>
        <p:spPr>
          <a:xfrm>
            <a:off x="8348461" y="6599468"/>
            <a:ext cx="4331576" cy="258532"/>
          </a:xfrm>
          <a:prstGeom prst="rect">
            <a:avLst/>
          </a:prstGeom>
        </p:spPr>
        <p:txBody>
          <a:bodyPr wrap="square">
            <a:spAutoFit/>
          </a:bodyPr>
          <a:lstStyle/>
          <a:p>
            <a:pPr marL="0" marR="0" lvl="0" indent="0" algn="ctr" defTabSz="622284" rtl="0" eaLnBrk="1" fontAlgn="auto" latinLnBrk="0" hangingPunct="1">
              <a:lnSpc>
                <a:spcPct val="90000"/>
              </a:lnSpc>
              <a:spcBef>
                <a:spcPct val="0"/>
              </a:spcBef>
              <a:spcAft>
                <a:spcPct val="35000"/>
              </a:spcAft>
              <a:buClrTx/>
              <a:buSzTx/>
              <a:buFontTx/>
              <a:buNone/>
              <a:tabLst/>
              <a:defRPr/>
            </a:pPr>
            <a:r>
              <a:rPr kumimoji="0" lang="en-IN" sz="12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Calibri" panose="020F0502020204030204" pitchFamily="34" charset="0"/>
              </a:rPr>
              <a:t>*All CNG cabins are day cabins</a:t>
            </a:r>
          </a:p>
        </p:txBody>
      </p:sp>
    </p:spTree>
    <p:extLst>
      <p:ext uri="{BB962C8B-B14F-4D97-AF65-F5344CB8AC3E}">
        <p14:creationId xmlns:p14="http://schemas.microsoft.com/office/powerpoint/2010/main" val="160515354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5"/>
          <p:cNvSpPr/>
          <p:nvPr/>
        </p:nvSpPr>
        <p:spPr>
          <a:xfrm>
            <a:off x="-129491" y="94698"/>
            <a:ext cx="10421232" cy="543508"/>
          </a:xfrm>
          <a:prstGeom prst="parallelogram">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051"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sp>
        <p:nvSpPr>
          <p:cNvPr id="5" name="Parallelogram 4"/>
          <p:cNvSpPr/>
          <p:nvPr/>
        </p:nvSpPr>
        <p:spPr>
          <a:xfrm>
            <a:off x="-262159" y="1791"/>
            <a:ext cx="10421232" cy="574131"/>
          </a:xfrm>
          <a:prstGeom prst="parallelogram">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051" rtl="0" eaLnBrk="1" fontAlgn="auto" latinLnBrk="0" hangingPunct="1">
              <a:lnSpc>
                <a:spcPct val="100000"/>
              </a:lnSpc>
              <a:spcBef>
                <a:spcPts val="0"/>
              </a:spcBef>
              <a:spcAft>
                <a:spcPts val="600"/>
              </a:spcAft>
              <a:buClrTx/>
              <a:buSzTx/>
              <a:buFontTx/>
              <a:buNone/>
              <a:tabLst/>
              <a:defRPr/>
            </a:pPr>
            <a:r>
              <a:rPr kumimoji="0" lang="en-US" sz="3199"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BOSS PRODUCT RANGE</a:t>
            </a:r>
          </a:p>
        </p:txBody>
      </p:sp>
      <p:graphicFrame>
        <p:nvGraphicFramePr>
          <p:cNvPr id="7" name="Diagram 6">
            <a:extLst>
              <a:ext uri="{FF2B5EF4-FFF2-40B4-BE49-F238E27FC236}">
                <a16:creationId xmlns:a16="http://schemas.microsoft.com/office/drawing/2014/main" id="{B1F08D70-81D2-4B2E-B39C-607DD5CD8130}"/>
              </a:ext>
            </a:extLst>
          </p:cNvPr>
          <p:cNvGraphicFramePr/>
          <p:nvPr/>
        </p:nvGraphicFramePr>
        <p:xfrm>
          <a:off x="1309630" y="883517"/>
          <a:ext cx="8849447" cy="57077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99E9759B-5B64-4CCB-AF86-AA78E25F410F}"/>
              </a:ext>
            </a:extLst>
          </p:cNvPr>
          <p:cNvSpPr/>
          <p:nvPr/>
        </p:nvSpPr>
        <p:spPr>
          <a:xfrm>
            <a:off x="8348461" y="6599468"/>
            <a:ext cx="4331576" cy="258532"/>
          </a:xfrm>
          <a:prstGeom prst="rect">
            <a:avLst/>
          </a:prstGeom>
        </p:spPr>
        <p:txBody>
          <a:bodyPr wrap="square">
            <a:spAutoFit/>
          </a:bodyPr>
          <a:lstStyle/>
          <a:p>
            <a:pPr marL="0" marR="0" lvl="0" indent="0" algn="ctr" defTabSz="622284" rtl="0" eaLnBrk="1" fontAlgn="auto" latinLnBrk="0" hangingPunct="1">
              <a:lnSpc>
                <a:spcPct val="90000"/>
              </a:lnSpc>
              <a:spcBef>
                <a:spcPct val="0"/>
              </a:spcBef>
              <a:spcAft>
                <a:spcPct val="35000"/>
              </a:spcAft>
              <a:buClrTx/>
              <a:buSzTx/>
              <a:buFontTx/>
              <a:buNone/>
              <a:tabLst/>
              <a:defRPr/>
            </a:pPr>
            <a:r>
              <a:rPr kumimoji="0" lang="en-IN" sz="1200" b="1" i="0" u="none" strike="noStrike" kern="1200" cap="none" spc="0" normalizeH="0" baseline="0" noProof="0" dirty="0">
                <a:ln>
                  <a:noFill/>
                </a:ln>
                <a:solidFill>
                  <a:srgbClr val="C00000"/>
                </a:solidFill>
                <a:effectLst/>
                <a:uLnTx/>
                <a:uFillTx/>
                <a:latin typeface="Century Gothic" panose="020B0502020202020204" pitchFamily="34" charset="0"/>
                <a:ea typeface="+mn-ea"/>
                <a:cs typeface="Calibri" panose="020F0502020204030204" pitchFamily="34" charset="0"/>
              </a:rPr>
              <a:t>*All Boss cabins are day cabins</a:t>
            </a:r>
          </a:p>
        </p:txBody>
      </p:sp>
    </p:spTree>
    <p:extLst>
      <p:ext uri="{BB962C8B-B14F-4D97-AF65-F5344CB8AC3E}">
        <p14:creationId xmlns:p14="http://schemas.microsoft.com/office/powerpoint/2010/main" val="22552486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826" name="Picture 1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1438467" y="82551"/>
            <a:ext cx="622300" cy="620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Top Corners Snipped 6">
            <a:extLst>
              <a:ext uri="{FF2B5EF4-FFF2-40B4-BE49-F238E27FC236}">
                <a16:creationId xmlns:a16="http://schemas.microsoft.com/office/drawing/2014/main" id="{43D167C1-4384-4891-8D6B-5966A3C2EFE6}"/>
              </a:ext>
            </a:extLst>
          </p:cNvPr>
          <p:cNvSpPr/>
          <p:nvPr/>
        </p:nvSpPr>
        <p:spPr>
          <a:xfrm rot="10800000">
            <a:off x="975784" y="0"/>
            <a:ext cx="9895416" cy="821267"/>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5829" name="TextBox 8"/>
          <p:cNvSpPr txBox="1">
            <a:spLocks noChangeArrowheads="1"/>
          </p:cNvSpPr>
          <p:nvPr/>
        </p:nvSpPr>
        <p:spPr bwMode="auto">
          <a:xfrm>
            <a:off x="1121834" y="46567"/>
            <a:ext cx="9548284" cy="666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5800">
              <a:defRPr>
                <a:solidFill>
                  <a:schemeClr val="tx1"/>
                </a:solidFill>
                <a:latin typeface="Calibri" panose="020F0502020204030204" pitchFamily="34" charset="0"/>
              </a:defRPr>
            </a:lvl1pPr>
            <a:lvl2pPr marL="742950" indent="-285750" defTabSz="685800">
              <a:defRPr>
                <a:solidFill>
                  <a:schemeClr val="tx1"/>
                </a:solidFill>
                <a:latin typeface="Calibri" panose="020F0502020204030204" pitchFamily="34" charset="0"/>
              </a:defRPr>
            </a:lvl2pPr>
            <a:lvl3pPr marL="1143000" indent="-228600" defTabSz="685800">
              <a:defRPr>
                <a:solidFill>
                  <a:schemeClr val="tx1"/>
                </a:solidFill>
                <a:latin typeface="Calibri" panose="020F0502020204030204" pitchFamily="34" charset="0"/>
              </a:defRPr>
            </a:lvl3pPr>
            <a:lvl4pPr marL="1600200" indent="-228600" defTabSz="685800">
              <a:defRPr>
                <a:solidFill>
                  <a:schemeClr val="tx1"/>
                </a:solidFill>
                <a:latin typeface="Calibri" panose="020F0502020204030204" pitchFamily="34" charset="0"/>
              </a:defRPr>
            </a:lvl4pPr>
            <a:lvl5pPr marL="2057400" indent="-228600" defTabSz="685800">
              <a:defRPr>
                <a:solidFill>
                  <a:schemeClr val="tx1"/>
                </a:solidFill>
                <a:latin typeface="Calibri" panose="020F0502020204030204" pitchFamily="34" charset="0"/>
              </a:defRPr>
            </a:lvl5pPr>
            <a:lvl6pPr marL="2514600" indent="-228600" defTabSz="685800" fontAlgn="base">
              <a:spcBef>
                <a:spcPct val="0"/>
              </a:spcBef>
              <a:spcAft>
                <a:spcPct val="0"/>
              </a:spcAft>
              <a:defRPr>
                <a:solidFill>
                  <a:schemeClr val="tx1"/>
                </a:solidFill>
                <a:latin typeface="Calibri" panose="020F0502020204030204" pitchFamily="34" charset="0"/>
              </a:defRPr>
            </a:lvl6pPr>
            <a:lvl7pPr marL="2971800" indent="-228600" defTabSz="685800" fontAlgn="base">
              <a:spcBef>
                <a:spcPct val="0"/>
              </a:spcBef>
              <a:spcAft>
                <a:spcPct val="0"/>
              </a:spcAft>
              <a:defRPr>
                <a:solidFill>
                  <a:schemeClr val="tx1"/>
                </a:solidFill>
                <a:latin typeface="Calibri" panose="020F0502020204030204" pitchFamily="34" charset="0"/>
              </a:defRPr>
            </a:lvl7pPr>
            <a:lvl8pPr marL="3429000" indent="-228600" defTabSz="685800" fontAlgn="base">
              <a:spcBef>
                <a:spcPct val="0"/>
              </a:spcBef>
              <a:spcAft>
                <a:spcPct val="0"/>
              </a:spcAft>
              <a:defRPr>
                <a:solidFill>
                  <a:schemeClr val="tx1"/>
                </a:solidFill>
                <a:latin typeface="Calibri" panose="020F0502020204030204" pitchFamily="34" charset="0"/>
              </a:defRPr>
            </a:lvl8pPr>
            <a:lvl9pPr marL="3886200" indent="-228600" defTabSz="685800" fontAlgn="base">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altLang="en-US" sz="3733" b="1"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PRODUCT RANGE</a:t>
            </a:r>
          </a:p>
        </p:txBody>
      </p:sp>
      <p:graphicFrame>
        <p:nvGraphicFramePr>
          <p:cNvPr id="205869" name="Diagram 205868">
            <a:extLst>
              <a:ext uri="{FF2B5EF4-FFF2-40B4-BE49-F238E27FC236}">
                <a16:creationId xmlns:a16="http://schemas.microsoft.com/office/drawing/2014/main" id="{84EFEAA0-FD74-B2A0-2567-A6B147AD1D80}"/>
              </a:ext>
            </a:extLst>
          </p:cNvPr>
          <p:cNvGraphicFramePr/>
          <p:nvPr/>
        </p:nvGraphicFramePr>
        <p:xfrm>
          <a:off x="178266" y="849084"/>
          <a:ext cx="12505871" cy="54869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05913" name="Picture 205912" descr="A picture containing transport, handcart, van, golf cart&#10;&#10;Description automatically generated">
            <a:extLst>
              <a:ext uri="{FF2B5EF4-FFF2-40B4-BE49-F238E27FC236}">
                <a16:creationId xmlns:a16="http://schemas.microsoft.com/office/drawing/2014/main" id="{B02AE649-AC4D-4DD0-6D41-3A11DE9A54A2}"/>
              </a:ext>
            </a:extLst>
          </p:cNvPr>
          <p:cNvPicPr>
            <a:picLocks noChangeAspect="1"/>
          </p:cNvPicPr>
          <p:nvPr/>
        </p:nvPicPr>
        <p:blipFill rotWithShape="1">
          <a:blip r:embed="rId8"/>
          <a:srcRect l="3173" b="7729"/>
          <a:stretch/>
        </p:blipFill>
        <p:spPr>
          <a:xfrm>
            <a:off x="444499" y="2518668"/>
            <a:ext cx="3242641" cy="1438231"/>
          </a:xfrm>
          <a:prstGeom prst="rect">
            <a:avLst/>
          </a:prstGeom>
        </p:spPr>
      </p:pic>
      <p:pic>
        <p:nvPicPr>
          <p:cNvPr id="205915" name="Picture 205914">
            <a:extLst>
              <a:ext uri="{FF2B5EF4-FFF2-40B4-BE49-F238E27FC236}">
                <a16:creationId xmlns:a16="http://schemas.microsoft.com/office/drawing/2014/main" id="{A2ED1EED-EA37-B8A2-F652-4BBBC3DF3D51}"/>
              </a:ext>
            </a:extLst>
          </p:cNvPr>
          <p:cNvPicPr>
            <a:picLocks noChangeAspect="1"/>
          </p:cNvPicPr>
          <p:nvPr/>
        </p:nvPicPr>
        <p:blipFill rotWithShape="1">
          <a:blip r:embed="rId9"/>
          <a:srcRect l="5040" b="5928"/>
          <a:stretch/>
        </p:blipFill>
        <p:spPr>
          <a:xfrm>
            <a:off x="455407" y="4643566"/>
            <a:ext cx="3437080" cy="1592134"/>
          </a:xfrm>
          <a:prstGeom prst="rect">
            <a:avLst/>
          </a:prstGeom>
        </p:spPr>
      </p:pic>
    </p:spTree>
    <p:extLst>
      <p:ext uri="{BB962C8B-B14F-4D97-AF65-F5344CB8AC3E}">
        <p14:creationId xmlns:p14="http://schemas.microsoft.com/office/powerpoint/2010/main" val="3633156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3778" name="Picture 1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438467" y="82551"/>
            <a:ext cx="622300" cy="620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Top Corners Snipped 6">
            <a:extLst>
              <a:ext uri="{FF2B5EF4-FFF2-40B4-BE49-F238E27FC236}">
                <a16:creationId xmlns:a16="http://schemas.microsoft.com/office/drawing/2014/main" id="{6886E1B3-334A-428B-9F33-BEC51F36F2A1}"/>
              </a:ext>
            </a:extLst>
          </p:cNvPr>
          <p:cNvSpPr/>
          <p:nvPr/>
        </p:nvSpPr>
        <p:spPr>
          <a:xfrm rot="10800000">
            <a:off x="975784" y="1"/>
            <a:ext cx="9895416" cy="622300"/>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3781" name="TextBox 7"/>
          <p:cNvSpPr txBox="1">
            <a:spLocks noChangeArrowheads="1"/>
          </p:cNvSpPr>
          <p:nvPr/>
        </p:nvSpPr>
        <p:spPr bwMode="auto">
          <a:xfrm>
            <a:off x="1149351" y="44451"/>
            <a:ext cx="9548283" cy="666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5800">
              <a:defRPr>
                <a:solidFill>
                  <a:schemeClr val="tx1"/>
                </a:solidFill>
                <a:latin typeface="Calibri" panose="020F0502020204030204" pitchFamily="34" charset="0"/>
              </a:defRPr>
            </a:lvl1pPr>
            <a:lvl2pPr marL="742950" indent="-285750" defTabSz="685800">
              <a:defRPr>
                <a:solidFill>
                  <a:schemeClr val="tx1"/>
                </a:solidFill>
                <a:latin typeface="Calibri" panose="020F0502020204030204" pitchFamily="34" charset="0"/>
              </a:defRPr>
            </a:lvl2pPr>
            <a:lvl3pPr marL="1143000" indent="-228600" defTabSz="685800">
              <a:defRPr>
                <a:solidFill>
                  <a:schemeClr val="tx1"/>
                </a:solidFill>
                <a:latin typeface="Calibri" panose="020F0502020204030204" pitchFamily="34" charset="0"/>
              </a:defRPr>
            </a:lvl3pPr>
            <a:lvl4pPr marL="1600200" indent="-228600" defTabSz="685800">
              <a:defRPr>
                <a:solidFill>
                  <a:schemeClr val="tx1"/>
                </a:solidFill>
                <a:latin typeface="Calibri" panose="020F0502020204030204" pitchFamily="34" charset="0"/>
              </a:defRPr>
            </a:lvl4pPr>
            <a:lvl5pPr marL="2057400" indent="-228600" defTabSz="685800">
              <a:defRPr>
                <a:solidFill>
                  <a:schemeClr val="tx1"/>
                </a:solidFill>
                <a:latin typeface="Calibri" panose="020F0502020204030204" pitchFamily="34" charset="0"/>
              </a:defRPr>
            </a:lvl5pPr>
            <a:lvl6pPr marL="2514600" indent="-228600" defTabSz="685800" fontAlgn="base">
              <a:spcBef>
                <a:spcPct val="0"/>
              </a:spcBef>
              <a:spcAft>
                <a:spcPct val="0"/>
              </a:spcAft>
              <a:defRPr>
                <a:solidFill>
                  <a:schemeClr val="tx1"/>
                </a:solidFill>
                <a:latin typeface="Calibri" panose="020F0502020204030204" pitchFamily="34" charset="0"/>
              </a:defRPr>
            </a:lvl6pPr>
            <a:lvl7pPr marL="2971800" indent="-228600" defTabSz="685800" fontAlgn="base">
              <a:spcBef>
                <a:spcPct val="0"/>
              </a:spcBef>
              <a:spcAft>
                <a:spcPct val="0"/>
              </a:spcAft>
              <a:defRPr>
                <a:solidFill>
                  <a:schemeClr val="tx1"/>
                </a:solidFill>
                <a:latin typeface="Calibri" panose="020F0502020204030204" pitchFamily="34" charset="0"/>
              </a:defRPr>
            </a:lvl7pPr>
            <a:lvl8pPr marL="3429000" indent="-228600" defTabSz="685800" fontAlgn="base">
              <a:spcBef>
                <a:spcPct val="0"/>
              </a:spcBef>
              <a:spcAft>
                <a:spcPct val="0"/>
              </a:spcAft>
              <a:defRPr>
                <a:solidFill>
                  <a:schemeClr val="tx1"/>
                </a:solidFill>
                <a:latin typeface="Calibri" panose="020F0502020204030204" pitchFamily="34" charset="0"/>
              </a:defRPr>
            </a:lvl8pPr>
            <a:lvl9pPr marL="3886200" indent="-228600" defTabSz="685800" fontAlgn="base">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altLang="en-US" sz="3733" b="1"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PRODUCT RANGE</a:t>
            </a:r>
          </a:p>
        </p:txBody>
      </p:sp>
      <p:pic>
        <p:nvPicPr>
          <p:cNvPr id="203815" name="Picture 203815">
            <a:extLst>
              <a:ext uri="{FF2B5EF4-FFF2-40B4-BE49-F238E27FC236}">
                <a16:creationId xmlns:a16="http://schemas.microsoft.com/office/drawing/2014/main" id="{506E4AAA-5443-9E00-E831-E73C04F38E84}"/>
              </a:ext>
            </a:extLst>
          </p:cNvPr>
          <p:cNvPicPr>
            <a:picLocks noChangeAspect="1"/>
          </p:cNvPicPr>
          <p:nvPr/>
        </p:nvPicPr>
        <p:blipFill>
          <a:blip r:embed="rId4"/>
          <a:stretch>
            <a:fillRect/>
          </a:stretch>
        </p:blipFill>
        <p:spPr>
          <a:xfrm>
            <a:off x="554967" y="787880"/>
            <a:ext cx="11082067" cy="5541033"/>
          </a:xfrm>
          <a:prstGeom prst="rect">
            <a:avLst/>
          </a:prstGeom>
        </p:spPr>
      </p:pic>
    </p:spTree>
    <p:extLst>
      <p:ext uri="{BB962C8B-B14F-4D97-AF65-F5344CB8AC3E}">
        <p14:creationId xmlns:p14="http://schemas.microsoft.com/office/powerpoint/2010/main" val="16988235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609594" y="-5"/>
            <a:ext cx="8459673" cy="978397"/>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p:cNvSpPr txBox="1"/>
          <p:nvPr/>
        </p:nvSpPr>
        <p:spPr>
          <a:xfrm>
            <a:off x="687125" y="124413"/>
            <a:ext cx="8073044" cy="666786"/>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BASIC AUTOMOTIVE TECHNOLOGY</a:t>
            </a:r>
            <a:endParaRPr kumimoji="0" lang="en-US" sz="37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2" name="Rectangle 1"/>
          <p:cNvSpPr/>
          <p:nvPr/>
        </p:nvSpPr>
        <p:spPr>
          <a:xfrm>
            <a:off x="77525" y="1397000"/>
            <a:ext cx="6120075" cy="5283200"/>
          </a:xfrm>
          <a:prstGeom prst="rect">
            <a:avLst/>
          </a:prstGeom>
          <a:solidFill>
            <a:schemeClr val="accent5">
              <a:lumMod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733"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HIS SECTION IS SPLIT INTO </a:t>
            </a:r>
            <a:r>
              <a:rPr kumimoji="0" lang="en-US" sz="18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 </a:t>
            </a:r>
            <a:endParaRPr kumimoji="0" lang="en-US" sz="37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733"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DIFFERENT PARTS </a:t>
            </a:r>
          </a:p>
        </p:txBody>
      </p:sp>
      <p:sp>
        <p:nvSpPr>
          <p:cNvPr id="49" name="Rectangle 48"/>
          <p:cNvSpPr/>
          <p:nvPr/>
        </p:nvSpPr>
        <p:spPr>
          <a:xfrm>
            <a:off x="6299200" y="4140200"/>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GGREGATES</a:t>
            </a:r>
          </a:p>
        </p:txBody>
      </p:sp>
      <p:sp>
        <p:nvSpPr>
          <p:cNvPr id="50" name="Rectangle 49"/>
          <p:cNvSpPr/>
          <p:nvPr/>
        </p:nvSpPr>
        <p:spPr>
          <a:xfrm>
            <a:off x="6299200" y="5461000"/>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GGREGATE MATRIX</a:t>
            </a:r>
          </a:p>
        </p:txBody>
      </p:sp>
      <p:sp>
        <p:nvSpPr>
          <p:cNvPr id="51" name="Rectangle 50"/>
          <p:cNvSpPr/>
          <p:nvPr/>
        </p:nvSpPr>
        <p:spPr>
          <a:xfrm>
            <a:off x="6299200" y="2781300"/>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RODUCT MATRIX</a:t>
            </a:r>
          </a:p>
        </p:txBody>
      </p:sp>
      <p:sp>
        <p:nvSpPr>
          <p:cNvPr id="6" name="Rectangle 5"/>
          <p:cNvSpPr/>
          <p:nvPr/>
        </p:nvSpPr>
        <p:spPr>
          <a:xfrm>
            <a:off x="6299200" y="1435571"/>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RCHITECTURE &amp; APPLICATION</a:t>
            </a:r>
          </a:p>
        </p:txBody>
      </p:sp>
    </p:spTree>
    <p:extLst>
      <p:ext uri="{BB962C8B-B14F-4D97-AF65-F5344CB8AC3E}">
        <p14:creationId xmlns:p14="http://schemas.microsoft.com/office/powerpoint/2010/main" val="1280329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Top Corners Snipped 1"/>
          <p:cNvSpPr/>
          <p:nvPr/>
        </p:nvSpPr>
        <p:spPr>
          <a:xfrm rot="10800000">
            <a:off x="1001184" y="0"/>
            <a:ext cx="10160000" cy="2084917"/>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400" b="1" dirty="0">
              <a:solidFill>
                <a:prstClr val="white"/>
              </a:solidFill>
              <a:latin typeface="Century Gothic" panose="020B0502020202020204" pitchFamily="34" charset="0"/>
            </a:endParaRPr>
          </a:p>
        </p:txBody>
      </p:sp>
      <p:sp>
        <p:nvSpPr>
          <p:cNvPr id="3" name="Rectangle 2"/>
          <p:cNvSpPr/>
          <p:nvPr/>
        </p:nvSpPr>
        <p:spPr>
          <a:xfrm>
            <a:off x="1346200" y="2084917"/>
            <a:ext cx="9448800" cy="304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1219170">
              <a:defRPr/>
            </a:pPr>
            <a:r>
              <a:rPr lang="en-US" sz="4267" b="1" dirty="0">
                <a:solidFill>
                  <a:prstClr val="white"/>
                </a:solidFill>
                <a:latin typeface="Century Gothic" panose="020B0502020202020204" pitchFamily="34" charset="0"/>
              </a:rPr>
              <a:t>AGGREGATE IDENTIFICATION</a:t>
            </a:r>
          </a:p>
        </p:txBody>
      </p:sp>
      <p:sp>
        <p:nvSpPr>
          <p:cNvPr id="4" name="Oval 3"/>
          <p:cNvSpPr/>
          <p:nvPr/>
        </p:nvSpPr>
        <p:spPr>
          <a:xfrm>
            <a:off x="4724401" y="1418167"/>
            <a:ext cx="2611967" cy="26140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400" dirty="0">
              <a:solidFill>
                <a:prstClr val="white"/>
              </a:solidFill>
              <a:latin typeface="Calibri"/>
            </a:endParaRPr>
          </a:p>
        </p:txBody>
      </p:sp>
      <p:pic>
        <p:nvPicPr>
          <p:cNvPr id="123909" name="Picture 2" descr="Image result for CHECKLIST IC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1318" y="1595967"/>
            <a:ext cx="2099733" cy="2099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3910" name="Rectangle 5"/>
          <p:cNvSpPr>
            <a:spLocks noChangeArrowheads="1"/>
          </p:cNvSpPr>
          <p:nvPr/>
        </p:nvSpPr>
        <p:spPr bwMode="auto">
          <a:xfrm>
            <a:off x="3762520" y="-19050"/>
            <a:ext cx="4533612"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defTabSz="1219170" fontAlgn="base">
              <a:spcBef>
                <a:spcPct val="0"/>
              </a:spcBef>
              <a:spcAft>
                <a:spcPct val="0"/>
              </a:spcAft>
            </a:pPr>
            <a:r>
              <a:rPr lang="en-US" altLang="en-US" sz="8000" b="1">
                <a:solidFill>
                  <a:prstClr val="black"/>
                </a:solidFill>
                <a:latin typeface="Century Gothic" panose="020B0502020202020204" pitchFamily="34" charset="0"/>
              </a:rPr>
              <a:t>ACTIVITY</a:t>
            </a:r>
          </a:p>
        </p:txBody>
      </p:sp>
    </p:spTree>
    <p:extLst>
      <p:ext uri="{BB962C8B-B14F-4D97-AF65-F5344CB8AC3E}">
        <p14:creationId xmlns:p14="http://schemas.microsoft.com/office/powerpoint/2010/main" val="79812235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4930" name="Picture 2" descr="image001"/>
          <p:cNvPicPr>
            <a:picLocks noChangeAspect="1" noChangeArrowheads="1"/>
          </p:cNvPicPr>
          <p:nvPr/>
        </p:nvPicPr>
        <p:blipFill>
          <a:blip r:embed="rId3">
            <a:extLst>
              <a:ext uri="{28A0092B-C50C-407E-A947-70E740481C1C}">
                <a14:useLocalDpi xmlns:a14="http://schemas.microsoft.com/office/drawing/2010/main" val="0"/>
              </a:ext>
            </a:extLst>
          </a:blip>
          <a:srcRect r="2400"/>
          <a:stretch>
            <a:fillRect/>
          </a:stretch>
        </p:blipFill>
        <p:spPr bwMode="auto">
          <a:xfrm>
            <a:off x="203201" y="1701800"/>
            <a:ext cx="11476567" cy="3657600"/>
          </a:xfrm>
          <a:prstGeom prst="rect">
            <a:avLst/>
          </a:prstGeom>
          <a:solidFill>
            <a:schemeClr val="tx2">
              <a:lumMod val="75000"/>
            </a:schemeClr>
          </a:solidFill>
          <a:ln>
            <a:noFill/>
          </a:ln>
        </p:spPr>
      </p:pic>
      <p:sp>
        <p:nvSpPr>
          <p:cNvPr id="3" name="Rectangle: Top Corners Snipped 2">
            <a:extLst>
              <a:ext uri="{FF2B5EF4-FFF2-40B4-BE49-F238E27FC236}">
                <a16:creationId xmlns:a16="http://schemas.microsoft.com/office/drawing/2014/main" id="{AC23B281-6E74-450D-A7A4-F5C770D68610}"/>
              </a:ext>
            </a:extLst>
          </p:cNvPr>
          <p:cNvSpPr/>
          <p:nvPr/>
        </p:nvSpPr>
        <p:spPr>
          <a:xfrm rot="10800000">
            <a:off x="609600" y="1"/>
            <a:ext cx="8460317" cy="977900"/>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400">
              <a:solidFill>
                <a:prstClr val="white"/>
              </a:solidFill>
              <a:latin typeface="Calibri"/>
            </a:endParaRPr>
          </a:p>
        </p:txBody>
      </p:sp>
      <p:sp>
        <p:nvSpPr>
          <p:cNvPr id="124932" name="TextBox 3"/>
          <p:cNvSpPr txBox="1">
            <a:spLocks noChangeArrowheads="1"/>
          </p:cNvSpPr>
          <p:nvPr/>
        </p:nvSpPr>
        <p:spPr bwMode="auto">
          <a:xfrm>
            <a:off x="687917" y="124884"/>
            <a:ext cx="4713150" cy="666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defTabSz="1219170" fontAlgn="base">
              <a:spcBef>
                <a:spcPct val="0"/>
              </a:spcBef>
              <a:spcAft>
                <a:spcPct val="0"/>
              </a:spcAft>
            </a:pPr>
            <a:r>
              <a:rPr lang="en-US" altLang="en-US" sz="3733" b="1">
                <a:solidFill>
                  <a:srgbClr val="000000"/>
                </a:solidFill>
                <a:latin typeface="Century Gothic" panose="020B0502020202020204" pitchFamily="34" charset="0"/>
              </a:rPr>
              <a:t>BUILD OF A VEHICLE</a:t>
            </a:r>
            <a:endParaRPr lang="en-US" altLang="en-US" sz="3733" b="1">
              <a:solidFill>
                <a:prstClr val="black"/>
              </a:solidFill>
              <a:latin typeface="Century Gothic" panose="020B0502020202020204" pitchFamily="34" charset="0"/>
            </a:endParaRPr>
          </a:p>
        </p:txBody>
      </p:sp>
      <p:sp>
        <p:nvSpPr>
          <p:cNvPr id="5" name="Rectangle 4">
            <a:extLst>
              <a:ext uri="{FF2B5EF4-FFF2-40B4-BE49-F238E27FC236}">
                <a16:creationId xmlns:a16="http://schemas.microsoft.com/office/drawing/2014/main" id="{A8B6B854-5DB9-4961-B136-1BCD3EF44893}"/>
              </a:ext>
            </a:extLst>
          </p:cNvPr>
          <p:cNvSpPr/>
          <p:nvPr/>
        </p:nvSpPr>
        <p:spPr bwMode="auto">
          <a:xfrm>
            <a:off x="4468285" y="5156200"/>
            <a:ext cx="1172633" cy="457200"/>
          </a:xfrm>
          <a:prstGeom prst="rect">
            <a:avLst/>
          </a:prstGeom>
          <a:solidFill>
            <a:schemeClr val="tx2">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r>
              <a:rPr lang="en-GB" sz="1400" b="1" dirty="0">
                <a:solidFill>
                  <a:srgbClr val="FFFFFF"/>
                </a:solidFill>
                <a:latin typeface="Century Gothic" panose="020B0502020202020204" pitchFamily="34" charset="0"/>
              </a:rPr>
              <a:t>Fuel Tank</a:t>
            </a:r>
          </a:p>
        </p:txBody>
      </p:sp>
      <p:sp>
        <p:nvSpPr>
          <p:cNvPr id="6" name="Line 15">
            <a:extLst>
              <a:ext uri="{FF2B5EF4-FFF2-40B4-BE49-F238E27FC236}">
                <a16:creationId xmlns:a16="http://schemas.microsoft.com/office/drawing/2014/main" id="{730A553A-07FE-4622-9063-35990C952947}"/>
              </a:ext>
            </a:extLst>
          </p:cNvPr>
          <p:cNvSpPr>
            <a:spLocks noChangeShapeType="1"/>
          </p:cNvSpPr>
          <p:nvPr/>
        </p:nvSpPr>
        <p:spPr bwMode="auto">
          <a:xfrm flipH="1" flipV="1">
            <a:off x="4838700" y="4546600"/>
            <a:ext cx="0" cy="609600"/>
          </a:xfrm>
          <a:prstGeom prst="line">
            <a:avLst/>
          </a:prstGeom>
          <a:noFill/>
          <a:ln w="28575">
            <a:solidFill>
              <a:srgbClr val="FFFF00"/>
            </a:solidFill>
            <a:round/>
            <a:headEnd/>
            <a:tailEnd type="triangle" w="med" len="med"/>
          </a:ln>
        </p:spPr>
        <p:txBody>
          <a:bodyPr/>
          <a:lstStyle/>
          <a:p>
            <a:pPr defTabSz="914377">
              <a:defRPr/>
            </a:pPr>
            <a:endParaRPr lang="en-US" sz="1400" b="1">
              <a:solidFill>
                <a:srgbClr val="000000"/>
              </a:solidFill>
              <a:latin typeface="Century Gothic" panose="020B0502020202020204" pitchFamily="34" charset="0"/>
            </a:endParaRPr>
          </a:p>
        </p:txBody>
      </p:sp>
      <p:sp>
        <p:nvSpPr>
          <p:cNvPr id="7" name="Rectangle 6">
            <a:extLst>
              <a:ext uri="{FF2B5EF4-FFF2-40B4-BE49-F238E27FC236}">
                <a16:creationId xmlns:a16="http://schemas.microsoft.com/office/drawing/2014/main" id="{B9A677A9-B7B9-41D7-AD70-988210753738}"/>
              </a:ext>
            </a:extLst>
          </p:cNvPr>
          <p:cNvSpPr/>
          <p:nvPr/>
        </p:nvSpPr>
        <p:spPr bwMode="auto">
          <a:xfrm>
            <a:off x="9753600" y="1778000"/>
            <a:ext cx="1170517" cy="457200"/>
          </a:xfrm>
          <a:prstGeom prst="rect">
            <a:avLst/>
          </a:prstGeom>
          <a:solidFill>
            <a:schemeClr val="tx2">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r>
              <a:rPr lang="en-GB" sz="1400" b="1" dirty="0">
                <a:solidFill>
                  <a:srgbClr val="FFFFFF"/>
                </a:solidFill>
                <a:latin typeface="Century Gothic" panose="020B0502020202020204" pitchFamily="34" charset="0"/>
              </a:rPr>
              <a:t>Chassis frame</a:t>
            </a:r>
          </a:p>
        </p:txBody>
      </p:sp>
      <p:sp>
        <p:nvSpPr>
          <p:cNvPr id="8" name="Line 15">
            <a:extLst>
              <a:ext uri="{FF2B5EF4-FFF2-40B4-BE49-F238E27FC236}">
                <a16:creationId xmlns:a16="http://schemas.microsoft.com/office/drawing/2014/main" id="{4D733E6B-A477-4575-9F9F-DFAC7BCF1965}"/>
              </a:ext>
            </a:extLst>
          </p:cNvPr>
          <p:cNvSpPr>
            <a:spLocks noChangeShapeType="1"/>
          </p:cNvSpPr>
          <p:nvPr/>
        </p:nvSpPr>
        <p:spPr bwMode="auto">
          <a:xfrm>
            <a:off x="10466917" y="2235200"/>
            <a:ext cx="457200" cy="889000"/>
          </a:xfrm>
          <a:prstGeom prst="line">
            <a:avLst/>
          </a:prstGeom>
          <a:noFill/>
          <a:ln w="28575">
            <a:solidFill>
              <a:srgbClr val="FFFF00"/>
            </a:solidFill>
            <a:round/>
            <a:headEnd/>
            <a:tailEnd type="triangle" w="med" len="med"/>
          </a:ln>
        </p:spPr>
        <p:txBody>
          <a:bodyPr/>
          <a:lstStyle/>
          <a:p>
            <a:pPr defTabSz="914377">
              <a:defRPr/>
            </a:pPr>
            <a:endParaRPr lang="en-US" sz="1400" b="1">
              <a:solidFill>
                <a:srgbClr val="000000"/>
              </a:solidFill>
              <a:latin typeface="Century Gothic" panose="020B0502020202020204" pitchFamily="34" charset="0"/>
            </a:endParaRPr>
          </a:p>
        </p:txBody>
      </p:sp>
      <p:sp>
        <p:nvSpPr>
          <p:cNvPr id="9" name="Rectangle 8">
            <a:extLst>
              <a:ext uri="{FF2B5EF4-FFF2-40B4-BE49-F238E27FC236}">
                <a16:creationId xmlns:a16="http://schemas.microsoft.com/office/drawing/2014/main" id="{6B7AF651-A5E3-427D-BD0C-F18C52D920A3}"/>
              </a:ext>
            </a:extLst>
          </p:cNvPr>
          <p:cNvSpPr/>
          <p:nvPr/>
        </p:nvSpPr>
        <p:spPr bwMode="auto">
          <a:xfrm>
            <a:off x="9527118" y="5156200"/>
            <a:ext cx="1490132" cy="457200"/>
          </a:xfrm>
          <a:prstGeom prst="rect">
            <a:avLst/>
          </a:prstGeom>
          <a:solidFill>
            <a:schemeClr val="tx2">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r>
              <a:rPr lang="en-GB" sz="1400" b="1" dirty="0">
                <a:solidFill>
                  <a:srgbClr val="FFFFFF"/>
                </a:solidFill>
                <a:latin typeface="Century Gothic" panose="020B0502020202020204" pitchFamily="34" charset="0"/>
              </a:rPr>
              <a:t>Chassis cross member</a:t>
            </a:r>
          </a:p>
        </p:txBody>
      </p:sp>
      <p:sp>
        <p:nvSpPr>
          <p:cNvPr id="10" name="Line 15">
            <a:extLst>
              <a:ext uri="{FF2B5EF4-FFF2-40B4-BE49-F238E27FC236}">
                <a16:creationId xmlns:a16="http://schemas.microsoft.com/office/drawing/2014/main" id="{1DEA0042-52F4-4C8D-9B1C-FBCD8721879A}"/>
              </a:ext>
            </a:extLst>
          </p:cNvPr>
          <p:cNvSpPr>
            <a:spLocks noChangeShapeType="1"/>
          </p:cNvSpPr>
          <p:nvPr/>
        </p:nvSpPr>
        <p:spPr bwMode="auto">
          <a:xfrm flipV="1">
            <a:off x="10083801" y="3733800"/>
            <a:ext cx="342900" cy="1422400"/>
          </a:xfrm>
          <a:prstGeom prst="line">
            <a:avLst/>
          </a:prstGeom>
          <a:noFill/>
          <a:ln w="28575">
            <a:solidFill>
              <a:srgbClr val="FFFF00"/>
            </a:solidFill>
            <a:round/>
            <a:headEnd/>
            <a:tailEnd type="triangle" w="med" len="med"/>
          </a:ln>
        </p:spPr>
        <p:txBody>
          <a:bodyPr/>
          <a:lstStyle/>
          <a:p>
            <a:pPr defTabSz="914377">
              <a:defRPr/>
            </a:pPr>
            <a:endParaRPr lang="en-US" sz="1400" b="1">
              <a:solidFill>
                <a:srgbClr val="000000"/>
              </a:solidFill>
              <a:latin typeface="Century Gothic" panose="020B0502020202020204" pitchFamily="34" charset="0"/>
            </a:endParaRPr>
          </a:p>
        </p:txBody>
      </p:sp>
      <p:sp>
        <p:nvSpPr>
          <p:cNvPr id="11" name="Line 15">
            <a:extLst>
              <a:ext uri="{FF2B5EF4-FFF2-40B4-BE49-F238E27FC236}">
                <a16:creationId xmlns:a16="http://schemas.microsoft.com/office/drawing/2014/main" id="{D437C7F8-5A13-4170-9EF3-8CC803346031}"/>
              </a:ext>
            </a:extLst>
          </p:cNvPr>
          <p:cNvSpPr>
            <a:spLocks noChangeShapeType="1"/>
          </p:cNvSpPr>
          <p:nvPr/>
        </p:nvSpPr>
        <p:spPr bwMode="auto">
          <a:xfrm flipH="1" flipV="1">
            <a:off x="9476317" y="3733800"/>
            <a:ext cx="607483" cy="1422400"/>
          </a:xfrm>
          <a:prstGeom prst="line">
            <a:avLst/>
          </a:prstGeom>
          <a:noFill/>
          <a:ln w="28575">
            <a:solidFill>
              <a:srgbClr val="FFFF00"/>
            </a:solidFill>
            <a:round/>
            <a:headEnd/>
            <a:tailEnd type="triangle" w="med" len="med"/>
          </a:ln>
        </p:spPr>
        <p:txBody>
          <a:bodyPr/>
          <a:lstStyle/>
          <a:p>
            <a:pPr defTabSz="914377">
              <a:defRPr/>
            </a:pPr>
            <a:endParaRPr lang="en-US" sz="1400" b="1">
              <a:solidFill>
                <a:srgbClr val="000000"/>
              </a:solidFill>
              <a:latin typeface="Century Gothic" panose="020B0502020202020204" pitchFamily="34" charset="0"/>
            </a:endParaRPr>
          </a:p>
        </p:txBody>
      </p:sp>
      <p:sp>
        <p:nvSpPr>
          <p:cNvPr id="12" name="Rectangle 11">
            <a:extLst>
              <a:ext uri="{FF2B5EF4-FFF2-40B4-BE49-F238E27FC236}">
                <a16:creationId xmlns:a16="http://schemas.microsoft.com/office/drawing/2014/main" id="{85AECB55-B9A7-4C6E-8427-815DBAEF5B93}"/>
              </a:ext>
            </a:extLst>
          </p:cNvPr>
          <p:cNvSpPr/>
          <p:nvPr/>
        </p:nvSpPr>
        <p:spPr bwMode="auto">
          <a:xfrm>
            <a:off x="783770" y="1181099"/>
            <a:ext cx="1240971" cy="444499"/>
          </a:xfrm>
          <a:prstGeom prst="rect">
            <a:avLst/>
          </a:prstGeom>
          <a:solidFill>
            <a:schemeClr val="tx2">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r>
              <a:rPr lang="en-GB" sz="1400" b="1" dirty="0">
                <a:solidFill>
                  <a:srgbClr val="FFFFFF"/>
                </a:solidFill>
                <a:latin typeface="Century Gothic" panose="020B0502020202020204" pitchFamily="34" charset="0"/>
              </a:rPr>
              <a:t>Steering wheel</a:t>
            </a:r>
          </a:p>
        </p:txBody>
      </p:sp>
      <p:sp>
        <p:nvSpPr>
          <p:cNvPr id="13" name="Line 15">
            <a:extLst>
              <a:ext uri="{FF2B5EF4-FFF2-40B4-BE49-F238E27FC236}">
                <a16:creationId xmlns:a16="http://schemas.microsoft.com/office/drawing/2014/main" id="{A471574C-226A-4FCB-B463-C7EC7F73CF4F}"/>
              </a:ext>
            </a:extLst>
          </p:cNvPr>
          <p:cNvSpPr>
            <a:spLocks noChangeShapeType="1"/>
          </p:cNvSpPr>
          <p:nvPr/>
        </p:nvSpPr>
        <p:spPr bwMode="auto">
          <a:xfrm flipH="1">
            <a:off x="1117601" y="1638300"/>
            <a:ext cx="148167" cy="1075267"/>
          </a:xfrm>
          <a:prstGeom prst="line">
            <a:avLst/>
          </a:prstGeom>
          <a:noFill/>
          <a:ln w="28575">
            <a:solidFill>
              <a:srgbClr val="FFFF00"/>
            </a:solidFill>
            <a:round/>
            <a:headEnd/>
            <a:tailEnd type="triangle" w="med" len="med"/>
          </a:ln>
        </p:spPr>
        <p:txBody>
          <a:bodyPr/>
          <a:lstStyle/>
          <a:p>
            <a:pPr defTabSz="914377">
              <a:defRPr/>
            </a:pPr>
            <a:endParaRPr lang="en-US" sz="1400" b="1">
              <a:solidFill>
                <a:srgbClr val="000000"/>
              </a:solidFill>
              <a:latin typeface="Century Gothic" panose="020B0502020202020204" pitchFamily="34" charset="0"/>
            </a:endParaRPr>
          </a:p>
        </p:txBody>
      </p:sp>
      <p:sp>
        <p:nvSpPr>
          <p:cNvPr id="14" name="Rectangle 13">
            <a:extLst>
              <a:ext uri="{FF2B5EF4-FFF2-40B4-BE49-F238E27FC236}">
                <a16:creationId xmlns:a16="http://schemas.microsoft.com/office/drawing/2014/main" id="{E1708085-79BF-4704-891D-7D60DF5BC256}"/>
              </a:ext>
            </a:extLst>
          </p:cNvPr>
          <p:cNvSpPr/>
          <p:nvPr/>
        </p:nvSpPr>
        <p:spPr bwMode="auto">
          <a:xfrm>
            <a:off x="3075517" y="5194300"/>
            <a:ext cx="1066800" cy="381000"/>
          </a:xfrm>
          <a:prstGeom prst="rect">
            <a:avLst/>
          </a:prstGeom>
          <a:solidFill>
            <a:schemeClr val="tx2">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r>
              <a:rPr lang="en-GB" sz="1400" b="1" dirty="0">
                <a:solidFill>
                  <a:srgbClr val="FFFFFF"/>
                </a:solidFill>
                <a:latin typeface="Century Gothic" panose="020B0502020202020204" pitchFamily="34" charset="0"/>
              </a:rPr>
              <a:t>Universal joint</a:t>
            </a:r>
          </a:p>
        </p:txBody>
      </p:sp>
      <p:sp>
        <p:nvSpPr>
          <p:cNvPr id="15" name="Line 15">
            <a:extLst>
              <a:ext uri="{FF2B5EF4-FFF2-40B4-BE49-F238E27FC236}">
                <a16:creationId xmlns:a16="http://schemas.microsoft.com/office/drawing/2014/main" id="{F1AEC226-05E3-4C31-AB1F-2459AB8DD0C0}"/>
              </a:ext>
            </a:extLst>
          </p:cNvPr>
          <p:cNvSpPr>
            <a:spLocks noChangeShapeType="1"/>
          </p:cNvSpPr>
          <p:nvPr/>
        </p:nvSpPr>
        <p:spPr bwMode="auto">
          <a:xfrm flipV="1">
            <a:off x="3729568" y="3515785"/>
            <a:ext cx="1096433" cy="1703916"/>
          </a:xfrm>
          <a:prstGeom prst="line">
            <a:avLst/>
          </a:prstGeom>
          <a:noFill/>
          <a:ln w="28575">
            <a:solidFill>
              <a:srgbClr val="FFFF00"/>
            </a:solidFill>
            <a:round/>
            <a:headEnd/>
            <a:tailEnd type="triangle" w="med" len="med"/>
          </a:ln>
        </p:spPr>
        <p:txBody>
          <a:bodyPr/>
          <a:lstStyle/>
          <a:p>
            <a:pPr defTabSz="914377">
              <a:defRPr/>
            </a:pPr>
            <a:endParaRPr lang="en-US" sz="1400" b="1">
              <a:solidFill>
                <a:srgbClr val="000000"/>
              </a:solidFill>
              <a:latin typeface="Century Gothic" panose="020B0502020202020204" pitchFamily="34" charset="0"/>
            </a:endParaRPr>
          </a:p>
        </p:txBody>
      </p:sp>
      <p:sp>
        <p:nvSpPr>
          <p:cNvPr id="16" name="Rectangle 15">
            <a:extLst>
              <a:ext uri="{FF2B5EF4-FFF2-40B4-BE49-F238E27FC236}">
                <a16:creationId xmlns:a16="http://schemas.microsoft.com/office/drawing/2014/main" id="{78C95055-8022-40D1-A032-457619CDF46C}"/>
              </a:ext>
            </a:extLst>
          </p:cNvPr>
          <p:cNvSpPr/>
          <p:nvPr/>
        </p:nvSpPr>
        <p:spPr bwMode="auto">
          <a:xfrm>
            <a:off x="1727200" y="5213351"/>
            <a:ext cx="1066800" cy="381000"/>
          </a:xfrm>
          <a:prstGeom prst="rect">
            <a:avLst/>
          </a:prstGeom>
          <a:solidFill>
            <a:schemeClr val="tx2">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r>
              <a:rPr lang="en-GB" sz="1400" b="1" dirty="0">
                <a:solidFill>
                  <a:srgbClr val="FFFFFF"/>
                </a:solidFill>
                <a:latin typeface="Century Gothic" panose="020B0502020202020204" pitchFamily="34" charset="0"/>
              </a:rPr>
              <a:t>Propeller shaft</a:t>
            </a:r>
          </a:p>
        </p:txBody>
      </p:sp>
      <p:sp>
        <p:nvSpPr>
          <p:cNvPr id="17" name="Line 15">
            <a:extLst>
              <a:ext uri="{FF2B5EF4-FFF2-40B4-BE49-F238E27FC236}">
                <a16:creationId xmlns:a16="http://schemas.microsoft.com/office/drawing/2014/main" id="{857C7A94-DB1D-4B95-B5FF-63A3E5B3F2FC}"/>
              </a:ext>
            </a:extLst>
          </p:cNvPr>
          <p:cNvSpPr>
            <a:spLocks noChangeShapeType="1"/>
          </p:cNvSpPr>
          <p:nvPr/>
        </p:nvSpPr>
        <p:spPr bwMode="auto">
          <a:xfrm flipV="1">
            <a:off x="2275417" y="3515785"/>
            <a:ext cx="1310216" cy="1697567"/>
          </a:xfrm>
          <a:prstGeom prst="line">
            <a:avLst/>
          </a:prstGeom>
          <a:noFill/>
          <a:ln w="28575">
            <a:solidFill>
              <a:srgbClr val="FFFF00"/>
            </a:solidFill>
            <a:round/>
            <a:headEnd/>
            <a:tailEnd type="triangle" w="med" len="med"/>
          </a:ln>
        </p:spPr>
        <p:txBody>
          <a:bodyPr/>
          <a:lstStyle/>
          <a:p>
            <a:pPr defTabSz="914377">
              <a:defRPr/>
            </a:pPr>
            <a:endParaRPr lang="en-US" sz="1400" b="1">
              <a:solidFill>
                <a:srgbClr val="000000"/>
              </a:solidFill>
              <a:latin typeface="Century Gothic" panose="020B0502020202020204" pitchFamily="34" charset="0"/>
            </a:endParaRPr>
          </a:p>
        </p:txBody>
      </p:sp>
      <p:sp>
        <p:nvSpPr>
          <p:cNvPr id="18" name="Rectangle 17">
            <a:extLst>
              <a:ext uri="{FF2B5EF4-FFF2-40B4-BE49-F238E27FC236}">
                <a16:creationId xmlns:a16="http://schemas.microsoft.com/office/drawing/2014/main" id="{AC3DA93D-001B-4B4B-A1E8-F167D7A41D92}"/>
              </a:ext>
            </a:extLst>
          </p:cNvPr>
          <p:cNvSpPr/>
          <p:nvPr/>
        </p:nvSpPr>
        <p:spPr bwMode="auto">
          <a:xfrm>
            <a:off x="6292851" y="5137151"/>
            <a:ext cx="1524000" cy="457200"/>
          </a:xfrm>
          <a:prstGeom prst="rect">
            <a:avLst/>
          </a:prstGeom>
          <a:solidFill>
            <a:schemeClr val="tx2">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r>
              <a:rPr lang="en-GB" sz="1400" b="1" dirty="0">
                <a:solidFill>
                  <a:srgbClr val="FFFFFF"/>
                </a:solidFill>
                <a:latin typeface="Century Gothic" panose="020B0502020202020204" pitchFamily="34" charset="0"/>
              </a:rPr>
              <a:t>Final drive and differential </a:t>
            </a:r>
          </a:p>
        </p:txBody>
      </p:sp>
      <p:sp>
        <p:nvSpPr>
          <p:cNvPr id="19" name="Line 15">
            <a:extLst>
              <a:ext uri="{FF2B5EF4-FFF2-40B4-BE49-F238E27FC236}">
                <a16:creationId xmlns:a16="http://schemas.microsoft.com/office/drawing/2014/main" id="{4C47141B-11EB-452A-B991-FB47CD48FA35}"/>
              </a:ext>
            </a:extLst>
          </p:cNvPr>
          <p:cNvSpPr>
            <a:spLocks noChangeShapeType="1"/>
          </p:cNvSpPr>
          <p:nvPr/>
        </p:nvSpPr>
        <p:spPr bwMode="auto">
          <a:xfrm flipV="1">
            <a:off x="7175501" y="3433234"/>
            <a:ext cx="345017" cy="1703917"/>
          </a:xfrm>
          <a:prstGeom prst="line">
            <a:avLst/>
          </a:prstGeom>
          <a:noFill/>
          <a:ln w="28575">
            <a:solidFill>
              <a:srgbClr val="FFFF00"/>
            </a:solidFill>
            <a:round/>
            <a:headEnd/>
            <a:tailEnd type="triangle" w="med" len="med"/>
          </a:ln>
        </p:spPr>
        <p:txBody>
          <a:bodyPr/>
          <a:lstStyle/>
          <a:p>
            <a:pPr defTabSz="914377">
              <a:defRPr/>
            </a:pPr>
            <a:endParaRPr lang="en-US" sz="1400" b="1">
              <a:solidFill>
                <a:srgbClr val="000000"/>
              </a:solidFill>
              <a:latin typeface="Century Gothic" panose="020B0502020202020204" pitchFamily="34" charset="0"/>
            </a:endParaRPr>
          </a:p>
        </p:txBody>
      </p:sp>
      <p:sp>
        <p:nvSpPr>
          <p:cNvPr id="20" name="Rectangle 19">
            <a:extLst>
              <a:ext uri="{FF2B5EF4-FFF2-40B4-BE49-F238E27FC236}">
                <a16:creationId xmlns:a16="http://schemas.microsoft.com/office/drawing/2014/main" id="{D18F901F-268D-42E3-A79D-968C936AFA74}"/>
              </a:ext>
            </a:extLst>
          </p:cNvPr>
          <p:cNvSpPr/>
          <p:nvPr/>
        </p:nvSpPr>
        <p:spPr bwMode="auto">
          <a:xfrm>
            <a:off x="7264400" y="1168398"/>
            <a:ext cx="1524000" cy="457200"/>
          </a:xfrm>
          <a:prstGeom prst="rect">
            <a:avLst/>
          </a:prstGeom>
          <a:solidFill>
            <a:schemeClr val="tx2">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r>
              <a:rPr lang="en-GB" sz="1400" b="1" dirty="0">
                <a:solidFill>
                  <a:srgbClr val="FFFFFF"/>
                </a:solidFill>
                <a:latin typeface="Century Gothic" panose="020B0502020202020204" pitchFamily="34" charset="0"/>
              </a:rPr>
              <a:t>Rear Axles</a:t>
            </a:r>
          </a:p>
        </p:txBody>
      </p:sp>
      <p:sp>
        <p:nvSpPr>
          <p:cNvPr id="21" name="Line 15">
            <a:extLst>
              <a:ext uri="{FF2B5EF4-FFF2-40B4-BE49-F238E27FC236}">
                <a16:creationId xmlns:a16="http://schemas.microsoft.com/office/drawing/2014/main" id="{E9B71E0C-62BD-4B6A-9CAD-76714A4D4151}"/>
              </a:ext>
            </a:extLst>
          </p:cNvPr>
          <p:cNvSpPr>
            <a:spLocks noChangeShapeType="1"/>
          </p:cNvSpPr>
          <p:nvPr/>
        </p:nvSpPr>
        <p:spPr bwMode="auto">
          <a:xfrm flipH="1">
            <a:off x="7520517" y="1638301"/>
            <a:ext cx="505883" cy="1579033"/>
          </a:xfrm>
          <a:prstGeom prst="line">
            <a:avLst/>
          </a:prstGeom>
          <a:noFill/>
          <a:ln w="28575">
            <a:solidFill>
              <a:srgbClr val="FFFF00"/>
            </a:solidFill>
            <a:round/>
            <a:headEnd/>
            <a:tailEnd type="triangle" w="med" len="med"/>
          </a:ln>
        </p:spPr>
        <p:txBody>
          <a:bodyPr/>
          <a:lstStyle/>
          <a:p>
            <a:pPr defTabSz="914377">
              <a:defRPr/>
            </a:pPr>
            <a:endParaRPr lang="en-US" sz="1400" b="1">
              <a:solidFill>
                <a:srgbClr val="000000"/>
              </a:solidFill>
              <a:latin typeface="Century Gothic" panose="020B0502020202020204" pitchFamily="34" charset="0"/>
            </a:endParaRPr>
          </a:p>
        </p:txBody>
      </p:sp>
      <p:sp>
        <p:nvSpPr>
          <p:cNvPr id="23" name="Rectangle 22">
            <a:extLst>
              <a:ext uri="{FF2B5EF4-FFF2-40B4-BE49-F238E27FC236}">
                <a16:creationId xmlns:a16="http://schemas.microsoft.com/office/drawing/2014/main" id="{68C070D8-01EF-4401-B66E-AF5FD636162F}"/>
              </a:ext>
            </a:extLst>
          </p:cNvPr>
          <p:cNvSpPr/>
          <p:nvPr/>
        </p:nvSpPr>
        <p:spPr bwMode="auto">
          <a:xfrm>
            <a:off x="7914217" y="5137151"/>
            <a:ext cx="1524000" cy="457200"/>
          </a:xfrm>
          <a:prstGeom prst="rect">
            <a:avLst/>
          </a:prstGeom>
          <a:solidFill>
            <a:schemeClr val="tx2">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r>
              <a:rPr lang="en-GB" sz="1400" b="1" dirty="0">
                <a:solidFill>
                  <a:srgbClr val="FFFFFF"/>
                </a:solidFill>
                <a:latin typeface="Century Gothic" panose="020B0502020202020204" pitchFamily="34" charset="0"/>
              </a:rPr>
              <a:t>Rear suspension</a:t>
            </a:r>
          </a:p>
        </p:txBody>
      </p:sp>
      <p:sp>
        <p:nvSpPr>
          <p:cNvPr id="24" name="Line 15">
            <a:extLst>
              <a:ext uri="{FF2B5EF4-FFF2-40B4-BE49-F238E27FC236}">
                <a16:creationId xmlns:a16="http://schemas.microsoft.com/office/drawing/2014/main" id="{66FA2E8D-207E-43FE-B128-1A320E24A45C}"/>
              </a:ext>
            </a:extLst>
          </p:cNvPr>
          <p:cNvSpPr>
            <a:spLocks noChangeShapeType="1"/>
          </p:cNvSpPr>
          <p:nvPr/>
        </p:nvSpPr>
        <p:spPr bwMode="auto">
          <a:xfrm flipV="1">
            <a:off x="8036984" y="3886201"/>
            <a:ext cx="505883" cy="1301751"/>
          </a:xfrm>
          <a:prstGeom prst="line">
            <a:avLst/>
          </a:prstGeom>
          <a:noFill/>
          <a:ln w="28575">
            <a:solidFill>
              <a:srgbClr val="FFFF00"/>
            </a:solidFill>
            <a:round/>
            <a:headEnd/>
            <a:tailEnd type="triangle" w="med" len="med"/>
          </a:ln>
        </p:spPr>
        <p:txBody>
          <a:bodyPr/>
          <a:lstStyle/>
          <a:p>
            <a:pPr defTabSz="914377">
              <a:defRPr/>
            </a:pPr>
            <a:endParaRPr lang="en-US" sz="1400" b="1">
              <a:solidFill>
                <a:srgbClr val="000000"/>
              </a:solidFill>
              <a:latin typeface="Century Gothic" panose="020B0502020202020204" pitchFamily="34" charset="0"/>
            </a:endParaRPr>
          </a:p>
        </p:txBody>
      </p:sp>
    </p:spTree>
    <p:extLst>
      <p:ext uri="{BB962C8B-B14F-4D97-AF65-F5344CB8AC3E}">
        <p14:creationId xmlns:p14="http://schemas.microsoft.com/office/powerpoint/2010/main" val="146190383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par>
                    <p:cTn id="12" fill="hold" nodeType="clickPar">
                      <p:stCondLst>
                        <p:cond delay="indefinite"/>
                      </p:stCondLst>
                      <p:childTnLst>
                        <p:par>
                          <p:cTn id="13" fill="hold" nodeType="withGroup">
                            <p:stCondLst>
                              <p:cond delay="0"/>
                            </p:stCondLst>
                            <p:childTnLst>
                              <p:par>
                                <p:cTn id="14" presetID="1" presetClass="entr" presetSubtype="0" fill="hold" nodeType="clickEffect">
                                  <p:stCondLst>
                                    <p:cond delay="0"/>
                                  </p:stCondLst>
                                  <p:childTnLst>
                                    <p:set>
                                      <p:cBhvr>
                                        <p:cTn id="15" dur="1" fill="hold">
                                          <p:stCondLst>
                                            <p:cond delay="0"/>
                                          </p:stCondLst>
                                        </p:cTn>
                                        <p:tgtEl>
                                          <p:spTgt spid="8"/>
                                        </p:tgtEl>
                                        <p:attrNameLst>
                                          <p:attrName>style.visibility</p:attrName>
                                        </p:attrNameLst>
                                      </p:cBhvr>
                                      <p:to>
                                        <p:strVal val="visible"/>
                                      </p:to>
                                    </p:set>
                                  </p:childTnLst>
                                </p:cTn>
                              </p:par>
                            </p:childTnLst>
                          </p:cTn>
                        </p:par>
                      </p:childTnLst>
                    </p:cTn>
                  </p:par>
                  <p:par>
                    <p:cTn id="16" fill="hold" nodeType="clickPar">
                      <p:stCondLst>
                        <p:cond delay="indefinite"/>
                      </p:stCondLst>
                      <p:childTnLst>
                        <p:par>
                          <p:cTn id="17" fill="hold" nodeType="withGroup">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childTnLst>
                          </p:cTn>
                        </p:par>
                      </p:childTnLst>
                    </p:cTn>
                  </p:par>
                  <p:par>
                    <p:cTn id="32" fill="hold" nodeType="clickPar">
                      <p:stCondLst>
                        <p:cond delay="indefinite"/>
                      </p:stCondLst>
                      <p:childTnLst>
                        <p:par>
                          <p:cTn id="33" fill="hold" nodeType="withGroup">
                            <p:stCondLst>
                              <p:cond delay="0"/>
                            </p:stCondLst>
                            <p:childTnLst>
                              <p:par>
                                <p:cTn id="34" presetID="1" presetClass="entr" presetSubtype="0"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childTnLst>
                                </p:cTn>
                              </p:par>
                            </p:childTnLst>
                          </p:cTn>
                        </p:par>
                      </p:childTnLst>
                    </p:cTn>
                  </p:par>
                  <p:par>
                    <p:cTn id="36" fill="hold" nodeType="clickPar">
                      <p:stCondLst>
                        <p:cond delay="indefinite"/>
                      </p:stCondLst>
                      <p:childTnLst>
                        <p:par>
                          <p:cTn id="37" fill="hold" nodeType="withGroup">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500"/>
                                        <p:tgtEl>
                                          <p:spTgt spid="12"/>
                                        </p:tgtEl>
                                      </p:cBhvr>
                                    </p:animEffect>
                                  </p:childTnLst>
                                </p:cTn>
                              </p:par>
                            </p:childTnLst>
                          </p:cTn>
                        </p:par>
                      </p:childTnLst>
                    </p:cTn>
                  </p:par>
                  <p:par>
                    <p:cTn id="41" fill="hold" nodeType="clickPar">
                      <p:stCondLst>
                        <p:cond delay="indefinite"/>
                      </p:stCondLst>
                      <p:childTnLst>
                        <p:par>
                          <p:cTn id="42" fill="hold" nodeType="withGroup">
                            <p:stCondLst>
                              <p:cond delay="0"/>
                            </p:stCondLst>
                            <p:childTnLst>
                              <p:par>
                                <p:cTn id="43" presetID="1" presetClass="entr" presetSubtype="0" fill="hold" nodeType="clickEffect">
                                  <p:stCondLst>
                                    <p:cond delay="0"/>
                                  </p:stCondLst>
                                  <p:childTnLst>
                                    <p:set>
                                      <p:cBhvr>
                                        <p:cTn id="44" dur="1" fill="hold">
                                          <p:stCondLst>
                                            <p:cond delay="0"/>
                                          </p:stCondLst>
                                        </p:cTn>
                                        <p:tgtEl>
                                          <p:spTgt spid="15"/>
                                        </p:tgtEl>
                                        <p:attrNameLst>
                                          <p:attrName>style.visibility</p:attrName>
                                        </p:attrNameLst>
                                      </p:cBhvr>
                                      <p:to>
                                        <p:strVal val="visible"/>
                                      </p:to>
                                    </p:set>
                                  </p:childTnLst>
                                </p:cTn>
                              </p:par>
                            </p:childTnLst>
                          </p:cTn>
                        </p:par>
                      </p:childTnLst>
                    </p:cTn>
                  </p:par>
                  <p:par>
                    <p:cTn id="45" fill="hold" nodeType="clickPar">
                      <p:stCondLst>
                        <p:cond delay="indefinite"/>
                      </p:stCondLst>
                      <p:childTnLst>
                        <p:par>
                          <p:cTn id="46" fill="hold" nodeType="withGroup">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childTnLst>
                          </p:cTn>
                        </p:par>
                      </p:childTnLst>
                    </p:cTn>
                  </p:par>
                  <p:par>
                    <p:cTn id="50" fill="hold" nodeType="clickPar">
                      <p:stCondLst>
                        <p:cond delay="indefinite"/>
                      </p:stCondLst>
                      <p:childTnLst>
                        <p:par>
                          <p:cTn id="51" fill="hold" nodeType="withGroup">
                            <p:stCondLst>
                              <p:cond delay="0"/>
                            </p:stCondLst>
                            <p:childTnLst>
                              <p:par>
                                <p:cTn id="52" presetID="1" presetClass="entr" presetSubtype="0" fill="hold" nodeType="clickEffect">
                                  <p:stCondLst>
                                    <p:cond delay="0"/>
                                  </p:stCondLst>
                                  <p:childTnLst>
                                    <p:set>
                                      <p:cBhvr>
                                        <p:cTn id="53" dur="1" fill="hold">
                                          <p:stCondLst>
                                            <p:cond delay="0"/>
                                          </p:stCondLst>
                                        </p:cTn>
                                        <p:tgtEl>
                                          <p:spTgt spid="17"/>
                                        </p:tgtEl>
                                        <p:attrNameLst>
                                          <p:attrName>style.visibility</p:attrName>
                                        </p:attrNameLst>
                                      </p:cBhvr>
                                      <p:to>
                                        <p:strVal val="visible"/>
                                      </p:to>
                                    </p:set>
                                  </p:childTnLst>
                                </p:cTn>
                              </p:par>
                            </p:childTnLst>
                          </p:cTn>
                        </p:par>
                      </p:childTnLst>
                    </p:cTn>
                  </p:par>
                  <p:par>
                    <p:cTn id="54" fill="hold" nodeType="clickPar">
                      <p:stCondLst>
                        <p:cond delay="indefinite"/>
                      </p:stCondLst>
                      <p:childTnLst>
                        <p:par>
                          <p:cTn id="55" fill="hold" nodeType="withGroup">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6"/>
                                        </p:tgtEl>
                                        <p:attrNameLst>
                                          <p:attrName>style.visibility</p:attrName>
                                        </p:attrNameLst>
                                      </p:cBhvr>
                                      <p:to>
                                        <p:strVal val="visible"/>
                                      </p:to>
                                    </p:set>
                                    <p:animEffect transition="in" filter="fade">
                                      <p:cBhvr>
                                        <p:cTn id="58" dur="500"/>
                                        <p:tgtEl>
                                          <p:spTgt spid="16"/>
                                        </p:tgtEl>
                                      </p:cBhvr>
                                    </p:animEffect>
                                  </p:childTnLst>
                                </p:cTn>
                              </p:par>
                            </p:childTnLst>
                          </p:cTn>
                        </p:par>
                      </p:childTnLst>
                    </p:cTn>
                  </p:par>
                  <p:par>
                    <p:cTn id="59" fill="hold" nodeType="clickPar">
                      <p:stCondLst>
                        <p:cond delay="indefinite"/>
                      </p:stCondLst>
                      <p:childTnLst>
                        <p:par>
                          <p:cTn id="60" fill="hold" nodeType="withGroup">
                            <p:stCondLst>
                              <p:cond delay="0"/>
                            </p:stCondLst>
                            <p:childTnLst>
                              <p:par>
                                <p:cTn id="61" presetID="1" presetClass="entr" presetSubtype="0" fill="hold" nodeType="clickEffect">
                                  <p:stCondLst>
                                    <p:cond delay="0"/>
                                  </p:stCondLst>
                                  <p:childTnLst>
                                    <p:set>
                                      <p:cBhvr>
                                        <p:cTn id="62" dur="1" fill="hold">
                                          <p:stCondLst>
                                            <p:cond delay="0"/>
                                          </p:stCondLst>
                                        </p:cTn>
                                        <p:tgtEl>
                                          <p:spTgt spid="19"/>
                                        </p:tgtEl>
                                        <p:attrNameLst>
                                          <p:attrName>style.visibility</p:attrName>
                                        </p:attrNameLst>
                                      </p:cBhvr>
                                      <p:to>
                                        <p:strVal val="visible"/>
                                      </p:to>
                                    </p:set>
                                  </p:childTnLst>
                                </p:cTn>
                              </p:par>
                            </p:childTnLst>
                          </p:cTn>
                        </p:par>
                      </p:childTnLst>
                    </p:cTn>
                  </p:par>
                  <p:par>
                    <p:cTn id="63" fill="hold" nodeType="clickPar">
                      <p:stCondLst>
                        <p:cond delay="indefinite"/>
                      </p:stCondLst>
                      <p:childTnLst>
                        <p:par>
                          <p:cTn id="64" fill="hold" nodeType="withGroup">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8"/>
                                        </p:tgtEl>
                                        <p:attrNameLst>
                                          <p:attrName>style.visibility</p:attrName>
                                        </p:attrNameLst>
                                      </p:cBhvr>
                                      <p:to>
                                        <p:strVal val="visible"/>
                                      </p:to>
                                    </p:set>
                                    <p:animEffect transition="in" filter="fade">
                                      <p:cBhvr>
                                        <p:cTn id="67" dur="500"/>
                                        <p:tgtEl>
                                          <p:spTgt spid="18"/>
                                        </p:tgtEl>
                                      </p:cBhvr>
                                    </p:animEffect>
                                  </p:childTnLst>
                                </p:cTn>
                              </p:par>
                            </p:childTnLst>
                          </p:cTn>
                        </p:par>
                      </p:childTnLst>
                    </p:cTn>
                  </p:par>
                  <p:par>
                    <p:cTn id="68" fill="hold" nodeType="clickPar">
                      <p:stCondLst>
                        <p:cond delay="indefinite"/>
                      </p:stCondLst>
                      <p:childTnLst>
                        <p:par>
                          <p:cTn id="69" fill="hold" nodeType="withGroup">
                            <p:stCondLst>
                              <p:cond delay="0"/>
                            </p:stCondLst>
                            <p:childTnLst>
                              <p:par>
                                <p:cTn id="70" presetID="1" presetClass="entr" presetSubtype="0" fill="hold" nodeType="clickEffect">
                                  <p:stCondLst>
                                    <p:cond delay="0"/>
                                  </p:stCondLst>
                                  <p:childTnLst>
                                    <p:set>
                                      <p:cBhvr>
                                        <p:cTn id="71" dur="1" fill="hold">
                                          <p:stCondLst>
                                            <p:cond delay="0"/>
                                          </p:stCondLst>
                                        </p:cTn>
                                        <p:tgtEl>
                                          <p:spTgt spid="21"/>
                                        </p:tgtEl>
                                        <p:attrNameLst>
                                          <p:attrName>style.visibility</p:attrName>
                                        </p:attrNameLst>
                                      </p:cBhvr>
                                      <p:to>
                                        <p:strVal val="visible"/>
                                      </p:to>
                                    </p:set>
                                  </p:childTnLst>
                                </p:cTn>
                              </p:par>
                            </p:childTnLst>
                          </p:cTn>
                        </p:par>
                      </p:childTnLst>
                    </p:cTn>
                  </p:par>
                  <p:par>
                    <p:cTn id="72" fill="hold" nodeType="clickPar">
                      <p:stCondLst>
                        <p:cond delay="indefinite"/>
                      </p:stCondLst>
                      <p:childTnLst>
                        <p:par>
                          <p:cTn id="73" fill="hold" nodeType="withGroup">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20"/>
                                        </p:tgtEl>
                                        <p:attrNameLst>
                                          <p:attrName>style.visibility</p:attrName>
                                        </p:attrNameLst>
                                      </p:cBhvr>
                                      <p:to>
                                        <p:strVal val="visible"/>
                                      </p:to>
                                    </p:set>
                                    <p:animEffect transition="in" filter="fade">
                                      <p:cBhvr>
                                        <p:cTn id="76" dur="500"/>
                                        <p:tgtEl>
                                          <p:spTgt spid="20"/>
                                        </p:tgtEl>
                                      </p:cBhvr>
                                    </p:animEffect>
                                  </p:childTnLst>
                                </p:cTn>
                              </p:par>
                            </p:childTnLst>
                          </p:cTn>
                        </p:par>
                      </p:childTnLst>
                    </p:cTn>
                  </p:par>
                  <p:par>
                    <p:cTn id="77" fill="hold" nodeType="clickPar">
                      <p:stCondLst>
                        <p:cond delay="indefinite"/>
                      </p:stCondLst>
                      <p:childTnLst>
                        <p:par>
                          <p:cTn id="78" fill="hold" nodeType="withGroup">
                            <p:stCondLst>
                              <p:cond delay="0"/>
                            </p:stCondLst>
                            <p:childTnLst>
                              <p:par>
                                <p:cTn id="79" presetID="1" presetClass="entr" presetSubtype="0" fill="hold" nodeType="clickEffect">
                                  <p:stCondLst>
                                    <p:cond delay="0"/>
                                  </p:stCondLst>
                                  <p:childTnLst>
                                    <p:set>
                                      <p:cBhvr>
                                        <p:cTn id="80" dur="1" fill="hold">
                                          <p:stCondLst>
                                            <p:cond delay="0"/>
                                          </p:stCondLst>
                                        </p:cTn>
                                        <p:tgtEl>
                                          <p:spTgt spid="24"/>
                                        </p:tgtEl>
                                        <p:attrNameLst>
                                          <p:attrName>style.visibility</p:attrName>
                                        </p:attrNameLst>
                                      </p:cBhvr>
                                      <p:to>
                                        <p:strVal val="visible"/>
                                      </p:to>
                                    </p:set>
                                  </p:childTnLst>
                                </p:cTn>
                              </p:par>
                            </p:childTnLst>
                          </p:cTn>
                        </p:par>
                      </p:childTnLst>
                    </p:cTn>
                  </p:par>
                  <p:par>
                    <p:cTn id="81" fill="hold" nodeType="clickPar">
                      <p:stCondLst>
                        <p:cond delay="indefinite"/>
                      </p:stCondLst>
                      <p:childTnLst>
                        <p:par>
                          <p:cTn id="82" fill="hold" nodeType="withGroup">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23"/>
                                        </p:tgtEl>
                                        <p:attrNameLst>
                                          <p:attrName>style.visibility</p:attrName>
                                        </p:attrNameLst>
                                      </p:cBhvr>
                                      <p:to>
                                        <p:strVal val="visible"/>
                                      </p:to>
                                    </p:set>
                                    <p:animEffect transition="in" filter="fade">
                                      <p:cBhvr>
                                        <p:cTn id="8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9" grpId="0" animBg="1"/>
      <p:bldP spid="12" grpId="0" animBg="1"/>
      <p:bldP spid="14" grpId="0" animBg="1"/>
      <p:bldP spid="16" grpId="0" animBg="1"/>
      <p:bldP spid="18" grpId="0" animBg="1"/>
      <p:bldP spid="20" grpId="0" animBg="1"/>
      <p:bldP spid="23"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978" name="Picture 2" descr="image001"/>
          <p:cNvPicPr>
            <a:picLocks noChangeAspect="1" noChangeArrowheads="1"/>
          </p:cNvPicPr>
          <p:nvPr/>
        </p:nvPicPr>
        <p:blipFill>
          <a:blip r:embed="rId3">
            <a:extLst>
              <a:ext uri="{28A0092B-C50C-407E-A947-70E740481C1C}">
                <a14:useLocalDpi xmlns:a14="http://schemas.microsoft.com/office/drawing/2010/main" val="0"/>
              </a:ext>
            </a:extLst>
          </a:blip>
          <a:srcRect r="2400"/>
          <a:stretch>
            <a:fillRect/>
          </a:stretch>
        </p:blipFill>
        <p:spPr bwMode="auto">
          <a:xfrm>
            <a:off x="203201" y="1701800"/>
            <a:ext cx="11476567" cy="365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Top Corners Snipped 2">
            <a:extLst>
              <a:ext uri="{FF2B5EF4-FFF2-40B4-BE49-F238E27FC236}">
                <a16:creationId xmlns:a16="http://schemas.microsoft.com/office/drawing/2014/main" id="{AC23B281-6E74-450D-A7A4-F5C770D68610}"/>
              </a:ext>
            </a:extLst>
          </p:cNvPr>
          <p:cNvSpPr/>
          <p:nvPr/>
        </p:nvSpPr>
        <p:spPr>
          <a:xfrm rot="10800000">
            <a:off x="609600" y="1"/>
            <a:ext cx="8460317" cy="977900"/>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400">
              <a:solidFill>
                <a:prstClr val="white"/>
              </a:solidFill>
              <a:latin typeface="Calibri"/>
            </a:endParaRPr>
          </a:p>
        </p:txBody>
      </p:sp>
      <p:sp>
        <p:nvSpPr>
          <p:cNvPr id="126980" name="TextBox 3"/>
          <p:cNvSpPr txBox="1">
            <a:spLocks noChangeArrowheads="1"/>
          </p:cNvSpPr>
          <p:nvPr/>
        </p:nvSpPr>
        <p:spPr bwMode="auto">
          <a:xfrm>
            <a:off x="687917" y="124884"/>
            <a:ext cx="4713150" cy="666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defTabSz="1219170" fontAlgn="base">
              <a:spcBef>
                <a:spcPct val="0"/>
              </a:spcBef>
              <a:spcAft>
                <a:spcPct val="0"/>
              </a:spcAft>
            </a:pPr>
            <a:r>
              <a:rPr lang="en-US" altLang="en-US" sz="3733" b="1">
                <a:solidFill>
                  <a:srgbClr val="000000"/>
                </a:solidFill>
                <a:latin typeface="Century Gothic" panose="020B0502020202020204" pitchFamily="34" charset="0"/>
              </a:rPr>
              <a:t>BUILD OF A VEHICLE</a:t>
            </a:r>
            <a:endParaRPr lang="en-US" altLang="en-US" sz="3733" b="1">
              <a:solidFill>
                <a:prstClr val="black"/>
              </a:solidFill>
              <a:latin typeface="Century Gothic" panose="020B0502020202020204" pitchFamily="34" charset="0"/>
            </a:endParaRPr>
          </a:p>
        </p:txBody>
      </p:sp>
      <p:sp>
        <p:nvSpPr>
          <p:cNvPr id="25" name="Rectangle 24">
            <a:extLst>
              <a:ext uri="{FF2B5EF4-FFF2-40B4-BE49-F238E27FC236}">
                <a16:creationId xmlns:a16="http://schemas.microsoft.com/office/drawing/2014/main" id="{5B54044F-7536-4A80-A09B-4592E159EE9B}"/>
              </a:ext>
            </a:extLst>
          </p:cNvPr>
          <p:cNvSpPr/>
          <p:nvPr/>
        </p:nvSpPr>
        <p:spPr bwMode="auto">
          <a:xfrm>
            <a:off x="1219200" y="1316567"/>
            <a:ext cx="1170517" cy="457200"/>
          </a:xfrm>
          <a:prstGeom prst="rect">
            <a:avLst/>
          </a:prstGeom>
          <a:solidFill>
            <a:schemeClr val="tx2">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r>
              <a:rPr lang="en-GB" sz="1400" b="1" dirty="0">
                <a:solidFill>
                  <a:srgbClr val="FFFFFF"/>
                </a:solidFill>
                <a:latin typeface="Century Gothic" panose="020B0502020202020204" pitchFamily="34" charset="0"/>
              </a:rPr>
              <a:t>Engine</a:t>
            </a:r>
          </a:p>
        </p:txBody>
      </p:sp>
      <p:sp>
        <p:nvSpPr>
          <p:cNvPr id="26" name="Line 15">
            <a:extLst>
              <a:ext uri="{FF2B5EF4-FFF2-40B4-BE49-F238E27FC236}">
                <a16:creationId xmlns:a16="http://schemas.microsoft.com/office/drawing/2014/main" id="{D9ADD9F6-E352-466D-9152-E5F2BBA2FC17}"/>
              </a:ext>
            </a:extLst>
          </p:cNvPr>
          <p:cNvSpPr>
            <a:spLocks noChangeShapeType="1"/>
          </p:cNvSpPr>
          <p:nvPr/>
        </p:nvSpPr>
        <p:spPr bwMode="auto">
          <a:xfrm>
            <a:off x="1295400" y="1773768"/>
            <a:ext cx="228600" cy="1655233"/>
          </a:xfrm>
          <a:prstGeom prst="line">
            <a:avLst/>
          </a:prstGeom>
          <a:noFill/>
          <a:ln w="28575">
            <a:solidFill>
              <a:srgbClr val="FFFF00"/>
            </a:solidFill>
            <a:round/>
            <a:headEnd/>
            <a:tailEnd type="triangle" w="med" len="med"/>
          </a:ln>
        </p:spPr>
        <p:txBody>
          <a:bodyPr/>
          <a:lstStyle/>
          <a:p>
            <a:pPr defTabSz="914377">
              <a:defRPr/>
            </a:pPr>
            <a:endParaRPr lang="en-US" sz="1400" b="1">
              <a:solidFill>
                <a:srgbClr val="000000"/>
              </a:solidFill>
              <a:latin typeface="Century Gothic" panose="020B0502020202020204" pitchFamily="34" charset="0"/>
            </a:endParaRPr>
          </a:p>
        </p:txBody>
      </p:sp>
      <p:sp>
        <p:nvSpPr>
          <p:cNvPr id="27" name="Rectangle 26">
            <a:extLst>
              <a:ext uri="{FF2B5EF4-FFF2-40B4-BE49-F238E27FC236}">
                <a16:creationId xmlns:a16="http://schemas.microsoft.com/office/drawing/2014/main" id="{5FB97F69-6622-4710-BE44-5407240EC0CF}"/>
              </a:ext>
            </a:extLst>
          </p:cNvPr>
          <p:cNvSpPr/>
          <p:nvPr/>
        </p:nvSpPr>
        <p:spPr bwMode="auto">
          <a:xfrm>
            <a:off x="1930400" y="5128684"/>
            <a:ext cx="1170517" cy="457200"/>
          </a:xfrm>
          <a:prstGeom prst="rect">
            <a:avLst/>
          </a:prstGeom>
          <a:solidFill>
            <a:schemeClr val="tx2">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r>
              <a:rPr lang="en-GB" sz="1400" b="1" dirty="0">
                <a:solidFill>
                  <a:srgbClr val="FFFFFF"/>
                </a:solidFill>
                <a:latin typeface="Century Gothic" panose="020B0502020202020204" pitchFamily="34" charset="0"/>
              </a:rPr>
              <a:t>Gearbox</a:t>
            </a:r>
          </a:p>
        </p:txBody>
      </p:sp>
      <p:sp>
        <p:nvSpPr>
          <p:cNvPr id="28" name="Line 15">
            <a:extLst>
              <a:ext uri="{FF2B5EF4-FFF2-40B4-BE49-F238E27FC236}">
                <a16:creationId xmlns:a16="http://schemas.microsoft.com/office/drawing/2014/main" id="{310A7734-18FC-4100-84A2-AEE0BF09BCC0}"/>
              </a:ext>
            </a:extLst>
          </p:cNvPr>
          <p:cNvSpPr>
            <a:spLocks noChangeShapeType="1"/>
          </p:cNvSpPr>
          <p:nvPr/>
        </p:nvSpPr>
        <p:spPr bwMode="auto">
          <a:xfrm flipV="1">
            <a:off x="2413000" y="3429001"/>
            <a:ext cx="228600" cy="1699684"/>
          </a:xfrm>
          <a:prstGeom prst="line">
            <a:avLst/>
          </a:prstGeom>
          <a:noFill/>
          <a:ln w="28575">
            <a:solidFill>
              <a:srgbClr val="FFFF00"/>
            </a:solidFill>
            <a:round/>
            <a:headEnd/>
            <a:tailEnd type="triangle" w="med" len="med"/>
          </a:ln>
        </p:spPr>
        <p:txBody>
          <a:bodyPr/>
          <a:lstStyle/>
          <a:p>
            <a:pPr defTabSz="914377">
              <a:defRPr/>
            </a:pPr>
            <a:endParaRPr lang="en-US" sz="1400" b="1">
              <a:solidFill>
                <a:srgbClr val="000000"/>
              </a:solidFill>
              <a:latin typeface="Century Gothic" panose="020B0502020202020204" pitchFamily="34" charset="0"/>
            </a:endParaRPr>
          </a:p>
        </p:txBody>
      </p:sp>
      <p:sp>
        <p:nvSpPr>
          <p:cNvPr id="29" name="Rectangle 28">
            <a:extLst>
              <a:ext uri="{FF2B5EF4-FFF2-40B4-BE49-F238E27FC236}">
                <a16:creationId xmlns:a16="http://schemas.microsoft.com/office/drawing/2014/main" id="{59BFDADD-F4D3-479D-AA52-26AD2B0CE061}"/>
              </a:ext>
            </a:extLst>
          </p:cNvPr>
          <p:cNvSpPr/>
          <p:nvPr/>
        </p:nvSpPr>
        <p:spPr bwMode="auto">
          <a:xfrm>
            <a:off x="367604" y="5192184"/>
            <a:ext cx="1241757" cy="393700"/>
          </a:xfrm>
          <a:prstGeom prst="rect">
            <a:avLst/>
          </a:prstGeom>
          <a:solidFill>
            <a:schemeClr val="tx2">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r>
              <a:rPr lang="en-GB" sz="1400" b="1" dirty="0">
                <a:solidFill>
                  <a:srgbClr val="FFFFFF"/>
                </a:solidFill>
                <a:latin typeface="Century Gothic" panose="020B0502020202020204" pitchFamily="34" charset="0"/>
              </a:rPr>
              <a:t>Flywheel and clutch</a:t>
            </a:r>
          </a:p>
        </p:txBody>
      </p:sp>
      <p:sp>
        <p:nvSpPr>
          <p:cNvPr id="30" name="Line 15">
            <a:extLst>
              <a:ext uri="{FF2B5EF4-FFF2-40B4-BE49-F238E27FC236}">
                <a16:creationId xmlns:a16="http://schemas.microsoft.com/office/drawing/2014/main" id="{D97F1FB1-A980-47D2-B253-FBFF6CD63815}"/>
              </a:ext>
            </a:extLst>
          </p:cNvPr>
          <p:cNvSpPr>
            <a:spLocks noChangeShapeType="1"/>
          </p:cNvSpPr>
          <p:nvPr/>
        </p:nvSpPr>
        <p:spPr bwMode="auto">
          <a:xfrm flipV="1">
            <a:off x="789517" y="3536952"/>
            <a:ext cx="1600200" cy="1655233"/>
          </a:xfrm>
          <a:prstGeom prst="line">
            <a:avLst/>
          </a:prstGeom>
          <a:noFill/>
          <a:ln w="28575">
            <a:solidFill>
              <a:srgbClr val="FFFF00"/>
            </a:solidFill>
            <a:round/>
            <a:headEnd/>
            <a:tailEnd type="triangle" w="med" len="med"/>
          </a:ln>
        </p:spPr>
        <p:txBody>
          <a:bodyPr/>
          <a:lstStyle/>
          <a:p>
            <a:pPr defTabSz="914377">
              <a:defRPr/>
            </a:pPr>
            <a:endParaRPr lang="en-US" sz="1400" b="1">
              <a:solidFill>
                <a:srgbClr val="000000"/>
              </a:solidFill>
              <a:latin typeface="Century Gothic" panose="020B0502020202020204" pitchFamily="34" charset="0"/>
            </a:endParaRPr>
          </a:p>
        </p:txBody>
      </p:sp>
      <p:sp>
        <p:nvSpPr>
          <p:cNvPr id="31" name="Rectangle 30">
            <a:extLst>
              <a:ext uri="{FF2B5EF4-FFF2-40B4-BE49-F238E27FC236}">
                <a16:creationId xmlns:a16="http://schemas.microsoft.com/office/drawing/2014/main" id="{51C260AF-420E-477E-94D8-7CA174C422E8}"/>
              </a:ext>
            </a:extLst>
          </p:cNvPr>
          <p:cNvSpPr/>
          <p:nvPr/>
        </p:nvSpPr>
        <p:spPr bwMode="auto">
          <a:xfrm>
            <a:off x="5461000" y="1320800"/>
            <a:ext cx="1066800" cy="381000"/>
          </a:xfrm>
          <a:prstGeom prst="rect">
            <a:avLst/>
          </a:prstGeom>
          <a:solidFill>
            <a:schemeClr val="tx2">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r>
              <a:rPr lang="en-GB" sz="1400" b="1" dirty="0">
                <a:solidFill>
                  <a:srgbClr val="FFFFFF"/>
                </a:solidFill>
                <a:latin typeface="Century Gothic" panose="020B0502020202020204" pitchFamily="34" charset="0"/>
              </a:rPr>
              <a:t>Air tank</a:t>
            </a:r>
          </a:p>
        </p:txBody>
      </p:sp>
      <p:sp>
        <p:nvSpPr>
          <p:cNvPr id="32" name="Line 15">
            <a:extLst>
              <a:ext uri="{FF2B5EF4-FFF2-40B4-BE49-F238E27FC236}">
                <a16:creationId xmlns:a16="http://schemas.microsoft.com/office/drawing/2014/main" id="{12D8A09C-69FD-4460-AEBA-81BED21B0D8C}"/>
              </a:ext>
            </a:extLst>
          </p:cNvPr>
          <p:cNvSpPr>
            <a:spLocks noChangeShapeType="1"/>
          </p:cNvSpPr>
          <p:nvPr/>
        </p:nvSpPr>
        <p:spPr bwMode="auto">
          <a:xfrm flipH="1">
            <a:off x="5384801" y="1701800"/>
            <a:ext cx="82551" cy="1016000"/>
          </a:xfrm>
          <a:prstGeom prst="line">
            <a:avLst/>
          </a:prstGeom>
          <a:noFill/>
          <a:ln w="28575">
            <a:solidFill>
              <a:srgbClr val="FFFF00"/>
            </a:solidFill>
            <a:round/>
            <a:headEnd/>
            <a:tailEnd type="triangle" w="med" len="med"/>
          </a:ln>
        </p:spPr>
        <p:txBody>
          <a:bodyPr/>
          <a:lstStyle/>
          <a:p>
            <a:pPr defTabSz="914377">
              <a:defRPr/>
            </a:pPr>
            <a:endParaRPr lang="en-US" sz="1400" b="1">
              <a:solidFill>
                <a:srgbClr val="000000"/>
              </a:solidFill>
              <a:latin typeface="Century Gothic" panose="020B0502020202020204" pitchFamily="34" charset="0"/>
            </a:endParaRPr>
          </a:p>
        </p:txBody>
      </p:sp>
      <p:sp>
        <p:nvSpPr>
          <p:cNvPr id="33" name="Rectangle 32">
            <a:extLst>
              <a:ext uri="{FF2B5EF4-FFF2-40B4-BE49-F238E27FC236}">
                <a16:creationId xmlns:a16="http://schemas.microsoft.com/office/drawing/2014/main" id="{C6F32703-17E8-46E5-8405-D1BAED417822}"/>
              </a:ext>
            </a:extLst>
          </p:cNvPr>
          <p:cNvSpPr/>
          <p:nvPr/>
        </p:nvSpPr>
        <p:spPr bwMode="auto">
          <a:xfrm>
            <a:off x="3532717" y="5192184"/>
            <a:ext cx="1066800" cy="381000"/>
          </a:xfrm>
          <a:prstGeom prst="rect">
            <a:avLst/>
          </a:prstGeom>
          <a:solidFill>
            <a:schemeClr val="tx2">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r>
              <a:rPr lang="en-GB" sz="1400" b="1" dirty="0">
                <a:solidFill>
                  <a:srgbClr val="FFFFFF"/>
                </a:solidFill>
                <a:latin typeface="Century Gothic" panose="020B0502020202020204" pitchFamily="34" charset="0"/>
              </a:rPr>
              <a:t>Batteries</a:t>
            </a:r>
          </a:p>
        </p:txBody>
      </p:sp>
      <p:sp>
        <p:nvSpPr>
          <p:cNvPr id="34" name="Line 15">
            <a:extLst>
              <a:ext uri="{FF2B5EF4-FFF2-40B4-BE49-F238E27FC236}">
                <a16:creationId xmlns:a16="http://schemas.microsoft.com/office/drawing/2014/main" id="{2A087786-5C5C-4615-9A52-FA5BC691CD34}"/>
              </a:ext>
            </a:extLst>
          </p:cNvPr>
          <p:cNvSpPr>
            <a:spLocks noChangeShapeType="1"/>
          </p:cNvSpPr>
          <p:nvPr/>
        </p:nvSpPr>
        <p:spPr bwMode="auto">
          <a:xfrm flipH="1" flipV="1">
            <a:off x="2887133" y="4332818"/>
            <a:ext cx="770467" cy="859367"/>
          </a:xfrm>
          <a:prstGeom prst="line">
            <a:avLst/>
          </a:prstGeom>
          <a:noFill/>
          <a:ln w="28575">
            <a:solidFill>
              <a:srgbClr val="FFFF00"/>
            </a:solidFill>
            <a:round/>
            <a:headEnd/>
            <a:tailEnd type="triangle" w="med" len="med"/>
          </a:ln>
        </p:spPr>
        <p:txBody>
          <a:bodyPr/>
          <a:lstStyle/>
          <a:p>
            <a:pPr defTabSz="914377">
              <a:defRPr/>
            </a:pPr>
            <a:endParaRPr lang="en-US" sz="1400" b="1">
              <a:solidFill>
                <a:srgbClr val="000000"/>
              </a:solidFill>
              <a:latin typeface="Century Gothic" panose="020B0502020202020204" pitchFamily="34" charset="0"/>
            </a:endParaRPr>
          </a:p>
        </p:txBody>
      </p:sp>
      <p:sp>
        <p:nvSpPr>
          <p:cNvPr id="35" name="Rectangle 34">
            <a:extLst>
              <a:ext uri="{FF2B5EF4-FFF2-40B4-BE49-F238E27FC236}">
                <a16:creationId xmlns:a16="http://schemas.microsoft.com/office/drawing/2014/main" id="{FCB16413-6749-4B0C-912E-374BEC14EC35}"/>
              </a:ext>
            </a:extLst>
          </p:cNvPr>
          <p:cNvSpPr/>
          <p:nvPr/>
        </p:nvSpPr>
        <p:spPr bwMode="auto">
          <a:xfrm>
            <a:off x="8737600" y="4982633"/>
            <a:ext cx="1524000" cy="457200"/>
          </a:xfrm>
          <a:prstGeom prst="rect">
            <a:avLst/>
          </a:prstGeom>
          <a:solidFill>
            <a:schemeClr val="tx2">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r>
              <a:rPr lang="en-GB" sz="1400" b="1" dirty="0">
                <a:solidFill>
                  <a:srgbClr val="FFFFFF"/>
                </a:solidFill>
                <a:latin typeface="Century Gothic" panose="020B0502020202020204" pitchFamily="34" charset="0"/>
              </a:rPr>
              <a:t>Spare wheel</a:t>
            </a:r>
          </a:p>
        </p:txBody>
      </p:sp>
      <p:sp>
        <p:nvSpPr>
          <p:cNvPr id="36" name="Line 15">
            <a:extLst>
              <a:ext uri="{FF2B5EF4-FFF2-40B4-BE49-F238E27FC236}">
                <a16:creationId xmlns:a16="http://schemas.microsoft.com/office/drawing/2014/main" id="{C3822857-F1C1-4B9F-A556-348140FA5A7A}"/>
              </a:ext>
            </a:extLst>
          </p:cNvPr>
          <p:cNvSpPr>
            <a:spLocks noChangeShapeType="1"/>
          </p:cNvSpPr>
          <p:nvPr/>
        </p:nvSpPr>
        <p:spPr bwMode="auto">
          <a:xfrm flipV="1">
            <a:off x="9779000" y="3820584"/>
            <a:ext cx="228600" cy="1132416"/>
          </a:xfrm>
          <a:prstGeom prst="line">
            <a:avLst/>
          </a:prstGeom>
          <a:noFill/>
          <a:ln w="28575">
            <a:solidFill>
              <a:srgbClr val="FFFF00"/>
            </a:solidFill>
            <a:round/>
            <a:headEnd/>
            <a:tailEnd type="triangle" w="med" len="med"/>
          </a:ln>
        </p:spPr>
        <p:txBody>
          <a:bodyPr/>
          <a:lstStyle/>
          <a:p>
            <a:pPr defTabSz="914377">
              <a:defRPr/>
            </a:pPr>
            <a:endParaRPr lang="en-US" sz="1400" b="1">
              <a:solidFill>
                <a:srgbClr val="000000"/>
              </a:solidFill>
              <a:latin typeface="Century Gothic" panose="020B0502020202020204" pitchFamily="34" charset="0"/>
            </a:endParaRPr>
          </a:p>
        </p:txBody>
      </p:sp>
      <p:sp>
        <p:nvSpPr>
          <p:cNvPr id="37" name="Rectangle 36">
            <a:extLst>
              <a:ext uri="{FF2B5EF4-FFF2-40B4-BE49-F238E27FC236}">
                <a16:creationId xmlns:a16="http://schemas.microsoft.com/office/drawing/2014/main" id="{6F1F675A-4E00-420C-BBAE-9735AF599CB9}"/>
              </a:ext>
            </a:extLst>
          </p:cNvPr>
          <p:cNvSpPr/>
          <p:nvPr/>
        </p:nvSpPr>
        <p:spPr bwMode="auto">
          <a:xfrm>
            <a:off x="2573867" y="1382184"/>
            <a:ext cx="1066800" cy="381000"/>
          </a:xfrm>
          <a:prstGeom prst="rect">
            <a:avLst/>
          </a:prstGeom>
          <a:solidFill>
            <a:schemeClr val="tx2">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r>
              <a:rPr lang="en-GB" sz="1400" b="1" dirty="0">
                <a:solidFill>
                  <a:srgbClr val="FFFFFF"/>
                </a:solidFill>
                <a:latin typeface="Century Gothic" panose="020B0502020202020204" pitchFamily="34" charset="0"/>
              </a:rPr>
              <a:t>EATS</a:t>
            </a:r>
          </a:p>
        </p:txBody>
      </p:sp>
      <p:sp>
        <p:nvSpPr>
          <p:cNvPr id="38" name="Line 15">
            <a:extLst>
              <a:ext uri="{FF2B5EF4-FFF2-40B4-BE49-F238E27FC236}">
                <a16:creationId xmlns:a16="http://schemas.microsoft.com/office/drawing/2014/main" id="{B8222D02-AB9D-4D0E-BDE8-1627AAA372BE}"/>
              </a:ext>
            </a:extLst>
          </p:cNvPr>
          <p:cNvSpPr>
            <a:spLocks noChangeShapeType="1"/>
          </p:cNvSpPr>
          <p:nvPr/>
        </p:nvSpPr>
        <p:spPr bwMode="auto">
          <a:xfrm flipH="1">
            <a:off x="2882901" y="1826684"/>
            <a:ext cx="82551" cy="635000"/>
          </a:xfrm>
          <a:prstGeom prst="line">
            <a:avLst/>
          </a:prstGeom>
          <a:noFill/>
          <a:ln w="28575">
            <a:solidFill>
              <a:srgbClr val="FFFF00"/>
            </a:solidFill>
            <a:round/>
            <a:headEnd/>
            <a:tailEnd type="triangle" w="med" len="med"/>
          </a:ln>
        </p:spPr>
        <p:txBody>
          <a:bodyPr/>
          <a:lstStyle/>
          <a:p>
            <a:pPr defTabSz="914377">
              <a:defRPr/>
            </a:pPr>
            <a:endParaRPr lang="en-US" sz="1400" b="1">
              <a:solidFill>
                <a:srgbClr val="000000"/>
              </a:solidFill>
              <a:latin typeface="Century Gothic" panose="020B0502020202020204" pitchFamily="34" charset="0"/>
            </a:endParaRPr>
          </a:p>
        </p:txBody>
      </p:sp>
      <p:sp>
        <p:nvSpPr>
          <p:cNvPr id="39" name="Rectangle 38">
            <a:extLst>
              <a:ext uri="{FF2B5EF4-FFF2-40B4-BE49-F238E27FC236}">
                <a16:creationId xmlns:a16="http://schemas.microsoft.com/office/drawing/2014/main" id="{88C4F2F1-9FDB-4D58-B396-1259DE3AFF41}"/>
              </a:ext>
            </a:extLst>
          </p:cNvPr>
          <p:cNvSpPr/>
          <p:nvPr/>
        </p:nvSpPr>
        <p:spPr bwMode="auto">
          <a:xfrm>
            <a:off x="4021667" y="1424517"/>
            <a:ext cx="1066800" cy="381000"/>
          </a:xfrm>
          <a:prstGeom prst="rect">
            <a:avLst/>
          </a:prstGeom>
          <a:solidFill>
            <a:schemeClr val="tx2">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a:defRPr/>
            </a:pPr>
            <a:r>
              <a:rPr lang="en-GB" sz="1400" b="1" dirty="0">
                <a:solidFill>
                  <a:srgbClr val="FFFFFF"/>
                </a:solidFill>
                <a:latin typeface="Century Gothic" panose="020B0502020202020204" pitchFamily="34" charset="0"/>
              </a:rPr>
              <a:t>AdBlue tank</a:t>
            </a:r>
          </a:p>
        </p:txBody>
      </p:sp>
      <p:sp>
        <p:nvSpPr>
          <p:cNvPr id="40" name="Line 15">
            <a:extLst>
              <a:ext uri="{FF2B5EF4-FFF2-40B4-BE49-F238E27FC236}">
                <a16:creationId xmlns:a16="http://schemas.microsoft.com/office/drawing/2014/main" id="{0ADF48B6-8179-430C-AA1C-B6B8FA82E39C}"/>
              </a:ext>
            </a:extLst>
          </p:cNvPr>
          <p:cNvSpPr>
            <a:spLocks noChangeShapeType="1"/>
          </p:cNvSpPr>
          <p:nvPr/>
        </p:nvSpPr>
        <p:spPr bwMode="auto">
          <a:xfrm>
            <a:off x="4555068" y="1805518"/>
            <a:ext cx="80433" cy="825500"/>
          </a:xfrm>
          <a:prstGeom prst="line">
            <a:avLst/>
          </a:prstGeom>
          <a:noFill/>
          <a:ln w="28575">
            <a:solidFill>
              <a:srgbClr val="FFFF00"/>
            </a:solidFill>
            <a:round/>
            <a:headEnd/>
            <a:tailEnd type="triangle" w="med" len="med"/>
          </a:ln>
        </p:spPr>
        <p:txBody>
          <a:bodyPr/>
          <a:lstStyle/>
          <a:p>
            <a:pPr defTabSz="914377">
              <a:defRPr/>
            </a:pPr>
            <a:endParaRPr lang="en-US" sz="1400" b="1">
              <a:solidFill>
                <a:srgbClr val="000000"/>
              </a:solidFill>
              <a:latin typeface="Century Gothic" panose="020B0502020202020204" pitchFamily="34" charset="0"/>
            </a:endParaRPr>
          </a:p>
        </p:txBody>
      </p:sp>
    </p:spTree>
    <p:extLst>
      <p:ext uri="{BB962C8B-B14F-4D97-AF65-F5344CB8AC3E}">
        <p14:creationId xmlns:p14="http://schemas.microsoft.com/office/powerpoint/2010/main" val="27522906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childTnLst>
                          </p:cTn>
                        </p:par>
                      </p:childTnLst>
                    </p:cTn>
                  </p:par>
                  <p:par>
                    <p:cTn id="12" fill="hold" nodeType="clickPar">
                      <p:stCondLst>
                        <p:cond delay="indefinite"/>
                      </p:stCondLst>
                      <p:childTnLst>
                        <p:par>
                          <p:cTn id="13" fill="hold" nodeType="withGroup">
                            <p:stCondLst>
                              <p:cond delay="0"/>
                            </p:stCondLst>
                            <p:childTnLst>
                              <p:par>
                                <p:cTn id="14" presetID="1" presetClass="entr" presetSubtype="0" fill="hold" nodeType="clickEffect">
                                  <p:stCondLst>
                                    <p:cond delay="0"/>
                                  </p:stCondLst>
                                  <p:childTnLst>
                                    <p:set>
                                      <p:cBhvr>
                                        <p:cTn id="15" dur="1" fill="hold">
                                          <p:stCondLst>
                                            <p:cond delay="0"/>
                                          </p:stCondLst>
                                        </p:cTn>
                                        <p:tgtEl>
                                          <p:spTgt spid="28"/>
                                        </p:tgtEl>
                                        <p:attrNameLst>
                                          <p:attrName>style.visibility</p:attrName>
                                        </p:attrNameLst>
                                      </p:cBhvr>
                                      <p:to>
                                        <p:strVal val="visible"/>
                                      </p:to>
                                    </p:set>
                                  </p:childTnLst>
                                </p:cTn>
                              </p:par>
                            </p:childTnLst>
                          </p:cTn>
                        </p:par>
                      </p:childTnLst>
                    </p:cTn>
                  </p:par>
                  <p:par>
                    <p:cTn id="16" fill="hold" nodeType="clickPar">
                      <p:stCondLst>
                        <p:cond delay="indefinite"/>
                      </p:stCondLst>
                      <p:childTnLst>
                        <p:par>
                          <p:cTn id="17" fill="hold" nodeType="withGroup">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500"/>
                                        <p:tgtEl>
                                          <p:spTgt spid="27"/>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nodeType="click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fade">
                                      <p:cBhvr>
                                        <p:cTn id="29" dur="500"/>
                                        <p:tgtEl>
                                          <p:spTgt spid="29"/>
                                        </p:tgtEl>
                                      </p:cBhvr>
                                    </p:animEffect>
                                  </p:childTnLst>
                                </p:cTn>
                              </p:par>
                            </p:childTnLst>
                          </p:cTn>
                        </p:par>
                      </p:childTnLst>
                    </p:cTn>
                  </p:par>
                  <p:par>
                    <p:cTn id="30" fill="hold" nodeType="clickPar">
                      <p:stCondLst>
                        <p:cond delay="indefinite"/>
                      </p:stCondLst>
                      <p:childTnLst>
                        <p:par>
                          <p:cTn id="31" fill="hold" nodeType="withGroup">
                            <p:stCondLst>
                              <p:cond delay="0"/>
                            </p:stCondLst>
                            <p:childTnLst>
                              <p:par>
                                <p:cTn id="32" presetID="1" presetClass="entr" presetSubtype="0" fill="hold" nodeType="clickEffect">
                                  <p:stCondLst>
                                    <p:cond delay="0"/>
                                  </p:stCondLst>
                                  <p:childTnLst>
                                    <p:set>
                                      <p:cBhvr>
                                        <p:cTn id="33" dur="1" fill="hold">
                                          <p:stCondLst>
                                            <p:cond delay="0"/>
                                          </p:stCondLst>
                                        </p:cTn>
                                        <p:tgtEl>
                                          <p:spTgt spid="32"/>
                                        </p:tgtEl>
                                        <p:attrNameLst>
                                          <p:attrName>style.visibility</p:attrName>
                                        </p:attrNameLst>
                                      </p:cBhvr>
                                      <p:to>
                                        <p:strVal val="visible"/>
                                      </p:to>
                                    </p:set>
                                  </p:childTnLst>
                                </p:cTn>
                              </p:par>
                            </p:childTnLst>
                          </p:cTn>
                        </p:par>
                      </p:childTnLst>
                    </p:cTn>
                  </p:par>
                  <p:par>
                    <p:cTn id="34" fill="hold" nodeType="clickPar">
                      <p:stCondLst>
                        <p:cond delay="indefinite"/>
                      </p:stCondLst>
                      <p:childTnLst>
                        <p:par>
                          <p:cTn id="35" fill="hold" nodeType="withGroup">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500"/>
                                        <p:tgtEl>
                                          <p:spTgt spid="31"/>
                                        </p:tgtEl>
                                      </p:cBhvr>
                                    </p:animEffect>
                                  </p:childTnLst>
                                </p:cTn>
                              </p:par>
                            </p:childTnLst>
                          </p:cTn>
                        </p:par>
                      </p:childTnLst>
                    </p:cTn>
                  </p:par>
                  <p:par>
                    <p:cTn id="39" fill="hold" nodeType="clickPar">
                      <p:stCondLst>
                        <p:cond delay="indefinite"/>
                      </p:stCondLst>
                      <p:childTnLst>
                        <p:par>
                          <p:cTn id="40" fill="hold" nodeType="withGroup">
                            <p:stCondLst>
                              <p:cond delay="0"/>
                            </p:stCondLst>
                            <p:childTnLst>
                              <p:par>
                                <p:cTn id="41" presetID="1" presetClass="entr" presetSubtype="0" fill="hold" nodeType="clickEffect">
                                  <p:stCondLst>
                                    <p:cond delay="0"/>
                                  </p:stCondLst>
                                  <p:childTnLst>
                                    <p:set>
                                      <p:cBhvr>
                                        <p:cTn id="42" dur="1" fill="hold">
                                          <p:stCondLst>
                                            <p:cond delay="0"/>
                                          </p:stCondLst>
                                        </p:cTn>
                                        <p:tgtEl>
                                          <p:spTgt spid="34"/>
                                        </p:tgtEl>
                                        <p:attrNameLst>
                                          <p:attrName>style.visibility</p:attrName>
                                        </p:attrNameLst>
                                      </p:cBhvr>
                                      <p:to>
                                        <p:strVal val="visible"/>
                                      </p:to>
                                    </p:set>
                                  </p:childTnLst>
                                </p:cTn>
                              </p:par>
                            </p:childTnLst>
                          </p:cTn>
                        </p:par>
                      </p:childTnLst>
                    </p:cTn>
                  </p:par>
                  <p:par>
                    <p:cTn id="43" fill="hold" nodeType="clickPar">
                      <p:stCondLst>
                        <p:cond delay="indefinite"/>
                      </p:stCondLst>
                      <p:childTnLst>
                        <p:par>
                          <p:cTn id="44" fill="hold" nodeType="withGroup">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3"/>
                                        </p:tgtEl>
                                        <p:attrNameLst>
                                          <p:attrName>style.visibility</p:attrName>
                                        </p:attrNameLst>
                                      </p:cBhvr>
                                      <p:to>
                                        <p:strVal val="visible"/>
                                      </p:to>
                                    </p:set>
                                    <p:animEffect transition="in" filter="fade">
                                      <p:cBhvr>
                                        <p:cTn id="47" dur="500"/>
                                        <p:tgtEl>
                                          <p:spTgt spid="33"/>
                                        </p:tgtEl>
                                      </p:cBhvr>
                                    </p:animEffect>
                                  </p:childTnLst>
                                </p:cTn>
                              </p:par>
                            </p:childTnLst>
                          </p:cTn>
                        </p:par>
                      </p:childTnLst>
                    </p:cTn>
                  </p:par>
                  <p:par>
                    <p:cTn id="48" fill="hold" nodeType="clickPar">
                      <p:stCondLst>
                        <p:cond delay="indefinite"/>
                      </p:stCondLst>
                      <p:childTnLst>
                        <p:par>
                          <p:cTn id="49" fill="hold" nodeType="withGroup">
                            <p:stCondLst>
                              <p:cond delay="0"/>
                            </p:stCondLst>
                            <p:childTnLst>
                              <p:par>
                                <p:cTn id="50" presetID="1" presetClass="entr" presetSubtype="0" fill="hold" nodeType="clickEffect">
                                  <p:stCondLst>
                                    <p:cond delay="0"/>
                                  </p:stCondLst>
                                  <p:childTnLst>
                                    <p:set>
                                      <p:cBhvr>
                                        <p:cTn id="51" dur="1" fill="hold">
                                          <p:stCondLst>
                                            <p:cond delay="0"/>
                                          </p:stCondLst>
                                        </p:cTn>
                                        <p:tgtEl>
                                          <p:spTgt spid="36"/>
                                        </p:tgtEl>
                                        <p:attrNameLst>
                                          <p:attrName>style.visibility</p:attrName>
                                        </p:attrNameLst>
                                      </p:cBhvr>
                                      <p:to>
                                        <p:strVal val="visible"/>
                                      </p:to>
                                    </p:set>
                                  </p:childTnLst>
                                </p:cTn>
                              </p:par>
                            </p:childTnLst>
                          </p:cTn>
                        </p:par>
                      </p:childTnLst>
                    </p:cTn>
                  </p:par>
                  <p:par>
                    <p:cTn id="52" fill="hold" nodeType="clickPar">
                      <p:stCondLst>
                        <p:cond delay="indefinite"/>
                      </p:stCondLst>
                      <p:childTnLst>
                        <p:par>
                          <p:cTn id="53" fill="hold" nodeType="withGroup">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35"/>
                                        </p:tgtEl>
                                        <p:attrNameLst>
                                          <p:attrName>style.visibility</p:attrName>
                                        </p:attrNameLst>
                                      </p:cBhvr>
                                      <p:to>
                                        <p:strVal val="visible"/>
                                      </p:to>
                                    </p:set>
                                    <p:animEffect transition="in" filter="fade">
                                      <p:cBhvr>
                                        <p:cTn id="56" dur="500"/>
                                        <p:tgtEl>
                                          <p:spTgt spid="35"/>
                                        </p:tgtEl>
                                      </p:cBhvr>
                                    </p:animEffect>
                                  </p:childTnLst>
                                </p:cTn>
                              </p:par>
                            </p:childTnLst>
                          </p:cTn>
                        </p:par>
                      </p:childTnLst>
                    </p:cTn>
                  </p:par>
                  <p:par>
                    <p:cTn id="57" fill="hold" nodeType="clickPar">
                      <p:stCondLst>
                        <p:cond delay="indefinite"/>
                      </p:stCondLst>
                      <p:childTnLst>
                        <p:par>
                          <p:cTn id="58" fill="hold" nodeType="withGroup">
                            <p:stCondLst>
                              <p:cond delay="0"/>
                            </p:stCondLst>
                            <p:childTnLst>
                              <p:par>
                                <p:cTn id="59" presetID="1" presetClass="entr" presetSubtype="0" fill="hold" nodeType="clickEffect">
                                  <p:stCondLst>
                                    <p:cond delay="0"/>
                                  </p:stCondLst>
                                  <p:childTnLst>
                                    <p:set>
                                      <p:cBhvr>
                                        <p:cTn id="60" dur="1" fill="hold">
                                          <p:stCondLst>
                                            <p:cond delay="0"/>
                                          </p:stCondLst>
                                        </p:cTn>
                                        <p:tgtEl>
                                          <p:spTgt spid="38"/>
                                        </p:tgtEl>
                                        <p:attrNameLst>
                                          <p:attrName>style.visibility</p:attrName>
                                        </p:attrNameLst>
                                      </p:cBhvr>
                                      <p:to>
                                        <p:strVal val="visible"/>
                                      </p:to>
                                    </p:set>
                                  </p:childTnLst>
                                </p:cTn>
                              </p:par>
                            </p:childTnLst>
                          </p:cTn>
                        </p:par>
                      </p:childTnLst>
                    </p:cTn>
                  </p:par>
                  <p:par>
                    <p:cTn id="61" fill="hold" nodeType="clickPar">
                      <p:stCondLst>
                        <p:cond delay="indefinite"/>
                      </p:stCondLst>
                      <p:childTnLst>
                        <p:par>
                          <p:cTn id="62" fill="hold" nodeType="withGroup">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37"/>
                                        </p:tgtEl>
                                        <p:attrNameLst>
                                          <p:attrName>style.visibility</p:attrName>
                                        </p:attrNameLst>
                                      </p:cBhvr>
                                      <p:to>
                                        <p:strVal val="visible"/>
                                      </p:to>
                                    </p:set>
                                    <p:animEffect transition="in" filter="fade">
                                      <p:cBhvr>
                                        <p:cTn id="65" dur="500"/>
                                        <p:tgtEl>
                                          <p:spTgt spid="37"/>
                                        </p:tgtEl>
                                      </p:cBhvr>
                                    </p:animEffect>
                                  </p:childTnLst>
                                </p:cTn>
                              </p:par>
                            </p:childTnLst>
                          </p:cTn>
                        </p:par>
                      </p:childTnLst>
                    </p:cTn>
                  </p:par>
                  <p:par>
                    <p:cTn id="66" fill="hold" nodeType="clickPar">
                      <p:stCondLst>
                        <p:cond delay="indefinite"/>
                      </p:stCondLst>
                      <p:childTnLst>
                        <p:par>
                          <p:cTn id="67" fill="hold" nodeType="withGroup">
                            <p:stCondLst>
                              <p:cond delay="0"/>
                            </p:stCondLst>
                            <p:childTnLst>
                              <p:par>
                                <p:cTn id="68" presetID="1" presetClass="entr" presetSubtype="0" fill="hold" nodeType="clickEffect">
                                  <p:stCondLst>
                                    <p:cond delay="0"/>
                                  </p:stCondLst>
                                  <p:childTnLst>
                                    <p:set>
                                      <p:cBhvr>
                                        <p:cTn id="69" dur="1" fill="hold">
                                          <p:stCondLst>
                                            <p:cond delay="0"/>
                                          </p:stCondLst>
                                        </p:cTn>
                                        <p:tgtEl>
                                          <p:spTgt spid="40"/>
                                        </p:tgtEl>
                                        <p:attrNameLst>
                                          <p:attrName>style.visibility</p:attrName>
                                        </p:attrNameLst>
                                      </p:cBhvr>
                                      <p:to>
                                        <p:strVal val="visible"/>
                                      </p:to>
                                    </p:set>
                                  </p:childTnLst>
                                </p:cTn>
                              </p:par>
                            </p:childTnLst>
                          </p:cTn>
                        </p:par>
                      </p:childTnLst>
                    </p:cTn>
                  </p:par>
                  <p:par>
                    <p:cTn id="70" fill="hold" nodeType="clickPar">
                      <p:stCondLst>
                        <p:cond delay="indefinite"/>
                      </p:stCondLst>
                      <p:childTnLst>
                        <p:par>
                          <p:cTn id="71" fill="hold" nodeType="withGroup">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39"/>
                                        </p:tgtEl>
                                        <p:attrNameLst>
                                          <p:attrName>style.visibility</p:attrName>
                                        </p:attrNameLst>
                                      </p:cBhvr>
                                      <p:to>
                                        <p:strVal val="visible"/>
                                      </p:to>
                                    </p:set>
                                    <p:animEffect transition="in" filter="fade">
                                      <p:cBhvr>
                                        <p:cTn id="74"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7" grpId="0" animBg="1"/>
      <p:bldP spid="29" grpId="0" animBg="1"/>
      <p:bldP spid="31" grpId="0" animBg="1"/>
      <p:bldP spid="33" grpId="0" animBg="1"/>
      <p:bldP spid="35" grpId="0" animBg="1"/>
      <p:bldP spid="37" grpId="0" animBg="1"/>
      <p:bldP spid="39"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609594" y="-5"/>
            <a:ext cx="8459673" cy="978397"/>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687125" y="124413"/>
            <a:ext cx="8073044" cy="666786"/>
          </a:xfrm>
          <a:prstGeom prst="rect">
            <a:avLst/>
          </a:prstGeom>
          <a:noFill/>
        </p:spPr>
        <p:txBody>
          <a:bodyPr wrap="none" rtlCol="0">
            <a:spAutoFit/>
          </a:bodyPr>
          <a:lstStyle/>
          <a:p>
            <a:pPr defTabSz="1219170"/>
            <a:r>
              <a:rPr lang="en-US" sz="3733" b="1" dirty="0">
                <a:solidFill>
                  <a:srgbClr val="000000"/>
                </a:solidFill>
                <a:latin typeface="Century Gothic" panose="020B0502020202020204" pitchFamily="34" charset="0"/>
              </a:rPr>
              <a:t>BASIC AUTOMOTIVE TECHNOLOGY</a:t>
            </a:r>
            <a:endParaRPr lang="en-US" sz="3733" b="1" dirty="0">
              <a:solidFill>
                <a:prstClr val="black"/>
              </a:solidFill>
              <a:latin typeface="Century Gothic" panose="020B0502020202020204" pitchFamily="34" charset="0"/>
            </a:endParaRPr>
          </a:p>
        </p:txBody>
      </p:sp>
      <p:sp>
        <p:nvSpPr>
          <p:cNvPr id="2" name="Rectangle 1"/>
          <p:cNvSpPr/>
          <p:nvPr/>
        </p:nvSpPr>
        <p:spPr>
          <a:xfrm>
            <a:off x="77525" y="1397000"/>
            <a:ext cx="6120075" cy="5283200"/>
          </a:xfrm>
          <a:prstGeom prst="rect">
            <a:avLst/>
          </a:prstGeom>
          <a:solidFill>
            <a:schemeClr val="accent5">
              <a:lumMod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3733" dirty="0">
                <a:solidFill>
                  <a:prstClr val="white"/>
                </a:solidFill>
                <a:latin typeface="Century Gothic" panose="020B0502020202020204" pitchFamily="34" charset="0"/>
              </a:rPr>
              <a:t>THIS SECTION IS SPLIT INTO </a:t>
            </a:r>
            <a:r>
              <a:rPr lang="en-US" sz="18400" b="1" dirty="0">
                <a:solidFill>
                  <a:prstClr val="white"/>
                </a:solidFill>
                <a:latin typeface="Century Gothic" panose="020B0502020202020204" pitchFamily="34" charset="0"/>
              </a:rPr>
              <a:t>4 </a:t>
            </a:r>
            <a:endParaRPr lang="en-US" sz="3733" b="1" dirty="0">
              <a:solidFill>
                <a:prstClr val="white"/>
              </a:solidFill>
              <a:latin typeface="Century Gothic" panose="020B0502020202020204" pitchFamily="34" charset="0"/>
            </a:endParaRPr>
          </a:p>
          <a:p>
            <a:pPr algn="ctr" defTabSz="1219170"/>
            <a:r>
              <a:rPr lang="en-US" sz="3733" dirty="0">
                <a:solidFill>
                  <a:prstClr val="white"/>
                </a:solidFill>
                <a:latin typeface="Century Gothic" panose="020B0502020202020204" pitchFamily="34" charset="0"/>
              </a:rPr>
              <a:t>DIFFERENT PARTS </a:t>
            </a:r>
          </a:p>
        </p:txBody>
      </p:sp>
      <p:sp>
        <p:nvSpPr>
          <p:cNvPr id="49" name="Rectangle 48"/>
          <p:cNvSpPr/>
          <p:nvPr/>
        </p:nvSpPr>
        <p:spPr>
          <a:xfrm>
            <a:off x="6299200" y="4140200"/>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667" b="1" dirty="0">
                <a:solidFill>
                  <a:schemeClr val="tx1"/>
                </a:solidFill>
                <a:latin typeface="Century Gothic" panose="020B0502020202020204" pitchFamily="34" charset="0"/>
              </a:rPr>
              <a:t>AGGREGATES</a:t>
            </a:r>
          </a:p>
        </p:txBody>
      </p:sp>
      <p:sp>
        <p:nvSpPr>
          <p:cNvPr id="50" name="Rectangle 49"/>
          <p:cNvSpPr/>
          <p:nvPr/>
        </p:nvSpPr>
        <p:spPr>
          <a:xfrm>
            <a:off x="6299200" y="5461000"/>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667" b="1" dirty="0">
                <a:solidFill>
                  <a:schemeClr val="tx1"/>
                </a:solidFill>
                <a:latin typeface="Century Gothic" panose="020B0502020202020204" pitchFamily="34" charset="0"/>
              </a:rPr>
              <a:t>AGGREGATE MATRIX</a:t>
            </a:r>
          </a:p>
        </p:txBody>
      </p:sp>
      <p:sp>
        <p:nvSpPr>
          <p:cNvPr id="51" name="Rectangle 50"/>
          <p:cNvSpPr/>
          <p:nvPr/>
        </p:nvSpPr>
        <p:spPr>
          <a:xfrm>
            <a:off x="6299200" y="2781300"/>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667" b="1" dirty="0">
                <a:solidFill>
                  <a:schemeClr val="bg1">
                    <a:lumMod val="50000"/>
                  </a:schemeClr>
                </a:solidFill>
                <a:latin typeface="Century Gothic" panose="020B0502020202020204" pitchFamily="34" charset="0"/>
              </a:rPr>
              <a:t>PRODUCT MATRIX</a:t>
            </a:r>
          </a:p>
        </p:txBody>
      </p:sp>
      <p:sp>
        <p:nvSpPr>
          <p:cNvPr id="6" name="Rectangle 5"/>
          <p:cNvSpPr/>
          <p:nvPr/>
        </p:nvSpPr>
        <p:spPr>
          <a:xfrm>
            <a:off x="6299200" y="1435571"/>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667" b="1" dirty="0">
                <a:solidFill>
                  <a:schemeClr val="bg1">
                    <a:lumMod val="50000"/>
                  </a:schemeClr>
                </a:solidFill>
                <a:latin typeface="Century Gothic" panose="020B0502020202020204" pitchFamily="34" charset="0"/>
              </a:rPr>
              <a:t>ARCHITECTURE &amp; APPLICATION</a:t>
            </a:r>
          </a:p>
        </p:txBody>
      </p:sp>
    </p:spTree>
    <p:extLst>
      <p:ext uri="{BB962C8B-B14F-4D97-AF65-F5344CB8AC3E}">
        <p14:creationId xmlns:p14="http://schemas.microsoft.com/office/powerpoint/2010/main" val="25936189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3182966" y="1015422"/>
            <a:ext cx="2742656" cy="1323372"/>
            <a:chOff x="157298" y="988754"/>
            <a:chExt cx="2177166" cy="876120"/>
          </a:xfrm>
        </p:grpSpPr>
        <p:sp>
          <p:nvSpPr>
            <p:cNvPr id="4" name="Rectangle 3"/>
            <p:cNvSpPr/>
            <p:nvPr/>
          </p:nvSpPr>
          <p:spPr>
            <a:xfrm>
              <a:off x="189714" y="1340669"/>
              <a:ext cx="2127881" cy="524205"/>
            </a:xfrm>
            <a:prstGeom prst="rect">
              <a:avLst/>
            </a:prstGeom>
            <a:solidFill>
              <a:schemeClr val="accent2">
                <a:lumMod val="5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457200">
                <a:defRPr/>
              </a:pPr>
              <a:r>
                <a:rPr lang="en-US" b="1" dirty="0">
                  <a:solidFill>
                    <a:prstClr val="white"/>
                  </a:solidFill>
                  <a:latin typeface="Century Gothic" panose="020B0502020202020204" pitchFamily="34" charset="0"/>
                </a:rPr>
                <a:t>ENGINE</a:t>
              </a:r>
            </a:p>
          </p:txBody>
        </p:sp>
        <p:grpSp>
          <p:nvGrpSpPr>
            <p:cNvPr id="5" name="Group 4"/>
            <p:cNvGrpSpPr/>
            <p:nvPr/>
          </p:nvGrpSpPr>
          <p:grpSpPr>
            <a:xfrm>
              <a:off x="157298" y="988754"/>
              <a:ext cx="2177166" cy="545115"/>
              <a:chOff x="4319334" y="721891"/>
              <a:chExt cx="2310067" cy="1701310"/>
            </a:xfrm>
            <a:solidFill>
              <a:schemeClr val="bg1"/>
            </a:solidFill>
            <a:effectLst>
              <a:outerShdw blurRad="63500" sx="102000" sy="102000" algn="ctr" rotWithShape="0">
                <a:prstClr val="black">
                  <a:alpha val="40000"/>
                </a:prstClr>
              </a:outerShdw>
            </a:effectLst>
          </p:grpSpPr>
          <p:sp>
            <p:nvSpPr>
              <p:cNvPr id="6" name="Rectangle 5"/>
              <p:cNvSpPr/>
              <p:nvPr/>
            </p:nvSpPr>
            <p:spPr>
              <a:xfrm>
                <a:off x="4319337" y="721891"/>
                <a:ext cx="2310064" cy="13773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sp>
            <p:nvSpPr>
              <p:cNvPr id="7" name="Right Triangle 4"/>
              <p:cNvSpPr/>
              <p:nvPr/>
            </p:nvSpPr>
            <p:spPr>
              <a:xfrm rot="10800000">
                <a:off x="4319334" y="2099242"/>
                <a:ext cx="2310065" cy="3239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grpSp>
      </p:grpSp>
      <p:sp>
        <p:nvSpPr>
          <p:cNvPr id="9" name="Rectangle: Top Corners Snipped 3"/>
          <p:cNvSpPr/>
          <p:nvPr/>
        </p:nvSpPr>
        <p:spPr>
          <a:xfrm rot="10800000">
            <a:off x="609593" y="-5"/>
            <a:ext cx="8459673" cy="731733"/>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10" name="TextBox 9"/>
          <p:cNvSpPr txBox="1"/>
          <p:nvPr/>
        </p:nvSpPr>
        <p:spPr>
          <a:xfrm>
            <a:off x="687125" y="34101"/>
            <a:ext cx="3323346" cy="666786"/>
          </a:xfrm>
          <a:prstGeom prst="rect">
            <a:avLst/>
          </a:prstGeom>
          <a:noFill/>
        </p:spPr>
        <p:txBody>
          <a:bodyPr wrap="none" rtlCol="0">
            <a:spAutoFit/>
          </a:bodyPr>
          <a:lstStyle/>
          <a:p>
            <a:pPr defTabSz="1219170"/>
            <a:r>
              <a:rPr lang="en-US" sz="3733" b="1" dirty="0">
                <a:solidFill>
                  <a:srgbClr val="000000"/>
                </a:solidFill>
                <a:latin typeface="Century Gothic" panose="020B0502020202020204" pitchFamily="34" charset="0"/>
              </a:rPr>
              <a:t>AGGREGATES</a:t>
            </a:r>
            <a:endParaRPr lang="en-US" sz="3733" b="1" dirty="0">
              <a:solidFill>
                <a:prstClr val="black"/>
              </a:solidFill>
              <a:latin typeface="Century Gothic" panose="020B0502020202020204" pitchFamily="34" charset="0"/>
            </a:endParaRPr>
          </a:p>
        </p:txBody>
      </p:sp>
      <p:grpSp>
        <p:nvGrpSpPr>
          <p:cNvPr id="11" name="Group 10"/>
          <p:cNvGrpSpPr/>
          <p:nvPr/>
        </p:nvGrpSpPr>
        <p:grpSpPr>
          <a:xfrm>
            <a:off x="6313698" y="1010617"/>
            <a:ext cx="2742656" cy="1323372"/>
            <a:chOff x="157298" y="988754"/>
            <a:chExt cx="2177166" cy="876120"/>
          </a:xfrm>
        </p:grpSpPr>
        <p:sp>
          <p:nvSpPr>
            <p:cNvPr id="12" name="Rectangle 11"/>
            <p:cNvSpPr/>
            <p:nvPr/>
          </p:nvSpPr>
          <p:spPr>
            <a:xfrm>
              <a:off x="189714" y="1340669"/>
              <a:ext cx="2127881" cy="524205"/>
            </a:xfrm>
            <a:prstGeom prst="rect">
              <a:avLst/>
            </a:prstGeom>
            <a:solidFill>
              <a:schemeClr val="accent2">
                <a:lumMod val="5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457200">
                <a:defRPr/>
              </a:pPr>
              <a:r>
                <a:rPr lang="en-US" b="1" dirty="0">
                  <a:solidFill>
                    <a:prstClr val="white"/>
                  </a:solidFill>
                  <a:latin typeface="Century Gothic" panose="020B0502020202020204" pitchFamily="34" charset="0"/>
                </a:rPr>
                <a:t>CLUTCH</a:t>
              </a:r>
            </a:p>
          </p:txBody>
        </p:sp>
        <p:grpSp>
          <p:nvGrpSpPr>
            <p:cNvPr id="13" name="Group 12"/>
            <p:cNvGrpSpPr/>
            <p:nvPr/>
          </p:nvGrpSpPr>
          <p:grpSpPr>
            <a:xfrm>
              <a:off x="157298" y="988754"/>
              <a:ext cx="2177166" cy="545115"/>
              <a:chOff x="4319334" y="721891"/>
              <a:chExt cx="2310067" cy="1701310"/>
            </a:xfrm>
            <a:solidFill>
              <a:schemeClr val="bg1"/>
            </a:solidFill>
            <a:effectLst>
              <a:outerShdw blurRad="63500" sx="102000" sy="102000" algn="ctr" rotWithShape="0">
                <a:prstClr val="black">
                  <a:alpha val="40000"/>
                </a:prstClr>
              </a:outerShdw>
            </a:effectLst>
          </p:grpSpPr>
          <p:sp>
            <p:nvSpPr>
              <p:cNvPr id="14" name="Rectangle 13"/>
              <p:cNvSpPr/>
              <p:nvPr/>
            </p:nvSpPr>
            <p:spPr>
              <a:xfrm>
                <a:off x="4319337" y="721891"/>
                <a:ext cx="2310064" cy="13773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sp>
            <p:nvSpPr>
              <p:cNvPr id="15" name="Right Triangle 4"/>
              <p:cNvSpPr/>
              <p:nvPr/>
            </p:nvSpPr>
            <p:spPr>
              <a:xfrm rot="10800000">
                <a:off x="4319334" y="2099242"/>
                <a:ext cx="2310065" cy="3239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grpSp>
      </p:grpSp>
      <p:grpSp>
        <p:nvGrpSpPr>
          <p:cNvPr id="16" name="Group 15"/>
          <p:cNvGrpSpPr/>
          <p:nvPr/>
        </p:nvGrpSpPr>
        <p:grpSpPr>
          <a:xfrm>
            <a:off x="9352278" y="1015535"/>
            <a:ext cx="2742656" cy="1323372"/>
            <a:chOff x="157298" y="988754"/>
            <a:chExt cx="2177166" cy="876120"/>
          </a:xfrm>
        </p:grpSpPr>
        <p:sp>
          <p:nvSpPr>
            <p:cNvPr id="17" name="Rectangle 16"/>
            <p:cNvSpPr/>
            <p:nvPr/>
          </p:nvSpPr>
          <p:spPr>
            <a:xfrm>
              <a:off x="189714" y="1340669"/>
              <a:ext cx="2127881" cy="524205"/>
            </a:xfrm>
            <a:prstGeom prst="rect">
              <a:avLst/>
            </a:prstGeom>
            <a:solidFill>
              <a:schemeClr val="accent2">
                <a:lumMod val="5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457200">
                <a:defRPr/>
              </a:pPr>
              <a:r>
                <a:rPr lang="en-US" b="1" dirty="0">
                  <a:solidFill>
                    <a:prstClr val="white"/>
                  </a:solidFill>
                  <a:latin typeface="Century Gothic" panose="020B0502020202020204" pitchFamily="34" charset="0"/>
                </a:rPr>
                <a:t>GEAR-BOX</a:t>
              </a:r>
            </a:p>
          </p:txBody>
        </p:sp>
        <p:grpSp>
          <p:nvGrpSpPr>
            <p:cNvPr id="18" name="Group 17"/>
            <p:cNvGrpSpPr/>
            <p:nvPr/>
          </p:nvGrpSpPr>
          <p:grpSpPr>
            <a:xfrm>
              <a:off x="157298" y="988754"/>
              <a:ext cx="2177166" cy="545115"/>
              <a:chOff x="4319334" y="721891"/>
              <a:chExt cx="2310067" cy="1701310"/>
            </a:xfrm>
            <a:solidFill>
              <a:schemeClr val="bg1"/>
            </a:solidFill>
            <a:effectLst>
              <a:outerShdw blurRad="63500" sx="102000" sy="102000" algn="ctr" rotWithShape="0">
                <a:prstClr val="black">
                  <a:alpha val="40000"/>
                </a:prstClr>
              </a:outerShdw>
            </a:effectLst>
          </p:grpSpPr>
          <p:sp>
            <p:nvSpPr>
              <p:cNvPr id="19" name="Rectangle 18"/>
              <p:cNvSpPr/>
              <p:nvPr/>
            </p:nvSpPr>
            <p:spPr>
              <a:xfrm>
                <a:off x="4319337" y="721891"/>
                <a:ext cx="2310064" cy="13773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sp>
            <p:nvSpPr>
              <p:cNvPr id="20" name="Right Triangle 4"/>
              <p:cNvSpPr/>
              <p:nvPr/>
            </p:nvSpPr>
            <p:spPr>
              <a:xfrm rot="10800000">
                <a:off x="4319334" y="2099242"/>
                <a:ext cx="2310065" cy="3239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grpSp>
      </p:grpSp>
      <p:grpSp>
        <p:nvGrpSpPr>
          <p:cNvPr id="21" name="Group 20"/>
          <p:cNvGrpSpPr/>
          <p:nvPr/>
        </p:nvGrpSpPr>
        <p:grpSpPr>
          <a:xfrm>
            <a:off x="198134" y="2473946"/>
            <a:ext cx="2742656" cy="1323372"/>
            <a:chOff x="157298" y="988754"/>
            <a:chExt cx="2177166" cy="876120"/>
          </a:xfrm>
        </p:grpSpPr>
        <p:sp>
          <p:nvSpPr>
            <p:cNvPr id="22" name="Rectangle 21"/>
            <p:cNvSpPr/>
            <p:nvPr/>
          </p:nvSpPr>
          <p:spPr>
            <a:xfrm>
              <a:off x="189714" y="1340669"/>
              <a:ext cx="2127881" cy="524205"/>
            </a:xfrm>
            <a:prstGeom prst="rect">
              <a:avLst/>
            </a:prstGeom>
            <a:solidFill>
              <a:schemeClr val="accent2">
                <a:lumMod val="5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457200">
                <a:defRPr/>
              </a:pPr>
              <a:r>
                <a:rPr lang="en-US" b="1" dirty="0">
                  <a:solidFill>
                    <a:prstClr val="white"/>
                  </a:solidFill>
                  <a:latin typeface="Century Gothic" panose="020B0502020202020204" pitchFamily="34" charset="0"/>
                </a:rPr>
                <a:t>PROPELLER SHAFT</a:t>
              </a:r>
            </a:p>
          </p:txBody>
        </p:sp>
        <p:grpSp>
          <p:nvGrpSpPr>
            <p:cNvPr id="23" name="Group 22"/>
            <p:cNvGrpSpPr/>
            <p:nvPr/>
          </p:nvGrpSpPr>
          <p:grpSpPr>
            <a:xfrm>
              <a:off x="157298" y="988754"/>
              <a:ext cx="2177166" cy="545115"/>
              <a:chOff x="4319334" y="721891"/>
              <a:chExt cx="2310067" cy="1701310"/>
            </a:xfrm>
            <a:solidFill>
              <a:schemeClr val="bg1"/>
            </a:solidFill>
            <a:effectLst>
              <a:outerShdw blurRad="63500" sx="102000" sy="102000" algn="ctr" rotWithShape="0">
                <a:prstClr val="black">
                  <a:alpha val="40000"/>
                </a:prstClr>
              </a:outerShdw>
            </a:effectLst>
          </p:grpSpPr>
          <p:sp>
            <p:nvSpPr>
              <p:cNvPr id="24" name="Rectangle 23"/>
              <p:cNvSpPr/>
              <p:nvPr/>
            </p:nvSpPr>
            <p:spPr>
              <a:xfrm>
                <a:off x="4319337" y="721891"/>
                <a:ext cx="2310064" cy="13773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sp>
            <p:nvSpPr>
              <p:cNvPr id="25" name="Right Triangle 4"/>
              <p:cNvSpPr/>
              <p:nvPr/>
            </p:nvSpPr>
            <p:spPr>
              <a:xfrm rot="10800000">
                <a:off x="4319334" y="2099242"/>
                <a:ext cx="2310065" cy="3239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grpSp>
      </p:grpSp>
      <p:grpSp>
        <p:nvGrpSpPr>
          <p:cNvPr id="26" name="Group 25"/>
          <p:cNvGrpSpPr/>
          <p:nvPr/>
        </p:nvGrpSpPr>
        <p:grpSpPr>
          <a:xfrm>
            <a:off x="3267431" y="2469141"/>
            <a:ext cx="2742656" cy="1323372"/>
            <a:chOff x="157298" y="988754"/>
            <a:chExt cx="2177166" cy="876120"/>
          </a:xfrm>
        </p:grpSpPr>
        <p:sp>
          <p:nvSpPr>
            <p:cNvPr id="27" name="Rectangle 26"/>
            <p:cNvSpPr/>
            <p:nvPr/>
          </p:nvSpPr>
          <p:spPr>
            <a:xfrm>
              <a:off x="189714" y="1340669"/>
              <a:ext cx="2127881" cy="524205"/>
            </a:xfrm>
            <a:prstGeom prst="rect">
              <a:avLst/>
            </a:prstGeom>
            <a:solidFill>
              <a:schemeClr val="accent2">
                <a:lumMod val="5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457200">
                <a:defRPr/>
              </a:pPr>
              <a:r>
                <a:rPr lang="en-US" b="1" dirty="0">
                  <a:solidFill>
                    <a:prstClr val="white"/>
                  </a:solidFill>
                  <a:latin typeface="Century Gothic" panose="020B0502020202020204" pitchFamily="34" charset="0"/>
                </a:rPr>
                <a:t>REAR AXLE</a:t>
              </a:r>
            </a:p>
          </p:txBody>
        </p:sp>
        <p:grpSp>
          <p:nvGrpSpPr>
            <p:cNvPr id="28" name="Group 27"/>
            <p:cNvGrpSpPr/>
            <p:nvPr/>
          </p:nvGrpSpPr>
          <p:grpSpPr>
            <a:xfrm>
              <a:off x="157298" y="988754"/>
              <a:ext cx="2177166" cy="545115"/>
              <a:chOff x="4319334" y="721891"/>
              <a:chExt cx="2310067" cy="1701310"/>
            </a:xfrm>
            <a:solidFill>
              <a:schemeClr val="bg1"/>
            </a:solidFill>
            <a:effectLst>
              <a:outerShdw blurRad="63500" sx="102000" sy="102000" algn="ctr" rotWithShape="0">
                <a:prstClr val="black">
                  <a:alpha val="40000"/>
                </a:prstClr>
              </a:outerShdw>
            </a:effectLst>
          </p:grpSpPr>
          <p:sp>
            <p:nvSpPr>
              <p:cNvPr id="29" name="Rectangle 28"/>
              <p:cNvSpPr/>
              <p:nvPr/>
            </p:nvSpPr>
            <p:spPr>
              <a:xfrm>
                <a:off x="4319337" y="721891"/>
                <a:ext cx="2310064" cy="13773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sp>
            <p:nvSpPr>
              <p:cNvPr id="30" name="Right Triangle 4"/>
              <p:cNvSpPr/>
              <p:nvPr/>
            </p:nvSpPr>
            <p:spPr>
              <a:xfrm rot="10800000">
                <a:off x="4319334" y="2099242"/>
                <a:ext cx="2310065" cy="3239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grpSp>
      </p:grpSp>
      <p:grpSp>
        <p:nvGrpSpPr>
          <p:cNvPr id="31" name="Group 30"/>
          <p:cNvGrpSpPr/>
          <p:nvPr/>
        </p:nvGrpSpPr>
        <p:grpSpPr>
          <a:xfrm>
            <a:off x="6336728" y="2474059"/>
            <a:ext cx="2742656" cy="1323372"/>
            <a:chOff x="157298" y="988754"/>
            <a:chExt cx="2177166" cy="876120"/>
          </a:xfrm>
        </p:grpSpPr>
        <p:sp>
          <p:nvSpPr>
            <p:cNvPr id="32" name="Rectangle 31"/>
            <p:cNvSpPr/>
            <p:nvPr/>
          </p:nvSpPr>
          <p:spPr>
            <a:xfrm>
              <a:off x="189714" y="1340669"/>
              <a:ext cx="2127881" cy="524205"/>
            </a:xfrm>
            <a:prstGeom prst="rect">
              <a:avLst/>
            </a:prstGeom>
            <a:solidFill>
              <a:schemeClr val="accent2">
                <a:lumMod val="5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457200">
                <a:defRPr/>
              </a:pPr>
              <a:r>
                <a:rPr lang="en-US" b="1" dirty="0">
                  <a:solidFill>
                    <a:prstClr val="white"/>
                  </a:solidFill>
                  <a:latin typeface="Century Gothic" panose="020B0502020202020204" pitchFamily="34" charset="0"/>
                </a:rPr>
                <a:t>FRONT AXLE</a:t>
              </a:r>
            </a:p>
          </p:txBody>
        </p:sp>
        <p:grpSp>
          <p:nvGrpSpPr>
            <p:cNvPr id="33" name="Group 32"/>
            <p:cNvGrpSpPr/>
            <p:nvPr/>
          </p:nvGrpSpPr>
          <p:grpSpPr>
            <a:xfrm>
              <a:off x="157298" y="988754"/>
              <a:ext cx="2177166" cy="545115"/>
              <a:chOff x="4319334" y="721891"/>
              <a:chExt cx="2310067" cy="1701310"/>
            </a:xfrm>
            <a:solidFill>
              <a:schemeClr val="bg1"/>
            </a:solidFill>
            <a:effectLst>
              <a:outerShdw blurRad="63500" sx="102000" sy="102000" algn="ctr" rotWithShape="0">
                <a:prstClr val="black">
                  <a:alpha val="40000"/>
                </a:prstClr>
              </a:outerShdw>
            </a:effectLst>
          </p:grpSpPr>
          <p:sp>
            <p:nvSpPr>
              <p:cNvPr id="34" name="Rectangle 33"/>
              <p:cNvSpPr/>
              <p:nvPr/>
            </p:nvSpPr>
            <p:spPr>
              <a:xfrm>
                <a:off x="4319337" y="721891"/>
                <a:ext cx="2310064" cy="13773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sp>
            <p:nvSpPr>
              <p:cNvPr id="35" name="Right Triangle 4"/>
              <p:cNvSpPr/>
              <p:nvPr/>
            </p:nvSpPr>
            <p:spPr>
              <a:xfrm rot="10800000">
                <a:off x="4319334" y="2099242"/>
                <a:ext cx="2310065" cy="3239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grpSp>
      </p:grpSp>
      <p:grpSp>
        <p:nvGrpSpPr>
          <p:cNvPr id="36" name="Group 35"/>
          <p:cNvGrpSpPr/>
          <p:nvPr/>
        </p:nvGrpSpPr>
        <p:grpSpPr>
          <a:xfrm>
            <a:off x="9288459" y="2469141"/>
            <a:ext cx="2742656" cy="1323372"/>
            <a:chOff x="157298" y="988754"/>
            <a:chExt cx="2177166" cy="876120"/>
          </a:xfrm>
        </p:grpSpPr>
        <p:sp>
          <p:nvSpPr>
            <p:cNvPr id="37" name="Rectangle 36"/>
            <p:cNvSpPr/>
            <p:nvPr/>
          </p:nvSpPr>
          <p:spPr>
            <a:xfrm>
              <a:off x="189714" y="1340669"/>
              <a:ext cx="2127881" cy="524205"/>
            </a:xfrm>
            <a:prstGeom prst="rect">
              <a:avLst/>
            </a:prstGeom>
            <a:solidFill>
              <a:schemeClr val="accent2">
                <a:lumMod val="5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457200">
                <a:defRPr/>
              </a:pPr>
              <a:r>
                <a:rPr lang="en-US" b="1" dirty="0">
                  <a:solidFill>
                    <a:prstClr val="white"/>
                  </a:solidFill>
                  <a:latin typeface="Century Gothic" panose="020B0502020202020204" pitchFamily="34" charset="0"/>
                </a:rPr>
                <a:t>STEERING SYSTEM</a:t>
              </a:r>
            </a:p>
          </p:txBody>
        </p:sp>
        <p:grpSp>
          <p:nvGrpSpPr>
            <p:cNvPr id="38" name="Group 37"/>
            <p:cNvGrpSpPr/>
            <p:nvPr/>
          </p:nvGrpSpPr>
          <p:grpSpPr>
            <a:xfrm>
              <a:off x="157298" y="988754"/>
              <a:ext cx="2177166" cy="545115"/>
              <a:chOff x="4319334" y="721891"/>
              <a:chExt cx="2310067" cy="1701310"/>
            </a:xfrm>
            <a:solidFill>
              <a:schemeClr val="bg1"/>
            </a:solidFill>
            <a:effectLst>
              <a:outerShdw blurRad="63500" sx="102000" sy="102000" algn="ctr" rotWithShape="0">
                <a:prstClr val="black">
                  <a:alpha val="40000"/>
                </a:prstClr>
              </a:outerShdw>
            </a:effectLst>
          </p:grpSpPr>
          <p:sp>
            <p:nvSpPr>
              <p:cNvPr id="39" name="Rectangle 38"/>
              <p:cNvSpPr/>
              <p:nvPr/>
            </p:nvSpPr>
            <p:spPr>
              <a:xfrm>
                <a:off x="4319337" y="721891"/>
                <a:ext cx="2310064" cy="13773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sp>
            <p:nvSpPr>
              <p:cNvPr id="40" name="Right Triangle 4"/>
              <p:cNvSpPr/>
              <p:nvPr/>
            </p:nvSpPr>
            <p:spPr>
              <a:xfrm rot="10800000">
                <a:off x="4319334" y="2099242"/>
                <a:ext cx="2310065" cy="3239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grpSp>
      </p:grpSp>
      <p:grpSp>
        <p:nvGrpSpPr>
          <p:cNvPr id="41" name="Group 40"/>
          <p:cNvGrpSpPr/>
          <p:nvPr/>
        </p:nvGrpSpPr>
        <p:grpSpPr>
          <a:xfrm>
            <a:off x="156169" y="3959250"/>
            <a:ext cx="2742656" cy="1323372"/>
            <a:chOff x="157298" y="988754"/>
            <a:chExt cx="2177166" cy="876120"/>
          </a:xfrm>
        </p:grpSpPr>
        <p:sp>
          <p:nvSpPr>
            <p:cNvPr id="42" name="Rectangle 41"/>
            <p:cNvSpPr/>
            <p:nvPr/>
          </p:nvSpPr>
          <p:spPr>
            <a:xfrm>
              <a:off x="189714" y="1340669"/>
              <a:ext cx="2127881" cy="524205"/>
            </a:xfrm>
            <a:prstGeom prst="rect">
              <a:avLst/>
            </a:prstGeom>
            <a:solidFill>
              <a:schemeClr val="accent2">
                <a:lumMod val="5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457200">
                <a:defRPr/>
              </a:pPr>
              <a:r>
                <a:rPr lang="en-US" b="1" dirty="0">
                  <a:solidFill>
                    <a:prstClr val="white"/>
                  </a:solidFill>
                  <a:latin typeface="Century Gothic" panose="020B0502020202020204" pitchFamily="34" charset="0"/>
                </a:rPr>
                <a:t>SUSPENSION</a:t>
              </a:r>
            </a:p>
          </p:txBody>
        </p:sp>
        <p:grpSp>
          <p:nvGrpSpPr>
            <p:cNvPr id="43" name="Group 42"/>
            <p:cNvGrpSpPr/>
            <p:nvPr/>
          </p:nvGrpSpPr>
          <p:grpSpPr>
            <a:xfrm>
              <a:off x="157298" y="988754"/>
              <a:ext cx="2177166" cy="545115"/>
              <a:chOff x="4319334" y="721891"/>
              <a:chExt cx="2310067" cy="1701310"/>
            </a:xfrm>
            <a:solidFill>
              <a:schemeClr val="bg1"/>
            </a:solidFill>
            <a:effectLst>
              <a:outerShdw blurRad="63500" sx="102000" sy="102000" algn="ctr" rotWithShape="0">
                <a:prstClr val="black">
                  <a:alpha val="40000"/>
                </a:prstClr>
              </a:outerShdw>
            </a:effectLst>
          </p:grpSpPr>
          <p:sp>
            <p:nvSpPr>
              <p:cNvPr id="44" name="Rectangle 43"/>
              <p:cNvSpPr/>
              <p:nvPr/>
            </p:nvSpPr>
            <p:spPr>
              <a:xfrm>
                <a:off x="4319337" y="721891"/>
                <a:ext cx="2310064" cy="13773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sp>
            <p:nvSpPr>
              <p:cNvPr id="45" name="Right Triangle 4"/>
              <p:cNvSpPr/>
              <p:nvPr/>
            </p:nvSpPr>
            <p:spPr>
              <a:xfrm rot="10800000">
                <a:off x="4319334" y="2099242"/>
                <a:ext cx="2310065" cy="3239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grpSp>
      </p:grpSp>
      <p:grpSp>
        <p:nvGrpSpPr>
          <p:cNvPr id="46" name="Group 45"/>
          <p:cNvGrpSpPr/>
          <p:nvPr/>
        </p:nvGrpSpPr>
        <p:grpSpPr>
          <a:xfrm>
            <a:off x="3225466" y="3954445"/>
            <a:ext cx="2742656" cy="1323372"/>
            <a:chOff x="157298" y="988754"/>
            <a:chExt cx="2177166" cy="876120"/>
          </a:xfrm>
        </p:grpSpPr>
        <p:sp>
          <p:nvSpPr>
            <p:cNvPr id="47" name="Rectangle 46"/>
            <p:cNvSpPr/>
            <p:nvPr/>
          </p:nvSpPr>
          <p:spPr>
            <a:xfrm>
              <a:off x="189714" y="1340669"/>
              <a:ext cx="2127881" cy="524205"/>
            </a:xfrm>
            <a:prstGeom prst="rect">
              <a:avLst/>
            </a:prstGeom>
            <a:solidFill>
              <a:schemeClr val="accent2">
                <a:lumMod val="5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457200">
                <a:defRPr/>
              </a:pPr>
              <a:r>
                <a:rPr lang="en-US" b="1" dirty="0">
                  <a:solidFill>
                    <a:prstClr val="white"/>
                  </a:solidFill>
                  <a:latin typeface="Century Gothic" panose="020B0502020202020204" pitchFamily="34" charset="0"/>
                </a:rPr>
                <a:t>BRAKE SYSTEM</a:t>
              </a:r>
            </a:p>
          </p:txBody>
        </p:sp>
        <p:grpSp>
          <p:nvGrpSpPr>
            <p:cNvPr id="48" name="Group 47"/>
            <p:cNvGrpSpPr/>
            <p:nvPr/>
          </p:nvGrpSpPr>
          <p:grpSpPr>
            <a:xfrm>
              <a:off x="157298" y="988754"/>
              <a:ext cx="2177166" cy="545115"/>
              <a:chOff x="4319334" y="721891"/>
              <a:chExt cx="2310067" cy="1701310"/>
            </a:xfrm>
            <a:solidFill>
              <a:schemeClr val="bg1"/>
            </a:solidFill>
            <a:effectLst>
              <a:outerShdw blurRad="63500" sx="102000" sy="102000" algn="ctr" rotWithShape="0">
                <a:prstClr val="black">
                  <a:alpha val="40000"/>
                </a:prstClr>
              </a:outerShdw>
            </a:effectLst>
          </p:grpSpPr>
          <p:sp>
            <p:nvSpPr>
              <p:cNvPr id="49" name="Rectangle 48"/>
              <p:cNvSpPr/>
              <p:nvPr/>
            </p:nvSpPr>
            <p:spPr>
              <a:xfrm>
                <a:off x="4319337" y="721891"/>
                <a:ext cx="2310064" cy="13773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sp>
            <p:nvSpPr>
              <p:cNvPr id="50" name="Right Triangle 4"/>
              <p:cNvSpPr/>
              <p:nvPr/>
            </p:nvSpPr>
            <p:spPr>
              <a:xfrm rot="10800000">
                <a:off x="4319334" y="2099242"/>
                <a:ext cx="2310065" cy="3239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grpSp>
      </p:grpSp>
      <p:grpSp>
        <p:nvGrpSpPr>
          <p:cNvPr id="51" name="Group 50"/>
          <p:cNvGrpSpPr/>
          <p:nvPr/>
        </p:nvGrpSpPr>
        <p:grpSpPr>
          <a:xfrm>
            <a:off x="6294763" y="3959363"/>
            <a:ext cx="2742656" cy="1323372"/>
            <a:chOff x="157298" y="988754"/>
            <a:chExt cx="2177166" cy="876120"/>
          </a:xfrm>
        </p:grpSpPr>
        <p:sp>
          <p:nvSpPr>
            <p:cNvPr id="52" name="Rectangle 51"/>
            <p:cNvSpPr/>
            <p:nvPr/>
          </p:nvSpPr>
          <p:spPr>
            <a:xfrm>
              <a:off x="189714" y="1340669"/>
              <a:ext cx="2127881" cy="524205"/>
            </a:xfrm>
            <a:prstGeom prst="rect">
              <a:avLst/>
            </a:prstGeom>
            <a:solidFill>
              <a:schemeClr val="accent2">
                <a:lumMod val="5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457200">
                <a:defRPr/>
              </a:pPr>
              <a:r>
                <a:rPr lang="en-US" b="1" dirty="0">
                  <a:solidFill>
                    <a:prstClr val="white"/>
                  </a:solidFill>
                  <a:latin typeface="Century Gothic" panose="020B0502020202020204" pitchFamily="34" charset="0"/>
                </a:rPr>
                <a:t>FRAME</a:t>
              </a:r>
            </a:p>
          </p:txBody>
        </p:sp>
        <p:grpSp>
          <p:nvGrpSpPr>
            <p:cNvPr id="53" name="Group 52"/>
            <p:cNvGrpSpPr/>
            <p:nvPr/>
          </p:nvGrpSpPr>
          <p:grpSpPr>
            <a:xfrm>
              <a:off x="157298" y="988754"/>
              <a:ext cx="2177166" cy="545115"/>
              <a:chOff x="4319334" y="721891"/>
              <a:chExt cx="2310067" cy="1701310"/>
            </a:xfrm>
            <a:solidFill>
              <a:schemeClr val="bg1"/>
            </a:solidFill>
            <a:effectLst>
              <a:outerShdw blurRad="63500" sx="102000" sy="102000" algn="ctr" rotWithShape="0">
                <a:prstClr val="black">
                  <a:alpha val="40000"/>
                </a:prstClr>
              </a:outerShdw>
            </a:effectLst>
          </p:grpSpPr>
          <p:sp>
            <p:nvSpPr>
              <p:cNvPr id="54" name="Rectangle 53"/>
              <p:cNvSpPr/>
              <p:nvPr/>
            </p:nvSpPr>
            <p:spPr>
              <a:xfrm>
                <a:off x="4319337" y="721891"/>
                <a:ext cx="2310064" cy="13773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sp>
            <p:nvSpPr>
              <p:cNvPr id="55" name="Right Triangle 4"/>
              <p:cNvSpPr/>
              <p:nvPr/>
            </p:nvSpPr>
            <p:spPr>
              <a:xfrm rot="10800000">
                <a:off x="4319334" y="2099242"/>
                <a:ext cx="2310065" cy="3239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grpSp>
      </p:grpSp>
      <p:grpSp>
        <p:nvGrpSpPr>
          <p:cNvPr id="56" name="Group 55"/>
          <p:cNvGrpSpPr/>
          <p:nvPr/>
        </p:nvGrpSpPr>
        <p:grpSpPr>
          <a:xfrm>
            <a:off x="9246494" y="3954445"/>
            <a:ext cx="2742656" cy="1323372"/>
            <a:chOff x="157298" y="988754"/>
            <a:chExt cx="2177166" cy="876120"/>
          </a:xfrm>
        </p:grpSpPr>
        <p:sp>
          <p:nvSpPr>
            <p:cNvPr id="57" name="Rectangle 56"/>
            <p:cNvSpPr/>
            <p:nvPr/>
          </p:nvSpPr>
          <p:spPr>
            <a:xfrm>
              <a:off x="189714" y="1340669"/>
              <a:ext cx="2127881" cy="524205"/>
            </a:xfrm>
            <a:prstGeom prst="rect">
              <a:avLst/>
            </a:prstGeom>
            <a:solidFill>
              <a:schemeClr val="accent2">
                <a:lumMod val="5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457200">
                <a:defRPr/>
              </a:pPr>
              <a:r>
                <a:rPr lang="en-US" b="1" dirty="0">
                  <a:solidFill>
                    <a:prstClr val="white"/>
                  </a:solidFill>
                  <a:latin typeface="Century Gothic" panose="020B0502020202020204" pitchFamily="34" charset="0"/>
                </a:rPr>
                <a:t>TYRES</a:t>
              </a:r>
            </a:p>
          </p:txBody>
        </p:sp>
        <p:grpSp>
          <p:nvGrpSpPr>
            <p:cNvPr id="58" name="Group 57"/>
            <p:cNvGrpSpPr/>
            <p:nvPr/>
          </p:nvGrpSpPr>
          <p:grpSpPr>
            <a:xfrm>
              <a:off x="157298" y="988754"/>
              <a:ext cx="2177166" cy="545115"/>
              <a:chOff x="4319334" y="721891"/>
              <a:chExt cx="2310067" cy="1701310"/>
            </a:xfrm>
            <a:solidFill>
              <a:schemeClr val="bg1"/>
            </a:solidFill>
            <a:effectLst>
              <a:outerShdw blurRad="63500" sx="102000" sy="102000" algn="ctr" rotWithShape="0">
                <a:prstClr val="black">
                  <a:alpha val="40000"/>
                </a:prstClr>
              </a:outerShdw>
            </a:effectLst>
          </p:grpSpPr>
          <p:sp>
            <p:nvSpPr>
              <p:cNvPr id="59" name="Rectangle 58"/>
              <p:cNvSpPr/>
              <p:nvPr/>
            </p:nvSpPr>
            <p:spPr>
              <a:xfrm>
                <a:off x="4319337" y="721891"/>
                <a:ext cx="2310064" cy="13773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sp>
            <p:nvSpPr>
              <p:cNvPr id="60" name="Right Triangle 4"/>
              <p:cNvSpPr/>
              <p:nvPr/>
            </p:nvSpPr>
            <p:spPr>
              <a:xfrm rot="10800000">
                <a:off x="4319334" y="2099242"/>
                <a:ext cx="2310065" cy="3239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grpSp>
      </p:grpSp>
      <p:grpSp>
        <p:nvGrpSpPr>
          <p:cNvPr id="81" name="Group 80"/>
          <p:cNvGrpSpPr/>
          <p:nvPr/>
        </p:nvGrpSpPr>
        <p:grpSpPr>
          <a:xfrm>
            <a:off x="134919" y="5412529"/>
            <a:ext cx="2742656" cy="1323372"/>
            <a:chOff x="157298" y="988754"/>
            <a:chExt cx="2177166" cy="876120"/>
          </a:xfrm>
        </p:grpSpPr>
        <p:sp>
          <p:nvSpPr>
            <p:cNvPr id="82" name="Rectangle 81"/>
            <p:cNvSpPr/>
            <p:nvPr/>
          </p:nvSpPr>
          <p:spPr>
            <a:xfrm>
              <a:off x="189714" y="1340669"/>
              <a:ext cx="2127881" cy="524205"/>
            </a:xfrm>
            <a:prstGeom prst="rect">
              <a:avLst/>
            </a:prstGeom>
            <a:solidFill>
              <a:schemeClr val="accent2">
                <a:lumMod val="5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457200">
                <a:defRPr/>
              </a:pPr>
              <a:r>
                <a:rPr lang="en-US" b="1" dirty="0">
                  <a:solidFill>
                    <a:prstClr val="white"/>
                  </a:solidFill>
                  <a:latin typeface="Century Gothic" panose="020B0502020202020204" pitchFamily="34" charset="0"/>
                </a:rPr>
                <a:t>WHEEL RIM</a:t>
              </a:r>
            </a:p>
          </p:txBody>
        </p:sp>
        <p:grpSp>
          <p:nvGrpSpPr>
            <p:cNvPr id="83" name="Group 82"/>
            <p:cNvGrpSpPr/>
            <p:nvPr/>
          </p:nvGrpSpPr>
          <p:grpSpPr>
            <a:xfrm>
              <a:off x="157298" y="988754"/>
              <a:ext cx="2177166" cy="545115"/>
              <a:chOff x="4319334" y="721891"/>
              <a:chExt cx="2310067" cy="1701310"/>
            </a:xfrm>
            <a:solidFill>
              <a:schemeClr val="bg1"/>
            </a:solidFill>
            <a:effectLst>
              <a:outerShdw blurRad="63500" sx="102000" sy="102000" algn="ctr" rotWithShape="0">
                <a:prstClr val="black">
                  <a:alpha val="40000"/>
                </a:prstClr>
              </a:outerShdw>
            </a:effectLst>
          </p:grpSpPr>
          <p:sp>
            <p:nvSpPr>
              <p:cNvPr id="84" name="Rectangle 83"/>
              <p:cNvSpPr/>
              <p:nvPr/>
            </p:nvSpPr>
            <p:spPr>
              <a:xfrm>
                <a:off x="4319337" y="721891"/>
                <a:ext cx="2310064" cy="13773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sp>
            <p:nvSpPr>
              <p:cNvPr id="85" name="Right Triangle 4"/>
              <p:cNvSpPr/>
              <p:nvPr/>
            </p:nvSpPr>
            <p:spPr>
              <a:xfrm rot="10800000">
                <a:off x="4319334" y="2099242"/>
                <a:ext cx="2310065" cy="3239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grpSp>
      </p:grpSp>
      <p:grpSp>
        <p:nvGrpSpPr>
          <p:cNvPr id="86" name="Group 85"/>
          <p:cNvGrpSpPr/>
          <p:nvPr/>
        </p:nvGrpSpPr>
        <p:grpSpPr>
          <a:xfrm>
            <a:off x="3204216" y="5407724"/>
            <a:ext cx="2742656" cy="1323372"/>
            <a:chOff x="157298" y="988754"/>
            <a:chExt cx="2177166" cy="876120"/>
          </a:xfrm>
        </p:grpSpPr>
        <p:sp>
          <p:nvSpPr>
            <p:cNvPr id="87" name="Rectangle 86"/>
            <p:cNvSpPr/>
            <p:nvPr/>
          </p:nvSpPr>
          <p:spPr>
            <a:xfrm>
              <a:off x="189714" y="1340669"/>
              <a:ext cx="2127881" cy="524205"/>
            </a:xfrm>
            <a:prstGeom prst="rect">
              <a:avLst/>
            </a:prstGeom>
            <a:solidFill>
              <a:schemeClr val="accent2">
                <a:lumMod val="5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457200">
                <a:defRPr/>
              </a:pPr>
              <a:r>
                <a:rPr lang="en-US" b="1" dirty="0">
                  <a:solidFill>
                    <a:prstClr val="white"/>
                  </a:solidFill>
                  <a:latin typeface="Century Gothic" panose="020B0502020202020204" pitchFamily="34" charset="0"/>
                </a:rPr>
                <a:t>ELECTRIC SYSTEM</a:t>
              </a:r>
            </a:p>
          </p:txBody>
        </p:sp>
        <p:grpSp>
          <p:nvGrpSpPr>
            <p:cNvPr id="88" name="Group 87"/>
            <p:cNvGrpSpPr/>
            <p:nvPr/>
          </p:nvGrpSpPr>
          <p:grpSpPr>
            <a:xfrm>
              <a:off x="157298" y="988754"/>
              <a:ext cx="2177166" cy="545115"/>
              <a:chOff x="4319334" y="721891"/>
              <a:chExt cx="2310067" cy="1701310"/>
            </a:xfrm>
            <a:solidFill>
              <a:schemeClr val="bg1"/>
            </a:solidFill>
            <a:effectLst>
              <a:outerShdw blurRad="63500" sx="102000" sy="102000" algn="ctr" rotWithShape="0">
                <a:prstClr val="black">
                  <a:alpha val="40000"/>
                </a:prstClr>
              </a:outerShdw>
            </a:effectLst>
          </p:grpSpPr>
          <p:sp>
            <p:nvSpPr>
              <p:cNvPr id="89" name="Rectangle 88"/>
              <p:cNvSpPr/>
              <p:nvPr/>
            </p:nvSpPr>
            <p:spPr>
              <a:xfrm>
                <a:off x="4319337" y="721891"/>
                <a:ext cx="2310064" cy="13773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sp>
            <p:nvSpPr>
              <p:cNvPr id="90" name="Right Triangle 4"/>
              <p:cNvSpPr/>
              <p:nvPr/>
            </p:nvSpPr>
            <p:spPr>
              <a:xfrm rot="10800000">
                <a:off x="4319334" y="2099242"/>
                <a:ext cx="2310065" cy="3239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grpSp>
      </p:grpSp>
      <p:grpSp>
        <p:nvGrpSpPr>
          <p:cNvPr id="91" name="Group 90"/>
          <p:cNvGrpSpPr/>
          <p:nvPr/>
        </p:nvGrpSpPr>
        <p:grpSpPr>
          <a:xfrm>
            <a:off x="6273513" y="5412642"/>
            <a:ext cx="2742656" cy="1323372"/>
            <a:chOff x="157298" y="988754"/>
            <a:chExt cx="2177166" cy="876120"/>
          </a:xfrm>
        </p:grpSpPr>
        <p:sp>
          <p:nvSpPr>
            <p:cNvPr id="92" name="Rectangle 91"/>
            <p:cNvSpPr/>
            <p:nvPr/>
          </p:nvSpPr>
          <p:spPr>
            <a:xfrm>
              <a:off x="189714" y="1340669"/>
              <a:ext cx="2127881" cy="524205"/>
            </a:xfrm>
            <a:prstGeom prst="rect">
              <a:avLst/>
            </a:prstGeom>
            <a:solidFill>
              <a:schemeClr val="accent2">
                <a:lumMod val="5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457200">
                <a:defRPr/>
              </a:pPr>
              <a:r>
                <a:rPr lang="en-US" b="1" dirty="0">
                  <a:solidFill>
                    <a:prstClr val="white"/>
                  </a:solidFill>
                  <a:latin typeface="Century Gothic" panose="020B0502020202020204" pitchFamily="34" charset="0"/>
                </a:rPr>
                <a:t>CABIN</a:t>
              </a:r>
            </a:p>
          </p:txBody>
        </p:sp>
        <p:grpSp>
          <p:nvGrpSpPr>
            <p:cNvPr id="93" name="Group 92"/>
            <p:cNvGrpSpPr/>
            <p:nvPr/>
          </p:nvGrpSpPr>
          <p:grpSpPr>
            <a:xfrm>
              <a:off x="157298" y="988754"/>
              <a:ext cx="2177166" cy="545115"/>
              <a:chOff x="4319334" y="721891"/>
              <a:chExt cx="2310067" cy="1701310"/>
            </a:xfrm>
            <a:solidFill>
              <a:schemeClr val="bg1"/>
            </a:solidFill>
            <a:effectLst>
              <a:outerShdw blurRad="63500" sx="102000" sy="102000" algn="ctr" rotWithShape="0">
                <a:prstClr val="black">
                  <a:alpha val="40000"/>
                </a:prstClr>
              </a:outerShdw>
            </a:effectLst>
          </p:grpSpPr>
          <p:sp>
            <p:nvSpPr>
              <p:cNvPr id="94" name="Rectangle 93"/>
              <p:cNvSpPr/>
              <p:nvPr/>
            </p:nvSpPr>
            <p:spPr>
              <a:xfrm>
                <a:off x="4319337" y="721891"/>
                <a:ext cx="2310064" cy="13773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sp>
            <p:nvSpPr>
              <p:cNvPr id="95" name="Right Triangle 4"/>
              <p:cNvSpPr/>
              <p:nvPr/>
            </p:nvSpPr>
            <p:spPr>
              <a:xfrm rot="10800000">
                <a:off x="4319334" y="2099242"/>
                <a:ext cx="2310065" cy="3239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grpSp>
      </p:grpSp>
      <p:grpSp>
        <p:nvGrpSpPr>
          <p:cNvPr id="96" name="Group 95"/>
          <p:cNvGrpSpPr/>
          <p:nvPr/>
        </p:nvGrpSpPr>
        <p:grpSpPr>
          <a:xfrm>
            <a:off x="9225244" y="5407724"/>
            <a:ext cx="2742656" cy="1323372"/>
            <a:chOff x="157298" y="988754"/>
            <a:chExt cx="2177166" cy="876120"/>
          </a:xfrm>
        </p:grpSpPr>
        <p:sp>
          <p:nvSpPr>
            <p:cNvPr id="97" name="Rectangle 96"/>
            <p:cNvSpPr/>
            <p:nvPr/>
          </p:nvSpPr>
          <p:spPr>
            <a:xfrm>
              <a:off x="189714" y="1340669"/>
              <a:ext cx="2127881" cy="524205"/>
            </a:xfrm>
            <a:prstGeom prst="rect">
              <a:avLst/>
            </a:prstGeom>
            <a:solidFill>
              <a:schemeClr val="accent2">
                <a:lumMod val="5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457200">
                <a:defRPr/>
              </a:pPr>
              <a:r>
                <a:rPr lang="en-US" b="1" dirty="0">
                  <a:solidFill>
                    <a:prstClr val="white"/>
                  </a:solidFill>
                  <a:latin typeface="Century Gothic" panose="020B0502020202020204" pitchFamily="34" charset="0"/>
                </a:rPr>
                <a:t>TIPPING SYSTEM</a:t>
              </a:r>
            </a:p>
          </p:txBody>
        </p:sp>
        <p:grpSp>
          <p:nvGrpSpPr>
            <p:cNvPr id="98" name="Group 97"/>
            <p:cNvGrpSpPr/>
            <p:nvPr/>
          </p:nvGrpSpPr>
          <p:grpSpPr>
            <a:xfrm>
              <a:off x="157298" y="988754"/>
              <a:ext cx="2177166" cy="545115"/>
              <a:chOff x="4319334" y="721891"/>
              <a:chExt cx="2310067" cy="1701310"/>
            </a:xfrm>
            <a:solidFill>
              <a:schemeClr val="bg1"/>
            </a:solidFill>
            <a:effectLst>
              <a:outerShdw blurRad="63500" sx="102000" sy="102000" algn="ctr" rotWithShape="0">
                <a:prstClr val="black">
                  <a:alpha val="40000"/>
                </a:prstClr>
              </a:outerShdw>
            </a:effectLst>
          </p:grpSpPr>
          <p:sp>
            <p:nvSpPr>
              <p:cNvPr id="99" name="Rectangle 98"/>
              <p:cNvSpPr/>
              <p:nvPr/>
            </p:nvSpPr>
            <p:spPr>
              <a:xfrm>
                <a:off x="4319337" y="721891"/>
                <a:ext cx="2310064" cy="13773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sp>
            <p:nvSpPr>
              <p:cNvPr id="100" name="Right Triangle 4"/>
              <p:cNvSpPr/>
              <p:nvPr/>
            </p:nvSpPr>
            <p:spPr>
              <a:xfrm rot="10800000">
                <a:off x="4319334" y="2099242"/>
                <a:ext cx="2310065" cy="3239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b="1" dirty="0">
                  <a:solidFill>
                    <a:prstClr val="white"/>
                  </a:solidFill>
                  <a:latin typeface="Century Gothic" panose="020B0502020202020204" pitchFamily="34" charset="0"/>
                </a:endParaRPr>
              </a:p>
            </p:txBody>
          </p:sp>
        </p:grpSp>
      </p:grpSp>
      <p:pic>
        <p:nvPicPr>
          <p:cNvPr id="101" name="Picture 2" descr="Image result for ENGIN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42290" y="1054804"/>
            <a:ext cx="735747" cy="735747"/>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4" descr="Related imag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12991" y="883375"/>
            <a:ext cx="979279" cy="97927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6" descr="Related imag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93185" y="1062550"/>
            <a:ext cx="668860" cy="668860"/>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8" descr="Related image"/>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750" b="96000" l="1250" r="100000"/>
                    </a14:imgEffect>
                  </a14:imgLayer>
                </a14:imgProps>
              </a:ext>
              <a:ext uri="{28A0092B-C50C-407E-A947-70E740481C1C}">
                <a14:useLocalDpi xmlns:a14="http://schemas.microsoft.com/office/drawing/2010/main" val="0"/>
              </a:ext>
            </a:extLst>
          </a:blip>
          <a:srcRect/>
          <a:stretch>
            <a:fillRect/>
          </a:stretch>
        </p:blipFill>
        <p:spPr bwMode="auto">
          <a:xfrm>
            <a:off x="960154" y="2269612"/>
            <a:ext cx="1216113" cy="1216113"/>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162065" y="2411985"/>
            <a:ext cx="878673" cy="878673"/>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12" descr="Image result for FRONT AXLE ICON"/>
          <p:cNvPicPr>
            <a:picLocks noChangeAspect="1" noChangeArrowheads="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backgroundRemoval t="7333" b="90000" l="1742" r="89895"/>
                    </a14:imgEffect>
                    <a14:imgEffect>
                      <a14:artisticPaintStrokes/>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967820" y="2459110"/>
            <a:ext cx="1405265" cy="73446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06"/>
          <p:cNvPicPr>
            <a:picLocks noChangeAspect="1"/>
          </p:cNvPicPr>
          <p:nvPr/>
        </p:nvPicPr>
        <p:blipFill>
          <a:blip r:embed="rId11">
            <a:extLst>
              <a:ext uri="{BEBA8EAE-BF5A-486C-A8C5-ECC9F3942E4B}">
                <a14:imgProps xmlns:a14="http://schemas.microsoft.com/office/drawing/2010/main">
                  <a14:imgLayer r:embed="rId12">
                    <a14:imgEffect>
                      <a14:backgroundRemoval t="1227" b="97546" l="5484" r="98387"/>
                    </a14:imgEffect>
                  </a14:imgLayer>
                </a14:imgProps>
              </a:ext>
            </a:extLst>
          </a:blip>
          <a:stretch>
            <a:fillRect/>
          </a:stretch>
        </p:blipFill>
        <p:spPr>
          <a:xfrm>
            <a:off x="9907147" y="2422833"/>
            <a:ext cx="1517884" cy="798113"/>
          </a:xfrm>
          <a:prstGeom prst="rect">
            <a:avLst/>
          </a:prstGeom>
        </p:spPr>
      </p:pic>
      <p:pic>
        <p:nvPicPr>
          <p:cNvPr id="108" name="Picture 16" descr="Related imag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51745" y="3923302"/>
            <a:ext cx="841300" cy="799825"/>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24" descr="Image result for BUS WHEEL RIM"/>
          <p:cNvPicPr>
            <a:picLocks noChangeAspect="1" noChangeArrowheads="1"/>
          </p:cNvPicPr>
          <p:nvPr/>
        </p:nvPicPr>
        <p:blipFill>
          <a:blip r:embed="rId14" cstate="print">
            <a:biLevel thresh="75000"/>
            <a:extLst>
              <a:ext uri="{BEBA8EAE-BF5A-486C-A8C5-ECC9F3942E4B}">
                <a14:imgProps xmlns:a14="http://schemas.microsoft.com/office/drawing/2010/main">
                  <a14:imgLayer r:embed="rId15">
                    <a14:imgEffect>
                      <a14:backgroundRemoval t="833" b="97778" l="556" r="98056"/>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213032" y="5432563"/>
            <a:ext cx="822315" cy="822315"/>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12"/>
          <p:cNvPicPr>
            <a:picLocks noChangeAspect="1"/>
          </p:cNvPicPr>
          <p:nvPr/>
        </p:nvPicPr>
        <p:blipFill>
          <a:blip r:embed="rId16"/>
          <a:stretch>
            <a:fillRect/>
          </a:stretch>
        </p:blipFill>
        <p:spPr>
          <a:xfrm>
            <a:off x="10170949" y="5439749"/>
            <a:ext cx="984731" cy="642520"/>
          </a:xfrm>
          <a:prstGeom prst="rect">
            <a:avLst/>
          </a:prstGeom>
        </p:spPr>
      </p:pic>
      <p:pic>
        <p:nvPicPr>
          <p:cNvPr id="114" name="Picture 12" descr="Image result for VEHICLE ELECTRICALS ICON"/>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216359" y="5439749"/>
            <a:ext cx="761678" cy="761678"/>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26" descr="Image result for TRUCK CABIN ICON"/>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333621" y="5486373"/>
            <a:ext cx="655853" cy="655853"/>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36" descr="Image result for tire icon"/>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0285213" y="4010436"/>
            <a:ext cx="668860" cy="668860"/>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2" descr="Image result for BRAKES ICON"/>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344680" y="4072806"/>
            <a:ext cx="621923" cy="621923"/>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17"/>
          <p:cNvPicPr>
            <a:picLocks noChangeAspect="1"/>
          </p:cNvPicPr>
          <p:nvPr/>
        </p:nvPicPr>
        <p:blipFill>
          <a:blip r:embed="rId21"/>
          <a:stretch>
            <a:fillRect/>
          </a:stretch>
        </p:blipFill>
        <p:spPr>
          <a:xfrm>
            <a:off x="7169081" y="4086037"/>
            <a:ext cx="1104422" cy="527849"/>
          </a:xfrm>
          <a:prstGeom prst="rect">
            <a:avLst/>
          </a:prstGeom>
        </p:spPr>
      </p:pic>
    </p:spTree>
    <p:extLst>
      <p:ext uri="{BB962C8B-B14F-4D97-AF65-F5344CB8AC3E}">
        <p14:creationId xmlns:p14="http://schemas.microsoft.com/office/powerpoint/2010/main" val="10647229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609594" y="-5"/>
            <a:ext cx="8459673" cy="978397"/>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687125" y="124413"/>
            <a:ext cx="8073044" cy="666786"/>
          </a:xfrm>
          <a:prstGeom prst="rect">
            <a:avLst/>
          </a:prstGeom>
          <a:noFill/>
        </p:spPr>
        <p:txBody>
          <a:bodyPr wrap="none" rtlCol="0">
            <a:spAutoFit/>
          </a:bodyPr>
          <a:lstStyle/>
          <a:p>
            <a:pPr defTabSz="1219170"/>
            <a:r>
              <a:rPr lang="en-US" sz="3733" b="1" dirty="0">
                <a:solidFill>
                  <a:srgbClr val="000000"/>
                </a:solidFill>
                <a:latin typeface="Century Gothic" panose="020B0502020202020204" pitchFamily="34" charset="0"/>
              </a:rPr>
              <a:t>BASIC AUTOMOTIVE TECHNOLOGY</a:t>
            </a:r>
            <a:endParaRPr lang="en-US" sz="3733" b="1" dirty="0">
              <a:solidFill>
                <a:prstClr val="black"/>
              </a:solidFill>
              <a:latin typeface="Century Gothic" panose="020B0502020202020204" pitchFamily="34" charset="0"/>
            </a:endParaRPr>
          </a:p>
        </p:txBody>
      </p:sp>
      <p:sp>
        <p:nvSpPr>
          <p:cNvPr id="2" name="Rectangle 1"/>
          <p:cNvSpPr/>
          <p:nvPr/>
        </p:nvSpPr>
        <p:spPr>
          <a:xfrm>
            <a:off x="77525" y="1397000"/>
            <a:ext cx="6120075" cy="5283200"/>
          </a:xfrm>
          <a:prstGeom prst="rect">
            <a:avLst/>
          </a:prstGeom>
          <a:solidFill>
            <a:schemeClr val="accent5">
              <a:lumMod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3733" dirty="0">
                <a:solidFill>
                  <a:prstClr val="white"/>
                </a:solidFill>
                <a:latin typeface="Century Gothic" panose="020B0502020202020204" pitchFamily="34" charset="0"/>
              </a:rPr>
              <a:t>THIS SECTION IS SPLIT INTO </a:t>
            </a:r>
            <a:r>
              <a:rPr lang="en-US" sz="18400" b="1" dirty="0">
                <a:solidFill>
                  <a:prstClr val="white"/>
                </a:solidFill>
                <a:latin typeface="Century Gothic" panose="020B0502020202020204" pitchFamily="34" charset="0"/>
              </a:rPr>
              <a:t>4 </a:t>
            </a:r>
            <a:endParaRPr lang="en-US" sz="3733" b="1" dirty="0">
              <a:solidFill>
                <a:prstClr val="white"/>
              </a:solidFill>
              <a:latin typeface="Century Gothic" panose="020B0502020202020204" pitchFamily="34" charset="0"/>
            </a:endParaRPr>
          </a:p>
          <a:p>
            <a:pPr algn="ctr" defTabSz="1219170"/>
            <a:r>
              <a:rPr lang="en-US" sz="3733" dirty="0">
                <a:solidFill>
                  <a:prstClr val="white"/>
                </a:solidFill>
                <a:latin typeface="Century Gothic" panose="020B0502020202020204" pitchFamily="34" charset="0"/>
              </a:rPr>
              <a:t>DIFFERENT PARTS </a:t>
            </a:r>
          </a:p>
        </p:txBody>
      </p:sp>
      <p:sp>
        <p:nvSpPr>
          <p:cNvPr id="49" name="Rectangle 48"/>
          <p:cNvSpPr/>
          <p:nvPr/>
        </p:nvSpPr>
        <p:spPr>
          <a:xfrm>
            <a:off x="6299200" y="4140200"/>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667" b="1" dirty="0">
                <a:solidFill>
                  <a:schemeClr val="bg1">
                    <a:lumMod val="50000"/>
                  </a:schemeClr>
                </a:solidFill>
                <a:latin typeface="Century Gothic" panose="020B0502020202020204" pitchFamily="34" charset="0"/>
              </a:rPr>
              <a:t>AGGREGATES</a:t>
            </a:r>
          </a:p>
        </p:txBody>
      </p:sp>
      <p:sp>
        <p:nvSpPr>
          <p:cNvPr id="50" name="Rectangle 49"/>
          <p:cNvSpPr/>
          <p:nvPr/>
        </p:nvSpPr>
        <p:spPr>
          <a:xfrm>
            <a:off x="6299200" y="5461000"/>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667" b="1" dirty="0">
                <a:solidFill>
                  <a:schemeClr val="tx1"/>
                </a:solidFill>
                <a:latin typeface="Century Gothic" panose="020B0502020202020204" pitchFamily="34" charset="0"/>
              </a:rPr>
              <a:t>AGGREGATE MATRIX</a:t>
            </a:r>
          </a:p>
        </p:txBody>
      </p:sp>
      <p:sp>
        <p:nvSpPr>
          <p:cNvPr id="51" name="Rectangle 50"/>
          <p:cNvSpPr/>
          <p:nvPr/>
        </p:nvSpPr>
        <p:spPr>
          <a:xfrm>
            <a:off x="6299200" y="2781300"/>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667" b="1" dirty="0">
                <a:solidFill>
                  <a:schemeClr val="bg1">
                    <a:lumMod val="50000"/>
                  </a:schemeClr>
                </a:solidFill>
                <a:latin typeface="Century Gothic" panose="020B0502020202020204" pitchFamily="34" charset="0"/>
              </a:rPr>
              <a:t>PRODUCT MATRIX</a:t>
            </a:r>
          </a:p>
        </p:txBody>
      </p:sp>
      <p:sp>
        <p:nvSpPr>
          <p:cNvPr id="6" name="Rectangle 5"/>
          <p:cNvSpPr/>
          <p:nvPr/>
        </p:nvSpPr>
        <p:spPr>
          <a:xfrm>
            <a:off x="6299200" y="1435571"/>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667" b="1" dirty="0">
                <a:solidFill>
                  <a:schemeClr val="bg1">
                    <a:lumMod val="50000"/>
                  </a:schemeClr>
                </a:solidFill>
                <a:latin typeface="Century Gothic" panose="020B0502020202020204" pitchFamily="34" charset="0"/>
              </a:rPr>
              <a:t>ARCHITECTURE &amp; APPLICATION</a:t>
            </a:r>
          </a:p>
        </p:txBody>
      </p:sp>
    </p:spTree>
    <p:extLst>
      <p:ext uri="{BB962C8B-B14F-4D97-AF65-F5344CB8AC3E}">
        <p14:creationId xmlns:p14="http://schemas.microsoft.com/office/powerpoint/2010/main" val="39718623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7" y="-5"/>
            <a:ext cx="8093729" cy="978397"/>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4"/>
            <a:ext cx="5384800"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ENGINE – POWER UNIT</a:t>
            </a:r>
            <a:endParaRPr lang="en-US" sz="3733" b="1" dirty="0">
              <a:solidFill>
                <a:prstClr val="black"/>
              </a:solidFill>
              <a:latin typeface="Century Gothic" panose="020B0502020202020204" pitchFamily="34" charset="0"/>
            </a:endParaRPr>
          </a:p>
        </p:txBody>
      </p:sp>
      <p:sp>
        <p:nvSpPr>
          <p:cNvPr id="24" name="Rectangle 23"/>
          <p:cNvSpPr/>
          <p:nvPr/>
        </p:nvSpPr>
        <p:spPr>
          <a:xfrm>
            <a:off x="77525" y="2311401"/>
            <a:ext cx="5713675" cy="43688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285744" indent="-285744" defTabSz="914377">
              <a:buFont typeface="Wingdings" pitchFamily="2" charset="2"/>
              <a:buChar char="§"/>
            </a:pPr>
            <a:r>
              <a:rPr lang="en-US" sz="1867" dirty="0">
                <a:solidFill>
                  <a:prstClr val="white"/>
                </a:solidFill>
                <a:latin typeface="Century Gothic" panose="020B0502020202020204" pitchFamily="34" charset="0"/>
                <a:cs typeface="Calibri" pitchFamily="34" charset="0"/>
              </a:rPr>
              <a:t>Converts the chemical energy available in fuel into thermal and then into mechanical energy.</a:t>
            </a:r>
          </a:p>
          <a:p>
            <a:pPr marL="285744" indent="-285744" defTabSz="914377">
              <a:buFont typeface="Wingdings" pitchFamily="2" charset="2"/>
              <a:buChar char="§"/>
            </a:pPr>
            <a:r>
              <a:rPr lang="en-US" sz="1867" dirty="0">
                <a:solidFill>
                  <a:prstClr val="white"/>
                </a:solidFill>
                <a:latin typeface="Century Gothic" panose="020B0502020202020204" pitchFamily="34" charset="0"/>
                <a:cs typeface="Calibri" pitchFamily="34" charset="0"/>
              </a:rPr>
              <a:t>An engine is a machine that converts power into motion</a:t>
            </a:r>
          </a:p>
          <a:p>
            <a:pPr marL="285744" indent="-285744" defTabSz="914377">
              <a:buFont typeface="Wingdings" pitchFamily="2" charset="2"/>
              <a:buChar char="§"/>
            </a:pPr>
            <a:r>
              <a:rPr lang="en-US" sz="1867" dirty="0">
                <a:solidFill>
                  <a:prstClr val="white"/>
                </a:solidFill>
                <a:latin typeface="Century Gothic" panose="020B0502020202020204" pitchFamily="34" charset="0"/>
                <a:cs typeface="Calibri" pitchFamily="34" charset="0"/>
              </a:rPr>
              <a:t>Combustion engines convert Chemical energy &gt; thermal energy &gt; power &gt; motion</a:t>
            </a:r>
          </a:p>
          <a:p>
            <a:pPr marL="285744" indent="-285744" defTabSz="914377">
              <a:buFont typeface="Wingdings" pitchFamily="2" charset="2"/>
              <a:buChar char="§"/>
            </a:pPr>
            <a:r>
              <a:rPr lang="en-US" sz="1867" dirty="0">
                <a:solidFill>
                  <a:prstClr val="white"/>
                </a:solidFill>
                <a:latin typeface="Century Gothic" panose="020B0502020202020204" pitchFamily="34" charset="0"/>
                <a:cs typeface="Calibri" pitchFamily="34" charset="0"/>
              </a:rPr>
              <a:t>In external combustion engines, the combustion takes place outside the engine whereas, in the internal combustion engines its vice versa </a:t>
            </a:r>
          </a:p>
        </p:txBody>
      </p:sp>
      <p:pic>
        <p:nvPicPr>
          <p:cNvPr id="25" name="Pictur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2" y="2311401"/>
            <a:ext cx="6009797" cy="4499676"/>
          </a:xfrm>
          <a:prstGeom prst="rect">
            <a:avLst/>
          </a:prstGeom>
        </p:spPr>
      </p:pic>
      <p:sp>
        <p:nvSpPr>
          <p:cNvPr id="3" name="Oval 2"/>
          <p:cNvSpPr/>
          <p:nvPr/>
        </p:nvSpPr>
        <p:spPr>
          <a:xfrm>
            <a:off x="1952596" y="1239736"/>
            <a:ext cx="1963533" cy="19635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pic>
        <p:nvPicPr>
          <p:cNvPr id="8" name="Picture 4" descr="A close up of a toy&#10;&#10;Description automatically generated">
            <a:extLst>
              <a:ext uri="{FF2B5EF4-FFF2-40B4-BE49-F238E27FC236}">
                <a16:creationId xmlns:a16="http://schemas.microsoft.com/office/drawing/2014/main" id="{AE2ABC87-D8F4-4175-8CB4-B35533764225}"/>
              </a:ext>
            </a:extLst>
          </p:cNvPr>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897812" y="1102813"/>
            <a:ext cx="2073100" cy="1784666"/>
          </a:xfrm>
          <a:prstGeom prst="rect">
            <a:avLst/>
          </a:prstGeom>
        </p:spPr>
      </p:pic>
    </p:spTree>
    <p:extLst>
      <p:ext uri="{BB962C8B-B14F-4D97-AF65-F5344CB8AC3E}">
        <p14:creationId xmlns:p14="http://schemas.microsoft.com/office/powerpoint/2010/main" val="81370967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4"/>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ENGINE – CLASSIFICATION</a:t>
            </a:r>
            <a:endParaRPr lang="en-US" sz="3733" b="1" dirty="0">
              <a:solidFill>
                <a:prstClr val="black"/>
              </a:solidFill>
              <a:latin typeface="Century Gothic" panose="020B0502020202020204" pitchFamily="34" charset="0"/>
            </a:endParaRPr>
          </a:p>
        </p:txBody>
      </p:sp>
      <p:graphicFrame>
        <p:nvGraphicFramePr>
          <p:cNvPr id="7" name="Diagram 6"/>
          <p:cNvGraphicFramePr/>
          <p:nvPr>
            <p:extLst>
              <p:ext uri="{D42A27DB-BD31-4B8C-83A1-F6EECF244321}">
                <p14:modId xmlns:p14="http://schemas.microsoft.com/office/powerpoint/2010/main" val="2907275260"/>
              </p:ext>
            </p:extLst>
          </p:nvPr>
        </p:nvGraphicFramePr>
        <p:xfrm>
          <a:off x="-1384662" y="1275443"/>
          <a:ext cx="11521440" cy="49508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 name="Table 1"/>
          <p:cNvGraphicFramePr>
            <a:graphicFrameLocks noGrp="1"/>
          </p:cNvGraphicFramePr>
          <p:nvPr>
            <p:extLst>
              <p:ext uri="{D42A27DB-BD31-4B8C-83A1-F6EECF244321}">
                <p14:modId xmlns:p14="http://schemas.microsoft.com/office/powerpoint/2010/main" val="3812895283"/>
              </p:ext>
            </p:extLst>
          </p:nvPr>
        </p:nvGraphicFramePr>
        <p:xfrm>
          <a:off x="6686741" y="1497512"/>
          <a:ext cx="5370275" cy="2107501"/>
        </p:xfrm>
        <a:graphic>
          <a:graphicData uri="http://schemas.openxmlformats.org/drawingml/2006/table">
            <a:tbl>
              <a:tblPr firstRow="1" bandRow="1">
                <a:tableStyleId>{5940675A-B579-460E-94D1-54222C63F5DA}</a:tableStyleId>
              </a:tblPr>
              <a:tblGrid>
                <a:gridCol w="1074055">
                  <a:extLst>
                    <a:ext uri="{9D8B030D-6E8A-4147-A177-3AD203B41FA5}">
                      <a16:colId xmlns:a16="http://schemas.microsoft.com/office/drawing/2014/main" val="2014496733"/>
                    </a:ext>
                  </a:extLst>
                </a:gridCol>
                <a:gridCol w="1074055">
                  <a:extLst>
                    <a:ext uri="{9D8B030D-6E8A-4147-A177-3AD203B41FA5}">
                      <a16:colId xmlns:a16="http://schemas.microsoft.com/office/drawing/2014/main" val="1977520744"/>
                    </a:ext>
                  </a:extLst>
                </a:gridCol>
                <a:gridCol w="1074055">
                  <a:extLst>
                    <a:ext uri="{9D8B030D-6E8A-4147-A177-3AD203B41FA5}">
                      <a16:colId xmlns:a16="http://schemas.microsoft.com/office/drawing/2014/main" val="3939084490"/>
                    </a:ext>
                  </a:extLst>
                </a:gridCol>
                <a:gridCol w="1074055">
                  <a:extLst>
                    <a:ext uri="{9D8B030D-6E8A-4147-A177-3AD203B41FA5}">
                      <a16:colId xmlns:a16="http://schemas.microsoft.com/office/drawing/2014/main" val="2420290807"/>
                    </a:ext>
                  </a:extLst>
                </a:gridCol>
                <a:gridCol w="1074055">
                  <a:extLst>
                    <a:ext uri="{9D8B030D-6E8A-4147-A177-3AD203B41FA5}">
                      <a16:colId xmlns:a16="http://schemas.microsoft.com/office/drawing/2014/main" val="3837596071"/>
                    </a:ext>
                  </a:extLst>
                </a:gridCol>
              </a:tblGrid>
              <a:tr h="461581">
                <a:tc>
                  <a:txBody>
                    <a:bodyPr/>
                    <a:lstStyle/>
                    <a:p>
                      <a:r>
                        <a:rPr lang="en-US" sz="1400" b="1" dirty="0">
                          <a:latin typeface="Century Gothic" panose="020B0502020202020204" pitchFamily="34" charset="0"/>
                        </a:rPr>
                        <a:t>Engine</a:t>
                      </a:r>
                    </a:p>
                  </a:txBody>
                  <a:tcPr/>
                </a:tc>
                <a:tc>
                  <a:txBody>
                    <a:bodyPr/>
                    <a:lstStyle/>
                    <a:p>
                      <a:r>
                        <a:rPr lang="en-US" sz="1400" b="1" dirty="0">
                          <a:latin typeface="Century Gothic" panose="020B0502020202020204" pitchFamily="34" charset="0"/>
                        </a:rPr>
                        <a:t>H4 – 2V</a:t>
                      </a:r>
                    </a:p>
                  </a:txBody>
                  <a:tcPr/>
                </a:tc>
                <a:tc>
                  <a:txBody>
                    <a:bodyPr/>
                    <a:lstStyle/>
                    <a:p>
                      <a:r>
                        <a:rPr lang="en-US" sz="1400" b="1" dirty="0">
                          <a:latin typeface="Century Gothic" panose="020B0502020202020204" pitchFamily="34" charset="0"/>
                        </a:rPr>
                        <a:t>H6 – 2V</a:t>
                      </a:r>
                    </a:p>
                  </a:txBody>
                  <a:tcPr/>
                </a:tc>
                <a:tc>
                  <a:txBody>
                    <a:bodyPr/>
                    <a:lstStyle/>
                    <a:p>
                      <a:r>
                        <a:rPr lang="en-US" sz="1400" b="1" dirty="0">
                          <a:latin typeface="Century Gothic" panose="020B0502020202020204" pitchFamily="34" charset="0"/>
                        </a:rPr>
                        <a:t>A4/H6 4V</a:t>
                      </a:r>
                    </a:p>
                  </a:txBody>
                  <a:tcPr/>
                </a:tc>
                <a:tc>
                  <a:txBody>
                    <a:bodyPr/>
                    <a:lstStyle/>
                    <a:p>
                      <a:r>
                        <a:rPr lang="en-US" sz="1400" b="1" dirty="0">
                          <a:latin typeface="Century Gothic" panose="020B0502020202020204" pitchFamily="34" charset="0"/>
                        </a:rPr>
                        <a:t>A6 – 4V</a:t>
                      </a:r>
                    </a:p>
                  </a:txBody>
                  <a:tcPr/>
                </a:tc>
                <a:extLst>
                  <a:ext uri="{0D108BD9-81ED-4DB2-BD59-A6C34878D82A}">
                    <a16:rowId xmlns:a16="http://schemas.microsoft.com/office/drawing/2014/main" val="1541646362"/>
                  </a:ext>
                </a:extLst>
              </a:tr>
              <a:tr h="302764">
                <a:tc>
                  <a:txBody>
                    <a:bodyPr/>
                    <a:lstStyle/>
                    <a:p>
                      <a:r>
                        <a:rPr lang="en-US" sz="1400" b="1" dirty="0">
                          <a:solidFill>
                            <a:schemeClr val="bg1"/>
                          </a:solidFill>
                          <a:latin typeface="Century Gothic" panose="020B0502020202020204" pitchFamily="34" charset="0"/>
                        </a:rPr>
                        <a:t>HP</a:t>
                      </a:r>
                    </a:p>
                  </a:txBody>
                  <a:tcPr>
                    <a:solidFill>
                      <a:srgbClr val="4F81BD"/>
                    </a:solidFill>
                  </a:tcPr>
                </a:tc>
                <a:tc>
                  <a:txBody>
                    <a:bodyPr/>
                    <a:lstStyle/>
                    <a:p>
                      <a:r>
                        <a:rPr lang="en-US" sz="1400" b="1" dirty="0">
                          <a:latin typeface="Century Gothic" panose="020B0502020202020204" pitchFamily="34" charset="0"/>
                        </a:rPr>
                        <a:t>150</a:t>
                      </a:r>
                    </a:p>
                  </a:txBody>
                  <a:tcPr>
                    <a:solidFill>
                      <a:schemeClr val="accent5">
                        <a:lumMod val="20000"/>
                        <a:lumOff val="80000"/>
                      </a:schemeClr>
                    </a:solidFill>
                  </a:tcPr>
                </a:tc>
                <a:tc>
                  <a:txBody>
                    <a:bodyPr/>
                    <a:lstStyle/>
                    <a:p>
                      <a:r>
                        <a:rPr lang="en-US" sz="1400" b="1" dirty="0">
                          <a:latin typeface="Century Gothic" panose="020B0502020202020204" pitchFamily="34" charset="0"/>
                        </a:rPr>
                        <a:t>200</a:t>
                      </a:r>
                    </a:p>
                  </a:txBody>
                  <a:tcPr>
                    <a:solidFill>
                      <a:schemeClr val="accent5">
                        <a:lumMod val="20000"/>
                        <a:lumOff val="80000"/>
                      </a:schemeClr>
                    </a:solidFill>
                  </a:tcPr>
                </a:tc>
                <a:tc>
                  <a:txBody>
                    <a:bodyPr/>
                    <a:lstStyle/>
                    <a:p>
                      <a:r>
                        <a:rPr lang="en-US" sz="1400" b="1" dirty="0">
                          <a:latin typeface="Century Gothic" panose="020B0502020202020204" pitchFamily="34" charset="0"/>
                        </a:rPr>
                        <a:t>250</a:t>
                      </a:r>
                    </a:p>
                  </a:txBody>
                  <a:tcPr>
                    <a:solidFill>
                      <a:schemeClr val="accent5">
                        <a:lumMod val="20000"/>
                        <a:lumOff val="80000"/>
                      </a:schemeClr>
                    </a:solidFill>
                  </a:tcPr>
                </a:tc>
                <a:tc>
                  <a:txBody>
                    <a:bodyPr/>
                    <a:lstStyle/>
                    <a:p>
                      <a:r>
                        <a:rPr lang="en-US" sz="1400" b="1" dirty="0">
                          <a:latin typeface="Century Gothic" panose="020B0502020202020204" pitchFamily="34" charset="0"/>
                        </a:rPr>
                        <a:t>320</a:t>
                      </a:r>
                    </a:p>
                  </a:txBody>
                  <a:tcPr>
                    <a:solidFill>
                      <a:schemeClr val="accent5">
                        <a:lumMod val="20000"/>
                        <a:lumOff val="80000"/>
                      </a:schemeClr>
                    </a:solidFill>
                  </a:tcPr>
                </a:tc>
                <a:extLst>
                  <a:ext uri="{0D108BD9-81ED-4DB2-BD59-A6C34878D82A}">
                    <a16:rowId xmlns:a16="http://schemas.microsoft.com/office/drawing/2014/main" val="3018461515"/>
                  </a:ext>
                </a:extLst>
              </a:tr>
              <a:tr h="461581">
                <a:tc>
                  <a:txBody>
                    <a:bodyPr/>
                    <a:lstStyle/>
                    <a:p>
                      <a:r>
                        <a:rPr lang="en-US" sz="1400" b="1" dirty="0">
                          <a:solidFill>
                            <a:schemeClr val="bg1"/>
                          </a:solidFill>
                          <a:latin typeface="Century Gothic" panose="020B0502020202020204" pitchFamily="34" charset="0"/>
                        </a:rPr>
                        <a:t>Fuel</a:t>
                      </a:r>
                      <a:r>
                        <a:rPr lang="en-US" sz="1400" b="1" baseline="0" dirty="0">
                          <a:solidFill>
                            <a:schemeClr val="bg1"/>
                          </a:solidFill>
                          <a:latin typeface="Century Gothic" panose="020B0502020202020204" pitchFamily="34" charset="0"/>
                        </a:rPr>
                        <a:t> pump</a:t>
                      </a:r>
                      <a:endParaRPr lang="en-US" sz="1400" b="1" dirty="0">
                        <a:solidFill>
                          <a:schemeClr val="bg1"/>
                        </a:solidFill>
                        <a:latin typeface="Century Gothic" panose="020B0502020202020204" pitchFamily="34" charset="0"/>
                      </a:endParaRPr>
                    </a:p>
                  </a:txBody>
                  <a:tcPr>
                    <a:solidFill>
                      <a:srgbClr val="4F81BD"/>
                    </a:solidFill>
                  </a:tcPr>
                </a:tc>
                <a:tc>
                  <a:txBody>
                    <a:bodyPr/>
                    <a:lstStyle/>
                    <a:p>
                      <a:r>
                        <a:rPr lang="en-US" sz="1400" dirty="0">
                          <a:latin typeface="Century Gothic" panose="020B0502020202020204" pitchFamily="34" charset="0"/>
                        </a:rPr>
                        <a:t>Delphi</a:t>
                      </a:r>
                    </a:p>
                  </a:txBody>
                  <a:tcPr>
                    <a:solidFill>
                      <a:schemeClr val="accent5">
                        <a:lumMod val="20000"/>
                        <a:lumOff val="80000"/>
                      </a:schemeClr>
                    </a:solidFill>
                  </a:tcPr>
                </a:tc>
                <a:tc>
                  <a:txBody>
                    <a:bodyPr/>
                    <a:lstStyle/>
                    <a:p>
                      <a:r>
                        <a:rPr lang="en-US" sz="1400" dirty="0">
                          <a:latin typeface="Century Gothic" panose="020B0502020202020204" pitchFamily="34" charset="0"/>
                        </a:rPr>
                        <a:t>Bosch</a:t>
                      </a:r>
                    </a:p>
                  </a:txBody>
                  <a:tcPr>
                    <a:solidFill>
                      <a:schemeClr val="accent5">
                        <a:lumMod val="20000"/>
                        <a:lumOff val="80000"/>
                      </a:schemeClr>
                    </a:solidFill>
                  </a:tcPr>
                </a:tc>
                <a:tc>
                  <a:txBody>
                    <a:bodyPr/>
                    <a:lstStyle/>
                    <a:p>
                      <a:r>
                        <a:rPr lang="en-US" sz="1400" dirty="0">
                          <a:latin typeface="Century Gothic" panose="020B0502020202020204" pitchFamily="34" charset="0"/>
                        </a:rPr>
                        <a:t>Denso</a:t>
                      </a:r>
                    </a:p>
                  </a:txBody>
                  <a:tcPr>
                    <a:solidFill>
                      <a:schemeClr val="accent5">
                        <a:lumMod val="20000"/>
                        <a:lumOff val="80000"/>
                      </a:schemeClr>
                    </a:solidFill>
                  </a:tcPr>
                </a:tc>
                <a:tc>
                  <a:txBody>
                    <a:bodyPr/>
                    <a:lstStyle/>
                    <a:p>
                      <a:r>
                        <a:rPr lang="en-US" sz="1400" dirty="0">
                          <a:latin typeface="Century Gothic" panose="020B0502020202020204" pitchFamily="34" charset="0"/>
                        </a:rPr>
                        <a:t>Denso</a:t>
                      </a:r>
                    </a:p>
                  </a:txBody>
                  <a:tcPr>
                    <a:solidFill>
                      <a:schemeClr val="accent5">
                        <a:lumMod val="20000"/>
                        <a:lumOff val="80000"/>
                      </a:schemeClr>
                    </a:solidFill>
                  </a:tcPr>
                </a:tc>
                <a:extLst>
                  <a:ext uri="{0D108BD9-81ED-4DB2-BD59-A6C34878D82A}">
                    <a16:rowId xmlns:a16="http://schemas.microsoft.com/office/drawing/2014/main" val="3001874168"/>
                  </a:ext>
                </a:extLst>
              </a:tr>
              <a:tr h="461581">
                <a:tc>
                  <a:txBody>
                    <a:bodyPr/>
                    <a:lstStyle/>
                    <a:p>
                      <a:r>
                        <a:rPr lang="en-US" sz="1400" b="1" dirty="0">
                          <a:solidFill>
                            <a:schemeClr val="bg1"/>
                          </a:solidFill>
                          <a:latin typeface="Century Gothic" panose="020B0502020202020204" pitchFamily="34" charset="0"/>
                        </a:rPr>
                        <a:t>Pump model</a:t>
                      </a:r>
                    </a:p>
                  </a:txBody>
                  <a:tcPr>
                    <a:solidFill>
                      <a:srgbClr val="4F81BD"/>
                    </a:solidFill>
                  </a:tcPr>
                </a:tc>
                <a:tc>
                  <a:txBody>
                    <a:bodyPr/>
                    <a:lstStyle/>
                    <a:p>
                      <a:r>
                        <a:rPr lang="en-US" sz="1400" dirty="0">
                          <a:latin typeface="Century Gothic" panose="020B0502020202020204" pitchFamily="34" charset="0"/>
                        </a:rPr>
                        <a:t>DUPCTA1.18</a:t>
                      </a:r>
                    </a:p>
                  </a:txBody>
                  <a:tcPr>
                    <a:solidFill>
                      <a:schemeClr val="accent5">
                        <a:lumMod val="20000"/>
                        <a:lumOff val="80000"/>
                      </a:schemeClr>
                    </a:solidFill>
                  </a:tcPr>
                </a:tc>
                <a:tc>
                  <a:txBody>
                    <a:bodyPr/>
                    <a:lstStyle/>
                    <a:p>
                      <a:r>
                        <a:rPr lang="en-US" sz="1400" dirty="0">
                          <a:latin typeface="Century Gothic" panose="020B0502020202020204" pitchFamily="34" charset="0"/>
                        </a:rPr>
                        <a:t>CB28</a:t>
                      </a:r>
                    </a:p>
                  </a:txBody>
                  <a:tcPr>
                    <a:solidFill>
                      <a:schemeClr val="accent5">
                        <a:lumMod val="20000"/>
                        <a:lumOff val="80000"/>
                      </a:schemeClr>
                    </a:solidFill>
                  </a:tcPr>
                </a:tc>
                <a:tc>
                  <a:txBody>
                    <a:bodyPr/>
                    <a:lstStyle/>
                    <a:p>
                      <a:r>
                        <a:rPr lang="en-US" sz="1400" dirty="0">
                          <a:latin typeface="Century Gothic" panose="020B0502020202020204" pitchFamily="34" charset="0"/>
                        </a:rPr>
                        <a:t>HP4 for A4</a:t>
                      </a:r>
                    </a:p>
                    <a:p>
                      <a:r>
                        <a:rPr lang="en-US" sz="1400" dirty="0">
                          <a:latin typeface="Century Gothic" panose="020B0502020202020204" pitchFamily="34" charset="0"/>
                        </a:rPr>
                        <a:t>HP3 for H6</a:t>
                      </a:r>
                    </a:p>
                  </a:txBody>
                  <a:tcPr>
                    <a:solidFill>
                      <a:schemeClr val="accent5">
                        <a:lumMod val="20000"/>
                        <a:lumOff val="80000"/>
                      </a:schemeClr>
                    </a:solidFill>
                  </a:tcPr>
                </a:tc>
                <a:tc>
                  <a:txBody>
                    <a:bodyPr/>
                    <a:lstStyle/>
                    <a:p>
                      <a:r>
                        <a:rPr lang="en-US" sz="1400" dirty="0">
                          <a:latin typeface="Century Gothic" panose="020B0502020202020204" pitchFamily="34" charset="0"/>
                        </a:rPr>
                        <a:t>HP4</a:t>
                      </a:r>
                    </a:p>
                  </a:txBody>
                  <a:tcPr>
                    <a:solidFill>
                      <a:schemeClr val="accent5">
                        <a:lumMod val="20000"/>
                        <a:lumOff val="80000"/>
                      </a:schemeClr>
                    </a:solidFill>
                  </a:tcPr>
                </a:tc>
                <a:extLst>
                  <a:ext uri="{0D108BD9-81ED-4DB2-BD59-A6C34878D82A}">
                    <a16:rowId xmlns:a16="http://schemas.microsoft.com/office/drawing/2014/main" val="1016595093"/>
                  </a:ext>
                </a:extLst>
              </a:tr>
              <a:tr h="302764">
                <a:tc>
                  <a:txBody>
                    <a:bodyPr/>
                    <a:lstStyle/>
                    <a:p>
                      <a:r>
                        <a:rPr lang="en-US" sz="1400" b="1" dirty="0">
                          <a:solidFill>
                            <a:schemeClr val="bg1"/>
                          </a:solidFill>
                          <a:latin typeface="Century Gothic" panose="020B0502020202020204" pitchFamily="34" charset="0"/>
                        </a:rPr>
                        <a:t>Pressure</a:t>
                      </a:r>
                    </a:p>
                  </a:txBody>
                  <a:tcPr>
                    <a:solidFill>
                      <a:srgbClr val="4F81BD"/>
                    </a:solidFill>
                  </a:tcPr>
                </a:tc>
                <a:tc>
                  <a:txBody>
                    <a:bodyPr/>
                    <a:lstStyle/>
                    <a:p>
                      <a:r>
                        <a:rPr lang="en-US" sz="1400" dirty="0">
                          <a:latin typeface="Century Gothic" panose="020B0502020202020204" pitchFamily="34" charset="0"/>
                        </a:rPr>
                        <a:t>1800 bar</a:t>
                      </a:r>
                    </a:p>
                  </a:txBody>
                  <a:tcPr>
                    <a:solidFill>
                      <a:schemeClr val="accent5">
                        <a:lumMod val="20000"/>
                        <a:lumOff val="80000"/>
                      </a:schemeClr>
                    </a:solidFill>
                  </a:tcPr>
                </a:tc>
                <a:tc>
                  <a:txBody>
                    <a:bodyPr/>
                    <a:lstStyle/>
                    <a:p>
                      <a:r>
                        <a:rPr lang="en-US" sz="1400" dirty="0">
                          <a:latin typeface="Century Gothic" panose="020B0502020202020204" pitchFamily="34" charset="0"/>
                        </a:rPr>
                        <a:t>1600 bar</a:t>
                      </a:r>
                    </a:p>
                  </a:txBody>
                  <a:tcPr>
                    <a:solidFill>
                      <a:schemeClr val="accent5">
                        <a:lumMod val="20000"/>
                        <a:lumOff val="80000"/>
                      </a:schemeClr>
                    </a:solidFill>
                  </a:tcPr>
                </a:tc>
                <a:tc>
                  <a:txBody>
                    <a:bodyPr/>
                    <a:lstStyle/>
                    <a:p>
                      <a:r>
                        <a:rPr lang="en-US" sz="1400" dirty="0">
                          <a:latin typeface="Century Gothic" panose="020B0502020202020204" pitchFamily="34" charset="0"/>
                        </a:rPr>
                        <a:t>2000 bar</a:t>
                      </a:r>
                    </a:p>
                  </a:txBody>
                  <a:tcPr>
                    <a:solidFill>
                      <a:schemeClr val="accent5">
                        <a:lumMod val="20000"/>
                        <a:lumOff val="80000"/>
                      </a:schemeClr>
                    </a:solidFill>
                  </a:tcPr>
                </a:tc>
                <a:tc>
                  <a:txBody>
                    <a:bodyPr/>
                    <a:lstStyle/>
                    <a:p>
                      <a:r>
                        <a:rPr lang="en-US" sz="1400" dirty="0">
                          <a:latin typeface="Century Gothic" panose="020B0502020202020204" pitchFamily="34" charset="0"/>
                        </a:rPr>
                        <a:t>2000 bar</a:t>
                      </a:r>
                    </a:p>
                  </a:txBody>
                  <a:tcPr>
                    <a:solidFill>
                      <a:schemeClr val="accent5">
                        <a:lumMod val="20000"/>
                        <a:lumOff val="80000"/>
                      </a:schemeClr>
                    </a:solidFill>
                  </a:tcPr>
                </a:tc>
                <a:extLst>
                  <a:ext uri="{0D108BD9-81ED-4DB2-BD59-A6C34878D82A}">
                    <a16:rowId xmlns:a16="http://schemas.microsoft.com/office/drawing/2014/main" val="2566076273"/>
                  </a:ext>
                </a:extLst>
              </a:tr>
            </a:tbl>
          </a:graphicData>
        </a:graphic>
      </p:graphicFrame>
    </p:spTree>
    <p:extLst>
      <p:ext uri="{BB962C8B-B14F-4D97-AF65-F5344CB8AC3E}">
        <p14:creationId xmlns:p14="http://schemas.microsoft.com/office/powerpoint/2010/main" val="884270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4"/>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ENGINE – CHARACTERISTICS</a:t>
            </a:r>
            <a:endParaRPr lang="en-US" sz="3733" b="1" dirty="0">
              <a:solidFill>
                <a:prstClr val="black"/>
              </a:solidFill>
              <a:latin typeface="Century Gothic" panose="020B0502020202020204" pitchFamily="34" charset="0"/>
            </a:endParaRPr>
          </a:p>
        </p:txBody>
      </p:sp>
      <p:sp>
        <p:nvSpPr>
          <p:cNvPr id="3" name="Rectangle 2"/>
          <p:cNvSpPr/>
          <p:nvPr/>
        </p:nvSpPr>
        <p:spPr>
          <a:xfrm>
            <a:off x="220035" y="1568115"/>
            <a:ext cx="5592552" cy="1962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80990" indent="-380990" defTabSz="1219170">
              <a:buFont typeface="Wingdings" panose="05000000000000000000" pitchFamily="2" charset="2"/>
              <a:buChar char="§"/>
            </a:pPr>
            <a:r>
              <a:rPr lang="en-US" sz="1600" dirty="0">
                <a:solidFill>
                  <a:prstClr val="black"/>
                </a:solidFill>
                <a:latin typeface="Century Gothic" panose="020B0502020202020204" pitchFamily="34" charset="0"/>
              </a:rPr>
              <a:t>Power is work done per unit</a:t>
            </a:r>
          </a:p>
          <a:p>
            <a:pPr marL="380990" indent="-380990" defTabSz="1219170">
              <a:buFont typeface="Wingdings" panose="05000000000000000000" pitchFamily="2" charset="2"/>
              <a:buChar char="§"/>
            </a:pPr>
            <a:r>
              <a:rPr lang="en-US" sz="1600" dirty="0">
                <a:solidFill>
                  <a:prstClr val="black"/>
                </a:solidFill>
                <a:latin typeface="Century Gothic" panose="020B0502020202020204" pitchFamily="34" charset="0"/>
              </a:rPr>
              <a:t>BHP (Brake horse power) is the unit of measuring engine power</a:t>
            </a:r>
          </a:p>
          <a:p>
            <a:pPr marL="380990" indent="-380990" defTabSz="1219170">
              <a:buFont typeface="Wingdings" panose="05000000000000000000" pitchFamily="2" charset="2"/>
              <a:buChar char="§"/>
            </a:pPr>
            <a:endParaRPr lang="en-US" sz="1600" dirty="0">
              <a:solidFill>
                <a:prstClr val="black"/>
              </a:solidFill>
              <a:latin typeface="Century Gothic" panose="020B0502020202020204" pitchFamily="34" charset="0"/>
            </a:endParaRPr>
          </a:p>
          <a:p>
            <a:pPr defTabSz="1219170"/>
            <a:r>
              <a:rPr lang="en-US" sz="1600" b="1" dirty="0">
                <a:solidFill>
                  <a:prstClr val="black"/>
                </a:solidFill>
                <a:latin typeface="Century Gothic" panose="020B0502020202020204" pitchFamily="34" charset="0"/>
              </a:rPr>
              <a:t>ADVANTAGE</a:t>
            </a:r>
            <a:r>
              <a:rPr lang="en-US" sz="1600" dirty="0">
                <a:solidFill>
                  <a:prstClr val="black"/>
                </a:solidFill>
                <a:latin typeface="Century Gothic" panose="020B0502020202020204" pitchFamily="34" charset="0"/>
              </a:rPr>
              <a:t>  - Higher the BHP, the more powerful an engine is</a:t>
            </a:r>
          </a:p>
        </p:txBody>
      </p:sp>
      <p:sp>
        <p:nvSpPr>
          <p:cNvPr id="7" name="Rectangle 6"/>
          <p:cNvSpPr/>
          <p:nvPr/>
        </p:nvSpPr>
        <p:spPr>
          <a:xfrm>
            <a:off x="220035" y="1076138"/>
            <a:ext cx="5592552"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POWER - BHP</a:t>
            </a:r>
          </a:p>
        </p:txBody>
      </p:sp>
      <p:sp>
        <p:nvSpPr>
          <p:cNvPr id="8" name="Rectangle 7"/>
          <p:cNvSpPr/>
          <p:nvPr/>
        </p:nvSpPr>
        <p:spPr>
          <a:xfrm>
            <a:off x="220035" y="4445000"/>
            <a:ext cx="5592552" cy="1962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594" indent="-228594" defTabSz="1219170">
              <a:buFont typeface="Wingdings" panose="05000000000000000000" pitchFamily="2" charset="2"/>
              <a:buChar char="§"/>
            </a:pPr>
            <a:r>
              <a:rPr lang="en-US" sz="1600" dirty="0">
                <a:solidFill>
                  <a:prstClr val="black"/>
                </a:solidFill>
                <a:latin typeface="Century Gothic" panose="020B0502020202020204" pitchFamily="34" charset="0"/>
              </a:rPr>
              <a:t>A twisting force is defined as torque</a:t>
            </a:r>
          </a:p>
          <a:p>
            <a:pPr marL="228594" indent="-228594" defTabSz="1219170">
              <a:buFont typeface="Wingdings" panose="05000000000000000000" pitchFamily="2" charset="2"/>
              <a:buChar char="§"/>
            </a:pPr>
            <a:r>
              <a:rPr lang="en-US" sz="1600" dirty="0">
                <a:solidFill>
                  <a:prstClr val="black"/>
                </a:solidFill>
                <a:latin typeface="Century Gothic" panose="020B0502020202020204" pitchFamily="34" charset="0"/>
              </a:rPr>
              <a:t>Torque= force x radial distance</a:t>
            </a:r>
          </a:p>
          <a:p>
            <a:pPr marL="228594" indent="-228594" defTabSz="1219170">
              <a:buFont typeface="Wingdings" panose="05000000000000000000" pitchFamily="2" charset="2"/>
              <a:buChar char="§"/>
            </a:pPr>
            <a:endParaRPr lang="en-US" sz="1600" dirty="0">
              <a:solidFill>
                <a:prstClr val="black"/>
              </a:solidFill>
              <a:latin typeface="Century Gothic" panose="020B0502020202020204" pitchFamily="34" charset="0"/>
            </a:endParaRPr>
          </a:p>
          <a:p>
            <a:pPr defTabSz="1219170"/>
            <a:r>
              <a:rPr lang="en-US" sz="1600" b="1" dirty="0">
                <a:solidFill>
                  <a:prstClr val="black"/>
                </a:solidFill>
                <a:latin typeface="Century Gothic" panose="020B0502020202020204" pitchFamily="34" charset="0"/>
              </a:rPr>
              <a:t>ADVANTAGE – </a:t>
            </a:r>
            <a:r>
              <a:rPr lang="en-US" sz="1600" dirty="0">
                <a:solidFill>
                  <a:prstClr val="black"/>
                </a:solidFill>
                <a:latin typeface="Century Gothic" panose="020B0502020202020204" pitchFamily="34" charset="0"/>
              </a:rPr>
              <a:t>Faster pick up, lesser gearshift,</a:t>
            </a:r>
          </a:p>
          <a:p>
            <a:pPr defTabSz="1219170"/>
            <a:r>
              <a:rPr lang="en-US" sz="1600" dirty="0">
                <a:solidFill>
                  <a:prstClr val="black"/>
                </a:solidFill>
                <a:latin typeface="Century Gothic" panose="020B0502020202020204" pitchFamily="34" charset="0"/>
              </a:rPr>
              <a:t>better fuel economy, less maintenance cost</a:t>
            </a:r>
          </a:p>
        </p:txBody>
      </p:sp>
      <p:sp>
        <p:nvSpPr>
          <p:cNvPr id="10" name="Rectangle 9"/>
          <p:cNvSpPr/>
          <p:nvPr/>
        </p:nvSpPr>
        <p:spPr>
          <a:xfrm>
            <a:off x="220035" y="3953023"/>
            <a:ext cx="5592552"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TORQUE</a:t>
            </a:r>
          </a:p>
        </p:txBody>
      </p:sp>
      <p:sp>
        <p:nvSpPr>
          <p:cNvPr id="11" name="Rectangle 10"/>
          <p:cNvSpPr/>
          <p:nvPr/>
        </p:nvSpPr>
        <p:spPr>
          <a:xfrm>
            <a:off x="6369244" y="1568115"/>
            <a:ext cx="5592552" cy="1962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594" indent="-228594" defTabSz="1219170">
              <a:buFont typeface="Wingdings" panose="05000000000000000000" pitchFamily="2" charset="2"/>
              <a:buChar char="§"/>
            </a:pPr>
            <a:r>
              <a:rPr lang="en-US" sz="1600" dirty="0">
                <a:solidFill>
                  <a:prstClr val="black"/>
                </a:solidFill>
                <a:latin typeface="Century Gothic" panose="020B0502020202020204" pitchFamily="34" charset="0"/>
              </a:rPr>
              <a:t>Engine capacity is defined by</a:t>
            </a:r>
          </a:p>
          <a:p>
            <a:pPr defTabSz="1219170"/>
            <a:r>
              <a:rPr lang="en-US" sz="1600" dirty="0">
                <a:solidFill>
                  <a:prstClr val="black"/>
                </a:solidFill>
                <a:latin typeface="Century Gothic" panose="020B0502020202020204" pitchFamily="34" charset="0"/>
              </a:rPr>
              <a:t>volume of one cylinder x No of cylinder</a:t>
            </a:r>
          </a:p>
          <a:p>
            <a:pPr defTabSz="1219170"/>
            <a:endParaRPr lang="en-US" sz="1600" dirty="0">
              <a:solidFill>
                <a:prstClr val="black"/>
              </a:solidFill>
              <a:latin typeface="Century Gothic" panose="020B0502020202020204" pitchFamily="34" charset="0"/>
            </a:endParaRPr>
          </a:p>
          <a:p>
            <a:pPr defTabSz="1219170"/>
            <a:r>
              <a:rPr lang="en-US" sz="1600" b="1" dirty="0">
                <a:solidFill>
                  <a:prstClr val="black"/>
                </a:solidFill>
                <a:latin typeface="Century Gothic" panose="020B0502020202020204" pitchFamily="34" charset="0"/>
              </a:rPr>
              <a:t>ADVANTAGE – </a:t>
            </a:r>
            <a:r>
              <a:rPr lang="en-US" sz="1600" dirty="0">
                <a:solidFill>
                  <a:prstClr val="black"/>
                </a:solidFill>
                <a:latin typeface="Century Gothic" panose="020B0502020202020204" pitchFamily="34" charset="0"/>
              </a:rPr>
              <a:t>Higher engine capacity</a:t>
            </a:r>
          </a:p>
          <a:p>
            <a:pPr defTabSz="1219170"/>
            <a:r>
              <a:rPr lang="en-US" sz="1600" dirty="0">
                <a:solidFill>
                  <a:prstClr val="black"/>
                </a:solidFill>
                <a:latin typeface="Century Gothic" panose="020B0502020202020204" pitchFamily="34" charset="0"/>
              </a:rPr>
              <a:t>increases engine life, more power</a:t>
            </a:r>
          </a:p>
          <a:p>
            <a:pPr defTabSz="1219170"/>
            <a:r>
              <a:rPr lang="en-US" sz="1600" dirty="0">
                <a:solidFill>
                  <a:prstClr val="black"/>
                </a:solidFill>
                <a:latin typeface="Century Gothic" panose="020B0502020202020204" pitchFamily="34" charset="0"/>
              </a:rPr>
              <a:t>&amp; better performance </a:t>
            </a:r>
          </a:p>
        </p:txBody>
      </p:sp>
      <p:sp>
        <p:nvSpPr>
          <p:cNvPr id="12" name="Rectangle 11"/>
          <p:cNvSpPr/>
          <p:nvPr/>
        </p:nvSpPr>
        <p:spPr>
          <a:xfrm>
            <a:off x="6369244" y="1076138"/>
            <a:ext cx="5592552"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ENGINE CAPACITY</a:t>
            </a:r>
          </a:p>
        </p:txBody>
      </p:sp>
      <p:sp>
        <p:nvSpPr>
          <p:cNvPr id="13" name="Rectangle 12"/>
          <p:cNvSpPr/>
          <p:nvPr/>
        </p:nvSpPr>
        <p:spPr>
          <a:xfrm>
            <a:off x="6369244" y="4445000"/>
            <a:ext cx="5592552" cy="1962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594" indent="-228594" defTabSz="1219170">
              <a:buFont typeface="Wingdings" panose="05000000000000000000" pitchFamily="2" charset="2"/>
              <a:buChar char="§"/>
            </a:pPr>
            <a:r>
              <a:rPr lang="en-US" sz="1600" dirty="0">
                <a:solidFill>
                  <a:prstClr val="black"/>
                </a:solidFill>
                <a:latin typeface="Century Gothic" panose="020B0502020202020204" pitchFamily="34" charset="0"/>
              </a:rPr>
              <a:t>Compression ratio compares the</a:t>
            </a:r>
          </a:p>
          <a:p>
            <a:pPr defTabSz="1219170"/>
            <a:r>
              <a:rPr lang="en-US" sz="1600" dirty="0">
                <a:solidFill>
                  <a:prstClr val="black"/>
                </a:solidFill>
                <a:latin typeface="Century Gothic" panose="020B0502020202020204" pitchFamily="34" charset="0"/>
              </a:rPr>
              <a:t>volume of cylinder before compression</a:t>
            </a:r>
          </a:p>
          <a:p>
            <a:pPr defTabSz="1219170"/>
            <a:r>
              <a:rPr lang="en-US" sz="1600" dirty="0">
                <a:solidFill>
                  <a:prstClr val="black"/>
                </a:solidFill>
                <a:latin typeface="Century Gothic" panose="020B0502020202020204" pitchFamily="34" charset="0"/>
              </a:rPr>
              <a:t>with volume of air after compression</a:t>
            </a:r>
          </a:p>
        </p:txBody>
      </p:sp>
      <p:sp>
        <p:nvSpPr>
          <p:cNvPr id="14" name="Rectangle 13"/>
          <p:cNvSpPr/>
          <p:nvPr/>
        </p:nvSpPr>
        <p:spPr>
          <a:xfrm>
            <a:off x="6369244" y="3953023"/>
            <a:ext cx="5592552"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COMPRESSION RATIO</a:t>
            </a:r>
          </a:p>
        </p:txBody>
      </p:sp>
      <p:pic>
        <p:nvPicPr>
          <p:cNvPr id="3074" name="Picture 2" descr="Image result for torqu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0800000">
            <a:off x="4841763" y="4614180"/>
            <a:ext cx="890253" cy="89025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Image result for torque icon"/>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rot="13365637">
            <a:off x="4716495" y="4298396"/>
            <a:ext cx="890253" cy="890253"/>
          </a:xfrm>
          <a:prstGeom prst="rect">
            <a:avLst/>
          </a:prstGeom>
          <a:noFill/>
          <a:extLst>
            <a:ext uri="{909E8E84-426E-40DD-AFC4-6F175D3DCCD1}">
              <a14:hiddenFill xmlns:a14="http://schemas.microsoft.com/office/drawing/2010/main">
                <a:solidFill>
                  <a:srgbClr val="FFFFFF"/>
                </a:solidFill>
              </a14:hiddenFill>
            </a:ext>
          </a:extLst>
        </p:spPr>
      </p:pic>
      <p:sp>
        <p:nvSpPr>
          <p:cNvPr id="15" name="Arrow: Curved Down 14"/>
          <p:cNvSpPr/>
          <p:nvPr/>
        </p:nvSpPr>
        <p:spPr>
          <a:xfrm rot="19224061" flipH="1">
            <a:off x="4703963" y="4612273"/>
            <a:ext cx="915315" cy="455012"/>
          </a:xfrm>
          <a:prstGeom prst="curvedDownArrow">
            <a:avLst/>
          </a:prstGeom>
          <a:solidFill>
            <a:srgbClr val="E61A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black"/>
              </a:solidFill>
              <a:latin typeface="Calibri"/>
            </a:endParaRPr>
          </a:p>
        </p:txBody>
      </p:sp>
      <p:grpSp>
        <p:nvGrpSpPr>
          <p:cNvPr id="18" name="Group 17"/>
          <p:cNvGrpSpPr/>
          <p:nvPr/>
        </p:nvGrpSpPr>
        <p:grpSpPr>
          <a:xfrm>
            <a:off x="10363202" y="1682694"/>
            <a:ext cx="1464621" cy="1733327"/>
            <a:chOff x="6781800" y="1633537"/>
            <a:chExt cx="1752600" cy="4495801"/>
          </a:xfrm>
        </p:grpSpPr>
        <p:grpSp>
          <p:nvGrpSpPr>
            <p:cNvPr id="19" name="Group 22"/>
            <p:cNvGrpSpPr>
              <a:grpSpLocks/>
            </p:cNvGrpSpPr>
            <p:nvPr/>
          </p:nvGrpSpPr>
          <p:grpSpPr bwMode="auto">
            <a:xfrm>
              <a:off x="6781800" y="1633537"/>
              <a:ext cx="1295400" cy="3962400"/>
              <a:chOff x="469" y="1008"/>
              <a:chExt cx="816" cy="2496"/>
            </a:xfrm>
          </p:grpSpPr>
          <p:sp>
            <p:nvSpPr>
              <p:cNvPr id="34" name="Rectangle 23"/>
              <p:cNvSpPr>
                <a:spLocks noChangeArrowheads="1"/>
              </p:cNvSpPr>
              <p:nvPr/>
            </p:nvSpPr>
            <p:spPr bwMode="auto">
              <a:xfrm>
                <a:off x="469" y="1344"/>
                <a:ext cx="816" cy="1296"/>
              </a:xfrm>
              <a:prstGeom prst="rect">
                <a:avLst/>
              </a:prstGeom>
              <a:noFill/>
              <a:ln w="9525">
                <a:solidFill>
                  <a:schemeClr val="tx1"/>
                </a:solidFill>
                <a:miter lim="800000"/>
                <a:headEnd/>
                <a:tailEnd/>
              </a:ln>
            </p:spPr>
            <p:txBody>
              <a:bodyPr wrap="none" anchor="ctr"/>
              <a:lstStyle/>
              <a:p>
                <a:pPr defTabSz="914377"/>
                <a:endParaRPr lang="en-US">
                  <a:solidFill>
                    <a:srgbClr val="000000"/>
                  </a:solidFill>
                  <a:latin typeface="Arial"/>
                </a:endParaRPr>
              </a:p>
            </p:txBody>
          </p:sp>
          <p:sp>
            <p:nvSpPr>
              <p:cNvPr id="35" name="Oval 24"/>
              <p:cNvSpPr>
                <a:spLocks noChangeArrowheads="1"/>
              </p:cNvSpPr>
              <p:nvPr/>
            </p:nvSpPr>
            <p:spPr bwMode="auto">
              <a:xfrm>
                <a:off x="624" y="3024"/>
                <a:ext cx="480" cy="480"/>
              </a:xfrm>
              <a:prstGeom prst="ellipse">
                <a:avLst/>
              </a:prstGeom>
              <a:solidFill>
                <a:srgbClr val="3399FF"/>
              </a:solidFill>
              <a:ln w="9525">
                <a:solidFill>
                  <a:schemeClr val="tx1"/>
                </a:solidFill>
                <a:round/>
                <a:headEnd/>
                <a:tailEnd/>
              </a:ln>
            </p:spPr>
            <p:txBody>
              <a:bodyPr wrap="none" anchor="ctr"/>
              <a:lstStyle/>
              <a:p>
                <a:pPr defTabSz="914377"/>
                <a:endParaRPr lang="en-US">
                  <a:solidFill>
                    <a:srgbClr val="000000"/>
                  </a:solidFill>
                  <a:latin typeface="Arial"/>
                </a:endParaRPr>
              </a:p>
            </p:txBody>
          </p:sp>
          <p:sp>
            <p:nvSpPr>
              <p:cNvPr id="36" name="AutoShape 25"/>
              <p:cNvSpPr>
                <a:spLocks noChangeArrowheads="1"/>
              </p:cNvSpPr>
              <p:nvPr/>
            </p:nvSpPr>
            <p:spPr bwMode="auto">
              <a:xfrm>
                <a:off x="831" y="1008"/>
                <a:ext cx="70" cy="384"/>
              </a:xfrm>
              <a:custGeom>
                <a:avLst/>
                <a:gdLst>
                  <a:gd name="T0" fmla="*/ 61 w 21600"/>
                  <a:gd name="T1" fmla="*/ 192 h 21600"/>
                  <a:gd name="T2" fmla="*/ 35 w 21600"/>
                  <a:gd name="T3" fmla="*/ 384 h 21600"/>
                  <a:gd name="T4" fmla="*/ 9 w 21600"/>
                  <a:gd name="T5" fmla="*/ 192 h 21600"/>
                  <a:gd name="T6" fmla="*/ 35 w 21600"/>
                  <a:gd name="T7" fmla="*/ 0 h 21600"/>
                  <a:gd name="T8" fmla="*/ 0 60000 65536"/>
                  <a:gd name="T9" fmla="*/ 0 60000 65536"/>
                  <a:gd name="T10" fmla="*/ 0 60000 65536"/>
                  <a:gd name="T11" fmla="*/ 0 60000 65536"/>
                  <a:gd name="T12" fmla="*/ 4629 w 21600"/>
                  <a:gd name="T13" fmla="*/ 4500 h 21600"/>
                  <a:gd name="T14" fmla="*/ 16971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00FFFF"/>
              </a:solidFill>
              <a:ln w="9525">
                <a:solidFill>
                  <a:schemeClr val="tx1"/>
                </a:solidFill>
                <a:miter lim="800000"/>
                <a:headEnd/>
                <a:tailEnd/>
              </a:ln>
            </p:spPr>
            <p:txBody>
              <a:bodyPr wrap="none" anchor="ctr"/>
              <a:lstStyle/>
              <a:p>
                <a:pPr defTabSz="914377"/>
                <a:endParaRPr lang="en-US">
                  <a:solidFill>
                    <a:srgbClr val="000000"/>
                  </a:solidFill>
                  <a:latin typeface="Arial"/>
                </a:endParaRPr>
              </a:p>
            </p:txBody>
          </p:sp>
        </p:grpSp>
        <p:grpSp>
          <p:nvGrpSpPr>
            <p:cNvPr id="20" name="Group 26"/>
            <p:cNvGrpSpPr>
              <a:grpSpLocks/>
            </p:cNvGrpSpPr>
            <p:nvPr/>
          </p:nvGrpSpPr>
          <p:grpSpPr bwMode="auto">
            <a:xfrm>
              <a:off x="6851650" y="1785937"/>
              <a:ext cx="457200" cy="381000"/>
              <a:chOff x="2352" y="2340"/>
              <a:chExt cx="1488" cy="1404"/>
            </a:xfrm>
          </p:grpSpPr>
          <p:sp>
            <p:nvSpPr>
              <p:cNvPr id="31" name="AutoShape 27"/>
              <p:cNvSpPr>
                <a:spLocks noChangeArrowheads="1"/>
              </p:cNvSpPr>
              <p:nvPr/>
            </p:nvSpPr>
            <p:spPr bwMode="auto">
              <a:xfrm>
                <a:off x="2352" y="3456"/>
                <a:ext cx="1488" cy="144"/>
              </a:xfrm>
              <a:prstGeom prst="triangle">
                <a:avLst>
                  <a:gd name="adj" fmla="val 50000"/>
                </a:avLst>
              </a:prstGeom>
              <a:solidFill>
                <a:srgbClr val="3399FF"/>
              </a:solidFill>
              <a:ln w="9525">
                <a:solidFill>
                  <a:schemeClr val="tx1"/>
                </a:solidFill>
                <a:miter lim="800000"/>
                <a:headEnd/>
                <a:tailEnd/>
              </a:ln>
            </p:spPr>
            <p:txBody>
              <a:bodyPr wrap="none" anchor="ctr"/>
              <a:lstStyle/>
              <a:p>
                <a:pPr defTabSz="914377"/>
                <a:endParaRPr lang="en-US">
                  <a:solidFill>
                    <a:srgbClr val="000000"/>
                  </a:solidFill>
                  <a:latin typeface="Arial"/>
                </a:endParaRPr>
              </a:p>
            </p:txBody>
          </p:sp>
          <p:sp>
            <p:nvSpPr>
              <p:cNvPr id="32" name="Rectangle 28"/>
              <p:cNvSpPr>
                <a:spLocks noChangeArrowheads="1"/>
              </p:cNvSpPr>
              <p:nvPr/>
            </p:nvSpPr>
            <p:spPr bwMode="auto">
              <a:xfrm>
                <a:off x="2961" y="2340"/>
                <a:ext cx="240" cy="1248"/>
              </a:xfrm>
              <a:prstGeom prst="rect">
                <a:avLst/>
              </a:prstGeom>
              <a:solidFill>
                <a:srgbClr val="3399FF"/>
              </a:solidFill>
              <a:ln w="9525">
                <a:solidFill>
                  <a:schemeClr val="tx1"/>
                </a:solidFill>
                <a:miter lim="800000"/>
                <a:headEnd/>
                <a:tailEnd/>
              </a:ln>
            </p:spPr>
            <p:txBody>
              <a:bodyPr wrap="none" anchor="ctr"/>
              <a:lstStyle/>
              <a:p>
                <a:pPr defTabSz="914377"/>
                <a:endParaRPr lang="en-US">
                  <a:solidFill>
                    <a:srgbClr val="000000"/>
                  </a:solidFill>
                  <a:latin typeface="Arial"/>
                </a:endParaRPr>
              </a:p>
            </p:txBody>
          </p:sp>
          <p:sp>
            <p:nvSpPr>
              <p:cNvPr id="33" name="Rectangle 29"/>
              <p:cNvSpPr>
                <a:spLocks noChangeArrowheads="1"/>
              </p:cNvSpPr>
              <p:nvPr/>
            </p:nvSpPr>
            <p:spPr bwMode="auto">
              <a:xfrm>
                <a:off x="2352" y="3600"/>
                <a:ext cx="1440" cy="144"/>
              </a:xfrm>
              <a:prstGeom prst="rect">
                <a:avLst/>
              </a:prstGeom>
              <a:solidFill>
                <a:srgbClr val="3399FF"/>
              </a:solidFill>
              <a:ln w="9525">
                <a:solidFill>
                  <a:schemeClr val="tx1"/>
                </a:solidFill>
                <a:miter lim="800000"/>
                <a:headEnd/>
                <a:tailEnd/>
              </a:ln>
            </p:spPr>
            <p:txBody>
              <a:bodyPr wrap="none" anchor="ctr"/>
              <a:lstStyle/>
              <a:p>
                <a:pPr defTabSz="914377"/>
                <a:endParaRPr lang="en-US">
                  <a:solidFill>
                    <a:srgbClr val="000000"/>
                  </a:solidFill>
                  <a:latin typeface="Arial"/>
                </a:endParaRPr>
              </a:p>
            </p:txBody>
          </p:sp>
        </p:grpSp>
        <p:grpSp>
          <p:nvGrpSpPr>
            <p:cNvPr id="21" name="Group 30"/>
            <p:cNvGrpSpPr>
              <a:grpSpLocks/>
            </p:cNvGrpSpPr>
            <p:nvPr/>
          </p:nvGrpSpPr>
          <p:grpSpPr bwMode="auto">
            <a:xfrm>
              <a:off x="7543800" y="1785937"/>
              <a:ext cx="457200" cy="381000"/>
              <a:chOff x="2352" y="2340"/>
              <a:chExt cx="1488" cy="1404"/>
            </a:xfrm>
          </p:grpSpPr>
          <p:sp>
            <p:nvSpPr>
              <p:cNvPr id="28" name="AutoShape 31"/>
              <p:cNvSpPr>
                <a:spLocks noChangeArrowheads="1"/>
              </p:cNvSpPr>
              <p:nvPr/>
            </p:nvSpPr>
            <p:spPr bwMode="auto">
              <a:xfrm>
                <a:off x="2352" y="3456"/>
                <a:ext cx="1488" cy="144"/>
              </a:xfrm>
              <a:prstGeom prst="triangle">
                <a:avLst>
                  <a:gd name="adj" fmla="val 50000"/>
                </a:avLst>
              </a:prstGeom>
              <a:solidFill>
                <a:srgbClr val="000066"/>
              </a:solidFill>
              <a:ln w="9525">
                <a:solidFill>
                  <a:schemeClr val="tx1"/>
                </a:solidFill>
                <a:miter lim="800000"/>
                <a:headEnd/>
                <a:tailEnd/>
              </a:ln>
            </p:spPr>
            <p:txBody>
              <a:bodyPr wrap="none" anchor="ctr"/>
              <a:lstStyle/>
              <a:p>
                <a:pPr defTabSz="914377"/>
                <a:endParaRPr lang="en-US">
                  <a:solidFill>
                    <a:srgbClr val="000000"/>
                  </a:solidFill>
                  <a:latin typeface="Arial"/>
                </a:endParaRPr>
              </a:p>
            </p:txBody>
          </p:sp>
          <p:sp>
            <p:nvSpPr>
              <p:cNvPr id="29" name="Rectangle 32"/>
              <p:cNvSpPr>
                <a:spLocks noChangeArrowheads="1"/>
              </p:cNvSpPr>
              <p:nvPr/>
            </p:nvSpPr>
            <p:spPr bwMode="auto">
              <a:xfrm>
                <a:off x="2961" y="2340"/>
                <a:ext cx="240" cy="1248"/>
              </a:xfrm>
              <a:prstGeom prst="rect">
                <a:avLst/>
              </a:prstGeom>
              <a:solidFill>
                <a:srgbClr val="000066"/>
              </a:solidFill>
              <a:ln w="9525">
                <a:solidFill>
                  <a:schemeClr val="tx1"/>
                </a:solidFill>
                <a:miter lim="800000"/>
                <a:headEnd/>
                <a:tailEnd/>
              </a:ln>
            </p:spPr>
            <p:txBody>
              <a:bodyPr wrap="none" anchor="ctr"/>
              <a:lstStyle/>
              <a:p>
                <a:pPr defTabSz="914377"/>
                <a:endParaRPr lang="en-US">
                  <a:solidFill>
                    <a:srgbClr val="000000"/>
                  </a:solidFill>
                  <a:latin typeface="Arial"/>
                </a:endParaRPr>
              </a:p>
            </p:txBody>
          </p:sp>
          <p:sp>
            <p:nvSpPr>
              <p:cNvPr id="30" name="Rectangle 33"/>
              <p:cNvSpPr>
                <a:spLocks noChangeArrowheads="1"/>
              </p:cNvSpPr>
              <p:nvPr/>
            </p:nvSpPr>
            <p:spPr bwMode="auto">
              <a:xfrm>
                <a:off x="2352" y="3600"/>
                <a:ext cx="1440" cy="144"/>
              </a:xfrm>
              <a:prstGeom prst="rect">
                <a:avLst/>
              </a:prstGeom>
              <a:solidFill>
                <a:srgbClr val="000066"/>
              </a:solidFill>
              <a:ln w="9525">
                <a:solidFill>
                  <a:schemeClr val="tx1"/>
                </a:solidFill>
                <a:miter lim="800000"/>
                <a:headEnd/>
                <a:tailEnd/>
              </a:ln>
            </p:spPr>
            <p:txBody>
              <a:bodyPr wrap="none" anchor="ctr"/>
              <a:lstStyle/>
              <a:p>
                <a:pPr defTabSz="914377"/>
                <a:endParaRPr lang="en-US">
                  <a:solidFill>
                    <a:srgbClr val="000000"/>
                  </a:solidFill>
                  <a:latin typeface="Arial"/>
                </a:endParaRPr>
              </a:p>
            </p:txBody>
          </p:sp>
        </p:grpSp>
        <p:sp>
          <p:nvSpPr>
            <p:cNvPr id="22" name="AutoShape 34"/>
            <p:cNvSpPr>
              <a:spLocks noChangeArrowheads="1"/>
            </p:cNvSpPr>
            <p:nvPr/>
          </p:nvSpPr>
          <p:spPr bwMode="auto">
            <a:xfrm rot="10841050" flipH="1">
              <a:off x="7315201" y="3790950"/>
              <a:ext cx="233363" cy="2011362"/>
            </a:xfrm>
            <a:custGeom>
              <a:avLst/>
              <a:gdLst>
                <a:gd name="T0" fmla="*/ 204193 w 21600"/>
                <a:gd name="T1" fmla="*/ 1005681 h 21600"/>
                <a:gd name="T2" fmla="*/ 116682 w 21600"/>
                <a:gd name="T3" fmla="*/ 2011362 h 21600"/>
                <a:gd name="T4" fmla="*/ 29170 w 21600"/>
                <a:gd name="T5" fmla="*/ 1005681 h 21600"/>
                <a:gd name="T6" fmla="*/ 116682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gradFill rotWithShape="0">
              <a:gsLst>
                <a:gs pos="0">
                  <a:srgbClr val="000066"/>
                </a:gs>
                <a:gs pos="50000">
                  <a:srgbClr val="FFFFFF"/>
                </a:gs>
                <a:gs pos="100000">
                  <a:srgbClr val="000066"/>
                </a:gs>
              </a:gsLst>
              <a:lin ang="0" scaled="1"/>
            </a:gradFill>
            <a:ln w="9525">
              <a:solidFill>
                <a:schemeClr val="tx1"/>
              </a:solidFill>
              <a:miter lim="800000"/>
              <a:headEnd/>
              <a:tailEnd/>
            </a:ln>
          </p:spPr>
          <p:txBody>
            <a:bodyPr wrap="none" anchor="ctr"/>
            <a:lstStyle/>
            <a:p>
              <a:pPr defTabSz="914377"/>
              <a:endParaRPr lang="en-US">
                <a:solidFill>
                  <a:srgbClr val="000000"/>
                </a:solidFill>
                <a:latin typeface="Arial"/>
              </a:endParaRPr>
            </a:p>
          </p:txBody>
        </p:sp>
        <p:sp>
          <p:nvSpPr>
            <p:cNvPr id="23" name="Oval 35"/>
            <p:cNvSpPr>
              <a:spLocks noChangeArrowheads="1"/>
            </p:cNvSpPr>
            <p:nvPr/>
          </p:nvSpPr>
          <p:spPr bwMode="auto">
            <a:xfrm>
              <a:off x="7239000" y="5519737"/>
              <a:ext cx="381000" cy="381000"/>
            </a:xfrm>
            <a:prstGeom prst="ellipse">
              <a:avLst/>
            </a:prstGeom>
            <a:solidFill>
              <a:srgbClr val="3399FF"/>
            </a:solidFill>
            <a:ln w="9525">
              <a:solidFill>
                <a:schemeClr val="tx1"/>
              </a:solidFill>
              <a:round/>
              <a:headEnd/>
              <a:tailEnd/>
            </a:ln>
          </p:spPr>
          <p:txBody>
            <a:bodyPr wrap="none" anchor="ctr"/>
            <a:lstStyle/>
            <a:p>
              <a:pPr defTabSz="914377"/>
              <a:endParaRPr lang="en-US">
                <a:solidFill>
                  <a:srgbClr val="000000"/>
                </a:solidFill>
                <a:latin typeface="Arial"/>
              </a:endParaRPr>
            </a:p>
          </p:txBody>
        </p:sp>
        <p:sp>
          <p:nvSpPr>
            <p:cNvPr id="24" name="Rectangle 36"/>
            <p:cNvSpPr>
              <a:spLocks noChangeArrowheads="1"/>
            </p:cNvSpPr>
            <p:nvPr/>
          </p:nvSpPr>
          <p:spPr bwMode="auto">
            <a:xfrm>
              <a:off x="6799264" y="2162175"/>
              <a:ext cx="1277937" cy="995362"/>
            </a:xfrm>
            <a:prstGeom prst="rect">
              <a:avLst/>
            </a:prstGeom>
            <a:solidFill>
              <a:srgbClr val="CCCCFF"/>
            </a:solidFill>
            <a:ln w="9525">
              <a:solidFill>
                <a:schemeClr val="tx1"/>
              </a:solidFill>
              <a:miter lim="800000"/>
              <a:headEnd/>
              <a:tailEnd/>
            </a:ln>
          </p:spPr>
          <p:txBody>
            <a:bodyPr wrap="none" anchor="ctr"/>
            <a:lstStyle/>
            <a:p>
              <a:pPr algn="ctr" defTabSz="914377"/>
              <a:r>
                <a:rPr lang="en-US" sz="1600" dirty="0">
                  <a:solidFill>
                    <a:srgbClr val="000066"/>
                  </a:solidFill>
                  <a:latin typeface="Century Gothic" panose="020B0502020202020204" pitchFamily="34" charset="0"/>
                </a:rPr>
                <a:t>volume</a:t>
              </a:r>
            </a:p>
          </p:txBody>
        </p:sp>
        <p:sp>
          <p:nvSpPr>
            <p:cNvPr id="25" name="AutoShape 37"/>
            <p:cNvSpPr>
              <a:spLocks noChangeArrowheads="1"/>
            </p:cNvSpPr>
            <p:nvPr/>
          </p:nvSpPr>
          <p:spPr bwMode="auto">
            <a:xfrm rot="5400000">
              <a:off x="7277100" y="5634038"/>
              <a:ext cx="190500" cy="800100"/>
            </a:xfrm>
            <a:prstGeom prst="curvedLeftArrow">
              <a:avLst>
                <a:gd name="adj1" fmla="val 84000"/>
                <a:gd name="adj2" fmla="val 168000"/>
                <a:gd name="adj3" fmla="val 33333"/>
              </a:avLst>
            </a:prstGeom>
            <a:solidFill>
              <a:srgbClr val="FF9900"/>
            </a:solidFill>
            <a:ln w="9525">
              <a:solidFill>
                <a:schemeClr val="tx1"/>
              </a:solidFill>
              <a:miter lim="800000"/>
              <a:headEnd/>
              <a:tailEnd/>
            </a:ln>
          </p:spPr>
          <p:txBody>
            <a:bodyPr wrap="none" anchor="ctr"/>
            <a:lstStyle/>
            <a:p>
              <a:pPr defTabSz="914377"/>
              <a:endParaRPr lang="en-US">
                <a:solidFill>
                  <a:srgbClr val="000000"/>
                </a:solidFill>
                <a:latin typeface="Arial"/>
              </a:endParaRPr>
            </a:p>
          </p:txBody>
        </p:sp>
        <p:sp>
          <p:nvSpPr>
            <p:cNvPr id="26" name="Line 38"/>
            <p:cNvSpPr>
              <a:spLocks noChangeShapeType="1"/>
            </p:cNvSpPr>
            <p:nvPr/>
          </p:nvSpPr>
          <p:spPr bwMode="auto">
            <a:xfrm>
              <a:off x="8534400" y="2471737"/>
              <a:ext cx="0" cy="1905000"/>
            </a:xfrm>
            <a:prstGeom prst="line">
              <a:avLst/>
            </a:prstGeom>
            <a:noFill/>
            <a:ln w="38100">
              <a:solidFill>
                <a:srgbClr val="009900"/>
              </a:solidFill>
              <a:round/>
              <a:headEnd/>
              <a:tailEnd type="triangle" w="med" len="med"/>
            </a:ln>
          </p:spPr>
          <p:txBody>
            <a:bodyPr/>
            <a:lstStyle/>
            <a:p>
              <a:pPr defTabSz="914377"/>
              <a:endParaRPr lang="en-US">
                <a:solidFill>
                  <a:srgbClr val="000000"/>
                </a:solidFill>
                <a:latin typeface="Arial"/>
              </a:endParaRPr>
            </a:p>
          </p:txBody>
        </p:sp>
        <p:sp>
          <p:nvSpPr>
            <p:cNvPr id="27" name="Rectangle 40"/>
            <p:cNvSpPr>
              <a:spLocks noChangeArrowheads="1"/>
            </p:cNvSpPr>
            <p:nvPr/>
          </p:nvSpPr>
          <p:spPr bwMode="auto">
            <a:xfrm>
              <a:off x="6840538" y="3157537"/>
              <a:ext cx="1219200" cy="609600"/>
            </a:xfrm>
            <a:prstGeom prst="rect">
              <a:avLst/>
            </a:prstGeom>
            <a:solidFill>
              <a:srgbClr val="336699"/>
            </a:solidFill>
            <a:ln w="9525">
              <a:solidFill>
                <a:schemeClr val="tx1"/>
              </a:solidFill>
              <a:miter lim="800000"/>
              <a:headEnd/>
              <a:tailEnd/>
            </a:ln>
          </p:spPr>
          <p:txBody>
            <a:bodyPr wrap="none" anchor="ctr"/>
            <a:lstStyle/>
            <a:p>
              <a:pPr defTabSz="914377"/>
              <a:endParaRPr lang="en-US">
                <a:solidFill>
                  <a:srgbClr val="000000"/>
                </a:solidFill>
                <a:latin typeface="Arial"/>
              </a:endParaRPr>
            </a:p>
          </p:txBody>
        </p:sp>
      </p:grpSp>
      <p:pic>
        <p:nvPicPr>
          <p:cNvPr id="16" name="Picture 15"/>
          <p:cNvPicPr>
            <a:picLocks noChangeAspect="1"/>
          </p:cNvPicPr>
          <p:nvPr/>
        </p:nvPicPr>
        <p:blipFill>
          <a:blip r:embed="rId4"/>
          <a:stretch>
            <a:fillRect/>
          </a:stretch>
        </p:blipFill>
        <p:spPr>
          <a:xfrm>
            <a:off x="10119770" y="4473959"/>
            <a:ext cx="1864711" cy="1855309"/>
          </a:xfrm>
          <a:prstGeom prst="rect">
            <a:avLst/>
          </a:prstGeom>
        </p:spPr>
      </p:pic>
    </p:spTree>
    <p:extLst>
      <p:ext uri="{BB962C8B-B14F-4D97-AF65-F5344CB8AC3E}">
        <p14:creationId xmlns:p14="http://schemas.microsoft.com/office/powerpoint/2010/main" val="369092493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4"/>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ENGINE – CHARACTERISTICS</a:t>
            </a:r>
            <a:endParaRPr lang="en-US" sz="3733" b="1" dirty="0">
              <a:solidFill>
                <a:prstClr val="black"/>
              </a:solidFill>
              <a:latin typeface="Century Gothic" panose="020B0502020202020204" pitchFamily="34" charset="0"/>
            </a:endParaRPr>
          </a:p>
        </p:txBody>
      </p:sp>
      <p:sp>
        <p:nvSpPr>
          <p:cNvPr id="3" name="Rectangle 2"/>
          <p:cNvSpPr/>
          <p:nvPr/>
        </p:nvSpPr>
        <p:spPr>
          <a:xfrm>
            <a:off x="220035" y="1568115"/>
            <a:ext cx="5592552" cy="5010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80990" indent="-380990" algn="just" defTabSz="1219170">
              <a:buFont typeface="Wingdings" panose="05000000000000000000" pitchFamily="2" charset="2"/>
              <a:buChar char="§"/>
            </a:pPr>
            <a:r>
              <a:rPr lang="en-US" sz="1600" dirty="0">
                <a:solidFill>
                  <a:srgbClr val="000000"/>
                </a:solidFill>
                <a:latin typeface="Century Gothic" panose="020B0502020202020204" pitchFamily="34" charset="0"/>
                <a:cs typeface="Calibri" pitchFamily="34" charset="0"/>
              </a:rPr>
              <a:t>A turbocharger consists of a compressor and a turbine connected by a common shaft. Centrifugal compressors and centripetal turbines are most popular types used in automotive applications and form the basis for most turbochargers today.</a:t>
            </a:r>
          </a:p>
          <a:p>
            <a:pPr marL="380990" indent="-380990" algn="just" defTabSz="1219170">
              <a:buFont typeface="Wingdings" panose="05000000000000000000" pitchFamily="2" charset="2"/>
              <a:buChar char="§"/>
            </a:pPr>
            <a:endParaRPr lang="en-US" sz="1600" dirty="0">
              <a:solidFill>
                <a:srgbClr val="000000"/>
              </a:solidFill>
              <a:latin typeface="Century Gothic" panose="020B0502020202020204" pitchFamily="34" charset="0"/>
              <a:cs typeface="Calibri" pitchFamily="34" charset="0"/>
            </a:endParaRPr>
          </a:p>
          <a:p>
            <a:pPr marL="380990" indent="-380990" algn="just" defTabSz="1219170">
              <a:buFont typeface="Wingdings" panose="05000000000000000000" pitchFamily="2" charset="2"/>
              <a:buChar char="§"/>
            </a:pPr>
            <a:endParaRPr lang="en-US" sz="1600" dirty="0">
              <a:solidFill>
                <a:srgbClr val="000000"/>
              </a:solidFill>
              <a:latin typeface="Century Gothic" panose="020B0502020202020204" pitchFamily="34" charset="0"/>
              <a:cs typeface="Calibri" pitchFamily="34" charset="0"/>
            </a:endParaRPr>
          </a:p>
          <a:p>
            <a:pPr marL="380990" indent="-380990" algn="just" defTabSz="1219170">
              <a:buFont typeface="Wingdings" panose="05000000000000000000" pitchFamily="2" charset="2"/>
              <a:buChar char="§"/>
            </a:pPr>
            <a:endParaRPr lang="en-US" sz="1600" dirty="0">
              <a:solidFill>
                <a:srgbClr val="000000"/>
              </a:solidFill>
              <a:latin typeface="Century Gothic" panose="020B0502020202020204" pitchFamily="34" charset="0"/>
              <a:cs typeface="Calibri" pitchFamily="34" charset="0"/>
            </a:endParaRPr>
          </a:p>
          <a:p>
            <a:pPr marL="380990" indent="-380990" algn="just" defTabSz="1219170">
              <a:buFont typeface="Wingdings" panose="05000000000000000000" pitchFamily="2" charset="2"/>
              <a:buChar char="§"/>
            </a:pPr>
            <a:endParaRPr lang="en-US" sz="1600" dirty="0">
              <a:solidFill>
                <a:srgbClr val="000000"/>
              </a:solidFill>
              <a:latin typeface="Century Gothic" panose="020B0502020202020204" pitchFamily="34" charset="0"/>
              <a:cs typeface="Calibri" pitchFamily="34" charset="0"/>
            </a:endParaRPr>
          </a:p>
          <a:p>
            <a:pPr marL="380990" indent="-380990" algn="just" defTabSz="1219170">
              <a:buFont typeface="Wingdings" panose="05000000000000000000" pitchFamily="2" charset="2"/>
              <a:buChar char="§"/>
            </a:pPr>
            <a:endParaRPr lang="en-US" sz="1600" dirty="0">
              <a:solidFill>
                <a:srgbClr val="000000"/>
              </a:solidFill>
              <a:latin typeface="Century Gothic" panose="020B0502020202020204" pitchFamily="34" charset="0"/>
              <a:cs typeface="Calibri" pitchFamily="34" charset="0"/>
            </a:endParaRPr>
          </a:p>
          <a:p>
            <a:pPr marL="380990" indent="-380990" algn="just" defTabSz="1219170">
              <a:buFont typeface="Wingdings" panose="05000000000000000000" pitchFamily="2" charset="2"/>
              <a:buChar char="§"/>
            </a:pPr>
            <a:endParaRPr lang="en-US" sz="1600" dirty="0">
              <a:solidFill>
                <a:srgbClr val="000000"/>
              </a:solidFill>
              <a:latin typeface="Century Gothic" panose="020B0502020202020204" pitchFamily="34" charset="0"/>
              <a:cs typeface="Calibri" pitchFamily="34" charset="0"/>
            </a:endParaRPr>
          </a:p>
          <a:p>
            <a:pPr marL="380990" indent="-380990" algn="just" defTabSz="1219170">
              <a:buFont typeface="Wingdings" panose="05000000000000000000" pitchFamily="2" charset="2"/>
              <a:buChar char="§"/>
            </a:pPr>
            <a:endParaRPr lang="en-US" sz="1600" dirty="0">
              <a:solidFill>
                <a:srgbClr val="000000"/>
              </a:solidFill>
              <a:latin typeface="Century Gothic" panose="020B0502020202020204" pitchFamily="34" charset="0"/>
              <a:cs typeface="Calibri" pitchFamily="34" charset="0"/>
            </a:endParaRPr>
          </a:p>
          <a:p>
            <a:pPr marL="380990" indent="-380990" algn="just" defTabSz="1219170">
              <a:buFont typeface="Wingdings" panose="05000000000000000000" pitchFamily="2" charset="2"/>
              <a:buChar char="§"/>
            </a:pPr>
            <a:endParaRPr lang="en-US" sz="1600" dirty="0">
              <a:solidFill>
                <a:srgbClr val="000000"/>
              </a:solidFill>
              <a:latin typeface="Century Gothic" panose="020B0502020202020204" pitchFamily="34" charset="0"/>
              <a:cs typeface="Calibri" pitchFamily="34" charset="0"/>
            </a:endParaRPr>
          </a:p>
          <a:p>
            <a:pPr marL="380990" indent="-380990" algn="just" defTabSz="1219170">
              <a:buFont typeface="Wingdings" panose="05000000000000000000" pitchFamily="2" charset="2"/>
              <a:buChar char="§"/>
            </a:pPr>
            <a:endParaRPr lang="en-US" sz="1600" dirty="0">
              <a:solidFill>
                <a:srgbClr val="000000"/>
              </a:solidFill>
              <a:latin typeface="Century Gothic" panose="020B0502020202020204" pitchFamily="34" charset="0"/>
              <a:cs typeface="Calibri" pitchFamily="34" charset="0"/>
            </a:endParaRPr>
          </a:p>
          <a:p>
            <a:pPr algn="just" defTabSz="1219170"/>
            <a:r>
              <a:rPr lang="en-US" sz="1600" b="1" dirty="0">
                <a:solidFill>
                  <a:srgbClr val="000000"/>
                </a:solidFill>
                <a:latin typeface="Century Gothic" panose="020B0502020202020204" pitchFamily="34" charset="0"/>
                <a:cs typeface="Calibri" pitchFamily="34" charset="0"/>
              </a:rPr>
              <a:t>ADVANTAGE – </a:t>
            </a:r>
            <a:r>
              <a:rPr lang="en-US" sz="1600" dirty="0">
                <a:solidFill>
                  <a:srgbClr val="000000"/>
                </a:solidFill>
                <a:latin typeface="Century Gothic" panose="020B0502020202020204" pitchFamily="34" charset="0"/>
                <a:cs typeface="Calibri" pitchFamily="34" charset="0"/>
              </a:rPr>
              <a:t>More power output</a:t>
            </a:r>
            <a:endParaRPr lang="en-US" sz="1600" b="1" dirty="0">
              <a:solidFill>
                <a:srgbClr val="000000"/>
              </a:solidFill>
              <a:latin typeface="Century Gothic" panose="020B0502020202020204" pitchFamily="34" charset="0"/>
              <a:cs typeface="Calibri" pitchFamily="34" charset="0"/>
            </a:endParaRPr>
          </a:p>
          <a:p>
            <a:pPr defTabSz="1219170"/>
            <a:endParaRPr lang="en-US" sz="1600" dirty="0">
              <a:solidFill>
                <a:prstClr val="black"/>
              </a:solidFill>
              <a:latin typeface="Century Gothic" panose="020B0502020202020204" pitchFamily="34" charset="0"/>
            </a:endParaRPr>
          </a:p>
        </p:txBody>
      </p:sp>
      <p:sp>
        <p:nvSpPr>
          <p:cNvPr id="7" name="Rectangle 6"/>
          <p:cNvSpPr/>
          <p:nvPr/>
        </p:nvSpPr>
        <p:spPr>
          <a:xfrm>
            <a:off x="220035" y="1076138"/>
            <a:ext cx="5592552"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TURBO CHARGER</a:t>
            </a:r>
          </a:p>
        </p:txBody>
      </p:sp>
      <p:sp>
        <p:nvSpPr>
          <p:cNvPr id="11" name="Rectangle 10"/>
          <p:cNvSpPr/>
          <p:nvPr/>
        </p:nvSpPr>
        <p:spPr>
          <a:xfrm>
            <a:off x="6369244" y="1568115"/>
            <a:ext cx="5592552" cy="5010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594" indent="-228594" defTabSz="1219170">
              <a:buFont typeface="Wingdings" panose="05000000000000000000" pitchFamily="2" charset="2"/>
              <a:buChar char="§"/>
            </a:pPr>
            <a:endParaRPr lang="en-US" sz="1600" dirty="0">
              <a:solidFill>
                <a:prstClr val="black"/>
              </a:solidFill>
              <a:latin typeface="Century Gothic" panose="020B0502020202020204" pitchFamily="34" charset="0"/>
            </a:endParaRPr>
          </a:p>
        </p:txBody>
      </p:sp>
      <p:sp>
        <p:nvSpPr>
          <p:cNvPr id="12" name="Rectangle 11"/>
          <p:cNvSpPr/>
          <p:nvPr/>
        </p:nvSpPr>
        <p:spPr>
          <a:xfrm>
            <a:off x="6369244" y="1076138"/>
            <a:ext cx="5592552"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AIR INTAKE &amp; EXHAUST SYSTEM</a:t>
            </a:r>
          </a:p>
        </p:txBody>
      </p:sp>
      <p:pic>
        <p:nvPicPr>
          <p:cNvPr id="37" name="Picture 3" descr="aa"/>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2189" b="97980" l="1507" r="98082"/>
                    </a14:imgEffect>
                  </a14:imgLayer>
                </a14:imgProps>
              </a:ext>
            </a:extLst>
          </a:blip>
          <a:srcRect/>
          <a:stretch>
            <a:fillRect/>
          </a:stretch>
        </p:blipFill>
        <p:spPr bwMode="auto">
          <a:xfrm>
            <a:off x="1625600" y="3327400"/>
            <a:ext cx="2408723" cy="1935581"/>
          </a:xfrm>
          <a:prstGeom prst="rect">
            <a:avLst/>
          </a:prstGeom>
          <a:noFill/>
          <a:ln>
            <a:miter lim="800000"/>
            <a:headEnd/>
            <a:tailEnd/>
          </a:ln>
        </p:spPr>
      </p:pic>
      <p:pic>
        <p:nvPicPr>
          <p:cNvPr id="6" name="Picture 5"/>
          <p:cNvPicPr>
            <a:picLocks noChangeAspect="1"/>
          </p:cNvPicPr>
          <p:nvPr/>
        </p:nvPicPr>
        <p:blipFill>
          <a:blip r:embed="rId5"/>
          <a:stretch>
            <a:fillRect/>
          </a:stretch>
        </p:blipFill>
        <p:spPr>
          <a:xfrm>
            <a:off x="6465222" y="2311400"/>
            <a:ext cx="5400597" cy="3326163"/>
          </a:xfrm>
          <a:prstGeom prst="rect">
            <a:avLst/>
          </a:prstGeom>
        </p:spPr>
      </p:pic>
    </p:spTree>
    <p:extLst>
      <p:ext uri="{BB962C8B-B14F-4D97-AF65-F5344CB8AC3E}">
        <p14:creationId xmlns:p14="http://schemas.microsoft.com/office/powerpoint/2010/main" val="26589180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609594" y="-5"/>
            <a:ext cx="8459673" cy="978397"/>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p:cNvSpPr txBox="1"/>
          <p:nvPr/>
        </p:nvSpPr>
        <p:spPr>
          <a:xfrm>
            <a:off x="687125" y="124413"/>
            <a:ext cx="8073044" cy="666786"/>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BASIC AUTOMOTIVE TECHNOLOGY</a:t>
            </a:r>
            <a:endParaRPr kumimoji="0" lang="en-US" sz="3733"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2" name="Rectangle 1"/>
          <p:cNvSpPr/>
          <p:nvPr/>
        </p:nvSpPr>
        <p:spPr>
          <a:xfrm>
            <a:off x="77525" y="1397000"/>
            <a:ext cx="6120075" cy="5283200"/>
          </a:xfrm>
          <a:prstGeom prst="rect">
            <a:avLst/>
          </a:prstGeom>
          <a:solidFill>
            <a:schemeClr val="accent5">
              <a:lumMod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733"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HIS SECTION IS SPLIT INTO </a:t>
            </a:r>
            <a:r>
              <a:rPr kumimoji="0" lang="en-US" sz="18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 </a:t>
            </a:r>
            <a:endParaRPr kumimoji="0" lang="en-US" sz="37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733"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DIFFERENT PARTS </a:t>
            </a:r>
          </a:p>
        </p:txBody>
      </p:sp>
      <p:sp>
        <p:nvSpPr>
          <p:cNvPr id="49" name="Rectangle 48"/>
          <p:cNvSpPr/>
          <p:nvPr/>
        </p:nvSpPr>
        <p:spPr>
          <a:xfrm>
            <a:off x="6299200" y="4140200"/>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rPr>
              <a:t>AGGREGATES</a:t>
            </a:r>
          </a:p>
        </p:txBody>
      </p:sp>
      <p:sp>
        <p:nvSpPr>
          <p:cNvPr id="50" name="Rectangle 49"/>
          <p:cNvSpPr/>
          <p:nvPr/>
        </p:nvSpPr>
        <p:spPr>
          <a:xfrm>
            <a:off x="6299200" y="5461000"/>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rPr>
              <a:t>AGGREGATE MATRIX</a:t>
            </a:r>
          </a:p>
        </p:txBody>
      </p:sp>
      <p:sp>
        <p:nvSpPr>
          <p:cNvPr id="51" name="Rectangle 50"/>
          <p:cNvSpPr/>
          <p:nvPr/>
        </p:nvSpPr>
        <p:spPr>
          <a:xfrm>
            <a:off x="6299200" y="2781300"/>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rPr>
              <a:t>PRODUCT MATRIX</a:t>
            </a:r>
          </a:p>
        </p:txBody>
      </p:sp>
      <p:sp>
        <p:nvSpPr>
          <p:cNvPr id="6" name="Rectangle 5"/>
          <p:cNvSpPr/>
          <p:nvPr/>
        </p:nvSpPr>
        <p:spPr>
          <a:xfrm>
            <a:off x="6299200" y="1435571"/>
            <a:ext cx="5791200" cy="1219200"/>
          </a:xfrm>
          <a:prstGeom prst="rect">
            <a:avLst/>
          </a:prstGeom>
          <a:solidFill>
            <a:schemeClr val="accent5">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RCHITECTURE &amp; APPLICATION</a:t>
            </a:r>
          </a:p>
        </p:txBody>
      </p:sp>
    </p:spTree>
    <p:extLst>
      <p:ext uri="{BB962C8B-B14F-4D97-AF65-F5344CB8AC3E}">
        <p14:creationId xmlns:p14="http://schemas.microsoft.com/office/powerpoint/2010/main" val="17991442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2443045" y="1240610"/>
            <a:ext cx="2113625" cy="1831589"/>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4685240" y="1240346"/>
            <a:ext cx="2113625" cy="1831589"/>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7169749" y="1206715"/>
            <a:ext cx="2113625" cy="1831589"/>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9756055" y="1198151"/>
            <a:ext cx="2113625" cy="1831589"/>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p:nvSpPr>
        <p:spPr>
          <a:xfrm>
            <a:off x="201256" y="1206715"/>
            <a:ext cx="2113625" cy="1831589"/>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5170"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1241" y="1290677"/>
            <a:ext cx="1845717" cy="1672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35173" name="Group 4"/>
          <p:cNvGrpSpPr>
            <a:grpSpLocks/>
          </p:cNvGrpSpPr>
          <p:nvPr/>
        </p:nvGrpSpPr>
        <p:grpSpPr bwMode="auto">
          <a:xfrm>
            <a:off x="2473898" y="1290677"/>
            <a:ext cx="1826183" cy="1672503"/>
            <a:chOff x="5038" y="1104"/>
            <a:chExt cx="1200" cy="1155"/>
          </a:xfrm>
        </p:grpSpPr>
        <p:pic>
          <p:nvPicPr>
            <p:cNvPr id="135182"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38" y="1104"/>
              <a:ext cx="1200" cy="1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5183" name="Oval 6" descr="Woven mat"/>
            <p:cNvSpPr>
              <a:spLocks noChangeArrowheads="1"/>
            </p:cNvSpPr>
            <p:nvPr/>
          </p:nvSpPr>
          <p:spPr bwMode="auto">
            <a:xfrm>
              <a:off x="5086" y="1104"/>
              <a:ext cx="1152" cy="1152"/>
            </a:xfrm>
            <a:prstGeom prst="ellipse">
              <a:avLst/>
            </a:prstGeom>
            <a:blipFill dpi="0" rotWithShape="0">
              <a:blip r:embed="rId4"/>
              <a:srcRect/>
              <a:tile tx="0" ty="0" sx="100000" sy="100000" flip="none" algn="tl"/>
            </a:blipFill>
            <a:ln w="9525">
              <a:solidFill>
                <a:schemeClr val="bg1"/>
              </a:solidFill>
              <a:round/>
              <a:headEnd/>
              <a:tailEnd/>
            </a:ln>
          </p:spPr>
          <p:txBody>
            <a:bodyPr wrap="none" anchor="ctr"/>
            <a:lstStyle>
              <a:lvl1pPr defTabSz="685800">
                <a:spcBef>
                  <a:spcPct val="20000"/>
                </a:spcBef>
                <a:buFont typeface="Arial" panose="020B0604020202020204" pitchFamily="34" charset="0"/>
                <a:buChar char="•"/>
                <a:defRPr sz="2400">
                  <a:solidFill>
                    <a:schemeClr val="tx1"/>
                  </a:solidFill>
                  <a:latin typeface="Calibri" panose="020F0502020204030204" pitchFamily="34" charset="0"/>
                </a:defRPr>
              </a:lvl1pPr>
              <a:lvl2pPr marL="742950" indent="-285750" defTabSz="685800">
                <a:spcBef>
                  <a:spcPct val="20000"/>
                </a:spcBef>
                <a:buFont typeface="Arial" panose="020B0604020202020204" pitchFamily="34" charset="0"/>
                <a:buChar char="–"/>
                <a:defRPr sz="2000">
                  <a:solidFill>
                    <a:schemeClr val="tx1"/>
                  </a:solidFill>
                  <a:latin typeface="Calibri" panose="020F0502020204030204" pitchFamily="34" charset="0"/>
                </a:defRPr>
              </a:lvl2pPr>
              <a:lvl3pPr marL="1143000" indent="-228600" defTabSz="685800">
                <a:spcBef>
                  <a:spcPct val="20000"/>
                </a:spcBef>
                <a:buFont typeface="Arial" panose="020B0604020202020204" pitchFamily="34" charset="0"/>
                <a:buChar char="•"/>
                <a:defRPr>
                  <a:solidFill>
                    <a:schemeClr val="tx1"/>
                  </a:solidFill>
                  <a:latin typeface="Calibri" panose="020F0502020204030204" pitchFamily="34" charset="0"/>
                </a:defRPr>
              </a:lvl3pPr>
              <a:lvl4pPr marL="1600200" indent="-228600" defTabSz="685800">
                <a:spcBef>
                  <a:spcPct val="20000"/>
                </a:spcBef>
                <a:buFont typeface="Arial" panose="020B0604020202020204" pitchFamily="34" charset="0"/>
                <a:buChar char="–"/>
                <a:defRPr sz="1600">
                  <a:solidFill>
                    <a:schemeClr val="tx1"/>
                  </a:solidFill>
                  <a:latin typeface="Calibri" panose="020F0502020204030204" pitchFamily="34" charset="0"/>
                </a:defRPr>
              </a:lvl4pPr>
              <a:lvl5pPr marL="2057400" indent="-228600" defTabSz="685800">
                <a:spcBef>
                  <a:spcPct val="20000"/>
                </a:spcBef>
                <a:buFont typeface="Arial" panose="020B0604020202020204" pitchFamily="34" charset="0"/>
                <a:buChar char="»"/>
                <a:defRPr sz="1600">
                  <a:solidFill>
                    <a:schemeClr val="tx1"/>
                  </a:solidFill>
                  <a:latin typeface="Calibri" panose="020F0502020204030204" pitchFamily="34" charset="0"/>
                </a:defRPr>
              </a:lvl5pPr>
              <a:lvl6pPr marL="25146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6pPr>
              <a:lvl7pPr marL="29718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7pPr>
              <a:lvl8pPr marL="34290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8pPr>
              <a:lvl9pPr marL="38862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9pPr>
            </a:lstStyle>
            <a:p>
              <a:pPr algn="ctr" defTabSz="914377" eaLnBrk="0" fontAlgn="base" hangingPunct="0">
                <a:spcBef>
                  <a:spcPct val="0"/>
                </a:spcBef>
                <a:spcAft>
                  <a:spcPct val="0"/>
                </a:spcAft>
                <a:buNone/>
              </a:pPr>
              <a:endParaRPr lang="en-US" altLang="en-US" sz="2000" b="1">
                <a:solidFill>
                  <a:srgbClr val="0000FF"/>
                </a:solidFill>
                <a:cs typeface="Calibri" panose="020F0502020204030204" pitchFamily="34" charset="0"/>
              </a:endParaRPr>
            </a:p>
          </p:txBody>
        </p:sp>
        <p:sp>
          <p:nvSpPr>
            <p:cNvPr id="135184" name="Oval 7"/>
            <p:cNvSpPr>
              <a:spLocks noChangeArrowheads="1"/>
            </p:cNvSpPr>
            <p:nvPr/>
          </p:nvSpPr>
          <p:spPr bwMode="auto">
            <a:xfrm>
              <a:off x="5292" y="1320"/>
              <a:ext cx="720" cy="720"/>
            </a:xfrm>
            <a:prstGeom prst="ellipse">
              <a:avLst/>
            </a:prstGeom>
            <a:solidFill>
              <a:schemeClr val="hlink"/>
            </a:solidFill>
            <a:ln w="9525">
              <a:solidFill>
                <a:schemeClr val="tx1"/>
              </a:solidFill>
              <a:round/>
              <a:headEnd/>
              <a:tailEnd/>
            </a:ln>
          </p:spPr>
          <p:txBody>
            <a:bodyPr wrap="none" anchor="ctr"/>
            <a:lstStyle>
              <a:lvl1pPr defTabSz="685800">
                <a:spcBef>
                  <a:spcPct val="20000"/>
                </a:spcBef>
                <a:buFont typeface="Arial" panose="020B0604020202020204" pitchFamily="34" charset="0"/>
                <a:buChar char="•"/>
                <a:defRPr sz="2400">
                  <a:solidFill>
                    <a:schemeClr val="tx1"/>
                  </a:solidFill>
                  <a:latin typeface="Calibri" panose="020F0502020204030204" pitchFamily="34" charset="0"/>
                </a:defRPr>
              </a:lvl1pPr>
              <a:lvl2pPr marL="742950" indent="-285750" defTabSz="685800">
                <a:spcBef>
                  <a:spcPct val="20000"/>
                </a:spcBef>
                <a:buFont typeface="Arial" panose="020B0604020202020204" pitchFamily="34" charset="0"/>
                <a:buChar char="–"/>
                <a:defRPr sz="2000">
                  <a:solidFill>
                    <a:schemeClr val="tx1"/>
                  </a:solidFill>
                  <a:latin typeface="Calibri" panose="020F0502020204030204" pitchFamily="34" charset="0"/>
                </a:defRPr>
              </a:lvl2pPr>
              <a:lvl3pPr marL="1143000" indent="-228600" defTabSz="685800">
                <a:spcBef>
                  <a:spcPct val="20000"/>
                </a:spcBef>
                <a:buFont typeface="Arial" panose="020B0604020202020204" pitchFamily="34" charset="0"/>
                <a:buChar char="•"/>
                <a:defRPr>
                  <a:solidFill>
                    <a:schemeClr val="tx1"/>
                  </a:solidFill>
                  <a:latin typeface="Calibri" panose="020F0502020204030204" pitchFamily="34" charset="0"/>
                </a:defRPr>
              </a:lvl3pPr>
              <a:lvl4pPr marL="1600200" indent="-228600" defTabSz="685800">
                <a:spcBef>
                  <a:spcPct val="20000"/>
                </a:spcBef>
                <a:buFont typeface="Arial" panose="020B0604020202020204" pitchFamily="34" charset="0"/>
                <a:buChar char="–"/>
                <a:defRPr sz="1600">
                  <a:solidFill>
                    <a:schemeClr val="tx1"/>
                  </a:solidFill>
                  <a:latin typeface="Calibri" panose="020F0502020204030204" pitchFamily="34" charset="0"/>
                </a:defRPr>
              </a:lvl4pPr>
              <a:lvl5pPr marL="2057400" indent="-228600" defTabSz="685800">
                <a:spcBef>
                  <a:spcPct val="20000"/>
                </a:spcBef>
                <a:buFont typeface="Arial" panose="020B0604020202020204" pitchFamily="34" charset="0"/>
                <a:buChar char="»"/>
                <a:defRPr sz="1600">
                  <a:solidFill>
                    <a:schemeClr val="tx1"/>
                  </a:solidFill>
                  <a:latin typeface="Calibri" panose="020F0502020204030204" pitchFamily="34" charset="0"/>
                </a:defRPr>
              </a:lvl5pPr>
              <a:lvl6pPr marL="25146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6pPr>
              <a:lvl7pPr marL="29718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7pPr>
              <a:lvl8pPr marL="34290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8pPr>
              <a:lvl9pPr marL="38862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9pPr>
            </a:lstStyle>
            <a:p>
              <a:pPr algn="ctr" defTabSz="914377" eaLnBrk="0" fontAlgn="base" hangingPunct="0">
                <a:spcBef>
                  <a:spcPct val="0"/>
                </a:spcBef>
                <a:spcAft>
                  <a:spcPct val="0"/>
                </a:spcAft>
                <a:buNone/>
              </a:pPr>
              <a:endParaRPr lang="en-US" altLang="en-US" sz="2000" b="1">
                <a:solidFill>
                  <a:srgbClr val="0000FF"/>
                </a:solidFill>
                <a:cs typeface="Calibri" panose="020F0502020204030204" pitchFamily="34" charset="0"/>
              </a:endParaRPr>
            </a:p>
          </p:txBody>
        </p:sp>
        <p:sp>
          <p:nvSpPr>
            <p:cNvPr id="135185" name="Oval 8"/>
            <p:cNvSpPr>
              <a:spLocks noChangeArrowheads="1"/>
            </p:cNvSpPr>
            <p:nvPr/>
          </p:nvSpPr>
          <p:spPr bwMode="auto">
            <a:xfrm>
              <a:off x="5559" y="1593"/>
              <a:ext cx="192" cy="192"/>
            </a:xfrm>
            <a:prstGeom prst="ellipse">
              <a:avLst/>
            </a:prstGeom>
            <a:noFill/>
            <a:ln w="762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defTabSz="685800">
                <a:spcBef>
                  <a:spcPct val="20000"/>
                </a:spcBef>
                <a:buFont typeface="Arial" panose="020B0604020202020204" pitchFamily="34" charset="0"/>
                <a:buChar char="•"/>
                <a:defRPr sz="2400">
                  <a:solidFill>
                    <a:schemeClr val="tx1"/>
                  </a:solidFill>
                  <a:latin typeface="Calibri" panose="020F0502020204030204" pitchFamily="34" charset="0"/>
                </a:defRPr>
              </a:lvl1pPr>
              <a:lvl2pPr marL="742950" indent="-285750" defTabSz="685800">
                <a:spcBef>
                  <a:spcPct val="20000"/>
                </a:spcBef>
                <a:buFont typeface="Arial" panose="020B0604020202020204" pitchFamily="34" charset="0"/>
                <a:buChar char="–"/>
                <a:defRPr sz="2000">
                  <a:solidFill>
                    <a:schemeClr val="tx1"/>
                  </a:solidFill>
                  <a:latin typeface="Calibri" panose="020F0502020204030204" pitchFamily="34" charset="0"/>
                </a:defRPr>
              </a:lvl2pPr>
              <a:lvl3pPr marL="1143000" indent="-228600" defTabSz="685800">
                <a:spcBef>
                  <a:spcPct val="20000"/>
                </a:spcBef>
                <a:buFont typeface="Arial" panose="020B0604020202020204" pitchFamily="34" charset="0"/>
                <a:buChar char="•"/>
                <a:defRPr>
                  <a:solidFill>
                    <a:schemeClr val="tx1"/>
                  </a:solidFill>
                  <a:latin typeface="Calibri" panose="020F0502020204030204" pitchFamily="34" charset="0"/>
                </a:defRPr>
              </a:lvl3pPr>
              <a:lvl4pPr marL="1600200" indent="-228600" defTabSz="685800">
                <a:spcBef>
                  <a:spcPct val="20000"/>
                </a:spcBef>
                <a:buFont typeface="Arial" panose="020B0604020202020204" pitchFamily="34" charset="0"/>
                <a:buChar char="–"/>
                <a:defRPr sz="1600">
                  <a:solidFill>
                    <a:schemeClr val="tx1"/>
                  </a:solidFill>
                  <a:latin typeface="Calibri" panose="020F0502020204030204" pitchFamily="34" charset="0"/>
                </a:defRPr>
              </a:lvl4pPr>
              <a:lvl5pPr marL="2057400" indent="-228600" defTabSz="685800">
                <a:spcBef>
                  <a:spcPct val="20000"/>
                </a:spcBef>
                <a:buFont typeface="Arial" panose="020B0604020202020204" pitchFamily="34" charset="0"/>
                <a:buChar char="»"/>
                <a:defRPr sz="1600">
                  <a:solidFill>
                    <a:schemeClr val="tx1"/>
                  </a:solidFill>
                  <a:latin typeface="Calibri" panose="020F0502020204030204" pitchFamily="34" charset="0"/>
                </a:defRPr>
              </a:lvl5pPr>
              <a:lvl6pPr marL="25146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6pPr>
              <a:lvl7pPr marL="29718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7pPr>
              <a:lvl8pPr marL="34290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8pPr>
              <a:lvl9pPr marL="38862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9pPr>
            </a:lstStyle>
            <a:p>
              <a:pPr algn="ctr" defTabSz="914377" eaLnBrk="0" fontAlgn="base" hangingPunct="0">
                <a:spcBef>
                  <a:spcPct val="0"/>
                </a:spcBef>
                <a:spcAft>
                  <a:spcPct val="0"/>
                </a:spcAft>
                <a:buNone/>
              </a:pPr>
              <a:endParaRPr lang="en-US" altLang="en-US" sz="2000" b="1">
                <a:solidFill>
                  <a:srgbClr val="0000FF"/>
                </a:solidFill>
                <a:cs typeface="Calibri" panose="020F0502020204030204" pitchFamily="34" charset="0"/>
              </a:endParaRPr>
            </a:p>
          </p:txBody>
        </p:sp>
        <p:sp>
          <p:nvSpPr>
            <p:cNvPr id="135186" name="Rectangle 9" descr="Wide upward diagonal"/>
            <p:cNvSpPr>
              <a:spLocks noChangeArrowheads="1"/>
            </p:cNvSpPr>
            <p:nvPr/>
          </p:nvSpPr>
          <p:spPr bwMode="auto">
            <a:xfrm>
              <a:off x="5568" y="1404"/>
              <a:ext cx="144" cy="48"/>
            </a:xfrm>
            <a:prstGeom prst="rect">
              <a:avLst/>
            </a:prstGeom>
            <a:blipFill dpi="0" rotWithShape="0">
              <a:blip r:embed="rId5"/>
              <a:srcRect/>
              <a:tile tx="0" ty="0" sx="100000" sy="100000" flip="none" algn="tl"/>
            </a:blipFill>
            <a:ln w="9525">
              <a:solidFill>
                <a:schemeClr val="tx1"/>
              </a:solidFill>
              <a:miter lim="800000"/>
              <a:headEnd/>
              <a:tailEnd/>
            </a:ln>
          </p:spPr>
          <p:txBody>
            <a:bodyPr wrap="none" anchor="ctr"/>
            <a:lstStyle>
              <a:lvl1pPr defTabSz="685800">
                <a:spcBef>
                  <a:spcPct val="20000"/>
                </a:spcBef>
                <a:buFont typeface="Arial" panose="020B0604020202020204" pitchFamily="34" charset="0"/>
                <a:buChar char="•"/>
                <a:defRPr sz="2400">
                  <a:solidFill>
                    <a:schemeClr val="tx1"/>
                  </a:solidFill>
                  <a:latin typeface="Calibri" panose="020F0502020204030204" pitchFamily="34" charset="0"/>
                </a:defRPr>
              </a:lvl1pPr>
              <a:lvl2pPr marL="742950" indent="-285750" defTabSz="685800">
                <a:spcBef>
                  <a:spcPct val="20000"/>
                </a:spcBef>
                <a:buFont typeface="Arial" panose="020B0604020202020204" pitchFamily="34" charset="0"/>
                <a:buChar char="–"/>
                <a:defRPr sz="2000">
                  <a:solidFill>
                    <a:schemeClr val="tx1"/>
                  </a:solidFill>
                  <a:latin typeface="Calibri" panose="020F0502020204030204" pitchFamily="34" charset="0"/>
                </a:defRPr>
              </a:lvl2pPr>
              <a:lvl3pPr marL="1143000" indent="-228600" defTabSz="685800">
                <a:spcBef>
                  <a:spcPct val="20000"/>
                </a:spcBef>
                <a:buFont typeface="Arial" panose="020B0604020202020204" pitchFamily="34" charset="0"/>
                <a:buChar char="•"/>
                <a:defRPr>
                  <a:solidFill>
                    <a:schemeClr val="tx1"/>
                  </a:solidFill>
                  <a:latin typeface="Calibri" panose="020F0502020204030204" pitchFamily="34" charset="0"/>
                </a:defRPr>
              </a:lvl3pPr>
              <a:lvl4pPr marL="1600200" indent="-228600" defTabSz="685800">
                <a:spcBef>
                  <a:spcPct val="20000"/>
                </a:spcBef>
                <a:buFont typeface="Arial" panose="020B0604020202020204" pitchFamily="34" charset="0"/>
                <a:buChar char="–"/>
                <a:defRPr sz="1600">
                  <a:solidFill>
                    <a:schemeClr val="tx1"/>
                  </a:solidFill>
                  <a:latin typeface="Calibri" panose="020F0502020204030204" pitchFamily="34" charset="0"/>
                </a:defRPr>
              </a:lvl4pPr>
              <a:lvl5pPr marL="2057400" indent="-228600" defTabSz="685800">
                <a:spcBef>
                  <a:spcPct val="20000"/>
                </a:spcBef>
                <a:buFont typeface="Arial" panose="020B0604020202020204" pitchFamily="34" charset="0"/>
                <a:buChar char="»"/>
                <a:defRPr sz="1600">
                  <a:solidFill>
                    <a:schemeClr val="tx1"/>
                  </a:solidFill>
                  <a:latin typeface="Calibri" panose="020F0502020204030204" pitchFamily="34" charset="0"/>
                </a:defRPr>
              </a:lvl5pPr>
              <a:lvl6pPr marL="25146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6pPr>
              <a:lvl7pPr marL="29718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7pPr>
              <a:lvl8pPr marL="34290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8pPr>
              <a:lvl9pPr marL="38862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9pPr>
            </a:lstStyle>
            <a:p>
              <a:pPr algn="ctr" defTabSz="914377" eaLnBrk="0" fontAlgn="base" hangingPunct="0">
                <a:spcBef>
                  <a:spcPct val="0"/>
                </a:spcBef>
                <a:spcAft>
                  <a:spcPct val="0"/>
                </a:spcAft>
                <a:buNone/>
              </a:pPr>
              <a:endParaRPr lang="en-US" altLang="en-US" sz="2000" b="1">
                <a:solidFill>
                  <a:srgbClr val="0000FF"/>
                </a:solidFill>
                <a:cs typeface="Calibri" panose="020F0502020204030204" pitchFamily="34" charset="0"/>
              </a:endParaRPr>
            </a:p>
          </p:txBody>
        </p:sp>
        <p:sp>
          <p:nvSpPr>
            <p:cNvPr id="135187" name="Rectangle 10" descr="Wide upward diagonal"/>
            <p:cNvSpPr>
              <a:spLocks noChangeArrowheads="1"/>
            </p:cNvSpPr>
            <p:nvPr/>
          </p:nvSpPr>
          <p:spPr bwMode="auto">
            <a:xfrm>
              <a:off x="5604" y="1929"/>
              <a:ext cx="144" cy="48"/>
            </a:xfrm>
            <a:prstGeom prst="rect">
              <a:avLst/>
            </a:prstGeom>
            <a:blipFill dpi="0" rotWithShape="0">
              <a:blip r:embed="rId5"/>
              <a:srcRect/>
              <a:tile tx="0" ty="0" sx="100000" sy="100000" flip="none" algn="tl"/>
            </a:blipFill>
            <a:ln w="9525">
              <a:solidFill>
                <a:schemeClr val="tx1"/>
              </a:solidFill>
              <a:miter lim="800000"/>
              <a:headEnd/>
              <a:tailEnd/>
            </a:ln>
          </p:spPr>
          <p:txBody>
            <a:bodyPr wrap="none" anchor="ctr"/>
            <a:lstStyle>
              <a:lvl1pPr defTabSz="685800">
                <a:spcBef>
                  <a:spcPct val="20000"/>
                </a:spcBef>
                <a:buFont typeface="Arial" panose="020B0604020202020204" pitchFamily="34" charset="0"/>
                <a:buChar char="•"/>
                <a:defRPr sz="2400">
                  <a:solidFill>
                    <a:schemeClr val="tx1"/>
                  </a:solidFill>
                  <a:latin typeface="Calibri" panose="020F0502020204030204" pitchFamily="34" charset="0"/>
                </a:defRPr>
              </a:lvl1pPr>
              <a:lvl2pPr marL="742950" indent="-285750" defTabSz="685800">
                <a:spcBef>
                  <a:spcPct val="20000"/>
                </a:spcBef>
                <a:buFont typeface="Arial" panose="020B0604020202020204" pitchFamily="34" charset="0"/>
                <a:buChar char="–"/>
                <a:defRPr sz="2000">
                  <a:solidFill>
                    <a:schemeClr val="tx1"/>
                  </a:solidFill>
                  <a:latin typeface="Calibri" panose="020F0502020204030204" pitchFamily="34" charset="0"/>
                </a:defRPr>
              </a:lvl2pPr>
              <a:lvl3pPr marL="1143000" indent="-228600" defTabSz="685800">
                <a:spcBef>
                  <a:spcPct val="20000"/>
                </a:spcBef>
                <a:buFont typeface="Arial" panose="020B0604020202020204" pitchFamily="34" charset="0"/>
                <a:buChar char="•"/>
                <a:defRPr>
                  <a:solidFill>
                    <a:schemeClr val="tx1"/>
                  </a:solidFill>
                  <a:latin typeface="Calibri" panose="020F0502020204030204" pitchFamily="34" charset="0"/>
                </a:defRPr>
              </a:lvl3pPr>
              <a:lvl4pPr marL="1600200" indent="-228600" defTabSz="685800">
                <a:spcBef>
                  <a:spcPct val="20000"/>
                </a:spcBef>
                <a:buFont typeface="Arial" panose="020B0604020202020204" pitchFamily="34" charset="0"/>
                <a:buChar char="–"/>
                <a:defRPr sz="1600">
                  <a:solidFill>
                    <a:schemeClr val="tx1"/>
                  </a:solidFill>
                  <a:latin typeface="Calibri" panose="020F0502020204030204" pitchFamily="34" charset="0"/>
                </a:defRPr>
              </a:lvl4pPr>
              <a:lvl5pPr marL="2057400" indent="-228600" defTabSz="685800">
                <a:spcBef>
                  <a:spcPct val="20000"/>
                </a:spcBef>
                <a:buFont typeface="Arial" panose="020B0604020202020204" pitchFamily="34" charset="0"/>
                <a:buChar char="»"/>
                <a:defRPr sz="1600">
                  <a:solidFill>
                    <a:schemeClr val="tx1"/>
                  </a:solidFill>
                  <a:latin typeface="Calibri" panose="020F0502020204030204" pitchFamily="34" charset="0"/>
                </a:defRPr>
              </a:lvl5pPr>
              <a:lvl6pPr marL="25146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6pPr>
              <a:lvl7pPr marL="29718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7pPr>
              <a:lvl8pPr marL="34290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8pPr>
              <a:lvl9pPr marL="38862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9pPr>
            </a:lstStyle>
            <a:p>
              <a:pPr algn="ctr" defTabSz="914377" eaLnBrk="0" fontAlgn="base" hangingPunct="0">
                <a:spcBef>
                  <a:spcPct val="0"/>
                </a:spcBef>
                <a:spcAft>
                  <a:spcPct val="0"/>
                </a:spcAft>
                <a:buNone/>
              </a:pPr>
              <a:endParaRPr lang="en-US" altLang="en-US" sz="2000" b="1">
                <a:solidFill>
                  <a:srgbClr val="0000FF"/>
                </a:solidFill>
                <a:cs typeface="Calibri" panose="020F0502020204030204" pitchFamily="34" charset="0"/>
              </a:endParaRPr>
            </a:p>
          </p:txBody>
        </p:sp>
        <p:sp>
          <p:nvSpPr>
            <p:cNvPr id="135188" name="Rectangle 11" descr="Wide upward diagonal"/>
            <p:cNvSpPr>
              <a:spLocks noChangeArrowheads="1"/>
            </p:cNvSpPr>
            <p:nvPr/>
          </p:nvSpPr>
          <p:spPr bwMode="auto">
            <a:xfrm rot="-2172155">
              <a:off x="5349" y="1488"/>
              <a:ext cx="144" cy="48"/>
            </a:xfrm>
            <a:prstGeom prst="rect">
              <a:avLst/>
            </a:prstGeom>
            <a:blipFill dpi="0" rotWithShape="0">
              <a:blip r:embed="rId5"/>
              <a:srcRect/>
              <a:tile tx="0" ty="0" sx="100000" sy="100000" flip="none" algn="tl"/>
            </a:blipFill>
            <a:ln w="9525">
              <a:solidFill>
                <a:schemeClr val="tx1"/>
              </a:solidFill>
              <a:miter lim="800000"/>
              <a:headEnd/>
              <a:tailEnd/>
            </a:ln>
          </p:spPr>
          <p:txBody>
            <a:bodyPr wrap="none" anchor="ctr"/>
            <a:lstStyle>
              <a:lvl1pPr defTabSz="685800">
                <a:spcBef>
                  <a:spcPct val="20000"/>
                </a:spcBef>
                <a:buFont typeface="Arial" panose="020B0604020202020204" pitchFamily="34" charset="0"/>
                <a:buChar char="•"/>
                <a:defRPr sz="2400">
                  <a:solidFill>
                    <a:schemeClr val="tx1"/>
                  </a:solidFill>
                  <a:latin typeface="Calibri" panose="020F0502020204030204" pitchFamily="34" charset="0"/>
                </a:defRPr>
              </a:lvl1pPr>
              <a:lvl2pPr marL="742950" indent="-285750" defTabSz="685800">
                <a:spcBef>
                  <a:spcPct val="20000"/>
                </a:spcBef>
                <a:buFont typeface="Arial" panose="020B0604020202020204" pitchFamily="34" charset="0"/>
                <a:buChar char="–"/>
                <a:defRPr sz="2000">
                  <a:solidFill>
                    <a:schemeClr val="tx1"/>
                  </a:solidFill>
                  <a:latin typeface="Calibri" panose="020F0502020204030204" pitchFamily="34" charset="0"/>
                </a:defRPr>
              </a:lvl2pPr>
              <a:lvl3pPr marL="1143000" indent="-228600" defTabSz="685800">
                <a:spcBef>
                  <a:spcPct val="20000"/>
                </a:spcBef>
                <a:buFont typeface="Arial" panose="020B0604020202020204" pitchFamily="34" charset="0"/>
                <a:buChar char="•"/>
                <a:defRPr>
                  <a:solidFill>
                    <a:schemeClr val="tx1"/>
                  </a:solidFill>
                  <a:latin typeface="Calibri" panose="020F0502020204030204" pitchFamily="34" charset="0"/>
                </a:defRPr>
              </a:lvl3pPr>
              <a:lvl4pPr marL="1600200" indent="-228600" defTabSz="685800">
                <a:spcBef>
                  <a:spcPct val="20000"/>
                </a:spcBef>
                <a:buFont typeface="Arial" panose="020B0604020202020204" pitchFamily="34" charset="0"/>
                <a:buChar char="–"/>
                <a:defRPr sz="1600">
                  <a:solidFill>
                    <a:schemeClr val="tx1"/>
                  </a:solidFill>
                  <a:latin typeface="Calibri" panose="020F0502020204030204" pitchFamily="34" charset="0"/>
                </a:defRPr>
              </a:lvl4pPr>
              <a:lvl5pPr marL="2057400" indent="-228600" defTabSz="685800">
                <a:spcBef>
                  <a:spcPct val="20000"/>
                </a:spcBef>
                <a:buFont typeface="Arial" panose="020B0604020202020204" pitchFamily="34" charset="0"/>
                <a:buChar char="»"/>
                <a:defRPr sz="1600">
                  <a:solidFill>
                    <a:schemeClr val="tx1"/>
                  </a:solidFill>
                  <a:latin typeface="Calibri" panose="020F0502020204030204" pitchFamily="34" charset="0"/>
                </a:defRPr>
              </a:lvl5pPr>
              <a:lvl6pPr marL="25146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6pPr>
              <a:lvl7pPr marL="29718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7pPr>
              <a:lvl8pPr marL="34290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8pPr>
              <a:lvl9pPr marL="38862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9pPr>
            </a:lstStyle>
            <a:p>
              <a:pPr algn="ctr" defTabSz="914377" eaLnBrk="0" fontAlgn="base" hangingPunct="0">
                <a:spcBef>
                  <a:spcPct val="0"/>
                </a:spcBef>
                <a:spcAft>
                  <a:spcPct val="0"/>
                </a:spcAft>
                <a:buNone/>
              </a:pPr>
              <a:endParaRPr lang="en-US" altLang="en-US" sz="2000" b="1">
                <a:solidFill>
                  <a:srgbClr val="0000FF"/>
                </a:solidFill>
                <a:cs typeface="Calibri" panose="020F0502020204030204" pitchFamily="34" charset="0"/>
              </a:endParaRPr>
            </a:p>
          </p:txBody>
        </p:sp>
        <p:sp>
          <p:nvSpPr>
            <p:cNvPr id="135189" name="Rectangle 12" descr="Wide upward diagonal"/>
            <p:cNvSpPr>
              <a:spLocks noChangeArrowheads="1"/>
            </p:cNvSpPr>
            <p:nvPr/>
          </p:nvSpPr>
          <p:spPr bwMode="auto">
            <a:xfrm rot="3845552" flipH="1">
              <a:off x="5328" y="1776"/>
              <a:ext cx="144" cy="48"/>
            </a:xfrm>
            <a:prstGeom prst="rect">
              <a:avLst/>
            </a:prstGeom>
            <a:blipFill dpi="0" rotWithShape="0">
              <a:blip r:embed="rId5"/>
              <a:srcRect/>
              <a:tile tx="0" ty="0" sx="100000" sy="100000" flip="none" algn="tl"/>
            </a:blipFill>
            <a:ln w="9525">
              <a:solidFill>
                <a:schemeClr val="tx1"/>
              </a:solidFill>
              <a:miter lim="800000"/>
              <a:headEnd/>
              <a:tailEnd/>
            </a:ln>
          </p:spPr>
          <p:txBody>
            <a:bodyPr wrap="none" anchor="ctr"/>
            <a:lstStyle>
              <a:lvl1pPr defTabSz="685800">
                <a:spcBef>
                  <a:spcPct val="20000"/>
                </a:spcBef>
                <a:buFont typeface="Arial" panose="020B0604020202020204" pitchFamily="34" charset="0"/>
                <a:buChar char="•"/>
                <a:defRPr sz="2400">
                  <a:solidFill>
                    <a:schemeClr val="tx1"/>
                  </a:solidFill>
                  <a:latin typeface="Calibri" panose="020F0502020204030204" pitchFamily="34" charset="0"/>
                </a:defRPr>
              </a:lvl1pPr>
              <a:lvl2pPr marL="742950" indent="-285750" defTabSz="685800">
                <a:spcBef>
                  <a:spcPct val="20000"/>
                </a:spcBef>
                <a:buFont typeface="Arial" panose="020B0604020202020204" pitchFamily="34" charset="0"/>
                <a:buChar char="–"/>
                <a:defRPr sz="2000">
                  <a:solidFill>
                    <a:schemeClr val="tx1"/>
                  </a:solidFill>
                  <a:latin typeface="Calibri" panose="020F0502020204030204" pitchFamily="34" charset="0"/>
                </a:defRPr>
              </a:lvl2pPr>
              <a:lvl3pPr marL="1143000" indent="-228600" defTabSz="685800">
                <a:spcBef>
                  <a:spcPct val="20000"/>
                </a:spcBef>
                <a:buFont typeface="Arial" panose="020B0604020202020204" pitchFamily="34" charset="0"/>
                <a:buChar char="•"/>
                <a:defRPr>
                  <a:solidFill>
                    <a:schemeClr val="tx1"/>
                  </a:solidFill>
                  <a:latin typeface="Calibri" panose="020F0502020204030204" pitchFamily="34" charset="0"/>
                </a:defRPr>
              </a:lvl3pPr>
              <a:lvl4pPr marL="1600200" indent="-228600" defTabSz="685800">
                <a:spcBef>
                  <a:spcPct val="20000"/>
                </a:spcBef>
                <a:buFont typeface="Arial" panose="020B0604020202020204" pitchFamily="34" charset="0"/>
                <a:buChar char="–"/>
                <a:defRPr sz="1600">
                  <a:solidFill>
                    <a:schemeClr val="tx1"/>
                  </a:solidFill>
                  <a:latin typeface="Calibri" panose="020F0502020204030204" pitchFamily="34" charset="0"/>
                </a:defRPr>
              </a:lvl4pPr>
              <a:lvl5pPr marL="2057400" indent="-228600" defTabSz="685800">
                <a:spcBef>
                  <a:spcPct val="20000"/>
                </a:spcBef>
                <a:buFont typeface="Arial" panose="020B0604020202020204" pitchFamily="34" charset="0"/>
                <a:buChar char="»"/>
                <a:defRPr sz="1600">
                  <a:solidFill>
                    <a:schemeClr val="tx1"/>
                  </a:solidFill>
                  <a:latin typeface="Calibri" panose="020F0502020204030204" pitchFamily="34" charset="0"/>
                </a:defRPr>
              </a:lvl5pPr>
              <a:lvl6pPr marL="25146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6pPr>
              <a:lvl7pPr marL="29718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7pPr>
              <a:lvl8pPr marL="34290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8pPr>
              <a:lvl9pPr marL="38862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9pPr>
            </a:lstStyle>
            <a:p>
              <a:pPr algn="ctr" defTabSz="914377" eaLnBrk="0" fontAlgn="base" hangingPunct="0">
                <a:spcBef>
                  <a:spcPct val="0"/>
                </a:spcBef>
                <a:spcAft>
                  <a:spcPct val="0"/>
                </a:spcAft>
                <a:buNone/>
              </a:pPr>
              <a:endParaRPr lang="en-US" altLang="en-US" sz="2000" b="1">
                <a:solidFill>
                  <a:srgbClr val="0000FF"/>
                </a:solidFill>
                <a:cs typeface="Calibri" panose="020F0502020204030204" pitchFamily="34" charset="0"/>
              </a:endParaRPr>
            </a:p>
          </p:txBody>
        </p:sp>
        <p:sp>
          <p:nvSpPr>
            <p:cNvPr id="135190" name="Rectangle 13" descr="Wide upward diagonal"/>
            <p:cNvSpPr>
              <a:spLocks noChangeArrowheads="1"/>
            </p:cNvSpPr>
            <p:nvPr/>
          </p:nvSpPr>
          <p:spPr bwMode="auto">
            <a:xfrm rot="2399114" flipH="1">
              <a:off x="5820" y="1536"/>
              <a:ext cx="144" cy="48"/>
            </a:xfrm>
            <a:prstGeom prst="rect">
              <a:avLst/>
            </a:prstGeom>
            <a:blipFill dpi="0" rotWithShape="0">
              <a:blip r:embed="rId5"/>
              <a:srcRect/>
              <a:tile tx="0" ty="0" sx="100000" sy="100000" flip="none" algn="tl"/>
            </a:blipFill>
            <a:ln w="9525">
              <a:solidFill>
                <a:schemeClr val="tx1"/>
              </a:solidFill>
              <a:miter lim="800000"/>
              <a:headEnd/>
              <a:tailEnd/>
            </a:ln>
          </p:spPr>
          <p:txBody>
            <a:bodyPr wrap="none" anchor="ctr"/>
            <a:lstStyle>
              <a:lvl1pPr defTabSz="685800">
                <a:spcBef>
                  <a:spcPct val="20000"/>
                </a:spcBef>
                <a:buFont typeface="Arial" panose="020B0604020202020204" pitchFamily="34" charset="0"/>
                <a:buChar char="•"/>
                <a:defRPr sz="2400">
                  <a:solidFill>
                    <a:schemeClr val="tx1"/>
                  </a:solidFill>
                  <a:latin typeface="Calibri" panose="020F0502020204030204" pitchFamily="34" charset="0"/>
                </a:defRPr>
              </a:lvl1pPr>
              <a:lvl2pPr marL="742950" indent="-285750" defTabSz="685800">
                <a:spcBef>
                  <a:spcPct val="20000"/>
                </a:spcBef>
                <a:buFont typeface="Arial" panose="020B0604020202020204" pitchFamily="34" charset="0"/>
                <a:buChar char="–"/>
                <a:defRPr sz="2000">
                  <a:solidFill>
                    <a:schemeClr val="tx1"/>
                  </a:solidFill>
                  <a:latin typeface="Calibri" panose="020F0502020204030204" pitchFamily="34" charset="0"/>
                </a:defRPr>
              </a:lvl2pPr>
              <a:lvl3pPr marL="1143000" indent="-228600" defTabSz="685800">
                <a:spcBef>
                  <a:spcPct val="20000"/>
                </a:spcBef>
                <a:buFont typeface="Arial" panose="020B0604020202020204" pitchFamily="34" charset="0"/>
                <a:buChar char="•"/>
                <a:defRPr>
                  <a:solidFill>
                    <a:schemeClr val="tx1"/>
                  </a:solidFill>
                  <a:latin typeface="Calibri" panose="020F0502020204030204" pitchFamily="34" charset="0"/>
                </a:defRPr>
              </a:lvl3pPr>
              <a:lvl4pPr marL="1600200" indent="-228600" defTabSz="685800">
                <a:spcBef>
                  <a:spcPct val="20000"/>
                </a:spcBef>
                <a:buFont typeface="Arial" panose="020B0604020202020204" pitchFamily="34" charset="0"/>
                <a:buChar char="–"/>
                <a:defRPr sz="1600">
                  <a:solidFill>
                    <a:schemeClr val="tx1"/>
                  </a:solidFill>
                  <a:latin typeface="Calibri" panose="020F0502020204030204" pitchFamily="34" charset="0"/>
                </a:defRPr>
              </a:lvl4pPr>
              <a:lvl5pPr marL="2057400" indent="-228600" defTabSz="685800">
                <a:spcBef>
                  <a:spcPct val="20000"/>
                </a:spcBef>
                <a:buFont typeface="Arial" panose="020B0604020202020204" pitchFamily="34" charset="0"/>
                <a:buChar char="»"/>
                <a:defRPr sz="1600">
                  <a:solidFill>
                    <a:schemeClr val="tx1"/>
                  </a:solidFill>
                  <a:latin typeface="Calibri" panose="020F0502020204030204" pitchFamily="34" charset="0"/>
                </a:defRPr>
              </a:lvl5pPr>
              <a:lvl6pPr marL="25146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6pPr>
              <a:lvl7pPr marL="29718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7pPr>
              <a:lvl8pPr marL="34290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8pPr>
              <a:lvl9pPr marL="38862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9pPr>
            </a:lstStyle>
            <a:p>
              <a:pPr algn="ctr" defTabSz="914377" eaLnBrk="0" fontAlgn="base" hangingPunct="0">
                <a:spcBef>
                  <a:spcPct val="0"/>
                </a:spcBef>
                <a:spcAft>
                  <a:spcPct val="0"/>
                </a:spcAft>
                <a:buNone/>
              </a:pPr>
              <a:endParaRPr lang="en-US" altLang="en-US" sz="2000" b="1">
                <a:solidFill>
                  <a:srgbClr val="0000FF"/>
                </a:solidFill>
                <a:cs typeface="Calibri" panose="020F0502020204030204" pitchFamily="34" charset="0"/>
              </a:endParaRPr>
            </a:p>
          </p:txBody>
        </p:sp>
        <p:sp>
          <p:nvSpPr>
            <p:cNvPr id="135191" name="Rectangle 14" descr="Wide upward diagonal"/>
            <p:cNvSpPr>
              <a:spLocks noChangeArrowheads="1"/>
            </p:cNvSpPr>
            <p:nvPr/>
          </p:nvSpPr>
          <p:spPr bwMode="auto">
            <a:xfrm rot="-2172155">
              <a:off x="5808" y="1824"/>
              <a:ext cx="144" cy="48"/>
            </a:xfrm>
            <a:prstGeom prst="rect">
              <a:avLst/>
            </a:prstGeom>
            <a:blipFill dpi="0" rotWithShape="0">
              <a:blip r:embed="rId5"/>
              <a:srcRect/>
              <a:tile tx="0" ty="0" sx="100000" sy="100000" flip="none" algn="tl"/>
            </a:blipFill>
            <a:ln w="9525">
              <a:solidFill>
                <a:schemeClr val="tx1"/>
              </a:solidFill>
              <a:miter lim="800000"/>
              <a:headEnd/>
              <a:tailEnd/>
            </a:ln>
          </p:spPr>
          <p:txBody>
            <a:bodyPr wrap="none" anchor="ctr"/>
            <a:lstStyle>
              <a:lvl1pPr defTabSz="685800">
                <a:spcBef>
                  <a:spcPct val="20000"/>
                </a:spcBef>
                <a:buFont typeface="Arial" panose="020B0604020202020204" pitchFamily="34" charset="0"/>
                <a:buChar char="•"/>
                <a:defRPr sz="2400">
                  <a:solidFill>
                    <a:schemeClr val="tx1"/>
                  </a:solidFill>
                  <a:latin typeface="Calibri" panose="020F0502020204030204" pitchFamily="34" charset="0"/>
                </a:defRPr>
              </a:lvl1pPr>
              <a:lvl2pPr marL="742950" indent="-285750" defTabSz="685800">
                <a:spcBef>
                  <a:spcPct val="20000"/>
                </a:spcBef>
                <a:buFont typeface="Arial" panose="020B0604020202020204" pitchFamily="34" charset="0"/>
                <a:buChar char="–"/>
                <a:defRPr sz="2000">
                  <a:solidFill>
                    <a:schemeClr val="tx1"/>
                  </a:solidFill>
                  <a:latin typeface="Calibri" panose="020F0502020204030204" pitchFamily="34" charset="0"/>
                </a:defRPr>
              </a:lvl2pPr>
              <a:lvl3pPr marL="1143000" indent="-228600" defTabSz="685800">
                <a:spcBef>
                  <a:spcPct val="20000"/>
                </a:spcBef>
                <a:buFont typeface="Arial" panose="020B0604020202020204" pitchFamily="34" charset="0"/>
                <a:buChar char="•"/>
                <a:defRPr>
                  <a:solidFill>
                    <a:schemeClr val="tx1"/>
                  </a:solidFill>
                  <a:latin typeface="Calibri" panose="020F0502020204030204" pitchFamily="34" charset="0"/>
                </a:defRPr>
              </a:lvl3pPr>
              <a:lvl4pPr marL="1600200" indent="-228600" defTabSz="685800">
                <a:spcBef>
                  <a:spcPct val="20000"/>
                </a:spcBef>
                <a:buFont typeface="Arial" panose="020B0604020202020204" pitchFamily="34" charset="0"/>
                <a:buChar char="–"/>
                <a:defRPr sz="1600">
                  <a:solidFill>
                    <a:schemeClr val="tx1"/>
                  </a:solidFill>
                  <a:latin typeface="Calibri" panose="020F0502020204030204" pitchFamily="34" charset="0"/>
                </a:defRPr>
              </a:lvl4pPr>
              <a:lvl5pPr marL="2057400" indent="-228600" defTabSz="685800">
                <a:spcBef>
                  <a:spcPct val="20000"/>
                </a:spcBef>
                <a:buFont typeface="Arial" panose="020B0604020202020204" pitchFamily="34" charset="0"/>
                <a:buChar char="»"/>
                <a:defRPr sz="1600">
                  <a:solidFill>
                    <a:schemeClr val="tx1"/>
                  </a:solidFill>
                  <a:latin typeface="Calibri" panose="020F0502020204030204" pitchFamily="34" charset="0"/>
                </a:defRPr>
              </a:lvl5pPr>
              <a:lvl6pPr marL="25146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6pPr>
              <a:lvl7pPr marL="29718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7pPr>
              <a:lvl8pPr marL="34290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8pPr>
              <a:lvl9pPr marL="3886200" indent="-228600" defTabSz="6858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9pPr>
            </a:lstStyle>
            <a:p>
              <a:pPr algn="ctr" defTabSz="914377" eaLnBrk="0" fontAlgn="base" hangingPunct="0">
                <a:spcBef>
                  <a:spcPct val="0"/>
                </a:spcBef>
                <a:spcAft>
                  <a:spcPct val="0"/>
                </a:spcAft>
                <a:buNone/>
              </a:pPr>
              <a:endParaRPr lang="en-US" altLang="en-US" sz="2000" b="1">
                <a:solidFill>
                  <a:srgbClr val="0000FF"/>
                </a:solidFill>
                <a:cs typeface="Calibri" panose="020F0502020204030204" pitchFamily="34" charset="0"/>
              </a:endParaRPr>
            </a:p>
          </p:txBody>
        </p:sp>
      </p:grpSp>
      <p:pic>
        <p:nvPicPr>
          <p:cNvPr id="135174"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01627" y="1378424"/>
            <a:ext cx="1903652" cy="1634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lgn="ctr">
                <a:solidFill>
                  <a:srgbClr val="000000"/>
                </a:solidFill>
                <a:miter lim="800000"/>
                <a:headEnd/>
                <a:tailEnd/>
              </a14:hiddenLine>
            </a:ext>
          </a:extLst>
        </p:spPr>
      </p:pic>
      <p:sp>
        <p:nvSpPr>
          <p:cNvPr id="18" name="Rectangle 13"/>
          <p:cNvSpPr txBox="1">
            <a:spLocks noChangeArrowheads="1"/>
          </p:cNvSpPr>
          <p:nvPr/>
        </p:nvSpPr>
        <p:spPr bwMode="auto">
          <a:xfrm>
            <a:off x="1524000" y="0"/>
            <a:ext cx="58674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defTabSz="914377">
              <a:defRPr/>
            </a:pPr>
            <a:r>
              <a:rPr lang="en-US" sz="2200" i="0" dirty="0">
                <a:solidFill>
                  <a:srgbClr val="000000"/>
                </a:solidFill>
                <a:latin typeface="Calibri" pitchFamily="34" charset="0"/>
              </a:rPr>
              <a:t>Clutch disc</a:t>
            </a:r>
          </a:p>
        </p:txBody>
      </p:sp>
      <p:sp>
        <p:nvSpPr>
          <p:cNvPr id="19" name="Rectangle: Top Corners Snipped 2">
            <a:extLst>
              <a:ext uri="{FF2B5EF4-FFF2-40B4-BE49-F238E27FC236}">
                <a16:creationId xmlns:a16="http://schemas.microsoft.com/office/drawing/2014/main" id="{B04E406E-6F46-4FFB-A4E4-3A9B15EEB267}"/>
              </a:ext>
            </a:extLst>
          </p:cNvPr>
          <p:cNvSpPr/>
          <p:nvPr/>
        </p:nvSpPr>
        <p:spPr>
          <a:xfrm rot="10800000">
            <a:off x="609600" y="0"/>
            <a:ext cx="9956800" cy="1026584"/>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400">
              <a:solidFill>
                <a:prstClr val="white"/>
              </a:solidFill>
              <a:latin typeface="Calibri"/>
            </a:endParaRPr>
          </a:p>
        </p:txBody>
      </p:sp>
      <p:sp>
        <p:nvSpPr>
          <p:cNvPr id="135178" name="TextBox 19"/>
          <p:cNvSpPr txBox="1">
            <a:spLocks noChangeArrowheads="1"/>
          </p:cNvSpPr>
          <p:nvPr/>
        </p:nvSpPr>
        <p:spPr bwMode="auto">
          <a:xfrm>
            <a:off x="728133" y="44451"/>
            <a:ext cx="2249334"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24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0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16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9pPr>
          </a:lstStyle>
          <a:p>
            <a:pPr defTabSz="1219170" fontAlgn="base">
              <a:spcBef>
                <a:spcPct val="0"/>
              </a:spcBef>
              <a:spcAft>
                <a:spcPct val="0"/>
              </a:spcAft>
              <a:buNone/>
            </a:pPr>
            <a:r>
              <a:rPr lang="en-IN" altLang="en-US" sz="4000" b="1">
                <a:solidFill>
                  <a:prstClr val="black"/>
                </a:solidFill>
                <a:latin typeface="Century Gothic" panose="020B0502020202020204" pitchFamily="34" charset="0"/>
              </a:rPr>
              <a:t> CLUTCH</a:t>
            </a:r>
            <a:endParaRPr lang="en-US" altLang="en-US" sz="4000" b="1">
              <a:solidFill>
                <a:prstClr val="black"/>
              </a:solidFill>
              <a:latin typeface="Century Gothic" panose="020B0502020202020204" pitchFamily="34" charset="0"/>
            </a:endParaRPr>
          </a:p>
        </p:txBody>
      </p:sp>
      <p:sp>
        <p:nvSpPr>
          <p:cNvPr id="21" name="Rectangle 20">
            <a:extLst>
              <a:ext uri="{FF2B5EF4-FFF2-40B4-BE49-F238E27FC236}">
                <a16:creationId xmlns:a16="http://schemas.microsoft.com/office/drawing/2014/main" id="{B497DA9D-EB5A-4BD2-8001-A59C8AC8200D}"/>
              </a:ext>
            </a:extLst>
          </p:cNvPr>
          <p:cNvSpPr/>
          <p:nvPr/>
        </p:nvSpPr>
        <p:spPr>
          <a:xfrm>
            <a:off x="103628" y="4114192"/>
            <a:ext cx="5918349" cy="1366384"/>
          </a:xfrm>
          <a:prstGeom prst="rect">
            <a:avLst/>
          </a:prstGeom>
          <a:noFill/>
          <a:ln>
            <a:noFill/>
          </a:ln>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lstStyle/>
          <a:p>
            <a:pPr algn="just" defTabSz="685783">
              <a:lnSpc>
                <a:spcPct val="150000"/>
              </a:lnSpc>
              <a:defRPr/>
            </a:pPr>
            <a:r>
              <a:rPr lang="en-US" sz="1600" b="1" dirty="0">
                <a:solidFill>
                  <a:srgbClr val="000000"/>
                </a:solidFill>
                <a:latin typeface="Century Gothic" panose="020B0502020202020204" pitchFamily="34" charset="0"/>
                <a:cs typeface="Calibri" pitchFamily="34" charset="0"/>
              </a:rPr>
              <a:t>Function:</a:t>
            </a:r>
          </a:p>
          <a:p>
            <a:pPr marL="214308" indent="-214308" algn="just" defTabSz="685783">
              <a:lnSpc>
                <a:spcPct val="150000"/>
              </a:lnSpc>
              <a:buFont typeface="Wingdings" pitchFamily="2" charset="2"/>
              <a:buChar char="§"/>
              <a:defRPr/>
            </a:pPr>
            <a:r>
              <a:rPr lang="en-US" sz="1600" dirty="0">
                <a:solidFill>
                  <a:srgbClr val="000000"/>
                </a:solidFill>
                <a:latin typeface="Century Gothic" panose="020B0502020202020204" pitchFamily="34" charset="0"/>
                <a:cs typeface="Calibri" pitchFamily="34" charset="0"/>
              </a:rPr>
              <a:t>Enables the Engine to builds up torque before transmitting to prevent stalling of Engine.</a:t>
            </a:r>
          </a:p>
          <a:p>
            <a:pPr marL="214308" indent="-214308" algn="just" defTabSz="685783">
              <a:lnSpc>
                <a:spcPct val="150000"/>
              </a:lnSpc>
              <a:buFont typeface="Wingdings" pitchFamily="2" charset="2"/>
              <a:buChar char="§"/>
              <a:defRPr/>
            </a:pPr>
            <a:r>
              <a:rPr lang="en-US" sz="1600" dirty="0">
                <a:solidFill>
                  <a:srgbClr val="000000"/>
                </a:solidFill>
                <a:latin typeface="Century Gothic" panose="020B0502020202020204" pitchFamily="34" charset="0"/>
                <a:cs typeface="Calibri" pitchFamily="34" charset="0"/>
              </a:rPr>
              <a:t>Connects &amp; disconnects a running engine  smoothly   to the road wheels. </a:t>
            </a:r>
          </a:p>
          <a:p>
            <a:pPr marL="214308" indent="-214308" algn="just" defTabSz="685783">
              <a:lnSpc>
                <a:spcPct val="150000"/>
              </a:lnSpc>
              <a:buFont typeface="Wingdings" pitchFamily="2" charset="2"/>
              <a:buChar char="§"/>
              <a:defRPr/>
            </a:pPr>
            <a:r>
              <a:rPr lang="en-US" sz="1600" dirty="0">
                <a:solidFill>
                  <a:srgbClr val="000000"/>
                </a:solidFill>
                <a:latin typeface="Century Gothic" panose="020B0502020202020204" pitchFamily="34" charset="0"/>
                <a:cs typeface="Calibri" pitchFamily="34" charset="0"/>
              </a:rPr>
              <a:t>Permits gear change when the vehicle is in motion</a:t>
            </a:r>
            <a:endParaRPr lang="en-US" sz="1600" dirty="0">
              <a:solidFill>
                <a:srgbClr val="000000"/>
              </a:solidFill>
              <a:latin typeface="Century Gothic" panose="020B0502020202020204" pitchFamily="34" charset="0"/>
            </a:endParaRPr>
          </a:p>
        </p:txBody>
      </p:sp>
      <p:pic>
        <p:nvPicPr>
          <p:cNvPr id="22" name="Picture 21">
            <a:extLst>
              <a:ext uri="{FF2B5EF4-FFF2-40B4-BE49-F238E27FC236}">
                <a16:creationId xmlns:a16="http://schemas.microsoft.com/office/drawing/2014/main" id="{2D3A2D91-FC25-4C47-96C9-A5C08A429F89}"/>
              </a:ext>
            </a:extLst>
          </p:cNvPr>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321222" y="1215214"/>
            <a:ext cx="2461383" cy="1781080"/>
          </a:xfrm>
          <a:prstGeom prst="rect">
            <a:avLst/>
          </a:prstGeom>
        </p:spPr>
      </p:pic>
      <p:pic>
        <p:nvPicPr>
          <p:cNvPr id="23" name="Picture 22">
            <a:extLst>
              <a:ext uri="{FF2B5EF4-FFF2-40B4-BE49-F238E27FC236}">
                <a16:creationId xmlns:a16="http://schemas.microsoft.com/office/drawing/2014/main" id="{CF4F635F-39F5-401F-8D61-914C4EB10618}"/>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9756055" y="1324088"/>
            <a:ext cx="1881606" cy="1617007"/>
          </a:xfrm>
          <a:prstGeom prst="rect">
            <a:avLst/>
          </a:prstGeom>
        </p:spPr>
      </p:pic>
      <p:sp>
        <p:nvSpPr>
          <p:cNvPr id="33" name="Rectangle 32"/>
          <p:cNvSpPr/>
          <p:nvPr/>
        </p:nvSpPr>
        <p:spPr>
          <a:xfrm>
            <a:off x="175278" y="3039277"/>
            <a:ext cx="2104732" cy="510539"/>
          </a:xfrm>
          <a:prstGeom prst="rect">
            <a:avLst/>
          </a:prstGeom>
          <a:solidFill>
            <a:schemeClr val="accent5">
              <a:lumMod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454468" y="3061863"/>
            <a:ext cx="2104732" cy="510539"/>
          </a:xfrm>
          <a:prstGeom prst="rect">
            <a:avLst/>
          </a:prstGeom>
          <a:solidFill>
            <a:schemeClr val="accent5">
              <a:lumMod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4696636" y="3039277"/>
            <a:ext cx="2104732" cy="510539"/>
          </a:xfrm>
          <a:prstGeom prst="rect">
            <a:avLst/>
          </a:prstGeom>
          <a:solidFill>
            <a:schemeClr val="accent5">
              <a:lumMod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7192972" y="3061862"/>
            <a:ext cx="2104732" cy="510539"/>
          </a:xfrm>
          <a:prstGeom prst="rect">
            <a:avLst/>
          </a:prstGeom>
          <a:solidFill>
            <a:schemeClr val="accent5">
              <a:lumMod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9760501" y="3029740"/>
            <a:ext cx="2104732" cy="510539"/>
          </a:xfrm>
          <a:prstGeom prst="rect">
            <a:avLst/>
          </a:prstGeom>
          <a:solidFill>
            <a:schemeClr val="accent5">
              <a:lumMod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Box 43"/>
          <p:cNvSpPr txBox="1">
            <a:spLocks noChangeArrowheads="1"/>
          </p:cNvSpPr>
          <p:nvPr/>
        </p:nvSpPr>
        <p:spPr bwMode="auto">
          <a:xfrm>
            <a:off x="2627618" y="3047821"/>
            <a:ext cx="185018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defPPr>
              <a:defRPr lang="en-US"/>
            </a:defPPr>
            <a:lvl1pPr algn="ctr" rtl="0" eaLnBrk="0" fontAlgn="base" hangingPunct="0">
              <a:spcBef>
                <a:spcPct val="0"/>
              </a:spcBef>
              <a:spcAft>
                <a:spcPct val="0"/>
              </a:spcAft>
              <a:defRPr sz="2000" b="1" kern="1200">
                <a:solidFill>
                  <a:schemeClr val="tx1"/>
                </a:solidFill>
                <a:latin typeface="Verdana" pitchFamily="34" charset="0"/>
                <a:ea typeface="+mn-ea"/>
                <a:cs typeface="+mn-cs"/>
              </a:defRPr>
            </a:lvl1pPr>
            <a:lvl2pPr marL="457200" algn="ctr" rtl="0" eaLnBrk="0" fontAlgn="base" hangingPunct="0">
              <a:spcBef>
                <a:spcPct val="0"/>
              </a:spcBef>
              <a:spcAft>
                <a:spcPct val="0"/>
              </a:spcAft>
              <a:defRPr sz="2000" b="1" kern="1200">
                <a:solidFill>
                  <a:schemeClr val="tx1"/>
                </a:solidFill>
                <a:latin typeface="Verdana" pitchFamily="34" charset="0"/>
                <a:ea typeface="+mn-ea"/>
                <a:cs typeface="+mn-cs"/>
              </a:defRPr>
            </a:lvl2pPr>
            <a:lvl3pPr marL="914400" algn="ctr" rtl="0" eaLnBrk="0" fontAlgn="base" hangingPunct="0">
              <a:spcBef>
                <a:spcPct val="0"/>
              </a:spcBef>
              <a:spcAft>
                <a:spcPct val="0"/>
              </a:spcAft>
              <a:defRPr sz="2000" b="1" kern="1200">
                <a:solidFill>
                  <a:schemeClr val="tx1"/>
                </a:solidFill>
                <a:latin typeface="Verdana" pitchFamily="34" charset="0"/>
                <a:ea typeface="+mn-ea"/>
                <a:cs typeface="+mn-cs"/>
              </a:defRPr>
            </a:lvl3pPr>
            <a:lvl4pPr marL="1371600" algn="ctr" rtl="0" eaLnBrk="0" fontAlgn="base" hangingPunct="0">
              <a:spcBef>
                <a:spcPct val="0"/>
              </a:spcBef>
              <a:spcAft>
                <a:spcPct val="0"/>
              </a:spcAft>
              <a:defRPr sz="2000" b="1" kern="1200">
                <a:solidFill>
                  <a:schemeClr val="tx1"/>
                </a:solidFill>
                <a:latin typeface="Verdana" pitchFamily="34" charset="0"/>
                <a:ea typeface="+mn-ea"/>
                <a:cs typeface="+mn-cs"/>
              </a:defRPr>
            </a:lvl4pPr>
            <a:lvl5pPr marL="1828800" algn="ctr" rtl="0" eaLnBrk="0" fontAlgn="base" hangingPunct="0">
              <a:spcBef>
                <a:spcPct val="0"/>
              </a:spcBef>
              <a:spcAft>
                <a:spcPct val="0"/>
              </a:spcAft>
              <a:defRPr sz="2000" b="1" kern="1200">
                <a:solidFill>
                  <a:schemeClr val="tx1"/>
                </a:solidFill>
                <a:latin typeface="Verdana" pitchFamily="34" charset="0"/>
                <a:ea typeface="+mn-ea"/>
                <a:cs typeface="+mn-cs"/>
              </a:defRPr>
            </a:lvl5pPr>
            <a:lvl6pPr marL="2286000" algn="l" defTabSz="914400" rtl="0" eaLnBrk="1" latinLnBrk="0" hangingPunct="1">
              <a:defRPr sz="2000" b="1" kern="1200">
                <a:solidFill>
                  <a:schemeClr val="tx1"/>
                </a:solidFill>
                <a:latin typeface="Verdana" pitchFamily="34" charset="0"/>
                <a:ea typeface="+mn-ea"/>
                <a:cs typeface="+mn-cs"/>
              </a:defRPr>
            </a:lvl6pPr>
            <a:lvl7pPr marL="2743200" algn="l" defTabSz="914400" rtl="0" eaLnBrk="1" latinLnBrk="0" hangingPunct="1">
              <a:defRPr sz="2000" b="1" kern="1200">
                <a:solidFill>
                  <a:schemeClr val="tx1"/>
                </a:solidFill>
                <a:latin typeface="Verdana" pitchFamily="34" charset="0"/>
                <a:ea typeface="+mn-ea"/>
                <a:cs typeface="+mn-cs"/>
              </a:defRPr>
            </a:lvl7pPr>
            <a:lvl8pPr marL="3200400" algn="l" defTabSz="914400" rtl="0" eaLnBrk="1" latinLnBrk="0" hangingPunct="1">
              <a:defRPr sz="2000" b="1" kern="1200">
                <a:solidFill>
                  <a:schemeClr val="tx1"/>
                </a:solidFill>
                <a:latin typeface="Verdana" pitchFamily="34" charset="0"/>
                <a:ea typeface="+mn-ea"/>
                <a:cs typeface="+mn-cs"/>
              </a:defRPr>
            </a:lvl8pPr>
            <a:lvl9pPr marL="3657600" algn="l" defTabSz="914400" rtl="0" eaLnBrk="1" latinLnBrk="0" hangingPunct="1">
              <a:defRPr sz="2000" b="1" kern="1200">
                <a:solidFill>
                  <a:schemeClr val="tx1"/>
                </a:solidFill>
                <a:latin typeface="Verdana" pitchFamily="34" charset="0"/>
                <a:ea typeface="+mn-ea"/>
                <a:cs typeface="+mn-cs"/>
              </a:defRPr>
            </a:lvl9pPr>
          </a:lstStyle>
          <a:p>
            <a:pPr defTabSz="914377">
              <a:defRPr/>
            </a:pPr>
            <a:r>
              <a:rPr lang="en-US" sz="1500" dirty="0">
                <a:solidFill>
                  <a:schemeClr val="bg1"/>
                </a:solidFill>
                <a:latin typeface="Century Gothic" panose="020B0502020202020204" pitchFamily="34" charset="0"/>
                <a:cs typeface="Calibri" pitchFamily="34" charset="0"/>
              </a:rPr>
              <a:t>Asbestos</a:t>
            </a:r>
          </a:p>
          <a:p>
            <a:pPr defTabSz="914377">
              <a:defRPr/>
            </a:pPr>
            <a:r>
              <a:rPr lang="en-US" sz="1500" dirty="0">
                <a:solidFill>
                  <a:schemeClr val="bg1"/>
                </a:solidFill>
                <a:latin typeface="Century Gothic" panose="020B0502020202020204" pitchFamily="34" charset="0"/>
                <a:cs typeface="Calibri" pitchFamily="34" charset="0"/>
              </a:rPr>
              <a:t>(Banned by </a:t>
            </a:r>
            <a:r>
              <a:rPr lang="en-US" sz="1500" dirty="0" err="1">
                <a:solidFill>
                  <a:schemeClr val="bg1"/>
                </a:solidFill>
                <a:latin typeface="Century Gothic" panose="020B0502020202020204" pitchFamily="34" charset="0"/>
                <a:cs typeface="Calibri" pitchFamily="34" charset="0"/>
              </a:rPr>
              <a:t>Govt</a:t>
            </a:r>
            <a:r>
              <a:rPr lang="en-US" sz="1500" dirty="0">
                <a:solidFill>
                  <a:schemeClr val="bg1"/>
                </a:solidFill>
                <a:latin typeface="Century Gothic" panose="020B0502020202020204" pitchFamily="34" charset="0"/>
                <a:cs typeface="Calibri" pitchFamily="34" charset="0"/>
              </a:rPr>
              <a:t>)</a:t>
            </a:r>
          </a:p>
        </p:txBody>
      </p:sp>
      <p:sp>
        <p:nvSpPr>
          <p:cNvPr id="17" name="Text Box 44"/>
          <p:cNvSpPr txBox="1">
            <a:spLocks noChangeArrowheads="1"/>
          </p:cNvSpPr>
          <p:nvPr/>
        </p:nvSpPr>
        <p:spPr bwMode="auto">
          <a:xfrm>
            <a:off x="4622346" y="3029682"/>
            <a:ext cx="23227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algn="ctr" rtl="0" eaLnBrk="0" fontAlgn="base" hangingPunct="0">
              <a:spcBef>
                <a:spcPct val="0"/>
              </a:spcBef>
              <a:spcAft>
                <a:spcPct val="0"/>
              </a:spcAft>
              <a:defRPr sz="2000" b="1" kern="1200">
                <a:solidFill>
                  <a:schemeClr val="tx1"/>
                </a:solidFill>
                <a:latin typeface="Verdana" pitchFamily="34" charset="0"/>
                <a:ea typeface="+mn-ea"/>
                <a:cs typeface="+mn-cs"/>
              </a:defRPr>
            </a:lvl1pPr>
            <a:lvl2pPr marL="457200" algn="ctr" rtl="0" eaLnBrk="0" fontAlgn="base" hangingPunct="0">
              <a:spcBef>
                <a:spcPct val="0"/>
              </a:spcBef>
              <a:spcAft>
                <a:spcPct val="0"/>
              </a:spcAft>
              <a:defRPr sz="2000" b="1" kern="1200">
                <a:solidFill>
                  <a:schemeClr val="tx1"/>
                </a:solidFill>
                <a:latin typeface="Verdana" pitchFamily="34" charset="0"/>
                <a:ea typeface="+mn-ea"/>
                <a:cs typeface="+mn-cs"/>
              </a:defRPr>
            </a:lvl2pPr>
            <a:lvl3pPr marL="914400" algn="ctr" rtl="0" eaLnBrk="0" fontAlgn="base" hangingPunct="0">
              <a:spcBef>
                <a:spcPct val="0"/>
              </a:spcBef>
              <a:spcAft>
                <a:spcPct val="0"/>
              </a:spcAft>
              <a:defRPr sz="2000" b="1" kern="1200">
                <a:solidFill>
                  <a:schemeClr val="tx1"/>
                </a:solidFill>
                <a:latin typeface="Verdana" pitchFamily="34" charset="0"/>
                <a:ea typeface="+mn-ea"/>
                <a:cs typeface="+mn-cs"/>
              </a:defRPr>
            </a:lvl3pPr>
            <a:lvl4pPr marL="1371600" algn="ctr" rtl="0" eaLnBrk="0" fontAlgn="base" hangingPunct="0">
              <a:spcBef>
                <a:spcPct val="0"/>
              </a:spcBef>
              <a:spcAft>
                <a:spcPct val="0"/>
              </a:spcAft>
              <a:defRPr sz="2000" b="1" kern="1200">
                <a:solidFill>
                  <a:schemeClr val="tx1"/>
                </a:solidFill>
                <a:latin typeface="Verdana" pitchFamily="34" charset="0"/>
                <a:ea typeface="+mn-ea"/>
                <a:cs typeface="+mn-cs"/>
              </a:defRPr>
            </a:lvl4pPr>
            <a:lvl5pPr marL="1828800" algn="ctr" rtl="0" eaLnBrk="0" fontAlgn="base" hangingPunct="0">
              <a:spcBef>
                <a:spcPct val="0"/>
              </a:spcBef>
              <a:spcAft>
                <a:spcPct val="0"/>
              </a:spcAft>
              <a:defRPr sz="2000" b="1" kern="1200">
                <a:solidFill>
                  <a:schemeClr val="tx1"/>
                </a:solidFill>
                <a:latin typeface="Verdana" pitchFamily="34" charset="0"/>
                <a:ea typeface="+mn-ea"/>
                <a:cs typeface="+mn-cs"/>
              </a:defRPr>
            </a:lvl5pPr>
            <a:lvl6pPr marL="2286000" algn="l" defTabSz="914400" rtl="0" eaLnBrk="1" latinLnBrk="0" hangingPunct="1">
              <a:defRPr sz="2000" b="1" kern="1200">
                <a:solidFill>
                  <a:schemeClr val="tx1"/>
                </a:solidFill>
                <a:latin typeface="Verdana" pitchFamily="34" charset="0"/>
                <a:ea typeface="+mn-ea"/>
                <a:cs typeface="+mn-cs"/>
              </a:defRPr>
            </a:lvl6pPr>
            <a:lvl7pPr marL="2743200" algn="l" defTabSz="914400" rtl="0" eaLnBrk="1" latinLnBrk="0" hangingPunct="1">
              <a:defRPr sz="2000" b="1" kern="1200">
                <a:solidFill>
                  <a:schemeClr val="tx1"/>
                </a:solidFill>
                <a:latin typeface="Verdana" pitchFamily="34" charset="0"/>
                <a:ea typeface="+mn-ea"/>
                <a:cs typeface="+mn-cs"/>
              </a:defRPr>
            </a:lvl7pPr>
            <a:lvl8pPr marL="3200400" algn="l" defTabSz="914400" rtl="0" eaLnBrk="1" latinLnBrk="0" hangingPunct="1">
              <a:defRPr sz="2000" b="1" kern="1200">
                <a:solidFill>
                  <a:schemeClr val="tx1"/>
                </a:solidFill>
                <a:latin typeface="Verdana" pitchFamily="34" charset="0"/>
                <a:ea typeface="+mn-ea"/>
                <a:cs typeface="+mn-cs"/>
              </a:defRPr>
            </a:lvl8pPr>
            <a:lvl9pPr marL="3657600" algn="l" defTabSz="914400" rtl="0" eaLnBrk="1" latinLnBrk="0" hangingPunct="1">
              <a:defRPr sz="2000" b="1" kern="1200">
                <a:solidFill>
                  <a:schemeClr val="tx1"/>
                </a:solidFill>
                <a:latin typeface="Verdana" pitchFamily="34" charset="0"/>
                <a:ea typeface="+mn-ea"/>
                <a:cs typeface="+mn-cs"/>
              </a:defRPr>
            </a:lvl9pPr>
          </a:lstStyle>
          <a:p>
            <a:pPr defTabSz="914377">
              <a:defRPr/>
            </a:pPr>
            <a:r>
              <a:rPr lang="en-US" sz="1500" dirty="0">
                <a:solidFill>
                  <a:schemeClr val="bg1"/>
                </a:solidFill>
                <a:latin typeface="Century Gothic" panose="020B0502020202020204" pitchFamily="34" charset="0"/>
                <a:cs typeface="Calibri" pitchFamily="34" charset="0"/>
              </a:rPr>
              <a:t>Ceramic- runs cooler &amp; Better life</a:t>
            </a:r>
          </a:p>
        </p:txBody>
      </p:sp>
      <p:sp>
        <p:nvSpPr>
          <p:cNvPr id="26" name="Text Box 44"/>
          <p:cNvSpPr txBox="1">
            <a:spLocks noChangeArrowheads="1"/>
          </p:cNvSpPr>
          <p:nvPr/>
        </p:nvSpPr>
        <p:spPr bwMode="auto">
          <a:xfrm>
            <a:off x="6986289" y="3132963"/>
            <a:ext cx="252505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algn="ctr" rtl="0" eaLnBrk="0" fontAlgn="base" hangingPunct="0">
              <a:spcBef>
                <a:spcPct val="0"/>
              </a:spcBef>
              <a:spcAft>
                <a:spcPct val="0"/>
              </a:spcAft>
              <a:defRPr sz="2000" b="1" kern="1200">
                <a:solidFill>
                  <a:schemeClr val="tx1"/>
                </a:solidFill>
                <a:latin typeface="Verdana" pitchFamily="34" charset="0"/>
                <a:ea typeface="+mn-ea"/>
                <a:cs typeface="+mn-cs"/>
              </a:defRPr>
            </a:lvl1pPr>
            <a:lvl2pPr marL="457200" algn="ctr" rtl="0" eaLnBrk="0" fontAlgn="base" hangingPunct="0">
              <a:spcBef>
                <a:spcPct val="0"/>
              </a:spcBef>
              <a:spcAft>
                <a:spcPct val="0"/>
              </a:spcAft>
              <a:defRPr sz="2000" b="1" kern="1200">
                <a:solidFill>
                  <a:schemeClr val="tx1"/>
                </a:solidFill>
                <a:latin typeface="Verdana" pitchFamily="34" charset="0"/>
                <a:ea typeface="+mn-ea"/>
                <a:cs typeface="+mn-cs"/>
              </a:defRPr>
            </a:lvl2pPr>
            <a:lvl3pPr marL="914400" algn="ctr" rtl="0" eaLnBrk="0" fontAlgn="base" hangingPunct="0">
              <a:spcBef>
                <a:spcPct val="0"/>
              </a:spcBef>
              <a:spcAft>
                <a:spcPct val="0"/>
              </a:spcAft>
              <a:defRPr sz="2000" b="1" kern="1200">
                <a:solidFill>
                  <a:schemeClr val="tx1"/>
                </a:solidFill>
                <a:latin typeface="Verdana" pitchFamily="34" charset="0"/>
                <a:ea typeface="+mn-ea"/>
                <a:cs typeface="+mn-cs"/>
              </a:defRPr>
            </a:lvl3pPr>
            <a:lvl4pPr marL="1371600" algn="ctr" rtl="0" eaLnBrk="0" fontAlgn="base" hangingPunct="0">
              <a:spcBef>
                <a:spcPct val="0"/>
              </a:spcBef>
              <a:spcAft>
                <a:spcPct val="0"/>
              </a:spcAft>
              <a:defRPr sz="2000" b="1" kern="1200">
                <a:solidFill>
                  <a:schemeClr val="tx1"/>
                </a:solidFill>
                <a:latin typeface="Verdana" pitchFamily="34" charset="0"/>
                <a:ea typeface="+mn-ea"/>
                <a:cs typeface="+mn-cs"/>
              </a:defRPr>
            </a:lvl4pPr>
            <a:lvl5pPr marL="1828800" algn="ctr" rtl="0" eaLnBrk="0" fontAlgn="base" hangingPunct="0">
              <a:spcBef>
                <a:spcPct val="0"/>
              </a:spcBef>
              <a:spcAft>
                <a:spcPct val="0"/>
              </a:spcAft>
              <a:defRPr sz="2000" b="1" kern="1200">
                <a:solidFill>
                  <a:schemeClr val="tx1"/>
                </a:solidFill>
                <a:latin typeface="Verdana" pitchFamily="34" charset="0"/>
                <a:ea typeface="+mn-ea"/>
                <a:cs typeface="+mn-cs"/>
              </a:defRPr>
            </a:lvl5pPr>
            <a:lvl6pPr marL="2286000" algn="l" defTabSz="914400" rtl="0" eaLnBrk="1" latinLnBrk="0" hangingPunct="1">
              <a:defRPr sz="2000" b="1" kern="1200">
                <a:solidFill>
                  <a:schemeClr val="tx1"/>
                </a:solidFill>
                <a:latin typeface="Verdana" pitchFamily="34" charset="0"/>
                <a:ea typeface="+mn-ea"/>
                <a:cs typeface="+mn-cs"/>
              </a:defRPr>
            </a:lvl6pPr>
            <a:lvl7pPr marL="2743200" algn="l" defTabSz="914400" rtl="0" eaLnBrk="1" latinLnBrk="0" hangingPunct="1">
              <a:defRPr sz="2000" b="1" kern="1200">
                <a:solidFill>
                  <a:schemeClr val="tx1"/>
                </a:solidFill>
                <a:latin typeface="Verdana" pitchFamily="34" charset="0"/>
                <a:ea typeface="+mn-ea"/>
                <a:cs typeface="+mn-cs"/>
              </a:defRPr>
            </a:lvl7pPr>
            <a:lvl8pPr marL="3200400" algn="l" defTabSz="914400" rtl="0" eaLnBrk="1" latinLnBrk="0" hangingPunct="1">
              <a:defRPr sz="2000" b="1" kern="1200">
                <a:solidFill>
                  <a:schemeClr val="tx1"/>
                </a:solidFill>
                <a:latin typeface="Verdana" pitchFamily="34" charset="0"/>
                <a:ea typeface="+mn-ea"/>
                <a:cs typeface="+mn-cs"/>
              </a:defRPr>
            </a:lvl8pPr>
            <a:lvl9pPr marL="3657600" algn="l" defTabSz="914400" rtl="0" eaLnBrk="1" latinLnBrk="0" hangingPunct="1">
              <a:defRPr sz="2000" b="1" kern="1200">
                <a:solidFill>
                  <a:schemeClr val="tx1"/>
                </a:solidFill>
                <a:latin typeface="Verdana" pitchFamily="34" charset="0"/>
                <a:ea typeface="+mn-ea"/>
                <a:cs typeface="+mn-cs"/>
              </a:defRPr>
            </a:lvl9pPr>
          </a:lstStyle>
          <a:p>
            <a:pPr defTabSz="914377">
              <a:defRPr/>
            </a:pPr>
            <a:r>
              <a:rPr lang="en-US" sz="1500" dirty="0">
                <a:solidFill>
                  <a:schemeClr val="bg1"/>
                </a:solidFill>
                <a:latin typeface="Century Gothic" panose="020B0502020202020204" pitchFamily="34" charset="0"/>
                <a:cs typeface="Calibri" pitchFamily="34" charset="0"/>
              </a:rPr>
              <a:t>Integrated pedal unit</a:t>
            </a:r>
          </a:p>
        </p:txBody>
      </p:sp>
      <p:sp>
        <p:nvSpPr>
          <p:cNvPr id="27" name="Text Box 44"/>
          <p:cNvSpPr txBox="1">
            <a:spLocks noChangeArrowheads="1"/>
          </p:cNvSpPr>
          <p:nvPr/>
        </p:nvSpPr>
        <p:spPr bwMode="auto">
          <a:xfrm>
            <a:off x="9820083" y="3013357"/>
            <a:ext cx="1970711"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algn="ctr" rtl="0" eaLnBrk="0" fontAlgn="base" hangingPunct="0">
              <a:spcBef>
                <a:spcPct val="0"/>
              </a:spcBef>
              <a:spcAft>
                <a:spcPct val="0"/>
              </a:spcAft>
              <a:defRPr sz="2000" b="1" kern="1200">
                <a:solidFill>
                  <a:schemeClr val="tx1"/>
                </a:solidFill>
                <a:latin typeface="Verdana" pitchFamily="34" charset="0"/>
                <a:ea typeface="+mn-ea"/>
                <a:cs typeface="+mn-cs"/>
              </a:defRPr>
            </a:lvl1pPr>
            <a:lvl2pPr marL="457200" algn="ctr" rtl="0" eaLnBrk="0" fontAlgn="base" hangingPunct="0">
              <a:spcBef>
                <a:spcPct val="0"/>
              </a:spcBef>
              <a:spcAft>
                <a:spcPct val="0"/>
              </a:spcAft>
              <a:defRPr sz="2000" b="1" kern="1200">
                <a:solidFill>
                  <a:schemeClr val="tx1"/>
                </a:solidFill>
                <a:latin typeface="Verdana" pitchFamily="34" charset="0"/>
                <a:ea typeface="+mn-ea"/>
                <a:cs typeface="+mn-cs"/>
              </a:defRPr>
            </a:lvl2pPr>
            <a:lvl3pPr marL="914400" algn="ctr" rtl="0" eaLnBrk="0" fontAlgn="base" hangingPunct="0">
              <a:spcBef>
                <a:spcPct val="0"/>
              </a:spcBef>
              <a:spcAft>
                <a:spcPct val="0"/>
              </a:spcAft>
              <a:defRPr sz="2000" b="1" kern="1200">
                <a:solidFill>
                  <a:schemeClr val="tx1"/>
                </a:solidFill>
                <a:latin typeface="Verdana" pitchFamily="34" charset="0"/>
                <a:ea typeface="+mn-ea"/>
                <a:cs typeface="+mn-cs"/>
              </a:defRPr>
            </a:lvl3pPr>
            <a:lvl4pPr marL="1371600" algn="ctr" rtl="0" eaLnBrk="0" fontAlgn="base" hangingPunct="0">
              <a:spcBef>
                <a:spcPct val="0"/>
              </a:spcBef>
              <a:spcAft>
                <a:spcPct val="0"/>
              </a:spcAft>
              <a:defRPr sz="2000" b="1" kern="1200">
                <a:solidFill>
                  <a:schemeClr val="tx1"/>
                </a:solidFill>
                <a:latin typeface="Verdana" pitchFamily="34" charset="0"/>
                <a:ea typeface="+mn-ea"/>
                <a:cs typeface="+mn-cs"/>
              </a:defRPr>
            </a:lvl4pPr>
            <a:lvl5pPr marL="1828800" algn="ctr" rtl="0" eaLnBrk="0" fontAlgn="base" hangingPunct="0">
              <a:spcBef>
                <a:spcPct val="0"/>
              </a:spcBef>
              <a:spcAft>
                <a:spcPct val="0"/>
              </a:spcAft>
              <a:defRPr sz="2000" b="1" kern="1200">
                <a:solidFill>
                  <a:schemeClr val="tx1"/>
                </a:solidFill>
                <a:latin typeface="Verdana" pitchFamily="34" charset="0"/>
                <a:ea typeface="+mn-ea"/>
                <a:cs typeface="+mn-cs"/>
              </a:defRPr>
            </a:lvl5pPr>
            <a:lvl6pPr marL="2286000" algn="l" defTabSz="914400" rtl="0" eaLnBrk="1" latinLnBrk="0" hangingPunct="1">
              <a:defRPr sz="2000" b="1" kern="1200">
                <a:solidFill>
                  <a:schemeClr val="tx1"/>
                </a:solidFill>
                <a:latin typeface="Verdana" pitchFamily="34" charset="0"/>
                <a:ea typeface="+mn-ea"/>
                <a:cs typeface="+mn-cs"/>
              </a:defRPr>
            </a:lvl6pPr>
            <a:lvl7pPr marL="2743200" algn="l" defTabSz="914400" rtl="0" eaLnBrk="1" latinLnBrk="0" hangingPunct="1">
              <a:defRPr sz="2000" b="1" kern="1200">
                <a:solidFill>
                  <a:schemeClr val="tx1"/>
                </a:solidFill>
                <a:latin typeface="Verdana" pitchFamily="34" charset="0"/>
                <a:ea typeface="+mn-ea"/>
                <a:cs typeface="+mn-cs"/>
              </a:defRPr>
            </a:lvl7pPr>
            <a:lvl8pPr marL="3200400" algn="l" defTabSz="914400" rtl="0" eaLnBrk="1" latinLnBrk="0" hangingPunct="1">
              <a:defRPr sz="2000" b="1" kern="1200">
                <a:solidFill>
                  <a:schemeClr val="tx1"/>
                </a:solidFill>
                <a:latin typeface="Verdana" pitchFamily="34" charset="0"/>
                <a:ea typeface="+mn-ea"/>
                <a:cs typeface="+mn-cs"/>
              </a:defRPr>
            </a:lvl8pPr>
            <a:lvl9pPr marL="3657600" algn="l" defTabSz="914400" rtl="0" eaLnBrk="1" latinLnBrk="0" hangingPunct="1">
              <a:defRPr sz="2000" b="1" kern="1200">
                <a:solidFill>
                  <a:schemeClr val="tx1"/>
                </a:solidFill>
                <a:latin typeface="Verdana" pitchFamily="34" charset="0"/>
                <a:ea typeface="+mn-ea"/>
                <a:cs typeface="+mn-cs"/>
              </a:defRPr>
            </a:lvl9pPr>
          </a:lstStyle>
          <a:p>
            <a:pPr defTabSz="914377">
              <a:defRPr/>
            </a:pPr>
            <a:r>
              <a:rPr lang="en-US" sz="1500" dirty="0">
                <a:solidFill>
                  <a:schemeClr val="bg1"/>
                </a:solidFill>
                <a:latin typeface="Century Gothic" panose="020B0502020202020204" pitchFamily="34" charset="0"/>
                <a:cs typeface="Calibri" pitchFamily="34" charset="0"/>
              </a:rPr>
              <a:t>Unilever clutch actuation system</a:t>
            </a:r>
          </a:p>
        </p:txBody>
      </p:sp>
      <p:sp>
        <p:nvSpPr>
          <p:cNvPr id="4" name="Text Box 44"/>
          <p:cNvSpPr txBox="1">
            <a:spLocks noChangeArrowheads="1"/>
          </p:cNvSpPr>
          <p:nvPr/>
        </p:nvSpPr>
        <p:spPr bwMode="auto">
          <a:xfrm>
            <a:off x="140641" y="2983992"/>
            <a:ext cx="223961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algn="ctr" rtl="0" eaLnBrk="0" fontAlgn="base" hangingPunct="0">
              <a:spcBef>
                <a:spcPct val="0"/>
              </a:spcBef>
              <a:spcAft>
                <a:spcPct val="0"/>
              </a:spcAft>
              <a:defRPr sz="2000" b="1" kern="1200">
                <a:solidFill>
                  <a:schemeClr val="tx1"/>
                </a:solidFill>
                <a:latin typeface="Verdana" pitchFamily="34" charset="0"/>
                <a:ea typeface="+mn-ea"/>
                <a:cs typeface="+mn-cs"/>
              </a:defRPr>
            </a:lvl1pPr>
            <a:lvl2pPr marL="457200" algn="ctr" rtl="0" eaLnBrk="0" fontAlgn="base" hangingPunct="0">
              <a:spcBef>
                <a:spcPct val="0"/>
              </a:spcBef>
              <a:spcAft>
                <a:spcPct val="0"/>
              </a:spcAft>
              <a:defRPr sz="2000" b="1" kern="1200">
                <a:solidFill>
                  <a:schemeClr val="tx1"/>
                </a:solidFill>
                <a:latin typeface="Verdana" pitchFamily="34" charset="0"/>
                <a:ea typeface="+mn-ea"/>
                <a:cs typeface="+mn-cs"/>
              </a:defRPr>
            </a:lvl2pPr>
            <a:lvl3pPr marL="914400" algn="ctr" rtl="0" eaLnBrk="0" fontAlgn="base" hangingPunct="0">
              <a:spcBef>
                <a:spcPct val="0"/>
              </a:spcBef>
              <a:spcAft>
                <a:spcPct val="0"/>
              </a:spcAft>
              <a:defRPr sz="2000" b="1" kern="1200">
                <a:solidFill>
                  <a:schemeClr val="tx1"/>
                </a:solidFill>
                <a:latin typeface="Verdana" pitchFamily="34" charset="0"/>
                <a:ea typeface="+mn-ea"/>
                <a:cs typeface="+mn-cs"/>
              </a:defRPr>
            </a:lvl3pPr>
            <a:lvl4pPr marL="1371600" algn="ctr" rtl="0" eaLnBrk="0" fontAlgn="base" hangingPunct="0">
              <a:spcBef>
                <a:spcPct val="0"/>
              </a:spcBef>
              <a:spcAft>
                <a:spcPct val="0"/>
              </a:spcAft>
              <a:defRPr sz="2000" b="1" kern="1200">
                <a:solidFill>
                  <a:schemeClr val="tx1"/>
                </a:solidFill>
                <a:latin typeface="Verdana" pitchFamily="34" charset="0"/>
                <a:ea typeface="+mn-ea"/>
                <a:cs typeface="+mn-cs"/>
              </a:defRPr>
            </a:lvl4pPr>
            <a:lvl5pPr marL="1828800" algn="ctr" rtl="0" eaLnBrk="0" fontAlgn="base" hangingPunct="0">
              <a:spcBef>
                <a:spcPct val="0"/>
              </a:spcBef>
              <a:spcAft>
                <a:spcPct val="0"/>
              </a:spcAft>
              <a:defRPr sz="2000" b="1" kern="1200">
                <a:solidFill>
                  <a:schemeClr val="tx1"/>
                </a:solidFill>
                <a:latin typeface="Verdana" pitchFamily="34" charset="0"/>
                <a:ea typeface="+mn-ea"/>
                <a:cs typeface="+mn-cs"/>
              </a:defRPr>
            </a:lvl5pPr>
            <a:lvl6pPr marL="2286000" algn="l" defTabSz="914400" rtl="0" eaLnBrk="1" latinLnBrk="0" hangingPunct="1">
              <a:defRPr sz="2000" b="1" kern="1200">
                <a:solidFill>
                  <a:schemeClr val="tx1"/>
                </a:solidFill>
                <a:latin typeface="Verdana" pitchFamily="34" charset="0"/>
                <a:ea typeface="+mn-ea"/>
                <a:cs typeface="+mn-cs"/>
              </a:defRPr>
            </a:lvl6pPr>
            <a:lvl7pPr marL="2743200" algn="l" defTabSz="914400" rtl="0" eaLnBrk="1" latinLnBrk="0" hangingPunct="1">
              <a:defRPr sz="2000" b="1" kern="1200">
                <a:solidFill>
                  <a:schemeClr val="tx1"/>
                </a:solidFill>
                <a:latin typeface="Verdana" pitchFamily="34" charset="0"/>
                <a:ea typeface="+mn-ea"/>
                <a:cs typeface="+mn-cs"/>
              </a:defRPr>
            </a:lvl7pPr>
            <a:lvl8pPr marL="3200400" algn="l" defTabSz="914400" rtl="0" eaLnBrk="1" latinLnBrk="0" hangingPunct="1">
              <a:defRPr sz="2000" b="1" kern="1200">
                <a:solidFill>
                  <a:schemeClr val="tx1"/>
                </a:solidFill>
                <a:latin typeface="Verdana" pitchFamily="34" charset="0"/>
                <a:ea typeface="+mn-ea"/>
                <a:cs typeface="+mn-cs"/>
              </a:defRPr>
            </a:lvl8pPr>
            <a:lvl9pPr marL="3657600" algn="l" defTabSz="914400" rtl="0" eaLnBrk="1" latinLnBrk="0" hangingPunct="1">
              <a:defRPr sz="2000" b="1" kern="1200">
                <a:solidFill>
                  <a:schemeClr val="tx1"/>
                </a:solidFill>
                <a:latin typeface="Verdana" pitchFamily="34" charset="0"/>
                <a:ea typeface="+mn-ea"/>
                <a:cs typeface="+mn-cs"/>
              </a:defRPr>
            </a:lvl9pPr>
          </a:lstStyle>
          <a:p>
            <a:pPr defTabSz="914377">
              <a:defRPr/>
            </a:pPr>
            <a:r>
              <a:rPr lang="en-US" sz="1500" dirty="0">
                <a:solidFill>
                  <a:schemeClr val="bg1"/>
                </a:solidFill>
                <a:latin typeface="Century Gothic" panose="020B0502020202020204" pitchFamily="34" charset="0"/>
                <a:cs typeface="Calibri" pitchFamily="34" charset="0"/>
              </a:rPr>
              <a:t>Organic</a:t>
            </a:r>
          </a:p>
          <a:p>
            <a:pPr defTabSz="914377">
              <a:defRPr/>
            </a:pPr>
            <a:r>
              <a:rPr lang="en-US" sz="1500" dirty="0">
                <a:solidFill>
                  <a:schemeClr val="bg1"/>
                </a:solidFill>
                <a:latin typeface="Century Gothic" panose="020B0502020202020204" pitchFamily="34" charset="0"/>
                <a:cs typeface="Calibri" pitchFamily="34" charset="0"/>
              </a:rPr>
              <a:t>Alternate to Asbestos</a:t>
            </a:r>
          </a:p>
        </p:txBody>
      </p:sp>
      <p:sp>
        <p:nvSpPr>
          <p:cNvPr id="39" name="Rectangle 38">
            <a:extLst>
              <a:ext uri="{FF2B5EF4-FFF2-40B4-BE49-F238E27FC236}">
                <a16:creationId xmlns:a16="http://schemas.microsoft.com/office/drawing/2014/main" id="{B497DA9D-EB5A-4BD2-8001-A59C8AC8200D}"/>
              </a:ext>
            </a:extLst>
          </p:cNvPr>
          <p:cNvSpPr/>
          <p:nvPr/>
        </p:nvSpPr>
        <p:spPr>
          <a:xfrm>
            <a:off x="6273651" y="3771714"/>
            <a:ext cx="5918349" cy="1366384"/>
          </a:xfrm>
          <a:prstGeom prst="rect">
            <a:avLst/>
          </a:prstGeom>
          <a:noFill/>
          <a:ln>
            <a:noFill/>
          </a:ln>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lstStyle/>
          <a:p>
            <a:pPr algn="just" defTabSz="685783">
              <a:lnSpc>
                <a:spcPct val="150000"/>
              </a:lnSpc>
              <a:defRPr/>
            </a:pPr>
            <a:r>
              <a:rPr lang="en-US" sz="1600" b="1" dirty="0">
                <a:solidFill>
                  <a:srgbClr val="000000"/>
                </a:solidFill>
                <a:latin typeface="Century Gothic" panose="020B0502020202020204" pitchFamily="34" charset="0"/>
                <a:cs typeface="Calibri" pitchFamily="34" charset="0"/>
              </a:rPr>
              <a:t>Integrated pedal unit: </a:t>
            </a:r>
          </a:p>
          <a:p>
            <a:pPr marL="285750" indent="-285750" algn="just" defTabSz="685783">
              <a:lnSpc>
                <a:spcPct val="150000"/>
              </a:lnSpc>
              <a:buFont typeface="Wingdings" panose="05000000000000000000" pitchFamily="2" charset="2"/>
              <a:buChar char="§"/>
              <a:defRPr/>
            </a:pPr>
            <a:r>
              <a:rPr lang="en-US" sz="1600" dirty="0">
                <a:solidFill>
                  <a:srgbClr val="000000"/>
                </a:solidFill>
                <a:latin typeface="Century Gothic" panose="020B0502020202020204" pitchFamily="34" charset="0"/>
                <a:cs typeface="Calibri" pitchFamily="34" charset="0"/>
              </a:rPr>
              <a:t>Better ergo position to reduce driver fatigue</a:t>
            </a:r>
            <a:r>
              <a:rPr lang="en-US" sz="1600" dirty="0">
                <a:solidFill>
                  <a:srgbClr val="000000"/>
                </a:solidFill>
                <a:latin typeface="Century Gothic" panose="020B0502020202020204" pitchFamily="34" charset="0"/>
              </a:rPr>
              <a:t> and no setting required</a:t>
            </a:r>
          </a:p>
          <a:p>
            <a:pPr marL="285750" indent="-285750" algn="just" defTabSz="685783">
              <a:lnSpc>
                <a:spcPct val="150000"/>
              </a:lnSpc>
              <a:buFont typeface="Wingdings" panose="05000000000000000000" pitchFamily="2" charset="2"/>
              <a:buChar char="§"/>
              <a:defRPr/>
            </a:pPr>
            <a:r>
              <a:rPr lang="en-US" sz="1600" dirty="0">
                <a:solidFill>
                  <a:srgbClr val="000000"/>
                </a:solidFill>
                <a:latin typeface="Century Gothic" panose="020B0502020202020204" pitchFamily="34" charset="0"/>
                <a:cs typeface="Calibri" pitchFamily="34" charset="0"/>
              </a:rPr>
              <a:t>Fit and forget</a:t>
            </a:r>
          </a:p>
          <a:p>
            <a:pPr algn="just" defTabSz="685783">
              <a:lnSpc>
                <a:spcPct val="150000"/>
              </a:lnSpc>
              <a:defRPr/>
            </a:pPr>
            <a:r>
              <a:rPr lang="en-US" sz="1600" b="1" dirty="0">
                <a:solidFill>
                  <a:srgbClr val="000000"/>
                </a:solidFill>
                <a:latin typeface="Century Gothic" panose="020B0502020202020204" pitchFamily="34" charset="0"/>
                <a:cs typeface="Calibri" pitchFamily="34" charset="0"/>
              </a:rPr>
              <a:t>Unilever clutch actuation system:</a:t>
            </a:r>
          </a:p>
          <a:p>
            <a:pPr marL="285750" indent="-285750" algn="just" defTabSz="685783">
              <a:lnSpc>
                <a:spcPct val="150000"/>
              </a:lnSpc>
              <a:buFont typeface="Wingdings" panose="05000000000000000000" pitchFamily="2" charset="2"/>
              <a:buChar char="§"/>
              <a:defRPr/>
            </a:pPr>
            <a:r>
              <a:rPr lang="en-US" sz="1600" dirty="0">
                <a:solidFill>
                  <a:srgbClr val="000000"/>
                </a:solidFill>
                <a:latin typeface="Century Gothic" panose="020B0502020202020204" pitchFamily="34" charset="0"/>
                <a:cs typeface="Calibri" pitchFamily="34" charset="0"/>
              </a:rPr>
              <a:t>Better reliability as it requires no greasing</a:t>
            </a:r>
          </a:p>
          <a:p>
            <a:pPr marL="285750" indent="-285750" algn="just" defTabSz="685783">
              <a:lnSpc>
                <a:spcPct val="150000"/>
              </a:lnSpc>
              <a:buFont typeface="Wingdings" panose="05000000000000000000" pitchFamily="2" charset="2"/>
              <a:buChar char="§"/>
              <a:defRPr/>
            </a:pPr>
            <a:r>
              <a:rPr lang="en-US" sz="1600" dirty="0">
                <a:solidFill>
                  <a:srgbClr val="000000"/>
                </a:solidFill>
                <a:latin typeface="Century Gothic" panose="020B0502020202020204" pitchFamily="34" charset="0"/>
                <a:cs typeface="Calibri" pitchFamily="34" charset="0"/>
              </a:rPr>
              <a:t>Smooth clutch engagement</a:t>
            </a:r>
          </a:p>
          <a:p>
            <a:pPr marL="285750" indent="-285750" algn="just" defTabSz="685783">
              <a:lnSpc>
                <a:spcPct val="150000"/>
              </a:lnSpc>
              <a:buFont typeface="Wingdings" panose="05000000000000000000" pitchFamily="2" charset="2"/>
              <a:buChar char="§"/>
              <a:defRPr/>
            </a:pPr>
            <a:r>
              <a:rPr lang="en-US" sz="1600" dirty="0">
                <a:solidFill>
                  <a:srgbClr val="000000"/>
                </a:solidFill>
                <a:latin typeface="Century Gothic" panose="020B0502020202020204" pitchFamily="34" charset="0"/>
                <a:cs typeface="Calibri" pitchFamily="34" charset="0"/>
              </a:rPr>
              <a:t>Reduced driver effort</a:t>
            </a:r>
          </a:p>
        </p:txBody>
      </p:sp>
    </p:spTree>
    <p:extLst>
      <p:ext uri="{BB962C8B-B14F-4D97-AF65-F5344CB8AC3E}">
        <p14:creationId xmlns:p14="http://schemas.microsoft.com/office/powerpoint/2010/main" val="44696702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220035" y="1076138"/>
            <a:ext cx="11768765" cy="5610496"/>
            <a:chOff x="220035" y="1076138"/>
            <a:chExt cx="11768765" cy="5610496"/>
          </a:xfrm>
        </p:grpSpPr>
        <p:sp>
          <p:nvSpPr>
            <p:cNvPr id="7" name="Rectangle 6"/>
            <p:cNvSpPr/>
            <p:nvPr/>
          </p:nvSpPr>
          <p:spPr>
            <a:xfrm>
              <a:off x="220035" y="1076138"/>
              <a:ext cx="11768765"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CLUTCH - TYPES</a:t>
              </a:r>
            </a:p>
          </p:txBody>
        </p:sp>
        <p:sp>
          <p:nvSpPr>
            <p:cNvPr id="8" name="Rectangle 7"/>
            <p:cNvSpPr/>
            <p:nvPr/>
          </p:nvSpPr>
          <p:spPr>
            <a:xfrm>
              <a:off x="220035" y="1568115"/>
              <a:ext cx="11768765" cy="51185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285744" indent="-285744" defTabSz="914377">
                <a:buFont typeface="Wingdings" panose="05000000000000000000" pitchFamily="2" charset="2"/>
                <a:buChar char="§"/>
              </a:pPr>
              <a:endParaRPr lang="en-US" sz="1600" dirty="0">
                <a:solidFill>
                  <a:srgbClr val="000000"/>
                </a:solidFill>
                <a:latin typeface="Century Gothic" panose="020B0502020202020204" pitchFamily="34" charset="0"/>
                <a:cs typeface="Calibri" pitchFamily="34" charset="0"/>
              </a:endParaRPr>
            </a:p>
          </p:txBody>
        </p:sp>
      </p:grpSp>
      <p:sp>
        <p:nvSpPr>
          <p:cNvPr id="2" name="Rectangle 13"/>
          <p:cNvSpPr txBox="1">
            <a:spLocks noChangeArrowheads="1"/>
          </p:cNvSpPr>
          <p:nvPr/>
        </p:nvSpPr>
        <p:spPr bwMode="auto">
          <a:xfrm>
            <a:off x="1524000" y="0"/>
            <a:ext cx="58674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defTabSz="914377">
              <a:defRPr/>
            </a:pPr>
            <a:r>
              <a:rPr lang="en-US" sz="2200" i="0" dirty="0">
                <a:solidFill>
                  <a:srgbClr val="000000"/>
                </a:solidFill>
                <a:latin typeface="Calibri" pitchFamily="34" charset="0"/>
              </a:rPr>
              <a:t>Clutch disc</a:t>
            </a:r>
          </a:p>
        </p:txBody>
      </p:sp>
      <p:sp>
        <p:nvSpPr>
          <p:cNvPr id="3" name="Rectangle: Top Corners Snipped 2">
            <a:extLst>
              <a:ext uri="{FF2B5EF4-FFF2-40B4-BE49-F238E27FC236}">
                <a16:creationId xmlns:a16="http://schemas.microsoft.com/office/drawing/2014/main" id="{B04E406E-6F46-4FFB-A4E4-3A9B15EEB267}"/>
              </a:ext>
            </a:extLst>
          </p:cNvPr>
          <p:cNvSpPr/>
          <p:nvPr/>
        </p:nvSpPr>
        <p:spPr>
          <a:xfrm rot="10800000">
            <a:off x="609600" y="0"/>
            <a:ext cx="9956800" cy="1026584"/>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400">
              <a:solidFill>
                <a:prstClr val="white"/>
              </a:solidFill>
              <a:latin typeface="Calibri"/>
            </a:endParaRPr>
          </a:p>
        </p:txBody>
      </p:sp>
      <p:sp>
        <p:nvSpPr>
          <p:cNvPr id="4" name="TextBox 19"/>
          <p:cNvSpPr txBox="1">
            <a:spLocks noChangeArrowheads="1"/>
          </p:cNvSpPr>
          <p:nvPr/>
        </p:nvSpPr>
        <p:spPr bwMode="auto">
          <a:xfrm>
            <a:off x="728133" y="44451"/>
            <a:ext cx="381546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24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0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16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9pPr>
          </a:lstStyle>
          <a:p>
            <a:pPr defTabSz="1219170" fontAlgn="base">
              <a:spcBef>
                <a:spcPct val="0"/>
              </a:spcBef>
              <a:spcAft>
                <a:spcPct val="0"/>
              </a:spcAft>
              <a:buNone/>
            </a:pPr>
            <a:r>
              <a:rPr lang="en-IN" altLang="en-US" sz="4000" b="1" dirty="0">
                <a:solidFill>
                  <a:prstClr val="black"/>
                </a:solidFill>
                <a:latin typeface="Century Gothic" panose="020B0502020202020204" pitchFamily="34" charset="0"/>
              </a:rPr>
              <a:t> CLUTCH-TYPES</a:t>
            </a:r>
            <a:endParaRPr lang="en-US" altLang="en-US" sz="4000" b="1" dirty="0">
              <a:solidFill>
                <a:prstClr val="black"/>
              </a:solidFill>
              <a:latin typeface="Century Gothic" panose="020B0502020202020204" pitchFamily="34" charset="0"/>
            </a:endParaRPr>
          </a:p>
        </p:txBody>
      </p:sp>
      <p:graphicFrame>
        <p:nvGraphicFramePr>
          <p:cNvPr id="5" name="Diagram 4"/>
          <p:cNvGraphicFramePr/>
          <p:nvPr>
            <p:extLst>
              <p:ext uri="{D42A27DB-BD31-4B8C-83A1-F6EECF244321}">
                <p14:modId xmlns:p14="http://schemas.microsoft.com/office/powerpoint/2010/main" val="4068215865"/>
              </p:ext>
            </p:extLst>
          </p:nvPr>
        </p:nvGraphicFramePr>
        <p:xfrm>
          <a:off x="1265882" y="1808716"/>
          <a:ext cx="9677070" cy="46373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984985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6182082" y="1076138"/>
            <a:ext cx="5774365"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GEAR BOX - BASICS</a:t>
            </a:r>
          </a:p>
        </p:txBody>
      </p:sp>
      <p:sp>
        <p:nvSpPr>
          <p:cNvPr id="22" name="Rectangle 21"/>
          <p:cNvSpPr/>
          <p:nvPr/>
        </p:nvSpPr>
        <p:spPr>
          <a:xfrm>
            <a:off x="6182082" y="1568115"/>
            <a:ext cx="5774365" cy="5010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594" indent="-228594" algn="just" defTabSz="914377" fontAlgn="base">
              <a:lnSpc>
                <a:spcPct val="150000"/>
              </a:lnSpc>
              <a:spcBef>
                <a:spcPct val="20000"/>
              </a:spcBef>
              <a:spcAft>
                <a:spcPct val="0"/>
              </a:spcAft>
              <a:buFont typeface="Wingdings" panose="05000000000000000000" pitchFamily="2" charset="2"/>
              <a:buChar char="§"/>
              <a:defRPr/>
            </a:pPr>
            <a:r>
              <a:rPr lang="en-US" sz="1600" b="1" kern="0" dirty="0">
                <a:solidFill>
                  <a:srgbClr val="000000"/>
                </a:solidFill>
                <a:latin typeface="Century Gothic" panose="020B0502020202020204" pitchFamily="34" charset="0"/>
                <a:cs typeface="Arial" pitchFamily="34" charset="0"/>
              </a:rPr>
              <a:t>Higher the first gear ratio</a:t>
            </a:r>
            <a:r>
              <a:rPr lang="en-US" sz="1600" kern="0" dirty="0">
                <a:solidFill>
                  <a:srgbClr val="000000"/>
                </a:solidFill>
                <a:latin typeface="Century Gothic" panose="020B0502020202020204" pitchFamily="34" charset="0"/>
                <a:cs typeface="Arial" pitchFamily="34" charset="0"/>
              </a:rPr>
              <a:t>, higher the capability of the vehicle to pull more load or climb gradients</a:t>
            </a:r>
          </a:p>
          <a:p>
            <a:pPr marL="228594" indent="-228594" algn="just" defTabSz="914377" fontAlgn="base">
              <a:lnSpc>
                <a:spcPct val="150000"/>
              </a:lnSpc>
              <a:spcBef>
                <a:spcPct val="20000"/>
              </a:spcBef>
              <a:spcAft>
                <a:spcPct val="0"/>
              </a:spcAft>
              <a:buFont typeface="Wingdings" panose="05000000000000000000" pitchFamily="2" charset="2"/>
              <a:buChar char="§"/>
              <a:defRPr/>
            </a:pPr>
            <a:r>
              <a:rPr lang="en-US" sz="1600" b="1" kern="0" dirty="0">
                <a:solidFill>
                  <a:srgbClr val="000000"/>
                </a:solidFill>
                <a:latin typeface="Century Gothic" panose="020B0502020202020204" pitchFamily="34" charset="0"/>
                <a:cs typeface="Arial" pitchFamily="34" charset="0"/>
              </a:rPr>
              <a:t>First gear ratio (FGR) </a:t>
            </a:r>
            <a:r>
              <a:rPr lang="en-US" sz="1600" kern="0" dirty="0">
                <a:solidFill>
                  <a:srgbClr val="000000"/>
                </a:solidFill>
                <a:latin typeface="Century Gothic" panose="020B0502020202020204" pitchFamily="34" charset="0"/>
                <a:cs typeface="Arial" pitchFamily="34" charset="0"/>
              </a:rPr>
              <a:t>is the highest ratio between the speeds of engine and output shaft of the gear box</a:t>
            </a:r>
          </a:p>
          <a:p>
            <a:pPr marL="228594" indent="-228594" algn="just" defTabSz="914377" fontAlgn="base">
              <a:lnSpc>
                <a:spcPct val="150000"/>
              </a:lnSpc>
              <a:spcBef>
                <a:spcPct val="20000"/>
              </a:spcBef>
              <a:spcAft>
                <a:spcPct val="0"/>
              </a:spcAft>
              <a:buFont typeface="Wingdings" panose="05000000000000000000" pitchFamily="2" charset="2"/>
              <a:buChar char="§"/>
              <a:defRPr/>
            </a:pPr>
            <a:r>
              <a:rPr lang="en-US" sz="1600" b="1" kern="0" dirty="0">
                <a:solidFill>
                  <a:srgbClr val="000000"/>
                </a:solidFill>
                <a:latin typeface="Century Gothic" panose="020B0502020202020204" pitchFamily="34" charset="0"/>
                <a:cs typeface="Arial" pitchFamily="34" charset="0"/>
              </a:rPr>
              <a:t>Overdrive gearbox </a:t>
            </a:r>
            <a:r>
              <a:rPr lang="en-US" sz="1600" kern="0" dirty="0">
                <a:solidFill>
                  <a:srgbClr val="000000"/>
                </a:solidFill>
                <a:latin typeface="Century Gothic" panose="020B0502020202020204" pitchFamily="34" charset="0"/>
                <a:cs typeface="Arial" pitchFamily="34" charset="0"/>
              </a:rPr>
              <a:t>allows the gearbox output shaft to run at a higher speed than engine (input speed) for fuel saving at higher speeds of vehicles.</a:t>
            </a:r>
          </a:p>
          <a:p>
            <a:pPr marL="228594" indent="-228594" algn="just" defTabSz="914377" fontAlgn="base">
              <a:lnSpc>
                <a:spcPct val="150000"/>
              </a:lnSpc>
              <a:spcBef>
                <a:spcPct val="20000"/>
              </a:spcBef>
              <a:spcAft>
                <a:spcPct val="0"/>
              </a:spcAft>
              <a:buFont typeface="Wingdings" panose="05000000000000000000" pitchFamily="2" charset="2"/>
              <a:buChar char="§"/>
              <a:defRPr/>
            </a:pPr>
            <a:r>
              <a:rPr lang="en-US" sz="1600" kern="0" dirty="0">
                <a:solidFill>
                  <a:srgbClr val="000000"/>
                </a:solidFill>
                <a:latin typeface="Century Gothic" panose="020B0502020202020204" pitchFamily="34" charset="0"/>
                <a:cs typeface="Arial" pitchFamily="34" charset="0"/>
              </a:rPr>
              <a:t>Therefore the vehicle runs at the same vehicle speed at lower engine rpm saving fuel &amp; </a:t>
            </a:r>
            <a:r>
              <a:rPr lang="en-US" sz="1600" b="1" kern="0" dirty="0">
                <a:solidFill>
                  <a:srgbClr val="000000"/>
                </a:solidFill>
                <a:latin typeface="Century Gothic" panose="020B0502020202020204" pitchFamily="34" charset="0"/>
                <a:cs typeface="Arial" pitchFamily="34" charset="0"/>
              </a:rPr>
              <a:t>reducing wear &amp; tear</a:t>
            </a:r>
          </a:p>
          <a:p>
            <a:pPr marL="228594" indent="-228594" algn="just" defTabSz="914377" fontAlgn="base">
              <a:lnSpc>
                <a:spcPct val="150000"/>
              </a:lnSpc>
              <a:spcBef>
                <a:spcPct val="20000"/>
              </a:spcBef>
              <a:spcAft>
                <a:spcPct val="0"/>
              </a:spcAft>
              <a:buFont typeface="Wingdings" panose="05000000000000000000" pitchFamily="2" charset="2"/>
              <a:buChar char="§"/>
              <a:defRPr/>
            </a:pPr>
            <a:r>
              <a:rPr lang="en-US" sz="1600" b="1" kern="0" dirty="0">
                <a:solidFill>
                  <a:srgbClr val="000000"/>
                </a:solidFill>
                <a:latin typeface="Century Gothic" panose="020B0502020202020204" pitchFamily="34" charset="0"/>
                <a:cs typeface="Arial" pitchFamily="34" charset="0"/>
              </a:rPr>
              <a:t>RCI (Range change inhibitor) </a:t>
            </a:r>
            <a:r>
              <a:rPr lang="en-US" sz="1600" kern="0" dirty="0">
                <a:solidFill>
                  <a:srgbClr val="000000"/>
                </a:solidFill>
                <a:latin typeface="Century Gothic" panose="020B0502020202020204" pitchFamily="34" charset="0"/>
                <a:cs typeface="Arial" pitchFamily="34" charset="0"/>
              </a:rPr>
              <a:t>to protect engine overrun during downhill operation</a:t>
            </a:r>
          </a:p>
        </p:txBody>
      </p:sp>
      <p:sp>
        <p:nvSpPr>
          <p:cNvPr id="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3"/>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GEAR-BOX</a:t>
            </a:r>
            <a:endParaRPr lang="en-US" sz="3733" b="1" dirty="0">
              <a:solidFill>
                <a:prstClr val="black"/>
              </a:solidFill>
              <a:latin typeface="Century Gothic" panose="020B0502020202020204" pitchFamily="34" charset="0"/>
            </a:endParaRPr>
          </a:p>
        </p:txBody>
      </p:sp>
      <p:sp>
        <p:nvSpPr>
          <p:cNvPr id="16" name="Rectangle 15"/>
          <p:cNvSpPr/>
          <p:nvPr/>
        </p:nvSpPr>
        <p:spPr>
          <a:xfrm>
            <a:off x="220035" y="1076138"/>
            <a:ext cx="5774365"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GEAR BOX - BASICS</a:t>
            </a:r>
          </a:p>
        </p:txBody>
      </p:sp>
      <p:sp>
        <p:nvSpPr>
          <p:cNvPr id="17" name="Rectangle 16"/>
          <p:cNvSpPr/>
          <p:nvPr/>
        </p:nvSpPr>
        <p:spPr>
          <a:xfrm>
            <a:off x="220035" y="1568115"/>
            <a:ext cx="5774365" cy="5010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44" indent="-285744" defTabSz="914377">
              <a:lnSpc>
                <a:spcPct val="150000"/>
              </a:lnSpc>
              <a:buFont typeface="Wingdings" pitchFamily="2" charset="2"/>
              <a:buChar char="§"/>
            </a:pPr>
            <a:endParaRPr lang="en-US" sz="1600" dirty="0">
              <a:solidFill>
                <a:srgbClr val="000000"/>
              </a:solidFill>
              <a:latin typeface="Century Gothic" panose="020B0502020202020204" pitchFamily="34" charset="0"/>
            </a:endParaRPr>
          </a:p>
        </p:txBody>
      </p:sp>
      <p:sp>
        <p:nvSpPr>
          <p:cNvPr id="15" name="Rectangle 2"/>
          <p:cNvSpPr txBox="1">
            <a:spLocks noChangeArrowheads="1"/>
          </p:cNvSpPr>
          <p:nvPr/>
        </p:nvSpPr>
        <p:spPr>
          <a:xfrm>
            <a:off x="252121" y="1672387"/>
            <a:ext cx="5717345" cy="2895600"/>
          </a:xfrm>
          <a:prstGeom prst="rect">
            <a:avLst/>
          </a:prstGeom>
          <a:noFill/>
          <a:ln/>
        </p:spPr>
        <p:txBody>
          <a:bodyPr/>
          <a:lstStyle/>
          <a:p>
            <a:pPr marL="285744" indent="-285744" algn="just" defTabSz="914377" fontAlgn="base">
              <a:spcAft>
                <a:spcPct val="0"/>
              </a:spcAft>
              <a:buFont typeface="Wingdings" pitchFamily="2" charset="2"/>
              <a:buChar char="§"/>
              <a:defRPr/>
            </a:pPr>
            <a:r>
              <a:rPr lang="en-US" sz="1600" kern="0" dirty="0">
                <a:solidFill>
                  <a:srgbClr val="000000"/>
                </a:solidFill>
                <a:latin typeface="Century Gothic" panose="020B0502020202020204" pitchFamily="34" charset="0"/>
                <a:cs typeface="Arial" pitchFamily="34" charset="0"/>
              </a:rPr>
              <a:t>Basically Torque Multiplier to overcome</a:t>
            </a:r>
          </a:p>
          <a:p>
            <a:pPr marL="685783" lvl="1" indent="-285744" algn="just" defTabSz="914377" fontAlgn="base">
              <a:spcAft>
                <a:spcPct val="0"/>
              </a:spcAft>
              <a:buFont typeface="Wingdings" pitchFamily="2" charset="2"/>
              <a:buChar char="§"/>
              <a:defRPr/>
            </a:pPr>
            <a:r>
              <a:rPr lang="en-US" sz="1600" kern="0" dirty="0">
                <a:solidFill>
                  <a:srgbClr val="000000"/>
                </a:solidFill>
                <a:latin typeface="Century Gothic" panose="020B0502020202020204" pitchFamily="34" charset="0"/>
                <a:cs typeface="Arial" pitchFamily="34" charset="0"/>
              </a:rPr>
              <a:t>Rolling Resistance</a:t>
            </a:r>
          </a:p>
          <a:p>
            <a:pPr marL="685783" lvl="1" indent="-285744" algn="just" defTabSz="914377" fontAlgn="base">
              <a:spcAft>
                <a:spcPct val="0"/>
              </a:spcAft>
              <a:buFont typeface="Wingdings" pitchFamily="2" charset="2"/>
              <a:buChar char="§"/>
              <a:defRPr/>
            </a:pPr>
            <a:r>
              <a:rPr lang="en-US" sz="1600" kern="0" dirty="0">
                <a:solidFill>
                  <a:srgbClr val="000000"/>
                </a:solidFill>
                <a:latin typeface="Century Gothic" panose="020B0502020202020204" pitchFamily="34" charset="0"/>
                <a:cs typeface="Arial" pitchFamily="34" charset="0"/>
              </a:rPr>
              <a:t>Gradient Resistance</a:t>
            </a:r>
          </a:p>
          <a:p>
            <a:pPr marL="685783" lvl="1" indent="-285744" algn="just" defTabSz="914377" fontAlgn="base">
              <a:spcAft>
                <a:spcPct val="0"/>
              </a:spcAft>
              <a:buFont typeface="Wingdings" pitchFamily="2" charset="2"/>
              <a:buChar char="§"/>
              <a:defRPr/>
            </a:pPr>
            <a:r>
              <a:rPr lang="en-US" sz="1600" kern="0" dirty="0">
                <a:solidFill>
                  <a:srgbClr val="000000"/>
                </a:solidFill>
                <a:latin typeface="Century Gothic" panose="020B0502020202020204" pitchFamily="34" charset="0"/>
                <a:cs typeface="Arial" pitchFamily="34" charset="0"/>
              </a:rPr>
              <a:t>Air Resistance</a:t>
            </a:r>
          </a:p>
          <a:p>
            <a:pPr marL="685783" lvl="1" indent="-285744" algn="just" defTabSz="914377" fontAlgn="base">
              <a:spcAft>
                <a:spcPct val="0"/>
              </a:spcAft>
              <a:buFont typeface="Wingdings" pitchFamily="2" charset="2"/>
              <a:buChar char="§"/>
              <a:defRPr/>
            </a:pPr>
            <a:endParaRPr lang="en-US" sz="1600" kern="0" dirty="0">
              <a:solidFill>
                <a:srgbClr val="000000"/>
              </a:solidFill>
              <a:latin typeface="Century Gothic" panose="020B0502020202020204" pitchFamily="34" charset="0"/>
              <a:cs typeface="Arial" pitchFamily="34" charset="0"/>
            </a:endParaRPr>
          </a:p>
          <a:p>
            <a:pPr marL="285744" indent="-285744" algn="just" defTabSz="914377" fontAlgn="base">
              <a:spcBef>
                <a:spcPct val="20000"/>
              </a:spcBef>
              <a:spcAft>
                <a:spcPct val="0"/>
              </a:spcAft>
              <a:buFont typeface="Wingdings" pitchFamily="2" charset="2"/>
              <a:buChar char="§"/>
              <a:defRPr/>
            </a:pPr>
            <a:r>
              <a:rPr lang="en-US" sz="1600" kern="0" dirty="0">
                <a:solidFill>
                  <a:srgbClr val="000000"/>
                </a:solidFill>
                <a:latin typeface="Century Gothic" panose="020B0502020202020204" pitchFamily="34" charset="0"/>
                <a:cs typeface="Arial" pitchFamily="34" charset="0"/>
              </a:rPr>
              <a:t>Shares Reduction with Rear Axle</a:t>
            </a:r>
          </a:p>
          <a:p>
            <a:pPr marL="285744" indent="-285744" algn="just" defTabSz="914377" fontAlgn="base">
              <a:spcBef>
                <a:spcPct val="20000"/>
              </a:spcBef>
              <a:spcAft>
                <a:spcPct val="0"/>
              </a:spcAft>
              <a:buFont typeface="Wingdings" pitchFamily="2" charset="2"/>
              <a:buChar char="§"/>
              <a:defRPr/>
            </a:pPr>
            <a:endParaRPr lang="en-US" sz="1600" kern="0" dirty="0">
              <a:solidFill>
                <a:srgbClr val="000000"/>
              </a:solidFill>
              <a:latin typeface="Century Gothic" panose="020B0502020202020204" pitchFamily="34" charset="0"/>
              <a:cs typeface="Arial" pitchFamily="34" charset="0"/>
            </a:endParaRPr>
          </a:p>
          <a:p>
            <a:pPr marL="285744" indent="-285744" algn="just" defTabSz="914377" fontAlgn="base">
              <a:spcBef>
                <a:spcPct val="20000"/>
              </a:spcBef>
              <a:spcAft>
                <a:spcPct val="0"/>
              </a:spcAft>
              <a:buFont typeface="Wingdings" pitchFamily="2" charset="2"/>
              <a:buChar char="§"/>
              <a:defRPr/>
            </a:pPr>
            <a:r>
              <a:rPr lang="en-US" sz="1600" kern="0" dirty="0">
                <a:solidFill>
                  <a:srgbClr val="000000"/>
                </a:solidFill>
                <a:latin typeface="Century Gothic" panose="020B0502020202020204" pitchFamily="34" charset="0"/>
                <a:cs typeface="Arial" pitchFamily="34" charset="0"/>
              </a:rPr>
              <a:t>Provides the means of changing the ratio between the engine and road wheel speeds to ideally meet each driving situation in order that engine can be run at its best performance</a:t>
            </a:r>
          </a:p>
        </p:txBody>
      </p:sp>
      <p:pic>
        <p:nvPicPr>
          <p:cNvPr id="10" name="Picture 9"/>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23043" y="4722355"/>
            <a:ext cx="2615190" cy="1701876"/>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32074" y="4822681"/>
            <a:ext cx="3037392" cy="1501224"/>
          </a:xfrm>
          <a:prstGeom prst="rect">
            <a:avLst/>
          </a:prstGeom>
        </p:spPr>
      </p:pic>
    </p:spTree>
    <p:extLst>
      <p:ext uri="{BB962C8B-B14F-4D97-AF65-F5344CB8AC3E}">
        <p14:creationId xmlns:p14="http://schemas.microsoft.com/office/powerpoint/2010/main" val="411792296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220035" y="1076138"/>
            <a:ext cx="11768765" cy="5610496"/>
            <a:chOff x="220035" y="1076138"/>
            <a:chExt cx="11768765" cy="5610496"/>
          </a:xfrm>
        </p:grpSpPr>
        <p:sp>
          <p:nvSpPr>
            <p:cNvPr id="8" name="Rectangle 7"/>
            <p:cNvSpPr/>
            <p:nvPr/>
          </p:nvSpPr>
          <p:spPr>
            <a:xfrm>
              <a:off x="220035" y="1076138"/>
              <a:ext cx="11768765"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GEAR BOX - TYPES</a:t>
              </a:r>
            </a:p>
          </p:txBody>
        </p:sp>
        <p:sp>
          <p:nvSpPr>
            <p:cNvPr id="9" name="Rectangle 8"/>
            <p:cNvSpPr/>
            <p:nvPr/>
          </p:nvSpPr>
          <p:spPr>
            <a:xfrm>
              <a:off x="220035" y="1568115"/>
              <a:ext cx="11768765" cy="51185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285744" indent="-285744" defTabSz="914377">
                <a:buFont typeface="Wingdings" panose="05000000000000000000" pitchFamily="2" charset="2"/>
                <a:buChar char="§"/>
              </a:pPr>
              <a:endParaRPr lang="en-US" sz="1600" dirty="0">
                <a:solidFill>
                  <a:srgbClr val="000000"/>
                </a:solidFill>
                <a:latin typeface="Century Gothic" panose="020B0502020202020204" pitchFamily="34" charset="0"/>
                <a:cs typeface="Calibri" pitchFamily="34" charset="0"/>
              </a:endParaRPr>
            </a:p>
          </p:txBody>
        </p:sp>
      </p:grpSp>
      <p:sp>
        <p:nvSpPr>
          <p:cNvPr id="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3"/>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GEAR-BOX- CLASSIFICATION</a:t>
            </a:r>
            <a:endParaRPr lang="en-US" sz="3733" b="1" dirty="0">
              <a:solidFill>
                <a:prstClr val="black"/>
              </a:solidFill>
              <a:latin typeface="Century Gothic" panose="020B0502020202020204" pitchFamily="34" charset="0"/>
            </a:endParaRPr>
          </a:p>
        </p:txBody>
      </p:sp>
      <p:graphicFrame>
        <p:nvGraphicFramePr>
          <p:cNvPr id="6" name="Diagram 5"/>
          <p:cNvGraphicFramePr/>
          <p:nvPr>
            <p:extLst>
              <p:ext uri="{D42A27DB-BD31-4B8C-83A1-F6EECF244321}">
                <p14:modId xmlns:p14="http://schemas.microsoft.com/office/powerpoint/2010/main" val="1575938770"/>
              </p:ext>
            </p:extLst>
          </p:nvPr>
        </p:nvGraphicFramePr>
        <p:xfrm>
          <a:off x="1010656" y="1633522"/>
          <a:ext cx="9858895" cy="50450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1828348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3"/>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PROPELLER SHAFT</a:t>
            </a:r>
            <a:endParaRPr lang="en-US" sz="3733" b="1" dirty="0">
              <a:solidFill>
                <a:prstClr val="black"/>
              </a:solidFill>
              <a:latin typeface="Century Gothic" panose="020B0502020202020204" pitchFamily="34" charset="0"/>
            </a:endParaRPr>
          </a:p>
        </p:txBody>
      </p:sp>
      <p:sp>
        <p:nvSpPr>
          <p:cNvPr id="39" name="Rectangle 38"/>
          <p:cNvSpPr/>
          <p:nvPr/>
        </p:nvSpPr>
        <p:spPr>
          <a:xfrm>
            <a:off x="220035" y="1076138"/>
            <a:ext cx="5774365"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dirty="0">
              <a:solidFill>
                <a:prstClr val="white"/>
              </a:solidFill>
              <a:latin typeface="Century Gothic" panose="020B0502020202020204" pitchFamily="34" charset="0"/>
            </a:endParaRPr>
          </a:p>
        </p:txBody>
      </p:sp>
      <p:sp>
        <p:nvSpPr>
          <p:cNvPr id="40" name="Rectangle 39"/>
          <p:cNvSpPr/>
          <p:nvPr/>
        </p:nvSpPr>
        <p:spPr>
          <a:xfrm>
            <a:off x="220035" y="1568115"/>
            <a:ext cx="5774365" cy="5010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44" indent="-285744" algn="just" defTabSz="914377" fontAlgn="base">
              <a:lnSpc>
                <a:spcPct val="150000"/>
              </a:lnSpc>
              <a:spcBef>
                <a:spcPct val="20000"/>
              </a:spcBef>
              <a:spcAft>
                <a:spcPct val="0"/>
              </a:spcAft>
              <a:buFont typeface="Wingdings" pitchFamily="2" charset="2"/>
              <a:buChar char="§"/>
              <a:defRPr/>
            </a:pPr>
            <a:r>
              <a:rPr lang="en-US" sz="1600" kern="0">
                <a:solidFill>
                  <a:srgbClr val="000000"/>
                </a:solidFill>
                <a:latin typeface="Century Gothic" panose="020B0502020202020204" pitchFamily="34" charset="0"/>
                <a:cs typeface="Calibri" pitchFamily="34" charset="0"/>
              </a:rPr>
              <a:t>Transmits of torque between gearbox and rear axle which are positioned at different planes in a chassis. </a:t>
            </a:r>
          </a:p>
          <a:p>
            <a:pPr marL="285744" indent="-285744" algn="just" defTabSz="914377" fontAlgn="base">
              <a:lnSpc>
                <a:spcPct val="150000"/>
              </a:lnSpc>
              <a:spcBef>
                <a:spcPct val="20000"/>
              </a:spcBef>
              <a:spcAft>
                <a:spcPct val="0"/>
              </a:spcAft>
              <a:buFont typeface="Wingdings" pitchFamily="2" charset="2"/>
              <a:buChar char="§"/>
              <a:defRPr/>
            </a:pPr>
            <a:endParaRPr lang="en-US" sz="1600" kern="0">
              <a:solidFill>
                <a:srgbClr val="000000"/>
              </a:solidFill>
              <a:latin typeface="Century Gothic" panose="020B0502020202020204" pitchFamily="34" charset="0"/>
              <a:cs typeface="Calibri" pitchFamily="34" charset="0"/>
            </a:endParaRPr>
          </a:p>
          <a:p>
            <a:pPr marL="285744" indent="-285744" algn="just" defTabSz="914377" fontAlgn="base">
              <a:lnSpc>
                <a:spcPct val="150000"/>
              </a:lnSpc>
              <a:spcBef>
                <a:spcPct val="20000"/>
              </a:spcBef>
              <a:spcAft>
                <a:spcPct val="0"/>
              </a:spcAft>
              <a:buFont typeface="Wingdings" pitchFamily="2" charset="2"/>
              <a:buChar char="§"/>
              <a:defRPr/>
            </a:pPr>
            <a:r>
              <a:rPr lang="en-US" sz="1600" kern="0">
                <a:solidFill>
                  <a:srgbClr val="000000"/>
                </a:solidFill>
                <a:latin typeface="Century Gothic" panose="020B0502020202020204" pitchFamily="34" charset="0"/>
                <a:cs typeface="Calibri" pitchFamily="34" charset="0"/>
              </a:rPr>
              <a:t>Makes up for the variation in the distance between the gear box and rear axle when the vehicle is in motion.</a:t>
            </a:r>
            <a:endParaRPr lang="en-US" sz="1600" kern="0" dirty="0">
              <a:solidFill>
                <a:srgbClr val="000000"/>
              </a:solidFill>
              <a:latin typeface="Century Gothic" panose="020B0502020202020204" pitchFamily="34" charset="0"/>
              <a:cs typeface="Calibri" pitchFamily="34" charset="0"/>
            </a:endParaRPr>
          </a:p>
        </p:txBody>
      </p:sp>
      <p:pic>
        <p:nvPicPr>
          <p:cNvPr id="41" name="Picture 4"/>
          <p:cNvPicPr>
            <a:picLocks noChangeAspect="1" noChangeArrowheads="1"/>
          </p:cNvPicPr>
          <p:nvPr/>
        </p:nvPicPr>
        <p:blipFill>
          <a:blip r:embed="rId2"/>
          <a:srcRect/>
          <a:stretch>
            <a:fillRect/>
          </a:stretch>
        </p:blipFill>
        <p:spPr bwMode="auto">
          <a:xfrm rot="16200000">
            <a:off x="2167153" y="2680856"/>
            <a:ext cx="1731820" cy="5056909"/>
          </a:xfrm>
          <a:prstGeom prst="rect">
            <a:avLst/>
          </a:prstGeom>
          <a:noFill/>
          <a:ln w="9525">
            <a:noFill/>
            <a:miter lim="800000"/>
            <a:headEnd/>
            <a:tailEnd/>
          </a:ln>
          <a:effectLst/>
        </p:spPr>
      </p:pic>
    </p:spTree>
    <p:extLst>
      <p:ext uri="{BB962C8B-B14F-4D97-AF65-F5344CB8AC3E}">
        <p14:creationId xmlns:p14="http://schemas.microsoft.com/office/powerpoint/2010/main" val="265999355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3"/>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REAR AXLE</a:t>
            </a:r>
            <a:endParaRPr lang="en-US" sz="3733" b="1" dirty="0">
              <a:solidFill>
                <a:prstClr val="black"/>
              </a:solidFill>
              <a:latin typeface="Century Gothic" panose="020B0502020202020204" pitchFamily="34" charset="0"/>
            </a:endParaRPr>
          </a:p>
        </p:txBody>
      </p:sp>
      <p:sp>
        <p:nvSpPr>
          <p:cNvPr id="37" name="Rectangle 36"/>
          <p:cNvSpPr/>
          <p:nvPr/>
        </p:nvSpPr>
        <p:spPr>
          <a:xfrm>
            <a:off x="6182082" y="1076138"/>
            <a:ext cx="5774365"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TYPE OF REAR AXLE</a:t>
            </a:r>
          </a:p>
        </p:txBody>
      </p:sp>
      <p:sp>
        <p:nvSpPr>
          <p:cNvPr id="38" name="Rectangle 37"/>
          <p:cNvSpPr/>
          <p:nvPr/>
        </p:nvSpPr>
        <p:spPr>
          <a:xfrm>
            <a:off x="6182082" y="1568115"/>
            <a:ext cx="5774365" cy="5010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44" indent="-285744" algn="just" defTabSz="914377" fontAlgn="base">
              <a:lnSpc>
                <a:spcPct val="150000"/>
              </a:lnSpc>
              <a:spcBef>
                <a:spcPct val="20000"/>
              </a:spcBef>
              <a:spcAft>
                <a:spcPct val="0"/>
              </a:spcAft>
              <a:buFont typeface="Wingdings" pitchFamily="2" charset="2"/>
              <a:buChar char="§"/>
              <a:defRPr/>
            </a:pPr>
            <a:endParaRPr lang="en-US" sz="1600" kern="0" dirty="0">
              <a:solidFill>
                <a:srgbClr val="000000"/>
              </a:solidFill>
              <a:latin typeface="Century Gothic" panose="020B0502020202020204" pitchFamily="34" charset="0"/>
              <a:cs typeface="Arial" pitchFamily="34" charset="0"/>
            </a:endParaRPr>
          </a:p>
        </p:txBody>
      </p:sp>
      <p:sp>
        <p:nvSpPr>
          <p:cNvPr id="39" name="Rectangle 38"/>
          <p:cNvSpPr/>
          <p:nvPr/>
        </p:nvSpPr>
        <p:spPr>
          <a:xfrm>
            <a:off x="220035" y="1076138"/>
            <a:ext cx="5774365"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BAISCS </a:t>
            </a:r>
          </a:p>
        </p:txBody>
      </p:sp>
      <p:sp>
        <p:nvSpPr>
          <p:cNvPr id="40" name="Rectangle 39"/>
          <p:cNvSpPr/>
          <p:nvPr/>
        </p:nvSpPr>
        <p:spPr>
          <a:xfrm>
            <a:off x="220035" y="1568115"/>
            <a:ext cx="5774365" cy="5010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219170">
              <a:lnSpc>
                <a:spcPct val="150000"/>
              </a:lnSpc>
              <a:buFont typeface="Wingdings" pitchFamily="2" charset="2"/>
              <a:buChar char="§"/>
            </a:pPr>
            <a:r>
              <a:rPr lang="en-US" sz="1600" dirty="0">
                <a:solidFill>
                  <a:srgbClr val="000000"/>
                </a:solidFill>
                <a:latin typeface="Century Gothic" panose="020B0502020202020204" pitchFamily="34" charset="0"/>
                <a:cs typeface="Calibri" pitchFamily="34" charset="0"/>
              </a:rPr>
              <a:t>Commonly used as driving axle</a:t>
            </a:r>
          </a:p>
          <a:p>
            <a:pPr defTabSz="1219170">
              <a:lnSpc>
                <a:spcPct val="150000"/>
              </a:lnSpc>
              <a:buFont typeface="Wingdings" pitchFamily="2" charset="2"/>
              <a:buChar char="§"/>
            </a:pPr>
            <a:endParaRPr lang="en-US" sz="1600" dirty="0">
              <a:solidFill>
                <a:srgbClr val="000000"/>
              </a:solidFill>
              <a:latin typeface="Century Gothic" panose="020B0502020202020204" pitchFamily="34" charset="0"/>
              <a:cs typeface="Calibri" pitchFamily="34" charset="0"/>
            </a:endParaRPr>
          </a:p>
          <a:p>
            <a:pPr defTabSz="1219170">
              <a:lnSpc>
                <a:spcPct val="150000"/>
              </a:lnSpc>
              <a:buFont typeface="Wingdings" pitchFamily="2" charset="2"/>
              <a:buChar char="§"/>
            </a:pPr>
            <a:r>
              <a:rPr lang="en-US" sz="1600" dirty="0">
                <a:solidFill>
                  <a:srgbClr val="000000"/>
                </a:solidFill>
                <a:latin typeface="Century Gothic" panose="020B0502020202020204" pitchFamily="34" charset="0"/>
                <a:cs typeface="Calibri" pitchFamily="34" charset="0"/>
              </a:rPr>
              <a:t>Transmits drive at Right angle</a:t>
            </a:r>
          </a:p>
          <a:p>
            <a:pPr defTabSz="1219170">
              <a:lnSpc>
                <a:spcPct val="150000"/>
              </a:lnSpc>
              <a:buFont typeface="Wingdings" pitchFamily="2" charset="2"/>
              <a:buChar char="§"/>
            </a:pPr>
            <a:endParaRPr lang="en-US" sz="1600" dirty="0">
              <a:solidFill>
                <a:srgbClr val="000000"/>
              </a:solidFill>
              <a:latin typeface="Century Gothic" panose="020B0502020202020204" pitchFamily="34" charset="0"/>
              <a:cs typeface="Calibri" pitchFamily="34" charset="0"/>
            </a:endParaRPr>
          </a:p>
          <a:p>
            <a:pPr defTabSz="1219170">
              <a:lnSpc>
                <a:spcPct val="150000"/>
              </a:lnSpc>
              <a:buFont typeface="Wingdings" pitchFamily="2" charset="2"/>
              <a:buChar char="§"/>
            </a:pPr>
            <a:r>
              <a:rPr lang="en-US" sz="1600" dirty="0">
                <a:solidFill>
                  <a:srgbClr val="000000"/>
                </a:solidFill>
                <a:latin typeface="Century Gothic" panose="020B0502020202020204" pitchFamily="34" charset="0"/>
                <a:cs typeface="Calibri" pitchFamily="34" charset="0"/>
              </a:rPr>
              <a:t>Shares reduction effort with gear box</a:t>
            </a:r>
          </a:p>
        </p:txBody>
      </p:sp>
      <p:pic>
        <p:nvPicPr>
          <p:cNvPr id="12" name="Picture 41"/>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493" b="97761" l="714" r="99286"/>
                    </a14:imgEffect>
                  </a14:imgLayer>
                </a14:imgProps>
              </a:ext>
              <a:ext uri="{28A0092B-C50C-407E-A947-70E740481C1C}">
                <a14:useLocalDpi xmlns:a14="http://schemas.microsoft.com/office/drawing/2010/main" val="0"/>
              </a:ext>
            </a:extLst>
          </a:blip>
          <a:srcRect/>
          <a:stretch>
            <a:fillRect/>
          </a:stretch>
        </p:blipFill>
        <p:spPr bwMode="auto">
          <a:xfrm>
            <a:off x="1415647" y="4243976"/>
            <a:ext cx="3180263" cy="1762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17"/>
          <p:cNvSpPr txBox="1">
            <a:spLocks noChangeArrowheads="1"/>
          </p:cNvSpPr>
          <p:nvPr/>
        </p:nvSpPr>
        <p:spPr bwMode="auto">
          <a:xfrm>
            <a:off x="493143" y="5798441"/>
            <a:ext cx="2362200" cy="413359"/>
          </a:xfrm>
          <a:prstGeom prst="rect">
            <a:avLst/>
          </a:prstGeom>
          <a:noFill/>
          <a:ln w="9525" algn="ctr">
            <a:noFill/>
            <a:miter lim="800000"/>
            <a:headEnd/>
            <a:tailEnd/>
          </a:ln>
        </p:spPr>
        <p:txBody>
          <a:bodyPr/>
          <a:lstStyle/>
          <a:p>
            <a:pPr algn="ctr" defTabSz="914377" eaLnBrk="0" hangingPunct="0">
              <a:lnSpc>
                <a:spcPct val="90000"/>
              </a:lnSpc>
              <a:spcBef>
                <a:spcPct val="20000"/>
              </a:spcBef>
            </a:pPr>
            <a:r>
              <a:rPr lang="en-US" sz="1867" dirty="0">
                <a:solidFill>
                  <a:prstClr val="black"/>
                </a:solidFill>
                <a:latin typeface="Century Gothic" panose="020B0502020202020204" pitchFamily="34" charset="0"/>
              </a:rPr>
              <a:t>Brake drum</a:t>
            </a:r>
          </a:p>
        </p:txBody>
      </p:sp>
      <p:sp>
        <p:nvSpPr>
          <p:cNvPr id="14" name="Text Box 17"/>
          <p:cNvSpPr txBox="1">
            <a:spLocks noChangeArrowheads="1"/>
          </p:cNvSpPr>
          <p:nvPr/>
        </p:nvSpPr>
        <p:spPr bwMode="auto">
          <a:xfrm>
            <a:off x="499408" y="3700143"/>
            <a:ext cx="2362200" cy="413359"/>
          </a:xfrm>
          <a:prstGeom prst="rect">
            <a:avLst/>
          </a:prstGeom>
          <a:noFill/>
          <a:ln w="9525" algn="ctr">
            <a:noFill/>
            <a:miter lim="800000"/>
            <a:headEnd/>
            <a:tailEnd/>
          </a:ln>
        </p:spPr>
        <p:txBody>
          <a:bodyPr/>
          <a:lstStyle/>
          <a:p>
            <a:pPr algn="ctr" defTabSz="914377" eaLnBrk="0" hangingPunct="0">
              <a:lnSpc>
                <a:spcPct val="90000"/>
              </a:lnSpc>
              <a:spcBef>
                <a:spcPct val="20000"/>
              </a:spcBef>
            </a:pPr>
            <a:r>
              <a:rPr lang="en-US" sz="1867" dirty="0">
                <a:solidFill>
                  <a:prstClr val="black"/>
                </a:solidFill>
                <a:latin typeface="Century Gothic" panose="020B0502020202020204" pitchFamily="34" charset="0"/>
              </a:rPr>
              <a:t>Hub</a:t>
            </a:r>
          </a:p>
        </p:txBody>
      </p:sp>
      <p:cxnSp>
        <p:nvCxnSpPr>
          <p:cNvPr id="15" name="Straight Connector 14"/>
          <p:cNvCxnSpPr/>
          <p:nvPr/>
        </p:nvCxnSpPr>
        <p:spPr bwMode="auto">
          <a:xfrm rot="5400000">
            <a:off x="1475975" y="4213178"/>
            <a:ext cx="398125" cy="1588"/>
          </a:xfrm>
          <a:prstGeom prst="line">
            <a:avLst/>
          </a:prstGeom>
          <a:solidFill>
            <a:schemeClr val="accent1"/>
          </a:solidFill>
          <a:ln w="50800" cap="flat" cmpd="sng" algn="ctr">
            <a:solidFill>
              <a:schemeClr val="tx1"/>
            </a:solidFill>
            <a:prstDash val="solid"/>
            <a:round/>
            <a:headEnd type="none" w="med" len="med"/>
            <a:tailEnd type="none" w="med" len="med"/>
          </a:ln>
          <a:effectLst/>
        </p:spPr>
      </p:cxnSp>
      <p:cxnSp>
        <p:nvCxnSpPr>
          <p:cNvPr id="16" name="Straight Connector 15"/>
          <p:cNvCxnSpPr/>
          <p:nvPr/>
        </p:nvCxnSpPr>
        <p:spPr bwMode="auto">
          <a:xfrm rot="5400000">
            <a:off x="1571509" y="5482638"/>
            <a:ext cx="574729" cy="1588"/>
          </a:xfrm>
          <a:prstGeom prst="line">
            <a:avLst/>
          </a:prstGeom>
          <a:solidFill>
            <a:schemeClr val="accent1"/>
          </a:solidFill>
          <a:ln w="50800" cap="flat" cmpd="sng" algn="ctr">
            <a:solidFill>
              <a:schemeClr val="tx1"/>
            </a:solidFill>
            <a:prstDash val="solid"/>
            <a:round/>
            <a:headEnd type="none" w="med" len="med"/>
            <a:tailEnd type="none" w="med" len="med"/>
          </a:ln>
          <a:effectLst/>
        </p:spPr>
      </p:cxnSp>
      <p:sp>
        <p:nvSpPr>
          <p:cNvPr id="17" name="Text Box 17"/>
          <p:cNvSpPr txBox="1">
            <a:spLocks noChangeArrowheads="1"/>
          </p:cNvSpPr>
          <p:nvPr/>
        </p:nvSpPr>
        <p:spPr bwMode="auto">
          <a:xfrm>
            <a:off x="2119820" y="3713761"/>
            <a:ext cx="2362200" cy="413359"/>
          </a:xfrm>
          <a:prstGeom prst="rect">
            <a:avLst/>
          </a:prstGeom>
          <a:noFill/>
          <a:ln w="9525" algn="ctr">
            <a:noFill/>
            <a:miter lim="800000"/>
            <a:headEnd/>
            <a:tailEnd/>
          </a:ln>
        </p:spPr>
        <p:txBody>
          <a:bodyPr/>
          <a:lstStyle/>
          <a:p>
            <a:pPr algn="ctr" defTabSz="914377" eaLnBrk="0" hangingPunct="0">
              <a:lnSpc>
                <a:spcPct val="90000"/>
              </a:lnSpc>
              <a:spcBef>
                <a:spcPct val="20000"/>
              </a:spcBef>
            </a:pPr>
            <a:r>
              <a:rPr lang="en-US" sz="1867" dirty="0">
                <a:solidFill>
                  <a:prstClr val="black"/>
                </a:solidFill>
                <a:latin typeface="Century Gothic" panose="020B0502020202020204" pitchFamily="34" charset="0"/>
              </a:rPr>
              <a:t>Axle Casing</a:t>
            </a:r>
          </a:p>
        </p:txBody>
      </p:sp>
      <p:cxnSp>
        <p:nvCxnSpPr>
          <p:cNvPr id="18" name="Straight Connector 17"/>
          <p:cNvCxnSpPr/>
          <p:nvPr/>
        </p:nvCxnSpPr>
        <p:spPr bwMode="auto">
          <a:xfrm rot="5400000">
            <a:off x="2961026" y="4414090"/>
            <a:ext cx="627060" cy="673"/>
          </a:xfrm>
          <a:prstGeom prst="line">
            <a:avLst/>
          </a:prstGeom>
          <a:solidFill>
            <a:schemeClr val="accent1"/>
          </a:solidFill>
          <a:ln w="50800" cap="flat" cmpd="sng" algn="ctr">
            <a:solidFill>
              <a:schemeClr val="tx1"/>
            </a:solidFill>
            <a:prstDash val="solid"/>
            <a:round/>
            <a:headEnd type="none" w="med" len="med"/>
            <a:tailEnd type="none" w="med" len="med"/>
          </a:ln>
          <a:effectLst/>
        </p:spPr>
      </p:cxnSp>
      <p:sp>
        <p:nvSpPr>
          <p:cNvPr id="19" name="Text Box 17"/>
          <p:cNvSpPr txBox="1">
            <a:spLocks noChangeArrowheads="1"/>
          </p:cNvSpPr>
          <p:nvPr/>
        </p:nvSpPr>
        <p:spPr bwMode="auto">
          <a:xfrm>
            <a:off x="1674243" y="6061122"/>
            <a:ext cx="2362200" cy="413359"/>
          </a:xfrm>
          <a:prstGeom prst="rect">
            <a:avLst/>
          </a:prstGeom>
          <a:noFill/>
          <a:ln w="9525" algn="ctr">
            <a:noFill/>
            <a:miter lim="800000"/>
            <a:headEnd/>
            <a:tailEnd/>
          </a:ln>
        </p:spPr>
        <p:txBody>
          <a:bodyPr/>
          <a:lstStyle/>
          <a:p>
            <a:pPr algn="ctr" defTabSz="914377" eaLnBrk="0" hangingPunct="0">
              <a:lnSpc>
                <a:spcPct val="90000"/>
              </a:lnSpc>
              <a:spcBef>
                <a:spcPct val="20000"/>
              </a:spcBef>
            </a:pPr>
            <a:r>
              <a:rPr lang="en-US" sz="1867" dirty="0">
                <a:solidFill>
                  <a:prstClr val="black"/>
                </a:solidFill>
                <a:latin typeface="Century Gothic" panose="020B0502020202020204" pitchFamily="34" charset="0"/>
              </a:rPr>
              <a:t>Drive Head</a:t>
            </a:r>
          </a:p>
        </p:txBody>
      </p:sp>
      <p:cxnSp>
        <p:nvCxnSpPr>
          <p:cNvPr id="20" name="Straight Connector 19"/>
          <p:cNvCxnSpPr/>
          <p:nvPr/>
        </p:nvCxnSpPr>
        <p:spPr bwMode="auto">
          <a:xfrm rot="5400000">
            <a:off x="2811567" y="5806287"/>
            <a:ext cx="471120" cy="1747"/>
          </a:xfrm>
          <a:prstGeom prst="line">
            <a:avLst/>
          </a:prstGeom>
          <a:solidFill>
            <a:schemeClr val="accent1"/>
          </a:solidFill>
          <a:ln w="50800" cap="flat" cmpd="sng" algn="ctr">
            <a:solidFill>
              <a:schemeClr val="tx1"/>
            </a:solidFill>
            <a:prstDash val="solid"/>
            <a:round/>
            <a:headEnd type="none" w="med" len="med"/>
            <a:tailEnd type="none" w="med" len="med"/>
          </a:ln>
          <a:effectLst/>
        </p:spPr>
      </p:cxnSp>
      <p:sp>
        <p:nvSpPr>
          <p:cNvPr id="21" name="Text Box 17"/>
          <p:cNvSpPr txBox="1">
            <a:spLocks noChangeArrowheads="1"/>
          </p:cNvSpPr>
          <p:nvPr/>
        </p:nvSpPr>
        <p:spPr bwMode="auto">
          <a:xfrm>
            <a:off x="3150345" y="6076355"/>
            <a:ext cx="2362200" cy="413359"/>
          </a:xfrm>
          <a:prstGeom prst="rect">
            <a:avLst/>
          </a:prstGeom>
          <a:noFill/>
          <a:ln w="9525" algn="ctr">
            <a:noFill/>
            <a:miter lim="800000"/>
            <a:headEnd/>
            <a:tailEnd/>
          </a:ln>
        </p:spPr>
        <p:txBody>
          <a:bodyPr/>
          <a:lstStyle/>
          <a:p>
            <a:pPr algn="ctr" defTabSz="914377" eaLnBrk="0" hangingPunct="0">
              <a:lnSpc>
                <a:spcPct val="90000"/>
              </a:lnSpc>
              <a:spcBef>
                <a:spcPct val="20000"/>
              </a:spcBef>
            </a:pPr>
            <a:r>
              <a:rPr lang="en-US" sz="1867" dirty="0">
                <a:solidFill>
                  <a:prstClr val="black"/>
                </a:solidFill>
                <a:latin typeface="Century Gothic" panose="020B0502020202020204" pitchFamily="34" charset="0"/>
              </a:rPr>
              <a:t>Wheel Bolts</a:t>
            </a:r>
          </a:p>
        </p:txBody>
      </p:sp>
      <p:cxnSp>
        <p:nvCxnSpPr>
          <p:cNvPr id="22" name="Straight Connector 21"/>
          <p:cNvCxnSpPr/>
          <p:nvPr/>
        </p:nvCxnSpPr>
        <p:spPr bwMode="auto">
          <a:xfrm rot="5400000">
            <a:off x="4012405" y="5953576"/>
            <a:ext cx="379412" cy="597"/>
          </a:xfrm>
          <a:prstGeom prst="line">
            <a:avLst/>
          </a:prstGeom>
          <a:solidFill>
            <a:schemeClr val="accent1"/>
          </a:solidFill>
          <a:ln w="50800" cap="flat" cmpd="sng" algn="ctr">
            <a:solidFill>
              <a:schemeClr val="tx1"/>
            </a:solidFill>
            <a:prstDash val="solid"/>
            <a:round/>
            <a:headEnd type="none" w="med" len="med"/>
            <a:tailEnd type="none" w="med" len="med"/>
          </a:ln>
          <a:effectLst/>
        </p:spPr>
      </p:cxnSp>
      <p:sp>
        <p:nvSpPr>
          <p:cNvPr id="23" name="Text Box 17"/>
          <p:cNvSpPr txBox="1">
            <a:spLocks noChangeArrowheads="1"/>
          </p:cNvSpPr>
          <p:nvPr/>
        </p:nvSpPr>
        <p:spPr bwMode="auto">
          <a:xfrm>
            <a:off x="3744908" y="4038857"/>
            <a:ext cx="2362200" cy="413359"/>
          </a:xfrm>
          <a:prstGeom prst="rect">
            <a:avLst/>
          </a:prstGeom>
          <a:noFill/>
          <a:ln w="9525" algn="ctr">
            <a:noFill/>
            <a:miter lim="800000"/>
            <a:headEnd/>
            <a:tailEnd/>
          </a:ln>
        </p:spPr>
        <p:txBody>
          <a:bodyPr/>
          <a:lstStyle/>
          <a:p>
            <a:pPr algn="ctr" defTabSz="914377" eaLnBrk="0" hangingPunct="0">
              <a:lnSpc>
                <a:spcPct val="90000"/>
              </a:lnSpc>
              <a:spcBef>
                <a:spcPct val="20000"/>
              </a:spcBef>
            </a:pPr>
            <a:r>
              <a:rPr lang="en-US" sz="1867" dirty="0">
                <a:solidFill>
                  <a:prstClr val="black"/>
                </a:solidFill>
                <a:latin typeface="Century Gothic" panose="020B0502020202020204" pitchFamily="34" charset="0"/>
              </a:rPr>
              <a:t>Axle Shaft</a:t>
            </a:r>
          </a:p>
        </p:txBody>
      </p:sp>
      <p:cxnSp>
        <p:nvCxnSpPr>
          <p:cNvPr id="24" name="Straight Connector 23"/>
          <p:cNvCxnSpPr/>
          <p:nvPr/>
        </p:nvCxnSpPr>
        <p:spPr bwMode="auto">
          <a:xfrm rot="5400000">
            <a:off x="4081985" y="4925373"/>
            <a:ext cx="1026263" cy="1588"/>
          </a:xfrm>
          <a:prstGeom prst="line">
            <a:avLst/>
          </a:prstGeom>
          <a:solidFill>
            <a:schemeClr val="accent1"/>
          </a:solidFill>
          <a:ln w="50800" cap="flat" cmpd="sng" algn="ctr">
            <a:solidFill>
              <a:schemeClr val="tx1"/>
            </a:solidFill>
            <a:prstDash val="solid"/>
            <a:round/>
            <a:headEnd type="none" w="med" len="med"/>
            <a:tailEnd type="none" w="med" len="med"/>
          </a:ln>
          <a:effectLst/>
        </p:spPr>
      </p:cxnSp>
      <p:pic>
        <p:nvPicPr>
          <p:cNvPr id="3" name="Picture 2"/>
          <p:cNvPicPr>
            <a:picLocks noChangeAspect="1"/>
          </p:cNvPicPr>
          <p:nvPr/>
        </p:nvPicPr>
        <p:blipFill>
          <a:blip r:embed="rId5"/>
          <a:stretch>
            <a:fillRect/>
          </a:stretch>
        </p:blipFill>
        <p:spPr>
          <a:xfrm>
            <a:off x="6324650" y="2250206"/>
            <a:ext cx="5468733" cy="3436697"/>
          </a:xfrm>
          <a:prstGeom prst="rect">
            <a:avLst/>
          </a:prstGeom>
        </p:spPr>
      </p:pic>
      <p:sp>
        <p:nvSpPr>
          <p:cNvPr id="2" name="Rectangle 1"/>
          <p:cNvSpPr/>
          <p:nvPr/>
        </p:nvSpPr>
        <p:spPr>
          <a:xfrm>
            <a:off x="8843554" y="5196067"/>
            <a:ext cx="992777" cy="4908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368794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3"/>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REAR AXLE</a:t>
            </a:r>
            <a:endParaRPr lang="en-US" sz="3733" b="1" dirty="0">
              <a:solidFill>
                <a:prstClr val="black"/>
              </a:solidFill>
              <a:latin typeface="Century Gothic" panose="020B0502020202020204" pitchFamily="34" charset="0"/>
            </a:endParaRPr>
          </a:p>
        </p:txBody>
      </p:sp>
      <p:sp>
        <p:nvSpPr>
          <p:cNvPr id="39" name="Rectangle 38"/>
          <p:cNvSpPr/>
          <p:nvPr/>
        </p:nvSpPr>
        <p:spPr>
          <a:xfrm>
            <a:off x="220035" y="1076138"/>
            <a:ext cx="11768765"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POWER FLOW</a:t>
            </a:r>
          </a:p>
        </p:txBody>
      </p:sp>
      <p:sp>
        <p:nvSpPr>
          <p:cNvPr id="40" name="Rectangle 39"/>
          <p:cNvSpPr/>
          <p:nvPr/>
        </p:nvSpPr>
        <p:spPr>
          <a:xfrm>
            <a:off x="220035" y="1568115"/>
            <a:ext cx="11768765" cy="5010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219170">
              <a:lnSpc>
                <a:spcPct val="150000"/>
              </a:lnSpc>
              <a:buFont typeface="Wingdings" pitchFamily="2" charset="2"/>
              <a:buChar char="§"/>
            </a:pPr>
            <a:endParaRPr lang="en-US" sz="1600" dirty="0">
              <a:solidFill>
                <a:srgbClr val="000000"/>
              </a:solidFill>
              <a:latin typeface="Century Gothic" panose="020B0502020202020204" pitchFamily="34" charset="0"/>
              <a:cs typeface="Calibri" pitchFamily="34" charset="0"/>
            </a:endParaRPr>
          </a:p>
        </p:txBody>
      </p:sp>
      <p:grpSp>
        <p:nvGrpSpPr>
          <p:cNvPr id="25" name="Group 24"/>
          <p:cNvGrpSpPr/>
          <p:nvPr/>
        </p:nvGrpSpPr>
        <p:grpSpPr>
          <a:xfrm>
            <a:off x="1735411" y="1716120"/>
            <a:ext cx="8738389" cy="4813129"/>
            <a:chOff x="-324094" y="1663862"/>
            <a:chExt cx="8738379" cy="4813134"/>
          </a:xfrm>
        </p:grpSpPr>
        <p:pic>
          <p:nvPicPr>
            <p:cNvPr id="26" name="Picture 2"/>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977" b="49023" l="56653" r="98545"/>
                      </a14:imgEffect>
                    </a14:imgLayer>
                  </a14:imgProps>
                </a:ext>
              </a:extLst>
            </a:blip>
            <a:srcRect l="56549" r="3534" b="51429"/>
            <a:stretch>
              <a:fillRect/>
            </a:stretch>
          </p:blipFill>
          <p:spPr bwMode="auto">
            <a:xfrm rot="5400000">
              <a:off x="-857496" y="3352797"/>
              <a:ext cx="3657601" cy="2590798"/>
            </a:xfrm>
            <a:prstGeom prst="rect">
              <a:avLst/>
            </a:prstGeom>
            <a:noFill/>
            <a:ln w="9525">
              <a:noFill/>
              <a:miter lim="800000"/>
              <a:headEnd/>
              <a:tailEnd/>
            </a:ln>
            <a:effectLst/>
          </p:spPr>
        </p:pic>
        <p:sp>
          <p:nvSpPr>
            <p:cNvPr id="27" name="Text Box 54"/>
            <p:cNvSpPr txBox="1">
              <a:spLocks noChangeArrowheads="1"/>
            </p:cNvSpPr>
            <p:nvPr/>
          </p:nvSpPr>
          <p:spPr bwMode="auto">
            <a:xfrm>
              <a:off x="2666999" y="1663862"/>
              <a:ext cx="1670647" cy="1200330"/>
            </a:xfrm>
            <a:prstGeom prst="rect">
              <a:avLst/>
            </a:prstGeom>
            <a:noFill/>
            <a:ln w="38100">
              <a:solidFill>
                <a:schemeClr val="tx1"/>
              </a:solidFill>
              <a:miter lim="800000"/>
              <a:headEnd/>
              <a:tailEnd/>
            </a:ln>
          </p:spPr>
          <p:txBody>
            <a:bodyPr wrap="none">
              <a:spAutoFit/>
            </a:bodyPr>
            <a:lstStyle/>
            <a:p>
              <a:pPr defTabSz="914377"/>
              <a:r>
                <a:rPr lang="en-US" dirty="0">
                  <a:solidFill>
                    <a:srgbClr val="000000"/>
                  </a:solidFill>
                  <a:latin typeface="Century Gothic" panose="020B0502020202020204" pitchFamily="34" charset="0"/>
                  <a:cs typeface="Calibri" pitchFamily="34" charset="0"/>
                </a:rPr>
                <a:t>Input flange</a:t>
              </a:r>
            </a:p>
            <a:p>
              <a:pPr defTabSz="914377"/>
              <a:r>
                <a:rPr lang="en-US" dirty="0">
                  <a:solidFill>
                    <a:srgbClr val="000000"/>
                  </a:solidFill>
                  <a:latin typeface="Century Gothic" panose="020B0502020202020204" pitchFamily="34" charset="0"/>
                  <a:cs typeface="Calibri" pitchFamily="34" charset="0"/>
                </a:rPr>
                <a:t>Pinion shaft</a:t>
              </a:r>
            </a:p>
            <a:p>
              <a:pPr defTabSz="914377"/>
              <a:r>
                <a:rPr lang="en-US" dirty="0">
                  <a:solidFill>
                    <a:srgbClr val="000000"/>
                  </a:solidFill>
                  <a:latin typeface="Century Gothic" panose="020B0502020202020204" pitchFamily="34" charset="0"/>
                  <a:cs typeface="Calibri" pitchFamily="34" charset="0"/>
                </a:rPr>
                <a:t>Crown wheel</a:t>
              </a:r>
            </a:p>
            <a:p>
              <a:pPr defTabSz="914377"/>
              <a:r>
                <a:rPr lang="en-US" dirty="0">
                  <a:solidFill>
                    <a:srgbClr val="000000"/>
                  </a:solidFill>
                  <a:latin typeface="Century Gothic" panose="020B0502020202020204" pitchFamily="34" charset="0"/>
                  <a:cs typeface="Calibri" pitchFamily="34" charset="0"/>
                </a:rPr>
                <a:t>Diff cage</a:t>
              </a:r>
            </a:p>
          </p:txBody>
        </p:sp>
        <p:sp>
          <p:nvSpPr>
            <p:cNvPr id="28" name="Text Box 55"/>
            <p:cNvSpPr txBox="1">
              <a:spLocks noChangeArrowheads="1"/>
            </p:cNvSpPr>
            <p:nvPr/>
          </p:nvSpPr>
          <p:spPr bwMode="auto">
            <a:xfrm>
              <a:off x="4562475" y="3203659"/>
              <a:ext cx="1540804" cy="923331"/>
            </a:xfrm>
            <a:prstGeom prst="rect">
              <a:avLst/>
            </a:prstGeom>
            <a:noFill/>
            <a:ln w="38100">
              <a:solidFill>
                <a:schemeClr val="tx1"/>
              </a:solidFill>
              <a:miter lim="800000"/>
              <a:headEnd/>
              <a:tailEnd/>
            </a:ln>
          </p:spPr>
          <p:txBody>
            <a:bodyPr wrap="none">
              <a:spAutoFit/>
            </a:bodyPr>
            <a:lstStyle/>
            <a:p>
              <a:pPr defTabSz="914377"/>
              <a:r>
                <a:rPr lang="en-US" dirty="0">
                  <a:solidFill>
                    <a:srgbClr val="000000"/>
                  </a:solidFill>
                  <a:latin typeface="Century Gothic" panose="020B0502020202020204" pitchFamily="34" charset="0"/>
                  <a:cs typeface="Calibri" pitchFamily="34" charset="0"/>
                </a:rPr>
                <a:t>Trunnion </a:t>
              </a:r>
            </a:p>
            <a:p>
              <a:pPr defTabSz="914377"/>
              <a:r>
                <a:rPr lang="en-US" dirty="0">
                  <a:solidFill>
                    <a:srgbClr val="000000"/>
                  </a:solidFill>
                  <a:latin typeface="Century Gothic" panose="020B0502020202020204" pitchFamily="34" charset="0"/>
                  <a:cs typeface="Calibri" pitchFamily="34" charset="0"/>
                </a:rPr>
                <a:t>Bevel pinion</a:t>
              </a:r>
            </a:p>
            <a:p>
              <a:pPr defTabSz="914377"/>
              <a:r>
                <a:rPr lang="en-US" dirty="0">
                  <a:solidFill>
                    <a:srgbClr val="000000"/>
                  </a:solidFill>
                  <a:latin typeface="Century Gothic" panose="020B0502020202020204" pitchFamily="34" charset="0"/>
                  <a:cs typeface="Calibri" pitchFamily="34" charset="0"/>
                </a:rPr>
                <a:t>Bevel wheel</a:t>
              </a:r>
            </a:p>
          </p:txBody>
        </p:sp>
        <p:sp>
          <p:nvSpPr>
            <p:cNvPr id="29" name="Text Box 56"/>
            <p:cNvSpPr txBox="1">
              <a:spLocks noChangeArrowheads="1"/>
            </p:cNvSpPr>
            <p:nvPr/>
          </p:nvSpPr>
          <p:spPr bwMode="auto">
            <a:xfrm>
              <a:off x="6699251" y="4838702"/>
              <a:ext cx="1715034" cy="646332"/>
            </a:xfrm>
            <a:prstGeom prst="rect">
              <a:avLst/>
            </a:prstGeom>
            <a:noFill/>
            <a:ln w="38100">
              <a:solidFill>
                <a:schemeClr val="tx1"/>
              </a:solidFill>
              <a:miter lim="800000"/>
              <a:headEnd/>
              <a:tailEnd/>
            </a:ln>
          </p:spPr>
          <p:txBody>
            <a:bodyPr wrap="square">
              <a:spAutoFit/>
            </a:bodyPr>
            <a:lstStyle/>
            <a:p>
              <a:pPr defTabSz="914377"/>
              <a:r>
                <a:rPr lang="en-US" dirty="0">
                  <a:solidFill>
                    <a:srgbClr val="000000"/>
                  </a:solidFill>
                  <a:latin typeface="Century Gothic" panose="020B0502020202020204" pitchFamily="34" charset="0"/>
                  <a:cs typeface="Calibri" pitchFamily="34" charset="0"/>
                </a:rPr>
                <a:t>Axle shaft </a:t>
              </a:r>
            </a:p>
            <a:p>
              <a:pPr defTabSz="914377"/>
              <a:r>
                <a:rPr lang="en-US" dirty="0">
                  <a:solidFill>
                    <a:srgbClr val="000000"/>
                  </a:solidFill>
                  <a:latin typeface="Century Gothic" panose="020B0502020202020204" pitchFamily="34" charset="0"/>
                  <a:cs typeface="Calibri" pitchFamily="34" charset="0"/>
                </a:rPr>
                <a:t>Hub Rim Tyre</a:t>
              </a:r>
            </a:p>
          </p:txBody>
        </p:sp>
        <p:sp>
          <p:nvSpPr>
            <p:cNvPr id="30" name="TextBox 9"/>
            <p:cNvSpPr txBox="1">
              <a:spLocks noChangeArrowheads="1"/>
            </p:cNvSpPr>
            <p:nvPr/>
          </p:nvSpPr>
          <p:spPr bwMode="auto">
            <a:xfrm>
              <a:off x="662520" y="1740063"/>
              <a:ext cx="1404549" cy="646332"/>
            </a:xfrm>
            <a:prstGeom prst="rect">
              <a:avLst/>
            </a:prstGeom>
            <a:solidFill>
              <a:srgbClr val="FFC000"/>
            </a:solidFill>
            <a:ln w="28575">
              <a:solidFill>
                <a:schemeClr val="tx1"/>
              </a:solidFill>
              <a:miter lim="800000"/>
              <a:headEnd/>
              <a:tailEnd/>
            </a:ln>
          </p:spPr>
          <p:txBody>
            <a:bodyPr wrap="none">
              <a:spAutoFit/>
            </a:bodyPr>
            <a:lstStyle/>
            <a:p>
              <a:pPr algn="ctr" defTabSz="914377"/>
              <a:r>
                <a:rPr lang="en-US" dirty="0">
                  <a:solidFill>
                    <a:srgbClr val="000000"/>
                  </a:solidFill>
                  <a:latin typeface="Century Gothic" panose="020B0502020202020204" pitchFamily="34" charset="0"/>
                  <a:cs typeface="Calibri" pitchFamily="34" charset="0"/>
                </a:rPr>
                <a:t>Reduction </a:t>
              </a:r>
            </a:p>
            <a:p>
              <a:pPr algn="ctr" defTabSz="914377"/>
              <a:r>
                <a:rPr lang="en-US" dirty="0">
                  <a:solidFill>
                    <a:srgbClr val="000000"/>
                  </a:solidFill>
                  <a:latin typeface="Century Gothic" panose="020B0502020202020204" pitchFamily="34" charset="0"/>
                  <a:cs typeface="Calibri" pitchFamily="34" charset="0"/>
                </a:rPr>
                <a:t>gearing</a:t>
              </a:r>
            </a:p>
          </p:txBody>
        </p:sp>
        <p:sp>
          <p:nvSpPr>
            <p:cNvPr id="31" name="TextBox 10"/>
            <p:cNvSpPr txBox="1">
              <a:spLocks noChangeArrowheads="1"/>
            </p:cNvSpPr>
            <p:nvPr/>
          </p:nvSpPr>
          <p:spPr bwMode="auto">
            <a:xfrm>
              <a:off x="2482748" y="3429002"/>
              <a:ext cx="1386916" cy="646332"/>
            </a:xfrm>
            <a:prstGeom prst="rect">
              <a:avLst/>
            </a:prstGeom>
            <a:solidFill>
              <a:srgbClr val="FFC000"/>
            </a:solidFill>
            <a:ln w="28575">
              <a:solidFill>
                <a:schemeClr val="tx1"/>
              </a:solidFill>
              <a:miter lim="800000"/>
              <a:headEnd/>
              <a:tailEnd/>
            </a:ln>
          </p:spPr>
          <p:txBody>
            <a:bodyPr wrap="none">
              <a:spAutoFit/>
            </a:bodyPr>
            <a:lstStyle/>
            <a:p>
              <a:pPr algn="ctr" defTabSz="914377"/>
              <a:r>
                <a:rPr lang="en-US" dirty="0">
                  <a:solidFill>
                    <a:srgbClr val="000000"/>
                  </a:solidFill>
                  <a:latin typeface="Century Gothic" panose="020B0502020202020204" pitchFamily="34" charset="0"/>
                  <a:cs typeface="Calibri" pitchFamily="34" charset="0"/>
                </a:rPr>
                <a:t>Differential</a:t>
              </a:r>
            </a:p>
            <a:p>
              <a:pPr algn="ctr" defTabSz="914377"/>
              <a:r>
                <a:rPr lang="en-US" dirty="0">
                  <a:solidFill>
                    <a:srgbClr val="000000"/>
                  </a:solidFill>
                  <a:latin typeface="Century Gothic" panose="020B0502020202020204" pitchFamily="34" charset="0"/>
                  <a:cs typeface="Calibri" pitchFamily="34" charset="0"/>
                </a:rPr>
                <a:t> gearing</a:t>
              </a:r>
            </a:p>
          </p:txBody>
        </p:sp>
        <p:sp>
          <p:nvSpPr>
            <p:cNvPr id="32" name="TextBox 11"/>
            <p:cNvSpPr txBox="1">
              <a:spLocks noChangeArrowheads="1"/>
            </p:cNvSpPr>
            <p:nvPr/>
          </p:nvSpPr>
          <p:spPr bwMode="auto">
            <a:xfrm>
              <a:off x="4726625" y="5050473"/>
              <a:ext cx="1225014" cy="369332"/>
            </a:xfrm>
            <a:prstGeom prst="rect">
              <a:avLst/>
            </a:prstGeom>
            <a:solidFill>
              <a:srgbClr val="FFC000"/>
            </a:solidFill>
            <a:ln w="28575">
              <a:solidFill>
                <a:schemeClr val="tx1"/>
              </a:solidFill>
              <a:miter lim="800000"/>
              <a:headEnd/>
              <a:tailEnd/>
            </a:ln>
          </p:spPr>
          <p:txBody>
            <a:bodyPr wrap="none">
              <a:spAutoFit/>
            </a:bodyPr>
            <a:lstStyle/>
            <a:p>
              <a:pPr algn="ctr" defTabSz="914377"/>
              <a:r>
                <a:rPr lang="en-US" dirty="0">
                  <a:solidFill>
                    <a:srgbClr val="000000"/>
                  </a:solidFill>
                  <a:latin typeface="Century Gothic" panose="020B0502020202020204" pitchFamily="34" charset="0"/>
                  <a:cs typeface="Calibri" pitchFamily="34" charset="0"/>
                </a:rPr>
                <a:t>End drive</a:t>
              </a:r>
            </a:p>
          </p:txBody>
        </p:sp>
        <p:sp>
          <p:nvSpPr>
            <p:cNvPr id="33" name="Striped Right Arrow 13"/>
            <p:cNvSpPr/>
            <p:nvPr/>
          </p:nvSpPr>
          <p:spPr bwMode="auto">
            <a:xfrm>
              <a:off x="2180867" y="1892464"/>
              <a:ext cx="457200" cy="228600"/>
            </a:xfrm>
            <a:prstGeom prst="stripedRightArrow">
              <a:avLst/>
            </a:prstGeom>
            <a:solidFill>
              <a:srgbClr val="FF0000"/>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i="1">
                <a:solidFill>
                  <a:srgbClr val="000000"/>
                </a:solidFill>
                <a:latin typeface="Arial"/>
              </a:endParaRPr>
            </a:p>
          </p:txBody>
        </p:sp>
        <p:sp>
          <p:nvSpPr>
            <p:cNvPr id="34" name="Striped Right Arrow 14"/>
            <p:cNvSpPr/>
            <p:nvPr/>
          </p:nvSpPr>
          <p:spPr bwMode="auto">
            <a:xfrm>
              <a:off x="6096000" y="5131433"/>
              <a:ext cx="457200" cy="228600"/>
            </a:xfrm>
            <a:prstGeom prst="stripedRightArrow">
              <a:avLst/>
            </a:prstGeom>
            <a:solidFill>
              <a:srgbClr val="FF0000"/>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i="1">
                <a:solidFill>
                  <a:srgbClr val="000000"/>
                </a:solidFill>
                <a:latin typeface="Arial"/>
              </a:endParaRPr>
            </a:p>
          </p:txBody>
        </p:sp>
        <p:sp>
          <p:nvSpPr>
            <p:cNvPr id="35" name="Striped Right Arrow 15"/>
            <p:cNvSpPr/>
            <p:nvPr/>
          </p:nvSpPr>
          <p:spPr bwMode="auto">
            <a:xfrm>
              <a:off x="3962400" y="3581400"/>
              <a:ext cx="457200" cy="228600"/>
            </a:xfrm>
            <a:prstGeom prst="stripedRightArrow">
              <a:avLst/>
            </a:prstGeom>
            <a:solidFill>
              <a:srgbClr val="FF0000"/>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i="1">
                <a:solidFill>
                  <a:srgbClr val="000000"/>
                </a:solidFill>
                <a:latin typeface="Arial"/>
              </a:endParaRPr>
            </a:p>
          </p:txBody>
        </p:sp>
        <p:sp>
          <p:nvSpPr>
            <p:cNvPr id="36" name="Bent Arrow 16"/>
            <p:cNvSpPr/>
            <p:nvPr/>
          </p:nvSpPr>
          <p:spPr bwMode="auto">
            <a:xfrm rot="5400000">
              <a:off x="4419599" y="2121064"/>
              <a:ext cx="914401" cy="914400"/>
            </a:xfrm>
            <a:prstGeom prst="bentArrow">
              <a:avLst/>
            </a:prstGeom>
            <a:solidFill>
              <a:srgbClr val="00FFFF"/>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i="1">
                <a:solidFill>
                  <a:srgbClr val="000000"/>
                </a:solidFill>
                <a:latin typeface="Arial"/>
              </a:endParaRPr>
            </a:p>
          </p:txBody>
        </p:sp>
        <p:sp>
          <p:nvSpPr>
            <p:cNvPr id="41" name="Bent Arrow 17"/>
            <p:cNvSpPr/>
            <p:nvPr/>
          </p:nvSpPr>
          <p:spPr bwMode="auto">
            <a:xfrm rot="5400000">
              <a:off x="6286500" y="3543300"/>
              <a:ext cx="990600" cy="1066800"/>
            </a:xfrm>
            <a:prstGeom prst="bentArrow">
              <a:avLst/>
            </a:prstGeom>
            <a:solidFill>
              <a:srgbClr val="00FFFF"/>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i="1">
                <a:solidFill>
                  <a:srgbClr val="000000"/>
                </a:solidFill>
                <a:latin typeface="Arial"/>
              </a:endParaRPr>
            </a:p>
          </p:txBody>
        </p:sp>
      </p:grpSp>
    </p:spTree>
    <p:extLst>
      <p:ext uri="{BB962C8B-B14F-4D97-AF65-F5344CB8AC3E}">
        <p14:creationId xmlns:p14="http://schemas.microsoft.com/office/powerpoint/2010/main" val="141117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3"/>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REAR AXLE</a:t>
            </a:r>
            <a:endParaRPr lang="en-US" sz="3733" b="1" dirty="0">
              <a:solidFill>
                <a:prstClr val="black"/>
              </a:solidFill>
              <a:latin typeface="Century Gothic" panose="020B0502020202020204" pitchFamily="34" charset="0"/>
            </a:endParaRPr>
          </a:p>
        </p:txBody>
      </p:sp>
      <p:sp>
        <p:nvSpPr>
          <p:cNvPr id="39" name="Rectangle 38"/>
          <p:cNvSpPr/>
          <p:nvPr/>
        </p:nvSpPr>
        <p:spPr>
          <a:xfrm>
            <a:off x="220035" y="1076138"/>
            <a:ext cx="11768765"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dirty="0">
              <a:solidFill>
                <a:prstClr val="white"/>
              </a:solidFill>
              <a:latin typeface="Century Gothic" panose="020B0502020202020204" pitchFamily="34" charset="0"/>
            </a:endParaRPr>
          </a:p>
        </p:txBody>
      </p:sp>
      <p:sp>
        <p:nvSpPr>
          <p:cNvPr id="40" name="Rectangle 39"/>
          <p:cNvSpPr/>
          <p:nvPr/>
        </p:nvSpPr>
        <p:spPr>
          <a:xfrm>
            <a:off x="220035" y="1568115"/>
            <a:ext cx="11768765" cy="5010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285744" indent="-285744" defTabSz="914377">
              <a:buFont typeface="Wingdings" panose="05000000000000000000" pitchFamily="2" charset="2"/>
              <a:buChar char="§"/>
            </a:pPr>
            <a:r>
              <a:rPr lang="en-US" sz="1600" dirty="0">
                <a:solidFill>
                  <a:srgbClr val="000000"/>
                </a:solidFill>
                <a:latin typeface="Century Gothic" panose="020B0502020202020204" pitchFamily="34" charset="0"/>
                <a:cs typeface="Calibri" pitchFamily="34" charset="0"/>
              </a:rPr>
              <a:t>The tooth of the hypoid gear has a large chordal thickness </a:t>
            </a:r>
          </a:p>
          <a:p>
            <a:pPr defTabSz="914377"/>
            <a:r>
              <a:rPr lang="en-US" sz="1600" dirty="0">
                <a:solidFill>
                  <a:srgbClr val="000000"/>
                </a:solidFill>
                <a:latin typeface="Century Gothic" panose="020B0502020202020204" pitchFamily="34" charset="0"/>
                <a:cs typeface="Calibri" pitchFamily="34" charset="0"/>
              </a:rPr>
              <a:t>     and therefore is less prone to uprooting.</a:t>
            </a:r>
          </a:p>
          <a:p>
            <a:pPr defTabSz="914377"/>
            <a:endParaRPr lang="en-US" sz="1600" dirty="0">
              <a:solidFill>
                <a:srgbClr val="000000"/>
              </a:solidFill>
              <a:latin typeface="Century Gothic" panose="020B0502020202020204" pitchFamily="34" charset="0"/>
              <a:cs typeface="Calibri" pitchFamily="34" charset="0"/>
            </a:endParaRPr>
          </a:p>
          <a:p>
            <a:pPr marL="285744" indent="-285744" defTabSz="914377">
              <a:buFont typeface="Wingdings" panose="05000000000000000000" pitchFamily="2" charset="2"/>
              <a:buChar char="§"/>
            </a:pPr>
            <a:r>
              <a:rPr lang="en-US" sz="1600" dirty="0">
                <a:solidFill>
                  <a:srgbClr val="000000"/>
                </a:solidFill>
                <a:latin typeface="Century Gothic" panose="020B0502020202020204" pitchFamily="34" charset="0"/>
                <a:cs typeface="Calibri" pitchFamily="34" charset="0"/>
              </a:rPr>
              <a:t>Tooth contact is longer reducing load per square inch,</a:t>
            </a:r>
          </a:p>
          <a:p>
            <a:pPr defTabSz="914377"/>
            <a:r>
              <a:rPr lang="en-US" sz="1600" dirty="0">
                <a:solidFill>
                  <a:srgbClr val="000000"/>
                </a:solidFill>
                <a:latin typeface="Century Gothic" panose="020B0502020202020204" pitchFamily="34" charset="0"/>
                <a:cs typeface="Calibri" pitchFamily="34" charset="0"/>
              </a:rPr>
              <a:t>     increasing tooth life</a:t>
            </a:r>
          </a:p>
        </p:txBody>
      </p:sp>
      <p:grpSp>
        <p:nvGrpSpPr>
          <p:cNvPr id="3" name="Group 2"/>
          <p:cNvGrpSpPr/>
          <p:nvPr/>
        </p:nvGrpSpPr>
        <p:grpSpPr>
          <a:xfrm>
            <a:off x="313509" y="1632860"/>
            <a:ext cx="5486400" cy="1920237"/>
            <a:chOff x="1524000" y="1701314"/>
            <a:chExt cx="9525008" cy="3233361"/>
          </a:xfrm>
        </p:grpSpPr>
        <p:sp>
          <p:nvSpPr>
            <p:cNvPr id="20" name="Text Box 20"/>
            <p:cNvSpPr txBox="1">
              <a:spLocks noChangeArrowheads="1"/>
            </p:cNvSpPr>
            <p:nvPr/>
          </p:nvSpPr>
          <p:spPr bwMode="auto">
            <a:xfrm>
              <a:off x="9096902" y="1701314"/>
              <a:ext cx="1610273" cy="575616"/>
            </a:xfrm>
            <a:prstGeom prst="rect">
              <a:avLst/>
            </a:prstGeom>
            <a:noFill/>
            <a:ln w="9525">
              <a:noFill/>
              <a:miter lim="800000"/>
              <a:headEnd/>
              <a:tailEnd/>
            </a:ln>
          </p:spPr>
          <p:txBody>
            <a:bodyPr wrap="none">
              <a:spAutoFit/>
            </a:bodyPr>
            <a:lstStyle/>
            <a:p>
              <a:pPr defTabSz="914377"/>
              <a:r>
                <a:rPr lang="en-US" sz="1600" b="1" dirty="0">
                  <a:solidFill>
                    <a:srgbClr val="000000"/>
                  </a:solidFill>
                  <a:latin typeface="Century Gothic" panose="020B0502020202020204" pitchFamily="34" charset="0"/>
                  <a:cs typeface="Calibri" pitchFamily="34" charset="0"/>
                </a:rPr>
                <a:t>Hypoid</a:t>
              </a:r>
            </a:p>
          </p:txBody>
        </p:sp>
        <p:pic>
          <p:nvPicPr>
            <p:cNvPr id="21" name="Picture 30"/>
            <p:cNvPicPr>
              <a:picLocks noChangeAspect="1" noChangeArrowheads="1"/>
            </p:cNvPicPr>
            <p:nvPr/>
          </p:nvPicPr>
          <p:blipFill>
            <a:blip r:embed="rId3"/>
            <a:srcRect/>
            <a:stretch>
              <a:fillRect/>
            </a:stretch>
          </p:blipFill>
          <p:spPr bwMode="auto">
            <a:xfrm>
              <a:off x="8153407" y="2488577"/>
              <a:ext cx="2895601" cy="2133599"/>
            </a:xfrm>
            <a:prstGeom prst="rect">
              <a:avLst/>
            </a:prstGeom>
            <a:noFill/>
            <a:ln w="9525">
              <a:noFill/>
              <a:miter lim="800000"/>
              <a:headEnd/>
              <a:tailEnd/>
            </a:ln>
          </p:spPr>
        </p:pic>
        <p:grpSp>
          <p:nvGrpSpPr>
            <p:cNvPr id="22" name="Group 33"/>
            <p:cNvGrpSpPr>
              <a:grpSpLocks/>
            </p:cNvGrpSpPr>
            <p:nvPr/>
          </p:nvGrpSpPr>
          <p:grpSpPr bwMode="auto">
            <a:xfrm>
              <a:off x="4572273" y="1716993"/>
              <a:ext cx="3849229" cy="2832910"/>
              <a:chOff x="3671" y="672"/>
              <a:chExt cx="2484" cy="1788"/>
            </a:xfrm>
          </p:grpSpPr>
          <p:pic>
            <p:nvPicPr>
              <p:cNvPr id="23" name="Picture 31"/>
              <p:cNvPicPr>
                <a:picLocks noChangeAspect="1" noChangeArrowheads="1"/>
              </p:cNvPicPr>
              <p:nvPr/>
            </p:nvPicPr>
            <p:blipFill>
              <a:blip r:embed="rId4"/>
              <a:srcRect/>
              <a:stretch>
                <a:fillRect/>
              </a:stretch>
            </p:blipFill>
            <p:spPr bwMode="auto">
              <a:xfrm>
                <a:off x="3720" y="1116"/>
                <a:ext cx="2016" cy="1344"/>
              </a:xfrm>
              <a:prstGeom prst="rect">
                <a:avLst/>
              </a:prstGeom>
              <a:noFill/>
              <a:ln w="9525">
                <a:noFill/>
                <a:miter lim="800000"/>
                <a:headEnd/>
                <a:tailEnd/>
              </a:ln>
            </p:spPr>
          </p:pic>
          <p:sp>
            <p:nvSpPr>
              <p:cNvPr id="24" name="Text Box 32"/>
              <p:cNvSpPr txBox="1">
                <a:spLocks noChangeArrowheads="1"/>
              </p:cNvSpPr>
              <p:nvPr/>
            </p:nvSpPr>
            <p:spPr bwMode="auto">
              <a:xfrm>
                <a:off x="3671" y="672"/>
                <a:ext cx="2484" cy="360"/>
              </a:xfrm>
              <a:prstGeom prst="rect">
                <a:avLst/>
              </a:prstGeom>
              <a:noFill/>
              <a:ln w="9525">
                <a:noFill/>
                <a:miter lim="800000"/>
                <a:headEnd/>
                <a:tailEnd/>
              </a:ln>
            </p:spPr>
            <p:txBody>
              <a:bodyPr wrap="none">
                <a:spAutoFit/>
              </a:bodyPr>
              <a:lstStyle/>
              <a:p>
                <a:pPr defTabSz="914377"/>
                <a:r>
                  <a:rPr lang="en-US" sz="1600" b="1" dirty="0">
                    <a:solidFill>
                      <a:srgbClr val="000000"/>
                    </a:solidFill>
                    <a:latin typeface="Century Gothic" panose="020B0502020202020204" pitchFamily="34" charset="0"/>
                    <a:cs typeface="Calibri" pitchFamily="34" charset="0"/>
                  </a:rPr>
                  <a:t>Spiral Bevel (</a:t>
                </a:r>
                <a:r>
                  <a:rPr lang="en-US" sz="1600" b="1" dirty="0" err="1">
                    <a:solidFill>
                      <a:srgbClr val="000000"/>
                    </a:solidFill>
                    <a:latin typeface="Century Gothic" panose="020B0502020202020204" pitchFamily="34" charset="0"/>
                    <a:cs typeface="Calibri" pitchFamily="34" charset="0"/>
                  </a:rPr>
                  <a:t>Palloid</a:t>
                </a:r>
                <a:r>
                  <a:rPr lang="en-US" sz="1600" b="1" dirty="0">
                    <a:solidFill>
                      <a:srgbClr val="000000"/>
                    </a:solidFill>
                    <a:latin typeface="Century Gothic" panose="020B0502020202020204" pitchFamily="34" charset="0"/>
                    <a:cs typeface="Calibri" pitchFamily="34" charset="0"/>
                  </a:rPr>
                  <a:t>)</a:t>
                </a:r>
              </a:p>
            </p:txBody>
          </p:sp>
        </p:grpSp>
        <p:sp>
          <p:nvSpPr>
            <p:cNvPr id="37" name="Text Box 32"/>
            <p:cNvSpPr txBox="1">
              <a:spLocks noChangeArrowheads="1"/>
            </p:cNvSpPr>
            <p:nvPr/>
          </p:nvSpPr>
          <p:spPr bwMode="auto">
            <a:xfrm>
              <a:off x="1787811" y="1747818"/>
              <a:ext cx="1806720" cy="570069"/>
            </a:xfrm>
            <a:prstGeom prst="rect">
              <a:avLst/>
            </a:prstGeom>
            <a:noFill/>
            <a:ln w="9525">
              <a:noFill/>
              <a:miter lim="800000"/>
              <a:headEnd/>
              <a:tailEnd/>
            </a:ln>
          </p:spPr>
          <p:txBody>
            <a:bodyPr wrap="none">
              <a:spAutoFit/>
            </a:bodyPr>
            <a:lstStyle/>
            <a:p>
              <a:pPr defTabSz="914377"/>
              <a:r>
                <a:rPr lang="en-US" sz="1600" b="1" dirty="0" err="1">
                  <a:solidFill>
                    <a:srgbClr val="000000"/>
                  </a:solidFill>
                  <a:latin typeface="Century Gothic" panose="020B0502020202020204" pitchFamily="34" charset="0"/>
                  <a:cs typeface="Calibri" pitchFamily="34" charset="0"/>
                </a:rPr>
                <a:t>Amboid</a:t>
              </a:r>
              <a:r>
                <a:rPr lang="en-US" sz="1600" b="1" dirty="0">
                  <a:solidFill>
                    <a:srgbClr val="000000"/>
                  </a:solidFill>
                  <a:latin typeface="Century Gothic" panose="020B0502020202020204" pitchFamily="34" charset="0"/>
                  <a:cs typeface="Calibri" pitchFamily="34" charset="0"/>
                </a:rPr>
                <a:t> </a:t>
              </a:r>
            </a:p>
          </p:txBody>
        </p:sp>
        <p:grpSp>
          <p:nvGrpSpPr>
            <p:cNvPr id="38" name="Group 37"/>
            <p:cNvGrpSpPr/>
            <p:nvPr/>
          </p:nvGrpSpPr>
          <p:grpSpPr>
            <a:xfrm>
              <a:off x="1524000" y="2531968"/>
              <a:ext cx="3048000" cy="2402707"/>
              <a:chOff x="0" y="2362200"/>
              <a:chExt cx="3048000" cy="2402707"/>
            </a:xfrm>
          </p:grpSpPr>
          <p:grpSp>
            <p:nvGrpSpPr>
              <p:cNvPr id="42" name="Group 41"/>
              <p:cNvGrpSpPr/>
              <p:nvPr/>
            </p:nvGrpSpPr>
            <p:grpSpPr>
              <a:xfrm>
                <a:off x="0" y="2362200"/>
                <a:ext cx="3048000" cy="1905000"/>
                <a:chOff x="292474" y="2362200"/>
                <a:chExt cx="3048000" cy="1905000"/>
              </a:xfrm>
            </p:grpSpPr>
            <p:sp>
              <p:nvSpPr>
                <p:cNvPr id="44" name="Donut 14"/>
                <p:cNvSpPr/>
                <p:nvPr/>
              </p:nvSpPr>
              <p:spPr bwMode="auto">
                <a:xfrm>
                  <a:off x="292474" y="2362200"/>
                  <a:ext cx="1905000" cy="1905000"/>
                </a:xfrm>
                <a:prstGeom prst="donut">
                  <a:avLst/>
                </a:prstGeom>
                <a:solidFill>
                  <a:srgbClr val="9191DB"/>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1600" b="1">
                    <a:solidFill>
                      <a:srgbClr val="000000"/>
                    </a:solidFill>
                    <a:latin typeface="Century Gothic" panose="020B0502020202020204" pitchFamily="34" charset="0"/>
                  </a:endParaRPr>
                </a:p>
              </p:txBody>
            </p:sp>
            <p:sp>
              <p:nvSpPr>
                <p:cNvPr id="45" name="Trapezoid 44"/>
                <p:cNvSpPr/>
                <p:nvPr/>
              </p:nvSpPr>
              <p:spPr bwMode="auto">
                <a:xfrm rot="16200000">
                  <a:off x="1740274" y="2743200"/>
                  <a:ext cx="609600" cy="457200"/>
                </a:xfrm>
                <a:prstGeom prst="trapezoid">
                  <a:avLst/>
                </a:prstGeom>
                <a:solidFill>
                  <a:srgbClr val="EE893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1600" b="1">
                    <a:solidFill>
                      <a:srgbClr val="000000"/>
                    </a:solidFill>
                    <a:latin typeface="Century Gothic" panose="020B0502020202020204" pitchFamily="34" charset="0"/>
                  </a:endParaRPr>
                </a:p>
              </p:txBody>
            </p:sp>
            <p:sp>
              <p:nvSpPr>
                <p:cNvPr id="46" name="Rectangle 45"/>
                <p:cNvSpPr/>
                <p:nvPr/>
              </p:nvSpPr>
              <p:spPr bwMode="auto">
                <a:xfrm>
                  <a:off x="2273674" y="2895600"/>
                  <a:ext cx="1066800" cy="228600"/>
                </a:xfrm>
                <a:prstGeom prst="rect">
                  <a:avLst/>
                </a:prstGeom>
                <a:solidFill>
                  <a:srgbClr val="EE893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1600" b="1">
                    <a:solidFill>
                      <a:srgbClr val="000000"/>
                    </a:solidFill>
                    <a:latin typeface="Century Gothic" panose="020B0502020202020204" pitchFamily="34" charset="0"/>
                  </a:endParaRPr>
                </a:p>
              </p:txBody>
            </p:sp>
          </p:grpSp>
          <p:sp>
            <p:nvSpPr>
              <p:cNvPr id="43" name="Arc 42"/>
              <p:cNvSpPr/>
              <p:nvPr/>
            </p:nvSpPr>
            <p:spPr bwMode="auto">
              <a:xfrm rot="2027826">
                <a:off x="1294244" y="3688460"/>
                <a:ext cx="164002" cy="1076447"/>
              </a:xfrm>
              <a:prstGeom prst="arc">
                <a:avLst/>
              </a:prstGeom>
              <a:solidFill>
                <a:srgbClr val="3333FF"/>
              </a:solidFill>
              <a:ln w="9525" cap="flat" cmpd="sng" algn="ctr">
                <a:solidFill>
                  <a:srgbClr val="3333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1600" b="1">
                  <a:solidFill>
                    <a:srgbClr val="000000"/>
                  </a:solidFill>
                  <a:latin typeface="Century Gothic" panose="020B0502020202020204" pitchFamily="34" charset="0"/>
                </a:endParaRPr>
              </a:p>
            </p:txBody>
          </p:sp>
        </p:grpSp>
      </p:grpSp>
      <p:graphicFrame>
        <p:nvGraphicFramePr>
          <p:cNvPr id="47" name="Diagram 46"/>
          <p:cNvGraphicFramePr/>
          <p:nvPr>
            <p:extLst>
              <p:ext uri="{D42A27DB-BD31-4B8C-83A1-F6EECF244321}">
                <p14:modId xmlns:p14="http://schemas.microsoft.com/office/powerpoint/2010/main" val="3850909252"/>
              </p:ext>
            </p:extLst>
          </p:nvPr>
        </p:nvGraphicFramePr>
        <p:xfrm>
          <a:off x="5494301" y="1970959"/>
          <a:ext cx="6392630" cy="479349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8" name="Text Box 20"/>
          <p:cNvSpPr txBox="1">
            <a:spLocks noChangeArrowheads="1"/>
          </p:cNvSpPr>
          <p:nvPr/>
        </p:nvSpPr>
        <p:spPr bwMode="auto">
          <a:xfrm>
            <a:off x="7149278" y="1673317"/>
            <a:ext cx="2616422" cy="338554"/>
          </a:xfrm>
          <a:prstGeom prst="rect">
            <a:avLst/>
          </a:prstGeom>
          <a:noFill/>
          <a:ln w="9525">
            <a:noFill/>
            <a:miter lim="800000"/>
            <a:headEnd/>
            <a:tailEnd/>
          </a:ln>
        </p:spPr>
        <p:txBody>
          <a:bodyPr wrap="none">
            <a:spAutoFit/>
          </a:bodyPr>
          <a:lstStyle/>
          <a:p>
            <a:pPr defTabSz="914377"/>
            <a:r>
              <a:rPr lang="en-US" sz="1600" b="1" dirty="0">
                <a:solidFill>
                  <a:srgbClr val="000000"/>
                </a:solidFill>
                <a:latin typeface="Century Gothic" panose="020B0502020202020204" pitchFamily="34" charset="0"/>
                <a:cs typeface="Calibri" pitchFamily="34" charset="0"/>
              </a:rPr>
              <a:t>Rear axle - classification</a:t>
            </a:r>
          </a:p>
        </p:txBody>
      </p:sp>
    </p:spTree>
    <p:extLst>
      <p:ext uri="{BB962C8B-B14F-4D97-AF65-F5344CB8AC3E}">
        <p14:creationId xmlns:p14="http://schemas.microsoft.com/office/powerpoint/2010/main" val="11854866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3"/>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DIFFERENTIAL</a:t>
            </a:r>
            <a:endParaRPr lang="en-US" sz="3733" b="1" dirty="0">
              <a:solidFill>
                <a:prstClr val="black"/>
              </a:solidFill>
              <a:latin typeface="Century Gothic" panose="020B0502020202020204" pitchFamily="34" charset="0"/>
            </a:endParaRPr>
          </a:p>
        </p:txBody>
      </p:sp>
      <p:sp>
        <p:nvSpPr>
          <p:cNvPr id="37" name="Rectangle 36"/>
          <p:cNvSpPr/>
          <p:nvPr/>
        </p:nvSpPr>
        <p:spPr>
          <a:xfrm>
            <a:off x="6182082" y="1076138"/>
            <a:ext cx="5774365"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DIFFERENTIAL</a:t>
            </a:r>
          </a:p>
        </p:txBody>
      </p:sp>
      <p:sp>
        <p:nvSpPr>
          <p:cNvPr id="38" name="Rectangle 37"/>
          <p:cNvSpPr/>
          <p:nvPr/>
        </p:nvSpPr>
        <p:spPr>
          <a:xfrm>
            <a:off x="6182082" y="1568115"/>
            <a:ext cx="5774365" cy="5010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44" indent="-285744" algn="just" defTabSz="914377" fontAlgn="base">
              <a:lnSpc>
                <a:spcPct val="150000"/>
              </a:lnSpc>
              <a:spcBef>
                <a:spcPct val="20000"/>
              </a:spcBef>
              <a:spcAft>
                <a:spcPct val="0"/>
              </a:spcAft>
              <a:buFont typeface="Wingdings" pitchFamily="2" charset="2"/>
              <a:buChar char="§"/>
              <a:defRPr/>
            </a:pPr>
            <a:endParaRPr lang="en-US" sz="1600" kern="0" dirty="0">
              <a:solidFill>
                <a:srgbClr val="000000"/>
              </a:solidFill>
              <a:latin typeface="Century Gothic" panose="020B0502020202020204" pitchFamily="34" charset="0"/>
              <a:cs typeface="Arial" pitchFamily="34" charset="0"/>
            </a:endParaRPr>
          </a:p>
        </p:txBody>
      </p:sp>
      <p:sp>
        <p:nvSpPr>
          <p:cNvPr id="39" name="Rectangle 38"/>
          <p:cNvSpPr/>
          <p:nvPr/>
        </p:nvSpPr>
        <p:spPr>
          <a:xfrm>
            <a:off x="220035" y="1076138"/>
            <a:ext cx="5774365"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DIFFERENTIAL SYSTEM</a:t>
            </a:r>
          </a:p>
        </p:txBody>
      </p:sp>
      <p:sp>
        <p:nvSpPr>
          <p:cNvPr id="40" name="Rectangle 39"/>
          <p:cNvSpPr/>
          <p:nvPr/>
        </p:nvSpPr>
        <p:spPr>
          <a:xfrm>
            <a:off x="220035" y="1568115"/>
            <a:ext cx="5774365" cy="5010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77"/>
            <a:r>
              <a:rPr lang="en-US" b="1" dirty="0">
                <a:solidFill>
                  <a:srgbClr val="000000"/>
                </a:solidFill>
                <a:latin typeface="Century Gothic" panose="020B0502020202020204" pitchFamily="34" charset="0"/>
                <a:cs typeface="Calibri" pitchFamily="34" charset="0"/>
              </a:rPr>
              <a:t>What is a differential:</a:t>
            </a:r>
            <a:r>
              <a:rPr lang="en-US" dirty="0">
                <a:solidFill>
                  <a:srgbClr val="000000"/>
                </a:solidFill>
                <a:latin typeface="Century Gothic" panose="020B0502020202020204" pitchFamily="34" charset="0"/>
                <a:cs typeface="Calibri" pitchFamily="34" charset="0"/>
              </a:rPr>
              <a:t> </a:t>
            </a:r>
          </a:p>
          <a:p>
            <a:pPr defTabSz="914377"/>
            <a:r>
              <a:rPr lang="en-US" sz="1600" dirty="0">
                <a:solidFill>
                  <a:srgbClr val="000000"/>
                </a:solidFill>
                <a:latin typeface="Century Gothic" panose="020B0502020202020204" pitchFamily="34" charset="0"/>
                <a:cs typeface="Calibri" pitchFamily="34" charset="0"/>
              </a:rPr>
              <a:t>It is a system of gearing</a:t>
            </a:r>
          </a:p>
          <a:p>
            <a:pPr defTabSz="914377"/>
            <a:endParaRPr lang="en-US" sz="1600" dirty="0">
              <a:solidFill>
                <a:srgbClr val="000000"/>
              </a:solidFill>
              <a:latin typeface="Century Gothic" panose="020B0502020202020204" pitchFamily="34" charset="0"/>
              <a:cs typeface="Calibri" pitchFamily="34" charset="0"/>
            </a:endParaRPr>
          </a:p>
          <a:p>
            <a:pPr defTabSz="914377"/>
            <a:r>
              <a:rPr lang="en-US" b="1" dirty="0">
                <a:solidFill>
                  <a:srgbClr val="000000"/>
                </a:solidFill>
                <a:latin typeface="Century Gothic" panose="020B0502020202020204" pitchFamily="34" charset="0"/>
                <a:cs typeface="Calibri" pitchFamily="34" charset="0"/>
              </a:rPr>
              <a:t>Why a differential :</a:t>
            </a:r>
          </a:p>
          <a:p>
            <a:pPr defTabSz="914377"/>
            <a:r>
              <a:rPr lang="en-US" sz="1600" dirty="0">
                <a:solidFill>
                  <a:srgbClr val="000000"/>
                </a:solidFill>
                <a:latin typeface="Century Gothic" panose="020B0502020202020204" pitchFamily="34" charset="0"/>
                <a:cs typeface="Calibri" pitchFamily="34" charset="0"/>
              </a:rPr>
              <a:t> To enable the two outputs to</a:t>
            </a:r>
          </a:p>
          <a:p>
            <a:pPr defTabSz="914377"/>
            <a:r>
              <a:rPr lang="en-US" sz="1600" dirty="0">
                <a:solidFill>
                  <a:srgbClr val="000000"/>
                </a:solidFill>
                <a:latin typeface="Century Gothic" panose="020B0502020202020204" pitchFamily="34" charset="0"/>
                <a:cs typeface="Calibri" pitchFamily="34" charset="0"/>
              </a:rPr>
              <a:t> rotate at different speeds</a:t>
            </a:r>
          </a:p>
          <a:p>
            <a:pPr defTabSz="914377"/>
            <a:endParaRPr lang="en-US" sz="1600" dirty="0">
              <a:solidFill>
                <a:srgbClr val="000000"/>
              </a:solidFill>
              <a:latin typeface="Century Gothic" panose="020B0502020202020204" pitchFamily="34" charset="0"/>
              <a:cs typeface="Calibri" pitchFamily="34" charset="0"/>
            </a:endParaRPr>
          </a:p>
          <a:p>
            <a:pPr defTabSz="914377"/>
            <a:r>
              <a:rPr lang="en-US" b="1" dirty="0">
                <a:solidFill>
                  <a:srgbClr val="000000"/>
                </a:solidFill>
                <a:latin typeface="Century Gothic" panose="020B0502020202020204" pitchFamily="34" charset="0"/>
                <a:cs typeface="Calibri" pitchFamily="34" charset="0"/>
              </a:rPr>
              <a:t>When used:</a:t>
            </a:r>
          </a:p>
          <a:p>
            <a:pPr marL="342891" indent="-342891" defTabSz="914377">
              <a:buFont typeface="+mj-lt"/>
              <a:buAutoNum type="arabicPeriod"/>
            </a:pPr>
            <a:r>
              <a:rPr lang="en-US" sz="1600" dirty="0">
                <a:solidFill>
                  <a:srgbClr val="000000"/>
                </a:solidFill>
                <a:latin typeface="Century Gothic" panose="020B0502020202020204" pitchFamily="34" charset="0"/>
                <a:cs typeface="Calibri" pitchFamily="34" charset="0"/>
              </a:rPr>
              <a:t>Cornering</a:t>
            </a:r>
          </a:p>
          <a:p>
            <a:pPr marL="342891" indent="-342891" defTabSz="914377">
              <a:buFont typeface="+mj-lt"/>
              <a:buAutoNum type="arabicPeriod"/>
            </a:pPr>
            <a:r>
              <a:rPr lang="en-US" sz="1600" dirty="0">
                <a:solidFill>
                  <a:srgbClr val="000000"/>
                </a:solidFill>
                <a:latin typeface="Century Gothic" panose="020B0502020202020204" pitchFamily="34" charset="0"/>
                <a:cs typeface="Calibri" pitchFamily="34" charset="0"/>
              </a:rPr>
              <a:t>Undulations</a:t>
            </a:r>
          </a:p>
          <a:p>
            <a:pPr marL="342891" indent="-342891" defTabSz="914377">
              <a:buFont typeface="+mj-lt"/>
              <a:buAutoNum type="arabicPeriod"/>
            </a:pPr>
            <a:r>
              <a:rPr lang="en-US" sz="1600" dirty="0">
                <a:solidFill>
                  <a:srgbClr val="000000"/>
                </a:solidFill>
                <a:latin typeface="Century Gothic" panose="020B0502020202020204" pitchFamily="34" charset="0"/>
                <a:cs typeface="Calibri" pitchFamily="34" charset="0"/>
              </a:rPr>
              <a:t>Differences in rolling radius due to wear or inflation</a:t>
            </a:r>
          </a:p>
          <a:p>
            <a:pPr defTabSz="914377"/>
            <a:endParaRPr lang="en-US" sz="1600" dirty="0">
              <a:solidFill>
                <a:srgbClr val="000000"/>
              </a:solidFill>
              <a:latin typeface="Century Gothic" panose="020B0502020202020204" pitchFamily="34" charset="0"/>
              <a:cs typeface="Calibri" pitchFamily="34" charset="0"/>
            </a:endParaRPr>
          </a:p>
          <a:p>
            <a:pPr defTabSz="914377"/>
            <a:endParaRPr lang="en-US" sz="1600" dirty="0">
              <a:solidFill>
                <a:srgbClr val="000000"/>
              </a:solidFill>
              <a:latin typeface="Century Gothic" panose="020B0502020202020204" pitchFamily="34" charset="0"/>
              <a:cs typeface="Calibri" pitchFamily="34" charset="0"/>
            </a:endParaRPr>
          </a:p>
          <a:p>
            <a:pPr defTabSz="914377"/>
            <a:r>
              <a:rPr lang="en-US" sz="1600" dirty="0">
                <a:solidFill>
                  <a:srgbClr val="000000"/>
                </a:solidFill>
                <a:latin typeface="Century Gothic" panose="020B0502020202020204" pitchFamily="34" charset="0"/>
                <a:cs typeface="Calibri" pitchFamily="34" charset="0"/>
              </a:rPr>
              <a:t>Note: In Multi Axle Vehicle the 3</a:t>
            </a:r>
            <a:r>
              <a:rPr lang="en-US" sz="1600" baseline="30000" dirty="0">
                <a:solidFill>
                  <a:srgbClr val="000000"/>
                </a:solidFill>
                <a:latin typeface="Century Gothic" panose="020B0502020202020204" pitchFamily="34" charset="0"/>
                <a:cs typeface="Calibri" pitchFamily="34" charset="0"/>
              </a:rPr>
              <a:t>rd</a:t>
            </a:r>
            <a:r>
              <a:rPr lang="en-US" sz="1600" dirty="0">
                <a:solidFill>
                  <a:srgbClr val="000000"/>
                </a:solidFill>
                <a:latin typeface="Century Gothic" panose="020B0502020202020204" pitchFamily="34" charset="0"/>
                <a:cs typeface="Calibri" pitchFamily="34" charset="0"/>
              </a:rPr>
              <a:t> Differential enables two axles rotate at different speeds</a:t>
            </a:r>
          </a:p>
        </p:txBody>
      </p:sp>
      <p:grpSp>
        <p:nvGrpSpPr>
          <p:cNvPr id="25" name="Group 19"/>
          <p:cNvGrpSpPr>
            <a:grpSpLocks/>
          </p:cNvGrpSpPr>
          <p:nvPr/>
        </p:nvGrpSpPr>
        <p:grpSpPr bwMode="auto">
          <a:xfrm>
            <a:off x="3464571" y="1782638"/>
            <a:ext cx="2280248" cy="2185916"/>
            <a:chOff x="3216" y="1104"/>
            <a:chExt cx="1767" cy="2352"/>
          </a:xfrm>
        </p:grpSpPr>
        <p:grpSp>
          <p:nvGrpSpPr>
            <p:cNvPr id="26" name="Group 20"/>
            <p:cNvGrpSpPr>
              <a:grpSpLocks/>
            </p:cNvGrpSpPr>
            <p:nvPr/>
          </p:nvGrpSpPr>
          <p:grpSpPr bwMode="auto">
            <a:xfrm>
              <a:off x="3640" y="1104"/>
              <a:ext cx="920" cy="2352"/>
              <a:chOff x="3640" y="1104"/>
              <a:chExt cx="920" cy="2352"/>
            </a:xfrm>
          </p:grpSpPr>
          <p:sp>
            <p:nvSpPr>
              <p:cNvPr id="35" name="Oval 21"/>
              <p:cNvSpPr>
                <a:spLocks noChangeArrowheads="1"/>
              </p:cNvSpPr>
              <p:nvPr/>
            </p:nvSpPr>
            <p:spPr bwMode="auto">
              <a:xfrm>
                <a:off x="3648" y="1160"/>
                <a:ext cx="912" cy="267"/>
              </a:xfrm>
              <a:prstGeom prst="ellipse">
                <a:avLst/>
              </a:prstGeom>
              <a:solidFill>
                <a:schemeClr val="hlink"/>
              </a:solidFill>
              <a:ln w="9525">
                <a:solidFill>
                  <a:schemeClr val="tx1"/>
                </a:solidFill>
                <a:round/>
                <a:headEnd/>
                <a:tailEnd/>
              </a:ln>
            </p:spPr>
            <p:txBody>
              <a:bodyPr wrap="none" anchor="ctr"/>
              <a:lstStyle/>
              <a:p>
                <a:pPr defTabSz="914377"/>
                <a:endParaRPr lang="en-US">
                  <a:solidFill>
                    <a:srgbClr val="000000"/>
                  </a:solidFill>
                  <a:latin typeface="Arial"/>
                </a:endParaRPr>
              </a:p>
            </p:txBody>
          </p:sp>
          <p:sp>
            <p:nvSpPr>
              <p:cNvPr id="36" name="AutoShape 22"/>
              <p:cNvSpPr>
                <a:spLocks noChangeArrowheads="1"/>
              </p:cNvSpPr>
              <p:nvPr/>
            </p:nvSpPr>
            <p:spPr bwMode="auto">
              <a:xfrm>
                <a:off x="3648" y="1249"/>
                <a:ext cx="912" cy="535"/>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979 w 21600"/>
                  <a:gd name="T13" fmla="*/ 3997 h 21600"/>
                  <a:gd name="T14" fmla="*/ 17621 w 21600"/>
                  <a:gd name="T15" fmla="*/ 17603 h 21600"/>
                </a:gdLst>
                <a:ahLst/>
                <a:cxnLst>
                  <a:cxn ang="T8">
                    <a:pos x="T0" y="T1"/>
                  </a:cxn>
                  <a:cxn ang="T9">
                    <a:pos x="T2" y="T3"/>
                  </a:cxn>
                  <a:cxn ang="T10">
                    <a:pos x="T4" y="T5"/>
                  </a:cxn>
                  <a:cxn ang="T11">
                    <a:pos x="T6" y="T7"/>
                  </a:cxn>
                </a:cxnLst>
                <a:rect l="T12" t="T13" r="T14" b="T15"/>
                <a:pathLst>
                  <a:path w="21600" h="21600">
                    <a:moveTo>
                      <a:pt x="0" y="0"/>
                    </a:moveTo>
                    <a:lnTo>
                      <a:pt x="4377" y="21600"/>
                    </a:lnTo>
                    <a:lnTo>
                      <a:pt x="17223" y="21600"/>
                    </a:lnTo>
                    <a:lnTo>
                      <a:pt x="21600" y="0"/>
                    </a:lnTo>
                    <a:lnTo>
                      <a:pt x="0" y="0"/>
                    </a:lnTo>
                    <a:close/>
                  </a:path>
                </a:pathLst>
              </a:custGeom>
              <a:solidFill>
                <a:schemeClr val="hlink"/>
              </a:solidFill>
              <a:ln w="9525">
                <a:solidFill>
                  <a:schemeClr val="tx1"/>
                </a:solidFill>
                <a:miter lim="800000"/>
                <a:headEnd/>
                <a:tailEnd/>
              </a:ln>
            </p:spPr>
            <p:txBody>
              <a:bodyPr wrap="none" anchor="ctr"/>
              <a:lstStyle/>
              <a:p>
                <a:pPr defTabSz="914377"/>
                <a:endParaRPr lang="en-US">
                  <a:solidFill>
                    <a:srgbClr val="000000"/>
                  </a:solidFill>
                  <a:latin typeface="Arial"/>
                </a:endParaRPr>
              </a:p>
            </p:txBody>
          </p:sp>
          <p:sp>
            <p:nvSpPr>
              <p:cNvPr id="41" name="Rectangle 23"/>
              <p:cNvSpPr>
                <a:spLocks noChangeArrowheads="1"/>
              </p:cNvSpPr>
              <p:nvPr/>
            </p:nvSpPr>
            <p:spPr bwMode="auto">
              <a:xfrm rot="-5400000">
                <a:off x="3740" y="1364"/>
                <a:ext cx="720" cy="200"/>
              </a:xfrm>
              <a:prstGeom prst="rect">
                <a:avLst/>
              </a:prstGeom>
              <a:gradFill rotWithShape="0">
                <a:gsLst>
                  <a:gs pos="0">
                    <a:schemeClr val="folHlink">
                      <a:gamma/>
                      <a:shade val="46275"/>
                      <a:invGamma/>
                    </a:schemeClr>
                  </a:gs>
                  <a:gs pos="50000">
                    <a:schemeClr val="folHlink"/>
                  </a:gs>
                  <a:gs pos="100000">
                    <a:schemeClr val="folHlink">
                      <a:gamma/>
                      <a:shade val="46275"/>
                      <a:invGamma/>
                    </a:schemeClr>
                  </a:gs>
                </a:gsLst>
                <a:lin ang="0" scaled="1"/>
              </a:gradFill>
              <a:ln w="9525">
                <a:solidFill>
                  <a:schemeClr val="tx1"/>
                </a:solidFill>
                <a:miter lim="800000"/>
                <a:headEnd/>
                <a:tailEnd/>
              </a:ln>
              <a:effectLst/>
            </p:spPr>
            <p:txBody>
              <a:bodyPr wrap="none" anchor="ctr"/>
              <a:lstStyle/>
              <a:p>
                <a:pPr defTabSz="914377">
                  <a:defRPr/>
                </a:pPr>
                <a:endParaRPr lang="en-US">
                  <a:solidFill>
                    <a:srgbClr val="000000"/>
                  </a:solidFill>
                  <a:latin typeface="Arial"/>
                </a:endParaRPr>
              </a:p>
            </p:txBody>
          </p:sp>
          <p:sp>
            <p:nvSpPr>
              <p:cNvPr id="42" name="Oval 24"/>
              <p:cNvSpPr>
                <a:spLocks noChangeArrowheads="1"/>
              </p:cNvSpPr>
              <p:nvPr/>
            </p:nvSpPr>
            <p:spPr bwMode="auto">
              <a:xfrm flipV="1">
                <a:off x="3640" y="3133"/>
                <a:ext cx="912" cy="267"/>
              </a:xfrm>
              <a:prstGeom prst="ellipse">
                <a:avLst/>
              </a:prstGeom>
              <a:solidFill>
                <a:schemeClr val="hlink"/>
              </a:solidFill>
              <a:ln w="9525">
                <a:solidFill>
                  <a:schemeClr val="tx1"/>
                </a:solidFill>
                <a:round/>
                <a:headEnd/>
                <a:tailEnd/>
              </a:ln>
            </p:spPr>
            <p:txBody>
              <a:bodyPr wrap="none" anchor="ctr"/>
              <a:lstStyle/>
              <a:p>
                <a:pPr defTabSz="914377"/>
                <a:endParaRPr lang="en-US">
                  <a:solidFill>
                    <a:srgbClr val="000000"/>
                  </a:solidFill>
                  <a:latin typeface="Arial"/>
                </a:endParaRPr>
              </a:p>
            </p:txBody>
          </p:sp>
          <p:sp>
            <p:nvSpPr>
              <p:cNvPr id="43" name="AutoShape 25"/>
              <p:cNvSpPr>
                <a:spLocks noChangeArrowheads="1"/>
              </p:cNvSpPr>
              <p:nvPr/>
            </p:nvSpPr>
            <p:spPr bwMode="auto">
              <a:xfrm flipV="1">
                <a:off x="3640" y="2776"/>
                <a:ext cx="912" cy="535"/>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979 w 21600"/>
                  <a:gd name="T13" fmla="*/ 3997 h 21600"/>
                  <a:gd name="T14" fmla="*/ 17621 w 21600"/>
                  <a:gd name="T15" fmla="*/ 17603 h 21600"/>
                </a:gdLst>
                <a:ahLst/>
                <a:cxnLst>
                  <a:cxn ang="T8">
                    <a:pos x="T0" y="T1"/>
                  </a:cxn>
                  <a:cxn ang="T9">
                    <a:pos x="T2" y="T3"/>
                  </a:cxn>
                  <a:cxn ang="T10">
                    <a:pos x="T4" y="T5"/>
                  </a:cxn>
                  <a:cxn ang="T11">
                    <a:pos x="T6" y="T7"/>
                  </a:cxn>
                </a:cxnLst>
                <a:rect l="T12" t="T13" r="T14" b="T15"/>
                <a:pathLst>
                  <a:path w="21600" h="21600">
                    <a:moveTo>
                      <a:pt x="0" y="0"/>
                    </a:moveTo>
                    <a:lnTo>
                      <a:pt x="4377" y="21600"/>
                    </a:lnTo>
                    <a:lnTo>
                      <a:pt x="17223" y="21600"/>
                    </a:lnTo>
                    <a:lnTo>
                      <a:pt x="21600" y="0"/>
                    </a:lnTo>
                    <a:lnTo>
                      <a:pt x="0" y="0"/>
                    </a:lnTo>
                    <a:close/>
                  </a:path>
                </a:pathLst>
              </a:custGeom>
              <a:solidFill>
                <a:schemeClr val="hlink"/>
              </a:solidFill>
              <a:ln w="9525">
                <a:solidFill>
                  <a:schemeClr val="tx1"/>
                </a:solidFill>
                <a:miter lim="800000"/>
                <a:headEnd/>
                <a:tailEnd/>
              </a:ln>
            </p:spPr>
            <p:txBody>
              <a:bodyPr wrap="none" anchor="ctr"/>
              <a:lstStyle/>
              <a:p>
                <a:pPr defTabSz="914377"/>
                <a:endParaRPr lang="en-US">
                  <a:solidFill>
                    <a:srgbClr val="000000"/>
                  </a:solidFill>
                  <a:latin typeface="Arial"/>
                </a:endParaRPr>
              </a:p>
            </p:txBody>
          </p:sp>
          <p:sp>
            <p:nvSpPr>
              <p:cNvPr id="44" name="Rectangle 26"/>
              <p:cNvSpPr>
                <a:spLocks noChangeArrowheads="1"/>
              </p:cNvSpPr>
              <p:nvPr/>
            </p:nvSpPr>
            <p:spPr bwMode="auto">
              <a:xfrm rot="-5400000">
                <a:off x="3732" y="3012"/>
                <a:ext cx="720" cy="168"/>
              </a:xfrm>
              <a:prstGeom prst="rect">
                <a:avLst/>
              </a:prstGeom>
              <a:gradFill rotWithShape="0">
                <a:gsLst>
                  <a:gs pos="0">
                    <a:schemeClr val="folHlink">
                      <a:gamma/>
                      <a:shade val="46275"/>
                      <a:invGamma/>
                    </a:schemeClr>
                  </a:gs>
                  <a:gs pos="50000">
                    <a:schemeClr val="folHlink"/>
                  </a:gs>
                  <a:gs pos="100000">
                    <a:schemeClr val="folHlink">
                      <a:gamma/>
                      <a:shade val="46275"/>
                      <a:invGamma/>
                    </a:schemeClr>
                  </a:gs>
                </a:gsLst>
                <a:lin ang="0" scaled="1"/>
              </a:gradFill>
              <a:ln w="9525">
                <a:solidFill>
                  <a:schemeClr val="tx1"/>
                </a:solidFill>
                <a:miter lim="800000"/>
                <a:headEnd/>
                <a:tailEnd/>
              </a:ln>
              <a:effectLst/>
            </p:spPr>
            <p:txBody>
              <a:bodyPr wrap="none" anchor="ctr"/>
              <a:lstStyle/>
              <a:p>
                <a:pPr defTabSz="914377">
                  <a:defRPr/>
                </a:pPr>
                <a:endParaRPr lang="en-US">
                  <a:solidFill>
                    <a:srgbClr val="000000"/>
                  </a:solidFill>
                  <a:latin typeface="Arial"/>
                </a:endParaRPr>
              </a:p>
            </p:txBody>
          </p:sp>
          <p:sp>
            <p:nvSpPr>
              <p:cNvPr id="45" name="Rectangle 27"/>
              <p:cNvSpPr>
                <a:spLocks noChangeArrowheads="1"/>
              </p:cNvSpPr>
              <p:nvPr/>
            </p:nvSpPr>
            <p:spPr bwMode="auto">
              <a:xfrm>
                <a:off x="3840" y="1824"/>
                <a:ext cx="528" cy="912"/>
              </a:xfrm>
              <a:prstGeom prst="rect">
                <a:avLst/>
              </a:prstGeom>
              <a:solidFill>
                <a:schemeClr val="bg2"/>
              </a:solidFill>
              <a:ln w="9525">
                <a:solidFill>
                  <a:schemeClr val="tx1"/>
                </a:solidFill>
                <a:miter lim="800000"/>
                <a:headEnd/>
                <a:tailEnd/>
              </a:ln>
            </p:spPr>
            <p:txBody>
              <a:bodyPr wrap="none" anchor="ctr"/>
              <a:lstStyle/>
              <a:p>
                <a:pPr defTabSz="914377"/>
                <a:endParaRPr lang="en-US">
                  <a:solidFill>
                    <a:srgbClr val="000000"/>
                  </a:solidFill>
                  <a:latin typeface="Arial"/>
                </a:endParaRPr>
              </a:p>
            </p:txBody>
          </p:sp>
          <p:sp>
            <p:nvSpPr>
              <p:cNvPr id="46" name="Rectangle 28"/>
              <p:cNvSpPr>
                <a:spLocks noChangeArrowheads="1"/>
              </p:cNvSpPr>
              <p:nvPr/>
            </p:nvSpPr>
            <p:spPr bwMode="auto">
              <a:xfrm>
                <a:off x="3840" y="1872"/>
                <a:ext cx="528" cy="816"/>
              </a:xfrm>
              <a:prstGeom prst="rect">
                <a:avLst/>
              </a:prstGeom>
              <a:solidFill>
                <a:srgbClr val="FFCC00"/>
              </a:solidFill>
              <a:ln w="9525">
                <a:solidFill>
                  <a:schemeClr val="tx1"/>
                </a:solidFill>
                <a:miter lim="800000"/>
                <a:headEnd/>
                <a:tailEnd/>
              </a:ln>
            </p:spPr>
            <p:txBody>
              <a:bodyPr wrap="none" anchor="ctr"/>
              <a:lstStyle/>
              <a:p>
                <a:pPr defTabSz="914377"/>
                <a:endParaRPr lang="en-US">
                  <a:solidFill>
                    <a:srgbClr val="000000"/>
                  </a:solidFill>
                  <a:latin typeface="Arial"/>
                </a:endParaRPr>
              </a:p>
            </p:txBody>
          </p:sp>
          <p:sp>
            <p:nvSpPr>
              <p:cNvPr id="47" name="Rectangle 29"/>
              <p:cNvSpPr>
                <a:spLocks noChangeArrowheads="1"/>
              </p:cNvSpPr>
              <p:nvPr/>
            </p:nvSpPr>
            <p:spPr bwMode="auto">
              <a:xfrm>
                <a:off x="3840" y="1952"/>
                <a:ext cx="528" cy="672"/>
              </a:xfrm>
              <a:prstGeom prst="rect">
                <a:avLst/>
              </a:prstGeom>
              <a:solidFill>
                <a:schemeClr val="bg1"/>
              </a:solidFill>
              <a:ln w="9525">
                <a:solidFill>
                  <a:schemeClr val="tx1"/>
                </a:solidFill>
                <a:miter lim="800000"/>
                <a:headEnd/>
                <a:tailEnd/>
              </a:ln>
            </p:spPr>
            <p:txBody>
              <a:bodyPr wrap="none" anchor="ctr"/>
              <a:lstStyle/>
              <a:p>
                <a:pPr defTabSz="914377"/>
                <a:endParaRPr lang="en-US">
                  <a:solidFill>
                    <a:srgbClr val="000000"/>
                  </a:solidFill>
                  <a:latin typeface="Arial"/>
                </a:endParaRPr>
              </a:p>
            </p:txBody>
          </p:sp>
        </p:grpSp>
        <p:grpSp>
          <p:nvGrpSpPr>
            <p:cNvPr id="27" name="Group 30"/>
            <p:cNvGrpSpPr>
              <a:grpSpLocks/>
            </p:cNvGrpSpPr>
            <p:nvPr/>
          </p:nvGrpSpPr>
          <p:grpSpPr bwMode="auto">
            <a:xfrm>
              <a:off x="3216" y="1248"/>
              <a:ext cx="576" cy="2064"/>
              <a:chOff x="3216" y="1248"/>
              <a:chExt cx="576" cy="2064"/>
            </a:xfrm>
          </p:grpSpPr>
          <p:sp>
            <p:nvSpPr>
              <p:cNvPr id="32" name="AutoShape 31"/>
              <p:cNvSpPr>
                <a:spLocks noChangeArrowheads="1"/>
              </p:cNvSpPr>
              <p:nvPr/>
            </p:nvSpPr>
            <p:spPr bwMode="auto">
              <a:xfrm rot="-5400000">
                <a:off x="2664" y="2184"/>
                <a:ext cx="2064" cy="192"/>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chemeClr val="folHlink"/>
              </a:solidFill>
              <a:ln w="9525">
                <a:solidFill>
                  <a:schemeClr val="tx1"/>
                </a:solidFill>
                <a:miter lim="800000"/>
                <a:headEnd/>
                <a:tailEnd/>
              </a:ln>
            </p:spPr>
            <p:txBody>
              <a:bodyPr wrap="none" anchor="ctr"/>
              <a:lstStyle/>
              <a:p>
                <a:pPr defTabSz="914377"/>
                <a:endParaRPr lang="en-US">
                  <a:solidFill>
                    <a:srgbClr val="000000"/>
                  </a:solidFill>
                  <a:latin typeface="Arial"/>
                </a:endParaRPr>
              </a:p>
            </p:txBody>
          </p:sp>
          <p:sp>
            <p:nvSpPr>
              <p:cNvPr id="33" name="Rectangle 32"/>
              <p:cNvSpPr>
                <a:spLocks noChangeArrowheads="1"/>
              </p:cNvSpPr>
              <p:nvPr/>
            </p:nvSpPr>
            <p:spPr bwMode="auto">
              <a:xfrm>
                <a:off x="3216" y="1863"/>
                <a:ext cx="384" cy="846"/>
              </a:xfrm>
              <a:prstGeom prst="rect">
                <a:avLst/>
              </a:prstGeom>
              <a:solidFill>
                <a:schemeClr val="folHlink"/>
              </a:solidFill>
              <a:ln w="9525">
                <a:solidFill>
                  <a:schemeClr val="tx1"/>
                </a:solidFill>
                <a:miter lim="800000"/>
                <a:headEnd/>
                <a:tailEnd/>
              </a:ln>
            </p:spPr>
            <p:txBody>
              <a:bodyPr wrap="none" anchor="ctr"/>
              <a:lstStyle/>
              <a:p>
                <a:pPr defTabSz="914377"/>
                <a:endParaRPr lang="en-US">
                  <a:solidFill>
                    <a:srgbClr val="000000"/>
                  </a:solidFill>
                  <a:latin typeface="Arial"/>
                </a:endParaRPr>
              </a:p>
            </p:txBody>
          </p:sp>
          <p:sp>
            <p:nvSpPr>
              <p:cNvPr id="34" name="Rectangle 33" descr="Dark horizontal"/>
              <p:cNvSpPr>
                <a:spLocks noChangeArrowheads="1"/>
              </p:cNvSpPr>
              <p:nvPr/>
            </p:nvSpPr>
            <p:spPr bwMode="auto">
              <a:xfrm>
                <a:off x="3216" y="1968"/>
                <a:ext cx="384" cy="624"/>
              </a:xfrm>
              <a:prstGeom prst="rect">
                <a:avLst/>
              </a:prstGeom>
              <a:pattFill prst="dkHorz">
                <a:fgClr>
                  <a:schemeClr val="folHlink"/>
                </a:fgClr>
                <a:bgClr>
                  <a:srgbClr val="FFFFFF"/>
                </a:bgClr>
              </a:pattFill>
              <a:ln w="9525">
                <a:solidFill>
                  <a:schemeClr val="tx1"/>
                </a:solidFill>
                <a:miter lim="800000"/>
                <a:headEnd/>
                <a:tailEnd/>
              </a:ln>
            </p:spPr>
            <p:txBody>
              <a:bodyPr wrap="none" anchor="ctr"/>
              <a:lstStyle/>
              <a:p>
                <a:pPr defTabSz="914377"/>
                <a:endParaRPr lang="en-US">
                  <a:solidFill>
                    <a:srgbClr val="000000"/>
                  </a:solidFill>
                  <a:latin typeface="Arial"/>
                </a:endParaRPr>
              </a:p>
            </p:txBody>
          </p:sp>
        </p:grpSp>
        <p:grpSp>
          <p:nvGrpSpPr>
            <p:cNvPr id="28" name="Group 34"/>
            <p:cNvGrpSpPr>
              <a:grpSpLocks/>
            </p:cNvGrpSpPr>
            <p:nvPr/>
          </p:nvGrpSpPr>
          <p:grpSpPr bwMode="auto">
            <a:xfrm flipH="1">
              <a:off x="4407" y="1272"/>
              <a:ext cx="576" cy="2064"/>
              <a:chOff x="3216" y="1248"/>
              <a:chExt cx="576" cy="2064"/>
            </a:xfrm>
          </p:grpSpPr>
          <p:sp>
            <p:nvSpPr>
              <p:cNvPr id="29" name="AutoShape 35"/>
              <p:cNvSpPr>
                <a:spLocks noChangeArrowheads="1"/>
              </p:cNvSpPr>
              <p:nvPr/>
            </p:nvSpPr>
            <p:spPr bwMode="auto">
              <a:xfrm rot="-5400000">
                <a:off x="2664" y="2184"/>
                <a:ext cx="2064" cy="192"/>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chemeClr val="folHlink"/>
              </a:solidFill>
              <a:ln w="9525">
                <a:solidFill>
                  <a:schemeClr val="tx1"/>
                </a:solidFill>
                <a:miter lim="800000"/>
                <a:headEnd/>
                <a:tailEnd/>
              </a:ln>
            </p:spPr>
            <p:txBody>
              <a:bodyPr wrap="none" anchor="ctr"/>
              <a:lstStyle/>
              <a:p>
                <a:pPr defTabSz="914377"/>
                <a:endParaRPr lang="en-US">
                  <a:solidFill>
                    <a:srgbClr val="000000"/>
                  </a:solidFill>
                  <a:latin typeface="Arial"/>
                </a:endParaRPr>
              </a:p>
            </p:txBody>
          </p:sp>
          <p:sp>
            <p:nvSpPr>
              <p:cNvPr id="30" name="Rectangle 36"/>
              <p:cNvSpPr>
                <a:spLocks noChangeArrowheads="1"/>
              </p:cNvSpPr>
              <p:nvPr/>
            </p:nvSpPr>
            <p:spPr bwMode="auto">
              <a:xfrm>
                <a:off x="3216" y="1863"/>
                <a:ext cx="384" cy="846"/>
              </a:xfrm>
              <a:prstGeom prst="rect">
                <a:avLst/>
              </a:prstGeom>
              <a:solidFill>
                <a:schemeClr val="folHlink"/>
              </a:solidFill>
              <a:ln w="9525">
                <a:solidFill>
                  <a:schemeClr val="tx1"/>
                </a:solidFill>
                <a:miter lim="800000"/>
                <a:headEnd/>
                <a:tailEnd/>
              </a:ln>
            </p:spPr>
            <p:txBody>
              <a:bodyPr wrap="none" anchor="ctr"/>
              <a:lstStyle/>
              <a:p>
                <a:pPr defTabSz="914377"/>
                <a:endParaRPr lang="en-US">
                  <a:solidFill>
                    <a:srgbClr val="000000"/>
                  </a:solidFill>
                  <a:latin typeface="Arial"/>
                </a:endParaRPr>
              </a:p>
            </p:txBody>
          </p:sp>
          <p:sp>
            <p:nvSpPr>
              <p:cNvPr id="31" name="Rectangle 37" descr="Dark horizontal"/>
              <p:cNvSpPr>
                <a:spLocks noChangeArrowheads="1"/>
              </p:cNvSpPr>
              <p:nvPr/>
            </p:nvSpPr>
            <p:spPr bwMode="auto">
              <a:xfrm>
                <a:off x="3216" y="1968"/>
                <a:ext cx="384" cy="624"/>
              </a:xfrm>
              <a:prstGeom prst="rect">
                <a:avLst/>
              </a:prstGeom>
              <a:pattFill prst="dkHorz">
                <a:fgClr>
                  <a:schemeClr val="folHlink"/>
                </a:fgClr>
                <a:bgClr>
                  <a:srgbClr val="FFFFFF"/>
                </a:bgClr>
              </a:pattFill>
              <a:ln w="9525">
                <a:solidFill>
                  <a:schemeClr val="tx1"/>
                </a:solidFill>
                <a:miter lim="800000"/>
                <a:headEnd/>
                <a:tailEnd/>
              </a:ln>
            </p:spPr>
            <p:txBody>
              <a:bodyPr wrap="none" anchor="ctr"/>
              <a:lstStyle/>
              <a:p>
                <a:pPr defTabSz="914377"/>
                <a:endParaRPr lang="en-US">
                  <a:solidFill>
                    <a:srgbClr val="000000"/>
                  </a:solidFill>
                  <a:latin typeface="Arial"/>
                </a:endParaRPr>
              </a:p>
            </p:txBody>
          </p:sp>
        </p:grpSp>
      </p:grpSp>
      <p:pic>
        <p:nvPicPr>
          <p:cNvPr id="48" name="Picture 47"/>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2239" b="98321" l="1978" r="99011"/>
                    </a14:imgEffect>
                  </a14:imgLayer>
                </a14:imgProps>
              </a:ext>
              <a:ext uri="{28A0092B-C50C-407E-A947-70E740481C1C}">
                <a14:useLocalDpi xmlns:a14="http://schemas.microsoft.com/office/drawing/2010/main" val="0"/>
              </a:ext>
            </a:extLst>
          </a:blip>
          <a:srcRect/>
          <a:stretch>
            <a:fillRect/>
          </a:stretch>
        </p:blipFill>
        <p:spPr bwMode="auto">
          <a:xfrm>
            <a:off x="6070783" y="2311740"/>
            <a:ext cx="5754836" cy="3487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9" name="Straight Arrow Connector 48"/>
          <p:cNvCxnSpPr/>
          <p:nvPr/>
        </p:nvCxnSpPr>
        <p:spPr bwMode="auto">
          <a:xfrm flipH="1" flipV="1">
            <a:off x="7319181" y="3190844"/>
            <a:ext cx="914400" cy="152400"/>
          </a:xfrm>
          <a:prstGeom prst="straightConnector1">
            <a:avLst/>
          </a:prstGeom>
          <a:solidFill>
            <a:schemeClr val="accent1"/>
          </a:solidFill>
          <a:ln w="28575" cap="flat" cmpd="sng" algn="ctr">
            <a:solidFill>
              <a:srgbClr val="FFFF00"/>
            </a:solidFill>
            <a:prstDash val="solid"/>
            <a:round/>
            <a:headEnd type="none" w="med" len="med"/>
            <a:tailEnd type="arrow"/>
          </a:ln>
          <a:effectLst/>
        </p:spPr>
      </p:cxnSp>
      <p:sp>
        <p:nvSpPr>
          <p:cNvPr id="50" name="TextBox 49"/>
          <p:cNvSpPr txBox="1"/>
          <p:nvPr/>
        </p:nvSpPr>
        <p:spPr>
          <a:xfrm>
            <a:off x="6633381" y="2849317"/>
            <a:ext cx="1593308" cy="338554"/>
          </a:xfrm>
          <a:prstGeom prst="rect">
            <a:avLst/>
          </a:prstGeom>
          <a:noFill/>
        </p:spPr>
        <p:txBody>
          <a:bodyPr wrap="square" rtlCol="0">
            <a:spAutoFit/>
          </a:bodyPr>
          <a:lstStyle/>
          <a:p>
            <a:pPr defTabSz="914377"/>
            <a:r>
              <a:rPr lang="en-US" sz="1600" dirty="0">
                <a:solidFill>
                  <a:prstClr val="black"/>
                </a:solidFill>
                <a:latin typeface="Century Gothic" panose="020B0502020202020204" pitchFamily="34" charset="0"/>
                <a:cs typeface="Calibri" pitchFamily="34" charset="0"/>
              </a:rPr>
              <a:t>Bevel Wheel</a:t>
            </a:r>
          </a:p>
        </p:txBody>
      </p:sp>
      <p:cxnSp>
        <p:nvCxnSpPr>
          <p:cNvPr id="51" name="Straight Arrow Connector 50"/>
          <p:cNvCxnSpPr/>
          <p:nvPr/>
        </p:nvCxnSpPr>
        <p:spPr bwMode="auto">
          <a:xfrm rot="5400000" flipH="1" flipV="1">
            <a:off x="9191733" y="2759484"/>
            <a:ext cx="1066800" cy="990600"/>
          </a:xfrm>
          <a:prstGeom prst="straightConnector1">
            <a:avLst/>
          </a:prstGeom>
          <a:solidFill>
            <a:schemeClr val="accent1"/>
          </a:solidFill>
          <a:ln w="28575" cap="flat" cmpd="sng" algn="ctr">
            <a:solidFill>
              <a:srgbClr val="FFFF00"/>
            </a:solidFill>
            <a:prstDash val="solid"/>
            <a:round/>
            <a:headEnd type="none" w="med" len="med"/>
            <a:tailEnd type="arrow"/>
          </a:ln>
          <a:effectLst/>
        </p:spPr>
      </p:cxnSp>
      <p:sp>
        <p:nvSpPr>
          <p:cNvPr id="52" name="TextBox 51"/>
          <p:cNvSpPr txBox="1"/>
          <p:nvPr/>
        </p:nvSpPr>
        <p:spPr>
          <a:xfrm>
            <a:off x="10149885" y="2454310"/>
            <a:ext cx="1066800" cy="338554"/>
          </a:xfrm>
          <a:prstGeom prst="rect">
            <a:avLst/>
          </a:prstGeom>
          <a:noFill/>
        </p:spPr>
        <p:txBody>
          <a:bodyPr wrap="square" rtlCol="0">
            <a:spAutoFit/>
          </a:bodyPr>
          <a:lstStyle/>
          <a:p>
            <a:pPr defTabSz="914377"/>
            <a:r>
              <a:rPr lang="en-US" sz="1600" dirty="0">
                <a:solidFill>
                  <a:prstClr val="black"/>
                </a:solidFill>
                <a:latin typeface="Century Gothic" panose="020B0502020202020204" pitchFamily="34" charset="0"/>
                <a:cs typeface="Calibri" pitchFamily="34" charset="0"/>
              </a:rPr>
              <a:t>Trunion</a:t>
            </a:r>
          </a:p>
        </p:txBody>
      </p:sp>
      <p:cxnSp>
        <p:nvCxnSpPr>
          <p:cNvPr id="53" name="Straight Arrow Connector 52"/>
          <p:cNvCxnSpPr/>
          <p:nvPr/>
        </p:nvCxnSpPr>
        <p:spPr bwMode="auto">
          <a:xfrm flipH="1" flipV="1">
            <a:off x="6633381" y="4233720"/>
            <a:ext cx="478619" cy="312880"/>
          </a:xfrm>
          <a:prstGeom prst="straightConnector1">
            <a:avLst/>
          </a:prstGeom>
          <a:solidFill>
            <a:schemeClr val="accent1"/>
          </a:solidFill>
          <a:ln w="28575" cap="flat" cmpd="sng" algn="ctr">
            <a:solidFill>
              <a:srgbClr val="FFFF00"/>
            </a:solidFill>
            <a:prstDash val="solid"/>
            <a:round/>
            <a:headEnd type="none" w="med" len="med"/>
            <a:tailEnd type="arrow"/>
          </a:ln>
          <a:effectLst/>
        </p:spPr>
      </p:cxnSp>
      <p:sp>
        <p:nvSpPr>
          <p:cNvPr id="54" name="TextBox 53"/>
          <p:cNvSpPr txBox="1"/>
          <p:nvPr/>
        </p:nvSpPr>
        <p:spPr>
          <a:xfrm>
            <a:off x="6096001" y="3864387"/>
            <a:ext cx="1464655" cy="338554"/>
          </a:xfrm>
          <a:prstGeom prst="rect">
            <a:avLst/>
          </a:prstGeom>
          <a:noFill/>
        </p:spPr>
        <p:txBody>
          <a:bodyPr wrap="square" rtlCol="0">
            <a:spAutoFit/>
          </a:bodyPr>
          <a:lstStyle/>
          <a:p>
            <a:pPr defTabSz="914377"/>
            <a:r>
              <a:rPr lang="en-US" sz="1600" dirty="0">
                <a:solidFill>
                  <a:prstClr val="black"/>
                </a:solidFill>
                <a:latin typeface="Century Gothic" panose="020B0502020202020204" pitchFamily="34" charset="0"/>
                <a:cs typeface="Calibri" pitchFamily="34" charset="0"/>
              </a:rPr>
              <a:t>Bevel Pinion</a:t>
            </a:r>
          </a:p>
        </p:txBody>
      </p:sp>
    </p:spTree>
    <p:extLst>
      <p:ext uri="{BB962C8B-B14F-4D97-AF65-F5344CB8AC3E}">
        <p14:creationId xmlns:p14="http://schemas.microsoft.com/office/powerpoint/2010/main" val="151994064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143363" name="TextBox 3"/>
          <p:cNvSpPr txBox="1">
            <a:spLocks noChangeArrowheads="1"/>
          </p:cNvSpPr>
          <p:nvPr/>
        </p:nvSpPr>
        <p:spPr bwMode="auto">
          <a:xfrm>
            <a:off x="975536" y="87851"/>
            <a:ext cx="295625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24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0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16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9pPr>
          </a:lstStyle>
          <a:p>
            <a:pPr eaLnBrk="1" hangingPunct="1">
              <a:spcBef>
                <a:spcPct val="0"/>
              </a:spcBef>
              <a:buFontTx/>
              <a:buNone/>
            </a:pPr>
            <a:r>
              <a:rPr lang="en-IN" altLang="en-US" sz="3600" b="1" dirty="0">
                <a:latin typeface="Century Gothic" panose="020B0502020202020204" pitchFamily="34" charset="0"/>
              </a:rPr>
              <a:t> FRONT AXLE</a:t>
            </a:r>
            <a:endParaRPr lang="en-US" altLang="en-US" sz="3600" b="1" dirty="0">
              <a:latin typeface="Century Gothic" panose="020B0502020202020204" pitchFamily="34" charset="0"/>
            </a:endParaRPr>
          </a:p>
        </p:txBody>
      </p:sp>
      <p:pic>
        <p:nvPicPr>
          <p:cNvPr id="8" name="Picture 7">
            <a:extLst>
              <a:ext uri="{FF2B5EF4-FFF2-40B4-BE49-F238E27FC236}">
                <a16:creationId xmlns:a16="http://schemas.microsoft.com/office/drawing/2014/main" id="{3E296B83-B0F8-48BD-B761-05E2CF2E29E6}"/>
              </a:ext>
            </a:extLst>
          </p:cNvPr>
          <p:cNvPicPr>
            <a:picLocks noChangeAspect="1"/>
          </p:cNvPicPr>
          <p:nvPr/>
        </p:nvPicPr>
        <p:blipFill>
          <a:blip r:embed="rId3"/>
          <a:stretch>
            <a:fillRect/>
          </a:stretch>
        </p:blipFill>
        <p:spPr>
          <a:xfrm>
            <a:off x="975536" y="1223720"/>
            <a:ext cx="4268112" cy="2336011"/>
          </a:xfrm>
          <a:prstGeom prst="rect">
            <a:avLst/>
          </a:prstGeom>
          <a:ln>
            <a:noFill/>
          </a:ln>
          <a:effectLst/>
        </p:spPr>
        <p:style>
          <a:lnRef idx="2">
            <a:schemeClr val="accent1"/>
          </a:lnRef>
          <a:fillRef idx="1">
            <a:schemeClr val="lt1"/>
          </a:fillRef>
          <a:effectRef idx="0">
            <a:schemeClr val="accent1"/>
          </a:effectRef>
          <a:fontRef idx="minor">
            <a:schemeClr val="dk1"/>
          </a:fontRef>
        </p:style>
      </p:pic>
      <p:pic>
        <p:nvPicPr>
          <p:cNvPr id="36" name="Picture 35">
            <a:extLst>
              <a:ext uri="{FF2B5EF4-FFF2-40B4-BE49-F238E27FC236}">
                <a16:creationId xmlns:a16="http://schemas.microsoft.com/office/drawing/2014/main" id="{4DEA951D-CD85-4EAB-B91D-E56333AECC5B}"/>
              </a:ext>
            </a:extLst>
          </p:cNvPr>
          <p:cNvPicPr>
            <a:picLocks noChangeAspect="1"/>
          </p:cNvPicPr>
          <p:nvPr/>
        </p:nvPicPr>
        <p:blipFill>
          <a:blip r:embed="rId4"/>
          <a:stretch>
            <a:fillRect/>
          </a:stretch>
        </p:blipFill>
        <p:spPr>
          <a:xfrm>
            <a:off x="7107146" y="1253292"/>
            <a:ext cx="3604245" cy="2117547"/>
          </a:xfrm>
          <a:prstGeom prst="rect">
            <a:avLst/>
          </a:prstGeom>
          <a:ln>
            <a:noFill/>
          </a:ln>
          <a:effectLst/>
        </p:spPr>
        <p:style>
          <a:lnRef idx="2">
            <a:schemeClr val="accent1"/>
          </a:lnRef>
          <a:fillRef idx="1">
            <a:schemeClr val="lt1"/>
          </a:fillRef>
          <a:effectRef idx="0">
            <a:schemeClr val="accent1"/>
          </a:effectRef>
          <a:fontRef idx="minor">
            <a:schemeClr val="dk1"/>
          </a:fontRef>
        </p:style>
      </p:pic>
      <p:grpSp>
        <p:nvGrpSpPr>
          <p:cNvPr id="23" name="Group 22"/>
          <p:cNvGrpSpPr/>
          <p:nvPr/>
        </p:nvGrpSpPr>
        <p:grpSpPr>
          <a:xfrm>
            <a:off x="302554" y="3961411"/>
            <a:ext cx="5403731" cy="2585345"/>
            <a:chOff x="885820" y="3695728"/>
            <a:chExt cx="4634902" cy="1282594"/>
          </a:xfrm>
        </p:grpSpPr>
        <p:sp>
          <p:nvSpPr>
            <p:cNvPr id="24" name="Rectangle 23"/>
            <p:cNvSpPr/>
            <p:nvPr/>
          </p:nvSpPr>
          <p:spPr>
            <a:xfrm>
              <a:off x="1214846" y="3695728"/>
              <a:ext cx="4305876" cy="1282594"/>
            </a:xfrm>
            <a:prstGeom prst="rect">
              <a:avLst/>
            </a:prstGeom>
            <a:solidFill>
              <a:schemeClr val="accent5">
                <a:lumMod val="20000"/>
                <a:lumOff val="80000"/>
              </a:schemeClr>
            </a:solidFill>
            <a:ln>
              <a:solidFill>
                <a:schemeClr val="accent5">
                  <a:lumMod val="5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885820" y="3695728"/>
              <a:ext cx="329025" cy="1282594"/>
            </a:xfrm>
            <a:prstGeom prst="rect">
              <a:avLst/>
            </a:prstGeom>
            <a:solidFill>
              <a:schemeClr val="accent5">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6" name="TextBox 25"/>
          <p:cNvSpPr txBox="1"/>
          <p:nvPr/>
        </p:nvSpPr>
        <p:spPr>
          <a:xfrm>
            <a:off x="673689" y="3969829"/>
            <a:ext cx="3188756" cy="369332"/>
          </a:xfrm>
          <a:prstGeom prst="rect">
            <a:avLst/>
          </a:prstGeom>
          <a:noFill/>
        </p:spPr>
        <p:txBody>
          <a:bodyPr wrap="square" rtlCol="0">
            <a:spAutoFit/>
          </a:bodyPr>
          <a:lstStyle/>
          <a:p>
            <a:pPr defTabSz="1219170">
              <a:defRPr/>
            </a:pPr>
            <a:r>
              <a:rPr lang="en-IN" b="1" dirty="0">
                <a:solidFill>
                  <a:prstClr val="black"/>
                </a:solidFill>
                <a:latin typeface="Century Gothic" panose="020B0502020202020204" pitchFamily="34" charset="0"/>
              </a:rPr>
              <a:t>Function</a:t>
            </a:r>
            <a:endParaRPr lang="en-US" b="1" dirty="0">
              <a:solidFill>
                <a:prstClr val="black"/>
              </a:solidFill>
              <a:latin typeface="Century Gothic" panose="020B0502020202020204" pitchFamily="34" charset="0"/>
            </a:endParaRPr>
          </a:p>
        </p:txBody>
      </p:sp>
      <p:sp>
        <p:nvSpPr>
          <p:cNvPr id="27" name="TextBox 26"/>
          <p:cNvSpPr txBox="1"/>
          <p:nvPr/>
        </p:nvSpPr>
        <p:spPr>
          <a:xfrm>
            <a:off x="705919" y="4416163"/>
            <a:ext cx="4717413" cy="1522853"/>
          </a:xfrm>
          <a:prstGeom prst="rect">
            <a:avLst/>
          </a:prstGeom>
          <a:noFill/>
        </p:spPr>
        <p:txBody>
          <a:bodyPr wrap="square" rtlCol="0">
            <a:spAutoFit/>
          </a:bodyPr>
          <a:lstStyle/>
          <a:p>
            <a:pPr marL="115885" indent="-115885">
              <a:lnSpc>
                <a:spcPct val="150000"/>
              </a:lnSpc>
              <a:buFont typeface="Wingdings" panose="05000000000000000000" pitchFamily="2" charset="2"/>
              <a:buChar char="§"/>
              <a:defRPr/>
            </a:pPr>
            <a:r>
              <a:rPr lang="en-US" sz="1600" dirty="0">
                <a:solidFill>
                  <a:srgbClr val="000000"/>
                </a:solidFill>
                <a:latin typeface="Century Gothic" panose="020B0502020202020204" pitchFamily="34" charset="0"/>
                <a:cs typeface="Calibri" pitchFamily="34" charset="0"/>
              </a:rPr>
              <a:t>Swiveling Mechanism </a:t>
            </a:r>
          </a:p>
          <a:p>
            <a:pPr marL="115885" indent="-115885">
              <a:lnSpc>
                <a:spcPct val="150000"/>
              </a:lnSpc>
              <a:buFont typeface="Wingdings" panose="05000000000000000000" pitchFamily="2" charset="2"/>
              <a:buChar char="§"/>
              <a:defRPr/>
            </a:pPr>
            <a:r>
              <a:rPr lang="en-US" sz="1600" dirty="0">
                <a:solidFill>
                  <a:srgbClr val="000000"/>
                </a:solidFill>
                <a:latin typeface="Century Gothic" panose="020B0502020202020204" pitchFamily="34" charset="0"/>
                <a:cs typeface="Calibri" pitchFamily="34" charset="0"/>
              </a:rPr>
              <a:t> Rolling Mechanism</a:t>
            </a:r>
          </a:p>
          <a:p>
            <a:pPr marL="115885" indent="-115885">
              <a:lnSpc>
                <a:spcPct val="150000"/>
              </a:lnSpc>
              <a:buFont typeface="Wingdings" panose="05000000000000000000" pitchFamily="2" charset="2"/>
              <a:buChar char="§"/>
              <a:defRPr/>
            </a:pPr>
            <a:r>
              <a:rPr lang="en-US" sz="1600" dirty="0">
                <a:solidFill>
                  <a:srgbClr val="000000"/>
                </a:solidFill>
                <a:latin typeface="Century Gothic" panose="020B0502020202020204" pitchFamily="34" charset="0"/>
                <a:cs typeface="Calibri" pitchFamily="34" charset="0"/>
              </a:rPr>
              <a:t> Steering Mechanism</a:t>
            </a:r>
          </a:p>
          <a:p>
            <a:pPr marL="115885" indent="-115885">
              <a:lnSpc>
                <a:spcPct val="150000"/>
              </a:lnSpc>
              <a:buFont typeface="Wingdings" panose="05000000000000000000" pitchFamily="2" charset="2"/>
              <a:buChar char="§"/>
              <a:defRPr/>
            </a:pPr>
            <a:r>
              <a:rPr lang="en-US" sz="1600" dirty="0">
                <a:solidFill>
                  <a:srgbClr val="000000"/>
                </a:solidFill>
                <a:latin typeface="Century Gothic" panose="020B0502020202020204" pitchFamily="34" charset="0"/>
                <a:cs typeface="Calibri" pitchFamily="34" charset="0"/>
              </a:rPr>
              <a:t> Braking Mechanism</a:t>
            </a:r>
            <a:endParaRPr lang="en-US" sz="1600" kern="0" dirty="0">
              <a:solidFill>
                <a:srgbClr val="000000"/>
              </a:solidFill>
              <a:latin typeface="Century Gothic" panose="020B0502020202020204" pitchFamily="34" charset="0"/>
              <a:cs typeface="Arial" pitchFamily="34" charset="0"/>
            </a:endParaRPr>
          </a:p>
        </p:txBody>
      </p:sp>
      <p:grpSp>
        <p:nvGrpSpPr>
          <p:cNvPr id="28" name="Group 27"/>
          <p:cNvGrpSpPr/>
          <p:nvPr/>
        </p:nvGrpSpPr>
        <p:grpSpPr>
          <a:xfrm>
            <a:off x="6468423" y="3947651"/>
            <a:ext cx="5403731" cy="2585345"/>
            <a:chOff x="885820" y="3695728"/>
            <a:chExt cx="4634902" cy="1282594"/>
          </a:xfrm>
        </p:grpSpPr>
        <p:sp>
          <p:nvSpPr>
            <p:cNvPr id="29" name="Rectangle 28"/>
            <p:cNvSpPr/>
            <p:nvPr/>
          </p:nvSpPr>
          <p:spPr>
            <a:xfrm>
              <a:off x="1214846" y="3695728"/>
              <a:ext cx="4305876" cy="1282594"/>
            </a:xfrm>
            <a:prstGeom prst="rect">
              <a:avLst/>
            </a:prstGeom>
            <a:solidFill>
              <a:schemeClr val="accent2">
                <a:lumMod val="20000"/>
                <a:lumOff val="80000"/>
              </a:schemeClr>
            </a:solidFill>
            <a:ln>
              <a:solidFill>
                <a:schemeClr val="accent2">
                  <a:lumMod val="5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885820" y="3695728"/>
              <a:ext cx="329025" cy="1282594"/>
            </a:xfrm>
            <a:prstGeom prst="rect">
              <a:avLst/>
            </a:prstGeom>
            <a:solidFill>
              <a:schemeClr val="accent2">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TextBox 30"/>
          <p:cNvSpPr txBox="1"/>
          <p:nvPr/>
        </p:nvSpPr>
        <p:spPr>
          <a:xfrm>
            <a:off x="6872014" y="3981485"/>
            <a:ext cx="3188756" cy="369332"/>
          </a:xfrm>
          <a:prstGeom prst="rect">
            <a:avLst/>
          </a:prstGeom>
          <a:noFill/>
        </p:spPr>
        <p:txBody>
          <a:bodyPr wrap="square" rtlCol="0">
            <a:spAutoFit/>
          </a:bodyPr>
          <a:lstStyle/>
          <a:p>
            <a:pPr defTabSz="1219170">
              <a:defRPr/>
            </a:pPr>
            <a:r>
              <a:rPr lang="en-IN" b="1" dirty="0">
                <a:solidFill>
                  <a:prstClr val="black"/>
                </a:solidFill>
                <a:latin typeface="Century Gothic" panose="020B0502020202020204" pitchFamily="34" charset="0"/>
              </a:rPr>
              <a:t>Advantage</a:t>
            </a:r>
            <a:endParaRPr lang="en-US" b="1" dirty="0">
              <a:solidFill>
                <a:prstClr val="black"/>
              </a:solidFill>
              <a:latin typeface="Century Gothic" panose="020B0502020202020204" pitchFamily="34" charset="0"/>
            </a:endParaRPr>
          </a:p>
        </p:txBody>
      </p:sp>
      <p:sp>
        <p:nvSpPr>
          <p:cNvPr id="32" name="TextBox 31"/>
          <p:cNvSpPr txBox="1"/>
          <p:nvPr/>
        </p:nvSpPr>
        <p:spPr>
          <a:xfrm>
            <a:off x="6872014" y="4392228"/>
            <a:ext cx="4962183" cy="1892185"/>
          </a:xfrm>
          <a:prstGeom prst="rect">
            <a:avLst/>
          </a:prstGeom>
          <a:noFill/>
        </p:spPr>
        <p:txBody>
          <a:bodyPr wrap="square" rtlCol="0">
            <a:spAutoFit/>
          </a:bodyPr>
          <a:lstStyle/>
          <a:p>
            <a:pPr marL="285750" indent="-285750" algn="just" defTabSz="1219170">
              <a:lnSpc>
                <a:spcPct val="150000"/>
              </a:lnSpc>
              <a:buFont typeface="Wingdings" panose="05000000000000000000" pitchFamily="2" charset="2"/>
              <a:buChar char="§"/>
              <a:defRPr/>
            </a:pPr>
            <a:r>
              <a:rPr lang="en-US" sz="1600" dirty="0">
                <a:solidFill>
                  <a:prstClr val="black"/>
                </a:solidFill>
                <a:latin typeface="Century Gothic" panose="020B0502020202020204" pitchFamily="34" charset="0"/>
              </a:rPr>
              <a:t>Heavy duty front axle with greater load bearing ability</a:t>
            </a:r>
          </a:p>
          <a:p>
            <a:pPr marL="285750" indent="-285750" algn="just" defTabSz="1219170">
              <a:lnSpc>
                <a:spcPct val="150000"/>
              </a:lnSpc>
              <a:buFont typeface="Wingdings" panose="05000000000000000000" pitchFamily="2" charset="2"/>
              <a:buChar char="§"/>
              <a:defRPr/>
            </a:pPr>
            <a:r>
              <a:rPr lang="en-US" sz="1600" dirty="0">
                <a:solidFill>
                  <a:prstClr val="black"/>
                </a:solidFill>
                <a:latin typeface="Century Gothic" panose="020B0502020202020204" pitchFamily="34" charset="0"/>
              </a:rPr>
              <a:t>Higher wheel lock angle and smallest turning radius among competition</a:t>
            </a:r>
          </a:p>
          <a:p>
            <a:pPr marL="285750" indent="-285750" algn="just" defTabSz="1219170">
              <a:lnSpc>
                <a:spcPct val="150000"/>
              </a:lnSpc>
              <a:buFont typeface="Wingdings" panose="05000000000000000000" pitchFamily="2" charset="2"/>
              <a:buChar char="§"/>
              <a:defRPr/>
            </a:pPr>
            <a:r>
              <a:rPr lang="en-US" sz="1600" dirty="0">
                <a:solidFill>
                  <a:prstClr val="black"/>
                </a:solidFill>
                <a:latin typeface="Century Gothic" panose="020B0502020202020204" pitchFamily="34" charset="0"/>
              </a:rPr>
              <a:t>Higher greasing period </a:t>
            </a:r>
          </a:p>
        </p:txBody>
      </p:sp>
    </p:spTree>
    <p:extLst>
      <p:ext uri="{BB962C8B-B14F-4D97-AF65-F5344CB8AC3E}">
        <p14:creationId xmlns:p14="http://schemas.microsoft.com/office/powerpoint/2010/main" val="23913889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p:cNvSpPr txBox="1"/>
          <p:nvPr/>
        </p:nvSpPr>
        <p:spPr>
          <a:xfrm>
            <a:off x="1010656" y="124414"/>
            <a:ext cx="9047744"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COMMERCIAL VEHICLE INDUSTRY</a:t>
            </a:r>
          </a:p>
        </p:txBody>
      </p:sp>
      <p:sp>
        <p:nvSpPr>
          <p:cNvPr id="8" name="Text Box 2"/>
          <p:cNvSpPr txBox="1">
            <a:spLocks noChangeArrowheads="1"/>
          </p:cNvSpPr>
          <p:nvPr/>
        </p:nvSpPr>
        <p:spPr bwMode="auto">
          <a:xfrm>
            <a:off x="3149597" y="1706562"/>
            <a:ext cx="5410200" cy="784830"/>
          </a:xfrm>
          <a:prstGeom prst="rect">
            <a:avLst/>
          </a:prstGeom>
          <a:solidFill>
            <a:schemeClr val="tx1">
              <a:lumMod val="85000"/>
              <a:lumOff val="15000"/>
            </a:schemeClr>
          </a:solidFill>
          <a:ln>
            <a:headEnd/>
            <a:tailEnd/>
          </a:ln>
        </p:spPr>
        <p:style>
          <a:lnRef idx="0">
            <a:schemeClr val="accent1"/>
          </a:lnRef>
          <a:fillRef idx="3">
            <a:schemeClr val="accent1"/>
          </a:fillRef>
          <a:effectRef idx="3">
            <a:schemeClr val="accent1"/>
          </a:effectRef>
          <a:fontRef idx="minor">
            <a:schemeClr val="lt1"/>
          </a:fontRef>
        </p:style>
        <p:txBody>
          <a:bodyPr wrap="square">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itchFamily="34" charset="0"/>
              </a:rPr>
              <a:t> Ministry Of Road Transport and Highways </a:t>
            </a:r>
          </a:p>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800" b="0" i="0" u="none" strike="noStrike" kern="1200" cap="none" spc="0" normalizeH="0" baseline="0" noProof="0" dirty="0">
                <a:ln>
                  <a:noFill/>
                </a:ln>
                <a:solidFill>
                  <a:srgbClr val="FFFF00"/>
                </a:solidFill>
                <a:effectLst/>
                <a:uLnTx/>
                <a:uFillTx/>
                <a:latin typeface="Century Gothic" panose="020B0502020202020204" pitchFamily="34" charset="0"/>
                <a:ea typeface="+mn-ea"/>
                <a:cs typeface="Calibri" pitchFamily="34" charset="0"/>
              </a:rPr>
              <a:t>(MORTH)</a:t>
            </a:r>
          </a:p>
        </p:txBody>
      </p:sp>
      <p:sp>
        <p:nvSpPr>
          <p:cNvPr id="9" name="Line 3"/>
          <p:cNvSpPr>
            <a:spLocks noChangeShapeType="1"/>
          </p:cNvSpPr>
          <p:nvPr/>
        </p:nvSpPr>
        <p:spPr bwMode="auto">
          <a:xfrm>
            <a:off x="5643560" y="2540000"/>
            <a:ext cx="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0" name="Line 4"/>
          <p:cNvSpPr>
            <a:spLocks noChangeShapeType="1"/>
          </p:cNvSpPr>
          <p:nvPr/>
        </p:nvSpPr>
        <p:spPr bwMode="auto">
          <a:xfrm>
            <a:off x="5854697" y="2491391"/>
            <a:ext cx="0" cy="429611"/>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1" name="Line 5"/>
          <p:cNvSpPr>
            <a:spLocks noChangeShapeType="1"/>
          </p:cNvSpPr>
          <p:nvPr/>
        </p:nvSpPr>
        <p:spPr bwMode="auto">
          <a:xfrm>
            <a:off x="3251200" y="2921000"/>
            <a:ext cx="5418139"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2" name="Text Box 6"/>
          <p:cNvSpPr txBox="1">
            <a:spLocks noChangeArrowheads="1"/>
          </p:cNvSpPr>
          <p:nvPr/>
        </p:nvSpPr>
        <p:spPr bwMode="auto">
          <a:xfrm>
            <a:off x="1395513" y="3155953"/>
            <a:ext cx="4419600" cy="584775"/>
          </a:xfrm>
          <a:prstGeom prst="rect">
            <a:avLst/>
          </a:prstGeom>
          <a:solidFill>
            <a:schemeClr val="tx1">
              <a:lumMod val="85000"/>
              <a:lumOff val="15000"/>
            </a:schemeClr>
          </a:solidFill>
          <a:ln>
            <a:headEnd/>
            <a:tailEnd/>
          </a:ln>
        </p:spPr>
        <p:style>
          <a:lnRef idx="0">
            <a:schemeClr val="accent5"/>
          </a:lnRef>
          <a:fillRef idx="3">
            <a:schemeClr val="accent5"/>
          </a:fillRef>
          <a:effectRef idx="3">
            <a:schemeClr val="accent5"/>
          </a:effectRef>
          <a:fontRef idx="minor">
            <a:schemeClr val="lt1"/>
          </a:fontRef>
        </p:style>
        <p:txBody>
          <a:bodyPr wrap="square">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itchFamily="34" charset="0"/>
              </a:rPr>
              <a:t>Automotive Research Association of India</a:t>
            </a:r>
          </a:p>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Century Gothic" panose="020B0502020202020204" pitchFamily="34" charset="0"/>
                <a:ea typeface="+mn-ea"/>
                <a:cs typeface="Calibri" pitchFamily="34" charset="0"/>
              </a:rPr>
              <a:t>(ARAI)    Approving body</a:t>
            </a:r>
          </a:p>
        </p:txBody>
      </p:sp>
      <p:sp>
        <p:nvSpPr>
          <p:cNvPr id="13" name="Text Box 7"/>
          <p:cNvSpPr txBox="1">
            <a:spLocks noChangeArrowheads="1"/>
          </p:cNvSpPr>
          <p:nvPr/>
        </p:nvSpPr>
        <p:spPr bwMode="auto">
          <a:xfrm>
            <a:off x="6540497" y="4236301"/>
            <a:ext cx="4229103" cy="584775"/>
          </a:xfrm>
          <a:prstGeom prst="rect">
            <a:avLst/>
          </a:prstGeom>
          <a:solidFill>
            <a:schemeClr val="tx1">
              <a:lumMod val="85000"/>
              <a:lumOff val="15000"/>
            </a:schemeClr>
          </a:solidFill>
          <a:ln>
            <a:headEnd/>
            <a:tailEnd/>
          </a:ln>
        </p:spPr>
        <p:style>
          <a:lnRef idx="0">
            <a:schemeClr val="accent5"/>
          </a:lnRef>
          <a:fillRef idx="3">
            <a:schemeClr val="accent5"/>
          </a:fillRef>
          <a:effectRef idx="3">
            <a:schemeClr val="accent5"/>
          </a:effectRef>
          <a:fontRef idx="minor">
            <a:schemeClr val="lt1"/>
          </a:fontRef>
        </p:style>
        <p:txBody>
          <a:bodyPr wrap="square">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itchFamily="34" charset="0"/>
              </a:rPr>
              <a:t>Road transport authority (RTA)</a:t>
            </a:r>
          </a:p>
          <a:p>
            <a:pPr marL="0" marR="0" lvl="0" indent="0" algn="l" defTabSz="914377"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uLnTx/>
                <a:uFillTx/>
                <a:latin typeface="Century Gothic" panose="020B0502020202020204" pitchFamily="34" charset="0"/>
                <a:ea typeface="+mn-ea"/>
                <a:cs typeface="Calibri" pitchFamily="34" charset="0"/>
              </a:rPr>
              <a:t>                  </a:t>
            </a:r>
            <a:r>
              <a:rPr kumimoji="0" lang="en-US" sz="1600" b="0" i="0" u="none" strike="noStrike" kern="1200" cap="none" spc="0" normalizeH="0" baseline="0" noProof="0" dirty="0">
                <a:ln>
                  <a:noFill/>
                </a:ln>
                <a:solidFill>
                  <a:srgbClr val="FFFF00"/>
                </a:solidFill>
                <a:effectLst/>
                <a:uLnTx/>
                <a:uFillTx/>
                <a:latin typeface="Century Gothic" panose="020B0502020202020204" pitchFamily="34" charset="0"/>
                <a:ea typeface="+mn-ea"/>
                <a:cs typeface="Calibri" pitchFamily="34" charset="0"/>
              </a:rPr>
              <a:t>Registering body</a:t>
            </a:r>
          </a:p>
        </p:txBody>
      </p:sp>
      <p:sp>
        <p:nvSpPr>
          <p:cNvPr id="14" name="Text Box 8"/>
          <p:cNvSpPr txBox="1">
            <a:spLocks noChangeArrowheads="1"/>
          </p:cNvSpPr>
          <p:nvPr/>
        </p:nvSpPr>
        <p:spPr bwMode="auto">
          <a:xfrm>
            <a:off x="6540497" y="5816602"/>
            <a:ext cx="4229103" cy="338554"/>
          </a:xfrm>
          <a:prstGeom prst="rect">
            <a:avLst/>
          </a:prstGeom>
          <a:solidFill>
            <a:schemeClr val="tx1">
              <a:lumMod val="85000"/>
              <a:lumOff val="15000"/>
            </a:schemeClr>
          </a:solidFill>
          <a:ln>
            <a:headEnd/>
            <a:tailEnd/>
          </a:ln>
        </p:spPr>
        <p:style>
          <a:lnRef idx="0">
            <a:schemeClr val="accent5"/>
          </a:lnRef>
          <a:fillRef idx="3">
            <a:schemeClr val="accent5"/>
          </a:fillRef>
          <a:effectRef idx="3">
            <a:schemeClr val="accent5"/>
          </a:effectRef>
          <a:fontRef idx="minor">
            <a:schemeClr val="lt1"/>
          </a:fontRef>
        </p:style>
        <p:txBody>
          <a:bodyPr wrap="square">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l"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itchFamily="34" charset="0"/>
              </a:rPr>
              <a:t>Central motor vehicle rule book </a:t>
            </a:r>
            <a:r>
              <a:rPr kumimoji="0" lang="en-US" sz="1600" b="0" i="0" u="none" strike="noStrike" kern="1200" cap="none" spc="0" normalizeH="0" baseline="0" noProof="0" dirty="0">
                <a:ln>
                  <a:noFill/>
                </a:ln>
                <a:solidFill>
                  <a:srgbClr val="FFFF00"/>
                </a:solidFill>
                <a:effectLst/>
                <a:uLnTx/>
                <a:uFillTx/>
                <a:latin typeface="Century Gothic" panose="020B0502020202020204" pitchFamily="34" charset="0"/>
                <a:ea typeface="+mn-ea"/>
                <a:cs typeface="Calibri" pitchFamily="34" charset="0"/>
              </a:rPr>
              <a:t>(CMVR)</a:t>
            </a:r>
          </a:p>
        </p:txBody>
      </p:sp>
      <p:sp>
        <p:nvSpPr>
          <p:cNvPr id="15" name="Line 9"/>
          <p:cNvSpPr>
            <a:spLocks noChangeShapeType="1"/>
          </p:cNvSpPr>
          <p:nvPr/>
        </p:nvSpPr>
        <p:spPr bwMode="auto">
          <a:xfrm>
            <a:off x="3251197" y="3378200"/>
            <a:ext cx="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6" name="Line 10"/>
          <p:cNvSpPr>
            <a:spLocks noChangeShapeType="1"/>
          </p:cNvSpPr>
          <p:nvPr/>
        </p:nvSpPr>
        <p:spPr bwMode="auto">
          <a:xfrm>
            <a:off x="3251197" y="2921001"/>
            <a:ext cx="0" cy="209551"/>
          </a:xfrm>
          <a:prstGeom prst="line">
            <a:avLst/>
          </a:prstGeom>
          <a:noFill/>
          <a:ln w="9525">
            <a:solidFill>
              <a:srgbClr val="0070C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7" name="Line 11"/>
          <p:cNvSpPr>
            <a:spLocks noChangeShapeType="1"/>
          </p:cNvSpPr>
          <p:nvPr/>
        </p:nvSpPr>
        <p:spPr bwMode="auto">
          <a:xfrm>
            <a:off x="8674097" y="2921005"/>
            <a:ext cx="0" cy="1303337"/>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8" name="Line 12"/>
          <p:cNvSpPr>
            <a:spLocks noChangeShapeType="1"/>
          </p:cNvSpPr>
          <p:nvPr/>
        </p:nvSpPr>
        <p:spPr bwMode="auto">
          <a:xfrm>
            <a:off x="8669336" y="4810312"/>
            <a:ext cx="0" cy="1006288"/>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Tree>
    <p:extLst>
      <p:ext uri="{BB962C8B-B14F-4D97-AF65-F5344CB8AC3E}">
        <p14:creationId xmlns:p14="http://schemas.microsoft.com/office/powerpoint/2010/main" val="14738466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3"/>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FRONT AXLE</a:t>
            </a:r>
            <a:endParaRPr lang="en-US" sz="3733" b="1" dirty="0">
              <a:solidFill>
                <a:prstClr val="black"/>
              </a:solidFill>
              <a:latin typeface="Century Gothic" panose="020B0502020202020204" pitchFamily="34" charset="0"/>
            </a:endParaRPr>
          </a:p>
        </p:txBody>
      </p:sp>
      <p:grpSp>
        <p:nvGrpSpPr>
          <p:cNvPr id="2" name="Group 1"/>
          <p:cNvGrpSpPr/>
          <p:nvPr/>
        </p:nvGrpSpPr>
        <p:grpSpPr>
          <a:xfrm>
            <a:off x="220035" y="1076138"/>
            <a:ext cx="11768765" cy="5610496"/>
            <a:chOff x="220035" y="1076138"/>
            <a:chExt cx="11768765" cy="5610496"/>
          </a:xfrm>
        </p:grpSpPr>
        <p:sp>
          <p:nvSpPr>
            <p:cNvPr id="39" name="Rectangle 38"/>
            <p:cNvSpPr/>
            <p:nvPr/>
          </p:nvSpPr>
          <p:spPr>
            <a:xfrm>
              <a:off x="220035" y="1076138"/>
              <a:ext cx="11768765"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FRONT AXLE - TYPES</a:t>
              </a:r>
            </a:p>
          </p:txBody>
        </p:sp>
        <p:sp>
          <p:nvSpPr>
            <p:cNvPr id="40" name="Rectangle 39"/>
            <p:cNvSpPr/>
            <p:nvPr/>
          </p:nvSpPr>
          <p:spPr>
            <a:xfrm>
              <a:off x="220035" y="1568115"/>
              <a:ext cx="11768765" cy="51185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285744" indent="-285744" defTabSz="914377">
                <a:buFont typeface="Wingdings" panose="05000000000000000000" pitchFamily="2" charset="2"/>
                <a:buChar char="§"/>
              </a:pPr>
              <a:endParaRPr lang="en-US" sz="1600" dirty="0">
                <a:solidFill>
                  <a:srgbClr val="000000"/>
                </a:solidFill>
                <a:latin typeface="Century Gothic" panose="020B0502020202020204" pitchFamily="34" charset="0"/>
                <a:cs typeface="Calibri" pitchFamily="34" charset="0"/>
              </a:endParaRPr>
            </a:p>
          </p:txBody>
        </p:sp>
      </p:grpSp>
      <p:graphicFrame>
        <p:nvGraphicFramePr>
          <p:cNvPr id="31" name="Diagram 30"/>
          <p:cNvGraphicFramePr/>
          <p:nvPr>
            <p:extLst>
              <p:ext uri="{D42A27DB-BD31-4B8C-83A1-F6EECF244321}">
                <p14:modId xmlns:p14="http://schemas.microsoft.com/office/powerpoint/2010/main" val="3581883876"/>
              </p:ext>
            </p:extLst>
          </p:nvPr>
        </p:nvGraphicFramePr>
        <p:xfrm>
          <a:off x="442104" y="1794568"/>
          <a:ext cx="7630742" cy="50634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4913060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3"/>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STEERING SYSTEM</a:t>
            </a:r>
            <a:endParaRPr lang="en-US" sz="3733" b="1" dirty="0">
              <a:solidFill>
                <a:prstClr val="black"/>
              </a:solidFill>
              <a:latin typeface="Century Gothic" panose="020B0502020202020204" pitchFamily="34" charset="0"/>
            </a:endParaRPr>
          </a:p>
        </p:txBody>
      </p:sp>
      <p:sp>
        <p:nvSpPr>
          <p:cNvPr id="37" name="Rectangle 36"/>
          <p:cNvSpPr/>
          <p:nvPr/>
        </p:nvSpPr>
        <p:spPr>
          <a:xfrm>
            <a:off x="156829" y="1076138"/>
            <a:ext cx="11861352"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BASICS OF POWER STEERING</a:t>
            </a:r>
          </a:p>
        </p:txBody>
      </p:sp>
      <p:sp>
        <p:nvSpPr>
          <p:cNvPr id="38" name="Rectangle 37"/>
          <p:cNvSpPr/>
          <p:nvPr/>
        </p:nvSpPr>
        <p:spPr>
          <a:xfrm>
            <a:off x="156829" y="1568115"/>
            <a:ext cx="11861352" cy="5112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44" indent="-285744" algn="just" defTabSz="914377" fontAlgn="base">
              <a:spcBef>
                <a:spcPct val="20000"/>
              </a:spcBef>
              <a:spcAft>
                <a:spcPct val="0"/>
              </a:spcAft>
              <a:buFont typeface="Wingdings" pitchFamily="2" charset="2"/>
              <a:buChar char="§"/>
              <a:defRPr/>
            </a:pPr>
            <a:r>
              <a:rPr lang="en-US" sz="1600" kern="0" dirty="0">
                <a:solidFill>
                  <a:srgbClr val="000000"/>
                </a:solidFill>
                <a:latin typeface="Century Gothic" panose="020B0502020202020204" pitchFamily="34" charset="0"/>
                <a:cs typeface="Calibri" pitchFamily="34" charset="0"/>
              </a:rPr>
              <a:t>Provides directional control of the vehicle in operation</a:t>
            </a:r>
          </a:p>
          <a:p>
            <a:pPr algn="just" defTabSz="914377" fontAlgn="base">
              <a:spcBef>
                <a:spcPct val="20000"/>
              </a:spcBef>
              <a:spcAft>
                <a:spcPct val="0"/>
              </a:spcAft>
              <a:defRPr/>
            </a:pPr>
            <a:endParaRPr lang="en-US" sz="1600" kern="0" dirty="0">
              <a:solidFill>
                <a:srgbClr val="000000"/>
              </a:solidFill>
              <a:latin typeface="Century Gothic" panose="020B0502020202020204" pitchFamily="34" charset="0"/>
              <a:cs typeface="Calibri" pitchFamily="34" charset="0"/>
            </a:endParaRPr>
          </a:p>
          <a:p>
            <a:pPr marL="285744" indent="-285744" algn="just" defTabSz="914377" fontAlgn="base">
              <a:spcBef>
                <a:spcPct val="20000"/>
              </a:spcBef>
              <a:spcAft>
                <a:spcPct val="0"/>
              </a:spcAft>
              <a:buFont typeface="Wingdings" pitchFamily="2" charset="2"/>
              <a:buChar char="§"/>
              <a:defRPr/>
            </a:pPr>
            <a:r>
              <a:rPr lang="en-US" sz="1600" kern="0" dirty="0">
                <a:solidFill>
                  <a:srgbClr val="000000"/>
                </a:solidFill>
                <a:latin typeface="Century Gothic" panose="020B0502020202020204" pitchFamily="34" charset="0"/>
                <a:cs typeface="Calibri" pitchFamily="34" charset="0"/>
              </a:rPr>
              <a:t>Power assisted steering reduces driver fatigue and ensures lane holding even in case of Tyre burst</a:t>
            </a:r>
            <a:endParaRPr lang="en-US" sz="1600" dirty="0">
              <a:solidFill>
                <a:srgbClr val="000000"/>
              </a:solidFill>
              <a:latin typeface="Century Gothic" panose="020B0502020202020204" pitchFamily="34" charset="0"/>
              <a:cs typeface="Calibri" pitchFamily="34" charset="0"/>
            </a:endParaRPr>
          </a:p>
          <a:p>
            <a:pPr marL="514338" indent="-514338" defTabSz="1219170">
              <a:lnSpc>
                <a:spcPct val="150000"/>
              </a:lnSpc>
            </a:pPr>
            <a:endParaRPr lang="en-US" sz="1600" dirty="0">
              <a:solidFill>
                <a:srgbClr val="000000"/>
              </a:solidFill>
              <a:latin typeface="Century Gothic" panose="020B0502020202020204" pitchFamily="34" charset="0"/>
              <a:cs typeface="Calibri" pitchFamily="34" charset="0"/>
            </a:endParaRPr>
          </a:p>
        </p:txBody>
      </p:sp>
      <p:grpSp>
        <p:nvGrpSpPr>
          <p:cNvPr id="11" name="Group 10"/>
          <p:cNvGrpSpPr/>
          <p:nvPr/>
        </p:nvGrpSpPr>
        <p:grpSpPr>
          <a:xfrm>
            <a:off x="1625601" y="2683228"/>
            <a:ext cx="10325204" cy="3992193"/>
            <a:chOff x="59622" y="1806931"/>
            <a:chExt cx="10125352" cy="4561406"/>
          </a:xfrm>
        </p:grpSpPr>
        <p:sp>
          <p:nvSpPr>
            <p:cNvPr id="12" name="Text Box 2"/>
            <p:cNvSpPr txBox="1">
              <a:spLocks noChangeArrowheads="1"/>
            </p:cNvSpPr>
            <p:nvPr/>
          </p:nvSpPr>
          <p:spPr bwMode="auto">
            <a:xfrm>
              <a:off x="2842445" y="1806931"/>
              <a:ext cx="1078690" cy="386826"/>
            </a:xfrm>
            <a:prstGeom prst="rect">
              <a:avLst/>
            </a:prstGeom>
            <a:noFill/>
            <a:ln w="28575">
              <a:solidFill>
                <a:schemeClr val="tx1"/>
              </a:solidFill>
              <a:miter lim="800000"/>
              <a:headEnd/>
              <a:tailEnd/>
            </a:ln>
          </p:spPr>
          <p:txBody>
            <a:bodyPr wrap="none">
              <a:spAutoFit/>
            </a:bodyPr>
            <a:lstStyle/>
            <a:p>
              <a:pPr defTabSz="914377"/>
              <a:r>
                <a:rPr lang="en-US" sz="1600" dirty="0">
                  <a:solidFill>
                    <a:prstClr val="black"/>
                  </a:solidFill>
                  <a:latin typeface="Century Gothic" panose="020B0502020202020204" pitchFamily="34" charset="0"/>
                  <a:cs typeface="Calibri" pitchFamily="34" charset="0"/>
                </a:rPr>
                <a:t>STEERING</a:t>
              </a:r>
            </a:p>
          </p:txBody>
        </p:sp>
        <p:sp>
          <p:nvSpPr>
            <p:cNvPr id="13" name="Line 3"/>
            <p:cNvSpPr>
              <a:spLocks noChangeShapeType="1"/>
            </p:cNvSpPr>
            <p:nvPr/>
          </p:nvSpPr>
          <p:spPr bwMode="auto">
            <a:xfrm>
              <a:off x="3405833" y="2252364"/>
              <a:ext cx="0" cy="228600"/>
            </a:xfrm>
            <a:prstGeom prst="line">
              <a:avLst/>
            </a:prstGeom>
            <a:noFill/>
            <a:ln w="28575">
              <a:solidFill>
                <a:schemeClr val="tx1"/>
              </a:solidFill>
              <a:round/>
              <a:headEnd/>
              <a:tailEnd/>
            </a:ln>
          </p:spPr>
          <p:txBody>
            <a:bodyPr/>
            <a:lstStyle/>
            <a:p>
              <a:pPr defTabSz="914377"/>
              <a:endParaRPr lang="en-US" sz="1600">
                <a:solidFill>
                  <a:prstClr val="black"/>
                </a:solidFill>
                <a:latin typeface="Century Gothic" panose="020B0502020202020204" pitchFamily="34" charset="0"/>
                <a:cs typeface="Calibri" pitchFamily="34" charset="0"/>
              </a:endParaRPr>
            </a:p>
          </p:txBody>
        </p:sp>
        <p:sp>
          <p:nvSpPr>
            <p:cNvPr id="14" name="Line 6"/>
            <p:cNvSpPr>
              <a:spLocks noChangeShapeType="1"/>
            </p:cNvSpPr>
            <p:nvPr/>
          </p:nvSpPr>
          <p:spPr bwMode="auto">
            <a:xfrm>
              <a:off x="3505199" y="2538387"/>
              <a:ext cx="0" cy="228600"/>
            </a:xfrm>
            <a:prstGeom prst="line">
              <a:avLst/>
            </a:prstGeom>
            <a:noFill/>
            <a:ln w="28575">
              <a:solidFill>
                <a:schemeClr val="tx1"/>
              </a:solidFill>
              <a:round/>
              <a:headEnd/>
              <a:tailEnd/>
            </a:ln>
          </p:spPr>
          <p:txBody>
            <a:bodyPr/>
            <a:lstStyle/>
            <a:p>
              <a:pPr defTabSz="914377"/>
              <a:endParaRPr lang="en-US" sz="1600">
                <a:solidFill>
                  <a:prstClr val="black"/>
                </a:solidFill>
                <a:latin typeface="Century Gothic" panose="020B0502020202020204" pitchFamily="34" charset="0"/>
                <a:cs typeface="Calibri" pitchFamily="34" charset="0"/>
              </a:endParaRPr>
            </a:p>
          </p:txBody>
        </p:sp>
        <p:sp>
          <p:nvSpPr>
            <p:cNvPr id="15" name="Text Box 7"/>
            <p:cNvSpPr txBox="1">
              <a:spLocks noChangeArrowheads="1"/>
            </p:cNvSpPr>
            <p:nvPr/>
          </p:nvSpPr>
          <p:spPr bwMode="auto">
            <a:xfrm>
              <a:off x="59622" y="2820682"/>
              <a:ext cx="1039391" cy="386826"/>
            </a:xfrm>
            <a:prstGeom prst="rect">
              <a:avLst/>
            </a:prstGeom>
            <a:noFill/>
            <a:ln w="28575">
              <a:solidFill>
                <a:schemeClr val="tx1"/>
              </a:solidFill>
              <a:miter lim="800000"/>
              <a:headEnd/>
              <a:tailEnd/>
            </a:ln>
          </p:spPr>
          <p:txBody>
            <a:bodyPr wrap="none">
              <a:spAutoFit/>
            </a:bodyPr>
            <a:lstStyle/>
            <a:p>
              <a:pPr defTabSz="914377"/>
              <a:r>
                <a:rPr lang="en-US" sz="1600">
                  <a:solidFill>
                    <a:prstClr val="black"/>
                  </a:solidFill>
                  <a:latin typeface="Century Gothic" panose="020B0502020202020204" pitchFamily="34" charset="0"/>
                  <a:cs typeface="Calibri" pitchFamily="34" charset="0"/>
                </a:rPr>
                <a:t>MANUAL</a:t>
              </a:r>
            </a:p>
          </p:txBody>
        </p:sp>
        <p:sp>
          <p:nvSpPr>
            <p:cNvPr id="16" name="Text Box 8"/>
            <p:cNvSpPr txBox="1">
              <a:spLocks noChangeArrowheads="1"/>
            </p:cNvSpPr>
            <p:nvPr/>
          </p:nvSpPr>
          <p:spPr bwMode="auto">
            <a:xfrm>
              <a:off x="2895599" y="2771471"/>
              <a:ext cx="899485" cy="386826"/>
            </a:xfrm>
            <a:prstGeom prst="rect">
              <a:avLst/>
            </a:prstGeom>
            <a:noFill/>
            <a:ln w="28575">
              <a:solidFill>
                <a:schemeClr val="tx1"/>
              </a:solidFill>
              <a:miter lim="800000"/>
              <a:headEnd/>
              <a:tailEnd/>
            </a:ln>
          </p:spPr>
          <p:txBody>
            <a:bodyPr wrap="none">
              <a:spAutoFit/>
            </a:bodyPr>
            <a:lstStyle/>
            <a:p>
              <a:pPr defTabSz="914377"/>
              <a:r>
                <a:rPr lang="en-US" sz="1600" dirty="0">
                  <a:solidFill>
                    <a:prstClr val="black"/>
                  </a:solidFill>
                  <a:latin typeface="Century Gothic" panose="020B0502020202020204" pitchFamily="34" charset="0"/>
                  <a:cs typeface="Calibri" pitchFamily="34" charset="0"/>
                </a:rPr>
                <a:t>POWER</a:t>
              </a:r>
            </a:p>
          </p:txBody>
        </p:sp>
        <p:sp>
          <p:nvSpPr>
            <p:cNvPr id="17" name="Line 9"/>
            <p:cNvSpPr>
              <a:spLocks noChangeShapeType="1"/>
            </p:cNvSpPr>
            <p:nvPr/>
          </p:nvSpPr>
          <p:spPr bwMode="auto">
            <a:xfrm>
              <a:off x="3505199" y="3125482"/>
              <a:ext cx="0" cy="304800"/>
            </a:xfrm>
            <a:prstGeom prst="line">
              <a:avLst/>
            </a:prstGeom>
            <a:noFill/>
            <a:ln w="28575">
              <a:solidFill>
                <a:schemeClr val="tx1"/>
              </a:solidFill>
              <a:round/>
              <a:headEnd/>
              <a:tailEnd/>
            </a:ln>
          </p:spPr>
          <p:txBody>
            <a:bodyPr/>
            <a:lstStyle/>
            <a:p>
              <a:pPr defTabSz="914377"/>
              <a:endParaRPr lang="en-US" sz="1600">
                <a:solidFill>
                  <a:prstClr val="black"/>
                </a:solidFill>
                <a:latin typeface="Century Gothic" panose="020B0502020202020204" pitchFamily="34" charset="0"/>
                <a:cs typeface="Calibri" pitchFamily="34" charset="0"/>
              </a:endParaRPr>
            </a:p>
          </p:txBody>
        </p:sp>
        <p:sp>
          <p:nvSpPr>
            <p:cNvPr id="18" name="Line 10"/>
            <p:cNvSpPr>
              <a:spLocks noChangeShapeType="1"/>
            </p:cNvSpPr>
            <p:nvPr/>
          </p:nvSpPr>
          <p:spPr bwMode="auto">
            <a:xfrm flipV="1">
              <a:off x="1523473" y="3390399"/>
              <a:ext cx="3429001" cy="31971"/>
            </a:xfrm>
            <a:prstGeom prst="line">
              <a:avLst/>
            </a:prstGeom>
            <a:noFill/>
            <a:ln w="28575">
              <a:solidFill>
                <a:schemeClr val="tx1"/>
              </a:solidFill>
              <a:round/>
              <a:headEnd/>
              <a:tailEnd/>
            </a:ln>
          </p:spPr>
          <p:txBody>
            <a:bodyPr/>
            <a:lstStyle/>
            <a:p>
              <a:pPr defTabSz="914377"/>
              <a:endParaRPr lang="en-US" sz="1600">
                <a:solidFill>
                  <a:prstClr val="black"/>
                </a:solidFill>
                <a:latin typeface="Century Gothic" panose="020B0502020202020204" pitchFamily="34" charset="0"/>
                <a:cs typeface="Calibri" pitchFamily="34" charset="0"/>
              </a:endParaRPr>
            </a:p>
          </p:txBody>
        </p:sp>
        <p:sp>
          <p:nvSpPr>
            <p:cNvPr id="19" name="Line 11"/>
            <p:cNvSpPr>
              <a:spLocks noChangeShapeType="1"/>
            </p:cNvSpPr>
            <p:nvPr/>
          </p:nvSpPr>
          <p:spPr bwMode="auto">
            <a:xfrm>
              <a:off x="1523473" y="3436830"/>
              <a:ext cx="0" cy="425827"/>
            </a:xfrm>
            <a:prstGeom prst="line">
              <a:avLst/>
            </a:prstGeom>
            <a:noFill/>
            <a:ln w="28575">
              <a:solidFill>
                <a:schemeClr val="tx1"/>
              </a:solidFill>
              <a:round/>
              <a:headEnd/>
              <a:tailEnd/>
            </a:ln>
          </p:spPr>
          <p:txBody>
            <a:bodyPr/>
            <a:lstStyle/>
            <a:p>
              <a:pPr defTabSz="914377"/>
              <a:endParaRPr lang="en-US" sz="1600">
                <a:solidFill>
                  <a:prstClr val="black"/>
                </a:solidFill>
                <a:latin typeface="Century Gothic" panose="020B0502020202020204" pitchFamily="34" charset="0"/>
                <a:cs typeface="Calibri" pitchFamily="34" charset="0"/>
              </a:endParaRPr>
            </a:p>
          </p:txBody>
        </p:sp>
        <p:sp>
          <p:nvSpPr>
            <p:cNvPr id="20" name="Line 12"/>
            <p:cNvSpPr>
              <a:spLocks noChangeShapeType="1"/>
            </p:cNvSpPr>
            <p:nvPr/>
          </p:nvSpPr>
          <p:spPr bwMode="auto">
            <a:xfrm>
              <a:off x="4952475" y="3420939"/>
              <a:ext cx="526" cy="475265"/>
            </a:xfrm>
            <a:prstGeom prst="line">
              <a:avLst/>
            </a:prstGeom>
            <a:noFill/>
            <a:ln w="28575">
              <a:solidFill>
                <a:schemeClr val="tx1"/>
              </a:solidFill>
              <a:round/>
              <a:headEnd/>
              <a:tailEnd/>
            </a:ln>
          </p:spPr>
          <p:txBody>
            <a:bodyPr/>
            <a:lstStyle/>
            <a:p>
              <a:pPr defTabSz="914377"/>
              <a:endParaRPr lang="en-US" sz="1600">
                <a:solidFill>
                  <a:prstClr val="black"/>
                </a:solidFill>
                <a:latin typeface="Century Gothic" panose="020B0502020202020204" pitchFamily="34" charset="0"/>
                <a:cs typeface="Calibri" pitchFamily="34" charset="0"/>
              </a:endParaRPr>
            </a:p>
          </p:txBody>
        </p:sp>
        <p:sp>
          <p:nvSpPr>
            <p:cNvPr id="21" name="Text Box 13"/>
            <p:cNvSpPr txBox="1">
              <a:spLocks noChangeArrowheads="1"/>
            </p:cNvSpPr>
            <p:nvPr/>
          </p:nvSpPr>
          <p:spPr bwMode="auto">
            <a:xfrm>
              <a:off x="1072941" y="3869208"/>
              <a:ext cx="899484" cy="668153"/>
            </a:xfrm>
            <a:prstGeom prst="rect">
              <a:avLst/>
            </a:prstGeom>
            <a:noFill/>
            <a:ln w="28575">
              <a:solidFill>
                <a:schemeClr val="tx1"/>
              </a:solidFill>
              <a:miter lim="800000"/>
              <a:headEnd/>
              <a:tailEnd/>
            </a:ln>
          </p:spPr>
          <p:txBody>
            <a:bodyPr wrap="none">
              <a:spAutoFit/>
            </a:bodyPr>
            <a:lstStyle/>
            <a:p>
              <a:pPr algn="ctr" defTabSz="914377"/>
              <a:r>
                <a:rPr lang="en-US" sz="1600" dirty="0">
                  <a:solidFill>
                    <a:prstClr val="black"/>
                  </a:solidFill>
                  <a:latin typeface="Century Gothic" panose="020B0502020202020204" pitchFamily="34" charset="0"/>
                  <a:cs typeface="Calibri" pitchFamily="34" charset="0"/>
                </a:rPr>
                <a:t>PURE</a:t>
              </a:r>
            </a:p>
            <a:p>
              <a:pPr algn="ctr" defTabSz="914377"/>
              <a:r>
                <a:rPr lang="en-US" sz="1600" dirty="0">
                  <a:solidFill>
                    <a:prstClr val="black"/>
                  </a:solidFill>
                  <a:latin typeface="Century Gothic" panose="020B0502020202020204" pitchFamily="34" charset="0"/>
                  <a:cs typeface="Calibri" pitchFamily="34" charset="0"/>
                </a:rPr>
                <a:t>POWER</a:t>
              </a:r>
            </a:p>
          </p:txBody>
        </p:sp>
        <p:sp>
          <p:nvSpPr>
            <p:cNvPr id="22" name="Text Box 14"/>
            <p:cNvSpPr txBox="1">
              <a:spLocks noChangeArrowheads="1"/>
            </p:cNvSpPr>
            <p:nvPr/>
          </p:nvSpPr>
          <p:spPr bwMode="auto">
            <a:xfrm>
              <a:off x="4448877" y="3869208"/>
              <a:ext cx="1022099" cy="668153"/>
            </a:xfrm>
            <a:prstGeom prst="rect">
              <a:avLst/>
            </a:prstGeom>
            <a:noFill/>
            <a:ln w="28575">
              <a:solidFill>
                <a:schemeClr val="tx1"/>
              </a:solidFill>
              <a:miter lim="800000"/>
              <a:headEnd/>
              <a:tailEnd/>
            </a:ln>
          </p:spPr>
          <p:txBody>
            <a:bodyPr wrap="none">
              <a:spAutoFit/>
            </a:bodyPr>
            <a:lstStyle/>
            <a:p>
              <a:pPr algn="ctr" defTabSz="914377"/>
              <a:r>
                <a:rPr lang="en-US" sz="1600">
                  <a:solidFill>
                    <a:prstClr val="black"/>
                  </a:solidFill>
                  <a:latin typeface="Century Gothic" panose="020B0502020202020204" pitchFamily="34" charset="0"/>
                  <a:cs typeface="Calibri" pitchFamily="34" charset="0"/>
                </a:rPr>
                <a:t>POWER</a:t>
              </a:r>
            </a:p>
            <a:p>
              <a:pPr algn="ctr" defTabSz="914377"/>
              <a:r>
                <a:rPr lang="en-US" sz="1600">
                  <a:solidFill>
                    <a:prstClr val="black"/>
                  </a:solidFill>
                  <a:latin typeface="Century Gothic" panose="020B0502020202020204" pitchFamily="34" charset="0"/>
                  <a:cs typeface="Calibri" pitchFamily="34" charset="0"/>
                </a:rPr>
                <a:t>ASSISTED</a:t>
              </a:r>
            </a:p>
          </p:txBody>
        </p:sp>
        <p:sp>
          <p:nvSpPr>
            <p:cNvPr id="23" name="Line 16"/>
            <p:cNvSpPr>
              <a:spLocks noChangeShapeType="1"/>
            </p:cNvSpPr>
            <p:nvPr/>
          </p:nvSpPr>
          <p:spPr bwMode="auto">
            <a:xfrm>
              <a:off x="2971800" y="4953000"/>
              <a:ext cx="3135312" cy="0"/>
            </a:xfrm>
            <a:prstGeom prst="line">
              <a:avLst/>
            </a:prstGeom>
            <a:noFill/>
            <a:ln w="28575">
              <a:solidFill>
                <a:schemeClr val="tx1"/>
              </a:solidFill>
              <a:round/>
              <a:headEnd/>
              <a:tailEnd/>
            </a:ln>
          </p:spPr>
          <p:txBody>
            <a:bodyPr/>
            <a:lstStyle/>
            <a:p>
              <a:pPr defTabSz="914377"/>
              <a:endParaRPr lang="en-US" sz="1600">
                <a:solidFill>
                  <a:prstClr val="black"/>
                </a:solidFill>
                <a:latin typeface="Century Gothic" panose="020B0502020202020204" pitchFamily="34" charset="0"/>
                <a:cs typeface="Calibri" pitchFamily="34" charset="0"/>
              </a:endParaRPr>
            </a:p>
          </p:txBody>
        </p:sp>
        <p:sp>
          <p:nvSpPr>
            <p:cNvPr id="24" name="Line 17"/>
            <p:cNvSpPr>
              <a:spLocks noChangeShapeType="1"/>
            </p:cNvSpPr>
            <p:nvPr/>
          </p:nvSpPr>
          <p:spPr bwMode="auto">
            <a:xfrm>
              <a:off x="2971800" y="4953000"/>
              <a:ext cx="0" cy="457200"/>
            </a:xfrm>
            <a:prstGeom prst="line">
              <a:avLst/>
            </a:prstGeom>
            <a:noFill/>
            <a:ln w="28575">
              <a:solidFill>
                <a:schemeClr val="tx1"/>
              </a:solidFill>
              <a:round/>
              <a:headEnd/>
              <a:tailEnd/>
            </a:ln>
          </p:spPr>
          <p:txBody>
            <a:bodyPr/>
            <a:lstStyle/>
            <a:p>
              <a:pPr defTabSz="914377"/>
              <a:endParaRPr lang="en-US" sz="1600">
                <a:solidFill>
                  <a:prstClr val="black"/>
                </a:solidFill>
                <a:latin typeface="Century Gothic" panose="020B0502020202020204" pitchFamily="34" charset="0"/>
                <a:cs typeface="Calibri" pitchFamily="34" charset="0"/>
              </a:endParaRPr>
            </a:p>
          </p:txBody>
        </p:sp>
        <p:sp>
          <p:nvSpPr>
            <p:cNvPr id="25" name="Line 18"/>
            <p:cNvSpPr>
              <a:spLocks noChangeShapeType="1"/>
            </p:cNvSpPr>
            <p:nvPr/>
          </p:nvSpPr>
          <p:spPr bwMode="auto">
            <a:xfrm>
              <a:off x="6096000" y="4953000"/>
              <a:ext cx="0" cy="457200"/>
            </a:xfrm>
            <a:prstGeom prst="line">
              <a:avLst/>
            </a:prstGeom>
            <a:noFill/>
            <a:ln w="28575">
              <a:solidFill>
                <a:schemeClr val="tx1"/>
              </a:solidFill>
              <a:round/>
              <a:headEnd/>
              <a:tailEnd/>
            </a:ln>
          </p:spPr>
          <p:txBody>
            <a:bodyPr/>
            <a:lstStyle/>
            <a:p>
              <a:pPr defTabSz="914377"/>
              <a:endParaRPr lang="en-US" sz="1600">
                <a:solidFill>
                  <a:prstClr val="black"/>
                </a:solidFill>
                <a:latin typeface="Century Gothic" panose="020B0502020202020204" pitchFamily="34" charset="0"/>
                <a:cs typeface="Calibri" pitchFamily="34" charset="0"/>
              </a:endParaRPr>
            </a:p>
          </p:txBody>
        </p:sp>
        <p:sp>
          <p:nvSpPr>
            <p:cNvPr id="26" name="Text Box 19"/>
            <p:cNvSpPr txBox="1">
              <a:spLocks noChangeArrowheads="1"/>
            </p:cNvSpPr>
            <p:nvPr/>
          </p:nvSpPr>
          <p:spPr bwMode="auto">
            <a:xfrm>
              <a:off x="2133601" y="5418855"/>
              <a:ext cx="1600944" cy="949482"/>
            </a:xfrm>
            <a:prstGeom prst="rect">
              <a:avLst/>
            </a:prstGeom>
            <a:noFill/>
            <a:ln w="28575">
              <a:solidFill>
                <a:schemeClr val="tx1"/>
              </a:solidFill>
              <a:miter lim="800000"/>
              <a:headEnd/>
              <a:tailEnd/>
            </a:ln>
          </p:spPr>
          <p:txBody>
            <a:bodyPr wrap="square" anchor="ctr">
              <a:spAutoFit/>
            </a:bodyPr>
            <a:lstStyle/>
            <a:p>
              <a:pPr algn="ctr" defTabSz="914377"/>
              <a:r>
                <a:rPr lang="en-US" sz="1600" dirty="0">
                  <a:solidFill>
                    <a:prstClr val="black"/>
                  </a:solidFill>
                  <a:latin typeface="Century Gothic" panose="020B0502020202020204" pitchFamily="34" charset="0"/>
                  <a:cs typeface="Calibri" pitchFamily="34" charset="0"/>
                </a:rPr>
                <a:t>P.A</a:t>
              </a:r>
            </a:p>
            <a:p>
              <a:pPr algn="ctr" defTabSz="914377"/>
              <a:r>
                <a:rPr lang="en-US" sz="1600" dirty="0">
                  <a:solidFill>
                    <a:prstClr val="black"/>
                  </a:solidFill>
                  <a:latin typeface="Century Gothic" panose="020B0502020202020204" pitchFamily="34" charset="0"/>
                  <a:cs typeface="Calibri" pitchFamily="34" charset="0"/>
                </a:rPr>
                <a:t>INTEGRAL</a:t>
              </a:r>
            </a:p>
            <a:p>
              <a:pPr algn="ctr" defTabSz="914377"/>
              <a:r>
                <a:rPr lang="en-US" sz="1600" dirty="0">
                  <a:solidFill>
                    <a:prstClr val="black"/>
                  </a:solidFill>
                  <a:latin typeface="Century Gothic" panose="020B0502020202020204" pitchFamily="34" charset="0"/>
                  <a:cs typeface="Calibri" pitchFamily="34" charset="0"/>
                </a:rPr>
                <a:t>LINKAGE</a:t>
              </a:r>
            </a:p>
          </p:txBody>
        </p:sp>
        <p:sp>
          <p:nvSpPr>
            <p:cNvPr id="27" name="Text Box 20"/>
            <p:cNvSpPr txBox="1">
              <a:spLocks noChangeArrowheads="1"/>
            </p:cNvSpPr>
            <p:nvPr/>
          </p:nvSpPr>
          <p:spPr bwMode="auto">
            <a:xfrm>
              <a:off x="4876802" y="5418852"/>
              <a:ext cx="2239944" cy="949482"/>
            </a:xfrm>
            <a:prstGeom prst="rect">
              <a:avLst/>
            </a:prstGeom>
            <a:noFill/>
            <a:ln w="28575">
              <a:solidFill>
                <a:schemeClr val="tx1"/>
              </a:solidFill>
              <a:miter lim="800000"/>
              <a:headEnd/>
              <a:tailEnd/>
            </a:ln>
          </p:spPr>
          <p:txBody>
            <a:bodyPr wrap="square" anchor="ctr">
              <a:spAutoFit/>
            </a:bodyPr>
            <a:lstStyle/>
            <a:p>
              <a:pPr algn="ctr" defTabSz="914377"/>
              <a:r>
                <a:rPr lang="en-US" sz="1600" dirty="0">
                  <a:solidFill>
                    <a:prstClr val="black"/>
                  </a:solidFill>
                  <a:latin typeface="Century Gothic" panose="020B0502020202020204" pitchFamily="34" charset="0"/>
                  <a:cs typeface="Calibri" pitchFamily="34" charset="0"/>
                </a:rPr>
                <a:t>P.A</a:t>
              </a:r>
            </a:p>
            <a:p>
              <a:pPr algn="ctr" defTabSz="914377"/>
              <a:r>
                <a:rPr lang="en-US" sz="1600" dirty="0">
                  <a:solidFill>
                    <a:prstClr val="black"/>
                  </a:solidFill>
                  <a:latin typeface="Century Gothic" panose="020B0502020202020204" pitchFamily="34" charset="0"/>
                  <a:cs typeface="Calibri" pitchFamily="34" charset="0"/>
                </a:rPr>
                <a:t>INTEGRAL</a:t>
              </a:r>
            </a:p>
            <a:p>
              <a:pPr algn="ctr" defTabSz="914377"/>
              <a:r>
                <a:rPr lang="en-US" sz="1600" dirty="0">
                  <a:solidFill>
                    <a:prstClr val="black"/>
                  </a:solidFill>
                  <a:latin typeface="Century Gothic" panose="020B0502020202020204" pitchFamily="34" charset="0"/>
                  <a:cs typeface="Calibri" pitchFamily="34" charset="0"/>
                </a:rPr>
                <a:t>STEERING BOX</a:t>
              </a:r>
            </a:p>
          </p:txBody>
        </p:sp>
        <p:sp>
          <p:nvSpPr>
            <p:cNvPr id="28" name="Text Box 3"/>
            <p:cNvSpPr txBox="1">
              <a:spLocks noChangeArrowheads="1"/>
            </p:cNvSpPr>
            <p:nvPr/>
          </p:nvSpPr>
          <p:spPr bwMode="auto">
            <a:xfrm>
              <a:off x="4904788" y="2598743"/>
              <a:ext cx="3911956" cy="668153"/>
            </a:xfrm>
            <a:prstGeom prst="rect">
              <a:avLst/>
            </a:prstGeom>
            <a:solidFill>
              <a:srgbClr val="92D050"/>
            </a:solidFill>
            <a:ln w="9525">
              <a:solidFill>
                <a:schemeClr val="tx1"/>
              </a:solidFill>
              <a:miter lim="800000"/>
              <a:headEnd/>
              <a:tailEnd/>
            </a:ln>
          </p:spPr>
          <p:txBody>
            <a:bodyPr wrap="square">
              <a:spAutoFit/>
            </a:bodyPr>
            <a:lstStyle/>
            <a:p>
              <a:pPr algn="ctr" defTabSz="914377"/>
              <a:r>
                <a:rPr lang="en-US" sz="1600" dirty="0">
                  <a:solidFill>
                    <a:prstClr val="black"/>
                  </a:solidFill>
                  <a:latin typeface="Century Gothic" panose="020B0502020202020204" pitchFamily="34" charset="0"/>
                  <a:cs typeface="Calibri" pitchFamily="34" charset="0"/>
                </a:rPr>
                <a:t>WHEN A VEHICLE USES ITS OWN POWER TO HAVE EASE OF STEERING.</a:t>
              </a:r>
            </a:p>
          </p:txBody>
        </p:sp>
        <p:sp>
          <p:nvSpPr>
            <p:cNvPr id="29" name="Rectangle 3"/>
            <p:cNvSpPr>
              <a:spLocks noChangeArrowheads="1"/>
            </p:cNvSpPr>
            <p:nvPr/>
          </p:nvSpPr>
          <p:spPr bwMode="auto">
            <a:xfrm>
              <a:off x="6400801" y="3781644"/>
              <a:ext cx="3784173" cy="1512137"/>
            </a:xfrm>
            <a:prstGeom prst="rect">
              <a:avLst/>
            </a:prstGeom>
            <a:solidFill>
              <a:srgbClr val="FFC000"/>
            </a:solidFill>
            <a:ln w="9525">
              <a:solidFill>
                <a:schemeClr val="tx1"/>
              </a:solidFill>
              <a:miter lim="800000"/>
              <a:headEnd/>
              <a:tailEnd/>
            </a:ln>
          </p:spPr>
          <p:txBody>
            <a:bodyPr wrap="square">
              <a:spAutoFit/>
            </a:bodyPr>
            <a:lstStyle/>
            <a:p>
              <a:pPr algn="ctr" defTabSz="914377">
                <a:spcBef>
                  <a:spcPct val="50000"/>
                </a:spcBef>
              </a:pPr>
              <a:r>
                <a:rPr lang="en-US" sz="1600" dirty="0">
                  <a:solidFill>
                    <a:prstClr val="black"/>
                  </a:solidFill>
                  <a:latin typeface="Century Gothic" panose="020B0502020202020204" pitchFamily="34" charset="0"/>
                  <a:cs typeface="Calibri" pitchFamily="34" charset="0"/>
                </a:rPr>
                <a:t>WHEN A VEHICLE USES  ITS OWN POWER </a:t>
              </a:r>
            </a:p>
            <a:p>
              <a:pPr algn="ctr" defTabSz="914377">
                <a:spcBef>
                  <a:spcPct val="50000"/>
                </a:spcBef>
              </a:pPr>
              <a:r>
                <a:rPr lang="en-US" sz="1600" dirty="0">
                  <a:solidFill>
                    <a:prstClr val="black"/>
                  </a:solidFill>
                  <a:latin typeface="Century Gothic" panose="020B0502020202020204" pitchFamily="34" charset="0"/>
                  <a:cs typeface="Calibri" pitchFamily="34" charset="0"/>
                </a:rPr>
                <a:t>TO ASSIST THE MANUAL STEERING </a:t>
              </a:r>
            </a:p>
            <a:p>
              <a:pPr algn="ctr" defTabSz="914377">
                <a:spcBef>
                  <a:spcPct val="50000"/>
                </a:spcBef>
              </a:pPr>
              <a:r>
                <a:rPr lang="en-US" sz="1600" dirty="0">
                  <a:solidFill>
                    <a:prstClr val="black"/>
                  </a:solidFill>
                  <a:latin typeface="Century Gothic" panose="020B0502020202020204" pitchFamily="34" charset="0"/>
                  <a:cs typeface="Calibri" pitchFamily="34" charset="0"/>
                </a:rPr>
                <a:t>FOR EASE OF STEERING</a:t>
              </a:r>
            </a:p>
          </p:txBody>
        </p:sp>
        <p:sp>
          <p:nvSpPr>
            <p:cNvPr id="30" name="Line 12"/>
            <p:cNvSpPr>
              <a:spLocks noChangeShapeType="1"/>
            </p:cNvSpPr>
            <p:nvPr/>
          </p:nvSpPr>
          <p:spPr bwMode="auto">
            <a:xfrm>
              <a:off x="4953000" y="4557613"/>
              <a:ext cx="0" cy="387114"/>
            </a:xfrm>
            <a:prstGeom prst="line">
              <a:avLst/>
            </a:prstGeom>
            <a:noFill/>
            <a:ln w="28575">
              <a:solidFill>
                <a:schemeClr val="tx1"/>
              </a:solidFill>
              <a:round/>
              <a:headEnd/>
              <a:tailEnd/>
            </a:ln>
          </p:spPr>
          <p:txBody>
            <a:bodyPr/>
            <a:lstStyle/>
            <a:p>
              <a:pPr defTabSz="914377"/>
              <a:endParaRPr lang="en-US" sz="1600">
                <a:solidFill>
                  <a:prstClr val="black"/>
                </a:solidFill>
                <a:latin typeface="Century Gothic" panose="020B0502020202020204" pitchFamily="34" charset="0"/>
                <a:cs typeface="Calibri" pitchFamily="34" charset="0"/>
              </a:endParaRPr>
            </a:p>
          </p:txBody>
        </p:sp>
        <p:sp>
          <p:nvSpPr>
            <p:cNvPr id="31" name="Line 16"/>
            <p:cNvSpPr>
              <a:spLocks noChangeShapeType="1"/>
            </p:cNvSpPr>
            <p:nvPr/>
          </p:nvSpPr>
          <p:spPr bwMode="auto">
            <a:xfrm>
              <a:off x="381000" y="2515883"/>
              <a:ext cx="3135312" cy="0"/>
            </a:xfrm>
            <a:prstGeom prst="line">
              <a:avLst/>
            </a:prstGeom>
            <a:noFill/>
            <a:ln w="28575">
              <a:solidFill>
                <a:schemeClr val="tx1"/>
              </a:solidFill>
              <a:round/>
              <a:headEnd/>
              <a:tailEnd/>
            </a:ln>
          </p:spPr>
          <p:txBody>
            <a:bodyPr/>
            <a:lstStyle/>
            <a:p>
              <a:pPr defTabSz="914377"/>
              <a:endParaRPr lang="en-US" sz="1600">
                <a:solidFill>
                  <a:prstClr val="black"/>
                </a:solidFill>
                <a:latin typeface="Century Gothic" panose="020B0502020202020204" pitchFamily="34" charset="0"/>
                <a:cs typeface="Calibri" pitchFamily="34" charset="0"/>
              </a:endParaRPr>
            </a:p>
          </p:txBody>
        </p:sp>
        <p:sp>
          <p:nvSpPr>
            <p:cNvPr id="32" name="Line 9"/>
            <p:cNvSpPr>
              <a:spLocks noChangeShapeType="1"/>
            </p:cNvSpPr>
            <p:nvPr/>
          </p:nvSpPr>
          <p:spPr bwMode="auto">
            <a:xfrm>
              <a:off x="381000" y="2515883"/>
              <a:ext cx="0" cy="304800"/>
            </a:xfrm>
            <a:prstGeom prst="line">
              <a:avLst/>
            </a:prstGeom>
            <a:noFill/>
            <a:ln w="28575">
              <a:solidFill>
                <a:schemeClr val="tx1"/>
              </a:solidFill>
              <a:round/>
              <a:headEnd/>
              <a:tailEnd/>
            </a:ln>
          </p:spPr>
          <p:txBody>
            <a:bodyPr/>
            <a:lstStyle/>
            <a:p>
              <a:pPr defTabSz="914377"/>
              <a:endParaRPr lang="en-US" sz="1600">
                <a:solidFill>
                  <a:prstClr val="black"/>
                </a:solidFill>
                <a:latin typeface="Century Gothic" panose="020B0502020202020204" pitchFamily="34" charset="0"/>
                <a:cs typeface="Calibri" pitchFamily="34" charset="0"/>
              </a:endParaRPr>
            </a:p>
          </p:txBody>
        </p:sp>
        <p:sp>
          <p:nvSpPr>
            <p:cNvPr id="33" name="Curved Down Arrow 31"/>
            <p:cNvSpPr/>
            <p:nvPr/>
          </p:nvSpPr>
          <p:spPr bwMode="auto">
            <a:xfrm>
              <a:off x="5470650" y="3241952"/>
              <a:ext cx="1143001" cy="609601"/>
            </a:xfrm>
            <a:prstGeom prst="curvedDownArrow">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1600">
                <a:solidFill>
                  <a:prstClr val="black"/>
                </a:solidFill>
                <a:latin typeface="Century Gothic" panose="020B0502020202020204" pitchFamily="34" charset="0"/>
                <a:cs typeface="Calibri" pitchFamily="34" charset="0"/>
              </a:endParaRPr>
            </a:p>
          </p:txBody>
        </p:sp>
        <p:sp>
          <p:nvSpPr>
            <p:cNvPr id="34" name="Curved Down Arrow 32"/>
            <p:cNvSpPr/>
            <p:nvPr/>
          </p:nvSpPr>
          <p:spPr bwMode="auto">
            <a:xfrm>
              <a:off x="3751702" y="2213023"/>
              <a:ext cx="1200771" cy="515967"/>
            </a:xfrm>
            <a:prstGeom prst="curvedDownArrow">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1600">
                <a:solidFill>
                  <a:prstClr val="black"/>
                </a:solidFill>
                <a:latin typeface="Century Gothic" panose="020B0502020202020204" pitchFamily="34" charset="0"/>
                <a:cs typeface="Calibri" pitchFamily="34" charset="0"/>
              </a:endParaRPr>
            </a:p>
          </p:txBody>
        </p:sp>
      </p:grpSp>
    </p:spTree>
    <p:extLst>
      <p:ext uri="{BB962C8B-B14F-4D97-AF65-F5344CB8AC3E}">
        <p14:creationId xmlns:p14="http://schemas.microsoft.com/office/powerpoint/2010/main" val="163540342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3"/>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STEERING SYSTEM</a:t>
            </a:r>
            <a:endParaRPr lang="en-US" sz="3733" b="1" dirty="0">
              <a:solidFill>
                <a:prstClr val="black"/>
              </a:solidFill>
              <a:latin typeface="Century Gothic" panose="020B0502020202020204" pitchFamily="34" charset="0"/>
            </a:endParaRPr>
          </a:p>
        </p:txBody>
      </p:sp>
      <p:sp>
        <p:nvSpPr>
          <p:cNvPr id="37" name="Rectangle 36"/>
          <p:cNvSpPr/>
          <p:nvPr/>
        </p:nvSpPr>
        <p:spPr>
          <a:xfrm>
            <a:off x="156829" y="1076138"/>
            <a:ext cx="11861352"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BASICS OF POWER STEERING</a:t>
            </a:r>
          </a:p>
        </p:txBody>
      </p:sp>
      <p:sp>
        <p:nvSpPr>
          <p:cNvPr id="38" name="Rectangle 37"/>
          <p:cNvSpPr/>
          <p:nvPr/>
        </p:nvSpPr>
        <p:spPr>
          <a:xfrm>
            <a:off x="156829" y="1568115"/>
            <a:ext cx="11861352" cy="5112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514338" indent="-514338" defTabSz="1219170">
              <a:lnSpc>
                <a:spcPct val="150000"/>
              </a:lnSpc>
            </a:pPr>
            <a:endParaRPr lang="en-US" sz="1600" dirty="0">
              <a:solidFill>
                <a:srgbClr val="000000"/>
              </a:solidFill>
              <a:latin typeface="Century Gothic" panose="020B0502020202020204" pitchFamily="34" charset="0"/>
              <a:cs typeface="Calibri" pitchFamily="34" charset="0"/>
            </a:endParaRPr>
          </a:p>
        </p:txBody>
      </p:sp>
      <p:pic>
        <p:nvPicPr>
          <p:cNvPr id="35" name="Picture 2"/>
          <p:cNvPicPr>
            <a:picLocks noChangeAspect="1" noChangeArrowheads="1"/>
          </p:cNvPicPr>
          <p:nvPr/>
        </p:nvPicPr>
        <p:blipFill>
          <a:blip r:embed="rId3">
            <a:clrChange>
              <a:clrFrom>
                <a:srgbClr val="FFFFFF"/>
              </a:clrFrom>
              <a:clrTo>
                <a:srgbClr val="FFFFFF">
                  <a:alpha val="0"/>
                </a:srgbClr>
              </a:clrTo>
            </a:clrChange>
          </a:blip>
          <a:srcRect/>
          <a:stretch>
            <a:fillRect/>
          </a:stretch>
        </p:blipFill>
        <p:spPr bwMode="auto">
          <a:xfrm rot="5400000">
            <a:off x="101067" y="2430563"/>
            <a:ext cx="3353180" cy="2810751"/>
          </a:xfrm>
          <a:prstGeom prst="rect">
            <a:avLst/>
          </a:prstGeom>
          <a:noFill/>
          <a:ln w="9525">
            <a:solidFill>
              <a:schemeClr val="tx1"/>
            </a:solidFill>
            <a:miter lim="800000"/>
            <a:headEnd/>
            <a:tailEnd/>
          </a:ln>
          <a:effectLst/>
        </p:spPr>
      </p:pic>
      <p:pic>
        <p:nvPicPr>
          <p:cNvPr id="36" name="Picture 3"/>
          <p:cNvPicPr>
            <a:picLocks noChangeAspect="1" noChangeArrowheads="1"/>
          </p:cNvPicPr>
          <p:nvPr/>
        </p:nvPicPr>
        <p:blipFill>
          <a:blip r:embed="rId4"/>
          <a:srcRect/>
          <a:stretch>
            <a:fillRect/>
          </a:stretch>
        </p:blipFill>
        <p:spPr bwMode="auto">
          <a:xfrm rot="5400000">
            <a:off x="2957512" y="2481147"/>
            <a:ext cx="3373635" cy="2689129"/>
          </a:xfrm>
          <a:prstGeom prst="rect">
            <a:avLst/>
          </a:prstGeom>
          <a:noFill/>
          <a:ln w="9525">
            <a:solidFill>
              <a:schemeClr val="tx1"/>
            </a:solidFill>
            <a:miter lim="800000"/>
            <a:headEnd/>
            <a:tailEnd/>
          </a:ln>
          <a:effectLst/>
        </p:spPr>
      </p:pic>
      <p:sp>
        <p:nvSpPr>
          <p:cNvPr id="3" name="TextBox 2"/>
          <p:cNvSpPr txBox="1"/>
          <p:nvPr/>
        </p:nvSpPr>
        <p:spPr>
          <a:xfrm>
            <a:off x="425547" y="1703742"/>
            <a:ext cx="2590774" cy="400110"/>
          </a:xfrm>
          <a:prstGeom prst="rect">
            <a:avLst/>
          </a:prstGeom>
          <a:noFill/>
        </p:spPr>
        <p:txBody>
          <a:bodyPr wrap="none" rtlCol="0">
            <a:spAutoFit/>
          </a:bodyPr>
          <a:lstStyle/>
          <a:p>
            <a:pPr defTabSz="1219170"/>
            <a:r>
              <a:rPr lang="en-US" sz="2000" b="1" dirty="0">
                <a:solidFill>
                  <a:prstClr val="black"/>
                </a:solidFill>
                <a:latin typeface="Century Gothic" panose="020B0502020202020204" pitchFamily="34" charset="0"/>
              </a:rPr>
              <a:t>STEERING LINKAGES</a:t>
            </a:r>
          </a:p>
        </p:txBody>
      </p:sp>
      <p:sp>
        <p:nvSpPr>
          <p:cNvPr id="39" name="TextBox 38"/>
          <p:cNvSpPr txBox="1"/>
          <p:nvPr/>
        </p:nvSpPr>
        <p:spPr>
          <a:xfrm>
            <a:off x="3183033" y="1738784"/>
            <a:ext cx="2922595" cy="400110"/>
          </a:xfrm>
          <a:prstGeom prst="rect">
            <a:avLst/>
          </a:prstGeom>
          <a:noFill/>
        </p:spPr>
        <p:txBody>
          <a:bodyPr wrap="none" rtlCol="0">
            <a:spAutoFit/>
          </a:bodyPr>
          <a:lstStyle/>
          <a:p>
            <a:pPr defTabSz="1219170"/>
            <a:r>
              <a:rPr lang="en-US" sz="2000" b="1" dirty="0">
                <a:solidFill>
                  <a:prstClr val="black"/>
                </a:solidFill>
                <a:latin typeface="Century Gothic" panose="020B0502020202020204" pitchFamily="34" charset="0"/>
              </a:rPr>
              <a:t>PURE POWER STEERING</a:t>
            </a:r>
          </a:p>
        </p:txBody>
      </p:sp>
      <p:grpSp>
        <p:nvGrpSpPr>
          <p:cNvPr id="11" name="Group 10"/>
          <p:cNvGrpSpPr>
            <a:grpSpLocks/>
          </p:cNvGrpSpPr>
          <p:nvPr/>
        </p:nvGrpSpPr>
        <p:grpSpPr bwMode="auto">
          <a:xfrm>
            <a:off x="6325969" y="2103852"/>
            <a:ext cx="5161693" cy="3959308"/>
            <a:chOff x="729" y="912"/>
            <a:chExt cx="4311" cy="3307"/>
          </a:xfrm>
        </p:grpSpPr>
        <p:pic>
          <p:nvPicPr>
            <p:cNvPr id="12"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4" y="912"/>
              <a:ext cx="4066" cy="3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 Box 7"/>
            <p:cNvSpPr txBox="1">
              <a:spLocks noChangeArrowheads="1"/>
            </p:cNvSpPr>
            <p:nvPr/>
          </p:nvSpPr>
          <p:spPr bwMode="auto">
            <a:xfrm>
              <a:off x="729" y="3648"/>
              <a:ext cx="1272" cy="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ctr" defTabSz="914377"/>
              <a:r>
                <a:rPr lang="en-US" sz="1400" b="1">
                  <a:solidFill>
                    <a:srgbClr val="000000"/>
                  </a:solidFill>
                  <a:latin typeface="Century Gothic" panose="020B0502020202020204" pitchFamily="34" charset="0"/>
                  <a:cs typeface="Calibri" pitchFamily="34" charset="0"/>
                </a:rPr>
                <a:t>Power Steering </a:t>
              </a:r>
            </a:p>
            <a:p>
              <a:pPr algn="ctr" defTabSz="914377"/>
              <a:r>
                <a:rPr lang="en-US" sz="1400" b="1">
                  <a:solidFill>
                    <a:srgbClr val="000000"/>
                  </a:solidFill>
                  <a:latin typeface="Century Gothic" panose="020B0502020202020204" pitchFamily="34" charset="0"/>
                  <a:cs typeface="Calibri" pitchFamily="34" charset="0"/>
                </a:rPr>
                <a:t>Pump</a:t>
              </a:r>
            </a:p>
          </p:txBody>
        </p:sp>
        <p:sp>
          <p:nvSpPr>
            <p:cNvPr id="14" name="Text Box 8"/>
            <p:cNvSpPr txBox="1">
              <a:spLocks noChangeArrowheads="1"/>
            </p:cNvSpPr>
            <p:nvPr/>
          </p:nvSpPr>
          <p:spPr bwMode="auto">
            <a:xfrm>
              <a:off x="2677" y="3782"/>
              <a:ext cx="1272" cy="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ctr" defTabSz="914377"/>
              <a:r>
                <a:rPr lang="en-US" sz="1400" b="1" dirty="0">
                  <a:solidFill>
                    <a:srgbClr val="000000"/>
                  </a:solidFill>
                  <a:latin typeface="Century Gothic" panose="020B0502020202020204" pitchFamily="34" charset="0"/>
                  <a:cs typeface="Calibri" pitchFamily="34" charset="0"/>
                </a:rPr>
                <a:t>Power Steering </a:t>
              </a:r>
            </a:p>
            <a:p>
              <a:pPr algn="ctr" defTabSz="914377"/>
              <a:r>
                <a:rPr lang="en-US" sz="1400" b="1" dirty="0">
                  <a:solidFill>
                    <a:srgbClr val="000000"/>
                  </a:solidFill>
                  <a:latin typeface="Century Gothic" panose="020B0502020202020204" pitchFamily="34" charset="0"/>
                  <a:cs typeface="Calibri" pitchFamily="34" charset="0"/>
                </a:rPr>
                <a:t>Gear</a:t>
              </a:r>
            </a:p>
          </p:txBody>
        </p:sp>
        <p:sp>
          <p:nvSpPr>
            <p:cNvPr id="15" name="Text Box 9"/>
            <p:cNvSpPr txBox="1">
              <a:spLocks noChangeArrowheads="1"/>
            </p:cNvSpPr>
            <p:nvPr/>
          </p:nvSpPr>
          <p:spPr bwMode="auto">
            <a:xfrm>
              <a:off x="1017" y="1344"/>
              <a:ext cx="1272" cy="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ctr" defTabSz="914377"/>
              <a:r>
                <a:rPr lang="en-US" sz="1400" b="1" dirty="0">
                  <a:solidFill>
                    <a:srgbClr val="000000"/>
                  </a:solidFill>
                  <a:latin typeface="Century Gothic" panose="020B0502020202020204" pitchFamily="34" charset="0"/>
                  <a:cs typeface="Calibri" pitchFamily="34" charset="0"/>
                </a:rPr>
                <a:t>Power Steering </a:t>
              </a:r>
            </a:p>
            <a:p>
              <a:pPr algn="ctr" defTabSz="914377"/>
              <a:r>
                <a:rPr lang="en-US" sz="1400" b="1" dirty="0">
                  <a:solidFill>
                    <a:srgbClr val="000000"/>
                  </a:solidFill>
                  <a:latin typeface="Century Gothic" panose="020B0502020202020204" pitchFamily="34" charset="0"/>
                  <a:cs typeface="Calibri" pitchFamily="34" charset="0"/>
                </a:rPr>
                <a:t>Reservoir</a:t>
              </a:r>
            </a:p>
          </p:txBody>
        </p:sp>
        <p:sp>
          <p:nvSpPr>
            <p:cNvPr id="16" name="Text Box 10"/>
            <p:cNvSpPr txBox="1">
              <a:spLocks noChangeArrowheads="1"/>
            </p:cNvSpPr>
            <p:nvPr/>
          </p:nvSpPr>
          <p:spPr bwMode="auto">
            <a:xfrm>
              <a:off x="1776" y="2400"/>
              <a:ext cx="727" cy="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ctr" defTabSz="914377"/>
              <a:r>
                <a:rPr lang="en-US" sz="1400" b="1">
                  <a:solidFill>
                    <a:srgbClr val="000000"/>
                  </a:solidFill>
                  <a:latin typeface="Century Gothic" panose="020B0502020202020204" pitchFamily="34" charset="0"/>
                  <a:cs typeface="Calibri" pitchFamily="34" charset="0"/>
                </a:rPr>
                <a:t>Suction </a:t>
              </a:r>
            </a:p>
            <a:p>
              <a:pPr algn="ctr" defTabSz="914377"/>
              <a:r>
                <a:rPr lang="en-US" sz="1400" b="1">
                  <a:solidFill>
                    <a:srgbClr val="000000"/>
                  </a:solidFill>
                  <a:latin typeface="Century Gothic" panose="020B0502020202020204" pitchFamily="34" charset="0"/>
                  <a:cs typeface="Calibri" pitchFamily="34" charset="0"/>
                </a:rPr>
                <a:t>Line</a:t>
              </a:r>
            </a:p>
          </p:txBody>
        </p:sp>
        <p:sp>
          <p:nvSpPr>
            <p:cNvPr id="17" name="Text Box 11"/>
            <p:cNvSpPr txBox="1">
              <a:spLocks noChangeArrowheads="1"/>
            </p:cNvSpPr>
            <p:nvPr/>
          </p:nvSpPr>
          <p:spPr bwMode="auto">
            <a:xfrm rot="20463681">
              <a:off x="2634" y="2645"/>
              <a:ext cx="749" cy="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ctr" defTabSz="914377"/>
              <a:r>
                <a:rPr lang="en-US" sz="1400" b="1">
                  <a:solidFill>
                    <a:srgbClr val="000000"/>
                  </a:solidFill>
                  <a:latin typeface="Century Gothic" panose="020B0502020202020204" pitchFamily="34" charset="0"/>
                  <a:cs typeface="Calibri" pitchFamily="34" charset="0"/>
                </a:rPr>
                <a:t>Pressure</a:t>
              </a:r>
            </a:p>
            <a:p>
              <a:pPr algn="ctr" defTabSz="914377"/>
              <a:r>
                <a:rPr lang="en-US" sz="1400" b="1">
                  <a:solidFill>
                    <a:srgbClr val="000000"/>
                  </a:solidFill>
                  <a:latin typeface="Century Gothic" panose="020B0502020202020204" pitchFamily="34" charset="0"/>
                  <a:cs typeface="Calibri" pitchFamily="34" charset="0"/>
                </a:rPr>
                <a:t>Line</a:t>
              </a:r>
            </a:p>
          </p:txBody>
        </p:sp>
        <p:sp>
          <p:nvSpPr>
            <p:cNvPr id="18" name="Text Box 12"/>
            <p:cNvSpPr txBox="1">
              <a:spLocks noChangeArrowheads="1"/>
            </p:cNvSpPr>
            <p:nvPr/>
          </p:nvSpPr>
          <p:spPr bwMode="auto">
            <a:xfrm rot="705471">
              <a:off x="3022" y="1781"/>
              <a:ext cx="611" cy="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ctr" defTabSz="914377"/>
              <a:r>
                <a:rPr lang="en-US" sz="1400" b="1" dirty="0">
                  <a:solidFill>
                    <a:srgbClr val="000000"/>
                  </a:solidFill>
                  <a:latin typeface="Century Gothic" panose="020B0502020202020204" pitchFamily="34" charset="0"/>
                  <a:cs typeface="Calibri" pitchFamily="34" charset="0"/>
                </a:rPr>
                <a:t>Return</a:t>
              </a:r>
            </a:p>
            <a:p>
              <a:pPr algn="ctr" defTabSz="914377"/>
              <a:r>
                <a:rPr lang="en-US" sz="1400" b="1" dirty="0">
                  <a:solidFill>
                    <a:srgbClr val="000000"/>
                  </a:solidFill>
                  <a:latin typeface="Century Gothic" panose="020B0502020202020204" pitchFamily="34" charset="0"/>
                  <a:cs typeface="Calibri" pitchFamily="34" charset="0"/>
                </a:rPr>
                <a:t>Line</a:t>
              </a:r>
            </a:p>
          </p:txBody>
        </p:sp>
      </p:grpSp>
      <p:sp>
        <p:nvSpPr>
          <p:cNvPr id="19" name="TextBox 18"/>
          <p:cNvSpPr txBox="1"/>
          <p:nvPr/>
        </p:nvSpPr>
        <p:spPr>
          <a:xfrm>
            <a:off x="7432302" y="1693768"/>
            <a:ext cx="3278462" cy="400110"/>
          </a:xfrm>
          <a:prstGeom prst="rect">
            <a:avLst/>
          </a:prstGeom>
          <a:noFill/>
        </p:spPr>
        <p:txBody>
          <a:bodyPr wrap="none" rtlCol="0">
            <a:spAutoFit/>
          </a:bodyPr>
          <a:lstStyle/>
          <a:p>
            <a:pPr defTabSz="1219170"/>
            <a:r>
              <a:rPr lang="en-US" sz="2000" b="1" dirty="0">
                <a:solidFill>
                  <a:prstClr val="black"/>
                </a:solidFill>
                <a:latin typeface="Century Gothic" panose="020B0502020202020204" pitchFamily="34" charset="0"/>
              </a:rPr>
              <a:t>POWER STEERING LAYOUT</a:t>
            </a:r>
          </a:p>
        </p:txBody>
      </p:sp>
    </p:spTree>
    <p:extLst>
      <p:ext uri="{BB962C8B-B14F-4D97-AF65-F5344CB8AC3E}">
        <p14:creationId xmlns:p14="http://schemas.microsoft.com/office/powerpoint/2010/main" val="33992354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3"/>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SUSPENSION SYSTEM</a:t>
            </a:r>
            <a:endParaRPr lang="en-US" sz="3733" b="1" dirty="0">
              <a:solidFill>
                <a:prstClr val="black"/>
              </a:solidFill>
              <a:latin typeface="Century Gothic" panose="020B0502020202020204" pitchFamily="34" charset="0"/>
            </a:endParaRPr>
          </a:p>
        </p:txBody>
      </p:sp>
      <p:sp>
        <p:nvSpPr>
          <p:cNvPr id="37" name="Rectangle 36"/>
          <p:cNvSpPr/>
          <p:nvPr/>
        </p:nvSpPr>
        <p:spPr>
          <a:xfrm>
            <a:off x="156829" y="1076138"/>
            <a:ext cx="11861352"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Some basic terms/actions which can occur when your suspension is not good</a:t>
            </a:r>
          </a:p>
        </p:txBody>
      </p:sp>
      <p:sp>
        <p:nvSpPr>
          <p:cNvPr id="38" name="Rectangle 37"/>
          <p:cNvSpPr/>
          <p:nvPr/>
        </p:nvSpPr>
        <p:spPr>
          <a:xfrm>
            <a:off x="156829" y="1568115"/>
            <a:ext cx="11861352" cy="5112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514338" indent="-514338" defTabSz="1219170">
              <a:lnSpc>
                <a:spcPct val="150000"/>
              </a:lnSpc>
            </a:pPr>
            <a:endParaRPr lang="en-US" sz="1600" dirty="0">
              <a:solidFill>
                <a:srgbClr val="000000"/>
              </a:solidFill>
              <a:latin typeface="Century Gothic" panose="020B0502020202020204" pitchFamily="34" charset="0"/>
              <a:cs typeface="Calibri" pitchFamily="34" charset="0"/>
            </a:endParaRPr>
          </a:p>
        </p:txBody>
      </p:sp>
      <p:pic>
        <p:nvPicPr>
          <p:cNvPr id="6" name="Picture 5"/>
          <p:cNvPicPr>
            <a:picLocks noChangeAspect="1"/>
          </p:cNvPicPr>
          <p:nvPr/>
        </p:nvPicPr>
        <p:blipFill>
          <a:blip r:embed="rId3"/>
          <a:stretch>
            <a:fillRect/>
          </a:stretch>
        </p:blipFill>
        <p:spPr>
          <a:xfrm>
            <a:off x="1795916" y="1773825"/>
            <a:ext cx="8600169" cy="4665876"/>
          </a:xfrm>
          <a:prstGeom prst="rect">
            <a:avLst/>
          </a:prstGeom>
        </p:spPr>
      </p:pic>
    </p:spTree>
    <p:extLst>
      <p:ext uri="{BB962C8B-B14F-4D97-AF65-F5344CB8AC3E}">
        <p14:creationId xmlns:p14="http://schemas.microsoft.com/office/powerpoint/2010/main" val="352927037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3"/>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SUSPENSION</a:t>
            </a:r>
            <a:endParaRPr lang="en-US" sz="3733" b="1" dirty="0">
              <a:solidFill>
                <a:prstClr val="black"/>
              </a:solidFill>
              <a:latin typeface="Century Gothic" panose="020B0502020202020204" pitchFamily="34" charset="0"/>
            </a:endParaRPr>
          </a:p>
        </p:txBody>
      </p:sp>
      <p:sp>
        <p:nvSpPr>
          <p:cNvPr id="38" name="Rectangle 37"/>
          <p:cNvSpPr/>
          <p:nvPr/>
        </p:nvSpPr>
        <p:spPr>
          <a:xfrm>
            <a:off x="6182082" y="1568115"/>
            <a:ext cx="5774365" cy="5010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514338" indent="-514338" defTabSz="1219170">
              <a:lnSpc>
                <a:spcPct val="150000"/>
              </a:lnSpc>
            </a:pPr>
            <a:endParaRPr lang="en-US" sz="1600" dirty="0">
              <a:solidFill>
                <a:srgbClr val="000000"/>
              </a:solidFill>
              <a:latin typeface="Century Gothic" panose="020B0502020202020204" pitchFamily="34" charset="0"/>
              <a:cs typeface="Calibri" pitchFamily="34" charset="0"/>
            </a:endParaRPr>
          </a:p>
        </p:txBody>
      </p:sp>
      <p:sp>
        <p:nvSpPr>
          <p:cNvPr id="39" name="Rectangle 38"/>
          <p:cNvSpPr/>
          <p:nvPr/>
        </p:nvSpPr>
        <p:spPr>
          <a:xfrm>
            <a:off x="220034" y="1076138"/>
            <a:ext cx="11736412"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SUSPENSION TYPES</a:t>
            </a:r>
          </a:p>
        </p:txBody>
      </p:sp>
      <p:sp>
        <p:nvSpPr>
          <p:cNvPr id="40" name="Rectangle 39"/>
          <p:cNvSpPr/>
          <p:nvPr/>
        </p:nvSpPr>
        <p:spPr>
          <a:xfrm>
            <a:off x="220035" y="1568115"/>
            <a:ext cx="5774365" cy="5010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514338" indent="-514338" defTabSz="1219170">
              <a:lnSpc>
                <a:spcPct val="150000"/>
              </a:lnSpc>
            </a:pPr>
            <a:endParaRPr lang="en-US" sz="1600" dirty="0">
              <a:solidFill>
                <a:srgbClr val="000000"/>
              </a:solidFill>
              <a:latin typeface="Century Gothic" panose="020B0502020202020204" pitchFamily="34" charset="0"/>
              <a:cs typeface="Calibri" pitchFamily="34" charset="0"/>
            </a:endParaRPr>
          </a:p>
        </p:txBody>
      </p:sp>
      <p:sp>
        <p:nvSpPr>
          <p:cNvPr id="11" name="Rectangle 2"/>
          <p:cNvSpPr>
            <a:spLocks noChangeArrowheads="1"/>
          </p:cNvSpPr>
          <p:nvPr/>
        </p:nvSpPr>
        <p:spPr bwMode="auto">
          <a:xfrm>
            <a:off x="369647" y="1568115"/>
            <a:ext cx="4267200" cy="2185214"/>
          </a:xfrm>
          <a:prstGeom prst="rect">
            <a:avLst/>
          </a:prstGeom>
          <a:noFill/>
          <a:ln w="12700">
            <a:noFill/>
            <a:miter lim="800000"/>
            <a:headEnd type="none" w="sm" len="sm"/>
            <a:tailEnd type="none" w="sm" len="sm"/>
          </a:ln>
          <a:effectLst/>
        </p:spPr>
        <p:txBody>
          <a:bodyPr wrap="square">
            <a:spAutoFit/>
          </a:bodyPr>
          <a:lstStyle/>
          <a:p>
            <a:pPr defTabSz="914377" eaLnBrk="0" hangingPunct="0">
              <a:lnSpc>
                <a:spcPct val="130000"/>
              </a:lnSpc>
              <a:spcBef>
                <a:spcPct val="50000"/>
              </a:spcBef>
            </a:pPr>
            <a:r>
              <a:rPr lang="en-US" sz="1600" b="1" u="sng" dirty="0">
                <a:solidFill>
                  <a:srgbClr val="0070C0"/>
                </a:solidFill>
                <a:latin typeface="Century Gothic" panose="020B0502020202020204" pitchFamily="34" charset="0"/>
              </a:rPr>
              <a:t>AIR SUSPENSION</a:t>
            </a:r>
          </a:p>
          <a:p>
            <a:pPr defTabSz="914377" eaLnBrk="0" hangingPunct="0">
              <a:lnSpc>
                <a:spcPct val="130000"/>
              </a:lnSpc>
              <a:spcBef>
                <a:spcPct val="50000"/>
              </a:spcBef>
            </a:pPr>
            <a:r>
              <a:rPr lang="en-US" sz="1600" b="1" dirty="0">
                <a:solidFill>
                  <a:srgbClr val="000000"/>
                </a:solidFill>
                <a:latin typeface="Century Gothic" panose="020B0502020202020204" pitchFamily="34" charset="0"/>
              </a:rPr>
              <a:t>Benefits Of Air Suspension</a:t>
            </a:r>
          </a:p>
          <a:p>
            <a:pPr marL="285744" indent="-285744" defTabSz="914377" eaLnBrk="0" hangingPunct="0">
              <a:lnSpc>
                <a:spcPct val="130000"/>
              </a:lnSpc>
              <a:spcBef>
                <a:spcPct val="50000"/>
              </a:spcBef>
              <a:buFont typeface="Wingdings" panose="05000000000000000000" pitchFamily="2" charset="2"/>
              <a:buChar char="§"/>
            </a:pPr>
            <a:r>
              <a:rPr lang="en-US" sz="1600" dirty="0">
                <a:solidFill>
                  <a:srgbClr val="000000"/>
                </a:solidFill>
                <a:latin typeface="Century Gothic" panose="020B0502020202020204" pitchFamily="34" charset="0"/>
                <a:cs typeface="Calibri" pitchFamily="34" charset="0"/>
                <a:sym typeface="Monotype Sorts" pitchFamily="2" charset="2"/>
              </a:rPr>
              <a:t>Ride Comfort  </a:t>
            </a:r>
          </a:p>
          <a:p>
            <a:pPr marL="285744" indent="-285744" defTabSz="914377" eaLnBrk="0" hangingPunct="0">
              <a:lnSpc>
                <a:spcPct val="130000"/>
              </a:lnSpc>
              <a:spcBef>
                <a:spcPct val="50000"/>
              </a:spcBef>
              <a:buFont typeface="Wingdings" panose="05000000000000000000" pitchFamily="2" charset="2"/>
              <a:buChar char="§"/>
            </a:pPr>
            <a:r>
              <a:rPr lang="en-US" sz="1600" dirty="0">
                <a:solidFill>
                  <a:srgbClr val="000000"/>
                </a:solidFill>
                <a:latin typeface="Century Gothic" panose="020B0502020202020204" pitchFamily="34" charset="0"/>
                <a:cs typeface="Calibri" pitchFamily="34" charset="0"/>
                <a:sym typeface="Monotype Sorts" pitchFamily="2" charset="2"/>
              </a:rPr>
              <a:t>Roll-stability</a:t>
            </a:r>
          </a:p>
          <a:p>
            <a:pPr marL="285744" indent="-285744" defTabSz="914377" eaLnBrk="0" hangingPunct="0">
              <a:lnSpc>
                <a:spcPct val="130000"/>
              </a:lnSpc>
              <a:spcBef>
                <a:spcPct val="50000"/>
              </a:spcBef>
              <a:buFont typeface="Wingdings" panose="05000000000000000000" pitchFamily="2" charset="2"/>
              <a:buChar char="§"/>
            </a:pPr>
            <a:r>
              <a:rPr lang="en-US" sz="1600" dirty="0">
                <a:solidFill>
                  <a:srgbClr val="000000"/>
                </a:solidFill>
                <a:latin typeface="Century Gothic" panose="020B0502020202020204" pitchFamily="34" charset="0"/>
                <a:cs typeface="Calibri" pitchFamily="34" charset="0"/>
                <a:sym typeface="Monotype Sorts" pitchFamily="2" charset="2"/>
              </a:rPr>
              <a:t>Consistent Ride Height</a:t>
            </a:r>
          </a:p>
        </p:txBody>
      </p:sp>
      <p:pic>
        <p:nvPicPr>
          <p:cNvPr id="12" name="Picture 2" descr="rear air suspension 009"/>
          <p:cNvPicPr>
            <a:picLocks noChangeAspect="1" noChangeArrowheads="1"/>
          </p:cNvPicPr>
          <p:nvPr/>
        </p:nvPicPr>
        <p:blipFill>
          <a:blip r:embed="rId3"/>
          <a:srcRect/>
          <a:stretch>
            <a:fillRect/>
          </a:stretch>
        </p:blipFill>
        <p:spPr bwMode="auto">
          <a:xfrm>
            <a:off x="704591" y="3736590"/>
            <a:ext cx="4861560" cy="2766060"/>
          </a:xfrm>
          <a:prstGeom prst="rect">
            <a:avLst/>
          </a:prstGeom>
          <a:noFill/>
        </p:spPr>
      </p:pic>
      <p:sp>
        <p:nvSpPr>
          <p:cNvPr id="13" name="Rectangle 2"/>
          <p:cNvSpPr>
            <a:spLocks noChangeArrowheads="1"/>
          </p:cNvSpPr>
          <p:nvPr/>
        </p:nvSpPr>
        <p:spPr bwMode="auto">
          <a:xfrm>
            <a:off x="6228381" y="1568116"/>
            <a:ext cx="4267200" cy="2185214"/>
          </a:xfrm>
          <a:prstGeom prst="rect">
            <a:avLst/>
          </a:prstGeom>
          <a:noFill/>
          <a:ln w="12700">
            <a:noFill/>
            <a:miter lim="800000"/>
            <a:headEnd type="none" w="sm" len="sm"/>
            <a:tailEnd type="none" w="sm" len="sm"/>
          </a:ln>
          <a:effectLst/>
        </p:spPr>
        <p:txBody>
          <a:bodyPr wrap="square">
            <a:spAutoFit/>
          </a:bodyPr>
          <a:lstStyle/>
          <a:p>
            <a:pPr defTabSz="914377" eaLnBrk="0" hangingPunct="0">
              <a:lnSpc>
                <a:spcPct val="130000"/>
              </a:lnSpc>
              <a:spcBef>
                <a:spcPct val="50000"/>
              </a:spcBef>
            </a:pPr>
            <a:r>
              <a:rPr lang="en-US" sz="1600" b="1" u="sng" dirty="0">
                <a:solidFill>
                  <a:srgbClr val="0070C0"/>
                </a:solidFill>
                <a:latin typeface="Century Gothic" panose="020B0502020202020204" pitchFamily="34" charset="0"/>
              </a:rPr>
              <a:t>LEAF SPRING SUSPENSION</a:t>
            </a:r>
          </a:p>
          <a:p>
            <a:pPr defTabSz="914377" eaLnBrk="0" hangingPunct="0">
              <a:lnSpc>
                <a:spcPct val="130000"/>
              </a:lnSpc>
              <a:spcBef>
                <a:spcPct val="50000"/>
              </a:spcBef>
            </a:pPr>
            <a:r>
              <a:rPr lang="en-US" sz="1600" b="1" dirty="0">
                <a:solidFill>
                  <a:srgbClr val="000000"/>
                </a:solidFill>
                <a:latin typeface="Century Gothic" panose="020B0502020202020204" pitchFamily="34" charset="0"/>
              </a:rPr>
              <a:t>Benefits Of leaf spring Suspension</a:t>
            </a:r>
          </a:p>
          <a:p>
            <a:pPr marL="285744" indent="-285744" defTabSz="914377" eaLnBrk="0" hangingPunct="0">
              <a:lnSpc>
                <a:spcPct val="130000"/>
              </a:lnSpc>
              <a:spcBef>
                <a:spcPct val="50000"/>
              </a:spcBef>
              <a:buFont typeface="Wingdings" panose="05000000000000000000" pitchFamily="2" charset="2"/>
              <a:buChar char="§"/>
            </a:pPr>
            <a:r>
              <a:rPr lang="en-US" sz="1600" dirty="0">
                <a:solidFill>
                  <a:srgbClr val="000000"/>
                </a:solidFill>
                <a:latin typeface="Century Gothic" panose="020B0502020202020204" pitchFamily="34" charset="0"/>
                <a:cs typeface="Calibri" pitchFamily="34" charset="0"/>
                <a:sym typeface="Monotype Sorts" pitchFamily="2" charset="2"/>
              </a:rPr>
              <a:t>Heavy duty</a:t>
            </a:r>
          </a:p>
          <a:p>
            <a:pPr marL="285744" indent="-285744" defTabSz="914377" eaLnBrk="0" hangingPunct="0">
              <a:lnSpc>
                <a:spcPct val="130000"/>
              </a:lnSpc>
              <a:spcBef>
                <a:spcPct val="50000"/>
              </a:spcBef>
              <a:buFont typeface="Wingdings" panose="05000000000000000000" pitchFamily="2" charset="2"/>
              <a:buChar char="§"/>
            </a:pPr>
            <a:r>
              <a:rPr lang="en-US" sz="1600" dirty="0">
                <a:solidFill>
                  <a:srgbClr val="000000"/>
                </a:solidFill>
                <a:latin typeface="Century Gothic" panose="020B0502020202020204" pitchFamily="34" charset="0"/>
                <a:cs typeface="Calibri" pitchFamily="34" charset="0"/>
                <a:sym typeface="Monotype Sorts" pitchFamily="2" charset="2"/>
              </a:rPr>
              <a:t>More load carrying capacity</a:t>
            </a:r>
          </a:p>
          <a:p>
            <a:pPr marL="285744" indent="-285744" defTabSz="914377" eaLnBrk="0" hangingPunct="0">
              <a:lnSpc>
                <a:spcPct val="130000"/>
              </a:lnSpc>
              <a:spcBef>
                <a:spcPct val="50000"/>
              </a:spcBef>
              <a:buFont typeface="Wingdings" panose="05000000000000000000" pitchFamily="2" charset="2"/>
              <a:buChar char="§"/>
            </a:pPr>
            <a:endParaRPr lang="en-US" sz="1600" dirty="0">
              <a:solidFill>
                <a:srgbClr val="000000"/>
              </a:solidFill>
              <a:latin typeface="Century Gothic" panose="020B0502020202020204" pitchFamily="34" charset="0"/>
              <a:cs typeface="Calibri" pitchFamily="34" charset="0"/>
              <a:sym typeface="Monotype Sorts" pitchFamily="2" charset="2"/>
            </a:endParaRPr>
          </a:p>
        </p:txBody>
      </p:sp>
      <p:pic>
        <p:nvPicPr>
          <p:cNvPr id="1026" name="Picture 2" descr="The Advantages And Disadvantages Of Leaf Springs - General"/>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6579" b="94737" l="5429" r="98714"/>
                    </a14:imgEffect>
                  </a14:imgLayer>
                </a14:imgProps>
              </a:ext>
              <a:ext uri="{28A0092B-C50C-407E-A947-70E740481C1C}">
                <a14:useLocalDpi xmlns:a14="http://schemas.microsoft.com/office/drawing/2010/main" val="0"/>
              </a:ext>
            </a:extLst>
          </a:blip>
          <a:srcRect/>
          <a:stretch>
            <a:fillRect/>
          </a:stretch>
        </p:blipFill>
        <p:spPr bwMode="auto">
          <a:xfrm rot="20443582">
            <a:off x="6087694" y="4276780"/>
            <a:ext cx="3427481" cy="260488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multi leaf spring suspension"/>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9132" b="89498" l="1337" r="98663"/>
                    </a14:imgEffect>
                  </a14:imgLayer>
                </a14:imgProps>
              </a:ext>
              <a:ext uri="{28A0092B-C50C-407E-A947-70E740481C1C}">
                <a14:useLocalDpi xmlns:a14="http://schemas.microsoft.com/office/drawing/2010/main" val="0"/>
              </a:ext>
            </a:extLst>
          </a:blip>
          <a:srcRect/>
          <a:stretch>
            <a:fillRect/>
          </a:stretch>
        </p:blipFill>
        <p:spPr bwMode="auto">
          <a:xfrm>
            <a:off x="9069264" y="2999119"/>
            <a:ext cx="2681139" cy="15699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066595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797071" y="1143198"/>
            <a:ext cx="7951054" cy="2657666"/>
            <a:chOff x="3583383" y="1189743"/>
            <a:chExt cx="7666401" cy="2289219"/>
          </a:xfrm>
        </p:grpSpPr>
        <p:sp>
          <p:nvSpPr>
            <p:cNvPr id="5" name="Rectangle 4">
              <a:extLst>
                <a:ext uri="{FF2B5EF4-FFF2-40B4-BE49-F238E27FC236}">
                  <a16:creationId xmlns:a16="http://schemas.microsoft.com/office/drawing/2014/main" id="{6DD11524-8998-1D44-B820-5CE12CEA658E}"/>
                </a:ext>
              </a:extLst>
            </p:cNvPr>
            <p:cNvSpPr/>
            <p:nvPr/>
          </p:nvSpPr>
          <p:spPr>
            <a:xfrm>
              <a:off x="3587536" y="1189743"/>
              <a:ext cx="7630722" cy="2261405"/>
            </a:xfrm>
            <a:prstGeom prst="rect">
              <a:avLst/>
            </a:prstGeom>
            <a:solidFill>
              <a:schemeClr val="bg1">
                <a:lumMod val="9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6" name="Half Frame 5"/>
            <p:cNvSpPr/>
            <p:nvPr/>
          </p:nvSpPr>
          <p:spPr>
            <a:xfrm>
              <a:off x="3583383" y="1193194"/>
              <a:ext cx="1018902" cy="846820"/>
            </a:xfrm>
            <a:prstGeom prst="halfFrame">
              <a:avLst>
                <a:gd name="adj1" fmla="val 11737"/>
                <a:gd name="adj2" fmla="val 1019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ckwell" panose="02060603020205020403"/>
                <a:ea typeface="+mn-ea"/>
                <a:cs typeface="+mn-cs"/>
              </a:endParaRPr>
            </a:p>
          </p:txBody>
        </p:sp>
        <p:sp>
          <p:nvSpPr>
            <p:cNvPr id="7" name="Half Frame 6"/>
            <p:cNvSpPr/>
            <p:nvPr/>
          </p:nvSpPr>
          <p:spPr>
            <a:xfrm rot="5400000" flipH="1">
              <a:off x="10316923" y="2546101"/>
              <a:ext cx="1018902" cy="846820"/>
            </a:xfrm>
            <a:prstGeom prst="halfFrame">
              <a:avLst>
                <a:gd name="adj1" fmla="val 11737"/>
                <a:gd name="adj2" fmla="val 1019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ckwell" panose="02060603020205020403"/>
                <a:ea typeface="+mn-ea"/>
                <a:cs typeface="+mn-cs"/>
              </a:endParaRPr>
            </a:p>
          </p:txBody>
        </p:sp>
      </p:grpSp>
      <p:sp>
        <p:nvSpPr>
          <p:cNvPr id="8" name="TextBox 7"/>
          <p:cNvSpPr txBox="1"/>
          <p:nvPr/>
        </p:nvSpPr>
        <p:spPr>
          <a:xfrm>
            <a:off x="3869295" y="1402843"/>
            <a:ext cx="7920496" cy="192360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00" b="1" noProof="0" dirty="0">
                <a:solidFill>
                  <a:prstClr val="black"/>
                </a:solidFill>
                <a:latin typeface="Cambria" panose="02040503050406030204" pitchFamily="18" charset="0"/>
                <a:ea typeface="Cambria" panose="02040503050406030204" pitchFamily="18" charset="0"/>
              </a:rPr>
              <a:t>Spring rating as per Load-Road applicat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00" b="1" noProof="0" dirty="0">
                <a:solidFill>
                  <a:prstClr val="black"/>
                </a:solidFill>
                <a:latin typeface="Cambria" panose="02040503050406030204" pitchFamily="18" charset="0"/>
                <a:ea typeface="Cambria" panose="02040503050406030204" pitchFamily="18" charset="0"/>
              </a:rPr>
              <a:t>Option of multi leaf &amp; parabolic available</a:t>
            </a:r>
            <a:r>
              <a:rPr lang="en-US" sz="1700" noProof="0" dirty="0">
                <a:solidFill>
                  <a:prstClr val="black"/>
                </a:solidFill>
                <a:latin typeface="Cambria" panose="02040503050406030204" pitchFamily="18" charset="0"/>
                <a:ea typeface="Cambria" panose="02040503050406030204" pitchFamily="18" charset="0"/>
              </a:rPr>
              <a:t>-freedom for customers to choose based on their operation</a:t>
            </a:r>
            <a:r>
              <a:rPr lang="en-US" sz="1700" dirty="0">
                <a:solidFill>
                  <a:prstClr val="black"/>
                </a:solidFill>
                <a:latin typeface="Cambria" panose="02040503050406030204" pitchFamily="18" charset="0"/>
                <a:ea typeface="Cambria" panose="02040503050406030204" pitchFamily="18" charset="0"/>
              </a:rPr>
              <a: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00" noProof="0" dirty="0">
                <a:solidFill>
                  <a:prstClr val="black"/>
                </a:solidFill>
                <a:latin typeface="Cambria" panose="02040503050406030204" pitchFamily="18" charset="0"/>
                <a:ea typeface="Cambria" panose="02040503050406030204" pitchFamily="18" charset="0"/>
              </a:rPr>
              <a:t>Only one higher dia shackle pin for spring eye across all variants – </a:t>
            </a:r>
            <a:r>
              <a:rPr lang="en-US" sz="1700" b="1" noProof="0" dirty="0">
                <a:solidFill>
                  <a:prstClr val="black"/>
                </a:solidFill>
                <a:latin typeface="Cambria" panose="02040503050406030204" pitchFamily="18" charset="0"/>
                <a:ea typeface="Cambria" panose="02040503050406030204" pitchFamily="18" charset="0"/>
              </a:rPr>
              <a:t>hence longer life and easy parts availabilit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00" b="1" dirty="0">
                <a:solidFill>
                  <a:prstClr val="black"/>
                </a:solidFill>
                <a:latin typeface="Cambria" panose="02040503050406030204" pitchFamily="18" charset="0"/>
                <a:ea typeface="Cambria" panose="02040503050406030204" pitchFamily="18" charset="0"/>
              </a:rPr>
              <a:t>Heavy payload carrying capacity</a:t>
            </a:r>
            <a:r>
              <a:rPr lang="en-US" sz="1700" dirty="0">
                <a:solidFill>
                  <a:prstClr val="black"/>
                </a:solidFill>
                <a:latin typeface="Cambria" panose="02040503050406030204" pitchFamily="18" charset="0"/>
                <a:ea typeface="Cambria" panose="02040503050406030204" pitchFamily="18" charset="0"/>
              </a:rPr>
              <a:t> with(1650mm span, 26mm thick)</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00" b="1" noProof="0" dirty="0">
                <a:solidFill>
                  <a:prstClr val="black"/>
                </a:solidFill>
                <a:latin typeface="Cambria" panose="02040503050406030204" pitchFamily="18" charset="0"/>
                <a:ea typeface="Cambria" panose="02040503050406030204" pitchFamily="18" charset="0"/>
              </a:rPr>
              <a:t>Heavy duty spring brackets- </a:t>
            </a:r>
            <a:r>
              <a:rPr lang="en-US" sz="1700" noProof="0" dirty="0">
                <a:solidFill>
                  <a:prstClr val="black"/>
                </a:solidFill>
                <a:latin typeface="Cambria" panose="02040503050406030204" pitchFamily="18" charset="0"/>
                <a:ea typeface="Cambria" panose="02040503050406030204" pitchFamily="18" charset="0"/>
              </a:rPr>
              <a:t>highly durable</a:t>
            </a:r>
          </a:p>
        </p:txBody>
      </p:sp>
      <p:sp>
        <p:nvSpPr>
          <p:cNvPr id="9" name="Rectangle: Rounded Corners 40">
            <a:extLst>
              <a:ext uri="{FF2B5EF4-FFF2-40B4-BE49-F238E27FC236}">
                <a16:creationId xmlns:a16="http://schemas.microsoft.com/office/drawing/2014/main" id="{EA16DABA-4240-054A-8ED2-C6F13532307E}"/>
              </a:ext>
            </a:extLst>
          </p:cNvPr>
          <p:cNvSpPr/>
          <p:nvPr/>
        </p:nvSpPr>
        <p:spPr>
          <a:xfrm>
            <a:off x="-166538" y="1025644"/>
            <a:ext cx="3879118" cy="368006"/>
          </a:xfrm>
          <a:prstGeom prst="parallelogram">
            <a:avLst/>
          </a:prstGeom>
          <a:solidFill>
            <a:schemeClr val="accent1">
              <a:lumMod val="50000"/>
            </a:schemeClr>
          </a:solidFill>
          <a:ln w="38100">
            <a:noFill/>
          </a:ln>
          <a:effectLst>
            <a:outerShdw blurRad="177800" dist="38100" dir="2700000" algn="tl" rotWithShape="0">
              <a:srgbClr val="1E4E89">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20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mn-cs"/>
            </a:endParaRPr>
          </a:p>
        </p:txBody>
      </p:sp>
      <p:grpSp>
        <p:nvGrpSpPr>
          <p:cNvPr id="10" name="Group 9"/>
          <p:cNvGrpSpPr/>
          <p:nvPr/>
        </p:nvGrpSpPr>
        <p:grpSpPr>
          <a:xfrm>
            <a:off x="3793656" y="4168324"/>
            <a:ext cx="8029152" cy="2174334"/>
            <a:chOff x="3583383" y="1189743"/>
            <a:chExt cx="7666401" cy="2289219"/>
          </a:xfrm>
        </p:grpSpPr>
        <p:sp>
          <p:nvSpPr>
            <p:cNvPr id="11" name="Rectangle 10">
              <a:extLst>
                <a:ext uri="{FF2B5EF4-FFF2-40B4-BE49-F238E27FC236}">
                  <a16:creationId xmlns:a16="http://schemas.microsoft.com/office/drawing/2014/main" id="{6DD11524-8998-1D44-B820-5CE12CEA658E}"/>
                </a:ext>
              </a:extLst>
            </p:cNvPr>
            <p:cNvSpPr/>
            <p:nvPr/>
          </p:nvSpPr>
          <p:spPr>
            <a:xfrm>
              <a:off x="3587536" y="1189743"/>
              <a:ext cx="7630722" cy="2261405"/>
            </a:xfrm>
            <a:prstGeom prst="rect">
              <a:avLst/>
            </a:prstGeom>
            <a:solidFill>
              <a:schemeClr val="bg1">
                <a:lumMod val="9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12" name="Half Frame 11"/>
            <p:cNvSpPr/>
            <p:nvPr/>
          </p:nvSpPr>
          <p:spPr>
            <a:xfrm>
              <a:off x="3583383" y="1193194"/>
              <a:ext cx="1018902" cy="846820"/>
            </a:xfrm>
            <a:prstGeom prst="halfFrame">
              <a:avLst>
                <a:gd name="adj1" fmla="val 11737"/>
                <a:gd name="adj2" fmla="val 1019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ckwell" panose="02060603020205020403"/>
                <a:ea typeface="+mn-ea"/>
                <a:cs typeface="+mn-cs"/>
              </a:endParaRPr>
            </a:p>
          </p:txBody>
        </p:sp>
        <p:sp>
          <p:nvSpPr>
            <p:cNvPr id="13" name="Half Frame 12"/>
            <p:cNvSpPr/>
            <p:nvPr/>
          </p:nvSpPr>
          <p:spPr>
            <a:xfrm rot="5400000" flipH="1">
              <a:off x="10316923" y="2546101"/>
              <a:ext cx="1018902" cy="846820"/>
            </a:xfrm>
            <a:prstGeom prst="halfFrame">
              <a:avLst>
                <a:gd name="adj1" fmla="val 11737"/>
                <a:gd name="adj2" fmla="val 1019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ckwell" panose="02060603020205020403"/>
                <a:ea typeface="+mn-ea"/>
                <a:cs typeface="+mn-cs"/>
              </a:endParaRPr>
            </a:p>
          </p:txBody>
        </p:sp>
      </p:grpSp>
      <p:sp>
        <p:nvSpPr>
          <p:cNvPr id="14" name="TextBox 13"/>
          <p:cNvSpPr txBox="1"/>
          <p:nvPr/>
        </p:nvSpPr>
        <p:spPr>
          <a:xfrm>
            <a:off x="3897181" y="4187915"/>
            <a:ext cx="7706391" cy="218521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7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Single piece cast design</a:t>
            </a:r>
            <a:r>
              <a:rPr kumimoji="0" lang="en-US" sz="1700" b="1" i="0" u="none" strike="noStrike" kern="1200" cap="none" spc="0" normalizeH="0" noProof="0" dirty="0">
                <a:ln>
                  <a:noFill/>
                </a:ln>
                <a:solidFill>
                  <a:prstClr val="black"/>
                </a:solidFill>
                <a:effectLst/>
                <a:uLnTx/>
                <a:uFillTx/>
                <a:latin typeface="Cambria" panose="02040503050406030204" pitchFamily="18" charset="0"/>
                <a:ea typeface="Cambria" panose="02040503050406030204" pitchFamily="18" charset="0"/>
                <a:cs typeface="+mn-cs"/>
              </a:rPr>
              <a:t> </a:t>
            </a:r>
            <a:r>
              <a:rPr kumimoji="0" lang="en-US" sz="1700" b="0" i="0" u="none" strike="noStrike" kern="1200" cap="none" spc="0" normalizeH="0" noProof="0" dirty="0">
                <a:ln>
                  <a:noFill/>
                </a:ln>
                <a:solidFill>
                  <a:prstClr val="black"/>
                </a:solidFill>
                <a:effectLst/>
                <a:uLnTx/>
                <a:uFillTx/>
                <a:latin typeface="Cambria" panose="02040503050406030204" pitchFamily="18" charset="0"/>
                <a:ea typeface="Cambria" panose="02040503050406030204" pitchFamily="18" charset="0"/>
                <a:cs typeface="+mn-cs"/>
              </a:rPr>
              <a:t>– robust, long lif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00" b="1" baseline="0" dirty="0">
                <a:solidFill>
                  <a:prstClr val="black"/>
                </a:solidFill>
                <a:latin typeface="Cambria" panose="02040503050406030204" pitchFamily="18" charset="0"/>
                <a:ea typeface="Cambria" panose="02040503050406030204" pitchFamily="18" charset="0"/>
              </a:rPr>
              <a:t>No</a:t>
            </a:r>
            <a:r>
              <a:rPr lang="en-US" sz="1700" b="1" dirty="0">
                <a:solidFill>
                  <a:prstClr val="black"/>
                </a:solidFill>
                <a:latin typeface="Cambria" panose="02040503050406030204" pitchFamily="18" charset="0"/>
                <a:ea typeface="Cambria" panose="02040503050406030204" pitchFamily="18" charset="0"/>
              </a:rPr>
              <a:t> trunnion shaft/less parts count- </a:t>
            </a:r>
            <a:r>
              <a:rPr lang="en-US" sz="1700" dirty="0">
                <a:solidFill>
                  <a:prstClr val="black"/>
                </a:solidFill>
                <a:latin typeface="Cambria" panose="02040503050406030204" pitchFamily="18" charset="0"/>
                <a:ea typeface="Cambria" panose="02040503050406030204" pitchFamily="18" charset="0"/>
              </a:rPr>
              <a:t>low maintenanc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7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Inverted</a:t>
            </a:r>
            <a:r>
              <a:rPr kumimoji="0" lang="en-US" sz="1700" b="1" i="0" u="none" strike="noStrike" kern="1200" cap="none" spc="0" normalizeH="0" noProof="0" dirty="0">
                <a:ln>
                  <a:noFill/>
                </a:ln>
                <a:solidFill>
                  <a:prstClr val="black"/>
                </a:solidFill>
                <a:effectLst/>
                <a:uLnTx/>
                <a:uFillTx/>
                <a:latin typeface="Cambria" panose="02040503050406030204" pitchFamily="18" charset="0"/>
                <a:ea typeface="Cambria" panose="02040503050406030204" pitchFamily="18" charset="0"/>
                <a:cs typeface="+mn-cs"/>
              </a:rPr>
              <a:t> U bolt arrangement- </a:t>
            </a:r>
            <a:r>
              <a:rPr kumimoji="0" lang="en-US" sz="1700" b="0" i="0" u="none" strike="noStrike" kern="1200" cap="none" spc="0" normalizeH="0" noProof="0" dirty="0">
                <a:ln>
                  <a:noFill/>
                </a:ln>
                <a:solidFill>
                  <a:prstClr val="black"/>
                </a:solidFill>
                <a:effectLst/>
                <a:uLnTx/>
                <a:uFillTx/>
                <a:latin typeface="Cambria" panose="02040503050406030204" pitchFamily="18" charset="0"/>
                <a:ea typeface="Cambria" panose="02040503050406030204" pitchFamily="18" charset="0"/>
                <a:cs typeface="+mn-cs"/>
              </a:rPr>
              <a:t>Easier accessibility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00" b="1" baseline="0" dirty="0">
                <a:solidFill>
                  <a:prstClr val="black"/>
                </a:solidFill>
                <a:latin typeface="Cambria" panose="02040503050406030204" pitchFamily="18" charset="0"/>
                <a:ea typeface="Cambria" panose="02040503050406030204" pitchFamily="18" charset="0"/>
              </a:rPr>
              <a:t>V</a:t>
            </a:r>
            <a:r>
              <a:rPr lang="en-US" sz="1700" b="1" dirty="0">
                <a:solidFill>
                  <a:prstClr val="black"/>
                </a:solidFill>
                <a:latin typeface="Cambria" panose="02040503050406030204" pitchFamily="18" charset="0"/>
                <a:ea typeface="Cambria" panose="02040503050406030204" pitchFamily="18" charset="0"/>
              </a:rPr>
              <a:t>-rod &amp; radius rods are in horizontal to the ground- </a:t>
            </a:r>
            <a:r>
              <a:rPr lang="en-US" sz="1700" dirty="0">
                <a:solidFill>
                  <a:prstClr val="black"/>
                </a:solidFill>
                <a:latin typeface="Cambria" panose="02040503050406030204" pitchFamily="18" charset="0"/>
                <a:ea typeface="Cambria" panose="02040503050406030204" pitchFamily="18" charset="0"/>
              </a:rPr>
              <a:t>less axle longitudinal movement during straight articulation improves </a:t>
            </a:r>
            <a:r>
              <a:rPr lang="en-US" sz="1700" dirty="0" err="1">
                <a:solidFill>
                  <a:prstClr val="black"/>
                </a:solidFill>
                <a:latin typeface="Cambria" panose="02040503050406030204" pitchFamily="18" charset="0"/>
                <a:ea typeface="Cambria" panose="02040503050406030204" pitchFamily="18" charset="0"/>
              </a:rPr>
              <a:t>tyre</a:t>
            </a:r>
            <a:r>
              <a:rPr lang="en-US" sz="1700" dirty="0">
                <a:solidFill>
                  <a:prstClr val="black"/>
                </a:solidFill>
                <a:latin typeface="Cambria" panose="02040503050406030204" pitchFamily="18" charset="0"/>
                <a:ea typeface="Cambria" panose="02040503050406030204" pitchFamily="18" charset="0"/>
              </a:rPr>
              <a:t> and wear pad lif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00" b="1" dirty="0">
                <a:solidFill>
                  <a:prstClr val="black"/>
                </a:solidFill>
                <a:latin typeface="Cambria" panose="02040503050406030204" pitchFamily="18" charset="0"/>
                <a:ea typeface="Cambria" panose="02040503050406030204" pitchFamily="18" charset="0"/>
              </a:rPr>
              <a:t>80/90mm dia V rod bush </a:t>
            </a:r>
            <a:r>
              <a:rPr lang="en-US" sz="1700" dirty="0">
                <a:solidFill>
                  <a:prstClr val="black"/>
                </a:solidFill>
                <a:latin typeface="Cambria" panose="02040503050406030204" pitchFamily="18" charset="0"/>
                <a:ea typeface="Cambria" panose="02040503050406030204" pitchFamily="18" charset="0"/>
              </a:rPr>
              <a:t>– longer lif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7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Less</a:t>
            </a:r>
            <a:r>
              <a:rPr kumimoji="0" lang="en-US" sz="1700" b="1" i="0" u="none" strike="noStrike" kern="1200" cap="none" spc="0" normalizeH="0" noProof="0" dirty="0">
                <a:ln>
                  <a:noFill/>
                </a:ln>
                <a:solidFill>
                  <a:prstClr val="black"/>
                </a:solidFill>
                <a:effectLst/>
                <a:uLnTx/>
                <a:uFillTx/>
                <a:latin typeface="Cambria" panose="02040503050406030204" pitchFamily="18" charset="0"/>
                <a:ea typeface="Cambria" panose="02040503050406030204" pitchFamily="18" charset="0"/>
                <a:cs typeface="+mn-cs"/>
              </a:rPr>
              <a:t> axle spread- </a:t>
            </a:r>
            <a:r>
              <a:rPr kumimoji="0" lang="en-US" sz="1700" b="0" i="0" u="none" strike="noStrike" kern="1200" cap="none" spc="0" normalizeH="0" noProof="0" dirty="0">
                <a:ln>
                  <a:noFill/>
                </a:ln>
                <a:solidFill>
                  <a:prstClr val="black"/>
                </a:solidFill>
                <a:effectLst/>
                <a:uLnTx/>
                <a:uFillTx/>
                <a:latin typeface="Cambria" panose="02040503050406030204" pitchFamily="18" charset="0"/>
                <a:ea typeface="Cambria" panose="02040503050406030204" pitchFamily="18" charset="0"/>
                <a:cs typeface="+mn-cs"/>
              </a:rPr>
              <a:t>reduced </a:t>
            </a:r>
            <a:r>
              <a:rPr kumimoji="0" lang="en-US" sz="1700" b="0" i="0" u="none" strike="noStrike" kern="1200" cap="none" spc="0" normalizeH="0" noProof="0" dirty="0" err="1">
                <a:ln>
                  <a:noFill/>
                </a:ln>
                <a:solidFill>
                  <a:prstClr val="black"/>
                </a:solidFill>
                <a:effectLst/>
                <a:uLnTx/>
                <a:uFillTx/>
                <a:latin typeface="Cambria" panose="02040503050406030204" pitchFamily="18" charset="0"/>
                <a:ea typeface="Cambria" panose="02040503050406030204" pitchFamily="18" charset="0"/>
                <a:cs typeface="+mn-cs"/>
              </a:rPr>
              <a:t>tyre</a:t>
            </a:r>
            <a:r>
              <a:rPr kumimoji="0" lang="en-US" sz="1700" b="0" i="0" u="none" strike="noStrike" kern="1200" cap="none" spc="0" normalizeH="0" noProof="0" dirty="0">
                <a:ln>
                  <a:noFill/>
                </a:ln>
                <a:solidFill>
                  <a:prstClr val="black"/>
                </a:solidFill>
                <a:effectLst/>
                <a:uLnTx/>
                <a:uFillTx/>
                <a:latin typeface="Cambria" panose="02040503050406030204" pitchFamily="18" charset="0"/>
                <a:ea typeface="Cambria" panose="02040503050406030204" pitchFamily="18" charset="0"/>
                <a:cs typeface="+mn-cs"/>
              </a:rPr>
              <a:t> scrub and hence longer lif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00" b="1" baseline="0" dirty="0">
                <a:solidFill>
                  <a:prstClr val="black"/>
                </a:solidFill>
                <a:latin typeface="Cambria" panose="02040503050406030204" pitchFamily="18" charset="0"/>
                <a:ea typeface="Cambria" panose="02040503050406030204" pitchFamily="18" charset="0"/>
              </a:rPr>
              <a:t>38T</a:t>
            </a:r>
            <a:r>
              <a:rPr lang="en-US" sz="1700" b="1" dirty="0">
                <a:solidFill>
                  <a:prstClr val="black"/>
                </a:solidFill>
                <a:latin typeface="Cambria" panose="02040503050406030204" pitchFamily="18" charset="0"/>
                <a:ea typeface="Cambria" panose="02040503050406030204" pitchFamily="18" charset="0"/>
              </a:rPr>
              <a:t> capacity- </a:t>
            </a:r>
            <a:r>
              <a:rPr lang="en-US" sz="1700" dirty="0">
                <a:solidFill>
                  <a:prstClr val="black"/>
                </a:solidFill>
                <a:latin typeface="Cambria" panose="02040503050406030204" pitchFamily="18" charset="0"/>
                <a:ea typeface="Cambria" panose="02040503050406030204" pitchFamily="18" charset="0"/>
              </a:rPr>
              <a:t>10leaves/27mm thick/80mm width/1350 mm span</a:t>
            </a:r>
            <a:endParaRPr kumimoji="0" lang="en-US" sz="1700" b="0" i="0" u="none" strike="noStrike" kern="1200" cap="none" spc="0" normalizeH="0" baseline="0" noProof="0" dirty="0">
              <a:ln>
                <a:noFill/>
              </a:ln>
              <a:solidFill>
                <a:prstClr val="black"/>
              </a:solidFill>
              <a:effectLst/>
              <a:uLnTx/>
              <a:uFillTx/>
              <a:latin typeface="Rockwell" panose="02060603020205020403"/>
              <a:ea typeface="+mn-ea"/>
              <a:cs typeface="+mn-cs"/>
            </a:endParaRPr>
          </a:p>
        </p:txBody>
      </p:sp>
      <p:pic>
        <p:nvPicPr>
          <p:cNvPr id="15" name="Picture 14">
            <a:extLst>
              <a:ext uri="{FF2B5EF4-FFF2-40B4-BE49-F238E27FC236}">
                <a16:creationId xmlns:a16="http://schemas.microsoft.com/office/drawing/2014/main" id="{200D3210-5225-4693-B440-EAEF9B8DE19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3260" t="15754" r="10989" b="28861"/>
          <a:stretch/>
        </p:blipFill>
        <p:spPr>
          <a:xfrm>
            <a:off x="639697" y="1577889"/>
            <a:ext cx="2034429" cy="70698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6" name="Picture 15">
            <a:extLst>
              <a:ext uri="{FF2B5EF4-FFF2-40B4-BE49-F238E27FC236}">
                <a16:creationId xmlns:a16="http://schemas.microsoft.com/office/drawing/2014/main" id="{F78A3E3C-3A06-4CE8-8E23-E1393473BCE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1461" t="17746" r="14693" b="27643"/>
          <a:stretch/>
        </p:blipFill>
        <p:spPr>
          <a:xfrm>
            <a:off x="639697" y="2512598"/>
            <a:ext cx="1934811" cy="81384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7" name="TextBox 16"/>
          <p:cNvSpPr txBox="1"/>
          <p:nvPr/>
        </p:nvSpPr>
        <p:spPr>
          <a:xfrm>
            <a:off x="55337" y="1021081"/>
            <a:ext cx="3977304" cy="400110"/>
          </a:xfrm>
          <a:prstGeom prst="rect">
            <a:avLst/>
          </a:prstGeom>
          <a:noFill/>
        </p:spPr>
        <p:txBody>
          <a:bodyPr wrap="square" rtlCol="0">
            <a:spAutoFit/>
          </a:bodyPr>
          <a:lstStyle/>
          <a:p>
            <a:pPr lvl="0"/>
            <a:r>
              <a:rPr lang="en-US" sz="2000" b="1" dirty="0">
                <a:solidFill>
                  <a:prstClr val="white"/>
                </a:solidFill>
                <a:latin typeface="Cambria" panose="02040503050406030204" pitchFamily="18" charset="0"/>
                <a:ea typeface="Cambria" panose="02040503050406030204" pitchFamily="18" charset="0"/>
              </a:rPr>
              <a:t>FRONT SUSPENSION OPTIONS</a:t>
            </a:r>
            <a:endParaRPr lang="id-ID" sz="2000" b="1" dirty="0">
              <a:solidFill>
                <a:prstClr val="white"/>
              </a:solidFill>
              <a:latin typeface="Cambria" panose="02040503050406030204" pitchFamily="18" charset="0"/>
              <a:ea typeface="Cambria" panose="02040503050406030204" pitchFamily="18" charset="0"/>
            </a:endParaRPr>
          </a:p>
        </p:txBody>
      </p:sp>
      <p:sp>
        <p:nvSpPr>
          <p:cNvPr id="18" name="TextBox 17"/>
          <p:cNvSpPr txBox="1"/>
          <p:nvPr/>
        </p:nvSpPr>
        <p:spPr>
          <a:xfrm>
            <a:off x="410475" y="3363579"/>
            <a:ext cx="2947602" cy="369332"/>
          </a:xfrm>
          <a:prstGeom prst="rect">
            <a:avLst/>
          </a:prstGeom>
          <a:noFill/>
        </p:spPr>
        <p:txBody>
          <a:bodyPr wrap="none" rtlCol="0">
            <a:spAutoFit/>
          </a:bodyPr>
          <a:lstStyle/>
          <a:p>
            <a:pPr lvl="0"/>
            <a:r>
              <a:rPr lang="en-US" b="1" dirty="0">
                <a:solidFill>
                  <a:schemeClr val="tx1">
                    <a:lumMod val="95000"/>
                    <a:lumOff val="5000"/>
                  </a:schemeClr>
                </a:solidFill>
                <a:latin typeface="Cambria" panose="02040503050406030204" pitchFamily="18" charset="0"/>
                <a:ea typeface="Cambria" panose="02040503050406030204" pitchFamily="18" charset="0"/>
              </a:rPr>
              <a:t>MULTI LEAF &amp; PARABOLIC</a:t>
            </a:r>
            <a:endParaRPr lang="id-ID" b="1" dirty="0">
              <a:solidFill>
                <a:schemeClr val="tx1">
                  <a:lumMod val="95000"/>
                  <a:lumOff val="5000"/>
                </a:schemeClr>
              </a:solidFill>
              <a:latin typeface="Cambria" panose="02040503050406030204" pitchFamily="18" charset="0"/>
              <a:ea typeface="Cambria" panose="02040503050406030204" pitchFamily="18" charset="0"/>
            </a:endParaRPr>
          </a:p>
        </p:txBody>
      </p:sp>
      <p:grpSp>
        <p:nvGrpSpPr>
          <p:cNvPr id="19" name="Group 18"/>
          <p:cNvGrpSpPr/>
          <p:nvPr/>
        </p:nvGrpSpPr>
        <p:grpSpPr>
          <a:xfrm>
            <a:off x="-158708" y="3827096"/>
            <a:ext cx="4004404" cy="400110"/>
            <a:chOff x="-133306" y="3827100"/>
            <a:chExt cx="3589011" cy="389873"/>
          </a:xfrm>
        </p:grpSpPr>
        <p:sp>
          <p:nvSpPr>
            <p:cNvPr id="20" name="Rectangle: Rounded Corners 40">
              <a:extLst>
                <a:ext uri="{FF2B5EF4-FFF2-40B4-BE49-F238E27FC236}">
                  <a16:creationId xmlns:a16="http://schemas.microsoft.com/office/drawing/2014/main" id="{EA16DABA-4240-054A-8ED2-C6F13532307E}"/>
                </a:ext>
              </a:extLst>
            </p:cNvPr>
            <p:cNvSpPr/>
            <p:nvPr/>
          </p:nvSpPr>
          <p:spPr>
            <a:xfrm>
              <a:off x="-133306" y="3844552"/>
              <a:ext cx="3589011" cy="365665"/>
            </a:xfrm>
            <a:prstGeom prst="parallelogram">
              <a:avLst/>
            </a:prstGeom>
            <a:solidFill>
              <a:schemeClr val="accent1">
                <a:lumMod val="50000"/>
              </a:schemeClr>
            </a:solidFill>
            <a:ln w="38100">
              <a:noFill/>
            </a:ln>
            <a:effectLst>
              <a:outerShdw blurRad="177800" dist="38100" dir="2700000" algn="tl" rotWithShape="0">
                <a:srgbClr val="1E4E89">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20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mn-cs"/>
              </a:endParaRPr>
            </a:p>
          </p:txBody>
        </p:sp>
        <p:sp>
          <p:nvSpPr>
            <p:cNvPr id="21" name="TextBox 20"/>
            <p:cNvSpPr txBox="1"/>
            <p:nvPr/>
          </p:nvSpPr>
          <p:spPr>
            <a:xfrm>
              <a:off x="-74039" y="3827100"/>
              <a:ext cx="3411628" cy="389873"/>
            </a:xfrm>
            <a:prstGeom prst="rect">
              <a:avLst/>
            </a:prstGeom>
            <a:noFill/>
          </p:spPr>
          <p:txBody>
            <a:bodyPr wrap="none" rtlCol="0">
              <a:spAutoFit/>
            </a:bodyPr>
            <a:lstStyle/>
            <a:p>
              <a:pPr lvl="0"/>
              <a:r>
                <a:rPr lang="en-US" sz="2000" b="1" dirty="0">
                  <a:solidFill>
                    <a:prstClr val="white"/>
                  </a:solidFill>
                  <a:latin typeface="Cambria" panose="02040503050406030204" pitchFamily="18" charset="0"/>
                  <a:ea typeface="Cambria" panose="02040503050406030204" pitchFamily="18" charset="0"/>
                </a:rPr>
                <a:t>ROCK LIKE BOGIE SUSPENSION</a:t>
              </a:r>
              <a:endParaRPr lang="id-ID" sz="2000" b="1" dirty="0">
                <a:solidFill>
                  <a:prstClr val="white"/>
                </a:solidFill>
                <a:latin typeface="Cambria" panose="02040503050406030204" pitchFamily="18" charset="0"/>
                <a:ea typeface="Cambria" panose="02040503050406030204" pitchFamily="18" charset="0"/>
              </a:endParaRPr>
            </a:p>
          </p:txBody>
        </p:sp>
      </p:grpSp>
      <p:pic>
        <p:nvPicPr>
          <p:cNvPr id="22" name="Picture 21">
            <a:extLst>
              <a:ext uri="{FF2B5EF4-FFF2-40B4-BE49-F238E27FC236}">
                <a16:creationId xmlns:a16="http://schemas.microsoft.com/office/drawing/2014/main" id="{23684027-53C6-4A4F-84A1-96DF7288568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2867" t="5045" r="1468"/>
          <a:stretch/>
        </p:blipFill>
        <p:spPr>
          <a:xfrm>
            <a:off x="699174" y="4389746"/>
            <a:ext cx="2370203" cy="190044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3" name="Picture 22">
            <a:extLst>
              <a:ext uri="{FF2B5EF4-FFF2-40B4-BE49-F238E27FC236}">
                <a16:creationId xmlns:a16="http://schemas.microsoft.com/office/drawing/2014/main" id="{E16E91D2-F398-412E-A749-7D98A56B73A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98093" y="5832608"/>
            <a:ext cx="979678" cy="518466"/>
          </a:xfrm>
          <a:prstGeom prst="rect">
            <a:avLst/>
          </a:prstGeom>
        </p:spPr>
      </p:pic>
      <p:sp>
        <p:nvSpPr>
          <p:cNvPr id="24"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25" name="TextBox 24"/>
          <p:cNvSpPr txBox="1"/>
          <p:nvPr/>
        </p:nvSpPr>
        <p:spPr>
          <a:xfrm>
            <a:off x="1010656" y="124413"/>
            <a:ext cx="9047744" cy="666786"/>
          </a:xfrm>
          <a:prstGeom prst="rect">
            <a:avLst/>
          </a:prstGeom>
          <a:noFill/>
        </p:spPr>
        <p:txBody>
          <a:bodyPr wrap="square" rtlCol="0">
            <a:spAutoFit/>
          </a:bodyPr>
          <a:lstStyle/>
          <a:p>
            <a:pPr defTabSz="914377"/>
            <a:r>
              <a:rPr lang="en-US" sz="3733" b="1" dirty="0">
                <a:solidFill>
                  <a:srgbClr val="000000"/>
                </a:solidFill>
                <a:latin typeface="Century Gothic" panose="020B0502020202020204" pitchFamily="34" charset="0"/>
              </a:rPr>
              <a:t>SUSPENSION</a:t>
            </a:r>
          </a:p>
        </p:txBody>
      </p:sp>
    </p:spTree>
    <p:extLst>
      <p:ext uri="{BB962C8B-B14F-4D97-AF65-F5344CB8AC3E}">
        <p14:creationId xmlns:p14="http://schemas.microsoft.com/office/powerpoint/2010/main" val="48567781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25" name="TextBox 24"/>
          <p:cNvSpPr txBox="1"/>
          <p:nvPr/>
        </p:nvSpPr>
        <p:spPr>
          <a:xfrm>
            <a:off x="1010656" y="124413"/>
            <a:ext cx="9047744" cy="666786"/>
          </a:xfrm>
          <a:prstGeom prst="rect">
            <a:avLst/>
          </a:prstGeom>
          <a:noFill/>
        </p:spPr>
        <p:txBody>
          <a:bodyPr wrap="square" rtlCol="0">
            <a:spAutoFit/>
          </a:bodyPr>
          <a:lstStyle/>
          <a:p>
            <a:pPr defTabSz="914377"/>
            <a:r>
              <a:rPr lang="en-US" sz="3733" b="1" dirty="0">
                <a:solidFill>
                  <a:srgbClr val="000000"/>
                </a:solidFill>
                <a:latin typeface="Century Gothic" panose="020B0502020202020204" pitchFamily="34" charset="0"/>
              </a:rPr>
              <a:t>SUSPENSION- TYPES</a:t>
            </a:r>
          </a:p>
        </p:txBody>
      </p:sp>
      <p:pic>
        <p:nvPicPr>
          <p:cNvPr id="26" name="Picture 25">
            <a:extLst>
              <a:ext uri="{FF2B5EF4-FFF2-40B4-BE49-F238E27FC236}">
                <a16:creationId xmlns:a16="http://schemas.microsoft.com/office/drawing/2014/main" id="{A55EA5E4-75C4-4E9B-871E-AA8D6192E84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68780" y="4138559"/>
            <a:ext cx="4097383" cy="2399481"/>
          </a:xfrm>
          <a:prstGeom prst="rect">
            <a:avLst/>
          </a:prstGeom>
        </p:spPr>
      </p:pic>
      <p:grpSp>
        <p:nvGrpSpPr>
          <p:cNvPr id="27" name="Group 26">
            <a:extLst>
              <a:ext uri="{FF2B5EF4-FFF2-40B4-BE49-F238E27FC236}">
                <a16:creationId xmlns:a16="http://schemas.microsoft.com/office/drawing/2014/main" id="{491AF1C3-2465-4E7A-8DF4-3900B8436A22}"/>
              </a:ext>
            </a:extLst>
          </p:cNvPr>
          <p:cNvGrpSpPr/>
          <p:nvPr/>
        </p:nvGrpSpPr>
        <p:grpSpPr>
          <a:xfrm>
            <a:off x="6500848" y="4404802"/>
            <a:ext cx="3031444" cy="2040003"/>
            <a:chOff x="3071926" y="3681301"/>
            <a:chExt cx="3504081" cy="2436649"/>
          </a:xfrm>
        </p:grpSpPr>
        <p:pic>
          <p:nvPicPr>
            <p:cNvPr id="28" name="Picture 19" descr="image002">
              <a:extLst>
                <a:ext uri="{FF2B5EF4-FFF2-40B4-BE49-F238E27FC236}">
                  <a16:creationId xmlns:a16="http://schemas.microsoft.com/office/drawing/2014/main" id="{D9CA7FEA-A4B1-4B3B-81F7-6F9F9804046F}"/>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071926" y="3691741"/>
              <a:ext cx="1781770" cy="1700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4" descr="image004">
              <a:extLst>
                <a:ext uri="{FF2B5EF4-FFF2-40B4-BE49-F238E27FC236}">
                  <a16:creationId xmlns:a16="http://schemas.microsoft.com/office/drawing/2014/main" id="{0F9AC320-3EBE-4F7B-B8C5-504A3227D2C6}"/>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903666" y="3681301"/>
              <a:ext cx="1672340" cy="1710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Box 29">
              <a:extLst>
                <a:ext uri="{FF2B5EF4-FFF2-40B4-BE49-F238E27FC236}">
                  <a16:creationId xmlns:a16="http://schemas.microsoft.com/office/drawing/2014/main" id="{19DB6B32-2D30-4C1D-B64E-2454C894E75E}"/>
                </a:ext>
              </a:extLst>
            </p:cNvPr>
            <p:cNvSpPr txBox="1"/>
            <p:nvPr/>
          </p:nvSpPr>
          <p:spPr>
            <a:xfrm>
              <a:off x="3071926" y="5492998"/>
              <a:ext cx="3504081" cy="6249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nclined to Parallel U-bolt arrangement – On NRS </a:t>
              </a:r>
            </a:p>
          </p:txBody>
        </p:sp>
      </p:grpSp>
      <p:pic>
        <p:nvPicPr>
          <p:cNvPr id="31" name="Picture 30">
            <a:extLst>
              <a:ext uri="{FF2B5EF4-FFF2-40B4-BE49-F238E27FC236}">
                <a16:creationId xmlns:a16="http://schemas.microsoft.com/office/drawing/2014/main" id="{B5642918-D935-48C2-87CD-8E00300D1B3D}"/>
              </a:ext>
            </a:extLst>
          </p:cNvPr>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44936" y="1399346"/>
            <a:ext cx="1303166" cy="1205131"/>
          </a:xfrm>
          <a:prstGeom prst="rect">
            <a:avLst/>
          </a:prstGeom>
          <a:noFill/>
          <a:ln>
            <a:noFill/>
          </a:ln>
          <a:effectLst/>
        </p:spPr>
      </p:pic>
      <p:pic>
        <p:nvPicPr>
          <p:cNvPr id="32" name="Picture 31">
            <a:extLst>
              <a:ext uri="{FF2B5EF4-FFF2-40B4-BE49-F238E27FC236}">
                <a16:creationId xmlns:a16="http://schemas.microsoft.com/office/drawing/2014/main" id="{8A667D73-D352-458B-B2FD-0B929B229354}"/>
              </a:ext>
            </a:extLst>
          </p:cNvPr>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364754" y="1419405"/>
            <a:ext cx="1396468" cy="1370090"/>
          </a:xfrm>
          <a:prstGeom prst="rect">
            <a:avLst/>
          </a:prstGeom>
          <a:noFill/>
          <a:ln>
            <a:noFill/>
          </a:ln>
          <a:effectLst/>
        </p:spPr>
      </p:pic>
      <p:pic>
        <p:nvPicPr>
          <p:cNvPr id="33" name="Picture 32">
            <a:extLst>
              <a:ext uri="{FF2B5EF4-FFF2-40B4-BE49-F238E27FC236}">
                <a16:creationId xmlns:a16="http://schemas.microsoft.com/office/drawing/2014/main" id="{732F7D3D-95E8-4388-B64B-70429D493762}"/>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auto">
          <a:xfrm>
            <a:off x="2889718" y="1516160"/>
            <a:ext cx="1871782" cy="1299993"/>
          </a:xfrm>
          <a:prstGeom prst="rect">
            <a:avLst/>
          </a:prstGeom>
          <a:noFill/>
          <a:ln>
            <a:noFill/>
          </a:ln>
        </p:spPr>
      </p:pic>
      <p:sp>
        <p:nvSpPr>
          <p:cNvPr id="34" name="Rounded Rectangular Callout 12">
            <a:extLst>
              <a:ext uri="{FF2B5EF4-FFF2-40B4-BE49-F238E27FC236}">
                <a16:creationId xmlns:a16="http://schemas.microsoft.com/office/drawing/2014/main" id="{2AD164CC-F0C8-4730-8384-65118EB419AC}"/>
              </a:ext>
            </a:extLst>
          </p:cNvPr>
          <p:cNvSpPr/>
          <p:nvPr/>
        </p:nvSpPr>
        <p:spPr bwMode="auto">
          <a:xfrm>
            <a:off x="3031655" y="2807954"/>
            <a:ext cx="1562495" cy="461631"/>
          </a:xfrm>
          <a:custGeom>
            <a:avLst/>
            <a:gdLst>
              <a:gd name="connsiteX0" fmla="*/ 0 w 2160905"/>
              <a:gd name="connsiteY0" fmla="*/ 41487 h 248920"/>
              <a:gd name="connsiteX1" fmla="*/ 41487 w 2160905"/>
              <a:gd name="connsiteY1" fmla="*/ 0 h 248920"/>
              <a:gd name="connsiteX2" fmla="*/ 360151 w 2160905"/>
              <a:gd name="connsiteY2" fmla="*/ 0 h 248920"/>
              <a:gd name="connsiteX3" fmla="*/ 360151 w 2160905"/>
              <a:gd name="connsiteY3" fmla="*/ 0 h 248920"/>
              <a:gd name="connsiteX4" fmla="*/ 900377 w 2160905"/>
              <a:gd name="connsiteY4" fmla="*/ 0 h 248920"/>
              <a:gd name="connsiteX5" fmla="*/ 2119418 w 2160905"/>
              <a:gd name="connsiteY5" fmla="*/ 0 h 248920"/>
              <a:gd name="connsiteX6" fmla="*/ 2160905 w 2160905"/>
              <a:gd name="connsiteY6" fmla="*/ 41487 h 248920"/>
              <a:gd name="connsiteX7" fmla="*/ 2160905 w 2160905"/>
              <a:gd name="connsiteY7" fmla="*/ 145203 h 248920"/>
              <a:gd name="connsiteX8" fmla="*/ 2160905 w 2160905"/>
              <a:gd name="connsiteY8" fmla="*/ 145203 h 248920"/>
              <a:gd name="connsiteX9" fmla="*/ 2160905 w 2160905"/>
              <a:gd name="connsiteY9" fmla="*/ 207433 h 248920"/>
              <a:gd name="connsiteX10" fmla="*/ 2160905 w 2160905"/>
              <a:gd name="connsiteY10" fmla="*/ 207433 h 248920"/>
              <a:gd name="connsiteX11" fmla="*/ 2119418 w 2160905"/>
              <a:gd name="connsiteY11" fmla="*/ 248920 h 248920"/>
              <a:gd name="connsiteX12" fmla="*/ 900377 w 2160905"/>
              <a:gd name="connsiteY12" fmla="*/ 248920 h 248920"/>
              <a:gd name="connsiteX13" fmla="*/ 394387 w 2160905"/>
              <a:gd name="connsiteY13" fmla="*/ 1933526 h 248920"/>
              <a:gd name="connsiteX14" fmla="*/ 360151 w 2160905"/>
              <a:gd name="connsiteY14" fmla="*/ 248920 h 248920"/>
              <a:gd name="connsiteX15" fmla="*/ 41487 w 2160905"/>
              <a:gd name="connsiteY15" fmla="*/ 248920 h 248920"/>
              <a:gd name="connsiteX16" fmla="*/ 0 w 2160905"/>
              <a:gd name="connsiteY16" fmla="*/ 207433 h 248920"/>
              <a:gd name="connsiteX17" fmla="*/ 0 w 2160905"/>
              <a:gd name="connsiteY17" fmla="*/ 207433 h 248920"/>
              <a:gd name="connsiteX18" fmla="*/ 0 w 2160905"/>
              <a:gd name="connsiteY18" fmla="*/ 145203 h 248920"/>
              <a:gd name="connsiteX19" fmla="*/ 0 w 2160905"/>
              <a:gd name="connsiteY19" fmla="*/ 145203 h 248920"/>
              <a:gd name="connsiteX20" fmla="*/ 0 w 2160905"/>
              <a:gd name="connsiteY20" fmla="*/ 41487 h 248920"/>
              <a:gd name="connsiteX0" fmla="*/ 0 w 2160905"/>
              <a:gd name="connsiteY0" fmla="*/ 41487 h 248920"/>
              <a:gd name="connsiteX1" fmla="*/ 41487 w 2160905"/>
              <a:gd name="connsiteY1" fmla="*/ 0 h 248920"/>
              <a:gd name="connsiteX2" fmla="*/ 360151 w 2160905"/>
              <a:gd name="connsiteY2" fmla="*/ 0 h 248920"/>
              <a:gd name="connsiteX3" fmla="*/ 360151 w 2160905"/>
              <a:gd name="connsiteY3" fmla="*/ 0 h 248920"/>
              <a:gd name="connsiteX4" fmla="*/ 900377 w 2160905"/>
              <a:gd name="connsiteY4" fmla="*/ 0 h 248920"/>
              <a:gd name="connsiteX5" fmla="*/ 2119418 w 2160905"/>
              <a:gd name="connsiteY5" fmla="*/ 0 h 248920"/>
              <a:gd name="connsiteX6" fmla="*/ 2160905 w 2160905"/>
              <a:gd name="connsiteY6" fmla="*/ 41487 h 248920"/>
              <a:gd name="connsiteX7" fmla="*/ 2160905 w 2160905"/>
              <a:gd name="connsiteY7" fmla="*/ 145203 h 248920"/>
              <a:gd name="connsiteX8" fmla="*/ 2160905 w 2160905"/>
              <a:gd name="connsiteY8" fmla="*/ 145203 h 248920"/>
              <a:gd name="connsiteX9" fmla="*/ 2160905 w 2160905"/>
              <a:gd name="connsiteY9" fmla="*/ 207433 h 248920"/>
              <a:gd name="connsiteX10" fmla="*/ 2160905 w 2160905"/>
              <a:gd name="connsiteY10" fmla="*/ 207433 h 248920"/>
              <a:gd name="connsiteX11" fmla="*/ 2119418 w 2160905"/>
              <a:gd name="connsiteY11" fmla="*/ 248920 h 248920"/>
              <a:gd name="connsiteX12" fmla="*/ 900377 w 2160905"/>
              <a:gd name="connsiteY12" fmla="*/ 248920 h 248920"/>
              <a:gd name="connsiteX13" fmla="*/ 360151 w 2160905"/>
              <a:gd name="connsiteY13" fmla="*/ 248920 h 248920"/>
              <a:gd name="connsiteX14" fmla="*/ 41487 w 2160905"/>
              <a:gd name="connsiteY14" fmla="*/ 248920 h 248920"/>
              <a:gd name="connsiteX15" fmla="*/ 0 w 2160905"/>
              <a:gd name="connsiteY15" fmla="*/ 207433 h 248920"/>
              <a:gd name="connsiteX16" fmla="*/ 0 w 2160905"/>
              <a:gd name="connsiteY16" fmla="*/ 207433 h 248920"/>
              <a:gd name="connsiteX17" fmla="*/ 0 w 2160905"/>
              <a:gd name="connsiteY17" fmla="*/ 145203 h 248920"/>
              <a:gd name="connsiteX18" fmla="*/ 0 w 2160905"/>
              <a:gd name="connsiteY18" fmla="*/ 145203 h 248920"/>
              <a:gd name="connsiteX19" fmla="*/ 0 w 2160905"/>
              <a:gd name="connsiteY19" fmla="*/ 41487 h 24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60905" h="248920">
                <a:moveTo>
                  <a:pt x="0" y="41487"/>
                </a:moveTo>
                <a:cubicBezTo>
                  <a:pt x="0" y="18574"/>
                  <a:pt x="18574" y="0"/>
                  <a:pt x="41487" y="0"/>
                </a:cubicBezTo>
                <a:lnTo>
                  <a:pt x="360151" y="0"/>
                </a:lnTo>
                <a:lnTo>
                  <a:pt x="360151" y="0"/>
                </a:lnTo>
                <a:lnTo>
                  <a:pt x="900377" y="0"/>
                </a:lnTo>
                <a:lnTo>
                  <a:pt x="2119418" y="0"/>
                </a:lnTo>
                <a:cubicBezTo>
                  <a:pt x="2142331" y="0"/>
                  <a:pt x="2160905" y="18574"/>
                  <a:pt x="2160905" y="41487"/>
                </a:cubicBezTo>
                <a:lnTo>
                  <a:pt x="2160905" y="145203"/>
                </a:lnTo>
                <a:lnTo>
                  <a:pt x="2160905" y="145203"/>
                </a:lnTo>
                <a:lnTo>
                  <a:pt x="2160905" y="207433"/>
                </a:lnTo>
                <a:lnTo>
                  <a:pt x="2160905" y="207433"/>
                </a:lnTo>
                <a:cubicBezTo>
                  <a:pt x="2160905" y="230346"/>
                  <a:pt x="2142331" y="248920"/>
                  <a:pt x="2119418" y="248920"/>
                </a:cubicBezTo>
                <a:lnTo>
                  <a:pt x="900377" y="248920"/>
                </a:lnTo>
                <a:lnTo>
                  <a:pt x="360151" y="248920"/>
                </a:lnTo>
                <a:lnTo>
                  <a:pt x="41487" y="248920"/>
                </a:lnTo>
                <a:cubicBezTo>
                  <a:pt x="18574" y="248920"/>
                  <a:pt x="0" y="230346"/>
                  <a:pt x="0" y="207433"/>
                </a:cubicBezTo>
                <a:lnTo>
                  <a:pt x="0" y="207433"/>
                </a:lnTo>
                <a:lnTo>
                  <a:pt x="0" y="145203"/>
                </a:lnTo>
                <a:lnTo>
                  <a:pt x="0" y="145203"/>
                </a:lnTo>
                <a:lnTo>
                  <a:pt x="0" y="41487"/>
                </a:lnTo>
                <a:close/>
              </a:path>
            </a:pathLst>
          </a:cu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4 X 2 –SHACKLE TYPE</a:t>
            </a:r>
            <a:endParaRPr kumimoji="0" lang="en-IN" sz="16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endParaRPr>
          </a:p>
        </p:txBody>
      </p:sp>
      <p:sp>
        <p:nvSpPr>
          <p:cNvPr id="35" name="Rounded Rectangular Callout 12">
            <a:extLst>
              <a:ext uri="{FF2B5EF4-FFF2-40B4-BE49-F238E27FC236}">
                <a16:creationId xmlns:a16="http://schemas.microsoft.com/office/drawing/2014/main" id="{363CBC4C-7283-4FD2-9986-E03CB73D955A}"/>
              </a:ext>
            </a:extLst>
          </p:cNvPr>
          <p:cNvSpPr/>
          <p:nvPr/>
        </p:nvSpPr>
        <p:spPr bwMode="auto">
          <a:xfrm>
            <a:off x="4885550" y="3607540"/>
            <a:ext cx="2266994" cy="311139"/>
          </a:xfrm>
          <a:custGeom>
            <a:avLst/>
            <a:gdLst>
              <a:gd name="connsiteX0" fmla="*/ 0 w 2160905"/>
              <a:gd name="connsiteY0" fmla="*/ 41487 h 248920"/>
              <a:gd name="connsiteX1" fmla="*/ 41487 w 2160905"/>
              <a:gd name="connsiteY1" fmla="*/ 0 h 248920"/>
              <a:gd name="connsiteX2" fmla="*/ 360151 w 2160905"/>
              <a:gd name="connsiteY2" fmla="*/ 0 h 248920"/>
              <a:gd name="connsiteX3" fmla="*/ 360151 w 2160905"/>
              <a:gd name="connsiteY3" fmla="*/ 0 h 248920"/>
              <a:gd name="connsiteX4" fmla="*/ 900377 w 2160905"/>
              <a:gd name="connsiteY4" fmla="*/ 0 h 248920"/>
              <a:gd name="connsiteX5" fmla="*/ 2119418 w 2160905"/>
              <a:gd name="connsiteY5" fmla="*/ 0 h 248920"/>
              <a:gd name="connsiteX6" fmla="*/ 2160905 w 2160905"/>
              <a:gd name="connsiteY6" fmla="*/ 41487 h 248920"/>
              <a:gd name="connsiteX7" fmla="*/ 2160905 w 2160905"/>
              <a:gd name="connsiteY7" fmla="*/ 145203 h 248920"/>
              <a:gd name="connsiteX8" fmla="*/ 2160905 w 2160905"/>
              <a:gd name="connsiteY8" fmla="*/ 145203 h 248920"/>
              <a:gd name="connsiteX9" fmla="*/ 2160905 w 2160905"/>
              <a:gd name="connsiteY9" fmla="*/ 207433 h 248920"/>
              <a:gd name="connsiteX10" fmla="*/ 2160905 w 2160905"/>
              <a:gd name="connsiteY10" fmla="*/ 207433 h 248920"/>
              <a:gd name="connsiteX11" fmla="*/ 2119418 w 2160905"/>
              <a:gd name="connsiteY11" fmla="*/ 248920 h 248920"/>
              <a:gd name="connsiteX12" fmla="*/ 900377 w 2160905"/>
              <a:gd name="connsiteY12" fmla="*/ 248920 h 248920"/>
              <a:gd name="connsiteX13" fmla="*/ 394387 w 2160905"/>
              <a:gd name="connsiteY13" fmla="*/ 1933526 h 248920"/>
              <a:gd name="connsiteX14" fmla="*/ 360151 w 2160905"/>
              <a:gd name="connsiteY14" fmla="*/ 248920 h 248920"/>
              <a:gd name="connsiteX15" fmla="*/ 41487 w 2160905"/>
              <a:gd name="connsiteY15" fmla="*/ 248920 h 248920"/>
              <a:gd name="connsiteX16" fmla="*/ 0 w 2160905"/>
              <a:gd name="connsiteY16" fmla="*/ 207433 h 248920"/>
              <a:gd name="connsiteX17" fmla="*/ 0 w 2160905"/>
              <a:gd name="connsiteY17" fmla="*/ 207433 h 248920"/>
              <a:gd name="connsiteX18" fmla="*/ 0 w 2160905"/>
              <a:gd name="connsiteY18" fmla="*/ 145203 h 248920"/>
              <a:gd name="connsiteX19" fmla="*/ 0 w 2160905"/>
              <a:gd name="connsiteY19" fmla="*/ 145203 h 248920"/>
              <a:gd name="connsiteX20" fmla="*/ 0 w 2160905"/>
              <a:gd name="connsiteY20" fmla="*/ 41487 h 248920"/>
              <a:gd name="connsiteX0" fmla="*/ 0 w 2160905"/>
              <a:gd name="connsiteY0" fmla="*/ 41487 h 248920"/>
              <a:gd name="connsiteX1" fmla="*/ 41487 w 2160905"/>
              <a:gd name="connsiteY1" fmla="*/ 0 h 248920"/>
              <a:gd name="connsiteX2" fmla="*/ 360151 w 2160905"/>
              <a:gd name="connsiteY2" fmla="*/ 0 h 248920"/>
              <a:gd name="connsiteX3" fmla="*/ 360151 w 2160905"/>
              <a:gd name="connsiteY3" fmla="*/ 0 h 248920"/>
              <a:gd name="connsiteX4" fmla="*/ 900377 w 2160905"/>
              <a:gd name="connsiteY4" fmla="*/ 0 h 248920"/>
              <a:gd name="connsiteX5" fmla="*/ 2119418 w 2160905"/>
              <a:gd name="connsiteY5" fmla="*/ 0 h 248920"/>
              <a:gd name="connsiteX6" fmla="*/ 2160905 w 2160905"/>
              <a:gd name="connsiteY6" fmla="*/ 41487 h 248920"/>
              <a:gd name="connsiteX7" fmla="*/ 2160905 w 2160905"/>
              <a:gd name="connsiteY7" fmla="*/ 145203 h 248920"/>
              <a:gd name="connsiteX8" fmla="*/ 2160905 w 2160905"/>
              <a:gd name="connsiteY8" fmla="*/ 145203 h 248920"/>
              <a:gd name="connsiteX9" fmla="*/ 2160905 w 2160905"/>
              <a:gd name="connsiteY9" fmla="*/ 207433 h 248920"/>
              <a:gd name="connsiteX10" fmla="*/ 2160905 w 2160905"/>
              <a:gd name="connsiteY10" fmla="*/ 207433 h 248920"/>
              <a:gd name="connsiteX11" fmla="*/ 2119418 w 2160905"/>
              <a:gd name="connsiteY11" fmla="*/ 248920 h 248920"/>
              <a:gd name="connsiteX12" fmla="*/ 900377 w 2160905"/>
              <a:gd name="connsiteY12" fmla="*/ 248920 h 248920"/>
              <a:gd name="connsiteX13" fmla="*/ 360151 w 2160905"/>
              <a:gd name="connsiteY13" fmla="*/ 248920 h 248920"/>
              <a:gd name="connsiteX14" fmla="*/ 41487 w 2160905"/>
              <a:gd name="connsiteY14" fmla="*/ 248920 h 248920"/>
              <a:gd name="connsiteX15" fmla="*/ 0 w 2160905"/>
              <a:gd name="connsiteY15" fmla="*/ 207433 h 248920"/>
              <a:gd name="connsiteX16" fmla="*/ 0 w 2160905"/>
              <a:gd name="connsiteY16" fmla="*/ 207433 h 248920"/>
              <a:gd name="connsiteX17" fmla="*/ 0 w 2160905"/>
              <a:gd name="connsiteY17" fmla="*/ 145203 h 248920"/>
              <a:gd name="connsiteX18" fmla="*/ 0 w 2160905"/>
              <a:gd name="connsiteY18" fmla="*/ 145203 h 248920"/>
              <a:gd name="connsiteX19" fmla="*/ 0 w 2160905"/>
              <a:gd name="connsiteY19" fmla="*/ 41487 h 24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60905" h="248920">
                <a:moveTo>
                  <a:pt x="0" y="41487"/>
                </a:moveTo>
                <a:cubicBezTo>
                  <a:pt x="0" y="18574"/>
                  <a:pt x="18574" y="0"/>
                  <a:pt x="41487" y="0"/>
                </a:cubicBezTo>
                <a:lnTo>
                  <a:pt x="360151" y="0"/>
                </a:lnTo>
                <a:lnTo>
                  <a:pt x="360151" y="0"/>
                </a:lnTo>
                <a:lnTo>
                  <a:pt x="900377" y="0"/>
                </a:lnTo>
                <a:lnTo>
                  <a:pt x="2119418" y="0"/>
                </a:lnTo>
                <a:cubicBezTo>
                  <a:pt x="2142331" y="0"/>
                  <a:pt x="2160905" y="18574"/>
                  <a:pt x="2160905" y="41487"/>
                </a:cubicBezTo>
                <a:lnTo>
                  <a:pt x="2160905" y="145203"/>
                </a:lnTo>
                <a:lnTo>
                  <a:pt x="2160905" y="145203"/>
                </a:lnTo>
                <a:lnTo>
                  <a:pt x="2160905" y="207433"/>
                </a:lnTo>
                <a:lnTo>
                  <a:pt x="2160905" y="207433"/>
                </a:lnTo>
                <a:cubicBezTo>
                  <a:pt x="2160905" y="230346"/>
                  <a:pt x="2142331" y="248920"/>
                  <a:pt x="2119418" y="248920"/>
                </a:cubicBezTo>
                <a:lnTo>
                  <a:pt x="900377" y="248920"/>
                </a:lnTo>
                <a:lnTo>
                  <a:pt x="360151" y="248920"/>
                </a:lnTo>
                <a:lnTo>
                  <a:pt x="41487" y="248920"/>
                </a:lnTo>
                <a:cubicBezTo>
                  <a:pt x="18574" y="248920"/>
                  <a:pt x="0" y="230346"/>
                  <a:pt x="0" y="207433"/>
                </a:cubicBezTo>
                <a:lnTo>
                  <a:pt x="0" y="207433"/>
                </a:lnTo>
                <a:lnTo>
                  <a:pt x="0" y="145203"/>
                </a:lnTo>
                <a:lnTo>
                  <a:pt x="0" y="145203"/>
                </a:lnTo>
                <a:lnTo>
                  <a:pt x="0" y="41487"/>
                </a:lnTo>
                <a:close/>
              </a:path>
            </a:pathLst>
          </a:cu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NRS</a:t>
            </a:r>
            <a:endParaRPr kumimoji="0" lang="en-IN" sz="16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endParaRPr>
          </a:p>
        </p:txBody>
      </p:sp>
      <p:sp>
        <p:nvSpPr>
          <p:cNvPr id="36" name="TextBox 8">
            <a:extLst>
              <a:ext uri="{FF2B5EF4-FFF2-40B4-BE49-F238E27FC236}">
                <a16:creationId xmlns:a16="http://schemas.microsoft.com/office/drawing/2014/main" id="{059F8296-0D0F-4AE8-B11A-3CBF1DC4F84E}"/>
              </a:ext>
            </a:extLst>
          </p:cNvPr>
          <p:cNvSpPr txBox="1">
            <a:spLocks noChangeArrowheads="1"/>
          </p:cNvSpPr>
          <p:nvPr/>
        </p:nvSpPr>
        <p:spPr bwMode="auto">
          <a:xfrm>
            <a:off x="1317689" y="2819196"/>
            <a:ext cx="1599783" cy="338466"/>
          </a:xfrm>
          <a:prstGeom prst="rect">
            <a:avLst/>
          </a:prstGeom>
          <a:noFill/>
          <a:ln w="9525">
            <a:noFill/>
            <a:miter lim="800000"/>
            <a:headEnd/>
            <a:tailEnd/>
          </a:ln>
        </p:spPr>
        <p:txBody>
          <a:bodyPr vert="horz" wrap="square" lIns="91416" tIns="45708" rIns="91416" bIns="45708" numCol="1" anchor="t" anchorCtr="0" compatLnSpc="1">
            <a:prstTxWarp prst="textNoShape">
              <a:avLst/>
            </a:prstTxWarp>
            <a:spAutoFit/>
          </a:bodyPr>
          <a:lstStyle/>
          <a:p>
            <a:pPr marL="0" marR="0" lvl="0" indent="0" algn="l" defTabSz="914400" rtl="0" eaLnBrk="1" fontAlgn="base" latinLnBrk="0" hangingPunct="1">
              <a:lnSpc>
                <a:spcPct val="100000"/>
              </a:lnSpc>
              <a:spcBef>
                <a:spcPts val="500"/>
              </a:spcBef>
              <a:spcAft>
                <a:spcPts val="5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Arial" pitchFamily="34" charset="0"/>
              </a:rPr>
              <a:t>PARABOLIC</a:t>
            </a:r>
            <a:endPar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Arial" pitchFamily="34" charset="0"/>
            </a:endParaRPr>
          </a:p>
        </p:txBody>
      </p:sp>
      <p:sp>
        <p:nvSpPr>
          <p:cNvPr id="37" name="TextBox 8">
            <a:extLst>
              <a:ext uri="{FF2B5EF4-FFF2-40B4-BE49-F238E27FC236}">
                <a16:creationId xmlns:a16="http://schemas.microsoft.com/office/drawing/2014/main" id="{8EB3903B-9929-4B56-BF19-C855D583C57C}"/>
              </a:ext>
            </a:extLst>
          </p:cNvPr>
          <p:cNvSpPr txBox="1">
            <a:spLocks noChangeArrowheads="1"/>
          </p:cNvSpPr>
          <p:nvPr/>
        </p:nvSpPr>
        <p:spPr bwMode="auto">
          <a:xfrm>
            <a:off x="0" y="2717367"/>
            <a:ext cx="1268757" cy="584751"/>
          </a:xfrm>
          <a:prstGeom prst="rect">
            <a:avLst/>
          </a:prstGeom>
          <a:noFill/>
          <a:ln w="9525">
            <a:noFill/>
            <a:miter lim="800000"/>
            <a:headEnd/>
            <a:tailEnd/>
          </a:ln>
        </p:spPr>
        <p:txBody>
          <a:bodyPr vert="horz" wrap="square" lIns="91416" tIns="45708" rIns="91416" bIns="45708" numCol="1" anchor="t" anchorCtr="0" compatLnSpc="1">
            <a:prstTxWarp prst="textNoShape">
              <a:avLst/>
            </a:prstTxWarp>
            <a:spAutoFit/>
          </a:bodyPr>
          <a:lstStyle/>
          <a:p>
            <a:pPr marL="0" marR="0" lvl="0" indent="0" algn="ctr" defTabSz="914400" rtl="0" eaLnBrk="1" fontAlgn="base" latinLnBrk="0" hangingPunct="1">
              <a:lnSpc>
                <a:spcPct val="100000"/>
              </a:lnSpc>
              <a:spcBef>
                <a:spcPts val="500"/>
              </a:spcBef>
              <a:spcAft>
                <a:spcPts val="5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Arial" pitchFamily="34" charset="0"/>
              </a:rPr>
              <a:t>SEMI ELLIPTICAL</a:t>
            </a:r>
            <a:endPar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Arial" pitchFamily="34" charset="0"/>
            </a:endParaRPr>
          </a:p>
        </p:txBody>
      </p:sp>
      <p:pic>
        <p:nvPicPr>
          <p:cNvPr id="38" name="Picture 1" descr="image001">
            <a:extLst>
              <a:ext uri="{FF2B5EF4-FFF2-40B4-BE49-F238E27FC236}">
                <a16:creationId xmlns:a16="http://schemas.microsoft.com/office/drawing/2014/main" id="{E773B76E-0D9E-4E04-9409-C30E179C427B}"/>
              </a:ext>
            </a:extLst>
          </p:cNvPr>
          <p:cNvPicPr>
            <a:picLocks noChangeAspect="1" noChangeArrowheads="1"/>
          </p:cNvPicPr>
          <p:nvPr/>
        </p:nvPicPr>
        <p:blipFill rotWithShape="1">
          <a:blip r:embed="rId9" cstate="screen">
            <a:extLst>
              <a:ext uri="{BEBA8EAE-BF5A-486C-A8C5-ECC9F3942E4B}">
                <a14:imgProps xmlns:a14="http://schemas.microsoft.com/office/drawing/2010/main">
                  <a14:imgLayer r:embed="rId10">
                    <a14:imgEffect>
                      <a14:backgroundRemoval t="870" b="97246" l="0" r="100000"/>
                    </a14:imgEffect>
                  </a14:imgLayer>
                </a14:imgProps>
              </a:ext>
              <a:ext uri="{28A0092B-C50C-407E-A947-70E740481C1C}">
                <a14:useLocalDpi xmlns:a14="http://schemas.microsoft.com/office/drawing/2010/main"/>
              </a:ext>
            </a:extLst>
          </a:blip>
          <a:srcRect/>
          <a:stretch/>
        </p:blipFill>
        <p:spPr bwMode="auto">
          <a:xfrm>
            <a:off x="9258991" y="1261690"/>
            <a:ext cx="2941465" cy="182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ular Callout 12">
            <a:extLst>
              <a:ext uri="{FF2B5EF4-FFF2-40B4-BE49-F238E27FC236}">
                <a16:creationId xmlns:a16="http://schemas.microsoft.com/office/drawing/2014/main" id="{BA10ADA0-ED82-433A-83EA-EC3CAA3C6668}"/>
              </a:ext>
            </a:extLst>
          </p:cNvPr>
          <p:cNvSpPr/>
          <p:nvPr/>
        </p:nvSpPr>
        <p:spPr bwMode="auto">
          <a:xfrm>
            <a:off x="9762239" y="3145157"/>
            <a:ext cx="2266994" cy="248855"/>
          </a:xfrm>
          <a:custGeom>
            <a:avLst/>
            <a:gdLst>
              <a:gd name="connsiteX0" fmla="*/ 0 w 2160905"/>
              <a:gd name="connsiteY0" fmla="*/ 41487 h 248920"/>
              <a:gd name="connsiteX1" fmla="*/ 41487 w 2160905"/>
              <a:gd name="connsiteY1" fmla="*/ 0 h 248920"/>
              <a:gd name="connsiteX2" fmla="*/ 360151 w 2160905"/>
              <a:gd name="connsiteY2" fmla="*/ 0 h 248920"/>
              <a:gd name="connsiteX3" fmla="*/ 360151 w 2160905"/>
              <a:gd name="connsiteY3" fmla="*/ 0 h 248920"/>
              <a:gd name="connsiteX4" fmla="*/ 900377 w 2160905"/>
              <a:gd name="connsiteY4" fmla="*/ 0 h 248920"/>
              <a:gd name="connsiteX5" fmla="*/ 2119418 w 2160905"/>
              <a:gd name="connsiteY5" fmla="*/ 0 h 248920"/>
              <a:gd name="connsiteX6" fmla="*/ 2160905 w 2160905"/>
              <a:gd name="connsiteY6" fmla="*/ 41487 h 248920"/>
              <a:gd name="connsiteX7" fmla="*/ 2160905 w 2160905"/>
              <a:gd name="connsiteY7" fmla="*/ 145203 h 248920"/>
              <a:gd name="connsiteX8" fmla="*/ 2160905 w 2160905"/>
              <a:gd name="connsiteY8" fmla="*/ 145203 h 248920"/>
              <a:gd name="connsiteX9" fmla="*/ 2160905 w 2160905"/>
              <a:gd name="connsiteY9" fmla="*/ 207433 h 248920"/>
              <a:gd name="connsiteX10" fmla="*/ 2160905 w 2160905"/>
              <a:gd name="connsiteY10" fmla="*/ 207433 h 248920"/>
              <a:gd name="connsiteX11" fmla="*/ 2119418 w 2160905"/>
              <a:gd name="connsiteY11" fmla="*/ 248920 h 248920"/>
              <a:gd name="connsiteX12" fmla="*/ 900377 w 2160905"/>
              <a:gd name="connsiteY12" fmla="*/ 248920 h 248920"/>
              <a:gd name="connsiteX13" fmla="*/ 394387 w 2160905"/>
              <a:gd name="connsiteY13" fmla="*/ 1933526 h 248920"/>
              <a:gd name="connsiteX14" fmla="*/ 360151 w 2160905"/>
              <a:gd name="connsiteY14" fmla="*/ 248920 h 248920"/>
              <a:gd name="connsiteX15" fmla="*/ 41487 w 2160905"/>
              <a:gd name="connsiteY15" fmla="*/ 248920 h 248920"/>
              <a:gd name="connsiteX16" fmla="*/ 0 w 2160905"/>
              <a:gd name="connsiteY16" fmla="*/ 207433 h 248920"/>
              <a:gd name="connsiteX17" fmla="*/ 0 w 2160905"/>
              <a:gd name="connsiteY17" fmla="*/ 207433 h 248920"/>
              <a:gd name="connsiteX18" fmla="*/ 0 w 2160905"/>
              <a:gd name="connsiteY18" fmla="*/ 145203 h 248920"/>
              <a:gd name="connsiteX19" fmla="*/ 0 w 2160905"/>
              <a:gd name="connsiteY19" fmla="*/ 145203 h 248920"/>
              <a:gd name="connsiteX20" fmla="*/ 0 w 2160905"/>
              <a:gd name="connsiteY20" fmla="*/ 41487 h 248920"/>
              <a:gd name="connsiteX0" fmla="*/ 0 w 2160905"/>
              <a:gd name="connsiteY0" fmla="*/ 41487 h 248920"/>
              <a:gd name="connsiteX1" fmla="*/ 41487 w 2160905"/>
              <a:gd name="connsiteY1" fmla="*/ 0 h 248920"/>
              <a:gd name="connsiteX2" fmla="*/ 360151 w 2160905"/>
              <a:gd name="connsiteY2" fmla="*/ 0 h 248920"/>
              <a:gd name="connsiteX3" fmla="*/ 360151 w 2160905"/>
              <a:gd name="connsiteY3" fmla="*/ 0 h 248920"/>
              <a:gd name="connsiteX4" fmla="*/ 900377 w 2160905"/>
              <a:gd name="connsiteY4" fmla="*/ 0 h 248920"/>
              <a:gd name="connsiteX5" fmla="*/ 2119418 w 2160905"/>
              <a:gd name="connsiteY5" fmla="*/ 0 h 248920"/>
              <a:gd name="connsiteX6" fmla="*/ 2160905 w 2160905"/>
              <a:gd name="connsiteY6" fmla="*/ 41487 h 248920"/>
              <a:gd name="connsiteX7" fmla="*/ 2160905 w 2160905"/>
              <a:gd name="connsiteY7" fmla="*/ 145203 h 248920"/>
              <a:gd name="connsiteX8" fmla="*/ 2160905 w 2160905"/>
              <a:gd name="connsiteY8" fmla="*/ 145203 h 248920"/>
              <a:gd name="connsiteX9" fmla="*/ 2160905 w 2160905"/>
              <a:gd name="connsiteY9" fmla="*/ 207433 h 248920"/>
              <a:gd name="connsiteX10" fmla="*/ 2160905 w 2160905"/>
              <a:gd name="connsiteY10" fmla="*/ 207433 h 248920"/>
              <a:gd name="connsiteX11" fmla="*/ 2119418 w 2160905"/>
              <a:gd name="connsiteY11" fmla="*/ 248920 h 248920"/>
              <a:gd name="connsiteX12" fmla="*/ 900377 w 2160905"/>
              <a:gd name="connsiteY12" fmla="*/ 248920 h 248920"/>
              <a:gd name="connsiteX13" fmla="*/ 360151 w 2160905"/>
              <a:gd name="connsiteY13" fmla="*/ 248920 h 248920"/>
              <a:gd name="connsiteX14" fmla="*/ 41487 w 2160905"/>
              <a:gd name="connsiteY14" fmla="*/ 248920 h 248920"/>
              <a:gd name="connsiteX15" fmla="*/ 0 w 2160905"/>
              <a:gd name="connsiteY15" fmla="*/ 207433 h 248920"/>
              <a:gd name="connsiteX16" fmla="*/ 0 w 2160905"/>
              <a:gd name="connsiteY16" fmla="*/ 207433 h 248920"/>
              <a:gd name="connsiteX17" fmla="*/ 0 w 2160905"/>
              <a:gd name="connsiteY17" fmla="*/ 145203 h 248920"/>
              <a:gd name="connsiteX18" fmla="*/ 0 w 2160905"/>
              <a:gd name="connsiteY18" fmla="*/ 145203 h 248920"/>
              <a:gd name="connsiteX19" fmla="*/ 0 w 2160905"/>
              <a:gd name="connsiteY19" fmla="*/ 41487 h 24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60905" h="248920">
                <a:moveTo>
                  <a:pt x="0" y="41487"/>
                </a:moveTo>
                <a:cubicBezTo>
                  <a:pt x="0" y="18574"/>
                  <a:pt x="18574" y="0"/>
                  <a:pt x="41487" y="0"/>
                </a:cubicBezTo>
                <a:lnTo>
                  <a:pt x="360151" y="0"/>
                </a:lnTo>
                <a:lnTo>
                  <a:pt x="360151" y="0"/>
                </a:lnTo>
                <a:lnTo>
                  <a:pt x="900377" y="0"/>
                </a:lnTo>
                <a:lnTo>
                  <a:pt x="2119418" y="0"/>
                </a:lnTo>
                <a:cubicBezTo>
                  <a:pt x="2142331" y="0"/>
                  <a:pt x="2160905" y="18574"/>
                  <a:pt x="2160905" y="41487"/>
                </a:cubicBezTo>
                <a:lnTo>
                  <a:pt x="2160905" y="145203"/>
                </a:lnTo>
                <a:lnTo>
                  <a:pt x="2160905" y="145203"/>
                </a:lnTo>
                <a:lnTo>
                  <a:pt x="2160905" y="207433"/>
                </a:lnTo>
                <a:lnTo>
                  <a:pt x="2160905" y="207433"/>
                </a:lnTo>
                <a:cubicBezTo>
                  <a:pt x="2160905" y="230346"/>
                  <a:pt x="2142331" y="248920"/>
                  <a:pt x="2119418" y="248920"/>
                </a:cubicBezTo>
                <a:lnTo>
                  <a:pt x="900377" y="248920"/>
                </a:lnTo>
                <a:lnTo>
                  <a:pt x="360151" y="248920"/>
                </a:lnTo>
                <a:lnTo>
                  <a:pt x="41487" y="248920"/>
                </a:lnTo>
                <a:cubicBezTo>
                  <a:pt x="18574" y="248920"/>
                  <a:pt x="0" y="230346"/>
                  <a:pt x="0" y="207433"/>
                </a:cubicBezTo>
                <a:lnTo>
                  <a:pt x="0" y="207433"/>
                </a:lnTo>
                <a:lnTo>
                  <a:pt x="0" y="145203"/>
                </a:lnTo>
                <a:lnTo>
                  <a:pt x="0" y="145203"/>
                </a:lnTo>
                <a:lnTo>
                  <a:pt x="0" y="41487"/>
                </a:lnTo>
                <a:close/>
              </a:path>
            </a:pathLst>
          </a:cu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SLIPPER-END</a:t>
            </a:r>
            <a:endParaRPr kumimoji="0" lang="en-IN" sz="16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endParaRPr>
          </a:p>
        </p:txBody>
      </p:sp>
      <p:sp>
        <p:nvSpPr>
          <p:cNvPr id="40" name="Rounded Rectangular Callout 12">
            <a:extLst>
              <a:ext uri="{FF2B5EF4-FFF2-40B4-BE49-F238E27FC236}">
                <a16:creationId xmlns:a16="http://schemas.microsoft.com/office/drawing/2014/main" id="{7BFECBA4-936B-43EB-B1DC-A3727445A223}"/>
              </a:ext>
            </a:extLst>
          </p:cNvPr>
          <p:cNvSpPr/>
          <p:nvPr/>
        </p:nvSpPr>
        <p:spPr bwMode="auto">
          <a:xfrm>
            <a:off x="7044001" y="3611642"/>
            <a:ext cx="2266994" cy="248855"/>
          </a:xfrm>
          <a:custGeom>
            <a:avLst/>
            <a:gdLst>
              <a:gd name="connsiteX0" fmla="*/ 0 w 2160905"/>
              <a:gd name="connsiteY0" fmla="*/ 41487 h 248920"/>
              <a:gd name="connsiteX1" fmla="*/ 41487 w 2160905"/>
              <a:gd name="connsiteY1" fmla="*/ 0 h 248920"/>
              <a:gd name="connsiteX2" fmla="*/ 360151 w 2160905"/>
              <a:gd name="connsiteY2" fmla="*/ 0 h 248920"/>
              <a:gd name="connsiteX3" fmla="*/ 360151 w 2160905"/>
              <a:gd name="connsiteY3" fmla="*/ 0 h 248920"/>
              <a:gd name="connsiteX4" fmla="*/ 900377 w 2160905"/>
              <a:gd name="connsiteY4" fmla="*/ 0 h 248920"/>
              <a:gd name="connsiteX5" fmla="*/ 2119418 w 2160905"/>
              <a:gd name="connsiteY5" fmla="*/ 0 h 248920"/>
              <a:gd name="connsiteX6" fmla="*/ 2160905 w 2160905"/>
              <a:gd name="connsiteY6" fmla="*/ 41487 h 248920"/>
              <a:gd name="connsiteX7" fmla="*/ 2160905 w 2160905"/>
              <a:gd name="connsiteY7" fmla="*/ 145203 h 248920"/>
              <a:gd name="connsiteX8" fmla="*/ 2160905 w 2160905"/>
              <a:gd name="connsiteY8" fmla="*/ 145203 h 248920"/>
              <a:gd name="connsiteX9" fmla="*/ 2160905 w 2160905"/>
              <a:gd name="connsiteY9" fmla="*/ 207433 h 248920"/>
              <a:gd name="connsiteX10" fmla="*/ 2160905 w 2160905"/>
              <a:gd name="connsiteY10" fmla="*/ 207433 h 248920"/>
              <a:gd name="connsiteX11" fmla="*/ 2119418 w 2160905"/>
              <a:gd name="connsiteY11" fmla="*/ 248920 h 248920"/>
              <a:gd name="connsiteX12" fmla="*/ 900377 w 2160905"/>
              <a:gd name="connsiteY12" fmla="*/ 248920 h 248920"/>
              <a:gd name="connsiteX13" fmla="*/ 394387 w 2160905"/>
              <a:gd name="connsiteY13" fmla="*/ 1933526 h 248920"/>
              <a:gd name="connsiteX14" fmla="*/ 360151 w 2160905"/>
              <a:gd name="connsiteY14" fmla="*/ 248920 h 248920"/>
              <a:gd name="connsiteX15" fmla="*/ 41487 w 2160905"/>
              <a:gd name="connsiteY15" fmla="*/ 248920 h 248920"/>
              <a:gd name="connsiteX16" fmla="*/ 0 w 2160905"/>
              <a:gd name="connsiteY16" fmla="*/ 207433 h 248920"/>
              <a:gd name="connsiteX17" fmla="*/ 0 w 2160905"/>
              <a:gd name="connsiteY17" fmla="*/ 207433 h 248920"/>
              <a:gd name="connsiteX18" fmla="*/ 0 w 2160905"/>
              <a:gd name="connsiteY18" fmla="*/ 145203 h 248920"/>
              <a:gd name="connsiteX19" fmla="*/ 0 w 2160905"/>
              <a:gd name="connsiteY19" fmla="*/ 145203 h 248920"/>
              <a:gd name="connsiteX20" fmla="*/ 0 w 2160905"/>
              <a:gd name="connsiteY20" fmla="*/ 41487 h 248920"/>
              <a:gd name="connsiteX0" fmla="*/ 0 w 2160905"/>
              <a:gd name="connsiteY0" fmla="*/ 41487 h 248920"/>
              <a:gd name="connsiteX1" fmla="*/ 41487 w 2160905"/>
              <a:gd name="connsiteY1" fmla="*/ 0 h 248920"/>
              <a:gd name="connsiteX2" fmla="*/ 360151 w 2160905"/>
              <a:gd name="connsiteY2" fmla="*/ 0 h 248920"/>
              <a:gd name="connsiteX3" fmla="*/ 360151 w 2160905"/>
              <a:gd name="connsiteY3" fmla="*/ 0 h 248920"/>
              <a:gd name="connsiteX4" fmla="*/ 900377 w 2160905"/>
              <a:gd name="connsiteY4" fmla="*/ 0 h 248920"/>
              <a:gd name="connsiteX5" fmla="*/ 2119418 w 2160905"/>
              <a:gd name="connsiteY5" fmla="*/ 0 h 248920"/>
              <a:gd name="connsiteX6" fmla="*/ 2160905 w 2160905"/>
              <a:gd name="connsiteY6" fmla="*/ 41487 h 248920"/>
              <a:gd name="connsiteX7" fmla="*/ 2160905 w 2160905"/>
              <a:gd name="connsiteY7" fmla="*/ 145203 h 248920"/>
              <a:gd name="connsiteX8" fmla="*/ 2160905 w 2160905"/>
              <a:gd name="connsiteY8" fmla="*/ 145203 h 248920"/>
              <a:gd name="connsiteX9" fmla="*/ 2160905 w 2160905"/>
              <a:gd name="connsiteY9" fmla="*/ 207433 h 248920"/>
              <a:gd name="connsiteX10" fmla="*/ 2160905 w 2160905"/>
              <a:gd name="connsiteY10" fmla="*/ 207433 h 248920"/>
              <a:gd name="connsiteX11" fmla="*/ 2119418 w 2160905"/>
              <a:gd name="connsiteY11" fmla="*/ 248920 h 248920"/>
              <a:gd name="connsiteX12" fmla="*/ 900377 w 2160905"/>
              <a:gd name="connsiteY12" fmla="*/ 248920 h 248920"/>
              <a:gd name="connsiteX13" fmla="*/ 360151 w 2160905"/>
              <a:gd name="connsiteY13" fmla="*/ 248920 h 248920"/>
              <a:gd name="connsiteX14" fmla="*/ 41487 w 2160905"/>
              <a:gd name="connsiteY14" fmla="*/ 248920 h 248920"/>
              <a:gd name="connsiteX15" fmla="*/ 0 w 2160905"/>
              <a:gd name="connsiteY15" fmla="*/ 207433 h 248920"/>
              <a:gd name="connsiteX16" fmla="*/ 0 w 2160905"/>
              <a:gd name="connsiteY16" fmla="*/ 207433 h 248920"/>
              <a:gd name="connsiteX17" fmla="*/ 0 w 2160905"/>
              <a:gd name="connsiteY17" fmla="*/ 145203 h 248920"/>
              <a:gd name="connsiteX18" fmla="*/ 0 w 2160905"/>
              <a:gd name="connsiteY18" fmla="*/ 145203 h 248920"/>
              <a:gd name="connsiteX19" fmla="*/ 0 w 2160905"/>
              <a:gd name="connsiteY19" fmla="*/ 41487 h 24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60905" h="248920">
                <a:moveTo>
                  <a:pt x="0" y="41487"/>
                </a:moveTo>
                <a:cubicBezTo>
                  <a:pt x="0" y="18574"/>
                  <a:pt x="18574" y="0"/>
                  <a:pt x="41487" y="0"/>
                </a:cubicBezTo>
                <a:lnTo>
                  <a:pt x="360151" y="0"/>
                </a:lnTo>
                <a:lnTo>
                  <a:pt x="360151" y="0"/>
                </a:lnTo>
                <a:lnTo>
                  <a:pt x="900377" y="0"/>
                </a:lnTo>
                <a:lnTo>
                  <a:pt x="2119418" y="0"/>
                </a:lnTo>
                <a:cubicBezTo>
                  <a:pt x="2142331" y="0"/>
                  <a:pt x="2160905" y="18574"/>
                  <a:pt x="2160905" y="41487"/>
                </a:cubicBezTo>
                <a:lnTo>
                  <a:pt x="2160905" y="145203"/>
                </a:lnTo>
                <a:lnTo>
                  <a:pt x="2160905" y="145203"/>
                </a:lnTo>
                <a:lnTo>
                  <a:pt x="2160905" y="207433"/>
                </a:lnTo>
                <a:lnTo>
                  <a:pt x="2160905" y="207433"/>
                </a:lnTo>
                <a:cubicBezTo>
                  <a:pt x="2160905" y="230346"/>
                  <a:pt x="2142331" y="248920"/>
                  <a:pt x="2119418" y="248920"/>
                </a:cubicBezTo>
                <a:lnTo>
                  <a:pt x="900377" y="248920"/>
                </a:lnTo>
                <a:lnTo>
                  <a:pt x="360151" y="248920"/>
                </a:lnTo>
                <a:lnTo>
                  <a:pt x="41487" y="248920"/>
                </a:lnTo>
                <a:cubicBezTo>
                  <a:pt x="18574" y="248920"/>
                  <a:pt x="0" y="230346"/>
                  <a:pt x="0" y="207433"/>
                </a:cubicBezTo>
                <a:lnTo>
                  <a:pt x="0" y="207433"/>
                </a:lnTo>
                <a:lnTo>
                  <a:pt x="0" y="145203"/>
                </a:lnTo>
                <a:lnTo>
                  <a:pt x="0" y="145203"/>
                </a:lnTo>
                <a:lnTo>
                  <a:pt x="0" y="41487"/>
                </a:lnTo>
                <a:close/>
              </a:path>
            </a:pathLst>
          </a:cu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BOGIE SUSPENSION</a:t>
            </a:r>
            <a:endParaRPr kumimoji="0" lang="en-IN" sz="16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endParaRPr>
          </a:p>
        </p:txBody>
      </p:sp>
      <p:pic>
        <p:nvPicPr>
          <p:cNvPr id="41" name="Picture 40">
            <a:extLst>
              <a:ext uri="{FF2B5EF4-FFF2-40B4-BE49-F238E27FC236}">
                <a16:creationId xmlns:a16="http://schemas.microsoft.com/office/drawing/2014/main" id="{BE6BAB8E-C31F-40FA-8D85-7A55C0F4601C}"/>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813984" y="2874538"/>
            <a:ext cx="2120668" cy="557818"/>
          </a:xfrm>
          <a:prstGeom prst="rect">
            <a:avLst/>
          </a:prstGeom>
        </p:spPr>
      </p:pic>
      <p:pic>
        <p:nvPicPr>
          <p:cNvPr id="42" name="Picture 41">
            <a:extLst>
              <a:ext uri="{FF2B5EF4-FFF2-40B4-BE49-F238E27FC236}">
                <a16:creationId xmlns:a16="http://schemas.microsoft.com/office/drawing/2014/main" id="{10227E43-6D5B-4FCE-81E2-F0263DBC28CC}"/>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904614" y="1404734"/>
            <a:ext cx="2136357" cy="680801"/>
          </a:xfrm>
          <a:prstGeom prst="rect">
            <a:avLst/>
          </a:prstGeom>
        </p:spPr>
      </p:pic>
      <p:sp>
        <p:nvSpPr>
          <p:cNvPr id="43" name="Rounded Rectangular Callout 12">
            <a:extLst>
              <a:ext uri="{FF2B5EF4-FFF2-40B4-BE49-F238E27FC236}">
                <a16:creationId xmlns:a16="http://schemas.microsoft.com/office/drawing/2014/main" id="{CFD24F11-23A6-4515-A911-46F2F9615403}"/>
              </a:ext>
            </a:extLst>
          </p:cNvPr>
          <p:cNvSpPr/>
          <p:nvPr/>
        </p:nvSpPr>
        <p:spPr bwMode="auto">
          <a:xfrm>
            <a:off x="4670925" y="989593"/>
            <a:ext cx="2266994" cy="311139"/>
          </a:xfrm>
          <a:custGeom>
            <a:avLst/>
            <a:gdLst>
              <a:gd name="connsiteX0" fmla="*/ 0 w 2160905"/>
              <a:gd name="connsiteY0" fmla="*/ 41487 h 248920"/>
              <a:gd name="connsiteX1" fmla="*/ 41487 w 2160905"/>
              <a:gd name="connsiteY1" fmla="*/ 0 h 248920"/>
              <a:gd name="connsiteX2" fmla="*/ 360151 w 2160905"/>
              <a:gd name="connsiteY2" fmla="*/ 0 h 248920"/>
              <a:gd name="connsiteX3" fmla="*/ 360151 w 2160905"/>
              <a:gd name="connsiteY3" fmla="*/ 0 h 248920"/>
              <a:gd name="connsiteX4" fmla="*/ 900377 w 2160905"/>
              <a:gd name="connsiteY4" fmla="*/ 0 h 248920"/>
              <a:gd name="connsiteX5" fmla="*/ 2119418 w 2160905"/>
              <a:gd name="connsiteY5" fmla="*/ 0 h 248920"/>
              <a:gd name="connsiteX6" fmla="*/ 2160905 w 2160905"/>
              <a:gd name="connsiteY6" fmla="*/ 41487 h 248920"/>
              <a:gd name="connsiteX7" fmla="*/ 2160905 w 2160905"/>
              <a:gd name="connsiteY7" fmla="*/ 145203 h 248920"/>
              <a:gd name="connsiteX8" fmla="*/ 2160905 w 2160905"/>
              <a:gd name="connsiteY8" fmla="*/ 145203 h 248920"/>
              <a:gd name="connsiteX9" fmla="*/ 2160905 w 2160905"/>
              <a:gd name="connsiteY9" fmla="*/ 207433 h 248920"/>
              <a:gd name="connsiteX10" fmla="*/ 2160905 w 2160905"/>
              <a:gd name="connsiteY10" fmla="*/ 207433 h 248920"/>
              <a:gd name="connsiteX11" fmla="*/ 2119418 w 2160905"/>
              <a:gd name="connsiteY11" fmla="*/ 248920 h 248920"/>
              <a:gd name="connsiteX12" fmla="*/ 900377 w 2160905"/>
              <a:gd name="connsiteY12" fmla="*/ 248920 h 248920"/>
              <a:gd name="connsiteX13" fmla="*/ 394387 w 2160905"/>
              <a:gd name="connsiteY13" fmla="*/ 1933526 h 248920"/>
              <a:gd name="connsiteX14" fmla="*/ 360151 w 2160905"/>
              <a:gd name="connsiteY14" fmla="*/ 248920 h 248920"/>
              <a:gd name="connsiteX15" fmla="*/ 41487 w 2160905"/>
              <a:gd name="connsiteY15" fmla="*/ 248920 h 248920"/>
              <a:gd name="connsiteX16" fmla="*/ 0 w 2160905"/>
              <a:gd name="connsiteY16" fmla="*/ 207433 h 248920"/>
              <a:gd name="connsiteX17" fmla="*/ 0 w 2160905"/>
              <a:gd name="connsiteY17" fmla="*/ 207433 h 248920"/>
              <a:gd name="connsiteX18" fmla="*/ 0 w 2160905"/>
              <a:gd name="connsiteY18" fmla="*/ 145203 h 248920"/>
              <a:gd name="connsiteX19" fmla="*/ 0 w 2160905"/>
              <a:gd name="connsiteY19" fmla="*/ 145203 h 248920"/>
              <a:gd name="connsiteX20" fmla="*/ 0 w 2160905"/>
              <a:gd name="connsiteY20" fmla="*/ 41487 h 248920"/>
              <a:gd name="connsiteX0" fmla="*/ 0 w 2160905"/>
              <a:gd name="connsiteY0" fmla="*/ 41487 h 248920"/>
              <a:gd name="connsiteX1" fmla="*/ 41487 w 2160905"/>
              <a:gd name="connsiteY1" fmla="*/ 0 h 248920"/>
              <a:gd name="connsiteX2" fmla="*/ 360151 w 2160905"/>
              <a:gd name="connsiteY2" fmla="*/ 0 h 248920"/>
              <a:gd name="connsiteX3" fmla="*/ 360151 w 2160905"/>
              <a:gd name="connsiteY3" fmla="*/ 0 h 248920"/>
              <a:gd name="connsiteX4" fmla="*/ 900377 w 2160905"/>
              <a:gd name="connsiteY4" fmla="*/ 0 h 248920"/>
              <a:gd name="connsiteX5" fmla="*/ 2119418 w 2160905"/>
              <a:gd name="connsiteY5" fmla="*/ 0 h 248920"/>
              <a:gd name="connsiteX6" fmla="*/ 2160905 w 2160905"/>
              <a:gd name="connsiteY6" fmla="*/ 41487 h 248920"/>
              <a:gd name="connsiteX7" fmla="*/ 2160905 w 2160905"/>
              <a:gd name="connsiteY7" fmla="*/ 145203 h 248920"/>
              <a:gd name="connsiteX8" fmla="*/ 2160905 w 2160905"/>
              <a:gd name="connsiteY8" fmla="*/ 145203 h 248920"/>
              <a:gd name="connsiteX9" fmla="*/ 2160905 w 2160905"/>
              <a:gd name="connsiteY9" fmla="*/ 207433 h 248920"/>
              <a:gd name="connsiteX10" fmla="*/ 2160905 w 2160905"/>
              <a:gd name="connsiteY10" fmla="*/ 207433 h 248920"/>
              <a:gd name="connsiteX11" fmla="*/ 2119418 w 2160905"/>
              <a:gd name="connsiteY11" fmla="*/ 248920 h 248920"/>
              <a:gd name="connsiteX12" fmla="*/ 900377 w 2160905"/>
              <a:gd name="connsiteY12" fmla="*/ 248920 h 248920"/>
              <a:gd name="connsiteX13" fmla="*/ 360151 w 2160905"/>
              <a:gd name="connsiteY13" fmla="*/ 248920 h 248920"/>
              <a:gd name="connsiteX14" fmla="*/ 41487 w 2160905"/>
              <a:gd name="connsiteY14" fmla="*/ 248920 h 248920"/>
              <a:gd name="connsiteX15" fmla="*/ 0 w 2160905"/>
              <a:gd name="connsiteY15" fmla="*/ 207433 h 248920"/>
              <a:gd name="connsiteX16" fmla="*/ 0 w 2160905"/>
              <a:gd name="connsiteY16" fmla="*/ 207433 h 248920"/>
              <a:gd name="connsiteX17" fmla="*/ 0 w 2160905"/>
              <a:gd name="connsiteY17" fmla="*/ 145203 h 248920"/>
              <a:gd name="connsiteX18" fmla="*/ 0 w 2160905"/>
              <a:gd name="connsiteY18" fmla="*/ 145203 h 248920"/>
              <a:gd name="connsiteX19" fmla="*/ 0 w 2160905"/>
              <a:gd name="connsiteY19" fmla="*/ 41487 h 24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60905" h="248920">
                <a:moveTo>
                  <a:pt x="0" y="41487"/>
                </a:moveTo>
                <a:cubicBezTo>
                  <a:pt x="0" y="18574"/>
                  <a:pt x="18574" y="0"/>
                  <a:pt x="41487" y="0"/>
                </a:cubicBezTo>
                <a:lnTo>
                  <a:pt x="360151" y="0"/>
                </a:lnTo>
                <a:lnTo>
                  <a:pt x="360151" y="0"/>
                </a:lnTo>
                <a:lnTo>
                  <a:pt x="900377" y="0"/>
                </a:lnTo>
                <a:lnTo>
                  <a:pt x="2119418" y="0"/>
                </a:lnTo>
                <a:cubicBezTo>
                  <a:pt x="2142331" y="0"/>
                  <a:pt x="2160905" y="18574"/>
                  <a:pt x="2160905" y="41487"/>
                </a:cubicBezTo>
                <a:lnTo>
                  <a:pt x="2160905" y="145203"/>
                </a:lnTo>
                <a:lnTo>
                  <a:pt x="2160905" y="145203"/>
                </a:lnTo>
                <a:lnTo>
                  <a:pt x="2160905" y="207433"/>
                </a:lnTo>
                <a:lnTo>
                  <a:pt x="2160905" y="207433"/>
                </a:lnTo>
                <a:cubicBezTo>
                  <a:pt x="2160905" y="230346"/>
                  <a:pt x="2142331" y="248920"/>
                  <a:pt x="2119418" y="248920"/>
                </a:cubicBezTo>
                <a:lnTo>
                  <a:pt x="900377" y="248920"/>
                </a:lnTo>
                <a:lnTo>
                  <a:pt x="360151" y="248920"/>
                </a:lnTo>
                <a:lnTo>
                  <a:pt x="41487" y="248920"/>
                </a:lnTo>
                <a:cubicBezTo>
                  <a:pt x="18574" y="248920"/>
                  <a:pt x="0" y="230346"/>
                  <a:pt x="0" y="207433"/>
                </a:cubicBezTo>
                <a:lnTo>
                  <a:pt x="0" y="207433"/>
                </a:lnTo>
                <a:lnTo>
                  <a:pt x="0" y="145203"/>
                </a:lnTo>
                <a:lnTo>
                  <a:pt x="0" y="145203"/>
                </a:lnTo>
                <a:lnTo>
                  <a:pt x="0" y="41487"/>
                </a:lnTo>
                <a:close/>
              </a:path>
            </a:pathLst>
          </a:cu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Before</a:t>
            </a:r>
            <a:endParaRPr kumimoji="0" lang="en-IN" sz="1400" b="1" i="0" u="sng"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endParaRPr>
          </a:p>
        </p:txBody>
      </p:sp>
      <p:sp>
        <p:nvSpPr>
          <p:cNvPr id="44" name="Rounded Rectangular Callout 12">
            <a:extLst>
              <a:ext uri="{FF2B5EF4-FFF2-40B4-BE49-F238E27FC236}">
                <a16:creationId xmlns:a16="http://schemas.microsoft.com/office/drawing/2014/main" id="{8FA474D6-7DF2-4DA6-AF8F-C2CE633813EB}"/>
              </a:ext>
            </a:extLst>
          </p:cNvPr>
          <p:cNvSpPr/>
          <p:nvPr/>
        </p:nvSpPr>
        <p:spPr bwMode="auto">
          <a:xfrm>
            <a:off x="4685658" y="2367458"/>
            <a:ext cx="2266994" cy="311139"/>
          </a:xfrm>
          <a:custGeom>
            <a:avLst/>
            <a:gdLst>
              <a:gd name="connsiteX0" fmla="*/ 0 w 2160905"/>
              <a:gd name="connsiteY0" fmla="*/ 41487 h 248920"/>
              <a:gd name="connsiteX1" fmla="*/ 41487 w 2160905"/>
              <a:gd name="connsiteY1" fmla="*/ 0 h 248920"/>
              <a:gd name="connsiteX2" fmla="*/ 360151 w 2160905"/>
              <a:gd name="connsiteY2" fmla="*/ 0 h 248920"/>
              <a:gd name="connsiteX3" fmla="*/ 360151 w 2160905"/>
              <a:gd name="connsiteY3" fmla="*/ 0 h 248920"/>
              <a:gd name="connsiteX4" fmla="*/ 900377 w 2160905"/>
              <a:gd name="connsiteY4" fmla="*/ 0 h 248920"/>
              <a:gd name="connsiteX5" fmla="*/ 2119418 w 2160905"/>
              <a:gd name="connsiteY5" fmla="*/ 0 h 248920"/>
              <a:gd name="connsiteX6" fmla="*/ 2160905 w 2160905"/>
              <a:gd name="connsiteY6" fmla="*/ 41487 h 248920"/>
              <a:gd name="connsiteX7" fmla="*/ 2160905 w 2160905"/>
              <a:gd name="connsiteY7" fmla="*/ 145203 h 248920"/>
              <a:gd name="connsiteX8" fmla="*/ 2160905 w 2160905"/>
              <a:gd name="connsiteY8" fmla="*/ 145203 h 248920"/>
              <a:gd name="connsiteX9" fmla="*/ 2160905 w 2160905"/>
              <a:gd name="connsiteY9" fmla="*/ 207433 h 248920"/>
              <a:gd name="connsiteX10" fmla="*/ 2160905 w 2160905"/>
              <a:gd name="connsiteY10" fmla="*/ 207433 h 248920"/>
              <a:gd name="connsiteX11" fmla="*/ 2119418 w 2160905"/>
              <a:gd name="connsiteY11" fmla="*/ 248920 h 248920"/>
              <a:gd name="connsiteX12" fmla="*/ 900377 w 2160905"/>
              <a:gd name="connsiteY12" fmla="*/ 248920 h 248920"/>
              <a:gd name="connsiteX13" fmla="*/ 394387 w 2160905"/>
              <a:gd name="connsiteY13" fmla="*/ 1933526 h 248920"/>
              <a:gd name="connsiteX14" fmla="*/ 360151 w 2160905"/>
              <a:gd name="connsiteY14" fmla="*/ 248920 h 248920"/>
              <a:gd name="connsiteX15" fmla="*/ 41487 w 2160905"/>
              <a:gd name="connsiteY15" fmla="*/ 248920 h 248920"/>
              <a:gd name="connsiteX16" fmla="*/ 0 w 2160905"/>
              <a:gd name="connsiteY16" fmla="*/ 207433 h 248920"/>
              <a:gd name="connsiteX17" fmla="*/ 0 w 2160905"/>
              <a:gd name="connsiteY17" fmla="*/ 207433 h 248920"/>
              <a:gd name="connsiteX18" fmla="*/ 0 w 2160905"/>
              <a:gd name="connsiteY18" fmla="*/ 145203 h 248920"/>
              <a:gd name="connsiteX19" fmla="*/ 0 w 2160905"/>
              <a:gd name="connsiteY19" fmla="*/ 145203 h 248920"/>
              <a:gd name="connsiteX20" fmla="*/ 0 w 2160905"/>
              <a:gd name="connsiteY20" fmla="*/ 41487 h 248920"/>
              <a:gd name="connsiteX0" fmla="*/ 0 w 2160905"/>
              <a:gd name="connsiteY0" fmla="*/ 41487 h 248920"/>
              <a:gd name="connsiteX1" fmla="*/ 41487 w 2160905"/>
              <a:gd name="connsiteY1" fmla="*/ 0 h 248920"/>
              <a:gd name="connsiteX2" fmla="*/ 360151 w 2160905"/>
              <a:gd name="connsiteY2" fmla="*/ 0 h 248920"/>
              <a:gd name="connsiteX3" fmla="*/ 360151 w 2160905"/>
              <a:gd name="connsiteY3" fmla="*/ 0 h 248920"/>
              <a:gd name="connsiteX4" fmla="*/ 900377 w 2160905"/>
              <a:gd name="connsiteY4" fmla="*/ 0 h 248920"/>
              <a:gd name="connsiteX5" fmla="*/ 2119418 w 2160905"/>
              <a:gd name="connsiteY5" fmla="*/ 0 h 248920"/>
              <a:gd name="connsiteX6" fmla="*/ 2160905 w 2160905"/>
              <a:gd name="connsiteY6" fmla="*/ 41487 h 248920"/>
              <a:gd name="connsiteX7" fmla="*/ 2160905 w 2160905"/>
              <a:gd name="connsiteY7" fmla="*/ 145203 h 248920"/>
              <a:gd name="connsiteX8" fmla="*/ 2160905 w 2160905"/>
              <a:gd name="connsiteY8" fmla="*/ 145203 h 248920"/>
              <a:gd name="connsiteX9" fmla="*/ 2160905 w 2160905"/>
              <a:gd name="connsiteY9" fmla="*/ 207433 h 248920"/>
              <a:gd name="connsiteX10" fmla="*/ 2160905 w 2160905"/>
              <a:gd name="connsiteY10" fmla="*/ 207433 h 248920"/>
              <a:gd name="connsiteX11" fmla="*/ 2119418 w 2160905"/>
              <a:gd name="connsiteY11" fmla="*/ 248920 h 248920"/>
              <a:gd name="connsiteX12" fmla="*/ 900377 w 2160905"/>
              <a:gd name="connsiteY12" fmla="*/ 248920 h 248920"/>
              <a:gd name="connsiteX13" fmla="*/ 360151 w 2160905"/>
              <a:gd name="connsiteY13" fmla="*/ 248920 h 248920"/>
              <a:gd name="connsiteX14" fmla="*/ 41487 w 2160905"/>
              <a:gd name="connsiteY14" fmla="*/ 248920 h 248920"/>
              <a:gd name="connsiteX15" fmla="*/ 0 w 2160905"/>
              <a:gd name="connsiteY15" fmla="*/ 207433 h 248920"/>
              <a:gd name="connsiteX16" fmla="*/ 0 w 2160905"/>
              <a:gd name="connsiteY16" fmla="*/ 207433 h 248920"/>
              <a:gd name="connsiteX17" fmla="*/ 0 w 2160905"/>
              <a:gd name="connsiteY17" fmla="*/ 145203 h 248920"/>
              <a:gd name="connsiteX18" fmla="*/ 0 w 2160905"/>
              <a:gd name="connsiteY18" fmla="*/ 145203 h 248920"/>
              <a:gd name="connsiteX19" fmla="*/ 0 w 2160905"/>
              <a:gd name="connsiteY19" fmla="*/ 41487 h 24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60905" h="248920">
                <a:moveTo>
                  <a:pt x="0" y="41487"/>
                </a:moveTo>
                <a:cubicBezTo>
                  <a:pt x="0" y="18574"/>
                  <a:pt x="18574" y="0"/>
                  <a:pt x="41487" y="0"/>
                </a:cubicBezTo>
                <a:lnTo>
                  <a:pt x="360151" y="0"/>
                </a:lnTo>
                <a:lnTo>
                  <a:pt x="360151" y="0"/>
                </a:lnTo>
                <a:lnTo>
                  <a:pt x="900377" y="0"/>
                </a:lnTo>
                <a:lnTo>
                  <a:pt x="2119418" y="0"/>
                </a:lnTo>
                <a:cubicBezTo>
                  <a:pt x="2142331" y="0"/>
                  <a:pt x="2160905" y="18574"/>
                  <a:pt x="2160905" y="41487"/>
                </a:cubicBezTo>
                <a:lnTo>
                  <a:pt x="2160905" y="145203"/>
                </a:lnTo>
                <a:lnTo>
                  <a:pt x="2160905" y="145203"/>
                </a:lnTo>
                <a:lnTo>
                  <a:pt x="2160905" y="207433"/>
                </a:lnTo>
                <a:lnTo>
                  <a:pt x="2160905" y="207433"/>
                </a:lnTo>
                <a:cubicBezTo>
                  <a:pt x="2160905" y="230346"/>
                  <a:pt x="2142331" y="248920"/>
                  <a:pt x="2119418" y="248920"/>
                </a:cubicBezTo>
                <a:lnTo>
                  <a:pt x="900377" y="248920"/>
                </a:lnTo>
                <a:lnTo>
                  <a:pt x="360151" y="248920"/>
                </a:lnTo>
                <a:lnTo>
                  <a:pt x="41487" y="248920"/>
                </a:lnTo>
                <a:cubicBezTo>
                  <a:pt x="18574" y="248920"/>
                  <a:pt x="0" y="230346"/>
                  <a:pt x="0" y="207433"/>
                </a:cubicBezTo>
                <a:lnTo>
                  <a:pt x="0" y="207433"/>
                </a:lnTo>
                <a:lnTo>
                  <a:pt x="0" y="145203"/>
                </a:lnTo>
                <a:lnTo>
                  <a:pt x="0" y="145203"/>
                </a:lnTo>
                <a:lnTo>
                  <a:pt x="0" y="41487"/>
                </a:lnTo>
                <a:close/>
              </a:path>
            </a:pathLst>
          </a:cu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fter</a:t>
            </a:r>
            <a:endParaRPr kumimoji="0" lang="en-IN" sz="1400" b="1" i="0" u="sng"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45" name="Rounded Rectangle 9">
            <a:extLst>
              <a:ext uri="{FF2B5EF4-FFF2-40B4-BE49-F238E27FC236}">
                <a16:creationId xmlns:a16="http://schemas.microsoft.com/office/drawing/2014/main" id="{2037063C-0E99-43FA-AE1D-1ACBAEE61131}"/>
              </a:ext>
            </a:extLst>
          </p:cNvPr>
          <p:cNvSpPr/>
          <p:nvPr/>
        </p:nvSpPr>
        <p:spPr bwMode="auto">
          <a:xfrm>
            <a:off x="6289800" y="1592682"/>
            <a:ext cx="328884" cy="556084"/>
          </a:xfrm>
          <a:prstGeom prst="roundRect">
            <a:avLst/>
          </a:prstGeom>
          <a:noFill/>
          <a:ln w="28575" cap="flat" cmpd="sng" algn="ctr">
            <a:solidFill>
              <a:srgbClr val="FF0000"/>
            </a:solidFill>
            <a:prstDash val="sysDash"/>
            <a:round/>
            <a:headEnd type="none" w="med" len="med"/>
            <a:tailEnd type="triangl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5613" rtl="0" eaLnBrk="0" fontAlgn="base" latinLnBrk="0" hangingPunct="0">
              <a:lnSpc>
                <a:spcPct val="104000"/>
              </a:lnSpc>
              <a:spcBef>
                <a:spcPct val="50000"/>
              </a:spcBef>
              <a:spcAft>
                <a:spcPct val="0"/>
              </a:spcAft>
              <a:buClr>
                <a:srgbClr val="000000"/>
              </a:buClr>
              <a:buSzPct val="100000"/>
              <a:buFont typeface="Times New Roman" pitchFamily="18" charset="0"/>
              <a:buNone/>
              <a:tabLst/>
              <a:defRPr/>
            </a:pPr>
            <a:endParaRPr kumimoji="0" lang="en-IN" sz="1600" b="1" i="0" u="none" strike="noStrike" kern="1200" cap="none" spc="0" normalizeH="0" baseline="0" noProof="0">
              <a:ln>
                <a:noFill/>
              </a:ln>
              <a:solidFill>
                <a:prstClr val="black"/>
              </a:solidFill>
              <a:effectLst/>
              <a:uLnTx/>
              <a:uFillTx/>
              <a:latin typeface="Verdana" pitchFamily="34" charset="0"/>
              <a:ea typeface="+mn-ea"/>
              <a:cs typeface="+mn-cs"/>
            </a:endParaRPr>
          </a:p>
        </p:txBody>
      </p:sp>
      <p:sp>
        <p:nvSpPr>
          <p:cNvPr id="46" name="Rounded Rectangle 9">
            <a:extLst>
              <a:ext uri="{FF2B5EF4-FFF2-40B4-BE49-F238E27FC236}">
                <a16:creationId xmlns:a16="http://schemas.microsoft.com/office/drawing/2014/main" id="{F1B3EE69-DDD4-42A9-988A-3EF6B77D569B}"/>
              </a:ext>
            </a:extLst>
          </p:cNvPr>
          <p:cNvSpPr/>
          <p:nvPr/>
        </p:nvSpPr>
        <p:spPr bwMode="auto">
          <a:xfrm>
            <a:off x="6264265" y="3013010"/>
            <a:ext cx="328884" cy="556084"/>
          </a:xfrm>
          <a:prstGeom prst="roundRect">
            <a:avLst/>
          </a:prstGeom>
          <a:noFill/>
          <a:ln w="28575" cap="flat" cmpd="sng" algn="ctr">
            <a:solidFill>
              <a:srgbClr val="FF0000"/>
            </a:solidFill>
            <a:prstDash val="sysDash"/>
            <a:round/>
            <a:headEnd type="none" w="med" len="med"/>
            <a:tailEnd type="triangl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5613" rtl="0" eaLnBrk="0" fontAlgn="base" latinLnBrk="0" hangingPunct="0">
              <a:lnSpc>
                <a:spcPct val="104000"/>
              </a:lnSpc>
              <a:spcBef>
                <a:spcPct val="50000"/>
              </a:spcBef>
              <a:spcAft>
                <a:spcPct val="0"/>
              </a:spcAft>
              <a:buClr>
                <a:srgbClr val="000000"/>
              </a:buClr>
              <a:buSzPct val="100000"/>
              <a:buFont typeface="Times New Roman" pitchFamily="18" charset="0"/>
              <a:buNone/>
              <a:tabLst/>
              <a:defRPr/>
            </a:pPr>
            <a:endParaRPr kumimoji="0" lang="en-IN" sz="1600" b="1" i="0" u="none" strike="noStrike" kern="1200" cap="none" spc="0" normalizeH="0" baseline="0" noProof="0">
              <a:ln>
                <a:noFill/>
              </a:ln>
              <a:solidFill>
                <a:prstClr val="black"/>
              </a:solidFill>
              <a:effectLst/>
              <a:uLnTx/>
              <a:uFillTx/>
              <a:latin typeface="Verdana" pitchFamily="34" charset="0"/>
              <a:ea typeface="+mn-ea"/>
              <a:cs typeface="+mn-cs"/>
            </a:endParaRPr>
          </a:p>
        </p:txBody>
      </p:sp>
      <p:pic>
        <p:nvPicPr>
          <p:cNvPr id="47" name="Picture 46">
            <a:extLst>
              <a:ext uri="{FF2B5EF4-FFF2-40B4-BE49-F238E27FC236}">
                <a16:creationId xmlns:a16="http://schemas.microsoft.com/office/drawing/2014/main" id="{5E425506-CCA0-4F1F-8CBE-47DCF5ABCE4D}"/>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403410" y="1285084"/>
            <a:ext cx="1621281" cy="951456"/>
          </a:xfrm>
          <a:prstGeom prst="rect">
            <a:avLst/>
          </a:prstGeom>
        </p:spPr>
      </p:pic>
      <p:sp>
        <p:nvSpPr>
          <p:cNvPr id="48" name="Rounded Rectangular Callout 12">
            <a:extLst>
              <a:ext uri="{FF2B5EF4-FFF2-40B4-BE49-F238E27FC236}">
                <a16:creationId xmlns:a16="http://schemas.microsoft.com/office/drawing/2014/main" id="{6B883BA9-BB10-49C9-A4DE-412E03E3A574}"/>
              </a:ext>
            </a:extLst>
          </p:cNvPr>
          <p:cNvSpPr/>
          <p:nvPr/>
        </p:nvSpPr>
        <p:spPr bwMode="auto">
          <a:xfrm>
            <a:off x="7162210" y="988789"/>
            <a:ext cx="2266994" cy="311139"/>
          </a:xfrm>
          <a:custGeom>
            <a:avLst/>
            <a:gdLst>
              <a:gd name="connsiteX0" fmla="*/ 0 w 2160905"/>
              <a:gd name="connsiteY0" fmla="*/ 41487 h 248920"/>
              <a:gd name="connsiteX1" fmla="*/ 41487 w 2160905"/>
              <a:gd name="connsiteY1" fmla="*/ 0 h 248920"/>
              <a:gd name="connsiteX2" fmla="*/ 360151 w 2160905"/>
              <a:gd name="connsiteY2" fmla="*/ 0 h 248920"/>
              <a:gd name="connsiteX3" fmla="*/ 360151 w 2160905"/>
              <a:gd name="connsiteY3" fmla="*/ 0 h 248920"/>
              <a:gd name="connsiteX4" fmla="*/ 900377 w 2160905"/>
              <a:gd name="connsiteY4" fmla="*/ 0 h 248920"/>
              <a:gd name="connsiteX5" fmla="*/ 2119418 w 2160905"/>
              <a:gd name="connsiteY5" fmla="*/ 0 h 248920"/>
              <a:gd name="connsiteX6" fmla="*/ 2160905 w 2160905"/>
              <a:gd name="connsiteY6" fmla="*/ 41487 h 248920"/>
              <a:gd name="connsiteX7" fmla="*/ 2160905 w 2160905"/>
              <a:gd name="connsiteY7" fmla="*/ 145203 h 248920"/>
              <a:gd name="connsiteX8" fmla="*/ 2160905 w 2160905"/>
              <a:gd name="connsiteY8" fmla="*/ 145203 h 248920"/>
              <a:gd name="connsiteX9" fmla="*/ 2160905 w 2160905"/>
              <a:gd name="connsiteY9" fmla="*/ 207433 h 248920"/>
              <a:gd name="connsiteX10" fmla="*/ 2160905 w 2160905"/>
              <a:gd name="connsiteY10" fmla="*/ 207433 h 248920"/>
              <a:gd name="connsiteX11" fmla="*/ 2119418 w 2160905"/>
              <a:gd name="connsiteY11" fmla="*/ 248920 h 248920"/>
              <a:gd name="connsiteX12" fmla="*/ 900377 w 2160905"/>
              <a:gd name="connsiteY12" fmla="*/ 248920 h 248920"/>
              <a:gd name="connsiteX13" fmla="*/ 394387 w 2160905"/>
              <a:gd name="connsiteY13" fmla="*/ 1933526 h 248920"/>
              <a:gd name="connsiteX14" fmla="*/ 360151 w 2160905"/>
              <a:gd name="connsiteY14" fmla="*/ 248920 h 248920"/>
              <a:gd name="connsiteX15" fmla="*/ 41487 w 2160905"/>
              <a:gd name="connsiteY15" fmla="*/ 248920 h 248920"/>
              <a:gd name="connsiteX16" fmla="*/ 0 w 2160905"/>
              <a:gd name="connsiteY16" fmla="*/ 207433 h 248920"/>
              <a:gd name="connsiteX17" fmla="*/ 0 w 2160905"/>
              <a:gd name="connsiteY17" fmla="*/ 207433 h 248920"/>
              <a:gd name="connsiteX18" fmla="*/ 0 w 2160905"/>
              <a:gd name="connsiteY18" fmla="*/ 145203 h 248920"/>
              <a:gd name="connsiteX19" fmla="*/ 0 w 2160905"/>
              <a:gd name="connsiteY19" fmla="*/ 145203 h 248920"/>
              <a:gd name="connsiteX20" fmla="*/ 0 w 2160905"/>
              <a:gd name="connsiteY20" fmla="*/ 41487 h 248920"/>
              <a:gd name="connsiteX0" fmla="*/ 0 w 2160905"/>
              <a:gd name="connsiteY0" fmla="*/ 41487 h 248920"/>
              <a:gd name="connsiteX1" fmla="*/ 41487 w 2160905"/>
              <a:gd name="connsiteY1" fmla="*/ 0 h 248920"/>
              <a:gd name="connsiteX2" fmla="*/ 360151 w 2160905"/>
              <a:gd name="connsiteY2" fmla="*/ 0 h 248920"/>
              <a:gd name="connsiteX3" fmla="*/ 360151 w 2160905"/>
              <a:gd name="connsiteY3" fmla="*/ 0 h 248920"/>
              <a:gd name="connsiteX4" fmla="*/ 900377 w 2160905"/>
              <a:gd name="connsiteY4" fmla="*/ 0 h 248920"/>
              <a:gd name="connsiteX5" fmla="*/ 2119418 w 2160905"/>
              <a:gd name="connsiteY5" fmla="*/ 0 h 248920"/>
              <a:gd name="connsiteX6" fmla="*/ 2160905 w 2160905"/>
              <a:gd name="connsiteY6" fmla="*/ 41487 h 248920"/>
              <a:gd name="connsiteX7" fmla="*/ 2160905 w 2160905"/>
              <a:gd name="connsiteY7" fmla="*/ 145203 h 248920"/>
              <a:gd name="connsiteX8" fmla="*/ 2160905 w 2160905"/>
              <a:gd name="connsiteY8" fmla="*/ 145203 h 248920"/>
              <a:gd name="connsiteX9" fmla="*/ 2160905 w 2160905"/>
              <a:gd name="connsiteY9" fmla="*/ 207433 h 248920"/>
              <a:gd name="connsiteX10" fmla="*/ 2160905 w 2160905"/>
              <a:gd name="connsiteY10" fmla="*/ 207433 h 248920"/>
              <a:gd name="connsiteX11" fmla="*/ 2119418 w 2160905"/>
              <a:gd name="connsiteY11" fmla="*/ 248920 h 248920"/>
              <a:gd name="connsiteX12" fmla="*/ 900377 w 2160905"/>
              <a:gd name="connsiteY12" fmla="*/ 248920 h 248920"/>
              <a:gd name="connsiteX13" fmla="*/ 360151 w 2160905"/>
              <a:gd name="connsiteY13" fmla="*/ 248920 h 248920"/>
              <a:gd name="connsiteX14" fmla="*/ 41487 w 2160905"/>
              <a:gd name="connsiteY14" fmla="*/ 248920 h 248920"/>
              <a:gd name="connsiteX15" fmla="*/ 0 w 2160905"/>
              <a:gd name="connsiteY15" fmla="*/ 207433 h 248920"/>
              <a:gd name="connsiteX16" fmla="*/ 0 w 2160905"/>
              <a:gd name="connsiteY16" fmla="*/ 207433 h 248920"/>
              <a:gd name="connsiteX17" fmla="*/ 0 w 2160905"/>
              <a:gd name="connsiteY17" fmla="*/ 145203 h 248920"/>
              <a:gd name="connsiteX18" fmla="*/ 0 w 2160905"/>
              <a:gd name="connsiteY18" fmla="*/ 145203 h 248920"/>
              <a:gd name="connsiteX19" fmla="*/ 0 w 2160905"/>
              <a:gd name="connsiteY19" fmla="*/ 41487 h 24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60905" h="248920">
                <a:moveTo>
                  <a:pt x="0" y="41487"/>
                </a:moveTo>
                <a:cubicBezTo>
                  <a:pt x="0" y="18574"/>
                  <a:pt x="18574" y="0"/>
                  <a:pt x="41487" y="0"/>
                </a:cubicBezTo>
                <a:lnTo>
                  <a:pt x="360151" y="0"/>
                </a:lnTo>
                <a:lnTo>
                  <a:pt x="360151" y="0"/>
                </a:lnTo>
                <a:lnTo>
                  <a:pt x="900377" y="0"/>
                </a:lnTo>
                <a:lnTo>
                  <a:pt x="2119418" y="0"/>
                </a:lnTo>
                <a:cubicBezTo>
                  <a:pt x="2142331" y="0"/>
                  <a:pt x="2160905" y="18574"/>
                  <a:pt x="2160905" y="41487"/>
                </a:cubicBezTo>
                <a:lnTo>
                  <a:pt x="2160905" y="145203"/>
                </a:lnTo>
                <a:lnTo>
                  <a:pt x="2160905" y="145203"/>
                </a:lnTo>
                <a:lnTo>
                  <a:pt x="2160905" y="207433"/>
                </a:lnTo>
                <a:lnTo>
                  <a:pt x="2160905" y="207433"/>
                </a:lnTo>
                <a:cubicBezTo>
                  <a:pt x="2160905" y="230346"/>
                  <a:pt x="2142331" y="248920"/>
                  <a:pt x="2119418" y="248920"/>
                </a:cubicBezTo>
                <a:lnTo>
                  <a:pt x="900377" y="248920"/>
                </a:lnTo>
                <a:lnTo>
                  <a:pt x="360151" y="248920"/>
                </a:lnTo>
                <a:lnTo>
                  <a:pt x="41487" y="248920"/>
                </a:lnTo>
                <a:cubicBezTo>
                  <a:pt x="18574" y="248920"/>
                  <a:pt x="0" y="230346"/>
                  <a:pt x="0" y="207433"/>
                </a:cubicBezTo>
                <a:lnTo>
                  <a:pt x="0" y="207433"/>
                </a:lnTo>
                <a:lnTo>
                  <a:pt x="0" y="145203"/>
                </a:lnTo>
                <a:lnTo>
                  <a:pt x="0" y="145203"/>
                </a:lnTo>
                <a:lnTo>
                  <a:pt x="0" y="41487"/>
                </a:lnTo>
                <a:close/>
              </a:path>
            </a:pathLst>
          </a:cu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Before</a:t>
            </a:r>
            <a:endParaRPr kumimoji="0" lang="en-IN" sz="1400" b="1" i="0" u="sng"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endParaRPr>
          </a:p>
        </p:txBody>
      </p:sp>
      <p:pic>
        <p:nvPicPr>
          <p:cNvPr id="49" name="Picture 48">
            <a:extLst>
              <a:ext uri="{FF2B5EF4-FFF2-40B4-BE49-F238E27FC236}">
                <a16:creationId xmlns:a16="http://schemas.microsoft.com/office/drawing/2014/main" id="{A9CDFB66-F438-4921-900E-06A84CFB7015}"/>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447541" y="2575700"/>
            <a:ext cx="1696332" cy="993394"/>
          </a:xfrm>
          <a:prstGeom prst="rect">
            <a:avLst/>
          </a:prstGeom>
        </p:spPr>
      </p:pic>
      <p:sp>
        <p:nvSpPr>
          <p:cNvPr id="50" name="Rounded Rectangular Callout 12">
            <a:extLst>
              <a:ext uri="{FF2B5EF4-FFF2-40B4-BE49-F238E27FC236}">
                <a16:creationId xmlns:a16="http://schemas.microsoft.com/office/drawing/2014/main" id="{656FA7BA-0C24-4F2C-924F-0DA6D1AD3A3C}"/>
              </a:ext>
            </a:extLst>
          </p:cNvPr>
          <p:cNvSpPr/>
          <p:nvPr/>
        </p:nvSpPr>
        <p:spPr bwMode="auto">
          <a:xfrm>
            <a:off x="7193974" y="2345229"/>
            <a:ext cx="2266994" cy="311139"/>
          </a:xfrm>
          <a:custGeom>
            <a:avLst/>
            <a:gdLst>
              <a:gd name="connsiteX0" fmla="*/ 0 w 2160905"/>
              <a:gd name="connsiteY0" fmla="*/ 41487 h 248920"/>
              <a:gd name="connsiteX1" fmla="*/ 41487 w 2160905"/>
              <a:gd name="connsiteY1" fmla="*/ 0 h 248920"/>
              <a:gd name="connsiteX2" fmla="*/ 360151 w 2160905"/>
              <a:gd name="connsiteY2" fmla="*/ 0 h 248920"/>
              <a:gd name="connsiteX3" fmla="*/ 360151 w 2160905"/>
              <a:gd name="connsiteY3" fmla="*/ 0 h 248920"/>
              <a:gd name="connsiteX4" fmla="*/ 900377 w 2160905"/>
              <a:gd name="connsiteY4" fmla="*/ 0 h 248920"/>
              <a:gd name="connsiteX5" fmla="*/ 2119418 w 2160905"/>
              <a:gd name="connsiteY5" fmla="*/ 0 h 248920"/>
              <a:gd name="connsiteX6" fmla="*/ 2160905 w 2160905"/>
              <a:gd name="connsiteY6" fmla="*/ 41487 h 248920"/>
              <a:gd name="connsiteX7" fmla="*/ 2160905 w 2160905"/>
              <a:gd name="connsiteY7" fmla="*/ 145203 h 248920"/>
              <a:gd name="connsiteX8" fmla="*/ 2160905 w 2160905"/>
              <a:gd name="connsiteY8" fmla="*/ 145203 h 248920"/>
              <a:gd name="connsiteX9" fmla="*/ 2160905 w 2160905"/>
              <a:gd name="connsiteY9" fmla="*/ 207433 h 248920"/>
              <a:gd name="connsiteX10" fmla="*/ 2160905 w 2160905"/>
              <a:gd name="connsiteY10" fmla="*/ 207433 h 248920"/>
              <a:gd name="connsiteX11" fmla="*/ 2119418 w 2160905"/>
              <a:gd name="connsiteY11" fmla="*/ 248920 h 248920"/>
              <a:gd name="connsiteX12" fmla="*/ 900377 w 2160905"/>
              <a:gd name="connsiteY12" fmla="*/ 248920 h 248920"/>
              <a:gd name="connsiteX13" fmla="*/ 394387 w 2160905"/>
              <a:gd name="connsiteY13" fmla="*/ 1933526 h 248920"/>
              <a:gd name="connsiteX14" fmla="*/ 360151 w 2160905"/>
              <a:gd name="connsiteY14" fmla="*/ 248920 h 248920"/>
              <a:gd name="connsiteX15" fmla="*/ 41487 w 2160905"/>
              <a:gd name="connsiteY15" fmla="*/ 248920 h 248920"/>
              <a:gd name="connsiteX16" fmla="*/ 0 w 2160905"/>
              <a:gd name="connsiteY16" fmla="*/ 207433 h 248920"/>
              <a:gd name="connsiteX17" fmla="*/ 0 w 2160905"/>
              <a:gd name="connsiteY17" fmla="*/ 207433 h 248920"/>
              <a:gd name="connsiteX18" fmla="*/ 0 w 2160905"/>
              <a:gd name="connsiteY18" fmla="*/ 145203 h 248920"/>
              <a:gd name="connsiteX19" fmla="*/ 0 w 2160905"/>
              <a:gd name="connsiteY19" fmla="*/ 145203 h 248920"/>
              <a:gd name="connsiteX20" fmla="*/ 0 w 2160905"/>
              <a:gd name="connsiteY20" fmla="*/ 41487 h 248920"/>
              <a:gd name="connsiteX0" fmla="*/ 0 w 2160905"/>
              <a:gd name="connsiteY0" fmla="*/ 41487 h 248920"/>
              <a:gd name="connsiteX1" fmla="*/ 41487 w 2160905"/>
              <a:gd name="connsiteY1" fmla="*/ 0 h 248920"/>
              <a:gd name="connsiteX2" fmla="*/ 360151 w 2160905"/>
              <a:gd name="connsiteY2" fmla="*/ 0 h 248920"/>
              <a:gd name="connsiteX3" fmla="*/ 360151 w 2160905"/>
              <a:gd name="connsiteY3" fmla="*/ 0 h 248920"/>
              <a:gd name="connsiteX4" fmla="*/ 900377 w 2160905"/>
              <a:gd name="connsiteY4" fmla="*/ 0 h 248920"/>
              <a:gd name="connsiteX5" fmla="*/ 2119418 w 2160905"/>
              <a:gd name="connsiteY5" fmla="*/ 0 h 248920"/>
              <a:gd name="connsiteX6" fmla="*/ 2160905 w 2160905"/>
              <a:gd name="connsiteY6" fmla="*/ 41487 h 248920"/>
              <a:gd name="connsiteX7" fmla="*/ 2160905 w 2160905"/>
              <a:gd name="connsiteY7" fmla="*/ 145203 h 248920"/>
              <a:gd name="connsiteX8" fmla="*/ 2160905 w 2160905"/>
              <a:gd name="connsiteY8" fmla="*/ 145203 h 248920"/>
              <a:gd name="connsiteX9" fmla="*/ 2160905 w 2160905"/>
              <a:gd name="connsiteY9" fmla="*/ 207433 h 248920"/>
              <a:gd name="connsiteX10" fmla="*/ 2160905 w 2160905"/>
              <a:gd name="connsiteY10" fmla="*/ 207433 h 248920"/>
              <a:gd name="connsiteX11" fmla="*/ 2119418 w 2160905"/>
              <a:gd name="connsiteY11" fmla="*/ 248920 h 248920"/>
              <a:gd name="connsiteX12" fmla="*/ 900377 w 2160905"/>
              <a:gd name="connsiteY12" fmla="*/ 248920 h 248920"/>
              <a:gd name="connsiteX13" fmla="*/ 360151 w 2160905"/>
              <a:gd name="connsiteY13" fmla="*/ 248920 h 248920"/>
              <a:gd name="connsiteX14" fmla="*/ 41487 w 2160905"/>
              <a:gd name="connsiteY14" fmla="*/ 248920 h 248920"/>
              <a:gd name="connsiteX15" fmla="*/ 0 w 2160905"/>
              <a:gd name="connsiteY15" fmla="*/ 207433 h 248920"/>
              <a:gd name="connsiteX16" fmla="*/ 0 w 2160905"/>
              <a:gd name="connsiteY16" fmla="*/ 207433 h 248920"/>
              <a:gd name="connsiteX17" fmla="*/ 0 w 2160905"/>
              <a:gd name="connsiteY17" fmla="*/ 145203 h 248920"/>
              <a:gd name="connsiteX18" fmla="*/ 0 w 2160905"/>
              <a:gd name="connsiteY18" fmla="*/ 145203 h 248920"/>
              <a:gd name="connsiteX19" fmla="*/ 0 w 2160905"/>
              <a:gd name="connsiteY19" fmla="*/ 41487 h 24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60905" h="248920">
                <a:moveTo>
                  <a:pt x="0" y="41487"/>
                </a:moveTo>
                <a:cubicBezTo>
                  <a:pt x="0" y="18574"/>
                  <a:pt x="18574" y="0"/>
                  <a:pt x="41487" y="0"/>
                </a:cubicBezTo>
                <a:lnTo>
                  <a:pt x="360151" y="0"/>
                </a:lnTo>
                <a:lnTo>
                  <a:pt x="360151" y="0"/>
                </a:lnTo>
                <a:lnTo>
                  <a:pt x="900377" y="0"/>
                </a:lnTo>
                <a:lnTo>
                  <a:pt x="2119418" y="0"/>
                </a:lnTo>
                <a:cubicBezTo>
                  <a:pt x="2142331" y="0"/>
                  <a:pt x="2160905" y="18574"/>
                  <a:pt x="2160905" y="41487"/>
                </a:cubicBezTo>
                <a:lnTo>
                  <a:pt x="2160905" y="145203"/>
                </a:lnTo>
                <a:lnTo>
                  <a:pt x="2160905" y="145203"/>
                </a:lnTo>
                <a:lnTo>
                  <a:pt x="2160905" y="207433"/>
                </a:lnTo>
                <a:lnTo>
                  <a:pt x="2160905" y="207433"/>
                </a:lnTo>
                <a:cubicBezTo>
                  <a:pt x="2160905" y="230346"/>
                  <a:pt x="2142331" y="248920"/>
                  <a:pt x="2119418" y="248920"/>
                </a:cubicBezTo>
                <a:lnTo>
                  <a:pt x="900377" y="248920"/>
                </a:lnTo>
                <a:lnTo>
                  <a:pt x="360151" y="248920"/>
                </a:lnTo>
                <a:lnTo>
                  <a:pt x="41487" y="248920"/>
                </a:lnTo>
                <a:cubicBezTo>
                  <a:pt x="18574" y="248920"/>
                  <a:pt x="0" y="230346"/>
                  <a:pt x="0" y="207433"/>
                </a:cubicBezTo>
                <a:lnTo>
                  <a:pt x="0" y="207433"/>
                </a:lnTo>
                <a:lnTo>
                  <a:pt x="0" y="145203"/>
                </a:lnTo>
                <a:lnTo>
                  <a:pt x="0" y="145203"/>
                </a:lnTo>
                <a:lnTo>
                  <a:pt x="0" y="41487"/>
                </a:lnTo>
                <a:close/>
              </a:path>
            </a:pathLst>
          </a:cu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After</a:t>
            </a:r>
            <a:endParaRPr kumimoji="0" lang="en-IN" sz="1400" b="1" i="0" u="sng"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endParaRPr>
          </a:p>
        </p:txBody>
      </p:sp>
      <p:sp>
        <p:nvSpPr>
          <p:cNvPr id="51" name="Rounded Rectangle 9">
            <a:extLst>
              <a:ext uri="{FF2B5EF4-FFF2-40B4-BE49-F238E27FC236}">
                <a16:creationId xmlns:a16="http://schemas.microsoft.com/office/drawing/2014/main" id="{7BB1E6E8-C13F-44E1-85B0-9E23E41F76C7}"/>
              </a:ext>
            </a:extLst>
          </p:cNvPr>
          <p:cNvSpPr/>
          <p:nvPr/>
        </p:nvSpPr>
        <p:spPr bwMode="auto">
          <a:xfrm>
            <a:off x="8024733" y="2766686"/>
            <a:ext cx="360200" cy="635258"/>
          </a:xfrm>
          <a:prstGeom prst="roundRect">
            <a:avLst/>
          </a:prstGeom>
          <a:noFill/>
          <a:ln w="28575" cap="flat" cmpd="sng" algn="ctr">
            <a:solidFill>
              <a:srgbClr val="FF0000"/>
            </a:solidFill>
            <a:prstDash val="sysDash"/>
            <a:round/>
            <a:headEnd type="none" w="med" len="med"/>
            <a:tailEnd type="triangl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5613" rtl="0" eaLnBrk="0" fontAlgn="base" latinLnBrk="0" hangingPunct="0">
              <a:lnSpc>
                <a:spcPct val="104000"/>
              </a:lnSpc>
              <a:spcBef>
                <a:spcPct val="50000"/>
              </a:spcBef>
              <a:spcAft>
                <a:spcPct val="0"/>
              </a:spcAft>
              <a:buClr>
                <a:srgbClr val="000000"/>
              </a:buClr>
              <a:buSzPct val="100000"/>
              <a:buFont typeface="Times New Roman" pitchFamily="18" charset="0"/>
              <a:buNone/>
              <a:tabLst/>
              <a:defRPr/>
            </a:pPr>
            <a:endParaRPr kumimoji="0" lang="en-IN" sz="1600" b="1" i="0" u="none" strike="noStrike" kern="1200" cap="none" spc="0" normalizeH="0" baseline="0" noProof="0">
              <a:ln>
                <a:noFill/>
              </a:ln>
              <a:solidFill>
                <a:prstClr val="black"/>
              </a:solidFill>
              <a:effectLst/>
              <a:uLnTx/>
              <a:uFillTx/>
              <a:latin typeface="Verdana" pitchFamily="34" charset="0"/>
              <a:ea typeface="+mn-ea"/>
              <a:cs typeface="+mn-cs"/>
            </a:endParaRPr>
          </a:p>
        </p:txBody>
      </p:sp>
      <p:sp>
        <p:nvSpPr>
          <p:cNvPr id="52" name="Rounded Rectangle 9">
            <a:extLst>
              <a:ext uri="{FF2B5EF4-FFF2-40B4-BE49-F238E27FC236}">
                <a16:creationId xmlns:a16="http://schemas.microsoft.com/office/drawing/2014/main" id="{EE74DE22-DCA1-42A2-B497-6E5A3A617B2F}"/>
              </a:ext>
            </a:extLst>
          </p:cNvPr>
          <p:cNvSpPr/>
          <p:nvPr/>
        </p:nvSpPr>
        <p:spPr bwMode="auto">
          <a:xfrm>
            <a:off x="8016570" y="1474389"/>
            <a:ext cx="360199" cy="635258"/>
          </a:xfrm>
          <a:prstGeom prst="roundRect">
            <a:avLst/>
          </a:prstGeom>
          <a:noFill/>
          <a:ln w="28575" cap="flat" cmpd="sng" algn="ctr">
            <a:solidFill>
              <a:srgbClr val="FF0000"/>
            </a:solidFill>
            <a:prstDash val="sysDash"/>
            <a:round/>
            <a:headEnd type="none" w="med" len="med"/>
            <a:tailEnd type="triangl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5613" rtl="0" eaLnBrk="0" fontAlgn="base" latinLnBrk="0" hangingPunct="0">
              <a:lnSpc>
                <a:spcPct val="104000"/>
              </a:lnSpc>
              <a:spcBef>
                <a:spcPct val="50000"/>
              </a:spcBef>
              <a:spcAft>
                <a:spcPct val="0"/>
              </a:spcAft>
              <a:buClr>
                <a:srgbClr val="000000"/>
              </a:buClr>
              <a:buSzPct val="100000"/>
              <a:buFont typeface="Times New Roman" pitchFamily="18" charset="0"/>
              <a:buNone/>
              <a:tabLst/>
              <a:defRPr/>
            </a:pPr>
            <a:endParaRPr kumimoji="0" lang="en-IN" sz="1600" b="1" i="0" u="none" strike="noStrike" kern="1200" cap="none" spc="0" normalizeH="0" baseline="0" noProof="0">
              <a:ln>
                <a:noFill/>
              </a:ln>
              <a:solidFill>
                <a:prstClr val="black"/>
              </a:solidFill>
              <a:effectLst/>
              <a:uLnTx/>
              <a:uFillTx/>
              <a:latin typeface="Verdana" pitchFamily="34" charset="0"/>
              <a:ea typeface="+mn-ea"/>
              <a:cs typeface="+mn-cs"/>
            </a:endParaRPr>
          </a:p>
        </p:txBody>
      </p:sp>
      <p:sp>
        <p:nvSpPr>
          <p:cNvPr id="53" name="Rectangle 52">
            <a:extLst>
              <a:ext uri="{FF2B5EF4-FFF2-40B4-BE49-F238E27FC236}">
                <a16:creationId xmlns:a16="http://schemas.microsoft.com/office/drawing/2014/main" id="{12519E32-907C-4304-9AB4-30EE3622C3B5}"/>
              </a:ext>
            </a:extLst>
          </p:cNvPr>
          <p:cNvSpPr/>
          <p:nvPr/>
        </p:nvSpPr>
        <p:spPr>
          <a:xfrm>
            <a:off x="4759602" y="906526"/>
            <a:ext cx="4425445" cy="2954642"/>
          </a:xfrm>
          <a:prstGeom prst="rect">
            <a:avLst/>
          </a:prstGeom>
          <a:noFill/>
          <a:ln>
            <a:solidFill>
              <a:schemeClr val="tx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4" name="Straight Connector 53">
            <a:extLst>
              <a:ext uri="{FF2B5EF4-FFF2-40B4-BE49-F238E27FC236}">
                <a16:creationId xmlns:a16="http://schemas.microsoft.com/office/drawing/2014/main" id="{223DEEE1-FA8C-4494-9E69-FC526C612AC3}"/>
              </a:ext>
            </a:extLst>
          </p:cNvPr>
          <p:cNvCxnSpPr>
            <a:cxnSpLocks/>
          </p:cNvCxnSpPr>
          <p:nvPr/>
        </p:nvCxnSpPr>
        <p:spPr>
          <a:xfrm>
            <a:off x="7073923" y="906526"/>
            <a:ext cx="0" cy="29546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Right Brace 54">
            <a:extLst>
              <a:ext uri="{FF2B5EF4-FFF2-40B4-BE49-F238E27FC236}">
                <a16:creationId xmlns:a16="http://schemas.microsoft.com/office/drawing/2014/main" id="{0C5B0C9E-6F32-4E4F-AB06-E26285756F83}"/>
              </a:ext>
            </a:extLst>
          </p:cNvPr>
          <p:cNvSpPr/>
          <p:nvPr/>
        </p:nvSpPr>
        <p:spPr>
          <a:xfrm rot="5400000">
            <a:off x="1279261" y="2151829"/>
            <a:ext cx="170985" cy="2663545"/>
          </a:xfrm>
          <a:prstGeom prst="rightBrace">
            <a:avLst/>
          </a:prstGeom>
          <a:ln w="28575">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6" name="Rectangle 55">
            <a:extLst>
              <a:ext uri="{FF2B5EF4-FFF2-40B4-BE49-F238E27FC236}">
                <a16:creationId xmlns:a16="http://schemas.microsoft.com/office/drawing/2014/main" id="{2A24FA93-4AB1-4506-AE1C-D92E4F4CFC66}"/>
              </a:ext>
            </a:extLst>
          </p:cNvPr>
          <p:cNvSpPr/>
          <p:nvPr/>
        </p:nvSpPr>
        <p:spPr>
          <a:xfrm>
            <a:off x="63064" y="1197574"/>
            <a:ext cx="2637968" cy="2080300"/>
          </a:xfrm>
          <a:prstGeom prst="rect">
            <a:avLst/>
          </a:prstGeom>
          <a:noFill/>
          <a:ln>
            <a:solidFill>
              <a:schemeClr val="tx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TextBox 56">
            <a:extLst>
              <a:ext uri="{FF2B5EF4-FFF2-40B4-BE49-F238E27FC236}">
                <a16:creationId xmlns:a16="http://schemas.microsoft.com/office/drawing/2014/main" id="{CBF912AC-048A-474B-BB56-EE900BDDA088}"/>
              </a:ext>
            </a:extLst>
          </p:cNvPr>
          <p:cNvSpPr txBox="1"/>
          <p:nvPr/>
        </p:nvSpPr>
        <p:spPr>
          <a:xfrm>
            <a:off x="634379" y="3577681"/>
            <a:ext cx="1613604" cy="307777"/>
          </a:xfrm>
          <a:prstGeom prst="rect">
            <a:avLst/>
          </a:prstGeom>
          <a:noFill/>
        </p:spPr>
        <p:txBody>
          <a:bodyPr wrap="square" rtlCol="0">
            <a:spAutoFit/>
          </a:bodyPr>
          <a:lstStyle/>
          <a:p>
            <a:pPr algn="ctr"/>
            <a:r>
              <a:rPr lang="en-US" sz="1400" b="1" dirty="0">
                <a:latin typeface="Century Gothic" panose="020B0502020202020204" pitchFamily="34" charset="0"/>
              </a:rPr>
              <a:t>Front suspension</a:t>
            </a:r>
          </a:p>
        </p:txBody>
      </p:sp>
    </p:spTree>
    <p:extLst>
      <p:ext uri="{BB962C8B-B14F-4D97-AF65-F5344CB8AC3E}">
        <p14:creationId xmlns:p14="http://schemas.microsoft.com/office/powerpoint/2010/main" val="233232991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3"/>
            <a:ext cx="9047744" cy="666786"/>
          </a:xfrm>
          <a:prstGeom prst="rect">
            <a:avLst/>
          </a:prstGeom>
          <a:noFill/>
        </p:spPr>
        <p:txBody>
          <a:bodyPr wrap="square" rtlCol="0">
            <a:spAutoFit/>
          </a:bodyPr>
          <a:lstStyle/>
          <a:p>
            <a:pPr defTabSz="914377"/>
            <a:r>
              <a:rPr lang="en-US" sz="3733" b="1" dirty="0">
                <a:solidFill>
                  <a:srgbClr val="000000"/>
                </a:solidFill>
                <a:latin typeface="Century Gothic" panose="020B0502020202020204" pitchFamily="34" charset="0"/>
              </a:rPr>
              <a:t>SUSPENSION- SPRING DETAILS</a:t>
            </a:r>
          </a:p>
        </p:txBody>
      </p:sp>
      <p:pic>
        <p:nvPicPr>
          <p:cNvPr id="6" name="Picture 5"/>
          <p:cNvPicPr>
            <a:picLocks noChangeAspect="1"/>
          </p:cNvPicPr>
          <p:nvPr/>
        </p:nvPicPr>
        <p:blipFill>
          <a:blip r:embed="rId2"/>
          <a:stretch>
            <a:fillRect/>
          </a:stretch>
        </p:blipFill>
        <p:spPr>
          <a:xfrm>
            <a:off x="363018" y="1155538"/>
            <a:ext cx="10995175" cy="5427998"/>
          </a:xfrm>
          <a:prstGeom prst="rect">
            <a:avLst/>
          </a:prstGeom>
        </p:spPr>
      </p:pic>
    </p:spTree>
    <p:extLst>
      <p:ext uri="{BB962C8B-B14F-4D97-AF65-F5344CB8AC3E}">
        <p14:creationId xmlns:p14="http://schemas.microsoft.com/office/powerpoint/2010/main" val="238901360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Top Corners Snipped 2">
            <a:extLst>
              <a:ext uri="{FF2B5EF4-FFF2-40B4-BE49-F238E27FC236}">
                <a16:creationId xmlns:a16="http://schemas.microsoft.com/office/drawing/2014/main" id="{B04E406E-6F46-4FFB-A4E4-3A9B15EEB267}"/>
              </a:ext>
            </a:extLst>
          </p:cNvPr>
          <p:cNvSpPr/>
          <p:nvPr/>
        </p:nvSpPr>
        <p:spPr>
          <a:xfrm rot="10800000">
            <a:off x="609600" y="0"/>
            <a:ext cx="8756469" cy="786032"/>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sp>
        <p:nvSpPr>
          <p:cNvPr id="145411" name="TextBox 9"/>
          <p:cNvSpPr txBox="1">
            <a:spLocks noChangeArrowheads="1"/>
          </p:cNvSpPr>
          <p:nvPr/>
        </p:nvSpPr>
        <p:spPr bwMode="auto">
          <a:xfrm>
            <a:off x="609600" y="1"/>
            <a:ext cx="352211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24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0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16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9pPr>
          </a:lstStyle>
          <a:p>
            <a:pPr eaLnBrk="1" hangingPunct="1">
              <a:spcBef>
                <a:spcPct val="0"/>
              </a:spcBef>
              <a:buFontTx/>
              <a:buNone/>
            </a:pPr>
            <a:r>
              <a:rPr lang="en-IN" altLang="en-US" sz="3600" b="1" dirty="0">
                <a:latin typeface="Century Gothic" panose="020B0502020202020204" pitchFamily="34" charset="0"/>
              </a:rPr>
              <a:t> BRAKE - TYPES</a:t>
            </a:r>
            <a:r>
              <a:rPr lang="en-US" altLang="en-US" sz="3600" b="1" dirty="0">
                <a:latin typeface="Century Gothic" panose="020B0502020202020204" pitchFamily="34" charset="0"/>
              </a:rPr>
              <a:t> </a:t>
            </a:r>
          </a:p>
        </p:txBody>
      </p:sp>
      <p:pic>
        <p:nvPicPr>
          <p:cNvPr id="11" name="Picture 10">
            <a:hlinkClick r:id="rId3" action="ppaction://hlinkfile"/>
            <a:extLst>
              <a:ext uri="{FF2B5EF4-FFF2-40B4-BE49-F238E27FC236}">
                <a16:creationId xmlns:a16="http://schemas.microsoft.com/office/drawing/2014/main" id="{E10A3DD8-9F4D-4BF4-ACC6-8FBB0EF9FC0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44933" y="1497106"/>
            <a:ext cx="2895600" cy="1581151"/>
          </a:xfrm>
          <a:prstGeom prst="rect">
            <a:avLst/>
          </a:prstGeom>
          <a:effectLst>
            <a:innerShdw blurRad="114300">
              <a:prstClr val="black"/>
            </a:innerShdw>
          </a:effectLst>
        </p:spPr>
        <p:style>
          <a:lnRef idx="2">
            <a:schemeClr val="accent1"/>
          </a:lnRef>
          <a:fillRef idx="1">
            <a:schemeClr val="lt1"/>
          </a:fillRef>
          <a:effectRef idx="0">
            <a:schemeClr val="accent1"/>
          </a:effectRef>
          <a:fontRef idx="minor">
            <a:schemeClr val="dk1"/>
          </a:fontRef>
        </p:style>
      </p:pic>
      <p:pic>
        <p:nvPicPr>
          <p:cNvPr id="145417" name="Picture 2"/>
          <p:cNvPicPr>
            <a:picLocks noChangeAspect="1" noChangeArrowheads="1"/>
          </p:cNvPicPr>
          <p:nvPr/>
        </p:nvPicPr>
        <p:blipFill>
          <a:blip r:embed="rId5">
            <a:extLst>
              <a:ext uri="{28A0092B-C50C-407E-A947-70E740481C1C}">
                <a14:useLocalDpi xmlns:a14="http://schemas.microsoft.com/office/drawing/2010/main" val="0"/>
              </a:ext>
            </a:extLst>
          </a:blip>
          <a:srcRect l="1234" t="17725" r="58168" b="2142"/>
          <a:stretch>
            <a:fillRect/>
          </a:stretch>
        </p:blipFill>
        <p:spPr bwMode="auto">
          <a:xfrm>
            <a:off x="8169365" y="1023283"/>
            <a:ext cx="2101851" cy="2448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p:nvPr/>
        </p:nvGrpSpPr>
        <p:grpSpPr>
          <a:xfrm>
            <a:off x="330662" y="3803090"/>
            <a:ext cx="5403731" cy="2585345"/>
            <a:chOff x="885820" y="3695728"/>
            <a:chExt cx="4634902" cy="1282594"/>
          </a:xfrm>
        </p:grpSpPr>
        <p:sp>
          <p:nvSpPr>
            <p:cNvPr id="15" name="Rectangle 14"/>
            <p:cNvSpPr/>
            <p:nvPr/>
          </p:nvSpPr>
          <p:spPr>
            <a:xfrm>
              <a:off x="1214846" y="3695728"/>
              <a:ext cx="4305876" cy="1282594"/>
            </a:xfrm>
            <a:prstGeom prst="rect">
              <a:avLst/>
            </a:prstGeom>
            <a:solidFill>
              <a:schemeClr val="accent5">
                <a:lumMod val="20000"/>
                <a:lumOff val="80000"/>
              </a:schemeClr>
            </a:solidFill>
            <a:ln>
              <a:solidFill>
                <a:schemeClr val="accent5">
                  <a:lumMod val="5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885820" y="3695728"/>
              <a:ext cx="329025" cy="1282594"/>
            </a:xfrm>
            <a:prstGeom prst="rect">
              <a:avLst/>
            </a:prstGeom>
            <a:solidFill>
              <a:schemeClr val="accent5">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TextBox 16"/>
          <p:cNvSpPr txBox="1"/>
          <p:nvPr/>
        </p:nvSpPr>
        <p:spPr>
          <a:xfrm>
            <a:off x="636482" y="3811508"/>
            <a:ext cx="3188756" cy="369332"/>
          </a:xfrm>
          <a:prstGeom prst="rect">
            <a:avLst/>
          </a:prstGeom>
          <a:noFill/>
        </p:spPr>
        <p:txBody>
          <a:bodyPr wrap="square" rtlCol="0">
            <a:spAutoFit/>
          </a:bodyPr>
          <a:lstStyle/>
          <a:p>
            <a:pPr algn="ctr" defTabSz="1219170">
              <a:defRPr/>
            </a:pPr>
            <a:r>
              <a:rPr lang="en-IN" b="1" dirty="0">
                <a:solidFill>
                  <a:prstClr val="black"/>
                </a:solidFill>
                <a:latin typeface="Century Gothic" panose="020B0502020202020204" pitchFamily="34" charset="0"/>
              </a:rPr>
              <a:t>Anti lock braking system</a:t>
            </a:r>
            <a:endParaRPr lang="en-US" b="1" dirty="0">
              <a:solidFill>
                <a:prstClr val="black"/>
              </a:solidFill>
              <a:latin typeface="Century Gothic" panose="020B0502020202020204" pitchFamily="34" charset="0"/>
            </a:endParaRPr>
          </a:p>
        </p:txBody>
      </p:sp>
      <p:sp>
        <p:nvSpPr>
          <p:cNvPr id="18" name="TextBox 17"/>
          <p:cNvSpPr txBox="1"/>
          <p:nvPr/>
        </p:nvSpPr>
        <p:spPr>
          <a:xfrm>
            <a:off x="734027" y="4257842"/>
            <a:ext cx="4717413" cy="1569660"/>
          </a:xfrm>
          <a:prstGeom prst="rect">
            <a:avLst/>
          </a:prstGeom>
          <a:noFill/>
        </p:spPr>
        <p:txBody>
          <a:bodyPr wrap="square" rtlCol="0">
            <a:spAutoFit/>
          </a:bodyPr>
          <a:lstStyle/>
          <a:p>
            <a:pPr marL="285744" indent="-285744" defTabSz="1219170">
              <a:buFont typeface="Wingdings" panose="05000000000000000000" pitchFamily="2" charset="2"/>
              <a:buChar char="§"/>
              <a:defRPr/>
            </a:pPr>
            <a:r>
              <a:rPr lang="en-US" sz="1600" dirty="0">
                <a:solidFill>
                  <a:prstClr val="black"/>
                </a:solidFill>
                <a:latin typeface="Century Gothic" panose="020B0502020202020204" pitchFamily="34" charset="0"/>
              </a:rPr>
              <a:t>Prevents wheels locking at the time of full braking.</a:t>
            </a:r>
          </a:p>
          <a:p>
            <a:pPr marL="285744" indent="-285744" defTabSz="1219170">
              <a:buFont typeface="Wingdings" panose="05000000000000000000" pitchFamily="2" charset="2"/>
              <a:buChar char="§"/>
              <a:defRPr/>
            </a:pPr>
            <a:r>
              <a:rPr lang="en-US" sz="1600" dirty="0">
                <a:solidFill>
                  <a:prstClr val="black"/>
                </a:solidFill>
                <a:latin typeface="Century Gothic" panose="020B0502020202020204" pitchFamily="34" charset="0"/>
              </a:rPr>
              <a:t>Driver do not loose directional stability.</a:t>
            </a:r>
          </a:p>
          <a:p>
            <a:pPr marL="285744" indent="-285744" defTabSz="1219170">
              <a:buFont typeface="Wingdings" panose="05000000000000000000" pitchFamily="2" charset="2"/>
              <a:buChar char="§"/>
              <a:defRPr/>
            </a:pPr>
            <a:r>
              <a:rPr lang="en-US" sz="1600" dirty="0">
                <a:solidFill>
                  <a:prstClr val="black"/>
                </a:solidFill>
                <a:latin typeface="Century Gothic" panose="020B0502020202020204" pitchFamily="34" charset="0"/>
              </a:rPr>
              <a:t>Vehicle remain steerable while braking.</a:t>
            </a:r>
          </a:p>
          <a:p>
            <a:pPr marL="285744" indent="-285744" defTabSz="1219170">
              <a:buFont typeface="Wingdings" panose="05000000000000000000" pitchFamily="2" charset="2"/>
              <a:buChar char="§"/>
              <a:defRPr/>
            </a:pPr>
            <a:r>
              <a:rPr lang="en-US" sz="1600" dirty="0">
                <a:solidFill>
                  <a:prstClr val="black"/>
                </a:solidFill>
                <a:latin typeface="Century Gothic" panose="020B0502020202020204" pitchFamily="34" charset="0"/>
              </a:rPr>
              <a:t>Prevents skidding.</a:t>
            </a:r>
          </a:p>
          <a:p>
            <a:pPr marL="285744" indent="-285744" defTabSz="1219170">
              <a:buFont typeface="Wingdings" panose="05000000000000000000" pitchFamily="2" charset="2"/>
              <a:buChar char="§"/>
              <a:defRPr/>
            </a:pPr>
            <a:r>
              <a:rPr lang="en-US" sz="1600" dirty="0">
                <a:solidFill>
                  <a:prstClr val="black"/>
                </a:solidFill>
                <a:latin typeface="Century Gothic" panose="020B0502020202020204" pitchFamily="34" charset="0"/>
              </a:rPr>
              <a:t>Reduces braking distance</a:t>
            </a:r>
          </a:p>
        </p:txBody>
      </p:sp>
      <p:grpSp>
        <p:nvGrpSpPr>
          <p:cNvPr id="21" name="Group 20"/>
          <p:cNvGrpSpPr/>
          <p:nvPr/>
        </p:nvGrpSpPr>
        <p:grpSpPr>
          <a:xfrm>
            <a:off x="6496531" y="3789330"/>
            <a:ext cx="5403731" cy="2585345"/>
            <a:chOff x="885820" y="3695728"/>
            <a:chExt cx="4634902" cy="1282594"/>
          </a:xfrm>
        </p:grpSpPr>
        <p:sp>
          <p:nvSpPr>
            <p:cNvPr id="22" name="Rectangle 21"/>
            <p:cNvSpPr/>
            <p:nvPr/>
          </p:nvSpPr>
          <p:spPr>
            <a:xfrm>
              <a:off x="1214846" y="3695728"/>
              <a:ext cx="4305876" cy="1282594"/>
            </a:xfrm>
            <a:prstGeom prst="rect">
              <a:avLst/>
            </a:prstGeom>
            <a:solidFill>
              <a:schemeClr val="accent2">
                <a:lumMod val="20000"/>
                <a:lumOff val="80000"/>
              </a:schemeClr>
            </a:solidFill>
            <a:ln>
              <a:solidFill>
                <a:schemeClr val="accent2">
                  <a:lumMod val="5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885820" y="3695728"/>
              <a:ext cx="329025" cy="1282594"/>
            </a:xfrm>
            <a:prstGeom prst="rect">
              <a:avLst/>
            </a:prstGeom>
            <a:solidFill>
              <a:schemeClr val="accent2">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TextBox 23"/>
          <p:cNvSpPr txBox="1"/>
          <p:nvPr/>
        </p:nvSpPr>
        <p:spPr>
          <a:xfrm>
            <a:off x="6900122" y="3823164"/>
            <a:ext cx="3188756" cy="369332"/>
          </a:xfrm>
          <a:prstGeom prst="rect">
            <a:avLst/>
          </a:prstGeom>
          <a:noFill/>
        </p:spPr>
        <p:txBody>
          <a:bodyPr wrap="square" rtlCol="0">
            <a:spAutoFit/>
          </a:bodyPr>
          <a:lstStyle/>
          <a:p>
            <a:pPr defTabSz="1219170">
              <a:defRPr/>
            </a:pPr>
            <a:r>
              <a:rPr lang="en-IN" b="1" dirty="0">
                <a:solidFill>
                  <a:prstClr val="black"/>
                </a:solidFill>
                <a:latin typeface="Century Gothic" panose="020B0502020202020204" pitchFamily="34" charset="0"/>
              </a:rPr>
              <a:t>Engine braking system</a:t>
            </a:r>
            <a:endParaRPr lang="en-US" b="1" dirty="0">
              <a:solidFill>
                <a:prstClr val="black"/>
              </a:solidFill>
              <a:latin typeface="Century Gothic" panose="020B0502020202020204" pitchFamily="34" charset="0"/>
            </a:endParaRPr>
          </a:p>
        </p:txBody>
      </p:sp>
      <p:sp>
        <p:nvSpPr>
          <p:cNvPr id="25" name="TextBox 24"/>
          <p:cNvSpPr txBox="1"/>
          <p:nvPr/>
        </p:nvSpPr>
        <p:spPr>
          <a:xfrm>
            <a:off x="6900122" y="4192496"/>
            <a:ext cx="4962183" cy="2062103"/>
          </a:xfrm>
          <a:prstGeom prst="rect">
            <a:avLst/>
          </a:prstGeom>
          <a:noFill/>
        </p:spPr>
        <p:txBody>
          <a:bodyPr wrap="square" rtlCol="0">
            <a:spAutoFit/>
          </a:bodyPr>
          <a:lstStyle/>
          <a:p>
            <a:pPr marL="285750" indent="-285750" algn="just" defTabSz="1219170">
              <a:buFont typeface="Wingdings" panose="05000000000000000000" pitchFamily="2" charset="2"/>
              <a:buChar char="§"/>
              <a:defRPr/>
            </a:pPr>
            <a:r>
              <a:rPr lang="en-US" sz="1600" dirty="0">
                <a:solidFill>
                  <a:prstClr val="black"/>
                </a:solidFill>
                <a:latin typeface="Century Gothic" panose="020B0502020202020204" pitchFamily="34" charset="0"/>
              </a:rPr>
              <a:t>Engine brake is designed as a device for slowing down a vehicle &amp; not stopping it. It is to be used in conjunction with service brakes but not as a substitute.</a:t>
            </a:r>
          </a:p>
          <a:p>
            <a:pPr marL="285750" indent="-285750" algn="just" defTabSz="1219170">
              <a:buFont typeface="Wingdings" panose="05000000000000000000" pitchFamily="2" charset="2"/>
              <a:buChar char="§"/>
              <a:defRPr/>
            </a:pPr>
            <a:r>
              <a:rPr lang="en-US" sz="1600" dirty="0">
                <a:solidFill>
                  <a:prstClr val="black"/>
                </a:solidFill>
                <a:latin typeface="Century Gothic" panose="020B0502020202020204" pitchFamily="34" charset="0"/>
              </a:rPr>
              <a:t>Less wear on service brake.</a:t>
            </a:r>
          </a:p>
          <a:p>
            <a:pPr marL="285750" indent="-285750" algn="just" defTabSz="1219170">
              <a:buFont typeface="Wingdings" panose="05000000000000000000" pitchFamily="2" charset="2"/>
              <a:buChar char="§"/>
              <a:defRPr/>
            </a:pPr>
            <a:r>
              <a:rPr lang="en-US" sz="1600" dirty="0">
                <a:solidFill>
                  <a:prstClr val="black"/>
                </a:solidFill>
                <a:latin typeface="Century Gothic" panose="020B0502020202020204" pitchFamily="34" charset="0"/>
              </a:rPr>
              <a:t>Reduced maintenance &amp; downtime cost.</a:t>
            </a:r>
          </a:p>
          <a:p>
            <a:pPr marL="285750" indent="-285750" algn="just" defTabSz="1219170">
              <a:buFont typeface="Wingdings" panose="05000000000000000000" pitchFamily="2" charset="2"/>
              <a:buChar char="§"/>
              <a:defRPr/>
            </a:pPr>
            <a:r>
              <a:rPr lang="en-US" sz="1600" dirty="0">
                <a:solidFill>
                  <a:prstClr val="black"/>
                </a:solidFill>
                <a:latin typeface="Century Gothic" panose="020B0502020202020204" pitchFamily="34" charset="0"/>
              </a:rPr>
              <a:t>Higher descending speed on hills – faster TAT.</a:t>
            </a:r>
          </a:p>
          <a:p>
            <a:pPr marL="285750" indent="-285750" algn="just" defTabSz="1219170">
              <a:buFont typeface="Wingdings" panose="05000000000000000000" pitchFamily="2" charset="2"/>
              <a:buChar char="§"/>
              <a:defRPr/>
            </a:pPr>
            <a:endParaRPr lang="en-US" sz="1600" dirty="0">
              <a:solidFill>
                <a:prstClr val="black"/>
              </a:solidFill>
              <a:latin typeface="Century Gothic" panose="020B0502020202020204" pitchFamily="34" charset="0"/>
            </a:endParaRPr>
          </a:p>
        </p:txBody>
      </p:sp>
    </p:spTree>
    <p:extLst>
      <p:ext uri="{BB962C8B-B14F-4D97-AF65-F5344CB8AC3E}">
        <p14:creationId xmlns:p14="http://schemas.microsoft.com/office/powerpoint/2010/main" val="1415814960"/>
      </p:ext>
    </p:extLst>
  </p:cSld>
  <p:clrMapOvr>
    <a:masterClrMapping/>
  </p:clrMapOvr>
  <p:transition spd="slow"/>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5" y="124413"/>
            <a:ext cx="8058609" cy="666786"/>
          </a:xfrm>
          <a:prstGeom prst="rect">
            <a:avLst/>
          </a:prstGeom>
          <a:noFill/>
        </p:spPr>
        <p:txBody>
          <a:bodyPr wrap="square" rtlCol="0">
            <a:spAutoFit/>
          </a:bodyPr>
          <a:lstStyle/>
          <a:p>
            <a:pPr defTabSz="1219170"/>
            <a:r>
              <a:rPr lang="en-US" sz="3600" b="1" dirty="0">
                <a:solidFill>
                  <a:srgbClr val="000000"/>
                </a:solidFill>
                <a:latin typeface="Century Gothic" panose="020B0502020202020204" pitchFamily="34" charset="0"/>
              </a:rPr>
              <a:t>ECU CONTOLLED EXHAUST BRAKE</a:t>
            </a:r>
            <a:endParaRPr lang="en-US" sz="3600" b="1" dirty="0">
              <a:solidFill>
                <a:prstClr val="black"/>
              </a:solidFill>
              <a:latin typeface="Century Gothic" panose="020B0502020202020204" pitchFamily="34" charset="0"/>
            </a:endParaRPr>
          </a:p>
        </p:txBody>
      </p:sp>
      <p:sp>
        <p:nvSpPr>
          <p:cNvPr id="38" name="Rectangle 37"/>
          <p:cNvSpPr/>
          <p:nvPr/>
        </p:nvSpPr>
        <p:spPr>
          <a:xfrm>
            <a:off x="282032" y="885925"/>
            <a:ext cx="11710414" cy="8713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914377">
              <a:lnSpc>
                <a:spcPct val="150000"/>
              </a:lnSpc>
            </a:pPr>
            <a:r>
              <a:rPr lang="en-US" sz="1600" dirty="0">
                <a:solidFill>
                  <a:srgbClr val="000000"/>
                </a:solidFill>
                <a:latin typeface="Century Gothic" panose="020B0502020202020204" pitchFamily="34" charset="0"/>
                <a:cs typeface="Arial" pitchFamily="34" charset="0"/>
              </a:rPr>
              <a:t>When exhaust brake is applied, the exhaust gas out flow from engine is throttled by means of a butterfly or slide valve consequent to which engine decelerates the vehicle</a:t>
            </a:r>
          </a:p>
        </p:txBody>
      </p:sp>
      <p:grpSp>
        <p:nvGrpSpPr>
          <p:cNvPr id="2" name="Group 1"/>
          <p:cNvGrpSpPr/>
          <p:nvPr/>
        </p:nvGrpSpPr>
        <p:grpSpPr>
          <a:xfrm>
            <a:off x="8247346" y="5310824"/>
            <a:ext cx="2351089" cy="1432873"/>
            <a:chOff x="304800" y="3210367"/>
            <a:chExt cx="5181600" cy="3352800"/>
          </a:xfrm>
        </p:grpSpPr>
        <p:pic>
          <p:nvPicPr>
            <p:cNvPr id="12" name="Picture 5"/>
            <p:cNvPicPr preferRelativeResize="0">
              <a:picLocks noChangeArrowheads="1"/>
            </p:cNvPicPr>
            <p:nvPr/>
          </p:nvPicPr>
          <p:blipFill>
            <a:blip r:embed="rId3"/>
            <a:srcRect/>
            <a:stretch>
              <a:fillRect/>
            </a:stretch>
          </p:blipFill>
          <p:spPr bwMode="auto">
            <a:xfrm>
              <a:off x="304800" y="3210367"/>
              <a:ext cx="5181600" cy="3352800"/>
            </a:xfrm>
            <a:prstGeom prst="rect">
              <a:avLst/>
            </a:prstGeom>
            <a:noFill/>
          </p:spPr>
        </p:pic>
        <p:sp>
          <p:nvSpPr>
            <p:cNvPr id="13" name="AutoShape 2"/>
            <p:cNvSpPr>
              <a:spLocks noChangeArrowheads="1"/>
            </p:cNvSpPr>
            <p:nvPr/>
          </p:nvSpPr>
          <p:spPr bwMode="auto">
            <a:xfrm>
              <a:off x="1711767" y="4473840"/>
              <a:ext cx="1373880" cy="1221227"/>
            </a:xfrm>
            <a:prstGeom prst="roundRect">
              <a:avLst>
                <a:gd name="adj" fmla="val 16667"/>
              </a:avLst>
            </a:prstGeom>
            <a:noFill/>
            <a:ln w="57150">
              <a:solidFill>
                <a:srgbClr val="FFFF00"/>
              </a:solidFill>
              <a:round/>
              <a:headEnd/>
              <a:tailEnd/>
            </a:ln>
          </p:spPr>
          <p:txBody>
            <a:bodyPr vert="horz" wrap="square" lIns="91440" tIns="45720" rIns="91440" bIns="45720" numCol="1" anchor="t" anchorCtr="0" compatLnSpc="1">
              <a:prstTxWarp prst="textNoShape">
                <a:avLst/>
              </a:prstTxWarp>
            </a:bodyPr>
            <a:lstStyle/>
            <a:p>
              <a:pPr defTabSz="914377"/>
              <a:endParaRPr lang="en-US">
                <a:solidFill>
                  <a:srgbClr val="000000"/>
                </a:solidFill>
                <a:latin typeface="Arial"/>
              </a:endParaRPr>
            </a:p>
          </p:txBody>
        </p:sp>
      </p:grpSp>
      <p:pic>
        <p:nvPicPr>
          <p:cNvPr id="21" name="Picture 20"/>
          <p:cNvPicPr>
            <a:picLocks noChangeAspect="1"/>
          </p:cNvPicPr>
          <p:nvPr/>
        </p:nvPicPr>
        <p:blipFill>
          <a:blip r:embed="rId4"/>
          <a:stretch>
            <a:fillRect/>
          </a:stretch>
        </p:blipFill>
        <p:spPr>
          <a:xfrm>
            <a:off x="8229600" y="3633658"/>
            <a:ext cx="2368835" cy="1525257"/>
          </a:xfrm>
          <a:prstGeom prst="rect">
            <a:avLst/>
          </a:prstGeom>
        </p:spPr>
      </p:pic>
      <p:sp>
        <p:nvSpPr>
          <p:cNvPr id="19" name="TextBox 18"/>
          <p:cNvSpPr txBox="1"/>
          <p:nvPr/>
        </p:nvSpPr>
        <p:spPr>
          <a:xfrm>
            <a:off x="9197431" y="1946688"/>
            <a:ext cx="2779438" cy="307777"/>
          </a:xfrm>
          <a:prstGeom prst="rect">
            <a:avLst/>
          </a:prstGeom>
          <a:noFill/>
        </p:spPr>
        <p:txBody>
          <a:bodyPr wrap="square" rtlCol="0">
            <a:spAutoFit/>
          </a:bodyPr>
          <a:lstStyle/>
          <a:p>
            <a:r>
              <a:rPr lang="en-US" sz="1400" b="1" dirty="0">
                <a:latin typeface="Century Gothic" panose="020B0502020202020204" pitchFamily="34" charset="0"/>
              </a:rPr>
              <a:t>Exhaust brake tell tale</a:t>
            </a:r>
          </a:p>
        </p:txBody>
      </p:sp>
      <p:pic>
        <p:nvPicPr>
          <p:cNvPr id="23" name="Picture 22"/>
          <p:cNvPicPr>
            <a:picLocks noChangeAspect="1"/>
          </p:cNvPicPr>
          <p:nvPr/>
        </p:nvPicPr>
        <p:blipFill>
          <a:blip r:embed="rId5"/>
          <a:stretch>
            <a:fillRect/>
          </a:stretch>
        </p:blipFill>
        <p:spPr>
          <a:xfrm>
            <a:off x="8447002" y="2694400"/>
            <a:ext cx="481455" cy="888959"/>
          </a:xfrm>
          <a:prstGeom prst="rect">
            <a:avLst/>
          </a:prstGeom>
        </p:spPr>
      </p:pic>
      <p:sp>
        <p:nvSpPr>
          <p:cNvPr id="24" name="TextBox 23"/>
          <p:cNvSpPr txBox="1"/>
          <p:nvPr/>
        </p:nvSpPr>
        <p:spPr>
          <a:xfrm>
            <a:off x="9218331" y="3020084"/>
            <a:ext cx="1989599" cy="523220"/>
          </a:xfrm>
          <a:prstGeom prst="rect">
            <a:avLst/>
          </a:prstGeom>
          <a:noFill/>
        </p:spPr>
        <p:txBody>
          <a:bodyPr wrap="square" rtlCol="0">
            <a:spAutoFit/>
          </a:bodyPr>
          <a:lstStyle/>
          <a:p>
            <a:r>
              <a:rPr lang="en-US" sz="1400" b="1" dirty="0">
                <a:latin typeface="Century Gothic" panose="020B0502020202020204" pitchFamily="34" charset="0"/>
              </a:rPr>
              <a:t>Exhaust brake downhill switch</a:t>
            </a:r>
          </a:p>
        </p:txBody>
      </p:sp>
      <p:pic>
        <p:nvPicPr>
          <p:cNvPr id="3" name="Picture 2"/>
          <p:cNvPicPr>
            <a:picLocks noChangeAspect="1"/>
          </p:cNvPicPr>
          <p:nvPr/>
        </p:nvPicPr>
        <p:blipFill>
          <a:blip r:embed="rId6"/>
          <a:stretch>
            <a:fillRect/>
          </a:stretch>
        </p:blipFill>
        <p:spPr>
          <a:xfrm>
            <a:off x="282032" y="1720248"/>
            <a:ext cx="7752424" cy="2773041"/>
          </a:xfrm>
          <a:prstGeom prst="rect">
            <a:avLst/>
          </a:prstGeom>
        </p:spPr>
      </p:pic>
      <p:pic>
        <p:nvPicPr>
          <p:cNvPr id="6" name="Picture 5"/>
          <p:cNvPicPr>
            <a:picLocks noChangeAspect="1"/>
          </p:cNvPicPr>
          <p:nvPr/>
        </p:nvPicPr>
        <p:blipFill>
          <a:blip r:embed="rId7"/>
          <a:stretch>
            <a:fillRect/>
          </a:stretch>
        </p:blipFill>
        <p:spPr>
          <a:xfrm>
            <a:off x="282032" y="4798696"/>
            <a:ext cx="7735190" cy="2014587"/>
          </a:xfrm>
          <a:prstGeom prst="rect">
            <a:avLst/>
          </a:prstGeom>
        </p:spPr>
      </p:pic>
      <p:sp>
        <p:nvSpPr>
          <p:cNvPr id="7" name="TextBox 6"/>
          <p:cNvSpPr txBox="1"/>
          <p:nvPr/>
        </p:nvSpPr>
        <p:spPr>
          <a:xfrm>
            <a:off x="282032" y="4480436"/>
            <a:ext cx="1194558" cy="338554"/>
          </a:xfrm>
          <a:prstGeom prst="rect">
            <a:avLst/>
          </a:prstGeom>
          <a:noFill/>
        </p:spPr>
        <p:txBody>
          <a:bodyPr wrap="none" rtlCol="0">
            <a:spAutoFit/>
          </a:bodyPr>
          <a:lstStyle/>
          <a:p>
            <a:r>
              <a:rPr lang="en-US" sz="1600" b="1" dirty="0">
                <a:latin typeface="Century Gothic" panose="020B0502020202020204" pitchFamily="34" charset="0"/>
              </a:rPr>
              <a:t>ICV trucks</a:t>
            </a:r>
          </a:p>
        </p:txBody>
      </p:sp>
      <p:pic>
        <p:nvPicPr>
          <p:cNvPr id="9" name="Picture 8"/>
          <p:cNvPicPr>
            <a:picLocks noChangeAspect="1"/>
          </p:cNvPicPr>
          <p:nvPr/>
        </p:nvPicPr>
        <p:blipFill>
          <a:blip r:embed="rId8"/>
          <a:stretch>
            <a:fillRect/>
          </a:stretch>
        </p:blipFill>
        <p:spPr>
          <a:xfrm>
            <a:off x="8348380" y="1807542"/>
            <a:ext cx="622263" cy="671296"/>
          </a:xfrm>
          <a:prstGeom prst="rect">
            <a:avLst/>
          </a:prstGeom>
        </p:spPr>
      </p:pic>
    </p:spTree>
    <p:extLst>
      <p:ext uri="{BB962C8B-B14F-4D97-AF65-F5344CB8AC3E}">
        <p14:creationId xmlns:p14="http://schemas.microsoft.com/office/powerpoint/2010/main" val="4874813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3" y="-5"/>
            <a:ext cx="97940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p:cNvSpPr txBox="1"/>
          <p:nvPr/>
        </p:nvSpPr>
        <p:spPr>
          <a:xfrm>
            <a:off x="1121467" y="124414"/>
            <a:ext cx="10464800" cy="50276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TRUCK BASICS: CENTRAL MOTOR VEHICLES RULES (CMVR)</a:t>
            </a:r>
          </a:p>
        </p:txBody>
      </p:sp>
      <p:sp>
        <p:nvSpPr>
          <p:cNvPr id="55" name="Rectangle 4"/>
          <p:cNvSpPr>
            <a:spLocks noChangeArrowheads="1"/>
          </p:cNvSpPr>
          <p:nvPr>
            <p:custDataLst>
              <p:tags r:id="rId1"/>
            </p:custDataLst>
          </p:nvPr>
        </p:nvSpPr>
        <p:spPr bwMode="gray">
          <a:xfrm>
            <a:off x="532230" y="1161967"/>
            <a:ext cx="11040231" cy="242888"/>
          </a:xfrm>
          <a:prstGeom prst="rect">
            <a:avLst/>
          </a:prstGeom>
          <a:solidFill>
            <a:srgbClr val="E7E9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2791"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000000"/>
                </a:solidFill>
                <a:effectLst/>
                <a:uLnTx/>
                <a:uFillTx/>
                <a:latin typeface="Century Gothic" panose="020B0502020202020204" pitchFamily="34" charset="0"/>
                <a:ea typeface="+mn-ea"/>
                <a:cs typeface="Calibri" pitchFamily="34" charset="0"/>
              </a:rPr>
              <a:t>Maximum Limits for a truck Length, Height, Width and Rear Overhang</a:t>
            </a:r>
          </a:p>
        </p:txBody>
      </p:sp>
      <p:sp>
        <p:nvSpPr>
          <p:cNvPr id="56" name="Rectangle 6"/>
          <p:cNvSpPr>
            <a:spLocks noChangeArrowheads="1"/>
          </p:cNvSpPr>
          <p:nvPr/>
        </p:nvSpPr>
        <p:spPr bwMode="auto">
          <a:xfrm>
            <a:off x="203200" y="1131100"/>
            <a:ext cx="11785600" cy="2870200"/>
          </a:xfrm>
          <a:prstGeom prst="rect">
            <a:avLst/>
          </a:prstGeom>
          <a:noFill/>
          <a:ln w="12700">
            <a:solidFill>
              <a:srgbClr val="808080"/>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57" name="Rectangle 28"/>
          <p:cNvSpPr>
            <a:spLocks noChangeArrowheads="1"/>
          </p:cNvSpPr>
          <p:nvPr/>
        </p:nvSpPr>
        <p:spPr bwMode="auto">
          <a:xfrm>
            <a:off x="1082884" y="3732864"/>
            <a:ext cx="4935539"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Tractor Trailers (Regular) Max OAL </a:t>
            </a:r>
            <a:r>
              <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sym typeface="Wingdings" pitchFamily="2" charset="2"/>
              </a:rPr>
              <a:t> 16 </a:t>
            </a:r>
            <a:r>
              <a:rPr kumimoji="0" lang="en-US" sz="1200" b="0" i="0" u="none" strike="noStrike" kern="1200" cap="none" spc="0" normalizeH="0" baseline="0" noProof="0" dirty="0" err="1">
                <a:ln>
                  <a:noFill/>
                </a:ln>
                <a:solidFill>
                  <a:srgbClr val="000000"/>
                </a:solidFill>
                <a:effectLst/>
                <a:uLnTx/>
                <a:uFillTx/>
                <a:latin typeface="Century Gothic" panose="020B0502020202020204" pitchFamily="34" charset="0"/>
                <a:ea typeface="+mn-ea"/>
                <a:cs typeface="Calibri" pitchFamily="34" charset="0"/>
                <a:sym typeface="Wingdings" pitchFamily="2" charset="2"/>
              </a:rPr>
              <a:t>Mts</a:t>
            </a:r>
            <a:r>
              <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sym typeface="Wingdings" pitchFamily="2" charset="2"/>
              </a:rPr>
              <a:t>:  TT’s  ( ODC Dimensional Cargo)  18 </a:t>
            </a:r>
            <a:r>
              <a:rPr kumimoji="0" lang="en-US" sz="1200" b="0" i="0" u="none" strike="noStrike" kern="1200" cap="none" spc="0" normalizeH="0" baseline="0" noProof="0" dirty="0" err="1">
                <a:ln>
                  <a:noFill/>
                </a:ln>
                <a:solidFill>
                  <a:srgbClr val="000000"/>
                </a:solidFill>
                <a:effectLst/>
                <a:uLnTx/>
                <a:uFillTx/>
                <a:latin typeface="Century Gothic" panose="020B0502020202020204" pitchFamily="34" charset="0"/>
                <a:ea typeface="+mn-ea"/>
                <a:cs typeface="Calibri" pitchFamily="34" charset="0"/>
                <a:sym typeface="Wingdings" pitchFamily="2" charset="2"/>
              </a:rPr>
              <a:t>Mts</a:t>
            </a:r>
            <a:r>
              <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sym typeface="Wingdings" pitchFamily="2" charset="2"/>
              </a:rPr>
              <a:t> </a:t>
            </a:r>
            <a:r>
              <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 </a:t>
            </a:r>
          </a:p>
        </p:txBody>
      </p:sp>
      <p:grpSp>
        <p:nvGrpSpPr>
          <p:cNvPr id="58" name="Group 57"/>
          <p:cNvGrpSpPr/>
          <p:nvPr/>
        </p:nvGrpSpPr>
        <p:grpSpPr>
          <a:xfrm>
            <a:off x="689825" y="1489508"/>
            <a:ext cx="3658960" cy="2105393"/>
            <a:chOff x="779066" y="1209673"/>
            <a:chExt cx="3798094" cy="2527301"/>
          </a:xfrm>
        </p:grpSpPr>
        <p:sp>
          <p:nvSpPr>
            <p:cNvPr id="59" name="Rectangle 7"/>
            <p:cNvSpPr>
              <a:spLocks noChangeArrowheads="1"/>
            </p:cNvSpPr>
            <p:nvPr/>
          </p:nvSpPr>
          <p:spPr bwMode="auto">
            <a:xfrm>
              <a:off x="2353469" y="3508373"/>
              <a:ext cx="1447800" cy="228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OAL: </a:t>
              </a:r>
              <a:r>
                <a:rPr kumimoji="0" lang="en-US" sz="10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Overall Length</a:t>
              </a:r>
              <a:r>
                <a:rPr kumimoji="0" lang="en-US" sz="10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sym typeface="Wingdings" pitchFamily="2" charset="2"/>
                </a:rPr>
                <a:t>Max.12 </a:t>
              </a:r>
              <a:r>
                <a:rPr kumimoji="0" lang="en-US" sz="1200" b="1" i="0" u="none" strike="noStrike" kern="1200" cap="none" spc="0" normalizeH="0" baseline="0" noProof="0" dirty="0" err="1">
                  <a:ln>
                    <a:noFill/>
                  </a:ln>
                  <a:solidFill>
                    <a:srgbClr val="000000"/>
                  </a:solidFill>
                  <a:effectLst/>
                  <a:uLnTx/>
                  <a:uFillTx/>
                  <a:latin typeface="Calibri" pitchFamily="34" charset="0"/>
                  <a:ea typeface="+mn-ea"/>
                  <a:cs typeface="Calibri" pitchFamily="34" charset="0"/>
                  <a:sym typeface="Wingdings" pitchFamily="2" charset="2"/>
                </a:rPr>
                <a:t>Mts</a:t>
              </a:r>
              <a:r>
                <a:rPr kumimoji="0" lang="en-US" sz="12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sym typeface="Wingdings" pitchFamily="2" charset="2"/>
                </a:rPr>
                <a:t> (39.4 Ft)</a:t>
              </a:r>
              <a:r>
                <a:rPr kumimoji="0" lang="en-US" sz="10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 </a:t>
              </a:r>
            </a:p>
          </p:txBody>
        </p:sp>
        <p:grpSp>
          <p:nvGrpSpPr>
            <p:cNvPr id="60" name="Group 59"/>
            <p:cNvGrpSpPr/>
            <p:nvPr/>
          </p:nvGrpSpPr>
          <p:grpSpPr>
            <a:xfrm>
              <a:off x="779066" y="1209673"/>
              <a:ext cx="3798094" cy="2336800"/>
              <a:chOff x="779066" y="1358900"/>
              <a:chExt cx="3798094" cy="2336800"/>
            </a:xfrm>
          </p:grpSpPr>
          <p:pic>
            <p:nvPicPr>
              <p:cNvPr id="61"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9066" y="1358900"/>
                <a:ext cx="3798094" cy="2095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2" name="Line 13"/>
              <p:cNvSpPr>
                <a:spLocks noChangeShapeType="1"/>
              </p:cNvSpPr>
              <p:nvPr/>
            </p:nvSpPr>
            <p:spPr bwMode="auto">
              <a:xfrm flipV="1">
                <a:off x="3886200" y="2378073"/>
                <a:ext cx="556180" cy="0"/>
              </a:xfrm>
              <a:prstGeom prst="line">
                <a:avLst/>
              </a:prstGeom>
              <a:noFill/>
              <a:ln w="19050">
                <a:solidFill>
                  <a:srgbClr val="969696"/>
                </a:solidFill>
                <a:round/>
                <a:headEnd type="triangle" w="sm" len="med"/>
                <a:tailEnd type="triangle" w="sm" len="med"/>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63" name="Line 15"/>
              <p:cNvSpPr>
                <a:spLocks noChangeShapeType="1"/>
              </p:cNvSpPr>
              <p:nvPr/>
            </p:nvSpPr>
            <p:spPr bwMode="auto">
              <a:xfrm flipV="1">
                <a:off x="1905001" y="3365500"/>
                <a:ext cx="1981200" cy="0"/>
              </a:xfrm>
              <a:prstGeom prst="line">
                <a:avLst/>
              </a:prstGeom>
              <a:noFill/>
              <a:ln w="12700">
                <a:solidFill>
                  <a:srgbClr val="969696"/>
                </a:solidFill>
                <a:prstDash val="dash"/>
                <a:round/>
                <a:headEnd type="triangle" w="sm" len="sm"/>
                <a:tailEnd type="triangl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cxnSp>
            <p:nvCxnSpPr>
              <p:cNvPr id="64" name="Straight Connector 63"/>
              <p:cNvCxnSpPr/>
              <p:nvPr/>
            </p:nvCxnSpPr>
            <p:spPr bwMode="auto">
              <a:xfrm>
                <a:off x="1005840" y="1828800"/>
                <a:ext cx="0" cy="182880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5" name="Straight Connector 64"/>
              <p:cNvCxnSpPr/>
              <p:nvPr/>
            </p:nvCxnSpPr>
            <p:spPr bwMode="auto">
              <a:xfrm flipH="1">
                <a:off x="4438026" y="2262414"/>
                <a:ext cx="4354" cy="143328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6" name="Straight Connector 65"/>
              <p:cNvCxnSpPr/>
              <p:nvPr/>
            </p:nvCxnSpPr>
            <p:spPr bwMode="auto">
              <a:xfrm>
                <a:off x="3886200" y="2334079"/>
                <a:ext cx="0" cy="1018721"/>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7" name="Straight Connector 66"/>
              <p:cNvCxnSpPr/>
              <p:nvPr/>
            </p:nvCxnSpPr>
            <p:spPr bwMode="auto">
              <a:xfrm>
                <a:off x="1905000" y="2486478"/>
                <a:ext cx="0" cy="879022"/>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68" name="TextBox 67"/>
              <p:cNvSpPr txBox="1"/>
              <p:nvPr/>
            </p:nvSpPr>
            <p:spPr>
              <a:xfrm>
                <a:off x="2678113" y="3124201"/>
                <a:ext cx="399256" cy="29556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WB</a:t>
                </a:r>
              </a:p>
            </p:txBody>
          </p:sp>
          <p:sp>
            <p:nvSpPr>
              <p:cNvPr id="69" name="Line 15"/>
              <p:cNvSpPr>
                <a:spLocks noChangeShapeType="1"/>
              </p:cNvSpPr>
              <p:nvPr/>
            </p:nvSpPr>
            <p:spPr bwMode="auto">
              <a:xfrm>
                <a:off x="1005840" y="3581400"/>
                <a:ext cx="3436540" cy="0"/>
              </a:xfrm>
              <a:prstGeom prst="line">
                <a:avLst/>
              </a:prstGeom>
              <a:noFill/>
              <a:ln w="12700">
                <a:solidFill>
                  <a:srgbClr val="969696"/>
                </a:solidFill>
                <a:prstDash val="dash"/>
                <a:round/>
                <a:headEnd type="triangle" w="sm" len="sm"/>
                <a:tailEnd type="triangl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grpSp>
      <p:sp>
        <p:nvSpPr>
          <p:cNvPr id="70" name="Line 15"/>
          <p:cNvSpPr>
            <a:spLocks noChangeShapeType="1"/>
          </p:cNvSpPr>
          <p:nvPr/>
        </p:nvSpPr>
        <p:spPr bwMode="auto">
          <a:xfrm flipV="1">
            <a:off x="3387755" y="3158319"/>
            <a:ext cx="1908624" cy="0"/>
          </a:xfrm>
          <a:prstGeom prst="line">
            <a:avLst/>
          </a:prstGeom>
          <a:noFill/>
          <a:ln w="12700">
            <a:solidFill>
              <a:srgbClr val="969696"/>
            </a:solidFill>
            <a:prstDash val="dash"/>
            <a:round/>
            <a:headEnd type="triangle" w="sm" len="sm"/>
            <a:tailEnd type="triangl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nvGrpSpPr>
          <p:cNvPr id="71" name="Group 70"/>
          <p:cNvGrpSpPr/>
          <p:nvPr/>
        </p:nvGrpSpPr>
        <p:grpSpPr>
          <a:xfrm>
            <a:off x="7805185" y="1488355"/>
            <a:ext cx="2705001" cy="2367519"/>
            <a:chOff x="5855772" y="1457712"/>
            <a:chExt cx="2704998" cy="2367519"/>
          </a:xfrm>
        </p:grpSpPr>
        <p:pic>
          <p:nvPicPr>
            <p:cNvPr id="72"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55772" y="1457712"/>
              <a:ext cx="1927930" cy="22144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3" name="Rectangle 9"/>
            <p:cNvSpPr>
              <a:spLocks noChangeArrowheads="1"/>
            </p:cNvSpPr>
            <p:nvPr/>
          </p:nvSpPr>
          <p:spPr bwMode="auto">
            <a:xfrm>
              <a:off x="6066263" y="3596631"/>
              <a:ext cx="15240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OAW: Overall Width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sym typeface="Wingdings" pitchFamily="2" charset="2"/>
                </a:rPr>
                <a:t>Max.2.6 </a:t>
              </a:r>
              <a:r>
                <a:rPr kumimoji="0" lang="en-US" sz="1200" b="0" i="0" u="none" strike="noStrike" kern="1200" cap="none" spc="0" normalizeH="0" baseline="0" noProof="0" dirty="0" err="1">
                  <a:ln>
                    <a:noFill/>
                  </a:ln>
                  <a:solidFill>
                    <a:srgbClr val="000000"/>
                  </a:solidFill>
                  <a:effectLst/>
                  <a:uLnTx/>
                  <a:uFillTx/>
                  <a:latin typeface="Century Gothic" panose="020B0502020202020204" pitchFamily="34" charset="0"/>
                  <a:ea typeface="+mn-ea"/>
                  <a:cs typeface="Calibri" pitchFamily="34" charset="0"/>
                  <a:sym typeface="Wingdings" pitchFamily="2" charset="2"/>
                </a:rPr>
                <a:t>Mts</a:t>
              </a:r>
              <a:r>
                <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sym typeface="Wingdings" pitchFamily="2" charset="2"/>
                </a:rPr>
                <a:t> (8.5 Ft</a:t>
              </a:r>
              <a:r>
                <a:rPr kumimoji="0" lang="en-US" sz="12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sym typeface="Wingdings" pitchFamily="2" charset="2"/>
                </a:rPr>
                <a:t>)</a:t>
              </a:r>
              <a:r>
                <a:rPr kumimoji="0" lang="en-US" sz="10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 </a:t>
              </a:r>
            </a:p>
          </p:txBody>
        </p:sp>
        <p:sp>
          <p:nvSpPr>
            <p:cNvPr id="74" name="Rectangle 10"/>
            <p:cNvSpPr>
              <a:spLocks noChangeArrowheads="1"/>
            </p:cNvSpPr>
            <p:nvPr/>
          </p:nvSpPr>
          <p:spPr bwMode="auto">
            <a:xfrm rot="16200000">
              <a:off x="7391399" y="2337990"/>
              <a:ext cx="14478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OAH: </a:t>
              </a:r>
              <a:r>
                <a:rPr kumimoji="0" lang="en-US" sz="10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Overall Height</a:t>
              </a:r>
              <a:r>
                <a:rPr kumimoji="0" lang="en-US" sz="10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sym typeface="Wingdings" pitchFamily="2" charset="2"/>
                </a:rPr>
                <a:t>Max.3.8 </a:t>
              </a:r>
              <a:r>
                <a:rPr kumimoji="0" lang="en-US" sz="1200" b="1" i="0" u="none" strike="noStrike" kern="1200" cap="none" spc="0" normalizeH="0" baseline="0" noProof="0" dirty="0" err="1">
                  <a:ln>
                    <a:noFill/>
                  </a:ln>
                  <a:solidFill>
                    <a:srgbClr val="000000"/>
                  </a:solidFill>
                  <a:effectLst/>
                  <a:uLnTx/>
                  <a:uFillTx/>
                  <a:latin typeface="Calibri" pitchFamily="34" charset="0"/>
                  <a:ea typeface="+mn-ea"/>
                  <a:cs typeface="Calibri" pitchFamily="34" charset="0"/>
                  <a:sym typeface="Wingdings" pitchFamily="2" charset="2"/>
                </a:rPr>
                <a:t>Mts</a:t>
              </a:r>
              <a:r>
                <a:rPr kumimoji="0" lang="en-US" sz="12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sym typeface="Wingdings" pitchFamily="2" charset="2"/>
                </a:rPr>
                <a:t> (12.5 Ft)</a:t>
              </a:r>
              <a:r>
                <a:rPr kumimoji="0" lang="en-US" sz="10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 </a:t>
              </a:r>
            </a:p>
          </p:txBody>
        </p:sp>
        <p:sp>
          <p:nvSpPr>
            <p:cNvPr id="75" name="Rectangle 29"/>
            <p:cNvSpPr>
              <a:spLocks noChangeArrowheads="1"/>
            </p:cNvSpPr>
            <p:nvPr/>
          </p:nvSpPr>
          <p:spPr bwMode="auto">
            <a:xfrm rot="16200000">
              <a:off x="7530483" y="2424112"/>
              <a:ext cx="1828800" cy="23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For Tractor Trailers (Container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 Max OAH </a:t>
              </a:r>
              <a:r>
                <a:rPr kumimoji="0" lang="en-US" sz="9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sym typeface="Wingdings" pitchFamily="2" charset="2"/>
                </a:rPr>
                <a:t> 4.2 </a:t>
              </a:r>
              <a:r>
                <a:rPr kumimoji="0" lang="en-US" sz="900" b="0" i="0" u="none" strike="noStrike" kern="1200" cap="none" spc="0" normalizeH="0" baseline="0" noProof="0" dirty="0" err="1">
                  <a:ln>
                    <a:noFill/>
                  </a:ln>
                  <a:solidFill>
                    <a:srgbClr val="000000"/>
                  </a:solidFill>
                  <a:effectLst/>
                  <a:uLnTx/>
                  <a:uFillTx/>
                  <a:latin typeface="Century Gothic" panose="020B0502020202020204" pitchFamily="34" charset="0"/>
                  <a:ea typeface="+mn-ea"/>
                  <a:cs typeface="Calibri" pitchFamily="34" charset="0"/>
                  <a:sym typeface="Wingdings" pitchFamily="2" charset="2"/>
                </a:rPr>
                <a:t>Mts</a:t>
              </a:r>
              <a:endParaRPr kumimoji="0" lang="en-US" sz="9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cxnSp>
          <p:nvCxnSpPr>
            <p:cNvPr id="76" name="Straight Connector 75"/>
            <p:cNvCxnSpPr/>
            <p:nvPr/>
          </p:nvCxnSpPr>
          <p:spPr bwMode="auto">
            <a:xfrm>
              <a:off x="6019800" y="2378281"/>
              <a:ext cx="0" cy="121835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77" name="Straight Connector 76"/>
            <p:cNvCxnSpPr/>
            <p:nvPr/>
          </p:nvCxnSpPr>
          <p:spPr bwMode="auto">
            <a:xfrm>
              <a:off x="7543800" y="2238853"/>
              <a:ext cx="0" cy="1301701"/>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78" name="Line 15"/>
            <p:cNvSpPr>
              <a:spLocks noChangeShapeType="1"/>
            </p:cNvSpPr>
            <p:nvPr/>
          </p:nvSpPr>
          <p:spPr bwMode="auto">
            <a:xfrm flipV="1">
              <a:off x="6019800" y="3510705"/>
              <a:ext cx="1524000" cy="0"/>
            </a:xfrm>
            <a:prstGeom prst="line">
              <a:avLst/>
            </a:prstGeom>
            <a:noFill/>
            <a:ln w="12700">
              <a:solidFill>
                <a:srgbClr val="969696"/>
              </a:solidFill>
              <a:prstDash val="dash"/>
              <a:round/>
              <a:headEnd type="triangle" w="sm" len="sm"/>
              <a:tailEnd type="triangl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cxnSp>
          <p:nvCxnSpPr>
            <p:cNvPr id="79" name="Straight Connector 78"/>
            <p:cNvCxnSpPr/>
            <p:nvPr/>
          </p:nvCxnSpPr>
          <p:spPr bwMode="auto">
            <a:xfrm>
              <a:off x="6675862" y="1691268"/>
              <a:ext cx="1553737"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80" name="Straight Connector 79"/>
            <p:cNvCxnSpPr/>
            <p:nvPr/>
          </p:nvCxnSpPr>
          <p:spPr bwMode="auto">
            <a:xfrm>
              <a:off x="6004931" y="3168013"/>
              <a:ext cx="222466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81" name="Line 15"/>
            <p:cNvSpPr>
              <a:spLocks noChangeShapeType="1"/>
            </p:cNvSpPr>
            <p:nvPr/>
          </p:nvSpPr>
          <p:spPr bwMode="auto">
            <a:xfrm>
              <a:off x="7848599" y="1728389"/>
              <a:ext cx="0" cy="1404096"/>
            </a:xfrm>
            <a:prstGeom prst="line">
              <a:avLst/>
            </a:prstGeom>
            <a:noFill/>
            <a:ln w="12700">
              <a:solidFill>
                <a:srgbClr val="969696"/>
              </a:solidFill>
              <a:prstDash val="dash"/>
              <a:round/>
              <a:headEnd type="triangle" w="sm" len="sm"/>
              <a:tailEnd type="triangle" w="sm" len="sm"/>
            </a:ln>
            <a:extLst>
              <a:ext uri="{909E8E84-426E-40DD-AFC4-6F175D3DCCD1}">
                <a14:hiddenFill xmlns:a14="http://schemas.microsoft.com/office/drawing/2010/main">
                  <a:noFill/>
                </a14:hiddenFill>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grpSp>
      <p:sp>
        <p:nvSpPr>
          <p:cNvPr id="82" name="TextBox 81"/>
          <p:cNvSpPr txBox="1"/>
          <p:nvPr/>
        </p:nvSpPr>
        <p:spPr>
          <a:xfrm>
            <a:off x="3601317" y="1704933"/>
            <a:ext cx="2052019" cy="502573"/>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Rear overhang max 60% of WB</a:t>
            </a:r>
          </a:p>
        </p:txBody>
      </p:sp>
      <p:sp>
        <p:nvSpPr>
          <p:cNvPr id="83" name="AutoShape 24"/>
          <p:cNvSpPr>
            <a:spLocks noChangeArrowheads="1"/>
          </p:cNvSpPr>
          <p:nvPr>
            <p:custDataLst>
              <p:tags r:id="rId2"/>
            </p:custDataLst>
          </p:nvPr>
        </p:nvSpPr>
        <p:spPr bwMode="auto">
          <a:xfrm>
            <a:off x="203200" y="4131379"/>
            <a:ext cx="11785600" cy="2478088"/>
          </a:xfrm>
          <a:prstGeom prst="homePlate">
            <a:avLst>
              <a:gd name="adj" fmla="val 0"/>
            </a:avLst>
          </a:prstGeom>
          <a:noFill/>
          <a:ln w="9525" algn="ctr">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lIns="89991" tIns="341964" rIns="4679504" bIns="0"/>
          <a:lstStyle/>
          <a:p>
            <a:pPr marL="177796" marR="0" lvl="0" indent="-177796" algn="l" defTabSz="809605" rtl="0" eaLnBrk="0" fontAlgn="auto" latinLnBrk="0" hangingPunct="0">
              <a:lnSpc>
                <a:spcPct val="80000"/>
              </a:lnSpc>
              <a:spcBef>
                <a:spcPct val="35000"/>
              </a:spcBef>
              <a:spcAft>
                <a:spcPts val="0"/>
              </a:spcAft>
              <a:buClr>
                <a:srgbClr val="003366"/>
              </a:buClr>
              <a:buSzPct val="120000"/>
              <a:buFontTx/>
              <a:buNone/>
              <a:tabLst>
                <a:tab pos="1698583" algn="l"/>
              </a:tabLst>
              <a:defRPr/>
            </a:pPr>
            <a:endParaRPr kumimoji="0" lang="en-US" sz="1400" b="1" i="0" u="none" strike="noStrike" kern="1200" cap="none" spc="0" normalizeH="0" baseline="0" noProof="0">
              <a:ln>
                <a:noFill/>
              </a:ln>
              <a:solidFill>
                <a:srgbClr val="000000"/>
              </a:solidFill>
              <a:effectLst/>
              <a:uLnTx/>
              <a:uFillTx/>
              <a:latin typeface="Calibri" pitchFamily="34" charset="0"/>
              <a:ea typeface="+mn-ea"/>
              <a:cs typeface="Calibri" pitchFamily="34" charset="0"/>
            </a:endParaRPr>
          </a:p>
        </p:txBody>
      </p:sp>
      <p:sp>
        <p:nvSpPr>
          <p:cNvPr id="84" name="Rectangle 3"/>
          <p:cNvSpPr>
            <a:spLocks noChangeArrowheads="1"/>
          </p:cNvSpPr>
          <p:nvPr>
            <p:custDataLst>
              <p:tags r:id="rId3"/>
            </p:custDataLst>
          </p:nvPr>
        </p:nvSpPr>
        <p:spPr bwMode="gray">
          <a:xfrm>
            <a:off x="219510" y="4145226"/>
            <a:ext cx="4713287" cy="242887"/>
          </a:xfrm>
          <a:prstGeom prst="rect">
            <a:avLst/>
          </a:prstGeom>
          <a:solidFill>
            <a:srgbClr val="E7E9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279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National Permit: Regular goods </a:t>
            </a:r>
          </a:p>
        </p:txBody>
      </p:sp>
      <p:sp>
        <p:nvSpPr>
          <p:cNvPr id="85" name="Rectangle 23"/>
          <p:cNvSpPr>
            <a:spLocks noChangeArrowheads="1"/>
          </p:cNvSpPr>
          <p:nvPr>
            <p:custDataLst>
              <p:tags r:id="rId4"/>
            </p:custDataLst>
          </p:nvPr>
        </p:nvSpPr>
        <p:spPr bwMode="gray">
          <a:xfrm>
            <a:off x="8269467" y="4160661"/>
            <a:ext cx="3711205" cy="198764"/>
          </a:xfrm>
          <a:prstGeom prst="rect">
            <a:avLst/>
          </a:prstGeom>
          <a:solidFill>
            <a:srgbClr val="E7E9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279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National Permit: Hazardous goods </a:t>
            </a:r>
          </a:p>
        </p:txBody>
      </p:sp>
      <p:sp>
        <p:nvSpPr>
          <p:cNvPr id="86" name="Rectangle 85"/>
          <p:cNvSpPr/>
          <p:nvPr/>
        </p:nvSpPr>
        <p:spPr>
          <a:xfrm>
            <a:off x="219509" y="4437248"/>
            <a:ext cx="6257491" cy="553998"/>
          </a:xfrm>
          <a:prstGeom prst="rect">
            <a:avLst/>
          </a:prstGeom>
        </p:spPr>
        <p:txBody>
          <a:bodyPr wrap="square">
            <a:spAutoFit/>
          </a:bodyPr>
          <a:lstStyle/>
          <a:p>
            <a:pPr marL="0" marR="0" lvl="0" indent="0" algn="l" defTabSz="914377" rtl="0" eaLnBrk="0" fontAlgn="base" latinLnBrk="0" hangingPunct="0">
              <a:lnSpc>
                <a:spcPct val="100000"/>
              </a:lnSpc>
              <a:spcBef>
                <a:spcPct val="2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rPr>
              <a:t>1. The vehicle plying under a national permit shall be painted in dry leaf brown </a:t>
            </a:r>
            <a:r>
              <a:rPr kumimoji="0" lang="en-US" sz="1000" b="0" i="0" u="none" strike="noStrike" kern="0" cap="none" spc="0" normalizeH="0" baseline="0" noProof="0" dirty="0" err="1">
                <a:ln>
                  <a:noFill/>
                </a:ln>
                <a:solidFill>
                  <a:srgbClr val="000000"/>
                </a:solidFill>
                <a:effectLst/>
                <a:uLnTx/>
                <a:uFillTx/>
                <a:latin typeface="Century Gothic" panose="020B0502020202020204" pitchFamily="34" charset="0"/>
                <a:ea typeface="+mn-ea"/>
                <a:cs typeface="+mn-cs"/>
              </a:rPr>
              <a:t>colour</a:t>
            </a:r>
            <a:r>
              <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rPr>
              <a:t> with thirty </a:t>
            </a:r>
            <a:r>
              <a:rPr kumimoji="0" lang="en-US" sz="1000" b="0" i="0" u="none" strike="noStrike" kern="0" cap="none" spc="0" normalizeH="0" baseline="0" noProof="0" dirty="0" err="1">
                <a:ln>
                  <a:noFill/>
                </a:ln>
                <a:solidFill>
                  <a:srgbClr val="000000"/>
                </a:solidFill>
                <a:effectLst/>
                <a:uLnTx/>
                <a:uFillTx/>
                <a:latin typeface="Century Gothic" panose="020B0502020202020204" pitchFamily="34" charset="0"/>
                <a:ea typeface="+mn-ea"/>
                <a:cs typeface="+mn-cs"/>
              </a:rPr>
              <a:t>centimetres</a:t>
            </a:r>
            <a:r>
              <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rPr>
              <a:t> broad white borders and the words "National permit" shall be inscribed on both sides of the vehicle in bold letters within a circle of sixty </a:t>
            </a:r>
            <a:r>
              <a:rPr kumimoji="0" lang="en-US" sz="1000" b="0" i="0" u="none" strike="noStrike" kern="0" cap="none" spc="0" normalizeH="0" baseline="0" noProof="0" dirty="0" err="1">
                <a:ln>
                  <a:noFill/>
                </a:ln>
                <a:solidFill>
                  <a:srgbClr val="000000"/>
                </a:solidFill>
                <a:effectLst/>
                <a:uLnTx/>
                <a:uFillTx/>
                <a:latin typeface="Century Gothic" panose="020B0502020202020204" pitchFamily="34" charset="0"/>
                <a:ea typeface="+mn-ea"/>
                <a:cs typeface="+mn-cs"/>
              </a:rPr>
              <a:t>centimetres</a:t>
            </a:r>
            <a:r>
              <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rPr>
              <a:t> diameter</a:t>
            </a:r>
          </a:p>
        </p:txBody>
      </p:sp>
      <p:sp>
        <p:nvSpPr>
          <p:cNvPr id="87" name="Rectangle 86"/>
          <p:cNvSpPr/>
          <p:nvPr/>
        </p:nvSpPr>
        <p:spPr>
          <a:xfrm>
            <a:off x="219512" y="5059543"/>
            <a:ext cx="8111689" cy="1846659"/>
          </a:xfrm>
          <a:prstGeom prst="rect">
            <a:avLst/>
          </a:prstGeom>
        </p:spPr>
        <p:txBody>
          <a:bodyPr wrap="square">
            <a:spAutoFit/>
          </a:bodyPr>
          <a:lstStyle/>
          <a:p>
            <a:pPr marL="0" marR="0" lvl="0" indent="0" algn="l" defTabSz="914377" rtl="0" eaLnBrk="0" fontAlgn="base" latinLnBrk="0" hangingPunct="0">
              <a:lnSpc>
                <a:spcPct val="100000"/>
              </a:lnSpc>
              <a:spcBef>
                <a:spcPct val="2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rPr>
              <a:t>3. The vehicle shall at all times carry the following documents and shall be produced on demand by an officer empowered to demand documents by or under the Act, namely:—</a:t>
            </a:r>
          </a:p>
          <a:p>
            <a:pPr marL="0" marR="0" lvl="0" indent="0" algn="l" defTabSz="914377" rtl="0" eaLnBrk="0" fontAlgn="base" latinLnBrk="0" hangingPunct="0">
              <a:lnSpc>
                <a:spcPct val="100000"/>
              </a:lnSpc>
              <a:spcBef>
                <a:spcPct val="2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rPr>
              <a:t>(i) Certificate of fitness,</a:t>
            </a:r>
          </a:p>
          <a:p>
            <a:pPr marL="0" marR="0" lvl="0" indent="0" algn="l" defTabSz="914377" rtl="0" eaLnBrk="0" fontAlgn="base" latinLnBrk="0" hangingPunct="0">
              <a:lnSpc>
                <a:spcPct val="100000"/>
              </a:lnSpc>
              <a:spcBef>
                <a:spcPct val="2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rPr>
              <a:t>(ii) Certificate of insurance,</a:t>
            </a:r>
          </a:p>
          <a:p>
            <a:pPr marL="0" marR="0" lvl="0" indent="0" algn="l" defTabSz="914377" rtl="0" eaLnBrk="0" fontAlgn="base" latinLnBrk="0" hangingPunct="0">
              <a:lnSpc>
                <a:spcPct val="100000"/>
              </a:lnSpc>
              <a:spcBef>
                <a:spcPct val="2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rPr>
              <a:t>(iii) Certificate of registration,</a:t>
            </a:r>
          </a:p>
          <a:p>
            <a:pPr marL="0" marR="0" lvl="0" indent="0" algn="l" defTabSz="914377" rtl="0" eaLnBrk="0" fontAlgn="base" latinLnBrk="0" hangingPunct="0">
              <a:lnSpc>
                <a:spcPct val="100000"/>
              </a:lnSpc>
              <a:spcBef>
                <a:spcPct val="2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rPr>
              <a:t>4. No national permit shall be granted in respect of a goods carriage, other than </a:t>
            </a:r>
            <a:r>
              <a:rPr kumimoji="0" lang="en-US" sz="1000" b="0" i="0" u="none" strike="noStrike" kern="0" cap="none" spc="0" normalizeH="0" baseline="0" noProof="0" dirty="0" err="1">
                <a:ln>
                  <a:noFill/>
                </a:ln>
                <a:solidFill>
                  <a:srgbClr val="000000"/>
                </a:solidFill>
                <a:effectLst/>
                <a:uLnTx/>
                <a:uFillTx/>
                <a:latin typeface="Century Gothic" panose="020B0502020202020204" pitchFamily="34" charset="0"/>
                <a:ea typeface="+mn-ea"/>
                <a:cs typeface="+mn-cs"/>
              </a:rPr>
              <a:t>multiaxle</a:t>
            </a:r>
            <a:r>
              <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rPr>
              <a:t> vehicle, which is more than -[twelve years] old at any point of time</a:t>
            </a:r>
          </a:p>
          <a:p>
            <a:pPr marL="0" marR="0" lvl="0" indent="0" algn="l" defTabSz="914377" rtl="0" eaLnBrk="0" fontAlgn="base" latinLnBrk="0" hangingPunct="0">
              <a:lnSpc>
                <a:spcPct val="100000"/>
              </a:lnSpc>
              <a:spcBef>
                <a:spcPct val="2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rPr>
              <a:t>5. No national permit shall be granted for a </a:t>
            </a:r>
            <a:r>
              <a:rPr kumimoji="0" lang="en-US" sz="1000" b="0" i="0" u="none" strike="noStrike" kern="0" cap="none" spc="0" normalizeH="0" baseline="0" noProof="0" dirty="0" err="1">
                <a:ln>
                  <a:noFill/>
                </a:ln>
                <a:solidFill>
                  <a:srgbClr val="000000"/>
                </a:solidFill>
                <a:effectLst/>
                <a:uLnTx/>
                <a:uFillTx/>
                <a:latin typeface="Century Gothic" panose="020B0502020202020204" pitchFamily="34" charset="0"/>
                <a:ea typeface="+mn-ea"/>
                <a:cs typeface="+mn-cs"/>
              </a:rPr>
              <a:t>multiaxle</a:t>
            </a:r>
            <a:r>
              <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rPr>
              <a:t> goods carriage which is more than fifteen years old at any point of time.</a:t>
            </a:r>
          </a:p>
          <a:p>
            <a:pPr marL="0" marR="0" lvl="0" indent="0" algn="l" defTabSz="914377" rtl="0" eaLnBrk="0" fontAlgn="base" latinLnBrk="0" hangingPunct="0">
              <a:lnSpc>
                <a:spcPct val="100000"/>
              </a:lnSpc>
              <a:spcBef>
                <a:spcPct val="20000"/>
              </a:spcBef>
              <a:spcAft>
                <a:spcPct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endParaRPr>
          </a:p>
          <a:p>
            <a:pPr marL="0" marR="0" lvl="0" indent="0" algn="l" defTabSz="914377" rtl="0" eaLnBrk="0" fontAlgn="base" latinLnBrk="0" hangingPunct="0">
              <a:lnSpc>
                <a:spcPct val="100000"/>
              </a:lnSpc>
              <a:spcBef>
                <a:spcPct val="20000"/>
              </a:spcBef>
              <a:spcAft>
                <a:spcPct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endParaRPr>
          </a:p>
        </p:txBody>
      </p:sp>
      <p:sp>
        <p:nvSpPr>
          <p:cNvPr id="88" name="Rectangle 87"/>
          <p:cNvSpPr/>
          <p:nvPr/>
        </p:nvSpPr>
        <p:spPr>
          <a:xfrm>
            <a:off x="2200447" y="5401290"/>
            <a:ext cx="2172148" cy="615553"/>
          </a:xfrm>
          <a:prstGeom prst="rect">
            <a:avLst/>
          </a:prstGeom>
        </p:spPr>
        <p:txBody>
          <a:bodyPr wrap="square">
            <a:spAutoFit/>
          </a:bodyPr>
          <a:lstStyle/>
          <a:p>
            <a:pPr marL="0" marR="0" lvl="0" indent="0" algn="l" defTabSz="914377" rtl="0" eaLnBrk="0" fontAlgn="base" latinLnBrk="0" hangingPunct="0">
              <a:lnSpc>
                <a:spcPct val="100000"/>
              </a:lnSpc>
              <a:spcBef>
                <a:spcPct val="2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rPr>
              <a:t>(iv) National permit,</a:t>
            </a:r>
          </a:p>
          <a:p>
            <a:pPr marL="0" marR="0" lvl="0" indent="0" algn="l" defTabSz="914377" rtl="0" eaLnBrk="0" fontAlgn="base" latinLnBrk="0" hangingPunct="0">
              <a:lnSpc>
                <a:spcPct val="100000"/>
              </a:lnSpc>
              <a:spcBef>
                <a:spcPct val="2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rPr>
              <a:t>(v) Taxation certificate,</a:t>
            </a:r>
          </a:p>
          <a:p>
            <a:pPr marL="0" marR="0" lvl="0" indent="0" algn="l" defTabSz="914377" rtl="0" eaLnBrk="0" fontAlgn="base" latinLnBrk="0" hangingPunct="0">
              <a:lnSpc>
                <a:spcPct val="100000"/>
              </a:lnSpc>
              <a:spcBef>
                <a:spcPct val="2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rPr>
              <a:t>(vi) </a:t>
            </a:r>
            <a:r>
              <a:rPr kumimoji="0" lang="en-US" sz="1000" b="0" i="0" u="none" strike="noStrike" kern="0" cap="none" spc="0" normalizeH="0" baseline="0" noProof="0" dirty="0" err="1">
                <a:ln>
                  <a:noFill/>
                </a:ln>
                <a:solidFill>
                  <a:srgbClr val="000000"/>
                </a:solidFill>
                <a:effectLst/>
                <a:uLnTx/>
                <a:uFillTx/>
                <a:latin typeface="Century Gothic" panose="020B0502020202020204" pitchFamily="34" charset="0"/>
                <a:ea typeface="+mn-ea"/>
                <a:cs typeface="+mn-cs"/>
              </a:rPr>
              <a:t>Authorisation</a:t>
            </a: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sp>
        <p:nvSpPr>
          <p:cNvPr id="89" name="Rectangle 88"/>
          <p:cNvSpPr/>
          <p:nvPr/>
        </p:nvSpPr>
        <p:spPr>
          <a:xfrm>
            <a:off x="8203370" y="4428190"/>
            <a:ext cx="3785431" cy="861774"/>
          </a:xfrm>
          <a:prstGeom prst="rect">
            <a:avLst/>
          </a:prstGeom>
        </p:spPr>
        <p:txBody>
          <a:bodyPr wrap="square">
            <a:spAutoFit/>
          </a:bodyPr>
          <a:lstStyle/>
          <a:p>
            <a:pPr marL="0" marR="0" lvl="0" indent="0" algn="l" defTabSz="914377" rtl="0" eaLnBrk="0" fontAlgn="base" latinLnBrk="0" hangingPunct="0">
              <a:lnSpc>
                <a:spcPct val="100000"/>
              </a:lnSpc>
              <a:spcBef>
                <a:spcPct val="2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rPr>
              <a:t>The body of a tanker carrying dangerous or hazardous goods shall be painted in white </a:t>
            </a:r>
            <a:r>
              <a:rPr kumimoji="0" lang="en-US" sz="1000" b="0" i="0" u="none" strike="noStrike" kern="0" cap="none" spc="0" normalizeH="0" baseline="0" noProof="0" dirty="0" err="1">
                <a:ln>
                  <a:noFill/>
                </a:ln>
                <a:solidFill>
                  <a:srgbClr val="000000"/>
                </a:solidFill>
                <a:effectLst/>
                <a:uLnTx/>
                <a:uFillTx/>
                <a:latin typeface="Century Gothic" panose="020B0502020202020204" pitchFamily="34" charset="0"/>
                <a:ea typeface="+mn-ea"/>
                <a:cs typeface="+mn-cs"/>
              </a:rPr>
              <a:t>colour</a:t>
            </a:r>
            <a:r>
              <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rPr>
              <a:t> with a dry leaf brown ribbon of 5 </a:t>
            </a:r>
            <a:r>
              <a:rPr kumimoji="0" lang="en-US" sz="1000" b="0" i="0" u="none" strike="noStrike" kern="0" cap="none" spc="0" normalizeH="0" baseline="0" noProof="0" dirty="0" err="1">
                <a:ln>
                  <a:noFill/>
                </a:ln>
                <a:solidFill>
                  <a:srgbClr val="000000"/>
                </a:solidFill>
                <a:effectLst/>
                <a:uLnTx/>
                <a:uFillTx/>
                <a:latin typeface="Century Gothic" panose="020B0502020202020204" pitchFamily="34" charset="0"/>
                <a:ea typeface="+mn-ea"/>
                <a:cs typeface="+mn-cs"/>
              </a:rPr>
              <a:t>centimetres</a:t>
            </a:r>
            <a:r>
              <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rPr>
              <a:t> width around in the middle at the exterior and that of the driver's cabin in orange </a:t>
            </a:r>
            <a:r>
              <a:rPr kumimoji="0" lang="en-US" sz="1000" b="0" i="0" u="none" strike="noStrike" kern="0" cap="none" spc="0" normalizeH="0" baseline="0" noProof="0" dirty="0" err="1">
                <a:ln>
                  <a:noFill/>
                </a:ln>
                <a:solidFill>
                  <a:srgbClr val="000000"/>
                </a:solidFill>
                <a:effectLst/>
                <a:uLnTx/>
                <a:uFillTx/>
                <a:latin typeface="Century Gothic" panose="020B0502020202020204" pitchFamily="34" charset="0"/>
                <a:ea typeface="+mn-ea"/>
                <a:cs typeface="+mn-cs"/>
              </a:rPr>
              <a:t>colour</a:t>
            </a:r>
            <a:endParaRPr kumimoji="0" lang="en-US" sz="10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73700274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t="17798"/>
          <a:stretch/>
        </p:blipFill>
        <p:spPr>
          <a:xfrm>
            <a:off x="175353" y="1195222"/>
            <a:ext cx="6264108" cy="3658847"/>
          </a:xfrm>
          <a:prstGeom prst="rect">
            <a:avLst/>
          </a:prstGeom>
        </p:spPr>
      </p:pic>
      <p:sp>
        <p:nvSpPr>
          <p:cNvPr id="5" name="Rectangle 4"/>
          <p:cNvSpPr/>
          <p:nvPr/>
        </p:nvSpPr>
        <p:spPr>
          <a:xfrm>
            <a:off x="2284555" y="794996"/>
            <a:ext cx="3025188" cy="461665"/>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entury Gothic" panose="020B0502020202020204" pitchFamily="34" charset="0"/>
                <a:ea typeface="Cambria" panose="02040503050406030204" pitchFamily="18" charset="0"/>
              </a:rPr>
              <a:t>Why Engine Brake?</a:t>
            </a:r>
          </a:p>
        </p:txBody>
      </p:sp>
      <p:pic>
        <p:nvPicPr>
          <p:cNvPr id="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12574" y="1252864"/>
            <a:ext cx="4409767" cy="177178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7" name="Rectangle 6"/>
          <p:cNvSpPr/>
          <p:nvPr/>
        </p:nvSpPr>
        <p:spPr>
          <a:xfrm>
            <a:off x="7714220" y="791199"/>
            <a:ext cx="2194833" cy="461665"/>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entury Gothic" panose="020B0502020202020204" pitchFamily="34" charset="0"/>
                <a:ea typeface="Cambria" panose="02040503050406030204" pitchFamily="18" charset="0"/>
              </a:rPr>
              <a:t>How it works?</a:t>
            </a:r>
          </a:p>
        </p:txBody>
      </p:sp>
      <p:sp>
        <p:nvSpPr>
          <p:cNvPr id="8" name="TextBox 7"/>
          <p:cNvSpPr txBox="1"/>
          <p:nvPr/>
        </p:nvSpPr>
        <p:spPr>
          <a:xfrm>
            <a:off x="7112574" y="3142212"/>
            <a:ext cx="4409767" cy="2062103"/>
          </a:xfrm>
          <a:prstGeom prst="rect">
            <a:avLst/>
          </a:prstGeom>
          <a:solidFill>
            <a:schemeClr val="accent5">
              <a:lumMod val="20000"/>
              <a:lumOff val="80000"/>
            </a:schemeClr>
          </a:solidFill>
          <a:effectLst>
            <a:outerShdw blurRad="50800" dist="38100" dir="5400000" algn="t" rotWithShape="0">
              <a:prstClr val="black">
                <a:alpha val="40000"/>
              </a:prstClr>
            </a:outerShdw>
          </a:effectLst>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mbria" panose="02040503050406030204" pitchFamily="18" charset="0"/>
              </a:rPr>
              <a:t>Engine brake switch 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mbria" panose="02040503050406030204" pitchFamily="18" charset="0"/>
              </a:rPr>
              <a:t>3.5 bar Back pressure will be created in </a:t>
            </a:r>
            <a:r>
              <a:rPr lang="en-US" sz="1600" dirty="0">
                <a:solidFill>
                  <a:prstClr val="black"/>
                </a:solidFill>
                <a:latin typeface="Century Gothic" panose="020B0502020202020204" pitchFamily="34" charset="0"/>
                <a:ea typeface="Cambria" panose="02040503050406030204" pitchFamily="18" charset="0"/>
              </a:rPr>
              <a:t>exhaust </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mbria" panose="02040503050406030204" pitchFamily="18" charset="0"/>
              </a:rPr>
              <a:t>manifol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mbria" panose="02040503050406030204" pitchFamily="18" charset="0"/>
              </a:rPr>
              <a:t>Back pressure will push down the </a:t>
            </a:r>
            <a:r>
              <a:rPr lang="en-US" sz="1600" dirty="0">
                <a:solidFill>
                  <a:prstClr val="black"/>
                </a:solidFill>
                <a:latin typeface="Century Gothic" panose="020B0502020202020204" pitchFamily="34" charset="0"/>
                <a:ea typeface="Cambria" panose="02040503050406030204" pitchFamily="18" charset="0"/>
              </a:rPr>
              <a:t>exhaust </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mbria" panose="02040503050406030204" pitchFamily="18" charset="0"/>
              </a:rPr>
              <a:t>valve of cylinder in suction strok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mbria" panose="02040503050406030204" pitchFamily="18" charset="0"/>
              </a:rPr>
              <a:t>Hence in compression stroke power loses and engine slows down</a:t>
            </a:r>
          </a:p>
        </p:txBody>
      </p:sp>
      <p:sp>
        <p:nvSpPr>
          <p:cNvPr id="10"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12" name="TextBox 11"/>
          <p:cNvSpPr txBox="1"/>
          <p:nvPr/>
        </p:nvSpPr>
        <p:spPr>
          <a:xfrm>
            <a:off x="1010655" y="124413"/>
            <a:ext cx="8058609" cy="666786"/>
          </a:xfrm>
          <a:prstGeom prst="rect">
            <a:avLst/>
          </a:prstGeom>
          <a:noFill/>
        </p:spPr>
        <p:txBody>
          <a:bodyPr wrap="square" rtlCol="0">
            <a:spAutoFit/>
          </a:bodyPr>
          <a:lstStyle/>
          <a:p>
            <a:pPr defTabSz="1219170"/>
            <a:r>
              <a:rPr lang="en-US" sz="3600" b="1" dirty="0">
                <a:solidFill>
                  <a:srgbClr val="000000"/>
                </a:solidFill>
                <a:latin typeface="Century Gothic" panose="020B0502020202020204" pitchFamily="34" charset="0"/>
              </a:rPr>
              <a:t>ENGINE BRAKE</a:t>
            </a:r>
            <a:endParaRPr lang="en-US" sz="3600" b="1" dirty="0">
              <a:solidFill>
                <a:prstClr val="black"/>
              </a:solidFill>
              <a:latin typeface="Century Gothic" panose="020B0502020202020204" pitchFamily="34" charset="0"/>
            </a:endParaRPr>
          </a:p>
        </p:txBody>
      </p:sp>
      <p:sp>
        <p:nvSpPr>
          <p:cNvPr id="2" name="TextBox 1"/>
          <p:cNvSpPr txBox="1"/>
          <p:nvPr/>
        </p:nvSpPr>
        <p:spPr>
          <a:xfrm>
            <a:off x="6943658" y="5735675"/>
            <a:ext cx="4412722" cy="584775"/>
          </a:xfrm>
          <a:prstGeom prst="rect">
            <a:avLst/>
          </a:prstGeom>
          <a:noFill/>
        </p:spPr>
        <p:txBody>
          <a:bodyPr wrap="square" rtlCol="0">
            <a:spAutoFit/>
          </a:bodyPr>
          <a:lstStyle/>
          <a:p>
            <a:r>
              <a:rPr lang="en-US" sz="1600" dirty="0">
                <a:latin typeface="Century Gothic" panose="020B0502020202020204" pitchFamily="34" charset="0"/>
              </a:rPr>
              <a:t>* For heavy duty applications superior retarding power is needed</a:t>
            </a:r>
          </a:p>
        </p:txBody>
      </p:sp>
      <p:graphicFrame>
        <p:nvGraphicFramePr>
          <p:cNvPr id="14" name="Table 13">
            <a:extLst>
              <a:ext uri="{FF2B5EF4-FFF2-40B4-BE49-F238E27FC236}">
                <a16:creationId xmlns:a16="http://schemas.microsoft.com/office/drawing/2014/main" id="{9BAC87A0-A5B8-443D-800B-570AF43ABEF7}"/>
              </a:ext>
            </a:extLst>
          </p:cNvPr>
          <p:cNvGraphicFramePr>
            <a:graphicFrameLocks noGrp="1"/>
          </p:cNvGraphicFramePr>
          <p:nvPr>
            <p:extLst>
              <p:ext uri="{D42A27DB-BD31-4B8C-83A1-F6EECF244321}">
                <p14:modId xmlns:p14="http://schemas.microsoft.com/office/powerpoint/2010/main" val="3030634875"/>
              </p:ext>
            </p:extLst>
          </p:nvPr>
        </p:nvGraphicFramePr>
        <p:xfrm>
          <a:off x="110565" y="4988923"/>
          <a:ext cx="6708246" cy="1790700"/>
        </p:xfrm>
        <a:graphic>
          <a:graphicData uri="http://schemas.openxmlformats.org/drawingml/2006/table">
            <a:tbl>
              <a:tblPr firstRow="1" firstCol="1" bandRow="1"/>
              <a:tblGrid>
                <a:gridCol w="585834">
                  <a:extLst>
                    <a:ext uri="{9D8B030D-6E8A-4147-A177-3AD203B41FA5}">
                      <a16:colId xmlns:a16="http://schemas.microsoft.com/office/drawing/2014/main" val="3099327268"/>
                    </a:ext>
                  </a:extLst>
                </a:gridCol>
                <a:gridCol w="816504">
                  <a:extLst>
                    <a:ext uri="{9D8B030D-6E8A-4147-A177-3AD203B41FA5}">
                      <a16:colId xmlns:a16="http://schemas.microsoft.com/office/drawing/2014/main" val="4223654817"/>
                    </a:ext>
                  </a:extLst>
                </a:gridCol>
                <a:gridCol w="775156">
                  <a:extLst>
                    <a:ext uri="{9D8B030D-6E8A-4147-A177-3AD203B41FA5}">
                      <a16:colId xmlns:a16="http://schemas.microsoft.com/office/drawing/2014/main" val="776620144"/>
                    </a:ext>
                  </a:extLst>
                </a:gridCol>
                <a:gridCol w="1140359">
                  <a:extLst>
                    <a:ext uri="{9D8B030D-6E8A-4147-A177-3AD203B41FA5}">
                      <a16:colId xmlns:a16="http://schemas.microsoft.com/office/drawing/2014/main" val="622880617"/>
                    </a:ext>
                  </a:extLst>
                </a:gridCol>
                <a:gridCol w="1140359">
                  <a:extLst>
                    <a:ext uri="{9D8B030D-6E8A-4147-A177-3AD203B41FA5}">
                      <a16:colId xmlns:a16="http://schemas.microsoft.com/office/drawing/2014/main" val="3663168671"/>
                    </a:ext>
                  </a:extLst>
                </a:gridCol>
                <a:gridCol w="737716">
                  <a:extLst>
                    <a:ext uri="{9D8B030D-6E8A-4147-A177-3AD203B41FA5}">
                      <a16:colId xmlns:a16="http://schemas.microsoft.com/office/drawing/2014/main" val="334494829"/>
                    </a:ext>
                  </a:extLst>
                </a:gridCol>
                <a:gridCol w="1512318">
                  <a:extLst>
                    <a:ext uri="{9D8B030D-6E8A-4147-A177-3AD203B41FA5}">
                      <a16:colId xmlns:a16="http://schemas.microsoft.com/office/drawing/2014/main" val="2349233831"/>
                    </a:ext>
                  </a:extLst>
                </a:gridCol>
              </a:tblGrid>
              <a:tr h="559226">
                <a:tc>
                  <a:txBody>
                    <a:bodyPr/>
                    <a:lstStyle/>
                    <a:p>
                      <a:pPr marL="0" marR="0" algn="ctr">
                        <a:spcBef>
                          <a:spcPts val="0"/>
                        </a:spcBef>
                        <a:spcAft>
                          <a:spcPts val="0"/>
                        </a:spcAft>
                      </a:pPr>
                      <a:r>
                        <a:rPr lang="en-US" sz="1100" b="1" dirty="0">
                          <a:effectLst/>
                          <a:latin typeface="Century Gothic" panose="020B0502020202020204" pitchFamily="34" charset="0"/>
                          <a:ea typeface="Cambria" panose="02040503050406030204" pitchFamily="18" charset="0"/>
                        </a:rPr>
                        <a:t>Sl.no.</a:t>
                      </a:r>
                      <a:endParaRPr lang="en-US" sz="1200" b="1"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b="1" dirty="0">
                          <a:effectLst/>
                          <a:latin typeface="Century Gothic" panose="020B0502020202020204" pitchFamily="34" charset="0"/>
                          <a:ea typeface="Cambria" panose="02040503050406030204" pitchFamily="18" charset="0"/>
                        </a:rPr>
                        <a:t>Engine brake request switch</a:t>
                      </a:r>
                      <a:endParaRPr lang="en-US" sz="1200" b="1"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b="1" dirty="0">
                          <a:effectLst/>
                          <a:latin typeface="Century Gothic" panose="020B0502020202020204" pitchFamily="34" charset="0"/>
                          <a:ea typeface="Cambria" panose="02040503050406030204" pitchFamily="18" charset="0"/>
                        </a:rPr>
                        <a:t>Service brake</a:t>
                      </a:r>
                      <a:endParaRPr lang="en-US" sz="1200" b="1"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b="1" dirty="0">
                          <a:effectLst/>
                          <a:latin typeface="Century Gothic" panose="020B0502020202020204" pitchFamily="34" charset="0"/>
                          <a:ea typeface="Cambria" panose="02040503050406030204" pitchFamily="18" charset="0"/>
                        </a:rPr>
                        <a:t>Engine speed [rpm]</a:t>
                      </a:r>
                      <a:endParaRPr lang="en-US" sz="1200" b="1"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b="1" dirty="0" err="1">
                          <a:effectLst/>
                          <a:latin typeface="Century Gothic" panose="020B0502020202020204" pitchFamily="34" charset="0"/>
                          <a:ea typeface="Cambria" panose="02040503050406030204" pitchFamily="18" charset="0"/>
                        </a:rPr>
                        <a:t>Acc</a:t>
                      </a:r>
                      <a:r>
                        <a:rPr lang="en-US" sz="1200" b="1" dirty="0">
                          <a:effectLst/>
                          <a:latin typeface="Century Gothic" panose="020B0502020202020204" pitchFamily="34" charset="0"/>
                          <a:ea typeface="Cambria" panose="02040503050406030204" pitchFamily="18" charset="0"/>
                        </a:rPr>
                        <a:t> pedal posi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b="1" dirty="0">
                          <a:effectLst/>
                          <a:latin typeface="Century Gothic" panose="020B0502020202020204" pitchFamily="34" charset="0"/>
                          <a:ea typeface="Cambria" panose="02040503050406030204" pitchFamily="18" charset="0"/>
                        </a:rPr>
                        <a:t>Engine brake status</a:t>
                      </a:r>
                      <a:endParaRPr lang="en-US" sz="1200" b="1"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b="1" dirty="0">
                          <a:effectLst/>
                          <a:latin typeface="Century Gothic" panose="020B0502020202020204" pitchFamily="34" charset="0"/>
                          <a:ea typeface="Cambria" panose="02040503050406030204" pitchFamily="18" charset="0"/>
                        </a:rPr>
                        <a:t>Engine</a:t>
                      </a:r>
                      <a:r>
                        <a:rPr lang="en-US" sz="1100" b="1" baseline="0" dirty="0">
                          <a:effectLst/>
                          <a:latin typeface="Century Gothic" panose="020B0502020202020204" pitchFamily="34" charset="0"/>
                          <a:ea typeface="Cambria" panose="02040503050406030204" pitchFamily="18" charset="0"/>
                        </a:rPr>
                        <a:t> brake deactivation rpm</a:t>
                      </a:r>
                      <a:endParaRPr lang="en-US" sz="1200" b="1"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9017450"/>
                  </a:ext>
                </a:extLst>
              </a:tr>
              <a:tr h="256312">
                <a:tc>
                  <a:txBody>
                    <a:bodyPr/>
                    <a:lstStyle/>
                    <a:p>
                      <a:pPr marL="0" marR="0" algn="ctr">
                        <a:spcBef>
                          <a:spcPts val="0"/>
                        </a:spcBef>
                        <a:spcAft>
                          <a:spcPts val="0"/>
                        </a:spcAft>
                      </a:pPr>
                      <a:r>
                        <a:rPr lang="en-US" sz="1050" b="0" dirty="0">
                          <a:effectLst/>
                          <a:latin typeface="Century Gothic" panose="020B0502020202020204" pitchFamily="34" charset="0"/>
                          <a:ea typeface="Cambria" panose="02040503050406030204" pitchFamily="18" charset="0"/>
                        </a:rPr>
                        <a:t>1</a:t>
                      </a:r>
                      <a:endParaRPr lang="en-US" sz="1100" b="0"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b="0" dirty="0">
                          <a:effectLst/>
                          <a:latin typeface="Century Gothic" panose="020B0502020202020204" pitchFamily="34" charset="0"/>
                          <a:ea typeface="Cambria" panose="02040503050406030204" pitchFamily="18" charset="0"/>
                        </a:rPr>
                        <a:t>ON/OFF</a:t>
                      </a:r>
                      <a:endParaRPr lang="en-US" sz="1100" b="0"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endParaRPr lang="en-US" sz="1050" b="0" dirty="0">
                        <a:effectLst/>
                        <a:latin typeface="Century Gothic" panose="020B0502020202020204" pitchFamily="34" charset="0"/>
                        <a:ea typeface="Cambria" panose="02040503050406030204" pitchFamily="18" charset="0"/>
                      </a:endParaRPr>
                    </a:p>
                    <a:p>
                      <a:pPr marL="0" marR="0" algn="ctr">
                        <a:spcBef>
                          <a:spcPts val="0"/>
                        </a:spcBef>
                        <a:spcAft>
                          <a:spcPts val="0"/>
                        </a:spcAft>
                      </a:pPr>
                      <a:r>
                        <a:rPr lang="en-US" sz="1050" b="0" dirty="0">
                          <a:effectLst/>
                          <a:latin typeface="Century Gothic" panose="020B0502020202020204" pitchFamily="34" charset="0"/>
                          <a:ea typeface="Cambria" panose="02040503050406030204" pitchFamily="18" charset="0"/>
                        </a:rPr>
                        <a:t>Pressed </a:t>
                      </a:r>
                      <a:endParaRPr lang="en-US" sz="1100" b="0"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b="0" dirty="0">
                          <a:effectLst/>
                          <a:latin typeface="Century Gothic" panose="020B0502020202020204" pitchFamily="34" charset="0"/>
                          <a:ea typeface="Cambria" panose="02040503050406030204" pitchFamily="18" charset="0"/>
                        </a:rPr>
                        <a:t>&gt; 1500</a:t>
                      </a:r>
                      <a:r>
                        <a:rPr lang="en-US" sz="1050" b="0" baseline="0" dirty="0">
                          <a:effectLst/>
                          <a:latin typeface="Century Gothic" panose="020B0502020202020204" pitchFamily="34" charset="0"/>
                          <a:ea typeface="Cambria" panose="02040503050406030204" pitchFamily="18" charset="0"/>
                        </a:rPr>
                        <a:t> </a:t>
                      </a:r>
                      <a:endParaRPr lang="en-US" sz="1100" b="0"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b="0" dirty="0">
                          <a:effectLst/>
                          <a:latin typeface="Century Gothic" panose="020B0502020202020204" pitchFamily="34" charset="0"/>
                          <a:ea typeface="Cambria" panose="02040503050406030204" pitchFamily="18" charset="0"/>
                        </a:rPr>
                        <a:t>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b="0" dirty="0">
                          <a:effectLst/>
                          <a:latin typeface="Century Gothic" panose="020B0502020202020204" pitchFamily="34" charset="0"/>
                          <a:ea typeface="Cambria" panose="02040503050406030204" pitchFamily="18" charset="0"/>
                        </a:rPr>
                        <a:t>ON</a:t>
                      </a:r>
                      <a:endParaRPr lang="en-US" sz="1100" b="0"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100" dirty="0">
                          <a:latin typeface="Century Gothic" panose="020B0502020202020204" pitchFamily="34" charset="0"/>
                          <a:ea typeface="Cambria" panose="02040503050406030204" pitchFamily="18" charset="0"/>
                        </a:rPr>
                        <a:t>&lt;13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3588248"/>
                  </a:ext>
                </a:extLst>
              </a:tr>
              <a:tr h="256312">
                <a:tc>
                  <a:txBody>
                    <a:bodyPr/>
                    <a:lstStyle/>
                    <a:p>
                      <a:pPr marL="0" marR="0" algn="ctr">
                        <a:spcBef>
                          <a:spcPts val="0"/>
                        </a:spcBef>
                        <a:spcAft>
                          <a:spcPts val="0"/>
                        </a:spcAft>
                      </a:pPr>
                      <a:r>
                        <a:rPr lang="en-US" sz="1050" b="0" dirty="0">
                          <a:effectLst/>
                          <a:latin typeface="Century Gothic" panose="020B0502020202020204" pitchFamily="34" charset="0"/>
                          <a:ea typeface="Cambria" panose="02040503050406030204" pitchFamily="18" charset="0"/>
                        </a:rPr>
                        <a:t>2</a:t>
                      </a:r>
                      <a:endParaRPr lang="en-US" sz="1100" b="0"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b="0" dirty="0">
                          <a:effectLst/>
                          <a:latin typeface="Century Gothic" panose="020B0502020202020204" pitchFamily="34" charset="0"/>
                          <a:ea typeface="Cambria" panose="02040503050406030204" pitchFamily="18" charset="0"/>
                        </a:rPr>
                        <a:t>ON</a:t>
                      </a:r>
                      <a:endParaRPr lang="en-US" sz="1100" b="0"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b="0" dirty="0">
                          <a:effectLst/>
                          <a:latin typeface="Century Gothic" panose="020B0502020202020204" pitchFamily="34" charset="0"/>
                          <a:ea typeface="Cambria" panose="02040503050406030204" pitchFamily="18" charset="0"/>
                        </a:rPr>
                        <a:t>Not Pressed</a:t>
                      </a:r>
                      <a:endParaRPr lang="en-US" sz="1100" b="0"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b="0" dirty="0">
                          <a:effectLst/>
                          <a:latin typeface="Century Gothic" panose="020B0502020202020204" pitchFamily="34" charset="0"/>
                          <a:ea typeface="Cambria" panose="02040503050406030204" pitchFamily="18" charset="0"/>
                        </a:rPr>
                        <a:t>&gt; 1800</a:t>
                      </a:r>
                      <a:endParaRPr lang="en-US" sz="1100" b="0"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b="0" dirty="0">
                          <a:effectLst/>
                          <a:latin typeface="Century Gothic" panose="020B0502020202020204" pitchFamily="34" charset="0"/>
                          <a:ea typeface="Cambria" panose="02040503050406030204" pitchFamily="18" charset="0"/>
                        </a:rPr>
                        <a:t>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b="0" dirty="0">
                          <a:effectLst/>
                          <a:latin typeface="Century Gothic" panose="020B0502020202020204" pitchFamily="34" charset="0"/>
                          <a:ea typeface="Cambria" panose="02040503050406030204" pitchFamily="18" charset="0"/>
                        </a:rPr>
                        <a:t>ON</a:t>
                      </a:r>
                      <a:endParaRPr lang="en-US" sz="1100" b="0"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100" dirty="0">
                          <a:latin typeface="Century Gothic" panose="020B0502020202020204" pitchFamily="34" charset="0"/>
                          <a:ea typeface="Cambria" panose="02040503050406030204" pitchFamily="18" charset="0"/>
                        </a:rPr>
                        <a:t>&lt;16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7257127"/>
                  </a:ext>
                </a:extLst>
              </a:tr>
              <a:tr h="384468">
                <a:tc>
                  <a:txBody>
                    <a:bodyPr/>
                    <a:lstStyle/>
                    <a:p>
                      <a:pPr marL="0" marR="0" algn="ctr">
                        <a:spcBef>
                          <a:spcPts val="0"/>
                        </a:spcBef>
                        <a:spcAft>
                          <a:spcPts val="0"/>
                        </a:spcAft>
                      </a:pPr>
                      <a:r>
                        <a:rPr lang="en-US" sz="1050" b="0" dirty="0">
                          <a:effectLst/>
                          <a:latin typeface="Century Gothic" panose="020B0502020202020204" pitchFamily="34" charset="0"/>
                          <a:ea typeface="Cambria" panose="02040503050406030204" pitchFamily="18" charset="0"/>
                        </a:rPr>
                        <a:t>3</a:t>
                      </a:r>
                      <a:endParaRPr lang="en-US" sz="1100" b="0"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b="0" dirty="0">
                          <a:effectLst/>
                          <a:latin typeface="Century Gothic" panose="020B0502020202020204" pitchFamily="34" charset="0"/>
                          <a:ea typeface="Cambria" panose="02040503050406030204" pitchFamily="18" charset="0"/>
                        </a:rPr>
                        <a:t>ON / OFF</a:t>
                      </a:r>
                      <a:endParaRPr lang="en-US" sz="1100" b="0"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b="0" dirty="0">
                          <a:effectLst/>
                          <a:latin typeface="Century Gothic" panose="020B0502020202020204" pitchFamily="34" charset="0"/>
                          <a:ea typeface="Cambria" panose="02040503050406030204" pitchFamily="18" charset="0"/>
                        </a:rPr>
                        <a:t>Pressed / Not pressed</a:t>
                      </a:r>
                      <a:endParaRPr lang="en-US" sz="1100" b="0"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b="0" dirty="0">
                          <a:effectLst/>
                          <a:latin typeface="Century Gothic" panose="020B0502020202020204" pitchFamily="34" charset="0"/>
                          <a:ea typeface="Cambria" panose="02040503050406030204" pitchFamily="18" charset="0"/>
                        </a:rPr>
                        <a:t>&gt; 2650</a:t>
                      </a:r>
                      <a:endParaRPr lang="en-US" sz="1100" b="0"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b="0" dirty="0">
                          <a:effectLst/>
                          <a:latin typeface="Century Gothic" panose="020B0502020202020204" pitchFamily="34" charset="0"/>
                          <a:ea typeface="Cambria" panose="02040503050406030204" pitchFamily="18" charset="0"/>
                        </a:rPr>
                        <a:t>Any posi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b="0" dirty="0">
                          <a:effectLst/>
                          <a:latin typeface="Century Gothic" panose="020B0502020202020204" pitchFamily="34" charset="0"/>
                          <a:ea typeface="Cambria" panose="02040503050406030204" pitchFamily="18" charset="0"/>
                        </a:rPr>
                        <a:t>ON</a:t>
                      </a:r>
                      <a:endParaRPr lang="en-US" sz="1100" b="0" dirty="0">
                        <a:effectLst/>
                        <a:latin typeface="Century Gothic" panose="020B0502020202020204" pitchFamily="34" charset="0"/>
                        <a:ea typeface="Cambria" panose="020405030504060302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100" dirty="0">
                          <a:latin typeface="Century Gothic" panose="020B0502020202020204" pitchFamily="34" charset="0"/>
                          <a:ea typeface="Cambria" panose="02040503050406030204" pitchFamily="18" charset="0"/>
                        </a:rPr>
                        <a:t>&lt;257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5381499"/>
                  </a:ext>
                </a:extLst>
              </a:tr>
            </a:tbl>
          </a:graphicData>
        </a:graphic>
      </p:graphicFrame>
    </p:spTree>
    <p:extLst>
      <p:ext uri="{BB962C8B-B14F-4D97-AF65-F5344CB8AC3E}">
        <p14:creationId xmlns:p14="http://schemas.microsoft.com/office/powerpoint/2010/main" val="349132324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147459" name="TextBox 3"/>
          <p:cNvSpPr txBox="1">
            <a:spLocks noChangeArrowheads="1"/>
          </p:cNvSpPr>
          <p:nvPr/>
        </p:nvSpPr>
        <p:spPr bwMode="auto">
          <a:xfrm>
            <a:off x="1106957" y="80815"/>
            <a:ext cx="366799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24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0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16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9pPr>
          </a:lstStyle>
          <a:p>
            <a:pPr eaLnBrk="1" hangingPunct="1">
              <a:spcBef>
                <a:spcPct val="0"/>
              </a:spcBef>
              <a:buFontTx/>
              <a:buNone/>
            </a:pPr>
            <a:r>
              <a:rPr lang="en-IN" altLang="en-US" sz="3600" b="1" dirty="0">
                <a:latin typeface="Century Gothic" panose="020B0502020202020204" pitchFamily="34" charset="0"/>
              </a:rPr>
              <a:t>CHASSIS FRAME</a:t>
            </a:r>
            <a:endParaRPr lang="en-US" altLang="en-US" sz="3600" b="1" dirty="0">
              <a:latin typeface="Century Gothic" panose="020B0502020202020204" pitchFamily="34" charset="0"/>
            </a:endParaRPr>
          </a:p>
        </p:txBody>
      </p:sp>
      <p:sp>
        <p:nvSpPr>
          <p:cNvPr id="2" name="Rectangle 1">
            <a:extLst>
              <a:ext uri="{FF2B5EF4-FFF2-40B4-BE49-F238E27FC236}">
                <a16:creationId xmlns:a16="http://schemas.microsoft.com/office/drawing/2014/main" id="{3008DF44-10D8-4F65-942A-A943EA660EBB}"/>
              </a:ext>
            </a:extLst>
          </p:cNvPr>
          <p:cNvSpPr/>
          <p:nvPr/>
        </p:nvSpPr>
        <p:spPr>
          <a:xfrm>
            <a:off x="336180" y="4664119"/>
            <a:ext cx="3869637" cy="1618905"/>
          </a:xfrm>
          <a:prstGeom prst="rect">
            <a:avLst/>
          </a:prstGeom>
          <a:effectLst>
            <a:innerShdw blurRad="114300">
              <a:prstClr val="black"/>
            </a:innerShdw>
          </a:effectLst>
        </p:spPr>
        <p:style>
          <a:lnRef idx="2">
            <a:schemeClr val="accent1"/>
          </a:lnRef>
          <a:fillRef idx="1">
            <a:schemeClr val="lt1"/>
          </a:fillRef>
          <a:effectRef idx="0">
            <a:schemeClr val="accent1"/>
          </a:effectRef>
          <a:fontRef idx="minor">
            <a:schemeClr val="dk1"/>
          </a:fontRef>
        </p:style>
        <p:txBody>
          <a:bodyPr>
            <a:spAutoFit/>
          </a:bodyPr>
          <a:lstStyle/>
          <a:p>
            <a:pPr marL="214308" indent="-214308" algn="just" defTabSz="685783">
              <a:spcBef>
                <a:spcPct val="20000"/>
              </a:spcBef>
              <a:buFont typeface="Wingdings" pitchFamily="2" charset="2"/>
              <a:buChar char="§"/>
              <a:defRPr/>
            </a:pPr>
            <a:r>
              <a:rPr lang="en-US" sz="1600" kern="0" dirty="0">
                <a:solidFill>
                  <a:srgbClr val="000000"/>
                </a:solidFill>
                <a:latin typeface="Century Gothic" panose="020B0502020202020204" pitchFamily="34" charset="0"/>
                <a:cs typeface="Arial" pitchFamily="34" charset="0"/>
              </a:rPr>
              <a:t>It carries all the aggregates of the vehicle</a:t>
            </a:r>
          </a:p>
          <a:p>
            <a:pPr marL="214308" indent="-214308" algn="just" defTabSz="685783">
              <a:spcBef>
                <a:spcPct val="20000"/>
              </a:spcBef>
              <a:buFont typeface="Wingdings" pitchFamily="2" charset="2"/>
              <a:buChar char="§"/>
              <a:defRPr/>
            </a:pPr>
            <a:r>
              <a:rPr lang="en-US" sz="1600" kern="0" dirty="0">
                <a:solidFill>
                  <a:srgbClr val="000000"/>
                </a:solidFill>
                <a:latin typeface="Century Gothic" panose="020B0502020202020204" pitchFamily="34" charset="0"/>
                <a:cs typeface="Arial" pitchFamily="34" charset="0"/>
              </a:rPr>
              <a:t>Facilitates the building of passenger coach or load body &amp; cabin or special equipment like crane, tipping body etc., </a:t>
            </a:r>
          </a:p>
        </p:txBody>
      </p:sp>
      <p:grpSp>
        <p:nvGrpSpPr>
          <p:cNvPr id="147463" name="Group 6"/>
          <p:cNvGrpSpPr>
            <a:grpSpLocks/>
          </p:cNvGrpSpPr>
          <p:nvPr/>
        </p:nvGrpSpPr>
        <p:grpSpPr bwMode="auto">
          <a:xfrm>
            <a:off x="101600" y="1270001"/>
            <a:ext cx="5486400" cy="2400300"/>
            <a:chOff x="3242454" y="4013730"/>
            <a:chExt cx="5486400" cy="2400300"/>
          </a:xfrm>
        </p:grpSpPr>
        <p:pic>
          <p:nvPicPr>
            <p:cNvPr id="147519" name="Picture 15" descr="Description: 03_01_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42454" y="4013730"/>
              <a:ext cx="5486400" cy="240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Box 11">
              <a:extLst>
                <a:ext uri="{FF2B5EF4-FFF2-40B4-BE49-F238E27FC236}">
                  <a16:creationId xmlns:a16="http://schemas.microsoft.com/office/drawing/2014/main" id="{FC74DA88-7260-4B96-A603-2A82B4FFA380}"/>
                </a:ext>
              </a:extLst>
            </p:cNvPr>
            <p:cNvSpPr txBox="1">
              <a:spLocks noChangeArrowheads="1"/>
            </p:cNvSpPr>
            <p:nvPr/>
          </p:nvSpPr>
          <p:spPr bwMode="auto">
            <a:xfrm>
              <a:off x="5585605" y="4128030"/>
              <a:ext cx="788999" cy="3002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685783">
                <a:defRPr/>
              </a:pPr>
              <a:r>
                <a:rPr lang="en-US" sz="1351" dirty="0">
                  <a:latin typeface="Century Gothic" panose="020B0502020202020204" pitchFamily="34" charset="0"/>
                  <a:cs typeface="Calibri" pitchFamily="34" charset="0"/>
                </a:rPr>
                <a:t>GUSSET</a:t>
              </a:r>
              <a:endParaRPr lang="en-US" sz="1500" dirty="0">
                <a:latin typeface="Century Gothic" panose="020B0502020202020204" pitchFamily="34" charset="0"/>
                <a:cs typeface="Calibri" pitchFamily="34" charset="0"/>
              </a:endParaRPr>
            </a:p>
          </p:txBody>
        </p:sp>
        <p:sp>
          <p:nvSpPr>
            <p:cNvPr id="18" name="Line 49">
              <a:extLst>
                <a:ext uri="{FF2B5EF4-FFF2-40B4-BE49-F238E27FC236}">
                  <a16:creationId xmlns:a16="http://schemas.microsoft.com/office/drawing/2014/main" id="{CF519485-6493-4750-AEB1-44F9FD1CA511}"/>
                </a:ext>
              </a:extLst>
            </p:cNvPr>
            <p:cNvSpPr>
              <a:spLocks noChangeShapeType="1"/>
            </p:cNvSpPr>
            <p:nvPr/>
          </p:nvSpPr>
          <p:spPr bwMode="auto">
            <a:xfrm>
              <a:off x="5985654" y="4413781"/>
              <a:ext cx="613833" cy="169333"/>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defTabSz="685783">
                <a:defRPr/>
              </a:pPr>
              <a:endParaRPr lang="en-US" sz="1351" dirty="0">
                <a:solidFill>
                  <a:srgbClr val="0000FF"/>
                </a:solidFill>
                <a:cs typeface="Calibri" pitchFamily="34" charset="0"/>
              </a:endParaRPr>
            </a:p>
          </p:txBody>
        </p:sp>
        <p:sp>
          <p:nvSpPr>
            <p:cNvPr id="19" name="Text Box 40">
              <a:extLst>
                <a:ext uri="{FF2B5EF4-FFF2-40B4-BE49-F238E27FC236}">
                  <a16:creationId xmlns:a16="http://schemas.microsoft.com/office/drawing/2014/main" id="{1B472F05-8A61-4BF4-91A9-7806B0EBAAE7}"/>
                </a:ext>
              </a:extLst>
            </p:cNvPr>
            <p:cNvSpPr txBox="1">
              <a:spLocks noChangeArrowheads="1"/>
            </p:cNvSpPr>
            <p:nvPr/>
          </p:nvSpPr>
          <p:spPr bwMode="auto">
            <a:xfrm>
              <a:off x="6442854" y="5271030"/>
              <a:ext cx="1287532" cy="3002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685783">
                <a:defRPr/>
              </a:pPr>
              <a:r>
                <a:rPr lang="en-US" sz="1351" dirty="0">
                  <a:latin typeface="Century Gothic" panose="020B0502020202020204" pitchFamily="34" charset="0"/>
                  <a:cs typeface="Calibri" pitchFamily="34" charset="0"/>
                </a:rPr>
                <a:t>SIDE MEMBER</a:t>
              </a:r>
            </a:p>
          </p:txBody>
        </p:sp>
        <p:sp>
          <p:nvSpPr>
            <p:cNvPr id="20" name="Line 41">
              <a:extLst>
                <a:ext uri="{FF2B5EF4-FFF2-40B4-BE49-F238E27FC236}">
                  <a16:creationId xmlns:a16="http://schemas.microsoft.com/office/drawing/2014/main" id="{4CCE2939-B2A6-4186-BEEA-A918C78DAF31}"/>
                </a:ext>
              </a:extLst>
            </p:cNvPr>
            <p:cNvSpPr>
              <a:spLocks noChangeShapeType="1"/>
            </p:cNvSpPr>
            <p:nvPr/>
          </p:nvSpPr>
          <p:spPr bwMode="auto">
            <a:xfrm flipH="1" flipV="1">
              <a:off x="5985654" y="5271030"/>
              <a:ext cx="425451" cy="131233"/>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defTabSz="685783">
                <a:defRPr/>
              </a:pPr>
              <a:endParaRPr lang="en-US" sz="1351" b="1" dirty="0">
                <a:solidFill>
                  <a:srgbClr val="0000FF"/>
                </a:solidFill>
                <a:cs typeface="Calibri" pitchFamily="34" charset="0"/>
              </a:endParaRPr>
            </a:p>
          </p:txBody>
        </p:sp>
        <p:sp>
          <p:nvSpPr>
            <p:cNvPr id="21" name="Text Box 42">
              <a:extLst>
                <a:ext uri="{FF2B5EF4-FFF2-40B4-BE49-F238E27FC236}">
                  <a16:creationId xmlns:a16="http://schemas.microsoft.com/office/drawing/2014/main" id="{D456BD7C-92BE-4731-ABBD-C48D6968F6A0}"/>
                </a:ext>
              </a:extLst>
            </p:cNvPr>
            <p:cNvSpPr txBox="1">
              <a:spLocks noChangeArrowheads="1"/>
            </p:cNvSpPr>
            <p:nvPr/>
          </p:nvSpPr>
          <p:spPr bwMode="auto">
            <a:xfrm>
              <a:off x="3782205" y="4458230"/>
              <a:ext cx="1333500" cy="5080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685783">
                <a:defRPr/>
              </a:pPr>
              <a:r>
                <a:rPr lang="en-US" sz="1351" dirty="0">
                  <a:latin typeface="Century Gothic" panose="020B0502020202020204" pitchFamily="34" charset="0"/>
                  <a:cs typeface="Calibri" pitchFamily="34" charset="0"/>
                </a:rPr>
                <a:t>CROSS MEMBER</a:t>
              </a:r>
            </a:p>
          </p:txBody>
        </p:sp>
        <p:sp>
          <p:nvSpPr>
            <p:cNvPr id="22" name="Line 43">
              <a:extLst>
                <a:ext uri="{FF2B5EF4-FFF2-40B4-BE49-F238E27FC236}">
                  <a16:creationId xmlns:a16="http://schemas.microsoft.com/office/drawing/2014/main" id="{5AE8DF3B-6F82-4570-9BCB-F9575BEB338D}"/>
                </a:ext>
              </a:extLst>
            </p:cNvPr>
            <p:cNvSpPr>
              <a:spLocks noChangeShapeType="1"/>
            </p:cNvSpPr>
            <p:nvPr/>
          </p:nvSpPr>
          <p:spPr bwMode="auto">
            <a:xfrm>
              <a:off x="4556905" y="4813830"/>
              <a:ext cx="1371600" cy="171451"/>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defTabSz="685783">
                <a:defRPr/>
              </a:pPr>
              <a:endParaRPr lang="en-US" sz="1351" dirty="0">
                <a:solidFill>
                  <a:srgbClr val="0000FF"/>
                </a:solidFill>
                <a:cs typeface="Calibri" pitchFamily="34" charset="0"/>
              </a:endParaRPr>
            </a:p>
          </p:txBody>
        </p:sp>
        <p:sp>
          <p:nvSpPr>
            <p:cNvPr id="23" name="Text Box 36">
              <a:extLst>
                <a:ext uri="{FF2B5EF4-FFF2-40B4-BE49-F238E27FC236}">
                  <a16:creationId xmlns:a16="http://schemas.microsoft.com/office/drawing/2014/main" id="{69C0CBAA-C784-48E7-8E4D-BF38214FB975}"/>
                </a:ext>
              </a:extLst>
            </p:cNvPr>
            <p:cNvSpPr txBox="1">
              <a:spLocks noChangeArrowheads="1"/>
            </p:cNvSpPr>
            <p:nvPr/>
          </p:nvSpPr>
          <p:spPr bwMode="auto">
            <a:xfrm>
              <a:off x="4899805" y="5899681"/>
              <a:ext cx="1569660" cy="3002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685783">
                <a:defRPr/>
              </a:pPr>
              <a:r>
                <a:rPr lang="en-US" sz="1351" dirty="0">
                  <a:latin typeface="Century Gothic" panose="020B0502020202020204" pitchFamily="34" charset="0"/>
                  <a:cs typeface="Calibri" pitchFamily="34" charset="0"/>
                </a:rPr>
                <a:t>SPRING HANGER</a:t>
              </a:r>
            </a:p>
          </p:txBody>
        </p:sp>
        <p:sp>
          <p:nvSpPr>
            <p:cNvPr id="24" name="Line 37">
              <a:extLst>
                <a:ext uri="{FF2B5EF4-FFF2-40B4-BE49-F238E27FC236}">
                  <a16:creationId xmlns:a16="http://schemas.microsoft.com/office/drawing/2014/main" id="{90BF5AB7-7481-4BAC-9BF9-E2131D1C9BFB}"/>
                </a:ext>
              </a:extLst>
            </p:cNvPr>
            <p:cNvSpPr>
              <a:spLocks noChangeShapeType="1"/>
            </p:cNvSpPr>
            <p:nvPr/>
          </p:nvSpPr>
          <p:spPr bwMode="auto">
            <a:xfrm flipH="1" flipV="1">
              <a:off x="4442605" y="5956830"/>
              <a:ext cx="457200" cy="57151"/>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defTabSz="685783">
                <a:defRPr/>
              </a:pPr>
              <a:endParaRPr lang="en-US" sz="1500" b="1" dirty="0">
                <a:solidFill>
                  <a:srgbClr val="0000FF"/>
                </a:solidFill>
                <a:cs typeface="Calibri" pitchFamily="34" charset="0"/>
              </a:endParaRPr>
            </a:p>
          </p:txBody>
        </p:sp>
        <p:sp>
          <p:nvSpPr>
            <p:cNvPr id="25" name="Line 14">
              <a:extLst>
                <a:ext uri="{FF2B5EF4-FFF2-40B4-BE49-F238E27FC236}">
                  <a16:creationId xmlns:a16="http://schemas.microsoft.com/office/drawing/2014/main" id="{B6DBE565-BDD5-482B-907E-042363F3EF75}"/>
                </a:ext>
              </a:extLst>
            </p:cNvPr>
            <p:cNvSpPr>
              <a:spLocks noChangeShapeType="1"/>
            </p:cNvSpPr>
            <p:nvPr/>
          </p:nvSpPr>
          <p:spPr bwMode="auto">
            <a:xfrm>
              <a:off x="3756805" y="6299730"/>
              <a:ext cx="342900" cy="46567"/>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defTabSz="685783">
                <a:defRPr/>
              </a:pPr>
              <a:endParaRPr lang="en-US" sz="1351" dirty="0">
                <a:solidFill>
                  <a:srgbClr val="0000FF"/>
                </a:solidFill>
                <a:cs typeface="Calibri" pitchFamily="34" charset="0"/>
              </a:endParaRPr>
            </a:p>
          </p:txBody>
        </p:sp>
      </p:grpSp>
      <p:grpSp>
        <p:nvGrpSpPr>
          <p:cNvPr id="147464" name="Group 53"/>
          <p:cNvGrpSpPr>
            <a:grpSpLocks/>
          </p:cNvGrpSpPr>
          <p:nvPr/>
        </p:nvGrpSpPr>
        <p:grpSpPr bwMode="auto">
          <a:xfrm>
            <a:off x="5808134" y="1153585"/>
            <a:ext cx="5960533" cy="2781498"/>
            <a:chOff x="1219200" y="1475883"/>
            <a:chExt cx="6267450" cy="3262200"/>
          </a:xfrm>
        </p:grpSpPr>
        <p:sp>
          <p:nvSpPr>
            <p:cNvPr id="41" name="Text Box 2">
              <a:extLst>
                <a:ext uri="{FF2B5EF4-FFF2-40B4-BE49-F238E27FC236}">
                  <a16:creationId xmlns:a16="http://schemas.microsoft.com/office/drawing/2014/main" id="{FCE24314-79F1-4EB9-8BFF-083362FB964C}"/>
                </a:ext>
              </a:extLst>
            </p:cNvPr>
            <p:cNvSpPr txBox="1">
              <a:spLocks noChangeArrowheads="1"/>
            </p:cNvSpPr>
            <p:nvPr/>
          </p:nvSpPr>
          <p:spPr bwMode="auto">
            <a:xfrm>
              <a:off x="3502818" y="1475883"/>
              <a:ext cx="2212182" cy="397063"/>
            </a:xfrm>
            <a:prstGeom prst="rect">
              <a:avLst/>
            </a:prstGeom>
            <a:ln>
              <a:headEnd/>
              <a:tailEnd/>
            </a:ln>
          </p:spPr>
          <p:style>
            <a:lnRef idx="2">
              <a:schemeClr val="dk1"/>
            </a:lnRef>
            <a:fillRef idx="1">
              <a:schemeClr val="lt1"/>
            </a:fillRef>
            <a:effectRef idx="0">
              <a:schemeClr val="dk1"/>
            </a:effectRef>
            <a:fontRef idx="minor">
              <a:schemeClr val="dk1"/>
            </a:fontRef>
          </p:style>
          <p:txBody>
            <a:bodyPr>
              <a:spAutoFit/>
            </a:bodyPr>
            <a:lstStyle/>
            <a:p>
              <a:pPr algn="ctr" defTabSz="685783">
                <a:defRPr/>
              </a:pPr>
              <a:r>
                <a:rPr lang="en-US" sz="1600" dirty="0">
                  <a:ln>
                    <a:solidFill>
                      <a:srgbClr val="3333FF"/>
                    </a:solidFill>
                  </a:ln>
                  <a:solidFill>
                    <a:srgbClr val="C00000"/>
                  </a:solidFill>
                  <a:latin typeface="Century Gothic" panose="020B0502020202020204" pitchFamily="34" charset="0"/>
                  <a:cs typeface="Calibri" pitchFamily="34" charset="0"/>
                </a:rPr>
                <a:t>     </a:t>
              </a:r>
              <a:r>
                <a:rPr lang="en-US" sz="1600" dirty="0">
                  <a:ln>
                    <a:solidFill>
                      <a:srgbClr val="3333FF"/>
                    </a:solidFill>
                  </a:ln>
                  <a:solidFill>
                    <a:srgbClr val="E61A39"/>
                  </a:solidFill>
                  <a:latin typeface="Century Gothic" panose="020B0502020202020204" pitchFamily="34" charset="0"/>
                  <a:cs typeface="Calibri" pitchFamily="34" charset="0"/>
                </a:rPr>
                <a:t>Frame Types</a:t>
              </a:r>
            </a:p>
          </p:txBody>
        </p:sp>
        <p:sp>
          <p:nvSpPr>
            <p:cNvPr id="42" name="Text Box 3">
              <a:extLst>
                <a:ext uri="{FF2B5EF4-FFF2-40B4-BE49-F238E27FC236}">
                  <a16:creationId xmlns:a16="http://schemas.microsoft.com/office/drawing/2014/main" id="{CB7A3E07-FAF4-47DE-870C-440E3B524804}"/>
                </a:ext>
              </a:extLst>
            </p:cNvPr>
            <p:cNvSpPr txBox="1">
              <a:spLocks noChangeArrowheads="1"/>
            </p:cNvSpPr>
            <p:nvPr/>
          </p:nvSpPr>
          <p:spPr bwMode="auto">
            <a:xfrm>
              <a:off x="1600198" y="2932003"/>
              <a:ext cx="1257301" cy="685837"/>
            </a:xfrm>
            <a:prstGeom prst="rect">
              <a:avLst/>
            </a:prstGeom>
            <a:ln>
              <a:headEnd/>
              <a:tailEnd/>
            </a:ln>
          </p:spPr>
          <p:style>
            <a:lnRef idx="2">
              <a:schemeClr val="dk1"/>
            </a:lnRef>
            <a:fillRef idx="1">
              <a:schemeClr val="lt1"/>
            </a:fillRef>
            <a:effectRef idx="0">
              <a:schemeClr val="dk1"/>
            </a:effectRef>
            <a:fontRef idx="minor">
              <a:schemeClr val="dk1"/>
            </a:fontRef>
          </p:style>
          <p:txBody>
            <a:bodyPr>
              <a:spAutoFit/>
            </a:bodyPr>
            <a:lstStyle/>
            <a:p>
              <a:pPr algn="ctr" defTabSz="685783">
                <a:defRPr/>
              </a:pPr>
              <a:r>
                <a:rPr lang="en-US" sz="1600" dirty="0">
                  <a:ln>
                    <a:solidFill>
                      <a:srgbClr val="3333FF"/>
                    </a:solidFill>
                  </a:ln>
                  <a:solidFill>
                    <a:srgbClr val="C00000"/>
                  </a:solidFill>
                  <a:latin typeface="Century Gothic" panose="020B0502020202020204" pitchFamily="34" charset="0"/>
                  <a:cs typeface="Calibri" pitchFamily="34" charset="0"/>
                </a:rPr>
                <a:t>Ladder Type</a:t>
              </a:r>
            </a:p>
          </p:txBody>
        </p:sp>
        <p:sp>
          <p:nvSpPr>
            <p:cNvPr id="43" name="Text Box 4">
              <a:extLst>
                <a:ext uri="{FF2B5EF4-FFF2-40B4-BE49-F238E27FC236}">
                  <a16:creationId xmlns:a16="http://schemas.microsoft.com/office/drawing/2014/main" id="{E3774B68-8224-4D9E-9E50-808C66055BBF}"/>
                </a:ext>
              </a:extLst>
            </p:cNvPr>
            <p:cNvSpPr txBox="1">
              <a:spLocks noChangeArrowheads="1"/>
            </p:cNvSpPr>
            <p:nvPr/>
          </p:nvSpPr>
          <p:spPr bwMode="auto">
            <a:xfrm>
              <a:off x="6278245" y="2932003"/>
              <a:ext cx="1208405" cy="685837"/>
            </a:xfrm>
            <a:prstGeom prst="rect">
              <a:avLst/>
            </a:prstGeom>
            <a:ln>
              <a:headEnd/>
              <a:tailEnd/>
            </a:ln>
          </p:spPr>
          <p:style>
            <a:lnRef idx="2">
              <a:schemeClr val="dk1"/>
            </a:lnRef>
            <a:fillRef idx="1">
              <a:schemeClr val="lt1"/>
            </a:fillRef>
            <a:effectRef idx="0">
              <a:schemeClr val="dk1"/>
            </a:effectRef>
            <a:fontRef idx="minor">
              <a:schemeClr val="dk1"/>
            </a:fontRef>
          </p:style>
          <p:txBody>
            <a:bodyPr>
              <a:spAutoFit/>
            </a:bodyPr>
            <a:lstStyle/>
            <a:p>
              <a:pPr algn="ctr" defTabSz="685783">
                <a:defRPr/>
              </a:pPr>
              <a:r>
                <a:rPr lang="en-US" sz="1600" dirty="0">
                  <a:ln>
                    <a:solidFill>
                      <a:srgbClr val="3333FF"/>
                    </a:solidFill>
                  </a:ln>
                  <a:solidFill>
                    <a:srgbClr val="C00000"/>
                  </a:solidFill>
                  <a:latin typeface="Century Gothic" panose="020B0502020202020204" pitchFamily="34" charset="0"/>
                  <a:cs typeface="Calibri" pitchFamily="34" charset="0"/>
                </a:rPr>
                <a:t>Integral Type</a:t>
              </a:r>
            </a:p>
          </p:txBody>
        </p:sp>
        <p:cxnSp>
          <p:nvCxnSpPr>
            <p:cNvPr id="44" name="Straight Connector 47">
              <a:extLst>
                <a:ext uri="{FF2B5EF4-FFF2-40B4-BE49-F238E27FC236}">
                  <a16:creationId xmlns:a16="http://schemas.microsoft.com/office/drawing/2014/main" id="{2EEF9E4B-C911-4CC5-A082-61943A2C0DAD}"/>
                </a:ext>
              </a:extLst>
            </p:cNvPr>
            <p:cNvCxnSpPr>
              <a:cxnSpLocks noChangeShapeType="1"/>
            </p:cNvCxnSpPr>
            <p:nvPr/>
          </p:nvCxnSpPr>
          <p:spPr bwMode="auto">
            <a:xfrm>
              <a:off x="2169556" y="2560722"/>
              <a:ext cx="4796290" cy="0"/>
            </a:xfrm>
            <a:prstGeom prst="line">
              <a:avLst/>
            </a:prstGeom>
            <a:ln>
              <a:headEnd/>
              <a:tailEnd/>
            </a:ln>
          </p:spPr>
          <p:style>
            <a:lnRef idx="2">
              <a:schemeClr val="dk1"/>
            </a:lnRef>
            <a:fillRef idx="1">
              <a:schemeClr val="lt1"/>
            </a:fillRef>
            <a:effectRef idx="0">
              <a:schemeClr val="dk1"/>
            </a:effectRef>
            <a:fontRef idx="minor">
              <a:schemeClr val="dk1"/>
            </a:fontRef>
          </p:style>
        </p:cxnSp>
        <p:cxnSp>
          <p:nvCxnSpPr>
            <p:cNvPr id="45" name="Straight Connector 58">
              <a:extLst>
                <a:ext uri="{FF2B5EF4-FFF2-40B4-BE49-F238E27FC236}">
                  <a16:creationId xmlns:a16="http://schemas.microsoft.com/office/drawing/2014/main" id="{4F46442C-9FD8-4674-9087-709B8A5E4A54}"/>
                </a:ext>
              </a:extLst>
            </p:cNvPr>
            <p:cNvCxnSpPr>
              <a:cxnSpLocks noChangeShapeType="1"/>
            </p:cNvCxnSpPr>
            <p:nvPr/>
          </p:nvCxnSpPr>
          <p:spPr bwMode="auto">
            <a:xfrm rot="16200000" flipH="1">
              <a:off x="1996638" y="2728419"/>
              <a:ext cx="352511" cy="2226"/>
            </a:xfrm>
            <a:prstGeom prst="line">
              <a:avLst/>
            </a:prstGeom>
            <a:ln>
              <a:headEnd/>
              <a:tailEnd/>
            </a:ln>
          </p:spPr>
          <p:style>
            <a:lnRef idx="2">
              <a:schemeClr val="dk1"/>
            </a:lnRef>
            <a:fillRef idx="1">
              <a:schemeClr val="lt1"/>
            </a:fillRef>
            <a:effectRef idx="0">
              <a:schemeClr val="dk1"/>
            </a:effectRef>
            <a:fontRef idx="minor">
              <a:schemeClr val="dk1"/>
            </a:fontRef>
          </p:style>
        </p:cxnSp>
        <p:cxnSp>
          <p:nvCxnSpPr>
            <p:cNvPr id="46" name="Straight Connector 61">
              <a:extLst>
                <a:ext uri="{FF2B5EF4-FFF2-40B4-BE49-F238E27FC236}">
                  <a16:creationId xmlns:a16="http://schemas.microsoft.com/office/drawing/2014/main" id="{2D5ED050-5362-411C-8EA1-B02EEE63AD30}"/>
                </a:ext>
              </a:extLst>
            </p:cNvPr>
            <p:cNvCxnSpPr>
              <a:cxnSpLocks noChangeShapeType="1"/>
            </p:cNvCxnSpPr>
            <p:nvPr/>
          </p:nvCxnSpPr>
          <p:spPr bwMode="auto">
            <a:xfrm rot="5400000">
              <a:off x="6796268" y="2729532"/>
              <a:ext cx="352511" cy="0"/>
            </a:xfrm>
            <a:prstGeom prst="line">
              <a:avLst/>
            </a:prstGeom>
            <a:ln>
              <a:headEnd/>
              <a:tailEnd/>
            </a:ln>
          </p:spPr>
          <p:style>
            <a:lnRef idx="2">
              <a:schemeClr val="dk1"/>
            </a:lnRef>
            <a:fillRef idx="1">
              <a:schemeClr val="lt1"/>
            </a:fillRef>
            <a:effectRef idx="0">
              <a:schemeClr val="dk1"/>
            </a:effectRef>
            <a:fontRef idx="minor">
              <a:schemeClr val="dk1"/>
            </a:fontRef>
          </p:style>
        </p:cxnSp>
        <p:cxnSp>
          <p:nvCxnSpPr>
            <p:cNvPr id="47" name="Straight Connector 58">
              <a:extLst>
                <a:ext uri="{FF2B5EF4-FFF2-40B4-BE49-F238E27FC236}">
                  <a16:creationId xmlns:a16="http://schemas.microsoft.com/office/drawing/2014/main" id="{C3B60236-6833-42FF-A718-311A9BF83BFF}"/>
                </a:ext>
              </a:extLst>
            </p:cNvPr>
            <p:cNvCxnSpPr>
              <a:cxnSpLocks noChangeShapeType="1"/>
            </p:cNvCxnSpPr>
            <p:nvPr/>
          </p:nvCxnSpPr>
          <p:spPr bwMode="auto">
            <a:xfrm rot="16200000" flipH="1">
              <a:off x="1998865" y="3813258"/>
              <a:ext cx="352511" cy="2225"/>
            </a:xfrm>
            <a:prstGeom prst="line">
              <a:avLst/>
            </a:prstGeom>
            <a:ln>
              <a:headEnd/>
              <a:tailEnd/>
            </a:ln>
          </p:spPr>
          <p:style>
            <a:lnRef idx="2">
              <a:schemeClr val="dk1"/>
            </a:lnRef>
            <a:fillRef idx="1">
              <a:schemeClr val="lt1"/>
            </a:fillRef>
            <a:effectRef idx="0">
              <a:schemeClr val="dk1"/>
            </a:effectRef>
            <a:fontRef idx="minor">
              <a:schemeClr val="dk1"/>
            </a:fontRef>
          </p:style>
        </p:cxnSp>
        <p:cxnSp>
          <p:nvCxnSpPr>
            <p:cNvPr id="48" name="Straight Connector 58">
              <a:extLst>
                <a:ext uri="{FF2B5EF4-FFF2-40B4-BE49-F238E27FC236}">
                  <a16:creationId xmlns:a16="http://schemas.microsoft.com/office/drawing/2014/main" id="{CE153C18-BEF0-4B1E-9AF3-4EBD7C1DF442}"/>
                </a:ext>
              </a:extLst>
            </p:cNvPr>
            <p:cNvCxnSpPr>
              <a:cxnSpLocks noChangeShapeType="1"/>
            </p:cNvCxnSpPr>
            <p:nvPr/>
          </p:nvCxnSpPr>
          <p:spPr bwMode="auto">
            <a:xfrm>
              <a:off x="4571039" y="1850735"/>
              <a:ext cx="0" cy="709987"/>
            </a:xfrm>
            <a:prstGeom prst="line">
              <a:avLst/>
            </a:prstGeom>
            <a:ln>
              <a:headEnd/>
              <a:tailEnd/>
            </a:ln>
          </p:spPr>
          <p:style>
            <a:lnRef idx="2">
              <a:schemeClr val="dk1"/>
            </a:lnRef>
            <a:fillRef idx="1">
              <a:schemeClr val="lt1"/>
            </a:fillRef>
            <a:effectRef idx="0">
              <a:schemeClr val="dk1"/>
            </a:effectRef>
            <a:fontRef idx="minor">
              <a:schemeClr val="dk1"/>
            </a:fontRef>
          </p:style>
        </p:cxnSp>
        <p:sp>
          <p:nvSpPr>
            <p:cNvPr id="49" name="Text Box 3">
              <a:extLst>
                <a:ext uri="{FF2B5EF4-FFF2-40B4-BE49-F238E27FC236}">
                  <a16:creationId xmlns:a16="http://schemas.microsoft.com/office/drawing/2014/main" id="{7DF6ADBD-F1AC-4242-AB95-2B5E07183558}"/>
                </a:ext>
              </a:extLst>
            </p:cNvPr>
            <p:cNvSpPr txBox="1">
              <a:spLocks noChangeArrowheads="1"/>
            </p:cNvSpPr>
            <p:nvPr/>
          </p:nvSpPr>
          <p:spPr bwMode="auto">
            <a:xfrm>
              <a:off x="2740818" y="4341020"/>
              <a:ext cx="1088231" cy="397063"/>
            </a:xfrm>
            <a:prstGeom prst="rect">
              <a:avLst/>
            </a:prstGeom>
            <a:ln>
              <a:headEnd/>
              <a:tailEnd/>
            </a:ln>
          </p:spPr>
          <p:style>
            <a:lnRef idx="2">
              <a:schemeClr val="dk1"/>
            </a:lnRef>
            <a:fillRef idx="1">
              <a:schemeClr val="lt1"/>
            </a:fillRef>
            <a:effectRef idx="0">
              <a:schemeClr val="dk1"/>
            </a:effectRef>
            <a:fontRef idx="minor">
              <a:schemeClr val="dk1"/>
            </a:fontRef>
          </p:style>
          <p:txBody>
            <a:bodyPr>
              <a:spAutoFit/>
            </a:bodyPr>
            <a:lstStyle/>
            <a:p>
              <a:pPr algn="ctr" defTabSz="685783">
                <a:defRPr/>
              </a:pPr>
              <a:r>
                <a:rPr lang="en-US" sz="1600" dirty="0">
                  <a:ln>
                    <a:solidFill>
                      <a:srgbClr val="3333FF"/>
                    </a:solidFill>
                  </a:ln>
                  <a:solidFill>
                    <a:srgbClr val="C00000"/>
                  </a:solidFill>
                  <a:latin typeface="Century Gothic" panose="020B0502020202020204" pitchFamily="34" charset="0"/>
                  <a:cs typeface="Calibri" pitchFamily="34" charset="0"/>
                </a:rPr>
                <a:t>Straight</a:t>
              </a:r>
            </a:p>
          </p:txBody>
        </p:sp>
        <p:sp>
          <p:nvSpPr>
            <p:cNvPr id="50" name="Text Box 3">
              <a:extLst>
                <a:ext uri="{FF2B5EF4-FFF2-40B4-BE49-F238E27FC236}">
                  <a16:creationId xmlns:a16="http://schemas.microsoft.com/office/drawing/2014/main" id="{5780B68D-A866-4333-A518-9085D29D65AB}"/>
                </a:ext>
              </a:extLst>
            </p:cNvPr>
            <p:cNvSpPr txBox="1">
              <a:spLocks noChangeArrowheads="1"/>
            </p:cNvSpPr>
            <p:nvPr/>
          </p:nvSpPr>
          <p:spPr bwMode="auto">
            <a:xfrm>
              <a:off x="1219200" y="4341020"/>
              <a:ext cx="1066800" cy="397063"/>
            </a:xfrm>
            <a:prstGeom prst="rect">
              <a:avLst/>
            </a:prstGeom>
            <a:ln>
              <a:headEnd/>
              <a:tailEnd/>
            </a:ln>
          </p:spPr>
          <p:style>
            <a:lnRef idx="2">
              <a:schemeClr val="dk1"/>
            </a:lnRef>
            <a:fillRef idx="1">
              <a:schemeClr val="lt1"/>
            </a:fillRef>
            <a:effectRef idx="0">
              <a:schemeClr val="dk1"/>
            </a:effectRef>
            <a:fontRef idx="minor">
              <a:schemeClr val="dk1"/>
            </a:fontRef>
          </p:style>
          <p:txBody>
            <a:bodyPr>
              <a:spAutoFit/>
            </a:bodyPr>
            <a:lstStyle/>
            <a:p>
              <a:pPr algn="ctr" defTabSz="685783">
                <a:defRPr/>
              </a:pPr>
              <a:r>
                <a:rPr lang="en-US" sz="1600" dirty="0">
                  <a:ln>
                    <a:solidFill>
                      <a:srgbClr val="3333FF"/>
                    </a:solidFill>
                  </a:ln>
                  <a:solidFill>
                    <a:srgbClr val="C00000"/>
                  </a:solidFill>
                  <a:latin typeface="Century Gothic" panose="020B0502020202020204" pitchFamily="34" charset="0"/>
                  <a:cs typeface="Calibri" pitchFamily="34" charset="0"/>
                </a:rPr>
                <a:t>Joggled</a:t>
              </a:r>
            </a:p>
          </p:txBody>
        </p:sp>
        <p:cxnSp>
          <p:nvCxnSpPr>
            <p:cNvPr id="51" name="Straight Connector 47">
              <a:extLst>
                <a:ext uri="{FF2B5EF4-FFF2-40B4-BE49-F238E27FC236}">
                  <a16:creationId xmlns:a16="http://schemas.microsoft.com/office/drawing/2014/main" id="{158B41FF-BBA6-459D-8E12-9E892E137E35}"/>
                </a:ext>
              </a:extLst>
            </p:cNvPr>
            <p:cNvCxnSpPr>
              <a:cxnSpLocks noChangeShapeType="1"/>
            </p:cNvCxnSpPr>
            <p:nvPr/>
          </p:nvCxnSpPr>
          <p:spPr bwMode="auto">
            <a:xfrm>
              <a:off x="1599788" y="3990626"/>
              <a:ext cx="1522349" cy="0"/>
            </a:xfrm>
            <a:prstGeom prst="line">
              <a:avLst/>
            </a:prstGeom>
            <a:ln>
              <a:headEnd/>
              <a:tailEnd/>
            </a:ln>
          </p:spPr>
          <p:style>
            <a:lnRef idx="2">
              <a:schemeClr val="dk1"/>
            </a:lnRef>
            <a:fillRef idx="1">
              <a:schemeClr val="lt1"/>
            </a:fillRef>
            <a:effectRef idx="0">
              <a:schemeClr val="dk1"/>
            </a:effectRef>
            <a:fontRef idx="minor">
              <a:schemeClr val="dk1"/>
            </a:fontRef>
          </p:style>
        </p:cxnSp>
        <p:cxnSp>
          <p:nvCxnSpPr>
            <p:cNvPr id="52" name="Straight Connector 58">
              <a:extLst>
                <a:ext uri="{FF2B5EF4-FFF2-40B4-BE49-F238E27FC236}">
                  <a16:creationId xmlns:a16="http://schemas.microsoft.com/office/drawing/2014/main" id="{02DD8709-CA4B-4DD3-BA5C-AA8A4615B340}"/>
                </a:ext>
              </a:extLst>
            </p:cNvPr>
            <p:cNvCxnSpPr>
              <a:cxnSpLocks noChangeShapeType="1"/>
            </p:cNvCxnSpPr>
            <p:nvPr/>
          </p:nvCxnSpPr>
          <p:spPr bwMode="auto">
            <a:xfrm rot="16200000" flipH="1">
              <a:off x="1448143" y="4157081"/>
              <a:ext cx="350028" cy="2225"/>
            </a:xfrm>
            <a:prstGeom prst="line">
              <a:avLst/>
            </a:prstGeom>
            <a:ln>
              <a:headEnd/>
              <a:tailEnd/>
            </a:ln>
          </p:spPr>
          <p:style>
            <a:lnRef idx="2">
              <a:schemeClr val="dk1"/>
            </a:lnRef>
            <a:fillRef idx="1">
              <a:schemeClr val="lt1"/>
            </a:fillRef>
            <a:effectRef idx="0">
              <a:schemeClr val="dk1"/>
            </a:effectRef>
            <a:fontRef idx="minor">
              <a:schemeClr val="dk1"/>
            </a:fontRef>
          </p:style>
        </p:cxnSp>
        <p:cxnSp>
          <p:nvCxnSpPr>
            <p:cNvPr id="53" name="Straight Connector 58">
              <a:extLst>
                <a:ext uri="{FF2B5EF4-FFF2-40B4-BE49-F238E27FC236}">
                  <a16:creationId xmlns:a16="http://schemas.microsoft.com/office/drawing/2014/main" id="{A115C7CC-083A-474E-ADCE-6C270F76E2EE}"/>
                </a:ext>
              </a:extLst>
            </p:cNvPr>
            <p:cNvCxnSpPr>
              <a:cxnSpLocks noChangeShapeType="1"/>
            </p:cNvCxnSpPr>
            <p:nvPr/>
          </p:nvCxnSpPr>
          <p:spPr bwMode="auto">
            <a:xfrm rot="16200000" flipH="1">
              <a:off x="2948236" y="4157081"/>
              <a:ext cx="350028" cy="2225"/>
            </a:xfrm>
            <a:prstGeom prst="line">
              <a:avLst/>
            </a:prstGeom>
            <a:ln>
              <a:headEnd/>
              <a:tailEnd/>
            </a:ln>
          </p:spPr>
          <p:style>
            <a:lnRef idx="2">
              <a:schemeClr val="dk1"/>
            </a:lnRef>
            <a:fillRef idx="1">
              <a:schemeClr val="lt1"/>
            </a:fillRef>
            <a:effectRef idx="0">
              <a:schemeClr val="dk1"/>
            </a:effectRef>
            <a:fontRef idx="minor">
              <a:schemeClr val="dk1"/>
            </a:fontRef>
          </p:style>
        </p:cxnSp>
      </p:grpSp>
      <p:pic>
        <p:nvPicPr>
          <p:cNvPr id="14746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08133" y="4083051"/>
            <a:ext cx="2482851" cy="2142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7466" name="Group 88"/>
          <p:cNvGrpSpPr>
            <a:grpSpLocks/>
          </p:cNvGrpSpPr>
          <p:nvPr/>
        </p:nvGrpSpPr>
        <p:grpSpPr bwMode="auto">
          <a:xfrm>
            <a:off x="9755717" y="3964517"/>
            <a:ext cx="2133600" cy="770467"/>
            <a:chOff x="2650419" y="2888641"/>
            <a:chExt cx="4539897" cy="769941"/>
          </a:xfrm>
        </p:grpSpPr>
        <p:sp>
          <p:nvSpPr>
            <p:cNvPr id="90" name="Line 31">
              <a:extLst>
                <a:ext uri="{FF2B5EF4-FFF2-40B4-BE49-F238E27FC236}">
                  <a16:creationId xmlns:a16="http://schemas.microsoft.com/office/drawing/2014/main" id="{647FE969-6A6D-44DF-9A7C-FED5F7CD00D2}"/>
                </a:ext>
              </a:extLst>
            </p:cNvPr>
            <p:cNvSpPr>
              <a:spLocks noChangeShapeType="1"/>
            </p:cNvSpPr>
            <p:nvPr/>
          </p:nvSpPr>
          <p:spPr bwMode="auto">
            <a:xfrm>
              <a:off x="4118679" y="2937290"/>
              <a:ext cx="0" cy="425160"/>
            </a:xfrm>
            <a:prstGeom prst="line">
              <a:avLst/>
            </a:prstGeom>
            <a:noFill/>
            <a:ln w="9525">
              <a:solidFill>
                <a:schemeClr val="tx2"/>
              </a:solidFill>
              <a:prstDash val="lgDash"/>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91" name="AutoShape 33">
              <a:extLst>
                <a:ext uri="{FF2B5EF4-FFF2-40B4-BE49-F238E27FC236}">
                  <a16:creationId xmlns:a16="http://schemas.microsoft.com/office/drawing/2014/main" id="{ED9DC38D-0A84-4713-9237-8109632AF7DE}"/>
                </a:ext>
              </a:extLst>
            </p:cNvPr>
            <p:cNvSpPr>
              <a:spLocks noChangeArrowheads="1"/>
            </p:cNvSpPr>
            <p:nvPr/>
          </p:nvSpPr>
          <p:spPr bwMode="auto">
            <a:xfrm>
              <a:off x="2938666" y="3428022"/>
              <a:ext cx="4251650" cy="131144"/>
            </a:xfrm>
            <a:prstGeom prst="parallelogram">
              <a:avLst>
                <a:gd name="adj" fmla="val 426693"/>
              </a:avLst>
            </a:prstGeom>
            <a:solidFill>
              <a:srgbClr val="6699FF"/>
            </a:solidFill>
            <a:ln w="28575">
              <a:solidFill>
                <a:schemeClr val="tx2"/>
              </a:solidFill>
              <a:miter lim="800000"/>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92" name="AutoShape 34">
              <a:extLst>
                <a:ext uri="{FF2B5EF4-FFF2-40B4-BE49-F238E27FC236}">
                  <a16:creationId xmlns:a16="http://schemas.microsoft.com/office/drawing/2014/main" id="{C26E91F2-7220-462B-87F1-30BFB3881193}"/>
                </a:ext>
              </a:extLst>
            </p:cNvPr>
            <p:cNvSpPr>
              <a:spLocks noChangeArrowheads="1"/>
            </p:cNvSpPr>
            <p:nvPr/>
          </p:nvSpPr>
          <p:spPr bwMode="auto">
            <a:xfrm>
              <a:off x="2717976" y="3527438"/>
              <a:ext cx="828711" cy="29613"/>
            </a:xfrm>
            <a:prstGeom prst="parallelogram">
              <a:avLst>
                <a:gd name="adj" fmla="val 380357"/>
              </a:avLst>
            </a:prstGeom>
            <a:solidFill>
              <a:srgbClr val="6699FF"/>
            </a:solidFill>
            <a:ln w="28575">
              <a:solidFill>
                <a:schemeClr val="tx2"/>
              </a:solidFill>
              <a:miter lim="800000"/>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93" name="AutoShape 35">
              <a:extLst>
                <a:ext uri="{FF2B5EF4-FFF2-40B4-BE49-F238E27FC236}">
                  <a16:creationId xmlns:a16="http://schemas.microsoft.com/office/drawing/2014/main" id="{0749B5AD-A8D3-4ED5-A3F5-86CA6DBB0410}"/>
                </a:ext>
              </a:extLst>
            </p:cNvPr>
            <p:cNvSpPr>
              <a:spLocks noChangeArrowheads="1"/>
            </p:cNvSpPr>
            <p:nvPr/>
          </p:nvSpPr>
          <p:spPr bwMode="auto">
            <a:xfrm>
              <a:off x="3916004" y="3404755"/>
              <a:ext cx="833217" cy="27497"/>
            </a:xfrm>
            <a:prstGeom prst="parallelogram">
              <a:avLst>
                <a:gd name="adj" fmla="val 390854"/>
              </a:avLst>
            </a:prstGeom>
            <a:solidFill>
              <a:srgbClr val="6699FF"/>
            </a:solidFill>
            <a:ln w="28575">
              <a:solidFill>
                <a:schemeClr val="tx2"/>
              </a:solidFill>
              <a:miter lim="800000"/>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94" name="AutoShape 36">
              <a:extLst>
                <a:ext uri="{FF2B5EF4-FFF2-40B4-BE49-F238E27FC236}">
                  <a16:creationId xmlns:a16="http://schemas.microsoft.com/office/drawing/2014/main" id="{710A6222-AC4F-4506-A0ED-8264A135A8C6}"/>
                </a:ext>
              </a:extLst>
            </p:cNvPr>
            <p:cNvSpPr>
              <a:spLocks noChangeArrowheads="1"/>
            </p:cNvSpPr>
            <p:nvPr/>
          </p:nvSpPr>
          <p:spPr bwMode="auto">
            <a:xfrm>
              <a:off x="3758370" y="3527438"/>
              <a:ext cx="828711" cy="29613"/>
            </a:xfrm>
            <a:prstGeom prst="parallelogram">
              <a:avLst>
                <a:gd name="adj" fmla="val 380952"/>
              </a:avLst>
            </a:prstGeom>
            <a:solidFill>
              <a:srgbClr val="6699FF"/>
            </a:solidFill>
            <a:ln w="28575">
              <a:solidFill>
                <a:schemeClr val="tx2"/>
              </a:solidFill>
              <a:miter lim="800000"/>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95" name="AutoShape 37">
              <a:extLst>
                <a:ext uri="{FF2B5EF4-FFF2-40B4-BE49-F238E27FC236}">
                  <a16:creationId xmlns:a16="http://schemas.microsoft.com/office/drawing/2014/main" id="{90233BC2-118A-4BBA-8A81-023AE61AB0A4}"/>
                </a:ext>
              </a:extLst>
            </p:cNvPr>
            <p:cNvSpPr>
              <a:spLocks noChangeArrowheads="1"/>
            </p:cNvSpPr>
            <p:nvPr/>
          </p:nvSpPr>
          <p:spPr bwMode="auto">
            <a:xfrm>
              <a:off x="5001437" y="3527438"/>
              <a:ext cx="833214" cy="29613"/>
            </a:xfrm>
            <a:prstGeom prst="parallelogram">
              <a:avLst>
                <a:gd name="adj" fmla="val 380952"/>
              </a:avLst>
            </a:prstGeom>
            <a:solidFill>
              <a:srgbClr val="6699FF"/>
            </a:solidFill>
            <a:ln w="28575">
              <a:solidFill>
                <a:schemeClr val="tx2"/>
              </a:solidFill>
              <a:miter lim="800000"/>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96" name="AutoShape 38">
              <a:extLst>
                <a:ext uri="{FF2B5EF4-FFF2-40B4-BE49-F238E27FC236}">
                  <a16:creationId xmlns:a16="http://schemas.microsoft.com/office/drawing/2014/main" id="{EDB1BF13-336C-4B82-9222-6166BA77AC55}"/>
                </a:ext>
              </a:extLst>
            </p:cNvPr>
            <p:cNvSpPr>
              <a:spLocks noChangeArrowheads="1"/>
            </p:cNvSpPr>
            <p:nvPr/>
          </p:nvSpPr>
          <p:spPr bwMode="auto">
            <a:xfrm>
              <a:off x="4722197" y="3396294"/>
              <a:ext cx="1607879" cy="42304"/>
            </a:xfrm>
            <a:prstGeom prst="parallelogram">
              <a:avLst>
                <a:gd name="adj" fmla="val 180145"/>
              </a:avLst>
            </a:prstGeom>
            <a:solidFill>
              <a:srgbClr val="6699FF"/>
            </a:solidFill>
            <a:ln w="28575">
              <a:solidFill>
                <a:schemeClr val="tx2"/>
              </a:solidFill>
              <a:miter lim="800000"/>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97" name="AutoShape 39">
              <a:extLst>
                <a:ext uri="{FF2B5EF4-FFF2-40B4-BE49-F238E27FC236}">
                  <a16:creationId xmlns:a16="http://schemas.microsoft.com/office/drawing/2014/main" id="{A8FDD2D0-6089-40B4-A0A7-4E7ED1FEF3FA}"/>
                </a:ext>
              </a:extLst>
            </p:cNvPr>
            <p:cNvSpPr>
              <a:spLocks noChangeArrowheads="1"/>
            </p:cNvSpPr>
            <p:nvPr/>
          </p:nvSpPr>
          <p:spPr bwMode="auto">
            <a:xfrm>
              <a:off x="6334581" y="3408986"/>
              <a:ext cx="833214" cy="27497"/>
            </a:xfrm>
            <a:prstGeom prst="parallelogram">
              <a:avLst>
                <a:gd name="adj" fmla="val 390244"/>
              </a:avLst>
            </a:prstGeom>
            <a:solidFill>
              <a:srgbClr val="6699FF"/>
            </a:solidFill>
            <a:ln w="28575">
              <a:solidFill>
                <a:schemeClr val="tx2"/>
              </a:solidFill>
              <a:miter lim="800000"/>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98" name="Oval 40">
              <a:extLst>
                <a:ext uri="{FF2B5EF4-FFF2-40B4-BE49-F238E27FC236}">
                  <a16:creationId xmlns:a16="http://schemas.microsoft.com/office/drawing/2014/main" id="{E75566A0-8093-4E05-95F3-F743F6A133E6}"/>
                </a:ext>
              </a:extLst>
            </p:cNvPr>
            <p:cNvSpPr>
              <a:spLocks noChangeArrowheads="1"/>
            </p:cNvSpPr>
            <p:nvPr/>
          </p:nvSpPr>
          <p:spPr bwMode="auto">
            <a:xfrm>
              <a:off x="3051262" y="3510516"/>
              <a:ext cx="288247" cy="148066"/>
            </a:xfrm>
            <a:prstGeom prst="ellipse">
              <a:avLst/>
            </a:prstGeom>
            <a:solidFill>
              <a:schemeClr val="bg2"/>
            </a:solidFill>
            <a:ln w="28575">
              <a:solidFill>
                <a:schemeClr val="tx2"/>
              </a:solidFill>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99" name="Oval 41">
              <a:extLst>
                <a:ext uri="{FF2B5EF4-FFF2-40B4-BE49-F238E27FC236}">
                  <a16:creationId xmlns:a16="http://schemas.microsoft.com/office/drawing/2014/main" id="{3F91807B-1BC4-47DC-B22E-F4E54986D217}"/>
                </a:ext>
              </a:extLst>
            </p:cNvPr>
            <p:cNvSpPr>
              <a:spLocks noChangeArrowheads="1"/>
            </p:cNvSpPr>
            <p:nvPr/>
          </p:nvSpPr>
          <p:spPr bwMode="auto">
            <a:xfrm>
              <a:off x="5204110" y="3527438"/>
              <a:ext cx="274737" cy="114222"/>
            </a:xfrm>
            <a:prstGeom prst="ellipse">
              <a:avLst/>
            </a:prstGeom>
            <a:solidFill>
              <a:schemeClr val="bg2"/>
            </a:solidFill>
            <a:ln w="28575">
              <a:solidFill>
                <a:schemeClr val="tx2"/>
              </a:solidFill>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100" name="Arc 42">
              <a:extLst>
                <a:ext uri="{FF2B5EF4-FFF2-40B4-BE49-F238E27FC236}">
                  <a16:creationId xmlns:a16="http://schemas.microsoft.com/office/drawing/2014/main" id="{ABE86189-DD6C-4E7F-B3F5-624D5454767E}"/>
                </a:ext>
              </a:extLst>
            </p:cNvPr>
            <p:cNvSpPr>
              <a:spLocks/>
            </p:cNvSpPr>
            <p:nvPr/>
          </p:nvSpPr>
          <p:spPr bwMode="auto">
            <a:xfrm flipH="1">
              <a:off x="4492499" y="3313800"/>
              <a:ext cx="333286" cy="86725"/>
            </a:xfrm>
            <a:custGeom>
              <a:avLst/>
              <a:gdLst>
                <a:gd name="T0" fmla="*/ 0 w 41547"/>
                <a:gd name="T1" fmla="*/ 0 h 21600"/>
                <a:gd name="T2" fmla="*/ 0 w 41547"/>
                <a:gd name="T3" fmla="*/ 0 h 21600"/>
                <a:gd name="T4" fmla="*/ 0 w 41547"/>
                <a:gd name="T5" fmla="*/ 0 h 21600"/>
                <a:gd name="T6" fmla="*/ 0 60000 65536"/>
                <a:gd name="T7" fmla="*/ 0 60000 65536"/>
                <a:gd name="T8" fmla="*/ 0 60000 65536"/>
                <a:gd name="T9" fmla="*/ 0 w 41547"/>
                <a:gd name="T10" fmla="*/ 0 h 21600"/>
                <a:gd name="T11" fmla="*/ 41547 w 41547"/>
                <a:gd name="T12" fmla="*/ 21600 h 21600"/>
              </a:gdLst>
              <a:ahLst/>
              <a:cxnLst>
                <a:cxn ang="T6">
                  <a:pos x="T0" y="T1"/>
                </a:cxn>
                <a:cxn ang="T7">
                  <a:pos x="T2" y="T3"/>
                </a:cxn>
                <a:cxn ang="T8">
                  <a:pos x="T4" y="T5"/>
                </a:cxn>
              </a:cxnLst>
              <a:rect l="T9" t="T10" r="T11" b="T12"/>
              <a:pathLst>
                <a:path w="41547" h="21600" fill="none" extrusionOk="0">
                  <a:moveTo>
                    <a:pt x="-1" y="15480"/>
                  </a:moveTo>
                  <a:cubicBezTo>
                    <a:pt x="2711" y="6300"/>
                    <a:pt x="11142" y="-1"/>
                    <a:pt x="20715" y="0"/>
                  </a:cubicBezTo>
                  <a:cubicBezTo>
                    <a:pt x="30445" y="0"/>
                    <a:pt x="38975" y="6506"/>
                    <a:pt x="41546" y="15891"/>
                  </a:cubicBezTo>
                </a:path>
                <a:path w="41547" h="21600" stroke="0" extrusionOk="0">
                  <a:moveTo>
                    <a:pt x="-1" y="15480"/>
                  </a:moveTo>
                  <a:cubicBezTo>
                    <a:pt x="2711" y="6300"/>
                    <a:pt x="11142" y="-1"/>
                    <a:pt x="20715" y="0"/>
                  </a:cubicBezTo>
                  <a:cubicBezTo>
                    <a:pt x="30445" y="0"/>
                    <a:pt x="38975" y="6506"/>
                    <a:pt x="41546" y="15891"/>
                  </a:cubicBezTo>
                  <a:lnTo>
                    <a:pt x="20715" y="21600"/>
                  </a:lnTo>
                  <a:close/>
                </a:path>
              </a:pathLst>
            </a:custGeom>
            <a:solidFill>
              <a:schemeClr val="folHlink"/>
            </a:solidFill>
            <a:ln w="28575">
              <a:solidFill>
                <a:schemeClr val="tx2"/>
              </a:solidFill>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101" name="Arc 43">
              <a:extLst>
                <a:ext uri="{FF2B5EF4-FFF2-40B4-BE49-F238E27FC236}">
                  <a16:creationId xmlns:a16="http://schemas.microsoft.com/office/drawing/2014/main" id="{526A8778-7555-41F0-A76C-BD87FE977DB9}"/>
                </a:ext>
              </a:extLst>
            </p:cNvPr>
            <p:cNvSpPr>
              <a:spLocks/>
            </p:cNvSpPr>
            <p:nvPr/>
          </p:nvSpPr>
          <p:spPr bwMode="auto">
            <a:xfrm flipH="1">
              <a:off x="6334581" y="3332838"/>
              <a:ext cx="333286" cy="84609"/>
            </a:xfrm>
            <a:custGeom>
              <a:avLst/>
              <a:gdLst>
                <a:gd name="T0" fmla="*/ 0 w 41547"/>
                <a:gd name="T1" fmla="*/ 0 h 21600"/>
                <a:gd name="T2" fmla="*/ 0 w 41547"/>
                <a:gd name="T3" fmla="*/ 0 h 21600"/>
                <a:gd name="T4" fmla="*/ 0 w 41547"/>
                <a:gd name="T5" fmla="*/ 0 h 21600"/>
                <a:gd name="T6" fmla="*/ 0 60000 65536"/>
                <a:gd name="T7" fmla="*/ 0 60000 65536"/>
                <a:gd name="T8" fmla="*/ 0 60000 65536"/>
                <a:gd name="T9" fmla="*/ 0 w 41547"/>
                <a:gd name="T10" fmla="*/ 0 h 21600"/>
                <a:gd name="T11" fmla="*/ 41547 w 41547"/>
                <a:gd name="T12" fmla="*/ 21600 h 21600"/>
              </a:gdLst>
              <a:ahLst/>
              <a:cxnLst>
                <a:cxn ang="T6">
                  <a:pos x="T0" y="T1"/>
                </a:cxn>
                <a:cxn ang="T7">
                  <a:pos x="T2" y="T3"/>
                </a:cxn>
                <a:cxn ang="T8">
                  <a:pos x="T4" y="T5"/>
                </a:cxn>
              </a:cxnLst>
              <a:rect l="T9" t="T10" r="T11" b="T12"/>
              <a:pathLst>
                <a:path w="41547" h="21600" fill="none" extrusionOk="0">
                  <a:moveTo>
                    <a:pt x="-1" y="15480"/>
                  </a:moveTo>
                  <a:cubicBezTo>
                    <a:pt x="2711" y="6300"/>
                    <a:pt x="11142" y="-1"/>
                    <a:pt x="20715" y="0"/>
                  </a:cubicBezTo>
                  <a:cubicBezTo>
                    <a:pt x="30445" y="0"/>
                    <a:pt x="38975" y="6506"/>
                    <a:pt x="41546" y="15891"/>
                  </a:cubicBezTo>
                </a:path>
                <a:path w="41547" h="21600" stroke="0" extrusionOk="0">
                  <a:moveTo>
                    <a:pt x="-1" y="15480"/>
                  </a:moveTo>
                  <a:cubicBezTo>
                    <a:pt x="2711" y="6300"/>
                    <a:pt x="11142" y="-1"/>
                    <a:pt x="20715" y="0"/>
                  </a:cubicBezTo>
                  <a:cubicBezTo>
                    <a:pt x="30445" y="0"/>
                    <a:pt x="38975" y="6506"/>
                    <a:pt x="41546" y="15891"/>
                  </a:cubicBezTo>
                  <a:lnTo>
                    <a:pt x="20715" y="21600"/>
                  </a:lnTo>
                  <a:close/>
                </a:path>
              </a:pathLst>
            </a:custGeom>
            <a:solidFill>
              <a:schemeClr val="folHlink"/>
            </a:solidFill>
            <a:ln w="28575">
              <a:solidFill>
                <a:schemeClr val="tx2"/>
              </a:solidFill>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102" name="Line 44">
              <a:extLst>
                <a:ext uri="{FF2B5EF4-FFF2-40B4-BE49-F238E27FC236}">
                  <a16:creationId xmlns:a16="http://schemas.microsoft.com/office/drawing/2014/main" id="{273650E7-9582-42CE-AEF1-8DC6FA8CBBE1}"/>
                </a:ext>
              </a:extLst>
            </p:cNvPr>
            <p:cNvSpPr>
              <a:spLocks noChangeShapeType="1"/>
            </p:cNvSpPr>
            <p:nvPr/>
          </p:nvSpPr>
          <p:spPr bwMode="auto">
            <a:xfrm flipV="1">
              <a:off x="2943169" y="3019785"/>
              <a:ext cx="0" cy="537267"/>
            </a:xfrm>
            <a:prstGeom prst="line">
              <a:avLst/>
            </a:prstGeom>
            <a:noFill/>
            <a:ln w="9525">
              <a:solidFill>
                <a:schemeClr val="tx2"/>
              </a:solidFill>
              <a:prstDash val="lgDash"/>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103" name="Line 45">
              <a:extLst>
                <a:ext uri="{FF2B5EF4-FFF2-40B4-BE49-F238E27FC236}">
                  <a16:creationId xmlns:a16="http://schemas.microsoft.com/office/drawing/2014/main" id="{2A0DCB14-827F-47FA-8B2E-C7B2C526B671}"/>
                </a:ext>
              </a:extLst>
            </p:cNvPr>
            <p:cNvSpPr>
              <a:spLocks noChangeShapeType="1"/>
            </p:cNvSpPr>
            <p:nvPr/>
          </p:nvSpPr>
          <p:spPr bwMode="auto">
            <a:xfrm flipV="1">
              <a:off x="2997215" y="2920369"/>
              <a:ext cx="1265588" cy="99416"/>
            </a:xfrm>
            <a:prstGeom prst="line">
              <a:avLst/>
            </a:prstGeom>
            <a:noFill/>
            <a:ln w="9525">
              <a:solidFill>
                <a:schemeClr val="tx2"/>
              </a:solidFill>
              <a:prstDash val="lgDash"/>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104" name="Line 46">
              <a:extLst>
                <a:ext uri="{FF2B5EF4-FFF2-40B4-BE49-F238E27FC236}">
                  <a16:creationId xmlns:a16="http://schemas.microsoft.com/office/drawing/2014/main" id="{4CEB8828-C7EC-44C3-83A0-72A44C2BB5A8}"/>
                </a:ext>
              </a:extLst>
            </p:cNvPr>
            <p:cNvSpPr>
              <a:spLocks noChangeShapeType="1"/>
            </p:cNvSpPr>
            <p:nvPr/>
          </p:nvSpPr>
          <p:spPr bwMode="auto">
            <a:xfrm flipV="1">
              <a:off x="4042112" y="2920369"/>
              <a:ext cx="3035606" cy="8461"/>
            </a:xfrm>
            <a:prstGeom prst="line">
              <a:avLst/>
            </a:prstGeom>
            <a:noFill/>
            <a:ln w="9525">
              <a:solidFill>
                <a:schemeClr val="tx2"/>
              </a:solidFill>
              <a:prstDash val="lgDash"/>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105" name="Line 47">
              <a:extLst>
                <a:ext uri="{FF2B5EF4-FFF2-40B4-BE49-F238E27FC236}">
                  <a16:creationId xmlns:a16="http://schemas.microsoft.com/office/drawing/2014/main" id="{6FAC77E0-8E36-4CBD-990C-943469F4C077}"/>
                </a:ext>
              </a:extLst>
            </p:cNvPr>
            <p:cNvSpPr>
              <a:spLocks noChangeShapeType="1"/>
            </p:cNvSpPr>
            <p:nvPr/>
          </p:nvSpPr>
          <p:spPr bwMode="auto">
            <a:xfrm flipV="1">
              <a:off x="2938666" y="3015554"/>
              <a:ext cx="3220263" cy="4230"/>
            </a:xfrm>
            <a:prstGeom prst="line">
              <a:avLst/>
            </a:prstGeom>
            <a:noFill/>
            <a:ln w="9525">
              <a:solidFill>
                <a:schemeClr val="tx2"/>
              </a:solidFill>
              <a:prstDash val="lgDash"/>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106" name="Line 48">
              <a:extLst>
                <a:ext uri="{FF2B5EF4-FFF2-40B4-BE49-F238E27FC236}">
                  <a16:creationId xmlns:a16="http://schemas.microsoft.com/office/drawing/2014/main" id="{BE508CB3-DD67-440C-80FE-6A87F60D9498}"/>
                </a:ext>
              </a:extLst>
            </p:cNvPr>
            <p:cNvSpPr>
              <a:spLocks noChangeShapeType="1"/>
            </p:cNvSpPr>
            <p:nvPr/>
          </p:nvSpPr>
          <p:spPr bwMode="auto">
            <a:xfrm flipV="1">
              <a:off x="6046334" y="2920369"/>
              <a:ext cx="1089936" cy="99416"/>
            </a:xfrm>
            <a:prstGeom prst="line">
              <a:avLst/>
            </a:prstGeom>
            <a:noFill/>
            <a:ln w="9525">
              <a:solidFill>
                <a:schemeClr val="tx2"/>
              </a:solidFill>
              <a:prstDash val="lgDash"/>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107" name="Line 49">
              <a:extLst>
                <a:ext uri="{FF2B5EF4-FFF2-40B4-BE49-F238E27FC236}">
                  <a16:creationId xmlns:a16="http://schemas.microsoft.com/office/drawing/2014/main" id="{0E92FB2F-71AC-46DC-A085-B8519D4D31F9}"/>
                </a:ext>
              </a:extLst>
            </p:cNvPr>
            <p:cNvSpPr>
              <a:spLocks noChangeShapeType="1"/>
            </p:cNvSpPr>
            <p:nvPr/>
          </p:nvSpPr>
          <p:spPr bwMode="auto">
            <a:xfrm>
              <a:off x="6046334" y="3019785"/>
              <a:ext cx="0" cy="522459"/>
            </a:xfrm>
            <a:prstGeom prst="line">
              <a:avLst/>
            </a:prstGeom>
            <a:noFill/>
            <a:ln w="9525">
              <a:solidFill>
                <a:schemeClr val="tx2"/>
              </a:solidFill>
              <a:prstDash val="lgDash"/>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108" name="Line 50">
              <a:extLst>
                <a:ext uri="{FF2B5EF4-FFF2-40B4-BE49-F238E27FC236}">
                  <a16:creationId xmlns:a16="http://schemas.microsoft.com/office/drawing/2014/main" id="{0068052E-1EE2-4C34-B486-E2A8F4BE4FB6}"/>
                </a:ext>
              </a:extLst>
            </p:cNvPr>
            <p:cNvSpPr>
              <a:spLocks noChangeShapeType="1"/>
            </p:cNvSpPr>
            <p:nvPr/>
          </p:nvSpPr>
          <p:spPr bwMode="auto">
            <a:xfrm flipH="1">
              <a:off x="2708968" y="3019785"/>
              <a:ext cx="229699" cy="196715"/>
            </a:xfrm>
            <a:prstGeom prst="line">
              <a:avLst/>
            </a:prstGeom>
            <a:noFill/>
            <a:ln w="9525">
              <a:solidFill>
                <a:schemeClr val="tx2"/>
              </a:solidFill>
              <a:prstDash val="lgDash"/>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109" name="Line 51">
              <a:extLst>
                <a:ext uri="{FF2B5EF4-FFF2-40B4-BE49-F238E27FC236}">
                  <a16:creationId xmlns:a16="http://schemas.microsoft.com/office/drawing/2014/main" id="{6F48AD89-06EA-45BE-8D5E-F70BA46621BD}"/>
                </a:ext>
              </a:extLst>
            </p:cNvPr>
            <p:cNvSpPr>
              <a:spLocks noChangeShapeType="1"/>
            </p:cNvSpPr>
            <p:nvPr/>
          </p:nvSpPr>
          <p:spPr bwMode="auto">
            <a:xfrm flipV="1">
              <a:off x="7109246" y="2888641"/>
              <a:ext cx="0" cy="522459"/>
            </a:xfrm>
            <a:prstGeom prst="line">
              <a:avLst/>
            </a:prstGeom>
            <a:noFill/>
            <a:ln w="9525">
              <a:solidFill>
                <a:schemeClr val="tx2"/>
              </a:solidFill>
              <a:prstDash val="dash"/>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110" name="Line 52">
              <a:extLst>
                <a:ext uri="{FF2B5EF4-FFF2-40B4-BE49-F238E27FC236}">
                  <a16:creationId xmlns:a16="http://schemas.microsoft.com/office/drawing/2014/main" id="{E30C87F7-7337-40BE-AFDB-8110D37743B6}"/>
                </a:ext>
              </a:extLst>
            </p:cNvPr>
            <p:cNvSpPr>
              <a:spLocks noChangeShapeType="1"/>
            </p:cNvSpPr>
            <p:nvPr/>
          </p:nvSpPr>
          <p:spPr bwMode="auto">
            <a:xfrm>
              <a:off x="2677442" y="3216500"/>
              <a:ext cx="0" cy="325744"/>
            </a:xfrm>
            <a:prstGeom prst="line">
              <a:avLst/>
            </a:prstGeom>
            <a:noFill/>
            <a:ln w="9525">
              <a:solidFill>
                <a:schemeClr val="tx2"/>
              </a:solidFill>
              <a:prstDash val="dash"/>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111" name="Line 53">
              <a:extLst>
                <a:ext uri="{FF2B5EF4-FFF2-40B4-BE49-F238E27FC236}">
                  <a16:creationId xmlns:a16="http://schemas.microsoft.com/office/drawing/2014/main" id="{566017B7-5A57-4B97-9BD8-8332CF440D74}"/>
                </a:ext>
              </a:extLst>
            </p:cNvPr>
            <p:cNvSpPr>
              <a:spLocks noChangeShapeType="1"/>
            </p:cNvSpPr>
            <p:nvPr/>
          </p:nvSpPr>
          <p:spPr bwMode="auto">
            <a:xfrm flipV="1">
              <a:off x="2650419" y="3117085"/>
              <a:ext cx="1148484" cy="131144"/>
            </a:xfrm>
            <a:prstGeom prst="line">
              <a:avLst/>
            </a:prstGeom>
            <a:noFill/>
            <a:ln w="9525">
              <a:solidFill>
                <a:schemeClr val="tx2"/>
              </a:solidFill>
              <a:prstDash val="dash"/>
              <a:round/>
              <a:headEnd/>
              <a:tailEnd/>
            </a:ln>
          </p:spPr>
          <p:txBody>
            <a:bodyPr wrap="none" anchor="ctr"/>
            <a:lstStyle/>
            <a:p>
              <a:pPr defTabSz="685783">
                <a:defRPr/>
              </a:pPr>
              <a:endParaRPr lang="en-US" sz="1351" dirty="0">
                <a:solidFill>
                  <a:srgbClr val="000000"/>
                </a:solidFill>
                <a:latin typeface="Century Gothic" panose="020B0502020202020204" pitchFamily="34" charset="0"/>
              </a:endParaRPr>
            </a:p>
          </p:txBody>
        </p:sp>
        <p:sp>
          <p:nvSpPr>
            <p:cNvPr id="112" name="Line 54">
              <a:extLst>
                <a:ext uri="{FF2B5EF4-FFF2-40B4-BE49-F238E27FC236}">
                  <a16:creationId xmlns:a16="http://schemas.microsoft.com/office/drawing/2014/main" id="{A7E31264-1360-4277-938D-D0BCDE97CC44}"/>
                </a:ext>
              </a:extLst>
            </p:cNvPr>
            <p:cNvSpPr>
              <a:spLocks noChangeShapeType="1"/>
            </p:cNvSpPr>
            <p:nvPr/>
          </p:nvSpPr>
          <p:spPr bwMode="auto">
            <a:xfrm flipH="1">
              <a:off x="3857455" y="2920369"/>
              <a:ext cx="171147" cy="196716"/>
            </a:xfrm>
            <a:prstGeom prst="line">
              <a:avLst/>
            </a:prstGeom>
            <a:noFill/>
            <a:ln w="9525">
              <a:solidFill>
                <a:schemeClr val="tx2"/>
              </a:solidFill>
              <a:prstDash val="dash"/>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113" name="Line 55">
              <a:extLst>
                <a:ext uri="{FF2B5EF4-FFF2-40B4-BE49-F238E27FC236}">
                  <a16:creationId xmlns:a16="http://schemas.microsoft.com/office/drawing/2014/main" id="{5757FFE8-0C7F-47CB-90B6-D74FDDB75254}"/>
                </a:ext>
              </a:extLst>
            </p:cNvPr>
            <p:cNvSpPr>
              <a:spLocks noChangeShapeType="1"/>
            </p:cNvSpPr>
            <p:nvPr/>
          </p:nvSpPr>
          <p:spPr bwMode="auto">
            <a:xfrm>
              <a:off x="3857455" y="3117085"/>
              <a:ext cx="0" cy="228444"/>
            </a:xfrm>
            <a:prstGeom prst="line">
              <a:avLst/>
            </a:prstGeom>
            <a:noFill/>
            <a:ln w="9525">
              <a:solidFill>
                <a:schemeClr val="tx2"/>
              </a:solidFill>
              <a:prstDash val="dash"/>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114" name="Line 56">
              <a:extLst>
                <a:ext uri="{FF2B5EF4-FFF2-40B4-BE49-F238E27FC236}">
                  <a16:creationId xmlns:a16="http://schemas.microsoft.com/office/drawing/2014/main" id="{AA51455C-6C86-4834-A3E5-C0F9922C10AA}"/>
                </a:ext>
              </a:extLst>
            </p:cNvPr>
            <p:cNvSpPr>
              <a:spLocks noChangeShapeType="1"/>
            </p:cNvSpPr>
            <p:nvPr/>
          </p:nvSpPr>
          <p:spPr bwMode="auto">
            <a:xfrm flipH="1">
              <a:off x="2997215" y="3379373"/>
              <a:ext cx="1148487" cy="162871"/>
            </a:xfrm>
            <a:prstGeom prst="line">
              <a:avLst/>
            </a:prstGeom>
            <a:noFill/>
            <a:ln w="9525">
              <a:solidFill>
                <a:schemeClr val="tx2"/>
              </a:solidFill>
              <a:prstDash val="dash"/>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115" name="Line 57">
              <a:extLst>
                <a:ext uri="{FF2B5EF4-FFF2-40B4-BE49-F238E27FC236}">
                  <a16:creationId xmlns:a16="http://schemas.microsoft.com/office/drawing/2014/main" id="{A23C6198-4CC0-4FC7-B0E9-59138A0371F9}"/>
                </a:ext>
              </a:extLst>
            </p:cNvPr>
            <p:cNvSpPr>
              <a:spLocks noChangeShapeType="1"/>
            </p:cNvSpPr>
            <p:nvPr/>
          </p:nvSpPr>
          <p:spPr bwMode="auto">
            <a:xfrm flipH="1">
              <a:off x="2708968" y="3330722"/>
              <a:ext cx="1148487" cy="162873"/>
            </a:xfrm>
            <a:prstGeom prst="line">
              <a:avLst/>
            </a:prstGeom>
            <a:noFill/>
            <a:ln w="9525">
              <a:solidFill>
                <a:schemeClr val="tx2"/>
              </a:solidFill>
              <a:prstDash val="dash"/>
              <a:round/>
              <a:headEnd/>
              <a:tailEnd/>
            </a:ln>
          </p:spPr>
          <p:txBody>
            <a:bodyPr wrap="none" anchor="ctr"/>
            <a:lstStyle/>
            <a:p>
              <a:pPr defTabSz="685783">
                <a:defRPr/>
              </a:pPr>
              <a:endParaRPr lang="en-US" sz="1351" dirty="0">
                <a:solidFill>
                  <a:srgbClr val="000000"/>
                </a:solidFill>
                <a:latin typeface="Century Gothic" panose="020B0502020202020204" pitchFamily="34" charset="0"/>
              </a:endParaRPr>
            </a:p>
          </p:txBody>
        </p:sp>
        <p:sp>
          <p:nvSpPr>
            <p:cNvPr id="116" name="Line 58">
              <a:extLst>
                <a:ext uri="{FF2B5EF4-FFF2-40B4-BE49-F238E27FC236}">
                  <a16:creationId xmlns:a16="http://schemas.microsoft.com/office/drawing/2014/main" id="{F73A7EF5-9510-42A1-8ACF-A727B68FF55D}"/>
                </a:ext>
              </a:extLst>
            </p:cNvPr>
            <p:cNvSpPr>
              <a:spLocks noChangeShapeType="1"/>
            </p:cNvSpPr>
            <p:nvPr/>
          </p:nvSpPr>
          <p:spPr bwMode="auto">
            <a:xfrm>
              <a:off x="2650419" y="3476673"/>
              <a:ext cx="171147" cy="99415"/>
            </a:xfrm>
            <a:prstGeom prst="line">
              <a:avLst/>
            </a:prstGeom>
            <a:noFill/>
            <a:ln w="9525">
              <a:solidFill>
                <a:schemeClr val="tx2"/>
              </a:solidFill>
              <a:prstDash val="dash"/>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117" name="Line 59">
              <a:extLst>
                <a:ext uri="{FF2B5EF4-FFF2-40B4-BE49-F238E27FC236}">
                  <a16:creationId xmlns:a16="http://schemas.microsoft.com/office/drawing/2014/main" id="{BD818F95-4720-4CF8-8433-A96184372322}"/>
                </a:ext>
              </a:extLst>
            </p:cNvPr>
            <p:cNvSpPr>
              <a:spLocks noChangeShapeType="1"/>
            </p:cNvSpPr>
            <p:nvPr/>
          </p:nvSpPr>
          <p:spPr bwMode="auto">
            <a:xfrm>
              <a:off x="3857455" y="3313800"/>
              <a:ext cx="171147" cy="97300"/>
            </a:xfrm>
            <a:prstGeom prst="line">
              <a:avLst/>
            </a:prstGeom>
            <a:noFill/>
            <a:ln w="9525">
              <a:solidFill>
                <a:schemeClr val="tx2"/>
              </a:solidFill>
              <a:prstDash val="dash"/>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sp>
          <p:nvSpPr>
            <p:cNvPr id="118" name="AutoShape 60">
              <a:extLst>
                <a:ext uri="{FF2B5EF4-FFF2-40B4-BE49-F238E27FC236}">
                  <a16:creationId xmlns:a16="http://schemas.microsoft.com/office/drawing/2014/main" id="{B321E5AF-8308-41CC-9C7A-F41410FD1746}"/>
                </a:ext>
              </a:extLst>
            </p:cNvPr>
            <p:cNvSpPr>
              <a:spLocks noChangeArrowheads="1"/>
            </p:cNvSpPr>
            <p:nvPr/>
          </p:nvSpPr>
          <p:spPr bwMode="auto">
            <a:xfrm>
              <a:off x="4262803" y="3085356"/>
              <a:ext cx="400843" cy="482271"/>
            </a:xfrm>
            <a:prstGeom prst="roundRect">
              <a:avLst>
                <a:gd name="adj" fmla="val 16667"/>
              </a:avLst>
            </a:prstGeom>
            <a:noFill/>
            <a:ln w="9525">
              <a:solidFill>
                <a:schemeClr val="tx2"/>
              </a:solidFill>
              <a:prstDash val="dash"/>
              <a:round/>
              <a:headEnd/>
              <a:tailEnd/>
            </a:ln>
          </p:spPr>
          <p:txBody>
            <a:bodyPr wrap="none" anchor="ctr"/>
            <a:lstStyle/>
            <a:p>
              <a:pPr defTabSz="685783">
                <a:defRPr/>
              </a:pPr>
              <a:endParaRPr lang="en-US" sz="1351">
                <a:solidFill>
                  <a:srgbClr val="000000"/>
                </a:solidFill>
                <a:latin typeface="Century Gothic" panose="020B0502020202020204" pitchFamily="34" charset="0"/>
              </a:endParaRPr>
            </a:p>
          </p:txBody>
        </p:sp>
      </p:grpSp>
      <p:sp>
        <p:nvSpPr>
          <p:cNvPr id="119" name="Text Box 32">
            <a:extLst>
              <a:ext uri="{FF2B5EF4-FFF2-40B4-BE49-F238E27FC236}">
                <a16:creationId xmlns:a16="http://schemas.microsoft.com/office/drawing/2014/main" id="{E5FEB3C0-3CF9-45CD-AB6E-6634DF57F756}"/>
              </a:ext>
            </a:extLst>
          </p:cNvPr>
          <p:cNvSpPr txBox="1">
            <a:spLocks noChangeArrowheads="1"/>
          </p:cNvSpPr>
          <p:nvPr/>
        </p:nvSpPr>
        <p:spPr bwMode="auto">
          <a:xfrm>
            <a:off x="8001574" y="6487585"/>
            <a:ext cx="4350717" cy="369332"/>
          </a:xfrm>
          <a:prstGeom prst="rect">
            <a:avLst/>
          </a:prstGeom>
          <a:noFill/>
          <a:ln w="9525">
            <a:noFill/>
            <a:miter lim="800000"/>
            <a:headEnd/>
            <a:tailEnd/>
          </a:ln>
        </p:spPr>
        <p:txBody>
          <a:bodyPr wrap="square">
            <a:spAutoFit/>
          </a:bodyPr>
          <a:lstStyle/>
          <a:p>
            <a:pPr algn="ctr" defTabSz="685783">
              <a:defRPr/>
            </a:pPr>
            <a:r>
              <a:rPr lang="en-US" dirty="0">
                <a:solidFill>
                  <a:srgbClr val="000000"/>
                </a:solidFill>
                <a:latin typeface="Century Gothic" panose="020B0502020202020204" pitchFamily="34" charset="0"/>
                <a:cs typeface="Calibri" pitchFamily="34" charset="0"/>
              </a:rPr>
              <a:t> </a:t>
            </a:r>
            <a:r>
              <a:rPr lang="en-US" sz="1100" dirty="0">
                <a:solidFill>
                  <a:srgbClr val="000000"/>
                </a:solidFill>
                <a:latin typeface="Century Gothic" panose="020B0502020202020204" pitchFamily="34" charset="0"/>
                <a:cs typeface="Calibri" pitchFamily="34" charset="0"/>
              </a:rPr>
              <a:t>Note: floor and coach are integrated , eliminating frame</a:t>
            </a:r>
          </a:p>
        </p:txBody>
      </p:sp>
      <p:sp>
        <p:nvSpPr>
          <p:cNvPr id="63" name="TextBox 62">
            <a:extLst>
              <a:ext uri="{FF2B5EF4-FFF2-40B4-BE49-F238E27FC236}">
                <a16:creationId xmlns:a16="http://schemas.microsoft.com/office/drawing/2014/main" id="{802E5FA7-F1D3-4298-B460-F7243D395BA2}"/>
              </a:ext>
            </a:extLst>
          </p:cNvPr>
          <p:cNvSpPr txBox="1"/>
          <p:nvPr/>
        </p:nvSpPr>
        <p:spPr>
          <a:xfrm>
            <a:off x="1215436" y="4303557"/>
            <a:ext cx="2107611" cy="369332"/>
          </a:xfrm>
          <a:prstGeom prst="rect">
            <a:avLst/>
          </a:prstGeom>
          <a:effectLst>
            <a:innerShdw blurRad="114300">
              <a:prstClr val="black"/>
            </a:innerShdw>
          </a:effectLst>
        </p:spPr>
        <p:style>
          <a:lnRef idx="2">
            <a:schemeClr val="accent1"/>
          </a:lnRef>
          <a:fillRef idx="1">
            <a:schemeClr val="lt1"/>
          </a:fillRef>
          <a:effectRef idx="0">
            <a:schemeClr val="accent1"/>
          </a:effectRef>
          <a:fontRef idx="minor">
            <a:schemeClr val="dk1"/>
          </a:fontRef>
        </p:style>
        <p:txBody>
          <a:bodyPr>
            <a:spAutoFit/>
          </a:bodyPr>
          <a:lstStyle/>
          <a:p>
            <a:pPr algn="ctr">
              <a:defRPr/>
            </a:pPr>
            <a:r>
              <a:rPr lang="en-IN" b="1" dirty="0">
                <a:latin typeface="Century Gothic" panose="020B0502020202020204" pitchFamily="34" charset="0"/>
              </a:rPr>
              <a:t>Function</a:t>
            </a:r>
            <a:endParaRPr lang="en-US" b="1" dirty="0">
              <a:latin typeface="Century Gothic" panose="020B0502020202020204" pitchFamily="34" charset="0"/>
            </a:endParaRPr>
          </a:p>
        </p:txBody>
      </p:sp>
      <p:sp>
        <p:nvSpPr>
          <p:cNvPr id="5" name="TextBox 4"/>
          <p:cNvSpPr txBox="1"/>
          <p:nvPr/>
        </p:nvSpPr>
        <p:spPr>
          <a:xfrm>
            <a:off x="8930119" y="5421269"/>
            <a:ext cx="3087709" cy="1077218"/>
          </a:xfrm>
          <a:prstGeom prst="rect">
            <a:avLst/>
          </a:prstGeom>
          <a:noFill/>
          <a:ln>
            <a:solidFill>
              <a:srgbClr val="2929FF"/>
            </a:solidFill>
          </a:ln>
          <a:effectLst>
            <a:glow rad="63500">
              <a:schemeClr val="accent1">
                <a:satMod val="175000"/>
                <a:alpha val="40000"/>
              </a:schemeClr>
            </a:glow>
          </a:effectLst>
        </p:spPr>
        <p:txBody>
          <a:bodyPr wrap="square">
            <a:spAutoFit/>
          </a:bodyPr>
          <a:lstStyle/>
          <a:p>
            <a:pPr marL="228594" indent="-228594">
              <a:buFont typeface="Wingdings" panose="05000000000000000000" pitchFamily="2" charset="2"/>
              <a:buChar char="§"/>
              <a:defRPr/>
            </a:pPr>
            <a:r>
              <a:rPr lang="en-IN" sz="1600" dirty="0">
                <a:latin typeface="Century Gothic" panose="020B0502020202020204" pitchFamily="34" charset="0"/>
              </a:rPr>
              <a:t>9” &amp; 11” stronger HSS frame</a:t>
            </a:r>
          </a:p>
          <a:p>
            <a:pPr marL="228594" indent="-228594">
              <a:buFont typeface="Wingdings" panose="05000000000000000000" pitchFamily="2" charset="2"/>
              <a:buChar char="§"/>
              <a:defRPr/>
            </a:pPr>
            <a:r>
              <a:rPr lang="en-US" sz="1600" dirty="0">
                <a:latin typeface="Century Gothic" panose="020B0502020202020204" pitchFamily="34" charset="0"/>
              </a:rPr>
              <a:t>ZAC fine pitch fasteners cast</a:t>
            </a:r>
            <a:endParaRPr lang="en-IN" sz="1600" dirty="0">
              <a:latin typeface="Century Gothic" panose="020B0502020202020204" pitchFamily="34" charset="0"/>
            </a:endParaRPr>
          </a:p>
        </p:txBody>
      </p:sp>
      <p:sp>
        <p:nvSpPr>
          <p:cNvPr id="65" name="TextBox 64">
            <a:extLst>
              <a:ext uri="{FF2B5EF4-FFF2-40B4-BE49-F238E27FC236}">
                <a16:creationId xmlns:a16="http://schemas.microsoft.com/office/drawing/2014/main" id="{802E5FA7-F1D3-4298-B460-F7243D395BA2}"/>
              </a:ext>
            </a:extLst>
          </p:cNvPr>
          <p:cNvSpPr txBox="1"/>
          <p:nvPr/>
        </p:nvSpPr>
        <p:spPr>
          <a:xfrm>
            <a:off x="9221136" y="5055191"/>
            <a:ext cx="2107611" cy="369332"/>
          </a:xfrm>
          <a:prstGeom prst="rect">
            <a:avLst/>
          </a:prstGeom>
          <a:effectLst>
            <a:innerShdw blurRad="114300">
              <a:prstClr val="black"/>
            </a:innerShdw>
          </a:effectLst>
        </p:spPr>
        <p:style>
          <a:lnRef idx="2">
            <a:schemeClr val="accent1"/>
          </a:lnRef>
          <a:fillRef idx="1">
            <a:schemeClr val="lt1"/>
          </a:fillRef>
          <a:effectRef idx="0">
            <a:schemeClr val="accent1"/>
          </a:effectRef>
          <a:fontRef idx="minor">
            <a:schemeClr val="dk1"/>
          </a:fontRef>
        </p:style>
        <p:txBody>
          <a:bodyPr>
            <a:spAutoFit/>
          </a:bodyPr>
          <a:lstStyle/>
          <a:p>
            <a:pPr algn="ctr">
              <a:defRPr/>
            </a:pPr>
            <a:r>
              <a:rPr lang="en-IN" b="1" dirty="0">
                <a:latin typeface="Century Gothic" panose="020B0502020202020204" pitchFamily="34" charset="0"/>
              </a:rPr>
              <a:t>AL Advantage</a:t>
            </a:r>
            <a:endParaRPr lang="en-US" b="1" dirty="0">
              <a:latin typeface="Century Gothic" panose="020B0502020202020204" pitchFamily="34" charset="0"/>
            </a:endParaRPr>
          </a:p>
        </p:txBody>
      </p:sp>
    </p:spTree>
    <p:extLst>
      <p:ext uri="{BB962C8B-B14F-4D97-AF65-F5344CB8AC3E}">
        <p14:creationId xmlns:p14="http://schemas.microsoft.com/office/powerpoint/2010/main" val="111703603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146435" name="TextBox 3"/>
          <p:cNvSpPr txBox="1">
            <a:spLocks noChangeArrowheads="1"/>
          </p:cNvSpPr>
          <p:nvPr/>
        </p:nvSpPr>
        <p:spPr bwMode="auto">
          <a:xfrm>
            <a:off x="806511" y="44451"/>
            <a:ext cx="142539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24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0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16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9pPr>
          </a:lstStyle>
          <a:p>
            <a:pPr eaLnBrk="1" hangingPunct="1">
              <a:spcBef>
                <a:spcPct val="0"/>
              </a:spcBef>
              <a:buFontTx/>
              <a:buNone/>
            </a:pPr>
            <a:r>
              <a:rPr lang="en-IN" altLang="en-US" sz="4000" b="1" dirty="0">
                <a:latin typeface="Century Gothic" panose="020B0502020202020204" pitchFamily="34" charset="0"/>
              </a:rPr>
              <a:t> TYRE</a:t>
            </a:r>
            <a:endParaRPr lang="en-US" altLang="en-US" sz="4000" b="1" dirty="0">
              <a:latin typeface="Century Gothic" panose="020B0502020202020204" pitchFamily="34" charset="0"/>
            </a:endParaRPr>
          </a:p>
        </p:txBody>
      </p:sp>
      <p:pic>
        <p:nvPicPr>
          <p:cNvPr id="9" name="Picture 8">
            <a:extLst>
              <a:ext uri="{FF2B5EF4-FFF2-40B4-BE49-F238E27FC236}">
                <a16:creationId xmlns:a16="http://schemas.microsoft.com/office/drawing/2014/main" id="{A3EBE7F7-71F4-48C1-AD2C-A7D63A4B05D8}"/>
              </a:ext>
            </a:extLst>
          </p:cNvPr>
          <p:cNvPicPr>
            <a:picLocks noChangeAspect="1" noChangeArrowheads="1"/>
          </p:cNvPicPr>
          <p:nvPr/>
        </p:nvPicPr>
        <p:blipFill>
          <a:blip r:embed="rId2"/>
          <a:srcRect/>
          <a:stretch>
            <a:fillRect/>
          </a:stretch>
        </p:blipFill>
        <p:spPr bwMode="auto">
          <a:xfrm>
            <a:off x="9067405" y="4498256"/>
            <a:ext cx="2712972" cy="2348573"/>
          </a:xfrm>
          <a:prstGeom prst="rect">
            <a:avLst/>
          </a:prstGeom>
          <a:ln>
            <a:headEnd/>
            <a:tailEnd/>
          </a:ln>
          <a:effectLst>
            <a:innerShdw blurRad="114300">
              <a:prstClr val="black"/>
            </a:innerShdw>
          </a:effectLst>
        </p:spPr>
        <p:style>
          <a:lnRef idx="2">
            <a:schemeClr val="accent1"/>
          </a:lnRef>
          <a:fillRef idx="1">
            <a:schemeClr val="lt1"/>
          </a:fillRef>
          <a:effectRef idx="0">
            <a:schemeClr val="accent1"/>
          </a:effectRef>
          <a:fontRef idx="minor">
            <a:schemeClr val="dk1"/>
          </a:fontRef>
        </p:style>
      </p:pic>
      <p:grpSp>
        <p:nvGrpSpPr>
          <p:cNvPr id="146437" name="Group 9"/>
          <p:cNvGrpSpPr>
            <a:grpSpLocks/>
          </p:cNvGrpSpPr>
          <p:nvPr/>
        </p:nvGrpSpPr>
        <p:grpSpPr bwMode="auto">
          <a:xfrm>
            <a:off x="1168401" y="1149351"/>
            <a:ext cx="9480551" cy="3304116"/>
            <a:chOff x="705814" y="753418"/>
            <a:chExt cx="7694124" cy="3715348"/>
          </a:xfrm>
        </p:grpSpPr>
        <p:sp>
          <p:nvSpPr>
            <p:cNvPr id="12" name="Text Box 4">
              <a:extLst>
                <a:ext uri="{FF2B5EF4-FFF2-40B4-BE49-F238E27FC236}">
                  <a16:creationId xmlns:a16="http://schemas.microsoft.com/office/drawing/2014/main" id="{F660731A-C627-42C7-965E-5774FAE2627E}"/>
                </a:ext>
              </a:extLst>
            </p:cNvPr>
            <p:cNvSpPr txBox="1">
              <a:spLocks noChangeArrowheads="1"/>
            </p:cNvSpPr>
            <p:nvPr/>
          </p:nvSpPr>
          <p:spPr bwMode="auto">
            <a:xfrm>
              <a:off x="705814" y="3342976"/>
              <a:ext cx="3028520" cy="611557"/>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a:spAutoFit/>
            </a:bodyPr>
            <a:lstStyle>
              <a:lvl1pPr defTabSz="514350">
                <a:defRPr>
                  <a:solidFill>
                    <a:schemeClr val="tx1"/>
                  </a:solidFill>
                  <a:latin typeface="Calibri" panose="020F0502020204030204" pitchFamily="34" charset="0"/>
                </a:defRPr>
              </a:lvl1pPr>
              <a:lvl2pPr marL="742950" indent="-285750" defTabSz="514350">
                <a:defRPr>
                  <a:solidFill>
                    <a:schemeClr val="tx1"/>
                  </a:solidFill>
                  <a:latin typeface="Calibri" panose="020F0502020204030204" pitchFamily="34" charset="0"/>
                </a:defRPr>
              </a:lvl2pPr>
              <a:lvl3pPr marL="1143000" indent="-228600" defTabSz="514350">
                <a:defRPr>
                  <a:solidFill>
                    <a:schemeClr val="tx1"/>
                  </a:solidFill>
                  <a:latin typeface="Calibri" panose="020F0502020204030204" pitchFamily="34" charset="0"/>
                </a:defRPr>
              </a:lvl3pPr>
              <a:lvl4pPr marL="1600200" indent="-228600" defTabSz="514350">
                <a:defRPr>
                  <a:solidFill>
                    <a:schemeClr val="tx1"/>
                  </a:solidFill>
                  <a:latin typeface="Calibri" panose="020F0502020204030204" pitchFamily="34" charset="0"/>
                </a:defRPr>
              </a:lvl4pPr>
              <a:lvl5pPr marL="2057400" indent="-228600" defTabSz="514350">
                <a:defRPr>
                  <a:solidFill>
                    <a:schemeClr val="tx1"/>
                  </a:solidFill>
                  <a:latin typeface="Calibri" panose="020F0502020204030204" pitchFamily="34" charset="0"/>
                </a:defRPr>
              </a:lvl5pPr>
              <a:lvl6pPr marL="2514600" indent="-228600" defTabSz="514350" fontAlgn="base">
                <a:spcBef>
                  <a:spcPct val="0"/>
                </a:spcBef>
                <a:spcAft>
                  <a:spcPct val="0"/>
                </a:spcAft>
                <a:defRPr>
                  <a:solidFill>
                    <a:schemeClr val="tx1"/>
                  </a:solidFill>
                  <a:latin typeface="Calibri" panose="020F0502020204030204" pitchFamily="34" charset="0"/>
                </a:defRPr>
              </a:lvl6pPr>
              <a:lvl7pPr marL="2971800" indent="-228600" defTabSz="514350" fontAlgn="base">
                <a:spcBef>
                  <a:spcPct val="0"/>
                </a:spcBef>
                <a:spcAft>
                  <a:spcPct val="0"/>
                </a:spcAft>
                <a:defRPr>
                  <a:solidFill>
                    <a:schemeClr val="tx1"/>
                  </a:solidFill>
                  <a:latin typeface="Calibri" panose="020F0502020204030204" pitchFamily="34" charset="0"/>
                </a:defRPr>
              </a:lvl7pPr>
              <a:lvl8pPr marL="3429000" indent="-228600" defTabSz="514350" fontAlgn="base">
                <a:spcBef>
                  <a:spcPct val="0"/>
                </a:spcBef>
                <a:spcAft>
                  <a:spcPct val="0"/>
                </a:spcAft>
                <a:defRPr>
                  <a:solidFill>
                    <a:schemeClr val="tx1"/>
                  </a:solidFill>
                  <a:latin typeface="Calibri" panose="020F0502020204030204" pitchFamily="34" charset="0"/>
                </a:defRPr>
              </a:lvl8pPr>
              <a:lvl9pPr marL="3886200" indent="-228600" defTabSz="514350" fontAlgn="base">
                <a:spcBef>
                  <a:spcPct val="0"/>
                </a:spcBef>
                <a:spcAft>
                  <a:spcPct val="0"/>
                </a:spcAft>
                <a:defRPr>
                  <a:solidFill>
                    <a:schemeClr val="tx1"/>
                  </a:solidFill>
                  <a:latin typeface="Calibri" panose="020F0502020204030204" pitchFamily="34" charset="0"/>
                </a:defRPr>
              </a:lvl9pPr>
            </a:lstStyle>
            <a:p>
              <a:pPr algn="just" eaLnBrk="1" hangingPunct="1">
                <a:defRPr/>
              </a:pPr>
              <a:r>
                <a:rPr lang="en-US" altLang="ja-JP" sz="1467">
                  <a:solidFill>
                    <a:srgbClr val="000000"/>
                  </a:solidFill>
                  <a:latin typeface="Century Gothic" panose="020B0502020202020204" pitchFamily="34" charset="0"/>
                  <a:cs typeface="Calibri" panose="020F0502020204030204" pitchFamily="34" charset="0"/>
                </a:rPr>
                <a:t>Textile plies laid at angles of approximately 45</a:t>
              </a:r>
              <a:r>
                <a:rPr lang="ja-JP" altLang="en-US" sz="1467">
                  <a:solidFill>
                    <a:srgbClr val="000000"/>
                  </a:solidFill>
                  <a:latin typeface="Century Gothic" panose="020B0502020202020204" pitchFamily="34" charset="0"/>
                  <a:cs typeface="Calibri" panose="020F0502020204030204" pitchFamily="34" charset="0"/>
                </a:rPr>
                <a:t>°</a:t>
              </a:r>
              <a:r>
                <a:rPr lang="en-US" altLang="ja-JP" sz="1467">
                  <a:solidFill>
                    <a:srgbClr val="000000"/>
                  </a:solidFill>
                  <a:latin typeface="Century Gothic" panose="020B0502020202020204" pitchFamily="34" charset="0"/>
                  <a:cs typeface="Calibri" panose="020F0502020204030204" pitchFamily="34" charset="0"/>
                </a:rPr>
                <a:t>to one another.</a:t>
              </a:r>
            </a:p>
          </p:txBody>
        </p:sp>
        <p:pic>
          <p:nvPicPr>
            <p:cNvPr id="13" name="Picture 4">
              <a:extLst>
                <a:ext uri="{FF2B5EF4-FFF2-40B4-BE49-F238E27FC236}">
                  <a16:creationId xmlns:a16="http://schemas.microsoft.com/office/drawing/2014/main" id="{76996203-A9C9-4913-8347-174220FD1BBF}"/>
                </a:ext>
              </a:extLst>
            </p:cNvPr>
            <p:cNvPicPr>
              <a:picLocks noChangeAspect="1" noChangeArrowheads="1"/>
            </p:cNvPicPr>
            <p:nvPr/>
          </p:nvPicPr>
          <p:blipFill>
            <a:blip r:embed="rId3"/>
            <a:srcRect/>
            <a:stretch>
              <a:fillRect/>
            </a:stretch>
          </p:blipFill>
          <p:spPr bwMode="auto">
            <a:xfrm>
              <a:off x="762503" y="753418"/>
              <a:ext cx="2107767" cy="2572896"/>
            </a:xfrm>
            <a:prstGeom prst="rect">
              <a:avLst/>
            </a:prstGeom>
            <a:ln>
              <a:headEnd/>
              <a:tailEnd/>
            </a:ln>
          </p:spPr>
          <p:style>
            <a:lnRef idx="2">
              <a:schemeClr val="accent1"/>
            </a:lnRef>
            <a:fillRef idx="1">
              <a:schemeClr val="lt1"/>
            </a:fillRef>
            <a:effectRef idx="0">
              <a:schemeClr val="accent1"/>
            </a:effectRef>
            <a:fontRef idx="minor">
              <a:schemeClr val="dk1"/>
            </a:fontRef>
          </p:style>
        </p:pic>
        <p:sp>
          <p:nvSpPr>
            <p:cNvPr id="14" name="Text Box 4">
              <a:extLst>
                <a:ext uri="{FF2B5EF4-FFF2-40B4-BE49-F238E27FC236}">
                  <a16:creationId xmlns:a16="http://schemas.microsoft.com/office/drawing/2014/main" id="{3219958D-EBA8-40BF-81C8-4D2CA46D6A08}"/>
                </a:ext>
              </a:extLst>
            </p:cNvPr>
            <p:cNvSpPr txBox="1">
              <a:spLocks noChangeArrowheads="1"/>
            </p:cNvSpPr>
            <p:nvPr/>
          </p:nvSpPr>
          <p:spPr bwMode="auto">
            <a:xfrm>
              <a:off x="2763764" y="1496012"/>
              <a:ext cx="1240267" cy="467211"/>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a:spAutoFit/>
            </a:bodyPr>
            <a:lstStyle/>
            <a:p>
              <a:pPr algn="just" defTabSz="685783">
                <a:defRPr/>
              </a:pPr>
              <a:r>
                <a:rPr lang="en-US" altLang="ja-JP" sz="2100" dirty="0">
                  <a:solidFill>
                    <a:srgbClr val="3333FF"/>
                  </a:solidFill>
                  <a:latin typeface="Century Gothic" panose="020B0502020202020204" pitchFamily="34" charset="0"/>
                  <a:cs typeface="Calibri" pitchFamily="34" charset="0"/>
                </a:rPr>
                <a:t>BIAS</a:t>
              </a:r>
            </a:p>
          </p:txBody>
        </p:sp>
        <p:sp>
          <p:nvSpPr>
            <p:cNvPr id="15" name="Text Box 4">
              <a:extLst>
                <a:ext uri="{FF2B5EF4-FFF2-40B4-BE49-F238E27FC236}">
                  <a16:creationId xmlns:a16="http://schemas.microsoft.com/office/drawing/2014/main" id="{89AF91EF-D75B-4C92-8AF7-50628EAD0A4C}"/>
                </a:ext>
              </a:extLst>
            </p:cNvPr>
            <p:cNvSpPr txBox="1">
              <a:spLocks noChangeArrowheads="1"/>
            </p:cNvSpPr>
            <p:nvPr/>
          </p:nvSpPr>
          <p:spPr bwMode="auto">
            <a:xfrm>
              <a:off x="5426388" y="1267521"/>
              <a:ext cx="1085663" cy="415299"/>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a:spAutoFit/>
            </a:bodyPr>
            <a:lstStyle/>
            <a:p>
              <a:pPr algn="just" defTabSz="685783">
                <a:defRPr/>
              </a:pPr>
              <a:r>
                <a:rPr lang="en-US" altLang="ja-JP" dirty="0">
                  <a:solidFill>
                    <a:srgbClr val="3333FF"/>
                  </a:solidFill>
                  <a:latin typeface="Century Gothic" panose="020B0502020202020204" pitchFamily="34" charset="0"/>
                  <a:cs typeface="Calibri" pitchFamily="34" charset="0"/>
                </a:rPr>
                <a:t>RADIAL</a:t>
              </a:r>
            </a:p>
          </p:txBody>
        </p:sp>
        <p:pic>
          <p:nvPicPr>
            <p:cNvPr id="18" name="Picture 2">
              <a:extLst>
                <a:ext uri="{FF2B5EF4-FFF2-40B4-BE49-F238E27FC236}">
                  <a16:creationId xmlns:a16="http://schemas.microsoft.com/office/drawing/2014/main" id="{02EC4B57-870D-4E21-A89A-6506607D49BE}"/>
                </a:ext>
              </a:extLst>
            </p:cNvPr>
            <p:cNvPicPr>
              <a:picLocks noChangeAspect="1" noChangeArrowheads="1"/>
            </p:cNvPicPr>
            <p:nvPr/>
          </p:nvPicPr>
          <p:blipFill>
            <a:blip r:embed="rId4"/>
            <a:srcRect/>
            <a:stretch>
              <a:fillRect/>
            </a:stretch>
          </p:blipFill>
          <p:spPr bwMode="auto">
            <a:xfrm>
              <a:off x="6391804" y="851002"/>
              <a:ext cx="2008134" cy="2491974"/>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pic>
        <p:sp>
          <p:nvSpPr>
            <p:cNvPr id="19" name="Rectangle 18">
              <a:extLst>
                <a:ext uri="{FF2B5EF4-FFF2-40B4-BE49-F238E27FC236}">
                  <a16:creationId xmlns:a16="http://schemas.microsoft.com/office/drawing/2014/main" id="{EB517B47-67D1-4EA8-92C6-2C3DB2D89FEF}"/>
                </a:ext>
              </a:extLst>
            </p:cNvPr>
            <p:cNvSpPr/>
            <p:nvPr/>
          </p:nvSpPr>
          <p:spPr bwMode="auto">
            <a:xfrm>
              <a:off x="6981017" y="1607876"/>
              <a:ext cx="915598" cy="347496"/>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68580" tIns="34291" rIns="68580" bIns="34291"/>
            <a:lstStyle/>
            <a:p>
              <a:pPr defTabSz="685783">
                <a:defRPr/>
              </a:pPr>
              <a:endParaRPr lang="en-US">
                <a:solidFill>
                  <a:srgbClr val="000000"/>
                </a:solidFill>
                <a:latin typeface="Century Gothic" panose="020B0502020202020204" pitchFamily="34" charset="0"/>
              </a:endParaRPr>
            </a:p>
          </p:txBody>
        </p:sp>
        <p:cxnSp>
          <p:nvCxnSpPr>
            <p:cNvPr id="20" name="Straight Arrow Connector 19">
              <a:extLst>
                <a:ext uri="{FF2B5EF4-FFF2-40B4-BE49-F238E27FC236}">
                  <a16:creationId xmlns:a16="http://schemas.microsoft.com/office/drawing/2014/main" id="{D6568FF2-3B4B-451D-952B-6C5AF9B59CAE}"/>
                </a:ext>
              </a:extLst>
            </p:cNvPr>
            <p:cNvCxnSpPr/>
            <p:nvPr/>
          </p:nvCxnSpPr>
          <p:spPr bwMode="auto">
            <a:xfrm flipV="1">
              <a:off x="6197691" y="1938712"/>
              <a:ext cx="857192" cy="99965"/>
            </a:xfrm>
            <a:prstGeom prst="straightConnector1">
              <a:avLst/>
            </a:prstGeom>
            <a:ln>
              <a:headEnd type="none" w="med" len="med"/>
              <a:tailEnd type="arrow"/>
            </a:ln>
          </p:spPr>
          <p:style>
            <a:lnRef idx="2">
              <a:schemeClr val="accent1"/>
            </a:lnRef>
            <a:fillRef idx="1">
              <a:schemeClr val="lt1"/>
            </a:fillRef>
            <a:effectRef idx="0">
              <a:schemeClr val="accent1"/>
            </a:effectRef>
            <a:fontRef idx="minor">
              <a:schemeClr val="dk1"/>
            </a:fontRef>
          </p:style>
        </p:cxnSp>
        <p:sp>
          <p:nvSpPr>
            <p:cNvPr id="21" name="Text Box 4">
              <a:extLst>
                <a:ext uri="{FF2B5EF4-FFF2-40B4-BE49-F238E27FC236}">
                  <a16:creationId xmlns:a16="http://schemas.microsoft.com/office/drawing/2014/main" id="{8FE2E465-CC48-4989-A833-0E53C01EF7E2}"/>
                </a:ext>
              </a:extLst>
            </p:cNvPr>
            <p:cNvSpPr txBox="1">
              <a:spLocks noChangeArrowheads="1"/>
            </p:cNvSpPr>
            <p:nvPr/>
          </p:nvSpPr>
          <p:spPr bwMode="auto">
            <a:xfrm>
              <a:off x="5460745" y="1938712"/>
              <a:ext cx="937931" cy="363386"/>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a:spAutoFit/>
            </a:bodyPr>
            <a:lstStyle/>
            <a:p>
              <a:pPr algn="just" defTabSz="685783">
                <a:defRPr/>
              </a:pPr>
              <a:r>
                <a:rPr lang="en-US" altLang="ja-JP" sz="1500" dirty="0">
                  <a:solidFill>
                    <a:srgbClr val="000000"/>
                  </a:solidFill>
                  <a:latin typeface="Century Gothic" panose="020B0502020202020204" pitchFamily="34" charset="0"/>
                  <a:cs typeface="Calibri" pitchFamily="34" charset="0"/>
                </a:rPr>
                <a:t>Steel Belt</a:t>
              </a:r>
            </a:p>
          </p:txBody>
        </p:sp>
        <p:pic>
          <p:nvPicPr>
            <p:cNvPr id="22" name="Picture 4">
              <a:extLst>
                <a:ext uri="{FF2B5EF4-FFF2-40B4-BE49-F238E27FC236}">
                  <a16:creationId xmlns:a16="http://schemas.microsoft.com/office/drawing/2014/main" id="{51B8214B-2E3A-4F9C-ABEA-19E859D1E2E1}"/>
                </a:ext>
              </a:extLst>
            </p:cNvPr>
            <p:cNvPicPr>
              <a:picLocks noChangeAspect="1" noChangeArrowheads="1"/>
            </p:cNvPicPr>
            <p:nvPr/>
          </p:nvPicPr>
          <p:blipFill>
            <a:blip r:embed="rId5"/>
            <a:srcRect/>
            <a:stretch>
              <a:fillRect/>
            </a:stretch>
          </p:blipFill>
          <p:spPr bwMode="auto">
            <a:xfrm>
              <a:off x="4107101" y="2983579"/>
              <a:ext cx="1911936" cy="1485187"/>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pic>
        <p:sp>
          <p:nvSpPr>
            <p:cNvPr id="23" name="Rectangle 22">
              <a:extLst>
                <a:ext uri="{FF2B5EF4-FFF2-40B4-BE49-F238E27FC236}">
                  <a16:creationId xmlns:a16="http://schemas.microsoft.com/office/drawing/2014/main" id="{641F6087-849E-4C27-BED6-C4ABCD845113}"/>
                </a:ext>
              </a:extLst>
            </p:cNvPr>
            <p:cNvSpPr/>
            <p:nvPr/>
          </p:nvSpPr>
          <p:spPr bwMode="auto">
            <a:xfrm>
              <a:off x="6299042" y="1581696"/>
              <a:ext cx="700871" cy="2856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68580" tIns="34291" rIns="68580" bIns="34291"/>
            <a:lstStyle/>
            <a:p>
              <a:pPr defTabSz="685783">
                <a:defRPr/>
              </a:pPr>
              <a:endParaRPr lang="en-US">
                <a:solidFill>
                  <a:srgbClr val="000000"/>
                </a:solidFill>
                <a:latin typeface="Century Gothic" panose="020B0502020202020204" pitchFamily="34" charset="0"/>
              </a:endParaRPr>
            </a:p>
          </p:txBody>
        </p:sp>
        <p:sp>
          <p:nvSpPr>
            <p:cNvPr id="24" name="Rectangle 23">
              <a:extLst>
                <a:ext uri="{FF2B5EF4-FFF2-40B4-BE49-F238E27FC236}">
                  <a16:creationId xmlns:a16="http://schemas.microsoft.com/office/drawing/2014/main" id="{1CCC09B6-A1DF-4E18-BE93-F95D286D47C3}"/>
                </a:ext>
              </a:extLst>
            </p:cNvPr>
            <p:cNvSpPr/>
            <p:nvPr/>
          </p:nvSpPr>
          <p:spPr bwMode="auto">
            <a:xfrm>
              <a:off x="7128750" y="1515053"/>
              <a:ext cx="511911" cy="64262"/>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68580" tIns="34291" rIns="68580" bIns="34291"/>
            <a:lstStyle/>
            <a:p>
              <a:pPr defTabSz="685783">
                <a:defRPr/>
              </a:pPr>
              <a:endParaRPr lang="en-US">
                <a:solidFill>
                  <a:srgbClr val="000000"/>
                </a:solidFill>
                <a:latin typeface="Century Gothic" panose="020B0502020202020204" pitchFamily="34" charset="0"/>
              </a:endParaRPr>
            </a:p>
          </p:txBody>
        </p:sp>
      </p:grpSp>
      <p:sp>
        <p:nvSpPr>
          <p:cNvPr id="25" name="Text Box 3">
            <a:extLst>
              <a:ext uri="{FF2B5EF4-FFF2-40B4-BE49-F238E27FC236}">
                <a16:creationId xmlns:a16="http://schemas.microsoft.com/office/drawing/2014/main" id="{3FE37FAC-735A-41D1-9A6A-BCDFD82D4319}"/>
              </a:ext>
            </a:extLst>
          </p:cNvPr>
          <p:cNvSpPr txBox="1">
            <a:spLocks noChangeArrowheads="1"/>
          </p:cNvSpPr>
          <p:nvPr/>
        </p:nvSpPr>
        <p:spPr bwMode="auto">
          <a:xfrm>
            <a:off x="85421" y="6135029"/>
            <a:ext cx="5143500" cy="646331"/>
          </a:xfrm>
          <a:prstGeom prst="rect">
            <a:avLst/>
          </a:prstGeom>
          <a:ln>
            <a:headEnd/>
            <a:tailEnd/>
          </a:ln>
          <a:effectLst>
            <a:innerShdw blurRad="114300">
              <a:prstClr val="black"/>
            </a:innerShdw>
          </a:effectLst>
        </p:spPr>
        <p:style>
          <a:lnRef idx="2">
            <a:schemeClr val="accent1"/>
          </a:lnRef>
          <a:fillRef idx="1">
            <a:schemeClr val="lt1"/>
          </a:fillRef>
          <a:effectRef idx="0">
            <a:schemeClr val="accent1"/>
          </a:effectRef>
          <a:fontRef idx="minor">
            <a:schemeClr val="dk1"/>
          </a:fontRef>
        </p:style>
        <p:txBody>
          <a:bodyPr>
            <a:spAutoFit/>
          </a:bodyPr>
          <a:lstStyle/>
          <a:p>
            <a:pPr algn="ctr" defTabSz="685783">
              <a:defRPr/>
            </a:pPr>
            <a:r>
              <a:rPr lang="en-US" sz="3600" u="sng" dirty="0">
                <a:latin typeface="Century Gothic" panose="020B0502020202020204" pitchFamily="34" charset="0"/>
                <a:cs typeface="Calibri" pitchFamily="34" charset="0"/>
              </a:rPr>
              <a:t>10.00</a:t>
            </a:r>
            <a:r>
              <a:rPr lang="en-US" sz="3600" dirty="0">
                <a:latin typeface="Century Gothic" panose="020B0502020202020204" pitchFamily="34" charset="0"/>
                <a:cs typeface="Calibri" pitchFamily="34" charset="0"/>
              </a:rPr>
              <a:t> X </a:t>
            </a:r>
            <a:r>
              <a:rPr lang="en-US" sz="3600" u="sng" dirty="0">
                <a:latin typeface="Century Gothic" panose="020B0502020202020204" pitchFamily="34" charset="0"/>
                <a:cs typeface="Calibri" pitchFamily="34" charset="0"/>
              </a:rPr>
              <a:t>20</a:t>
            </a:r>
            <a:r>
              <a:rPr lang="en-US" sz="3600" dirty="0">
                <a:latin typeface="Century Gothic" panose="020B0502020202020204" pitchFamily="34" charset="0"/>
                <a:cs typeface="Calibri" pitchFamily="34" charset="0"/>
              </a:rPr>
              <a:t> - </a:t>
            </a:r>
            <a:r>
              <a:rPr lang="en-US" sz="3600" u="sng" dirty="0">
                <a:latin typeface="Century Gothic" panose="020B0502020202020204" pitchFamily="34" charset="0"/>
                <a:cs typeface="Calibri" pitchFamily="34" charset="0"/>
              </a:rPr>
              <a:t>16 PR</a:t>
            </a:r>
            <a:r>
              <a:rPr lang="en-US" sz="3600" dirty="0">
                <a:latin typeface="Century Gothic" panose="020B0502020202020204" pitchFamily="34" charset="0"/>
                <a:cs typeface="Calibri" pitchFamily="34" charset="0"/>
              </a:rPr>
              <a:t>  </a:t>
            </a:r>
            <a:r>
              <a:rPr lang="en-US" sz="3600" u="sng" dirty="0">
                <a:latin typeface="Century Gothic" panose="020B0502020202020204" pitchFamily="34" charset="0"/>
                <a:cs typeface="Calibri" pitchFamily="34" charset="0"/>
              </a:rPr>
              <a:t>PD</a:t>
            </a:r>
            <a:r>
              <a:rPr lang="en-US" sz="3600" dirty="0">
                <a:latin typeface="Century Gothic" panose="020B0502020202020204" pitchFamily="34" charset="0"/>
                <a:cs typeface="Calibri" pitchFamily="34" charset="0"/>
              </a:rPr>
              <a:t> </a:t>
            </a:r>
          </a:p>
        </p:txBody>
      </p:sp>
      <p:sp>
        <p:nvSpPr>
          <p:cNvPr id="26" name="Text Box 7">
            <a:extLst>
              <a:ext uri="{FF2B5EF4-FFF2-40B4-BE49-F238E27FC236}">
                <a16:creationId xmlns:a16="http://schemas.microsoft.com/office/drawing/2014/main" id="{98A22740-3452-46A4-A55F-FF8498FDC5F3}"/>
              </a:ext>
            </a:extLst>
          </p:cNvPr>
          <p:cNvSpPr txBox="1">
            <a:spLocks noChangeArrowheads="1"/>
          </p:cNvSpPr>
          <p:nvPr/>
        </p:nvSpPr>
        <p:spPr bwMode="auto">
          <a:xfrm>
            <a:off x="176982" y="5084247"/>
            <a:ext cx="1445884" cy="461665"/>
          </a:xfrm>
          <a:prstGeom prst="rect">
            <a:avLst/>
          </a:prstGeom>
          <a:ln>
            <a:headEnd/>
            <a:tailEnd/>
          </a:ln>
          <a:effectLst>
            <a:innerShdw blurRad="114300">
              <a:prstClr val="black"/>
            </a:innerShdw>
          </a:effectLst>
        </p:spPr>
        <p:style>
          <a:lnRef idx="2">
            <a:schemeClr val="accent1"/>
          </a:lnRef>
          <a:fillRef idx="1">
            <a:schemeClr val="lt1"/>
          </a:fillRef>
          <a:effectRef idx="0">
            <a:schemeClr val="accent1"/>
          </a:effectRef>
          <a:fontRef idx="minor">
            <a:schemeClr val="dk1"/>
          </a:fontRef>
        </p:style>
        <p:txBody>
          <a:bodyPr>
            <a:spAutoFit/>
          </a:bodyPr>
          <a:lstStyle/>
          <a:p>
            <a:pPr algn="ctr" defTabSz="685783">
              <a:defRPr/>
            </a:pPr>
            <a:r>
              <a:rPr lang="en-US" sz="1200" dirty="0">
                <a:latin typeface="Century Gothic" panose="020B0502020202020204" pitchFamily="34" charset="0"/>
                <a:cs typeface="Calibri" pitchFamily="34" charset="0"/>
              </a:rPr>
              <a:t>Width of the </a:t>
            </a:r>
            <a:r>
              <a:rPr lang="en-US" sz="1200" dirty="0" err="1">
                <a:latin typeface="Century Gothic" panose="020B0502020202020204" pitchFamily="34" charset="0"/>
                <a:cs typeface="Calibri" pitchFamily="34" charset="0"/>
              </a:rPr>
              <a:t>tyre</a:t>
            </a:r>
            <a:endParaRPr lang="en-US" sz="1200" dirty="0">
              <a:latin typeface="Century Gothic" panose="020B0502020202020204" pitchFamily="34" charset="0"/>
              <a:cs typeface="Calibri" pitchFamily="34" charset="0"/>
            </a:endParaRPr>
          </a:p>
          <a:p>
            <a:pPr algn="ctr" defTabSz="685783">
              <a:defRPr/>
            </a:pPr>
            <a:r>
              <a:rPr lang="en-US" sz="1200" dirty="0">
                <a:latin typeface="Century Gothic" panose="020B0502020202020204" pitchFamily="34" charset="0"/>
                <a:cs typeface="Calibri" pitchFamily="34" charset="0"/>
              </a:rPr>
              <a:t>in inches</a:t>
            </a:r>
          </a:p>
        </p:txBody>
      </p:sp>
      <p:sp>
        <p:nvSpPr>
          <p:cNvPr id="27" name="Rectangle 8">
            <a:extLst>
              <a:ext uri="{FF2B5EF4-FFF2-40B4-BE49-F238E27FC236}">
                <a16:creationId xmlns:a16="http://schemas.microsoft.com/office/drawing/2014/main" id="{AF1EEBC8-34FF-4E64-BDA2-6D9005CC39F8}"/>
              </a:ext>
            </a:extLst>
          </p:cNvPr>
          <p:cNvSpPr>
            <a:spLocks noChangeArrowheads="1"/>
          </p:cNvSpPr>
          <p:nvPr/>
        </p:nvSpPr>
        <p:spPr bwMode="auto">
          <a:xfrm>
            <a:off x="1017645" y="4563349"/>
            <a:ext cx="1447800" cy="475019"/>
          </a:xfrm>
          <a:prstGeom prst="rect">
            <a:avLst/>
          </a:prstGeom>
          <a:ln>
            <a:headEnd/>
            <a:tailEnd/>
          </a:ln>
          <a:effectLst>
            <a:innerShdw blurRad="114300">
              <a:prstClr val="black"/>
            </a:innerShdw>
          </a:effectLst>
        </p:spPr>
        <p:style>
          <a:lnRef idx="2">
            <a:schemeClr val="accent1"/>
          </a:lnRef>
          <a:fillRef idx="1">
            <a:schemeClr val="lt1"/>
          </a:fillRef>
          <a:effectRef idx="0">
            <a:schemeClr val="accent1"/>
          </a:effectRef>
          <a:fontRef idx="minor">
            <a:schemeClr val="dk1"/>
          </a:fontRef>
        </p:style>
        <p:txBody>
          <a:bodyPr wrap="none" anchor="ctr"/>
          <a:lstStyle/>
          <a:p>
            <a:pPr algn="ctr" defTabSz="685783">
              <a:defRPr/>
            </a:pPr>
            <a:r>
              <a:rPr lang="en-US" sz="1100" dirty="0">
                <a:latin typeface="Century Gothic" panose="020B0502020202020204" pitchFamily="34" charset="0"/>
                <a:cs typeface="Calibri" pitchFamily="34" charset="0"/>
              </a:rPr>
              <a:t>Inner diameter </a:t>
            </a:r>
          </a:p>
          <a:p>
            <a:pPr algn="ctr" defTabSz="685783">
              <a:defRPr/>
            </a:pPr>
            <a:r>
              <a:rPr lang="en-US" sz="1100" dirty="0">
                <a:latin typeface="Century Gothic" panose="020B0502020202020204" pitchFamily="34" charset="0"/>
                <a:cs typeface="Calibri" pitchFamily="34" charset="0"/>
              </a:rPr>
              <a:t>of the </a:t>
            </a:r>
            <a:r>
              <a:rPr lang="en-US" sz="1100" dirty="0" err="1">
                <a:latin typeface="Century Gothic" panose="020B0502020202020204" pitchFamily="34" charset="0"/>
                <a:cs typeface="Calibri" pitchFamily="34" charset="0"/>
              </a:rPr>
              <a:t>tyre</a:t>
            </a:r>
            <a:r>
              <a:rPr lang="en-US" sz="1100" dirty="0">
                <a:latin typeface="Century Gothic" panose="020B0502020202020204" pitchFamily="34" charset="0"/>
                <a:cs typeface="Calibri" pitchFamily="34" charset="0"/>
              </a:rPr>
              <a:t> in inches</a:t>
            </a:r>
          </a:p>
        </p:txBody>
      </p:sp>
      <p:sp>
        <p:nvSpPr>
          <p:cNvPr id="29" name="Rectangle 11">
            <a:extLst>
              <a:ext uri="{FF2B5EF4-FFF2-40B4-BE49-F238E27FC236}">
                <a16:creationId xmlns:a16="http://schemas.microsoft.com/office/drawing/2014/main" id="{EDCA2929-CDC0-4E35-9E72-A6BB8A3FD844}"/>
              </a:ext>
            </a:extLst>
          </p:cNvPr>
          <p:cNvSpPr>
            <a:spLocks noChangeArrowheads="1"/>
          </p:cNvSpPr>
          <p:nvPr/>
        </p:nvSpPr>
        <p:spPr bwMode="auto">
          <a:xfrm>
            <a:off x="2570526" y="4584647"/>
            <a:ext cx="1941127" cy="800100"/>
          </a:xfrm>
          <a:prstGeom prst="rect">
            <a:avLst/>
          </a:prstGeom>
          <a:ln>
            <a:headEnd/>
            <a:tailEnd/>
          </a:ln>
          <a:effectLst>
            <a:innerShdw blurRad="114300">
              <a:prstClr val="black"/>
            </a:innerShdw>
          </a:effectLst>
        </p:spPr>
        <p:style>
          <a:lnRef idx="2">
            <a:schemeClr val="accent1"/>
          </a:lnRef>
          <a:fillRef idx="1">
            <a:schemeClr val="lt1"/>
          </a:fillRef>
          <a:effectRef idx="0">
            <a:schemeClr val="accent1"/>
          </a:effectRef>
          <a:fontRef idx="minor">
            <a:schemeClr val="dk1"/>
          </a:fontRef>
        </p:style>
        <p:txBody>
          <a:bodyPr wrap="none" anchor="ctr"/>
          <a:lstStyle/>
          <a:p>
            <a:pPr algn="ctr" defTabSz="685783">
              <a:defRPr/>
            </a:pPr>
            <a:r>
              <a:rPr lang="en-US" sz="1200" dirty="0">
                <a:latin typeface="Century Gothic" panose="020B0502020202020204" pitchFamily="34" charset="0"/>
                <a:cs typeface="Calibri" pitchFamily="34" charset="0"/>
              </a:rPr>
              <a:t>Represents the strength </a:t>
            </a:r>
          </a:p>
          <a:p>
            <a:pPr algn="ctr" defTabSz="685783">
              <a:defRPr/>
            </a:pPr>
            <a:r>
              <a:rPr lang="en-US" sz="1200" dirty="0">
                <a:latin typeface="Century Gothic" panose="020B0502020202020204" pitchFamily="34" charset="0"/>
                <a:cs typeface="Calibri" pitchFamily="34" charset="0"/>
              </a:rPr>
              <a:t>of the </a:t>
            </a:r>
            <a:r>
              <a:rPr lang="en-US" sz="1200" dirty="0" err="1">
                <a:latin typeface="Century Gothic" panose="020B0502020202020204" pitchFamily="34" charset="0"/>
                <a:cs typeface="Calibri" pitchFamily="34" charset="0"/>
              </a:rPr>
              <a:t>tyre</a:t>
            </a:r>
            <a:r>
              <a:rPr lang="en-US" sz="1200" dirty="0">
                <a:latin typeface="Century Gothic" panose="020B0502020202020204" pitchFamily="34" charset="0"/>
                <a:cs typeface="Calibri" pitchFamily="34" charset="0"/>
              </a:rPr>
              <a:t> &amp; not the </a:t>
            </a:r>
          </a:p>
          <a:p>
            <a:pPr algn="ctr" defTabSz="685783">
              <a:defRPr/>
            </a:pPr>
            <a:r>
              <a:rPr lang="en-US" sz="1200" dirty="0">
                <a:latin typeface="Century Gothic" panose="020B0502020202020204" pitchFamily="34" charset="0"/>
                <a:cs typeface="Calibri" pitchFamily="34" charset="0"/>
              </a:rPr>
              <a:t>number of layer</a:t>
            </a:r>
          </a:p>
        </p:txBody>
      </p:sp>
      <p:sp>
        <p:nvSpPr>
          <p:cNvPr id="30" name="Rectangle 15">
            <a:extLst>
              <a:ext uri="{FF2B5EF4-FFF2-40B4-BE49-F238E27FC236}">
                <a16:creationId xmlns:a16="http://schemas.microsoft.com/office/drawing/2014/main" id="{0DE7BCCD-B43E-4FD8-90F6-BAE734CC1525}"/>
              </a:ext>
            </a:extLst>
          </p:cNvPr>
          <p:cNvSpPr>
            <a:spLocks noChangeArrowheads="1"/>
          </p:cNvSpPr>
          <p:nvPr/>
        </p:nvSpPr>
        <p:spPr bwMode="auto">
          <a:xfrm>
            <a:off x="4888701" y="4590434"/>
            <a:ext cx="3067355" cy="800100"/>
          </a:xfrm>
          <a:prstGeom prst="rect">
            <a:avLst/>
          </a:prstGeom>
          <a:ln>
            <a:headEnd/>
            <a:tailEnd/>
          </a:ln>
          <a:effectLst>
            <a:innerShdw blurRad="114300">
              <a:prstClr val="black"/>
            </a:innerShdw>
          </a:effectLst>
        </p:spPr>
        <p:style>
          <a:lnRef idx="2">
            <a:schemeClr val="accent1"/>
          </a:lnRef>
          <a:fillRef idx="1">
            <a:schemeClr val="lt1"/>
          </a:fillRef>
          <a:effectRef idx="0">
            <a:schemeClr val="accent1"/>
          </a:effectRef>
          <a:fontRef idx="minor">
            <a:schemeClr val="dk1"/>
          </a:fontRef>
        </p:style>
        <p:txBody>
          <a:bodyPr wrap="none" anchor="ctr"/>
          <a:lstStyle/>
          <a:p>
            <a:pPr algn="ctr" defTabSz="685783">
              <a:defRPr/>
            </a:pPr>
            <a:r>
              <a:rPr lang="en-US" sz="1200">
                <a:latin typeface="Century Gothic" panose="020B0502020202020204" pitchFamily="34" charset="0"/>
                <a:cs typeface="Calibri" pitchFamily="34" charset="0"/>
              </a:rPr>
              <a:t>Stands for premium depth of the tread </a:t>
            </a:r>
          </a:p>
          <a:p>
            <a:pPr algn="ctr" defTabSz="685783">
              <a:defRPr/>
            </a:pPr>
            <a:r>
              <a:rPr lang="en-US" sz="1200">
                <a:latin typeface="Century Gothic" panose="020B0502020202020204" pitchFamily="34" charset="0"/>
                <a:cs typeface="Calibri" pitchFamily="34" charset="0"/>
              </a:rPr>
              <a:t>which is deeper than the </a:t>
            </a:r>
          </a:p>
          <a:p>
            <a:pPr algn="ctr" defTabSz="685783">
              <a:defRPr/>
            </a:pPr>
            <a:r>
              <a:rPr lang="en-US" sz="1200">
                <a:latin typeface="Century Gothic" panose="020B0502020202020204" pitchFamily="34" charset="0"/>
                <a:cs typeface="Calibri" pitchFamily="34" charset="0"/>
              </a:rPr>
              <a:t>standard depth for longer life</a:t>
            </a:r>
          </a:p>
        </p:txBody>
      </p:sp>
      <p:cxnSp>
        <p:nvCxnSpPr>
          <p:cNvPr id="31" name="Straight Connector 30">
            <a:extLst>
              <a:ext uri="{FF2B5EF4-FFF2-40B4-BE49-F238E27FC236}">
                <a16:creationId xmlns:a16="http://schemas.microsoft.com/office/drawing/2014/main" id="{A34E0FB0-FBF2-4FE4-982A-8011F3657B33}"/>
              </a:ext>
            </a:extLst>
          </p:cNvPr>
          <p:cNvCxnSpPr>
            <a:cxnSpLocks/>
            <a:stCxn id="0" idx="2"/>
          </p:cNvCxnSpPr>
          <p:nvPr/>
        </p:nvCxnSpPr>
        <p:spPr bwMode="auto">
          <a:xfrm flipH="1">
            <a:off x="899584" y="5545667"/>
            <a:ext cx="0" cy="571500"/>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id="{44E1617F-C716-48ED-BD37-129352E86755}"/>
              </a:ext>
            </a:extLst>
          </p:cNvPr>
          <p:cNvCxnSpPr>
            <a:cxnSpLocks/>
          </p:cNvCxnSpPr>
          <p:nvPr/>
        </p:nvCxnSpPr>
        <p:spPr bwMode="auto">
          <a:xfrm>
            <a:off x="2044700" y="5037667"/>
            <a:ext cx="0" cy="1102784"/>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33" name="Straight Connector 32">
            <a:extLst>
              <a:ext uri="{FF2B5EF4-FFF2-40B4-BE49-F238E27FC236}">
                <a16:creationId xmlns:a16="http://schemas.microsoft.com/office/drawing/2014/main" id="{C6CD0874-EBB5-43F5-94FE-44D41CF5B093}"/>
              </a:ext>
            </a:extLst>
          </p:cNvPr>
          <p:cNvCxnSpPr>
            <a:cxnSpLocks/>
          </p:cNvCxnSpPr>
          <p:nvPr/>
        </p:nvCxnSpPr>
        <p:spPr bwMode="auto">
          <a:xfrm>
            <a:off x="3386667" y="5403851"/>
            <a:ext cx="0" cy="698500"/>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34" name="Straight Connector 33">
            <a:extLst>
              <a:ext uri="{FF2B5EF4-FFF2-40B4-BE49-F238E27FC236}">
                <a16:creationId xmlns:a16="http://schemas.microsoft.com/office/drawing/2014/main" id="{D95D305E-7C92-47A7-8091-27DA782C76B0}"/>
              </a:ext>
            </a:extLst>
          </p:cNvPr>
          <p:cNvCxnSpPr>
            <a:cxnSpLocks/>
          </p:cNvCxnSpPr>
          <p:nvPr/>
        </p:nvCxnSpPr>
        <p:spPr bwMode="auto">
          <a:xfrm flipH="1">
            <a:off x="4999567" y="5403851"/>
            <a:ext cx="16933" cy="713316"/>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28979950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pic>
        <p:nvPicPr>
          <p:cNvPr id="139266"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1092200"/>
            <a:ext cx="12192000" cy="528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268" name="TextBox 4"/>
          <p:cNvSpPr txBox="1">
            <a:spLocks noChangeArrowheads="1"/>
          </p:cNvSpPr>
          <p:nvPr/>
        </p:nvSpPr>
        <p:spPr bwMode="auto">
          <a:xfrm>
            <a:off x="857794" y="0"/>
            <a:ext cx="193193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24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0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16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9pPr>
          </a:lstStyle>
          <a:p>
            <a:pPr defTabSz="1219170" fontAlgn="base">
              <a:spcBef>
                <a:spcPct val="0"/>
              </a:spcBef>
              <a:spcAft>
                <a:spcPct val="0"/>
              </a:spcAft>
              <a:buNone/>
            </a:pPr>
            <a:r>
              <a:rPr lang="en-IN" altLang="en-US" sz="4000" b="1" dirty="0">
                <a:solidFill>
                  <a:prstClr val="black"/>
                </a:solidFill>
                <a:latin typeface="Century Gothic" panose="020B0502020202020204" pitchFamily="34" charset="0"/>
              </a:rPr>
              <a:t> CABIN</a:t>
            </a:r>
            <a:endParaRPr lang="en-US" altLang="en-US" sz="4000" b="1" dirty="0">
              <a:solidFill>
                <a:prstClr val="black"/>
              </a:solidFill>
              <a:latin typeface="Century Gothic" panose="020B0502020202020204" pitchFamily="34" charset="0"/>
            </a:endParaRPr>
          </a:p>
        </p:txBody>
      </p:sp>
    </p:spTree>
    <p:extLst>
      <p:ext uri="{BB962C8B-B14F-4D97-AF65-F5344CB8AC3E}">
        <p14:creationId xmlns:p14="http://schemas.microsoft.com/office/powerpoint/2010/main" val="388825096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140291" name="TextBox 9"/>
          <p:cNvSpPr txBox="1">
            <a:spLocks noChangeArrowheads="1"/>
          </p:cNvSpPr>
          <p:nvPr/>
        </p:nvSpPr>
        <p:spPr bwMode="auto">
          <a:xfrm>
            <a:off x="885821" y="12334"/>
            <a:ext cx="4865434"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24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0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16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9pPr>
          </a:lstStyle>
          <a:p>
            <a:pPr defTabSz="1219170" fontAlgn="base">
              <a:spcBef>
                <a:spcPct val="0"/>
              </a:spcBef>
              <a:spcAft>
                <a:spcPct val="0"/>
              </a:spcAft>
              <a:buNone/>
            </a:pPr>
            <a:r>
              <a:rPr lang="en-IN" altLang="en-US" sz="4000" b="1" dirty="0">
                <a:solidFill>
                  <a:prstClr val="black"/>
                </a:solidFill>
                <a:latin typeface="Century Gothic" panose="020B0502020202020204" pitchFamily="34" charset="0"/>
              </a:rPr>
              <a:t> WHEEL BASE &amp; TCD</a:t>
            </a:r>
            <a:endParaRPr lang="en-US" altLang="en-US" sz="4000" b="1" dirty="0">
              <a:solidFill>
                <a:prstClr val="black"/>
              </a:solidFill>
              <a:latin typeface="Century Gothic" panose="020B0502020202020204" pitchFamily="34" charset="0"/>
            </a:endParaRPr>
          </a:p>
        </p:txBody>
      </p:sp>
      <p:grpSp>
        <p:nvGrpSpPr>
          <p:cNvPr id="140292" name="Group 1"/>
          <p:cNvGrpSpPr>
            <a:grpSpLocks/>
          </p:cNvGrpSpPr>
          <p:nvPr/>
        </p:nvGrpSpPr>
        <p:grpSpPr bwMode="auto">
          <a:xfrm>
            <a:off x="584230" y="931240"/>
            <a:ext cx="4626979" cy="2370037"/>
            <a:chOff x="391303" y="1587014"/>
            <a:chExt cx="6296962" cy="4073863"/>
          </a:xfrm>
        </p:grpSpPr>
        <p:pic>
          <p:nvPicPr>
            <p:cNvPr id="9" name="Picture 8">
              <a:extLst>
                <a:ext uri="{FF2B5EF4-FFF2-40B4-BE49-F238E27FC236}">
                  <a16:creationId xmlns:a16="http://schemas.microsoft.com/office/drawing/2014/main" id="{4FD7F040-0C2A-450C-8CA3-5CDC9B222F04}"/>
                </a:ext>
              </a:extLst>
            </p:cNvPr>
            <p:cNvPicPr>
              <a:picLocks noChangeAspect="1"/>
            </p:cNvPicPr>
            <p:nvPr/>
          </p:nvPicPr>
          <p:blipFill>
            <a:blip r:embed="rId2"/>
            <a:stretch>
              <a:fillRect/>
            </a:stretch>
          </p:blipFill>
          <p:spPr>
            <a:xfrm>
              <a:off x="480199" y="1587014"/>
              <a:ext cx="5260178" cy="1842236"/>
            </a:xfrm>
            <a:prstGeom prst="rect">
              <a:avLst/>
            </a:prstGeom>
          </p:spPr>
          <p:style>
            <a:lnRef idx="2">
              <a:schemeClr val="accent1"/>
            </a:lnRef>
            <a:fillRef idx="1">
              <a:schemeClr val="lt1"/>
            </a:fillRef>
            <a:effectRef idx="0">
              <a:schemeClr val="accent1"/>
            </a:effectRef>
            <a:fontRef idx="minor">
              <a:schemeClr val="dk1"/>
            </a:fontRef>
          </p:style>
        </p:pic>
        <p:pic>
          <p:nvPicPr>
            <p:cNvPr id="11" name="Picture 10">
              <a:extLst>
                <a:ext uri="{FF2B5EF4-FFF2-40B4-BE49-F238E27FC236}">
                  <a16:creationId xmlns:a16="http://schemas.microsoft.com/office/drawing/2014/main" id="{30C5CDCD-B474-4BEF-B08E-4F2CBB07BCB8}"/>
                </a:ext>
              </a:extLst>
            </p:cNvPr>
            <p:cNvPicPr>
              <a:picLocks noChangeAspect="1"/>
            </p:cNvPicPr>
            <p:nvPr/>
          </p:nvPicPr>
          <p:blipFill>
            <a:blip r:embed="rId3"/>
            <a:stretch>
              <a:fillRect/>
            </a:stretch>
          </p:blipFill>
          <p:spPr>
            <a:xfrm>
              <a:off x="495439" y="4132770"/>
              <a:ext cx="5232238" cy="1528107"/>
            </a:xfrm>
            <a:prstGeom prst="rect">
              <a:avLst/>
            </a:prstGeom>
          </p:spPr>
          <p:style>
            <a:lnRef idx="2">
              <a:schemeClr val="accent1"/>
            </a:lnRef>
            <a:fillRef idx="1">
              <a:schemeClr val="lt1"/>
            </a:fillRef>
            <a:effectRef idx="0">
              <a:schemeClr val="accent1"/>
            </a:effectRef>
            <a:fontRef idx="minor">
              <a:schemeClr val="dk1"/>
            </a:fontRef>
          </p:style>
        </p:pic>
        <p:cxnSp>
          <p:nvCxnSpPr>
            <p:cNvPr id="13" name="Straight Arrow Connector 12">
              <a:extLst>
                <a:ext uri="{FF2B5EF4-FFF2-40B4-BE49-F238E27FC236}">
                  <a16:creationId xmlns:a16="http://schemas.microsoft.com/office/drawing/2014/main" id="{520DEB36-3E72-4D66-BE66-8E06B0DFD1EE}"/>
                </a:ext>
              </a:extLst>
            </p:cNvPr>
            <p:cNvCxnSpPr/>
            <p:nvPr/>
          </p:nvCxnSpPr>
          <p:spPr>
            <a:xfrm>
              <a:off x="406543" y="4142586"/>
              <a:ext cx="584182" cy="0"/>
            </a:xfrm>
            <a:prstGeom prst="straightConnector1">
              <a:avLst/>
            </a:prstGeom>
            <a:ln>
              <a:headEnd type="triangle"/>
              <a:tailEnd type="triangle"/>
            </a:ln>
          </p:spPr>
          <p:style>
            <a:lnRef idx="2">
              <a:schemeClr val="accent1"/>
            </a:lnRef>
            <a:fillRef idx="1">
              <a:schemeClr val="lt1"/>
            </a:fillRef>
            <a:effectRef idx="0">
              <a:schemeClr val="accent1"/>
            </a:effectRef>
            <a:fontRef idx="minor">
              <a:schemeClr val="dk1"/>
            </a:fontRef>
          </p:style>
        </p:cxnSp>
        <p:sp>
          <p:nvSpPr>
            <p:cNvPr id="14" name="Rectangle 13">
              <a:extLst>
                <a:ext uri="{FF2B5EF4-FFF2-40B4-BE49-F238E27FC236}">
                  <a16:creationId xmlns:a16="http://schemas.microsoft.com/office/drawing/2014/main" id="{73AF9316-3F9E-49EC-A127-13693144728F}"/>
                </a:ext>
              </a:extLst>
            </p:cNvPr>
            <p:cNvSpPr/>
            <p:nvPr/>
          </p:nvSpPr>
          <p:spPr>
            <a:xfrm>
              <a:off x="391303" y="4011698"/>
              <a:ext cx="5080" cy="265048"/>
            </a:xfrm>
            <a:prstGeom prst="rect">
              <a:avLst/>
            </a:prstGeom>
            <a:ln/>
          </p:spPr>
          <p:style>
            <a:lnRef idx="2">
              <a:schemeClr val="accent1"/>
            </a:lnRef>
            <a:fillRef idx="1">
              <a:schemeClr val="lt1"/>
            </a:fillRef>
            <a:effectRef idx="0">
              <a:schemeClr val="accent1"/>
            </a:effectRef>
            <a:fontRef idx="minor">
              <a:schemeClr val="dk1"/>
            </a:fontRef>
          </p:style>
          <p:txBody>
            <a:bodyPr anchor="ctr"/>
            <a:lstStyle/>
            <a:p>
              <a:pPr algn="ctr" defTabSz="1219170">
                <a:defRPr/>
              </a:pPr>
              <a:endParaRPr lang="en-US" i="1">
                <a:solidFill>
                  <a:prstClr val="black"/>
                </a:solidFill>
                <a:latin typeface="Century Gothic" panose="020B0502020202020204" pitchFamily="34" charset="0"/>
              </a:endParaRPr>
            </a:p>
          </p:txBody>
        </p:sp>
        <p:sp>
          <p:nvSpPr>
            <p:cNvPr id="17" name="Rectangle 16">
              <a:extLst>
                <a:ext uri="{FF2B5EF4-FFF2-40B4-BE49-F238E27FC236}">
                  <a16:creationId xmlns:a16="http://schemas.microsoft.com/office/drawing/2014/main" id="{79D41B23-E9AA-41DB-97A7-DEB50DA9334E}"/>
                </a:ext>
              </a:extLst>
            </p:cNvPr>
            <p:cNvSpPr/>
            <p:nvPr/>
          </p:nvSpPr>
          <p:spPr>
            <a:xfrm>
              <a:off x="988184" y="4011698"/>
              <a:ext cx="2541" cy="265048"/>
            </a:xfrm>
            <a:prstGeom prst="rect">
              <a:avLst/>
            </a:prstGeom>
            <a:ln/>
          </p:spPr>
          <p:style>
            <a:lnRef idx="2">
              <a:schemeClr val="accent1"/>
            </a:lnRef>
            <a:fillRef idx="1">
              <a:schemeClr val="lt1"/>
            </a:fillRef>
            <a:effectRef idx="0">
              <a:schemeClr val="accent1"/>
            </a:effectRef>
            <a:fontRef idx="minor">
              <a:schemeClr val="dk1"/>
            </a:fontRef>
          </p:style>
          <p:txBody>
            <a:bodyPr anchor="ctr"/>
            <a:lstStyle/>
            <a:p>
              <a:pPr algn="ctr" defTabSz="1219170">
                <a:defRPr/>
              </a:pPr>
              <a:endParaRPr lang="en-US" i="1">
                <a:solidFill>
                  <a:prstClr val="black"/>
                </a:solidFill>
                <a:latin typeface="Century Gothic" panose="020B0502020202020204" pitchFamily="34" charset="0"/>
              </a:endParaRPr>
            </a:p>
          </p:txBody>
        </p:sp>
        <p:cxnSp>
          <p:nvCxnSpPr>
            <p:cNvPr id="18" name="Straight Arrow Connector 17">
              <a:extLst>
                <a:ext uri="{FF2B5EF4-FFF2-40B4-BE49-F238E27FC236}">
                  <a16:creationId xmlns:a16="http://schemas.microsoft.com/office/drawing/2014/main" id="{17270C37-20FF-4790-87C2-D0D145AAF6D1}"/>
                </a:ext>
              </a:extLst>
            </p:cNvPr>
            <p:cNvCxnSpPr/>
            <p:nvPr/>
          </p:nvCxnSpPr>
          <p:spPr>
            <a:xfrm>
              <a:off x="495439" y="3484878"/>
              <a:ext cx="492745" cy="0"/>
            </a:xfrm>
            <a:prstGeom prst="straightConnector1">
              <a:avLst/>
            </a:prstGeom>
            <a:ln>
              <a:headEnd type="triangle"/>
              <a:tailEnd type="triangle"/>
            </a:ln>
          </p:spPr>
          <p:style>
            <a:lnRef idx="2">
              <a:schemeClr val="accent1"/>
            </a:lnRef>
            <a:fillRef idx="1">
              <a:schemeClr val="lt1"/>
            </a:fillRef>
            <a:effectRef idx="0">
              <a:schemeClr val="accent1"/>
            </a:effectRef>
            <a:fontRef idx="minor">
              <a:schemeClr val="dk1"/>
            </a:fontRef>
          </p:style>
        </p:cxnSp>
        <p:sp>
          <p:nvSpPr>
            <p:cNvPr id="19" name="Rectangle 18">
              <a:extLst>
                <a:ext uri="{FF2B5EF4-FFF2-40B4-BE49-F238E27FC236}">
                  <a16:creationId xmlns:a16="http://schemas.microsoft.com/office/drawing/2014/main" id="{A7291AEB-3298-4AFD-B5F4-A41F4511F309}"/>
                </a:ext>
              </a:extLst>
            </p:cNvPr>
            <p:cNvSpPr/>
            <p:nvPr/>
          </p:nvSpPr>
          <p:spPr>
            <a:xfrm>
              <a:off x="477660" y="3350718"/>
              <a:ext cx="5080" cy="265048"/>
            </a:xfrm>
            <a:prstGeom prst="rect">
              <a:avLst/>
            </a:prstGeom>
            <a:ln/>
          </p:spPr>
          <p:style>
            <a:lnRef idx="2">
              <a:schemeClr val="accent1"/>
            </a:lnRef>
            <a:fillRef idx="1">
              <a:schemeClr val="lt1"/>
            </a:fillRef>
            <a:effectRef idx="0">
              <a:schemeClr val="accent1"/>
            </a:effectRef>
            <a:fontRef idx="minor">
              <a:schemeClr val="dk1"/>
            </a:fontRef>
          </p:style>
          <p:txBody>
            <a:bodyPr anchor="ctr"/>
            <a:lstStyle/>
            <a:p>
              <a:pPr algn="ctr" defTabSz="1219170">
                <a:defRPr/>
              </a:pPr>
              <a:endParaRPr lang="en-US" i="1">
                <a:solidFill>
                  <a:prstClr val="black"/>
                </a:solidFill>
                <a:latin typeface="Century Gothic" panose="020B0502020202020204" pitchFamily="34" charset="0"/>
              </a:endParaRPr>
            </a:p>
          </p:txBody>
        </p:sp>
        <p:sp>
          <p:nvSpPr>
            <p:cNvPr id="20" name="Rectangle 19">
              <a:extLst>
                <a:ext uri="{FF2B5EF4-FFF2-40B4-BE49-F238E27FC236}">
                  <a16:creationId xmlns:a16="http://schemas.microsoft.com/office/drawing/2014/main" id="{CEB19DEE-0C18-4AA1-ACF4-7AAAC7698D5F}"/>
                </a:ext>
              </a:extLst>
            </p:cNvPr>
            <p:cNvSpPr/>
            <p:nvPr/>
          </p:nvSpPr>
          <p:spPr>
            <a:xfrm>
              <a:off x="970405" y="3350718"/>
              <a:ext cx="5080" cy="265048"/>
            </a:xfrm>
            <a:prstGeom prst="rect">
              <a:avLst/>
            </a:prstGeom>
            <a:ln/>
          </p:spPr>
          <p:style>
            <a:lnRef idx="2">
              <a:schemeClr val="accent1"/>
            </a:lnRef>
            <a:fillRef idx="1">
              <a:schemeClr val="lt1"/>
            </a:fillRef>
            <a:effectRef idx="0">
              <a:schemeClr val="accent1"/>
            </a:effectRef>
            <a:fontRef idx="minor">
              <a:schemeClr val="dk1"/>
            </a:fontRef>
          </p:style>
          <p:txBody>
            <a:bodyPr anchor="ctr"/>
            <a:lstStyle/>
            <a:p>
              <a:pPr algn="ctr" defTabSz="1219170">
                <a:defRPr/>
              </a:pPr>
              <a:endParaRPr lang="en-US" i="1">
                <a:solidFill>
                  <a:prstClr val="black"/>
                </a:solidFill>
                <a:latin typeface="Century Gothic" panose="020B0502020202020204" pitchFamily="34" charset="0"/>
              </a:endParaRPr>
            </a:p>
          </p:txBody>
        </p:sp>
        <p:sp>
          <p:nvSpPr>
            <p:cNvPr id="23" name="TextBox 22">
              <a:extLst>
                <a:ext uri="{FF2B5EF4-FFF2-40B4-BE49-F238E27FC236}">
                  <a16:creationId xmlns:a16="http://schemas.microsoft.com/office/drawing/2014/main" id="{ED40EB2B-B3C2-4414-8F81-04E7F4A2A003}"/>
                </a:ext>
              </a:extLst>
            </p:cNvPr>
            <p:cNvSpPr txBox="1"/>
            <p:nvPr/>
          </p:nvSpPr>
          <p:spPr>
            <a:xfrm>
              <a:off x="4894582" y="3713931"/>
              <a:ext cx="1793683" cy="476134"/>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1219170">
                <a:defRPr/>
              </a:pPr>
              <a:r>
                <a:rPr lang="en-US" sz="1200" b="1" dirty="0">
                  <a:solidFill>
                    <a:prstClr val="black"/>
                  </a:solidFill>
                  <a:latin typeface="Century Gothic" panose="020B0502020202020204" pitchFamily="34" charset="0"/>
                </a:rPr>
                <a:t>Rear Overhang</a:t>
              </a:r>
            </a:p>
          </p:txBody>
        </p:sp>
        <p:cxnSp>
          <p:nvCxnSpPr>
            <p:cNvPr id="24" name="Straight Arrow Connector 23">
              <a:extLst>
                <a:ext uri="{FF2B5EF4-FFF2-40B4-BE49-F238E27FC236}">
                  <a16:creationId xmlns:a16="http://schemas.microsoft.com/office/drawing/2014/main" id="{53CD83DE-DC47-4706-B9C6-2C23AC12CB2A}"/>
                </a:ext>
              </a:extLst>
            </p:cNvPr>
            <p:cNvCxnSpPr>
              <a:cxnSpLocks/>
            </p:cNvCxnSpPr>
            <p:nvPr/>
          </p:nvCxnSpPr>
          <p:spPr>
            <a:xfrm flipV="1">
              <a:off x="5143495" y="3475061"/>
              <a:ext cx="617202" cy="6544"/>
            </a:xfrm>
            <a:prstGeom prst="straightConnector1">
              <a:avLst/>
            </a:prstGeom>
            <a:ln>
              <a:headEnd type="triangle"/>
              <a:tailEnd type="triangle"/>
            </a:ln>
          </p:spPr>
          <p:style>
            <a:lnRef idx="2">
              <a:schemeClr val="accent1"/>
            </a:lnRef>
            <a:fillRef idx="1">
              <a:schemeClr val="lt1"/>
            </a:fillRef>
            <a:effectRef idx="0">
              <a:schemeClr val="accent1"/>
            </a:effectRef>
            <a:fontRef idx="minor">
              <a:schemeClr val="dk1"/>
            </a:fontRef>
          </p:style>
        </p:cxnSp>
        <p:sp>
          <p:nvSpPr>
            <p:cNvPr id="25" name="Rectangle 24">
              <a:extLst>
                <a:ext uri="{FF2B5EF4-FFF2-40B4-BE49-F238E27FC236}">
                  <a16:creationId xmlns:a16="http://schemas.microsoft.com/office/drawing/2014/main" id="{EBD96839-62ED-4CC8-8A33-D3FD36EA5538}"/>
                </a:ext>
              </a:extLst>
            </p:cNvPr>
            <p:cNvSpPr/>
            <p:nvPr/>
          </p:nvSpPr>
          <p:spPr>
            <a:xfrm>
              <a:off x="4610111" y="3344174"/>
              <a:ext cx="5080" cy="265048"/>
            </a:xfrm>
            <a:prstGeom prst="rect">
              <a:avLst/>
            </a:prstGeom>
            <a:ln/>
          </p:spPr>
          <p:style>
            <a:lnRef idx="2">
              <a:schemeClr val="accent1"/>
            </a:lnRef>
            <a:fillRef idx="1">
              <a:schemeClr val="lt1"/>
            </a:fillRef>
            <a:effectRef idx="0">
              <a:schemeClr val="accent1"/>
            </a:effectRef>
            <a:fontRef idx="minor">
              <a:schemeClr val="dk1"/>
            </a:fontRef>
          </p:style>
          <p:txBody>
            <a:bodyPr anchor="ctr"/>
            <a:lstStyle/>
            <a:p>
              <a:pPr algn="ctr" defTabSz="1219170">
                <a:defRPr/>
              </a:pPr>
              <a:endParaRPr lang="en-US" i="1">
                <a:solidFill>
                  <a:prstClr val="black"/>
                </a:solidFill>
                <a:latin typeface="Century Gothic" panose="020B0502020202020204" pitchFamily="34" charset="0"/>
              </a:endParaRPr>
            </a:p>
          </p:txBody>
        </p:sp>
        <p:sp>
          <p:nvSpPr>
            <p:cNvPr id="26" name="Rectangle 25">
              <a:extLst>
                <a:ext uri="{FF2B5EF4-FFF2-40B4-BE49-F238E27FC236}">
                  <a16:creationId xmlns:a16="http://schemas.microsoft.com/office/drawing/2014/main" id="{8C6FD56F-8B48-4E34-8828-E39F8210FAC2}"/>
                </a:ext>
              </a:extLst>
            </p:cNvPr>
            <p:cNvSpPr/>
            <p:nvPr/>
          </p:nvSpPr>
          <p:spPr>
            <a:xfrm>
              <a:off x="5737836" y="3344174"/>
              <a:ext cx="5080" cy="265048"/>
            </a:xfrm>
            <a:prstGeom prst="rect">
              <a:avLst/>
            </a:prstGeom>
            <a:ln/>
          </p:spPr>
          <p:style>
            <a:lnRef idx="2">
              <a:schemeClr val="accent1"/>
            </a:lnRef>
            <a:fillRef idx="1">
              <a:schemeClr val="lt1"/>
            </a:fillRef>
            <a:effectRef idx="0">
              <a:schemeClr val="accent1"/>
            </a:effectRef>
            <a:fontRef idx="minor">
              <a:schemeClr val="dk1"/>
            </a:fontRef>
          </p:style>
          <p:txBody>
            <a:bodyPr anchor="ctr"/>
            <a:lstStyle/>
            <a:p>
              <a:pPr algn="ctr" defTabSz="1219170">
                <a:defRPr/>
              </a:pPr>
              <a:endParaRPr lang="en-US" i="1">
                <a:solidFill>
                  <a:prstClr val="black"/>
                </a:solidFill>
                <a:latin typeface="Century Gothic" panose="020B0502020202020204" pitchFamily="34" charset="0"/>
              </a:endParaRPr>
            </a:p>
          </p:txBody>
        </p:sp>
        <p:cxnSp>
          <p:nvCxnSpPr>
            <p:cNvPr id="27" name="Straight Arrow Connector 26">
              <a:extLst>
                <a:ext uri="{FF2B5EF4-FFF2-40B4-BE49-F238E27FC236}">
                  <a16:creationId xmlns:a16="http://schemas.microsoft.com/office/drawing/2014/main" id="{730359F5-A7A9-4F99-926E-EAA0BDEC8CDE}"/>
                </a:ext>
              </a:extLst>
            </p:cNvPr>
            <p:cNvCxnSpPr/>
            <p:nvPr/>
          </p:nvCxnSpPr>
          <p:spPr>
            <a:xfrm>
              <a:off x="5148575" y="4908276"/>
              <a:ext cx="596882" cy="0"/>
            </a:xfrm>
            <a:prstGeom prst="straightConnector1">
              <a:avLst/>
            </a:prstGeom>
            <a:ln>
              <a:headEnd type="triangle"/>
              <a:tailEnd type="triangle"/>
            </a:ln>
          </p:spPr>
          <p:style>
            <a:lnRef idx="2">
              <a:schemeClr val="accent1"/>
            </a:lnRef>
            <a:fillRef idx="1">
              <a:schemeClr val="lt1"/>
            </a:fillRef>
            <a:effectRef idx="0">
              <a:schemeClr val="accent1"/>
            </a:effectRef>
            <a:fontRef idx="minor">
              <a:schemeClr val="dk1"/>
            </a:fontRef>
          </p:style>
        </p:cxnSp>
        <p:sp>
          <p:nvSpPr>
            <p:cNvPr id="28" name="Rectangle 27">
              <a:extLst>
                <a:ext uri="{FF2B5EF4-FFF2-40B4-BE49-F238E27FC236}">
                  <a16:creationId xmlns:a16="http://schemas.microsoft.com/office/drawing/2014/main" id="{56B0F237-B835-45F7-B988-9C06CF6C0C9B}"/>
                </a:ext>
              </a:extLst>
            </p:cNvPr>
            <p:cNvSpPr/>
            <p:nvPr/>
          </p:nvSpPr>
          <p:spPr>
            <a:xfrm>
              <a:off x="5143495" y="4777388"/>
              <a:ext cx="5080" cy="261774"/>
            </a:xfrm>
            <a:prstGeom prst="rect">
              <a:avLst/>
            </a:prstGeom>
            <a:ln/>
          </p:spPr>
          <p:style>
            <a:lnRef idx="2">
              <a:schemeClr val="accent1"/>
            </a:lnRef>
            <a:fillRef idx="1">
              <a:schemeClr val="lt1"/>
            </a:fillRef>
            <a:effectRef idx="0">
              <a:schemeClr val="accent1"/>
            </a:effectRef>
            <a:fontRef idx="minor">
              <a:schemeClr val="dk1"/>
            </a:fontRef>
          </p:style>
          <p:txBody>
            <a:bodyPr anchor="ctr"/>
            <a:lstStyle/>
            <a:p>
              <a:pPr algn="ctr" defTabSz="1219170">
                <a:defRPr/>
              </a:pPr>
              <a:endParaRPr lang="en-US" i="1">
                <a:solidFill>
                  <a:prstClr val="black"/>
                </a:solidFill>
                <a:latin typeface="Century Gothic" panose="020B0502020202020204" pitchFamily="34" charset="0"/>
              </a:endParaRPr>
            </a:p>
          </p:txBody>
        </p:sp>
        <p:sp>
          <p:nvSpPr>
            <p:cNvPr id="29" name="Rectangle 28">
              <a:extLst>
                <a:ext uri="{FF2B5EF4-FFF2-40B4-BE49-F238E27FC236}">
                  <a16:creationId xmlns:a16="http://schemas.microsoft.com/office/drawing/2014/main" id="{FF444009-9E09-4FAD-8A37-7621FD317D0B}"/>
                </a:ext>
              </a:extLst>
            </p:cNvPr>
            <p:cNvSpPr/>
            <p:nvPr/>
          </p:nvSpPr>
          <p:spPr>
            <a:xfrm>
              <a:off x="5704818" y="4777388"/>
              <a:ext cx="2539" cy="265048"/>
            </a:xfrm>
            <a:prstGeom prst="rect">
              <a:avLst/>
            </a:prstGeom>
            <a:ln/>
          </p:spPr>
          <p:style>
            <a:lnRef idx="2">
              <a:schemeClr val="accent1"/>
            </a:lnRef>
            <a:fillRef idx="1">
              <a:schemeClr val="lt1"/>
            </a:fillRef>
            <a:effectRef idx="0">
              <a:schemeClr val="accent1"/>
            </a:effectRef>
            <a:fontRef idx="minor">
              <a:schemeClr val="dk1"/>
            </a:fontRef>
          </p:style>
          <p:txBody>
            <a:bodyPr anchor="ctr"/>
            <a:lstStyle/>
            <a:p>
              <a:pPr algn="ctr" defTabSz="1219170">
                <a:defRPr/>
              </a:pPr>
              <a:endParaRPr lang="en-US" i="1">
                <a:solidFill>
                  <a:prstClr val="black"/>
                </a:solidFill>
                <a:latin typeface="Century Gothic" panose="020B0502020202020204" pitchFamily="34" charset="0"/>
              </a:endParaRPr>
            </a:p>
          </p:txBody>
        </p:sp>
        <p:cxnSp>
          <p:nvCxnSpPr>
            <p:cNvPr id="30" name="Straight Arrow Connector 29">
              <a:extLst>
                <a:ext uri="{FF2B5EF4-FFF2-40B4-BE49-F238E27FC236}">
                  <a16:creationId xmlns:a16="http://schemas.microsoft.com/office/drawing/2014/main" id="{47E38AD0-D3AF-45D5-8DE5-06B3AB0986B5}"/>
                </a:ext>
              </a:extLst>
            </p:cNvPr>
            <p:cNvCxnSpPr/>
            <p:nvPr/>
          </p:nvCxnSpPr>
          <p:spPr>
            <a:xfrm>
              <a:off x="983104" y="3484878"/>
              <a:ext cx="3647327" cy="0"/>
            </a:xfrm>
            <a:prstGeom prst="straightConnector1">
              <a:avLst/>
            </a:prstGeom>
            <a:ln>
              <a:headEnd type="triangle"/>
              <a:tailEnd type="triangle"/>
            </a:ln>
          </p:spPr>
          <p:style>
            <a:lnRef idx="2">
              <a:schemeClr val="accent1"/>
            </a:lnRef>
            <a:fillRef idx="1">
              <a:schemeClr val="lt1"/>
            </a:fillRef>
            <a:effectRef idx="0">
              <a:schemeClr val="accent1"/>
            </a:effectRef>
            <a:fontRef idx="minor">
              <a:schemeClr val="dk1"/>
            </a:fontRef>
          </p:style>
        </p:cxnSp>
        <p:sp>
          <p:nvSpPr>
            <p:cNvPr id="31" name="TextBox 30">
              <a:extLst>
                <a:ext uri="{FF2B5EF4-FFF2-40B4-BE49-F238E27FC236}">
                  <a16:creationId xmlns:a16="http://schemas.microsoft.com/office/drawing/2014/main" id="{8C4DBF3A-6432-40C6-8D33-5005B31AF6AE}"/>
                </a:ext>
              </a:extLst>
            </p:cNvPr>
            <p:cNvSpPr txBox="1"/>
            <p:nvPr/>
          </p:nvSpPr>
          <p:spPr>
            <a:xfrm>
              <a:off x="2250525" y="3664846"/>
              <a:ext cx="1440269" cy="476134"/>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1219170">
                <a:defRPr/>
              </a:pPr>
              <a:r>
                <a:rPr lang="en-US" sz="1200" b="1" dirty="0">
                  <a:solidFill>
                    <a:prstClr val="black"/>
                  </a:solidFill>
                  <a:latin typeface="Century Gothic" panose="020B0502020202020204" pitchFamily="34" charset="0"/>
                </a:rPr>
                <a:t>Wheelbase </a:t>
              </a:r>
            </a:p>
          </p:txBody>
        </p:sp>
        <p:sp>
          <p:nvSpPr>
            <p:cNvPr id="32" name="Rectangle 31">
              <a:extLst>
                <a:ext uri="{FF2B5EF4-FFF2-40B4-BE49-F238E27FC236}">
                  <a16:creationId xmlns:a16="http://schemas.microsoft.com/office/drawing/2014/main" id="{784E381B-7E74-4109-A991-D048845D8474}"/>
                </a:ext>
              </a:extLst>
            </p:cNvPr>
            <p:cNvSpPr/>
            <p:nvPr/>
          </p:nvSpPr>
          <p:spPr>
            <a:xfrm>
              <a:off x="5135876" y="3422706"/>
              <a:ext cx="5080" cy="265048"/>
            </a:xfrm>
            <a:prstGeom prst="rect">
              <a:avLst/>
            </a:prstGeom>
            <a:ln/>
          </p:spPr>
          <p:style>
            <a:lnRef idx="2">
              <a:schemeClr val="accent1"/>
            </a:lnRef>
            <a:fillRef idx="1">
              <a:schemeClr val="lt1"/>
            </a:fillRef>
            <a:effectRef idx="0">
              <a:schemeClr val="accent1"/>
            </a:effectRef>
            <a:fontRef idx="minor">
              <a:schemeClr val="dk1"/>
            </a:fontRef>
          </p:style>
          <p:txBody>
            <a:bodyPr anchor="ctr"/>
            <a:lstStyle/>
            <a:p>
              <a:pPr algn="ctr" defTabSz="1219170">
                <a:defRPr/>
              </a:pPr>
              <a:endParaRPr lang="en-US" i="1">
                <a:solidFill>
                  <a:prstClr val="black"/>
                </a:solidFill>
                <a:latin typeface="Century Gothic" panose="020B0502020202020204" pitchFamily="34" charset="0"/>
              </a:endParaRPr>
            </a:p>
          </p:txBody>
        </p:sp>
      </p:grpSp>
      <p:grpSp>
        <p:nvGrpSpPr>
          <p:cNvPr id="4" name="Group 3"/>
          <p:cNvGrpSpPr/>
          <p:nvPr/>
        </p:nvGrpSpPr>
        <p:grpSpPr>
          <a:xfrm>
            <a:off x="278410" y="3502644"/>
            <a:ext cx="4936459" cy="1589553"/>
            <a:chOff x="885820" y="3695728"/>
            <a:chExt cx="4634902" cy="1282594"/>
          </a:xfrm>
        </p:grpSpPr>
        <p:sp>
          <p:nvSpPr>
            <p:cNvPr id="2" name="Rectangle 1"/>
            <p:cNvSpPr/>
            <p:nvPr/>
          </p:nvSpPr>
          <p:spPr>
            <a:xfrm>
              <a:off x="1214846" y="3695728"/>
              <a:ext cx="4305876" cy="1282594"/>
            </a:xfrm>
            <a:prstGeom prst="rect">
              <a:avLst/>
            </a:prstGeom>
            <a:solidFill>
              <a:schemeClr val="accent5">
                <a:lumMod val="20000"/>
                <a:lumOff val="80000"/>
              </a:schemeClr>
            </a:solidFill>
            <a:ln>
              <a:solidFill>
                <a:schemeClr val="accent5">
                  <a:lumMod val="5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885820" y="3695728"/>
              <a:ext cx="329025" cy="1282594"/>
            </a:xfrm>
            <a:prstGeom prst="rect">
              <a:avLst/>
            </a:prstGeom>
            <a:solidFill>
              <a:schemeClr val="accent5">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1" name="Group 40"/>
          <p:cNvGrpSpPr/>
          <p:nvPr/>
        </p:nvGrpSpPr>
        <p:grpSpPr>
          <a:xfrm>
            <a:off x="264676" y="5270314"/>
            <a:ext cx="4950193" cy="1452303"/>
            <a:chOff x="885820" y="3695728"/>
            <a:chExt cx="4634902" cy="1282594"/>
          </a:xfrm>
        </p:grpSpPr>
        <p:sp>
          <p:nvSpPr>
            <p:cNvPr id="42" name="Rectangle 41"/>
            <p:cNvSpPr/>
            <p:nvPr/>
          </p:nvSpPr>
          <p:spPr>
            <a:xfrm>
              <a:off x="1214846" y="3695728"/>
              <a:ext cx="4305876" cy="1282594"/>
            </a:xfrm>
            <a:prstGeom prst="rect">
              <a:avLst/>
            </a:prstGeom>
            <a:solidFill>
              <a:schemeClr val="accent5">
                <a:lumMod val="20000"/>
                <a:lumOff val="80000"/>
              </a:schemeClr>
            </a:solidFill>
            <a:ln>
              <a:solidFill>
                <a:schemeClr val="accent5">
                  <a:lumMod val="5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885820" y="3695728"/>
              <a:ext cx="329025" cy="1282594"/>
            </a:xfrm>
            <a:prstGeom prst="rect">
              <a:avLst/>
            </a:prstGeom>
            <a:solidFill>
              <a:schemeClr val="accent5">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extBox 4"/>
          <p:cNvSpPr txBox="1"/>
          <p:nvPr/>
        </p:nvSpPr>
        <p:spPr>
          <a:xfrm>
            <a:off x="584230" y="3511062"/>
            <a:ext cx="2913018" cy="369332"/>
          </a:xfrm>
          <a:prstGeom prst="rect">
            <a:avLst/>
          </a:prstGeom>
          <a:noFill/>
        </p:spPr>
        <p:txBody>
          <a:bodyPr wrap="square" rtlCol="0">
            <a:spAutoFit/>
          </a:bodyPr>
          <a:lstStyle/>
          <a:p>
            <a:pPr algn="ctr" defTabSz="1219170">
              <a:defRPr/>
            </a:pPr>
            <a:r>
              <a:rPr lang="en-IN" b="1" dirty="0">
                <a:solidFill>
                  <a:prstClr val="black"/>
                </a:solidFill>
                <a:latin typeface="Century Gothic" panose="020B0502020202020204" pitchFamily="34" charset="0"/>
              </a:rPr>
              <a:t>Advantage of higher WB</a:t>
            </a:r>
            <a:endParaRPr lang="en-US" b="1" dirty="0">
              <a:solidFill>
                <a:prstClr val="black"/>
              </a:solidFill>
              <a:latin typeface="Century Gothic" panose="020B0502020202020204" pitchFamily="34" charset="0"/>
            </a:endParaRPr>
          </a:p>
        </p:txBody>
      </p:sp>
      <p:sp>
        <p:nvSpPr>
          <p:cNvPr id="44" name="TextBox 43"/>
          <p:cNvSpPr txBox="1"/>
          <p:nvPr/>
        </p:nvSpPr>
        <p:spPr>
          <a:xfrm>
            <a:off x="681776" y="3957396"/>
            <a:ext cx="4309488" cy="1077218"/>
          </a:xfrm>
          <a:prstGeom prst="rect">
            <a:avLst/>
          </a:prstGeom>
          <a:noFill/>
        </p:spPr>
        <p:txBody>
          <a:bodyPr wrap="square" rtlCol="0">
            <a:spAutoFit/>
          </a:bodyPr>
          <a:lstStyle/>
          <a:p>
            <a:pPr marL="285744" indent="-285744" defTabSz="1219170">
              <a:buFont typeface="Wingdings" panose="05000000000000000000" pitchFamily="2" charset="2"/>
              <a:buChar char="§"/>
              <a:defRPr/>
            </a:pPr>
            <a:r>
              <a:rPr lang="en-IN" sz="1600" dirty="0">
                <a:solidFill>
                  <a:prstClr val="black"/>
                </a:solidFill>
                <a:latin typeface="Century Gothic" panose="020B0502020202020204" pitchFamily="34" charset="0"/>
              </a:rPr>
              <a:t>Having higher wheelbase means more loading area – more option to carry volumetric goods for customer.</a:t>
            </a:r>
          </a:p>
          <a:p>
            <a:pPr marL="285744" indent="-285744" defTabSz="1219170">
              <a:buFont typeface="Wingdings" panose="05000000000000000000" pitchFamily="2" charset="2"/>
              <a:buChar char="§"/>
              <a:defRPr/>
            </a:pPr>
            <a:r>
              <a:rPr lang="en-IN" sz="1600" dirty="0">
                <a:solidFill>
                  <a:prstClr val="black"/>
                </a:solidFill>
                <a:latin typeface="Century Gothic" panose="020B0502020202020204" pitchFamily="34" charset="0"/>
              </a:rPr>
              <a:t>Increase stability specially at turns.</a:t>
            </a:r>
          </a:p>
        </p:txBody>
      </p:sp>
      <p:sp>
        <p:nvSpPr>
          <p:cNvPr id="45" name="TextBox 44"/>
          <p:cNvSpPr txBox="1"/>
          <p:nvPr/>
        </p:nvSpPr>
        <p:spPr>
          <a:xfrm>
            <a:off x="584230" y="5270314"/>
            <a:ext cx="2913018" cy="369332"/>
          </a:xfrm>
          <a:prstGeom prst="rect">
            <a:avLst/>
          </a:prstGeom>
          <a:noFill/>
        </p:spPr>
        <p:txBody>
          <a:bodyPr wrap="square" rtlCol="0">
            <a:spAutoFit/>
          </a:bodyPr>
          <a:lstStyle/>
          <a:p>
            <a:pPr algn="ctr" defTabSz="1219170">
              <a:defRPr/>
            </a:pPr>
            <a:r>
              <a:rPr lang="en-IN" b="1" dirty="0">
                <a:solidFill>
                  <a:prstClr val="black"/>
                </a:solidFill>
                <a:latin typeface="Century Gothic" panose="020B0502020202020204" pitchFamily="34" charset="0"/>
              </a:rPr>
              <a:t>Advantage of lower WB</a:t>
            </a:r>
            <a:endParaRPr lang="en-US" b="1" dirty="0">
              <a:solidFill>
                <a:prstClr val="black"/>
              </a:solidFill>
              <a:latin typeface="Century Gothic" panose="020B0502020202020204" pitchFamily="34" charset="0"/>
            </a:endParaRPr>
          </a:p>
        </p:txBody>
      </p:sp>
      <p:sp>
        <p:nvSpPr>
          <p:cNvPr id="46" name="TextBox 45"/>
          <p:cNvSpPr txBox="1"/>
          <p:nvPr/>
        </p:nvSpPr>
        <p:spPr>
          <a:xfrm>
            <a:off x="628842" y="5637718"/>
            <a:ext cx="4309488" cy="584775"/>
          </a:xfrm>
          <a:prstGeom prst="rect">
            <a:avLst/>
          </a:prstGeom>
          <a:noFill/>
        </p:spPr>
        <p:txBody>
          <a:bodyPr wrap="square" rtlCol="0">
            <a:spAutoFit/>
          </a:bodyPr>
          <a:lstStyle/>
          <a:p>
            <a:pPr marL="285744" indent="-285744" defTabSz="1219170">
              <a:buFont typeface="Wingdings" panose="05000000000000000000" pitchFamily="2" charset="2"/>
              <a:buChar char="§"/>
              <a:defRPr/>
            </a:pPr>
            <a:r>
              <a:rPr lang="en-IN" sz="1600" dirty="0">
                <a:solidFill>
                  <a:prstClr val="black"/>
                </a:solidFill>
                <a:latin typeface="Century Gothic" panose="020B0502020202020204" pitchFamily="34" charset="0"/>
              </a:rPr>
              <a:t>Less wear on tyre</a:t>
            </a:r>
          </a:p>
          <a:p>
            <a:pPr marL="285744" indent="-285744" defTabSz="1219170">
              <a:buFont typeface="Wingdings" panose="05000000000000000000" pitchFamily="2" charset="2"/>
              <a:buChar char="§"/>
              <a:defRPr/>
            </a:pPr>
            <a:r>
              <a:rPr lang="en-IN" sz="1600" dirty="0">
                <a:solidFill>
                  <a:prstClr val="black"/>
                </a:solidFill>
                <a:latin typeface="Century Gothic" panose="020B0502020202020204" pitchFamily="34" charset="0"/>
              </a:rPr>
              <a:t>Lower TCD</a:t>
            </a:r>
            <a:endParaRPr lang="en-US" sz="1600" dirty="0">
              <a:solidFill>
                <a:prstClr val="black"/>
              </a:solidFill>
              <a:latin typeface="Century Gothic" panose="020B0502020202020204" pitchFamily="34" charset="0"/>
            </a:endParaRPr>
          </a:p>
        </p:txBody>
      </p:sp>
      <p:pic>
        <p:nvPicPr>
          <p:cNvPr id="47" name="Picture 5">
            <a:extLst>
              <a:ext uri="{FF2B5EF4-FFF2-40B4-BE49-F238E27FC236}">
                <a16:creationId xmlns:a16="http://schemas.microsoft.com/office/drawing/2014/main" id="{121EB9C9-CFFF-4D5F-9AAE-0C88CAC8F36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58994" y="964043"/>
            <a:ext cx="3153730" cy="2131197"/>
          </a:xfrm>
          <a:prstGeom prst="rect">
            <a:avLst/>
          </a:prstGeom>
          <a:noFill/>
          <a:ln>
            <a:noFill/>
          </a:ln>
          <a:effectLst>
            <a:innerShdw blurRad="114300">
              <a:prstClr val="black"/>
            </a:innerShdw>
          </a:effectLst>
          <a:extLst>
            <a:ext uri="{909E8E84-426E-40DD-AFC4-6F175D3DCCD1}">
              <a14:hiddenFill xmlns:a14="http://schemas.microsoft.com/office/drawing/2010/main">
                <a:solidFill>
                  <a:srgbClr val="FFFFFF"/>
                </a:solidFill>
              </a14:hiddenFill>
            </a:ext>
          </a:extLst>
        </p:spPr>
      </p:pic>
      <p:grpSp>
        <p:nvGrpSpPr>
          <p:cNvPr id="48" name="Group 47"/>
          <p:cNvGrpSpPr/>
          <p:nvPr/>
        </p:nvGrpSpPr>
        <p:grpSpPr>
          <a:xfrm>
            <a:off x="6601035" y="3488884"/>
            <a:ext cx="4936459" cy="1589553"/>
            <a:chOff x="885820" y="3695728"/>
            <a:chExt cx="4634902" cy="1282594"/>
          </a:xfrm>
        </p:grpSpPr>
        <p:sp>
          <p:nvSpPr>
            <p:cNvPr id="49" name="Rectangle 48"/>
            <p:cNvSpPr/>
            <p:nvPr/>
          </p:nvSpPr>
          <p:spPr>
            <a:xfrm>
              <a:off x="1214846" y="3695728"/>
              <a:ext cx="4305876" cy="1282594"/>
            </a:xfrm>
            <a:prstGeom prst="rect">
              <a:avLst/>
            </a:prstGeom>
            <a:solidFill>
              <a:schemeClr val="accent2">
                <a:lumMod val="20000"/>
                <a:lumOff val="80000"/>
              </a:schemeClr>
            </a:solidFill>
            <a:ln>
              <a:solidFill>
                <a:schemeClr val="accent2">
                  <a:lumMod val="5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p:cNvSpPr/>
            <p:nvPr/>
          </p:nvSpPr>
          <p:spPr>
            <a:xfrm>
              <a:off x="885820" y="3695728"/>
              <a:ext cx="329025" cy="1282594"/>
            </a:xfrm>
            <a:prstGeom prst="rect">
              <a:avLst/>
            </a:prstGeom>
            <a:solidFill>
              <a:schemeClr val="accent2">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1" name="Group 50"/>
          <p:cNvGrpSpPr/>
          <p:nvPr/>
        </p:nvGrpSpPr>
        <p:grpSpPr>
          <a:xfrm>
            <a:off x="6587301" y="5256554"/>
            <a:ext cx="4950193" cy="1452303"/>
            <a:chOff x="885820" y="3695728"/>
            <a:chExt cx="4634902" cy="1282594"/>
          </a:xfrm>
        </p:grpSpPr>
        <p:sp>
          <p:nvSpPr>
            <p:cNvPr id="52" name="Rectangle 51"/>
            <p:cNvSpPr/>
            <p:nvPr/>
          </p:nvSpPr>
          <p:spPr>
            <a:xfrm>
              <a:off x="1214846" y="3695728"/>
              <a:ext cx="4305876" cy="1282594"/>
            </a:xfrm>
            <a:prstGeom prst="rect">
              <a:avLst/>
            </a:prstGeom>
            <a:solidFill>
              <a:schemeClr val="accent2">
                <a:lumMod val="20000"/>
                <a:lumOff val="80000"/>
              </a:schemeClr>
            </a:solidFill>
            <a:ln>
              <a:solidFill>
                <a:schemeClr val="accent2">
                  <a:lumMod val="5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p:nvSpPr>
          <p:spPr>
            <a:xfrm>
              <a:off x="885820" y="3695728"/>
              <a:ext cx="329025" cy="1282594"/>
            </a:xfrm>
            <a:prstGeom prst="rect">
              <a:avLst/>
            </a:prstGeom>
            <a:solidFill>
              <a:schemeClr val="accent2">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4" name="TextBox 53"/>
          <p:cNvSpPr txBox="1"/>
          <p:nvPr/>
        </p:nvSpPr>
        <p:spPr>
          <a:xfrm>
            <a:off x="6906855" y="3497302"/>
            <a:ext cx="2913018" cy="369332"/>
          </a:xfrm>
          <a:prstGeom prst="rect">
            <a:avLst/>
          </a:prstGeom>
          <a:noFill/>
        </p:spPr>
        <p:txBody>
          <a:bodyPr wrap="square" rtlCol="0">
            <a:spAutoFit/>
          </a:bodyPr>
          <a:lstStyle/>
          <a:p>
            <a:pPr defTabSz="1219170">
              <a:defRPr/>
            </a:pPr>
            <a:r>
              <a:rPr lang="en-IN" b="1" dirty="0">
                <a:solidFill>
                  <a:prstClr val="black"/>
                </a:solidFill>
                <a:latin typeface="Century Gothic" panose="020B0502020202020204" pitchFamily="34" charset="0"/>
              </a:rPr>
              <a:t>Turning Circle Radius</a:t>
            </a:r>
            <a:endParaRPr lang="en-US" b="1" dirty="0">
              <a:solidFill>
                <a:prstClr val="black"/>
              </a:solidFill>
              <a:latin typeface="Century Gothic" panose="020B0502020202020204" pitchFamily="34" charset="0"/>
            </a:endParaRPr>
          </a:p>
        </p:txBody>
      </p:sp>
      <p:sp>
        <p:nvSpPr>
          <p:cNvPr id="55" name="TextBox 54"/>
          <p:cNvSpPr txBox="1"/>
          <p:nvPr/>
        </p:nvSpPr>
        <p:spPr>
          <a:xfrm>
            <a:off x="7004400" y="3943636"/>
            <a:ext cx="4533093" cy="1077218"/>
          </a:xfrm>
          <a:prstGeom prst="rect">
            <a:avLst/>
          </a:prstGeom>
          <a:noFill/>
        </p:spPr>
        <p:txBody>
          <a:bodyPr wrap="square" rtlCol="0">
            <a:spAutoFit/>
          </a:bodyPr>
          <a:lstStyle/>
          <a:p>
            <a:pPr algn="just" defTabSz="1219170">
              <a:defRPr/>
            </a:pPr>
            <a:r>
              <a:rPr lang="en-US" sz="1600" dirty="0">
                <a:solidFill>
                  <a:prstClr val="black"/>
                </a:solidFill>
                <a:latin typeface="Century Gothic" panose="020B0502020202020204" pitchFamily="34" charset="0"/>
              </a:rPr>
              <a:t>The turning radius or turning circle diameter of a vehicle is the size of the smallest circular turn (i.e. U-turn) that the vehicle is capable of making</a:t>
            </a:r>
          </a:p>
        </p:txBody>
      </p:sp>
      <p:sp>
        <p:nvSpPr>
          <p:cNvPr id="56" name="TextBox 55"/>
          <p:cNvSpPr txBox="1"/>
          <p:nvPr/>
        </p:nvSpPr>
        <p:spPr>
          <a:xfrm>
            <a:off x="6906855" y="5204302"/>
            <a:ext cx="2913018" cy="369332"/>
          </a:xfrm>
          <a:prstGeom prst="rect">
            <a:avLst/>
          </a:prstGeom>
          <a:noFill/>
        </p:spPr>
        <p:txBody>
          <a:bodyPr wrap="square" rtlCol="0">
            <a:spAutoFit/>
          </a:bodyPr>
          <a:lstStyle/>
          <a:p>
            <a:pPr algn="ctr" defTabSz="1219170">
              <a:defRPr/>
            </a:pPr>
            <a:r>
              <a:rPr lang="en-IN" b="1" dirty="0">
                <a:solidFill>
                  <a:prstClr val="black"/>
                </a:solidFill>
                <a:latin typeface="Century Gothic" panose="020B0502020202020204" pitchFamily="34" charset="0"/>
              </a:rPr>
              <a:t>Advantage of lower TCD</a:t>
            </a:r>
            <a:endParaRPr lang="en-US" b="1" dirty="0">
              <a:solidFill>
                <a:prstClr val="black"/>
              </a:solidFill>
              <a:latin typeface="Century Gothic" panose="020B0502020202020204" pitchFamily="34" charset="0"/>
            </a:endParaRPr>
          </a:p>
        </p:txBody>
      </p:sp>
      <p:sp>
        <p:nvSpPr>
          <p:cNvPr id="57" name="TextBox 56"/>
          <p:cNvSpPr txBox="1"/>
          <p:nvPr/>
        </p:nvSpPr>
        <p:spPr>
          <a:xfrm>
            <a:off x="6906855" y="5480409"/>
            <a:ext cx="4630639" cy="1246495"/>
          </a:xfrm>
          <a:prstGeom prst="rect">
            <a:avLst/>
          </a:prstGeom>
          <a:noFill/>
        </p:spPr>
        <p:txBody>
          <a:bodyPr wrap="square" rtlCol="0">
            <a:spAutoFit/>
          </a:bodyPr>
          <a:lstStyle/>
          <a:p>
            <a:pPr marL="285744" indent="-285744" defTabSz="1219170">
              <a:buFont typeface="Wingdings" panose="05000000000000000000" pitchFamily="2" charset="2"/>
              <a:buChar char="§"/>
              <a:defRPr/>
            </a:pPr>
            <a:r>
              <a:rPr lang="en-IN" sz="1500" dirty="0">
                <a:solidFill>
                  <a:prstClr val="black"/>
                </a:solidFill>
                <a:latin typeface="Century Gothic" panose="020B0502020202020204" pitchFamily="34" charset="0"/>
              </a:rPr>
              <a:t>Easy manoeuvrability.</a:t>
            </a:r>
          </a:p>
          <a:p>
            <a:pPr marL="285744" indent="-285744" defTabSz="1219170">
              <a:buFont typeface="Wingdings" panose="05000000000000000000" pitchFamily="2" charset="2"/>
              <a:buChar char="§"/>
              <a:defRPr/>
            </a:pPr>
            <a:r>
              <a:rPr lang="en-IN" sz="1500" dirty="0">
                <a:solidFill>
                  <a:prstClr val="black"/>
                </a:solidFill>
                <a:latin typeface="Century Gothic" panose="020B0502020202020204" pitchFamily="34" charset="0"/>
              </a:rPr>
              <a:t>Can go though narrow lane.</a:t>
            </a:r>
          </a:p>
          <a:p>
            <a:pPr marL="285744" indent="-285744" defTabSz="1219170">
              <a:buFont typeface="Wingdings" panose="05000000000000000000" pitchFamily="2" charset="2"/>
              <a:buChar char="§"/>
              <a:defRPr/>
            </a:pPr>
            <a:r>
              <a:rPr lang="en-IN" sz="1500" dirty="0">
                <a:solidFill>
                  <a:prstClr val="black"/>
                </a:solidFill>
                <a:latin typeface="Century Gothic" panose="020B0502020202020204" pitchFamily="34" charset="0"/>
              </a:rPr>
              <a:t>Easy last mile delivery – no chance of missing any trip.</a:t>
            </a:r>
          </a:p>
          <a:p>
            <a:pPr marL="285744" indent="-285744" defTabSz="1219170">
              <a:buFont typeface="Wingdings" panose="05000000000000000000" pitchFamily="2" charset="2"/>
              <a:buChar char="§"/>
              <a:defRPr/>
            </a:pPr>
            <a:r>
              <a:rPr lang="en-IN" sz="1500" dirty="0">
                <a:solidFill>
                  <a:prstClr val="black"/>
                </a:solidFill>
                <a:latin typeface="Century Gothic" panose="020B0502020202020204" pitchFamily="34" charset="0"/>
              </a:rPr>
              <a:t>Easy negotiation in ‘</a:t>
            </a:r>
            <a:r>
              <a:rPr lang="en-IN" sz="1500" i="1" dirty="0" err="1">
                <a:solidFill>
                  <a:prstClr val="black"/>
                </a:solidFill>
                <a:latin typeface="Century Gothic" panose="020B0502020202020204" pitchFamily="34" charset="0"/>
              </a:rPr>
              <a:t>Ghat</a:t>
            </a:r>
            <a:r>
              <a:rPr lang="en-IN" sz="1500" i="1" dirty="0">
                <a:solidFill>
                  <a:prstClr val="black"/>
                </a:solidFill>
                <a:latin typeface="Century Gothic" panose="020B0502020202020204" pitchFamily="34" charset="0"/>
              </a:rPr>
              <a:t>’ </a:t>
            </a:r>
            <a:r>
              <a:rPr lang="en-IN" sz="1500" dirty="0">
                <a:solidFill>
                  <a:prstClr val="black"/>
                </a:solidFill>
                <a:latin typeface="Century Gothic" panose="020B0502020202020204" pitchFamily="34" charset="0"/>
              </a:rPr>
              <a:t>section</a:t>
            </a:r>
            <a:r>
              <a:rPr lang="en-IN" sz="1500" i="1" dirty="0">
                <a:solidFill>
                  <a:prstClr val="black"/>
                </a:solidFill>
                <a:latin typeface="Century Gothic" panose="020B0502020202020204" pitchFamily="34" charset="0"/>
              </a:rPr>
              <a:t>. </a:t>
            </a:r>
          </a:p>
        </p:txBody>
      </p:sp>
    </p:spTree>
    <p:extLst>
      <p:ext uri="{BB962C8B-B14F-4D97-AF65-F5344CB8AC3E}">
        <p14:creationId xmlns:p14="http://schemas.microsoft.com/office/powerpoint/2010/main" val="100507359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5832446" y="1410748"/>
            <a:ext cx="6176672" cy="3971148"/>
            <a:chOff x="885820" y="3695728"/>
            <a:chExt cx="4634902" cy="1282594"/>
          </a:xfrm>
        </p:grpSpPr>
        <p:sp>
          <p:nvSpPr>
            <p:cNvPr id="28" name="Rectangle 27"/>
            <p:cNvSpPr/>
            <p:nvPr/>
          </p:nvSpPr>
          <p:spPr>
            <a:xfrm>
              <a:off x="1214846" y="3695728"/>
              <a:ext cx="4305876" cy="1282594"/>
            </a:xfrm>
            <a:prstGeom prst="rect">
              <a:avLst/>
            </a:prstGeom>
            <a:solidFill>
              <a:schemeClr val="accent5">
                <a:lumMod val="20000"/>
                <a:lumOff val="80000"/>
              </a:schemeClr>
            </a:solidFill>
            <a:ln>
              <a:solidFill>
                <a:schemeClr val="accent5">
                  <a:lumMod val="5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885820" y="3695728"/>
              <a:ext cx="329025" cy="1282594"/>
            </a:xfrm>
            <a:prstGeom prst="rect">
              <a:avLst/>
            </a:prstGeom>
            <a:solidFill>
              <a:schemeClr val="accent5">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142339" name="TextBox 3"/>
          <p:cNvSpPr txBox="1">
            <a:spLocks noChangeArrowheads="1"/>
          </p:cNvSpPr>
          <p:nvPr/>
        </p:nvSpPr>
        <p:spPr bwMode="auto">
          <a:xfrm>
            <a:off x="806512" y="44451"/>
            <a:ext cx="283282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24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0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16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defRPr>
            </a:lvl9pPr>
          </a:lstStyle>
          <a:p>
            <a:pPr eaLnBrk="1" hangingPunct="1">
              <a:spcBef>
                <a:spcPct val="0"/>
              </a:spcBef>
              <a:buFontTx/>
              <a:buNone/>
            </a:pPr>
            <a:r>
              <a:rPr lang="en-IN" altLang="en-US" sz="4000" b="1" dirty="0">
                <a:latin typeface="Century Gothic" panose="020B0502020202020204" pitchFamily="34" charset="0"/>
              </a:rPr>
              <a:t> FUEL TANK</a:t>
            </a:r>
            <a:endParaRPr lang="en-US" altLang="en-US" sz="4000" b="1" dirty="0">
              <a:latin typeface="Century Gothic" panose="020B0502020202020204" pitchFamily="34" charset="0"/>
            </a:endParaRPr>
          </a:p>
        </p:txBody>
      </p:sp>
      <p:pic>
        <p:nvPicPr>
          <p:cNvPr id="11" name="Picture 10" descr="cid:image001.png@01CF33A2.D78C04F0">
            <a:extLst>
              <a:ext uri="{FF2B5EF4-FFF2-40B4-BE49-F238E27FC236}">
                <a16:creationId xmlns:a16="http://schemas.microsoft.com/office/drawing/2014/main" id="{17F59C40-8A8F-4290-987D-9F664C99AEF7}"/>
              </a:ext>
            </a:extLst>
          </p:cNvPr>
          <p:cNvPicPr/>
          <p:nvPr/>
        </p:nvPicPr>
        <p:blipFill rotWithShape="1">
          <a:blip r:embed="rId2" r:link="rId3" cstate="email">
            <a:extLst>
              <a:ext uri="{28A0092B-C50C-407E-A947-70E740481C1C}">
                <a14:useLocalDpi xmlns:a14="http://schemas.microsoft.com/office/drawing/2010/main"/>
              </a:ext>
            </a:extLst>
          </a:blip>
          <a:srcRect l="10846" t="6163" r="12699" b="6703"/>
          <a:stretch>
            <a:fillRect/>
          </a:stretch>
        </p:blipFill>
        <p:spPr bwMode="auto">
          <a:xfrm>
            <a:off x="642586" y="1295588"/>
            <a:ext cx="3943562" cy="2622793"/>
          </a:xfrm>
          <a:prstGeom prst="rect">
            <a:avLst/>
          </a:prstGeom>
          <a:ln>
            <a:noFill/>
          </a:ln>
          <a:effectLst/>
        </p:spPr>
        <p:style>
          <a:lnRef idx="2">
            <a:schemeClr val="accent1"/>
          </a:lnRef>
          <a:fillRef idx="1">
            <a:schemeClr val="lt1"/>
          </a:fillRef>
          <a:effectRef idx="0">
            <a:schemeClr val="accent1"/>
          </a:effectRef>
          <a:fontRef idx="minor">
            <a:schemeClr val="dk1"/>
          </a:fontRef>
        </p:style>
      </p:pic>
      <p:grpSp>
        <p:nvGrpSpPr>
          <p:cNvPr id="15" name="Group 14"/>
          <p:cNvGrpSpPr/>
          <p:nvPr/>
        </p:nvGrpSpPr>
        <p:grpSpPr>
          <a:xfrm>
            <a:off x="121655" y="4277848"/>
            <a:ext cx="5534560" cy="2266643"/>
            <a:chOff x="885820" y="3695728"/>
            <a:chExt cx="4634902" cy="1282594"/>
          </a:xfrm>
        </p:grpSpPr>
        <p:sp>
          <p:nvSpPr>
            <p:cNvPr id="18" name="Rectangle 17"/>
            <p:cNvSpPr/>
            <p:nvPr/>
          </p:nvSpPr>
          <p:spPr>
            <a:xfrm>
              <a:off x="1214846" y="3695728"/>
              <a:ext cx="4305876" cy="1282594"/>
            </a:xfrm>
            <a:prstGeom prst="rect">
              <a:avLst/>
            </a:prstGeom>
            <a:solidFill>
              <a:schemeClr val="accent5">
                <a:lumMod val="20000"/>
                <a:lumOff val="80000"/>
              </a:schemeClr>
            </a:solidFill>
            <a:ln>
              <a:solidFill>
                <a:schemeClr val="accent5">
                  <a:lumMod val="5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885820" y="3695728"/>
              <a:ext cx="329025" cy="1282594"/>
            </a:xfrm>
            <a:prstGeom prst="rect">
              <a:avLst/>
            </a:prstGeom>
            <a:solidFill>
              <a:schemeClr val="accent5">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TextBox 19"/>
          <p:cNvSpPr txBox="1"/>
          <p:nvPr/>
        </p:nvSpPr>
        <p:spPr>
          <a:xfrm>
            <a:off x="520189" y="4329956"/>
            <a:ext cx="2913018" cy="369332"/>
          </a:xfrm>
          <a:prstGeom prst="rect">
            <a:avLst/>
          </a:prstGeom>
          <a:noFill/>
        </p:spPr>
        <p:txBody>
          <a:bodyPr wrap="square" rtlCol="0">
            <a:spAutoFit/>
          </a:bodyPr>
          <a:lstStyle/>
          <a:p>
            <a:pPr defTabSz="1219170">
              <a:defRPr/>
            </a:pPr>
            <a:r>
              <a:rPr lang="en-IN" b="1" dirty="0">
                <a:solidFill>
                  <a:prstClr val="black"/>
                </a:solidFill>
                <a:latin typeface="Century Gothic" panose="020B0502020202020204" pitchFamily="34" charset="0"/>
              </a:rPr>
              <a:t>Function :</a:t>
            </a:r>
            <a:endParaRPr lang="en-US" b="1" dirty="0">
              <a:solidFill>
                <a:prstClr val="black"/>
              </a:solidFill>
              <a:latin typeface="Century Gothic" panose="020B0502020202020204" pitchFamily="34" charset="0"/>
            </a:endParaRPr>
          </a:p>
        </p:txBody>
      </p:sp>
      <p:sp>
        <p:nvSpPr>
          <p:cNvPr id="21" name="TextBox 20"/>
          <p:cNvSpPr txBox="1"/>
          <p:nvPr/>
        </p:nvSpPr>
        <p:spPr>
          <a:xfrm>
            <a:off x="525020" y="4751395"/>
            <a:ext cx="5131195" cy="1323439"/>
          </a:xfrm>
          <a:prstGeom prst="rect">
            <a:avLst/>
          </a:prstGeom>
          <a:noFill/>
        </p:spPr>
        <p:txBody>
          <a:bodyPr wrap="square" rtlCol="0">
            <a:spAutoFit/>
          </a:bodyPr>
          <a:lstStyle/>
          <a:p>
            <a:pPr marL="285744" indent="-285744" defTabSz="1219170">
              <a:buFont typeface="Wingdings" panose="05000000000000000000" pitchFamily="2" charset="2"/>
              <a:buChar char="§"/>
              <a:defRPr/>
            </a:pPr>
            <a:r>
              <a:rPr lang="en-US" sz="1600" dirty="0">
                <a:solidFill>
                  <a:prstClr val="black"/>
                </a:solidFill>
                <a:latin typeface="Century Gothic" panose="020B0502020202020204" pitchFamily="34" charset="0"/>
              </a:rPr>
              <a:t>Cross linked polymer fuel tank with high impact resistance vs. metallic tanks in competition models</a:t>
            </a:r>
          </a:p>
          <a:p>
            <a:pPr marL="285744" indent="-285744" defTabSz="1219170">
              <a:buFont typeface="Wingdings" panose="05000000000000000000" pitchFamily="2" charset="2"/>
              <a:buChar char="§"/>
              <a:defRPr/>
            </a:pPr>
            <a:r>
              <a:rPr lang="en-US" sz="1600" dirty="0">
                <a:solidFill>
                  <a:prstClr val="black"/>
                </a:solidFill>
                <a:latin typeface="Century Gothic" panose="020B0502020202020204" pitchFamily="34" charset="0"/>
              </a:rPr>
              <a:t>Modular in construction.</a:t>
            </a:r>
          </a:p>
          <a:p>
            <a:pPr marL="285744" indent="-285744" defTabSz="1219170">
              <a:buFont typeface="Wingdings" panose="05000000000000000000" pitchFamily="2" charset="2"/>
              <a:buChar char="§"/>
              <a:defRPr/>
            </a:pPr>
            <a:r>
              <a:rPr lang="en-US" sz="1600" dirty="0">
                <a:solidFill>
                  <a:prstClr val="black"/>
                </a:solidFill>
                <a:latin typeface="Century Gothic" panose="020B0502020202020204" pitchFamily="34" charset="0"/>
              </a:rPr>
              <a:t>Zero rust formation.</a:t>
            </a:r>
          </a:p>
        </p:txBody>
      </p:sp>
      <p:sp>
        <p:nvSpPr>
          <p:cNvPr id="25" name="TextBox 24"/>
          <p:cNvSpPr txBox="1"/>
          <p:nvPr/>
        </p:nvSpPr>
        <p:spPr>
          <a:xfrm>
            <a:off x="6340398" y="1441864"/>
            <a:ext cx="3188756" cy="369332"/>
          </a:xfrm>
          <a:prstGeom prst="rect">
            <a:avLst/>
          </a:prstGeom>
          <a:noFill/>
        </p:spPr>
        <p:txBody>
          <a:bodyPr wrap="square" rtlCol="0">
            <a:spAutoFit/>
          </a:bodyPr>
          <a:lstStyle/>
          <a:p>
            <a:pPr defTabSz="1219170">
              <a:defRPr/>
            </a:pPr>
            <a:r>
              <a:rPr lang="en-IN" b="1" dirty="0">
                <a:solidFill>
                  <a:prstClr val="black"/>
                </a:solidFill>
                <a:latin typeface="Century Gothic" panose="020B0502020202020204" pitchFamily="34" charset="0"/>
              </a:rPr>
              <a:t>Advantage :</a:t>
            </a:r>
            <a:endParaRPr lang="en-US" b="1" dirty="0">
              <a:solidFill>
                <a:prstClr val="black"/>
              </a:solidFill>
              <a:latin typeface="Century Gothic" panose="020B0502020202020204" pitchFamily="34" charset="0"/>
            </a:endParaRPr>
          </a:p>
        </p:txBody>
      </p:sp>
      <p:sp>
        <p:nvSpPr>
          <p:cNvPr id="26" name="TextBox 25"/>
          <p:cNvSpPr txBox="1"/>
          <p:nvPr/>
        </p:nvSpPr>
        <p:spPr>
          <a:xfrm>
            <a:off x="6338302" y="1780080"/>
            <a:ext cx="5548896" cy="3594194"/>
          </a:xfrm>
          <a:prstGeom prst="rect">
            <a:avLst/>
          </a:prstGeom>
          <a:noFill/>
        </p:spPr>
        <p:txBody>
          <a:bodyPr wrap="square" rtlCol="0">
            <a:spAutoFit/>
          </a:bodyPr>
          <a:lstStyle/>
          <a:p>
            <a:pPr marL="285750" indent="-285750" algn="just" defTabSz="1219170">
              <a:buFont typeface="Wingdings" panose="05000000000000000000" pitchFamily="2" charset="2"/>
              <a:buChar char="§"/>
              <a:defRPr/>
            </a:pPr>
            <a:r>
              <a:rPr lang="en-US" sz="1600" dirty="0">
                <a:solidFill>
                  <a:prstClr val="black"/>
                </a:solidFill>
                <a:latin typeface="Century Gothic" panose="020B0502020202020204" pitchFamily="34" charset="0"/>
              </a:rPr>
              <a:t>Light weight thus higher payload</a:t>
            </a:r>
          </a:p>
          <a:p>
            <a:pPr marL="285750" indent="-285750" algn="just" defTabSz="1219170">
              <a:buFont typeface="Wingdings" panose="05000000000000000000" pitchFamily="2" charset="2"/>
              <a:buChar char="§"/>
              <a:defRPr/>
            </a:pPr>
            <a:r>
              <a:rPr lang="en-US" sz="1600" dirty="0">
                <a:solidFill>
                  <a:prstClr val="black"/>
                </a:solidFill>
                <a:latin typeface="Century Gothic" panose="020B0502020202020204" pitchFamily="34" charset="0"/>
              </a:rPr>
              <a:t>Less damage due to stone hitting.</a:t>
            </a:r>
          </a:p>
          <a:p>
            <a:pPr marL="285750" indent="-285750" algn="just" defTabSz="1219170">
              <a:buFont typeface="Wingdings" panose="05000000000000000000" pitchFamily="2" charset="2"/>
              <a:buChar char="§"/>
              <a:defRPr/>
            </a:pPr>
            <a:r>
              <a:rPr lang="en-US" sz="1600" dirty="0">
                <a:solidFill>
                  <a:prstClr val="black"/>
                </a:solidFill>
                <a:latin typeface="Century Gothic" panose="020B0502020202020204" pitchFamily="34" charset="0"/>
              </a:rPr>
              <a:t>Safety from fire. </a:t>
            </a:r>
          </a:p>
          <a:p>
            <a:pPr marL="285750" indent="-285750" algn="just" defTabSz="1219170">
              <a:buFont typeface="Wingdings" panose="05000000000000000000" pitchFamily="2" charset="2"/>
              <a:buChar char="§"/>
              <a:defRPr/>
            </a:pPr>
            <a:r>
              <a:rPr lang="en-US" sz="1600" dirty="0">
                <a:solidFill>
                  <a:prstClr val="black"/>
                </a:solidFill>
                <a:latin typeface="Century Gothic" panose="020B0502020202020204" pitchFamily="34" charset="0"/>
              </a:rPr>
              <a:t>Higher life of FIP due to no rust formation.</a:t>
            </a:r>
          </a:p>
          <a:p>
            <a:pPr marL="285750" indent="-285750" algn="just" defTabSz="1219170">
              <a:buFont typeface="Wingdings" panose="05000000000000000000" pitchFamily="2" charset="2"/>
              <a:buChar char="§"/>
              <a:defRPr/>
            </a:pPr>
            <a:r>
              <a:rPr lang="en-US" sz="1600" dirty="0">
                <a:solidFill>
                  <a:prstClr val="black"/>
                </a:solidFill>
                <a:latin typeface="Century Gothic" panose="020B0502020202020204" pitchFamily="34" charset="0"/>
              </a:rPr>
              <a:t>Electronic reed valve mechanism for higher accuracy fuel measurement - Driver will have clear idea of fuel available from dashboard and can plan route accordingly</a:t>
            </a:r>
          </a:p>
          <a:p>
            <a:pPr marL="285750" indent="-285750" algn="just" defTabSz="1219170">
              <a:buFont typeface="Wingdings" panose="05000000000000000000" pitchFamily="2" charset="2"/>
              <a:buChar char="§"/>
              <a:defRPr/>
            </a:pPr>
            <a:r>
              <a:rPr lang="en-US" sz="1600" dirty="0">
                <a:solidFill>
                  <a:prstClr val="black"/>
                </a:solidFill>
                <a:latin typeface="Century Gothic" panose="020B0502020202020204" pitchFamily="34" charset="0"/>
              </a:rPr>
              <a:t>Chain is present on cap to prevent it from falling during operation</a:t>
            </a:r>
          </a:p>
          <a:p>
            <a:pPr marL="285750" indent="-285750" algn="just" defTabSz="1219170">
              <a:buFont typeface="Wingdings" panose="05000000000000000000" pitchFamily="2" charset="2"/>
              <a:buChar char="§"/>
              <a:defRPr/>
            </a:pPr>
            <a:r>
              <a:rPr lang="en-US" sz="1600" dirty="0">
                <a:solidFill>
                  <a:prstClr val="black"/>
                </a:solidFill>
                <a:latin typeface="Century Gothic" panose="020B0502020202020204" pitchFamily="34" charset="0"/>
              </a:rPr>
              <a:t>Separate port for fuel line to RMC engine </a:t>
            </a:r>
          </a:p>
          <a:p>
            <a:pPr marL="285750" indent="-285750" algn="just" defTabSz="1219170">
              <a:buFont typeface="Wingdings" panose="05000000000000000000" pitchFamily="2" charset="2"/>
              <a:buChar char="§"/>
              <a:defRPr/>
            </a:pPr>
            <a:r>
              <a:rPr lang="en-US" sz="1600" dirty="0">
                <a:solidFill>
                  <a:prstClr val="black"/>
                </a:solidFill>
                <a:latin typeface="Century Gothic" panose="020B0502020202020204" pitchFamily="34" charset="0"/>
              </a:rPr>
              <a:t>No need to drill hole</a:t>
            </a:r>
          </a:p>
          <a:p>
            <a:pPr marL="285750" indent="-285750" algn="just" defTabSz="1219170">
              <a:buFont typeface="Wingdings" panose="05000000000000000000" pitchFamily="2" charset="2"/>
              <a:buChar char="§"/>
              <a:defRPr/>
            </a:pPr>
            <a:r>
              <a:rPr lang="en-US" sz="1600" dirty="0">
                <a:solidFill>
                  <a:prstClr val="black"/>
                </a:solidFill>
                <a:latin typeface="Century Gothic" panose="020B0502020202020204" pitchFamily="34" charset="0"/>
              </a:rPr>
              <a:t>PTFC(Push To Fit Connector) connection for all fuel pipe joints</a:t>
            </a:r>
          </a:p>
        </p:txBody>
      </p:sp>
    </p:spTree>
    <p:extLst>
      <p:ext uri="{BB962C8B-B14F-4D97-AF65-F5344CB8AC3E}">
        <p14:creationId xmlns:p14="http://schemas.microsoft.com/office/powerpoint/2010/main" val="302968744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3"/>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TIPPING SYSTEM</a:t>
            </a:r>
            <a:endParaRPr lang="en-US" sz="3733" b="1" dirty="0">
              <a:solidFill>
                <a:prstClr val="black"/>
              </a:solidFill>
              <a:latin typeface="Century Gothic" panose="020B0502020202020204" pitchFamily="34" charset="0"/>
            </a:endParaRPr>
          </a:p>
        </p:txBody>
      </p:sp>
      <p:grpSp>
        <p:nvGrpSpPr>
          <p:cNvPr id="24" name="Group 23"/>
          <p:cNvGrpSpPr/>
          <p:nvPr/>
        </p:nvGrpSpPr>
        <p:grpSpPr>
          <a:xfrm>
            <a:off x="768433" y="1055859"/>
            <a:ext cx="10289966" cy="5048381"/>
            <a:chOff x="768433" y="1055859"/>
            <a:chExt cx="10289966" cy="5048381"/>
          </a:xfrm>
        </p:grpSpPr>
        <p:pic>
          <p:nvPicPr>
            <p:cNvPr id="25" name="Picture 2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68433" y="1149318"/>
              <a:ext cx="10159833" cy="4893116"/>
            </a:xfrm>
            <a:prstGeom prst="rect">
              <a:avLst/>
            </a:prstGeom>
          </p:spPr>
        </p:pic>
        <p:sp>
          <p:nvSpPr>
            <p:cNvPr id="26" name="Rectangle 25"/>
            <p:cNvSpPr/>
            <p:nvPr/>
          </p:nvSpPr>
          <p:spPr>
            <a:xfrm>
              <a:off x="1066800" y="4140200"/>
              <a:ext cx="2590800" cy="1117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p:cNvSpPr txBox="1"/>
            <p:nvPr/>
          </p:nvSpPr>
          <p:spPr>
            <a:xfrm>
              <a:off x="1284556" y="4078394"/>
              <a:ext cx="2373044" cy="954107"/>
            </a:xfrm>
            <a:prstGeom prst="rect">
              <a:avLst/>
            </a:prstGeom>
            <a:noFill/>
          </p:spPr>
          <p:txBody>
            <a:bodyPr wrap="square" rtlCol="0">
              <a:spAutoFit/>
            </a:bodyPr>
            <a:lstStyle/>
            <a:p>
              <a:r>
                <a:rPr lang="en-US" sz="1400" b="1" dirty="0">
                  <a:latin typeface="Cambria" panose="02040503050406030204" pitchFamily="18" charset="0"/>
                  <a:ea typeface="Cambria" panose="02040503050406030204" pitchFamily="18" charset="0"/>
                </a:rPr>
                <a:t>AL has integrated solenoid to the cab control valve.</a:t>
              </a:r>
            </a:p>
            <a:p>
              <a:r>
                <a:rPr lang="en-US" sz="1400" b="1" dirty="0">
                  <a:solidFill>
                    <a:srgbClr val="FF0000"/>
                  </a:solidFill>
                  <a:latin typeface="Cambria" panose="02040503050406030204" pitchFamily="18" charset="0"/>
                  <a:ea typeface="Cambria" panose="02040503050406030204" pitchFamily="18" charset="0"/>
                </a:rPr>
                <a:t>TATA has separate one and connected through hoses</a:t>
              </a:r>
            </a:p>
          </p:txBody>
        </p:sp>
        <p:sp>
          <p:nvSpPr>
            <p:cNvPr id="28" name="Rectangle 27"/>
            <p:cNvSpPr/>
            <p:nvPr/>
          </p:nvSpPr>
          <p:spPr>
            <a:xfrm>
              <a:off x="8300684" y="3608576"/>
              <a:ext cx="2590800" cy="12682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8685355" y="3608576"/>
              <a:ext cx="2373044" cy="1384995"/>
            </a:xfrm>
            <a:prstGeom prst="rect">
              <a:avLst/>
            </a:prstGeom>
            <a:noFill/>
          </p:spPr>
          <p:txBody>
            <a:bodyPr wrap="square" rtlCol="0">
              <a:spAutoFit/>
            </a:bodyPr>
            <a:lstStyle/>
            <a:p>
              <a:r>
                <a:rPr lang="en-US" sz="1400" b="1" dirty="0">
                  <a:latin typeface="Cambria" panose="02040503050406030204" pitchFamily="18" charset="0"/>
                  <a:ea typeface="Cambria" panose="02040503050406030204" pitchFamily="18" charset="0"/>
                </a:rPr>
                <a:t>ATK valve to control the direction of tipping and separate valve to cut off the tipping based on feedback from roll over safety system(sensor)  </a:t>
              </a:r>
              <a:endParaRPr lang="en-US" sz="1400" b="1" dirty="0">
                <a:solidFill>
                  <a:srgbClr val="FF0000"/>
                </a:solidFill>
                <a:latin typeface="Cambria" panose="02040503050406030204" pitchFamily="18" charset="0"/>
                <a:ea typeface="Cambria" panose="02040503050406030204" pitchFamily="18" charset="0"/>
              </a:endParaRPr>
            </a:p>
          </p:txBody>
        </p:sp>
        <p:sp>
          <p:nvSpPr>
            <p:cNvPr id="30" name="Rectangle 29"/>
            <p:cNvSpPr/>
            <p:nvPr/>
          </p:nvSpPr>
          <p:spPr>
            <a:xfrm>
              <a:off x="8839200" y="1130351"/>
              <a:ext cx="1447800" cy="473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p:nvSpPr>
          <p:spPr>
            <a:xfrm>
              <a:off x="8839200" y="1055859"/>
              <a:ext cx="1693059" cy="523220"/>
            </a:xfrm>
            <a:prstGeom prst="rect">
              <a:avLst/>
            </a:prstGeom>
            <a:noFill/>
          </p:spPr>
          <p:txBody>
            <a:bodyPr wrap="square" rtlCol="0">
              <a:spAutoFit/>
            </a:bodyPr>
            <a:lstStyle/>
            <a:p>
              <a:r>
                <a:rPr lang="en-US" sz="1400" b="1" dirty="0">
                  <a:latin typeface="Cambria" panose="02040503050406030204" pitchFamily="18" charset="0"/>
                  <a:ea typeface="Cambria" panose="02040503050406030204" pitchFamily="18" charset="0"/>
                </a:rPr>
                <a:t>Tilt sensor fitted under the body</a:t>
              </a:r>
              <a:endParaRPr lang="en-US" sz="1400" b="1" dirty="0">
                <a:solidFill>
                  <a:srgbClr val="FF0000"/>
                </a:solidFill>
                <a:latin typeface="Cambria" panose="02040503050406030204" pitchFamily="18" charset="0"/>
                <a:ea typeface="Cambria" panose="02040503050406030204" pitchFamily="18" charset="0"/>
              </a:endParaRPr>
            </a:p>
          </p:txBody>
        </p:sp>
        <p:sp>
          <p:nvSpPr>
            <p:cNvPr id="34" name="Rectangle 33"/>
            <p:cNvSpPr/>
            <p:nvPr/>
          </p:nvSpPr>
          <p:spPr>
            <a:xfrm>
              <a:off x="768433" y="5778500"/>
              <a:ext cx="2000167" cy="263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1066800" y="5796463"/>
              <a:ext cx="7724102" cy="307777"/>
            </a:xfrm>
            <a:prstGeom prst="rect">
              <a:avLst/>
            </a:prstGeom>
            <a:noFill/>
          </p:spPr>
          <p:txBody>
            <a:bodyPr wrap="none" rtlCol="0">
              <a:spAutoFit/>
            </a:bodyPr>
            <a:lstStyle/>
            <a:p>
              <a:r>
                <a:rPr lang="en-US" sz="1400" b="1" dirty="0">
                  <a:latin typeface="Cambria" panose="02040503050406030204" pitchFamily="18" charset="0"/>
                  <a:ea typeface="Cambria" panose="02040503050406030204" pitchFamily="18" charset="0"/>
                </a:rPr>
                <a:t>The moment the vehicle slope is beyond 5 degree tilting angle it will not allow the PTO to on</a:t>
              </a:r>
            </a:p>
          </p:txBody>
        </p:sp>
      </p:grpSp>
    </p:spTree>
    <p:extLst>
      <p:ext uri="{BB962C8B-B14F-4D97-AF65-F5344CB8AC3E}">
        <p14:creationId xmlns:p14="http://schemas.microsoft.com/office/powerpoint/2010/main" val="393615538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3"/>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TIPPING SYSTEM</a:t>
            </a:r>
            <a:endParaRPr lang="en-US" sz="3733" b="1" dirty="0">
              <a:solidFill>
                <a:prstClr val="black"/>
              </a:solidFill>
              <a:latin typeface="Century Gothic" panose="020B0502020202020204" pitchFamily="34" charset="0"/>
            </a:endParaRPr>
          </a:p>
        </p:txBody>
      </p:sp>
      <p:pic>
        <p:nvPicPr>
          <p:cNvPr id="14" name="Picture 13">
            <a:extLst>
              <a:ext uri="{FF2B5EF4-FFF2-40B4-BE49-F238E27FC236}">
                <a16:creationId xmlns:a16="http://schemas.microsoft.com/office/drawing/2014/main" id="{AC93E37F-18E1-4743-93CB-9EFFD64A6B1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1167" y="959642"/>
            <a:ext cx="3732110" cy="2517694"/>
          </a:xfrm>
          <a:prstGeom prst="rect">
            <a:avLst/>
          </a:prstGeom>
        </p:spPr>
      </p:pic>
      <p:graphicFrame>
        <p:nvGraphicFramePr>
          <p:cNvPr id="15" name="Table 14">
            <a:extLst>
              <a:ext uri="{FF2B5EF4-FFF2-40B4-BE49-F238E27FC236}">
                <a16:creationId xmlns:a16="http://schemas.microsoft.com/office/drawing/2014/main" id="{A951FEE3-B876-4840-80D7-BCFDA8B43D4F}"/>
              </a:ext>
            </a:extLst>
          </p:cNvPr>
          <p:cNvGraphicFramePr>
            <a:graphicFrameLocks noGrp="1"/>
          </p:cNvGraphicFramePr>
          <p:nvPr>
            <p:extLst>
              <p:ext uri="{D42A27DB-BD31-4B8C-83A1-F6EECF244321}">
                <p14:modId xmlns:p14="http://schemas.microsoft.com/office/powerpoint/2010/main" val="1999862327"/>
              </p:ext>
            </p:extLst>
          </p:nvPr>
        </p:nvGraphicFramePr>
        <p:xfrm>
          <a:off x="4594002" y="936975"/>
          <a:ext cx="3755918" cy="2449906"/>
        </p:xfrm>
        <a:graphic>
          <a:graphicData uri="http://schemas.openxmlformats.org/drawingml/2006/table">
            <a:tbl>
              <a:tblPr firstRow="1" bandRow="1">
                <a:tableStyleId>{073A0DAA-6AF3-43AB-8588-CEC1D06C72B9}</a:tableStyleId>
              </a:tblPr>
              <a:tblGrid>
                <a:gridCol w="1096627">
                  <a:extLst>
                    <a:ext uri="{9D8B030D-6E8A-4147-A177-3AD203B41FA5}">
                      <a16:colId xmlns:a16="http://schemas.microsoft.com/office/drawing/2014/main" val="1143981911"/>
                    </a:ext>
                  </a:extLst>
                </a:gridCol>
                <a:gridCol w="1135465">
                  <a:extLst>
                    <a:ext uri="{9D8B030D-6E8A-4147-A177-3AD203B41FA5}">
                      <a16:colId xmlns:a16="http://schemas.microsoft.com/office/drawing/2014/main" val="3888249285"/>
                    </a:ext>
                  </a:extLst>
                </a:gridCol>
                <a:gridCol w="1523826">
                  <a:extLst>
                    <a:ext uri="{9D8B030D-6E8A-4147-A177-3AD203B41FA5}">
                      <a16:colId xmlns:a16="http://schemas.microsoft.com/office/drawing/2014/main" val="3714413136"/>
                    </a:ext>
                  </a:extLst>
                </a:gridCol>
              </a:tblGrid>
              <a:tr h="78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latin typeface="Century Gothic" panose="020B0502020202020204" pitchFamily="34" charset="0"/>
                        </a:rPr>
                        <a:t>Tonnage</a:t>
                      </a:r>
                    </a:p>
                  </a:txBody>
                  <a:tcPr anchor="ctr"/>
                </a:tc>
                <a:tc>
                  <a:txBody>
                    <a:bodyPr/>
                    <a:lstStyle/>
                    <a:p>
                      <a:pPr algn="ctr"/>
                      <a:r>
                        <a:rPr lang="en-US" sz="1400" dirty="0">
                          <a:latin typeface="Century Gothic" panose="020B0502020202020204" pitchFamily="34" charset="0"/>
                        </a:rPr>
                        <a:t>LD (cylinder </a:t>
                      </a:r>
                      <a:r>
                        <a:rPr lang="en-US" sz="1400" dirty="0" err="1">
                          <a:latin typeface="Century Gothic" panose="020B0502020202020204" pitchFamily="34" charset="0"/>
                        </a:rPr>
                        <a:t>dia</a:t>
                      </a:r>
                      <a:r>
                        <a:rPr lang="en-US" sz="1400" dirty="0">
                          <a:latin typeface="Century Gothic" panose="020B0502020202020204" pitchFamily="34" charset="0"/>
                        </a:rPr>
                        <a:t>) mm</a:t>
                      </a:r>
                    </a:p>
                  </a:txBody>
                  <a:tcPr anchor="ctr"/>
                </a:tc>
                <a:tc>
                  <a:txBody>
                    <a:bodyPr/>
                    <a:lstStyle/>
                    <a:p>
                      <a:pPr algn="ctr"/>
                      <a:r>
                        <a:rPr lang="en-US" sz="1400" dirty="0">
                          <a:latin typeface="Century Gothic" panose="020B0502020202020204" pitchFamily="34" charset="0"/>
                        </a:rPr>
                        <a:t>HD (cylinder </a:t>
                      </a:r>
                      <a:r>
                        <a:rPr lang="en-US" sz="1400" dirty="0" err="1">
                          <a:latin typeface="Century Gothic" panose="020B0502020202020204" pitchFamily="34" charset="0"/>
                        </a:rPr>
                        <a:t>dia</a:t>
                      </a:r>
                      <a:r>
                        <a:rPr lang="en-US" sz="1400" dirty="0">
                          <a:latin typeface="Century Gothic" panose="020B0502020202020204" pitchFamily="34" charset="0"/>
                        </a:rPr>
                        <a:t>) mm</a:t>
                      </a:r>
                    </a:p>
                  </a:txBody>
                  <a:tcPr anchor="ctr"/>
                </a:tc>
                <a:extLst>
                  <a:ext uri="{0D108BD9-81ED-4DB2-BD59-A6C34878D82A}">
                    <a16:rowId xmlns:a16="http://schemas.microsoft.com/office/drawing/2014/main" val="4272060488"/>
                  </a:ext>
                </a:extLst>
              </a:tr>
              <a:tr h="415627">
                <a:tc>
                  <a:txBody>
                    <a:bodyPr/>
                    <a:lstStyle/>
                    <a:p>
                      <a:pPr algn="ctr"/>
                      <a:r>
                        <a:rPr lang="en-US" sz="1400" dirty="0">
                          <a:latin typeface="Century Gothic" panose="020B0502020202020204" pitchFamily="34" charset="0"/>
                        </a:rPr>
                        <a:t>19T</a:t>
                      </a:r>
                    </a:p>
                  </a:txBody>
                  <a:tcPr anchor="ctr"/>
                </a:tc>
                <a:tc>
                  <a:txBody>
                    <a:bodyPr/>
                    <a:lstStyle/>
                    <a:p>
                      <a:pPr algn="ctr"/>
                      <a:r>
                        <a:rPr lang="en-US" sz="1400" dirty="0">
                          <a:latin typeface="Century Gothic" panose="020B0502020202020204" pitchFamily="34" charset="0"/>
                        </a:rPr>
                        <a:t>105</a:t>
                      </a:r>
                    </a:p>
                  </a:txBody>
                  <a:tcPr anchor="ctr"/>
                </a:tc>
                <a:tc>
                  <a:txBody>
                    <a:bodyPr/>
                    <a:lstStyle/>
                    <a:p>
                      <a:pPr algn="ctr"/>
                      <a:r>
                        <a:rPr lang="en-US" sz="1400" dirty="0">
                          <a:latin typeface="Century Gothic" panose="020B0502020202020204" pitchFamily="34" charset="0"/>
                        </a:rPr>
                        <a:t>116</a:t>
                      </a:r>
                    </a:p>
                  </a:txBody>
                  <a:tcPr anchor="ctr"/>
                </a:tc>
                <a:extLst>
                  <a:ext uri="{0D108BD9-81ED-4DB2-BD59-A6C34878D82A}">
                    <a16:rowId xmlns:a16="http://schemas.microsoft.com/office/drawing/2014/main" val="703220562"/>
                  </a:ext>
                </a:extLst>
              </a:tr>
              <a:tr h="415627">
                <a:tc>
                  <a:txBody>
                    <a:bodyPr/>
                    <a:lstStyle/>
                    <a:p>
                      <a:pPr algn="ctr"/>
                      <a:r>
                        <a:rPr lang="en-US" sz="1400" dirty="0">
                          <a:latin typeface="Century Gothic" panose="020B0502020202020204" pitchFamily="34" charset="0"/>
                        </a:rPr>
                        <a:t>28T</a:t>
                      </a:r>
                    </a:p>
                  </a:txBody>
                  <a:tcPr anchor="ctr"/>
                </a:tc>
                <a:tc>
                  <a:txBody>
                    <a:bodyPr/>
                    <a:lstStyle/>
                    <a:p>
                      <a:pPr algn="ctr"/>
                      <a:r>
                        <a:rPr lang="en-US" sz="1400" dirty="0">
                          <a:latin typeface="Century Gothic" panose="020B0502020202020204" pitchFamily="34" charset="0"/>
                        </a:rPr>
                        <a:t>129</a:t>
                      </a:r>
                    </a:p>
                  </a:txBody>
                  <a:tcPr anchor="ctr"/>
                </a:tc>
                <a:tc>
                  <a:txBody>
                    <a:bodyPr/>
                    <a:lstStyle/>
                    <a:p>
                      <a:pPr algn="ctr"/>
                      <a:r>
                        <a:rPr lang="en-US" sz="1400" dirty="0">
                          <a:latin typeface="Century Gothic" panose="020B0502020202020204" pitchFamily="34" charset="0"/>
                        </a:rPr>
                        <a:t>149</a:t>
                      </a:r>
                    </a:p>
                  </a:txBody>
                  <a:tcPr anchor="ctr"/>
                </a:tc>
                <a:extLst>
                  <a:ext uri="{0D108BD9-81ED-4DB2-BD59-A6C34878D82A}">
                    <a16:rowId xmlns:a16="http://schemas.microsoft.com/office/drawing/2014/main" val="971218354"/>
                  </a:ext>
                </a:extLst>
              </a:tr>
              <a:tr h="415627">
                <a:tc>
                  <a:txBody>
                    <a:bodyPr/>
                    <a:lstStyle/>
                    <a:p>
                      <a:pPr algn="ctr"/>
                      <a:r>
                        <a:rPr lang="en-US" sz="1400" dirty="0">
                          <a:latin typeface="Century Gothic" panose="020B0502020202020204" pitchFamily="34" charset="0"/>
                        </a:rPr>
                        <a:t>35T</a:t>
                      </a:r>
                    </a:p>
                  </a:txBody>
                  <a:tcPr anchor="ctr"/>
                </a:tc>
                <a:tc>
                  <a:txBody>
                    <a:bodyPr/>
                    <a:lstStyle/>
                    <a:p>
                      <a:pPr algn="ctr"/>
                      <a:r>
                        <a:rPr lang="en-US" sz="1400" dirty="0">
                          <a:latin typeface="Century Gothic" panose="020B0502020202020204" pitchFamily="34" charset="0"/>
                        </a:rPr>
                        <a:t>149</a:t>
                      </a:r>
                    </a:p>
                  </a:txBody>
                  <a:tcPr anchor="ctr"/>
                </a:tc>
                <a:tc>
                  <a:txBody>
                    <a:bodyPr/>
                    <a:lstStyle/>
                    <a:p>
                      <a:pPr algn="ctr"/>
                      <a:r>
                        <a:rPr lang="en-US" sz="1400" dirty="0">
                          <a:latin typeface="Century Gothic" panose="020B0502020202020204" pitchFamily="34" charset="0"/>
                        </a:rPr>
                        <a:t>169</a:t>
                      </a:r>
                    </a:p>
                  </a:txBody>
                  <a:tcPr anchor="ctr"/>
                </a:tc>
                <a:extLst>
                  <a:ext uri="{0D108BD9-81ED-4DB2-BD59-A6C34878D82A}">
                    <a16:rowId xmlns:a16="http://schemas.microsoft.com/office/drawing/2014/main" val="2612405849"/>
                  </a:ext>
                </a:extLst>
              </a:tr>
              <a:tr h="415627">
                <a:tc>
                  <a:txBody>
                    <a:bodyPr/>
                    <a:lstStyle/>
                    <a:p>
                      <a:pPr algn="ctr"/>
                      <a:r>
                        <a:rPr lang="en-US" sz="1400" dirty="0">
                          <a:latin typeface="Century Gothic" panose="020B0502020202020204" pitchFamily="34" charset="0"/>
                        </a:rPr>
                        <a:t>42T</a:t>
                      </a:r>
                    </a:p>
                  </a:txBody>
                  <a:tcPr anchor="ctr"/>
                </a:tc>
                <a:tc>
                  <a:txBody>
                    <a:bodyPr/>
                    <a:lstStyle/>
                    <a:p>
                      <a:pPr algn="ctr"/>
                      <a:r>
                        <a:rPr lang="en-US" sz="1400" dirty="0">
                          <a:latin typeface="Century Gothic" panose="020B0502020202020204" pitchFamily="34" charset="0"/>
                        </a:rPr>
                        <a:t>169</a:t>
                      </a:r>
                    </a:p>
                  </a:txBody>
                  <a:tcPr anchor="ctr"/>
                </a:tc>
                <a:tc>
                  <a:txBody>
                    <a:bodyPr/>
                    <a:lstStyle/>
                    <a:p>
                      <a:pPr algn="ctr"/>
                      <a:r>
                        <a:rPr lang="en-US" sz="1400" dirty="0">
                          <a:latin typeface="Century Gothic" panose="020B0502020202020204" pitchFamily="34" charset="0"/>
                        </a:rPr>
                        <a:t>-</a:t>
                      </a:r>
                    </a:p>
                  </a:txBody>
                  <a:tcPr anchor="ctr"/>
                </a:tc>
                <a:extLst>
                  <a:ext uri="{0D108BD9-81ED-4DB2-BD59-A6C34878D82A}">
                    <a16:rowId xmlns:a16="http://schemas.microsoft.com/office/drawing/2014/main" val="3416590207"/>
                  </a:ext>
                </a:extLst>
              </a:tr>
            </a:tbl>
          </a:graphicData>
        </a:graphic>
      </p:graphicFrame>
      <p:graphicFrame>
        <p:nvGraphicFramePr>
          <p:cNvPr id="16" name="Table 15">
            <a:extLst>
              <a:ext uri="{FF2B5EF4-FFF2-40B4-BE49-F238E27FC236}">
                <a16:creationId xmlns:a16="http://schemas.microsoft.com/office/drawing/2014/main" id="{F68992C2-19CA-42A1-A064-2FCB2B7269EA}"/>
              </a:ext>
            </a:extLst>
          </p:cNvPr>
          <p:cNvGraphicFramePr>
            <a:graphicFrameLocks noGrp="1"/>
          </p:cNvGraphicFramePr>
          <p:nvPr>
            <p:extLst>
              <p:ext uri="{D42A27DB-BD31-4B8C-83A1-F6EECF244321}">
                <p14:modId xmlns:p14="http://schemas.microsoft.com/office/powerpoint/2010/main" val="310803386"/>
              </p:ext>
            </p:extLst>
          </p:nvPr>
        </p:nvGraphicFramePr>
        <p:xfrm>
          <a:off x="8616514" y="959642"/>
          <a:ext cx="3127609" cy="2342503"/>
        </p:xfrm>
        <a:graphic>
          <a:graphicData uri="http://schemas.openxmlformats.org/drawingml/2006/table">
            <a:tbl>
              <a:tblPr firstRow="1" bandRow="1">
                <a:tableStyleId>{073A0DAA-6AF3-43AB-8588-CEC1D06C72B9}</a:tableStyleId>
              </a:tblPr>
              <a:tblGrid>
                <a:gridCol w="1085161">
                  <a:extLst>
                    <a:ext uri="{9D8B030D-6E8A-4147-A177-3AD203B41FA5}">
                      <a16:colId xmlns:a16="http://schemas.microsoft.com/office/drawing/2014/main" val="1143981911"/>
                    </a:ext>
                  </a:extLst>
                </a:gridCol>
                <a:gridCol w="2042448">
                  <a:extLst>
                    <a:ext uri="{9D8B030D-6E8A-4147-A177-3AD203B41FA5}">
                      <a16:colId xmlns:a16="http://schemas.microsoft.com/office/drawing/2014/main" val="3888249285"/>
                    </a:ext>
                  </a:extLst>
                </a:gridCol>
              </a:tblGrid>
              <a:tr h="1056769">
                <a:tc>
                  <a:txBody>
                    <a:bodyPr/>
                    <a:lstStyle/>
                    <a:p>
                      <a:pPr algn="ctr"/>
                      <a:r>
                        <a:rPr lang="en-US" sz="1400" dirty="0">
                          <a:latin typeface="Century Gothic" panose="020B0502020202020204" pitchFamily="34" charset="0"/>
                        </a:rPr>
                        <a:t>Tonnage</a:t>
                      </a:r>
                    </a:p>
                  </a:txBody>
                  <a:tcPr anchor="ctr"/>
                </a:tc>
                <a:tc>
                  <a:txBody>
                    <a:bodyPr/>
                    <a:lstStyle/>
                    <a:p>
                      <a:pPr algn="ctr"/>
                      <a:r>
                        <a:rPr lang="en-US" sz="1400" dirty="0">
                          <a:latin typeface="Century Gothic" panose="020B0502020202020204" pitchFamily="34" charset="0"/>
                        </a:rPr>
                        <a:t>Sensor angle to prevent vehicle topping</a:t>
                      </a:r>
                    </a:p>
                  </a:txBody>
                  <a:tcPr anchor="ctr"/>
                </a:tc>
                <a:extLst>
                  <a:ext uri="{0D108BD9-81ED-4DB2-BD59-A6C34878D82A}">
                    <a16:rowId xmlns:a16="http://schemas.microsoft.com/office/drawing/2014/main" val="4272060488"/>
                  </a:ext>
                </a:extLst>
              </a:tr>
              <a:tr h="428578">
                <a:tc>
                  <a:txBody>
                    <a:bodyPr/>
                    <a:lstStyle/>
                    <a:p>
                      <a:pPr algn="ctr"/>
                      <a:r>
                        <a:rPr lang="en-US" sz="1400" dirty="0">
                          <a:latin typeface="Century Gothic" panose="020B0502020202020204" pitchFamily="34" charset="0"/>
                        </a:rPr>
                        <a:t>28T</a:t>
                      </a:r>
                    </a:p>
                  </a:txBody>
                  <a:tcPr anchor="ctr"/>
                </a:tc>
                <a:tc>
                  <a:txBody>
                    <a:bodyPr/>
                    <a:lstStyle/>
                    <a:p>
                      <a:pPr algn="ctr"/>
                      <a:r>
                        <a:rPr lang="en-US" sz="1400" dirty="0">
                          <a:latin typeface="Century Gothic" panose="020B0502020202020204" pitchFamily="34" charset="0"/>
                        </a:rPr>
                        <a:t>5⁰</a:t>
                      </a:r>
                    </a:p>
                  </a:txBody>
                  <a:tcPr anchor="ctr"/>
                </a:tc>
                <a:extLst>
                  <a:ext uri="{0D108BD9-81ED-4DB2-BD59-A6C34878D82A}">
                    <a16:rowId xmlns:a16="http://schemas.microsoft.com/office/drawing/2014/main" val="971218354"/>
                  </a:ext>
                </a:extLst>
              </a:tr>
              <a:tr h="428578">
                <a:tc>
                  <a:txBody>
                    <a:bodyPr/>
                    <a:lstStyle/>
                    <a:p>
                      <a:pPr algn="ctr"/>
                      <a:r>
                        <a:rPr lang="en-US" sz="1400" dirty="0">
                          <a:latin typeface="Century Gothic" panose="020B0502020202020204" pitchFamily="34" charset="0"/>
                        </a:rPr>
                        <a:t>35T</a:t>
                      </a:r>
                    </a:p>
                  </a:txBody>
                  <a:tcPr anchor="ctr"/>
                </a:tc>
                <a:tc>
                  <a:txBody>
                    <a:bodyPr/>
                    <a:lstStyle/>
                    <a:p>
                      <a:pPr algn="ctr"/>
                      <a:r>
                        <a:rPr lang="en-US" sz="1400" dirty="0">
                          <a:latin typeface="Century Gothic" panose="020B0502020202020204" pitchFamily="34" charset="0"/>
                        </a:rPr>
                        <a:t>4⁰</a:t>
                      </a:r>
                    </a:p>
                  </a:txBody>
                  <a:tcPr anchor="ctr"/>
                </a:tc>
                <a:extLst>
                  <a:ext uri="{0D108BD9-81ED-4DB2-BD59-A6C34878D82A}">
                    <a16:rowId xmlns:a16="http://schemas.microsoft.com/office/drawing/2014/main" val="2612405849"/>
                  </a:ext>
                </a:extLst>
              </a:tr>
              <a:tr h="428578">
                <a:tc>
                  <a:txBody>
                    <a:bodyPr/>
                    <a:lstStyle/>
                    <a:p>
                      <a:pPr algn="ctr"/>
                      <a:r>
                        <a:rPr lang="en-US" sz="1400" dirty="0">
                          <a:latin typeface="Century Gothic" panose="020B0502020202020204" pitchFamily="34" charset="0"/>
                        </a:rPr>
                        <a:t>42T</a:t>
                      </a:r>
                    </a:p>
                  </a:txBody>
                  <a:tcPr anchor="ctr"/>
                </a:tc>
                <a:tc>
                  <a:txBody>
                    <a:bodyPr/>
                    <a:lstStyle/>
                    <a:p>
                      <a:pPr algn="ctr"/>
                      <a:r>
                        <a:rPr lang="en-US" sz="1400" dirty="0">
                          <a:latin typeface="Century Gothic" panose="020B0502020202020204" pitchFamily="34" charset="0"/>
                        </a:rPr>
                        <a:t>3⁰</a:t>
                      </a:r>
                    </a:p>
                  </a:txBody>
                  <a:tcPr anchor="ctr"/>
                </a:tc>
                <a:extLst>
                  <a:ext uri="{0D108BD9-81ED-4DB2-BD59-A6C34878D82A}">
                    <a16:rowId xmlns:a16="http://schemas.microsoft.com/office/drawing/2014/main" val="3416590207"/>
                  </a:ext>
                </a:extLst>
              </a:tr>
            </a:tbl>
          </a:graphicData>
        </a:graphic>
      </p:graphicFrame>
      <p:grpSp>
        <p:nvGrpSpPr>
          <p:cNvPr id="17" name="Group 16"/>
          <p:cNvGrpSpPr/>
          <p:nvPr/>
        </p:nvGrpSpPr>
        <p:grpSpPr>
          <a:xfrm>
            <a:off x="330662" y="3803090"/>
            <a:ext cx="5403731" cy="2585345"/>
            <a:chOff x="885820" y="3695728"/>
            <a:chExt cx="4634902" cy="1282594"/>
          </a:xfrm>
        </p:grpSpPr>
        <p:sp>
          <p:nvSpPr>
            <p:cNvPr id="18" name="Rectangle 17"/>
            <p:cNvSpPr/>
            <p:nvPr/>
          </p:nvSpPr>
          <p:spPr>
            <a:xfrm>
              <a:off x="1214846" y="3695728"/>
              <a:ext cx="4305876" cy="1282594"/>
            </a:xfrm>
            <a:prstGeom prst="rect">
              <a:avLst/>
            </a:prstGeom>
            <a:solidFill>
              <a:schemeClr val="accent5">
                <a:lumMod val="20000"/>
                <a:lumOff val="80000"/>
              </a:schemeClr>
            </a:solidFill>
            <a:ln>
              <a:solidFill>
                <a:schemeClr val="accent5">
                  <a:lumMod val="5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885820" y="3695728"/>
              <a:ext cx="329025" cy="1282594"/>
            </a:xfrm>
            <a:prstGeom prst="rect">
              <a:avLst/>
            </a:prstGeom>
            <a:solidFill>
              <a:schemeClr val="accent5">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TextBox 19"/>
          <p:cNvSpPr txBox="1"/>
          <p:nvPr/>
        </p:nvSpPr>
        <p:spPr>
          <a:xfrm>
            <a:off x="636482" y="3811508"/>
            <a:ext cx="3188756" cy="369332"/>
          </a:xfrm>
          <a:prstGeom prst="rect">
            <a:avLst/>
          </a:prstGeom>
          <a:noFill/>
        </p:spPr>
        <p:txBody>
          <a:bodyPr wrap="square" rtlCol="0">
            <a:spAutoFit/>
          </a:bodyPr>
          <a:lstStyle/>
          <a:p>
            <a:pPr algn="ctr" defTabSz="1219170">
              <a:defRPr/>
            </a:pPr>
            <a:r>
              <a:rPr lang="en-IN" b="1" dirty="0">
                <a:solidFill>
                  <a:prstClr val="black"/>
                </a:solidFill>
                <a:latin typeface="Century Gothic" panose="020B0502020202020204" pitchFamily="34" charset="0"/>
              </a:rPr>
              <a:t>Improvements/Features</a:t>
            </a:r>
            <a:endParaRPr lang="en-US" b="1" dirty="0">
              <a:solidFill>
                <a:prstClr val="black"/>
              </a:solidFill>
              <a:latin typeface="Century Gothic" panose="020B0502020202020204" pitchFamily="34" charset="0"/>
            </a:endParaRPr>
          </a:p>
        </p:txBody>
      </p:sp>
      <p:sp>
        <p:nvSpPr>
          <p:cNvPr id="21" name="TextBox 20"/>
          <p:cNvSpPr txBox="1"/>
          <p:nvPr/>
        </p:nvSpPr>
        <p:spPr>
          <a:xfrm>
            <a:off x="734027" y="4257842"/>
            <a:ext cx="4717413" cy="1815882"/>
          </a:xfrm>
          <a:prstGeom prst="rect">
            <a:avLst/>
          </a:prstGeom>
          <a:noFill/>
        </p:spPr>
        <p:txBody>
          <a:bodyPr wrap="square" rtlCol="0">
            <a:spAutoFit/>
          </a:bodyPr>
          <a:lstStyle/>
          <a:p>
            <a:pPr marL="285744" indent="-285744" defTabSz="1219170">
              <a:buFont typeface="Wingdings" panose="05000000000000000000" pitchFamily="2" charset="2"/>
              <a:buChar char="§"/>
              <a:defRPr/>
            </a:pPr>
            <a:r>
              <a:rPr lang="en-US" sz="1600" dirty="0">
                <a:solidFill>
                  <a:prstClr val="black"/>
                </a:solidFill>
                <a:latin typeface="Century Gothic" panose="020B0502020202020204" pitchFamily="34" charset="0"/>
              </a:rPr>
              <a:t>Higher diameter cylinder for HD applications for Higher stability and Higher overlap length</a:t>
            </a:r>
          </a:p>
          <a:p>
            <a:pPr marL="285744" indent="-285744" defTabSz="1219170">
              <a:buFont typeface="Wingdings" panose="05000000000000000000" pitchFamily="2" charset="2"/>
              <a:buChar char="§"/>
              <a:defRPr/>
            </a:pPr>
            <a:r>
              <a:rPr lang="en-US" sz="1600" dirty="0">
                <a:solidFill>
                  <a:prstClr val="black"/>
                </a:solidFill>
                <a:latin typeface="Century Gothic" panose="020B0502020202020204" pitchFamily="34" charset="0"/>
              </a:rPr>
              <a:t>Application based tipping system (LD &amp; HD)</a:t>
            </a:r>
          </a:p>
          <a:p>
            <a:pPr marL="285744" indent="-285744" defTabSz="1219170">
              <a:buFont typeface="Wingdings" panose="05000000000000000000" pitchFamily="2" charset="2"/>
              <a:buChar char="§"/>
              <a:defRPr/>
            </a:pPr>
            <a:r>
              <a:rPr lang="en-US" sz="1600" dirty="0">
                <a:solidFill>
                  <a:prstClr val="black"/>
                </a:solidFill>
                <a:latin typeface="Century Gothic" panose="020B0502020202020204" pitchFamily="34" charset="0"/>
              </a:rPr>
              <a:t>Better resistance to buckling</a:t>
            </a:r>
          </a:p>
          <a:p>
            <a:pPr marL="285744" indent="-285744" defTabSz="1219170">
              <a:buFont typeface="Wingdings" panose="05000000000000000000" pitchFamily="2" charset="2"/>
              <a:buChar char="§"/>
              <a:defRPr/>
            </a:pPr>
            <a:r>
              <a:rPr lang="en-US" sz="1600" dirty="0">
                <a:solidFill>
                  <a:prstClr val="black"/>
                </a:solidFill>
                <a:latin typeface="Century Gothic" panose="020B0502020202020204" pitchFamily="34" charset="0"/>
              </a:rPr>
              <a:t>Tip fail safe device as an option</a:t>
            </a:r>
          </a:p>
        </p:txBody>
      </p:sp>
      <p:grpSp>
        <p:nvGrpSpPr>
          <p:cNvPr id="22" name="Group 21"/>
          <p:cNvGrpSpPr/>
          <p:nvPr/>
        </p:nvGrpSpPr>
        <p:grpSpPr>
          <a:xfrm>
            <a:off x="6496531" y="3789330"/>
            <a:ext cx="5403731" cy="2585345"/>
            <a:chOff x="885820" y="3695728"/>
            <a:chExt cx="4634902" cy="1282594"/>
          </a:xfrm>
        </p:grpSpPr>
        <p:sp>
          <p:nvSpPr>
            <p:cNvPr id="23" name="Rectangle 22"/>
            <p:cNvSpPr/>
            <p:nvPr/>
          </p:nvSpPr>
          <p:spPr>
            <a:xfrm>
              <a:off x="1214846" y="3695728"/>
              <a:ext cx="4305876" cy="1282594"/>
            </a:xfrm>
            <a:prstGeom prst="rect">
              <a:avLst/>
            </a:prstGeom>
            <a:solidFill>
              <a:schemeClr val="accent2">
                <a:lumMod val="20000"/>
                <a:lumOff val="80000"/>
              </a:schemeClr>
            </a:solidFill>
            <a:ln>
              <a:solidFill>
                <a:schemeClr val="accent2">
                  <a:lumMod val="5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885820" y="3695728"/>
              <a:ext cx="329025" cy="1282594"/>
            </a:xfrm>
            <a:prstGeom prst="rect">
              <a:avLst/>
            </a:prstGeom>
            <a:solidFill>
              <a:schemeClr val="accent2">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TextBox 31"/>
          <p:cNvSpPr txBox="1"/>
          <p:nvPr/>
        </p:nvSpPr>
        <p:spPr>
          <a:xfrm>
            <a:off x="6900122" y="3823164"/>
            <a:ext cx="3188756" cy="369332"/>
          </a:xfrm>
          <a:prstGeom prst="rect">
            <a:avLst/>
          </a:prstGeom>
          <a:noFill/>
        </p:spPr>
        <p:txBody>
          <a:bodyPr wrap="square" rtlCol="0">
            <a:spAutoFit/>
          </a:bodyPr>
          <a:lstStyle/>
          <a:p>
            <a:pPr defTabSz="1219170">
              <a:defRPr/>
            </a:pPr>
            <a:r>
              <a:rPr lang="en-IN" b="1" dirty="0">
                <a:solidFill>
                  <a:prstClr val="black"/>
                </a:solidFill>
                <a:latin typeface="Century Gothic" panose="020B0502020202020204" pitchFamily="34" charset="0"/>
              </a:rPr>
              <a:t>Benefits</a:t>
            </a:r>
            <a:endParaRPr lang="en-US" b="1" dirty="0">
              <a:solidFill>
                <a:prstClr val="black"/>
              </a:solidFill>
              <a:latin typeface="Century Gothic" panose="020B0502020202020204" pitchFamily="34" charset="0"/>
            </a:endParaRPr>
          </a:p>
        </p:txBody>
      </p:sp>
      <p:sp>
        <p:nvSpPr>
          <p:cNvPr id="36" name="TextBox 35"/>
          <p:cNvSpPr txBox="1"/>
          <p:nvPr/>
        </p:nvSpPr>
        <p:spPr>
          <a:xfrm>
            <a:off x="6900122" y="4543393"/>
            <a:ext cx="4962183" cy="1077218"/>
          </a:xfrm>
          <a:prstGeom prst="rect">
            <a:avLst/>
          </a:prstGeom>
          <a:noFill/>
        </p:spPr>
        <p:txBody>
          <a:bodyPr wrap="square" rtlCol="0">
            <a:spAutoFit/>
          </a:bodyPr>
          <a:lstStyle/>
          <a:p>
            <a:pPr marL="285750" indent="-285750" algn="just" defTabSz="1219170">
              <a:buFont typeface="Wingdings" panose="05000000000000000000" pitchFamily="2" charset="2"/>
              <a:buChar char="§"/>
              <a:defRPr/>
            </a:pPr>
            <a:r>
              <a:rPr lang="en-US" sz="1600" dirty="0">
                <a:solidFill>
                  <a:prstClr val="black"/>
                </a:solidFill>
                <a:latin typeface="Century Gothic" panose="020B0502020202020204" pitchFamily="34" charset="0"/>
              </a:rPr>
              <a:t>Increased buckling resistance</a:t>
            </a:r>
          </a:p>
          <a:p>
            <a:pPr marL="285750" indent="-285750" algn="just" defTabSz="1219170">
              <a:buFont typeface="Wingdings" panose="05000000000000000000" pitchFamily="2" charset="2"/>
              <a:buChar char="§"/>
              <a:defRPr/>
            </a:pPr>
            <a:r>
              <a:rPr lang="en-US" sz="1600" dirty="0">
                <a:solidFill>
                  <a:prstClr val="black"/>
                </a:solidFill>
                <a:latin typeface="Century Gothic" panose="020B0502020202020204" pitchFamily="34" charset="0"/>
              </a:rPr>
              <a:t>Better performance</a:t>
            </a:r>
          </a:p>
          <a:p>
            <a:pPr marL="285750" indent="-285750" algn="just" defTabSz="1219170">
              <a:buFont typeface="Wingdings" panose="05000000000000000000" pitchFamily="2" charset="2"/>
              <a:buChar char="§"/>
              <a:defRPr/>
            </a:pPr>
            <a:r>
              <a:rPr lang="en-US" sz="1600" dirty="0">
                <a:solidFill>
                  <a:prstClr val="black"/>
                </a:solidFill>
                <a:latin typeface="Century Gothic" panose="020B0502020202020204" pitchFamily="34" charset="0"/>
              </a:rPr>
              <a:t>Better stability</a:t>
            </a:r>
          </a:p>
          <a:p>
            <a:pPr marL="285750" indent="-285750" algn="just" defTabSz="1219170">
              <a:buFont typeface="Wingdings" panose="05000000000000000000" pitchFamily="2" charset="2"/>
              <a:buChar char="§"/>
              <a:defRPr/>
            </a:pPr>
            <a:r>
              <a:rPr lang="en-US" sz="1600" dirty="0">
                <a:solidFill>
                  <a:prstClr val="black"/>
                </a:solidFill>
                <a:latin typeface="Century Gothic" panose="020B0502020202020204" pitchFamily="34" charset="0"/>
              </a:rPr>
              <a:t>To avoid vehicle toppling</a:t>
            </a:r>
          </a:p>
        </p:txBody>
      </p:sp>
    </p:spTree>
    <p:extLst>
      <p:ext uri="{BB962C8B-B14F-4D97-AF65-F5344CB8AC3E}">
        <p14:creationId xmlns:p14="http://schemas.microsoft.com/office/powerpoint/2010/main" val="118863287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A picture containing engine&#10;&#10;Description automatically generated">
            <a:extLst>
              <a:ext uri="{FF2B5EF4-FFF2-40B4-BE49-F238E27FC236}">
                <a16:creationId xmlns:a16="http://schemas.microsoft.com/office/drawing/2014/main" id="{9BC46328-3737-4C59-98A5-A0D84A3F44B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6"/>
          <a:stretch/>
        </p:blipFill>
        <p:spPr>
          <a:xfrm>
            <a:off x="4800600" y="2895600"/>
            <a:ext cx="2590800" cy="2357819"/>
          </a:xfrm>
          <a:prstGeom prst="ellipse">
            <a:avLst/>
          </a:prstGeom>
          <a:ln>
            <a:noFill/>
          </a:ln>
          <a:effectLst>
            <a:softEdge rad="112500"/>
          </a:effectLst>
        </p:spPr>
      </p:pic>
      <p:graphicFrame>
        <p:nvGraphicFramePr>
          <p:cNvPr id="4" name="Diagram 3"/>
          <p:cNvGraphicFramePr/>
          <p:nvPr/>
        </p:nvGraphicFramePr>
        <p:xfrm>
          <a:off x="45601" y="1140307"/>
          <a:ext cx="12176998" cy="571769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p:cNvPicPr>
            <a:picLocks noChangeAspect="1"/>
          </p:cNvPicPr>
          <p:nvPr/>
        </p:nvPicPr>
        <p:blipFill rotWithShape="1">
          <a:blip r:embed="rId9">
            <a:extLst>
              <a:ext uri="{28A0092B-C50C-407E-A947-70E740481C1C}">
                <a14:useLocalDpi xmlns:a14="http://schemas.microsoft.com/office/drawing/2010/main" val="0"/>
              </a:ext>
            </a:extLst>
          </a:blip>
          <a:srcRect l="5875" r="24424"/>
          <a:stretch/>
        </p:blipFill>
        <p:spPr>
          <a:xfrm>
            <a:off x="5532294" y="2724376"/>
            <a:ext cx="1203612" cy="2242756"/>
          </a:xfrm>
          <a:prstGeom prst="ellipse">
            <a:avLst/>
          </a:prstGeom>
          <a:ln>
            <a:noFill/>
          </a:ln>
          <a:effectLst>
            <a:softEdge rad="112500"/>
          </a:effectLst>
        </p:spPr>
      </p:pic>
      <p:sp>
        <p:nvSpPr>
          <p:cNvPr id="7" name="TextBox 6"/>
          <p:cNvSpPr txBox="1"/>
          <p:nvPr/>
        </p:nvSpPr>
        <p:spPr>
          <a:xfrm>
            <a:off x="4995569" y="4909237"/>
            <a:ext cx="2200861" cy="492443"/>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0070C0"/>
                </a:solidFill>
                <a:effectLst/>
                <a:uLnTx/>
                <a:uFillTx/>
                <a:latin typeface="Arial"/>
                <a:ea typeface="+mn-ea"/>
                <a:cs typeface="+mn-cs"/>
              </a:rPr>
              <a:t>AMT</a:t>
            </a:r>
            <a:endParaRPr kumimoji="0" lang="en-IN" sz="2000" b="1" i="0" u="sng" strike="noStrike" kern="1200" cap="none" spc="0" normalizeH="0" baseline="0" noProof="0" dirty="0" err="1">
              <a:ln>
                <a:noFill/>
              </a:ln>
              <a:solidFill>
                <a:srgbClr val="0070C0"/>
              </a:solidFill>
              <a:effectLst/>
              <a:uLnTx/>
              <a:uFillTx/>
              <a:latin typeface="Arial"/>
              <a:ea typeface="+mn-ea"/>
              <a:cs typeface="+mn-cs"/>
            </a:endParaRPr>
          </a:p>
        </p:txBody>
      </p:sp>
      <p:pic>
        <p:nvPicPr>
          <p:cNvPr id="8" name="Picture 7" descr="A picture containing engine&#10;&#10;Description automatically generated">
            <a:extLst>
              <a:ext uri="{FF2B5EF4-FFF2-40B4-BE49-F238E27FC236}">
                <a16:creationId xmlns:a16="http://schemas.microsoft.com/office/drawing/2014/main" id="{9BC46328-3737-4C59-98A5-A0D84A3F44B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6"/>
          <a:stretch/>
        </p:blipFill>
        <p:spPr>
          <a:xfrm>
            <a:off x="172888" y="2713446"/>
            <a:ext cx="2935558" cy="2253686"/>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pic>
        <p:nvPicPr>
          <p:cNvPr id="9" name="Picture 8"/>
          <p:cNvPicPr>
            <a:picLocks noChangeAspect="1"/>
          </p:cNvPicPr>
          <p:nvPr/>
        </p:nvPicPr>
        <p:blipFill>
          <a:blip r:embed="rId10">
            <a:extLst>
              <a:ext uri="{BEBA8EAE-BF5A-486C-A8C5-ECC9F3942E4B}">
                <a14:imgProps xmlns:a14="http://schemas.microsoft.com/office/drawing/2010/main">
                  <a14:imgLayer r:embed="rId11">
                    <a14:imgEffect>
                      <a14:backgroundRemoval t="3518" b="96985" l="1786" r="89286"/>
                    </a14:imgEffect>
                  </a14:imgLayer>
                </a14:imgProps>
              </a:ext>
              <a:ext uri="{28A0092B-C50C-407E-A947-70E740481C1C}">
                <a14:useLocalDpi xmlns:a14="http://schemas.microsoft.com/office/drawing/2010/main" val="0"/>
              </a:ext>
            </a:extLst>
          </a:blip>
          <a:stretch>
            <a:fillRect/>
          </a:stretch>
        </p:blipFill>
        <p:spPr>
          <a:xfrm>
            <a:off x="9068806" y="1468047"/>
            <a:ext cx="2718845" cy="2415404"/>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
        <p:nvSpPr>
          <p:cNvPr id="11" name="Title 10"/>
          <p:cNvSpPr>
            <a:spLocks noGrp="1"/>
          </p:cNvSpPr>
          <p:nvPr>
            <p:ph type="title"/>
          </p:nvPr>
        </p:nvSpPr>
        <p:spPr>
          <a:xfrm>
            <a:off x="1549400" y="153846"/>
            <a:ext cx="7823200" cy="838200"/>
          </a:xfrm>
        </p:spPr>
        <p:txBody>
          <a:bodyPr/>
          <a:lstStyle/>
          <a:p>
            <a:r>
              <a:rPr lang="en-US" sz="2800" b="1" dirty="0">
                <a:solidFill>
                  <a:srgbClr val="02718E"/>
                </a:solidFill>
                <a:latin typeface="Century Gothic" panose="020B0502020202020204" pitchFamily="34" charset="0"/>
              </a:rPr>
              <a:t>N2825-Feature of 9S AMT in 6x4 tippers</a:t>
            </a:r>
            <a:endParaRPr lang="en-IN" sz="2800" b="1" dirty="0">
              <a:solidFill>
                <a:srgbClr val="02718E"/>
              </a:solidFill>
              <a:latin typeface="Century Gothic" panose="020B0502020202020204" pitchFamily="34" charset="0"/>
            </a:endParaRPr>
          </a:p>
        </p:txBody>
      </p:sp>
      <p:pic>
        <p:nvPicPr>
          <p:cNvPr id="12" name="Picture 1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067800" y="4419600"/>
            <a:ext cx="2855756" cy="2141817"/>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pic>
        <p:nvPicPr>
          <p:cNvPr id="13" name="Picture 12">
            <a:extLst>
              <a:ext uri="{FF2B5EF4-FFF2-40B4-BE49-F238E27FC236}">
                <a16:creationId xmlns:a16="http://schemas.microsoft.com/office/drawing/2014/main" id="{9E4DBE4B-1511-4577-9D68-EFAB66EAE1FD}"/>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1447175" y="141390"/>
            <a:ext cx="622040" cy="622040"/>
          </a:xfrm>
          <a:prstGeom prst="rect">
            <a:avLst/>
          </a:prstGeom>
        </p:spPr>
      </p:pic>
      <p:sp>
        <p:nvSpPr>
          <p:cNvPr id="1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15" name="TextBox 14"/>
          <p:cNvSpPr txBox="1"/>
          <p:nvPr/>
        </p:nvSpPr>
        <p:spPr>
          <a:xfrm>
            <a:off x="1010656" y="124413"/>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AMT</a:t>
            </a:r>
            <a:endParaRPr lang="en-US" sz="3733" b="1" dirty="0">
              <a:solidFill>
                <a:prstClr val="black"/>
              </a:solidFill>
              <a:latin typeface="Century Gothic" panose="020B0502020202020204" pitchFamily="34" charset="0"/>
            </a:endParaRPr>
          </a:p>
        </p:txBody>
      </p:sp>
    </p:spTree>
    <p:extLst>
      <p:ext uri="{BB962C8B-B14F-4D97-AF65-F5344CB8AC3E}">
        <p14:creationId xmlns:p14="http://schemas.microsoft.com/office/powerpoint/2010/main" val="2811650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graphicEl>
                                              <a:dgm id="{97E4D897-6E14-40BD-8206-9FA90A376C08}"/>
                                            </p:graphicEl>
                                          </p:spTgt>
                                        </p:tgtEl>
                                        <p:attrNameLst>
                                          <p:attrName>style.visibility</p:attrName>
                                        </p:attrNameLst>
                                      </p:cBhvr>
                                      <p:to>
                                        <p:strVal val="visible"/>
                                      </p:to>
                                    </p:set>
                                    <p:animEffect transition="in" filter="fade">
                                      <p:cBhvr>
                                        <p:cTn id="7" dur="1000"/>
                                        <p:tgtEl>
                                          <p:spTgt spid="4">
                                            <p:graphicEl>
                                              <a:dgm id="{97E4D897-6E14-40BD-8206-9FA90A376C08}"/>
                                            </p:graphicEl>
                                          </p:spTgt>
                                        </p:tgtEl>
                                      </p:cBhvr>
                                    </p:animEffect>
                                    <p:anim calcmode="lin" valueType="num">
                                      <p:cBhvr>
                                        <p:cTn id="8" dur="1000" fill="hold"/>
                                        <p:tgtEl>
                                          <p:spTgt spid="4">
                                            <p:graphicEl>
                                              <a:dgm id="{97E4D897-6E14-40BD-8206-9FA90A376C08}"/>
                                            </p:graphicEl>
                                          </p:spTgt>
                                        </p:tgtEl>
                                        <p:attrNameLst>
                                          <p:attrName>ppt_x</p:attrName>
                                        </p:attrNameLst>
                                      </p:cBhvr>
                                      <p:tavLst>
                                        <p:tav tm="0">
                                          <p:val>
                                            <p:strVal val="#ppt_x"/>
                                          </p:val>
                                        </p:tav>
                                        <p:tav tm="100000">
                                          <p:val>
                                            <p:strVal val="#ppt_x"/>
                                          </p:val>
                                        </p:tav>
                                      </p:tavLst>
                                    </p:anim>
                                    <p:anim calcmode="lin" valueType="num">
                                      <p:cBhvr>
                                        <p:cTn id="9" dur="1000" fill="hold"/>
                                        <p:tgtEl>
                                          <p:spTgt spid="4">
                                            <p:graphicEl>
                                              <a:dgm id="{97E4D897-6E14-40BD-8206-9FA90A376C08}"/>
                                            </p:graphic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
                                            <p:graphicEl>
                                              <a:dgm id="{A1A757E9-2DC1-4883-B258-BEBE982FD22A}"/>
                                            </p:graphicEl>
                                          </p:spTgt>
                                        </p:tgtEl>
                                        <p:attrNameLst>
                                          <p:attrName>style.visibility</p:attrName>
                                        </p:attrNameLst>
                                      </p:cBhvr>
                                      <p:to>
                                        <p:strVal val="visible"/>
                                      </p:to>
                                    </p:set>
                                    <p:animEffect transition="in" filter="fade">
                                      <p:cBhvr>
                                        <p:cTn id="14" dur="1000"/>
                                        <p:tgtEl>
                                          <p:spTgt spid="4">
                                            <p:graphicEl>
                                              <a:dgm id="{A1A757E9-2DC1-4883-B258-BEBE982FD22A}"/>
                                            </p:graphicEl>
                                          </p:spTgt>
                                        </p:tgtEl>
                                      </p:cBhvr>
                                    </p:animEffect>
                                    <p:anim calcmode="lin" valueType="num">
                                      <p:cBhvr>
                                        <p:cTn id="15" dur="1000" fill="hold"/>
                                        <p:tgtEl>
                                          <p:spTgt spid="4">
                                            <p:graphicEl>
                                              <a:dgm id="{A1A757E9-2DC1-4883-B258-BEBE982FD22A}"/>
                                            </p:graphicEl>
                                          </p:spTgt>
                                        </p:tgtEl>
                                        <p:attrNameLst>
                                          <p:attrName>ppt_x</p:attrName>
                                        </p:attrNameLst>
                                      </p:cBhvr>
                                      <p:tavLst>
                                        <p:tav tm="0">
                                          <p:val>
                                            <p:strVal val="#ppt_x"/>
                                          </p:val>
                                        </p:tav>
                                        <p:tav tm="100000">
                                          <p:val>
                                            <p:strVal val="#ppt_x"/>
                                          </p:val>
                                        </p:tav>
                                      </p:tavLst>
                                    </p:anim>
                                    <p:anim calcmode="lin" valueType="num">
                                      <p:cBhvr>
                                        <p:cTn id="16" dur="1000" fill="hold"/>
                                        <p:tgtEl>
                                          <p:spTgt spid="4">
                                            <p:graphicEl>
                                              <a:dgm id="{A1A757E9-2DC1-4883-B258-BEBE982FD22A}"/>
                                            </p:graphic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4">
                                            <p:graphicEl>
                                              <a:dgm id="{7F52E60A-E243-4F48-995E-E0617F27892D}"/>
                                            </p:graphicEl>
                                          </p:spTgt>
                                        </p:tgtEl>
                                        <p:attrNameLst>
                                          <p:attrName>style.visibility</p:attrName>
                                        </p:attrNameLst>
                                      </p:cBhvr>
                                      <p:to>
                                        <p:strVal val="visible"/>
                                      </p:to>
                                    </p:set>
                                    <p:animEffect transition="in" filter="fade">
                                      <p:cBhvr>
                                        <p:cTn id="21" dur="1000"/>
                                        <p:tgtEl>
                                          <p:spTgt spid="4">
                                            <p:graphicEl>
                                              <a:dgm id="{7F52E60A-E243-4F48-995E-E0617F27892D}"/>
                                            </p:graphicEl>
                                          </p:spTgt>
                                        </p:tgtEl>
                                      </p:cBhvr>
                                    </p:animEffect>
                                    <p:anim calcmode="lin" valueType="num">
                                      <p:cBhvr>
                                        <p:cTn id="22" dur="1000" fill="hold"/>
                                        <p:tgtEl>
                                          <p:spTgt spid="4">
                                            <p:graphicEl>
                                              <a:dgm id="{7F52E60A-E243-4F48-995E-E0617F27892D}"/>
                                            </p:graphicEl>
                                          </p:spTgt>
                                        </p:tgtEl>
                                        <p:attrNameLst>
                                          <p:attrName>ppt_x</p:attrName>
                                        </p:attrNameLst>
                                      </p:cBhvr>
                                      <p:tavLst>
                                        <p:tav tm="0">
                                          <p:val>
                                            <p:strVal val="#ppt_x"/>
                                          </p:val>
                                        </p:tav>
                                        <p:tav tm="100000">
                                          <p:val>
                                            <p:strVal val="#ppt_x"/>
                                          </p:val>
                                        </p:tav>
                                      </p:tavLst>
                                    </p:anim>
                                    <p:anim calcmode="lin" valueType="num">
                                      <p:cBhvr>
                                        <p:cTn id="23" dur="1000" fill="hold"/>
                                        <p:tgtEl>
                                          <p:spTgt spid="4">
                                            <p:graphicEl>
                                              <a:dgm id="{7F52E60A-E243-4F48-995E-E0617F27892D}"/>
                                            </p:graphic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4">
                                            <p:graphicEl>
                                              <a:dgm id="{EB072983-73BF-47A4-997F-22656C872A1A}"/>
                                            </p:graphicEl>
                                          </p:spTgt>
                                        </p:tgtEl>
                                        <p:attrNameLst>
                                          <p:attrName>style.visibility</p:attrName>
                                        </p:attrNameLst>
                                      </p:cBhvr>
                                      <p:to>
                                        <p:strVal val="visible"/>
                                      </p:to>
                                    </p:set>
                                    <p:animEffect transition="in" filter="fade">
                                      <p:cBhvr>
                                        <p:cTn id="28" dur="1000"/>
                                        <p:tgtEl>
                                          <p:spTgt spid="4">
                                            <p:graphicEl>
                                              <a:dgm id="{EB072983-73BF-47A4-997F-22656C872A1A}"/>
                                            </p:graphicEl>
                                          </p:spTgt>
                                        </p:tgtEl>
                                      </p:cBhvr>
                                    </p:animEffect>
                                    <p:anim calcmode="lin" valueType="num">
                                      <p:cBhvr>
                                        <p:cTn id="29" dur="1000" fill="hold"/>
                                        <p:tgtEl>
                                          <p:spTgt spid="4">
                                            <p:graphicEl>
                                              <a:dgm id="{EB072983-73BF-47A4-997F-22656C872A1A}"/>
                                            </p:graphicEl>
                                          </p:spTgt>
                                        </p:tgtEl>
                                        <p:attrNameLst>
                                          <p:attrName>ppt_x</p:attrName>
                                        </p:attrNameLst>
                                      </p:cBhvr>
                                      <p:tavLst>
                                        <p:tav tm="0">
                                          <p:val>
                                            <p:strVal val="#ppt_x"/>
                                          </p:val>
                                        </p:tav>
                                        <p:tav tm="100000">
                                          <p:val>
                                            <p:strVal val="#ppt_x"/>
                                          </p:val>
                                        </p:tav>
                                      </p:tavLst>
                                    </p:anim>
                                    <p:anim calcmode="lin" valueType="num">
                                      <p:cBhvr>
                                        <p:cTn id="30" dur="1000" fill="hold"/>
                                        <p:tgtEl>
                                          <p:spTgt spid="4">
                                            <p:graphicEl>
                                              <a:dgm id="{EB072983-73BF-47A4-997F-22656C872A1A}"/>
                                            </p:graphic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4">
                                            <p:graphicEl>
                                              <a:dgm id="{331CF0DA-EBAA-4F63-BF01-D499F9F7D699}"/>
                                            </p:graphicEl>
                                          </p:spTgt>
                                        </p:tgtEl>
                                        <p:attrNameLst>
                                          <p:attrName>style.visibility</p:attrName>
                                        </p:attrNameLst>
                                      </p:cBhvr>
                                      <p:to>
                                        <p:strVal val="visible"/>
                                      </p:to>
                                    </p:set>
                                    <p:animEffect transition="in" filter="fade">
                                      <p:cBhvr>
                                        <p:cTn id="35" dur="1000"/>
                                        <p:tgtEl>
                                          <p:spTgt spid="4">
                                            <p:graphicEl>
                                              <a:dgm id="{331CF0DA-EBAA-4F63-BF01-D499F9F7D699}"/>
                                            </p:graphicEl>
                                          </p:spTgt>
                                        </p:tgtEl>
                                      </p:cBhvr>
                                    </p:animEffect>
                                    <p:anim calcmode="lin" valueType="num">
                                      <p:cBhvr>
                                        <p:cTn id="36" dur="1000" fill="hold"/>
                                        <p:tgtEl>
                                          <p:spTgt spid="4">
                                            <p:graphicEl>
                                              <a:dgm id="{331CF0DA-EBAA-4F63-BF01-D499F9F7D699}"/>
                                            </p:graphicEl>
                                          </p:spTgt>
                                        </p:tgtEl>
                                        <p:attrNameLst>
                                          <p:attrName>ppt_x</p:attrName>
                                        </p:attrNameLst>
                                      </p:cBhvr>
                                      <p:tavLst>
                                        <p:tav tm="0">
                                          <p:val>
                                            <p:strVal val="#ppt_x"/>
                                          </p:val>
                                        </p:tav>
                                        <p:tav tm="100000">
                                          <p:val>
                                            <p:strVal val="#ppt_x"/>
                                          </p:val>
                                        </p:tav>
                                      </p:tavLst>
                                    </p:anim>
                                    <p:anim calcmode="lin" valueType="num">
                                      <p:cBhvr>
                                        <p:cTn id="37" dur="1000" fill="hold"/>
                                        <p:tgtEl>
                                          <p:spTgt spid="4">
                                            <p:graphicEl>
                                              <a:dgm id="{331CF0DA-EBAA-4F63-BF01-D499F9F7D699}"/>
                                            </p:graphic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4">
                                            <p:graphicEl>
                                              <a:dgm id="{82FF4EE7-C5BA-4DBA-936E-FCD67560ADCE}"/>
                                            </p:graphicEl>
                                          </p:spTgt>
                                        </p:tgtEl>
                                        <p:attrNameLst>
                                          <p:attrName>style.visibility</p:attrName>
                                        </p:attrNameLst>
                                      </p:cBhvr>
                                      <p:to>
                                        <p:strVal val="visible"/>
                                      </p:to>
                                    </p:set>
                                    <p:animEffect transition="in" filter="fade">
                                      <p:cBhvr>
                                        <p:cTn id="42" dur="1000"/>
                                        <p:tgtEl>
                                          <p:spTgt spid="4">
                                            <p:graphicEl>
                                              <a:dgm id="{82FF4EE7-C5BA-4DBA-936E-FCD67560ADCE}"/>
                                            </p:graphicEl>
                                          </p:spTgt>
                                        </p:tgtEl>
                                      </p:cBhvr>
                                    </p:animEffect>
                                    <p:anim calcmode="lin" valueType="num">
                                      <p:cBhvr>
                                        <p:cTn id="43" dur="1000" fill="hold"/>
                                        <p:tgtEl>
                                          <p:spTgt spid="4">
                                            <p:graphicEl>
                                              <a:dgm id="{82FF4EE7-C5BA-4DBA-936E-FCD67560ADCE}"/>
                                            </p:graphicEl>
                                          </p:spTgt>
                                        </p:tgtEl>
                                        <p:attrNameLst>
                                          <p:attrName>ppt_x</p:attrName>
                                        </p:attrNameLst>
                                      </p:cBhvr>
                                      <p:tavLst>
                                        <p:tav tm="0">
                                          <p:val>
                                            <p:strVal val="#ppt_x"/>
                                          </p:val>
                                        </p:tav>
                                        <p:tav tm="100000">
                                          <p:val>
                                            <p:strVal val="#ppt_x"/>
                                          </p:val>
                                        </p:tav>
                                      </p:tavLst>
                                    </p:anim>
                                    <p:anim calcmode="lin" valueType="num">
                                      <p:cBhvr>
                                        <p:cTn id="44" dur="1000" fill="hold"/>
                                        <p:tgtEl>
                                          <p:spTgt spid="4">
                                            <p:graphicEl>
                                              <a:dgm id="{82FF4EE7-C5BA-4DBA-936E-FCD67560ADCE}"/>
                                            </p:graphic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4">
                                            <p:graphicEl>
                                              <a:dgm id="{388FD116-85F1-4694-B25B-A722928E14AC}"/>
                                            </p:graphicEl>
                                          </p:spTgt>
                                        </p:tgtEl>
                                        <p:attrNameLst>
                                          <p:attrName>style.visibility</p:attrName>
                                        </p:attrNameLst>
                                      </p:cBhvr>
                                      <p:to>
                                        <p:strVal val="visible"/>
                                      </p:to>
                                    </p:set>
                                    <p:animEffect transition="in" filter="fade">
                                      <p:cBhvr>
                                        <p:cTn id="49" dur="1000"/>
                                        <p:tgtEl>
                                          <p:spTgt spid="4">
                                            <p:graphicEl>
                                              <a:dgm id="{388FD116-85F1-4694-B25B-A722928E14AC}"/>
                                            </p:graphicEl>
                                          </p:spTgt>
                                        </p:tgtEl>
                                      </p:cBhvr>
                                    </p:animEffect>
                                    <p:anim calcmode="lin" valueType="num">
                                      <p:cBhvr>
                                        <p:cTn id="50" dur="1000" fill="hold"/>
                                        <p:tgtEl>
                                          <p:spTgt spid="4">
                                            <p:graphicEl>
                                              <a:dgm id="{388FD116-85F1-4694-B25B-A722928E14AC}"/>
                                            </p:graphicEl>
                                          </p:spTgt>
                                        </p:tgtEl>
                                        <p:attrNameLst>
                                          <p:attrName>ppt_x</p:attrName>
                                        </p:attrNameLst>
                                      </p:cBhvr>
                                      <p:tavLst>
                                        <p:tav tm="0">
                                          <p:val>
                                            <p:strVal val="#ppt_x"/>
                                          </p:val>
                                        </p:tav>
                                        <p:tav tm="100000">
                                          <p:val>
                                            <p:strVal val="#ppt_x"/>
                                          </p:val>
                                        </p:tav>
                                      </p:tavLst>
                                    </p:anim>
                                    <p:anim calcmode="lin" valueType="num">
                                      <p:cBhvr>
                                        <p:cTn id="51" dur="1000" fill="hold"/>
                                        <p:tgtEl>
                                          <p:spTgt spid="4">
                                            <p:graphicEl>
                                              <a:dgm id="{388FD116-85F1-4694-B25B-A722928E14AC}"/>
                                            </p:graphic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4">
                                            <p:graphicEl>
                                              <a:dgm id="{3162DC8E-8302-418D-B6CD-C9AA1AF1AF9A}"/>
                                            </p:graphicEl>
                                          </p:spTgt>
                                        </p:tgtEl>
                                        <p:attrNameLst>
                                          <p:attrName>style.visibility</p:attrName>
                                        </p:attrNameLst>
                                      </p:cBhvr>
                                      <p:to>
                                        <p:strVal val="visible"/>
                                      </p:to>
                                    </p:set>
                                    <p:animEffect transition="in" filter="fade">
                                      <p:cBhvr>
                                        <p:cTn id="56" dur="1000"/>
                                        <p:tgtEl>
                                          <p:spTgt spid="4">
                                            <p:graphicEl>
                                              <a:dgm id="{3162DC8E-8302-418D-B6CD-C9AA1AF1AF9A}"/>
                                            </p:graphicEl>
                                          </p:spTgt>
                                        </p:tgtEl>
                                      </p:cBhvr>
                                    </p:animEffect>
                                    <p:anim calcmode="lin" valueType="num">
                                      <p:cBhvr>
                                        <p:cTn id="57" dur="1000" fill="hold"/>
                                        <p:tgtEl>
                                          <p:spTgt spid="4">
                                            <p:graphicEl>
                                              <a:dgm id="{3162DC8E-8302-418D-B6CD-C9AA1AF1AF9A}"/>
                                            </p:graphicEl>
                                          </p:spTgt>
                                        </p:tgtEl>
                                        <p:attrNameLst>
                                          <p:attrName>ppt_x</p:attrName>
                                        </p:attrNameLst>
                                      </p:cBhvr>
                                      <p:tavLst>
                                        <p:tav tm="0">
                                          <p:val>
                                            <p:strVal val="#ppt_x"/>
                                          </p:val>
                                        </p:tav>
                                        <p:tav tm="100000">
                                          <p:val>
                                            <p:strVal val="#ppt_x"/>
                                          </p:val>
                                        </p:tav>
                                      </p:tavLst>
                                    </p:anim>
                                    <p:anim calcmode="lin" valueType="num">
                                      <p:cBhvr>
                                        <p:cTn id="58" dur="1000" fill="hold"/>
                                        <p:tgtEl>
                                          <p:spTgt spid="4">
                                            <p:graphicEl>
                                              <a:dgm id="{3162DC8E-8302-418D-B6CD-C9AA1AF1AF9A}"/>
                                            </p:graphic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4">
                                            <p:graphicEl>
                                              <a:dgm id="{5759964A-04D2-4A5C-A47C-441EEC5012C0}"/>
                                            </p:graphicEl>
                                          </p:spTgt>
                                        </p:tgtEl>
                                        <p:attrNameLst>
                                          <p:attrName>style.visibility</p:attrName>
                                        </p:attrNameLst>
                                      </p:cBhvr>
                                      <p:to>
                                        <p:strVal val="visible"/>
                                      </p:to>
                                    </p:set>
                                    <p:animEffect transition="in" filter="fade">
                                      <p:cBhvr>
                                        <p:cTn id="63" dur="1000"/>
                                        <p:tgtEl>
                                          <p:spTgt spid="4">
                                            <p:graphicEl>
                                              <a:dgm id="{5759964A-04D2-4A5C-A47C-441EEC5012C0}"/>
                                            </p:graphicEl>
                                          </p:spTgt>
                                        </p:tgtEl>
                                      </p:cBhvr>
                                    </p:animEffect>
                                    <p:anim calcmode="lin" valueType="num">
                                      <p:cBhvr>
                                        <p:cTn id="64" dur="1000" fill="hold"/>
                                        <p:tgtEl>
                                          <p:spTgt spid="4">
                                            <p:graphicEl>
                                              <a:dgm id="{5759964A-04D2-4A5C-A47C-441EEC5012C0}"/>
                                            </p:graphicEl>
                                          </p:spTgt>
                                        </p:tgtEl>
                                        <p:attrNameLst>
                                          <p:attrName>ppt_x</p:attrName>
                                        </p:attrNameLst>
                                      </p:cBhvr>
                                      <p:tavLst>
                                        <p:tav tm="0">
                                          <p:val>
                                            <p:strVal val="#ppt_x"/>
                                          </p:val>
                                        </p:tav>
                                        <p:tav tm="100000">
                                          <p:val>
                                            <p:strVal val="#ppt_x"/>
                                          </p:val>
                                        </p:tav>
                                      </p:tavLst>
                                    </p:anim>
                                    <p:anim calcmode="lin" valueType="num">
                                      <p:cBhvr>
                                        <p:cTn id="65" dur="1000" fill="hold"/>
                                        <p:tgtEl>
                                          <p:spTgt spid="4">
                                            <p:graphicEl>
                                              <a:dgm id="{5759964A-04D2-4A5C-A47C-441EEC5012C0}"/>
                                            </p:graphicEl>
                                          </p:spTgt>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grpId="0" nodeType="clickEffect">
                                  <p:stCondLst>
                                    <p:cond delay="0"/>
                                  </p:stCondLst>
                                  <p:childTnLst>
                                    <p:set>
                                      <p:cBhvr>
                                        <p:cTn id="69" dur="1" fill="hold">
                                          <p:stCondLst>
                                            <p:cond delay="0"/>
                                          </p:stCondLst>
                                        </p:cTn>
                                        <p:tgtEl>
                                          <p:spTgt spid="4">
                                            <p:graphicEl>
                                              <a:dgm id="{C0951838-45A4-4D62-BB84-E3EC09BC3BB5}"/>
                                            </p:graphicEl>
                                          </p:spTgt>
                                        </p:tgtEl>
                                        <p:attrNameLst>
                                          <p:attrName>style.visibility</p:attrName>
                                        </p:attrNameLst>
                                      </p:cBhvr>
                                      <p:to>
                                        <p:strVal val="visible"/>
                                      </p:to>
                                    </p:set>
                                    <p:animEffect transition="in" filter="fade">
                                      <p:cBhvr>
                                        <p:cTn id="70" dur="1000"/>
                                        <p:tgtEl>
                                          <p:spTgt spid="4">
                                            <p:graphicEl>
                                              <a:dgm id="{C0951838-45A4-4D62-BB84-E3EC09BC3BB5}"/>
                                            </p:graphicEl>
                                          </p:spTgt>
                                        </p:tgtEl>
                                      </p:cBhvr>
                                    </p:animEffect>
                                    <p:anim calcmode="lin" valueType="num">
                                      <p:cBhvr>
                                        <p:cTn id="71" dur="1000" fill="hold"/>
                                        <p:tgtEl>
                                          <p:spTgt spid="4">
                                            <p:graphicEl>
                                              <a:dgm id="{C0951838-45A4-4D62-BB84-E3EC09BC3BB5}"/>
                                            </p:graphicEl>
                                          </p:spTgt>
                                        </p:tgtEl>
                                        <p:attrNameLst>
                                          <p:attrName>ppt_x</p:attrName>
                                        </p:attrNameLst>
                                      </p:cBhvr>
                                      <p:tavLst>
                                        <p:tav tm="0">
                                          <p:val>
                                            <p:strVal val="#ppt_x"/>
                                          </p:val>
                                        </p:tav>
                                        <p:tav tm="100000">
                                          <p:val>
                                            <p:strVal val="#ppt_x"/>
                                          </p:val>
                                        </p:tav>
                                      </p:tavLst>
                                    </p:anim>
                                    <p:anim calcmode="lin" valueType="num">
                                      <p:cBhvr>
                                        <p:cTn id="72" dur="1000" fill="hold"/>
                                        <p:tgtEl>
                                          <p:spTgt spid="4">
                                            <p:graphicEl>
                                              <a:dgm id="{C0951838-45A4-4D62-BB84-E3EC09BC3BB5}"/>
                                            </p:graphicEl>
                                          </p:spTgt>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grpId="0" nodeType="clickEffect">
                                  <p:stCondLst>
                                    <p:cond delay="0"/>
                                  </p:stCondLst>
                                  <p:childTnLst>
                                    <p:set>
                                      <p:cBhvr>
                                        <p:cTn id="76" dur="1" fill="hold">
                                          <p:stCondLst>
                                            <p:cond delay="0"/>
                                          </p:stCondLst>
                                        </p:cTn>
                                        <p:tgtEl>
                                          <p:spTgt spid="4">
                                            <p:graphicEl>
                                              <a:dgm id="{293DBD05-5818-4014-BFC4-0BA1233738AD}"/>
                                            </p:graphicEl>
                                          </p:spTgt>
                                        </p:tgtEl>
                                        <p:attrNameLst>
                                          <p:attrName>style.visibility</p:attrName>
                                        </p:attrNameLst>
                                      </p:cBhvr>
                                      <p:to>
                                        <p:strVal val="visible"/>
                                      </p:to>
                                    </p:set>
                                    <p:animEffect transition="in" filter="fade">
                                      <p:cBhvr>
                                        <p:cTn id="77" dur="1000"/>
                                        <p:tgtEl>
                                          <p:spTgt spid="4">
                                            <p:graphicEl>
                                              <a:dgm id="{293DBD05-5818-4014-BFC4-0BA1233738AD}"/>
                                            </p:graphicEl>
                                          </p:spTgt>
                                        </p:tgtEl>
                                      </p:cBhvr>
                                    </p:animEffect>
                                    <p:anim calcmode="lin" valueType="num">
                                      <p:cBhvr>
                                        <p:cTn id="78" dur="1000" fill="hold"/>
                                        <p:tgtEl>
                                          <p:spTgt spid="4">
                                            <p:graphicEl>
                                              <a:dgm id="{293DBD05-5818-4014-BFC4-0BA1233738AD}"/>
                                            </p:graphicEl>
                                          </p:spTgt>
                                        </p:tgtEl>
                                        <p:attrNameLst>
                                          <p:attrName>ppt_x</p:attrName>
                                        </p:attrNameLst>
                                      </p:cBhvr>
                                      <p:tavLst>
                                        <p:tav tm="0">
                                          <p:val>
                                            <p:strVal val="#ppt_x"/>
                                          </p:val>
                                        </p:tav>
                                        <p:tav tm="100000">
                                          <p:val>
                                            <p:strVal val="#ppt_x"/>
                                          </p:val>
                                        </p:tav>
                                      </p:tavLst>
                                    </p:anim>
                                    <p:anim calcmode="lin" valueType="num">
                                      <p:cBhvr>
                                        <p:cTn id="79" dur="1000" fill="hold"/>
                                        <p:tgtEl>
                                          <p:spTgt spid="4">
                                            <p:graphicEl>
                                              <a:dgm id="{293DBD05-5818-4014-BFC4-0BA1233738AD}"/>
                                            </p:graphicEl>
                                          </p:spTgt>
                                        </p:tgtEl>
                                        <p:attrNameLst>
                                          <p:attrName>ppt_y</p:attrName>
                                        </p:attrNameLst>
                                      </p:cBhvr>
                                      <p:tavLst>
                                        <p:tav tm="0">
                                          <p:val>
                                            <p:strVal val="#ppt_y+.1"/>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42" presetClass="entr" presetSubtype="0" fill="hold" grpId="0" nodeType="clickEffect">
                                  <p:stCondLst>
                                    <p:cond delay="0"/>
                                  </p:stCondLst>
                                  <p:childTnLst>
                                    <p:set>
                                      <p:cBhvr>
                                        <p:cTn id="83" dur="1" fill="hold">
                                          <p:stCondLst>
                                            <p:cond delay="0"/>
                                          </p:stCondLst>
                                        </p:cTn>
                                        <p:tgtEl>
                                          <p:spTgt spid="4">
                                            <p:graphicEl>
                                              <a:dgm id="{D1A6C131-EC8C-40FB-A030-18DAEBBFAACE}"/>
                                            </p:graphicEl>
                                          </p:spTgt>
                                        </p:tgtEl>
                                        <p:attrNameLst>
                                          <p:attrName>style.visibility</p:attrName>
                                        </p:attrNameLst>
                                      </p:cBhvr>
                                      <p:to>
                                        <p:strVal val="visible"/>
                                      </p:to>
                                    </p:set>
                                    <p:animEffect transition="in" filter="fade">
                                      <p:cBhvr>
                                        <p:cTn id="84" dur="1000"/>
                                        <p:tgtEl>
                                          <p:spTgt spid="4">
                                            <p:graphicEl>
                                              <a:dgm id="{D1A6C131-EC8C-40FB-A030-18DAEBBFAACE}"/>
                                            </p:graphicEl>
                                          </p:spTgt>
                                        </p:tgtEl>
                                      </p:cBhvr>
                                    </p:animEffect>
                                    <p:anim calcmode="lin" valueType="num">
                                      <p:cBhvr>
                                        <p:cTn id="85" dur="1000" fill="hold"/>
                                        <p:tgtEl>
                                          <p:spTgt spid="4">
                                            <p:graphicEl>
                                              <a:dgm id="{D1A6C131-EC8C-40FB-A030-18DAEBBFAACE}"/>
                                            </p:graphicEl>
                                          </p:spTgt>
                                        </p:tgtEl>
                                        <p:attrNameLst>
                                          <p:attrName>ppt_x</p:attrName>
                                        </p:attrNameLst>
                                      </p:cBhvr>
                                      <p:tavLst>
                                        <p:tav tm="0">
                                          <p:val>
                                            <p:strVal val="#ppt_x"/>
                                          </p:val>
                                        </p:tav>
                                        <p:tav tm="100000">
                                          <p:val>
                                            <p:strVal val="#ppt_x"/>
                                          </p:val>
                                        </p:tav>
                                      </p:tavLst>
                                    </p:anim>
                                    <p:anim calcmode="lin" valueType="num">
                                      <p:cBhvr>
                                        <p:cTn id="86" dur="1000" fill="hold"/>
                                        <p:tgtEl>
                                          <p:spTgt spid="4">
                                            <p:graphicEl>
                                              <a:dgm id="{D1A6C131-EC8C-40FB-A030-18DAEBBFAACE}"/>
                                            </p:graphicEl>
                                          </p:spTgt>
                                        </p:tgtEl>
                                        <p:attrNameLst>
                                          <p:attrName>ppt_y</p:attrName>
                                        </p:attrNameLst>
                                      </p:cBhvr>
                                      <p:tavLst>
                                        <p:tav tm="0">
                                          <p:val>
                                            <p:strVal val="#ppt_y+.1"/>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grpId="0" nodeType="clickEffect">
                                  <p:stCondLst>
                                    <p:cond delay="0"/>
                                  </p:stCondLst>
                                  <p:childTnLst>
                                    <p:set>
                                      <p:cBhvr>
                                        <p:cTn id="90" dur="1" fill="hold">
                                          <p:stCondLst>
                                            <p:cond delay="0"/>
                                          </p:stCondLst>
                                        </p:cTn>
                                        <p:tgtEl>
                                          <p:spTgt spid="4">
                                            <p:graphicEl>
                                              <a:dgm id="{9ACEFBF6-63CC-4A6D-B93D-20D0CC993DD5}"/>
                                            </p:graphicEl>
                                          </p:spTgt>
                                        </p:tgtEl>
                                        <p:attrNameLst>
                                          <p:attrName>style.visibility</p:attrName>
                                        </p:attrNameLst>
                                      </p:cBhvr>
                                      <p:to>
                                        <p:strVal val="visible"/>
                                      </p:to>
                                    </p:set>
                                    <p:animEffect transition="in" filter="fade">
                                      <p:cBhvr>
                                        <p:cTn id="91" dur="1000"/>
                                        <p:tgtEl>
                                          <p:spTgt spid="4">
                                            <p:graphicEl>
                                              <a:dgm id="{9ACEFBF6-63CC-4A6D-B93D-20D0CC993DD5}"/>
                                            </p:graphicEl>
                                          </p:spTgt>
                                        </p:tgtEl>
                                      </p:cBhvr>
                                    </p:animEffect>
                                    <p:anim calcmode="lin" valueType="num">
                                      <p:cBhvr>
                                        <p:cTn id="92" dur="1000" fill="hold"/>
                                        <p:tgtEl>
                                          <p:spTgt spid="4">
                                            <p:graphicEl>
                                              <a:dgm id="{9ACEFBF6-63CC-4A6D-B93D-20D0CC993DD5}"/>
                                            </p:graphicEl>
                                          </p:spTgt>
                                        </p:tgtEl>
                                        <p:attrNameLst>
                                          <p:attrName>ppt_x</p:attrName>
                                        </p:attrNameLst>
                                      </p:cBhvr>
                                      <p:tavLst>
                                        <p:tav tm="0">
                                          <p:val>
                                            <p:strVal val="#ppt_x"/>
                                          </p:val>
                                        </p:tav>
                                        <p:tav tm="100000">
                                          <p:val>
                                            <p:strVal val="#ppt_x"/>
                                          </p:val>
                                        </p:tav>
                                      </p:tavLst>
                                    </p:anim>
                                    <p:anim calcmode="lin" valueType="num">
                                      <p:cBhvr>
                                        <p:cTn id="93" dur="1000" fill="hold"/>
                                        <p:tgtEl>
                                          <p:spTgt spid="4">
                                            <p:graphicEl>
                                              <a:dgm id="{9ACEFBF6-63CC-4A6D-B93D-20D0CC993DD5}"/>
                                            </p:graphicEl>
                                          </p:spTgt>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42" presetClass="entr" presetSubtype="0" fill="hold" grpId="0" nodeType="clickEffect">
                                  <p:stCondLst>
                                    <p:cond delay="0"/>
                                  </p:stCondLst>
                                  <p:childTnLst>
                                    <p:set>
                                      <p:cBhvr>
                                        <p:cTn id="97" dur="1" fill="hold">
                                          <p:stCondLst>
                                            <p:cond delay="0"/>
                                          </p:stCondLst>
                                        </p:cTn>
                                        <p:tgtEl>
                                          <p:spTgt spid="4">
                                            <p:graphicEl>
                                              <a:dgm id="{6CFCB412-C4CD-46A3-8774-D4F9F83AB7CB}"/>
                                            </p:graphicEl>
                                          </p:spTgt>
                                        </p:tgtEl>
                                        <p:attrNameLst>
                                          <p:attrName>style.visibility</p:attrName>
                                        </p:attrNameLst>
                                      </p:cBhvr>
                                      <p:to>
                                        <p:strVal val="visible"/>
                                      </p:to>
                                    </p:set>
                                    <p:animEffect transition="in" filter="fade">
                                      <p:cBhvr>
                                        <p:cTn id="98" dur="1000"/>
                                        <p:tgtEl>
                                          <p:spTgt spid="4">
                                            <p:graphicEl>
                                              <a:dgm id="{6CFCB412-C4CD-46A3-8774-D4F9F83AB7CB}"/>
                                            </p:graphicEl>
                                          </p:spTgt>
                                        </p:tgtEl>
                                      </p:cBhvr>
                                    </p:animEffect>
                                    <p:anim calcmode="lin" valueType="num">
                                      <p:cBhvr>
                                        <p:cTn id="99" dur="1000" fill="hold"/>
                                        <p:tgtEl>
                                          <p:spTgt spid="4">
                                            <p:graphicEl>
                                              <a:dgm id="{6CFCB412-C4CD-46A3-8774-D4F9F83AB7CB}"/>
                                            </p:graphicEl>
                                          </p:spTgt>
                                        </p:tgtEl>
                                        <p:attrNameLst>
                                          <p:attrName>ppt_x</p:attrName>
                                        </p:attrNameLst>
                                      </p:cBhvr>
                                      <p:tavLst>
                                        <p:tav tm="0">
                                          <p:val>
                                            <p:strVal val="#ppt_x"/>
                                          </p:val>
                                        </p:tav>
                                        <p:tav tm="100000">
                                          <p:val>
                                            <p:strVal val="#ppt_x"/>
                                          </p:val>
                                        </p:tav>
                                      </p:tavLst>
                                    </p:anim>
                                    <p:anim calcmode="lin" valueType="num">
                                      <p:cBhvr>
                                        <p:cTn id="100" dur="1000" fill="hold"/>
                                        <p:tgtEl>
                                          <p:spTgt spid="4">
                                            <p:graphicEl>
                                              <a:dgm id="{6CFCB412-C4CD-46A3-8774-D4F9F83AB7CB}"/>
                                            </p:graphic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ardrop 43"/>
          <p:cNvSpPr/>
          <p:nvPr/>
        </p:nvSpPr>
        <p:spPr>
          <a:xfrm rot="8105742">
            <a:off x="10099989" y="1456902"/>
            <a:ext cx="1922458" cy="1922458"/>
          </a:xfrm>
          <a:prstGeom prst="teardrop">
            <a:avLst>
              <a:gd name="adj" fmla="val 100000"/>
            </a:avLst>
          </a:prstGeom>
          <a:blipFill rotWithShape="0">
            <a:blip r:embed="rId2"/>
            <a:stretch>
              <a:fillRect/>
            </a:stretch>
          </a:blip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sp>
      <p:grpSp>
        <p:nvGrpSpPr>
          <p:cNvPr id="4" name="Group 3">
            <a:extLst>
              <a:ext uri="{FF2B5EF4-FFF2-40B4-BE49-F238E27FC236}">
                <a16:creationId xmlns:a16="http://schemas.microsoft.com/office/drawing/2014/main" id="{0CC95414-9E3F-4C0C-A32C-4E67C0E8DDFC}"/>
              </a:ext>
            </a:extLst>
          </p:cNvPr>
          <p:cNvGrpSpPr/>
          <p:nvPr/>
        </p:nvGrpSpPr>
        <p:grpSpPr>
          <a:xfrm>
            <a:off x="108542" y="1441449"/>
            <a:ext cx="11947200" cy="1964685"/>
            <a:chOff x="102782" y="1435291"/>
            <a:chExt cx="11947200" cy="1964685"/>
          </a:xfrm>
        </p:grpSpPr>
        <p:sp>
          <p:nvSpPr>
            <p:cNvPr id="5" name="Oval 4">
              <a:extLst>
                <a:ext uri="{FF2B5EF4-FFF2-40B4-BE49-F238E27FC236}">
                  <a16:creationId xmlns:a16="http://schemas.microsoft.com/office/drawing/2014/main" id="{1AFBCD38-D5AC-4000-B5AA-47FBEAD107A9}"/>
                </a:ext>
              </a:extLst>
            </p:cNvPr>
            <p:cNvSpPr/>
            <p:nvPr/>
          </p:nvSpPr>
          <p:spPr>
            <a:xfrm>
              <a:off x="10121485" y="1438998"/>
              <a:ext cx="1928497" cy="1928131"/>
            </a:xfrm>
            <a:prstGeom prst="ellipse">
              <a:avLst/>
            </a:prstGeom>
            <a:no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sp>
        <p:sp>
          <p:nvSpPr>
            <p:cNvPr id="6" name="Freeform: Shape 5">
              <a:extLst>
                <a:ext uri="{FF2B5EF4-FFF2-40B4-BE49-F238E27FC236}">
                  <a16:creationId xmlns:a16="http://schemas.microsoft.com/office/drawing/2014/main" id="{9157F74D-1738-41A0-BDA9-0621715149D5}"/>
                </a:ext>
              </a:extLst>
            </p:cNvPr>
            <p:cNvSpPr/>
            <p:nvPr/>
          </p:nvSpPr>
          <p:spPr>
            <a:xfrm>
              <a:off x="10161296" y="1499987"/>
              <a:ext cx="1799849" cy="1799566"/>
            </a:xfrm>
            <a:custGeom>
              <a:avLst/>
              <a:gdLst>
                <a:gd name="connsiteX0" fmla="*/ 0 w 1799849"/>
                <a:gd name="connsiteY0" fmla="*/ 899783 h 1799566"/>
                <a:gd name="connsiteX1" fmla="*/ 899925 w 1799849"/>
                <a:gd name="connsiteY1" fmla="*/ 0 h 1799566"/>
                <a:gd name="connsiteX2" fmla="*/ 1799850 w 1799849"/>
                <a:gd name="connsiteY2" fmla="*/ 899783 h 1799566"/>
                <a:gd name="connsiteX3" fmla="*/ 899925 w 1799849"/>
                <a:gd name="connsiteY3" fmla="*/ 1799566 h 1799566"/>
                <a:gd name="connsiteX4" fmla="*/ 0 w 1799849"/>
                <a:gd name="connsiteY4" fmla="*/ 899783 h 1799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9849" h="1799566">
                  <a:moveTo>
                    <a:pt x="0" y="899783"/>
                  </a:moveTo>
                  <a:cubicBezTo>
                    <a:pt x="0" y="402847"/>
                    <a:pt x="402910" y="0"/>
                    <a:pt x="899925" y="0"/>
                  </a:cubicBezTo>
                  <a:cubicBezTo>
                    <a:pt x="1396940" y="0"/>
                    <a:pt x="1799850" y="402847"/>
                    <a:pt x="1799850" y="899783"/>
                  </a:cubicBezTo>
                  <a:cubicBezTo>
                    <a:pt x="1799850" y="1396719"/>
                    <a:pt x="1396940" y="1799566"/>
                    <a:pt x="899925" y="1799566"/>
                  </a:cubicBezTo>
                  <a:cubicBezTo>
                    <a:pt x="402910" y="1799566"/>
                    <a:pt x="0" y="1396719"/>
                    <a:pt x="0" y="899783"/>
                  </a:cubicBezTo>
                  <a:close/>
                </a:path>
              </a:pathLst>
            </a:custGeom>
            <a:solidFill>
              <a:sysClr val="window" lastClr="FFFFFF">
                <a:alpha val="90000"/>
                <a:hueOff val="0"/>
                <a:satOff val="0"/>
                <a:lumOff val="0"/>
                <a:alphaOff val="0"/>
              </a:sysClr>
            </a:solidFill>
            <a:ln w="12700" cap="flat" cmpd="sng" algn="ctr">
              <a:solidFill>
                <a:srgbClr val="ED7D31">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465837" tIns="465678" rIns="465838" bIns="465678"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600" b="0" i="0" u="none" strike="noStrike" kern="1200" cap="none" spc="0" normalizeH="0" baseline="0" noProof="0" dirty="0">
                <a:ln>
                  <a:noFill/>
                </a:ln>
                <a:solidFill>
                  <a:sysClr val="windowText" lastClr="000000">
                    <a:hueOff val="0"/>
                    <a:satOff val="0"/>
                    <a:lumOff val="0"/>
                    <a:alphaOff val="0"/>
                  </a:sysClr>
                </a:solidFill>
                <a:effectLst/>
                <a:uLnTx/>
                <a:uFillTx/>
                <a:latin typeface="Century Gothic" panose="020B0502020202020204" pitchFamily="34" charset="0"/>
                <a:cs typeface="Calibri" panose="020F0502020204030204" pitchFamily="34" charset="0"/>
              </a:endParaRPr>
            </a:p>
          </p:txBody>
        </p:sp>
        <p:sp>
          <p:nvSpPr>
            <p:cNvPr id="7" name="Teardrop 6">
              <a:extLst>
                <a:ext uri="{FF2B5EF4-FFF2-40B4-BE49-F238E27FC236}">
                  <a16:creationId xmlns:a16="http://schemas.microsoft.com/office/drawing/2014/main" id="{794C8355-8151-4412-812A-739A7CCD9947}"/>
                </a:ext>
              </a:extLst>
            </p:cNvPr>
            <p:cNvSpPr/>
            <p:nvPr/>
          </p:nvSpPr>
          <p:spPr>
            <a:xfrm rot="8066164">
              <a:off x="8129411" y="1438781"/>
              <a:ext cx="1928226" cy="1928226"/>
            </a:xfrm>
            <a:prstGeom prst="teardrop">
              <a:avLst>
                <a:gd name="adj" fmla="val 100000"/>
              </a:avLst>
            </a:prstGeom>
            <a:solidFill>
              <a:srgbClr val="A5A5A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sp>
        <p:sp>
          <p:nvSpPr>
            <p:cNvPr id="8" name="Freeform: Shape 7">
              <a:extLst>
                <a:ext uri="{FF2B5EF4-FFF2-40B4-BE49-F238E27FC236}">
                  <a16:creationId xmlns:a16="http://schemas.microsoft.com/office/drawing/2014/main" id="{B1400A08-404E-40C9-B05D-DF352052A2C1}"/>
                </a:ext>
              </a:extLst>
            </p:cNvPr>
            <p:cNvSpPr/>
            <p:nvPr/>
          </p:nvSpPr>
          <p:spPr>
            <a:xfrm>
              <a:off x="8194212" y="1503280"/>
              <a:ext cx="1799849" cy="1799566"/>
            </a:xfrm>
            <a:custGeom>
              <a:avLst/>
              <a:gdLst>
                <a:gd name="connsiteX0" fmla="*/ 0 w 1799849"/>
                <a:gd name="connsiteY0" fmla="*/ 899783 h 1799566"/>
                <a:gd name="connsiteX1" fmla="*/ 899925 w 1799849"/>
                <a:gd name="connsiteY1" fmla="*/ 0 h 1799566"/>
                <a:gd name="connsiteX2" fmla="*/ 1799850 w 1799849"/>
                <a:gd name="connsiteY2" fmla="*/ 899783 h 1799566"/>
                <a:gd name="connsiteX3" fmla="*/ 899925 w 1799849"/>
                <a:gd name="connsiteY3" fmla="*/ 1799566 h 1799566"/>
                <a:gd name="connsiteX4" fmla="*/ 0 w 1799849"/>
                <a:gd name="connsiteY4" fmla="*/ 899783 h 1799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9849" h="1799566">
                  <a:moveTo>
                    <a:pt x="0" y="899783"/>
                  </a:moveTo>
                  <a:cubicBezTo>
                    <a:pt x="0" y="402847"/>
                    <a:pt x="402910" y="0"/>
                    <a:pt x="899925" y="0"/>
                  </a:cubicBezTo>
                  <a:cubicBezTo>
                    <a:pt x="1396940" y="0"/>
                    <a:pt x="1799850" y="402847"/>
                    <a:pt x="1799850" y="899783"/>
                  </a:cubicBezTo>
                  <a:cubicBezTo>
                    <a:pt x="1799850" y="1396719"/>
                    <a:pt x="1396940" y="1799566"/>
                    <a:pt x="899925" y="1799566"/>
                  </a:cubicBezTo>
                  <a:cubicBezTo>
                    <a:pt x="402910" y="1799566"/>
                    <a:pt x="0" y="1396719"/>
                    <a:pt x="0" y="899783"/>
                  </a:cubicBezTo>
                  <a:close/>
                </a:path>
              </a:pathLst>
            </a:custGeom>
            <a:solidFill>
              <a:sysClr val="window" lastClr="FFFFFF">
                <a:alpha val="90000"/>
                <a:hueOff val="0"/>
                <a:satOff val="0"/>
                <a:lumOff val="0"/>
                <a:alphaOff val="0"/>
              </a:sysClr>
            </a:solidFill>
            <a:ln w="12700" cap="flat" cmpd="sng" algn="ctr">
              <a:solidFill>
                <a:srgbClr val="A5A5A5">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445518" tIns="465679" rIns="445517" bIns="465677"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600" b="0" i="0" u="none" strike="noStrike" kern="1200" cap="none" spc="0" normalizeH="0" baseline="0" noProof="0" dirty="0">
                <a:ln>
                  <a:noFill/>
                </a:ln>
                <a:solidFill>
                  <a:sysClr val="windowText" lastClr="000000">
                    <a:hueOff val="0"/>
                    <a:satOff val="0"/>
                    <a:lumOff val="0"/>
                    <a:alphaOff val="0"/>
                  </a:sysClr>
                </a:solidFill>
                <a:effectLst/>
                <a:uLnTx/>
                <a:uFillTx/>
                <a:latin typeface="Century Gothic" panose="020B0502020202020204" pitchFamily="34" charset="0"/>
                <a:cs typeface="Calibri" panose="020F0502020204030204" pitchFamily="34" charset="0"/>
              </a:endParaRPr>
            </a:p>
          </p:txBody>
        </p:sp>
        <p:sp>
          <p:nvSpPr>
            <p:cNvPr id="9" name="Teardrop 8">
              <a:extLst>
                <a:ext uri="{FF2B5EF4-FFF2-40B4-BE49-F238E27FC236}">
                  <a16:creationId xmlns:a16="http://schemas.microsoft.com/office/drawing/2014/main" id="{2B59E854-AAE5-4788-8300-256E29C78246}"/>
                </a:ext>
              </a:extLst>
            </p:cNvPr>
            <p:cNvSpPr/>
            <p:nvPr/>
          </p:nvSpPr>
          <p:spPr>
            <a:xfrm rot="8076515">
              <a:off x="6169603" y="1471750"/>
              <a:ext cx="1928226" cy="1928226"/>
            </a:xfrm>
            <a:prstGeom prst="teardrop">
              <a:avLst>
                <a:gd name="adj" fmla="val 100000"/>
              </a:avLst>
            </a:prstGeo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sp>
        <p:sp>
          <p:nvSpPr>
            <p:cNvPr id="10" name="Freeform: Shape 9">
              <a:extLst>
                <a:ext uri="{FF2B5EF4-FFF2-40B4-BE49-F238E27FC236}">
                  <a16:creationId xmlns:a16="http://schemas.microsoft.com/office/drawing/2014/main" id="{5745DFD8-09D5-4AE3-B0D2-37324FFD72C6}"/>
                </a:ext>
              </a:extLst>
            </p:cNvPr>
            <p:cNvSpPr/>
            <p:nvPr/>
          </p:nvSpPr>
          <p:spPr>
            <a:xfrm>
              <a:off x="6202003" y="1503280"/>
              <a:ext cx="1799849" cy="1799566"/>
            </a:xfrm>
            <a:custGeom>
              <a:avLst/>
              <a:gdLst>
                <a:gd name="connsiteX0" fmla="*/ 0 w 1799849"/>
                <a:gd name="connsiteY0" fmla="*/ 899783 h 1799566"/>
                <a:gd name="connsiteX1" fmla="*/ 899925 w 1799849"/>
                <a:gd name="connsiteY1" fmla="*/ 0 h 1799566"/>
                <a:gd name="connsiteX2" fmla="*/ 1799850 w 1799849"/>
                <a:gd name="connsiteY2" fmla="*/ 899783 h 1799566"/>
                <a:gd name="connsiteX3" fmla="*/ 899925 w 1799849"/>
                <a:gd name="connsiteY3" fmla="*/ 1799566 h 1799566"/>
                <a:gd name="connsiteX4" fmla="*/ 0 w 1799849"/>
                <a:gd name="connsiteY4" fmla="*/ 899783 h 1799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9849" h="1799566">
                  <a:moveTo>
                    <a:pt x="0" y="899783"/>
                  </a:moveTo>
                  <a:cubicBezTo>
                    <a:pt x="0" y="402847"/>
                    <a:pt x="402910" y="0"/>
                    <a:pt x="899925" y="0"/>
                  </a:cubicBezTo>
                  <a:cubicBezTo>
                    <a:pt x="1396940" y="0"/>
                    <a:pt x="1799850" y="402847"/>
                    <a:pt x="1799850" y="899783"/>
                  </a:cubicBezTo>
                  <a:cubicBezTo>
                    <a:pt x="1799850" y="1396719"/>
                    <a:pt x="1396940" y="1799566"/>
                    <a:pt x="899925" y="1799566"/>
                  </a:cubicBezTo>
                  <a:cubicBezTo>
                    <a:pt x="402910" y="1799566"/>
                    <a:pt x="0" y="1396719"/>
                    <a:pt x="0" y="899783"/>
                  </a:cubicBezTo>
                  <a:close/>
                </a:path>
              </a:pathLst>
            </a:custGeom>
            <a:solidFill>
              <a:sysClr val="window" lastClr="FFFFFF">
                <a:alpha val="90000"/>
                <a:hueOff val="0"/>
                <a:satOff val="0"/>
                <a:lumOff val="0"/>
                <a:alphaOff val="0"/>
              </a:sysClr>
            </a:solidFill>
            <a:ln w="12700" cap="flat" cmpd="sng" algn="ctr">
              <a:solidFill>
                <a:srgbClr val="FFC000">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445517" tIns="465679" rIns="445518" bIns="465677"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600" b="0" i="0" u="none" strike="noStrike" kern="1200" cap="none" spc="0" normalizeH="0" baseline="0" noProof="0" dirty="0">
                <a:ln>
                  <a:noFill/>
                </a:ln>
                <a:solidFill>
                  <a:sysClr val="windowText" lastClr="000000">
                    <a:hueOff val="0"/>
                    <a:satOff val="0"/>
                    <a:lumOff val="0"/>
                    <a:alphaOff val="0"/>
                  </a:sysClr>
                </a:solidFill>
                <a:effectLst/>
                <a:uLnTx/>
                <a:uFillTx/>
                <a:latin typeface="Century Gothic" panose="020B0502020202020204" pitchFamily="34" charset="0"/>
                <a:cs typeface="Calibri" panose="020F0502020204030204" pitchFamily="34" charset="0"/>
              </a:endParaRPr>
            </a:p>
          </p:txBody>
        </p:sp>
        <p:sp>
          <p:nvSpPr>
            <p:cNvPr id="11" name="Teardrop 10">
              <a:extLst>
                <a:ext uri="{FF2B5EF4-FFF2-40B4-BE49-F238E27FC236}">
                  <a16:creationId xmlns:a16="http://schemas.microsoft.com/office/drawing/2014/main" id="{72AC4AF7-031F-4790-89C2-4D3AD6DD6411}"/>
                </a:ext>
              </a:extLst>
            </p:cNvPr>
            <p:cNvSpPr/>
            <p:nvPr/>
          </p:nvSpPr>
          <p:spPr>
            <a:xfrm rot="8106378">
              <a:off x="4144993" y="1438781"/>
              <a:ext cx="1928226" cy="1928226"/>
            </a:xfrm>
            <a:prstGeom prst="teardrop">
              <a:avLst>
                <a:gd name="adj" fmla="val 100000"/>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sp>
        <p:sp>
          <p:nvSpPr>
            <p:cNvPr id="12" name="Freeform: Shape 11">
              <a:extLst>
                <a:ext uri="{FF2B5EF4-FFF2-40B4-BE49-F238E27FC236}">
                  <a16:creationId xmlns:a16="http://schemas.microsoft.com/office/drawing/2014/main" id="{F3FE54EC-A553-4C79-8667-6141641DED6A}"/>
                </a:ext>
              </a:extLst>
            </p:cNvPr>
            <p:cNvSpPr/>
            <p:nvPr/>
          </p:nvSpPr>
          <p:spPr>
            <a:xfrm>
              <a:off x="4168577" y="1503982"/>
              <a:ext cx="1799849" cy="1799566"/>
            </a:xfrm>
            <a:custGeom>
              <a:avLst/>
              <a:gdLst>
                <a:gd name="connsiteX0" fmla="*/ 0 w 1799849"/>
                <a:gd name="connsiteY0" fmla="*/ 899783 h 1799566"/>
                <a:gd name="connsiteX1" fmla="*/ 899925 w 1799849"/>
                <a:gd name="connsiteY1" fmla="*/ 0 h 1799566"/>
                <a:gd name="connsiteX2" fmla="*/ 1799850 w 1799849"/>
                <a:gd name="connsiteY2" fmla="*/ 899783 h 1799566"/>
                <a:gd name="connsiteX3" fmla="*/ 899925 w 1799849"/>
                <a:gd name="connsiteY3" fmla="*/ 1799566 h 1799566"/>
                <a:gd name="connsiteX4" fmla="*/ 0 w 1799849"/>
                <a:gd name="connsiteY4" fmla="*/ 899783 h 1799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9849" h="1799566">
                  <a:moveTo>
                    <a:pt x="0" y="899783"/>
                  </a:moveTo>
                  <a:cubicBezTo>
                    <a:pt x="0" y="402847"/>
                    <a:pt x="402910" y="0"/>
                    <a:pt x="899925" y="0"/>
                  </a:cubicBezTo>
                  <a:cubicBezTo>
                    <a:pt x="1396940" y="0"/>
                    <a:pt x="1799850" y="402847"/>
                    <a:pt x="1799850" y="899783"/>
                  </a:cubicBezTo>
                  <a:cubicBezTo>
                    <a:pt x="1799850" y="1396719"/>
                    <a:pt x="1396940" y="1799566"/>
                    <a:pt x="899925" y="1799566"/>
                  </a:cubicBezTo>
                  <a:cubicBezTo>
                    <a:pt x="402910" y="1799566"/>
                    <a:pt x="0" y="1396719"/>
                    <a:pt x="0" y="899783"/>
                  </a:cubicBezTo>
                  <a:close/>
                </a:path>
              </a:pathLst>
            </a:custGeom>
            <a:solidFill>
              <a:sysClr val="window" lastClr="FFFFFF">
                <a:alpha val="90000"/>
                <a:hueOff val="0"/>
                <a:satOff val="0"/>
                <a:lumOff val="0"/>
                <a:alphaOff val="0"/>
              </a:sysClr>
            </a:solidFill>
            <a:ln w="12700" cap="flat" cmpd="sng" algn="ctr">
              <a:solidFill>
                <a:srgbClr val="5B9BD5">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464612" tIns="465678" rIns="467063" bIns="465678"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ysClr val="windowText" lastClr="000000">
                      <a:hueOff val="0"/>
                      <a:satOff val="0"/>
                      <a:lumOff val="0"/>
                      <a:alphaOff val="0"/>
                    </a:sysClr>
                  </a:solidFill>
                  <a:effectLst/>
                  <a:uLnTx/>
                  <a:uFillTx/>
                  <a:latin typeface="Century Gothic" panose="020B0502020202020204" pitchFamily="34" charset="0"/>
                  <a:cs typeface="Calibri" panose="020F0502020204030204" pitchFamily="34" charset="0"/>
                </a:rPr>
                <a:t>Manual Mode</a:t>
              </a:r>
              <a:endParaRPr kumimoji="0" lang="en-US" sz="1600" b="0" i="0" u="none" strike="noStrike" kern="1200" cap="none" spc="0" normalizeH="0" baseline="0" noProof="0" dirty="0">
                <a:ln>
                  <a:noFill/>
                </a:ln>
                <a:solidFill>
                  <a:sysClr val="windowText" lastClr="000000">
                    <a:hueOff val="0"/>
                    <a:satOff val="0"/>
                    <a:lumOff val="0"/>
                    <a:alphaOff val="0"/>
                  </a:sysClr>
                </a:solidFill>
                <a:effectLst/>
                <a:uLnTx/>
                <a:uFillTx/>
                <a:latin typeface="Century Gothic" panose="020B0502020202020204" pitchFamily="34" charset="0"/>
                <a:cs typeface="Calibri" panose="020F0502020204030204" pitchFamily="34" charset="0"/>
              </a:endParaRPr>
            </a:p>
          </p:txBody>
        </p:sp>
        <p:sp>
          <p:nvSpPr>
            <p:cNvPr id="13" name="Teardrop 12">
              <a:extLst>
                <a:ext uri="{FF2B5EF4-FFF2-40B4-BE49-F238E27FC236}">
                  <a16:creationId xmlns:a16="http://schemas.microsoft.com/office/drawing/2014/main" id="{28D47A04-D345-4B13-A813-203AD525D293}"/>
                </a:ext>
              </a:extLst>
            </p:cNvPr>
            <p:cNvSpPr/>
            <p:nvPr/>
          </p:nvSpPr>
          <p:spPr>
            <a:xfrm rot="8139600">
              <a:off x="2128592" y="1435291"/>
              <a:ext cx="1928226" cy="1928226"/>
            </a:xfrm>
            <a:prstGeom prst="teardrop">
              <a:avLst>
                <a:gd name="adj" fmla="val 100000"/>
              </a:avLst>
            </a:prstGeo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sp>
        <p:sp>
          <p:nvSpPr>
            <p:cNvPr id="14" name="Freeform: Shape 13">
              <a:extLst>
                <a:ext uri="{FF2B5EF4-FFF2-40B4-BE49-F238E27FC236}">
                  <a16:creationId xmlns:a16="http://schemas.microsoft.com/office/drawing/2014/main" id="{4187045C-0F3B-4815-B6EB-1BD94B0D4D5D}"/>
                </a:ext>
              </a:extLst>
            </p:cNvPr>
            <p:cNvSpPr/>
            <p:nvPr/>
          </p:nvSpPr>
          <p:spPr>
            <a:xfrm>
              <a:off x="2202034" y="1518397"/>
              <a:ext cx="1799849" cy="1799566"/>
            </a:xfrm>
            <a:custGeom>
              <a:avLst/>
              <a:gdLst>
                <a:gd name="connsiteX0" fmla="*/ 0 w 1799849"/>
                <a:gd name="connsiteY0" fmla="*/ 899783 h 1799566"/>
                <a:gd name="connsiteX1" fmla="*/ 899925 w 1799849"/>
                <a:gd name="connsiteY1" fmla="*/ 0 h 1799566"/>
                <a:gd name="connsiteX2" fmla="*/ 1799850 w 1799849"/>
                <a:gd name="connsiteY2" fmla="*/ 899783 h 1799566"/>
                <a:gd name="connsiteX3" fmla="*/ 899925 w 1799849"/>
                <a:gd name="connsiteY3" fmla="*/ 1799566 h 1799566"/>
                <a:gd name="connsiteX4" fmla="*/ 0 w 1799849"/>
                <a:gd name="connsiteY4" fmla="*/ 899783 h 1799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9849" h="1799566">
                  <a:moveTo>
                    <a:pt x="0" y="899783"/>
                  </a:moveTo>
                  <a:cubicBezTo>
                    <a:pt x="0" y="402847"/>
                    <a:pt x="402910" y="0"/>
                    <a:pt x="899925" y="0"/>
                  </a:cubicBezTo>
                  <a:cubicBezTo>
                    <a:pt x="1396940" y="0"/>
                    <a:pt x="1799850" y="402847"/>
                    <a:pt x="1799850" y="899783"/>
                  </a:cubicBezTo>
                  <a:cubicBezTo>
                    <a:pt x="1799850" y="1396719"/>
                    <a:pt x="1396940" y="1799566"/>
                    <a:pt x="899925" y="1799566"/>
                  </a:cubicBezTo>
                  <a:cubicBezTo>
                    <a:pt x="402910" y="1799566"/>
                    <a:pt x="0" y="1396719"/>
                    <a:pt x="0" y="899783"/>
                  </a:cubicBezTo>
                  <a:close/>
                </a:path>
              </a:pathLst>
            </a:custGeom>
            <a:solidFill>
              <a:sysClr val="window" lastClr="FFFFFF">
                <a:alpha val="90000"/>
                <a:hueOff val="0"/>
                <a:satOff val="0"/>
                <a:lumOff val="0"/>
                <a:alphaOff val="0"/>
              </a:sysClr>
            </a:solidFill>
            <a:ln w="12700" cap="flat" cmpd="sng" algn="ctr">
              <a:solidFill>
                <a:srgbClr val="70AD47">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464612" tIns="465678" rIns="467063" bIns="465678"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600" b="0" i="0" u="none" strike="noStrike" kern="1200" cap="none" spc="0" normalizeH="0" baseline="0" noProof="0" dirty="0">
                <a:ln>
                  <a:noFill/>
                </a:ln>
                <a:solidFill>
                  <a:sysClr val="windowText" lastClr="000000">
                    <a:hueOff val="0"/>
                    <a:satOff val="0"/>
                    <a:lumOff val="0"/>
                    <a:alphaOff val="0"/>
                  </a:sysClr>
                </a:solidFill>
                <a:effectLst/>
                <a:uLnTx/>
                <a:uFillTx/>
                <a:latin typeface="Century Gothic" panose="020B0502020202020204" pitchFamily="34" charset="0"/>
                <a:cs typeface="Calibri" panose="020F0502020204030204" pitchFamily="34" charset="0"/>
              </a:endParaRPr>
            </a:p>
          </p:txBody>
        </p:sp>
        <p:sp>
          <p:nvSpPr>
            <p:cNvPr id="15" name="Teardrop 14">
              <a:extLst>
                <a:ext uri="{FF2B5EF4-FFF2-40B4-BE49-F238E27FC236}">
                  <a16:creationId xmlns:a16="http://schemas.microsoft.com/office/drawing/2014/main" id="{4D355772-B7DE-4024-938C-8430DA0FC153}"/>
                </a:ext>
              </a:extLst>
            </p:cNvPr>
            <p:cNvSpPr/>
            <p:nvPr/>
          </p:nvSpPr>
          <p:spPr>
            <a:xfrm rot="8105742">
              <a:off x="102782" y="1439954"/>
              <a:ext cx="1928226" cy="1928226"/>
            </a:xfrm>
            <a:prstGeom prst="teardrop">
              <a:avLst>
                <a:gd name="adj" fmla="val 100000"/>
              </a:avLst>
            </a:prstGeom>
            <a:blipFill rotWithShape="0">
              <a:blip r:embed="rId2"/>
              <a:stretch>
                <a:fillRect/>
              </a:stretch>
            </a:blip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sp>
        <p:sp>
          <p:nvSpPr>
            <p:cNvPr id="16" name="Freeform: Shape 15">
              <a:extLst>
                <a:ext uri="{FF2B5EF4-FFF2-40B4-BE49-F238E27FC236}">
                  <a16:creationId xmlns:a16="http://schemas.microsoft.com/office/drawing/2014/main" id="{1F1CFDFC-8DD8-4D94-A2E3-36069989399D}"/>
                </a:ext>
              </a:extLst>
            </p:cNvPr>
            <p:cNvSpPr/>
            <p:nvPr/>
          </p:nvSpPr>
          <p:spPr>
            <a:xfrm>
              <a:off x="166302" y="1516561"/>
              <a:ext cx="1799849" cy="1799566"/>
            </a:xfrm>
            <a:custGeom>
              <a:avLst/>
              <a:gdLst>
                <a:gd name="connsiteX0" fmla="*/ 0 w 1799849"/>
                <a:gd name="connsiteY0" fmla="*/ 899783 h 1799566"/>
                <a:gd name="connsiteX1" fmla="*/ 899925 w 1799849"/>
                <a:gd name="connsiteY1" fmla="*/ 0 h 1799566"/>
                <a:gd name="connsiteX2" fmla="*/ 1799850 w 1799849"/>
                <a:gd name="connsiteY2" fmla="*/ 899783 h 1799566"/>
                <a:gd name="connsiteX3" fmla="*/ 899925 w 1799849"/>
                <a:gd name="connsiteY3" fmla="*/ 1799566 h 1799566"/>
                <a:gd name="connsiteX4" fmla="*/ 0 w 1799849"/>
                <a:gd name="connsiteY4" fmla="*/ 899783 h 1799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9849" h="1799566">
                  <a:moveTo>
                    <a:pt x="0" y="899783"/>
                  </a:moveTo>
                  <a:cubicBezTo>
                    <a:pt x="0" y="402847"/>
                    <a:pt x="402910" y="0"/>
                    <a:pt x="899925" y="0"/>
                  </a:cubicBezTo>
                  <a:cubicBezTo>
                    <a:pt x="1396940" y="0"/>
                    <a:pt x="1799850" y="402847"/>
                    <a:pt x="1799850" y="899783"/>
                  </a:cubicBezTo>
                  <a:cubicBezTo>
                    <a:pt x="1799850" y="1396719"/>
                    <a:pt x="1396940" y="1799566"/>
                    <a:pt x="899925" y="1799566"/>
                  </a:cubicBezTo>
                  <a:cubicBezTo>
                    <a:pt x="402910" y="1799566"/>
                    <a:pt x="0" y="1396719"/>
                    <a:pt x="0" y="899783"/>
                  </a:cubicBezTo>
                  <a:close/>
                </a:path>
              </a:pathLst>
            </a:custGeom>
            <a:solidFill>
              <a:sysClr val="window" lastClr="FFFFFF">
                <a:alpha val="90000"/>
                <a:hueOff val="0"/>
                <a:satOff val="0"/>
                <a:lumOff val="0"/>
                <a:alphaOff val="0"/>
              </a:sysClr>
            </a:solidFill>
            <a:ln w="12700" cap="flat" cmpd="sng" algn="ctr">
              <a:solidFill>
                <a:srgbClr val="ED7D31">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465838" tIns="465678" rIns="465837" bIns="465678"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600" b="0" i="0" u="none" strike="noStrike" kern="1200" cap="none" spc="0" normalizeH="0" baseline="0" noProof="0" dirty="0">
                <a:ln>
                  <a:noFill/>
                </a:ln>
                <a:solidFill>
                  <a:sysClr val="windowText" lastClr="000000">
                    <a:hueOff val="0"/>
                    <a:satOff val="0"/>
                    <a:lumOff val="0"/>
                    <a:alphaOff val="0"/>
                  </a:sysClr>
                </a:solidFill>
                <a:effectLst/>
                <a:uLnTx/>
                <a:uFillTx/>
                <a:latin typeface="Century Gothic" panose="020B0502020202020204" pitchFamily="34" charset="0"/>
                <a:cs typeface="Calibri" panose="020F0502020204030204" pitchFamily="34" charset="0"/>
              </a:endParaRPr>
            </a:p>
          </p:txBody>
        </p:sp>
      </p:grpSp>
      <p:sp>
        <p:nvSpPr>
          <p:cNvPr id="18" name="Rounded Rectangle 17"/>
          <p:cNvSpPr/>
          <p:nvPr/>
        </p:nvSpPr>
        <p:spPr>
          <a:xfrm>
            <a:off x="112706" y="4094534"/>
            <a:ext cx="1908363" cy="1246909"/>
          </a:xfrm>
          <a:prstGeom prst="roundRect">
            <a:avLst/>
          </a:prstGeom>
          <a:solidFill>
            <a:srgbClr val="E7E6E6"/>
          </a:solidFill>
          <a:ln w="12700" cap="flat" cmpd="sng" algn="ctr">
            <a:solidFill>
              <a:srgbClr val="4472C4">
                <a:shade val="50000"/>
              </a:srgbClr>
            </a:solid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entury Gothic" panose="020B0502020202020204" pitchFamily="34" charset="0"/>
              </a:rPr>
              <a:t>Shifts gear automatically to operate the engine at low speeds</a:t>
            </a:r>
          </a:p>
        </p:txBody>
      </p:sp>
      <p:sp>
        <p:nvSpPr>
          <p:cNvPr id="20" name="Rounded Rectangle 19"/>
          <p:cNvSpPr/>
          <p:nvPr/>
        </p:nvSpPr>
        <p:spPr>
          <a:xfrm>
            <a:off x="2121330" y="4094535"/>
            <a:ext cx="1908363" cy="1246909"/>
          </a:xfrm>
          <a:prstGeom prst="roundRect">
            <a:avLst/>
          </a:prstGeom>
          <a:solidFill>
            <a:srgbClr val="E7E6E6"/>
          </a:solidFill>
          <a:ln w="12700" cap="flat" cmpd="sng" algn="ctr">
            <a:solidFill>
              <a:srgbClr val="4472C4">
                <a:shade val="50000"/>
              </a:srgbClr>
            </a:solid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entury Gothic" panose="020B0502020202020204" pitchFamily="34" charset="0"/>
              </a:rPr>
              <a:t>Shifts gear automatically to operate the engine at maximum power </a:t>
            </a:r>
          </a:p>
        </p:txBody>
      </p:sp>
      <p:sp>
        <p:nvSpPr>
          <p:cNvPr id="22" name="Rounded Rectangle 21"/>
          <p:cNvSpPr/>
          <p:nvPr/>
        </p:nvSpPr>
        <p:spPr>
          <a:xfrm>
            <a:off x="4161909" y="4104424"/>
            <a:ext cx="1908363" cy="1246909"/>
          </a:xfrm>
          <a:prstGeom prst="roundRect">
            <a:avLst/>
          </a:prstGeom>
          <a:solidFill>
            <a:srgbClr val="E7E6E6"/>
          </a:solidFill>
          <a:ln w="12700" cap="flat" cmpd="sng" algn="ctr">
            <a:solidFill>
              <a:srgbClr val="4472C4">
                <a:shade val="50000"/>
              </a:srgbClr>
            </a:solid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entury Gothic" panose="020B0502020202020204" pitchFamily="34" charset="0"/>
              </a:rPr>
              <a:t>Allows the driver to shift each gear manually</a:t>
            </a:r>
          </a:p>
        </p:txBody>
      </p:sp>
      <p:sp>
        <p:nvSpPr>
          <p:cNvPr id="24" name="Rounded Rectangle 23"/>
          <p:cNvSpPr/>
          <p:nvPr/>
        </p:nvSpPr>
        <p:spPr>
          <a:xfrm>
            <a:off x="6189775" y="4104424"/>
            <a:ext cx="1908363" cy="1246909"/>
          </a:xfrm>
          <a:prstGeom prst="roundRect">
            <a:avLst/>
          </a:prstGeom>
          <a:solidFill>
            <a:srgbClr val="E7E6E6"/>
          </a:solidFill>
          <a:ln w="12700" cap="flat" cmpd="sng" algn="ctr">
            <a:solidFill>
              <a:srgbClr val="4472C4">
                <a:shade val="50000"/>
              </a:srgbClr>
            </a:solid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entury Gothic" panose="020B0502020202020204" pitchFamily="34" charset="0"/>
              </a:rPr>
              <a:t>Allows the driver to maneuver the vehicle inch by inch in forward direction</a:t>
            </a:r>
          </a:p>
        </p:txBody>
      </p:sp>
      <p:sp>
        <p:nvSpPr>
          <p:cNvPr id="26" name="Rounded Rectangle 25"/>
          <p:cNvSpPr/>
          <p:nvPr/>
        </p:nvSpPr>
        <p:spPr>
          <a:xfrm>
            <a:off x="10234059" y="4169642"/>
            <a:ext cx="1908363" cy="1246909"/>
          </a:xfrm>
          <a:prstGeom prst="roundRect">
            <a:avLst/>
          </a:prstGeom>
          <a:solidFill>
            <a:srgbClr val="E7E6E6"/>
          </a:solidFill>
          <a:ln w="12700" cap="flat" cmpd="sng" algn="ctr">
            <a:solidFill>
              <a:srgbClr val="4472C4">
                <a:shade val="50000"/>
              </a:srgbClr>
            </a:solid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entury Gothic" panose="020B0502020202020204" pitchFamily="34" charset="0"/>
              </a:rPr>
              <a:t>Assists to bring out the vehicle when it is stuck in mud/ slushy – Switch available in dash board</a:t>
            </a:r>
          </a:p>
        </p:txBody>
      </p:sp>
      <p:sp>
        <p:nvSpPr>
          <p:cNvPr id="28" name="Rounded Rectangle 27"/>
          <p:cNvSpPr/>
          <p:nvPr/>
        </p:nvSpPr>
        <p:spPr>
          <a:xfrm>
            <a:off x="8203312" y="4130235"/>
            <a:ext cx="1908363" cy="1246909"/>
          </a:xfrm>
          <a:prstGeom prst="roundRect">
            <a:avLst/>
          </a:prstGeom>
          <a:solidFill>
            <a:srgbClr val="E7E6E6"/>
          </a:solidFill>
          <a:ln w="12700" cap="flat" cmpd="sng" algn="ctr">
            <a:solidFill>
              <a:srgbClr val="4472C4">
                <a:shade val="50000"/>
              </a:srgbClr>
            </a:solid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entury Gothic" panose="020B0502020202020204" pitchFamily="34" charset="0"/>
              </a:rPr>
              <a:t>Allows the driver to maneuver the vehicle inch by inch in reverse direction</a:t>
            </a:r>
          </a:p>
        </p:txBody>
      </p:sp>
      <p:sp>
        <p:nvSpPr>
          <p:cNvPr id="38" name="Snip Single Corner Rectangle 37"/>
          <p:cNvSpPr/>
          <p:nvPr/>
        </p:nvSpPr>
        <p:spPr>
          <a:xfrm>
            <a:off x="57794" y="5774414"/>
            <a:ext cx="1908363" cy="738448"/>
          </a:xfrm>
          <a:prstGeom prst="snip1Rect">
            <a:avLst/>
          </a:prstGeom>
          <a:solidFill>
            <a:srgbClr val="0070C0"/>
          </a:solidFill>
          <a:ln>
            <a:noFill/>
          </a:ln>
          <a:effectLst>
            <a:outerShdw blurRad="57150" dist="19050" dir="5400000" algn="ctr" rotWithShape="0">
              <a:srgbClr val="000000">
                <a:alpha val="63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Minimum fuel consumption</a:t>
            </a:r>
          </a:p>
        </p:txBody>
      </p:sp>
      <p:sp>
        <p:nvSpPr>
          <p:cNvPr id="39" name="Snip Single Corner Rectangle 38"/>
          <p:cNvSpPr/>
          <p:nvPr/>
        </p:nvSpPr>
        <p:spPr>
          <a:xfrm>
            <a:off x="2138537" y="5774414"/>
            <a:ext cx="1908363" cy="738448"/>
          </a:xfrm>
          <a:prstGeom prst="snip1Rect">
            <a:avLst/>
          </a:prstGeom>
          <a:solidFill>
            <a:srgbClr val="0070C0"/>
          </a:solidFill>
          <a:ln>
            <a:noFill/>
          </a:ln>
          <a:effectLst>
            <a:outerShdw blurRad="57150" dist="19050" dir="5400000" algn="ctr" rotWithShape="0">
              <a:srgbClr val="000000">
                <a:alpha val="63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Better accelerations</a:t>
            </a:r>
          </a:p>
        </p:txBody>
      </p:sp>
      <p:sp>
        <p:nvSpPr>
          <p:cNvPr id="40" name="Snip Single Corner Rectangle 39"/>
          <p:cNvSpPr/>
          <p:nvPr/>
        </p:nvSpPr>
        <p:spPr>
          <a:xfrm>
            <a:off x="4173779" y="5774414"/>
            <a:ext cx="1908363" cy="738448"/>
          </a:xfrm>
          <a:prstGeom prst="snip1Rect">
            <a:avLst/>
          </a:prstGeom>
          <a:solidFill>
            <a:srgbClr val="0070C0"/>
          </a:solidFill>
          <a:ln>
            <a:noFill/>
          </a:ln>
          <a:effectLst>
            <a:outerShdw blurRad="57150" dist="19050" dir="5400000" algn="ctr" rotWithShape="0">
              <a:srgbClr val="000000">
                <a:alpha val="63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Fully controlled driving</a:t>
            </a:r>
          </a:p>
        </p:txBody>
      </p:sp>
      <p:sp>
        <p:nvSpPr>
          <p:cNvPr id="41" name="Snip Single Corner Rectangle 40"/>
          <p:cNvSpPr/>
          <p:nvPr/>
        </p:nvSpPr>
        <p:spPr>
          <a:xfrm>
            <a:off x="8214769" y="5772891"/>
            <a:ext cx="1908363" cy="738448"/>
          </a:xfrm>
          <a:prstGeom prst="snip1Rect">
            <a:avLst/>
          </a:prstGeom>
          <a:solidFill>
            <a:srgbClr val="0070C0"/>
          </a:solidFill>
          <a:ln>
            <a:noFill/>
          </a:ln>
          <a:effectLst>
            <a:outerShdw blurRad="57150" dist="19050" dir="5400000" algn="ctr" rotWithShape="0">
              <a:srgbClr val="000000">
                <a:alpha val="63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Used especially during parking</a:t>
            </a:r>
          </a:p>
        </p:txBody>
      </p:sp>
      <p:sp>
        <p:nvSpPr>
          <p:cNvPr id="42" name="Snip Single Corner Rectangle 41"/>
          <p:cNvSpPr/>
          <p:nvPr/>
        </p:nvSpPr>
        <p:spPr>
          <a:xfrm>
            <a:off x="6179527" y="5772891"/>
            <a:ext cx="1908363" cy="738448"/>
          </a:xfrm>
          <a:prstGeom prst="snip1Rect">
            <a:avLst/>
          </a:prstGeom>
          <a:solidFill>
            <a:srgbClr val="0070C0"/>
          </a:solidFill>
          <a:ln>
            <a:noFill/>
          </a:ln>
          <a:effectLst>
            <a:outerShdw blurRad="57150" dist="19050" dir="5400000" algn="ctr" rotWithShape="0">
              <a:srgbClr val="000000">
                <a:alpha val="63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Used especially during traffic</a:t>
            </a:r>
          </a:p>
        </p:txBody>
      </p:sp>
      <p:sp>
        <p:nvSpPr>
          <p:cNvPr id="43" name="Snip Single Corner Rectangle 42"/>
          <p:cNvSpPr/>
          <p:nvPr/>
        </p:nvSpPr>
        <p:spPr>
          <a:xfrm>
            <a:off x="10234059" y="5772891"/>
            <a:ext cx="1908363" cy="738448"/>
          </a:xfrm>
          <a:prstGeom prst="snip1Rect">
            <a:avLst/>
          </a:prstGeom>
          <a:solidFill>
            <a:srgbClr val="0070C0"/>
          </a:solidFill>
          <a:ln>
            <a:noFill/>
          </a:ln>
          <a:effectLst>
            <a:outerShdw blurRad="57150" dist="19050" dir="5400000" algn="ctr" rotWithShape="0">
              <a:srgbClr val="000000">
                <a:alpha val="63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Better drivability</a:t>
            </a:r>
          </a:p>
        </p:txBody>
      </p:sp>
      <p:pic>
        <p:nvPicPr>
          <p:cNvPr id="32" name="Picture 31">
            <a:extLst>
              <a:ext uri="{FF2B5EF4-FFF2-40B4-BE49-F238E27FC236}">
                <a16:creationId xmlns:a16="http://schemas.microsoft.com/office/drawing/2014/main" id="{9E4DBE4B-1511-4577-9D68-EFAB66EAE1F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447175" y="141390"/>
            <a:ext cx="622040" cy="622040"/>
          </a:xfrm>
          <a:prstGeom prst="rect">
            <a:avLst/>
          </a:prstGeom>
        </p:spPr>
      </p:pic>
      <p:sp>
        <p:nvSpPr>
          <p:cNvPr id="34"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35" name="TextBox 34"/>
          <p:cNvSpPr txBox="1"/>
          <p:nvPr/>
        </p:nvSpPr>
        <p:spPr>
          <a:xfrm>
            <a:off x="1010656" y="124413"/>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9S AMT FEATURES</a:t>
            </a:r>
            <a:endParaRPr lang="en-US" sz="3733" b="1" dirty="0">
              <a:solidFill>
                <a:prstClr val="black"/>
              </a:solidFill>
              <a:latin typeface="Century Gothic" panose="020B0502020202020204" pitchFamily="34" charset="0"/>
            </a:endParaRPr>
          </a:p>
        </p:txBody>
      </p:sp>
      <p:sp>
        <p:nvSpPr>
          <p:cNvPr id="2" name="TextBox 1"/>
          <p:cNvSpPr txBox="1"/>
          <p:nvPr/>
        </p:nvSpPr>
        <p:spPr>
          <a:xfrm>
            <a:off x="6341645" y="1926542"/>
            <a:ext cx="1604621" cy="923330"/>
          </a:xfrm>
          <a:prstGeom prst="rect">
            <a:avLst/>
          </a:prstGeom>
          <a:noFill/>
        </p:spPr>
        <p:txBody>
          <a:bodyPr wrap="square" lIns="91440" tIns="91440" rIns="91440" bIns="91440" rtlCol="0">
            <a:spAutoFit/>
          </a:bodyPr>
          <a:lstStyle/>
          <a:p>
            <a:pPr algn="ctr"/>
            <a:r>
              <a:rPr lang="en-US" sz="1600" b="1" dirty="0">
                <a:latin typeface="Century Gothic" panose="020B0502020202020204" pitchFamily="34" charset="0"/>
              </a:rPr>
              <a:t>Forward Maneuvering mode</a:t>
            </a:r>
          </a:p>
        </p:txBody>
      </p:sp>
      <p:sp>
        <p:nvSpPr>
          <p:cNvPr id="33" name="TextBox 32"/>
          <p:cNvSpPr txBox="1"/>
          <p:nvPr/>
        </p:nvSpPr>
        <p:spPr>
          <a:xfrm>
            <a:off x="8309919" y="1980830"/>
            <a:ext cx="1604621" cy="849463"/>
          </a:xfrm>
          <a:prstGeom prst="rect">
            <a:avLst/>
          </a:prstGeom>
          <a:noFill/>
        </p:spPr>
        <p:txBody>
          <a:bodyPr wrap="square" lIns="91440" tIns="91440" rIns="91440" bIns="91440" rtlCol="0">
            <a:spAutoFit/>
          </a:bodyPr>
          <a:lstStyle/>
          <a:p>
            <a:pPr lvl="0" algn="ctr" defTabSz="711200">
              <a:lnSpc>
                <a:spcPct val="90000"/>
              </a:lnSpc>
              <a:spcBef>
                <a:spcPct val="0"/>
              </a:spcBef>
              <a:spcAft>
                <a:spcPct val="35000"/>
              </a:spcAft>
              <a:defRPr/>
            </a:pPr>
            <a:r>
              <a:rPr lang="en-US" sz="1600" b="1" dirty="0">
                <a:solidFill>
                  <a:sysClr val="windowText" lastClr="000000">
                    <a:hueOff val="0"/>
                    <a:satOff val="0"/>
                    <a:lumOff val="0"/>
                    <a:alphaOff val="0"/>
                  </a:sysClr>
                </a:solidFill>
                <a:latin typeface="Century Gothic" panose="020B0502020202020204" pitchFamily="34" charset="0"/>
                <a:cs typeface="Calibri" panose="020F0502020204030204" pitchFamily="34" charset="0"/>
              </a:rPr>
              <a:t>Reverse Maneuvering mode</a:t>
            </a:r>
            <a:endParaRPr lang="en-US" sz="1600" dirty="0">
              <a:solidFill>
                <a:sysClr val="windowText" lastClr="000000">
                  <a:hueOff val="0"/>
                  <a:satOff val="0"/>
                  <a:lumOff val="0"/>
                  <a:alphaOff val="0"/>
                </a:sysClr>
              </a:solidFill>
              <a:latin typeface="Century Gothic" panose="020B0502020202020204" pitchFamily="34" charset="0"/>
              <a:cs typeface="Calibri" panose="020F0502020204030204" pitchFamily="34" charset="0"/>
            </a:endParaRPr>
          </a:p>
        </p:txBody>
      </p:sp>
      <p:sp>
        <p:nvSpPr>
          <p:cNvPr id="36" name="TextBox 35"/>
          <p:cNvSpPr txBox="1"/>
          <p:nvPr/>
        </p:nvSpPr>
        <p:spPr>
          <a:xfrm>
            <a:off x="10289182" y="2091629"/>
            <a:ext cx="1604621" cy="627864"/>
          </a:xfrm>
          <a:prstGeom prst="rect">
            <a:avLst/>
          </a:prstGeom>
          <a:noFill/>
        </p:spPr>
        <p:txBody>
          <a:bodyPr wrap="square" lIns="91440" tIns="91440" rIns="91440" bIns="91440" rtlCol="0">
            <a:spAutoFit/>
          </a:bodyPr>
          <a:lstStyle/>
          <a:p>
            <a:pPr lvl="0" algn="ctr" defTabSz="711200">
              <a:lnSpc>
                <a:spcPct val="90000"/>
              </a:lnSpc>
              <a:spcBef>
                <a:spcPct val="0"/>
              </a:spcBef>
              <a:spcAft>
                <a:spcPct val="35000"/>
              </a:spcAft>
              <a:defRPr/>
            </a:pPr>
            <a:r>
              <a:rPr lang="en-US" sz="1600" b="1" dirty="0">
                <a:solidFill>
                  <a:sysClr val="windowText" lastClr="000000">
                    <a:hueOff val="0"/>
                    <a:satOff val="0"/>
                    <a:lumOff val="0"/>
                    <a:alphaOff val="0"/>
                  </a:sysClr>
                </a:solidFill>
                <a:latin typeface="Century Gothic" panose="020B0502020202020204" pitchFamily="34" charset="0"/>
                <a:cs typeface="Calibri" panose="020F0502020204030204" pitchFamily="34" charset="0"/>
              </a:rPr>
              <a:t>Rock-free mode</a:t>
            </a:r>
            <a:endParaRPr lang="en-US" sz="1600" dirty="0">
              <a:solidFill>
                <a:sysClr val="windowText" lastClr="000000">
                  <a:hueOff val="0"/>
                  <a:satOff val="0"/>
                  <a:lumOff val="0"/>
                  <a:alphaOff val="0"/>
                </a:sysClr>
              </a:solidFill>
              <a:latin typeface="Century Gothic" panose="020B0502020202020204" pitchFamily="34" charset="0"/>
              <a:cs typeface="Calibri" panose="020F0502020204030204" pitchFamily="34" charset="0"/>
            </a:endParaRPr>
          </a:p>
        </p:txBody>
      </p:sp>
      <p:sp>
        <p:nvSpPr>
          <p:cNvPr id="37" name="TextBox 36"/>
          <p:cNvSpPr txBox="1"/>
          <p:nvPr/>
        </p:nvSpPr>
        <p:spPr>
          <a:xfrm>
            <a:off x="58834" y="2138664"/>
            <a:ext cx="2105660" cy="627864"/>
          </a:xfrm>
          <a:prstGeom prst="rect">
            <a:avLst/>
          </a:prstGeom>
          <a:noFill/>
        </p:spPr>
        <p:txBody>
          <a:bodyPr wrap="square" lIns="91440" tIns="91440" rIns="91440" bIns="91440" rtlCol="0">
            <a:spAutoFit/>
          </a:bodyPr>
          <a:lstStyle/>
          <a:p>
            <a:pPr lvl="0" algn="ctr" defTabSz="711200">
              <a:lnSpc>
                <a:spcPct val="90000"/>
              </a:lnSpc>
              <a:spcBef>
                <a:spcPct val="0"/>
              </a:spcBef>
              <a:spcAft>
                <a:spcPct val="35000"/>
              </a:spcAft>
              <a:defRPr/>
            </a:pPr>
            <a:r>
              <a:rPr lang="en-US" sz="1600" b="1" dirty="0">
                <a:solidFill>
                  <a:sysClr val="windowText" lastClr="000000">
                    <a:hueOff val="0"/>
                    <a:satOff val="0"/>
                    <a:lumOff val="0"/>
                    <a:alphaOff val="0"/>
                  </a:sysClr>
                </a:solidFill>
                <a:latin typeface="Century Gothic" panose="020B0502020202020204" pitchFamily="34" charset="0"/>
                <a:cs typeface="Calibri" panose="020F0502020204030204" pitchFamily="34" charset="0"/>
              </a:rPr>
              <a:t>Auto Economy Mode</a:t>
            </a:r>
            <a:endParaRPr lang="en-US" sz="1600" dirty="0">
              <a:solidFill>
                <a:sysClr val="windowText" lastClr="000000">
                  <a:hueOff val="0"/>
                  <a:satOff val="0"/>
                  <a:lumOff val="0"/>
                  <a:alphaOff val="0"/>
                </a:sysClr>
              </a:solidFill>
              <a:latin typeface="Century Gothic" panose="020B0502020202020204" pitchFamily="34" charset="0"/>
              <a:cs typeface="Calibri" panose="020F0502020204030204" pitchFamily="34" charset="0"/>
            </a:endParaRPr>
          </a:p>
        </p:txBody>
      </p:sp>
      <p:sp>
        <p:nvSpPr>
          <p:cNvPr id="3" name="Rectangle 2"/>
          <p:cNvSpPr/>
          <p:nvPr/>
        </p:nvSpPr>
        <p:spPr>
          <a:xfrm>
            <a:off x="2336807" y="2110095"/>
            <a:ext cx="1541822" cy="535531"/>
          </a:xfrm>
          <a:prstGeom prst="rect">
            <a:avLst/>
          </a:prstGeom>
        </p:spPr>
        <p:txBody>
          <a:bodyPr wrap="square">
            <a:spAutoFit/>
          </a:bodyPr>
          <a:lstStyle/>
          <a:p>
            <a:pPr lvl="0" algn="ctr" defTabSz="711200">
              <a:lnSpc>
                <a:spcPct val="90000"/>
              </a:lnSpc>
              <a:spcBef>
                <a:spcPct val="0"/>
              </a:spcBef>
              <a:spcAft>
                <a:spcPct val="35000"/>
              </a:spcAft>
              <a:defRPr/>
            </a:pPr>
            <a:r>
              <a:rPr lang="en-US" sz="1600" b="1" dirty="0">
                <a:solidFill>
                  <a:sysClr val="windowText" lastClr="000000">
                    <a:hueOff val="0"/>
                    <a:satOff val="0"/>
                    <a:lumOff val="0"/>
                    <a:alphaOff val="0"/>
                  </a:sysClr>
                </a:solidFill>
                <a:latin typeface="Century Gothic" panose="020B0502020202020204" pitchFamily="34" charset="0"/>
                <a:cs typeface="Calibri" panose="020F0502020204030204" pitchFamily="34" charset="0"/>
              </a:rPr>
              <a:t>Auto Power Mode</a:t>
            </a:r>
            <a:endParaRPr lang="en-US" sz="1600" dirty="0">
              <a:solidFill>
                <a:sysClr val="windowText" lastClr="000000">
                  <a:hueOff val="0"/>
                  <a:satOff val="0"/>
                  <a:lumOff val="0"/>
                  <a:alphaOff val="0"/>
                </a:sysClr>
              </a:solidFill>
              <a:latin typeface="Century Gothic" panose="020B0502020202020204" pitchFamily="34" charset="0"/>
              <a:cs typeface="Calibri" panose="020F0502020204030204" pitchFamily="34" charset="0"/>
            </a:endParaRPr>
          </a:p>
        </p:txBody>
      </p:sp>
    </p:spTree>
    <p:extLst>
      <p:ext uri="{BB962C8B-B14F-4D97-AF65-F5344CB8AC3E}">
        <p14:creationId xmlns:p14="http://schemas.microsoft.com/office/powerpoint/2010/main" val="42275345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121467" y="47247"/>
            <a:ext cx="10464800"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APPLICATION</a:t>
            </a:r>
          </a:p>
        </p:txBody>
      </p:sp>
      <p:grpSp>
        <p:nvGrpSpPr>
          <p:cNvPr id="11" name="Group 63"/>
          <p:cNvGrpSpPr>
            <a:grpSpLocks/>
          </p:cNvGrpSpPr>
          <p:nvPr/>
        </p:nvGrpSpPr>
        <p:grpSpPr bwMode="auto">
          <a:xfrm>
            <a:off x="836633" y="1752600"/>
            <a:ext cx="9675775" cy="4430656"/>
            <a:chOff x="-38974" y="1690688"/>
            <a:chExt cx="9103579" cy="4430653"/>
          </a:xfrm>
        </p:grpSpPr>
        <p:sp>
          <p:nvSpPr>
            <p:cNvPr id="12" name="Rectangle 17"/>
            <p:cNvSpPr>
              <a:spLocks noChangeArrowheads="1"/>
            </p:cNvSpPr>
            <p:nvPr/>
          </p:nvSpPr>
          <p:spPr bwMode="auto">
            <a:xfrm>
              <a:off x="6031604" y="2296016"/>
              <a:ext cx="196308" cy="39953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3" name="Rectangle 19"/>
            <p:cNvSpPr>
              <a:spLocks noChangeArrowheads="1"/>
            </p:cNvSpPr>
            <p:nvPr/>
          </p:nvSpPr>
          <p:spPr bwMode="auto">
            <a:xfrm>
              <a:off x="6227912" y="2335872"/>
              <a:ext cx="717830" cy="27996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4" name="Line 40"/>
            <p:cNvSpPr>
              <a:spLocks noChangeShapeType="1"/>
            </p:cNvSpPr>
            <p:nvPr/>
          </p:nvSpPr>
          <p:spPr bwMode="auto">
            <a:xfrm>
              <a:off x="2127604" y="3682596"/>
              <a:ext cx="515730" cy="1892"/>
            </a:xfrm>
            <a:prstGeom prst="line">
              <a:avLst/>
            </a:prstGeom>
            <a:noFill/>
            <a:ln w="38100" cmpd="dbl">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5" name="Text Box 4"/>
            <p:cNvSpPr txBox="1">
              <a:spLocks noChangeArrowheads="1"/>
            </p:cNvSpPr>
            <p:nvPr/>
          </p:nvSpPr>
          <p:spPr bwMode="auto">
            <a:xfrm>
              <a:off x="-38974" y="3564020"/>
              <a:ext cx="1661765"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l" defTabSz="914377"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 APPLICATION</a:t>
              </a:r>
            </a:p>
          </p:txBody>
        </p:sp>
        <p:sp>
          <p:nvSpPr>
            <p:cNvPr id="16" name="Line 5"/>
            <p:cNvSpPr>
              <a:spLocks noChangeShapeType="1"/>
            </p:cNvSpPr>
            <p:nvPr/>
          </p:nvSpPr>
          <p:spPr bwMode="auto">
            <a:xfrm>
              <a:off x="2087393" y="1866611"/>
              <a:ext cx="1748" cy="3906258"/>
            </a:xfrm>
            <a:prstGeom prst="line">
              <a:avLst/>
            </a:prstGeom>
            <a:noFill/>
            <a:ln w="38100" cmpd="dbl">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7" name="Line 6"/>
            <p:cNvSpPr>
              <a:spLocks noChangeShapeType="1"/>
            </p:cNvSpPr>
            <p:nvPr/>
          </p:nvSpPr>
          <p:spPr bwMode="auto">
            <a:xfrm>
              <a:off x="2097883" y="1864720"/>
              <a:ext cx="515730" cy="1892"/>
            </a:xfrm>
            <a:prstGeom prst="line">
              <a:avLst/>
            </a:prstGeom>
            <a:noFill/>
            <a:ln w="38100" cmpd="dbl">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18" name="Text Box 8"/>
            <p:cNvSpPr txBox="1">
              <a:spLocks noChangeArrowheads="1"/>
            </p:cNvSpPr>
            <p:nvPr/>
          </p:nvSpPr>
          <p:spPr bwMode="auto">
            <a:xfrm>
              <a:off x="2659068" y="1690688"/>
              <a:ext cx="1576377" cy="4001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l" defTabSz="914377"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 PASSENGER</a:t>
              </a:r>
            </a:p>
          </p:txBody>
        </p:sp>
        <p:sp>
          <p:nvSpPr>
            <p:cNvPr id="19" name="Text Box 9"/>
            <p:cNvSpPr txBox="1">
              <a:spLocks noChangeArrowheads="1"/>
            </p:cNvSpPr>
            <p:nvPr/>
          </p:nvSpPr>
          <p:spPr bwMode="auto">
            <a:xfrm>
              <a:off x="2642813" y="3519914"/>
              <a:ext cx="1074144" cy="4001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GOODS</a:t>
              </a:r>
            </a:p>
          </p:txBody>
        </p:sp>
        <p:sp>
          <p:nvSpPr>
            <p:cNvPr id="20" name="Text Box 10"/>
            <p:cNvSpPr txBox="1">
              <a:spLocks noChangeArrowheads="1"/>
            </p:cNvSpPr>
            <p:nvPr/>
          </p:nvSpPr>
          <p:spPr bwMode="auto">
            <a:xfrm>
              <a:off x="2517463" y="5413455"/>
              <a:ext cx="1575162" cy="7078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SPECIAL  VEHICLES</a:t>
              </a:r>
            </a:p>
          </p:txBody>
        </p:sp>
        <p:sp>
          <p:nvSpPr>
            <p:cNvPr id="21" name="Line 11"/>
            <p:cNvSpPr>
              <a:spLocks noChangeShapeType="1"/>
            </p:cNvSpPr>
            <p:nvPr/>
          </p:nvSpPr>
          <p:spPr bwMode="auto">
            <a:xfrm>
              <a:off x="4272543" y="4738688"/>
              <a:ext cx="220278" cy="189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22" name="Text Box 12"/>
            <p:cNvSpPr txBox="1">
              <a:spLocks noChangeArrowheads="1"/>
            </p:cNvSpPr>
            <p:nvPr/>
          </p:nvSpPr>
          <p:spPr bwMode="auto">
            <a:xfrm>
              <a:off x="4426535" y="2273316"/>
              <a:ext cx="1280769" cy="4001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l" defTabSz="914377"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HAULAGE</a:t>
              </a:r>
            </a:p>
          </p:txBody>
        </p:sp>
        <p:sp>
          <p:nvSpPr>
            <p:cNvPr id="23" name="Text Box 13"/>
            <p:cNvSpPr txBox="1">
              <a:spLocks noChangeArrowheads="1"/>
            </p:cNvSpPr>
            <p:nvPr/>
          </p:nvSpPr>
          <p:spPr bwMode="auto">
            <a:xfrm>
              <a:off x="4405556" y="3300482"/>
              <a:ext cx="1224965" cy="4001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l" defTabSz="914377"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TRACTOR</a:t>
              </a:r>
            </a:p>
          </p:txBody>
        </p:sp>
        <p:sp>
          <p:nvSpPr>
            <p:cNvPr id="24" name="Text Box 14"/>
            <p:cNvSpPr txBox="1">
              <a:spLocks noChangeArrowheads="1"/>
            </p:cNvSpPr>
            <p:nvPr/>
          </p:nvSpPr>
          <p:spPr bwMode="auto">
            <a:xfrm>
              <a:off x="4437023" y="4492223"/>
              <a:ext cx="947456" cy="4001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l" defTabSz="914377"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 TIPPER</a:t>
              </a:r>
            </a:p>
          </p:txBody>
        </p:sp>
        <p:sp>
          <p:nvSpPr>
            <p:cNvPr id="25" name="Line 22"/>
            <p:cNvSpPr>
              <a:spLocks noChangeShapeType="1"/>
            </p:cNvSpPr>
            <p:nvPr/>
          </p:nvSpPr>
          <p:spPr bwMode="auto">
            <a:xfrm>
              <a:off x="6209377" y="2575980"/>
              <a:ext cx="72794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26" name="Rectangle 24"/>
            <p:cNvSpPr>
              <a:spLocks noChangeArrowheads="1"/>
            </p:cNvSpPr>
            <p:nvPr/>
          </p:nvSpPr>
          <p:spPr bwMode="auto">
            <a:xfrm>
              <a:off x="5967616" y="3321290"/>
              <a:ext cx="153429" cy="364439"/>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27" name="Rectangle 25"/>
            <p:cNvSpPr>
              <a:spLocks noChangeArrowheads="1"/>
            </p:cNvSpPr>
            <p:nvPr/>
          </p:nvSpPr>
          <p:spPr bwMode="auto">
            <a:xfrm>
              <a:off x="5916032" y="3466711"/>
              <a:ext cx="51584" cy="21901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28" name="Rectangle 26"/>
            <p:cNvSpPr>
              <a:spLocks noChangeArrowheads="1"/>
            </p:cNvSpPr>
            <p:nvPr/>
          </p:nvSpPr>
          <p:spPr bwMode="auto">
            <a:xfrm>
              <a:off x="6121046" y="3576663"/>
              <a:ext cx="410027" cy="3635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29" name="Oval 28"/>
            <p:cNvSpPr>
              <a:spLocks noChangeArrowheads="1"/>
            </p:cNvSpPr>
            <p:nvPr/>
          </p:nvSpPr>
          <p:spPr bwMode="auto">
            <a:xfrm>
              <a:off x="6351851" y="3613018"/>
              <a:ext cx="153429" cy="219018"/>
            </a:xfrm>
            <a:prstGeom prst="ellipse">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30" name="Rectangle 29"/>
            <p:cNvSpPr>
              <a:spLocks noChangeArrowheads="1"/>
            </p:cNvSpPr>
            <p:nvPr/>
          </p:nvSpPr>
          <p:spPr bwMode="auto">
            <a:xfrm>
              <a:off x="6275136" y="3503066"/>
              <a:ext cx="999276" cy="3724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31" name="Oval 30"/>
            <p:cNvSpPr>
              <a:spLocks noChangeArrowheads="1"/>
            </p:cNvSpPr>
            <p:nvPr/>
          </p:nvSpPr>
          <p:spPr bwMode="auto">
            <a:xfrm>
              <a:off x="7017814" y="3613018"/>
              <a:ext cx="154091" cy="219018"/>
            </a:xfrm>
            <a:prstGeom prst="ellipse">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32" name="Rectangle 31"/>
            <p:cNvSpPr>
              <a:spLocks noChangeArrowheads="1"/>
            </p:cNvSpPr>
            <p:nvPr/>
          </p:nvSpPr>
          <p:spPr bwMode="auto">
            <a:xfrm>
              <a:off x="6582657" y="3540308"/>
              <a:ext cx="665963" cy="7271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33" name="Line 32"/>
            <p:cNvSpPr>
              <a:spLocks noChangeShapeType="1"/>
            </p:cNvSpPr>
            <p:nvPr/>
          </p:nvSpPr>
          <p:spPr bwMode="auto">
            <a:xfrm>
              <a:off x="6351851" y="3540308"/>
              <a:ext cx="0" cy="36355"/>
            </a:xfrm>
            <a:prstGeom prst="line">
              <a:avLst/>
            </a:prstGeom>
            <a:noFill/>
            <a:ln w="762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34" name="Oval 27"/>
            <p:cNvSpPr>
              <a:spLocks noChangeArrowheads="1"/>
            </p:cNvSpPr>
            <p:nvPr/>
          </p:nvSpPr>
          <p:spPr bwMode="auto">
            <a:xfrm>
              <a:off x="6018539" y="3613018"/>
              <a:ext cx="154091" cy="219018"/>
            </a:xfrm>
            <a:prstGeom prst="ellipse">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35" name="Rectangle 33"/>
            <p:cNvSpPr>
              <a:spLocks noChangeArrowheads="1"/>
            </p:cNvSpPr>
            <p:nvPr/>
          </p:nvSpPr>
          <p:spPr bwMode="auto">
            <a:xfrm>
              <a:off x="5870577" y="4567888"/>
              <a:ext cx="194054" cy="39724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36" name="Rectangle 34"/>
            <p:cNvSpPr>
              <a:spLocks noChangeArrowheads="1"/>
            </p:cNvSpPr>
            <p:nvPr/>
          </p:nvSpPr>
          <p:spPr bwMode="auto">
            <a:xfrm>
              <a:off x="5756942" y="4730570"/>
              <a:ext cx="92657" cy="23834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38" name="Rectangle 35"/>
            <p:cNvSpPr>
              <a:spLocks noChangeArrowheads="1"/>
            </p:cNvSpPr>
            <p:nvPr/>
          </p:nvSpPr>
          <p:spPr bwMode="auto">
            <a:xfrm rot="2688110">
              <a:off x="6356587" y="4408989"/>
              <a:ext cx="777965" cy="8890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39" name="Oval 37"/>
            <p:cNvSpPr>
              <a:spLocks noChangeArrowheads="1"/>
            </p:cNvSpPr>
            <p:nvPr/>
          </p:nvSpPr>
          <p:spPr bwMode="auto">
            <a:xfrm>
              <a:off x="6678263" y="4883794"/>
              <a:ext cx="164334" cy="240240"/>
            </a:xfrm>
            <a:prstGeom prst="ellipse">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0" name="Line 38"/>
            <p:cNvSpPr>
              <a:spLocks noChangeShapeType="1"/>
            </p:cNvSpPr>
            <p:nvPr/>
          </p:nvSpPr>
          <p:spPr bwMode="auto">
            <a:xfrm flipV="1">
              <a:off x="5959737" y="4861094"/>
              <a:ext cx="956285" cy="1892"/>
            </a:xfrm>
            <a:prstGeom prst="line">
              <a:avLst/>
            </a:prstGeom>
            <a:noFill/>
            <a:ln w="571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1" name="Line 39"/>
            <p:cNvSpPr>
              <a:spLocks noChangeShapeType="1"/>
            </p:cNvSpPr>
            <p:nvPr/>
          </p:nvSpPr>
          <p:spPr bwMode="auto">
            <a:xfrm flipV="1">
              <a:off x="6326867" y="4382506"/>
              <a:ext cx="139859" cy="47102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2" name="Line 40"/>
            <p:cNvSpPr>
              <a:spLocks noChangeShapeType="1"/>
            </p:cNvSpPr>
            <p:nvPr/>
          </p:nvSpPr>
          <p:spPr bwMode="auto">
            <a:xfrm>
              <a:off x="1599635" y="3682596"/>
              <a:ext cx="515730" cy="1892"/>
            </a:xfrm>
            <a:prstGeom prst="line">
              <a:avLst/>
            </a:prstGeom>
            <a:noFill/>
            <a:ln w="38100" cmpd="dbl">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3" name="Line 41"/>
            <p:cNvSpPr>
              <a:spLocks noChangeShapeType="1"/>
            </p:cNvSpPr>
            <p:nvPr/>
          </p:nvSpPr>
          <p:spPr bwMode="auto">
            <a:xfrm flipV="1">
              <a:off x="3756959" y="3613018"/>
              <a:ext cx="40996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4" name="Line 42"/>
            <p:cNvSpPr>
              <a:spLocks noChangeShapeType="1"/>
            </p:cNvSpPr>
            <p:nvPr/>
          </p:nvSpPr>
          <p:spPr bwMode="auto">
            <a:xfrm>
              <a:off x="4300515" y="2411408"/>
              <a:ext cx="192306"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5" name="Line 44"/>
            <p:cNvSpPr>
              <a:spLocks noChangeShapeType="1"/>
            </p:cNvSpPr>
            <p:nvPr/>
          </p:nvSpPr>
          <p:spPr bwMode="auto">
            <a:xfrm flipV="1">
              <a:off x="4218514" y="2438400"/>
              <a:ext cx="0" cy="230028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grpSp>
          <p:nvGrpSpPr>
            <p:cNvPr id="46" name="Group 45"/>
            <p:cNvGrpSpPr>
              <a:grpSpLocks/>
            </p:cNvGrpSpPr>
            <p:nvPr/>
          </p:nvGrpSpPr>
          <p:grpSpPr bwMode="auto">
            <a:xfrm>
              <a:off x="7706218" y="3898247"/>
              <a:ext cx="1358376" cy="510747"/>
              <a:chOff x="3245" y="2222"/>
              <a:chExt cx="2054" cy="576"/>
            </a:xfrm>
          </p:grpSpPr>
          <p:sp>
            <p:nvSpPr>
              <p:cNvPr id="57" name="Rectangle 46"/>
              <p:cNvSpPr>
                <a:spLocks noChangeArrowheads="1"/>
              </p:cNvSpPr>
              <p:nvPr/>
            </p:nvSpPr>
            <p:spPr bwMode="auto">
              <a:xfrm>
                <a:off x="3323" y="2222"/>
                <a:ext cx="232" cy="41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8" name="Rectangle 47"/>
              <p:cNvSpPr>
                <a:spLocks noChangeArrowheads="1"/>
              </p:cNvSpPr>
              <p:nvPr/>
            </p:nvSpPr>
            <p:spPr bwMode="auto">
              <a:xfrm>
                <a:off x="3245" y="2386"/>
                <a:ext cx="78" cy="24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9" name="Rectangle 48"/>
              <p:cNvSpPr>
                <a:spLocks noChangeArrowheads="1"/>
              </p:cNvSpPr>
              <p:nvPr/>
            </p:nvSpPr>
            <p:spPr bwMode="auto">
              <a:xfrm>
                <a:off x="3555" y="2510"/>
                <a:ext cx="620" cy="4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60" name="Oval 49"/>
              <p:cNvSpPr>
                <a:spLocks noChangeArrowheads="1"/>
              </p:cNvSpPr>
              <p:nvPr/>
            </p:nvSpPr>
            <p:spPr bwMode="auto">
              <a:xfrm>
                <a:off x="3400" y="2551"/>
                <a:ext cx="233" cy="247"/>
              </a:xfrm>
              <a:prstGeom prst="ellipse">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61" name="Oval 50"/>
              <p:cNvSpPr>
                <a:spLocks noChangeArrowheads="1"/>
              </p:cNvSpPr>
              <p:nvPr/>
            </p:nvSpPr>
            <p:spPr bwMode="auto">
              <a:xfrm>
                <a:off x="3904" y="2551"/>
                <a:ext cx="232" cy="247"/>
              </a:xfrm>
              <a:prstGeom prst="ellipse">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62" name="Rectangle 51"/>
              <p:cNvSpPr>
                <a:spLocks noChangeArrowheads="1"/>
              </p:cNvSpPr>
              <p:nvPr/>
            </p:nvSpPr>
            <p:spPr bwMode="auto">
              <a:xfrm>
                <a:off x="3788" y="2427"/>
                <a:ext cx="1511" cy="4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63" name="Oval 52"/>
              <p:cNvSpPr>
                <a:spLocks noChangeArrowheads="1"/>
              </p:cNvSpPr>
              <p:nvPr/>
            </p:nvSpPr>
            <p:spPr bwMode="auto">
              <a:xfrm>
                <a:off x="4911" y="2551"/>
                <a:ext cx="233" cy="247"/>
              </a:xfrm>
              <a:prstGeom prst="ellipse">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64" name="Rectangle 53"/>
              <p:cNvSpPr>
                <a:spLocks noChangeArrowheads="1"/>
              </p:cNvSpPr>
              <p:nvPr/>
            </p:nvSpPr>
            <p:spPr bwMode="auto">
              <a:xfrm>
                <a:off x="4253" y="2469"/>
                <a:ext cx="1007" cy="8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65" name="Line 54"/>
              <p:cNvSpPr>
                <a:spLocks noChangeShapeType="1"/>
              </p:cNvSpPr>
              <p:nvPr/>
            </p:nvSpPr>
            <p:spPr bwMode="auto">
              <a:xfrm>
                <a:off x="3904" y="2469"/>
                <a:ext cx="0" cy="41"/>
              </a:xfrm>
              <a:prstGeom prst="line">
                <a:avLst/>
              </a:prstGeom>
              <a:noFill/>
              <a:ln w="762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grpSp>
        <p:sp>
          <p:nvSpPr>
            <p:cNvPr id="47" name="Rectangle 55"/>
            <p:cNvSpPr>
              <a:spLocks noChangeArrowheads="1"/>
            </p:cNvSpPr>
            <p:nvPr/>
          </p:nvSpPr>
          <p:spPr bwMode="auto">
            <a:xfrm rot="2688110">
              <a:off x="8286640" y="3682596"/>
              <a:ext cx="777965" cy="8890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8" name="Line 56"/>
            <p:cNvSpPr>
              <a:spLocks noChangeShapeType="1"/>
            </p:cNvSpPr>
            <p:nvPr/>
          </p:nvSpPr>
          <p:spPr bwMode="auto">
            <a:xfrm flipH="1">
              <a:off x="8225452" y="3591796"/>
              <a:ext cx="251746" cy="54479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49" name="AutoShape 57"/>
            <p:cNvSpPr>
              <a:spLocks/>
            </p:cNvSpPr>
            <p:nvPr/>
          </p:nvSpPr>
          <p:spPr bwMode="auto">
            <a:xfrm>
              <a:off x="7386299" y="3591796"/>
              <a:ext cx="83915" cy="1271189"/>
            </a:xfrm>
            <a:prstGeom prst="rightBracket">
              <a:avLst>
                <a:gd name="adj" fmla="val 1167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0" name="Line 58"/>
            <p:cNvSpPr>
              <a:spLocks noChangeShapeType="1"/>
            </p:cNvSpPr>
            <p:nvPr/>
          </p:nvSpPr>
          <p:spPr bwMode="auto">
            <a:xfrm>
              <a:off x="4268124" y="3593596"/>
              <a:ext cx="192306" cy="189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1" name="Text Box 59"/>
            <p:cNvSpPr txBox="1">
              <a:spLocks noChangeArrowheads="1"/>
            </p:cNvSpPr>
            <p:nvPr/>
          </p:nvSpPr>
          <p:spPr bwMode="auto">
            <a:xfrm>
              <a:off x="7426508" y="4499789"/>
              <a:ext cx="1472311" cy="4001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b="1" i="1">
                  <a:solidFill>
                    <a:schemeClr val="tx1"/>
                  </a:solidFill>
                  <a:latin typeface="Arial" pitchFamily="34" charset="0"/>
                </a:defRPr>
              </a:lvl1pPr>
              <a:lvl2pPr marL="742950" indent="-285750" eaLnBrk="0" hangingPunct="0">
                <a:defRPr b="1" i="1">
                  <a:solidFill>
                    <a:schemeClr val="tx1"/>
                  </a:solidFill>
                  <a:latin typeface="Arial" pitchFamily="34" charset="0"/>
                </a:defRPr>
              </a:lvl2pPr>
              <a:lvl3pPr marL="1143000" indent="-228600" eaLnBrk="0" hangingPunct="0">
                <a:defRPr b="1" i="1">
                  <a:solidFill>
                    <a:schemeClr val="tx1"/>
                  </a:solidFill>
                  <a:latin typeface="Arial" pitchFamily="34" charset="0"/>
                </a:defRPr>
              </a:lvl3pPr>
              <a:lvl4pPr marL="1600200" indent="-228600" eaLnBrk="0" hangingPunct="0">
                <a:defRPr b="1" i="1">
                  <a:solidFill>
                    <a:schemeClr val="tx1"/>
                  </a:solidFill>
                  <a:latin typeface="Arial" pitchFamily="34" charset="0"/>
                </a:defRPr>
              </a:lvl4pPr>
              <a:lvl5pPr marL="2057400" indent="-228600" eaLnBrk="0" hangingPunct="0">
                <a:defRPr b="1" i="1">
                  <a:solidFill>
                    <a:schemeClr val="tx1"/>
                  </a:solidFill>
                  <a:latin typeface="Arial" pitchFamily="34" charset="0"/>
                </a:defRPr>
              </a:lvl5pPr>
              <a:lvl6pPr marL="2514600" indent="-228600" eaLnBrk="0" fontAlgn="base" hangingPunct="0">
                <a:spcBef>
                  <a:spcPct val="0"/>
                </a:spcBef>
                <a:spcAft>
                  <a:spcPct val="0"/>
                </a:spcAft>
                <a:defRPr b="1" i="1">
                  <a:solidFill>
                    <a:schemeClr val="tx1"/>
                  </a:solidFill>
                  <a:latin typeface="Arial" pitchFamily="34" charset="0"/>
                </a:defRPr>
              </a:lvl6pPr>
              <a:lvl7pPr marL="2971800" indent="-228600" eaLnBrk="0" fontAlgn="base" hangingPunct="0">
                <a:spcBef>
                  <a:spcPct val="0"/>
                </a:spcBef>
                <a:spcAft>
                  <a:spcPct val="0"/>
                </a:spcAft>
                <a:defRPr b="1" i="1">
                  <a:solidFill>
                    <a:schemeClr val="tx1"/>
                  </a:solidFill>
                  <a:latin typeface="Arial" pitchFamily="34" charset="0"/>
                </a:defRPr>
              </a:lvl7pPr>
              <a:lvl8pPr marL="3429000" indent="-228600" eaLnBrk="0" fontAlgn="base" hangingPunct="0">
                <a:spcBef>
                  <a:spcPct val="0"/>
                </a:spcBef>
                <a:spcAft>
                  <a:spcPct val="0"/>
                </a:spcAft>
                <a:defRPr b="1" i="1">
                  <a:solidFill>
                    <a:schemeClr val="tx1"/>
                  </a:solidFill>
                  <a:latin typeface="Arial" pitchFamily="34" charset="0"/>
                </a:defRPr>
              </a:lvl8pPr>
              <a:lvl9pPr marL="3886200" indent="-228600" eaLnBrk="0" fontAlgn="base" hangingPunct="0">
                <a:spcBef>
                  <a:spcPct val="0"/>
                </a:spcBef>
                <a:spcAft>
                  <a:spcPct val="0"/>
                </a:spcAft>
                <a:defRPr b="1" i="1">
                  <a:solidFill>
                    <a:schemeClr val="tx1"/>
                  </a:solidFill>
                  <a:latin typeface="Arial" pitchFamily="34" charset="0"/>
                </a:defRPr>
              </a:lvl9pPr>
            </a:lstStyle>
            <a:p>
              <a:pPr marL="0" marR="0" lvl="0" indent="0" algn="l" defTabSz="914377" rtl="0" eaLnBrk="0"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 TIPTRAILER </a:t>
              </a:r>
            </a:p>
          </p:txBody>
        </p:sp>
        <p:sp>
          <p:nvSpPr>
            <p:cNvPr id="52" name="Line 60"/>
            <p:cNvSpPr>
              <a:spLocks noChangeShapeType="1"/>
            </p:cNvSpPr>
            <p:nvPr/>
          </p:nvSpPr>
          <p:spPr bwMode="auto">
            <a:xfrm flipV="1">
              <a:off x="2097883" y="5766786"/>
              <a:ext cx="561184" cy="2301"/>
            </a:xfrm>
            <a:prstGeom prst="line">
              <a:avLst/>
            </a:prstGeom>
            <a:noFill/>
            <a:ln w="38100" cmpd="dbl">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3" name="Oval 36"/>
            <p:cNvSpPr>
              <a:spLocks noChangeArrowheads="1"/>
            </p:cNvSpPr>
            <p:nvPr/>
          </p:nvSpPr>
          <p:spPr bwMode="auto">
            <a:xfrm>
              <a:off x="5952745" y="4883794"/>
              <a:ext cx="164334" cy="240240"/>
            </a:xfrm>
            <a:prstGeom prst="ellipse">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4" name="Rectangle 18"/>
            <p:cNvSpPr>
              <a:spLocks noChangeArrowheads="1"/>
            </p:cNvSpPr>
            <p:nvPr/>
          </p:nvSpPr>
          <p:spPr bwMode="auto">
            <a:xfrm>
              <a:off x="5966730" y="2456412"/>
              <a:ext cx="64874" cy="23913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5" name="Oval 21"/>
            <p:cNvSpPr>
              <a:spLocks noChangeArrowheads="1"/>
            </p:cNvSpPr>
            <p:nvPr/>
          </p:nvSpPr>
          <p:spPr bwMode="auto">
            <a:xfrm>
              <a:off x="6651701" y="2615836"/>
              <a:ext cx="196308" cy="240108"/>
            </a:xfrm>
            <a:prstGeom prst="ellipse">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sp>
          <p:nvSpPr>
            <p:cNvPr id="56" name="Oval 21"/>
            <p:cNvSpPr>
              <a:spLocks noChangeArrowheads="1"/>
            </p:cNvSpPr>
            <p:nvPr/>
          </p:nvSpPr>
          <p:spPr bwMode="auto">
            <a:xfrm>
              <a:off x="6096000" y="2590800"/>
              <a:ext cx="196308" cy="240108"/>
            </a:xfrm>
            <a:prstGeom prst="ellipse">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endParaRPr>
            </a:p>
          </p:txBody>
        </p:sp>
      </p:grpSp>
      <p:sp>
        <p:nvSpPr>
          <p:cNvPr id="66" name="Rectangle 65"/>
          <p:cNvSpPr/>
          <p:nvPr/>
        </p:nvSpPr>
        <p:spPr bwMode="auto">
          <a:xfrm>
            <a:off x="4018820" y="1295400"/>
            <a:ext cx="1052813" cy="381000"/>
          </a:xfrm>
          <a:prstGeom prst="rect">
            <a:avLst/>
          </a:prstGeom>
          <a:solidFill>
            <a:srgbClr val="FFFF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TYPE</a:t>
            </a:r>
          </a:p>
        </p:txBody>
      </p:sp>
      <p:sp>
        <p:nvSpPr>
          <p:cNvPr id="67" name="Rectangle 66"/>
          <p:cNvSpPr/>
          <p:nvPr/>
        </p:nvSpPr>
        <p:spPr bwMode="auto">
          <a:xfrm>
            <a:off x="6398931" y="1295312"/>
            <a:ext cx="2671868" cy="381000"/>
          </a:xfrm>
          <a:prstGeom prst="rect">
            <a:avLst/>
          </a:prstGeom>
          <a:solidFill>
            <a:srgbClr val="FFFF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Calibri" pitchFamily="34" charset="0"/>
              </a:rPr>
              <a:t>SEGMENT</a:t>
            </a:r>
          </a:p>
        </p:txBody>
      </p:sp>
    </p:spTree>
    <p:extLst>
      <p:ext uri="{BB962C8B-B14F-4D97-AF65-F5344CB8AC3E}">
        <p14:creationId xmlns:p14="http://schemas.microsoft.com/office/powerpoint/2010/main" val="208709329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17"/>
          <p:cNvSpPr/>
          <p:nvPr/>
        </p:nvSpPr>
        <p:spPr>
          <a:xfrm>
            <a:off x="188639" y="4002451"/>
            <a:ext cx="2142759" cy="1246909"/>
          </a:xfrm>
          <a:prstGeom prst="roundRect">
            <a:avLst/>
          </a:prstGeom>
          <a:solidFill>
            <a:srgbClr val="E7E6E6"/>
          </a:solidFill>
          <a:ln w="12700" cap="flat" cmpd="sng" algn="ctr">
            <a:solidFill>
              <a:srgbClr val="4472C4">
                <a:shade val="50000"/>
              </a:srgbClr>
            </a:solid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entury Gothic" panose="020B0502020202020204" pitchFamily="34" charset="0"/>
              </a:rPr>
              <a:t>Decides the gear shift strategy based on accelerator pedal position</a:t>
            </a:r>
          </a:p>
        </p:txBody>
      </p:sp>
      <p:sp>
        <p:nvSpPr>
          <p:cNvPr id="20" name="Rounded Rectangle 19"/>
          <p:cNvSpPr/>
          <p:nvPr/>
        </p:nvSpPr>
        <p:spPr>
          <a:xfrm>
            <a:off x="2404664" y="4002452"/>
            <a:ext cx="2299627" cy="1246909"/>
          </a:xfrm>
          <a:prstGeom prst="roundRect">
            <a:avLst/>
          </a:prstGeom>
          <a:solidFill>
            <a:srgbClr val="E7E6E6"/>
          </a:solidFill>
          <a:ln w="12700" cap="flat" cmpd="sng" algn="ctr">
            <a:solidFill>
              <a:srgbClr val="4472C4">
                <a:shade val="50000"/>
              </a:srgbClr>
            </a:solid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entury Gothic" panose="020B0502020202020204" pitchFamily="34" charset="0"/>
              </a:rPr>
              <a:t>Changes the gear shift strategy based on the operating gradient of the vehicle</a:t>
            </a:r>
          </a:p>
        </p:txBody>
      </p:sp>
      <p:sp>
        <p:nvSpPr>
          <p:cNvPr id="22" name="Rounded Rectangle 21"/>
          <p:cNvSpPr/>
          <p:nvPr/>
        </p:nvSpPr>
        <p:spPr>
          <a:xfrm>
            <a:off x="4826205" y="4011618"/>
            <a:ext cx="2435628" cy="1246909"/>
          </a:xfrm>
          <a:prstGeom prst="roundRect">
            <a:avLst/>
          </a:prstGeom>
          <a:solidFill>
            <a:srgbClr val="E7E6E6"/>
          </a:solidFill>
          <a:ln w="12700" cap="flat" cmpd="sng" algn="ctr">
            <a:solidFill>
              <a:srgbClr val="4472C4">
                <a:shade val="50000"/>
              </a:srgbClr>
            </a:solid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entury Gothic" panose="020B0502020202020204" pitchFamily="34" charset="0"/>
              </a:rPr>
              <a:t>Makes the vehicle to neutral in 120 seconds automatically when the ignition switch is turned off</a:t>
            </a:r>
          </a:p>
        </p:txBody>
      </p:sp>
      <p:sp>
        <p:nvSpPr>
          <p:cNvPr id="24" name="Rounded Rectangle 23"/>
          <p:cNvSpPr/>
          <p:nvPr/>
        </p:nvSpPr>
        <p:spPr>
          <a:xfrm>
            <a:off x="7375132" y="4023591"/>
            <a:ext cx="2283228" cy="1246909"/>
          </a:xfrm>
          <a:prstGeom prst="roundRect">
            <a:avLst/>
          </a:prstGeom>
          <a:solidFill>
            <a:srgbClr val="E7E6E6"/>
          </a:solidFill>
          <a:ln w="12700" cap="flat" cmpd="sng" algn="ctr">
            <a:solidFill>
              <a:srgbClr val="4472C4">
                <a:shade val="50000"/>
              </a:srgbClr>
            </a:solid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entury Gothic" panose="020B0502020202020204" pitchFamily="34" charset="0"/>
              </a:rPr>
              <a:t>Integrated with brake system to ensure zero roll back during vehicle launch - Switch available in dash board</a:t>
            </a:r>
          </a:p>
        </p:txBody>
      </p:sp>
      <p:sp>
        <p:nvSpPr>
          <p:cNvPr id="28" name="Rounded Rectangle 27"/>
          <p:cNvSpPr/>
          <p:nvPr/>
        </p:nvSpPr>
        <p:spPr>
          <a:xfrm>
            <a:off x="9786851" y="4002453"/>
            <a:ext cx="2283226" cy="1246909"/>
          </a:xfrm>
          <a:prstGeom prst="roundRect">
            <a:avLst/>
          </a:prstGeom>
          <a:solidFill>
            <a:srgbClr val="E7E6E6"/>
          </a:solidFill>
          <a:ln w="12700" cap="flat" cmpd="sng" algn="ctr">
            <a:solidFill>
              <a:srgbClr val="4472C4">
                <a:shade val="50000"/>
              </a:srgbClr>
            </a:solid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entury Gothic" panose="020B0502020202020204" pitchFamily="34" charset="0"/>
              </a:rPr>
              <a:t>Protects the engine by not allowing the engine speed to exceed the threshold limits</a:t>
            </a:r>
          </a:p>
        </p:txBody>
      </p:sp>
      <p:sp>
        <p:nvSpPr>
          <p:cNvPr id="17" name="Snip Single Corner Rectangle 16"/>
          <p:cNvSpPr/>
          <p:nvPr/>
        </p:nvSpPr>
        <p:spPr>
          <a:xfrm>
            <a:off x="269597" y="5626329"/>
            <a:ext cx="1908363" cy="738448"/>
          </a:xfrm>
          <a:prstGeom prst="snip1Rect">
            <a:avLst/>
          </a:prstGeom>
          <a:solidFill>
            <a:srgbClr val="0070C0"/>
          </a:solidFill>
          <a:ln>
            <a:noFill/>
          </a:ln>
          <a:effectLst>
            <a:outerShdw blurRad="57150" dist="19050" dir="5400000" algn="ctr" rotWithShape="0">
              <a:srgbClr val="000000">
                <a:alpha val="63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Better pickup</a:t>
            </a:r>
          </a:p>
        </p:txBody>
      </p:sp>
      <p:sp>
        <p:nvSpPr>
          <p:cNvPr id="19" name="Snip Single Corner Rectangle 18"/>
          <p:cNvSpPr/>
          <p:nvPr/>
        </p:nvSpPr>
        <p:spPr>
          <a:xfrm>
            <a:off x="2661303" y="5626329"/>
            <a:ext cx="1908363" cy="738448"/>
          </a:xfrm>
          <a:prstGeom prst="snip1Rect">
            <a:avLst/>
          </a:prstGeom>
          <a:solidFill>
            <a:srgbClr val="0070C0"/>
          </a:solidFill>
          <a:ln>
            <a:noFill/>
          </a:ln>
          <a:effectLst>
            <a:outerShdw blurRad="57150" dist="19050" dir="5400000" algn="ctr" rotWithShape="0">
              <a:srgbClr val="000000">
                <a:alpha val="63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Better drivability and acceleration</a:t>
            </a:r>
          </a:p>
        </p:txBody>
      </p:sp>
      <p:sp>
        <p:nvSpPr>
          <p:cNvPr id="21" name="Snip Single Corner Rectangle 20"/>
          <p:cNvSpPr/>
          <p:nvPr/>
        </p:nvSpPr>
        <p:spPr>
          <a:xfrm>
            <a:off x="5037276" y="5626329"/>
            <a:ext cx="1908363" cy="738448"/>
          </a:xfrm>
          <a:prstGeom prst="snip1Rect">
            <a:avLst/>
          </a:prstGeom>
          <a:solidFill>
            <a:srgbClr val="0070C0"/>
          </a:solidFill>
          <a:ln>
            <a:noFill/>
          </a:ln>
          <a:effectLst>
            <a:outerShdw blurRad="57150" dist="19050" dir="5400000" algn="ctr" rotWithShape="0">
              <a:srgbClr val="000000">
                <a:alpha val="63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Enhanced clutch life</a:t>
            </a:r>
          </a:p>
        </p:txBody>
      </p:sp>
      <p:sp>
        <p:nvSpPr>
          <p:cNvPr id="23" name="Snip Single Corner Rectangle 22"/>
          <p:cNvSpPr/>
          <p:nvPr/>
        </p:nvSpPr>
        <p:spPr>
          <a:xfrm>
            <a:off x="7473297" y="5636911"/>
            <a:ext cx="2057400" cy="738448"/>
          </a:xfrm>
          <a:prstGeom prst="snip1Rect">
            <a:avLst/>
          </a:prstGeom>
          <a:solidFill>
            <a:srgbClr val="0070C0"/>
          </a:solidFill>
          <a:ln>
            <a:noFill/>
          </a:ln>
          <a:effectLst>
            <a:outerShdw blurRad="57150" dist="19050" dir="5400000" algn="ctr" rotWithShape="0">
              <a:srgbClr val="000000">
                <a:alpha val="63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Enhanced safety and control</a:t>
            </a:r>
          </a:p>
        </p:txBody>
      </p:sp>
      <p:sp>
        <p:nvSpPr>
          <p:cNvPr id="25" name="Snip Single Corner Rectangle 24"/>
          <p:cNvSpPr/>
          <p:nvPr/>
        </p:nvSpPr>
        <p:spPr>
          <a:xfrm>
            <a:off x="9787066" y="5636911"/>
            <a:ext cx="2216295" cy="738448"/>
          </a:xfrm>
          <a:prstGeom prst="snip1Rect">
            <a:avLst/>
          </a:prstGeom>
          <a:solidFill>
            <a:srgbClr val="0070C0"/>
          </a:solidFill>
          <a:ln>
            <a:noFill/>
          </a:ln>
          <a:effectLst>
            <a:outerShdw blurRad="57150" dist="19050" dir="5400000" algn="ctr" rotWithShape="0">
              <a:srgbClr val="000000">
                <a:alpha val="63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Advanced system protection</a:t>
            </a:r>
          </a:p>
        </p:txBody>
      </p:sp>
      <p:sp>
        <p:nvSpPr>
          <p:cNvPr id="32" name="Oval 31">
            <a:extLst>
              <a:ext uri="{FF2B5EF4-FFF2-40B4-BE49-F238E27FC236}">
                <a16:creationId xmlns:a16="http://schemas.microsoft.com/office/drawing/2014/main" id="{767CAFB3-9BC3-479F-8D72-72C9A77D6683}"/>
              </a:ext>
            </a:extLst>
          </p:cNvPr>
          <p:cNvSpPr/>
          <p:nvPr/>
        </p:nvSpPr>
        <p:spPr>
          <a:xfrm>
            <a:off x="11589360" y="1382360"/>
            <a:ext cx="1966362" cy="1945508"/>
          </a:xfrm>
          <a:prstGeom prst="ellipse">
            <a:avLst/>
          </a:prstGeom>
          <a:no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sp>
      <p:sp>
        <p:nvSpPr>
          <p:cNvPr id="35" name="Teardrop 34">
            <a:extLst>
              <a:ext uri="{FF2B5EF4-FFF2-40B4-BE49-F238E27FC236}">
                <a16:creationId xmlns:a16="http://schemas.microsoft.com/office/drawing/2014/main" id="{2FADAA28-E52E-4518-9BC9-6FA9FD1ECC21}"/>
              </a:ext>
            </a:extLst>
          </p:cNvPr>
          <p:cNvSpPr/>
          <p:nvPr/>
        </p:nvSpPr>
        <p:spPr>
          <a:xfrm rot="8066164">
            <a:off x="9698258" y="1442783"/>
            <a:ext cx="1945604" cy="1966086"/>
          </a:xfrm>
          <a:prstGeom prst="teardrop">
            <a:avLst>
              <a:gd name="adj" fmla="val 100000"/>
            </a:avLst>
          </a:prstGeom>
          <a:solidFill>
            <a:srgbClr val="A5A5A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sp>
      <p:sp>
        <p:nvSpPr>
          <p:cNvPr id="36" name="Freeform: Shape 35">
            <a:extLst>
              <a:ext uri="{FF2B5EF4-FFF2-40B4-BE49-F238E27FC236}">
                <a16:creationId xmlns:a16="http://schemas.microsoft.com/office/drawing/2014/main" id="{E53BA3DD-C98C-471F-B152-BBC57B060304}"/>
              </a:ext>
            </a:extLst>
          </p:cNvPr>
          <p:cNvSpPr/>
          <p:nvPr/>
        </p:nvSpPr>
        <p:spPr>
          <a:xfrm>
            <a:off x="9732551" y="1543003"/>
            <a:ext cx="1835188" cy="1815784"/>
          </a:xfrm>
          <a:custGeom>
            <a:avLst/>
            <a:gdLst>
              <a:gd name="connsiteX0" fmla="*/ 0 w 1799849"/>
              <a:gd name="connsiteY0" fmla="*/ 899783 h 1799566"/>
              <a:gd name="connsiteX1" fmla="*/ 899925 w 1799849"/>
              <a:gd name="connsiteY1" fmla="*/ 0 h 1799566"/>
              <a:gd name="connsiteX2" fmla="*/ 1799850 w 1799849"/>
              <a:gd name="connsiteY2" fmla="*/ 899783 h 1799566"/>
              <a:gd name="connsiteX3" fmla="*/ 899925 w 1799849"/>
              <a:gd name="connsiteY3" fmla="*/ 1799566 h 1799566"/>
              <a:gd name="connsiteX4" fmla="*/ 0 w 1799849"/>
              <a:gd name="connsiteY4" fmla="*/ 899783 h 1799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9849" h="1799566">
                <a:moveTo>
                  <a:pt x="0" y="899783"/>
                </a:moveTo>
                <a:cubicBezTo>
                  <a:pt x="0" y="402847"/>
                  <a:pt x="402910" y="0"/>
                  <a:pt x="899925" y="0"/>
                </a:cubicBezTo>
                <a:cubicBezTo>
                  <a:pt x="1396940" y="0"/>
                  <a:pt x="1799850" y="402847"/>
                  <a:pt x="1799850" y="899783"/>
                </a:cubicBezTo>
                <a:cubicBezTo>
                  <a:pt x="1799850" y="1396719"/>
                  <a:pt x="1396940" y="1799566"/>
                  <a:pt x="899925" y="1799566"/>
                </a:cubicBezTo>
                <a:cubicBezTo>
                  <a:pt x="402910" y="1799566"/>
                  <a:pt x="0" y="1396719"/>
                  <a:pt x="0" y="899783"/>
                </a:cubicBezTo>
                <a:close/>
              </a:path>
            </a:pathLst>
          </a:custGeom>
          <a:solidFill>
            <a:sysClr val="window" lastClr="FFFFFF">
              <a:alpha val="90000"/>
              <a:hueOff val="0"/>
              <a:satOff val="0"/>
              <a:lumOff val="0"/>
              <a:alphaOff val="0"/>
            </a:sysClr>
          </a:solidFill>
          <a:ln w="12700" cap="flat" cmpd="sng" algn="ctr">
            <a:solidFill>
              <a:srgbClr val="A5A5A5">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445518" tIns="465679" rIns="445517" bIns="465677"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600" b="1" i="0" u="none" strike="noStrike" kern="1200" cap="none" spc="0" normalizeH="0" baseline="0" noProof="0" dirty="0">
              <a:ln>
                <a:noFill/>
              </a:ln>
              <a:solidFill>
                <a:sysClr val="windowText" lastClr="000000">
                  <a:hueOff val="0"/>
                  <a:satOff val="0"/>
                  <a:lumOff val="0"/>
                  <a:alphaOff val="0"/>
                </a:sysClr>
              </a:solidFill>
              <a:effectLst/>
              <a:uLnTx/>
              <a:uFillTx/>
              <a:latin typeface="Century Gothic" panose="020B0502020202020204" pitchFamily="34" charset="0"/>
              <a:cs typeface="Calibri" panose="020F0502020204030204" pitchFamily="34" charset="0"/>
            </a:endParaRPr>
          </a:p>
        </p:txBody>
      </p:sp>
      <p:sp>
        <p:nvSpPr>
          <p:cNvPr id="37" name="Teardrop 36">
            <a:extLst>
              <a:ext uri="{FF2B5EF4-FFF2-40B4-BE49-F238E27FC236}">
                <a16:creationId xmlns:a16="http://schemas.microsoft.com/office/drawing/2014/main" id="{6529633F-EB80-4226-BA92-715A6740A467}"/>
              </a:ext>
            </a:extLst>
          </p:cNvPr>
          <p:cNvSpPr/>
          <p:nvPr/>
        </p:nvSpPr>
        <p:spPr>
          <a:xfrm rot="8076515">
            <a:off x="7376740" y="1410771"/>
            <a:ext cx="1945604" cy="1966086"/>
          </a:xfrm>
          <a:prstGeom prst="teardrop">
            <a:avLst>
              <a:gd name="adj" fmla="val 100000"/>
            </a:avLst>
          </a:prstGeo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sp>
      <p:sp>
        <p:nvSpPr>
          <p:cNvPr id="38" name="Freeform: Shape 37">
            <a:extLst>
              <a:ext uri="{FF2B5EF4-FFF2-40B4-BE49-F238E27FC236}">
                <a16:creationId xmlns:a16="http://schemas.microsoft.com/office/drawing/2014/main" id="{84EDE4CD-244E-4067-8054-61941AEC6EC6}"/>
              </a:ext>
            </a:extLst>
          </p:cNvPr>
          <p:cNvSpPr/>
          <p:nvPr/>
        </p:nvSpPr>
        <p:spPr>
          <a:xfrm>
            <a:off x="7408723" y="1447800"/>
            <a:ext cx="1835188" cy="1815784"/>
          </a:xfrm>
          <a:custGeom>
            <a:avLst/>
            <a:gdLst>
              <a:gd name="connsiteX0" fmla="*/ 0 w 1799849"/>
              <a:gd name="connsiteY0" fmla="*/ 899783 h 1799566"/>
              <a:gd name="connsiteX1" fmla="*/ 899925 w 1799849"/>
              <a:gd name="connsiteY1" fmla="*/ 0 h 1799566"/>
              <a:gd name="connsiteX2" fmla="*/ 1799850 w 1799849"/>
              <a:gd name="connsiteY2" fmla="*/ 899783 h 1799566"/>
              <a:gd name="connsiteX3" fmla="*/ 899925 w 1799849"/>
              <a:gd name="connsiteY3" fmla="*/ 1799566 h 1799566"/>
              <a:gd name="connsiteX4" fmla="*/ 0 w 1799849"/>
              <a:gd name="connsiteY4" fmla="*/ 899783 h 1799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9849" h="1799566">
                <a:moveTo>
                  <a:pt x="0" y="899783"/>
                </a:moveTo>
                <a:cubicBezTo>
                  <a:pt x="0" y="402847"/>
                  <a:pt x="402910" y="0"/>
                  <a:pt x="899925" y="0"/>
                </a:cubicBezTo>
                <a:cubicBezTo>
                  <a:pt x="1396940" y="0"/>
                  <a:pt x="1799850" y="402847"/>
                  <a:pt x="1799850" y="899783"/>
                </a:cubicBezTo>
                <a:cubicBezTo>
                  <a:pt x="1799850" y="1396719"/>
                  <a:pt x="1396940" y="1799566"/>
                  <a:pt x="899925" y="1799566"/>
                </a:cubicBezTo>
                <a:cubicBezTo>
                  <a:pt x="402910" y="1799566"/>
                  <a:pt x="0" y="1396719"/>
                  <a:pt x="0" y="899783"/>
                </a:cubicBezTo>
                <a:close/>
              </a:path>
            </a:pathLst>
          </a:custGeom>
          <a:solidFill>
            <a:sysClr val="window" lastClr="FFFFFF">
              <a:alpha val="90000"/>
              <a:hueOff val="0"/>
              <a:satOff val="0"/>
              <a:lumOff val="0"/>
              <a:alphaOff val="0"/>
            </a:sysClr>
          </a:solidFill>
          <a:ln w="12700" cap="flat" cmpd="sng" algn="ctr">
            <a:solidFill>
              <a:srgbClr val="FFC000">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445517" tIns="465679" rIns="445518" bIns="465677"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600" b="1" i="0" u="none" strike="noStrike" kern="1200" cap="none" spc="0" normalizeH="0" baseline="0" noProof="0" dirty="0">
              <a:ln>
                <a:noFill/>
              </a:ln>
              <a:solidFill>
                <a:sysClr val="windowText" lastClr="000000">
                  <a:hueOff val="0"/>
                  <a:satOff val="0"/>
                  <a:lumOff val="0"/>
                  <a:alphaOff val="0"/>
                </a:sysClr>
              </a:solidFill>
              <a:effectLst/>
              <a:uLnTx/>
              <a:uFillTx/>
              <a:latin typeface="Century Gothic" panose="020B0502020202020204" pitchFamily="34" charset="0"/>
              <a:cs typeface="Calibri" panose="020F0502020204030204" pitchFamily="34" charset="0"/>
            </a:endParaRPr>
          </a:p>
        </p:txBody>
      </p:sp>
      <p:sp>
        <p:nvSpPr>
          <p:cNvPr id="39" name="Teardrop 38">
            <a:extLst>
              <a:ext uri="{FF2B5EF4-FFF2-40B4-BE49-F238E27FC236}">
                <a16:creationId xmlns:a16="http://schemas.microsoft.com/office/drawing/2014/main" id="{925DBC72-B423-4E2C-9B28-A8D71442EC03}"/>
              </a:ext>
            </a:extLst>
          </p:cNvPr>
          <p:cNvSpPr/>
          <p:nvPr/>
        </p:nvSpPr>
        <p:spPr>
          <a:xfrm rot="8106378">
            <a:off x="5104250" y="1412771"/>
            <a:ext cx="1966086" cy="1945604"/>
          </a:xfrm>
          <a:prstGeom prst="teardrop">
            <a:avLst>
              <a:gd name="adj" fmla="val 100000"/>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sp>
      <p:sp>
        <p:nvSpPr>
          <p:cNvPr id="40" name="Freeform: Shape 39">
            <a:extLst>
              <a:ext uri="{FF2B5EF4-FFF2-40B4-BE49-F238E27FC236}">
                <a16:creationId xmlns:a16="http://schemas.microsoft.com/office/drawing/2014/main" id="{F30F45E6-BA33-4D28-BFB5-F33EC4082164}"/>
              </a:ext>
            </a:extLst>
          </p:cNvPr>
          <p:cNvSpPr/>
          <p:nvPr/>
        </p:nvSpPr>
        <p:spPr>
          <a:xfrm>
            <a:off x="5131344" y="1447800"/>
            <a:ext cx="1835188" cy="1815784"/>
          </a:xfrm>
          <a:custGeom>
            <a:avLst/>
            <a:gdLst>
              <a:gd name="connsiteX0" fmla="*/ 0 w 1799849"/>
              <a:gd name="connsiteY0" fmla="*/ 899783 h 1799566"/>
              <a:gd name="connsiteX1" fmla="*/ 899925 w 1799849"/>
              <a:gd name="connsiteY1" fmla="*/ 0 h 1799566"/>
              <a:gd name="connsiteX2" fmla="*/ 1799850 w 1799849"/>
              <a:gd name="connsiteY2" fmla="*/ 899783 h 1799566"/>
              <a:gd name="connsiteX3" fmla="*/ 899925 w 1799849"/>
              <a:gd name="connsiteY3" fmla="*/ 1799566 h 1799566"/>
              <a:gd name="connsiteX4" fmla="*/ 0 w 1799849"/>
              <a:gd name="connsiteY4" fmla="*/ 899783 h 1799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9849" h="1799566">
                <a:moveTo>
                  <a:pt x="0" y="899783"/>
                </a:moveTo>
                <a:cubicBezTo>
                  <a:pt x="0" y="402847"/>
                  <a:pt x="402910" y="0"/>
                  <a:pt x="899925" y="0"/>
                </a:cubicBezTo>
                <a:cubicBezTo>
                  <a:pt x="1396940" y="0"/>
                  <a:pt x="1799850" y="402847"/>
                  <a:pt x="1799850" y="899783"/>
                </a:cubicBezTo>
                <a:cubicBezTo>
                  <a:pt x="1799850" y="1396719"/>
                  <a:pt x="1396940" y="1799566"/>
                  <a:pt x="899925" y="1799566"/>
                </a:cubicBezTo>
                <a:cubicBezTo>
                  <a:pt x="402910" y="1799566"/>
                  <a:pt x="0" y="1396719"/>
                  <a:pt x="0" y="899783"/>
                </a:cubicBezTo>
                <a:close/>
              </a:path>
            </a:pathLst>
          </a:custGeom>
          <a:solidFill>
            <a:sysClr val="window" lastClr="FFFFFF">
              <a:alpha val="90000"/>
              <a:hueOff val="0"/>
              <a:satOff val="0"/>
              <a:lumOff val="0"/>
              <a:alphaOff val="0"/>
            </a:sysClr>
          </a:solidFill>
          <a:ln w="12700" cap="flat" cmpd="sng" algn="ctr">
            <a:solidFill>
              <a:srgbClr val="5B9BD5">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464612" tIns="465678" rIns="467063" bIns="465678"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600" b="1" i="0" u="none" strike="noStrike" kern="1200" cap="none" spc="0" normalizeH="0" baseline="0" noProof="0" dirty="0">
              <a:ln>
                <a:noFill/>
              </a:ln>
              <a:solidFill>
                <a:sysClr val="windowText" lastClr="000000">
                  <a:hueOff val="0"/>
                  <a:satOff val="0"/>
                  <a:lumOff val="0"/>
                  <a:alphaOff val="0"/>
                </a:sysClr>
              </a:solidFill>
              <a:effectLst/>
              <a:uLnTx/>
              <a:uFillTx/>
              <a:latin typeface="Century Gothic" panose="020B0502020202020204" pitchFamily="34" charset="0"/>
              <a:cs typeface="Calibri" panose="020F0502020204030204" pitchFamily="34" charset="0"/>
            </a:endParaRPr>
          </a:p>
        </p:txBody>
      </p:sp>
      <p:sp>
        <p:nvSpPr>
          <p:cNvPr id="41" name="Teardrop 40">
            <a:extLst>
              <a:ext uri="{FF2B5EF4-FFF2-40B4-BE49-F238E27FC236}">
                <a16:creationId xmlns:a16="http://schemas.microsoft.com/office/drawing/2014/main" id="{D896EA4D-0701-41CA-92FC-D6583C8F3F59}"/>
              </a:ext>
            </a:extLst>
          </p:cNvPr>
          <p:cNvSpPr/>
          <p:nvPr/>
        </p:nvSpPr>
        <p:spPr>
          <a:xfrm rot="8139600">
            <a:off x="2633768" y="1413226"/>
            <a:ext cx="1966085" cy="1945604"/>
          </a:xfrm>
          <a:prstGeom prst="teardrop">
            <a:avLst>
              <a:gd name="adj" fmla="val 100000"/>
            </a:avLst>
          </a:prstGeo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sp>
      <p:sp>
        <p:nvSpPr>
          <p:cNvPr id="42" name="Freeform: Shape 41">
            <a:extLst>
              <a:ext uri="{FF2B5EF4-FFF2-40B4-BE49-F238E27FC236}">
                <a16:creationId xmlns:a16="http://schemas.microsoft.com/office/drawing/2014/main" id="{46E06ED7-1F1B-4528-8C9D-8DB89675D08A}"/>
              </a:ext>
            </a:extLst>
          </p:cNvPr>
          <p:cNvSpPr/>
          <p:nvPr/>
        </p:nvSpPr>
        <p:spPr>
          <a:xfrm>
            <a:off x="2717159" y="1485921"/>
            <a:ext cx="1835188" cy="1815784"/>
          </a:xfrm>
          <a:custGeom>
            <a:avLst/>
            <a:gdLst>
              <a:gd name="connsiteX0" fmla="*/ 0 w 1799849"/>
              <a:gd name="connsiteY0" fmla="*/ 899783 h 1799566"/>
              <a:gd name="connsiteX1" fmla="*/ 899925 w 1799849"/>
              <a:gd name="connsiteY1" fmla="*/ 0 h 1799566"/>
              <a:gd name="connsiteX2" fmla="*/ 1799850 w 1799849"/>
              <a:gd name="connsiteY2" fmla="*/ 899783 h 1799566"/>
              <a:gd name="connsiteX3" fmla="*/ 899925 w 1799849"/>
              <a:gd name="connsiteY3" fmla="*/ 1799566 h 1799566"/>
              <a:gd name="connsiteX4" fmla="*/ 0 w 1799849"/>
              <a:gd name="connsiteY4" fmla="*/ 899783 h 1799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9849" h="1799566">
                <a:moveTo>
                  <a:pt x="0" y="899783"/>
                </a:moveTo>
                <a:cubicBezTo>
                  <a:pt x="0" y="402847"/>
                  <a:pt x="402910" y="0"/>
                  <a:pt x="899925" y="0"/>
                </a:cubicBezTo>
                <a:cubicBezTo>
                  <a:pt x="1396940" y="0"/>
                  <a:pt x="1799850" y="402847"/>
                  <a:pt x="1799850" y="899783"/>
                </a:cubicBezTo>
                <a:cubicBezTo>
                  <a:pt x="1799850" y="1396719"/>
                  <a:pt x="1396940" y="1799566"/>
                  <a:pt x="899925" y="1799566"/>
                </a:cubicBezTo>
                <a:cubicBezTo>
                  <a:pt x="402910" y="1799566"/>
                  <a:pt x="0" y="1396719"/>
                  <a:pt x="0" y="899783"/>
                </a:cubicBezTo>
                <a:close/>
              </a:path>
            </a:pathLst>
          </a:custGeom>
          <a:solidFill>
            <a:sysClr val="window" lastClr="FFFFFF">
              <a:alpha val="90000"/>
              <a:hueOff val="0"/>
              <a:satOff val="0"/>
              <a:lumOff val="0"/>
              <a:alphaOff val="0"/>
            </a:sysClr>
          </a:solidFill>
          <a:ln w="12700" cap="flat" cmpd="sng" algn="ctr">
            <a:solidFill>
              <a:srgbClr val="70AD47">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464612" tIns="465678" rIns="467063" bIns="465678"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600" b="1" i="0" u="none" strike="noStrike" kern="1200" cap="none" spc="0" normalizeH="0" baseline="0" noProof="0" dirty="0">
              <a:ln>
                <a:noFill/>
              </a:ln>
              <a:solidFill>
                <a:sysClr val="windowText" lastClr="000000">
                  <a:hueOff val="0"/>
                  <a:satOff val="0"/>
                  <a:lumOff val="0"/>
                  <a:alphaOff val="0"/>
                </a:sysClr>
              </a:solidFill>
              <a:effectLst/>
              <a:uLnTx/>
              <a:uFillTx/>
              <a:latin typeface="Century Gothic" panose="020B0502020202020204" pitchFamily="34" charset="0"/>
              <a:cs typeface="Calibri" panose="020F0502020204030204" pitchFamily="34" charset="0"/>
            </a:endParaRPr>
          </a:p>
        </p:txBody>
      </p:sp>
      <p:sp>
        <p:nvSpPr>
          <p:cNvPr id="43" name="Teardrop 42">
            <a:extLst>
              <a:ext uri="{FF2B5EF4-FFF2-40B4-BE49-F238E27FC236}">
                <a16:creationId xmlns:a16="http://schemas.microsoft.com/office/drawing/2014/main" id="{12ABA334-EB9B-4F8A-8868-B894BEFF40AD}"/>
              </a:ext>
            </a:extLst>
          </p:cNvPr>
          <p:cNvSpPr/>
          <p:nvPr/>
        </p:nvSpPr>
        <p:spPr>
          <a:xfrm rot="8105742">
            <a:off x="362211" y="1400924"/>
            <a:ext cx="1966086" cy="1945604"/>
          </a:xfrm>
          <a:prstGeom prst="teardrop">
            <a:avLst>
              <a:gd name="adj" fmla="val 105843"/>
            </a:avLst>
          </a:prstGeom>
          <a:blipFill rotWithShape="0">
            <a:blip r:embed="rId2"/>
            <a:stretch>
              <a:fillRect/>
            </a:stretch>
          </a:blip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sp>
      <p:sp>
        <p:nvSpPr>
          <p:cNvPr id="44" name="Freeform: Shape 43">
            <a:extLst>
              <a:ext uri="{FF2B5EF4-FFF2-40B4-BE49-F238E27FC236}">
                <a16:creationId xmlns:a16="http://schemas.microsoft.com/office/drawing/2014/main" id="{3B270C14-003F-4D8B-BF51-67032BA49462}"/>
              </a:ext>
            </a:extLst>
          </p:cNvPr>
          <p:cNvSpPr/>
          <p:nvPr/>
        </p:nvSpPr>
        <p:spPr>
          <a:xfrm>
            <a:off x="411064" y="1447800"/>
            <a:ext cx="1835188" cy="1815784"/>
          </a:xfrm>
          <a:custGeom>
            <a:avLst/>
            <a:gdLst>
              <a:gd name="connsiteX0" fmla="*/ 0 w 1799849"/>
              <a:gd name="connsiteY0" fmla="*/ 899783 h 1799566"/>
              <a:gd name="connsiteX1" fmla="*/ 899925 w 1799849"/>
              <a:gd name="connsiteY1" fmla="*/ 0 h 1799566"/>
              <a:gd name="connsiteX2" fmla="*/ 1799850 w 1799849"/>
              <a:gd name="connsiteY2" fmla="*/ 899783 h 1799566"/>
              <a:gd name="connsiteX3" fmla="*/ 899925 w 1799849"/>
              <a:gd name="connsiteY3" fmla="*/ 1799566 h 1799566"/>
              <a:gd name="connsiteX4" fmla="*/ 0 w 1799849"/>
              <a:gd name="connsiteY4" fmla="*/ 899783 h 1799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9849" h="1799566">
                <a:moveTo>
                  <a:pt x="0" y="899783"/>
                </a:moveTo>
                <a:cubicBezTo>
                  <a:pt x="0" y="402847"/>
                  <a:pt x="402910" y="0"/>
                  <a:pt x="899925" y="0"/>
                </a:cubicBezTo>
                <a:cubicBezTo>
                  <a:pt x="1396940" y="0"/>
                  <a:pt x="1799850" y="402847"/>
                  <a:pt x="1799850" y="899783"/>
                </a:cubicBezTo>
                <a:cubicBezTo>
                  <a:pt x="1799850" y="1396719"/>
                  <a:pt x="1396940" y="1799566"/>
                  <a:pt x="899925" y="1799566"/>
                </a:cubicBezTo>
                <a:cubicBezTo>
                  <a:pt x="402910" y="1799566"/>
                  <a:pt x="0" y="1396719"/>
                  <a:pt x="0" y="899783"/>
                </a:cubicBezTo>
                <a:close/>
              </a:path>
            </a:pathLst>
          </a:custGeom>
          <a:solidFill>
            <a:sysClr val="window" lastClr="FFFFFF">
              <a:alpha val="90000"/>
              <a:hueOff val="0"/>
              <a:satOff val="0"/>
              <a:lumOff val="0"/>
              <a:alphaOff val="0"/>
            </a:sysClr>
          </a:solidFill>
          <a:ln w="12700" cap="flat" cmpd="sng" algn="ctr">
            <a:solidFill>
              <a:srgbClr val="ED7D31">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465838" tIns="465678" rIns="465837" bIns="465678"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400" b="0" i="0" u="none" strike="noStrike" kern="1200" cap="none" spc="0" normalizeH="0" baseline="0" noProof="0" dirty="0">
              <a:ln>
                <a:noFill/>
              </a:ln>
              <a:solidFill>
                <a:sysClr val="windowText" lastClr="000000">
                  <a:hueOff val="0"/>
                  <a:satOff val="0"/>
                  <a:lumOff val="0"/>
                  <a:alphaOff val="0"/>
                </a:sysClr>
              </a:solidFill>
              <a:effectLst/>
              <a:uLnTx/>
              <a:uFillTx/>
              <a:latin typeface="Century Gothic" panose="020B0502020202020204" pitchFamily="34" charset="0"/>
              <a:cs typeface="Calibri" panose="020F0502020204030204" pitchFamily="34" charset="0"/>
            </a:endParaRPr>
          </a:p>
        </p:txBody>
      </p:sp>
      <p:pic>
        <p:nvPicPr>
          <p:cNvPr id="29" name="Picture 28">
            <a:extLst>
              <a:ext uri="{FF2B5EF4-FFF2-40B4-BE49-F238E27FC236}">
                <a16:creationId xmlns:a16="http://schemas.microsoft.com/office/drawing/2014/main" id="{9E4DBE4B-1511-4577-9D68-EFAB66EAE1F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447175" y="141390"/>
            <a:ext cx="622040" cy="622040"/>
          </a:xfrm>
          <a:prstGeom prst="rect">
            <a:avLst/>
          </a:prstGeom>
        </p:spPr>
      </p:pic>
      <p:sp>
        <p:nvSpPr>
          <p:cNvPr id="31" name="Rectangle: Top Corners Snipped 3"/>
          <p:cNvSpPr/>
          <p:nvPr/>
        </p:nvSpPr>
        <p:spPr>
          <a:xfrm rot="10800000">
            <a:off x="975536" y="-5"/>
            <a:ext cx="8093729"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33" name="TextBox 32"/>
          <p:cNvSpPr txBox="1"/>
          <p:nvPr/>
        </p:nvSpPr>
        <p:spPr>
          <a:xfrm>
            <a:off x="1010656" y="124413"/>
            <a:ext cx="7218944" cy="666786"/>
          </a:xfrm>
          <a:prstGeom prst="rect">
            <a:avLst/>
          </a:prstGeom>
          <a:noFill/>
        </p:spPr>
        <p:txBody>
          <a:bodyPr wrap="square" rtlCol="0">
            <a:spAutoFit/>
          </a:bodyPr>
          <a:lstStyle/>
          <a:p>
            <a:pPr defTabSz="1219170"/>
            <a:r>
              <a:rPr lang="en-US" sz="3733" b="1" dirty="0">
                <a:solidFill>
                  <a:srgbClr val="000000"/>
                </a:solidFill>
                <a:latin typeface="Century Gothic" panose="020B0502020202020204" pitchFamily="34" charset="0"/>
              </a:rPr>
              <a:t>9S AMT FEATURES</a:t>
            </a:r>
            <a:endParaRPr lang="en-US" sz="3733" b="1" dirty="0">
              <a:solidFill>
                <a:prstClr val="black"/>
              </a:solidFill>
              <a:latin typeface="Century Gothic" panose="020B0502020202020204" pitchFamily="34" charset="0"/>
            </a:endParaRPr>
          </a:p>
        </p:txBody>
      </p:sp>
      <p:sp>
        <p:nvSpPr>
          <p:cNvPr id="26" name="TextBox 25"/>
          <p:cNvSpPr txBox="1"/>
          <p:nvPr/>
        </p:nvSpPr>
        <p:spPr>
          <a:xfrm>
            <a:off x="9620826" y="2028482"/>
            <a:ext cx="2105660" cy="627864"/>
          </a:xfrm>
          <a:prstGeom prst="rect">
            <a:avLst/>
          </a:prstGeom>
          <a:noFill/>
        </p:spPr>
        <p:txBody>
          <a:bodyPr wrap="square" lIns="91440" tIns="91440" rIns="91440" bIns="91440" rtlCol="0">
            <a:spAutoFit/>
          </a:bodyPr>
          <a:lstStyle/>
          <a:p>
            <a:pPr lvl="0" algn="ctr" defTabSz="711200">
              <a:lnSpc>
                <a:spcPct val="90000"/>
              </a:lnSpc>
              <a:spcBef>
                <a:spcPct val="0"/>
              </a:spcBef>
              <a:spcAft>
                <a:spcPct val="35000"/>
              </a:spcAft>
              <a:defRPr/>
            </a:pPr>
            <a:r>
              <a:rPr lang="en-US" sz="1600" b="1" dirty="0">
                <a:solidFill>
                  <a:sysClr val="windowText" lastClr="000000">
                    <a:hueOff val="0"/>
                    <a:satOff val="0"/>
                    <a:lumOff val="0"/>
                    <a:alphaOff val="0"/>
                  </a:sysClr>
                </a:solidFill>
                <a:latin typeface="Century Gothic" panose="020B0502020202020204" pitchFamily="34" charset="0"/>
                <a:cs typeface="Calibri" panose="020F0502020204030204" pitchFamily="34" charset="0"/>
              </a:rPr>
              <a:t>Engine overrun protection feature</a:t>
            </a:r>
          </a:p>
        </p:txBody>
      </p:sp>
      <p:sp>
        <p:nvSpPr>
          <p:cNvPr id="27" name="TextBox 26"/>
          <p:cNvSpPr txBox="1"/>
          <p:nvPr/>
        </p:nvSpPr>
        <p:spPr>
          <a:xfrm>
            <a:off x="2626802" y="2029340"/>
            <a:ext cx="2105660" cy="849463"/>
          </a:xfrm>
          <a:prstGeom prst="rect">
            <a:avLst/>
          </a:prstGeom>
          <a:noFill/>
        </p:spPr>
        <p:txBody>
          <a:bodyPr wrap="square" lIns="91440" tIns="91440" rIns="91440" bIns="91440" rtlCol="0">
            <a:spAutoFit/>
          </a:bodyPr>
          <a:lstStyle/>
          <a:p>
            <a:pPr lvl="0" algn="ctr" defTabSz="711200">
              <a:lnSpc>
                <a:spcPct val="90000"/>
              </a:lnSpc>
              <a:spcBef>
                <a:spcPct val="0"/>
              </a:spcBef>
              <a:spcAft>
                <a:spcPct val="35000"/>
              </a:spcAft>
              <a:defRPr/>
            </a:pPr>
            <a:r>
              <a:rPr lang="en-US" sz="1600" b="1" dirty="0">
                <a:solidFill>
                  <a:sysClr val="windowText" lastClr="000000">
                    <a:hueOff val="0"/>
                    <a:satOff val="0"/>
                    <a:lumOff val="0"/>
                    <a:alphaOff val="0"/>
                  </a:sysClr>
                </a:solidFill>
                <a:latin typeface="Century Gothic" panose="020B0502020202020204" pitchFamily="34" charset="0"/>
                <a:cs typeface="Calibri" panose="020F0502020204030204" pitchFamily="34" charset="0"/>
              </a:rPr>
              <a:t>Gradient-based gear shifting feature</a:t>
            </a:r>
          </a:p>
        </p:txBody>
      </p:sp>
      <p:sp>
        <p:nvSpPr>
          <p:cNvPr id="30" name="TextBox 29"/>
          <p:cNvSpPr txBox="1"/>
          <p:nvPr/>
        </p:nvSpPr>
        <p:spPr>
          <a:xfrm>
            <a:off x="272302" y="2079881"/>
            <a:ext cx="2105660" cy="627864"/>
          </a:xfrm>
          <a:prstGeom prst="rect">
            <a:avLst/>
          </a:prstGeom>
          <a:noFill/>
        </p:spPr>
        <p:txBody>
          <a:bodyPr wrap="square" lIns="91440" tIns="91440" rIns="91440" bIns="91440" rtlCol="0">
            <a:spAutoFit/>
          </a:bodyPr>
          <a:lstStyle/>
          <a:p>
            <a:pPr lvl="0" algn="ctr" defTabSz="711200">
              <a:lnSpc>
                <a:spcPct val="90000"/>
              </a:lnSpc>
              <a:spcBef>
                <a:spcPct val="0"/>
              </a:spcBef>
              <a:spcAft>
                <a:spcPct val="35000"/>
              </a:spcAft>
              <a:defRPr/>
            </a:pPr>
            <a:r>
              <a:rPr lang="en-US" sz="1600" b="1">
                <a:solidFill>
                  <a:srgbClr val="000000"/>
                </a:solidFill>
                <a:latin typeface="Century Gothic" panose="020B0502020202020204" pitchFamily="34" charset="0"/>
                <a:cs typeface="Calibri" panose="020F0502020204030204" pitchFamily="34" charset="0"/>
              </a:rPr>
              <a:t>Pedal based gear shifting feature</a:t>
            </a:r>
            <a:endParaRPr lang="en-US" sz="1400" dirty="0">
              <a:solidFill>
                <a:sysClr val="windowText" lastClr="000000">
                  <a:hueOff val="0"/>
                  <a:satOff val="0"/>
                  <a:lumOff val="0"/>
                  <a:alphaOff val="0"/>
                </a:sysClr>
              </a:solidFill>
              <a:latin typeface="Century Gothic" panose="020B0502020202020204" pitchFamily="34" charset="0"/>
              <a:cs typeface="Calibri" panose="020F0502020204030204" pitchFamily="34" charset="0"/>
            </a:endParaRPr>
          </a:p>
        </p:txBody>
      </p:sp>
      <p:sp>
        <p:nvSpPr>
          <p:cNvPr id="34" name="TextBox 33"/>
          <p:cNvSpPr txBox="1"/>
          <p:nvPr/>
        </p:nvSpPr>
        <p:spPr>
          <a:xfrm>
            <a:off x="5032949" y="2041182"/>
            <a:ext cx="2105660" cy="627864"/>
          </a:xfrm>
          <a:prstGeom prst="rect">
            <a:avLst/>
          </a:prstGeom>
          <a:noFill/>
        </p:spPr>
        <p:txBody>
          <a:bodyPr wrap="square" lIns="91440" tIns="91440" rIns="91440" bIns="91440" rtlCol="0">
            <a:spAutoFit/>
          </a:bodyPr>
          <a:lstStyle/>
          <a:p>
            <a:pPr lvl="0" algn="ctr" defTabSz="711200">
              <a:lnSpc>
                <a:spcPct val="90000"/>
              </a:lnSpc>
              <a:spcBef>
                <a:spcPct val="0"/>
              </a:spcBef>
              <a:spcAft>
                <a:spcPct val="35000"/>
              </a:spcAft>
              <a:defRPr/>
            </a:pPr>
            <a:r>
              <a:rPr lang="en-US" sz="1600" b="1" dirty="0">
                <a:solidFill>
                  <a:sysClr val="windowText" lastClr="000000">
                    <a:hueOff val="0"/>
                    <a:satOff val="0"/>
                    <a:lumOff val="0"/>
                    <a:alphaOff val="0"/>
                  </a:sysClr>
                </a:solidFill>
                <a:latin typeface="Century Gothic" panose="020B0502020202020204" pitchFamily="34" charset="0"/>
                <a:cs typeface="Calibri" panose="020F0502020204030204" pitchFamily="34" charset="0"/>
              </a:rPr>
              <a:t>Auto neutral feature</a:t>
            </a:r>
          </a:p>
        </p:txBody>
      </p:sp>
      <p:sp>
        <p:nvSpPr>
          <p:cNvPr id="45" name="TextBox 44"/>
          <p:cNvSpPr txBox="1"/>
          <p:nvPr/>
        </p:nvSpPr>
        <p:spPr>
          <a:xfrm>
            <a:off x="7356117" y="2028482"/>
            <a:ext cx="2051297" cy="627864"/>
          </a:xfrm>
          <a:prstGeom prst="rect">
            <a:avLst/>
          </a:prstGeom>
          <a:noFill/>
        </p:spPr>
        <p:txBody>
          <a:bodyPr wrap="square" lIns="91440" tIns="91440" rIns="91440" bIns="91440" rtlCol="0">
            <a:spAutoFit/>
          </a:bodyPr>
          <a:lstStyle/>
          <a:p>
            <a:pPr lvl="0" algn="ctr" defTabSz="711200">
              <a:lnSpc>
                <a:spcPct val="90000"/>
              </a:lnSpc>
              <a:spcBef>
                <a:spcPct val="0"/>
              </a:spcBef>
              <a:spcAft>
                <a:spcPct val="35000"/>
              </a:spcAft>
              <a:defRPr/>
            </a:pPr>
            <a:r>
              <a:rPr lang="en-US" sz="1600" b="1" dirty="0">
                <a:solidFill>
                  <a:sysClr val="windowText" lastClr="000000">
                    <a:hueOff val="0"/>
                    <a:satOff val="0"/>
                    <a:lumOff val="0"/>
                    <a:alphaOff val="0"/>
                  </a:sysClr>
                </a:solidFill>
                <a:latin typeface="Century Gothic" panose="020B0502020202020204" pitchFamily="34" charset="0"/>
                <a:cs typeface="Calibri" panose="020F0502020204030204" pitchFamily="34" charset="0"/>
              </a:rPr>
              <a:t>Hill start aid feature</a:t>
            </a:r>
          </a:p>
        </p:txBody>
      </p:sp>
    </p:spTree>
    <p:extLst>
      <p:ext uri="{BB962C8B-B14F-4D97-AF65-F5344CB8AC3E}">
        <p14:creationId xmlns:p14="http://schemas.microsoft.com/office/powerpoint/2010/main" val="88057489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3"/>
            <a:ext cx="9047744" cy="666786"/>
          </a:xfrm>
          <a:prstGeom prst="rect">
            <a:avLst/>
          </a:prstGeom>
          <a:noFill/>
        </p:spPr>
        <p:txBody>
          <a:bodyPr wrap="square" rtlCol="0">
            <a:spAutoFit/>
          </a:bodyPr>
          <a:lstStyle/>
          <a:p>
            <a:pPr defTabSz="914377"/>
            <a:r>
              <a:rPr lang="en-US" sz="3733" b="1" dirty="0">
                <a:solidFill>
                  <a:srgbClr val="000000"/>
                </a:solidFill>
                <a:latin typeface="Century Gothic" panose="020B0502020202020204" pitchFamily="34" charset="0"/>
              </a:rPr>
              <a:t>HUB REDUCTION</a:t>
            </a:r>
          </a:p>
        </p:txBody>
      </p:sp>
      <p:sp>
        <p:nvSpPr>
          <p:cNvPr id="37" name="Rectangle 36"/>
          <p:cNvSpPr/>
          <p:nvPr/>
        </p:nvSpPr>
        <p:spPr>
          <a:xfrm>
            <a:off x="156829" y="1076138"/>
            <a:ext cx="6955171"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BAISCS</a:t>
            </a:r>
          </a:p>
        </p:txBody>
      </p:sp>
      <p:sp>
        <p:nvSpPr>
          <p:cNvPr id="7" name="Rectangle 6"/>
          <p:cNvSpPr/>
          <p:nvPr/>
        </p:nvSpPr>
        <p:spPr>
          <a:xfrm>
            <a:off x="156829" y="1553654"/>
            <a:ext cx="6955171" cy="5112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44" indent="-285744" algn="just" defTabSz="914377" fontAlgn="base">
              <a:lnSpc>
                <a:spcPct val="150000"/>
              </a:lnSpc>
              <a:spcBef>
                <a:spcPct val="20000"/>
              </a:spcBef>
              <a:spcAft>
                <a:spcPct val="0"/>
              </a:spcAft>
              <a:buFont typeface="Wingdings" pitchFamily="2" charset="2"/>
              <a:buChar char="§"/>
              <a:defRPr/>
            </a:pPr>
            <a:endParaRPr lang="en-US" sz="1600" kern="0" dirty="0">
              <a:solidFill>
                <a:srgbClr val="000000"/>
              </a:solidFill>
              <a:latin typeface="Century Gothic" panose="020B0502020202020204" pitchFamily="34" charset="0"/>
              <a:cs typeface="Calibri" pitchFamily="34" charset="0"/>
            </a:endParaRPr>
          </a:p>
        </p:txBody>
      </p:sp>
      <p:sp>
        <p:nvSpPr>
          <p:cNvPr id="10" name="Rectangle 9"/>
          <p:cNvSpPr/>
          <p:nvPr/>
        </p:nvSpPr>
        <p:spPr>
          <a:xfrm>
            <a:off x="7315201" y="1062955"/>
            <a:ext cx="4689033"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ADVANTAGE/BENEFITS</a:t>
            </a:r>
          </a:p>
        </p:txBody>
      </p:sp>
      <p:sp>
        <p:nvSpPr>
          <p:cNvPr id="11" name="Rectangle 10"/>
          <p:cNvSpPr/>
          <p:nvPr/>
        </p:nvSpPr>
        <p:spPr>
          <a:xfrm>
            <a:off x="7315201" y="1527288"/>
            <a:ext cx="4689033" cy="51252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77"/>
            <a:r>
              <a:rPr lang="en-US" sz="1600" b="1" dirty="0">
                <a:solidFill>
                  <a:srgbClr val="000000"/>
                </a:solidFill>
                <a:latin typeface="Calibri" pitchFamily="34" charset="0"/>
                <a:cs typeface="Calibri" pitchFamily="34" charset="0"/>
              </a:rPr>
              <a:t> </a:t>
            </a:r>
          </a:p>
          <a:p>
            <a:pPr marL="285744" indent="-285744" defTabSz="914377">
              <a:buFont typeface="Wingdings" panose="05000000000000000000" pitchFamily="2" charset="2"/>
              <a:buChar char="§"/>
            </a:pPr>
            <a:r>
              <a:rPr lang="en-US" sz="1600" dirty="0">
                <a:solidFill>
                  <a:srgbClr val="000000"/>
                </a:solidFill>
                <a:latin typeface="Century Gothic" panose="020B0502020202020204" pitchFamily="34" charset="0"/>
                <a:cs typeface="Calibri" pitchFamily="34" charset="0"/>
              </a:rPr>
              <a:t>The load is split up and is lower in each step</a:t>
            </a:r>
          </a:p>
          <a:p>
            <a:pPr marL="285744" indent="-285744" defTabSz="914377">
              <a:buFont typeface="Wingdings" panose="05000000000000000000" pitchFamily="2" charset="2"/>
              <a:buChar char="§"/>
            </a:pPr>
            <a:r>
              <a:rPr lang="en-US" sz="1600" dirty="0">
                <a:solidFill>
                  <a:srgbClr val="000000"/>
                </a:solidFill>
                <a:latin typeface="Century Gothic" panose="020B0502020202020204" pitchFamily="34" charset="0"/>
                <a:cs typeface="Calibri" pitchFamily="34" charset="0"/>
              </a:rPr>
              <a:t>The load on CWP drive is therefore relatively low</a:t>
            </a:r>
          </a:p>
          <a:p>
            <a:pPr marL="285744" indent="-285744" defTabSz="914377">
              <a:buFont typeface="Wingdings" panose="05000000000000000000" pitchFamily="2" charset="2"/>
              <a:buChar char="§"/>
            </a:pPr>
            <a:r>
              <a:rPr lang="en-US" sz="1600" dirty="0">
                <a:solidFill>
                  <a:srgbClr val="000000"/>
                </a:solidFill>
                <a:latin typeface="Century Gothic" panose="020B0502020202020204" pitchFamily="34" charset="0"/>
                <a:cs typeface="Calibri" pitchFamily="34" charset="0"/>
              </a:rPr>
              <a:t>Stronger than a single reduction axle and can handle extremely tough operating condition high gross combination weights</a:t>
            </a:r>
          </a:p>
          <a:p>
            <a:pPr marL="285744" indent="-285744" defTabSz="914377">
              <a:buFont typeface="Wingdings" panose="05000000000000000000" pitchFamily="2" charset="2"/>
              <a:buChar char="§"/>
            </a:pPr>
            <a:r>
              <a:rPr lang="en-US" sz="1600" dirty="0">
                <a:solidFill>
                  <a:srgbClr val="000000"/>
                </a:solidFill>
                <a:latin typeface="Century Gothic" panose="020B0502020202020204" pitchFamily="34" charset="0"/>
                <a:cs typeface="Calibri" pitchFamily="34" charset="0"/>
              </a:rPr>
              <a:t> Have a cast housing made of nodular iron, which gives a compact design and high ground clearance </a:t>
            </a:r>
          </a:p>
          <a:p>
            <a:pPr marL="285744" indent="-285744" defTabSz="914377">
              <a:buFont typeface="Wingdings" panose="05000000000000000000" pitchFamily="2" charset="2"/>
              <a:buChar char="§"/>
            </a:pPr>
            <a:r>
              <a:rPr lang="en-US" sz="1600" dirty="0">
                <a:solidFill>
                  <a:srgbClr val="000000"/>
                </a:solidFill>
                <a:latin typeface="Century Gothic" panose="020B0502020202020204" pitchFamily="34" charset="0"/>
                <a:cs typeface="Calibri" pitchFamily="34" charset="0"/>
              </a:rPr>
              <a:t>Increased ground clearance, improved life and high-torque handling ability</a:t>
            </a:r>
          </a:p>
          <a:p>
            <a:pPr marL="285744" indent="-285744" defTabSz="914377">
              <a:buFont typeface="Wingdings" panose="05000000000000000000" pitchFamily="2" charset="2"/>
              <a:buChar char="§"/>
            </a:pPr>
            <a:r>
              <a:rPr lang="en-US" sz="1600" dirty="0">
                <a:solidFill>
                  <a:srgbClr val="000000"/>
                </a:solidFill>
                <a:latin typeface="Century Gothic" panose="020B0502020202020204" pitchFamily="34" charset="0"/>
                <a:cs typeface="Calibri" pitchFamily="34" charset="0"/>
              </a:rPr>
              <a:t>Higher durability and reliability for greater uptime</a:t>
            </a:r>
          </a:p>
          <a:p>
            <a:pPr marL="285744" indent="-285744" defTabSz="914377">
              <a:buFont typeface="Wingdings" panose="05000000000000000000" pitchFamily="2" charset="2"/>
              <a:buChar char="§"/>
            </a:pPr>
            <a:r>
              <a:rPr lang="en-US" sz="1600" dirty="0">
                <a:solidFill>
                  <a:srgbClr val="000000"/>
                </a:solidFill>
                <a:latin typeface="Century Gothic" panose="020B0502020202020204" pitchFamily="34" charset="0"/>
                <a:cs typeface="Calibri" pitchFamily="34" charset="0"/>
              </a:rPr>
              <a:t>High tractive force in all driving conditions for truck productivity</a:t>
            </a:r>
          </a:p>
          <a:p>
            <a:pPr marL="285744" indent="-285744" defTabSz="914377">
              <a:buFont typeface="Wingdings" panose="05000000000000000000" pitchFamily="2" charset="2"/>
              <a:buChar char="§"/>
            </a:pPr>
            <a:r>
              <a:rPr lang="en-US" sz="1600" dirty="0">
                <a:solidFill>
                  <a:srgbClr val="000000"/>
                </a:solidFill>
                <a:latin typeface="Century Gothic" panose="020B0502020202020204" pitchFamily="34" charset="0"/>
                <a:cs typeface="Calibri" pitchFamily="34" charset="0"/>
              </a:rPr>
              <a:t>Faster ratios to support down speeding and reduce fuel consumption</a:t>
            </a:r>
          </a:p>
          <a:p>
            <a:pPr defTabSz="914377">
              <a:lnSpc>
                <a:spcPct val="150000"/>
              </a:lnSpc>
            </a:pPr>
            <a:endParaRPr lang="en-US" sz="1600" dirty="0">
              <a:solidFill>
                <a:srgbClr val="000000"/>
              </a:solidFill>
              <a:latin typeface="Century Gothic" panose="020B0502020202020204" pitchFamily="34" charset="0"/>
              <a:cs typeface="Calibri" pitchFamily="34" charset="0"/>
            </a:endParaRPr>
          </a:p>
        </p:txBody>
      </p:sp>
      <p:pic>
        <p:nvPicPr>
          <p:cNvPr id="12" name="Picture 3"/>
          <p:cNvPicPr>
            <a:picLocks noChangeAspect="1" noChangeArrowheads="1"/>
          </p:cNvPicPr>
          <p:nvPr/>
        </p:nvPicPr>
        <p:blipFill>
          <a:blip r:embed="rId3"/>
          <a:srcRect/>
          <a:stretch>
            <a:fillRect/>
          </a:stretch>
        </p:blipFill>
        <p:spPr bwMode="auto">
          <a:xfrm>
            <a:off x="234785" y="1897366"/>
            <a:ext cx="6764527" cy="3989335"/>
          </a:xfrm>
          <a:prstGeom prst="rect">
            <a:avLst/>
          </a:prstGeom>
          <a:noFill/>
          <a:ln w="9525">
            <a:noFill/>
            <a:miter lim="800000"/>
            <a:headEnd/>
            <a:tailEnd/>
          </a:ln>
          <a:effectLst/>
        </p:spPr>
      </p:pic>
    </p:spTree>
    <p:extLst>
      <p:ext uri="{BB962C8B-B14F-4D97-AF65-F5344CB8AC3E}">
        <p14:creationId xmlns:p14="http://schemas.microsoft.com/office/powerpoint/2010/main" val="284446239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5" name="TextBox 4"/>
          <p:cNvSpPr txBox="1"/>
          <p:nvPr/>
        </p:nvSpPr>
        <p:spPr>
          <a:xfrm>
            <a:off x="1010656" y="124413"/>
            <a:ext cx="9047744" cy="666786"/>
          </a:xfrm>
          <a:prstGeom prst="rect">
            <a:avLst/>
          </a:prstGeom>
          <a:noFill/>
        </p:spPr>
        <p:txBody>
          <a:bodyPr wrap="square" rtlCol="0">
            <a:spAutoFit/>
          </a:bodyPr>
          <a:lstStyle/>
          <a:p>
            <a:pPr defTabSz="914377"/>
            <a:r>
              <a:rPr lang="en-US" sz="3733" b="1" dirty="0">
                <a:solidFill>
                  <a:srgbClr val="000000"/>
                </a:solidFill>
                <a:latin typeface="Century Gothic" panose="020B0502020202020204" pitchFamily="34" charset="0"/>
              </a:rPr>
              <a:t>PUSHER LIFT AXLE</a:t>
            </a:r>
          </a:p>
        </p:txBody>
      </p:sp>
      <p:sp>
        <p:nvSpPr>
          <p:cNvPr id="37" name="Rectangle 36"/>
          <p:cNvSpPr/>
          <p:nvPr/>
        </p:nvSpPr>
        <p:spPr>
          <a:xfrm>
            <a:off x="156829" y="1076138"/>
            <a:ext cx="6345571"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BAISCS</a:t>
            </a:r>
          </a:p>
        </p:txBody>
      </p:sp>
      <p:sp>
        <p:nvSpPr>
          <p:cNvPr id="7" name="Rectangle 6"/>
          <p:cNvSpPr/>
          <p:nvPr/>
        </p:nvSpPr>
        <p:spPr>
          <a:xfrm>
            <a:off x="156829" y="1553654"/>
            <a:ext cx="6345571" cy="5112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44" indent="-285744" algn="just" defTabSz="914377" fontAlgn="base">
              <a:lnSpc>
                <a:spcPct val="150000"/>
              </a:lnSpc>
              <a:spcBef>
                <a:spcPct val="20000"/>
              </a:spcBef>
              <a:spcAft>
                <a:spcPct val="0"/>
              </a:spcAft>
              <a:buFont typeface="Wingdings" pitchFamily="2" charset="2"/>
              <a:buChar char="§"/>
              <a:defRPr/>
            </a:pPr>
            <a:endParaRPr lang="en-US" sz="1600" kern="0" dirty="0">
              <a:solidFill>
                <a:srgbClr val="000000"/>
              </a:solidFill>
              <a:latin typeface="Century Gothic" panose="020B0502020202020204" pitchFamily="34" charset="0"/>
              <a:cs typeface="Calibri" pitchFamily="34" charset="0"/>
            </a:endParaRPr>
          </a:p>
        </p:txBody>
      </p:sp>
      <p:sp>
        <p:nvSpPr>
          <p:cNvPr id="10" name="Rectangle 9"/>
          <p:cNvSpPr/>
          <p:nvPr/>
        </p:nvSpPr>
        <p:spPr>
          <a:xfrm>
            <a:off x="6604001" y="1062955"/>
            <a:ext cx="5400233" cy="46433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2400" dirty="0">
                <a:solidFill>
                  <a:prstClr val="white"/>
                </a:solidFill>
                <a:latin typeface="Century Gothic" panose="020B0502020202020204" pitchFamily="34" charset="0"/>
              </a:rPr>
              <a:t>CONFIGURATION</a:t>
            </a:r>
          </a:p>
        </p:txBody>
      </p:sp>
      <p:sp>
        <p:nvSpPr>
          <p:cNvPr id="11" name="Rectangle 10"/>
          <p:cNvSpPr/>
          <p:nvPr/>
        </p:nvSpPr>
        <p:spPr>
          <a:xfrm>
            <a:off x="6604001" y="1540470"/>
            <a:ext cx="5400233" cy="51252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77">
              <a:lnSpc>
                <a:spcPct val="150000"/>
              </a:lnSpc>
            </a:pPr>
            <a:endParaRPr lang="en-US" sz="1600" dirty="0">
              <a:solidFill>
                <a:srgbClr val="000000"/>
              </a:solidFill>
              <a:latin typeface="Century Gothic" panose="020B0502020202020204" pitchFamily="34" charset="0"/>
              <a:cs typeface="Calibri" pitchFamily="34" charset="0"/>
            </a:endParaRPr>
          </a:p>
        </p:txBody>
      </p:sp>
      <p:pic>
        <p:nvPicPr>
          <p:cNvPr id="15" name="Picture 5"/>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0" b="99381" l="968" r="99355"/>
                    </a14:imgEffect>
                  </a14:imgLayer>
                </a14:imgProps>
              </a:ext>
              <a:ext uri="{28A0092B-C50C-407E-A947-70E740481C1C}">
                <a14:useLocalDpi xmlns:a14="http://schemas.microsoft.com/office/drawing/2010/main" val="0"/>
              </a:ext>
            </a:extLst>
          </a:blip>
          <a:srcRect/>
          <a:stretch>
            <a:fillRect/>
          </a:stretch>
        </p:blipFill>
        <p:spPr bwMode="auto">
          <a:xfrm>
            <a:off x="168405" y="1577126"/>
            <a:ext cx="2168396" cy="22591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2518137" y="1806135"/>
            <a:ext cx="3984263" cy="1274195"/>
          </a:xfrm>
          <a:prstGeom prst="rect">
            <a:avLst/>
          </a:prstGeom>
        </p:spPr>
        <p:txBody>
          <a:bodyPr wrap="square">
            <a:spAutoFit/>
          </a:bodyPr>
          <a:lstStyle/>
          <a:p>
            <a:pPr marL="0" lvl="4" defTabSz="914377">
              <a:lnSpc>
                <a:spcPct val="80000"/>
              </a:lnSpc>
              <a:defRPr/>
            </a:pPr>
            <a:r>
              <a:rPr lang="en-US" sz="1600" b="1" dirty="0">
                <a:solidFill>
                  <a:srgbClr val="000000"/>
                </a:solidFill>
                <a:latin typeface="Century Gothic" panose="020B0502020202020204" pitchFamily="34" charset="0"/>
                <a:cs typeface="Calibri" pitchFamily="34" charset="0"/>
              </a:rPr>
              <a:t>Features</a:t>
            </a:r>
          </a:p>
          <a:p>
            <a:pPr marL="457189" lvl="4" indent="-457189" defTabSz="914377">
              <a:lnSpc>
                <a:spcPct val="80000"/>
              </a:lnSpc>
              <a:buFont typeface="Wingdings" panose="05000000000000000000" pitchFamily="2" charset="2"/>
              <a:buChar char="§"/>
              <a:defRPr/>
            </a:pPr>
            <a:r>
              <a:rPr lang="en-US" sz="1600" dirty="0">
                <a:solidFill>
                  <a:srgbClr val="000000"/>
                </a:solidFill>
                <a:latin typeface="Century Gothic" panose="020B0502020202020204" pitchFamily="34" charset="0"/>
                <a:cs typeface="Calibri" pitchFamily="34" charset="0"/>
              </a:rPr>
              <a:t>Auto load sensing</a:t>
            </a:r>
          </a:p>
          <a:p>
            <a:pPr marL="457189" lvl="4" indent="-457189" defTabSz="914377">
              <a:lnSpc>
                <a:spcPct val="80000"/>
              </a:lnSpc>
              <a:buFont typeface="Wingdings" panose="05000000000000000000" pitchFamily="2" charset="2"/>
              <a:buChar char="§"/>
              <a:defRPr/>
            </a:pPr>
            <a:r>
              <a:rPr lang="en-US" sz="1600" dirty="0">
                <a:solidFill>
                  <a:srgbClr val="000000"/>
                </a:solidFill>
                <a:latin typeface="Century Gothic" panose="020B0502020202020204" pitchFamily="34" charset="0"/>
                <a:cs typeface="Calibri" pitchFamily="34" charset="0"/>
              </a:rPr>
              <a:t>Self steerable</a:t>
            </a:r>
          </a:p>
          <a:p>
            <a:pPr marL="457189" lvl="4" indent="-457189" defTabSz="914377">
              <a:lnSpc>
                <a:spcPct val="80000"/>
              </a:lnSpc>
              <a:spcAft>
                <a:spcPts val="1200"/>
              </a:spcAft>
              <a:buFont typeface="Wingdings" panose="05000000000000000000" pitchFamily="2" charset="2"/>
              <a:buChar char="§"/>
              <a:defRPr/>
            </a:pPr>
            <a:r>
              <a:rPr lang="en-US" sz="1600" dirty="0">
                <a:solidFill>
                  <a:srgbClr val="000000"/>
                </a:solidFill>
                <a:latin typeface="Century Gothic" panose="020B0502020202020204" pitchFamily="34" charset="0"/>
                <a:cs typeface="Calibri" pitchFamily="34" charset="0"/>
              </a:rPr>
              <a:t>Heavy duty steer dampers with internal springs for self centering – Axle lifted condition</a:t>
            </a:r>
          </a:p>
        </p:txBody>
      </p:sp>
      <p:pic>
        <p:nvPicPr>
          <p:cNvPr id="16" name="Picture 2"/>
          <p:cNvPicPr>
            <a:picLocks noGrp="1" noChangeAspect="1" noChangeArrowheads="1"/>
          </p:cNvPicPr>
          <p:nvPr>
            <p:ph idx="4294967295"/>
          </p:nvPr>
        </p:nvPicPr>
        <p:blipFill>
          <a:blip r:embed="rId5" cstate="print">
            <a:extLst>
              <a:ext uri="{28A0092B-C50C-407E-A947-70E740481C1C}">
                <a14:useLocalDpi xmlns:a14="http://schemas.microsoft.com/office/drawing/2010/main" val="0"/>
              </a:ext>
            </a:extLst>
          </a:blip>
          <a:srcRect/>
          <a:stretch>
            <a:fillRect/>
          </a:stretch>
        </p:blipFill>
        <p:spPr bwMode="auto">
          <a:xfrm>
            <a:off x="2133601" y="4122880"/>
            <a:ext cx="4188327" cy="2307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4" name="Group 13"/>
          <p:cNvGrpSpPr/>
          <p:nvPr/>
        </p:nvGrpSpPr>
        <p:grpSpPr>
          <a:xfrm>
            <a:off x="6604001" y="2587653"/>
            <a:ext cx="5572446" cy="2491268"/>
            <a:chOff x="6604001" y="2587653"/>
            <a:chExt cx="5572446" cy="2491268"/>
          </a:xfrm>
        </p:grpSpPr>
        <p:pic>
          <p:nvPicPr>
            <p:cNvPr id="17" name="Picture 16"/>
            <p:cNvPicPr>
              <a:picLocks noChangeAspect="1"/>
            </p:cNvPicPr>
            <p:nvPr/>
          </p:nvPicPr>
          <p:blipFill>
            <a:blip r:embed="rId6"/>
            <a:stretch>
              <a:fillRect/>
            </a:stretch>
          </p:blipFill>
          <p:spPr>
            <a:xfrm>
              <a:off x="6604001" y="2688342"/>
              <a:ext cx="5157409" cy="2390579"/>
            </a:xfrm>
            <a:prstGeom prst="rect">
              <a:avLst/>
            </a:prstGeom>
          </p:spPr>
        </p:pic>
        <p:sp>
          <p:nvSpPr>
            <p:cNvPr id="2" name="Rectangle 1"/>
            <p:cNvSpPr/>
            <p:nvPr/>
          </p:nvSpPr>
          <p:spPr>
            <a:xfrm>
              <a:off x="7581827" y="2682508"/>
              <a:ext cx="4049486" cy="27432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7581827" y="4150453"/>
              <a:ext cx="4049486" cy="27432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7707909" y="4154418"/>
              <a:ext cx="413896" cy="369332"/>
            </a:xfrm>
            <a:prstGeom prst="rect">
              <a:avLst/>
            </a:prstGeom>
            <a:noFill/>
          </p:spPr>
          <p:txBody>
            <a:bodyPr wrap="none" rtlCol="0">
              <a:spAutoFit/>
            </a:bodyPr>
            <a:lstStyle/>
            <a:p>
              <a:r>
                <a:rPr lang="en-US" b="1" dirty="0">
                  <a:latin typeface="Century Gothic" panose="020B0502020202020204" pitchFamily="34" charset="0"/>
                </a:rPr>
                <a:t>7T</a:t>
              </a:r>
            </a:p>
          </p:txBody>
        </p:sp>
        <p:sp>
          <p:nvSpPr>
            <p:cNvPr id="25" name="TextBox 24"/>
            <p:cNvSpPr txBox="1"/>
            <p:nvPr/>
          </p:nvSpPr>
          <p:spPr>
            <a:xfrm>
              <a:off x="8364629" y="4144288"/>
              <a:ext cx="413896" cy="369332"/>
            </a:xfrm>
            <a:prstGeom prst="rect">
              <a:avLst/>
            </a:prstGeom>
            <a:noFill/>
          </p:spPr>
          <p:txBody>
            <a:bodyPr wrap="none" rtlCol="0">
              <a:spAutoFit/>
            </a:bodyPr>
            <a:lstStyle/>
            <a:p>
              <a:r>
                <a:rPr lang="en-US" b="1" dirty="0">
                  <a:latin typeface="Century Gothic" panose="020B0502020202020204" pitchFamily="34" charset="0"/>
                </a:rPr>
                <a:t>7T</a:t>
              </a:r>
            </a:p>
          </p:txBody>
        </p:sp>
        <p:sp>
          <p:nvSpPr>
            <p:cNvPr id="26" name="TextBox 25"/>
            <p:cNvSpPr txBox="1"/>
            <p:nvPr/>
          </p:nvSpPr>
          <p:spPr>
            <a:xfrm>
              <a:off x="9122950" y="4144288"/>
              <a:ext cx="734496" cy="369332"/>
            </a:xfrm>
            <a:prstGeom prst="rect">
              <a:avLst/>
            </a:prstGeom>
            <a:noFill/>
          </p:spPr>
          <p:txBody>
            <a:bodyPr wrap="none" rtlCol="0">
              <a:spAutoFit/>
            </a:bodyPr>
            <a:lstStyle/>
            <a:p>
              <a:r>
                <a:rPr lang="en-US" b="1" dirty="0">
                  <a:latin typeface="Century Gothic" panose="020B0502020202020204" pitchFamily="34" charset="0"/>
                </a:rPr>
                <a:t>12.5T</a:t>
              </a:r>
            </a:p>
          </p:txBody>
        </p:sp>
        <p:sp>
          <p:nvSpPr>
            <p:cNvPr id="27" name="TextBox 26"/>
            <p:cNvSpPr txBox="1"/>
            <p:nvPr/>
          </p:nvSpPr>
          <p:spPr>
            <a:xfrm>
              <a:off x="9851051" y="4136208"/>
              <a:ext cx="734496" cy="369332"/>
            </a:xfrm>
            <a:prstGeom prst="rect">
              <a:avLst/>
            </a:prstGeom>
            <a:noFill/>
          </p:spPr>
          <p:txBody>
            <a:bodyPr wrap="none" rtlCol="0">
              <a:spAutoFit/>
            </a:bodyPr>
            <a:lstStyle/>
            <a:p>
              <a:r>
                <a:rPr lang="en-US" b="1" dirty="0">
                  <a:latin typeface="Century Gothic" panose="020B0502020202020204" pitchFamily="34" charset="0"/>
                </a:rPr>
                <a:t>10.5T</a:t>
              </a:r>
            </a:p>
          </p:txBody>
        </p:sp>
        <p:sp>
          <p:nvSpPr>
            <p:cNvPr id="28" name="TextBox 27"/>
            <p:cNvSpPr txBox="1"/>
            <p:nvPr/>
          </p:nvSpPr>
          <p:spPr>
            <a:xfrm>
              <a:off x="10507771" y="4132286"/>
              <a:ext cx="734496" cy="369332"/>
            </a:xfrm>
            <a:prstGeom prst="rect">
              <a:avLst/>
            </a:prstGeom>
            <a:noFill/>
          </p:spPr>
          <p:txBody>
            <a:bodyPr wrap="none" rtlCol="0">
              <a:spAutoFit/>
            </a:bodyPr>
            <a:lstStyle/>
            <a:p>
              <a:r>
                <a:rPr lang="en-US" b="1" dirty="0">
                  <a:latin typeface="Century Gothic" panose="020B0502020202020204" pitchFamily="34" charset="0"/>
                </a:rPr>
                <a:t>10.5T</a:t>
              </a:r>
            </a:p>
          </p:txBody>
        </p:sp>
        <p:grpSp>
          <p:nvGrpSpPr>
            <p:cNvPr id="12" name="Group 11"/>
            <p:cNvGrpSpPr/>
            <p:nvPr/>
          </p:nvGrpSpPr>
          <p:grpSpPr>
            <a:xfrm>
              <a:off x="7707909" y="2587653"/>
              <a:ext cx="4455031" cy="391464"/>
              <a:chOff x="7707909" y="2587651"/>
              <a:chExt cx="4455031" cy="391468"/>
            </a:xfrm>
          </p:grpSpPr>
          <p:sp>
            <p:nvSpPr>
              <p:cNvPr id="3" name="TextBox 2"/>
              <p:cNvSpPr txBox="1"/>
              <p:nvPr/>
            </p:nvSpPr>
            <p:spPr>
              <a:xfrm>
                <a:off x="7707909" y="2609783"/>
                <a:ext cx="413896" cy="369336"/>
              </a:xfrm>
              <a:prstGeom prst="rect">
                <a:avLst/>
              </a:prstGeom>
              <a:noFill/>
            </p:spPr>
            <p:txBody>
              <a:bodyPr wrap="none" rtlCol="0">
                <a:spAutoFit/>
              </a:bodyPr>
              <a:lstStyle/>
              <a:p>
                <a:r>
                  <a:rPr lang="en-US" b="1" dirty="0">
                    <a:latin typeface="Century Gothic" panose="020B0502020202020204" pitchFamily="34" charset="0"/>
                  </a:rPr>
                  <a:t>7T</a:t>
                </a:r>
              </a:p>
            </p:txBody>
          </p:sp>
          <p:sp>
            <p:nvSpPr>
              <p:cNvPr id="18" name="TextBox 17"/>
              <p:cNvSpPr txBox="1"/>
              <p:nvPr/>
            </p:nvSpPr>
            <p:spPr>
              <a:xfrm>
                <a:off x="8364629" y="2599653"/>
                <a:ext cx="413896" cy="369336"/>
              </a:xfrm>
              <a:prstGeom prst="rect">
                <a:avLst/>
              </a:prstGeom>
              <a:noFill/>
            </p:spPr>
            <p:txBody>
              <a:bodyPr wrap="none" rtlCol="0">
                <a:spAutoFit/>
              </a:bodyPr>
              <a:lstStyle/>
              <a:p>
                <a:r>
                  <a:rPr lang="en-US" b="1" dirty="0">
                    <a:latin typeface="Century Gothic" panose="020B0502020202020204" pitchFamily="34" charset="0"/>
                  </a:rPr>
                  <a:t>7T</a:t>
                </a:r>
              </a:p>
            </p:txBody>
          </p:sp>
          <p:sp>
            <p:nvSpPr>
              <p:cNvPr id="21" name="TextBox 20"/>
              <p:cNvSpPr txBox="1"/>
              <p:nvPr/>
            </p:nvSpPr>
            <p:spPr>
              <a:xfrm>
                <a:off x="9122950" y="2599653"/>
                <a:ext cx="410690" cy="369336"/>
              </a:xfrm>
              <a:prstGeom prst="rect">
                <a:avLst/>
              </a:prstGeom>
              <a:noFill/>
            </p:spPr>
            <p:txBody>
              <a:bodyPr wrap="none" rtlCol="0">
                <a:spAutoFit/>
              </a:bodyPr>
              <a:lstStyle/>
              <a:p>
                <a:r>
                  <a:rPr lang="en-US" b="1" dirty="0">
                    <a:latin typeface="Century Gothic" panose="020B0502020202020204" pitchFamily="34" charset="0"/>
                  </a:rPr>
                  <a:t>7T</a:t>
                </a:r>
              </a:p>
            </p:txBody>
          </p:sp>
          <p:sp>
            <p:nvSpPr>
              <p:cNvPr id="22" name="TextBox 21"/>
              <p:cNvSpPr txBox="1"/>
              <p:nvPr/>
            </p:nvSpPr>
            <p:spPr>
              <a:xfrm>
                <a:off x="9851051" y="2591573"/>
                <a:ext cx="734496" cy="369336"/>
              </a:xfrm>
              <a:prstGeom prst="rect">
                <a:avLst/>
              </a:prstGeom>
              <a:noFill/>
            </p:spPr>
            <p:txBody>
              <a:bodyPr wrap="none" rtlCol="0">
                <a:spAutoFit/>
              </a:bodyPr>
              <a:lstStyle/>
              <a:p>
                <a:r>
                  <a:rPr lang="en-US" b="1" dirty="0">
                    <a:latin typeface="Century Gothic" panose="020B0502020202020204" pitchFamily="34" charset="0"/>
                  </a:rPr>
                  <a:t>10.5T</a:t>
                </a:r>
              </a:p>
            </p:txBody>
          </p:sp>
          <p:sp>
            <p:nvSpPr>
              <p:cNvPr id="23" name="TextBox 22"/>
              <p:cNvSpPr txBox="1"/>
              <p:nvPr/>
            </p:nvSpPr>
            <p:spPr>
              <a:xfrm>
                <a:off x="10507770" y="2587651"/>
                <a:ext cx="736555" cy="369336"/>
              </a:xfrm>
              <a:prstGeom prst="rect">
                <a:avLst/>
              </a:prstGeom>
              <a:noFill/>
            </p:spPr>
            <p:txBody>
              <a:bodyPr wrap="square" rtlCol="0">
                <a:spAutoFit/>
              </a:bodyPr>
              <a:lstStyle/>
              <a:p>
                <a:r>
                  <a:rPr lang="en-US" b="1" dirty="0">
                    <a:latin typeface="Century Gothic" panose="020B0502020202020204" pitchFamily="34" charset="0"/>
                  </a:rPr>
                  <a:t>10.5T</a:t>
                </a:r>
              </a:p>
            </p:txBody>
          </p:sp>
          <p:sp>
            <p:nvSpPr>
              <p:cNvPr id="29" name="TextBox 28"/>
              <p:cNvSpPr txBox="1"/>
              <p:nvPr/>
            </p:nvSpPr>
            <p:spPr>
              <a:xfrm>
                <a:off x="11158148" y="2599655"/>
                <a:ext cx="1004792" cy="369336"/>
              </a:xfrm>
              <a:prstGeom prst="rect">
                <a:avLst/>
              </a:prstGeom>
              <a:noFill/>
            </p:spPr>
            <p:txBody>
              <a:bodyPr wrap="square" rtlCol="0">
                <a:spAutoFit/>
              </a:bodyPr>
              <a:lstStyle/>
              <a:p>
                <a:r>
                  <a:rPr lang="en-US" b="1" dirty="0">
                    <a:latin typeface="Century Gothic" panose="020B0502020202020204" pitchFamily="34" charset="0"/>
                  </a:rPr>
                  <a:t>= 42T</a:t>
                </a:r>
              </a:p>
            </p:txBody>
          </p:sp>
        </p:grpSp>
        <p:sp>
          <p:nvSpPr>
            <p:cNvPr id="30" name="TextBox 29"/>
            <p:cNvSpPr txBox="1"/>
            <p:nvPr/>
          </p:nvSpPr>
          <p:spPr>
            <a:xfrm>
              <a:off x="11171655" y="4154418"/>
              <a:ext cx="1004792" cy="369332"/>
            </a:xfrm>
            <a:prstGeom prst="rect">
              <a:avLst/>
            </a:prstGeom>
            <a:noFill/>
          </p:spPr>
          <p:txBody>
            <a:bodyPr wrap="square" rtlCol="0">
              <a:spAutoFit/>
            </a:bodyPr>
            <a:lstStyle/>
            <a:p>
              <a:r>
                <a:rPr lang="en-US" b="1" dirty="0">
                  <a:latin typeface="Century Gothic" panose="020B0502020202020204" pitchFamily="34" charset="0"/>
                </a:rPr>
                <a:t>= 47.5T</a:t>
              </a:r>
            </a:p>
          </p:txBody>
        </p:sp>
      </p:grpSp>
      <p:sp>
        <p:nvSpPr>
          <p:cNvPr id="32" name="Rectangle 31"/>
          <p:cNvSpPr/>
          <p:nvPr/>
        </p:nvSpPr>
        <p:spPr>
          <a:xfrm>
            <a:off x="2649920" y="5228358"/>
            <a:ext cx="3672008" cy="20724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5" name="Group 34"/>
          <p:cNvGrpSpPr/>
          <p:nvPr/>
        </p:nvGrpSpPr>
        <p:grpSpPr>
          <a:xfrm>
            <a:off x="2481077" y="5191121"/>
            <a:ext cx="3907504" cy="357916"/>
            <a:chOff x="7707909" y="2586712"/>
            <a:chExt cx="4455029" cy="330851"/>
          </a:xfrm>
        </p:grpSpPr>
        <p:sp>
          <p:nvSpPr>
            <p:cNvPr id="36" name="TextBox 35"/>
            <p:cNvSpPr txBox="1"/>
            <p:nvPr/>
          </p:nvSpPr>
          <p:spPr>
            <a:xfrm>
              <a:off x="7707909" y="2609783"/>
              <a:ext cx="360996" cy="307780"/>
            </a:xfrm>
            <a:prstGeom prst="rect">
              <a:avLst/>
            </a:prstGeom>
            <a:noFill/>
          </p:spPr>
          <p:txBody>
            <a:bodyPr wrap="none" rtlCol="0">
              <a:spAutoFit/>
            </a:bodyPr>
            <a:lstStyle/>
            <a:p>
              <a:r>
                <a:rPr lang="en-US" sz="1400" b="1" dirty="0">
                  <a:latin typeface="Century Gothic" panose="020B0502020202020204" pitchFamily="34" charset="0"/>
                </a:rPr>
                <a:t>7T</a:t>
              </a:r>
            </a:p>
          </p:txBody>
        </p:sp>
        <p:sp>
          <p:nvSpPr>
            <p:cNvPr id="38" name="TextBox 37"/>
            <p:cNvSpPr txBox="1"/>
            <p:nvPr/>
          </p:nvSpPr>
          <p:spPr>
            <a:xfrm>
              <a:off x="8364629" y="2599653"/>
              <a:ext cx="360996" cy="307781"/>
            </a:xfrm>
            <a:prstGeom prst="rect">
              <a:avLst/>
            </a:prstGeom>
            <a:noFill/>
          </p:spPr>
          <p:txBody>
            <a:bodyPr wrap="none" rtlCol="0">
              <a:spAutoFit/>
            </a:bodyPr>
            <a:lstStyle/>
            <a:p>
              <a:r>
                <a:rPr lang="en-US" sz="1400" b="1" dirty="0">
                  <a:latin typeface="Century Gothic" panose="020B0502020202020204" pitchFamily="34" charset="0"/>
                </a:rPr>
                <a:t>7T</a:t>
              </a:r>
            </a:p>
          </p:txBody>
        </p:sp>
        <p:sp>
          <p:nvSpPr>
            <p:cNvPr id="39" name="TextBox 38"/>
            <p:cNvSpPr txBox="1"/>
            <p:nvPr/>
          </p:nvSpPr>
          <p:spPr>
            <a:xfrm>
              <a:off x="9122950" y="2599653"/>
              <a:ext cx="360996" cy="307781"/>
            </a:xfrm>
            <a:prstGeom prst="rect">
              <a:avLst/>
            </a:prstGeom>
            <a:noFill/>
          </p:spPr>
          <p:txBody>
            <a:bodyPr wrap="none" rtlCol="0">
              <a:spAutoFit/>
            </a:bodyPr>
            <a:lstStyle/>
            <a:p>
              <a:r>
                <a:rPr lang="en-US" sz="1400" b="1" dirty="0">
                  <a:latin typeface="Century Gothic" panose="020B0502020202020204" pitchFamily="34" charset="0"/>
                </a:rPr>
                <a:t>7T</a:t>
              </a:r>
            </a:p>
          </p:txBody>
        </p:sp>
        <p:sp>
          <p:nvSpPr>
            <p:cNvPr id="40" name="TextBox 39"/>
            <p:cNvSpPr txBox="1"/>
            <p:nvPr/>
          </p:nvSpPr>
          <p:spPr>
            <a:xfrm>
              <a:off x="9851051" y="2591573"/>
              <a:ext cx="612668" cy="307781"/>
            </a:xfrm>
            <a:prstGeom prst="rect">
              <a:avLst/>
            </a:prstGeom>
            <a:noFill/>
          </p:spPr>
          <p:txBody>
            <a:bodyPr wrap="none" rtlCol="0">
              <a:spAutoFit/>
            </a:bodyPr>
            <a:lstStyle/>
            <a:p>
              <a:r>
                <a:rPr lang="en-US" sz="1400" b="1" dirty="0">
                  <a:latin typeface="Century Gothic" panose="020B0502020202020204" pitchFamily="34" charset="0"/>
                </a:rPr>
                <a:t>10.5T</a:t>
              </a:r>
            </a:p>
          </p:txBody>
        </p:sp>
        <p:sp>
          <p:nvSpPr>
            <p:cNvPr id="41" name="TextBox 40"/>
            <p:cNvSpPr txBox="1"/>
            <p:nvPr/>
          </p:nvSpPr>
          <p:spPr>
            <a:xfrm>
              <a:off x="10507770" y="2587651"/>
              <a:ext cx="736555" cy="307781"/>
            </a:xfrm>
            <a:prstGeom prst="rect">
              <a:avLst/>
            </a:prstGeom>
            <a:noFill/>
          </p:spPr>
          <p:txBody>
            <a:bodyPr wrap="square" rtlCol="0">
              <a:spAutoFit/>
            </a:bodyPr>
            <a:lstStyle/>
            <a:p>
              <a:r>
                <a:rPr lang="en-US" sz="1400" b="1" dirty="0">
                  <a:latin typeface="Century Gothic" panose="020B0502020202020204" pitchFamily="34" charset="0"/>
                </a:rPr>
                <a:t>10.5T</a:t>
              </a:r>
            </a:p>
          </p:txBody>
        </p:sp>
        <p:sp>
          <p:nvSpPr>
            <p:cNvPr id="42" name="TextBox 41"/>
            <p:cNvSpPr txBox="1"/>
            <p:nvPr/>
          </p:nvSpPr>
          <p:spPr>
            <a:xfrm>
              <a:off x="11158146" y="2586712"/>
              <a:ext cx="1004792" cy="307781"/>
            </a:xfrm>
            <a:prstGeom prst="rect">
              <a:avLst/>
            </a:prstGeom>
            <a:noFill/>
          </p:spPr>
          <p:txBody>
            <a:bodyPr wrap="square" rtlCol="0">
              <a:spAutoFit/>
            </a:bodyPr>
            <a:lstStyle/>
            <a:p>
              <a:r>
                <a:rPr lang="en-US" sz="1400" b="1" dirty="0">
                  <a:latin typeface="Century Gothic" panose="020B0502020202020204" pitchFamily="34" charset="0"/>
                </a:rPr>
                <a:t>= 42T</a:t>
              </a:r>
            </a:p>
          </p:txBody>
        </p:sp>
      </p:grpSp>
    </p:spTree>
    <p:extLst>
      <p:ext uri="{BB962C8B-B14F-4D97-AF65-F5344CB8AC3E}">
        <p14:creationId xmlns:p14="http://schemas.microsoft.com/office/powerpoint/2010/main" val="313779199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C0F1AEE-0123-4A96-9788-AA9DA403417D}"/>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1437417" y="109734"/>
            <a:ext cx="621878" cy="622040"/>
          </a:xfrm>
          <a:prstGeom prst="rect">
            <a:avLst/>
          </a:prstGeom>
        </p:spPr>
      </p:pic>
      <p:pic>
        <p:nvPicPr>
          <p:cNvPr id="2" name="DTLA">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1171839" y="1086633"/>
            <a:ext cx="6600562" cy="3712816"/>
          </a:xfrm>
          <a:prstGeom prst="rect">
            <a:avLst/>
          </a:prstGeom>
        </p:spPr>
      </p:pic>
      <p:grpSp>
        <p:nvGrpSpPr>
          <p:cNvPr id="8" name="Group 7"/>
          <p:cNvGrpSpPr/>
          <p:nvPr/>
        </p:nvGrpSpPr>
        <p:grpSpPr>
          <a:xfrm>
            <a:off x="-143" y="5451684"/>
            <a:ext cx="11831574" cy="722316"/>
            <a:chOff x="-143" y="5451684"/>
            <a:chExt cx="11831574" cy="722316"/>
          </a:xfrm>
        </p:grpSpPr>
        <p:sp>
          <p:nvSpPr>
            <p:cNvPr id="9" name="TextBox 8"/>
            <p:cNvSpPr txBox="1"/>
            <p:nvPr/>
          </p:nvSpPr>
          <p:spPr>
            <a:xfrm>
              <a:off x="820531" y="5505277"/>
              <a:ext cx="11010900" cy="497508"/>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546A">
                      <a:lumMod val="50000"/>
                    </a:srgbClr>
                  </a:solidFill>
                  <a:effectLst/>
                  <a:uLnTx/>
                  <a:uFillTx/>
                  <a:latin typeface="Cambria" panose="02040503050406030204" pitchFamily="18" charset="0"/>
                  <a:ea typeface="Cambria" panose="02040503050406030204" pitchFamily="18" charset="0"/>
                  <a:cs typeface="+mn-cs"/>
                </a:rPr>
                <a:t>Parallelogram design helps maintain wheel alignment better and delivers superior tyre life</a:t>
              </a:r>
            </a:p>
          </p:txBody>
        </p:sp>
        <p:sp>
          <p:nvSpPr>
            <p:cNvPr id="11" name="Pentagon 22">
              <a:extLst>
                <a:ext uri="{FF2B5EF4-FFF2-40B4-BE49-F238E27FC236}">
                  <a16:creationId xmlns:a16="http://schemas.microsoft.com/office/drawing/2014/main" id="{37D7D68A-9F16-455D-BBC1-E8EC6B4D4852}"/>
                </a:ext>
              </a:extLst>
            </p:cNvPr>
            <p:cNvSpPr/>
            <p:nvPr/>
          </p:nvSpPr>
          <p:spPr>
            <a:xfrm>
              <a:off x="-143" y="5767094"/>
              <a:ext cx="170302" cy="40690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259" rtl="0" eaLnBrk="1" fontAlgn="auto" latinLnBrk="0" hangingPunct="1">
                <a:lnSpc>
                  <a:spcPct val="100000"/>
                </a:lnSpc>
                <a:spcBef>
                  <a:spcPts val="0"/>
                </a:spcBef>
                <a:spcAft>
                  <a:spcPts val="0"/>
                </a:spcAft>
                <a:buClrTx/>
                <a:buSzTx/>
                <a:buFontTx/>
                <a:buNone/>
                <a:tabLst/>
                <a:defRPr/>
              </a:pPr>
              <a:endParaRPr kumimoji="0" lang="en-IN" sz="1012" b="1" i="0" u="none" strike="noStrike" kern="1200" cap="none" spc="0" normalizeH="0" baseline="0" noProof="0">
                <a:ln>
                  <a:noFill/>
                </a:ln>
                <a:solidFill>
                  <a:srgbClr val="44546A">
                    <a:lumMod val="50000"/>
                  </a:srgbClr>
                </a:solidFill>
                <a:effectLst/>
                <a:uLnTx/>
                <a:uFillTx/>
                <a:latin typeface="Cambria" panose="02040503050406030204" pitchFamily="18" charset="0"/>
                <a:ea typeface="Cambria" panose="02040503050406030204" pitchFamily="18" charset="0"/>
                <a:cs typeface="+mn-cs"/>
              </a:endParaRPr>
            </a:p>
          </p:txBody>
        </p:sp>
        <p:grpSp>
          <p:nvGrpSpPr>
            <p:cNvPr id="32" name="Group 31"/>
            <p:cNvGrpSpPr/>
            <p:nvPr/>
          </p:nvGrpSpPr>
          <p:grpSpPr>
            <a:xfrm>
              <a:off x="18278" y="5451684"/>
              <a:ext cx="640080" cy="640080"/>
              <a:chOff x="721894" y="2256770"/>
              <a:chExt cx="640080" cy="640080"/>
            </a:xfrm>
          </p:grpSpPr>
          <p:sp>
            <p:nvSpPr>
              <p:cNvPr id="33" name="Oval 32"/>
              <p:cNvSpPr/>
              <p:nvPr/>
            </p:nvSpPr>
            <p:spPr>
              <a:xfrm>
                <a:off x="721894" y="2256770"/>
                <a:ext cx="640080" cy="640080"/>
              </a:xfrm>
              <a:prstGeom prst="ellipse">
                <a:avLst/>
              </a:prstGeom>
              <a:solidFill>
                <a:schemeClr val="accent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0"/>
                  <a:solidFill>
                    <a:srgbClr val="44546A">
                      <a:lumMod val="50000"/>
                    </a:srgbClr>
                  </a:solidFill>
                  <a:effectLst>
                    <a:outerShdw blurRad="38100" dist="19050" dir="2700000" algn="tl" rotWithShape="0">
                      <a:prstClr val="black">
                        <a:alpha val="40000"/>
                      </a:prstClr>
                    </a:outerShdw>
                  </a:effectLst>
                  <a:uLnTx/>
                  <a:uFillTx/>
                  <a:latin typeface="Calibri" panose="020F0502020204030204"/>
                  <a:ea typeface="+mn-ea"/>
                  <a:cs typeface="+mn-cs"/>
                </a:endParaRPr>
              </a:p>
            </p:txBody>
          </p:sp>
          <p:sp>
            <p:nvSpPr>
              <p:cNvPr id="34" name="Chevron 33"/>
              <p:cNvSpPr/>
              <p:nvPr/>
            </p:nvSpPr>
            <p:spPr>
              <a:xfrm>
                <a:off x="921619" y="2440737"/>
                <a:ext cx="240631" cy="272147"/>
              </a:xfrm>
              <a:prstGeom prst="chevron">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546A">
                      <a:lumMod val="50000"/>
                    </a:srgbClr>
                  </a:solidFill>
                  <a:effectLst/>
                  <a:uLnTx/>
                  <a:uFillTx/>
                  <a:latin typeface="Calibri" panose="020F0502020204030204"/>
                  <a:ea typeface="+mn-ea"/>
                  <a:cs typeface="+mn-cs"/>
                </a:endParaRPr>
              </a:p>
            </p:txBody>
          </p:sp>
        </p:grpSp>
      </p:grpSp>
      <p:grpSp>
        <p:nvGrpSpPr>
          <p:cNvPr id="38" name="Group 37"/>
          <p:cNvGrpSpPr/>
          <p:nvPr/>
        </p:nvGrpSpPr>
        <p:grpSpPr>
          <a:xfrm>
            <a:off x="0" y="6177902"/>
            <a:ext cx="11831431" cy="640080"/>
            <a:chOff x="0" y="6177902"/>
            <a:chExt cx="11831431" cy="640080"/>
          </a:xfrm>
        </p:grpSpPr>
        <p:sp>
          <p:nvSpPr>
            <p:cNvPr id="12" name="TextBox 11"/>
            <p:cNvSpPr txBox="1"/>
            <p:nvPr/>
          </p:nvSpPr>
          <p:spPr>
            <a:xfrm>
              <a:off x="820531" y="6267377"/>
              <a:ext cx="11010900" cy="496931"/>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546A">
                      <a:lumMod val="50000"/>
                    </a:srgbClr>
                  </a:solidFill>
                  <a:effectLst/>
                  <a:uLnTx/>
                  <a:uFillTx/>
                  <a:latin typeface="Cambria" panose="02040503050406030204" pitchFamily="18" charset="0"/>
                  <a:ea typeface="Cambria" panose="02040503050406030204" pitchFamily="18" charset="0"/>
                  <a:cs typeface="+mn-cs"/>
                </a:rPr>
                <a:t>DTLA is now provided with regular wheel bearings (not Unitized wheel bearings as earlier)</a:t>
              </a:r>
            </a:p>
          </p:txBody>
        </p:sp>
        <p:sp>
          <p:nvSpPr>
            <p:cNvPr id="13" name="Pentagon 22">
              <a:extLst>
                <a:ext uri="{FF2B5EF4-FFF2-40B4-BE49-F238E27FC236}">
                  <a16:creationId xmlns:a16="http://schemas.microsoft.com/office/drawing/2014/main" id="{37D7D68A-9F16-455D-BBC1-E8EC6B4D4852}"/>
                </a:ext>
              </a:extLst>
            </p:cNvPr>
            <p:cNvSpPr/>
            <p:nvPr/>
          </p:nvSpPr>
          <p:spPr>
            <a:xfrm>
              <a:off x="0" y="6357402"/>
              <a:ext cx="170302" cy="40690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259" rtl="0" eaLnBrk="1" fontAlgn="auto" latinLnBrk="0" hangingPunct="1">
                <a:lnSpc>
                  <a:spcPct val="100000"/>
                </a:lnSpc>
                <a:spcBef>
                  <a:spcPts val="0"/>
                </a:spcBef>
                <a:spcAft>
                  <a:spcPts val="0"/>
                </a:spcAft>
                <a:buClrTx/>
                <a:buSzTx/>
                <a:buFontTx/>
                <a:buNone/>
                <a:tabLst/>
                <a:defRPr/>
              </a:pPr>
              <a:endParaRPr kumimoji="0" lang="en-IN" sz="1012" b="1" i="0" u="none" strike="noStrike" kern="1200" cap="none" spc="0" normalizeH="0" baseline="0" noProof="0">
                <a:ln>
                  <a:noFill/>
                </a:ln>
                <a:solidFill>
                  <a:srgbClr val="44546A">
                    <a:lumMod val="50000"/>
                  </a:srgbClr>
                </a:solidFill>
                <a:effectLst/>
                <a:uLnTx/>
                <a:uFillTx/>
                <a:latin typeface="Cambria" panose="02040503050406030204" pitchFamily="18" charset="0"/>
                <a:ea typeface="Cambria" panose="02040503050406030204" pitchFamily="18" charset="0"/>
                <a:cs typeface="+mn-cs"/>
              </a:endParaRPr>
            </a:p>
          </p:txBody>
        </p:sp>
        <p:grpSp>
          <p:nvGrpSpPr>
            <p:cNvPr id="35" name="Group 34"/>
            <p:cNvGrpSpPr/>
            <p:nvPr/>
          </p:nvGrpSpPr>
          <p:grpSpPr>
            <a:xfrm>
              <a:off x="18278" y="6177902"/>
              <a:ext cx="640080" cy="640080"/>
              <a:chOff x="721894" y="2256770"/>
              <a:chExt cx="640080" cy="640080"/>
            </a:xfrm>
          </p:grpSpPr>
          <p:sp>
            <p:nvSpPr>
              <p:cNvPr id="36" name="Oval 35"/>
              <p:cNvSpPr/>
              <p:nvPr/>
            </p:nvSpPr>
            <p:spPr>
              <a:xfrm>
                <a:off x="721894" y="2256770"/>
                <a:ext cx="640080" cy="640080"/>
              </a:xfrm>
              <a:prstGeom prst="ellipse">
                <a:avLst/>
              </a:prstGeom>
              <a:solidFill>
                <a:schemeClr val="accent5">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0"/>
                  <a:solidFill>
                    <a:srgbClr val="44546A">
                      <a:lumMod val="50000"/>
                    </a:srgbClr>
                  </a:solidFill>
                  <a:effectLst>
                    <a:outerShdw blurRad="38100" dist="19050" dir="2700000" algn="tl" rotWithShape="0">
                      <a:prstClr val="black">
                        <a:alpha val="40000"/>
                      </a:prstClr>
                    </a:outerShdw>
                  </a:effectLst>
                  <a:uLnTx/>
                  <a:uFillTx/>
                  <a:latin typeface="Calibri" panose="020F0502020204030204"/>
                  <a:ea typeface="+mn-ea"/>
                  <a:cs typeface="+mn-cs"/>
                </a:endParaRPr>
              </a:p>
            </p:txBody>
          </p:sp>
          <p:sp>
            <p:nvSpPr>
              <p:cNvPr id="37" name="Chevron 36"/>
              <p:cNvSpPr/>
              <p:nvPr/>
            </p:nvSpPr>
            <p:spPr>
              <a:xfrm>
                <a:off x="921619" y="2440737"/>
                <a:ext cx="240631" cy="272147"/>
              </a:xfrm>
              <a:prstGeom prst="chevron">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546A">
                      <a:lumMod val="50000"/>
                    </a:srgbClr>
                  </a:solidFill>
                  <a:effectLst/>
                  <a:uLnTx/>
                  <a:uFillTx/>
                  <a:latin typeface="Calibri" panose="020F0502020204030204"/>
                  <a:ea typeface="+mn-ea"/>
                  <a:cs typeface="+mn-cs"/>
                </a:endParaRPr>
              </a:p>
            </p:txBody>
          </p:sp>
        </p:grpSp>
      </p:grpSp>
      <p:sp>
        <p:nvSpPr>
          <p:cNvPr id="27"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6" name="Parallelogram 5">
            <a:extLst>
              <a:ext uri="{FF2B5EF4-FFF2-40B4-BE49-F238E27FC236}">
                <a16:creationId xmlns:a16="http://schemas.microsoft.com/office/drawing/2014/main" id="{D94677F3-9513-4EC1-9BD0-A5E34DCE2159}"/>
              </a:ext>
            </a:extLst>
          </p:cNvPr>
          <p:cNvSpPr/>
          <p:nvPr/>
        </p:nvSpPr>
        <p:spPr>
          <a:xfrm>
            <a:off x="170159" y="107642"/>
            <a:ext cx="9716902" cy="573426"/>
          </a:xfrm>
          <a:prstGeom prst="parallelogram">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ATENTED DUAL TYRE LIFT AXLE</a:t>
            </a:r>
          </a:p>
        </p:txBody>
      </p:sp>
      <p:sp>
        <p:nvSpPr>
          <p:cNvPr id="3" name="TextBox 2"/>
          <p:cNvSpPr txBox="1"/>
          <p:nvPr/>
        </p:nvSpPr>
        <p:spPr>
          <a:xfrm>
            <a:off x="8115587" y="2065878"/>
            <a:ext cx="3943708" cy="1754326"/>
          </a:xfrm>
          <a:prstGeom prst="rect">
            <a:avLst/>
          </a:prstGeom>
          <a:noFill/>
        </p:spPr>
        <p:txBody>
          <a:bodyPr wrap="none" rtlCol="0">
            <a:spAutoFit/>
          </a:bodyPr>
          <a:lstStyle/>
          <a:p>
            <a:r>
              <a:rPr lang="en-US" b="1" dirty="0">
                <a:latin typeface="Century Gothic" panose="020B0502020202020204" pitchFamily="34" charset="0"/>
              </a:rPr>
              <a:t>Some codes which are important:</a:t>
            </a:r>
          </a:p>
          <a:p>
            <a:r>
              <a:rPr lang="en-US" b="1" dirty="0">
                <a:latin typeface="Century Gothic" panose="020B0502020202020204" pitchFamily="34" charset="0"/>
              </a:rPr>
              <a:t>0- UNCOMPRESSED</a:t>
            </a:r>
          </a:p>
          <a:p>
            <a:r>
              <a:rPr lang="en-US" b="1" dirty="0">
                <a:latin typeface="Century Gothic" panose="020B0502020202020204" pitchFamily="34" charset="0"/>
              </a:rPr>
              <a:t>1-COMPRESED AIR INLET</a:t>
            </a:r>
          </a:p>
          <a:p>
            <a:r>
              <a:rPr lang="en-US" b="1" dirty="0">
                <a:latin typeface="Century Gothic" panose="020B0502020202020204" pitchFamily="34" charset="0"/>
              </a:rPr>
              <a:t>2-COMPRESSED AIR OUTLET</a:t>
            </a:r>
          </a:p>
          <a:p>
            <a:r>
              <a:rPr lang="en-US" b="1" dirty="0">
                <a:latin typeface="Century Gothic" panose="020B0502020202020204" pitchFamily="34" charset="0"/>
              </a:rPr>
              <a:t>3-EXHAUST</a:t>
            </a:r>
          </a:p>
          <a:p>
            <a:r>
              <a:rPr lang="en-US" b="1" dirty="0">
                <a:latin typeface="Century Gothic" panose="020B0502020202020204" pitchFamily="34" charset="0"/>
              </a:rPr>
              <a:t>4-SIGNAL</a:t>
            </a:r>
          </a:p>
        </p:txBody>
      </p:sp>
    </p:spTree>
    <p:extLst>
      <p:ext uri="{BB962C8B-B14F-4D97-AF65-F5344CB8AC3E}">
        <p14:creationId xmlns:p14="http://schemas.microsoft.com/office/powerpoint/2010/main" val="3004719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38"/>
                                        </p:tgtEl>
                                        <p:attrNameLst>
                                          <p:attrName>style.visibility</p:attrName>
                                        </p:attrNameLst>
                                      </p:cBhvr>
                                      <p:to>
                                        <p:strVal val="visible"/>
                                      </p:to>
                                    </p:set>
                                    <p:animEffect transition="in" filter="wipe(down)">
                                      <p:cBhvr>
                                        <p:cTn id="1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13" restart="whenNotActive" fill="hold" evtFilter="cancelBubble" nodeType="interactiveSeq">
                <p:stCondLst>
                  <p:cond evt="onClick" delay="0">
                    <p:tgtEl>
                      <p:spTgt spid="2"/>
                    </p:tgtEl>
                  </p:cond>
                </p:stCondLst>
                <p:endSync evt="end" delay="0">
                  <p:rtn val="all"/>
                </p:endSync>
                <p:childTnLst>
                  <p:par>
                    <p:cTn id="14" fill="hold">
                      <p:stCondLst>
                        <p:cond delay="0"/>
                      </p:stCondLst>
                      <p:childTnLst>
                        <p:par>
                          <p:cTn id="15" fill="hold">
                            <p:stCondLst>
                              <p:cond delay="0"/>
                            </p:stCondLst>
                            <p:childTnLst>
                              <p:par>
                                <p:cTn id="16" presetID="2" presetClass="mediacall" presetSubtype="0" fill="hold" nodeType="clickEffect">
                                  <p:stCondLst>
                                    <p:cond delay="0"/>
                                  </p:stCondLst>
                                  <p:childTnLst>
                                    <p:cmd type="call" cmd="togglePause">
                                      <p:cBhvr>
                                        <p:cTn id="17" dur="1" fill="hold"/>
                                        <p:tgtEl>
                                          <p:spTgt spid="2"/>
                                        </p:tgtEl>
                                      </p:cBhvr>
                                    </p:cmd>
                                  </p:childTnLst>
                                </p:cTn>
                              </p:par>
                            </p:childTnLst>
                          </p:cTn>
                        </p:par>
                      </p:childTnLst>
                    </p:cTn>
                  </p:par>
                </p:childTnLst>
              </p:cTn>
              <p:nextCondLst>
                <p:cond evt="onClick" delay="0">
                  <p:tgtEl>
                    <p:spTgt spid="2"/>
                  </p:tgtEl>
                </p:cond>
              </p:nextCondLst>
            </p:seq>
            <p:video>
              <p:cMediaNode vol="80000">
                <p:cTn id="18" fill="hold" display="0">
                  <p:stCondLst>
                    <p:cond delay="indefinite"/>
                  </p:stCondLst>
                </p:cTn>
                <p:tgtEl>
                  <p:spTgt spid="2"/>
                </p:tgtEl>
              </p:cMediaNode>
            </p:video>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6BF31179-AC5D-F548-9A7D-D284EC8147A4}"/>
              </a:ext>
            </a:extLst>
          </p:cNvPr>
          <p:cNvSpPr/>
          <p:nvPr/>
        </p:nvSpPr>
        <p:spPr>
          <a:xfrm>
            <a:off x="-1" y="994390"/>
            <a:ext cx="12188825" cy="5862718"/>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Rounded Rectangle 34">
            <a:extLst>
              <a:ext uri="{FF2B5EF4-FFF2-40B4-BE49-F238E27FC236}">
                <a16:creationId xmlns:a16="http://schemas.microsoft.com/office/drawing/2014/main" id="{6DD11524-8998-1D44-B820-5CE12CEA658E}"/>
              </a:ext>
            </a:extLst>
          </p:cNvPr>
          <p:cNvSpPr/>
          <p:nvPr/>
        </p:nvSpPr>
        <p:spPr>
          <a:xfrm>
            <a:off x="300446" y="1233910"/>
            <a:ext cx="7502392" cy="5212773"/>
          </a:xfrm>
          <a:prstGeom prst="roundRect">
            <a:avLst>
              <a:gd name="adj" fmla="val 6476"/>
            </a:avLst>
          </a:prstGeom>
          <a:solidFill>
            <a:schemeClr val="bg1"/>
          </a:solidFill>
          <a:ln>
            <a:noFill/>
          </a:ln>
          <a:effectLst>
            <a:outerShdw blurRad="114300" dist="38100" dir="2700000" algn="tl" rotWithShape="0">
              <a:schemeClr val="bg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pic>
        <p:nvPicPr>
          <p:cNvPr id="17" name="Picture 16">
            <a:extLst>
              <a:ext uri="{FF2B5EF4-FFF2-40B4-BE49-F238E27FC236}">
                <a16:creationId xmlns:a16="http://schemas.microsoft.com/office/drawing/2014/main" id="{3D76D0A0-CFD6-49F1-9BAA-CECE43F5045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437417" y="80705"/>
            <a:ext cx="621878" cy="622040"/>
          </a:xfrm>
          <a:prstGeom prst="rect">
            <a:avLst/>
          </a:prstGeom>
        </p:spPr>
      </p:pic>
      <p:sp>
        <p:nvSpPr>
          <p:cNvPr id="26" name="Content Placeholder 6"/>
          <p:cNvSpPr>
            <a:spLocks noGrp="1"/>
          </p:cNvSpPr>
          <p:nvPr>
            <p:ph idx="1"/>
          </p:nvPr>
        </p:nvSpPr>
        <p:spPr>
          <a:xfrm>
            <a:off x="411060" y="1389484"/>
            <a:ext cx="7281164" cy="4314521"/>
          </a:xfrm>
        </p:spPr>
        <p:txBody>
          <a:bodyPr>
            <a:noAutofit/>
          </a:bodyPr>
          <a:lstStyle/>
          <a:p>
            <a:pPr>
              <a:lnSpc>
                <a:spcPct val="100000"/>
              </a:lnSpc>
              <a:buFont typeface="Wingdings" panose="05000000000000000000" pitchFamily="2" charset="2"/>
              <a:buChar char="§"/>
            </a:pPr>
            <a:r>
              <a:rPr lang="en-US" sz="1600" dirty="0">
                <a:latin typeface="Century Gothic" panose="020B0502020202020204" pitchFamily="34" charset="0"/>
                <a:ea typeface="Cambria" panose="02040503050406030204" pitchFamily="18" charset="0"/>
              </a:rPr>
              <a:t>In case of DTLA models, lift axle does not lift fully when the vehicle is reversing or when the steering is turned full – (2 to 2.5 turns), unlike single tyre lift axle models (3520/4220 etc.)</a:t>
            </a:r>
          </a:p>
          <a:p>
            <a:pPr>
              <a:lnSpc>
                <a:spcPct val="100000"/>
              </a:lnSpc>
              <a:buFont typeface="Wingdings" panose="05000000000000000000" pitchFamily="2" charset="2"/>
              <a:buChar char="§"/>
            </a:pPr>
            <a:r>
              <a:rPr lang="en-US" sz="1600" dirty="0">
                <a:latin typeface="Century Gothic" panose="020B0502020202020204" pitchFamily="34" charset="0"/>
                <a:ea typeface="Cambria" panose="02040503050406030204" pitchFamily="18" charset="0"/>
              </a:rPr>
              <a:t>However, the air pressure on the lift axle is released substantially so that there is no load acts on the lift axle – this eliminates tyre dragging (dual tyre lift axle is not steerable like single tyre lift axle).</a:t>
            </a:r>
          </a:p>
          <a:p>
            <a:pPr>
              <a:lnSpc>
                <a:spcPct val="100000"/>
              </a:lnSpc>
              <a:buFont typeface="Wingdings" panose="05000000000000000000" pitchFamily="2" charset="2"/>
              <a:buChar char="§"/>
            </a:pPr>
            <a:r>
              <a:rPr lang="en-US" sz="1600" dirty="0">
                <a:latin typeface="Century Gothic" panose="020B0502020202020204" pitchFamily="34" charset="0"/>
                <a:ea typeface="Cambria" panose="02040503050406030204" pitchFamily="18" charset="0"/>
              </a:rPr>
              <a:t>Lift axle automatically lifts up only when the GVW of the vehicle is below 18.5T – however in certain special occasions like coming out of sand bed with load, sharp hair pin etc., additional road grip may be required on drive axle to maneuver.</a:t>
            </a:r>
          </a:p>
          <a:p>
            <a:pPr>
              <a:lnSpc>
                <a:spcPct val="100000"/>
              </a:lnSpc>
              <a:buFont typeface="Wingdings" panose="05000000000000000000" pitchFamily="2" charset="2"/>
              <a:buChar char="§"/>
            </a:pPr>
            <a:r>
              <a:rPr lang="en-US" sz="1600" dirty="0">
                <a:latin typeface="Century Gothic" panose="020B0502020202020204" pitchFamily="34" charset="0"/>
                <a:ea typeface="Cambria" panose="02040503050406030204" pitchFamily="18" charset="0"/>
              </a:rPr>
              <a:t>To address such situations, a </a:t>
            </a:r>
            <a:r>
              <a:rPr lang="en-US" sz="1600" b="1" dirty="0">
                <a:latin typeface="Century Gothic" panose="020B0502020202020204" pitchFamily="34" charset="0"/>
                <a:ea typeface="Cambria" panose="02040503050406030204" pitchFamily="18" charset="0"/>
              </a:rPr>
              <a:t>TRACTION CONTROL SWITCH is provided on all DTLA models on the dashboard itself, which can be used to release the load on the lift axle even when the vehicle is fully loaded. </a:t>
            </a:r>
          </a:p>
          <a:p>
            <a:pPr>
              <a:lnSpc>
                <a:spcPct val="100000"/>
              </a:lnSpc>
              <a:buFont typeface="Wingdings" panose="05000000000000000000" pitchFamily="2" charset="2"/>
              <a:buChar char="§"/>
            </a:pPr>
            <a:r>
              <a:rPr lang="en-US" sz="1600" b="1" dirty="0">
                <a:latin typeface="Century Gothic" panose="020B0502020202020204" pitchFamily="34" charset="0"/>
                <a:ea typeface="Cambria" panose="02040503050406030204" pitchFamily="18" charset="0"/>
              </a:rPr>
              <a:t>This helps in shifting the load to rear drive axle by which better traction is obtained.</a:t>
            </a:r>
          </a:p>
          <a:p>
            <a:pPr>
              <a:lnSpc>
                <a:spcPct val="100000"/>
              </a:lnSpc>
              <a:buFont typeface="Wingdings" panose="05000000000000000000" pitchFamily="2" charset="2"/>
              <a:buChar char="§"/>
            </a:pPr>
            <a:r>
              <a:rPr lang="en-US" sz="1600" dirty="0">
                <a:latin typeface="Century Gothic" panose="020B0502020202020204" pitchFamily="34" charset="0"/>
                <a:ea typeface="Cambria" panose="02040503050406030204" pitchFamily="18" charset="0"/>
              </a:rPr>
              <a:t>However, </a:t>
            </a:r>
            <a:r>
              <a:rPr lang="en-US" sz="1600" b="1" dirty="0">
                <a:latin typeface="Century Gothic" panose="020B0502020202020204" pitchFamily="34" charset="0"/>
                <a:ea typeface="Cambria" panose="02040503050406030204" pitchFamily="18" charset="0"/>
              </a:rPr>
              <a:t>when this switch is pressed, axle will revert to normal condition after 2 minutes as it is designed for only limited use.</a:t>
            </a:r>
          </a:p>
        </p:txBody>
      </p:sp>
      <p:sp>
        <p:nvSpPr>
          <p:cNvPr id="27" name="Rounded Rectangle 26">
            <a:extLst>
              <a:ext uri="{FF2B5EF4-FFF2-40B4-BE49-F238E27FC236}">
                <a16:creationId xmlns:a16="http://schemas.microsoft.com/office/drawing/2014/main" id="{6DD11524-8998-1D44-B820-5CE12CEA658E}"/>
              </a:ext>
            </a:extLst>
          </p:cNvPr>
          <p:cNvSpPr/>
          <p:nvPr/>
        </p:nvSpPr>
        <p:spPr>
          <a:xfrm>
            <a:off x="8077246" y="1233910"/>
            <a:ext cx="3798956" cy="2430789"/>
          </a:xfrm>
          <a:prstGeom prst="roundRect">
            <a:avLst>
              <a:gd name="adj" fmla="val 6476"/>
            </a:avLst>
          </a:prstGeom>
          <a:solidFill>
            <a:schemeClr val="bg1"/>
          </a:solidFill>
          <a:ln>
            <a:noFill/>
          </a:ln>
          <a:effectLst>
            <a:outerShdw blurRad="114300" dist="38100" dir="2700000" algn="tl" rotWithShape="0">
              <a:schemeClr val="bg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3" name="Group 2"/>
          <p:cNvGrpSpPr/>
          <p:nvPr/>
        </p:nvGrpSpPr>
        <p:grpSpPr>
          <a:xfrm>
            <a:off x="8307491" y="1389484"/>
            <a:ext cx="3241623" cy="2119639"/>
            <a:chOff x="8618039" y="1314319"/>
            <a:chExt cx="3438977" cy="2532688"/>
          </a:xfrm>
        </p:grpSpPr>
        <p:pic>
          <p:nvPicPr>
            <p:cNvPr id="18" name="Picture 17"/>
            <p:cNvPicPr>
              <a:picLocks noChangeAspect="1"/>
            </p:cNvPicPr>
            <p:nvPr/>
          </p:nvPicPr>
          <p:blipFill rotWithShape="1">
            <a:blip r:embed="rId4"/>
            <a:srcRect l="1" r="684" b="39591"/>
            <a:stretch/>
          </p:blipFill>
          <p:spPr>
            <a:xfrm>
              <a:off x="8618039" y="1314319"/>
              <a:ext cx="3438977" cy="2532688"/>
            </a:xfrm>
            <a:prstGeom prst="rect">
              <a:avLst/>
            </a:prstGeom>
          </p:spPr>
        </p:pic>
        <p:sp>
          <p:nvSpPr>
            <p:cNvPr id="21" name="Rectangle 20"/>
            <p:cNvSpPr/>
            <p:nvPr/>
          </p:nvSpPr>
          <p:spPr>
            <a:xfrm>
              <a:off x="10580912" y="1314319"/>
              <a:ext cx="1476103" cy="352702"/>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mn-cs"/>
                </a:rPr>
                <a:t>On U/N cab</a:t>
              </a:r>
            </a:p>
          </p:txBody>
        </p:sp>
        <p:sp>
          <p:nvSpPr>
            <p:cNvPr id="24" name="Oval 23"/>
            <p:cNvSpPr/>
            <p:nvPr/>
          </p:nvSpPr>
          <p:spPr>
            <a:xfrm>
              <a:off x="9815013" y="2139796"/>
              <a:ext cx="1045027" cy="1575764"/>
            </a:xfrm>
            <a:prstGeom prst="ellipse">
              <a:avLst/>
            </a:prstGeom>
            <a:noFill/>
            <a:ln w="635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8" name="Rounded Rectangle 27">
            <a:extLst>
              <a:ext uri="{FF2B5EF4-FFF2-40B4-BE49-F238E27FC236}">
                <a16:creationId xmlns:a16="http://schemas.microsoft.com/office/drawing/2014/main" id="{6DD11524-8998-1D44-B820-5CE12CEA658E}"/>
              </a:ext>
            </a:extLst>
          </p:cNvPr>
          <p:cNvSpPr/>
          <p:nvPr/>
        </p:nvSpPr>
        <p:spPr>
          <a:xfrm>
            <a:off x="8084766" y="3950078"/>
            <a:ext cx="3798956" cy="2430789"/>
          </a:xfrm>
          <a:prstGeom prst="roundRect">
            <a:avLst>
              <a:gd name="adj" fmla="val 6476"/>
            </a:avLst>
          </a:prstGeom>
          <a:solidFill>
            <a:schemeClr val="bg1"/>
          </a:solidFill>
          <a:ln>
            <a:noFill/>
          </a:ln>
          <a:effectLst>
            <a:outerShdw blurRad="114300" dist="38100" dir="2700000" algn="tl" rotWithShape="0">
              <a:schemeClr val="bg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 name="Group 3"/>
          <p:cNvGrpSpPr/>
          <p:nvPr/>
        </p:nvGrpSpPr>
        <p:grpSpPr>
          <a:xfrm>
            <a:off x="8391780" y="4060370"/>
            <a:ext cx="3184928" cy="2229877"/>
            <a:chOff x="8647514" y="4173761"/>
            <a:chExt cx="3409503" cy="2584054"/>
          </a:xfrm>
        </p:grpSpPr>
        <p:pic>
          <p:nvPicPr>
            <p:cNvPr id="19" name="Picture 18"/>
            <p:cNvPicPr>
              <a:picLocks noChangeAspect="1"/>
            </p:cNvPicPr>
            <p:nvPr/>
          </p:nvPicPr>
          <p:blipFill>
            <a:blip r:embed="rId5"/>
            <a:stretch>
              <a:fillRect/>
            </a:stretch>
          </p:blipFill>
          <p:spPr>
            <a:xfrm>
              <a:off x="8647514" y="4188335"/>
              <a:ext cx="3409503" cy="2569480"/>
            </a:xfrm>
            <a:prstGeom prst="rect">
              <a:avLst/>
            </a:prstGeom>
          </p:spPr>
        </p:pic>
        <p:sp>
          <p:nvSpPr>
            <p:cNvPr id="22" name="Rectangle 21"/>
            <p:cNvSpPr/>
            <p:nvPr/>
          </p:nvSpPr>
          <p:spPr>
            <a:xfrm>
              <a:off x="10580913" y="4188335"/>
              <a:ext cx="1476103" cy="352702"/>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mn-cs"/>
                </a:rPr>
                <a:t>On G cowl</a:t>
              </a:r>
            </a:p>
          </p:txBody>
        </p:sp>
        <p:sp>
          <p:nvSpPr>
            <p:cNvPr id="25" name="Oval 24"/>
            <p:cNvSpPr/>
            <p:nvPr/>
          </p:nvSpPr>
          <p:spPr>
            <a:xfrm>
              <a:off x="8998636" y="4173761"/>
              <a:ext cx="1045027" cy="1575764"/>
            </a:xfrm>
            <a:prstGeom prst="ellipse">
              <a:avLst/>
            </a:prstGeom>
            <a:noFill/>
            <a:ln w="635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9"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9" name="Parallelogram 8">
            <a:extLst>
              <a:ext uri="{FF2B5EF4-FFF2-40B4-BE49-F238E27FC236}">
                <a16:creationId xmlns:a16="http://schemas.microsoft.com/office/drawing/2014/main" id="{998C9A07-9963-4B96-9797-1E75336FD4D3}"/>
              </a:ext>
            </a:extLst>
          </p:cNvPr>
          <p:cNvSpPr/>
          <p:nvPr/>
        </p:nvSpPr>
        <p:spPr>
          <a:xfrm>
            <a:off x="211400" y="80705"/>
            <a:ext cx="9716902" cy="573426"/>
          </a:xfrm>
          <a:prstGeom prst="parallelogram">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TRACTION CONTROL SWITCH	</a:t>
            </a:r>
          </a:p>
        </p:txBody>
      </p:sp>
    </p:spTree>
    <p:extLst>
      <p:ext uri="{BB962C8B-B14F-4D97-AF65-F5344CB8AC3E}">
        <p14:creationId xmlns:p14="http://schemas.microsoft.com/office/powerpoint/2010/main" val="257326063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76D0A0-CFD6-49F1-9BAA-CECE43F5045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437417" y="80705"/>
            <a:ext cx="621878" cy="622040"/>
          </a:xfrm>
          <a:prstGeom prst="rect">
            <a:avLst/>
          </a:prstGeom>
        </p:spPr>
      </p:pic>
      <p:sp>
        <p:nvSpPr>
          <p:cNvPr id="29" name="Rectangle: Top Corners Snipped 3"/>
          <p:cNvSpPr/>
          <p:nvPr/>
        </p:nvSpPr>
        <p:spPr>
          <a:xfrm rot="10800000">
            <a:off x="975534" y="-5"/>
            <a:ext cx="8981265" cy="822045"/>
          </a:xfrm>
          <a:prstGeom prst="snip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9" name="Parallelogram 8">
            <a:extLst>
              <a:ext uri="{FF2B5EF4-FFF2-40B4-BE49-F238E27FC236}">
                <a16:creationId xmlns:a16="http://schemas.microsoft.com/office/drawing/2014/main" id="{998C9A07-9963-4B96-9797-1E75336FD4D3}"/>
              </a:ext>
            </a:extLst>
          </p:cNvPr>
          <p:cNvSpPr/>
          <p:nvPr/>
        </p:nvSpPr>
        <p:spPr>
          <a:xfrm>
            <a:off x="211400" y="80705"/>
            <a:ext cx="9716902" cy="573426"/>
          </a:xfrm>
          <a:prstGeom prst="parallelogram">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AD &amp; DCDL</a:t>
            </a:r>
          </a:p>
        </p:txBody>
      </p:sp>
      <p:pic>
        <p:nvPicPr>
          <p:cNvPr id="5" name="Picture 4"/>
          <p:cNvPicPr>
            <a:picLocks noChangeAspect="1"/>
          </p:cNvPicPr>
          <p:nvPr/>
        </p:nvPicPr>
        <p:blipFill>
          <a:blip r:embed="rId4"/>
          <a:stretch>
            <a:fillRect/>
          </a:stretch>
        </p:blipFill>
        <p:spPr>
          <a:xfrm>
            <a:off x="7604329" y="1017083"/>
            <a:ext cx="3140764" cy="2640806"/>
          </a:xfrm>
          <a:prstGeom prst="rect">
            <a:avLst/>
          </a:prstGeom>
        </p:spPr>
      </p:pic>
      <p:pic>
        <p:nvPicPr>
          <p:cNvPr id="6" name="Picture 5"/>
          <p:cNvPicPr>
            <a:picLocks noChangeAspect="1"/>
          </p:cNvPicPr>
          <p:nvPr/>
        </p:nvPicPr>
        <p:blipFill>
          <a:blip r:embed="rId5"/>
          <a:stretch>
            <a:fillRect/>
          </a:stretch>
        </p:blipFill>
        <p:spPr>
          <a:xfrm>
            <a:off x="965249" y="1240626"/>
            <a:ext cx="4254967" cy="2247753"/>
          </a:xfrm>
          <a:prstGeom prst="rect">
            <a:avLst/>
          </a:prstGeom>
        </p:spPr>
      </p:pic>
      <p:grpSp>
        <p:nvGrpSpPr>
          <p:cNvPr id="30" name="Group 29"/>
          <p:cNvGrpSpPr/>
          <p:nvPr/>
        </p:nvGrpSpPr>
        <p:grpSpPr>
          <a:xfrm>
            <a:off x="330662" y="3803090"/>
            <a:ext cx="5403731" cy="2585345"/>
            <a:chOff x="885820" y="3695728"/>
            <a:chExt cx="4634902" cy="1282594"/>
          </a:xfrm>
        </p:grpSpPr>
        <p:sp>
          <p:nvSpPr>
            <p:cNvPr id="31" name="Rectangle 30"/>
            <p:cNvSpPr/>
            <p:nvPr/>
          </p:nvSpPr>
          <p:spPr>
            <a:xfrm>
              <a:off x="1214846" y="3695728"/>
              <a:ext cx="4305876" cy="1282594"/>
            </a:xfrm>
            <a:prstGeom prst="rect">
              <a:avLst/>
            </a:prstGeom>
            <a:solidFill>
              <a:schemeClr val="accent5">
                <a:lumMod val="20000"/>
                <a:lumOff val="80000"/>
              </a:schemeClr>
            </a:solidFill>
            <a:ln>
              <a:solidFill>
                <a:schemeClr val="accent5">
                  <a:lumMod val="5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885820" y="3695728"/>
              <a:ext cx="329025" cy="1282594"/>
            </a:xfrm>
            <a:prstGeom prst="rect">
              <a:avLst/>
            </a:prstGeom>
            <a:solidFill>
              <a:schemeClr val="accent5">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TextBox 32"/>
          <p:cNvSpPr txBox="1"/>
          <p:nvPr/>
        </p:nvSpPr>
        <p:spPr>
          <a:xfrm>
            <a:off x="636482" y="3811508"/>
            <a:ext cx="3188756" cy="369332"/>
          </a:xfrm>
          <a:prstGeom prst="rect">
            <a:avLst/>
          </a:prstGeom>
          <a:noFill/>
        </p:spPr>
        <p:txBody>
          <a:bodyPr wrap="square" rtlCol="0">
            <a:spAutoFit/>
          </a:bodyPr>
          <a:lstStyle/>
          <a:p>
            <a:pPr algn="ctr" defTabSz="1219170">
              <a:defRPr/>
            </a:pPr>
            <a:r>
              <a:rPr lang="en-IN" b="1" dirty="0">
                <a:solidFill>
                  <a:prstClr val="black"/>
                </a:solidFill>
                <a:latin typeface="Century Gothic" panose="020B0502020202020204" pitchFamily="34" charset="0"/>
              </a:rPr>
              <a:t>Inter axle differential</a:t>
            </a:r>
            <a:endParaRPr lang="en-US" b="1" dirty="0">
              <a:solidFill>
                <a:prstClr val="black"/>
              </a:solidFill>
              <a:latin typeface="Century Gothic" panose="020B0502020202020204" pitchFamily="34" charset="0"/>
            </a:endParaRPr>
          </a:p>
        </p:txBody>
      </p:sp>
      <p:sp>
        <p:nvSpPr>
          <p:cNvPr id="34" name="TextBox 33"/>
          <p:cNvSpPr txBox="1"/>
          <p:nvPr/>
        </p:nvSpPr>
        <p:spPr>
          <a:xfrm>
            <a:off x="734027" y="4257842"/>
            <a:ext cx="4717413" cy="584775"/>
          </a:xfrm>
          <a:prstGeom prst="rect">
            <a:avLst/>
          </a:prstGeom>
          <a:noFill/>
        </p:spPr>
        <p:txBody>
          <a:bodyPr wrap="square" rtlCol="0">
            <a:spAutoFit/>
          </a:bodyPr>
          <a:lstStyle/>
          <a:p>
            <a:pPr marL="285744" indent="-285744" defTabSz="1219170">
              <a:buFont typeface="Wingdings" panose="05000000000000000000" pitchFamily="2" charset="2"/>
              <a:buChar char="§"/>
              <a:defRPr/>
            </a:pPr>
            <a:r>
              <a:rPr lang="en-US" sz="1600" dirty="0">
                <a:solidFill>
                  <a:prstClr val="black"/>
                </a:solidFill>
                <a:latin typeface="Century Gothic" panose="020B0502020202020204" pitchFamily="34" charset="0"/>
              </a:rPr>
              <a:t>Transmits torque between axles, we call it as 3</a:t>
            </a:r>
            <a:r>
              <a:rPr lang="en-US" sz="1600" baseline="30000" dirty="0">
                <a:solidFill>
                  <a:prstClr val="black"/>
                </a:solidFill>
                <a:latin typeface="Century Gothic" panose="020B0502020202020204" pitchFamily="34" charset="0"/>
              </a:rPr>
              <a:t>rd</a:t>
            </a:r>
            <a:r>
              <a:rPr lang="en-US" sz="1600" dirty="0">
                <a:solidFill>
                  <a:prstClr val="black"/>
                </a:solidFill>
                <a:latin typeface="Century Gothic" panose="020B0502020202020204" pitchFamily="34" charset="0"/>
              </a:rPr>
              <a:t> differential too.</a:t>
            </a:r>
          </a:p>
        </p:txBody>
      </p:sp>
      <p:grpSp>
        <p:nvGrpSpPr>
          <p:cNvPr id="36" name="Group 35"/>
          <p:cNvGrpSpPr/>
          <p:nvPr/>
        </p:nvGrpSpPr>
        <p:grpSpPr>
          <a:xfrm>
            <a:off x="6496531" y="3789330"/>
            <a:ext cx="5403731" cy="2585345"/>
            <a:chOff x="885820" y="3695728"/>
            <a:chExt cx="4634902" cy="1282594"/>
          </a:xfrm>
        </p:grpSpPr>
        <p:sp>
          <p:nvSpPr>
            <p:cNvPr id="37" name="Rectangle 36"/>
            <p:cNvSpPr/>
            <p:nvPr/>
          </p:nvSpPr>
          <p:spPr>
            <a:xfrm>
              <a:off x="1214846" y="3695728"/>
              <a:ext cx="4305876" cy="1282594"/>
            </a:xfrm>
            <a:prstGeom prst="rect">
              <a:avLst/>
            </a:prstGeom>
            <a:solidFill>
              <a:schemeClr val="accent2">
                <a:lumMod val="20000"/>
                <a:lumOff val="80000"/>
              </a:schemeClr>
            </a:solidFill>
            <a:ln>
              <a:solidFill>
                <a:schemeClr val="accent2">
                  <a:lumMod val="5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885820" y="3695728"/>
              <a:ext cx="329025" cy="1282594"/>
            </a:xfrm>
            <a:prstGeom prst="rect">
              <a:avLst/>
            </a:prstGeom>
            <a:solidFill>
              <a:schemeClr val="accent2">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TextBox 38"/>
          <p:cNvSpPr txBox="1"/>
          <p:nvPr/>
        </p:nvSpPr>
        <p:spPr>
          <a:xfrm>
            <a:off x="6900121" y="3823164"/>
            <a:ext cx="4856449" cy="369332"/>
          </a:xfrm>
          <a:prstGeom prst="rect">
            <a:avLst/>
          </a:prstGeom>
          <a:noFill/>
        </p:spPr>
        <p:txBody>
          <a:bodyPr wrap="square" rtlCol="0">
            <a:spAutoFit/>
          </a:bodyPr>
          <a:lstStyle/>
          <a:p>
            <a:pPr defTabSz="1219170">
              <a:defRPr/>
            </a:pPr>
            <a:r>
              <a:rPr lang="en-IN" b="1" dirty="0">
                <a:solidFill>
                  <a:prstClr val="black"/>
                </a:solidFill>
                <a:latin typeface="Century Gothic" panose="020B0502020202020204" pitchFamily="34" charset="0"/>
              </a:rPr>
              <a:t>Driver controlled differential lock</a:t>
            </a:r>
            <a:endParaRPr lang="en-US" b="1" dirty="0">
              <a:solidFill>
                <a:prstClr val="black"/>
              </a:solidFill>
              <a:latin typeface="Century Gothic" panose="020B0502020202020204" pitchFamily="34" charset="0"/>
            </a:endParaRPr>
          </a:p>
        </p:txBody>
      </p:sp>
      <p:sp>
        <p:nvSpPr>
          <p:cNvPr id="40" name="TextBox 39"/>
          <p:cNvSpPr txBox="1"/>
          <p:nvPr/>
        </p:nvSpPr>
        <p:spPr>
          <a:xfrm>
            <a:off x="6880134" y="4180840"/>
            <a:ext cx="4962183" cy="1938992"/>
          </a:xfrm>
          <a:prstGeom prst="rect">
            <a:avLst/>
          </a:prstGeom>
          <a:noFill/>
        </p:spPr>
        <p:txBody>
          <a:bodyPr wrap="square" rtlCol="0">
            <a:spAutoFit/>
          </a:bodyPr>
          <a:lstStyle/>
          <a:p>
            <a:pPr marL="285750" indent="-285750" algn="just" defTabSz="1219170">
              <a:buFont typeface="Wingdings" panose="05000000000000000000" pitchFamily="2" charset="2"/>
              <a:buChar char="§"/>
              <a:defRPr/>
            </a:pPr>
            <a:r>
              <a:rPr lang="en-US" sz="1500" dirty="0">
                <a:solidFill>
                  <a:prstClr val="black"/>
                </a:solidFill>
                <a:latin typeface="Century Gothic" panose="020B0502020202020204" pitchFamily="34" charset="0"/>
              </a:rPr>
              <a:t>Driver control differential lock is a carrier mounted traction device manually operated from the vehicle cab. </a:t>
            </a:r>
          </a:p>
          <a:p>
            <a:pPr marL="285750" indent="-285750" algn="just" defTabSz="1219170">
              <a:buFont typeface="Wingdings" panose="05000000000000000000" pitchFamily="2" charset="2"/>
              <a:buChar char="§"/>
              <a:defRPr/>
            </a:pPr>
            <a:r>
              <a:rPr lang="en-US" sz="1500" dirty="0">
                <a:solidFill>
                  <a:prstClr val="black"/>
                </a:solidFill>
                <a:latin typeface="Century Gothic" panose="020B0502020202020204" pitchFamily="34" charset="0"/>
              </a:rPr>
              <a:t>The purpose of the DCDL is to fully lock the differential and provide maximum vehicle traction by forcing both the wheels to turn at the same speed and with equal torque when encountering unfavorable operating conditions.</a:t>
            </a:r>
          </a:p>
        </p:txBody>
      </p:sp>
    </p:spTree>
    <p:extLst>
      <p:ext uri="{BB962C8B-B14F-4D97-AF65-F5344CB8AC3E}">
        <p14:creationId xmlns:p14="http://schemas.microsoft.com/office/powerpoint/2010/main" val="23458593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kZsy_o.hp4sRdjipGh9Sg"/>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kZsy_o.hp4sRdjipGh9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kZsy_o.hp4sRdjipGh9Sg"/>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kZsy_o.hp4sRdjipGh9Sg"/>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juVV.3nG0q_Rskh90wXu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YYVxp5bEi3GP1WZ5dN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1YU.ZgPBdUO08U.jj9il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EhQuZFNg0.v9TnQHQxKWw"/>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DbDknIfxEWxl4WYN3t5l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_fVfjdksU.sS5CMNZvfP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xuS70lVfEWvfOPQOs9Ro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l0o_.VEQkqe0h.vuvkgb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juVV.3nG0q_Rskh90wXu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juVV.3nG0q_Rskh90wXu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4g_lbLc3F0KL3GDAviLBZ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39qOCNT5GkGEHh0E5vq7L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4g_lbLc3F0KL3GDAviLBZ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4g_lbLc3F0KL3GDAviLB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g_lbLc3F0KL3GDAviLBZ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39qOCNT5GkGEHh0E5vq7L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4g_lbLc3F0KL3GDAviLBZ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9qOCNT5GkGEHh0E5vq7L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4g_lbLc3F0KL3GDAviLBZ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39qOCNT5GkGEHh0E5vq7L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4g_lbLc3F0KL3GDAviLBZ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9qOCNT5GkGEHh0E5vq7L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4g_lbLc3F0KL3GDAviLBZ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9qOCNT5GkGEHh0E5vq7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4g_lbLc3F0KL3GDAviLBZ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39qOCNT5GkGEHh0E5vq7L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4g_lbLc3F0KL3GDAviLBZ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39qOCNT5GkGEHh0E5vq7L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4g_lbLc3F0KL3GDAviLBZ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39qOCNT5GkGEHh0E5vq7L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4g_lbLc3F0KL3GDAviLBZ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39qOCNT5GkGEHh0E5vq7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kZsy_o.hp4sRdjipGh9Sg"/>
</p:tagLst>
</file>

<file path=ppt/theme/theme1.xml><?xml version="1.0" encoding="utf-8"?>
<a:theme xmlns:a="http://schemas.openxmlformats.org/drawingml/2006/main" name="Focus">
  <a:themeElements>
    <a:clrScheme name="Focus">
      <a:dk1>
        <a:srgbClr val="1B212C"/>
      </a:dk1>
      <a:lt1>
        <a:srgbClr val="FFFFFF"/>
      </a:lt1>
      <a:dk2>
        <a:srgbClr val="D9D9D9"/>
      </a:dk2>
      <a:lt2>
        <a:srgbClr val="82C7A5"/>
      </a:lt2>
      <a:accent1>
        <a:srgbClr val="0145AC"/>
      </a:accent1>
      <a:accent2>
        <a:srgbClr val="EECE1A"/>
      </a:accent2>
      <a:accent3>
        <a:srgbClr val="4E5567"/>
      </a:accent3>
      <a:accent4>
        <a:srgbClr val="F4D6AD"/>
      </a:accent4>
      <a:accent5>
        <a:srgbClr val="7890CD"/>
      </a:accent5>
      <a:accent6>
        <a:srgbClr val="F15E22"/>
      </a:accent6>
      <a:hlink>
        <a:srgbClr val="7890CD"/>
      </a:hlink>
      <a:folHlink>
        <a:srgbClr val="7890C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1" u="none" strike="noStrike" cap="none" normalizeH="0" baseline="0" smtClean="0">
            <a:ln>
              <a:noFill/>
            </a:ln>
            <a:solidFill>
              <a:schemeClr val="tx1"/>
            </a:solidFill>
            <a:effectLst/>
            <a:latin typeface="Arial" charset="0"/>
          </a:defRPr>
        </a:defPPr>
      </a:lstStyle>
    </a:lnDef>
    <a:txDef>
      <a:spPr>
        <a:noFill/>
      </a:spPr>
      <a:bodyPr wrap="square" lIns="91440" tIns="91440" rIns="91440" bIns="91440" rtlCol="0">
        <a:spAutoFit/>
      </a:bodyPr>
      <a:lstStyle>
        <a:defPPr>
          <a:defRPr sz="1400" b="0" i="0" dirty="0" err="1" smtClean="0"/>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5_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9_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4_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B5F598238F35842A19949AD3ECAAF75" ma:contentTypeVersion="4" ma:contentTypeDescription="Create a new document." ma:contentTypeScope="" ma:versionID="18903f121be8941eccacf3afaf12b791">
  <xsd:schema xmlns:xsd="http://www.w3.org/2001/XMLSchema" xmlns:xs="http://www.w3.org/2001/XMLSchema" xmlns:p="http://schemas.microsoft.com/office/2006/metadata/properties" xmlns:ns2="ebf569ed-2c1d-43aa-b57b-f977c5cc5e5a" targetNamespace="http://schemas.microsoft.com/office/2006/metadata/properties" ma:root="true" ma:fieldsID="43f5bb949fa9da7a34c1bc30935ff752" ns2:_="">
    <xsd:import namespace="ebf569ed-2c1d-43aa-b57b-f977c5cc5e5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bf569ed-2c1d-43aa-b57b-f977c5cc5e5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3FED665-767A-4D2A-92CF-DAD1B3C3CDFE}">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93D8CB4-BECF-41F0-B85E-BE7AF7C2744B}"/>
</file>

<file path=customXml/itemProps3.xml><?xml version="1.0" encoding="utf-8"?>
<ds:datastoreItem xmlns:ds="http://schemas.openxmlformats.org/officeDocument/2006/customXml" ds:itemID="{E49EAF4E-332D-4D22-839B-D14D45E4E1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29</TotalTime>
  <Words>6138</Words>
  <Application>Microsoft Office PowerPoint</Application>
  <PresentationFormat>Widescreen</PresentationFormat>
  <Paragraphs>1479</Paragraphs>
  <Slides>95</Slides>
  <Notes>67</Notes>
  <HiddenSlides>0</HiddenSlides>
  <MMClips>1</MMClips>
  <ScaleCrop>false</ScaleCrop>
  <HeadingPairs>
    <vt:vector size="4" baseType="variant">
      <vt:variant>
        <vt:lpstr>Theme</vt:lpstr>
      </vt:variant>
      <vt:variant>
        <vt:i4>18</vt:i4>
      </vt:variant>
      <vt:variant>
        <vt:lpstr>Slide Titles</vt:lpstr>
      </vt:variant>
      <vt:variant>
        <vt:i4>95</vt:i4>
      </vt:variant>
    </vt:vector>
  </HeadingPairs>
  <TitlesOfParts>
    <vt:vector size="113" baseType="lpstr">
      <vt:lpstr>Focus</vt:lpstr>
      <vt:lpstr>1_Office Theme</vt:lpstr>
      <vt:lpstr>2_Office Theme</vt:lpstr>
      <vt:lpstr>3_Theme1</vt:lpstr>
      <vt:lpstr>Custom Design</vt:lpstr>
      <vt:lpstr>1_Theme1</vt:lpstr>
      <vt:lpstr>11_Office Theme</vt:lpstr>
      <vt:lpstr>9_Theme1</vt:lpstr>
      <vt:lpstr>4_Theme1</vt:lpstr>
      <vt:lpstr>10_Office Theme</vt:lpstr>
      <vt:lpstr>12_Office Theme</vt:lpstr>
      <vt:lpstr>13_Office Theme</vt:lpstr>
      <vt:lpstr>3_Default Design</vt:lpstr>
      <vt:lpstr>14_Office Theme</vt:lpstr>
      <vt:lpstr>5_Office Theme</vt:lpstr>
      <vt:lpstr>6_Office Theme</vt:lpstr>
      <vt:lpstr>5_Theme1</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2825-Feature of 9S AMT in 6x4 tipper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tyavathi Narni (Sales Training - Content Development)</dc:creator>
  <cp:lastModifiedBy>Satyavathi Narni (Sales Training - Content Development)</cp:lastModifiedBy>
  <cp:revision>128</cp:revision>
  <dcterms:created xsi:type="dcterms:W3CDTF">2022-07-28T12:27:36Z</dcterms:created>
  <dcterms:modified xsi:type="dcterms:W3CDTF">2022-12-02T03:15: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B5F598238F35842A19949AD3ECAAF75</vt:lpwstr>
  </property>
</Properties>
</file>